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5.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6.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7.xml" ContentType="application/vnd.openxmlformats-officedocument.theme+xml"/>
  <Override PartName="/ppt/tags/tag70.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4" r:id="rId5"/>
    <p:sldMasterId id="2147483731" r:id="rId6"/>
    <p:sldMasterId id="2147483782" r:id="rId7"/>
    <p:sldMasterId id="2147483834" r:id="rId8"/>
    <p:sldMasterId id="2147483875" r:id="rId9"/>
    <p:sldMasterId id="2147483950" r:id="rId10"/>
  </p:sldMasterIdLst>
  <p:notesMasterIdLst>
    <p:notesMasterId r:id="rId22"/>
  </p:notesMasterIdLst>
  <p:sldIdLst>
    <p:sldId id="2147480667" r:id="rId11"/>
    <p:sldId id="2147481316" r:id="rId12"/>
    <p:sldId id="2147481317" r:id="rId13"/>
    <p:sldId id="2147481322" r:id="rId14"/>
    <p:sldId id="2147481323" r:id="rId15"/>
    <p:sldId id="2147481324" r:id="rId16"/>
    <p:sldId id="2147481325" r:id="rId17"/>
    <p:sldId id="2147481326" r:id="rId18"/>
    <p:sldId id="2147481327" r:id="rId19"/>
    <p:sldId id="2147481315" r:id="rId20"/>
    <p:sldId id="2147481328"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572F06-B802-A714-28F5-CB0F53B7B4C3}" name="Hugues Treguier" initials="HT" userId="S::hugues.treguier@global.ntt::e859fea4-7da9-436d-a85b-aa20f9d30ed6" providerId="AD"/>
  <p188:author id="{1487E970-44BB-FBA5-03EA-6CA66EA165C3}" name="Hugues Treguier" initials="HT" userId="Hugues Treguier" providerId="None"/>
  <p188:author id="{E885BA75-D31C-6021-7163-64EA72C1D7C8}" name="Jacqueline Chan" initials="JC" userId="S::jacqueline.chan@global.ntt::7e31df88-c407-4d43-9ab7-884bbd59ea5f" providerId="AD"/>
  <p188:author id="{32611CEE-74C1-93CA-FBA0-7B709112BE42}" name="Elaine Riley" initials="ER" userId="S::elaine.riley@global.ntt::dd9dfd3a-602e-44e1-bfc8-a86c74601ac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7" d="100"/>
          <a:sy n="117" d="100"/>
        </p:scale>
        <p:origin x="76" y="2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ugues Treguier" userId="e859fea4-7da9-436d-a85b-aa20f9d30ed6" providerId="ADAL" clId="{21CEBB79-D30A-4BA1-B6F6-C84677F119B5}"/>
    <pc:docChg chg="delSld">
      <pc:chgData name="Hugues Treguier" userId="e859fea4-7da9-436d-a85b-aa20f9d30ed6" providerId="ADAL" clId="{21CEBB79-D30A-4BA1-B6F6-C84677F119B5}" dt="2023-06-21T08:04:14.388" v="0" actId="47"/>
      <pc:docMkLst>
        <pc:docMk/>
      </pc:docMkLst>
      <pc:sldChg chg="del">
        <pc:chgData name="Hugues Treguier" userId="e859fea4-7da9-436d-a85b-aa20f9d30ed6" providerId="ADAL" clId="{21CEBB79-D30A-4BA1-B6F6-C84677F119B5}" dt="2023-06-21T08:04:14.388" v="0" actId="47"/>
        <pc:sldMkLst>
          <pc:docMk/>
          <pc:sldMk cId="2490049739" sldId="2147373963"/>
        </pc:sldMkLst>
      </pc:sldChg>
      <pc:sldChg chg="del">
        <pc:chgData name="Hugues Treguier" userId="e859fea4-7da9-436d-a85b-aa20f9d30ed6" providerId="ADAL" clId="{21CEBB79-D30A-4BA1-B6F6-C84677F119B5}" dt="2023-06-21T08:04:14.388" v="0" actId="47"/>
        <pc:sldMkLst>
          <pc:docMk/>
          <pc:sldMk cId="147760074" sldId="2147375972"/>
        </pc:sldMkLst>
      </pc:sldChg>
      <pc:sldChg chg="del">
        <pc:chgData name="Hugues Treguier" userId="e859fea4-7da9-436d-a85b-aa20f9d30ed6" providerId="ADAL" clId="{21CEBB79-D30A-4BA1-B6F6-C84677F119B5}" dt="2023-06-21T08:04:14.388" v="0" actId="47"/>
        <pc:sldMkLst>
          <pc:docMk/>
          <pc:sldMk cId="3784165568" sldId="2147480511"/>
        </pc:sldMkLst>
      </pc:sldChg>
      <pc:sldChg chg="del">
        <pc:chgData name="Hugues Treguier" userId="e859fea4-7da9-436d-a85b-aa20f9d30ed6" providerId="ADAL" clId="{21CEBB79-D30A-4BA1-B6F6-C84677F119B5}" dt="2023-06-21T08:04:14.388" v="0" actId="47"/>
        <pc:sldMkLst>
          <pc:docMk/>
          <pc:sldMk cId="177295169" sldId="2147480556"/>
        </pc:sldMkLst>
      </pc:sldChg>
      <pc:sldChg chg="del">
        <pc:chgData name="Hugues Treguier" userId="e859fea4-7da9-436d-a85b-aa20f9d30ed6" providerId="ADAL" clId="{21CEBB79-D30A-4BA1-B6F6-C84677F119B5}" dt="2023-06-21T08:04:14.388" v="0" actId="47"/>
        <pc:sldMkLst>
          <pc:docMk/>
          <pc:sldMk cId="3194106753" sldId="2147480561"/>
        </pc:sldMkLst>
      </pc:sldChg>
      <pc:sldChg chg="del">
        <pc:chgData name="Hugues Treguier" userId="e859fea4-7da9-436d-a85b-aa20f9d30ed6" providerId="ADAL" clId="{21CEBB79-D30A-4BA1-B6F6-C84677F119B5}" dt="2023-06-21T08:04:14.388" v="0" actId="47"/>
        <pc:sldMkLst>
          <pc:docMk/>
          <pc:sldMk cId="1539756831" sldId="2147480562"/>
        </pc:sldMkLst>
      </pc:sldChg>
      <pc:sldChg chg="del">
        <pc:chgData name="Hugues Treguier" userId="e859fea4-7da9-436d-a85b-aa20f9d30ed6" providerId="ADAL" clId="{21CEBB79-D30A-4BA1-B6F6-C84677F119B5}" dt="2023-06-21T08:04:14.388" v="0" actId="47"/>
        <pc:sldMkLst>
          <pc:docMk/>
          <pc:sldMk cId="592048283" sldId="2147480564"/>
        </pc:sldMkLst>
      </pc:sldChg>
      <pc:sldChg chg="del">
        <pc:chgData name="Hugues Treguier" userId="e859fea4-7da9-436d-a85b-aa20f9d30ed6" providerId="ADAL" clId="{21CEBB79-D30A-4BA1-B6F6-C84677F119B5}" dt="2023-06-21T08:04:14.388" v="0" actId="47"/>
        <pc:sldMkLst>
          <pc:docMk/>
          <pc:sldMk cId="3785443717" sldId="2147480668"/>
        </pc:sldMkLst>
      </pc:sldChg>
      <pc:sldChg chg="del">
        <pc:chgData name="Hugues Treguier" userId="e859fea4-7da9-436d-a85b-aa20f9d30ed6" providerId="ADAL" clId="{21CEBB79-D30A-4BA1-B6F6-C84677F119B5}" dt="2023-06-21T08:04:14.388" v="0" actId="47"/>
        <pc:sldMkLst>
          <pc:docMk/>
          <pc:sldMk cId="3172727187" sldId="2147480669"/>
        </pc:sldMkLst>
      </pc:sldChg>
      <pc:sldChg chg="del">
        <pc:chgData name="Hugues Treguier" userId="e859fea4-7da9-436d-a85b-aa20f9d30ed6" providerId="ADAL" clId="{21CEBB79-D30A-4BA1-B6F6-C84677F119B5}" dt="2023-06-21T08:04:14.388" v="0" actId="47"/>
        <pc:sldMkLst>
          <pc:docMk/>
          <pc:sldMk cId="305702542" sldId="2147480670"/>
        </pc:sldMkLst>
      </pc:sldChg>
      <pc:sldChg chg="del">
        <pc:chgData name="Hugues Treguier" userId="e859fea4-7da9-436d-a85b-aa20f9d30ed6" providerId="ADAL" clId="{21CEBB79-D30A-4BA1-B6F6-C84677F119B5}" dt="2023-06-21T08:04:14.388" v="0" actId="47"/>
        <pc:sldMkLst>
          <pc:docMk/>
          <pc:sldMk cId="3264797428" sldId="2147480671"/>
        </pc:sldMkLst>
      </pc:sldChg>
      <pc:sldChg chg="del">
        <pc:chgData name="Hugues Treguier" userId="e859fea4-7da9-436d-a85b-aa20f9d30ed6" providerId="ADAL" clId="{21CEBB79-D30A-4BA1-B6F6-C84677F119B5}" dt="2023-06-21T08:04:14.388" v="0" actId="47"/>
        <pc:sldMkLst>
          <pc:docMk/>
          <pc:sldMk cId="3017243927" sldId="2147480672"/>
        </pc:sldMkLst>
      </pc:sldChg>
      <pc:sldChg chg="del">
        <pc:chgData name="Hugues Treguier" userId="e859fea4-7da9-436d-a85b-aa20f9d30ed6" providerId="ADAL" clId="{21CEBB79-D30A-4BA1-B6F6-C84677F119B5}" dt="2023-06-21T08:04:14.388" v="0" actId="47"/>
        <pc:sldMkLst>
          <pc:docMk/>
          <pc:sldMk cId="546020899" sldId="2147480673"/>
        </pc:sldMkLst>
      </pc:sldChg>
      <pc:sldChg chg="del">
        <pc:chgData name="Hugues Treguier" userId="e859fea4-7da9-436d-a85b-aa20f9d30ed6" providerId="ADAL" clId="{21CEBB79-D30A-4BA1-B6F6-C84677F119B5}" dt="2023-06-21T08:04:14.388" v="0" actId="47"/>
        <pc:sldMkLst>
          <pc:docMk/>
          <pc:sldMk cId="3486377193" sldId="2147480674"/>
        </pc:sldMkLst>
      </pc:sldChg>
      <pc:sldChg chg="del">
        <pc:chgData name="Hugues Treguier" userId="e859fea4-7da9-436d-a85b-aa20f9d30ed6" providerId="ADAL" clId="{21CEBB79-D30A-4BA1-B6F6-C84677F119B5}" dt="2023-06-21T08:04:14.388" v="0" actId="47"/>
        <pc:sldMkLst>
          <pc:docMk/>
          <pc:sldMk cId="2812655986" sldId="2147481312"/>
        </pc:sldMkLst>
      </pc:sldChg>
      <pc:sldMasterChg chg="delSldLayout">
        <pc:chgData name="Hugues Treguier" userId="e859fea4-7da9-436d-a85b-aa20f9d30ed6" providerId="ADAL" clId="{21CEBB79-D30A-4BA1-B6F6-C84677F119B5}" dt="2023-06-21T08:04:14.388" v="0" actId="47"/>
        <pc:sldMasterMkLst>
          <pc:docMk/>
          <pc:sldMasterMk cId="476325930" sldId="2147483731"/>
        </pc:sldMasterMkLst>
        <pc:sldLayoutChg chg="del">
          <pc:chgData name="Hugues Treguier" userId="e859fea4-7da9-436d-a85b-aa20f9d30ed6" providerId="ADAL" clId="{21CEBB79-D30A-4BA1-B6F6-C84677F119B5}" dt="2023-06-21T08:04:14.388" v="0" actId="47"/>
          <pc:sldLayoutMkLst>
            <pc:docMk/>
            <pc:sldMasterMk cId="476325930" sldId="2147483731"/>
            <pc:sldLayoutMk cId="1305602802" sldId="2147483874"/>
          </pc:sldLayoutMkLst>
        </pc:sldLayoutChg>
      </pc:sldMasterChg>
      <pc:sldMasterChg chg="delSldLayout">
        <pc:chgData name="Hugues Treguier" userId="e859fea4-7da9-436d-a85b-aa20f9d30ed6" providerId="ADAL" clId="{21CEBB79-D30A-4BA1-B6F6-C84677F119B5}" dt="2023-06-21T08:04:14.388" v="0" actId="47"/>
        <pc:sldMasterMkLst>
          <pc:docMk/>
          <pc:sldMasterMk cId="3090099491" sldId="2147483782"/>
        </pc:sldMasterMkLst>
        <pc:sldLayoutChg chg="del">
          <pc:chgData name="Hugues Treguier" userId="e859fea4-7da9-436d-a85b-aa20f9d30ed6" providerId="ADAL" clId="{21CEBB79-D30A-4BA1-B6F6-C84677F119B5}" dt="2023-06-21T08:04:14.388" v="0" actId="47"/>
          <pc:sldLayoutMkLst>
            <pc:docMk/>
            <pc:sldMasterMk cId="3090099491" sldId="2147483782"/>
            <pc:sldLayoutMk cId="3372594000" sldId="214748383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6B902C-8E66-4241-974B-2D4217C8871E}" type="datetimeFigureOut">
              <a:rPr lang="en-GB" smtClean="0"/>
              <a:t>20/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B25D6B-BE6E-4ED9-9008-F7DB4ACB1B70}" type="slidenum">
              <a:rPr lang="en-GB" smtClean="0"/>
              <a:t>‹N°›</a:t>
            </a:fld>
            <a:endParaRPr lang="en-GB"/>
          </a:p>
        </p:txBody>
      </p:sp>
    </p:spTree>
    <p:extLst>
      <p:ext uri="{BB962C8B-B14F-4D97-AF65-F5344CB8AC3E}">
        <p14:creationId xmlns:p14="http://schemas.microsoft.com/office/powerpoint/2010/main" val="42111565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759650-762C-9343-8990-0901C80FC791}" type="slidenum">
              <a:rPr kumimoji="0" lang="en-US" sz="1200" b="0" i="0" u="none" strike="noStrike" kern="1200" cap="none" spc="0" normalizeH="0" baseline="0" noProof="0" smtClean="0">
                <a:ln>
                  <a:noFill/>
                </a:ln>
                <a:solidFill>
                  <a:prstClr val="black"/>
                </a:solidFill>
                <a:effectLst/>
                <a:uLnTx/>
                <a:uFillTx/>
                <a:latin typeface="Arial"/>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a:ea typeface="ＭＳ Ｐゴシック" charset="0"/>
            </a:endParaRPr>
          </a:p>
        </p:txBody>
      </p:sp>
    </p:spTree>
    <p:extLst>
      <p:ext uri="{BB962C8B-B14F-4D97-AF65-F5344CB8AC3E}">
        <p14:creationId xmlns:p14="http://schemas.microsoft.com/office/powerpoint/2010/main" val="2499224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759650-762C-9343-8990-0901C80FC791}" type="slidenum">
              <a:rPr kumimoji="0" lang="en-US" sz="1200" b="0" i="0" u="none" strike="noStrike" kern="1200" cap="none" spc="0" normalizeH="0" baseline="0" noProof="0" smtClean="0">
                <a:ln>
                  <a:noFill/>
                </a:ln>
                <a:solidFill>
                  <a:prstClr val="black"/>
                </a:solidFill>
                <a:effectLst/>
                <a:uLnTx/>
                <a:uFillTx/>
                <a:latin typeface="Arial"/>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a:ea typeface="ＭＳ Ｐゴシック" charset="0"/>
              <a:cs typeface="+mn-cs"/>
            </a:endParaRPr>
          </a:p>
        </p:txBody>
      </p:sp>
    </p:spTree>
    <p:extLst>
      <p:ext uri="{BB962C8B-B14F-4D97-AF65-F5344CB8AC3E}">
        <p14:creationId xmlns:p14="http://schemas.microsoft.com/office/powerpoint/2010/main" val="3945026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ugu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61C891-F377-4692-82B3-ABCD13713C0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7976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ugu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8113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80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endParaRPr>
          </a:p>
          <a:p>
            <a:pPr marL="171450" marR="0" lvl="0" indent="-171450" algn="l" defTabSz="914400"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endParaRPr>
          </a:p>
          <a:p>
            <a:pPr marL="171450" marR="0" lvl="0" indent="-171450" algn="l" defTabSz="914400"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endParaRPr>
          </a:p>
          <a:p>
            <a:pPr marL="0" indent="0" defTabSz="914400" fontAlgn="base">
              <a:lnSpc>
                <a:spcPct val="100000"/>
              </a:lnSpc>
              <a:spcBef>
                <a:spcPts val="0"/>
              </a:spcBef>
              <a:spcAft>
                <a:spcPts val="800"/>
              </a:spcAft>
              <a:buFont typeface="Arial" panose="020B0604020202020204" pitchFamily="34" charset="0"/>
              <a:buNone/>
              <a:defRPr/>
            </a:pPr>
            <a:endParaRPr kumimoji="0" lang="en-GB" sz="1200" b="0" i="0" u="none" strike="noStrike" kern="1200" cap="none" spc="0" normalizeH="0" baseline="0" noProof="0">
              <a:ln>
                <a:noFill/>
              </a:ln>
              <a:effectLst/>
              <a:uLnTx/>
              <a:uFillTx/>
              <a:ea typeface="Roboto" panose="02000000000000000000" pitchFamily="2" charset="0"/>
              <a:cs typeface="Arial" panose="020B0604020202020204" pitchFamily="34" charset="0"/>
            </a:endParaRPr>
          </a:p>
          <a:p>
            <a:pPr marL="0" indent="0" defTabSz="914400" fontAlgn="base">
              <a:lnSpc>
                <a:spcPct val="100000"/>
              </a:lnSpc>
              <a:spcBef>
                <a:spcPts val="0"/>
              </a:spcBef>
              <a:spcAft>
                <a:spcPts val="800"/>
              </a:spcAft>
              <a:buFont typeface="Arial" panose="020B0604020202020204" pitchFamily="34" charset="0"/>
              <a:buNone/>
              <a:defRPr/>
            </a:pPr>
            <a:endParaRPr kumimoji="0" lang="en-GB" sz="1200" b="0" i="0" u="none" strike="noStrike" kern="1200" cap="none" spc="0" normalizeH="0" baseline="0" noProof="0">
              <a:ln>
                <a:noFill/>
              </a:ln>
              <a:effectLst/>
              <a:uLnTx/>
              <a:uFillTx/>
              <a:ea typeface="Roboto" panose="02000000000000000000" pitchFamily="2"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759650-762C-9343-8990-0901C80FC791}" type="slidenum">
              <a:rPr kumimoji="0" lang="en-US" sz="1200" b="0" i="0" u="none" strike="noStrike" kern="1200" cap="none" spc="0" normalizeH="0" baseline="0" noProof="0" smtClean="0">
                <a:ln>
                  <a:noFill/>
                </a:ln>
                <a:solidFill>
                  <a:prstClr val="black"/>
                </a:solidFill>
                <a:effectLst/>
                <a:uLnTx/>
                <a:uFillTx/>
                <a:latin typeface="Arial"/>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a:ea typeface="ＭＳ Ｐゴシック" charset="0"/>
              <a:cs typeface="+mn-cs"/>
            </a:endParaRPr>
          </a:p>
        </p:txBody>
      </p:sp>
    </p:spTree>
    <p:extLst>
      <p:ext uri="{BB962C8B-B14F-4D97-AF65-F5344CB8AC3E}">
        <p14:creationId xmlns:p14="http://schemas.microsoft.com/office/powerpoint/2010/main" val="210325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94" indent="-228594" defTabSz="914400" fontAlgn="base">
              <a:lnSpc>
                <a:spcPct val="100000"/>
              </a:lnSpc>
              <a:spcBef>
                <a:spcPts val="0"/>
              </a:spcBef>
              <a:spcAft>
                <a:spcPts val="800"/>
              </a:spcAft>
              <a:buFont typeface="Arial" panose="020B0604020202020204" pitchFamily="34" charset="0"/>
              <a:buChar char="•"/>
              <a:defRPr/>
            </a:pPr>
            <a:r>
              <a:rPr kumimoji="0" lang="en-GB" sz="1200" b="0" i="0" u="none" strike="noStrike" kern="1200" cap="none" spc="0" normalizeH="0" baseline="0" noProof="0">
                <a:ln>
                  <a:noFill/>
                </a:ln>
                <a:effectLst/>
                <a:uLnTx/>
                <a:uFillTx/>
                <a:ea typeface="Roboto" panose="02000000000000000000" pitchFamily="2" charset="0"/>
                <a:cs typeface="Arial" panose="020B0604020202020204" pitchFamily="34" charset="0"/>
              </a:rPr>
              <a:t>What is it – Voice access for numbers that are not linked to a person </a:t>
            </a:r>
          </a:p>
          <a:p>
            <a:pPr marL="228594" indent="-228594" defTabSz="914400" fontAlgn="base">
              <a:lnSpc>
                <a:spcPct val="100000"/>
              </a:lnSpc>
              <a:spcBef>
                <a:spcPts val="0"/>
              </a:spcBef>
              <a:spcAft>
                <a:spcPts val="800"/>
              </a:spcAft>
              <a:buFont typeface="Arial" panose="020B0604020202020204" pitchFamily="34" charset="0"/>
              <a:buChar char="•"/>
              <a:defRPr/>
            </a:pPr>
            <a:endParaRPr kumimoji="0" lang="en-GB" sz="1200" b="0" i="0" u="none" strike="noStrike" kern="1200" cap="none" spc="0" normalizeH="0" baseline="0" noProof="0">
              <a:ln>
                <a:noFill/>
              </a:ln>
              <a:effectLst/>
              <a:uLnTx/>
              <a:uFillTx/>
              <a:ea typeface="Roboto" panose="02000000000000000000" pitchFamily="2" charset="0"/>
              <a:cs typeface="Arial" panose="020B0604020202020204" pitchFamily="34" charset="0"/>
            </a:endParaRPr>
          </a:p>
          <a:p>
            <a:pPr marL="228594" indent="-228594" defTabSz="914400" fontAlgn="base">
              <a:lnSpc>
                <a:spcPct val="100000"/>
              </a:lnSpc>
              <a:spcBef>
                <a:spcPts val="0"/>
              </a:spcBef>
              <a:spcAft>
                <a:spcPts val="800"/>
              </a:spcAft>
              <a:buFont typeface="Arial" panose="020B0604020202020204" pitchFamily="34" charset="0"/>
              <a:buChar char="•"/>
              <a:defRPr/>
            </a:pPr>
            <a:r>
              <a:rPr kumimoji="0" lang="en-GB" sz="1200" b="0" i="0" u="none" strike="noStrike" kern="1200" cap="none" spc="0" normalizeH="0" baseline="0" noProof="0">
                <a:ln>
                  <a:noFill/>
                </a:ln>
                <a:effectLst/>
                <a:uLnTx/>
                <a:uFillTx/>
                <a:ea typeface="Roboto" panose="02000000000000000000" pitchFamily="2" charset="0"/>
                <a:cs typeface="Arial" panose="020B0604020202020204" pitchFamily="34" charset="0"/>
              </a:rPr>
              <a:t>Single provider for voice services  &amp; CCaaS… </a:t>
            </a:r>
          </a:p>
          <a:p>
            <a:pPr marL="228594" indent="-228594" defTabSz="914400" fontAlgn="base">
              <a:lnSpc>
                <a:spcPct val="100000"/>
              </a:lnSpc>
              <a:spcBef>
                <a:spcPts val="0"/>
              </a:spcBef>
              <a:spcAft>
                <a:spcPts val="800"/>
              </a:spcAft>
              <a:buFont typeface="Arial" panose="020B0604020202020204" pitchFamily="34" charset="0"/>
              <a:buChar char="•"/>
              <a:defRPr/>
            </a:pPr>
            <a:r>
              <a:rPr kumimoji="0" lang="en-GB" sz="1200" b="0" i="0" u="none" strike="noStrike" kern="1200" cap="none" spc="0" normalizeH="0" baseline="0" noProof="0">
                <a:ln>
                  <a:noFill/>
                </a:ln>
                <a:effectLst/>
                <a:uLnTx/>
                <a:uFillTx/>
                <a:ea typeface="Roboto" panose="02000000000000000000" pitchFamily="2" charset="0"/>
                <a:cs typeface="Arial" panose="020B0604020202020204" pitchFamily="34" charset="0"/>
              </a:rPr>
              <a:t>Compliments a collab deal</a:t>
            </a:r>
          </a:p>
          <a:p>
            <a:pPr marL="228594" indent="-228594" defTabSz="914400" fontAlgn="base">
              <a:lnSpc>
                <a:spcPct val="100000"/>
              </a:lnSpc>
              <a:spcBef>
                <a:spcPts val="0"/>
              </a:spcBef>
              <a:spcAft>
                <a:spcPts val="800"/>
              </a:spcAft>
              <a:buFont typeface="Arial" panose="020B0604020202020204" pitchFamily="34" charset="0"/>
              <a:buChar char="•"/>
              <a:defRPr/>
            </a:pPr>
            <a:r>
              <a:rPr kumimoji="0" lang="en-GB" sz="1200" b="0" i="0" u="none" strike="noStrike" kern="1200" cap="none" spc="0" normalizeH="0" baseline="0" noProof="0">
                <a:ln>
                  <a:noFill/>
                </a:ln>
                <a:effectLst/>
                <a:uLnTx/>
                <a:uFillTx/>
                <a:ea typeface="Roboto" panose="02000000000000000000" pitchFamily="2" charset="0"/>
                <a:cs typeface="Arial" panose="020B0604020202020204" pitchFamily="34" charset="0"/>
              </a:rPr>
              <a:t>Simple escalation path with accountability…  not passing a ticket onto another provider</a:t>
            </a:r>
          </a:p>
          <a:p>
            <a:pPr marL="228594" indent="-228594" defTabSz="914400" fontAlgn="base">
              <a:lnSpc>
                <a:spcPct val="100000"/>
              </a:lnSpc>
              <a:spcBef>
                <a:spcPts val="0"/>
              </a:spcBef>
              <a:spcAft>
                <a:spcPts val="800"/>
              </a:spcAft>
              <a:buFont typeface="Arial" panose="020B0604020202020204" pitchFamily="34" charset="0"/>
              <a:buChar char="•"/>
              <a:defRPr/>
            </a:pPr>
            <a:endParaRPr kumimoji="0" lang="en-GB" sz="1200" b="0" i="0" u="none" strike="noStrike" kern="1200" cap="none" spc="0" normalizeH="0" baseline="0" noProof="0">
              <a:ln>
                <a:noFill/>
              </a:ln>
              <a:effectLst/>
              <a:uLnTx/>
              <a:uFillTx/>
              <a:ea typeface="Roboto" panose="02000000000000000000" pitchFamily="2" charset="0"/>
              <a:cs typeface="Arial" panose="020B0604020202020204" pitchFamily="34" charset="0"/>
            </a:endParaRPr>
          </a:p>
          <a:p>
            <a:pPr marL="0" indent="0" defTabSz="914400" fontAlgn="base">
              <a:lnSpc>
                <a:spcPct val="100000"/>
              </a:lnSpc>
              <a:spcBef>
                <a:spcPts val="0"/>
              </a:spcBef>
              <a:spcAft>
                <a:spcPts val="800"/>
              </a:spcAft>
              <a:buFont typeface="Arial" panose="020B0604020202020204" pitchFamily="34" charset="0"/>
              <a:buNone/>
              <a:defRPr/>
            </a:pPr>
            <a:endParaRPr kumimoji="0" lang="en-GB" sz="1200" b="0" i="0" u="none" strike="noStrike" kern="1200" cap="none" spc="0" normalizeH="0" baseline="0" noProof="0">
              <a:ln>
                <a:noFill/>
              </a:ln>
              <a:effectLst/>
              <a:uLnTx/>
              <a:uFillTx/>
              <a:ea typeface="Roboto" panose="02000000000000000000" pitchFamily="2"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759650-762C-9343-8990-0901C80FC791}" type="slidenum">
              <a:rPr kumimoji="0" lang="en-US" sz="1200" b="0" i="0" u="none" strike="noStrike" kern="1200" cap="none" spc="0" normalizeH="0" baseline="0" noProof="0" smtClean="0">
                <a:ln>
                  <a:noFill/>
                </a:ln>
                <a:solidFill>
                  <a:prstClr val="black"/>
                </a:solidFill>
                <a:effectLst/>
                <a:uLnTx/>
                <a:uFillTx/>
                <a:latin typeface="Arial"/>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a:ea typeface="ＭＳ Ｐゴシック" charset="0"/>
              <a:cs typeface="+mn-cs"/>
            </a:endParaRPr>
          </a:p>
        </p:txBody>
      </p:sp>
    </p:spTree>
    <p:extLst>
      <p:ext uri="{BB962C8B-B14F-4D97-AF65-F5344CB8AC3E}">
        <p14:creationId xmlns:p14="http://schemas.microsoft.com/office/powerpoint/2010/main" val="179884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7FD0580-06B9-458A-BB05-E5B702EDF8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90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759650-762C-9343-8990-0901C80FC791}" type="slidenum">
              <a:rPr kumimoji="0" lang="en-US" sz="1200" b="0" i="0" u="none" strike="noStrike" kern="1200" cap="none" spc="0" normalizeH="0" baseline="0" noProof="0" smtClean="0">
                <a:ln>
                  <a:noFill/>
                </a:ln>
                <a:solidFill>
                  <a:prstClr val="black"/>
                </a:solidFill>
                <a:effectLst/>
                <a:uLnTx/>
                <a:uFillTx/>
                <a:latin typeface="Arial"/>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a:ea typeface="ＭＳ Ｐゴシック" charset="0"/>
              <a:cs typeface="+mn-cs"/>
            </a:endParaRPr>
          </a:p>
        </p:txBody>
      </p:sp>
    </p:spTree>
    <p:extLst>
      <p:ext uri="{BB962C8B-B14F-4D97-AF65-F5344CB8AC3E}">
        <p14:creationId xmlns:p14="http://schemas.microsoft.com/office/powerpoint/2010/main" val="921753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88FC7EB-DD9A-4766-6B15-ED5576D40DED}"/>
              </a:ext>
            </a:extLst>
          </p:cNvPr>
          <p:cNvSpPr>
            <a:spLocks noGrp="1"/>
          </p:cNvSpPr>
          <p:nvPr>
            <p:ph type="body" idx="1"/>
          </p:nvPr>
        </p:nvSpPr>
        <p:spPr/>
        <p:txBody>
          <a:bodyPr/>
          <a:lstStyle/>
          <a:p>
            <a:r>
              <a:rPr lang="en-US"/>
              <a:t>Significant impact results from CEO are 52% CX and 56% EX</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rgbClr val="FFFFFF"/>
                </a:solidFill>
              </a:rPr>
              <a:t>Leader organizations are 42% (CX) and 11% (EX) more likely to see significant impact</a:t>
            </a:r>
          </a:p>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6. Please rate your organization’s performance in the following areas in the past fiscal year </a:t>
            </a:r>
            <a:r>
              <a:rPr kumimoji="0" lang="en-GB" sz="800" b="0" i="1" u="none" strike="noStrike" kern="1200" cap="none" spc="0" normalizeH="0" baseline="0" noProof="0">
                <a:ln>
                  <a:noFill/>
                </a:ln>
                <a:solidFill>
                  <a:srgbClr val="000000"/>
                </a:solidFill>
                <a:effectLst/>
                <a:uLnTx/>
                <a:uFillTx/>
                <a:latin typeface="Arial"/>
                <a:ea typeface="+mn-ea"/>
                <a:cs typeface="+mn-cs"/>
              </a:rPr>
              <a:t>(Select one for each)</a:t>
            </a:r>
            <a:endParaRPr kumimoji="0" lang="en-GB" sz="800" b="1" i="0" u="none" strike="noStrike" kern="1200" cap="none" spc="0" normalizeH="0" baseline="0" noProof="0">
              <a:ln>
                <a:noFill/>
              </a:ln>
              <a:solidFill>
                <a:srgbClr val="000000"/>
              </a:solidFill>
              <a:effectLst/>
              <a:uLnTx/>
              <a:uFillTx/>
              <a:latin typeface="Arial"/>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a:ln>
                  <a:noFill/>
                </a:ln>
                <a:solidFill>
                  <a:srgbClr val="000000"/>
                </a:solidFill>
                <a:effectLst/>
                <a:uLnTx/>
                <a:uFillTx/>
                <a:latin typeface="Arial"/>
                <a:ea typeface="+mn-ea"/>
                <a:cs typeface="+mn-cs"/>
              </a:rPr>
              <a:t>Base: </a:t>
            </a:r>
            <a:r>
              <a:rPr kumimoji="0" lang="en-GB" sz="800" b="0" i="0" u="none" strike="noStrike" kern="1200" cap="none" spc="0" normalizeH="0" baseline="0" noProof="0">
                <a:ln>
                  <a:noFill/>
                </a:ln>
                <a:solidFill>
                  <a:srgbClr val="000000"/>
                </a:solidFill>
                <a:effectLst/>
                <a:uLnTx/>
                <a:uFillTx/>
                <a:latin typeface="Arial"/>
                <a:ea typeface="+mn-ea"/>
                <a:cs typeface="Arial"/>
              </a:rPr>
              <a:t>All respondents, excluding "don't know" responses (n=1,422 to 1,435)</a:t>
            </a:r>
          </a:p>
          <a:p>
            <a:pPr marL="0" marR="0" lvl="1" indent="0" algn="l" defTabSz="914400" rtl="0" eaLnBrk="1" fontAlgn="base" latinLnBrk="0" hangingPunct="1">
              <a:lnSpc>
                <a:spcPct val="100000"/>
              </a:lnSpc>
              <a:spcBef>
                <a:spcPts val="0"/>
              </a:spcBef>
              <a:spcAft>
                <a:spcPts val="0"/>
              </a:spcAft>
              <a:buClrTx/>
              <a:buSzTx/>
              <a:buFont typeface="Arial" pitchFamily="34" charset="0"/>
              <a:buNone/>
              <a:tabLst/>
              <a:defRPr/>
            </a:pPr>
            <a:r>
              <a:rPr kumimoji="0" lang="en-GB" sz="700" b="1" i="0" u="none" strike="noStrike" kern="1200" cap="none" spc="0" normalizeH="0" baseline="0" noProof="0">
                <a:ln>
                  <a:noFill/>
                </a:ln>
                <a:solidFill>
                  <a:srgbClr val="000000"/>
                </a:solidFill>
                <a:effectLst/>
                <a:uLnTx/>
                <a:uFillTx/>
                <a:latin typeface="Arial"/>
                <a:ea typeface="+mn-ea"/>
                <a:cs typeface="+mn-cs"/>
              </a:rPr>
              <a:t>12. On a scale of 0 to 10, where 0 is “very poor” and 10 is “excellent”, how do your customers rate…  </a:t>
            </a:r>
            <a:r>
              <a:rPr kumimoji="0" lang="en-GB" sz="700" b="0" i="1" u="none" strike="noStrike" kern="1200" cap="none" spc="0" normalizeH="0" baseline="0" noProof="0">
                <a:ln>
                  <a:noFill/>
                </a:ln>
                <a:solidFill>
                  <a:srgbClr val="000000"/>
                </a:solidFill>
                <a:effectLst/>
                <a:uLnTx/>
                <a:uFillTx/>
                <a:latin typeface="Arial"/>
                <a:ea typeface="+mn-ea"/>
                <a:cs typeface="+mn-cs"/>
              </a:rPr>
              <a:t>(Select one for each)</a:t>
            </a:r>
          </a:p>
          <a:p>
            <a:pPr marL="0" marR="0" lvl="1" indent="0" algn="l" defTabSz="914400" rtl="0" eaLnBrk="1" fontAlgn="base" latinLnBrk="0" hangingPunct="1">
              <a:lnSpc>
                <a:spcPct val="100000"/>
              </a:lnSpc>
              <a:spcBef>
                <a:spcPts val="0"/>
              </a:spcBef>
              <a:spcAft>
                <a:spcPts val="0"/>
              </a:spcAft>
              <a:buClrTx/>
              <a:buSzTx/>
              <a:buFont typeface="Arial" pitchFamily="34" charset="0"/>
              <a:buNone/>
              <a:tabLst/>
              <a:defRPr/>
            </a:pPr>
            <a:r>
              <a:rPr kumimoji="0" lang="en-GB" sz="700" b="1" i="0" u="none" strike="noStrike" kern="1200" cap="none" spc="0" normalizeH="0" baseline="0" noProof="0">
                <a:ln>
                  <a:noFill/>
                </a:ln>
                <a:solidFill>
                  <a:srgbClr val="000000"/>
                </a:solidFill>
                <a:effectLst/>
                <a:uLnTx/>
                <a:uFillTx/>
                <a:latin typeface="Arial"/>
                <a:ea typeface="+mn-ea"/>
                <a:cs typeface="+mn-cs"/>
              </a:rPr>
              <a:t>Base: </a:t>
            </a:r>
            <a:r>
              <a:rPr kumimoji="0" lang="en-GB" sz="700" b="0" i="0" u="none" strike="noStrike" kern="1200" cap="none" spc="0" normalizeH="0" baseline="0" noProof="0">
                <a:ln>
                  <a:noFill/>
                </a:ln>
                <a:solidFill>
                  <a:srgbClr val="000000"/>
                </a:solidFill>
                <a:effectLst/>
                <a:uLnTx/>
                <a:uFillTx/>
                <a:latin typeface="Arial"/>
                <a:ea typeface="+mn-ea"/>
                <a:cs typeface="Arial"/>
              </a:rPr>
              <a:t>All GROUP 2 – CX respondents, excluding "don't know" responses (n=783-791)</a:t>
            </a:r>
            <a:endParaRPr kumimoji="0" lang="en-GB" sz="700" b="1" i="0" u="none" strike="noStrike" kern="1200" cap="none" spc="0" normalizeH="0" baseline="0" noProof="0">
              <a:ln>
                <a:noFill/>
              </a:ln>
              <a:solidFill>
                <a:srgbClr val="000000"/>
              </a:solidFill>
              <a:effectLst/>
              <a:uLnTx/>
              <a:uFillTx/>
              <a:latin typeface="Arial"/>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endParaRPr kumimoji="0" lang="en-GB" sz="8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Arial" charset="0"/>
              <a:ea typeface="ＭＳ Ｐゴシック" charset="0"/>
            </a:endParaRPr>
          </a:p>
          <a:p>
            <a:endParaRPr lang="en-US"/>
          </a:p>
        </p:txBody>
      </p:sp>
    </p:spTree>
    <p:extLst>
      <p:ext uri="{BB962C8B-B14F-4D97-AF65-F5344CB8AC3E}">
        <p14:creationId xmlns:p14="http://schemas.microsoft.com/office/powerpoint/2010/main" val="17636169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xml"/><Relationship Id="rId7" Type="http://schemas.openxmlformats.org/officeDocument/2006/relationships/image" Target="../media/image4.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9.xml"/><Relationship Id="rId7" Type="http://schemas.openxmlformats.org/officeDocument/2006/relationships/image" Target="../media/image4.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3.e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jpeg"/><Relationship Id="rId3" Type="http://schemas.openxmlformats.org/officeDocument/2006/relationships/image" Target="../media/image18.jpeg"/><Relationship Id="rId7" Type="http://schemas.openxmlformats.org/officeDocument/2006/relationships/image" Target="../media/image22.jpeg"/><Relationship Id="rId12" Type="http://schemas.openxmlformats.org/officeDocument/2006/relationships/image" Target="../media/image27.jpeg"/><Relationship Id="rId2" Type="http://schemas.openxmlformats.org/officeDocument/2006/relationships/image" Target="../media/image15.emf"/><Relationship Id="rId1" Type="http://schemas.openxmlformats.org/officeDocument/2006/relationships/slideMaster" Target="../slideMasters/slideMaster6.xml"/><Relationship Id="rId6" Type="http://schemas.openxmlformats.org/officeDocument/2006/relationships/image" Target="../media/image21.jpeg"/><Relationship Id="rId11" Type="http://schemas.openxmlformats.org/officeDocument/2006/relationships/image" Target="../media/image26.jpe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jpe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0.jpeg"/><Relationship Id="rId1" Type="http://schemas.openxmlformats.org/officeDocument/2006/relationships/slideMaster" Target="../slideMasters/slideMaster6.xml"/><Relationship Id="rId4" Type="http://schemas.openxmlformats.org/officeDocument/2006/relationships/image" Target="../media/image34.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0.jpeg"/><Relationship Id="rId1" Type="http://schemas.openxmlformats.org/officeDocument/2006/relationships/slideMaster" Target="../slideMasters/slideMaster6.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0.jpeg"/><Relationship Id="rId1" Type="http://schemas.openxmlformats.org/officeDocument/2006/relationships/slideMaster" Target="../slideMasters/slideMaster6.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6.xml"/><Relationship Id="rId4" Type="http://schemas.openxmlformats.org/officeDocument/2006/relationships/image" Target="../media/image40.jpe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6.xml"/><Relationship Id="rId5" Type="http://schemas.openxmlformats.org/officeDocument/2006/relationships/image" Target="../media/image44.jpeg"/><Relationship Id="rId4" Type="http://schemas.openxmlformats.org/officeDocument/2006/relationships/image" Target="../media/image43.jpe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0.jpeg"/><Relationship Id="rId1" Type="http://schemas.openxmlformats.org/officeDocument/2006/relationships/slideMaster" Target="../slideMasters/slideMaster6.xml"/><Relationship Id="rId6" Type="http://schemas.openxmlformats.org/officeDocument/2006/relationships/image" Target="../media/image45.jpeg"/><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0.jpeg"/><Relationship Id="rId1" Type="http://schemas.openxmlformats.org/officeDocument/2006/relationships/slideMaster" Target="../slideMasters/slideMaster6.xml"/><Relationship Id="rId4" Type="http://schemas.openxmlformats.org/officeDocument/2006/relationships/image" Target="../media/image34.jpe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0.jpeg"/><Relationship Id="rId1" Type="http://schemas.openxmlformats.org/officeDocument/2006/relationships/slideMaster" Target="../slideMasters/slideMaster6.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0.jpeg"/><Relationship Id="rId1" Type="http://schemas.openxmlformats.org/officeDocument/2006/relationships/slideMaster" Target="../slideMasters/slideMaster6.xml"/><Relationship Id="rId6" Type="http://schemas.openxmlformats.org/officeDocument/2006/relationships/image" Target="../media/image45.jpeg"/><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6.pn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1.xml"/><Relationship Id="rId7" Type="http://schemas.openxmlformats.org/officeDocument/2006/relationships/tags" Target="../tags/tag5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10" Type="http://schemas.openxmlformats.org/officeDocument/2006/relationships/image" Target="../media/image6.emf"/><Relationship Id="rId4" Type="http://schemas.openxmlformats.org/officeDocument/2006/relationships/tags" Target="../tags/tag52.xml"/><Relationship Id="rId9" Type="http://schemas.openxmlformats.org/officeDocument/2006/relationships/oleObject" Target="../embeddings/oleObject32.bin"/></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6.emf"/><Relationship Id="rId4" Type="http://schemas.openxmlformats.org/officeDocument/2006/relationships/tags" Target="../tags/tag59.xml"/><Relationship Id="rId9" Type="http://schemas.openxmlformats.org/officeDocument/2006/relationships/oleObject" Target="../embeddings/oleObject33.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_slide_blue_backgroun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571463-0E5E-4F04-9221-D955BFEB3AE0}"/>
              </a:ext>
            </a:extLst>
          </p:cNvPr>
          <p:cNvGraphicFramePr>
            <a:graphicFrameLocks noChangeAspect="1"/>
          </p:cNvGraphicFramePr>
          <p:nvPr userDrawn="1">
            <p:custDataLst>
              <p:tags r:id="rId1"/>
            </p:custDataLst>
            <p:extLst>
              <p:ext uri="{D42A27DB-BD31-4B8C-83A1-F6EECF244321}">
                <p14:modId xmlns:p14="http://schemas.microsoft.com/office/powerpoint/2010/main" val="194836348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C571463-0E5E-4F04-9221-D955BFEB3AE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838200" y="4368900"/>
            <a:ext cx="10515600" cy="743832"/>
          </a:xfrm>
          <a:prstGeom prst="rect">
            <a:avLst/>
          </a:prstGeom>
        </p:spPr>
        <p:txBody>
          <a:bodyPr vert="horz" anchor="ctr"/>
          <a:lstStyle>
            <a:lvl1pPr algn="l" rtl="0">
              <a:defRPr sz="4800" b="1">
                <a:solidFill>
                  <a:schemeClr val="bg1"/>
                </a:solidFill>
              </a:defRPr>
            </a:lvl1pPr>
          </a:lstStyle>
          <a:p>
            <a:r>
              <a:rPr lang="en-US"/>
              <a:t>Click to edit Master title style</a:t>
            </a:r>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838199" y="5284834"/>
            <a:ext cx="10515600" cy="392480"/>
          </a:xfrm>
          <a:prstGeom prst="rect">
            <a:avLst/>
          </a:prstGeom>
        </p:spPr>
        <p:txBody>
          <a:bodyPr anchor="ctr"/>
          <a:lstStyle>
            <a:lvl1pPr marL="0" indent="0" algn="l" rtl="0">
              <a:buNone/>
              <a:defRPr>
                <a:solidFill>
                  <a:schemeClr val="bg1"/>
                </a:solidFill>
              </a:defRPr>
            </a:lvl1pPr>
          </a:lstStyle>
          <a:p>
            <a:pPr lvl="0"/>
            <a:r>
              <a:rPr lang="en-US"/>
              <a:t>Sub-title / Presenter Name</a:t>
            </a:r>
          </a:p>
        </p:txBody>
      </p:sp>
      <p:pic>
        <p:nvPicPr>
          <p:cNvPr id="5" name="Picture 4">
            <a:extLst>
              <a:ext uri="{FF2B5EF4-FFF2-40B4-BE49-F238E27FC236}">
                <a16:creationId xmlns:a16="http://schemas.microsoft.com/office/drawing/2014/main" id="{E589A8F4-7485-9F4E-B0C8-C8CB66B56B1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2766" y="391424"/>
            <a:ext cx="2544709" cy="1193537"/>
          </a:xfrm>
          <a:prstGeom prst="rect">
            <a:avLst/>
          </a:prstGeom>
        </p:spPr>
      </p:pic>
    </p:spTree>
    <p:extLst>
      <p:ext uri="{BB962C8B-B14F-4D97-AF65-F5344CB8AC3E}">
        <p14:creationId xmlns:p14="http://schemas.microsoft.com/office/powerpoint/2010/main" val="189466579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TT_title_and_content_page_white">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E21C01-FCA5-4187-A241-7A143D6DE29A}"/>
              </a:ext>
            </a:extLst>
          </p:cNvPr>
          <p:cNvGraphicFramePr>
            <a:graphicFrameLocks noChangeAspect="1"/>
          </p:cNvGraphicFramePr>
          <p:nvPr userDrawn="1">
            <p:custDataLst>
              <p:tags r:id="rId1"/>
            </p:custDataLst>
            <p:extLst>
              <p:ext uri="{D42A27DB-BD31-4B8C-83A1-F6EECF244321}">
                <p14:modId xmlns:p14="http://schemas.microsoft.com/office/powerpoint/2010/main" val="375552506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3" name="Object 2" hidden="1">
                        <a:extLst>
                          <a:ext uri="{FF2B5EF4-FFF2-40B4-BE49-F238E27FC236}">
                            <a16:creationId xmlns:a16="http://schemas.microsoft.com/office/drawing/2014/main" id="{60E21C01-FCA5-4187-A241-7A143D6DE29A}"/>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4B36B94-91D7-422A-BBA1-CD7EF72252F8}"/>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p:nvPr>
        </p:nvSpPr>
        <p:spPr>
          <a:xfrm>
            <a:off x="396692" y="332680"/>
            <a:ext cx="9725123" cy="447217"/>
          </a:xfrm>
          <a:prstGeom prst="rect">
            <a:avLst/>
          </a:prstGeom>
        </p:spPr>
        <p:txBody>
          <a:bodyPr vert="horz" lIns="0" tIns="0" rIns="0" bIns="0" anchor="t">
            <a:spAutoFit/>
          </a:bodyPr>
          <a:lstStyle>
            <a:lvl1pPr rtl="0">
              <a:defRPr sz="2667" b="1" baseline="0">
                <a:solidFill>
                  <a:schemeClr val="accent2"/>
                </a:solidFill>
                <a:latin typeface="Arial"/>
                <a:cs typeface="Arial"/>
              </a:defRPr>
            </a:lvl1pPr>
          </a:lstStyle>
          <a:p>
            <a:r>
              <a:rPr lang="en-US"/>
              <a:t>Click to edit Master title style</a:t>
            </a:r>
          </a:p>
        </p:txBody>
      </p:sp>
      <p:sp>
        <p:nvSpPr>
          <p:cNvPr id="8" name="Content Placeholder 2"/>
          <p:cNvSpPr>
            <a:spLocks noGrp="1"/>
          </p:cNvSpPr>
          <p:nvPr>
            <p:ph idx="1"/>
          </p:nvPr>
        </p:nvSpPr>
        <p:spPr>
          <a:xfrm>
            <a:off x="396694" y="1529025"/>
            <a:ext cx="11376207" cy="1919073"/>
          </a:xfrm>
          <a:prstGeom prst="rect">
            <a:avLst/>
          </a:prstGeom>
        </p:spPr>
        <p:txBody>
          <a:bodyPr/>
          <a:lstStyle>
            <a:lvl1pPr algn="l" rtl="0">
              <a:defRPr sz="2400">
                <a:solidFill>
                  <a:schemeClr val="tx1"/>
                </a:solidFill>
                <a:latin typeface="Arial"/>
                <a:cs typeface="Arial"/>
              </a:defRPr>
            </a:lvl1pPr>
            <a:lvl2pPr algn="l" rtl="0">
              <a:defRPr sz="1867">
                <a:solidFill>
                  <a:schemeClr val="tx1"/>
                </a:solidFill>
                <a:latin typeface="Arial"/>
                <a:cs typeface="Arial"/>
              </a:defRPr>
            </a:lvl2pPr>
            <a:lvl3pPr algn="l" rtl="0">
              <a:defRPr sz="1600">
                <a:solidFill>
                  <a:schemeClr val="tx1"/>
                </a:solidFill>
                <a:latin typeface="Arial"/>
                <a:cs typeface="Arial"/>
              </a:defRPr>
            </a:lvl3pPr>
            <a:lvl4pPr algn="l" rtl="0">
              <a:defRPr sz="1467">
                <a:solidFill>
                  <a:schemeClr val="tx1"/>
                </a:solidFill>
                <a:latin typeface="Arial"/>
                <a:cs typeface="Arial"/>
              </a:defRPr>
            </a:lvl4pPr>
            <a:lvl5pPr algn="l" rtl="0">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80889D0A-8FE3-CF4D-B7B4-54652810513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10" name="Rectangle 25">
            <a:extLst>
              <a:ext uri="{FF2B5EF4-FFF2-40B4-BE49-F238E27FC236}">
                <a16:creationId xmlns:a16="http://schemas.microsoft.com/office/drawing/2014/main" id="{D072D525-48E2-4CD8-935E-D94CAE4F7E00}"/>
              </a:ext>
            </a:extLst>
          </p:cNvPr>
          <p:cNvSpPr/>
          <p:nvPr userDrawn="1"/>
        </p:nvSpPr>
        <p:spPr>
          <a:xfrm>
            <a:off x="215899" y="6463379"/>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9708033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TT_custom_layout_images_white">
    <p:spTree>
      <p:nvGrpSpPr>
        <p:cNvPr id="1" name=""/>
        <p:cNvGrpSpPr/>
        <p:nvPr/>
      </p:nvGrpSpPr>
      <p:grpSpPr>
        <a:xfrm>
          <a:off x="0" y="0"/>
          <a:ext cx="0" cy="0"/>
          <a:chOff x="0" y="0"/>
          <a:chExt cx="0" cy="0"/>
        </a:xfrm>
      </p:grpSpPr>
      <p:sp>
        <p:nvSpPr>
          <p:cNvPr id="3" name="Rounded Rectangle 2"/>
          <p:cNvSpPr/>
          <p:nvPr userDrawn="1"/>
        </p:nvSpPr>
        <p:spPr>
          <a:xfrm>
            <a:off x="4891617" y="398424"/>
            <a:ext cx="4357515"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5" name="Rounded Rectangle 4"/>
          <p:cNvSpPr/>
          <p:nvPr userDrawn="1"/>
        </p:nvSpPr>
        <p:spPr>
          <a:xfrm>
            <a:off x="427767" y="398424"/>
            <a:ext cx="4363668"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9" name="Rounded Rectangle 8"/>
          <p:cNvSpPr/>
          <p:nvPr userDrawn="1"/>
        </p:nvSpPr>
        <p:spPr>
          <a:xfrm>
            <a:off x="446624" y="4055044"/>
            <a:ext cx="3335953" cy="2204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5" name="Rounded Rectangle 14"/>
          <p:cNvSpPr/>
          <p:nvPr userDrawn="1"/>
        </p:nvSpPr>
        <p:spPr>
          <a:xfrm>
            <a:off x="9349320" y="5003017"/>
            <a:ext cx="2408765" cy="1256569"/>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0" name="Picture Placeholder 25"/>
          <p:cNvSpPr>
            <a:spLocks noGrp="1"/>
          </p:cNvSpPr>
          <p:nvPr>
            <p:ph type="pic" sz="quarter" idx="13" hasCustomPrompt="1"/>
          </p:nvPr>
        </p:nvSpPr>
        <p:spPr>
          <a:xfrm>
            <a:off x="427768" y="4055044"/>
            <a:ext cx="3354805" cy="2204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1" name="Rounded Rectangle 10"/>
          <p:cNvSpPr/>
          <p:nvPr userDrawn="1"/>
        </p:nvSpPr>
        <p:spPr>
          <a:xfrm>
            <a:off x="3881968" y="4055044"/>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3" name="Rounded Rectangle 12"/>
          <p:cNvSpPr/>
          <p:nvPr userDrawn="1"/>
        </p:nvSpPr>
        <p:spPr>
          <a:xfrm>
            <a:off x="9349320" y="2228436"/>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7" y="398424"/>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4" name="Picture Placeholder 25"/>
          <p:cNvSpPr>
            <a:spLocks noGrp="1"/>
          </p:cNvSpPr>
          <p:nvPr>
            <p:ph type="pic" sz="quarter" idx="11" hasCustomPrompt="1"/>
          </p:nvPr>
        </p:nvSpPr>
        <p:spPr>
          <a:xfrm>
            <a:off x="4891987" y="398424"/>
            <a:ext cx="435714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7" name="Rounded Rectangle 6"/>
          <p:cNvSpPr/>
          <p:nvPr userDrawn="1"/>
        </p:nvSpPr>
        <p:spPr>
          <a:xfrm>
            <a:off x="9349320" y="398430"/>
            <a:ext cx="2408765" cy="1744135"/>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6" name="Picture Placeholder 25"/>
          <p:cNvSpPr>
            <a:spLocks noGrp="1"/>
          </p:cNvSpPr>
          <p:nvPr>
            <p:ph type="pic" sz="quarter" idx="16" hasCustomPrompt="1"/>
          </p:nvPr>
        </p:nvSpPr>
        <p:spPr>
          <a:xfrm>
            <a:off x="9349319" y="5003017"/>
            <a:ext cx="2408764" cy="1256569"/>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2" name="Picture Placeholder 25"/>
          <p:cNvSpPr>
            <a:spLocks noGrp="1"/>
          </p:cNvSpPr>
          <p:nvPr>
            <p:ph type="pic" sz="quarter" idx="14" hasCustomPrompt="1"/>
          </p:nvPr>
        </p:nvSpPr>
        <p:spPr>
          <a:xfrm>
            <a:off x="3877781" y="4055044"/>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9" y="2218760"/>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8" name="Picture Placeholder 25"/>
          <p:cNvSpPr>
            <a:spLocks noGrp="1"/>
          </p:cNvSpPr>
          <p:nvPr>
            <p:ph type="pic" sz="quarter" idx="12" hasCustomPrompt="1"/>
          </p:nvPr>
        </p:nvSpPr>
        <p:spPr>
          <a:xfrm>
            <a:off x="9349319" y="398430"/>
            <a:ext cx="2408764" cy="1744135"/>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Tree>
    <p:extLst>
      <p:ext uri="{BB962C8B-B14F-4D97-AF65-F5344CB8AC3E}">
        <p14:creationId xmlns:p14="http://schemas.microsoft.com/office/powerpoint/2010/main" val="6683520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colour_image_mix.02">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4902048" y="508261"/>
            <a:ext cx="4347085" cy="3547536"/>
          </a:xfrm>
          <a:prstGeom prst="rect">
            <a:avLst/>
          </a:prstGeom>
          <a:solidFill>
            <a:schemeClr val="accent6">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solidFill>
                <a:schemeClr val="accent1"/>
              </a:solidFill>
            </a:endParaRPr>
          </a:p>
        </p:txBody>
      </p:sp>
      <p:sp>
        <p:nvSpPr>
          <p:cNvPr id="27" name="Rounded Rectangle 26"/>
          <p:cNvSpPr/>
          <p:nvPr userDrawn="1"/>
        </p:nvSpPr>
        <p:spPr>
          <a:xfrm>
            <a:off x="3881968" y="4164881"/>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28" name="Picture Placeholder 25"/>
          <p:cNvSpPr>
            <a:spLocks noGrp="1"/>
          </p:cNvSpPr>
          <p:nvPr>
            <p:ph type="pic" sz="quarter" idx="22" hasCustomPrompt="1"/>
          </p:nvPr>
        </p:nvSpPr>
        <p:spPr>
          <a:xfrm>
            <a:off x="3877781" y="4164881"/>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accent1"/>
                </a:solidFill>
                <a:latin typeface="Arial"/>
                <a:ea typeface="+mn-ea"/>
                <a:cs typeface="+mn-cs"/>
              </a:defRPr>
            </a:lvl1pPr>
          </a:lstStyle>
          <a:p>
            <a:r>
              <a:rPr lang="en-US"/>
              <a:t>Insert photo here</a:t>
            </a:r>
          </a:p>
        </p:txBody>
      </p:sp>
      <p:sp>
        <p:nvSpPr>
          <p:cNvPr id="13" name="Rounded Rectangle 12"/>
          <p:cNvSpPr/>
          <p:nvPr userDrawn="1"/>
        </p:nvSpPr>
        <p:spPr>
          <a:xfrm>
            <a:off x="9349320" y="2338276"/>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7" y="508261"/>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9" y="2328596"/>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9" name="Text Placeholder 4"/>
          <p:cNvSpPr>
            <a:spLocks noGrp="1"/>
          </p:cNvSpPr>
          <p:nvPr>
            <p:ph type="body" sz="quarter" idx="17"/>
          </p:nvPr>
        </p:nvSpPr>
        <p:spPr>
          <a:xfrm>
            <a:off x="4902048" y="508269"/>
            <a:ext cx="4347085" cy="3547535"/>
          </a:xfrm>
          <a:prstGeom prst="roundRect">
            <a:avLst>
              <a:gd name="adj" fmla="val 0"/>
            </a:avLst>
          </a:prstGeom>
          <a:noFill/>
          <a:ln>
            <a:noFill/>
          </a:ln>
          <a:effectLst/>
        </p:spPr>
        <p:txBody>
          <a:bodyPr anchor="ctr"/>
          <a:lstStyle>
            <a:lvl1pPr marL="239155" indent="0" algn="l">
              <a:tabLst>
                <a:tab pos="116404" algn="l"/>
              </a:tabLst>
              <a:defRPr sz="3200">
                <a:solidFill>
                  <a:schemeClr val="tx1"/>
                </a:solidFill>
                <a:effectLst/>
                <a:latin typeface="Arial"/>
                <a:cs typeface="Arial"/>
              </a:defRPr>
            </a:lvl1pPr>
            <a:lvl2pPr marL="478307" indent="-239155" algn="l">
              <a:defRPr>
                <a:solidFill>
                  <a:schemeClr val="tx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1" name="Text Placeholder 4"/>
          <p:cNvSpPr>
            <a:spLocks noGrp="1"/>
          </p:cNvSpPr>
          <p:nvPr>
            <p:ph type="body" sz="quarter" idx="14"/>
          </p:nvPr>
        </p:nvSpPr>
        <p:spPr>
          <a:xfrm>
            <a:off x="9336401" y="508265"/>
            <a:ext cx="2421683" cy="1700963"/>
          </a:xfrm>
          <a:prstGeom prst="roundRect">
            <a:avLst>
              <a:gd name="adj" fmla="val 0"/>
            </a:avLst>
          </a:prstGeom>
          <a:solidFill>
            <a:schemeClr val="accent2"/>
          </a:solidFill>
          <a:ln>
            <a:noFill/>
          </a:ln>
          <a:effectLst/>
        </p:spPr>
        <p:txBody>
          <a:bodyPr anchor="ctr"/>
          <a:lstStyle>
            <a:lvl1pPr algn="ctr">
              <a:defRPr sz="2133">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2" name="Text Placeholder 4"/>
          <p:cNvSpPr>
            <a:spLocks noGrp="1"/>
          </p:cNvSpPr>
          <p:nvPr>
            <p:ph type="body" sz="quarter" idx="19"/>
          </p:nvPr>
        </p:nvSpPr>
        <p:spPr>
          <a:xfrm>
            <a:off x="9349320" y="5118695"/>
            <a:ext cx="2408765" cy="1269180"/>
          </a:xfrm>
          <a:prstGeom prst="roundRect">
            <a:avLst>
              <a:gd name="adj" fmla="val 0"/>
            </a:avLst>
          </a:prstGeom>
          <a:solidFill>
            <a:schemeClr val="accent2">
              <a:lumMod val="20000"/>
              <a:lumOff val="80000"/>
            </a:schemeClr>
          </a:solid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4" name="Text Placeholder 4"/>
          <p:cNvSpPr>
            <a:spLocks noGrp="1"/>
          </p:cNvSpPr>
          <p:nvPr>
            <p:ph type="body" sz="quarter" idx="13"/>
          </p:nvPr>
        </p:nvSpPr>
        <p:spPr>
          <a:xfrm>
            <a:off x="427765" y="4162500"/>
            <a:ext cx="3363979" cy="2225377"/>
          </a:xfrm>
          <a:prstGeom prst="roundRect">
            <a:avLst>
              <a:gd name="adj" fmla="val 0"/>
            </a:avLst>
          </a:prstGeom>
          <a:solidFill>
            <a:schemeClr val="accent2"/>
          </a:solidFill>
          <a:ln>
            <a:noFill/>
          </a:ln>
          <a:effectLst/>
        </p:spPr>
        <p:txBody>
          <a:bodyPr anchor="ctr"/>
          <a:lstStyle>
            <a:lvl1pPr algn="l">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20"/>
          </p:nvPr>
        </p:nvSpPr>
        <p:spPr>
          <a:xfrm>
            <a:off x="3877781" y="5069469"/>
            <a:ext cx="5371355"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21"/>
          </p:nvPr>
        </p:nvSpPr>
        <p:spPr>
          <a:xfrm>
            <a:off x="9336406" y="3702740"/>
            <a:ext cx="2421681"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9" name="Text Placeholder 4"/>
          <p:cNvSpPr>
            <a:spLocks noGrp="1"/>
          </p:cNvSpPr>
          <p:nvPr>
            <p:ph type="body" sz="quarter" idx="23"/>
          </p:nvPr>
        </p:nvSpPr>
        <p:spPr>
          <a:xfrm>
            <a:off x="427767" y="2753372"/>
            <a:ext cx="4363668"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16811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cSld name="DD_divider_page">
    <p:spTree>
      <p:nvGrpSpPr>
        <p:cNvPr id="1" name=""/>
        <p:cNvGrpSpPr/>
        <p:nvPr/>
      </p:nvGrpSpPr>
      <p:grpSpPr>
        <a:xfrm>
          <a:off x="0" y="0"/>
          <a:ext cx="0" cy="0"/>
          <a:chOff x="0" y="0"/>
          <a:chExt cx="0" cy="0"/>
        </a:xfrm>
      </p:grpSpPr>
      <p:sp>
        <p:nvSpPr>
          <p:cNvPr id="10" name="Picture Placeholder 3"/>
          <p:cNvSpPr>
            <a:spLocks noGrp="1"/>
          </p:cNvSpPr>
          <p:nvPr>
            <p:ph type="pic" sz="quarter" idx="14"/>
          </p:nvPr>
        </p:nvSpPr>
        <p:spPr>
          <a:xfrm>
            <a:off x="0" y="4923"/>
            <a:ext cx="12192000" cy="6853076"/>
          </a:xfrm>
          <a:prstGeom prst="rect">
            <a:avLst/>
          </a:prstGeom>
        </p:spPr>
        <p:txBody>
          <a:bodyPr/>
          <a:lstStyle>
            <a:lvl1pPr>
              <a:defRPr>
                <a:latin typeface="Arial"/>
              </a:defRPr>
            </a:lvl1pPr>
          </a:lstStyle>
          <a:p>
            <a:r>
              <a:rPr lang="en-US"/>
              <a:t>Click icon to add picture</a:t>
            </a:r>
          </a:p>
        </p:txBody>
      </p:sp>
      <p:sp>
        <p:nvSpPr>
          <p:cNvPr id="8" name="Text Placeholder 53"/>
          <p:cNvSpPr>
            <a:spLocks noGrp="1"/>
          </p:cNvSpPr>
          <p:nvPr>
            <p:ph type="body" sz="quarter" idx="10" hasCustomPrompt="1"/>
          </p:nvPr>
        </p:nvSpPr>
        <p:spPr>
          <a:xfrm>
            <a:off x="1302882" y="3645661"/>
            <a:ext cx="10216025" cy="512233"/>
          </a:xfrm>
          <a:prstGeom prst="rect">
            <a:avLst/>
          </a:prstGeom>
        </p:spPr>
        <p:txBody>
          <a:bodyPr vert="horz"/>
          <a:lstStyle>
            <a:lvl1pPr>
              <a:defRPr sz="2400" i="1">
                <a:solidFill>
                  <a:srgbClr val="455565"/>
                </a:solidFill>
                <a:latin typeface="Georgia"/>
                <a:cs typeface="Georgia"/>
              </a:defRPr>
            </a:lvl1pPr>
          </a:lstStyle>
          <a:p>
            <a:pPr lvl="0"/>
            <a:r>
              <a:rPr lang="en-US"/>
              <a:t>Sub-heading</a:t>
            </a:r>
          </a:p>
        </p:txBody>
      </p:sp>
      <p:sp>
        <p:nvSpPr>
          <p:cNvPr id="6" name="Text Placeholder 60"/>
          <p:cNvSpPr>
            <a:spLocks noGrp="1"/>
          </p:cNvSpPr>
          <p:nvPr>
            <p:ph type="body" sz="quarter" idx="11" hasCustomPrompt="1"/>
          </p:nvPr>
        </p:nvSpPr>
        <p:spPr>
          <a:xfrm>
            <a:off x="1302882" y="4379923"/>
            <a:ext cx="10216025" cy="1732596"/>
          </a:xfrm>
          <a:prstGeom prst="rect">
            <a:avLst/>
          </a:prstGeom>
        </p:spPr>
        <p:txBody>
          <a:bodyPr vert="horz"/>
          <a:lstStyle>
            <a:lvl1pPr>
              <a:lnSpc>
                <a:spcPct val="80000"/>
              </a:lnSpc>
              <a:defRPr sz="5333" b="1" baseline="0">
                <a:solidFill>
                  <a:srgbClr val="455565"/>
                </a:solidFill>
                <a:latin typeface="Arial"/>
                <a:cs typeface="Arial"/>
              </a:defRPr>
            </a:lvl1pPr>
          </a:lstStyle>
          <a:p>
            <a:pPr lvl="0"/>
            <a:r>
              <a:rPr lang="en-US"/>
              <a:t>Heading of presentation</a:t>
            </a:r>
          </a:p>
        </p:txBody>
      </p:sp>
    </p:spTree>
    <p:extLst>
      <p:ext uri="{BB962C8B-B14F-4D97-AF65-F5344CB8AC3E}">
        <p14:creationId xmlns:p14="http://schemas.microsoft.com/office/powerpoint/2010/main" val="284261491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597E8-0BE5-4529-AF88-CB2F580888B6}"/>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F6410FB7-3C65-4EDF-9FC0-B57C0643C7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4ADAFC44-BB24-4C04-B0E5-D57CF10316E8}"/>
              </a:ext>
            </a:extLst>
          </p:cNvPr>
          <p:cNvSpPr>
            <a:spLocks noGrp="1"/>
          </p:cNvSpPr>
          <p:nvPr>
            <p:ph type="dt" sz="half" idx="10"/>
          </p:nvPr>
        </p:nvSpPr>
        <p:spPr/>
        <p:txBody>
          <a:bodyPr/>
          <a:lstStyle/>
          <a:p>
            <a:fld id="{18F7392A-80EB-4FA5-A1C9-71F7F7A26AF7}" type="datetimeFigureOut">
              <a:rPr lang="en-NL" smtClean="0"/>
              <a:t>06/20/2023</a:t>
            </a:fld>
            <a:endParaRPr lang="en-NL"/>
          </a:p>
        </p:txBody>
      </p:sp>
      <p:sp>
        <p:nvSpPr>
          <p:cNvPr id="5" name="Footer Placeholder 4">
            <a:extLst>
              <a:ext uri="{FF2B5EF4-FFF2-40B4-BE49-F238E27FC236}">
                <a16:creationId xmlns:a16="http://schemas.microsoft.com/office/drawing/2014/main" id="{FC300032-040F-4F31-A809-36977713501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4B43CF04-2F52-499F-A50E-6BCB72C79791}"/>
              </a:ext>
            </a:extLst>
          </p:cNvPr>
          <p:cNvSpPr>
            <a:spLocks noGrp="1"/>
          </p:cNvSpPr>
          <p:nvPr>
            <p:ph type="sldNum" sz="quarter" idx="12"/>
          </p:nvPr>
        </p:nvSpPr>
        <p:spPr/>
        <p:txBody>
          <a:bodyPr/>
          <a:lstStyle/>
          <a:p>
            <a:fld id="{0784147C-9AD1-43A2-9B30-C667A3F31083}" type="slidenum">
              <a:rPr lang="en-NL" smtClean="0"/>
              <a:t>‹N°›</a:t>
            </a:fld>
            <a:endParaRPr lang="en-NL"/>
          </a:p>
        </p:txBody>
      </p:sp>
    </p:spTree>
    <p:extLst>
      <p:ext uri="{BB962C8B-B14F-4D97-AF65-F5344CB8AC3E}">
        <p14:creationId xmlns:p14="http://schemas.microsoft.com/office/powerpoint/2010/main" val="14729320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NTT_title_and_content_page_dark">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481675909"/>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cSld name="1_NTT_title_and_content_page_white">
    <p:bg bwMode="ltGray">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41"/>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701" y="1529032"/>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9" name="Picture 8">
            <a:extLst>
              <a:ext uri="{FF2B5EF4-FFF2-40B4-BE49-F238E27FC236}">
                <a16:creationId xmlns:a16="http://schemas.microsoft.com/office/drawing/2014/main" id="{EC44C116-FF61-DB4A-943D-398F239A61E4}"/>
              </a:ext>
            </a:extLst>
          </p:cNvPr>
          <p:cNvPicPr>
            <a:picLocks noChangeAspect="1"/>
          </p:cNvPicPr>
          <p:nvPr userDrawn="1"/>
        </p:nvPicPr>
        <p:blipFill>
          <a:blip r:embed="rId2"/>
          <a:stretch>
            <a:fillRect/>
          </a:stretch>
        </p:blipFill>
        <p:spPr>
          <a:xfrm>
            <a:off x="10471353" y="339012"/>
            <a:ext cx="1313600" cy="476912"/>
          </a:xfrm>
          <a:prstGeom prst="rect">
            <a:avLst/>
          </a:prstGeom>
        </p:spPr>
      </p:pic>
    </p:spTree>
    <p:extLst>
      <p:ext uri="{BB962C8B-B14F-4D97-AF65-F5344CB8AC3E}">
        <p14:creationId xmlns:p14="http://schemas.microsoft.com/office/powerpoint/2010/main" val="27207870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NTT_chart_layout_dark">
    <p:bg>
      <p:bgPr>
        <a:solidFill>
          <a:srgbClr val="0072BC"/>
        </a:solidFill>
        <a:effectLst/>
      </p:bgPr>
    </p:bg>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38FA4721-5BFE-4BC2-AD6B-22A4C0788750}"/>
              </a:ext>
            </a:extLst>
          </p:cNvPr>
          <p:cNvSpPr txBox="1">
            <a:spLocks noGrp="1"/>
          </p:cNvSpPr>
          <p:nvPr>
            <p:ph type="body" sz="quarter" idx="4294967295"/>
          </p:nvPr>
        </p:nvSpPr>
        <p:spPr>
          <a:xfrm>
            <a:off x="395816" y="1211425"/>
            <a:ext cx="11377101" cy="381003"/>
          </a:xfrm>
          <a:prstGeom prst="rect">
            <a:avLst/>
          </a:prstGeom>
          <a:noFill/>
          <a:ln>
            <a:noFill/>
          </a:ln>
        </p:spPr>
        <p:txBody>
          <a:bodyPr vert="horz" wrap="square" lIns="91440" tIns="45720" rIns="91440" bIns="45720" anchor="t" anchorCtr="1" compatLnSpc="1">
            <a:noAutofit/>
          </a:bodyPr>
          <a:lstStyle>
            <a:lvl1pPr marL="0" marR="0" lvl="0" indent="0" algn="ctr" defTabSz="1219139" fontAlgn="auto">
              <a:lnSpc>
                <a:spcPct val="114000"/>
              </a:lnSpc>
              <a:spcBef>
                <a:spcPts val="800"/>
              </a:spcBef>
              <a:spcAft>
                <a:spcPts val="135"/>
              </a:spcAft>
              <a:buNone/>
              <a:tabLst/>
              <a:defRPr lang="fr-FR" sz="1867" b="0" i="0" u="none" strike="noStrike" cap="none" spc="0" baseline="0">
                <a:solidFill>
                  <a:srgbClr val="FFFFFF"/>
                </a:solidFill>
                <a:uFillTx/>
                <a:latin typeface="Arial" pitchFamily="34"/>
                <a:ea typeface="ＭＳ Ｐゴシック" pitchFamily="34"/>
                <a:cs typeface="Arial" pitchFamily="34"/>
              </a:defRPr>
            </a:lvl1pPr>
          </a:lstStyle>
          <a:p>
            <a:pPr lvl="0"/>
            <a:r>
              <a:rPr lang="fr-FR"/>
              <a:t>Cliquez pour modifier les styles du texte du masque</a:t>
            </a:r>
          </a:p>
        </p:txBody>
      </p:sp>
      <p:sp>
        <p:nvSpPr>
          <p:cNvPr id="3" name="Chart Placeholder 5">
            <a:extLst>
              <a:ext uri="{FF2B5EF4-FFF2-40B4-BE49-F238E27FC236}">
                <a16:creationId xmlns:a16="http://schemas.microsoft.com/office/drawing/2014/main" id="{C9EC8BC5-A128-49B9-A3C8-8EAC81B5CCD7}"/>
              </a:ext>
            </a:extLst>
          </p:cNvPr>
          <p:cNvSpPr txBox="1">
            <a:spLocks noGrp="1"/>
          </p:cNvSpPr>
          <p:nvPr>
            <p:ph type="chart" sz="quarter" idx="4294967295"/>
          </p:nvPr>
        </p:nvSpPr>
        <p:spPr>
          <a:xfrm>
            <a:off x="396695" y="1683602"/>
            <a:ext cx="11376205" cy="4108775"/>
          </a:xfrm>
          <a:prstGeom prst="rect">
            <a:avLst/>
          </a:prstGeom>
          <a:noFill/>
          <a:ln>
            <a:noFill/>
          </a:ln>
        </p:spPr>
        <p:txBody>
          <a:bodyPr vert="horz" wrap="square" lIns="35999" tIns="35999" rIns="35999" bIns="35999" anchor="ctr" anchorCtr="1" compatLnSpc="1">
            <a:noAutofit/>
          </a:bodyPr>
          <a:lstStyle>
            <a:lvl1pPr marL="0" marR="0" lvl="0" indent="0" algn="ctr" defTabSz="1219139" fontAlgn="auto">
              <a:lnSpc>
                <a:spcPct val="110000"/>
              </a:lnSpc>
              <a:spcBef>
                <a:spcPts val="265"/>
              </a:spcBef>
              <a:spcAft>
                <a:spcPts val="265"/>
              </a:spcAft>
              <a:buNone/>
              <a:tabLst/>
              <a:defRPr lang="fr-FR" sz="2133" b="0" i="0" u="none" strike="noStrike" cap="none" spc="0" baseline="0">
                <a:solidFill>
                  <a:srgbClr val="FFFFFF"/>
                </a:solidFill>
                <a:uFillTx/>
                <a:latin typeface="Arial" pitchFamily="34"/>
                <a:ea typeface="ＭＳ Ｐゴシック" pitchFamily="34"/>
                <a:cs typeface="Arial" pitchFamily="34"/>
              </a:defRPr>
            </a:lvl1pPr>
          </a:lstStyle>
          <a:p>
            <a:pPr lvl="0"/>
            <a:r>
              <a:rPr lang="fr-FR"/>
              <a:t>Cliquez sur l'icône pour ajouter un graphique</a:t>
            </a:r>
            <a:endParaRPr lang="en-ZA"/>
          </a:p>
        </p:txBody>
      </p:sp>
      <p:sp>
        <p:nvSpPr>
          <p:cNvPr id="4" name="Title 1">
            <a:extLst>
              <a:ext uri="{FF2B5EF4-FFF2-40B4-BE49-F238E27FC236}">
                <a16:creationId xmlns:a16="http://schemas.microsoft.com/office/drawing/2014/main" id="{904047AE-E1D8-4DBD-ABAA-A746E4252F6E}"/>
              </a:ext>
            </a:extLst>
          </p:cNvPr>
          <p:cNvSpPr txBox="1">
            <a:spLocks noGrp="1"/>
          </p:cNvSpPr>
          <p:nvPr>
            <p:ph type="title"/>
          </p:nvPr>
        </p:nvSpPr>
        <p:spPr>
          <a:xfrm>
            <a:off x="396695" y="169337"/>
            <a:ext cx="9941320" cy="793755"/>
          </a:xfrm>
          <a:prstGeom prst="rect">
            <a:avLst/>
          </a:prstGeom>
          <a:noFill/>
          <a:ln>
            <a:noFill/>
          </a:ln>
        </p:spPr>
        <p:txBody>
          <a:bodyPr vert="horz" wrap="square" lIns="91440" tIns="45720" rIns="91440" bIns="45720" anchor="ctr" anchorCtr="0" compatLnSpc="1">
            <a:noAutofit/>
          </a:bodyPr>
          <a:lstStyle>
            <a:lvl1pPr marL="0" marR="0" lvl="0" indent="0" defTabSz="1219139" fontAlgn="auto">
              <a:lnSpc>
                <a:spcPct val="120000"/>
              </a:lnSpc>
              <a:spcBef>
                <a:spcPts val="265"/>
              </a:spcBef>
              <a:spcAft>
                <a:spcPts val="265"/>
              </a:spcAft>
              <a:tabLst/>
              <a:defRPr lang="fr-FR" sz="2667" b="1" i="0" u="none" strike="noStrike" cap="none" spc="0" baseline="0">
                <a:solidFill>
                  <a:srgbClr val="FFFFFF"/>
                </a:solidFill>
                <a:uFillTx/>
                <a:latin typeface="Arial" pitchFamily="34"/>
                <a:ea typeface="ＭＳ Ｐゴシック" pitchFamily="34"/>
                <a:cs typeface="Arial" pitchFamily="34"/>
              </a:defRPr>
            </a:lvl1pPr>
          </a:lstStyle>
          <a:p>
            <a:pPr lvl="0"/>
            <a:r>
              <a:rPr lang="fr-FR"/>
              <a:t>Modifiez le style du titre</a:t>
            </a:r>
            <a:endParaRPr lang="en-ZA"/>
          </a:p>
        </p:txBody>
      </p:sp>
      <p:grpSp>
        <p:nvGrpSpPr>
          <p:cNvPr id="5" name="Group 8">
            <a:extLst>
              <a:ext uri="{FF2B5EF4-FFF2-40B4-BE49-F238E27FC236}">
                <a16:creationId xmlns:a16="http://schemas.microsoft.com/office/drawing/2014/main" id="{B49C395D-23E6-411F-B92F-A802C4D0B31D}"/>
              </a:ext>
            </a:extLst>
          </p:cNvPr>
          <p:cNvGrpSpPr/>
          <p:nvPr/>
        </p:nvGrpSpPr>
        <p:grpSpPr>
          <a:xfrm>
            <a:off x="10458440" y="332678"/>
            <a:ext cx="1308296" cy="484943"/>
            <a:chOff x="10458440" y="332677"/>
            <a:chExt cx="1308296" cy="484942"/>
          </a:xfrm>
        </p:grpSpPr>
        <p:sp>
          <p:nvSpPr>
            <p:cNvPr id="6" name="Freeform 5">
              <a:extLst>
                <a:ext uri="{FF2B5EF4-FFF2-40B4-BE49-F238E27FC236}">
                  <a16:creationId xmlns:a16="http://schemas.microsoft.com/office/drawing/2014/main" id="{2BBCDA9D-27A8-4A51-980B-7499B996229D}"/>
                </a:ext>
              </a:extLst>
            </p:cNvPr>
            <p:cNvSpPr/>
            <p:nvPr/>
          </p:nvSpPr>
          <p:spPr>
            <a:xfrm>
              <a:off x="10458440" y="332677"/>
              <a:ext cx="511999" cy="484942"/>
            </a:xfrm>
            <a:custGeom>
              <a:avLst/>
              <a:gdLst>
                <a:gd name="f0" fmla="val 10800000"/>
                <a:gd name="f1" fmla="val 5400000"/>
                <a:gd name="f2" fmla="val 180"/>
                <a:gd name="f3" fmla="val w"/>
                <a:gd name="f4" fmla="val h"/>
                <a:gd name="f5" fmla="val 0"/>
                <a:gd name="f6" fmla="val 2428"/>
                <a:gd name="f7" fmla="val 2296"/>
                <a:gd name="f8" fmla="val 1508"/>
                <a:gd name="f9" fmla="val 1398"/>
                <a:gd name="f10" fmla="val 1290"/>
                <a:gd name="f11" fmla="val 23"/>
                <a:gd name="f12" fmla="val 1214"/>
                <a:gd name="f13" fmla="val 55"/>
                <a:gd name="f14" fmla="val 1138"/>
                <a:gd name="f15" fmla="val 1030"/>
                <a:gd name="f16" fmla="val 920"/>
                <a:gd name="f17" fmla="val 437"/>
                <a:gd name="f18" fmla="val 457"/>
                <a:gd name="f19" fmla="val 1084"/>
                <a:gd name="f20" fmla="val 1768"/>
                <a:gd name="f21" fmla="val 559"/>
                <a:gd name="f22" fmla="val 1869"/>
                <a:gd name="f23" fmla="val 1991"/>
                <a:gd name="f24" fmla="val 372"/>
                <a:gd name="f25" fmla="val 1307"/>
                <a:gd name="f26" fmla="val 427"/>
                <a:gd name="f27" fmla="val 1430"/>
                <a:gd name="f28" fmla="val 588"/>
                <a:gd name="f29" fmla="val 769"/>
                <a:gd name="f30" fmla="val 902"/>
                <a:gd name="f31" fmla="val 1343"/>
                <a:gd name="f32" fmla="val 1006"/>
                <a:gd name="f33" fmla="val 1086"/>
                <a:gd name="f34" fmla="val 998"/>
                <a:gd name="f35" fmla="val 1121"/>
                <a:gd name="f36" fmla="val 1998"/>
                <a:gd name="f37" fmla="val 713"/>
                <a:gd name="f38" fmla="val 299"/>
                <a:gd name="f39" fmla="val 1595"/>
                <a:gd name="f40" fmla="val 1078"/>
                <a:gd name="f41" fmla="val 606"/>
                <a:gd name="f42" fmla="val 639"/>
                <a:gd name="f43" fmla="val 284"/>
                <a:gd name="f44" fmla="val 907"/>
                <a:gd name="f45" fmla="val 296"/>
                <a:gd name="f46" fmla="val 780"/>
                <a:gd name="f47" fmla="val 422"/>
                <a:gd name="f48" fmla="val 703"/>
                <a:gd name="f49" fmla="val 784"/>
                <a:gd name="f50" fmla="val 1090"/>
                <a:gd name="f51" fmla="val 946"/>
                <a:gd name="f52" fmla="val 1305"/>
                <a:gd name="f53" fmla="val 1482"/>
                <a:gd name="f54" fmla="val 1725"/>
                <a:gd name="f55" fmla="val 1648"/>
                <a:gd name="f56" fmla="val 1521"/>
                <a:gd name="f57" fmla="val 1789"/>
                <a:gd name="f58" fmla="val 2129"/>
                <a:gd name="f59" fmla="val 1715"/>
                <a:gd name="f60" fmla="+- 0 0 -90"/>
                <a:gd name="f61" fmla="*/ f3 1 2428"/>
                <a:gd name="f62" fmla="*/ f4 1 2296"/>
                <a:gd name="f63" fmla="val f5"/>
                <a:gd name="f64" fmla="val f6"/>
                <a:gd name="f65" fmla="val f7"/>
                <a:gd name="f66" fmla="*/ f60 f0 1"/>
                <a:gd name="f67" fmla="+- f65 0 f63"/>
                <a:gd name="f68" fmla="+- f64 0 f63"/>
                <a:gd name="f69" fmla="*/ f66 1 f2"/>
                <a:gd name="f70" fmla="*/ f68 1 2428"/>
                <a:gd name="f71" fmla="*/ f67 1 2296"/>
                <a:gd name="f72" fmla="*/ 1508 f68 1"/>
                <a:gd name="f73" fmla="*/ 0 f67 1"/>
                <a:gd name="f74" fmla="*/ 1214 f68 1"/>
                <a:gd name="f75" fmla="*/ 55 f67 1"/>
                <a:gd name="f76" fmla="*/ 920 f68 1"/>
                <a:gd name="f77" fmla="*/ 0 f68 1"/>
                <a:gd name="f78" fmla="*/ 1084 f67 1"/>
                <a:gd name="f79" fmla="*/ 2296 f67 1"/>
                <a:gd name="f80" fmla="*/ 2428 f68 1"/>
                <a:gd name="f81" fmla="*/ 372 f67 1"/>
                <a:gd name="f82" fmla="*/ 1430 f68 1"/>
                <a:gd name="f83" fmla="*/ 769 f67 1"/>
                <a:gd name="f84" fmla="*/ 1006 f67 1"/>
                <a:gd name="f85" fmla="*/ 998 f68 1"/>
                <a:gd name="f86" fmla="*/ 1998 f67 1"/>
                <a:gd name="f87" fmla="*/ 299 f68 1"/>
                <a:gd name="f88" fmla="*/ 1078 f67 1"/>
                <a:gd name="f89" fmla="*/ 907 f68 1"/>
                <a:gd name="f90" fmla="*/ 296 f67 1"/>
                <a:gd name="f91" fmla="*/ 703 f68 1"/>
                <a:gd name="f92" fmla="*/ 784 f67 1"/>
                <a:gd name="f93" fmla="*/ 1305 f67 1"/>
                <a:gd name="f94" fmla="*/ 1725 f68 1"/>
                <a:gd name="f95" fmla="*/ 1521 f68 1"/>
                <a:gd name="f96" fmla="*/ 2129 f68 1"/>
                <a:gd name="f97" fmla="+- f69 0 f1"/>
                <a:gd name="f98" fmla="*/ f72 1 2428"/>
                <a:gd name="f99" fmla="*/ f73 1 2296"/>
                <a:gd name="f100" fmla="*/ f74 1 2428"/>
                <a:gd name="f101" fmla="*/ f75 1 2296"/>
                <a:gd name="f102" fmla="*/ f76 1 2428"/>
                <a:gd name="f103" fmla="*/ f77 1 2428"/>
                <a:gd name="f104" fmla="*/ f78 1 2296"/>
                <a:gd name="f105" fmla="*/ f79 1 2296"/>
                <a:gd name="f106" fmla="*/ f80 1 2428"/>
                <a:gd name="f107" fmla="*/ f81 1 2296"/>
                <a:gd name="f108" fmla="*/ f82 1 2428"/>
                <a:gd name="f109" fmla="*/ f83 1 2296"/>
                <a:gd name="f110" fmla="*/ f84 1 2296"/>
                <a:gd name="f111" fmla="*/ f85 1 2428"/>
                <a:gd name="f112" fmla="*/ f86 1 2296"/>
                <a:gd name="f113" fmla="*/ f87 1 2428"/>
                <a:gd name="f114" fmla="*/ f88 1 2296"/>
                <a:gd name="f115" fmla="*/ f89 1 2428"/>
                <a:gd name="f116" fmla="*/ f90 1 2296"/>
                <a:gd name="f117" fmla="*/ f91 1 2428"/>
                <a:gd name="f118" fmla="*/ f92 1 2296"/>
                <a:gd name="f119" fmla="*/ f93 1 2296"/>
                <a:gd name="f120" fmla="*/ f94 1 2428"/>
                <a:gd name="f121" fmla="*/ f95 1 2428"/>
                <a:gd name="f122" fmla="*/ f96 1 2428"/>
                <a:gd name="f123" fmla="*/ 0 1 f70"/>
                <a:gd name="f124" fmla="*/ f64 1 f70"/>
                <a:gd name="f125" fmla="*/ 0 1 f71"/>
                <a:gd name="f126" fmla="*/ f65 1 f71"/>
                <a:gd name="f127" fmla="*/ f98 1 f70"/>
                <a:gd name="f128" fmla="*/ f99 1 f71"/>
                <a:gd name="f129" fmla="*/ f100 1 f70"/>
                <a:gd name="f130" fmla="*/ f101 1 f71"/>
                <a:gd name="f131" fmla="*/ f102 1 f70"/>
                <a:gd name="f132" fmla="*/ f103 1 f70"/>
                <a:gd name="f133" fmla="*/ f104 1 f71"/>
                <a:gd name="f134" fmla="*/ f105 1 f71"/>
                <a:gd name="f135" fmla="*/ f106 1 f70"/>
                <a:gd name="f136" fmla="*/ f107 1 f71"/>
                <a:gd name="f137" fmla="*/ f108 1 f70"/>
                <a:gd name="f138" fmla="*/ f109 1 f71"/>
                <a:gd name="f139" fmla="*/ f110 1 f71"/>
                <a:gd name="f140" fmla="*/ f111 1 f70"/>
                <a:gd name="f141" fmla="*/ f112 1 f71"/>
                <a:gd name="f142" fmla="*/ f113 1 f70"/>
                <a:gd name="f143" fmla="*/ f114 1 f71"/>
                <a:gd name="f144" fmla="*/ f115 1 f70"/>
                <a:gd name="f145" fmla="*/ f116 1 f71"/>
                <a:gd name="f146" fmla="*/ f117 1 f70"/>
                <a:gd name="f147" fmla="*/ f118 1 f71"/>
                <a:gd name="f148" fmla="*/ f119 1 f71"/>
                <a:gd name="f149" fmla="*/ f120 1 f70"/>
                <a:gd name="f150" fmla="*/ f121 1 f70"/>
                <a:gd name="f151" fmla="*/ f122 1 f70"/>
                <a:gd name="f152" fmla="*/ f123 f61 1"/>
                <a:gd name="f153" fmla="*/ f124 f61 1"/>
                <a:gd name="f154" fmla="*/ f126 f62 1"/>
                <a:gd name="f155" fmla="*/ f125 f62 1"/>
                <a:gd name="f156" fmla="*/ f127 f61 1"/>
                <a:gd name="f157" fmla="*/ f128 f62 1"/>
                <a:gd name="f158" fmla="*/ f129 f61 1"/>
                <a:gd name="f159" fmla="*/ f130 f62 1"/>
                <a:gd name="f160" fmla="*/ f131 f61 1"/>
                <a:gd name="f161" fmla="*/ f132 f61 1"/>
                <a:gd name="f162" fmla="*/ f133 f62 1"/>
                <a:gd name="f163" fmla="*/ f134 f62 1"/>
                <a:gd name="f164" fmla="*/ f135 f61 1"/>
                <a:gd name="f165" fmla="*/ f136 f62 1"/>
                <a:gd name="f166" fmla="*/ f137 f61 1"/>
                <a:gd name="f167" fmla="*/ f138 f62 1"/>
                <a:gd name="f168" fmla="*/ f139 f62 1"/>
                <a:gd name="f169" fmla="*/ f140 f61 1"/>
                <a:gd name="f170" fmla="*/ f141 f62 1"/>
                <a:gd name="f171" fmla="*/ f142 f61 1"/>
                <a:gd name="f172" fmla="*/ f143 f62 1"/>
                <a:gd name="f173" fmla="*/ f144 f61 1"/>
                <a:gd name="f174" fmla="*/ f145 f62 1"/>
                <a:gd name="f175" fmla="*/ f146 f61 1"/>
                <a:gd name="f176" fmla="*/ f147 f62 1"/>
                <a:gd name="f177" fmla="*/ f148 f62 1"/>
                <a:gd name="f178" fmla="*/ f149 f61 1"/>
                <a:gd name="f179" fmla="*/ f150 f61 1"/>
                <a:gd name="f180" fmla="*/ f151 f61 1"/>
              </a:gdLst>
              <a:ahLst/>
              <a:cxnLst>
                <a:cxn ang="3cd4">
                  <a:pos x="hc" y="t"/>
                </a:cxn>
                <a:cxn ang="0">
                  <a:pos x="r" y="vc"/>
                </a:cxn>
                <a:cxn ang="cd4">
                  <a:pos x="hc" y="b"/>
                </a:cxn>
                <a:cxn ang="cd2">
                  <a:pos x="l" y="vc"/>
                </a:cxn>
                <a:cxn ang="f97">
                  <a:pos x="f156" y="f157"/>
                </a:cxn>
                <a:cxn ang="f97">
                  <a:pos x="f158" y="f159"/>
                </a:cxn>
                <a:cxn ang="f97">
                  <a:pos x="f160" y="f157"/>
                </a:cxn>
                <a:cxn ang="f97">
                  <a:pos x="f161" y="f162"/>
                </a:cxn>
                <a:cxn ang="f97">
                  <a:pos x="f158" y="f163"/>
                </a:cxn>
                <a:cxn ang="f97">
                  <a:pos x="f164" y="f162"/>
                </a:cxn>
                <a:cxn ang="f97">
                  <a:pos x="f156" y="f157"/>
                </a:cxn>
                <a:cxn ang="f97">
                  <a:pos x="f158" y="f165"/>
                </a:cxn>
                <a:cxn ang="f97">
                  <a:pos x="f166" y="f167"/>
                </a:cxn>
                <a:cxn ang="f97">
                  <a:pos x="f158" y="f168"/>
                </a:cxn>
                <a:cxn ang="f97">
                  <a:pos x="f169" y="f167"/>
                </a:cxn>
                <a:cxn ang="f97">
                  <a:pos x="f158" y="f165"/>
                </a:cxn>
                <a:cxn ang="f97">
                  <a:pos x="f158" y="f170"/>
                </a:cxn>
                <a:cxn ang="f97">
                  <a:pos x="f171" y="f172"/>
                </a:cxn>
                <a:cxn ang="f97">
                  <a:pos x="f173" y="f174"/>
                </a:cxn>
                <a:cxn ang="f97">
                  <a:pos x="f175" y="f176"/>
                </a:cxn>
                <a:cxn ang="f97">
                  <a:pos x="f158" y="f177"/>
                </a:cxn>
                <a:cxn ang="f97">
                  <a:pos x="f178" y="f176"/>
                </a:cxn>
                <a:cxn ang="f97">
                  <a:pos x="f179" y="f174"/>
                </a:cxn>
                <a:cxn ang="f97">
                  <a:pos x="f180" y="f172"/>
                </a:cxn>
                <a:cxn ang="f97">
                  <a:pos x="f158" y="f170"/>
                </a:cxn>
              </a:cxnLst>
              <a:rect l="f152" t="f155" r="f153" b="f154"/>
              <a:pathLst>
                <a:path w="2428" h="2296">
                  <a:moveTo>
                    <a:pt x="f8" y="f5"/>
                  </a:moveTo>
                  <a:cubicBezTo>
                    <a:pt x="f9" y="f5"/>
                    <a:pt x="f10" y="f11"/>
                    <a:pt x="f12" y="f13"/>
                  </a:cubicBezTo>
                  <a:cubicBezTo>
                    <a:pt x="f14" y="f11"/>
                    <a:pt x="f15" y="f5"/>
                    <a:pt x="f16" y="f5"/>
                  </a:cubicBezTo>
                  <a:cubicBezTo>
                    <a:pt x="f17" y="f5"/>
                    <a:pt x="f5" y="f18"/>
                    <a:pt x="f5" y="f19"/>
                  </a:cubicBezTo>
                  <a:cubicBezTo>
                    <a:pt x="f5" y="f20"/>
                    <a:pt x="f21" y="f7"/>
                    <a:pt x="f12" y="f7"/>
                  </a:cubicBezTo>
                  <a:cubicBezTo>
                    <a:pt x="f22" y="f7"/>
                    <a:pt x="f6" y="f20"/>
                    <a:pt x="f6" y="f19"/>
                  </a:cubicBezTo>
                  <a:cubicBezTo>
                    <a:pt x="f6" y="f18"/>
                    <a:pt x="f23" y="f5"/>
                    <a:pt x="f8" y="f5"/>
                  </a:cubicBezTo>
                  <a:moveTo>
                    <a:pt x="f12" y="f24"/>
                  </a:moveTo>
                  <a:cubicBezTo>
                    <a:pt x="f25" y="f26"/>
                    <a:pt x="f27" y="f28"/>
                    <a:pt x="f27" y="f29"/>
                  </a:cubicBezTo>
                  <a:cubicBezTo>
                    <a:pt x="f27" y="f30"/>
                    <a:pt x="f31" y="f32"/>
                    <a:pt x="f12" y="f32"/>
                  </a:cubicBezTo>
                  <a:cubicBezTo>
                    <a:pt x="f33" y="f32"/>
                    <a:pt x="f34" y="f30"/>
                    <a:pt x="f34" y="f29"/>
                  </a:cubicBezTo>
                  <a:cubicBezTo>
                    <a:pt x="f34" y="f28"/>
                    <a:pt x="f35" y="f26"/>
                    <a:pt x="f12" y="f24"/>
                  </a:cubicBezTo>
                  <a:moveTo>
                    <a:pt x="f12" y="f36"/>
                  </a:moveTo>
                  <a:cubicBezTo>
                    <a:pt x="f37" y="f36"/>
                    <a:pt x="f38" y="f39"/>
                    <a:pt x="f38" y="f40"/>
                  </a:cubicBezTo>
                  <a:cubicBezTo>
                    <a:pt x="f38" y="f41"/>
                    <a:pt x="f42" y="f43"/>
                    <a:pt x="f44" y="f45"/>
                  </a:cubicBezTo>
                  <a:cubicBezTo>
                    <a:pt x="f46" y="f47"/>
                    <a:pt x="f48" y="f41"/>
                    <a:pt x="f48" y="f49"/>
                  </a:cubicBezTo>
                  <a:cubicBezTo>
                    <a:pt x="f48" y="f50"/>
                    <a:pt x="f51" y="f52"/>
                    <a:pt x="f12" y="f52"/>
                  </a:cubicBezTo>
                  <a:cubicBezTo>
                    <a:pt x="f53" y="f52"/>
                    <a:pt x="f54" y="f50"/>
                    <a:pt x="f54" y="f49"/>
                  </a:cubicBezTo>
                  <a:cubicBezTo>
                    <a:pt x="f54" y="f41"/>
                    <a:pt x="f55" y="f47"/>
                    <a:pt x="f56" y="f45"/>
                  </a:cubicBezTo>
                  <a:cubicBezTo>
                    <a:pt x="f57" y="f43"/>
                    <a:pt x="f58" y="f41"/>
                    <a:pt x="f58" y="f40"/>
                  </a:cubicBezTo>
                  <a:cubicBezTo>
                    <a:pt x="f58" y="f39"/>
                    <a:pt x="f59" y="f36"/>
                    <a:pt x="f12" y="f36"/>
                  </a:cubicBezTo>
                </a:path>
              </a:pathLst>
            </a:custGeom>
            <a:noFill/>
            <a:ln>
              <a:noFill/>
              <a:prstDash val="solid"/>
            </a:ln>
          </p:spPr>
          <p:txBody>
            <a:bodyPr vert="horz" wrap="square" lIns="91440" tIns="45720" rIns="91440" bIns="45720" anchor="t" anchorCtr="0" compatLnSpc="1">
              <a:noAutofit/>
            </a:bodyPr>
            <a:lstStyle/>
            <a:p>
              <a:pPr marL="0" marR="0" lvl="0" indent="0" algn="l" defTabSz="91437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Arial"/>
              </a:endParaRPr>
            </a:p>
          </p:txBody>
        </p:sp>
        <p:sp>
          <p:nvSpPr>
            <p:cNvPr id="7" name="Freeform 6">
              <a:extLst>
                <a:ext uri="{FF2B5EF4-FFF2-40B4-BE49-F238E27FC236}">
                  <a16:creationId xmlns:a16="http://schemas.microsoft.com/office/drawing/2014/main" id="{A2D932E8-6057-4EF4-8558-1AB704225992}"/>
                </a:ext>
              </a:extLst>
            </p:cNvPr>
            <p:cNvSpPr/>
            <p:nvPr/>
          </p:nvSpPr>
          <p:spPr>
            <a:xfrm>
              <a:off x="11065044" y="440210"/>
              <a:ext cx="701692" cy="246092"/>
            </a:xfrm>
            <a:custGeom>
              <a:avLst/>
              <a:gdLst>
                <a:gd name="f0" fmla="val 10800000"/>
                <a:gd name="f1" fmla="val 5400000"/>
                <a:gd name="f2" fmla="val 180"/>
                <a:gd name="f3" fmla="val w"/>
                <a:gd name="f4" fmla="val h"/>
                <a:gd name="f5" fmla="val 0"/>
                <a:gd name="f6" fmla="val 1055"/>
                <a:gd name="f7" fmla="val 370"/>
                <a:gd name="f8" fmla="val 362"/>
                <a:gd name="f9" fmla="val 73"/>
                <a:gd name="f10" fmla="val 321"/>
                <a:gd name="f11" fmla="val 236"/>
                <a:gd name="f12" fmla="val 126"/>
                <a:gd name="f13" fmla="val 163"/>
                <a:gd name="f14" fmla="val 297"/>
                <a:gd name="f15" fmla="val 167"/>
                <a:gd name="f16" fmla="val 40"/>
                <a:gd name="f17" fmla="val 208"/>
                <a:gd name="f18" fmla="val 195"/>
                <a:gd name="f19" fmla="val 709"/>
                <a:gd name="f20" fmla="val 142"/>
                <a:gd name="f21" fmla="val 388"/>
                <a:gd name="f22" fmla="val 461"/>
                <a:gd name="f23" fmla="val 500"/>
                <a:gd name="f24" fmla="val 447"/>
                <a:gd name="f25" fmla="val 650"/>
                <a:gd name="f26" fmla="val 597"/>
                <a:gd name="f27" fmla="val 636"/>
                <a:gd name="f28" fmla="val 734"/>
                <a:gd name="f29" fmla="val 807"/>
                <a:gd name="f30" fmla="val 846"/>
                <a:gd name="f31" fmla="val 793"/>
                <a:gd name="f32" fmla="val 996"/>
                <a:gd name="f33" fmla="val 943"/>
                <a:gd name="f34" fmla="val 982"/>
                <a:gd name="f35" fmla="+- 0 0 -90"/>
                <a:gd name="f36" fmla="*/ f3 1 1055"/>
                <a:gd name="f37" fmla="*/ f4 1 370"/>
                <a:gd name="f38" fmla="val f5"/>
                <a:gd name="f39" fmla="val f6"/>
                <a:gd name="f40" fmla="val f7"/>
                <a:gd name="f41" fmla="*/ f35 f0 1"/>
                <a:gd name="f42" fmla="+- f40 0 f38"/>
                <a:gd name="f43" fmla="+- f39 0 f38"/>
                <a:gd name="f44" fmla="*/ f41 1 f2"/>
                <a:gd name="f45" fmla="*/ f43 1 1055"/>
                <a:gd name="f46" fmla="*/ f42 1 370"/>
                <a:gd name="f47" fmla="*/ 362 f43 1"/>
                <a:gd name="f48" fmla="*/ 0 f42 1"/>
                <a:gd name="f49" fmla="*/ 73 f42 1"/>
                <a:gd name="f50" fmla="*/ 321 f43 1"/>
                <a:gd name="f51" fmla="*/ 370 f42 1"/>
                <a:gd name="f52" fmla="*/ 236 f43 1"/>
                <a:gd name="f53" fmla="*/ 126 f43 1"/>
                <a:gd name="f54" fmla="*/ 163 f42 1"/>
                <a:gd name="f55" fmla="*/ 297 f42 1"/>
                <a:gd name="f56" fmla="*/ 167 f43 1"/>
                <a:gd name="f57" fmla="*/ 0 f43 1"/>
                <a:gd name="f58" fmla="*/ 40 f43 1"/>
                <a:gd name="f59" fmla="*/ 208 f42 1"/>
                <a:gd name="f60" fmla="*/ 195 f43 1"/>
                <a:gd name="f61" fmla="*/ 709 f43 1"/>
                <a:gd name="f62" fmla="*/ 142 f42 1"/>
                <a:gd name="f63" fmla="*/ 388 f43 1"/>
                <a:gd name="f64" fmla="*/ 461 f43 1"/>
                <a:gd name="f65" fmla="*/ 500 f43 1"/>
                <a:gd name="f66" fmla="*/ 447 f43 1"/>
                <a:gd name="f67" fmla="*/ 650 f43 1"/>
                <a:gd name="f68" fmla="*/ 597 f43 1"/>
                <a:gd name="f69" fmla="*/ 636 f43 1"/>
                <a:gd name="f70" fmla="*/ 1055 f43 1"/>
                <a:gd name="f71" fmla="*/ 734 f43 1"/>
                <a:gd name="f72" fmla="*/ 807 f43 1"/>
                <a:gd name="f73" fmla="*/ 846 f43 1"/>
                <a:gd name="f74" fmla="*/ 793 f43 1"/>
                <a:gd name="f75" fmla="*/ 996 f43 1"/>
                <a:gd name="f76" fmla="*/ 943 f43 1"/>
                <a:gd name="f77" fmla="*/ 982 f43 1"/>
                <a:gd name="f78" fmla="+- f44 0 f1"/>
                <a:gd name="f79" fmla="*/ f47 1 1055"/>
                <a:gd name="f80" fmla="*/ f48 1 370"/>
                <a:gd name="f81" fmla="*/ f49 1 370"/>
                <a:gd name="f82" fmla="*/ f50 1 1055"/>
                <a:gd name="f83" fmla="*/ f51 1 370"/>
                <a:gd name="f84" fmla="*/ f52 1 1055"/>
                <a:gd name="f85" fmla="*/ f53 1 1055"/>
                <a:gd name="f86" fmla="*/ f54 1 370"/>
                <a:gd name="f87" fmla="*/ f55 1 370"/>
                <a:gd name="f88" fmla="*/ f56 1 1055"/>
                <a:gd name="f89" fmla="*/ f57 1 1055"/>
                <a:gd name="f90" fmla="*/ f58 1 1055"/>
                <a:gd name="f91" fmla="*/ f59 1 370"/>
                <a:gd name="f92" fmla="*/ f60 1 1055"/>
                <a:gd name="f93" fmla="*/ f61 1 1055"/>
                <a:gd name="f94" fmla="*/ f62 1 370"/>
                <a:gd name="f95" fmla="*/ f63 1 1055"/>
                <a:gd name="f96" fmla="*/ f64 1 1055"/>
                <a:gd name="f97" fmla="*/ f65 1 1055"/>
                <a:gd name="f98" fmla="*/ f66 1 1055"/>
                <a:gd name="f99" fmla="*/ f67 1 1055"/>
                <a:gd name="f100" fmla="*/ f68 1 1055"/>
                <a:gd name="f101" fmla="*/ f69 1 1055"/>
                <a:gd name="f102" fmla="*/ f70 1 1055"/>
                <a:gd name="f103" fmla="*/ f71 1 1055"/>
                <a:gd name="f104" fmla="*/ f72 1 1055"/>
                <a:gd name="f105" fmla="*/ f73 1 1055"/>
                <a:gd name="f106" fmla="*/ f74 1 1055"/>
                <a:gd name="f107" fmla="*/ f75 1 1055"/>
                <a:gd name="f108" fmla="*/ f76 1 1055"/>
                <a:gd name="f109" fmla="*/ f77 1 1055"/>
                <a:gd name="f110" fmla="*/ 0 1 f45"/>
                <a:gd name="f111" fmla="*/ f39 1 f45"/>
                <a:gd name="f112" fmla="*/ 0 1 f46"/>
                <a:gd name="f113" fmla="*/ f40 1 f46"/>
                <a:gd name="f114" fmla="*/ f79 1 f45"/>
                <a:gd name="f115" fmla="*/ f80 1 f46"/>
                <a:gd name="f116" fmla="*/ f81 1 f46"/>
                <a:gd name="f117" fmla="*/ f82 1 f45"/>
                <a:gd name="f118" fmla="*/ f83 1 f46"/>
                <a:gd name="f119" fmla="*/ f84 1 f45"/>
                <a:gd name="f120" fmla="*/ f85 1 f45"/>
                <a:gd name="f121" fmla="*/ f86 1 f46"/>
                <a:gd name="f122" fmla="*/ f87 1 f46"/>
                <a:gd name="f123" fmla="*/ f88 1 f45"/>
                <a:gd name="f124" fmla="*/ f89 1 f45"/>
                <a:gd name="f125" fmla="*/ f90 1 f45"/>
                <a:gd name="f126" fmla="*/ f91 1 f46"/>
                <a:gd name="f127" fmla="*/ f92 1 f45"/>
                <a:gd name="f128" fmla="*/ f93 1 f45"/>
                <a:gd name="f129" fmla="*/ f94 1 f46"/>
                <a:gd name="f130" fmla="*/ f95 1 f45"/>
                <a:gd name="f131" fmla="*/ f96 1 f45"/>
                <a:gd name="f132" fmla="*/ f97 1 f45"/>
                <a:gd name="f133" fmla="*/ f98 1 f45"/>
                <a:gd name="f134" fmla="*/ f99 1 f45"/>
                <a:gd name="f135" fmla="*/ f100 1 f45"/>
                <a:gd name="f136" fmla="*/ f101 1 f45"/>
                <a:gd name="f137" fmla="*/ f102 1 f45"/>
                <a:gd name="f138" fmla="*/ f103 1 f45"/>
                <a:gd name="f139" fmla="*/ f104 1 f45"/>
                <a:gd name="f140" fmla="*/ f105 1 f45"/>
                <a:gd name="f141" fmla="*/ f106 1 f45"/>
                <a:gd name="f142" fmla="*/ f107 1 f45"/>
                <a:gd name="f143" fmla="*/ f108 1 f45"/>
                <a:gd name="f144" fmla="*/ f109 1 f45"/>
                <a:gd name="f145" fmla="*/ f110 f36 1"/>
                <a:gd name="f146" fmla="*/ f111 f36 1"/>
                <a:gd name="f147" fmla="*/ f113 f37 1"/>
                <a:gd name="f148" fmla="*/ f112 f37 1"/>
                <a:gd name="f149" fmla="*/ f114 f36 1"/>
                <a:gd name="f150" fmla="*/ f115 f37 1"/>
                <a:gd name="f151" fmla="*/ f116 f37 1"/>
                <a:gd name="f152" fmla="*/ f117 f36 1"/>
                <a:gd name="f153" fmla="*/ f118 f37 1"/>
                <a:gd name="f154" fmla="*/ f119 f36 1"/>
                <a:gd name="f155" fmla="*/ f120 f36 1"/>
                <a:gd name="f156" fmla="*/ f121 f37 1"/>
                <a:gd name="f157" fmla="*/ f122 f37 1"/>
                <a:gd name="f158" fmla="*/ f123 f36 1"/>
                <a:gd name="f159" fmla="*/ f124 f36 1"/>
                <a:gd name="f160" fmla="*/ f125 f36 1"/>
                <a:gd name="f161" fmla="*/ f126 f37 1"/>
                <a:gd name="f162" fmla="*/ f127 f36 1"/>
                <a:gd name="f163" fmla="*/ f128 f36 1"/>
                <a:gd name="f164" fmla="*/ f129 f37 1"/>
                <a:gd name="f165" fmla="*/ f130 f36 1"/>
                <a:gd name="f166" fmla="*/ f131 f36 1"/>
                <a:gd name="f167" fmla="*/ f132 f36 1"/>
                <a:gd name="f168" fmla="*/ f133 f36 1"/>
                <a:gd name="f169" fmla="*/ f134 f36 1"/>
                <a:gd name="f170" fmla="*/ f135 f36 1"/>
                <a:gd name="f171" fmla="*/ f136 f36 1"/>
                <a:gd name="f172" fmla="*/ f137 f36 1"/>
                <a:gd name="f173" fmla="*/ f138 f36 1"/>
                <a:gd name="f174" fmla="*/ f139 f36 1"/>
                <a:gd name="f175" fmla="*/ f140 f36 1"/>
                <a:gd name="f176" fmla="*/ f141 f36 1"/>
                <a:gd name="f177" fmla="*/ f142 f36 1"/>
                <a:gd name="f178" fmla="*/ f143 f36 1"/>
                <a:gd name="f179" fmla="*/ f144 f36 1"/>
              </a:gdLst>
              <a:ahLst/>
              <a:cxnLst>
                <a:cxn ang="3cd4">
                  <a:pos x="hc" y="t"/>
                </a:cxn>
                <a:cxn ang="0">
                  <a:pos x="r" y="vc"/>
                </a:cxn>
                <a:cxn ang="cd4">
                  <a:pos x="hc" y="b"/>
                </a:cxn>
                <a:cxn ang="cd2">
                  <a:pos x="l" y="vc"/>
                </a:cxn>
                <a:cxn ang="f78">
                  <a:pos x="f149" y="f150"/>
                </a:cxn>
                <a:cxn ang="f78">
                  <a:pos x="f149" y="f151"/>
                </a:cxn>
                <a:cxn ang="f78">
                  <a:pos x="f152" y="f151"/>
                </a:cxn>
                <a:cxn ang="f78">
                  <a:pos x="f152" y="f153"/>
                </a:cxn>
                <a:cxn ang="f78">
                  <a:pos x="f154" y="f153"/>
                </a:cxn>
                <a:cxn ang="f78">
                  <a:pos x="f155" y="f156"/>
                </a:cxn>
                <a:cxn ang="f78">
                  <a:pos x="f155" y="f157"/>
                </a:cxn>
                <a:cxn ang="f78">
                  <a:pos x="f158" y="f157"/>
                </a:cxn>
                <a:cxn ang="f78">
                  <a:pos x="f158" y="f153"/>
                </a:cxn>
                <a:cxn ang="f78">
                  <a:pos x="f159" y="f153"/>
                </a:cxn>
                <a:cxn ang="f78">
                  <a:pos x="f159" y="f157"/>
                </a:cxn>
                <a:cxn ang="f78">
                  <a:pos x="f160" y="f157"/>
                </a:cxn>
                <a:cxn ang="f78">
                  <a:pos x="f160" y="f151"/>
                </a:cxn>
                <a:cxn ang="f78">
                  <a:pos x="f159" y="f151"/>
                </a:cxn>
                <a:cxn ang="f78">
                  <a:pos x="f159" y="f150"/>
                </a:cxn>
                <a:cxn ang="f78">
                  <a:pos x="f155" y="f150"/>
                </a:cxn>
                <a:cxn ang="f78">
                  <a:pos x="f154" y="f161"/>
                </a:cxn>
                <a:cxn ang="f78">
                  <a:pos x="f154" y="f151"/>
                </a:cxn>
                <a:cxn ang="f78">
                  <a:pos x="f162" y="f151"/>
                </a:cxn>
                <a:cxn ang="f78">
                  <a:pos x="f162" y="f150"/>
                </a:cxn>
                <a:cxn ang="f78">
                  <a:pos x="f149" y="f150"/>
                </a:cxn>
                <a:cxn ang="f78">
                  <a:pos x="f163" y="f164"/>
                </a:cxn>
                <a:cxn ang="f78">
                  <a:pos x="f163" y="f150"/>
                </a:cxn>
                <a:cxn ang="f78">
                  <a:pos x="f165" y="f150"/>
                </a:cxn>
                <a:cxn ang="f78">
                  <a:pos x="f165" y="f164"/>
                </a:cxn>
                <a:cxn ang="f78">
                  <a:pos x="f166" y="f164"/>
                </a:cxn>
                <a:cxn ang="f78">
                  <a:pos x="f166" y="f151"/>
                </a:cxn>
                <a:cxn ang="f78">
                  <a:pos x="f167" y="f151"/>
                </a:cxn>
                <a:cxn ang="f78">
                  <a:pos x="f167" y="f157"/>
                </a:cxn>
                <a:cxn ang="f78">
                  <a:pos x="f168" y="f157"/>
                </a:cxn>
                <a:cxn ang="f78">
                  <a:pos x="f168" y="f153"/>
                </a:cxn>
                <a:cxn ang="f78">
                  <a:pos x="f169" y="f153"/>
                </a:cxn>
                <a:cxn ang="f78">
                  <a:pos x="f169" y="f157"/>
                </a:cxn>
                <a:cxn ang="f78">
                  <a:pos x="f170" y="f157"/>
                </a:cxn>
                <a:cxn ang="f78">
                  <a:pos x="f170" y="f151"/>
                </a:cxn>
                <a:cxn ang="f78">
                  <a:pos x="f171" y="f151"/>
                </a:cxn>
                <a:cxn ang="f78">
                  <a:pos x="f171" y="f164"/>
                </a:cxn>
                <a:cxn ang="f78">
                  <a:pos x="f163" y="f164"/>
                </a:cxn>
                <a:cxn ang="f78">
                  <a:pos x="f172" y="f164"/>
                </a:cxn>
                <a:cxn ang="f78">
                  <a:pos x="f172" y="f150"/>
                </a:cxn>
                <a:cxn ang="f78">
                  <a:pos x="f173" y="f150"/>
                </a:cxn>
                <a:cxn ang="f78">
                  <a:pos x="f173" y="f164"/>
                </a:cxn>
                <a:cxn ang="f78">
                  <a:pos x="f174" y="f164"/>
                </a:cxn>
                <a:cxn ang="f78">
                  <a:pos x="f174" y="f151"/>
                </a:cxn>
                <a:cxn ang="f78">
                  <a:pos x="f175" y="f151"/>
                </a:cxn>
                <a:cxn ang="f78">
                  <a:pos x="f175" y="f157"/>
                </a:cxn>
                <a:cxn ang="f78">
                  <a:pos x="f176" y="f157"/>
                </a:cxn>
                <a:cxn ang="f78">
                  <a:pos x="f176" y="f153"/>
                </a:cxn>
                <a:cxn ang="f78">
                  <a:pos x="f177" y="f153"/>
                </a:cxn>
                <a:cxn ang="f78">
                  <a:pos x="f177" y="f157"/>
                </a:cxn>
                <a:cxn ang="f78">
                  <a:pos x="f178" y="f157"/>
                </a:cxn>
                <a:cxn ang="f78">
                  <a:pos x="f178" y="f151"/>
                </a:cxn>
                <a:cxn ang="f78">
                  <a:pos x="f179" y="f151"/>
                </a:cxn>
                <a:cxn ang="f78">
                  <a:pos x="f179" y="f164"/>
                </a:cxn>
                <a:cxn ang="f78">
                  <a:pos x="f172" y="f164"/>
                </a:cxn>
              </a:cxnLst>
              <a:rect l="f145" t="f148" r="f146" b="f147"/>
              <a:pathLst>
                <a:path w="1055" h="370">
                  <a:moveTo>
                    <a:pt x="f8" y="f5"/>
                  </a:moveTo>
                  <a:lnTo>
                    <a:pt x="f8" y="f9"/>
                  </a:lnTo>
                  <a:lnTo>
                    <a:pt x="f10" y="f9"/>
                  </a:lnTo>
                  <a:lnTo>
                    <a:pt x="f10" y="f7"/>
                  </a:lnTo>
                  <a:lnTo>
                    <a:pt x="f11" y="f7"/>
                  </a:lnTo>
                  <a:lnTo>
                    <a:pt x="f12" y="f13"/>
                  </a:lnTo>
                  <a:lnTo>
                    <a:pt x="f12" y="f14"/>
                  </a:lnTo>
                  <a:lnTo>
                    <a:pt x="f15" y="f14"/>
                  </a:lnTo>
                  <a:lnTo>
                    <a:pt x="f15" y="f7"/>
                  </a:lnTo>
                  <a:lnTo>
                    <a:pt x="f5" y="f7"/>
                  </a:lnTo>
                  <a:lnTo>
                    <a:pt x="f5" y="f14"/>
                  </a:lnTo>
                  <a:lnTo>
                    <a:pt x="f16" y="f14"/>
                  </a:lnTo>
                  <a:lnTo>
                    <a:pt x="f16" y="f9"/>
                  </a:lnTo>
                  <a:lnTo>
                    <a:pt x="f5" y="f9"/>
                  </a:lnTo>
                  <a:lnTo>
                    <a:pt x="f5" y="f5"/>
                  </a:lnTo>
                  <a:lnTo>
                    <a:pt x="f12" y="f5"/>
                  </a:lnTo>
                  <a:lnTo>
                    <a:pt x="f11" y="f17"/>
                  </a:lnTo>
                  <a:lnTo>
                    <a:pt x="f11" y="f9"/>
                  </a:lnTo>
                  <a:lnTo>
                    <a:pt x="f18" y="f9"/>
                  </a:lnTo>
                  <a:lnTo>
                    <a:pt x="f18" y="f5"/>
                  </a:lnTo>
                  <a:lnTo>
                    <a:pt x="f8" y="f5"/>
                  </a:lnTo>
                  <a:close/>
                  <a:moveTo>
                    <a:pt x="f19" y="f20"/>
                  </a:moveTo>
                  <a:lnTo>
                    <a:pt x="f19" y="f5"/>
                  </a:lnTo>
                  <a:lnTo>
                    <a:pt x="f21" y="f5"/>
                  </a:lnTo>
                  <a:lnTo>
                    <a:pt x="f21" y="f20"/>
                  </a:lnTo>
                  <a:lnTo>
                    <a:pt x="f22" y="f20"/>
                  </a:lnTo>
                  <a:lnTo>
                    <a:pt x="f22" y="f9"/>
                  </a:lnTo>
                  <a:lnTo>
                    <a:pt x="f23" y="f9"/>
                  </a:lnTo>
                  <a:lnTo>
                    <a:pt x="f23" y="f14"/>
                  </a:lnTo>
                  <a:lnTo>
                    <a:pt x="f24" y="f14"/>
                  </a:lnTo>
                  <a:lnTo>
                    <a:pt x="f24" y="f7"/>
                  </a:lnTo>
                  <a:lnTo>
                    <a:pt x="f25" y="f7"/>
                  </a:lnTo>
                  <a:lnTo>
                    <a:pt x="f25" y="f14"/>
                  </a:lnTo>
                  <a:lnTo>
                    <a:pt x="f26" y="f14"/>
                  </a:lnTo>
                  <a:lnTo>
                    <a:pt x="f26" y="f9"/>
                  </a:lnTo>
                  <a:lnTo>
                    <a:pt x="f27" y="f9"/>
                  </a:lnTo>
                  <a:lnTo>
                    <a:pt x="f27" y="f20"/>
                  </a:lnTo>
                  <a:lnTo>
                    <a:pt x="f19" y="f20"/>
                  </a:lnTo>
                  <a:close/>
                  <a:moveTo>
                    <a:pt x="f6" y="f20"/>
                  </a:moveTo>
                  <a:lnTo>
                    <a:pt x="f6" y="f5"/>
                  </a:lnTo>
                  <a:lnTo>
                    <a:pt x="f28" y="f5"/>
                  </a:lnTo>
                  <a:lnTo>
                    <a:pt x="f28" y="f20"/>
                  </a:lnTo>
                  <a:lnTo>
                    <a:pt x="f29" y="f20"/>
                  </a:lnTo>
                  <a:lnTo>
                    <a:pt x="f29" y="f9"/>
                  </a:lnTo>
                  <a:lnTo>
                    <a:pt x="f30" y="f9"/>
                  </a:lnTo>
                  <a:lnTo>
                    <a:pt x="f30" y="f14"/>
                  </a:lnTo>
                  <a:lnTo>
                    <a:pt x="f31" y="f14"/>
                  </a:lnTo>
                  <a:lnTo>
                    <a:pt x="f31" y="f7"/>
                  </a:lnTo>
                  <a:lnTo>
                    <a:pt x="f32" y="f7"/>
                  </a:lnTo>
                  <a:lnTo>
                    <a:pt x="f32" y="f14"/>
                  </a:lnTo>
                  <a:lnTo>
                    <a:pt x="f33" y="f14"/>
                  </a:lnTo>
                  <a:lnTo>
                    <a:pt x="f33" y="f9"/>
                  </a:lnTo>
                  <a:lnTo>
                    <a:pt x="f34" y="f9"/>
                  </a:lnTo>
                  <a:lnTo>
                    <a:pt x="f34" y="f20"/>
                  </a:lnTo>
                  <a:lnTo>
                    <a:pt x="f6" y="f20"/>
                  </a:lnTo>
                  <a:close/>
                </a:path>
              </a:pathLst>
            </a:custGeom>
            <a:solidFill>
              <a:srgbClr val="FFFFFF"/>
            </a:solidFill>
            <a:ln>
              <a:noFill/>
              <a:prstDash val="solid"/>
            </a:ln>
          </p:spPr>
          <p:txBody>
            <a:bodyPr vert="horz" wrap="square" lIns="91440" tIns="45720" rIns="91440" bIns="45720" anchor="t" anchorCtr="0" compatLnSpc="1">
              <a:noAutofit/>
            </a:bodyPr>
            <a:lstStyle/>
            <a:p>
              <a:pPr marL="0" marR="0" lvl="0" indent="0" algn="l" defTabSz="91437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Arial"/>
              </a:endParaRPr>
            </a:p>
          </p:txBody>
        </p:sp>
      </p:grpSp>
      <p:sp>
        <p:nvSpPr>
          <p:cNvPr id="8" name="Text Placeholder 2">
            <a:extLst>
              <a:ext uri="{FF2B5EF4-FFF2-40B4-BE49-F238E27FC236}">
                <a16:creationId xmlns:a16="http://schemas.microsoft.com/office/drawing/2014/main" id="{167C626D-79AC-49CE-AB5A-B861C6E49CB0}"/>
              </a:ext>
            </a:extLst>
          </p:cNvPr>
          <p:cNvSpPr txBox="1">
            <a:spLocks noGrp="1"/>
          </p:cNvSpPr>
          <p:nvPr>
            <p:ph type="body" sz="quarter" idx="4294967295"/>
          </p:nvPr>
        </p:nvSpPr>
        <p:spPr>
          <a:xfrm>
            <a:off x="6376011" y="6499793"/>
            <a:ext cx="4799411" cy="234945"/>
          </a:xfrm>
          <a:prstGeom prst="rect">
            <a:avLst/>
          </a:prstGeom>
          <a:noFill/>
          <a:ln>
            <a:noFill/>
          </a:ln>
        </p:spPr>
        <p:txBody>
          <a:bodyPr vert="horz" wrap="square" lIns="91440" tIns="45720" rIns="91440" bIns="45720" anchor="ctr" anchorCtr="0" compatLnSpc="1">
            <a:noAutofit/>
          </a:bodyPr>
          <a:lstStyle>
            <a:lvl1pPr marL="0" marR="0" lvl="0" indent="0" algn="r" defTabSz="1219139" fontAlgn="auto">
              <a:lnSpc>
                <a:spcPct val="114000"/>
              </a:lnSpc>
              <a:spcBef>
                <a:spcPts val="800"/>
              </a:spcBef>
              <a:spcAft>
                <a:spcPts val="135"/>
              </a:spcAft>
              <a:buNone/>
              <a:tabLst/>
              <a:defRPr lang="en-GB" sz="1200" b="0" i="0" u="none" strike="noStrike" cap="none" spc="0" baseline="0">
                <a:solidFill>
                  <a:srgbClr val="FFFFFF"/>
                </a:solidFill>
                <a:uFillTx/>
                <a:latin typeface="Arial"/>
              </a:defRPr>
            </a:lvl1pPr>
          </a:lstStyle>
          <a:p>
            <a:pPr lvl="0"/>
            <a:r>
              <a:rPr lang="en-GB"/>
              <a:t>[Name]-[Classification]-[Status]-v[x-x]</a:t>
            </a:r>
          </a:p>
        </p:txBody>
      </p:sp>
      <p:sp>
        <p:nvSpPr>
          <p:cNvPr id="9" name="Text Placeholder 2">
            <a:extLst>
              <a:ext uri="{FF2B5EF4-FFF2-40B4-BE49-F238E27FC236}">
                <a16:creationId xmlns:a16="http://schemas.microsoft.com/office/drawing/2014/main" id="{48AAE529-44A3-4824-81C0-8079AA9BB2C8}"/>
              </a:ext>
            </a:extLst>
          </p:cNvPr>
          <p:cNvSpPr txBox="1">
            <a:spLocks noGrp="1"/>
          </p:cNvSpPr>
          <p:nvPr>
            <p:ph type="body" sz="quarter" idx="4294967295"/>
          </p:nvPr>
        </p:nvSpPr>
        <p:spPr>
          <a:xfrm>
            <a:off x="11367692" y="6499877"/>
            <a:ext cx="608405" cy="234945"/>
          </a:xfrm>
          <a:prstGeom prst="rect">
            <a:avLst/>
          </a:prstGeom>
          <a:noFill/>
          <a:ln>
            <a:noFill/>
          </a:ln>
        </p:spPr>
        <p:txBody>
          <a:bodyPr vert="horz" wrap="square" lIns="91440" tIns="45720" rIns="91440" bIns="45720" anchor="ctr" anchorCtr="0" compatLnSpc="1">
            <a:noAutofit/>
          </a:bodyPr>
          <a:lstStyle>
            <a:lvl1pPr marL="0" marR="0" lvl="0" indent="0" algn="r" defTabSz="1219139" fontAlgn="auto">
              <a:lnSpc>
                <a:spcPct val="114000"/>
              </a:lnSpc>
              <a:spcBef>
                <a:spcPts val="800"/>
              </a:spcBef>
              <a:spcAft>
                <a:spcPts val="135"/>
              </a:spcAft>
              <a:buNone/>
              <a:tabLst/>
              <a:defRPr lang="en-GB" sz="1200" b="0" i="0" u="none" strike="noStrike" cap="none" spc="0" baseline="0">
                <a:solidFill>
                  <a:srgbClr val="FFFFFF"/>
                </a:solidFill>
                <a:uFillTx/>
                <a:latin typeface="Arial"/>
              </a:defRPr>
            </a:lvl1pPr>
          </a:lstStyle>
          <a:p>
            <a:pPr lvl="0"/>
            <a:fld id="{B63DE630-A831-4049-A8B2-AD7DBDAC0F76}" type="slidenum">
              <a:t>‹#›</a:t>
            </a:fld>
            <a:endParaRPr lang="en-GB"/>
          </a:p>
        </p:txBody>
      </p:sp>
      <p:sp>
        <p:nvSpPr>
          <p:cNvPr id="10" name="Rectangle 25">
            <a:extLst>
              <a:ext uri="{FF2B5EF4-FFF2-40B4-BE49-F238E27FC236}">
                <a16:creationId xmlns:a16="http://schemas.microsoft.com/office/drawing/2014/main" id="{C3503FC7-B1B2-4C48-A6BA-BD41FBAC125E}"/>
              </a:ext>
            </a:extLst>
          </p:cNvPr>
          <p:cNvSpPr/>
          <p:nvPr/>
        </p:nvSpPr>
        <p:spPr>
          <a:xfrm>
            <a:off x="215899" y="6463381"/>
            <a:ext cx="2403222" cy="276999"/>
          </a:xfrm>
          <a:prstGeom prst="rect">
            <a:avLst/>
          </a:prstGeom>
          <a:noFill/>
          <a:ln>
            <a:noFill/>
            <a:prstDash val="solid"/>
          </a:ln>
        </p:spPr>
        <p:txBody>
          <a:bodyPr vert="horz" wrap="none" lIns="91440" tIns="45720" rIns="91440" bIns="45720" anchor="t" anchorCtr="0" compatLnSpc="1">
            <a:spAutoFit/>
          </a:bodyPr>
          <a:lstStyle/>
          <a:p>
            <a:pPr marL="0" marR="0" lvl="0" indent="0" algn="l" defTabSz="914377"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FFFFFF"/>
                </a:solidFill>
                <a:uFillTx/>
                <a:latin typeface="Arial"/>
              </a:rPr>
              <a:t>© 2020 NTT All Rights Reserved</a:t>
            </a:r>
          </a:p>
        </p:txBody>
      </p:sp>
    </p:spTree>
    <p:extLst>
      <p:ext uri="{BB962C8B-B14F-4D97-AF65-F5344CB8AC3E}">
        <p14:creationId xmlns:p14="http://schemas.microsoft.com/office/powerpoint/2010/main" val="4284942943"/>
      </p:ext>
    </p:extLst>
  </p:cSld>
  <p:clrMapOvr>
    <a:masterClrMapping/>
  </p:clrMapOvr>
  <p:transition spd="med">
    <p:fade/>
  </p:transition>
  <p:hf sldNum="0"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2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770027"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grpSp>
        <p:nvGrpSpPr>
          <p:cNvPr id="10" name="Group 9">
            <a:extLst>
              <a:ext uri="{FF2B5EF4-FFF2-40B4-BE49-F238E27FC236}">
                <a16:creationId xmlns:a16="http://schemas.microsoft.com/office/drawing/2014/main" id="{7085ABD9-769E-9F44-B621-8F50D5338B8F}"/>
              </a:ext>
            </a:extLst>
          </p:cNvPr>
          <p:cNvGrpSpPr/>
          <p:nvPr userDrawn="1"/>
        </p:nvGrpSpPr>
        <p:grpSpPr>
          <a:xfrm>
            <a:off x="10458438" y="332679"/>
            <a:ext cx="1308293" cy="484944"/>
            <a:chOff x="7843828" y="249509"/>
            <a:chExt cx="981220" cy="363708"/>
          </a:xfrm>
        </p:grpSpPr>
        <p:sp>
          <p:nvSpPr>
            <p:cNvPr id="11" name="Freeform 5">
              <a:extLst>
                <a:ext uri="{FF2B5EF4-FFF2-40B4-BE49-F238E27FC236}">
                  <a16:creationId xmlns:a16="http://schemas.microsoft.com/office/drawing/2014/main" id="{F831984E-FF85-F444-8E1E-635A70B5FF01}"/>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2" name="Freeform 6">
              <a:extLst>
                <a:ext uri="{FF2B5EF4-FFF2-40B4-BE49-F238E27FC236}">
                  <a16:creationId xmlns:a16="http://schemas.microsoft.com/office/drawing/2014/main" id="{D49B1C00-21CA-8F45-B313-EB0D7B2D8E9F}"/>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endParaRPr>
            </a:p>
          </p:txBody>
        </p:sp>
      </p:grpSp>
      <p:sp>
        <p:nvSpPr>
          <p:cNvPr id="9" name="Rectangle 8">
            <a:extLst>
              <a:ext uri="{FF2B5EF4-FFF2-40B4-BE49-F238E27FC236}">
                <a16:creationId xmlns:a16="http://schemas.microsoft.com/office/drawing/2014/main" id="{B372C535-CC0F-FB4B-8F7C-9110F63E40CF}"/>
              </a:ext>
            </a:extLst>
          </p:cNvPr>
          <p:cNvSpPr/>
          <p:nvPr userDrawn="1"/>
        </p:nvSpPr>
        <p:spPr>
          <a:xfrm>
            <a:off x="215899" y="6463378"/>
            <a:ext cx="2479012" cy="276999"/>
          </a:xfrm>
          <a:prstGeom prst="rect">
            <a:avLst/>
          </a:prstGeom>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2020 © NTT ‘All Rights Reserved’</a:t>
            </a:r>
          </a:p>
        </p:txBody>
      </p:sp>
      <p:sp>
        <p:nvSpPr>
          <p:cNvPr id="15" name="Text Placeholder 2">
            <a:extLst>
              <a:ext uri="{FF2B5EF4-FFF2-40B4-BE49-F238E27FC236}">
                <a16:creationId xmlns:a16="http://schemas.microsoft.com/office/drawing/2014/main" id="{B635664D-C191-2341-8175-0FD71E08F653}"/>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6" name="Text Placeholder 2">
            <a:extLst>
              <a:ext uri="{FF2B5EF4-FFF2-40B4-BE49-F238E27FC236}">
                <a16:creationId xmlns:a16="http://schemas.microsoft.com/office/drawing/2014/main" id="{0253C6C5-850E-9A4D-9D07-B275F523C4C3}"/>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1765229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2_Case_Study_Short_Summary">
    <p:bg bwMode="ltGray">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110D2BC-ED68-3F42-802D-FADCC79FDCEC}"/>
              </a:ext>
            </a:extLst>
          </p:cNvPr>
          <p:cNvSpPr/>
          <p:nvPr userDrawn="1"/>
        </p:nvSpPr>
        <p:spPr>
          <a:xfrm>
            <a:off x="7418653" y="3"/>
            <a:ext cx="4773351" cy="685799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914377" rtl="0" eaLnBrk="1" fontAlgn="auto"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rial"/>
              <a:ea typeface="+mn-ea"/>
              <a:cs typeface="+mn-cs"/>
            </a:endParaRPr>
          </a:p>
        </p:txBody>
      </p:sp>
      <p:sp>
        <p:nvSpPr>
          <p:cNvPr id="16" name="Text Placeholder 14">
            <a:extLst>
              <a:ext uri="{FF2B5EF4-FFF2-40B4-BE49-F238E27FC236}">
                <a16:creationId xmlns:a16="http://schemas.microsoft.com/office/drawing/2014/main" id="{97473D72-CD3C-2042-B2AE-4093DA561D8E}"/>
              </a:ext>
            </a:extLst>
          </p:cNvPr>
          <p:cNvSpPr>
            <a:spLocks noGrp="1"/>
          </p:cNvSpPr>
          <p:nvPr>
            <p:ph type="body" sz="quarter" idx="16" hasCustomPrompt="1"/>
          </p:nvPr>
        </p:nvSpPr>
        <p:spPr>
          <a:xfrm>
            <a:off x="313380" y="818135"/>
            <a:ext cx="6775744" cy="2734500"/>
          </a:xfrm>
          <a:prstGeom prst="rect">
            <a:avLst/>
          </a:prstGeom>
        </p:spPr>
        <p:txBody>
          <a:bodyPr/>
          <a:lstStyle>
            <a:lvl1pPr>
              <a:lnSpc>
                <a:spcPct val="100000"/>
              </a:lnSpc>
              <a:spcBef>
                <a:spcPts val="0"/>
              </a:spcBef>
              <a:spcAft>
                <a:spcPts val="800"/>
              </a:spcAft>
              <a:defRPr sz="1867" b="1">
                <a:solidFill>
                  <a:schemeClr val="tx1"/>
                </a:solidFill>
              </a:defRPr>
            </a:lvl1pPr>
            <a:lvl2pPr marL="6351" indent="0">
              <a:lnSpc>
                <a:spcPct val="100000"/>
              </a:lnSpc>
              <a:spcBef>
                <a:spcPts val="0"/>
              </a:spcBef>
              <a:spcAft>
                <a:spcPts val="800"/>
              </a:spcAft>
              <a:buNone/>
              <a:tabLst/>
              <a:defRPr sz="1333" b="0">
                <a:solidFill>
                  <a:schemeClr val="tx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Outcome (Headings should be 14 pts)</a:t>
            </a:r>
          </a:p>
          <a:p>
            <a:pPr lvl="1"/>
            <a:r>
              <a:rPr lang="en-US"/>
              <a:t>Summary of the case study in a single paragraph. This should capture the clients’ need as well as reference how we helped them address this need. </a:t>
            </a:r>
          </a:p>
          <a:p>
            <a:pPr lvl="1"/>
            <a:r>
              <a:rPr lang="en-US"/>
              <a:t>– Max 120 words and smallest font size 9pt </a:t>
            </a:r>
          </a:p>
        </p:txBody>
      </p:sp>
      <p:sp>
        <p:nvSpPr>
          <p:cNvPr id="9" name="Text Placeholder 14">
            <a:extLst>
              <a:ext uri="{FF2B5EF4-FFF2-40B4-BE49-F238E27FC236}">
                <a16:creationId xmlns:a16="http://schemas.microsoft.com/office/drawing/2014/main" id="{8D7EF2DB-8B36-2D41-B826-AF10E97D721F}"/>
              </a:ext>
            </a:extLst>
          </p:cNvPr>
          <p:cNvSpPr>
            <a:spLocks noGrp="1"/>
          </p:cNvSpPr>
          <p:nvPr>
            <p:ph type="body" sz="quarter" idx="15"/>
          </p:nvPr>
        </p:nvSpPr>
        <p:spPr>
          <a:xfrm>
            <a:off x="313380" y="3956344"/>
            <a:ext cx="3295776" cy="2575661"/>
          </a:xfrm>
          <a:prstGeom prst="rect">
            <a:avLst/>
          </a:prstGeom>
        </p:spPr>
        <p:txBody>
          <a:bodyPr/>
          <a:lstStyle>
            <a:lvl1pPr>
              <a:lnSpc>
                <a:spcPct val="100000"/>
              </a:lnSpc>
              <a:spcBef>
                <a:spcPts val="0"/>
              </a:spcBef>
              <a:spcAft>
                <a:spcPts val="800"/>
              </a:spcAft>
              <a:defRPr sz="1867" b="1">
                <a:solidFill>
                  <a:schemeClr val="tx1"/>
                </a:solidFill>
              </a:defRPr>
            </a:lvl1pPr>
            <a:lvl2pPr>
              <a:lnSpc>
                <a:spcPct val="100000"/>
              </a:lnSpc>
              <a:spcBef>
                <a:spcPts val="0"/>
              </a:spcBef>
              <a:spcAft>
                <a:spcPts val="800"/>
              </a:spcAft>
              <a:defRPr sz="1333">
                <a:solidFill>
                  <a:schemeClr val="tx1"/>
                </a:solidFill>
              </a:defRPr>
            </a:lvl2pPr>
            <a:lvl3pPr>
              <a:lnSpc>
                <a:spcPct val="100000"/>
              </a:lnSpc>
              <a:spcBef>
                <a:spcPts val="0"/>
              </a:spcBef>
              <a:spcAft>
                <a:spcPts val="800"/>
              </a:spcAf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Text Placeholder 14">
            <a:extLst>
              <a:ext uri="{FF2B5EF4-FFF2-40B4-BE49-F238E27FC236}">
                <a16:creationId xmlns:a16="http://schemas.microsoft.com/office/drawing/2014/main" id="{792C796B-8106-8340-8209-9C11028F1855}"/>
              </a:ext>
            </a:extLst>
          </p:cNvPr>
          <p:cNvSpPr>
            <a:spLocks noGrp="1"/>
          </p:cNvSpPr>
          <p:nvPr>
            <p:ph type="body" sz="quarter" idx="17"/>
          </p:nvPr>
        </p:nvSpPr>
        <p:spPr>
          <a:xfrm>
            <a:off x="3793348" y="3956344"/>
            <a:ext cx="3295776" cy="2575661"/>
          </a:xfrm>
          <a:prstGeom prst="rect">
            <a:avLst/>
          </a:prstGeom>
        </p:spPr>
        <p:txBody>
          <a:bodyPr/>
          <a:lstStyle>
            <a:lvl1pPr>
              <a:lnSpc>
                <a:spcPct val="100000"/>
              </a:lnSpc>
              <a:spcBef>
                <a:spcPts val="0"/>
              </a:spcBef>
              <a:spcAft>
                <a:spcPts val="800"/>
              </a:spcAft>
              <a:defRPr sz="1867" b="1">
                <a:solidFill>
                  <a:schemeClr val="tx1"/>
                </a:solidFill>
              </a:defRPr>
            </a:lvl1pPr>
            <a:lvl2pPr>
              <a:lnSpc>
                <a:spcPct val="100000"/>
              </a:lnSpc>
              <a:spcBef>
                <a:spcPts val="0"/>
              </a:spcBef>
              <a:spcAft>
                <a:spcPts val="800"/>
              </a:spcAft>
              <a:defRPr sz="1333">
                <a:solidFill>
                  <a:schemeClr val="tx1"/>
                </a:solidFill>
              </a:defRPr>
            </a:lvl2pPr>
            <a:lvl3pPr>
              <a:lnSpc>
                <a:spcPct val="100000"/>
              </a:lnSpc>
              <a:spcBef>
                <a:spcPts val="0"/>
              </a:spcBef>
              <a:spcAft>
                <a:spcPts val="800"/>
              </a:spcAf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4">
            <a:extLst>
              <a:ext uri="{FF2B5EF4-FFF2-40B4-BE49-F238E27FC236}">
                <a16:creationId xmlns:a16="http://schemas.microsoft.com/office/drawing/2014/main" id="{D3C8F4C6-CB95-CB4B-9D21-04899E317223}"/>
              </a:ext>
            </a:extLst>
          </p:cNvPr>
          <p:cNvSpPr>
            <a:spLocks noGrp="1"/>
          </p:cNvSpPr>
          <p:nvPr>
            <p:ph type="body" sz="quarter" idx="18" hasCustomPrompt="1"/>
          </p:nvPr>
        </p:nvSpPr>
        <p:spPr>
          <a:xfrm>
            <a:off x="8382142" y="1150300"/>
            <a:ext cx="3384591" cy="1216557"/>
          </a:xfrm>
          <a:prstGeom prst="rect">
            <a:avLst/>
          </a:prstGeom>
        </p:spPr>
        <p:txBody>
          <a:bodyPr/>
          <a:lstStyle>
            <a:lvl1pPr>
              <a:lnSpc>
                <a:spcPct val="100000"/>
              </a:lnSpc>
              <a:spcBef>
                <a:spcPts val="0"/>
              </a:spcBef>
              <a:spcAft>
                <a:spcPts val="800"/>
              </a:spcAft>
              <a:defRPr sz="1867" b="1">
                <a:solidFill>
                  <a:schemeClr val="bg1"/>
                </a:solidFill>
              </a:defRPr>
            </a:lvl1pPr>
            <a:lvl2pPr marL="6351" indent="0">
              <a:lnSpc>
                <a:spcPct val="100000"/>
              </a:lnSpc>
              <a:spcBef>
                <a:spcPts val="0"/>
              </a:spcBef>
              <a:spcAft>
                <a:spcPts val="800"/>
              </a:spcAft>
              <a:buNone/>
              <a:tabLst/>
              <a:defRPr sz="1333" b="0">
                <a:solidFill>
                  <a:schemeClr val="bg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Stat </a:t>
            </a:r>
          </a:p>
          <a:p>
            <a:pPr lvl="1"/>
            <a:r>
              <a:rPr lang="en-US"/>
              <a:t>Insert a stat – stat font sizes can vary. Highlight, bold and make font sizes bigger to emphasis words, numbers etc.</a:t>
            </a:r>
          </a:p>
        </p:txBody>
      </p:sp>
      <p:sp>
        <p:nvSpPr>
          <p:cNvPr id="14" name="Text Placeholder 14">
            <a:extLst>
              <a:ext uri="{FF2B5EF4-FFF2-40B4-BE49-F238E27FC236}">
                <a16:creationId xmlns:a16="http://schemas.microsoft.com/office/drawing/2014/main" id="{BE98CBF8-FFEC-CB4F-AC31-4698165E7C79}"/>
              </a:ext>
            </a:extLst>
          </p:cNvPr>
          <p:cNvSpPr>
            <a:spLocks noGrp="1"/>
          </p:cNvSpPr>
          <p:nvPr>
            <p:ph type="body" sz="quarter" idx="19" hasCustomPrompt="1"/>
          </p:nvPr>
        </p:nvSpPr>
        <p:spPr>
          <a:xfrm>
            <a:off x="8382142" y="2485256"/>
            <a:ext cx="3384591" cy="1216557"/>
          </a:xfrm>
          <a:prstGeom prst="rect">
            <a:avLst/>
          </a:prstGeom>
        </p:spPr>
        <p:txBody>
          <a:bodyPr/>
          <a:lstStyle>
            <a:lvl1pPr>
              <a:lnSpc>
                <a:spcPct val="100000"/>
              </a:lnSpc>
              <a:spcBef>
                <a:spcPts val="0"/>
              </a:spcBef>
              <a:spcAft>
                <a:spcPts val="800"/>
              </a:spcAft>
              <a:defRPr sz="1867" b="1">
                <a:solidFill>
                  <a:schemeClr val="bg1"/>
                </a:solidFill>
              </a:defRPr>
            </a:lvl1pPr>
            <a:lvl2pPr marL="6351" indent="0">
              <a:lnSpc>
                <a:spcPct val="100000"/>
              </a:lnSpc>
              <a:spcBef>
                <a:spcPts val="0"/>
              </a:spcBef>
              <a:spcAft>
                <a:spcPts val="800"/>
              </a:spcAft>
              <a:buNone/>
              <a:tabLst/>
              <a:defRPr sz="1333" b="0">
                <a:solidFill>
                  <a:schemeClr val="bg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Stat </a:t>
            </a:r>
          </a:p>
          <a:p>
            <a:pPr lvl="1"/>
            <a:r>
              <a:rPr lang="en-US"/>
              <a:t>Insert a stat – stat font sizes can vary. Highlight, bold and make font sizes bigger to emphasis words, numbers etc.</a:t>
            </a:r>
          </a:p>
        </p:txBody>
      </p:sp>
      <p:sp>
        <p:nvSpPr>
          <p:cNvPr id="18" name="Text Placeholder 14">
            <a:extLst>
              <a:ext uri="{FF2B5EF4-FFF2-40B4-BE49-F238E27FC236}">
                <a16:creationId xmlns:a16="http://schemas.microsoft.com/office/drawing/2014/main" id="{81F20390-388B-584A-8DB8-21850995DF39}"/>
              </a:ext>
            </a:extLst>
          </p:cNvPr>
          <p:cNvSpPr>
            <a:spLocks noGrp="1"/>
          </p:cNvSpPr>
          <p:nvPr>
            <p:ph type="body" sz="quarter" idx="20" hasCustomPrompt="1"/>
          </p:nvPr>
        </p:nvSpPr>
        <p:spPr>
          <a:xfrm>
            <a:off x="8382142" y="3826116"/>
            <a:ext cx="3384591" cy="1216557"/>
          </a:xfrm>
          <a:prstGeom prst="rect">
            <a:avLst/>
          </a:prstGeom>
        </p:spPr>
        <p:txBody>
          <a:bodyPr/>
          <a:lstStyle>
            <a:lvl1pPr>
              <a:lnSpc>
                <a:spcPct val="100000"/>
              </a:lnSpc>
              <a:spcBef>
                <a:spcPts val="0"/>
              </a:spcBef>
              <a:spcAft>
                <a:spcPts val="800"/>
              </a:spcAft>
              <a:defRPr sz="1867" b="1">
                <a:solidFill>
                  <a:schemeClr val="bg1"/>
                </a:solidFill>
              </a:defRPr>
            </a:lvl1pPr>
            <a:lvl2pPr marL="6351" indent="0">
              <a:lnSpc>
                <a:spcPct val="100000"/>
              </a:lnSpc>
              <a:spcBef>
                <a:spcPts val="0"/>
              </a:spcBef>
              <a:spcAft>
                <a:spcPts val="800"/>
              </a:spcAft>
              <a:buNone/>
              <a:tabLst/>
              <a:defRPr sz="1333" b="0">
                <a:solidFill>
                  <a:schemeClr val="bg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Stat </a:t>
            </a:r>
          </a:p>
          <a:p>
            <a:pPr lvl="1"/>
            <a:r>
              <a:rPr lang="en-US"/>
              <a:t>Insert a stat – stat font sizes can vary. Highlight, bold and make font sizes bigger to emphasis words, numbers etc.</a:t>
            </a:r>
          </a:p>
        </p:txBody>
      </p:sp>
      <p:sp>
        <p:nvSpPr>
          <p:cNvPr id="19" name="Text Placeholder 14">
            <a:extLst>
              <a:ext uri="{FF2B5EF4-FFF2-40B4-BE49-F238E27FC236}">
                <a16:creationId xmlns:a16="http://schemas.microsoft.com/office/drawing/2014/main" id="{CADFF860-547A-0542-BEF3-801024CE4D1F}"/>
              </a:ext>
            </a:extLst>
          </p:cNvPr>
          <p:cNvSpPr>
            <a:spLocks noGrp="1"/>
          </p:cNvSpPr>
          <p:nvPr>
            <p:ph type="body" sz="quarter" idx="21" hasCustomPrompt="1"/>
          </p:nvPr>
        </p:nvSpPr>
        <p:spPr>
          <a:xfrm>
            <a:off x="8382142" y="5162040"/>
            <a:ext cx="3384591" cy="1216557"/>
          </a:xfrm>
          <a:prstGeom prst="rect">
            <a:avLst/>
          </a:prstGeom>
        </p:spPr>
        <p:txBody>
          <a:bodyPr/>
          <a:lstStyle>
            <a:lvl1pPr>
              <a:lnSpc>
                <a:spcPct val="100000"/>
              </a:lnSpc>
              <a:spcBef>
                <a:spcPts val="0"/>
              </a:spcBef>
              <a:spcAft>
                <a:spcPts val="800"/>
              </a:spcAft>
              <a:defRPr sz="1867" b="1">
                <a:solidFill>
                  <a:schemeClr val="bg1"/>
                </a:solidFill>
              </a:defRPr>
            </a:lvl1pPr>
            <a:lvl2pPr marL="6351" indent="0">
              <a:lnSpc>
                <a:spcPct val="100000"/>
              </a:lnSpc>
              <a:spcBef>
                <a:spcPts val="0"/>
              </a:spcBef>
              <a:spcAft>
                <a:spcPts val="800"/>
              </a:spcAft>
              <a:buNone/>
              <a:tabLst/>
              <a:defRPr sz="1333" b="0">
                <a:solidFill>
                  <a:schemeClr val="bg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Stat </a:t>
            </a:r>
          </a:p>
          <a:p>
            <a:pPr lvl="1"/>
            <a:r>
              <a:rPr lang="en-US"/>
              <a:t>Insert a stat – stat font sizes can vary. Highlight, bold and make font sizes bigger to emphasis words, numbers etc.</a:t>
            </a:r>
          </a:p>
        </p:txBody>
      </p:sp>
      <p:grpSp>
        <p:nvGrpSpPr>
          <p:cNvPr id="20" name="Group 19">
            <a:extLst>
              <a:ext uri="{FF2B5EF4-FFF2-40B4-BE49-F238E27FC236}">
                <a16:creationId xmlns:a16="http://schemas.microsoft.com/office/drawing/2014/main" id="{5F7CA78E-A213-6B4E-B75E-6EFB617BFE5D}"/>
              </a:ext>
            </a:extLst>
          </p:cNvPr>
          <p:cNvGrpSpPr/>
          <p:nvPr userDrawn="1"/>
        </p:nvGrpSpPr>
        <p:grpSpPr>
          <a:xfrm>
            <a:off x="10458439" y="332679"/>
            <a:ext cx="1308293" cy="484944"/>
            <a:chOff x="7843828" y="249509"/>
            <a:chExt cx="981220" cy="363708"/>
          </a:xfrm>
          <a:solidFill>
            <a:schemeClr val="bg1"/>
          </a:solidFill>
        </p:grpSpPr>
        <p:sp>
          <p:nvSpPr>
            <p:cNvPr id="21" name="Freeform 5">
              <a:extLst>
                <a:ext uri="{FF2B5EF4-FFF2-40B4-BE49-F238E27FC236}">
                  <a16:creationId xmlns:a16="http://schemas.microsoft.com/office/drawing/2014/main" id="{59D9A1D5-B353-C540-A8E4-E6692257BF92}"/>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6">
              <a:extLst>
                <a:ext uri="{FF2B5EF4-FFF2-40B4-BE49-F238E27FC236}">
                  <a16:creationId xmlns:a16="http://schemas.microsoft.com/office/drawing/2014/main" id="{980A7EE1-042D-5249-8ABF-D84C5D863AA7}"/>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26" name="Text Placeholder 14">
            <a:extLst>
              <a:ext uri="{FF2B5EF4-FFF2-40B4-BE49-F238E27FC236}">
                <a16:creationId xmlns:a16="http://schemas.microsoft.com/office/drawing/2014/main" id="{F98A09B1-B076-8A4C-A2D2-76080BCDF867}"/>
              </a:ext>
            </a:extLst>
          </p:cNvPr>
          <p:cNvSpPr>
            <a:spLocks noGrp="1"/>
          </p:cNvSpPr>
          <p:nvPr>
            <p:ph type="body" sz="quarter" idx="22" hasCustomPrompt="1"/>
          </p:nvPr>
        </p:nvSpPr>
        <p:spPr>
          <a:xfrm>
            <a:off x="313380" y="401823"/>
            <a:ext cx="6775744" cy="307776"/>
          </a:xfrm>
          <a:prstGeom prst="rect">
            <a:avLst/>
          </a:prstGeom>
        </p:spPr>
        <p:txBody>
          <a:bodyPr/>
          <a:lstStyle>
            <a:lvl1pPr>
              <a:lnSpc>
                <a:spcPct val="100000"/>
              </a:lnSpc>
              <a:spcBef>
                <a:spcPts val="0"/>
              </a:spcBef>
              <a:spcAft>
                <a:spcPts val="800"/>
              </a:spcAft>
              <a:defRPr sz="1200" b="1">
                <a:solidFill>
                  <a:schemeClr val="tx1"/>
                </a:solidFill>
              </a:defRPr>
            </a:lvl1pPr>
            <a:lvl2pPr marL="6351" indent="0">
              <a:lnSpc>
                <a:spcPct val="100000"/>
              </a:lnSpc>
              <a:spcBef>
                <a:spcPts val="0"/>
              </a:spcBef>
              <a:spcAft>
                <a:spcPts val="800"/>
              </a:spcAft>
              <a:buNone/>
              <a:tabLst/>
              <a:defRPr sz="1333" b="0">
                <a:solidFill>
                  <a:schemeClr val="tx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Name of client</a:t>
            </a:r>
          </a:p>
        </p:txBody>
      </p:sp>
      <p:sp>
        <p:nvSpPr>
          <p:cNvPr id="6" name="Picture Placeholder 5">
            <a:extLst>
              <a:ext uri="{FF2B5EF4-FFF2-40B4-BE49-F238E27FC236}">
                <a16:creationId xmlns:a16="http://schemas.microsoft.com/office/drawing/2014/main" id="{0AFA50D4-AAC9-BE47-9182-45B18F50EC29}"/>
              </a:ext>
            </a:extLst>
          </p:cNvPr>
          <p:cNvSpPr>
            <a:spLocks noGrp="1"/>
          </p:cNvSpPr>
          <p:nvPr>
            <p:ph type="pic" sz="quarter" idx="23" hasCustomPrompt="1"/>
          </p:nvPr>
        </p:nvSpPr>
        <p:spPr>
          <a:xfrm>
            <a:off x="7632701" y="1149351"/>
            <a:ext cx="603251" cy="789516"/>
          </a:xfrm>
          <a:prstGeom prst="rect">
            <a:avLst/>
          </a:prstGeom>
        </p:spPr>
        <p:txBody>
          <a:bodyPr/>
          <a:lstStyle>
            <a:lvl1pPr>
              <a:defRPr sz="1333">
                <a:solidFill>
                  <a:schemeClr val="bg1"/>
                </a:solidFill>
              </a:defRPr>
            </a:lvl1pPr>
          </a:lstStyle>
          <a:p>
            <a:r>
              <a:rPr lang="en-US"/>
              <a:t>icon</a:t>
            </a:r>
          </a:p>
        </p:txBody>
      </p:sp>
      <p:sp>
        <p:nvSpPr>
          <p:cNvPr id="27" name="Picture Placeholder 5">
            <a:extLst>
              <a:ext uri="{FF2B5EF4-FFF2-40B4-BE49-F238E27FC236}">
                <a16:creationId xmlns:a16="http://schemas.microsoft.com/office/drawing/2014/main" id="{E045957B-5939-454A-9A40-6F7D849880C6}"/>
              </a:ext>
            </a:extLst>
          </p:cNvPr>
          <p:cNvSpPr>
            <a:spLocks noGrp="1"/>
          </p:cNvSpPr>
          <p:nvPr>
            <p:ph type="pic" sz="quarter" idx="24" hasCustomPrompt="1"/>
          </p:nvPr>
        </p:nvSpPr>
        <p:spPr>
          <a:xfrm>
            <a:off x="7632701" y="2474151"/>
            <a:ext cx="603251" cy="789516"/>
          </a:xfrm>
          <a:prstGeom prst="rect">
            <a:avLst/>
          </a:prstGeom>
        </p:spPr>
        <p:txBody>
          <a:bodyPr/>
          <a:lstStyle>
            <a:lvl1pPr>
              <a:defRPr sz="1333">
                <a:solidFill>
                  <a:schemeClr val="bg1"/>
                </a:solidFill>
              </a:defRPr>
            </a:lvl1pPr>
          </a:lstStyle>
          <a:p>
            <a:r>
              <a:rPr lang="en-US"/>
              <a:t>icon</a:t>
            </a:r>
          </a:p>
        </p:txBody>
      </p:sp>
      <p:sp>
        <p:nvSpPr>
          <p:cNvPr id="28" name="Picture Placeholder 5">
            <a:extLst>
              <a:ext uri="{FF2B5EF4-FFF2-40B4-BE49-F238E27FC236}">
                <a16:creationId xmlns:a16="http://schemas.microsoft.com/office/drawing/2014/main" id="{0E274740-D0BB-F64D-BEF3-7BEF277EF2D9}"/>
              </a:ext>
            </a:extLst>
          </p:cNvPr>
          <p:cNvSpPr>
            <a:spLocks noGrp="1"/>
          </p:cNvSpPr>
          <p:nvPr>
            <p:ph type="pic" sz="quarter" idx="25" hasCustomPrompt="1"/>
          </p:nvPr>
        </p:nvSpPr>
        <p:spPr>
          <a:xfrm>
            <a:off x="7632701" y="3818151"/>
            <a:ext cx="603251" cy="789516"/>
          </a:xfrm>
          <a:prstGeom prst="rect">
            <a:avLst/>
          </a:prstGeom>
        </p:spPr>
        <p:txBody>
          <a:bodyPr/>
          <a:lstStyle>
            <a:lvl1pPr>
              <a:defRPr sz="1333">
                <a:solidFill>
                  <a:schemeClr val="bg1"/>
                </a:solidFill>
              </a:defRPr>
            </a:lvl1pPr>
          </a:lstStyle>
          <a:p>
            <a:r>
              <a:rPr lang="en-US"/>
              <a:t>icon</a:t>
            </a:r>
          </a:p>
        </p:txBody>
      </p:sp>
      <p:sp>
        <p:nvSpPr>
          <p:cNvPr id="29" name="Picture Placeholder 5">
            <a:extLst>
              <a:ext uri="{FF2B5EF4-FFF2-40B4-BE49-F238E27FC236}">
                <a16:creationId xmlns:a16="http://schemas.microsoft.com/office/drawing/2014/main" id="{E62625D8-9B9D-1E47-9FEA-E927A25AA9BB}"/>
              </a:ext>
            </a:extLst>
          </p:cNvPr>
          <p:cNvSpPr>
            <a:spLocks noGrp="1"/>
          </p:cNvSpPr>
          <p:nvPr>
            <p:ph type="pic" sz="quarter" idx="26" hasCustomPrompt="1"/>
          </p:nvPr>
        </p:nvSpPr>
        <p:spPr>
          <a:xfrm>
            <a:off x="7632701" y="5152551"/>
            <a:ext cx="603251" cy="789516"/>
          </a:xfrm>
          <a:prstGeom prst="rect">
            <a:avLst/>
          </a:prstGeom>
        </p:spPr>
        <p:txBody>
          <a:bodyPr/>
          <a:lstStyle>
            <a:lvl1pPr>
              <a:defRPr sz="1333">
                <a:solidFill>
                  <a:schemeClr val="bg1"/>
                </a:solidFill>
              </a:defRPr>
            </a:lvl1pPr>
          </a:lstStyle>
          <a:p>
            <a:r>
              <a:rPr lang="en-US"/>
              <a:t>icon</a:t>
            </a:r>
          </a:p>
        </p:txBody>
      </p:sp>
    </p:spTree>
    <p:extLst>
      <p:ext uri="{BB962C8B-B14F-4D97-AF65-F5344CB8AC3E}">
        <p14:creationId xmlns:p14="http://schemas.microsoft.com/office/powerpoint/2010/main" val="455503229"/>
      </p:ext>
    </p:extLst>
  </p:cSld>
  <p:clrMapOvr>
    <a:masterClrMapping/>
  </p:clrMapOvr>
  <p:extLst>
    <p:ext uri="{DCECCB84-F9BA-43D5-87BE-67443E8EF086}">
      <p15:sldGuideLst xmlns:p15="http://schemas.microsoft.com/office/powerpoint/2012/main">
        <p15:guide id="2" pos="5534">
          <p15:clr>
            <a:srgbClr val="FBAE40"/>
          </p15:clr>
        </p15:guide>
        <p15:guide id="3" pos="226">
          <p15:clr>
            <a:srgbClr val="FBAE40"/>
          </p15:clr>
        </p15:guide>
        <p15:guide id="4" orient="horz" pos="194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1_NTT_divider_page">
    <p:spTree>
      <p:nvGrpSpPr>
        <p:cNvPr id="1" name=""/>
        <p:cNvGrpSpPr/>
        <p:nvPr/>
      </p:nvGrpSpPr>
      <p:grpSpPr>
        <a:xfrm>
          <a:off x="0" y="0"/>
          <a:ext cx="0" cy="0"/>
          <a:chOff x="0" y="0"/>
          <a:chExt cx="0" cy="0"/>
        </a:xfrm>
      </p:grpSpPr>
      <p:sp>
        <p:nvSpPr>
          <p:cNvPr id="10" name="Picture Placeholder 3"/>
          <p:cNvSpPr>
            <a:spLocks noGrp="1"/>
          </p:cNvSpPr>
          <p:nvPr userDrawn="1">
            <p:ph type="pic" sz="quarter" idx="14"/>
          </p:nvPr>
        </p:nvSpPr>
        <p:spPr>
          <a:xfrm>
            <a:off x="0" y="4925"/>
            <a:ext cx="12192000" cy="6362011"/>
          </a:xfrm>
          <a:prstGeom prst="rect">
            <a:avLst/>
          </a:prstGeom>
        </p:spPr>
        <p:txBody>
          <a:bodyPr/>
          <a:lstStyle>
            <a:lvl1pPr>
              <a:defRPr>
                <a:solidFill>
                  <a:schemeClr val="tx1"/>
                </a:solidFill>
                <a:latin typeface="Arial"/>
              </a:defRPr>
            </a:lvl1pPr>
          </a:lstStyle>
          <a:p>
            <a:r>
              <a:rPr lang="en-US" altLang="ja-JP"/>
              <a:t>Click icon to add picture</a:t>
            </a:r>
            <a:endParaRPr lang="en-US"/>
          </a:p>
        </p:txBody>
      </p:sp>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3"/>
            <a:ext cx="11408804" cy="631775"/>
          </a:xfrm>
          <a:prstGeom prst="rect">
            <a:avLst/>
          </a:prstGeom>
        </p:spPr>
        <p:txBody>
          <a:bodyPr anchor="ctr"/>
          <a:lstStyle>
            <a:lvl1pPr algn="ctr">
              <a:defRPr sz="3200" b="1">
                <a:solidFill>
                  <a:schemeClr val="tx1"/>
                </a:solidFill>
              </a:defRPr>
            </a:lvl1pPr>
          </a:lstStyle>
          <a:p>
            <a:r>
              <a:rPr lang="en-US" altLang="ja-JP"/>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9"/>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5" name="Rectangle 4">
            <a:extLst>
              <a:ext uri="{FF2B5EF4-FFF2-40B4-BE49-F238E27FC236}">
                <a16:creationId xmlns:a16="http://schemas.microsoft.com/office/drawing/2014/main" id="{DBB9AF9C-B2E6-1240-91F3-67F7FFEE08DD}"/>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2" name="Text Placeholder 2">
            <a:extLst>
              <a:ext uri="{FF2B5EF4-FFF2-40B4-BE49-F238E27FC236}">
                <a16:creationId xmlns:a16="http://schemas.microsoft.com/office/drawing/2014/main" id="{6C6B5D88-6607-5741-86F4-1EEAB506600C}"/>
              </a:ext>
            </a:extLst>
          </p:cNvPr>
          <p:cNvSpPr>
            <a:spLocks noGrp="1"/>
          </p:cNvSpPr>
          <p:nvPr>
            <p:ph type="body" sz="quarter" idx="30" hasCustomPrompt="1"/>
          </p:nvPr>
        </p:nvSpPr>
        <p:spPr>
          <a:xfrm>
            <a:off x="6376011" y="6499792"/>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3" name="Text Placeholder 2">
            <a:extLst>
              <a:ext uri="{FF2B5EF4-FFF2-40B4-BE49-F238E27FC236}">
                <a16:creationId xmlns:a16="http://schemas.microsoft.com/office/drawing/2014/main" id="{11B59C2C-0DBF-914F-9BF0-50A28F73C69C}"/>
              </a:ext>
            </a:extLst>
          </p:cNvPr>
          <p:cNvSpPr>
            <a:spLocks noGrp="1"/>
          </p:cNvSpPr>
          <p:nvPr>
            <p:ph type="body" sz="quarter" idx="31" hasCustomPrompt="1"/>
          </p:nvPr>
        </p:nvSpPr>
        <p:spPr>
          <a:xfrm>
            <a:off x="11367694" y="6499875"/>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4" name="Rectangle 25">
            <a:extLst>
              <a:ext uri="{FF2B5EF4-FFF2-40B4-BE49-F238E27FC236}">
                <a16:creationId xmlns:a16="http://schemas.microsoft.com/office/drawing/2014/main" id="{160EC823-744A-4260-A76A-E1CE202A9053}"/>
              </a:ext>
            </a:extLst>
          </p:cNvPr>
          <p:cNvSpPr/>
          <p:nvPr userDrawn="1"/>
        </p:nvSpPr>
        <p:spPr>
          <a:xfrm>
            <a:off x="215899" y="6463379"/>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33046281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NTT_title_and_content_page_white">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E21C01-FCA5-4187-A241-7A143D6DE29A}"/>
              </a:ext>
            </a:extLst>
          </p:cNvPr>
          <p:cNvGraphicFramePr>
            <a:graphicFrameLocks noChangeAspect="1"/>
          </p:cNvGraphicFramePr>
          <p:nvPr userDrawn="1">
            <p:custDataLst>
              <p:tags r:id="rId1"/>
            </p:custDataLst>
            <p:extLst>
              <p:ext uri="{D42A27DB-BD31-4B8C-83A1-F6EECF244321}">
                <p14:modId xmlns:p14="http://schemas.microsoft.com/office/powerpoint/2010/main" val="210563800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281" imgH="281" progId="TCLayout.ActiveDocument.1">
                  <p:embed/>
                </p:oleObj>
              </mc:Choice>
              <mc:Fallback>
                <p:oleObj name="think-cell Slide" r:id="rId6" imgW="281" imgH="281" progId="TCLayout.ActiveDocument.1">
                  <p:embed/>
                  <p:pic>
                    <p:nvPicPr>
                      <p:cNvPr id="3" name="Object 2" hidden="1">
                        <a:extLst>
                          <a:ext uri="{FF2B5EF4-FFF2-40B4-BE49-F238E27FC236}">
                            <a16:creationId xmlns:a16="http://schemas.microsoft.com/office/drawing/2014/main" id="{60E21C01-FCA5-4187-A241-7A143D6DE29A}"/>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4B36B94-91D7-422A-BBA1-CD7EF72252F8}"/>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Light">
            <a:extLst>
              <a:ext uri="{FF2B5EF4-FFF2-40B4-BE49-F238E27FC236}">
                <a16:creationId xmlns:a16="http://schemas.microsoft.com/office/drawing/2014/main" id="{BC302A4B-1B3F-445A-856D-597B2F66EBFD}"/>
              </a:ext>
            </a:extLst>
          </p:cNvPr>
          <p:cNvSpPr/>
          <p:nvPr userDrawn="1">
            <p:custDataLst>
              <p:tags r:id="rId3"/>
            </p:custDataLst>
          </p:nvPr>
        </p:nvSpPr>
        <p:spPr bwMode="ltGray">
          <a:xfrm>
            <a:off x="7830312" y="0"/>
            <a:ext cx="4361688" cy="6858000"/>
          </a:xfrm>
          <a:prstGeom prst="rect">
            <a:avLst/>
          </a:prstGeom>
          <a:solidFill>
            <a:schemeClr val="tx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sz="2400">
              <a:solidFill>
                <a:srgbClr val="F0F0F0"/>
              </a:solidFill>
              <a:latin typeface="Arial" panose="020B0604020202020204" pitchFamily="34" charset="0"/>
            </a:endParaRPr>
          </a:p>
        </p:txBody>
      </p:sp>
      <p:sp>
        <p:nvSpPr>
          <p:cNvPr id="7" name="Title 1"/>
          <p:cNvSpPr>
            <a:spLocks noGrp="1"/>
          </p:cNvSpPr>
          <p:nvPr>
            <p:ph type="title"/>
          </p:nvPr>
        </p:nvSpPr>
        <p:spPr>
          <a:xfrm>
            <a:off x="396693" y="332680"/>
            <a:ext cx="7209660" cy="447217"/>
          </a:xfrm>
          <a:prstGeom prst="rect">
            <a:avLst/>
          </a:prstGeom>
        </p:spPr>
        <p:txBody>
          <a:bodyPr vert="horz" wrap="square" lIns="0" tIns="0" rIns="0" bIns="0" anchor="t">
            <a:spAutoFit/>
          </a:bodyPr>
          <a:lstStyle>
            <a:lvl1pPr rtl="0">
              <a:defRPr sz="2667" b="1" baseline="0">
                <a:solidFill>
                  <a:schemeClr val="accent2"/>
                </a:solidFill>
                <a:latin typeface="Arial"/>
                <a:cs typeface="Arial"/>
              </a:defRPr>
            </a:lvl1pPr>
          </a:lstStyle>
          <a:p>
            <a:r>
              <a:rPr lang="en-US"/>
              <a:t>Click to edit Master title style</a:t>
            </a:r>
          </a:p>
        </p:txBody>
      </p:sp>
      <p:pic>
        <p:nvPicPr>
          <p:cNvPr id="6" name="Picture 5">
            <a:extLst>
              <a:ext uri="{FF2B5EF4-FFF2-40B4-BE49-F238E27FC236}">
                <a16:creationId xmlns:a16="http://schemas.microsoft.com/office/drawing/2014/main" id="{80889D0A-8FE3-CF4D-B7B4-54652810513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9" name="Slide Number">
            <a:extLst>
              <a:ext uri="{FF2B5EF4-FFF2-40B4-BE49-F238E27FC236}">
                <a16:creationId xmlns:a16="http://schemas.microsoft.com/office/drawing/2014/main" id="{4696DFA3-76A2-4FA8-943F-734D901D902B}"/>
              </a:ext>
            </a:extLst>
          </p:cNvPr>
          <p:cNvSpPr>
            <a:spLocks noChangeArrowheads="1"/>
          </p:cNvSpPr>
          <p:nvPr userDrawn="1">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rtl="0" fontAlgn="auto">
                <a:spcBef>
                  <a:spcPts val="0"/>
                </a:spcBef>
                <a:spcAft>
                  <a:spcPts val="0"/>
                </a:spcAft>
                <a:defRPr/>
              </a:pPr>
              <a:t>‹N°›</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569755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2_NTT_title_and_content_page_blue">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grpSp>
        <p:nvGrpSpPr>
          <p:cNvPr id="6" name="Group 5">
            <a:extLst>
              <a:ext uri="{FF2B5EF4-FFF2-40B4-BE49-F238E27FC236}">
                <a16:creationId xmlns:a16="http://schemas.microsoft.com/office/drawing/2014/main" id="{219E7F25-2EF7-AC46-BE52-64D82B8A6273}"/>
              </a:ext>
            </a:extLst>
          </p:cNvPr>
          <p:cNvGrpSpPr/>
          <p:nvPr userDrawn="1"/>
        </p:nvGrpSpPr>
        <p:grpSpPr>
          <a:xfrm>
            <a:off x="10458438" y="332679"/>
            <a:ext cx="1308293" cy="484944"/>
            <a:chOff x="7843828" y="249509"/>
            <a:chExt cx="981220" cy="363708"/>
          </a:xfrm>
          <a:solidFill>
            <a:schemeClr val="tx1"/>
          </a:solidFill>
        </p:grpSpPr>
        <p:sp>
          <p:nvSpPr>
            <p:cNvPr id="9" name="Freeform 5">
              <a:extLst>
                <a:ext uri="{FF2B5EF4-FFF2-40B4-BE49-F238E27FC236}">
                  <a16:creationId xmlns:a16="http://schemas.microsoft.com/office/drawing/2014/main" id="{4A00651C-630D-2848-8A6C-1E402542AC62}"/>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104E9F5D-D76D-464B-8603-B48994E271E3}"/>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Rectangle 12">
            <a:extLst>
              <a:ext uri="{FF2B5EF4-FFF2-40B4-BE49-F238E27FC236}">
                <a16:creationId xmlns:a16="http://schemas.microsoft.com/office/drawing/2014/main" id="{DF6AFE03-9868-924A-868D-3114D133DE8D}"/>
              </a:ext>
            </a:extLst>
          </p:cNvPr>
          <p:cNvSpPr/>
          <p:nvPr userDrawn="1"/>
        </p:nvSpPr>
        <p:spPr>
          <a:xfrm>
            <a:off x="215899" y="6463378"/>
            <a:ext cx="2479012" cy="276999"/>
          </a:xfrm>
          <a:prstGeom prst="rect">
            <a:avLst/>
          </a:prstGeom>
        </p:spPr>
        <p:txBody>
          <a:bodyPr wrap="none">
            <a:spAutoFit/>
          </a:bodyPr>
          <a:lstStyle/>
          <a:p>
            <a:pPr algn="l"/>
            <a:r>
              <a:rPr lang="en-US" sz="1200"/>
              <a:t>2021 © NTT ‘All Rights Reserved’</a:t>
            </a:r>
          </a:p>
        </p:txBody>
      </p:sp>
      <p:sp>
        <p:nvSpPr>
          <p:cNvPr id="14" name="Text Placeholder 2">
            <a:extLst>
              <a:ext uri="{FF2B5EF4-FFF2-40B4-BE49-F238E27FC236}">
                <a16:creationId xmlns:a16="http://schemas.microsoft.com/office/drawing/2014/main" id="{F4B87F2D-9146-5549-9517-387B0BFBA5F2}"/>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5" name="Text Placeholder 2">
            <a:extLst>
              <a:ext uri="{FF2B5EF4-FFF2-40B4-BE49-F238E27FC236}">
                <a16:creationId xmlns:a16="http://schemas.microsoft.com/office/drawing/2014/main" id="{A51DD9DF-6CF5-DD46-9D17-0EBC75D93F2F}"/>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1059188722"/>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66A926-8D7C-6B41-8650-7B8F216F4FD1}"/>
              </a:ext>
            </a:extLst>
          </p:cNvPr>
          <p:cNvSpPr/>
          <p:nvPr userDrawn="1"/>
        </p:nvSpPr>
        <p:spPr>
          <a:xfrm>
            <a:off x="1" y="0"/>
            <a:ext cx="12191999" cy="6858000"/>
          </a:xfrm>
          <a:prstGeom prst="rect">
            <a:avLst/>
          </a:prstGeom>
          <a:solidFill>
            <a:srgbClr val="0070C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rial"/>
              <a:ea typeface="+mn-ea"/>
              <a:cs typeface="+mn-cs"/>
            </a:endParaRPr>
          </a:p>
        </p:txBody>
      </p:sp>
      <p:pic>
        <p:nvPicPr>
          <p:cNvPr id="6" name="Picture 5" descr="A person standing in front of a building&#10;&#10;Description automatically generated">
            <a:extLst>
              <a:ext uri="{FF2B5EF4-FFF2-40B4-BE49-F238E27FC236}">
                <a16:creationId xmlns:a16="http://schemas.microsoft.com/office/drawing/2014/main" id="{BEEB82CD-BC48-8646-95BB-5321F959EA92}"/>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7530883" y="-4371"/>
            <a:ext cx="4661116" cy="6862371"/>
          </a:xfrm>
          <a:prstGeom prst="rect">
            <a:avLst/>
          </a:prstGeom>
        </p:spPr>
      </p:pic>
      <p:sp>
        <p:nvSpPr>
          <p:cNvPr id="9" name="Title 1">
            <a:extLst>
              <a:ext uri="{FF2B5EF4-FFF2-40B4-BE49-F238E27FC236}">
                <a16:creationId xmlns:a16="http://schemas.microsoft.com/office/drawing/2014/main" id="{B2152E95-7148-1C4E-A2A3-CE6B6F374A6F}"/>
              </a:ext>
            </a:extLst>
          </p:cNvPr>
          <p:cNvSpPr>
            <a:spLocks noGrp="1"/>
          </p:cNvSpPr>
          <p:nvPr>
            <p:ph type="title"/>
          </p:nvPr>
        </p:nvSpPr>
        <p:spPr>
          <a:xfrm>
            <a:off x="396692" y="169334"/>
            <a:ext cx="9725123" cy="793751"/>
          </a:xfrm>
          <a:prstGeom prst="rect">
            <a:avLst/>
          </a:prstGeom>
        </p:spPr>
        <p:txBody>
          <a:bodyPr anchor="ctr"/>
          <a:lstStyle>
            <a:lvl1pPr>
              <a:defRPr sz="3200" b="1">
                <a:solidFill>
                  <a:schemeClr val="bg1"/>
                </a:solidFill>
                <a:latin typeface="Arial"/>
                <a:cs typeface="Arial"/>
              </a:defRPr>
            </a:lvl1pPr>
          </a:lstStyle>
          <a:p>
            <a:r>
              <a:rPr lang="en-GB"/>
              <a:t>Click to edit Master title style</a:t>
            </a:r>
            <a:endParaRPr lang="en-ZA"/>
          </a:p>
        </p:txBody>
      </p:sp>
      <p:sp>
        <p:nvSpPr>
          <p:cNvPr id="10" name="Content Placeholder 2">
            <a:extLst>
              <a:ext uri="{FF2B5EF4-FFF2-40B4-BE49-F238E27FC236}">
                <a16:creationId xmlns:a16="http://schemas.microsoft.com/office/drawing/2014/main" id="{156E4CDC-FE24-C745-8696-301AE98B0251}"/>
              </a:ext>
            </a:extLst>
          </p:cNvPr>
          <p:cNvSpPr>
            <a:spLocks noGrp="1"/>
          </p:cNvSpPr>
          <p:nvPr>
            <p:ph idx="1"/>
          </p:nvPr>
        </p:nvSpPr>
        <p:spPr>
          <a:xfrm>
            <a:off x="396694" y="1529025"/>
            <a:ext cx="6691199" cy="4775113"/>
          </a:xfrm>
          <a:prstGeom prst="rect">
            <a:avLst/>
          </a:prstGeom>
        </p:spPr>
        <p:txBody>
          <a:bodyPr/>
          <a:lstStyle>
            <a:lvl1pPr algn="l">
              <a:defRPr sz="2400">
                <a:solidFill>
                  <a:schemeClr val="bg1"/>
                </a:solidFill>
                <a:latin typeface="Arial"/>
                <a:cs typeface="Arial"/>
              </a:defRPr>
            </a:lvl1pPr>
            <a:lvl2pPr algn="l">
              <a:defRPr sz="1867">
                <a:solidFill>
                  <a:schemeClr val="bg1"/>
                </a:solidFill>
                <a:latin typeface="Arial"/>
                <a:cs typeface="Arial"/>
              </a:defRPr>
            </a:lvl2pPr>
            <a:lvl3pPr algn="l">
              <a:defRPr sz="1600">
                <a:solidFill>
                  <a:schemeClr val="bg1"/>
                </a:solidFill>
                <a:latin typeface="Arial"/>
                <a:cs typeface="Arial"/>
              </a:defRPr>
            </a:lvl3pPr>
            <a:lvl4pPr algn="l">
              <a:defRPr sz="1467">
                <a:solidFill>
                  <a:schemeClr val="bg1"/>
                </a:solidFill>
                <a:latin typeface="Arial"/>
                <a:cs typeface="Arial"/>
              </a:defRPr>
            </a:lvl4pPr>
            <a:lvl5pPr algn="l">
              <a:defRPr sz="1467">
                <a:solidFill>
                  <a:schemeClr val="bg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pic>
        <p:nvPicPr>
          <p:cNvPr id="11" name="Picture 10">
            <a:extLst>
              <a:ext uri="{FF2B5EF4-FFF2-40B4-BE49-F238E27FC236}">
                <a16:creationId xmlns:a16="http://schemas.microsoft.com/office/drawing/2014/main" id="{5C7894B9-3D57-A74F-8EAB-1EB8222E9F99}"/>
              </a:ext>
            </a:extLst>
          </p:cNvPr>
          <p:cNvPicPr>
            <a:picLocks noChangeAspect="1"/>
          </p:cNvPicPr>
          <p:nvPr userDrawn="1"/>
        </p:nvPicPr>
        <p:blipFill>
          <a:blip r:embed="rId3"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87799636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7_Custom Layout">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66A926-8D7C-6B41-8650-7B8F216F4FD1}"/>
              </a:ext>
            </a:extLst>
          </p:cNvPr>
          <p:cNvSpPr/>
          <p:nvPr userDrawn="1"/>
        </p:nvSpPr>
        <p:spPr>
          <a:xfrm>
            <a:off x="1" y="0"/>
            <a:ext cx="12191999" cy="685800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rial"/>
              <a:ea typeface="+mn-ea"/>
              <a:cs typeface="+mn-cs"/>
            </a:endParaRPr>
          </a:p>
        </p:txBody>
      </p:sp>
      <p:sp>
        <p:nvSpPr>
          <p:cNvPr id="6" name="object 2">
            <a:extLst>
              <a:ext uri="{FF2B5EF4-FFF2-40B4-BE49-F238E27FC236}">
                <a16:creationId xmlns:a16="http://schemas.microsoft.com/office/drawing/2014/main" id="{DC7FF63E-2276-5641-ABF9-75DBC7E162E7}"/>
              </a:ext>
            </a:extLst>
          </p:cNvPr>
          <p:cNvSpPr/>
          <p:nvPr userDrawn="1"/>
        </p:nvSpPr>
        <p:spPr>
          <a:xfrm>
            <a:off x="6579564" y="1"/>
            <a:ext cx="5612435" cy="6858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1C1F50"/>
              </a:solidFill>
              <a:effectLst/>
              <a:uLnTx/>
              <a:uFillTx/>
              <a:latin typeface="Arial" charset="0"/>
              <a:ea typeface="ＭＳ Ｐゴシック" charset="0"/>
            </a:endParaRPr>
          </a:p>
        </p:txBody>
      </p:sp>
      <p:sp>
        <p:nvSpPr>
          <p:cNvPr id="7" name="Title 1">
            <a:extLst>
              <a:ext uri="{FF2B5EF4-FFF2-40B4-BE49-F238E27FC236}">
                <a16:creationId xmlns:a16="http://schemas.microsoft.com/office/drawing/2014/main" id="{D083C77E-04F7-844F-A652-E5DEBCDA6F54}"/>
              </a:ext>
            </a:extLst>
          </p:cNvPr>
          <p:cNvSpPr>
            <a:spLocks noGrp="1"/>
          </p:cNvSpPr>
          <p:nvPr>
            <p:ph type="title"/>
          </p:nvPr>
        </p:nvSpPr>
        <p:spPr>
          <a:xfrm>
            <a:off x="396692" y="169334"/>
            <a:ext cx="9725123" cy="793751"/>
          </a:xfrm>
          <a:prstGeom prst="rect">
            <a:avLst/>
          </a:prstGeom>
        </p:spPr>
        <p:txBody>
          <a:bodyPr anchor="ctr"/>
          <a:lstStyle>
            <a:lvl1pPr>
              <a:defRPr sz="3200" b="1">
                <a:solidFill>
                  <a:schemeClr val="bg1"/>
                </a:solidFill>
                <a:latin typeface="Arial"/>
                <a:cs typeface="Arial"/>
              </a:defRPr>
            </a:lvl1pPr>
          </a:lstStyle>
          <a:p>
            <a:r>
              <a:rPr lang="en-GB"/>
              <a:t>Click to edit Master title style</a:t>
            </a:r>
            <a:endParaRPr lang="en-ZA"/>
          </a:p>
        </p:txBody>
      </p:sp>
      <p:sp>
        <p:nvSpPr>
          <p:cNvPr id="8" name="Content Placeholder 2">
            <a:extLst>
              <a:ext uri="{FF2B5EF4-FFF2-40B4-BE49-F238E27FC236}">
                <a16:creationId xmlns:a16="http://schemas.microsoft.com/office/drawing/2014/main" id="{44F8C628-E7A5-E048-9B1E-D7AE97C9898F}"/>
              </a:ext>
            </a:extLst>
          </p:cNvPr>
          <p:cNvSpPr>
            <a:spLocks noGrp="1"/>
          </p:cNvSpPr>
          <p:nvPr>
            <p:ph idx="1"/>
          </p:nvPr>
        </p:nvSpPr>
        <p:spPr>
          <a:xfrm>
            <a:off x="396695" y="1529025"/>
            <a:ext cx="5265355" cy="4775113"/>
          </a:xfrm>
          <a:prstGeom prst="rect">
            <a:avLst/>
          </a:prstGeom>
        </p:spPr>
        <p:txBody>
          <a:bodyPr/>
          <a:lstStyle>
            <a:lvl1pPr algn="l">
              <a:defRPr sz="2400">
                <a:solidFill>
                  <a:schemeClr val="bg1"/>
                </a:solidFill>
                <a:latin typeface="Arial"/>
                <a:cs typeface="Arial"/>
              </a:defRPr>
            </a:lvl1pPr>
            <a:lvl2pPr algn="l">
              <a:defRPr sz="1867">
                <a:solidFill>
                  <a:schemeClr val="bg1"/>
                </a:solidFill>
                <a:latin typeface="Arial"/>
                <a:cs typeface="Arial"/>
              </a:defRPr>
            </a:lvl2pPr>
            <a:lvl3pPr algn="l">
              <a:defRPr sz="1600">
                <a:solidFill>
                  <a:schemeClr val="bg1"/>
                </a:solidFill>
                <a:latin typeface="Arial"/>
                <a:cs typeface="Arial"/>
              </a:defRPr>
            </a:lvl3pPr>
            <a:lvl4pPr algn="l">
              <a:defRPr sz="1467">
                <a:solidFill>
                  <a:schemeClr val="bg1"/>
                </a:solidFill>
                <a:latin typeface="Arial"/>
                <a:cs typeface="Arial"/>
              </a:defRPr>
            </a:lvl4pPr>
            <a:lvl5pPr algn="l">
              <a:defRPr sz="1467">
                <a:solidFill>
                  <a:schemeClr val="bg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spTree>
    <p:extLst>
      <p:ext uri="{BB962C8B-B14F-4D97-AF65-F5344CB8AC3E}">
        <p14:creationId xmlns:p14="http://schemas.microsoft.com/office/powerpoint/2010/main" val="26869947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0"/>
            <a:ext cx="12192000" cy="6366933"/>
          </a:xfrm>
          <a:prstGeom prst="rect">
            <a:avLst/>
          </a:prstGeom>
          <a:solidFill>
            <a:schemeClr val="tx2"/>
          </a:solidFill>
        </p:spPr>
        <p:txBody>
          <a:bodyPr/>
          <a:lstStyle>
            <a:lvl1pPr algn="ctr">
              <a:defRPr>
                <a:solidFill>
                  <a:schemeClr val="bg1"/>
                </a:solidFill>
              </a:defRPr>
            </a:lvl1pPr>
          </a:lstStyle>
          <a:p>
            <a:r>
              <a:rPr lang="en-US"/>
              <a:t>Click icon to add picture</a:t>
            </a:r>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818549"/>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9826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6" name="Rectangle 5">
            <a:extLst>
              <a:ext uri="{FF2B5EF4-FFF2-40B4-BE49-F238E27FC236}">
                <a16:creationId xmlns:a16="http://schemas.microsoft.com/office/drawing/2014/main" id="{9E804B60-94DF-184E-8690-7B1C7117FB1A}"/>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7" name="Text Placeholder 2">
            <a:extLst>
              <a:ext uri="{FF2B5EF4-FFF2-40B4-BE49-F238E27FC236}">
                <a16:creationId xmlns:a16="http://schemas.microsoft.com/office/drawing/2014/main" id="{9501D8A8-F69D-4560-A14E-8661DA24F240}"/>
              </a:ext>
            </a:extLst>
          </p:cNvPr>
          <p:cNvSpPr>
            <a:spLocks noGrp="1"/>
          </p:cNvSpPr>
          <p:nvPr>
            <p:ph type="body" sz="quarter" idx="12" hasCustomPrompt="1"/>
          </p:nvPr>
        </p:nvSpPr>
        <p:spPr>
          <a:xfrm>
            <a:off x="5440221" y="6499791"/>
            <a:ext cx="6535881" cy="234949"/>
          </a:xfrm>
          <a:prstGeom prst="rect">
            <a:avLst/>
          </a:prstGeom>
        </p:spPr>
        <p:txBody>
          <a:bodyPr anchor="ctr"/>
          <a:lstStyle>
            <a:lvl1pPr algn="r">
              <a:defRPr sz="1200">
                <a:solidFill>
                  <a:schemeClr val="bg1"/>
                </a:solidFill>
              </a:defRPr>
            </a:lvl1pPr>
          </a:lstStyle>
          <a:p>
            <a:r>
              <a:rPr lang="en-GB" sz="1200"/>
              <a:t>[Name]-[Classification]-[Status]-v[x-x]</a:t>
            </a:r>
          </a:p>
        </p:txBody>
      </p:sp>
    </p:spTree>
    <p:extLst>
      <p:ext uri="{BB962C8B-B14F-4D97-AF65-F5344CB8AC3E}">
        <p14:creationId xmlns:p14="http://schemas.microsoft.com/office/powerpoint/2010/main" val="4041103783"/>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96CEBA-2C8D-004A-BA33-89A03669ED5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1"/>
            <a:ext cx="12192001" cy="3429001"/>
          </a:xfrm>
          <a:prstGeom prst="rect">
            <a:avLst/>
          </a:prstGeom>
        </p:spPr>
      </p:pic>
      <p:sp>
        <p:nvSpPr>
          <p:cNvPr id="5" name="Rectangle 4">
            <a:extLst>
              <a:ext uri="{FF2B5EF4-FFF2-40B4-BE49-F238E27FC236}">
                <a16:creationId xmlns:a16="http://schemas.microsoft.com/office/drawing/2014/main" id="{8137E83E-44CC-AC4A-862E-2558F2DAA81F}"/>
              </a:ext>
            </a:extLst>
          </p:cNvPr>
          <p:cNvSpPr/>
          <p:nvPr userDrawn="1"/>
        </p:nvSpPr>
        <p:spPr>
          <a:xfrm>
            <a:off x="0" y="-1"/>
            <a:ext cx="12192000" cy="3482320"/>
          </a:xfrm>
          <a:prstGeom prst="rect">
            <a:avLst/>
          </a:prstGeom>
          <a:gradFill>
            <a:gsLst>
              <a:gs pos="0">
                <a:srgbClr val="000000">
                  <a:alpha val="44000"/>
                </a:srgbClr>
              </a:gs>
              <a:gs pos="60000">
                <a:srgbClr val="000000">
                  <a:alpha val="19000"/>
                </a:srgbClr>
              </a:gs>
              <a:gs pos="100000">
                <a:srgbClr val="000000">
                  <a:alpha val="11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 name="Rectangle 8">
            <a:extLst>
              <a:ext uri="{FF2B5EF4-FFF2-40B4-BE49-F238E27FC236}">
                <a16:creationId xmlns:a16="http://schemas.microsoft.com/office/drawing/2014/main" id="{C812EABE-8103-0E46-A4BE-42694E4EDE7E}"/>
              </a:ext>
            </a:extLst>
          </p:cNvPr>
          <p:cNvSpPr/>
          <p:nvPr userDrawn="1"/>
        </p:nvSpPr>
        <p:spPr>
          <a:xfrm>
            <a:off x="2" y="2932387"/>
            <a:ext cx="12191997" cy="3923968"/>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rial"/>
              <a:ea typeface="+mn-ea"/>
              <a:cs typeface="+mn-cs"/>
            </a:endParaRPr>
          </a:p>
        </p:txBody>
      </p:sp>
      <p:sp>
        <p:nvSpPr>
          <p:cNvPr id="10" name="Title 1">
            <a:extLst>
              <a:ext uri="{FF2B5EF4-FFF2-40B4-BE49-F238E27FC236}">
                <a16:creationId xmlns:a16="http://schemas.microsoft.com/office/drawing/2014/main" id="{4A4C02F7-DA7B-FF4D-90B8-DE7674CB0AED}"/>
              </a:ext>
            </a:extLst>
          </p:cNvPr>
          <p:cNvSpPr>
            <a:spLocks noGrp="1"/>
          </p:cNvSpPr>
          <p:nvPr>
            <p:ph type="title"/>
          </p:nvPr>
        </p:nvSpPr>
        <p:spPr>
          <a:xfrm>
            <a:off x="1233439" y="1342807"/>
            <a:ext cx="9725123" cy="793751"/>
          </a:xfrm>
          <a:prstGeom prst="rect">
            <a:avLst/>
          </a:prstGeom>
        </p:spPr>
        <p:txBody>
          <a:bodyPr anchor="ctr"/>
          <a:lstStyle>
            <a:lvl1pPr algn="ctr">
              <a:defRPr sz="3200" b="1">
                <a:solidFill>
                  <a:schemeClr val="bg1"/>
                </a:solidFill>
                <a:latin typeface="Arial"/>
                <a:cs typeface="Arial"/>
              </a:defRPr>
            </a:lvl1pPr>
          </a:lstStyle>
          <a:p>
            <a:r>
              <a:rPr lang="en-GB"/>
              <a:t>Click to edit Master title style</a:t>
            </a:r>
            <a:endParaRPr lang="en-ZA"/>
          </a:p>
        </p:txBody>
      </p:sp>
      <p:sp>
        <p:nvSpPr>
          <p:cNvPr id="11" name="Content Placeholder 2">
            <a:extLst>
              <a:ext uri="{FF2B5EF4-FFF2-40B4-BE49-F238E27FC236}">
                <a16:creationId xmlns:a16="http://schemas.microsoft.com/office/drawing/2014/main" id="{10AC97EF-14F6-FF47-8F03-3FB4C7929BF3}"/>
              </a:ext>
            </a:extLst>
          </p:cNvPr>
          <p:cNvSpPr>
            <a:spLocks noGrp="1"/>
          </p:cNvSpPr>
          <p:nvPr>
            <p:ph idx="1"/>
          </p:nvPr>
        </p:nvSpPr>
        <p:spPr>
          <a:xfrm>
            <a:off x="396694" y="4070889"/>
            <a:ext cx="11299361" cy="2233249"/>
          </a:xfrm>
          <a:prstGeom prst="rect">
            <a:avLst/>
          </a:prstGeom>
        </p:spPr>
        <p:txBody>
          <a:bodyPr/>
          <a:lstStyle>
            <a:lvl1pPr algn="ctr">
              <a:defRPr sz="2400">
                <a:solidFill>
                  <a:schemeClr val="bg1"/>
                </a:solidFill>
                <a:latin typeface="Arial"/>
                <a:cs typeface="Arial"/>
              </a:defRPr>
            </a:lvl1pPr>
            <a:lvl2pPr algn="ctr">
              <a:defRPr sz="1867">
                <a:solidFill>
                  <a:schemeClr val="bg1"/>
                </a:solidFill>
                <a:latin typeface="Arial"/>
                <a:cs typeface="Arial"/>
              </a:defRPr>
            </a:lvl2pPr>
            <a:lvl3pPr algn="ctr">
              <a:defRPr sz="1600">
                <a:solidFill>
                  <a:schemeClr val="bg1"/>
                </a:solidFill>
                <a:latin typeface="Arial"/>
                <a:cs typeface="Arial"/>
              </a:defRPr>
            </a:lvl3pPr>
            <a:lvl4pPr algn="ctr">
              <a:defRPr sz="1467">
                <a:solidFill>
                  <a:schemeClr val="bg1"/>
                </a:solidFill>
                <a:latin typeface="Arial"/>
                <a:cs typeface="Arial"/>
              </a:defRPr>
            </a:lvl4pPr>
            <a:lvl5pPr algn="ctr">
              <a:defRPr sz="1467">
                <a:solidFill>
                  <a:schemeClr val="bg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spTree>
    <p:extLst>
      <p:ext uri="{BB962C8B-B14F-4D97-AF65-F5344CB8AC3E}">
        <p14:creationId xmlns:p14="http://schemas.microsoft.com/office/powerpoint/2010/main" val="159896437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NTT_title_and_content_page_dark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4"/>
            <a:ext cx="11376207"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73862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NTT_divider_page_half_dark">
    <p:bg bwMode="ltGray">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DE12E94-2040-8141-BA4E-F436DF461F5A}"/>
              </a:ext>
            </a:extLst>
          </p:cNvPr>
          <p:cNvSpPr/>
          <p:nvPr userDrawn="1"/>
        </p:nvSpPr>
        <p:spPr>
          <a:xfrm>
            <a:off x="0" y="3474572"/>
            <a:ext cx="12192000" cy="33834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9" y="1"/>
            <a:ext cx="12196509" cy="3474571"/>
          </a:xfrm>
          <a:prstGeom prst="rect">
            <a:avLst/>
          </a:prstGeom>
          <a:noFill/>
          <a:effectLst/>
        </p:spPr>
        <p:txBody>
          <a:bodyPr>
            <a:normAutofit/>
          </a:bodyPr>
          <a:lstStyle>
            <a:lvl1pPr marL="0" indent="0">
              <a:buNone/>
              <a:defRPr sz="1867">
                <a:ln>
                  <a:noFill/>
                </a:ln>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p>
        </p:txBody>
      </p:sp>
      <p:sp>
        <p:nvSpPr>
          <p:cNvPr id="16" name="Title 4">
            <a:extLst>
              <a:ext uri="{FF2B5EF4-FFF2-40B4-BE49-F238E27FC236}">
                <a16:creationId xmlns:a16="http://schemas.microsoft.com/office/drawing/2014/main" id="{19094F5A-E79D-4246-8F4D-D88F43EEF216}"/>
              </a:ext>
            </a:extLst>
          </p:cNvPr>
          <p:cNvSpPr>
            <a:spLocks noGrp="1"/>
          </p:cNvSpPr>
          <p:nvPr>
            <p:ph type="title"/>
          </p:nvPr>
        </p:nvSpPr>
        <p:spPr>
          <a:xfrm>
            <a:off x="391599" y="2841351"/>
            <a:ext cx="11408804" cy="631775"/>
          </a:xfrm>
          <a:prstGeom prst="rect">
            <a:avLst/>
          </a:prstGeom>
        </p:spPr>
        <p:txBody>
          <a:bodyPr anchor="ctr"/>
          <a:lstStyle>
            <a:lvl1pPr algn="ctr">
              <a:defRPr sz="3200" b="1">
                <a:solidFill>
                  <a:schemeClr val="accent1"/>
                </a:solidFill>
              </a:defRPr>
            </a:lvl1pPr>
          </a:lstStyle>
          <a:p>
            <a:r>
              <a:rPr lang="en-US"/>
              <a:t>Click to edit Master title style</a:t>
            </a:r>
            <a:endParaRPr lang="en-GB"/>
          </a:p>
        </p:txBody>
      </p:sp>
      <p:sp>
        <p:nvSpPr>
          <p:cNvPr id="29" name="Text Placeholder 6">
            <a:extLst>
              <a:ext uri="{FF2B5EF4-FFF2-40B4-BE49-F238E27FC236}">
                <a16:creationId xmlns:a16="http://schemas.microsoft.com/office/drawing/2014/main" id="{FD3EFF89-A063-C142-9733-A93832686892}"/>
              </a:ext>
            </a:extLst>
          </p:cNvPr>
          <p:cNvSpPr>
            <a:spLocks noGrp="1"/>
          </p:cNvSpPr>
          <p:nvPr>
            <p:ph type="body" sz="quarter" idx="16" hasCustomPrompt="1"/>
          </p:nvPr>
        </p:nvSpPr>
        <p:spPr>
          <a:xfrm>
            <a:off x="391599" y="3477466"/>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Tree>
    <p:extLst>
      <p:ext uri="{BB962C8B-B14F-4D97-AF65-F5344CB8AC3E}">
        <p14:creationId xmlns:p14="http://schemas.microsoft.com/office/powerpoint/2010/main" val="2868505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2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US" altLang="ja-JP"/>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ZA"/>
          </a:p>
        </p:txBody>
      </p:sp>
      <p:grpSp>
        <p:nvGrpSpPr>
          <p:cNvPr id="5" name="Group 4">
            <a:extLst>
              <a:ext uri="{FF2B5EF4-FFF2-40B4-BE49-F238E27FC236}">
                <a16:creationId xmlns:a16="http://schemas.microsoft.com/office/drawing/2014/main" id="{38D7F1C7-6695-A34D-9E94-BA54ABAE009A}"/>
              </a:ext>
            </a:extLst>
          </p:cNvPr>
          <p:cNvGrpSpPr/>
          <p:nvPr userDrawn="1"/>
        </p:nvGrpSpPr>
        <p:grpSpPr>
          <a:xfrm>
            <a:off x="10458438" y="332679"/>
            <a:ext cx="1308293" cy="484944"/>
            <a:chOff x="7843828" y="249509"/>
            <a:chExt cx="981220" cy="363708"/>
          </a:xfrm>
        </p:grpSpPr>
        <p:sp>
          <p:nvSpPr>
            <p:cNvPr id="9" name="Freeform 5">
              <a:extLst>
                <a:ext uri="{FF2B5EF4-FFF2-40B4-BE49-F238E27FC236}">
                  <a16:creationId xmlns:a16="http://schemas.microsoft.com/office/drawing/2014/main" id="{D426F0B0-CF4C-8B43-90F0-F374BA1161A6}"/>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6AD97A14-CA51-B249-A18A-0D4E8BE47FE9}"/>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Text Placeholder 2">
            <a:extLst>
              <a:ext uri="{FF2B5EF4-FFF2-40B4-BE49-F238E27FC236}">
                <a16:creationId xmlns:a16="http://schemas.microsoft.com/office/drawing/2014/main" id="{85F4C83D-6BA3-B04B-A3B2-E94C3B8DCF8B}"/>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4" name="Text Placeholder 2">
            <a:extLst>
              <a:ext uri="{FF2B5EF4-FFF2-40B4-BE49-F238E27FC236}">
                <a16:creationId xmlns:a16="http://schemas.microsoft.com/office/drawing/2014/main" id="{213459C4-7224-DC47-8A1C-147786A90B27}"/>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1" name="Rectangle 28">
            <a:extLst>
              <a:ext uri="{FF2B5EF4-FFF2-40B4-BE49-F238E27FC236}">
                <a16:creationId xmlns:a16="http://schemas.microsoft.com/office/drawing/2014/main" id="{8ABC7D15-9DC4-42FB-8991-3725CBACA7C2}"/>
              </a:ext>
            </a:extLst>
          </p:cNvPr>
          <p:cNvSpPr/>
          <p:nvPr userDrawn="1"/>
        </p:nvSpPr>
        <p:spPr>
          <a:xfrm>
            <a:off x="215899" y="6463378"/>
            <a:ext cx="2403222" cy="276999"/>
          </a:xfrm>
          <a:prstGeom prst="rect">
            <a:avLst/>
          </a:prstGeom>
        </p:spPr>
        <p:txBody>
          <a:bodyPr wrap="none">
            <a:spAutoFit/>
          </a:bodyPr>
          <a:lstStyle/>
          <a:p>
            <a:pPr algn="l"/>
            <a:r>
              <a:rPr lang="en-US" sz="1200"/>
              <a:t>© 2022 NTT All Rights Reserved</a:t>
            </a:r>
          </a:p>
        </p:txBody>
      </p:sp>
    </p:spTree>
    <p:extLst>
      <p:ext uri="{BB962C8B-B14F-4D97-AF65-F5344CB8AC3E}">
        <p14:creationId xmlns:p14="http://schemas.microsoft.com/office/powerpoint/2010/main" val="317442191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4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5"/>
            <a:ext cx="9770027"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5" y="1529026"/>
            <a:ext cx="11376207" cy="191907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a:extLst>
              <a:ext uri="{FF2B5EF4-FFF2-40B4-BE49-F238E27FC236}">
                <a16:creationId xmlns:a16="http://schemas.microsoft.com/office/drawing/2014/main" id="{A6731466-BD37-0B4A-BE69-CBD86F77A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1" y="332679"/>
            <a:ext cx="1305751" cy="484944"/>
          </a:xfrm>
          <a:prstGeom prst="rect">
            <a:avLst/>
          </a:prstGeom>
        </p:spPr>
      </p:pic>
    </p:spTree>
    <p:extLst>
      <p:ext uri="{BB962C8B-B14F-4D97-AF65-F5344CB8AC3E}">
        <p14:creationId xmlns:p14="http://schemas.microsoft.com/office/powerpoint/2010/main" val="14892624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over_slide_blue_background">
    <p:bg>
      <p:bgPr>
        <a:solidFill>
          <a:schemeClr val="accent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pic>
        <p:nvPicPr>
          <p:cNvPr id="5" name="Picture 4">
            <a:extLst>
              <a:ext uri="{FF2B5EF4-FFF2-40B4-BE49-F238E27FC236}">
                <a16:creationId xmlns:a16="http://schemas.microsoft.com/office/drawing/2014/main" id="{E589A8F4-7485-9F4E-B0C8-C8CB66B56B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0924" y="391429"/>
            <a:ext cx="2544709" cy="1193537"/>
          </a:xfrm>
          <a:prstGeom prst="rect">
            <a:avLst/>
          </a:prstGeom>
        </p:spPr>
      </p:pic>
    </p:spTree>
    <p:extLst>
      <p:ext uri="{BB962C8B-B14F-4D97-AF65-F5344CB8AC3E}">
        <p14:creationId xmlns:p14="http://schemas.microsoft.com/office/powerpoint/2010/main" val="31555838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NTT_title_and_content_page_white">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E21C01-FCA5-4187-A241-7A143D6DE29A}"/>
              </a:ext>
            </a:extLst>
          </p:cNvPr>
          <p:cNvGraphicFramePr>
            <a:graphicFrameLocks noChangeAspect="1"/>
          </p:cNvGraphicFramePr>
          <p:nvPr userDrawn="1">
            <p:custDataLst>
              <p:tags r:id="rId1"/>
            </p:custDataLst>
            <p:extLst>
              <p:ext uri="{D42A27DB-BD31-4B8C-83A1-F6EECF244321}">
                <p14:modId xmlns:p14="http://schemas.microsoft.com/office/powerpoint/2010/main" val="288604660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281" imgH="281" progId="TCLayout.ActiveDocument.1">
                  <p:embed/>
                </p:oleObj>
              </mc:Choice>
              <mc:Fallback>
                <p:oleObj name="think-cell Slide" r:id="rId6" imgW="281" imgH="281" progId="TCLayout.ActiveDocument.1">
                  <p:embed/>
                  <p:pic>
                    <p:nvPicPr>
                      <p:cNvPr id="3" name="Object 2" hidden="1">
                        <a:extLst>
                          <a:ext uri="{FF2B5EF4-FFF2-40B4-BE49-F238E27FC236}">
                            <a16:creationId xmlns:a16="http://schemas.microsoft.com/office/drawing/2014/main" id="{60E21C01-FCA5-4187-A241-7A143D6DE29A}"/>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4B36B94-91D7-422A-BBA1-CD7EF72252F8}"/>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Light">
            <a:extLst>
              <a:ext uri="{FF2B5EF4-FFF2-40B4-BE49-F238E27FC236}">
                <a16:creationId xmlns:a16="http://schemas.microsoft.com/office/drawing/2014/main" id="{BC302A4B-1B3F-445A-856D-597B2F66EBFD}"/>
              </a:ext>
            </a:extLst>
          </p:cNvPr>
          <p:cNvSpPr/>
          <p:nvPr userDrawn="1">
            <p:custDataLst>
              <p:tags r:id="rId3"/>
            </p:custDataLst>
          </p:nvPr>
        </p:nvSpPr>
        <p:spPr bwMode="ltGray">
          <a:xfrm>
            <a:off x="6096000" y="0"/>
            <a:ext cx="6096000" cy="6858000"/>
          </a:xfrm>
          <a:prstGeom prst="rect">
            <a:avLst/>
          </a:prstGeom>
          <a:solidFill>
            <a:schemeClr val="tx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sz="2400">
              <a:solidFill>
                <a:srgbClr val="F0F0F0"/>
              </a:solidFill>
              <a:latin typeface="Arial" panose="020B0604020202020204" pitchFamily="34" charset="0"/>
            </a:endParaRPr>
          </a:p>
        </p:txBody>
      </p:sp>
      <p:sp>
        <p:nvSpPr>
          <p:cNvPr id="7" name="Title 1"/>
          <p:cNvSpPr>
            <a:spLocks noGrp="1"/>
          </p:cNvSpPr>
          <p:nvPr>
            <p:ph type="title"/>
          </p:nvPr>
        </p:nvSpPr>
        <p:spPr>
          <a:xfrm>
            <a:off x="396693" y="332680"/>
            <a:ext cx="5399056" cy="447217"/>
          </a:xfrm>
          <a:prstGeom prst="rect">
            <a:avLst/>
          </a:prstGeom>
        </p:spPr>
        <p:txBody>
          <a:bodyPr vert="horz" wrap="square" lIns="0" tIns="0" rIns="0" bIns="0" anchor="t">
            <a:spAutoFit/>
          </a:bodyPr>
          <a:lstStyle>
            <a:lvl1pPr rtl="0">
              <a:defRPr sz="2667" b="1" baseline="0">
                <a:solidFill>
                  <a:schemeClr val="accent2"/>
                </a:solidFill>
                <a:latin typeface="Arial"/>
                <a:cs typeface="Arial"/>
              </a:defRPr>
            </a:lvl1pPr>
          </a:lstStyle>
          <a:p>
            <a:r>
              <a:rPr lang="en-US"/>
              <a:t>Click to edit Master title style</a:t>
            </a:r>
          </a:p>
        </p:txBody>
      </p:sp>
      <p:pic>
        <p:nvPicPr>
          <p:cNvPr id="6" name="Picture 5">
            <a:extLst>
              <a:ext uri="{FF2B5EF4-FFF2-40B4-BE49-F238E27FC236}">
                <a16:creationId xmlns:a16="http://schemas.microsoft.com/office/drawing/2014/main" id="{80889D0A-8FE3-CF4D-B7B4-54652810513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9" name="Slide Number">
            <a:extLst>
              <a:ext uri="{FF2B5EF4-FFF2-40B4-BE49-F238E27FC236}">
                <a16:creationId xmlns:a16="http://schemas.microsoft.com/office/drawing/2014/main" id="{4696DFA3-76A2-4FA8-943F-734D901D902B}"/>
              </a:ext>
            </a:extLst>
          </p:cNvPr>
          <p:cNvSpPr>
            <a:spLocks noChangeArrowheads="1"/>
          </p:cNvSpPr>
          <p:nvPr userDrawn="1">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rtl="0" fontAlgn="auto">
                <a:spcBef>
                  <a:spcPts val="0"/>
                </a:spcBef>
                <a:spcAft>
                  <a:spcPts val="0"/>
                </a:spcAft>
                <a:defRPr/>
              </a:pPr>
              <a:t>‹N°›</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1023787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AAE65148-FDC7-4ACD-BC2C-70267F8E249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accent2"/>
                </a:solidFill>
              </a:defRPr>
            </a:lvl1pPr>
          </a:lstStyle>
          <a:p>
            <a:r>
              <a:rPr lang="en-US"/>
              <a:t>Click to edit Master title style</a:t>
            </a:r>
            <a:endParaRPr lang="en-GB"/>
          </a:p>
        </p:txBody>
      </p:sp>
      <p:sp>
        <p:nvSpPr>
          <p:cNvPr id="4" name="Text Placeholder 9">
            <a:extLst>
              <a:ext uri="{FF2B5EF4-FFF2-40B4-BE49-F238E27FC236}">
                <a16:creationId xmlns:a16="http://schemas.microsoft.com/office/drawing/2014/main" id="{10E6012D-9F24-4549-A0DA-C3FE30C2EB9F}"/>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accent2"/>
                </a:solidFill>
              </a:defRPr>
            </a:lvl1pPr>
          </a:lstStyle>
          <a:p>
            <a:pPr lvl="0"/>
            <a:r>
              <a:rPr lang="en-US"/>
              <a:t>Sub-title / Presenter Name</a:t>
            </a:r>
            <a:endParaRPr lang="en-GB"/>
          </a:p>
        </p:txBody>
      </p:sp>
      <p:pic>
        <p:nvPicPr>
          <p:cNvPr id="6" name="Picture 5">
            <a:extLst>
              <a:ext uri="{FF2B5EF4-FFF2-40B4-BE49-F238E27FC236}">
                <a16:creationId xmlns:a16="http://schemas.microsoft.com/office/drawing/2014/main" id="{17748E14-788E-4E98-925E-E369F02A82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0635" y="599449"/>
            <a:ext cx="2143952" cy="796243"/>
          </a:xfrm>
          <a:prstGeom prst="rect">
            <a:avLst/>
          </a:prstGeom>
        </p:spPr>
      </p:pic>
    </p:spTree>
    <p:extLst>
      <p:ext uri="{BB962C8B-B14F-4D97-AF65-F5344CB8AC3E}">
        <p14:creationId xmlns:p14="http://schemas.microsoft.com/office/powerpoint/2010/main" val="806570993"/>
      </p:ext>
    </p:extLst>
  </p:cSld>
  <p:clrMapOvr>
    <a:masterClrMapping/>
  </p:clrMapOvr>
  <p:extLst>
    <p:ext uri="{DCECCB84-F9BA-43D5-87BE-67443E8EF086}">
      <p15:sldGuideLst xmlns:p15="http://schemas.microsoft.com/office/powerpoint/2012/main">
        <p15:guide id="1" orient="horz" pos="1620">
          <p15:clr>
            <a:srgbClr val="FBAE40"/>
          </p15:clr>
        </p15:guide>
        <p15:guide id="2" pos="45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0"/>
            <a:ext cx="12192000" cy="6366933"/>
          </a:xfrm>
          <a:prstGeom prst="rect">
            <a:avLst/>
          </a:prstGeom>
          <a:solidFill>
            <a:schemeClr val="tx2"/>
          </a:solidFill>
        </p:spPr>
        <p:txBody>
          <a:bodyPr/>
          <a:lstStyle>
            <a:lvl1pPr algn="ctr">
              <a:defRPr>
                <a:solidFill>
                  <a:schemeClr val="bg1"/>
                </a:solidFill>
              </a:defRPr>
            </a:lvl1pPr>
          </a:lstStyle>
          <a:p>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7" y="2818551"/>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7" y="49826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2" name="Rectangle 1">
            <a:extLst>
              <a:ext uri="{FF2B5EF4-FFF2-40B4-BE49-F238E27FC236}">
                <a16:creationId xmlns:a16="http://schemas.microsoft.com/office/drawing/2014/main" id="{5AFCCD30-A182-C14B-89B0-90EE95174CAB}"/>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Tree>
    <p:extLst>
      <p:ext uri="{BB962C8B-B14F-4D97-AF65-F5344CB8AC3E}">
        <p14:creationId xmlns:p14="http://schemas.microsoft.com/office/powerpoint/2010/main" val="2099466619"/>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NTT_content_page_white">
    <p:bg bwMode="ltGray">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7" y="161003"/>
            <a:ext cx="9635171" cy="833780"/>
          </a:xfrm>
          <a:prstGeom prst="rect">
            <a:avLst/>
          </a:prstGeom>
        </p:spPr>
        <p:txBody>
          <a:bodyPr anchor="ctr"/>
          <a:lstStyle>
            <a:lvl1pPr>
              <a:defRPr sz="3200" b="1">
                <a:solidFill>
                  <a:schemeClr val="accent2"/>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2"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2"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2"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2"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2"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2"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0"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2"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2"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3" name="Picture 22">
            <a:extLst>
              <a:ext uri="{FF2B5EF4-FFF2-40B4-BE49-F238E27FC236}">
                <a16:creationId xmlns:a16="http://schemas.microsoft.com/office/drawing/2014/main" id="{37B729C0-E7FD-734B-968A-D6B00E485D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579467514"/>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NTT_contents_page_blue">
    <p:bg bwMode="ltGray">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7" y="161003"/>
            <a:ext cx="9897147" cy="833780"/>
          </a:xfrm>
          <a:prstGeom prst="rect">
            <a:avLst/>
          </a:prstGeom>
        </p:spPr>
        <p:txBody>
          <a:bodyPr anchor="ctr"/>
          <a:lstStyle>
            <a:lvl1pPr>
              <a:defRPr sz="3200" b="1">
                <a:solidFill>
                  <a:srgbClr val="FFFFFF"/>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2" y="1375844"/>
            <a:ext cx="2021429" cy="486833"/>
          </a:xfrm>
          <a:prstGeom prst="rect">
            <a:avLst/>
          </a:prstGeom>
        </p:spPr>
        <p:txBody>
          <a:bodyPr vert="horz"/>
          <a:lstStyle>
            <a:lvl1pPr>
              <a:defRPr b="1">
                <a:solidFill>
                  <a:schemeClr val="bg1"/>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2"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44"/>
            <a:ext cx="2021429" cy="486833"/>
          </a:xfrm>
          <a:prstGeom prst="rect">
            <a:avLst/>
          </a:prstGeom>
        </p:spPr>
        <p:txBody>
          <a:bodyPr vert="horz"/>
          <a:lstStyle>
            <a:lvl1pPr>
              <a:defRPr b="1">
                <a:solidFill>
                  <a:schemeClr val="bg1"/>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44"/>
            <a:ext cx="2021429" cy="486833"/>
          </a:xfrm>
          <a:prstGeom prst="rect">
            <a:avLst/>
          </a:prstGeom>
        </p:spPr>
        <p:txBody>
          <a:bodyPr vert="horz"/>
          <a:lstStyle>
            <a:lvl1pPr>
              <a:defRPr b="1">
                <a:solidFill>
                  <a:schemeClr val="bg1"/>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44"/>
            <a:ext cx="2021429" cy="486833"/>
          </a:xfrm>
          <a:prstGeom prst="rect">
            <a:avLst/>
          </a:prstGeom>
        </p:spPr>
        <p:txBody>
          <a:bodyPr vert="horz"/>
          <a:lstStyle>
            <a:lvl1pPr>
              <a:defRPr b="1">
                <a:solidFill>
                  <a:schemeClr val="bg1"/>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2" y="1375844"/>
            <a:ext cx="2021429" cy="486833"/>
          </a:xfrm>
          <a:prstGeom prst="rect">
            <a:avLst/>
          </a:prstGeom>
        </p:spPr>
        <p:txBody>
          <a:bodyPr vert="horz"/>
          <a:lstStyle>
            <a:lvl1pPr>
              <a:defRPr b="1">
                <a:solidFill>
                  <a:schemeClr val="bg1"/>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2"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2" y="3894675"/>
            <a:ext cx="2021429" cy="486833"/>
          </a:xfrm>
          <a:prstGeom prst="rect">
            <a:avLst/>
          </a:prstGeom>
        </p:spPr>
        <p:txBody>
          <a:bodyPr vert="horz"/>
          <a:lstStyle>
            <a:lvl1pPr>
              <a:defRPr b="1">
                <a:solidFill>
                  <a:schemeClr val="bg1"/>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2"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5"/>
            <a:ext cx="2021429" cy="486833"/>
          </a:xfrm>
          <a:prstGeom prst="rect">
            <a:avLst/>
          </a:prstGeom>
        </p:spPr>
        <p:txBody>
          <a:bodyPr vert="horz"/>
          <a:lstStyle>
            <a:lvl1pPr>
              <a:defRPr b="1">
                <a:solidFill>
                  <a:schemeClr val="bg1"/>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5"/>
            <a:ext cx="2021429" cy="486833"/>
          </a:xfrm>
          <a:prstGeom prst="rect">
            <a:avLst/>
          </a:prstGeom>
        </p:spPr>
        <p:txBody>
          <a:bodyPr vert="horz"/>
          <a:lstStyle>
            <a:lvl1pPr>
              <a:defRPr b="1">
                <a:solidFill>
                  <a:schemeClr val="bg1"/>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5"/>
            <a:ext cx="2021429" cy="486833"/>
          </a:xfrm>
          <a:prstGeom prst="rect">
            <a:avLst/>
          </a:prstGeom>
        </p:spPr>
        <p:txBody>
          <a:bodyPr vert="horz"/>
          <a:lstStyle>
            <a:lvl1pPr>
              <a:defRPr b="1">
                <a:solidFill>
                  <a:schemeClr val="bg1"/>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0"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2" y="3894675"/>
            <a:ext cx="2021429" cy="486833"/>
          </a:xfrm>
          <a:prstGeom prst="rect">
            <a:avLst/>
          </a:prstGeom>
        </p:spPr>
        <p:txBody>
          <a:bodyPr vert="horz"/>
          <a:lstStyle>
            <a:lvl1pPr>
              <a:defRPr b="1">
                <a:solidFill>
                  <a:schemeClr val="bg1"/>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2"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4" name="Picture 23">
            <a:extLst>
              <a:ext uri="{FF2B5EF4-FFF2-40B4-BE49-F238E27FC236}">
                <a16:creationId xmlns:a16="http://schemas.microsoft.com/office/drawing/2014/main" id="{BC1456C7-EA29-1349-BF59-3A88514782BE}"/>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9" y="337622"/>
            <a:ext cx="1331803" cy="477007"/>
          </a:xfrm>
          <a:prstGeom prst="rect">
            <a:avLst/>
          </a:prstGeom>
        </p:spPr>
      </p:pic>
    </p:spTree>
    <p:extLst>
      <p:ext uri="{BB962C8B-B14F-4D97-AF65-F5344CB8AC3E}">
        <p14:creationId xmlns:p14="http://schemas.microsoft.com/office/powerpoint/2010/main" val="27527597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3_NTT_content_page">
    <p:bg bwMode="ltGray">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085481-1F38-7744-AE2E-14E71BBC7165}"/>
              </a:ext>
            </a:extLst>
          </p:cNvPr>
          <p:cNvSpPr/>
          <p:nvPr userDrawn="1"/>
        </p:nvSpPr>
        <p:spPr>
          <a:xfrm>
            <a:off x="5883965" y="0"/>
            <a:ext cx="6308035" cy="685800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solidFill>
                <a:schemeClr val="tx1"/>
              </a:solidFill>
            </a:endParaRPr>
          </a:p>
        </p:txBody>
      </p:sp>
      <p:sp>
        <p:nvSpPr>
          <p:cNvPr id="4" name="Rectangle 3">
            <a:extLst>
              <a:ext uri="{FF2B5EF4-FFF2-40B4-BE49-F238E27FC236}">
                <a16:creationId xmlns:a16="http://schemas.microsoft.com/office/drawing/2014/main" id="{F047273F-8383-0B40-A84D-A6E3D5DAB531}"/>
              </a:ext>
            </a:extLst>
          </p:cNvPr>
          <p:cNvSpPr/>
          <p:nvPr userDrawn="1"/>
        </p:nvSpPr>
        <p:spPr>
          <a:xfrm>
            <a:off x="1157207" y="1290235"/>
            <a:ext cx="3822916" cy="4277532"/>
          </a:xfrm>
          <a:prstGeom prst="rect">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ext Placeholder 6">
            <a:extLst>
              <a:ext uri="{FF2B5EF4-FFF2-40B4-BE49-F238E27FC236}">
                <a16:creationId xmlns:a16="http://schemas.microsoft.com/office/drawing/2014/main" id="{7172A34A-A47D-0B40-835D-28831DC7725C}"/>
              </a:ext>
            </a:extLst>
          </p:cNvPr>
          <p:cNvSpPr>
            <a:spLocks noGrp="1"/>
          </p:cNvSpPr>
          <p:nvPr>
            <p:ph type="body" sz="quarter" idx="15"/>
          </p:nvPr>
        </p:nvSpPr>
        <p:spPr>
          <a:xfrm>
            <a:off x="1297015" y="3256157"/>
            <a:ext cx="3543300" cy="1437899"/>
          </a:xfrm>
          <a:prstGeom prst="rect">
            <a:avLst/>
          </a:prstGeom>
        </p:spPr>
        <p:txBody>
          <a:bodyPr/>
          <a:lstStyle>
            <a:lvl1pPr marL="0" indent="0" algn="ctr">
              <a:buNone/>
              <a:defRPr sz="1333">
                <a:solidFill>
                  <a:schemeClr val="bg1"/>
                </a:solidFill>
              </a:defRPr>
            </a:lvl1pPr>
            <a:lvl2pPr marL="457143" indent="0" algn="ctr">
              <a:buNone/>
              <a:defRPr sz="1333"/>
            </a:lvl2pPr>
            <a:lvl3pPr marL="914286" indent="0" algn="ctr">
              <a:buNone/>
              <a:defRPr sz="1333"/>
            </a:lvl3pPr>
            <a:lvl4pPr marL="1371430" indent="0" algn="ctr">
              <a:buNone/>
              <a:defRPr sz="1333"/>
            </a:lvl4pPr>
            <a:lvl5pPr marL="1828573" indent="0" algn="ctr">
              <a:buNone/>
              <a:defRPr sz="1333"/>
            </a:lvl5pPr>
          </a:lstStyle>
          <a:p>
            <a:pPr lvl="0"/>
            <a:r>
              <a:rPr lang="en-US"/>
              <a:t>Click to edit Master text styles</a:t>
            </a:r>
          </a:p>
        </p:txBody>
      </p:sp>
      <p:sp>
        <p:nvSpPr>
          <p:cNvPr id="12" name="Text Placeholder 11">
            <a:extLst>
              <a:ext uri="{FF2B5EF4-FFF2-40B4-BE49-F238E27FC236}">
                <a16:creationId xmlns:a16="http://schemas.microsoft.com/office/drawing/2014/main" id="{7301CF58-65C8-5A44-9BBC-7F4C9512C244}"/>
              </a:ext>
            </a:extLst>
          </p:cNvPr>
          <p:cNvSpPr>
            <a:spLocks noGrp="1"/>
          </p:cNvSpPr>
          <p:nvPr>
            <p:ph type="body" sz="quarter" idx="16" hasCustomPrompt="1"/>
          </p:nvPr>
        </p:nvSpPr>
        <p:spPr>
          <a:xfrm>
            <a:off x="6376012" y="799964"/>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14" name="Text Placeholder 11">
            <a:extLst>
              <a:ext uri="{FF2B5EF4-FFF2-40B4-BE49-F238E27FC236}">
                <a16:creationId xmlns:a16="http://schemas.microsoft.com/office/drawing/2014/main" id="{593C8A1F-BBC4-D142-8D11-C3D83D5A59E7}"/>
              </a:ext>
            </a:extLst>
          </p:cNvPr>
          <p:cNvSpPr>
            <a:spLocks noGrp="1"/>
          </p:cNvSpPr>
          <p:nvPr>
            <p:ph type="body" sz="quarter" idx="17" hasCustomPrompt="1"/>
          </p:nvPr>
        </p:nvSpPr>
        <p:spPr>
          <a:xfrm>
            <a:off x="6376012" y="1130593"/>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15" name="Text Placeholder 11">
            <a:extLst>
              <a:ext uri="{FF2B5EF4-FFF2-40B4-BE49-F238E27FC236}">
                <a16:creationId xmlns:a16="http://schemas.microsoft.com/office/drawing/2014/main" id="{B2E1BFFD-5E6B-184E-9C96-C96EA10F3A87}"/>
              </a:ext>
            </a:extLst>
          </p:cNvPr>
          <p:cNvSpPr>
            <a:spLocks noGrp="1"/>
          </p:cNvSpPr>
          <p:nvPr>
            <p:ph type="body" sz="quarter" idx="18" hasCustomPrompt="1"/>
          </p:nvPr>
        </p:nvSpPr>
        <p:spPr>
          <a:xfrm>
            <a:off x="6376012" y="1440560"/>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2" name="Text Placeholder 11">
            <a:extLst>
              <a:ext uri="{FF2B5EF4-FFF2-40B4-BE49-F238E27FC236}">
                <a16:creationId xmlns:a16="http://schemas.microsoft.com/office/drawing/2014/main" id="{252F90EC-C0F9-F040-B680-A6A9A3CB16FF}"/>
              </a:ext>
            </a:extLst>
          </p:cNvPr>
          <p:cNvSpPr>
            <a:spLocks noGrp="1"/>
          </p:cNvSpPr>
          <p:nvPr>
            <p:ph type="body" sz="quarter" idx="19" hasCustomPrompt="1"/>
          </p:nvPr>
        </p:nvSpPr>
        <p:spPr>
          <a:xfrm>
            <a:off x="6376012" y="2163814"/>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3" name="Text Placeholder 11">
            <a:extLst>
              <a:ext uri="{FF2B5EF4-FFF2-40B4-BE49-F238E27FC236}">
                <a16:creationId xmlns:a16="http://schemas.microsoft.com/office/drawing/2014/main" id="{8B064F4E-61E6-8D43-884D-B02F8BF1243B}"/>
              </a:ext>
            </a:extLst>
          </p:cNvPr>
          <p:cNvSpPr>
            <a:spLocks noGrp="1"/>
          </p:cNvSpPr>
          <p:nvPr>
            <p:ph type="body" sz="quarter" idx="20" hasCustomPrompt="1"/>
          </p:nvPr>
        </p:nvSpPr>
        <p:spPr>
          <a:xfrm>
            <a:off x="6376012" y="2494444"/>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4" name="Text Placeholder 11">
            <a:extLst>
              <a:ext uri="{FF2B5EF4-FFF2-40B4-BE49-F238E27FC236}">
                <a16:creationId xmlns:a16="http://schemas.microsoft.com/office/drawing/2014/main" id="{03EE597B-F187-9343-9BDB-C8BFA2AFFFD0}"/>
              </a:ext>
            </a:extLst>
          </p:cNvPr>
          <p:cNvSpPr>
            <a:spLocks noGrp="1"/>
          </p:cNvSpPr>
          <p:nvPr>
            <p:ph type="body" sz="quarter" idx="21" hasCustomPrompt="1"/>
          </p:nvPr>
        </p:nvSpPr>
        <p:spPr>
          <a:xfrm>
            <a:off x="6376012" y="2804410"/>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6" name="Text Placeholder 11">
            <a:extLst>
              <a:ext uri="{FF2B5EF4-FFF2-40B4-BE49-F238E27FC236}">
                <a16:creationId xmlns:a16="http://schemas.microsoft.com/office/drawing/2014/main" id="{586E91DD-916B-F645-80BE-74FE13A1A309}"/>
              </a:ext>
            </a:extLst>
          </p:cNvPr>
          <p:cNvSpPr>
            <a:spLocks noGrp="1"/>
          </p:cNvSpPr>
          <p:nvPr>
            <p:ph type="body" sz="quarter" idx="22" hasCustomPrompt="1"/>
          </p:nvPr>
        </p:nvSpPr>
        <p:spPr>
          <a:xfrm>
            <a:off x="6376012" y="3541226"/>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7" name="Text Placeholder 11">
            <a:extLst>
              <a:ext uri="{FF2B5EF4-FFF2-40B4-BE49-F238E27FC236}">
                <a16:creationId xmlns:a16="http://schemas.microsoft.com/office/drawing/2014/main" id="{D33AE9B1-FC4C-B64A-A627-4C5DEB4D3642}"/>
              </a:ext>
            </a:extLst>
          </p:cNvPr>
          <p:cNvSpPr>
            <a:spLocks noGrp="1"/>
          </p:cNvSpPr>
          <p:nvPr>
            <p:ph type="body" sz="quarter" idx="23" hasCustomPrompt="1"/>
          </p:nvPr>
        </p:nvSpPr>
        <p:spPr>
          <a:xfrm>
            <a:off x="6376012" y="3871855"/>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8" name="Text Placeholder 11">
            <a:extLst>
              <a:ext uri="{FF2B5EF4-FFF2-40B4-BE49-F238E27FC236}">
                <a16:creationId xmlns:a16="http://schemas.microsoft.com/office/drawing/2014/main" id="{D7BDC373-757A-224C-BDE1-7C04B2534237}"/>
              </a:ext>
            </a:extLst>
          </p:cNvPr>
          <p:cNvSpPr>
            <a:spLocks noGrp="1"/>
          </p:cNvSpPr>
          <p:nvPr>
            <p:ph type="body" sz="quarter" idx="24" hasCustomPrompt="1"/>
          </p:nvPr>
        </p:nvSpPr>
        <p:spPr>
          <a:xfrm>
            <a:off x="6376012" y="4181822"/>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9" name="Text Placeholder 11">
            <a:extLst>
              <a:ext uri="{FF2B5EF4-FFF2-40B4-BE49-F238E27FC236}">
                <a16:creationId xmlns:a16="http://schemas.microsoft.com/office/drawing/2014/main" id="{D237CA36-D07E-5643-B2B1-CCB818CA6974}"/>
              </a:ext>
            </a:extLst>
          </p:cNvPr>
          <p:cNvSpPr>
            <a:spLocks noGrp="1"/>
          </p:cNvSpPr>
          <p:nvPr>
            <p:ph type="body" sz="quarter" idx="25" hasCustomPrompt="1"/>
          </p:nvPr>
        </p:nvSpPr>
        <p:spPr>
          <a:xfrm>
            <a:off x="6376012" y="4920648"/>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30" name="Text Placeholder 11">
            <a:extLst>
              <a:ext uri="{FF2B5EF4-FFF2-40B4-BE49-F238E27FC236}">
                <a16:creationId xmlns:a16="http://schemas.microsoft.com/office/drawing/2014/main" id="{C423DBFD-C745-4648-850A-74997E87CFF1}"/>
              </a:ext>
            </a:extLst>
          </p:cNvPr>
          <p:cNvSpPr>
            <a:spLocks noGrp="1"/>
          </p:cNvSpPr>
          <p:nvPr>
            <p:ph type="body" sz="quarter" idx="26" hasCustomPrompt="1"/>
          </p:nvPr>
        </p:nvSpPr>
        <p:spPr>
          <a:xfrm>
            <a:off x="6376012" y="5251277"/>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31" name="Text Placeholder 11">
            <a:extLst>
              <a:ext uri="{FF2B5EF4-FFF2-40B4-BE49-F238E27FC236}">
                <a16:creationId xmlns:a16="http://schemas.microsoft.com/office/drawing/2014/main" id="{060C62B5-4383-B249-A74D-872EBA69941E}"/>
              </a:ext>
            </a:extLst>
          </p:cNvPr>
          <p:cNvSpPr>
            <a:spLocks noGrp="1"/>
          </p:cNvSpPr>
          <p:nvPr>
            <p:ph type="body" sz="quarter" idx="27" hasCustomPrompt="1"/>
          </p:nvPr>
        </p:nvSpPr>
        <p:spPr>
          <a:xfrm>
            <a:off x="6376012" y="5561244"/>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32" name="Title 4">
            <a:extLst>
              <a:ext uri="{FF2B5EF4-FFF2-40B4-BE49-F238E27FC236}">
                <a16:creationId xmlns:a16="http://schemas.microsoft.com/office/drawing/2014/main" id="{738D054A-338D-8647-BDC8-3D1F6F5A5227}"/>
              </a:ext>
            </a:extLst>
          </p:cNvPr>
          <p:cNvSpPr>
            <a:spLocks noGrp="1"/>
          </p:cNvSpPr>
          <p:nvPr>
            <p:ph type="title" hasCustomPrompt="1"/>
          </p:nvPr>
        </p:nvSpPr>
        <p:spPr>
          <a:xfrm>
            <a:off x="1297015" y="2157098"/>
            <a:ext cx="3543300" cy="958321"/>
          </a:xfrm>
          <a:prstGeom prst="rect">
            <a:avLst/>
          </a:prstGeom>
        </p:spPr>
        <p:txBody>
          <a:bodyPr anchor="ctr"/>
          <a:lstStyle>
            <a:lvl1pPr algn="ctr">
              <a:lnSpc>
                <a:spcPct val="100000"/>
              </a:lnSpc>
              <a:spcBef>
                <a:spcPts val="0"/>
              </a:spcBef>
              <a:spcAft>
                <a:spcPts val="0"/>
              </a:spcAft>
              <a:defRPr sz="3200" b="1">
                <a:solidFill>
                  <a:schemeClr val="bg1"/>
                </a:solidFill>
              </a:defRPr>
            </a:lvl1pPr>
          </a:lstStyle>
          <a:p>
            <a:r>
              <a:rPr lang="en-US"/>
              <a:t>Today’s</a:t>
            </a:r>
            <a:br>
              <a:rPr lang="en-US"/>
            </a:br>
            <a:r>
              <a:rPr lang="en-US"/>
              <a:t>agenda</a:t>
            </a:r>
            <a:endParaRPr lang="en-GB"/>
          </a:p>
        </p:txBody>
      </p:sp>
    </p:spTree>
    <p:extLst>
      <p:ext uri="{BB962C8B-B14F-4D97-AF65-F5344CB8AC3E}">
        <p14:creationId xmlns:p14="http://schemas.microsoft.com/office/powerpoint/2010/main" val="785363700"/>
      </p:ext>
    </p:extLst>
  </p:cSld>
  <p:clrMapOvr>
    <a:overrideClrMapping bg1="dk1" tx1="lt1" bg2="dk2" tx2="lt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NTT_divider_page">
    <p:spTree>
      <p:nvGrpSpPr>
        <p:cNvPr id="1" name=""/>
        <p:cNvGrpSpPr/>
        <p:nvPr/>
      </p:nvGrpSpPr>
      <p:grpSpPr>
        <a:xfrm>
          <a:off x="0" y="0"/>
          <a:ext cx="0" cy="0"/>
          <a:chOff x="0" y="0"/>
          <a:chExt cx="0" cy="0"/>
        </a:xfrm>
      </p:grpSpPr>
      <p:sp>
        <p:nvSpPr>
          <p:cNvPr id="10" name="Picture Placeholder 3"/>
          <p:cNvSpPr>
            <a:spLocks noGrp="1"/>
          </p:cNvSpPr>
          <p:nvPr userDrawn="1">
            <p:ph type="pic" sz="quarter" idx="14"/>
          </p:nvPr>
        </p:nvSpPr>
        <p:spPr>
          <a:xfrm>
            <a:off x="0" y="4925"/>
            <a:ext cx="12192000" cy="6362011"/>
          </a:xfrm>
          <a:prstGeom prst="rect">
            <a:avLst/>
          </a:prstGeom>
        </p:spPr>
        <p:txBody>
          <a:bodyPr/>
          <a:lstStyle>
            <a:lvl1pPr>
              <a:defRPr>
                <a:solidFill>
                  <a:schemeClr val="accent1"/>
                </a:solidFill>
                <a:latin typeface="Arial"/>
              </a:defRPr>
            </a:lvl1pPr>
          </a:lstStyle>
          <a:p>
            <a:r>
              <a:rPr lang="en-US"/>
              <a:t>Drag picture to placeholder or click icon to add</a:t>
            </a:r>
          </a:p>
        </p:txBody>
      </p:sp>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7"/>
            <a:ext cx="11408804" cy="631775"/>
          </a:xfrm>
          <a:prstGeom prst="rect">
            <a:avLst/>
          </a:prstGeom>
        </p:spPr>
        <p:txBody>
          <a:bodyPr anchor="ctr"/>
          <a:lstStyle>
            <a:lvl1pPr algn="ctr">
              <a:defRPr sz="3200" b="1">
                <a:solidFill>
                  <a:schemeClr val="tx1"/>
                </a:solidFill>
              </a:defRPr>
            </a:lvl1pPr>
          </a:lstStyle>
          <a:p>
            <a:r>
              <a:rPr lang="en-US"/>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93"/>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5" name="Rectangle 4">
            <a:extLst>
              <a:ext uri="{FF2B5EF4-FFF2-40B4-BE49-F238E27FC236}">
                <a16:creationId xmlns:a16="http://schemas.microsoft.com/office/drawing/2014/main" id="{DBB9AF9C-B2E6-1240-91F3-67F7FFEE08DD}"/>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Tree>
    <p:extLst>
      <p:ext uri="{BB962C8B-B14F-4D97-AF65-F5344CB8AC3E}">
        <p14:creationId xmlns:p14="http://schemas.microsoft.com/office/powerpoint/2010/main" val="172852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NTT_divider_page_blue">
    <p:bg>
      <p:bgPr>
        <a:solidFill>
          <a:schemeClr val="accent2"/>
        </a:soli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7"/>
            <a:ext cx="11408804" cy="631775"/>
          </a:xfrm>
          <a:prstGeom prst="rect">
            <a:avLst/>
          </a:prstGeom>
        </p:spPr>
        <p:txBody>
          <a:bodyPr anchor="ctr"/>
          <a:lstStyle>
            <a:lvl1pPr algn="ctr">
              <a:defRPr sz="3200" b="1">
                <a:solidFill>
                  <a:schemeClr val="bg1"/>
                </a:solidFill>
              </a:defRPr>
            </a:lvl1pPr>
          </a:lstStyle>
          <a:p>
            <a:r>
              <a:rPr lang="en-US"/>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93"/>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Tree>
    <p:extLst>
      <p:ext uri="{BB962C8B-B14F-4D97-AF65-F5344CB8AC3E}">
        <p14:creationId xmlns:p14="http://schemas.microsoft.com/office/powerpoint/2010/main" val="1691700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1302158"/>
            <a:ext cx="12192000" cy="5555847"/>
          </a:xfrm>
          <a:prstGeom prst="rect">
            <a:avLst/>
          </a:prstGeom>
          <a:solidFill>
            <a:schemeClr val="tx2"/>
          </a:solidFill>
        </p:spPr>
        <p:txBody>
          <a:bodyPr/>
          <a:lstStyle>
            <a:lvl1pPr algn="ctr">
              <a:defRPr>
                <a:solidFill>
                  <a:schemeClr val="bg1"/>
                </a:solidFill>
              </a:defRPr>
            </a:lvl1pPr>
          </a:lstStyle>
          <a:p>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7" y="2724147"/>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7" y="48882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5" name="Rectangle 4">
            <a:extLst>
              <a:ext uri="{FF2B5EF4-FFF2-40B4-BE49-F238E27FC236}">
                <a16:creationId xmlns:a16="http://schemas.microsoft.com/office/drawing/2014/main" id="{AEC331B1-A2E3-4449-A203-C1004B13CA10}"/>
              </a:ext>
            </a:extLst>
          </p:cNvPr>
          <p:cNvSpPr/>
          <p:nvPr userDrawn="1"/>
        </p:nvSpPr>
        <p:spPr>
          <a:xfrm>
            <a:off x="-1" y="6"/>
            <a:ext cx="12192001" cy="1302153"/>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pic>
        <p:nvPicPr>
          <p:cNvPr id="9" name="Picture 8">
            <a:extLst>
              <a:ext uri="{FF2B5EF4-FFF2-40B4-BE49-F238E27FC236}">
                <a16:creationId xmlns:a16="http://schemas.microsoft.com/office/drawing/2014/main" id="{B0D76022-ABF5-4D71-8FD6-F77E9816DD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4143579758"/>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25123"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a:extLst>
              <a:ext uri="{FF2B5EF4-FFF2-40B4-BE49-F238E27FC236}">
                <a16:creationId xmlns:a16="http://schemas.microsoft.com/office/drawing/2014/main" id="{80889D0A-8FE3-CF4D-B7B4-5465281051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230807971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B720457-78E2-D349-BA3A-D34C6CC50DD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7" name="Title 1"/>
          <p:cNvSpPr>
            <a:spLocks noGrp="1"/>
          </p:cNvSpPr>
          <p:nvPr>
            <p:ph type="title"/>
          </p:nvPr>
        </p:nvSpPr>
        <p:spPr>
          <a:xfrm>
            <a:off x="396695" y="169339"/>
            <a:ext cx="9951392"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331323"/>
            <a:ext cx="11376207" cy="473081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12" name="Picture 11">
            <a:extLst>
              <a:ext uri="{FF2B5EF4-FFF2-40B4-BE49-F238E27FC236}">
                <a16:creationId xmlns:a16="http://schemas.microsoft.com/office/drawing/2014/main" id="{4394DD01-B476-4449-A74F-36512D904F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
        <p:nvSpPr>
          <p:cNvPr id="13" name="Text Placeholder 2">
            <a:extLst>
              <a:ext uri="{FF2B5EF4-FFF2-40B4-BE49-F238E27FC236}">
                <a16:creationId xmlns:a16="http://schemas.microsoft.com/office/drawing/2014/main" id="{02A62D41-FCC5-49EA-84B9-5FCD9CACEBA4}"/>
              </a:ext>
            </a:extLst>
          </p:cNvPr>
          <p:cNvSpPr>
            <a:spLocks noGrp="1"/>
          </p:cNvSpPr>
          <p:nvPr>
            <p:ph type="body" sz="quarter" idx="10" hasCustomPrompt="1"/>
          </p:nvPr>
        </p:nvSpPr>
        <p:spPr>
          <a:xfrm>
            <a:off x="5440226" y="6499792"/>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1356706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white">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665205-AFA7-49D6-8BCE-3E1CE3963179}"/>
              </a:ext>
            </a:extLst>
          </p:cNvPr>
          <p:cNvGraphicFramePr>
            <a:graphicFrameLocks noChangeAspect="1"/>
          </p:cNvGraphicFramePr>
          <p:nvPr userDrawn="1">
            <p:custDataLst>
              <p:tags r:id="rId1"/>
            </p:custDataLst>
            <p:extLst>
              <p:ext uri="{D42A27DB-BD31-4B8C-83A1-F6EECF244321}">
                <p14:modId xmlns:p14="http://schemas.microsoft.com/office/powerpoint/2010/main" val="337540024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3" name="Object 2" hidden="1">
                        <a:extLst>
                          <a:ext uri="{FF2B5EF4-FFF2-40B4-BE49-F238E27FC236}">
                            <a16:creationId xmlns:a16="http://schemas.microsoft.com/office/drawing/2014/main" id="{16665205-AFA7-49D6-8BCE-3E1CE396317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1A9B65-AF68-47AE-9593-718917E08608}"/>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BB720457-78E2-D349-BA3A-D34C6CC50DD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rtl="0" fontAlgn="auto">
              <a:lnSpc>
                <a:spcPct val="110000"/>
              </a:lnSpc>
              <a:spcBef>
                <a:spcPts val="267"/>
              </a:spcBef>
              <a:spcAft>
                <a:spcPts val="267"/>
              </a:spcAft>
            </a:pPr>
            <a:endParaRPr lang="en-US" sz="2133"/>
          </a:p>
        </p:txBody>
      </p:sp>
      <p:sp>
        <p:nvSpPr>
          <p:cNvPr id="7" name="Title 1"/>
          <p:cNvSpPr>
            <a:spLocks noGrp="1"/>
          </p:cNvSpPr>
          <p:nvPr>
            <p:ph type="title"/>
          </p:nvPr>
        </p:nvSpPr>
        <p:spPr>
          <a:xfrm>
            <a:off x="396695" y="169334"/>
            <a:ext cx="9951392" cy="447217"/>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lick to edit Master title style</a:t>
            </a:r>
          </a:p>
        </p:txBody>
      </p:sp>
      <p:sp>
        <p:nvSpPr>
          <p:cNvPr id="8" name="Content Placeholder 2"/>
          <p:cNvSpPr>
            <a:spLocks noGrp="1"/>
          </p:cNvSpPr>
          <p:nvPr>
            <p:ph idx="1"/>
          </p:nvPr>
        </p:nvSpPr>
        <p:spPr>
          <a:xfrm>
            <a:off x="396694" y="1331318"/>
            <a:ext cx="11376207" cy="1919073"/>
          </a:xfrm>
          <a:prstGeom prst="rect">
            <a:avLst/>
          </a:prstGeom>
        </p:spPr>
        <p:txBody>
          <a:bodyPr/>
          <a:lstStyle>
            <a:lvl1pPr algn="l" rtl="0">
              <a:defRPr sz="2400">
                <a:solidFill>
                  <a:schemeClr val="tx1"/>
                </a:solidFill>
                <a:latin typeface="Arial"/>
                <a:cs typeface="Arial"/>
              </a:defRPr>
            </a:lvl1pPr>
            <a:lvl2pPr algn="l" rtl="0">
              <a:defRPr sz="1867">
                <a:solidFill>
                  <a:schemeClr val="tx1"/>
                </a:solidFill>
                <a:latin typeface="Arial"/>
                <a:cs typeface="Arial"/>
              </a:defRPr>
            </a:lvl2pPr>
            <a:lvl3pPr algn="l" rtl="0">
              <a:defRPr sz="1600">
                <a:solidFill>
                  <a:schemeClr val="tx1"/>
                </a:solidFill>
                <a:latin typeface="Arial"/>
                <a:cs typeface="Arial"/>
              </a:defRPr>
            </a:lvl3pPr>
            <a:lvl4pPr algn="l" rtl="0">
              <a:defRPr sz="1467">
                <a:solidFill>
                  <a:schemeClr val="tx1"/>
                </a:solidFill>
                <a:latin typeface="Arial"/>
                <a:cs typeface="Arial"/>
              </a:defRPr>
            </a:lvl4pPr>
            <a:lvl5pPr algn="l" rtl="0">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a:extLst>
              <a:ext uri="{FF2B5EF4-FFF2-40B4-BE49-F238E27FC236}">
                <a16:creationId xmlns:a16="http://schemas.microsoft.com/office/drawing/2014/main" id="{4394DD01-B476-4449-A74F-36512D904FE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13" name="Text Placeholder 2">
            <a:extLst>
              <a:ext uri="{FF2B5EF4-FFF2-40B4-BE49-F238E27FC236}">
                <a16:creationId xmlns:a16="http://schemas.microsoft.com/office/drawing/2014/main" id="{02A62D41-FCC5-49EA-84B9-5FCD9CACEBA4}"/>
              </a:ext>
            </a:extLst>
          </p:cNvPr>
          <p:cNvSpPr>
            <a:spLocks noGrp="1"/>
          </p:cNvSpPr>
          <p:nvPr>
            <p:ph type="body" sz="quarter" idx="10" hasCustomPrompt="1"/>
          </p:nvPr>
        </p:nvSpPr>
        <p:spPr>
          <a:xfrm>
            <a:off x="5440221" y="6474599"/>
            <a:ext cx="6535881" cy="285335"/>
          </a:xfrm>
          <a:prstGeom prst="rect">
            <a:avLst/>
          </a:prstGeom>
        </p:spPr>
        <p:txBody>
          <a:bodyPr anchor="ctr"/>
          <a:lstStyle>
            <a:lvl1pPr algn="r" rtl="0">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27245945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light_grey_CR">
    <p:bg bwMode="ltGray">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25123"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28"/>
            <a:ext cx="11376207" cy="456697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9" name="Picture 8">
            <a:extLst>
              <a:ext uri="{FF2B5EF4-FFF2-40B4-BE49-F238E27FC236}">
                <a16:creationId xmlns:a16="http://schemas.microsoft.com/office/drawing/2014/main" id="{A5514108-DFA6-6A49-ADD4-769859CE9D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
        <p:nvSpPr>
          <p:cNvPr id="10" name="Rectangle 9">
            <a:extLst>
              <a:ext uri="{FF2B5EF4-FFF2-40B4-BE49-F238E27FC236}">
                <a16:creationId xmlns:a16="http://schemas.microsoft.com/office/drawing/2014/main" id="{88CE73B4-B7E7-7745-AF08-F3B6CCC9131B}"/>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2" name="Text Placeholder 2">
            <a:extLst>
              <a:ext uri="{FF2B5EF4-FFF2-40B4-BE49-F238E27FC236}">
                <a16:creationId xmlns:a16="http://schemas.microsoft.com/office/drawing/2014/main" id="{0AA716DD-80A6-DA4B-BABB-DE0B9A73DF6D}"/>
              </a:ext>
            </a:extLst>
          </p:cNvPr>
          <p:cNvSpPr>
            <a:spLocks noGrp="1"/>
          </p:cNvSpPr>
          <p:nvPr>
            <p:ph type="body" sz="quarter" idx="10" hasCustomPrompt="1"/>
          </p:nvPr>
        </p:nvSpPr>
        <p:spPr>
          <a:xfrm>
            <a:off x="5440226" y="6499792"/>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272588013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NTT_title_and_content_page_blue">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5" name="Picture 4">
            <a:extLst>
              <a:ext uri="{FF2B5EF4-FFF2-40B4-BE49-F238E27FC236}">
                <a16:creationId xmlns:a16="http://schemas.microsoft.com/office/drawing/2014/main" id="{8F3EAFF9-7DC3-D348-84B7-12FFB2469E99}"/>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9" y="337622"/>
            <a:ext cx="1331803" cy="477007"/>
          </a:xfrm>
          <a:prstGeom prst="rect">
            <a:avLst/>
          </a:prstGeom>
        </p:spPr>
      </p:pic>
    </p:spTree>
    <p:extLst>
      <p:ext uri="{BB962C8B-B14F-4D97-AF65-F5344CB8AC3E}">
        <p14:creationId xmlns:p14="http://schemas.microsoft.com/office/powerpoint/2010/main" val="112665569"/>
      </p:ext>
    </p:extLst>
  </p:cSld>
  <p:clrMapOvr>
    <a:overrideClrMapping bg1="dk1" tx1="lt1" bg2="dk2" tx2="lt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70027"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a:extLst>
              <a:ext uri="{FF2B5EF4-FFF2-40B4-BE49-F238E27FC236}">
                <a16:creationId xmlns:a16="http://schemas.microsoft.com/office/drawing/2014/main" id="{A6731466-BD37-0B4A-BE69-CBD86F77A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
        <p:nvSpPr>
          <p:cNvPr id="9" name="Text Placeholder 2">
            <a:extLst>
              <a:ext uri="{FF2B5EF4-FFF2-40B4-BE49-F238E27FC236}">
                <a16:creationId xmlns:a16="http://schemas.microsoft.com/office/drawing/2014/main" id="{A2FD43D3-9DCE-4E30-810E-E3C88EB6F7CF}"/>
              </a:ext>
            </a:extLst>
          </p:cNvPr>
          <p:cNvSpPr>
            <a:spLocks noGrp="1"/>
          </p:cNvSpPr>
          <p:nvPr>
            <p:ph type="body" sz="quarter" idx="10" hasCustomPrompt="1"/>
          </p:nvPr>
        </p:nvSpPr>
        <p:spPr>
          <a:xfrm>
            <a:off x="396697" y="6448608"/>
            <a:ext cx="6706073" cy="234949"/>
          </a:xfrm>
          <a:prstGeom prst="rect">
            <a:avLst/>
          </a:prstGeom>
        </p:spPr>
        <p:txBody>
          <a:bodyPr anchor="ctr"/>
          <a:lstStyle>
            <a:lvl1pPr marL="0" marR="0" indent="0" algn="l" defTabSz="1219050" rtl="0" eaLnBrk="1" fontAlgn="auto" latinLnBrk="0" hangingPunct="1">
              <a:lnSpc>
                <a:spcPct val="114000"/>
              </a:lnSpc>
              <a:spcBef>
                <a:spcPts val="800"/>
              </a:spcBef>
              <a:spcAft>
                <a:spcPts val="133"/>
              </a:spcAft>
              <a:buClrTx/>
              <a:buSzTx/>
              <a:buFont typeface="Arial" pitchFamily="34" charset="0"/>
              <a:buNone/>
              <a:tabLst/>
              <a:defRPr sz="1067">
                <a:solidFill>
                  <a:schemeClr val="tx1"/>
                </a:solidFill>
              </a:defRPr>
            </a:lvl1pPr>
          </a:lstStyle>
          <a:p>
            <a:pPr marL="0" marR="0" lvl="0" indent="0" algn="l" defTabSz="1219050" rtl="0" eaLnBrk="1" fontAlgn="auto" latinLnBrk="0" hangingPunct="1">
              <a:lnSpc>
                <a:spcPct val="114000"/>
              </a:lnSpc>
              <a:spcBef>
                <a:spcPts val="800"/>
              </a:spcBef>
              <a:spcAft>
                <a:spcPts val="133"/>
              </a:spcAft>
              <a:buClrTx/>
              <a:buSzTx/>
              <a:buFont typeface="Arial" pitchFamily="34" charset="0"/>
              <a:buNone/>
              <a:tabLst/>
              <a:defRPr/>
            </a:pPr>
            <a:r>
              <a:rPr lang="en-US" sz="1200">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247960934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white_no_logo">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7" y="169339"/>
            <a:ext cx="9860711" cy="793751"/>
          </a:xfrm>
          <a:prstGeom prst="rect">
            <a:avLst/>
          </a:prstGeom>
        </p:spPr>
        <p:txBody>
          <a:bodyPr anchor="ctr"/>
          <a:lstStyle>
            <a:lvl1pPr>
              <a:defRPr sz="3200" b="1">
                <a:solidFill>
                  <a:schemeClr val="bg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bg1"/>
                </a:solidFill>
                <a:latin typeface="Arial"/>
                <a:cs typeface="Arial"/>
              </a:defRPr>
            </a:lvl1pPr>
            <a:lvl2pPr algn="l">
              <a:defRPr sz="1867">
                <a:solidFill>
                  <a:schemeClr val="bg1"/>
                </a:solidFill>
                <a:latin typeface="Arial"/>
                <a:cs typeface="Arial"/>
              </a:defRPr>
            </a:lvl2pPr>
            <a:lvl3pPr algn="l">
              <a:defRPr sz="1600">
                <a:solidFill>
                  <a:schemeClr val="bg1"/>
                </a:solidFill>
                <a:latin typeface="Arial"/>
                <a:cs typeface="Arial"/>
              </a:defRPr>
            </a:lvl3pPr>
            <a:lvl4pPr algn="l">
              <a:defRPr sz="1467">
                <a:solidFill>
                  <a:schemeClr val="bg1"/>
                </a:solidFill>
                <a:latin typeface="Arial"/>
                <a:cs typeface="Arial"/>
              </a:defRPr>
            </a:lvl4pPr>
            <a:lvl5pPr algn="l">
              <a:defRPr sz="1467">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4" name="Picture 3">
            <a:extLst>
              <a:ext uri="{FF2B5EF4-FFF2-40B4-BE49-F238E27FC236}">
                <a16:creationId xmlns:a16="http://schemas.microsoft.com/office/drawing/2014/main" id="{A9DEE5B1-CDD6-3C4C-B3D3-ADC5828C5E97}"/>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9" y="337622"/>
            <a:ext cx="1331803" cy="477007"/>
          </a:xfrm>
          <a:prstGeom prst="rect">
            <a:avLst/>
          </a:prstGeom>
        </p:spPr>
      </p:pic>
    </p:spTree>
    <p:extLst>
      <p:ext uri="{BB962C8B-B14F-4D97-AF65-F5344CB8AC3E}">
        <p14:creationId xmlns:p14="http://schemas.microsoft.com/office/powerpoint/2010/main" val="21537597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810331"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25"/>
            <a:ext cx="11376207" cy="4566976"/>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Rectangle 5">
            <a:extLst>
              <a:ext uri="{FF2B5EF4-FFF2-40B4-BE49-F238E27FC236}">
                <a16:creationId xmlns:a16="http://schemas.microsoft.com/office/drawing/2014/main" id="{C1B6184E-3522-954B-A811-C22B92045F8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pic>
        <p:nvPicPr>
          <p:cNvPr id="11" name="Picture 10">
            <a:extLst>
              <a:ext uri="{FF2B5EF4-FFF2-40B4-BE49-F238E27FC236}">
                <a16:creationId xmlns:a16="http://schemas.microsoft.com/office/drawing/2014/main" id="{DF5856D0-B342-6443-8CFB-BC42A2CCF0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
        <p:nvSpPr>
          <p:cNvPr id="12" name="Text Placeholder 2">
            <a:extLst>
              <a:ext uri="{FF2B5EF4-FFF2-40B4-BE49-F238E27FC236}">
                <a16:creationId xmlns:a16="http://schemas.microsoft.com/office/drawing/2014/main" id="{0EE16BB2-678F-4DAC-9857-4AA50F97D992}"/>
              </a:ext>
            </a:extLst>
          </p:cNvPr>
          <p:cNvSpPr>
            <a:spLocks noGrp="1"/>
          </p:cNvSpPr>
          <p:nvPr>
            <p:ph type="body" sz="quarter" idx="10" hasCustomPrompt="1"/>
          </p:nvPr>
        </p:nvSpPr>
        <p:spPr>
          <a:xfrm>
            <a:off x="5440226" y="6499792"/>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397605237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NTT_title_and_2column_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6693" y="1408823"/>
            <a:ext cx="5495760" cy="4186080"/>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Text Placeholder 5"/>
          <p:cNvSpPr>
            <a:spLocks noGrp="1"/>
          </p:cNvSpPr>
          <p:nvPr>
            <p:ph type="body" sz="quarter" idx="12"/>
          </p:nvPr>
        </p:nvSpPr>
        <p:spPr>
          <a:xfrm>
            <a:off x="6298669" y="1409294"/>
            <a:ext cx="5497515" cy="4186207"/>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itle 1"/>
          <p:cNvSpPr>
            <a:spLocks noGrp="1"/>
          </p:cNvSpPr>
          <p:nvPr>
            <p:ph type="title"/>
          </p:nvPr>
        </p:nvSpPr>
        <p:spPr>
          <a:xfrm>
            <a:off x="396696" y="169336"/>
            <a:ext cx="9961469" cy="793749"/>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pic>
        <p:nvPicPr>
          <p:cNvPr id="7" name="Picture 6">
            <a:extLst>
              <a:ext uri="{FF2B5EF4-FFF2-40B4-BE49-F238E27FC236}">
                <a16:creationId xmlns:a16="http://schemas.microsoft.com/office/drawing/2014/main" id="{3F002DB6-96B1-3B43-B29D-7922E2487FE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16789483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NTT_chart_layout_white">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20"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37" indent="0" algn="ctr">
              <a:buNone/>
              <a:defRPr sz="1867"/>
            </a:lvl2pPr>
          </a:lstStyle>
          <a:p>
            <a:pPr lvl="0"/>
            <a:r>
              <a:rPr lang="en-US"/>
              <a:t>Click to edit Master text styles</a:t>
            </a:r>
          </a:p>
        </p:txBody>
      </p:sp>
      <p:sp>
        <p:nvSpPr>
          <p:cNvPr id="6" name="Chart Placeholder 5"/>
          <p:cNvSpPr>
            <a:spLocks noGrp="1"/>
          </p:cNvSpPr>
          <p:nvPr>
            <p:ph type="chart" sz="quarter" idx="11"/>
          </p:nvPr>
        </p:nvSpPr>
        <p:spPr>
          <a:xfrm>
            <a:off x="396699" y="1683605"/>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tx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US"/>
              <a:t>Click icon to add chart</a:t>
            </a:r>
            <a:endParaRPr lang="en-ZA"/>
          </a:p>
        </p:txBody>
      </p:sp>
      <p:sp>
        <p:nvSpPr>
          <p:cNvPr id="5" name="Title 1"/>
          <p:cNvSpPr>
            <a:spLocks noGrp="1"/>
          </p:cNvSpPr>
          <p:nvPr>
            <p:ph type="title"/>
          </p:nvPr>
        </p:nvSpPr>
        <p:spPr>
          <a:xfrm>
            <a:off x="396695" y="169339"/>
            <a:ext cx="9558508" cy="793751"/>
          </a:xfrm>
          <a:prstGeom prst="rect">
            <a:avLst/>
          </a:prstGeom>
        </p:spPr>
        <p:txBody>
          <a:bodyPr anchor="ctr"/>
          <a:lstStyle>
            <a:lvl1pPr>
              <a:defRPr sz="3200" b="1" i="0">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ZA"/>
          </a:p>
        </p:txBody>
      </p:sp>
      <p:pic>
        <p:nvPicPr>
          <p:cNvPr id="8" name="Picture 7">
            <a:extLst>
              <a:ext uri="{FF2B5EF4-FFF2-40B4-BE49-F238E27FC236}">
                <a16:creationId xmlns:a16="http://schemas.microsoft.com/office/drawing/2014/main" id="{7BD62B93-C8CF-6946-9BCE-593B9275E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81302383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NTT_chart_layout_dark">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20"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37" indent="0" algn="ctr">
              <a:buNone/>
              <a:defRPr sz="1867"/>
            </a:lvl2pPr>
          </a:lstStyle>
          <a:p>
            <a:pPr lvl="0"/>
            <a:r>
              <a:rPr lang="en-US"/>
              <a:t>Click to edit Master text styles</a:t>
            </a:r>
          </a:p>
        </p:txBody>
      </p:sp>
      <p:sp>
        <p:nvSpPr>
          <p:cNvPr id="6" name="Chart Placeholder 5"/>
          <p:cNvSpPr>
            <a:spLocks noGrp="1"/>
          </p:cNvSpPr>
          <p:nvPr>
            <p:ph type="chart" sz="quarter" idx="11"/>
          </p:nvPr>
        </p:nvSpPr>
        <p:spPr>
          <a:xfrm>
            <a:off x="396699" y="1683605"/>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lt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US"/>
              <a:t>Click icon to add chart</a:t>
            </a:r>
            <a:endParaRPr lang="en-ZA"/>
          </a:p>
        </p:txBody>
      </p:sp>
      <p:sp>
        <p:nvSpPr>
          <p:cNvPr id="5" name="Title 1"/>
          <p:cNvSpPr>
            <a:spLocks noGrp="1"/>
          </p:cNvSpPr>
          <p:nvPr>
            <p:ph type="title"/>
          </p:nvPr>
        </p:nvSpPr>
        <p:spPr>
          <a:xfrm>
            <a:off x="396692" y="169339"/>
            <a:ext cx="9941317" cy="793751"/>
          </a:xfrm>
          <a:prstGeom prst="rect">
            <a:avLst/>
          </a:prstGeom>
        </p:spPr>
        <p:txBody>
          <a:bodyPr anchor="ctr"/>
          <a:lstStyle>
            <a:lvl1pPr>
              <a:defRPr b="1" i="0">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ZA"/>
          </a:p>
        </p:txBody>
      </p:sp>
      <p:pic>
        <p:nvPicPr>
          <p:cNvPr id="8" name="Picture 7">
            <a:extLst>
              <a:ext uri="{FF2B5EF4-FFF2-40B4-BE49-F238E27FC236}">
                <a16:creationId xmlns:a16="http://schemas.microsoft.com/office/drawing/2014/main" id="{18F2AC6C-F5EC-F34F-B80D-FEA6C390CB84}"/>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9" y="337622"/>
            <a:ext cx="1331803" cy="477007"/>
          </a:xfrm>
          <a:prstGeom prst="rect">
            <a:avLst/>
          </a:prstGeom>
        </p:spPr>
      </p:pic>
    </p:spTree>
    <p:extLst>
      <p:ext uri="{BB962C8B-B14F-4D97-AF65-F5344CB8AC3E}">
        <p14:creationId xmlns:p14="http://schemas.microsoft.com/office/powerpoint/2010/main" val="1990159658"/>
      </p:ext>
    </p:extLst>
  </p:cSld>
  <p:clrMapOvr>
    <a:overrideClrMapping bg1="dk1" tx1="lt1" bg2="dk2" tx2="lt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NTT_layout_option_3_column_white">
    <p:bg bwMode="ltGray">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6C46D53-15E4-2C4F-9617-DD90C161B84F}"/>
              </a:ext>
            </a:extLst>
          </p:cNvPr>
          <p:cNvSpPr/>
          <p:nvPr userDrawn="1"/>
        </p:nvSpPr>
        <p:spPr>
          <a:xfrm>
            <a:off x="0" y="2772079"/>
            <a:ext cx="4064000" cy="40859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7" name="Rectangle 6">
            <a:extLst>
              <a:ext uri="{FF2B5EF4-FFF2-40B4-BE49-F238E27FC236}">
                <a16:creationId xmlns:a16="http://schemas.microsoft.com/office/drawing/2014/main" id="{D76A6DF1-0EBD-A441-B4B6-6E5DE055B9AB}"/>
              </a:ext>
            </a:extLst>
          </p:cNvPr>
          <p:cNvSpPr/>
          <p:nvPr userDrawn="1"/>
        </p:nvSpPr>
        <p:spPr>
          <a:xfrm>
            <a:off x="8128000" y="2772079"/>
            <a:ext cx="4064000" cy="40859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3" name="Picture Placeholder 2">
            <a:extLst>
              <a:ext uri="{FF2B5EF4-FFF2-40B4-BE49-F238E27FC236}">
                <a16:creationId xmlns:a16="http://schemas.microsoft.com/office/drawing/2014/main" id="{C00DBA51-2FC2-724F-8D23-DCE9E6E22D76}"/>
              </a:ext>
            </a:extLst>
          </p:cNvPr>
          <p:cNvSpPr>
            <a:spLocks noGrp="1"/>
          </p:cNvSpPr>
          <p:nvPr>
            <p:ph type="pic" sz="quarter" idx="10"/>
          </p:nvPr>
        </p:nvSpPr>
        <p:spPr>
          <a:xfrm>
            <a:off x="4064000" y="2772839"/>
            <a:ext cx="4064000" cy="4085167"/>
          </a:xfrm>
          <a:prstGeom prst="rect">
            <a:avLst/>
          </a:prstGeom>
        </p:spPr>
        <p:txBody>
          <a:bodyPr/>
          <a:lstStyle>
            <a:lvl1pPr>
              <a:defRPr>
                <a:solidFill>
                  <a:schemeClr val="tx1"/>
                </a:solidFill>
              </a:defRPr>
            </a:lvl1pPr>
          </a:lstStyle>
          <a:p>
            <a:endParaRPr lang="en-GB"/>
          </a:p>
        </p:txBody>
      </p:sp>
      <p:sp>
        <p:nvSpPr>
          <p:cNvPr id="8" name="Triangle 7">
            <a:extLst>
              <a:ext uri="{FF2B5EF4-FFF2-40B4-BE49-F238E27FC236}">
                <a16:creationId xmlns:a16="http://schemas.microsoft.com/office/drawing/2014/main" id="{EAB5410C-0EC5-894D-9939-7D4BDEA3A33B}"/>
              </a:ext>
            </a:extLst>
          </p:cNvPr>
          <p:cNvSpPr/>
          <p:nvPr userDrawn="1"/>
        </p:nvSpPr>
        <p:spPr>
          <a:xfrm rot="10800000">
            <a:off x="5698156" y="2772079"/>
            <a:ext cx="795688" cy="29163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accent1"/>
              </a:solidFill>
            </a:endParaRPr>
          </a:p>
        </p:txBody>
      </p:sp>
      <p:sp>
        <p:nvSpPr>
          <p:cNvPr id="9" name="Title 4">
            <a:extLst>
              <a:ext uri="{FF2B5EF4-FFF2-40B4-BE49-F238E27FC236}">
                <a16:creationId xmlns:a16="http://schemas.microsoft.com/office/drawing/2014/main" id="{F2179386-8ECF-2247-89E5-B3685ECA1D57}"/>
              </a:ext>
            </a:extLst>
          </p:cNvPr>
          <p:cNvSpPr>
            <a:spLocks noGrp="1"/>
          </p:cNvSpPr>
          <p:nvPr>
            <p:ph type="title"/>
          </p:nvPr>
        </p:nvSpPr>
        <p:spPr>
          <a:xfrm>
            <a:off x="391599" y="705419"/>
            <a:ext cx="11408804" cy="631775"/>
          </a:xfrm>
          <a:prstGeom prst="rect">
            <a:avLst/>
          </a:prstGeom>
        </p:spPr>
        <p:txBody>
          <a:bodyPr anchor="ctr"/>
          <a:lstStyle>
            <a:lvl1pPr algn="ctr">
              <a:defRPr sz="3200" b="1">
                <a:solidFill>
                  <a:schemeClr val="accent2"/>
                </a:solidFill>
              </a:defRPr>
            </a:lvl1pPr>
          </a:lstStyle>
          <a:p>
            <a:r>
              <a:rPr lang="en-US"/>
              <a:t>Click to edit Master title style</a:t>
            </a:r>
            <a:endParaRPr lang="en-GB"/>
          </a:p>
        </p:txBody>
      </p:sp>
      <p:sp>
        <p:nvSpPr>
          <p:cNvPr id="10" name="Text Placeholder 6">
            <a:extLst>
              <a:ext uri="{FF2B5EF4-FFF2-40B4-BE49-F238E27FC236}">
                <a16:creationId xmlns:a16="http://schemas.microsoft.com/office/drawing/2014/main" id="{DDFBDF62-760F-2942-909D-906703D9C63F}"/>
              </a:ext>
            </a:extLst>
          </p:cNvPr>
          <p:cNvSpPr>
            <a:spLocks noGrp="1"/>
          </p:cNvSpPr>
          <p:nvPr>
            <p:ph type="body" sz="quarter" idx="16" hasCustomPrompt="1"/>
          </p:nvPr>
        </p:nvSpPr>
        <p:spPr>
          <a:xfrm>
            <a:off x="391599" y="1382765"/>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11" name="Text Placeholder 6">
            <a:extLst>
              <a:ext uri="{FF2B5EF4-FFF2-40B4-BE49-F238E27FC236}">
                <a16:creationId xmlns:a16="http://schemas.microsoft.com/office/drawing/2014/main" id="{C3140292-BA2F-5F40-B51A-1F57E8E5304C}"/>
              </a:ext>
            </a:extLst>
          </p:cNvPr>
          <p:cNvSpPr>
            <a:spLocks noGrp="1"/>
          </p:cNvSpPr>
          <p:nvPr>
            <p:ph type="body" sz="quarter" idx="52"/>
          </p:nvPr>
        </p:nvSpPr>
        <p:spPr>
          <a:xfrm>
            <a:off x="539719" y="3598153"/>
            <a:ext cx="2707204" cy="373936"/>
          </a:xfrm>
          <a:prstGeom prst="rect">
            <a:avLst/>
          </a:prstGeom>
        </p:spPr>
        <p:txBody>
          <a:bodyPr/>
          <a:lstStyle>
            <a:lvl1pPr marL="0" indent="0" algn="l">
              <a:buNone/>
              <a:defRPr sz="1867" b="1">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2" name="Text Placeholder 6">
            <a:extLst>
              <a:ext uri="{FF2B5EF4-FFF2-40B4-BE49-F238E27FC236}">
                <a16:creationId xmlns:a16="http://schemas.microsoft.com/office/drawing/2014/main" id="{A1906DE7-FCBA-2C47-BF59-60B682EFAE70}"/>
              </a:ext>
            </a:extLst>
          </p:cNvPr>
          <p:cNvSpPr>
            <a:spLocks noGrp="1"/>
          </p:cNvSpPr>
          <p:nvPr>
            <p:ph type="body" sz="quarter" idx="72"/>
          </p:nvPr>
        </p:nvSpPr>
        <p:spPr>
          <a:xfrm>
            <a:off x="539719" y="4101560"/>
            <a:ext cx="2707188" cy="918901"/>
          </a:xfrm>
          <a:prstGeom prst="rect">
            <a:avLst/>
          </a:prstGeom>
        </p:spPr>
        <p:txBody>
          <a:bodyPr/>
          <a:lstStyle>
            <a:lvl1pPr marL="0" indent="0" algn="l">
              <a:buNone/>
              <a:defRPr sz="1467" b="0">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3" name="Text Placeholder 6">
            <a:extLst>
              <a:ext uri="{FF2B5EF4-FFF2-40B4-BE49-F238E27FC236}">
                <a16:creationId xmlns:a16="http://schemas.microsoft.com/office/drawing/2014/main" id="{703A3ACC-186F-804C-B70E-77B95DB72606}"/>
              </a:ext>
            </a:extLst>
          </p:cNvPr>
          <p:cNvSpPr>
            <a:spLocks noGrp="1"/>
          </p:cNvSpPr>
          <p:nvPr>
            <p:ph type="body" sz="quarter" idx="73"/>
          </p:nvPr>
        </p:nvSpPr>
        <p:spPr>
          <a:xfrm>
            <a:off x="4698887" y="3598153"/>
            <a:ext cx="2707204" cy="373936"/>
          </a:xfrm>
          <a:prstGeom prst="rect">
            <a:avLst/>
          </a:prstGeom>
        </p:spPr>
        <p:txBody>
          <a:bodyPr/>
          <a:lstStyle>
            <a:lvl1pPr marL="0" indent="0" algn="l">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4" name="Text Placeholder 6">
            <a:extLst>
              <a:ext uri="{FF2B5EF4-FFF2-40B4-BE49-F238E27FC236}">
                <a16:creationId xmlns:a16="http://schemas.microsoft.com/office/drawing/2014/main" id="{89D664C2-EB15-B941-872E-C42459621D86}"/>
              </a:ext>
            </a:extLst>
          </p:cNvPr>
          <p:cNvSpPr>
            <a:spLocks noGrp="1"/>
          </p:cNvSpPr>
          <p:nvPr>
            <p:ph type="body" sz="quarter" idx="74"/>
          </p:nvPr>
        </p:nvSpPr>
        <p:spPr>
          <a:xfrm>
            <a:off x="4698887" y="4101560"/>
            <a:ext cx="2707188" cy="918901"/>
          </a:xfrm>
          <a:prstGeom prst="rect">
            <a:avLst/>
          </a:prstGeom>
        </p:spPr>
        <p:txBody>
          <a:bodyPr/>
          <a:lstStyle>
            <a:lvl1pPr marL="0" indent="0" algn="l">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5" name="Text Placeholder 6">
            <a:extLst>
              <a:ext uri="{FF2B5EF4-FFF2-40B4-BE49-F238E27FC236}">
                <a16:creationId xmlns:a16="http://schemas.microsoft.com/office/drawing/2014/main" id="{6DE93A4A-D0D5-DC49-87BA-D7EEFBB11F57}"/>
              </a:ext>
            </a:extLst>
          </p:cNvPr>
          <p:cNvSpPr>
            <a:spLocks noGrp="1"/>
          </p:cNvSpPr>
          <p:nvPr>
            <p:ph type="body" sz="quarter" idx="75"/>
          </p:nvPr>
        </p:nvSpPr>
        <p:spPr>
          <a:xfrm>
            <a:off x="8811759" y="3598153"/>
            <a:ext cx="2707204" cy="373936"/>
          </a:xfrm>
          <a:prstGeom prst="rect">
            <a:avLst/>
          </a:prstGeom>
        </p:spPr>
        <p:txBody>
          <a:bodyPr/>
          <a:lstStyle>
            <a:lvl1pPr marL="0" indent="0" algn="l">
              <a:buNone/>
              <a:defRPr sz="1867" b="1">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6" name="Text Placeholder 6">
            <a:extLst>
              <a:ext uri="{FF2B5EF4-FFF2-40B4-BE49-F238E27FC236}">
                <a16:creationId xmlns:a16="http://schemas.microsoft.com/office/drawing/2014/main" id="{6FE70091-2CA3-B04B-AA23-9D30A96917CE}"/>
              </a:ext>
            </a:extLst>
          </p:cNvPr>
          <p:cNvSpPr>
            <a:spLocks noGrp="1"/>
          </p:cNvSpPr>
          <p:nvPr>
            <p:ph type="body" sz="quarter" idx="76"/>
          </p:nvPr>
        </p:nvSpPr>
        <p:spPr>
          <a:xfrm>
            <a:off x="8811759" y="4101560"/>
            <a:ext cx="2707188" cy="918901"/>
          </a:xfrm>
          <a:prstGeom prst="rect">
            <a:avLst/>
          </a:prstGeom>
        </p:spPr>
        <p:txBody>
          <a:bodyPr/>
          <a:lstStyle>
            <a:lvl1pPr marL="0" indent="0" algn="l">
              <a:buNone/>
              <a:defRPr sz="1467" b="0">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Tree>
    <p:extLst>
      <p:ext uri="{BB962C8B-B14F-4D97-AF65-F5344CB8AC3E}">
        <p14:creationId xmlns:p14="http://schemas.microsoft.com/office/powerpoint/2010/main" val="1462571301"/>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4439341" y="0"/>
            <a:ext cx="775265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3" name="Picture Placeholder 2">
            <a:extLst>
              <a:ext uri="{FF2B5EF4-FFF2-40B4-BE49-F238E27FC236}">
                <a16:creationId xmlns:a16="http://schemas.microsoft.com/office/drawing/2014/main" id="{7C10F3DA-0062-6342-AECB-F97E69FEAC79}"/>
              </a:ext>
            </a:extLst>
          </p:cNvPr>
          <p:cNvSpPr>
            <a:spLocks noGrp="1"/>
          </p:cNvSpPr>
          <p:nvPr>
            <p:ph type="pic" sz="quarter" idx="14" hasCustomPrompt="1"/>
          </p:nvPr>
        </p:nvSpPr>
        <p:spPr>
          <a:xfrm>
            <a:off x="1539535" y="764407"/>
            <a:ext cx="1333500" cy="1333500"/>
          </a:xfrm>
          <a:prstGeom prst="rect">
            <a:avLst/>
          </a:prstGeom>
        </p:spPr>
        <p:txBody>
          <a:bodyPr/>
          <a:lstStyle>
            <a:lvl1pPr marL="0" indent="0">
              <a:buNone/>
              <a:defRPr sz="1867">
                <a:solidFill>
                  <a:schemeClr val="bg1"/>
                </a:solidFill>
              </a:defRPr>
            </a:lvl1pPr>
          </a:lstStyle>
          <a:p>
            <a:r>
              <a:rPr lang="en-GB"/>
              <a:t>icon</a:t>
            </a:r>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444649" y="2375661"/>
            <a:ext cx="3523281" cy="439727"/>
          </a:xfrm>
          <a:prstGeom prst="rect">
            <a:avLst/>
          </a:prstGeom>
        </p:spPr>
        <p:txBody>
          <a:bodyPr anchor="ctr"/>
          <a:lstStyle>
            <a:lvl1pPr algn="ctr">
              <a:defRPr sz="1867" b="1">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433918" y="3093138"/>
            <a:ext cx="3543300" cy="3199863"/>
          </a:xfrm>
          <a:prstGeom prst="rect">
            <a:avLst/>
          </a:prstGeom>
        </p:spPr>
        <p:txBody>
          <a:bodyPr/>
          <a:lstStyle>
            <a:lvl1pPr marL="0" indent="0" algn="ctr">
              <a:buNone/>
              <a:defRPr sz="1333">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Tree>
    <p:extLst>
      <p:ext uri="{BB962C8B-B14F-4D97-AF65-F5344CB8AC3E}">
        <p14:creationId xmlns:p14="http://schemas.microsoft.com/office/powerpoint/2010/main" val="3631913526"/>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light_grey_CR">
    <p:bg bwMode="ltGray">
      <p:bgPr>
        <a:solidFill>
          <a:schemeClr val="tx2">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B66A99-E2AD-4AED-BB6D-BCB1FB738D3F}"/>
              </a:ext>
            </a:extLst>
          </p:cNvPr>
          <p:cNvGraphicFramePr>
            <a:graphicFrameLocks noChangeAspect="1"/>
          </p:cNvGraphicFramePr>
          <p:nvPr userDrawn="1">
            <p:custDataLst>
              <p:tags r:id="rId1"/>
            </p:custDataLst>
            <p:extLst>
              <p:ext uri="{D42A27DB-BD31-4B8C-83A1-F6EECF244321}">
                <p14:modId xmlns:p14="http://schemas.microsoft.com/office/powerpoint/2010/main" val="334091912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3" name="Object 2" hidden="1">
                        <a:extLst>
                          <a:ext uri="{FF2B5EF4-FFF2-40B4-BE49-F238E27FC236}">
                            <a16:creationId xmlns:a16="http://schemas.microsoft.com/office/drawing/2014/main" id="{36B66A99-E2AD-4AED-BB6D-BCB1FB738D3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B4BC46-F6FF-4A3B-8768-2B4A40CBB492}"/>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p:nvPr>
        </p:nvSpPr>
        <p:spPr>
          <a:xfrm>
            <a:off x="396692" y="169334"/>
            <a:ext cx="9725123" cy="447217"/>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lick to edit Master title style</a:t>
            </a:r>
          </a:p>
        </p:txBody>
      </p:sp>
      <p:sp>
        <p:nvSpPr>
          <p:cNvPr id="8" name="Content Placeholder 2"/>
          <p:cNvSpPr>
            <a:spLocks noGrp="1"/>
          </p:cNvSpPr>
          <p:nvPr>
            <p:ph idx="1"/>
          </p:nvPr>
        </p:nvSpPr>
        <p:spPr>
          <a:xfrm>
            <a:off x="396694" y="1529026"/>
            <a:ext cx="11376207" cy="1919073"/>
          </a:xfrm>
          <a:prstGeom prst="rect">
            <a:avLst/>
          </a:prstGeom>
        </p:spPr>
        <p:txBody>
          <a:bodyPr/>
          <a:lstStyle>
            <a:lvl1pPr algn="l" rtl="0">
              <a:defRPr sz="2400">
                <a:solidFill>
                  <a:schemeClr val="tx1"/>
                </a:solidFill>
                <a:latin typeface="Arial"/>
                <a:cs typeface="Arial"/>
              </a:defRPr>
            </a:lvl1pPr>
            <a:lvl2pPr algn="l" rtl="0">
              <a:defRPr sz="1867">
                <a:solidFill>
                  <a:schemeClr val="tx1"/>
                </a:solidFill>
                <a:latin typeface="Arial"/>
                <a:cs typeface="Arial"/>
              </a:defRPr>
            </a:lvl2pPr>
            <a:lvl3pPr algn="l" rtl="0">
              <a:defRPr sz="1600">
                <a:solidFill>
                  <a:schemeClr val="tx1"/>
                </a:solidFill>
                <a:latin typeface="Arial"/>
                <a:cs typeface="Arial"/>
              </a:defRPr>
            </a:lvl3pPr>
            <a:lvl4pPr algn="l" rtl="0">
              <a:defRPr sz="1467">
                <a:solidFill>
                  <a:schemeClr val="tx1"/>
                </a:solidFill>
                <a:latin typeface="Arial"/>
                <a:cs typeface="Arial"/>
              </a:defRPr>
            </a:lvl4pPr>
            <a:lvl5pPr algn="l" rtl="0">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A5514108-DFA6-6A49-ADD4-769859CE9D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10" name="Rectangle 9">
            <a:extLst>
              <a:ext uri="{FF2B5EF4-FFF2-40B4-BE49-F238E27FC236}">
                <a16:creationId xmlns:a16="http://schemas.microsoft.com/office/drawing/2014/main" id="{88CE73B4-B7E7-7745-AF08-F3B6CCC9131B}"/>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rtl="0" fontAlgn="auto">
              <a:lnSpc>
                <a:spcPct val="110000"/>
              </a:lnSpc>
              <a:spcBef>
                <a:spcPts val="267"/>
              </a:spcBef>
              <a:spcAft>
                <a:spcPts val="267"/>
              </a:spcAft>
            </a:pPr>
            <a:endParaRPr lang="en-US" sz="2133"/>
          </a:p>
        </p:txBody>
      </p:sp>
      <p:sp>
        <p:nvSpPr>
          <p:cNvPr id="12" name="Text Placeholder 2">
            <a:extLst>
              <a:ext uri="{FF2B5EF4-FFF2-40B4-BE49-F238E27FC236}">
                <a16:creationId xmlns:a16="http://schemas.microsoft.com/office/drawing/2014/main" id="{0AA716DD-80A6-DA4B-BABB-DE0B9A73DF6D}"/>
              </a:ext>
            </a:extLst>
          </p:cNvPr>
          <p:cNvSpPr>
            <a:spLocks noGrp="1"/>
          </p:cNvSpPr>
          <p:nvPr>
            <p:ph type="body" sz="quarter" idx="10" hasCustomPrompt="1"/>
          </p:nvPr>
        </p:nvSpPr>
        <p:spPr>
          <a:xfrm>
            <a:off x="5440221" y="6474599"/>
            <a:ext cx="6535881" cy="285335"/>
          </a:xfrm>
          <a:prstGeom prst="rect">
            <a:avLst/>
          </a:prstGeom>
        </p:spPr>
        <p:txBody>
          <a:bodyPr anchor="ctr"/>
          <a:lstStyle>
            <a:lvl1pPr algn="r" rtl="0">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138464631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NTT_custom_layout_text_dark">
    <p:bg bwMode="ltGray">
      <p:bgPr>
        <a:solidFill>
          <a:schemeClr val="accent2"/>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8"/>
            <a:ext cx="3805411" cy="3220412"/>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latin typeface="Arial"/>
                <a:cs typeface="Arial"/>
              </a:defRPr>
            </a:lvl1pPr>
            <a:lvl2pPr algn="l">
              <a:lnSpc>
                <a:spcPct val="100000"/>
              </a:lnSpc>
              <a:defRPr>
                <a:solidFill>
                  <a:schemeClr val="bg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410413" y="4525774"/>
            <a:ext cx="3165808" cy="1932257"/>
          </a:xfrm>
          <a:prstGeom prst="roundRect">
            <a:avLst>
              <a:gd name="adj" fmla="val 0"/>
            </a:avLst>
          </a:prstGeom>
          <a:noFill/>
          <a:ln w="28575">
            <a:solidFill>
              <a:schemeClr val="bg1"/>
            </a:solidFill>
          </a:ln>
          <a:effectLst/>
        </p:spPr>
        <p:txBody>
          <a:bodyPr anchor="ctr"/>
          <a:lstStyle>
            <a:lvl1pPr algn="l">
              <a:lnSpc>
                <a:spcPct val="100000"/>
              </a:lnSpc>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3751389" y="4525774"/>
            <a:ext cx="8149535" cy="1932257"/>
          </a:xfrm>
          <a:prstGeom prst="roundRect">
            <a:avLst>
              <a:gd name="adj" fmla="val 0"/>
            </a:avLst>
          </a:prstGeom>
          <a:noFill/>
          <a:ln w="28575">
            <a:solidFill>
              <a:schemeClr val="bg1"/>
            </a:solidFill>
          </a:ln>
          <a:effectLst/>
        </p:spPr>
        <p:txBody>
          <a:bodyPr anchor="ctr"/>
          <a:lstStyle>
            <a:lvl1pPr algn="ctr">
              <a:lnSpc>
                <a:spcPct val="100000"/>
              </a:lnSpc>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4364453" y="1145278"/>
            <a:ext cx="2715011" cy="3220412"/>
          </a:xfrm>
          <a:prstGeom prst="roundRect">
            <a:avLst>
              <a:gd name="adj" fmla="val 0"/>
            </a:avLst>
          </a:prstGeom>
          <a:noFill/>
          <a:ln w="28575">
            <a:solidFill>
              <a:schemeClr val="bg1"/>
            </a:solidFill>
          </a:ln>
          <a:effectLst/>
        </p:spPr>
        <p:txBody>
          <a:bodyPr anchor="ctr"/>
          <a:lstStyle>
            <a:lvl1pPr algn="ctr">
              <a:lnSpc>
                <a:spcPct val="100000"/>
              </a:lnSpc>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7235005" y="190031"/>
            <a:ext cx="4665912" cy="2467036"/>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effectLst/>
                <a:latin typeface="Arial"/>
                <a:cs typeface="Arial"/>
              </a:defRPr>
            </a:lvl1pPr>
            <a:lvl2pPr algn="l">
              <a:lnSpc>
                <a:spcPct val="100000"/>
              </a:lnSpc>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noFill/>
          <a:ln w="28575">
            <a:solidFill>
              <a:schemeClr val="bg1"/>
            </a:solidFill>
          </a:ln>
          <a:effectLst/>
        </p:spPr>
        <p:txBody>
          <a:bodyPr anchor="ctr"/>
          <a:lstStyle>
            <a:lvl1pPr algn="r">
              <a:lnSpc>
                <a:spcPct val="100000"/>
              </a:lnSpc>
              <a:defRPr>
                <a:solidFill>
                  <a:schemeClr val="bg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410419" y="190034"/>
            <a:ext cx="6712839" cy="751351"/>
          </a:xfrm>
          <a:prstGeom prst="rect">
            <a:avLst/>
          </a:prstGeom>
        </p:spPr>
        <p:txBody>
          <a:bodyPr/>
          <a:lstStyle>
            <a:lvl1pPr algn="l">
              <a:defRPr sz="2933" b="1">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211399436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NTT_custom_layout">
    <p:bg bwMode="ltGray">
      <p:bgPr>
        <a:solidFill>
          <a:schemeClr val="bg1"/>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8"/>
            <a:ext cx="3805411" cy="3220412"/>
          </a:xfrm>
          <a:prstGeom prst="roundRect">
            <a:avLst>
              <a:gd name="adj" fmla="val 0"/>
            </a:avLst>
          </a:prstGeom>
          <a:solidFill>
            <a:schemeClr val="accent1"/>
          </a:solidFill>
          <a:ln>
            <a:noFill/>
          </a:ln>
          <a:effectLst/>
        </p:spPr>
        <p:txBody>
          <a:bodyPr anchor="ctr"/>
          <a:lstStyle>
            <a:lvl1pPr marL="239155" indent="0" algn="l">
              <a:defRPr sz="3200">
                <a:solidFill>
                  <a:srgbClr val="FFFFFF"/>
                </a:solidFill>
                <a:latin typeface="Arial"/>
                <a:cs typeface="Arial"/>
              </a:defRPr>
            </a:lvl1pPr>
            <a:lvl2pPr marL="478307" indent="241271" algn="l">
              <a:defRPr>
                <a:solidFill>
                  <a:srgbClr val="FFFFFF"/>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410413" y="4525774"/>
            <a:ext cx="3165808" cy="1932257"/>
          </a:xfrm>
          <a:prstGeom prst="roundRect">
            <a:avLst>
              <a:gd name="adj" fmla="val 0"/>
            </a:avLst>
          </a:prstGeom>
          <a:solidFill>
            <a:schemeClr val="bg1"/>
          </a:solidFill>
          <a:ln>
            <a:noFill/>
          </a:ln>
          <a:effectLst/>
        </p:spPr>
        <p:txBody>
          <a:bodyPr anchor="ctr"/>
          <a:lstStyle>
            <a:lvl1pPr algn="l">
              <a:defRPr sz="2667" b="1">
                <a:solidFill>
                  <a:schemeClr val="tx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3751389" y="4525774"/>
            <a:ext cx="8149535" cy="1932257"/>
          </a:xfrm>
          <a:prstGeom prst="roundRect">
            <a:avLst>
              <a:gd name="adj" fmla="val 0"/>
            </a:avLst>
          </a:prstGeom>
          <a:solidFill>
            <a:schemeClr val="accent2"/>
          </a:solidFill>
          <a:ln>
            <a:noFill/>
          </a:ln>
          <a:effectLst/>
        </p:spPr>
        <p:txBody>
          <a:bodyPr anchor="ctr"/>
          <a:lstStyle>
            <a:lvl1pPr algn="ctr">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4364453" y="1145278"/>
            <a:ext cx="2715011" cy="3220412"/>
          </a:xfrm>
          <a:prstGeom prst="roundRect">
            <a:avLst>
              <a:gd name="adj" fmla="val 0"/>
            </a:avLst>
          </a:prstGeom>
          <a:solidFill>
            <a:schemeClr val="accent2"/>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7235005" y="190031"/>
            <a:ext cx="4665912" cy="2467036"/>
          </a:xfrm>
          <a:prstGeom prst="roundRect">
            <a:avLst>
              <a:gd name="adj" fmla="val 0"/>
            </a:avLst>
          </a:prstGeom>
          <a:solidFill>
            <a:schemeClr val="accent1"/>
          </a:solidFill>
          <a:ln>
            <a:noFill/>
          </a:ln>
          <a:effectLst/>
        </p:spPr>
        <p:txBody>
          <a:bodyPr anchor="ctr"/>
          <a:lstStyle>
            <a:lvl1pPr marL="239155" indent="0" algn="l">
              <a:defRPr sz="3200">
                <a:solidFill>
                  <a:srgbClr val="FFFFFF"/>
                </a:solidFill>
                <a:effectLst/>
                <a:latin typeface="Arial"/>
                <a:cs typeface="Arial"/>
              </a:defRPr>
            </a:lvl1pPr>
            <a:lvl2pPr marL="478307" indent="-239155" algn="l">
              <a:defRPr>
                <a:solidFill>
                  <a:srgbClr val="FFFFFF"/>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solidFill>
            <a:schemeClr val="bg1"/>
          </a:solidFill>
          <a:ln>
            <a:noFill/>
          </a:ln>
          <a:effectLst/>
        </p:spPr>
        <p:txBody>
          <a:bodyPr anchor="ctr"/>
          <a:lstStyle>
            <a:lvl1pPr algn="r">
              <a:defRPr>
                <a:solidFill>
                  <a:schemeClr val="tx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410419" y="190034"/>
            <a:ext cx="6712839" cy="751351"/>
          </a:xfrm>
          <a:prstGeom prst="rect">
            <a:avLst/>
          </a:prstGeom>
        </p:spPr>
        <p:txBody>
          <a:bodyPr/>
          <a:lstStyle>
            <a:lvl1pPr algn="l">
              <a:defRPr sz="2933" b="1">
                <a:solidFill>
                  <a:schemeClr val="accent2"/>
                </a:solidFill>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47660005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4_NTT_content_page">
    <p:bg bwMode="ltGray">
      <p:bgPr>
        <a:solidFill>
          <a:schemeClr val="tx1"/>
        </a:solidFill>
        <a:effectLst/>
      </p:bgPr>
    </p:bg>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8091E020-A1A3-894A-9A18-A2F931CBD43E}"/>
              </a:ext>
            </a:extLst>
          </p:cNvPr>
          <p:cNvSpPr>
            <a:spLocks noGrp="1"/>
          </p:cNvSpPr>
          <p:nvPr>
            <p:ph type="pic" sz="quarter" idx="13"/>
          </p:nvPr>
        </p:nvSpPr>
        <p:spPr>
          <a:xfrm>
            <a:off x="6194972" y="1003376"/>
            <a:ext cx="1928397" cy="2635401"/>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1" name="Picture Placeholder 13">
            <a:extLst>
              <a:ext uri="{FF2B5EF4-FFF2-40B4-BE49-F238E27FC236}">
                <a16:creationId xmlns:a16="http://schemas.microsoft.com/office/drawing/2014/main" id="{A37017A4-629A-A44D-A88D-1F8DEFFF532C}"/>
              </a:ext>
            </a:extLst>
          </p:cNvPr>
          <p:cNvSpPr>
            <a:spLocks noGrp="1"/>
          </p:cNvSpPr>
          <p:nvPr>
            <p:ph type="pic" sz="quarter" idx="18"/>
          </p:nvPr>
        </p:nvSpPr>
        <p:spPr>
          <a:xfrm>
            <a:off x="4092201" y="1003371"/>
            <a:ext cx="1939033" cy="1540764"/>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2" name="Picture Placeholder 13">
            <a:extLst>
              <a:ext uri="{FF2B5EF4-FFF2-40B4-BE49-F238E27FC236}">
                <a16:creationId xmlns:a16="http://schemas.microsoft.com/office/drawing/2014/main" id="{91168ADE-9466-4740-BD51-47A72258CAAE}"/>
              </a:ext>
            </a:extLst>
          </p:cNvPr>
          <p:cNvSpPr>
            <a:spLocks noGrp="1"/>
          </p:cNvSpPr>
          <p:nvPr>
            <p:ph type="pic" sz="quarter" idx="19"/>
          </p:nvPr>
        </p:nvSpPr>
        <p:spPr>
          <a:xfrm>
            <a:off x="4092201" y="2715213"/>
            <a:ext cx="1939033" cy="3514139"/>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3" name="Picture Placeholder 13">
            <a:extLst>
              <a:ext uri="{FF2B5EF4-FFF2-40B4-BE49-F238E27FC236}">
                <a16:creationId xmlns:a16="http://schemas.microsoft.com/office/drawing/2014/main" id="{94A075D6-2F03-9E41-AF6A-579AABF97DE6}"/>
              </a:ext>
            </a:extLst>
          </p:cNvPr>
          <p:cNvSpPr>
            <a:spLocks noGrp="1"/>
          </p:cNvSpPr>
          <p:nvPr>
            <p:ph type="pic" sz="quarter" idx="17"/>
          </p:nvPr>
        </p:nvSpPr>
        <p:spPr>
          <a:xfrm>
            <a:off x="6184337" y="3798603"/>
            <a:ext cx="5151779" cy="2430748"/>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444649" y="1003368"/>
            <a:ext cx="3523281" cy="877093"/>
          </a:xfrm>
          <a:prstGeom prst="rect">
            <a:avLst/>
          </a:prstGeom>
        </p:spPr>
        <p:txBody>
          <a:bodyPr anchor="ctr"/>
          <a:lstStyle>
            <a:lvl1pPr algn="l">
              <a:lnSpc>
                <a:spcPct val="100000"/>
              </a:lnSpc>
              <a:defRPr sz="3200" b="1">
                <a:solidFill>
                  <a:schemeClr val="accent2"/>
                </a:solidFill>
              </a:defRPr>
            </a:lvl1pPr>
          </a:lstStyle>
          <a:p>
            <a:r>
              <a:rPr lang="en-US"/>
              <a:t>Click to edit Master title style</a:t>
            </a:r>
            <a:endParaRPr lang="en-GB"/>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444649" y="2017008"/>
            <a:ext cx="3523281" cy="42123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287120" y="1003374"/>
            <a:ext cx="3049001" cy="263540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5445202"/>
      </p:ext>
    </p:extLst>
  </p:cSld>
  <p:clrMapOvr>
    <a:overrideClrMapping bg1="dk1" tx1="lt1" bg2="dk2" tx2="lt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5_NTT_content_page">
    <p:bg bwMode="ltGray">
      <p:bgPr>
        <a:solidFill>
          <a:schemeClr val="tx1"/>
        </a:solidFill>
        <a:effectLst/>
      </p:bgPr>
    </p:bg>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656684" y="897352"/>
            <a:ext cx="3523281" cy="877093"/>
          </a:xfrm>
          <a:prstGeom prst="rect">
            <a:avLst/>
          </a:prstGeom>
        </p:spPr>
        <p:txBody>
          <a:bodyPr anchor="ctr"/>
          <a:lstStyle>
            <a:lvl1pPr algn="l">
              <a:lnSpc>
                <a:spcPct val="100000"/>
              </a:lnSpc>
              <a:defRPr sz="3200" b="1">
                <a:solidFill>
                  <a:schemeClr val="accent2"/>
                </a:solidFill>
              </a:defRPr>
            </a:lvl1pPr>
          </a:lstStyle>
          <a:p>
            <a:r>
              <a:rPr lang="en-US"/>
              <a:t>Click to edit Master title style</a:t>
            </a:r>
            <a:endParaRPr lang="en-GB"/>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656684" y="1910992"/>
            <a:ext cx="3523281" cy="4212341"/>
          </a:xfrm>
          <a:prstGeom prst="rect">
            <a:avLst/>
          </a:prstGeom>
          <a:solidFill>
            <a:schemeClr val="accent2">
              <a:lumMod val="20000"/>
              <a:lumOff val="80000"/>
            </a:schemeClr>
          </a:solidFill>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499154" y="897357"/>
            <a:ext cx="3049001" cy="2635401"/>
          </a:xfrm>
          <a:prstGeom prst="rect">
            <a:avLst/>
          </a:prstGeom>
          <a:solidFill>
            <a:schemeClr val="accent4">
              <a:lumMod val="20000"/>
              <a:lumOff val="80000"/>
            </a:schemeClr>
          </a:solidFill>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6">
            <a:extLst>
              <a:ext uri="{FF2B5EF4-FFF2-40B4-BE49-F238E27FC236}">
                <a16:creationId xmlns:a16="http://schemas.microsoft.com/office/drawing/2014/main" id="{158B466F-ED96-BE4E-955F-BE1FEA9E2EEB}"/>
              </a:ext>
            </a:extLst>
          </p:cNvPr>
          <p:cNvSpPr>
            <a:spLocks noGrp="1"/>
          </p:cNvSpPr>
          <p:nvPr>
            <p:ph type="body" sz="quarter" idx="22"/>
          </p:nvPr>
        </p:nvSpPr>
        <p:spPr>
          <a:xfrm>
            <a:off x="4321905" y="2540620"/>
            <a:ext cx="1939033" cy="3582712"/>
          </a:xfrm>
          <a:prstGeom prst="rect">
            <a:avLst/>
          </a:prstGeom>
          <a:solidFill>
            <a:schemeClr val="accent5">
              <a:lumMod val="20000"/>
              <a:lumOff val="80000"/>
            </a:schemeClr>
          </a:solidFill>
        </p:spPr>
        <p:txBody>
          <a:bodyPr/>
          <a:lstStyle>
            <a:lvl1pPr>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US"/>
              <a:t>Click to edit Master text styles</a:t>
            </a:r>
          </a:p>
        </p:txBody>
      </p:sp>
      <p:sp>
        <p:nvSpPr>
          <p:cNvPr id="17" name="Picture Placeholder 13">
            <a:extLst>
              <a:ext uri="{FF2B5EF4-FFF2-40B4-BE49-F238E27FC236}">
                <a16:creationId xmlns:a16="http://schemas.microsoft.com/office/drawing/2014/main" id="{E94D3DF8-5CF2-BF47-B246-B473C449DBF3}"/>
              </a:ext>
            </a:extLst>
          </p:cNvPr>
          <p:cNvSpPr>
            <a:spLocks noGrp="1"/>
          </p:cNvSpPr>
          <p:nvPr>
            <p:ph type="pic" sz="quarter" idx="18"/>
          </p:nvPr>
        </p:nvSpPr>
        <p:spPr>
          <a:xfrm>
            <a:off x="4321905" y="897351"/>
            <a:ext cx="1939033" cy="1540764"/>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8" name="Picture Placeholder 13">
            <a:extLst>
              <a:ext uri="{FF2B5EF4-FFF2-40B4-BE49-F238E27FC236}">
                <a16:creationId xmlns:a16="http://schemas.microsoft.com/office/drawing/2014/main" id="{CBE37E95-2D23-464B-9974-5D9E340CF188}"/>
              </a:ext>
            </a:extLst>
          </p:cNvPr>
          <p:cNvSpPr>
            <a:spLocks noGrp="1"/>
          </p:cNvSpPr>
          <p:nvPr>
            <p:ph type="pic" sz="quarter" idx="17"/>
          </p:nvPr>
        </p:nvSpPr>
        <p:spPr>
          <a:xfrm>
            <a:off x="6396373" y="3692587"/>
            <a:ext cx="5151779" cy="2430748"/>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9" name="Text Placeholder 6">
            <a:extLst>
              <a:ext uri="{FF2B5EF4-FFF2-40B4-BE49-F238E27FC236}">
                <a16:creationId xmlns:a16="http://schemas.microsoft.com/office/drawing/2014/main" id="{0174DC45-C4F5-BB48-9E7A-CEE0AEC2189E}"/>
              </a:ext>
            </a:extLst>
          </p:cNvPr>
          <p:cNvSpPr>
            <a:spLocks noGrp="1"/>
          </p:cNvSpPr>
          <p:nvPr>
            <p:ph type="body" sz="quarter" idx="23"/>
          </p:nvPr>
        </p:nvSpPr>
        <p:spPr>
          <a:xfrm>
            <a:off x="6410529" y="897357"/>
            <a:ext cx="1982521" cy="2635401"/>
          </a:xfrm>
          <a:prstGeom prst="rect">
            <a:avLst/>
          </a:prstGeom>
          <a:solidFill>
            <a:schemeClr val="accent6">
              <a:lumMod val="20000"/>
              <a:lumOff val="80000"/>
            </a:schemeClr>
          </a:solidFill>
        </p:spPr>
        <p:txBody>
          <a:bodyPr/>
          <a:lstStyle>
            <a:lvl1pPr>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715651321"/>
      </p:ext>
    </p:extLst>
  </p:cSld>
  <p:clrMapOvr>
    <a:overrideClrMapping bg1="dk1" tx1="lt1" bg2="dk2" tx2="lt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6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endParaRPr lang="en-US" noProof="0"/>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81" y="0"/>
            <a:ext cx="376951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7" y="1417499"/>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7" y="951708"/>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7" y="3508543"/>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7" y="3039980"/>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7" y="559674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7" y="5130956"/>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9"/>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14194069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7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endParaRPr lang="en-US" noProof="0"/>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81" y="0"/>
            <a:ext cx="376951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7" y="1417499"/>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7" y="951708"/>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7" y="3508543"/>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7" y="3039980"/>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7" y="559674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7" y="5130956"/>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9"/>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395413311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8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endParaRPr lang="en-US" noProof="0"/>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81" y="0"/>
            <a:ext cx="376951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7" y="1417499"/>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7" y="951708"/>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7" y="3508543"/>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7" y="3039980"/>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7" y="559674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7" y="5130956"/>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9"/>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305843512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32_NTT_content_page">
    <p:bg bwMode="ltGray">
      <p:bgPr>
        <a:solidFill>
          <a:schemeClr val="tx1"/>
        </a:solidFill>
        <a:effectLst/>
      </p:bgPr>
    </p:bg>
    <p:spTree>
      <p:nvGrpSpPr>
        <p:cNvPr id="1" name=""/>
        <p:cNvGrpSpPr/>
        <p:nvPr/>
      </p:nvGrpSpPr>
      <p:grpSpPr>
        <a:xfrm>
          <a:off x="0" y="0"/>
          <a:ext cx="0" cy="0"/>
          <a:chOff x="0" y="0"/>
          <a:chExt cx="0" cy="0"/>
        </a:xfrm>
      </p:grpSpPr>
      <p:sp>
        <p:nvSpPr>
          <p:cNvPr id="16" name="Picture Placeholder 1">
            <a:extLst>
              <a:ext uri="{FF2B5EF4-FFF2-40B4-BE49-F238E27FC236}">
                <a16:creationId xmlns:a16="http://schemas.microsoft.com/office/drawing/2014/main" id="{835D2B04-2356-A640-8C36-BF74FA32E5EE}"/>
              </a:ext>
            </a:extLst>
          </p:cNvPr>
          <p:cNvSpPr>
            <a:spLocks noGrp="1"/>
          </p:cNvSpPr>
          <p:nvPr>
            <p:ph type="pic" sz="quarter" idx="26"/>
          </p:nvPr>
        </p:nvSpPr>
        <p:spPr>
          <a:xfrm>
            <a:off x="6" y="0"/>
            <a:ext cx="5065713" cy="6858000"/>
          </a:xfrm>
          <a:prstGeom prst="rect">
            <a:avLst/>
          </a:prstGeom>
          <a:solidFill>
            <a:schemeClr val="bg2">
              <a:lumMod val="20000"/>
              <a:lumOff val="80000"/>
            </a:schemeClr>
          </a:solidFill>
        </p:spPr>
        <p:txBody>
          <a:bodyPr/>
          <a:lstStyle>
            <a:lvl1pPr marL="0" indent="0">
              <a:buNone/>
              <a:defRPr sz="1867">
                <a:solidFill>
                  <a:schemeClr val="bg1"/>
                </a:solidFill>
              </a:defRPr>
            </a:lvl1pPr>
          </a:lstStyle>
          <a:p>
            <a:endParaRPr lang="en-GB"/>
          </a:p>
        </p:txBody>
      </p:sp>
      <p:sp>
        <p:nvSpPr>
          <p:cNvPr id="18" name="Title 4">
            <a:extLst>
              <a:ext uri="{FF2B5EF4-FFF2-40B4-BE49-F238E27FC236}">
                <a16:creationId xmlns:a16="http://schemas.microsoft.com/office/drawing/2014/main" id="{D136005A-11B0-8D4E-9718-39BB0EC340F4}"/>
              </a:ext>
            </a:extLst>
          </p:cNvPr>
          <p:cNvSpPr>
            <a:spLocks noGrp="1"/>
          </p:cNvSpPr>
          <p:nvPr>
            <p:ph type="title" hasCustomPrompt="1"/>
          </p:nvPr>
        </p:nvSpPr>
        <p:spPr>
          <a:xfrm>
            <a:off x="5521128" y="1167037"/>
            <a:ext cx="6251773" cy="996915"/>
          </a:xfrm>
          <a:prstGeom prst="rect">
            <a:avLst/>
          </a:prstGeom>
        </p:spPr>
        <p:txBody>
          <a:bodyPr anchor="ctr"/>
          <a:lstStyle>
            <a:lvl1pPr algn="l">
              <a:lnSpc>
                <a:spcPct val="100000"/>
              </a:lnSpc>
              <a:spcBef>
                <a:spcPts val="0"/>
              </a:spcBef>
              <a:spcAft>
                <a:spcPts val="0"/>
              </a:spcAft>
              <a:defRPr sz="3200" b="1">
                <a:solidFill>
                  <a:schemeClr val="accent2"/>
                </a:solidFill>
              </a:defRPr>
            </a:lvl1pPr>
          </a:lstStyle>
          <a:p>
            <a:r>
              <a:rPr lang="en-US"/>
              <a:t>Click to edit </a:t>
            </a:r>
            <a:br>
              <a:rPr lang="en-US"/>
            </a:br>
            <a:r>
              <a:rPr lang="en-US"/>
              <a:t>Master title style</a:t>
            </a:r>
            <a:endParaRPr lang="en-GB"/>
          </a:p>
        </p:txBody>
      </p:sp>
      <p:sp>
        <p:nvSpPr>
          <p:cNvPr id="19" name="Text Placeholder 6">
            <a:extLst>
              <a:ext uri="{FF2B5EF4-FFF2-40B4-BE49-F238E27FC236}">
                <a16:creationId xmlns:a16="http://schemas.microsoft.com/office/drawing/2014/main" id="{DA5EC964-4A3C-2F47-B937-C98A2869954E}"/>
              </a:ext>
            </a:extLst>
          </p:cNvPr>
          <p:cNvSpPr>
            <a:spLocks noGrp="1"/>
          </p:cNvSpPr>
          <p:nvPr>
            <p:ph type="body" sz="quarter" idx="61"/>
          </p:nvPr>
        </p:nvSpPr>
        <p:spPr>
          <a:xfrm>
            <a:off x="5521128" y="3146593"/>
            <a:ext cx="6251773" cy="286633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2" name="Text Placeholder 6">
            <a:extLst>
              <a:ext uri="{FF2B5EF4-FFF2-40B4-BE49-F238E27FC236}">
                <a16:creationId xmlns:a16="http://schemas.microsoft.com/office/drawing/2014/main" id="{F271EA18-F1C4-5445-BC6B-2E8E13F8085B}"/>
              </a:ext>
            </a:extLst>
          </p:cNvPr>
          <p:cNvSpPr>
            <a:spLocks noGrp="1"/>
          </p:cNvSpPr>
          <p:nvPr>
            <p:ph type="body" sz="quarter" idx="16" hasCustomPrompt="1"/>
          </p:nvPr>
        </p:nvSpPr>
        <p:spPr>
          <a:xfrm>
            <a:off x="5521128" y="2311109"/>
            <a:ext cx="6251773" cy="621339"/>
          </a:xfrm>
          <a:prstGeom prst="rect">
            <a:avLst/>
          </a:prstGeom>
        </p:spPr>
        <p:txBody>
          <a:bodyPr anchor="ctr"/>
          <a:lstStyle>
            <a:lvl1pPr marL="0" indent="0" algn="l">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pic>
        <p:nvPicPr>
          <p:cNvPr id="6" name="Picture 5">
            <a:extLst>
              <a:ext uri="{FF2B5EF4-FFF2-40B4-BE49-F238E27FC236}">
                <a16:creationId xmlns:a16="http://schemas.microsoft.com/office/drawing/2014/main" id="{CC552A4F-D1DB-4444-A096-6B92017E34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2226325474"/>
      </p:ext>
    </p:extLst>
  </p:cSld>
  <p:clrMapOvr>
    <a:overrideClrMapping bg1="dk1" tx1="lt1" bg2="dk2" tx2="lt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9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5879030" y="0"/>
            <a:ext cx="6312975"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6540649" y="2097905"/>
            <a:ext cx="3523281" cy="996915"/>
          </a:xfrm>
          <a:prstGeom prst="rect">
            <a:avLst/>
          </a:prstGeom>
        </p:spPr>
        <p:txBody>
          <a:bodyPr anchor="ctr"/>
          <a:lstStyle>
            <a:lvl1pPr algn="l">
              <a:lnSpc>
                <a:spcPct val="100000"/>
              </a:lnSpc>
              <a:defRPr sz="3200" b="1">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6529919" y="3274275"/>
            <a:ext cx="3543300" cy="14220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6">
            <a:extLst>
              <a:ext uri="{FF2B5EF4-FFF2-40B4-BE49-F238E27FC236}">
                <a16:creationId xmlns:a16="http://schemas.microsoft.com/office/drawing/2014/main" id="{3B4DA557-7B08-5B4D-97DB-FC7E41E181F5}"/>
              </a:ext>
            </a:extLst>
          </p:cNvPr>
          <p:cNvSpPr>
            <a:spLocks noGrp="1"/>
          </p:cNvSpPr>
          <p:nvPr>
            <p:ph type="body" sz="quarter" idx="61"/>
          </p:nvPr>
        </p:nvSpPr>
        <p:spPr>
          <a:xfrm>
            <a:off x="1415511" y="1814848"/>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8" name="Text Placeholder 6">
            <a:extLst>
              <a:ext uri="{FF2B5EF4-FFF2-40B4-BE49-F238E27FC236}">
                <a16:creationId xmlns:a16="http://schemas.microsoft.com/office/drawing/2014/main" id="{97FFF4BF-46E3-B541-AA52-FAB53E3E1054}"/>
              </a:ext>
            </a:extLst>
          </p:cNvPr>
          <p:cNvSpPr>
            <a:spLocks noGrp="1"/>
          </p:cNvSpPr>
          <p:nvPr>
            <p:ph type="body" sz="quarter" idx="16"/>
          </p:nvPr>
        </p:nvSpPr>
        <p:spPr>
          <a:xfrm>
            <a:off x="1415511" y="1386348"/>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1" name="Text Placeholder 6">
            <a:extLst>
              <a:ext uri="{FF2B5EF4-FFF2-40B4-BE49-F238E27FC236}">
                <a16:creationId xmlns:a16="http://schemas.microsoft.com/office/drawing/2014/main" id="{4BE66BA0-BAB7-6644-9195-003A679DF78A}"/>
              </a:ext>
            </a:extLst>
          </p:cNvPr>
          <p:cNvSpPr>
            <a:spLocks noGrp="1"/>
          </p:cNvSpPr>
          <p:nvPr>
            <p:ph type="body" sz="quarter" idx="62"/>
          </p:nvPr>
        </p:nvSpPr>
        <p:spPr>
          <a:xfrm>
            <a:off x="1415511" y="3240694"/>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12" name="Text Placeholder 6">
            <a:extLst>
              <a:ext uri="{FF2B5EF4-FFF2-40B4-BE49-F238E27FC236}">
                <a16:creationId xmlns:a16="http://schemas.microsoft.com/office/drawing/2014/main" id="{42D8740A-EF16-4A4B-8561-0AFE570EC69D}"/>
              </a:ext>
            </a:extLst>
          </p:cNvPr>
          <p:cNvSpPr>
            <a:spLocks noGrp="1"/>
          </p:cNvSpPr>
          <p:nvPr>
            <p:ph type="body" sz="quarter" idx="63"/>
          </p:nvPr>
        </p:nvSpPr>
        <p:spPr>
          <a:xfrm>
            <a:off x="1415511" y="2812192"/>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3" name="Text Placeholder 6">
            <a:extLst>
              <a:ext uri="{FF2B5EF4-FFF2-40B4-BE49-F238E27FC236}">
                <a16:creationId xmlns:a16="http://schemas.microsoft.com/office/drawing/2014/main" id="{F91806EC-97C9-D043-B9CB-6602A30F2D91}"/>
              </a:ext>
            </a:extLst>
          </p:cNvPr>
          <p:cNvSpPr>
            <a:spLocks noGrp="1"/>
          </p:cNvSpPr>
          <p:nvPr>
            <p:ph type="body" sz="quarter" idx="64"/>
          </p:nvPr>
        </p:nvSpPr>
        <p:spPr>
          <a:xfrm>
            <a:off x="1415511" y="4668491"/>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14" name="Text Placeholder 6">
            <a:extLst>
              <a:ext uri="{FF2B5EF4-FFF2-40B4-BE49-F238E27FC236}">
                <a16:creationId xmlns:a16="http://schemas.microsoft.com/office/drawing/2014/main" id="{BBDBDD5B-089E-2C47-B88F-38897DB817A2}"/>
              </a:ext>
            </a:extLst>
          </p:cNvPr>
          <p:cNvSpPr>
            <a:spLocks noGrp="1"/>
          </p:cNvSpPr>
          <p:nvPr>
            <p:ph type="body" sz="quarter" idx="65"/>
          </p:nvPr>
        </p:nvSpPr>
        <p:spPr>
          <a:xfrm>
            <a:off x="1415511" y="4239988"/>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5" name="Text Placeholder 6">
            <a:extLst>
              <a:ext uri="{FF2B5EF4-FFF2-40B4-BE49-F238E27FC236}">
                <a16:creationId xmlns:a16="http://schemas.microsoft.com/office/drawing/2014/main" id="{3BD2093A-8E00-AD45-A11B-BFF744448A36}"/>
              </a:ext>
            </a:extLst>
          </p:cNvPr>
          <p:cNvSpPr>
            <a:spLocks noGrp="1"/>
          </p:cNvSpPr>
          <p:nvPr>
            <p:ph type="body" sz="quarter" idx="66"/>
          </p:nvPr>
        </p:nvSpPr>
        <p:spPr>
          <a:xfrm>
            <a:off x="1415511" y="6104667"/>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16" name="Text Placeholder 6">
            <a:extLst>
              <a:ext uri="{FF2B5EF4-FFF2-40B4-BE49-F238E27FC236}">
                <a16:creationId xmlns:a16="http://schemas.microsoft.com/office/drawing/2014/main" id="{B477112C-83CB-2B4D-913A-8D32CDC29EB1}"/>
              </a:ext>
            </a:extLst>
          </p:cNvPr>
          <p:cNvSpPr>
            <a:spLocks noGrp="1"/>
          </p:cNvSpPr>
          <p:nvPr>
            <p:ph type="body" sz="quarter" idx="67"/>
          </p:nvPr>
        </p:nvSpPr>
        <p:spPr>
          <a:xfrm>
            <a:off x="1415511" y="5676164"/>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4" name="Picture Placeholder 3">
            <a:extLst>
              <a:ext uri="{FF2B5EF4-FFF2-40B4-BE49-F238E27FC236}">
                <a16:creationId xmlns:a16="http://schemas.microsoft.com/office/drawing/2014/main" id="{F2F982F2-3BB9-344E-A765-82A959FA3FC9}"/>
              </a:ext>
            </a:extLst>
          </p:cNvPr>
          <p:cNvSpPr>
            <a:spLocks noGrp="1"/>
          </p:cNvSpPr>
          <p:nvPr>
            <p:ph type="pic" sz="quarter" idx="68" hasCustomPrompt="1"/>
          </p:nvPr>
        </p:nvSpPr>
        <p:spPr>
          <a:xfrm>
            <a:off x="516544" y="1386351"/>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19" name="Picture Placeholder 3">
            <a:extLst>
              <a:ext uri="{FF2B5EF4-FFF2-40B4-BE49-F238E27FC236}">
                <a16:creationId xmlns:a16="http://schemas.microsoft.com/office/drawing/2014/main" id="{B2D4BA41-426E-2046-9B18-1D5B9B503327}"/>
              </a:ext>
            </a:extLst>
          </p:cNvPr>
          <p:cNvSpPr>
            <a:spLocks noGrp="1"/>
          </p:cNvSpPr>
          <p:nvPr>
            <p:ph type="pic" sz="quarter" idx="69" hasCustomPrompt="1"/>
          </p:nvPr>
        </p:nvSpPr>
        <p:spPr>
          <a:xfrm>
            <a:off x="516544" y="2812195"/>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0" name="Picture Placeholder 3">
            <a:extLst>
              <a:ext uri="{FF2B5EF4-FFF2-40B4-BE49-F238E27FC236}">
                <a16:creationId xmlns:a16="http://schemas.microsoft.com/office/drawing/2014/main" id="{E0D3D9B8-9128-5D45-BFB7-90B2ADBF75A1}"/>
              </a:ext>
            </a:extLst>
          </p:cNvPr>
          <p:cNvSpPr>
            <a:spLocks noGrp="1"/>
          </p:cNvSpPr>
          <p:nvPr>
            <p:ph type="pic" sz="quarter" idx="70" hasCustomPrompt="1"/>
          </p:nvPr>
        </p:nvSpPr>
        <p:spPr>
          <a:xfrm>
            <a:off x="516544" y="4238039"/>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1" name="Picture Placeholder 3">
            <a:extLst>
              <a:ext uri="{FF2B5EF4-FFF2-40B4-BE49-F238E27FC236}">
                <a16:creationId xmlns:a16="http://schemas.microsoft.com/office/drawing/2014/main" id="{33E8DB06-0058-144F-B17F-9E476E611DF7}"/>
              </a:ext>
            </a:extLst>
          </p:cNvPr>
          <p:cNvSpPr>
            <a:spLocks noGrp="1"/>
          </p:cNvSpPr>
          <p:nvPr>
            <p:ph type="pic" sz="quarter" idx="71" hasCustomPrompt="1"/>
          </p:nvPr>
        </p:nvSpPr>
        <p:spPr>
          <a:xfrm>
            <a:off x="516544" y="5676167"/>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pic>
        <p:nvPicPr>
          <p:cNvPr id="17" name="Picture 16">
            <a:extLst>
              <a:ext uri="{FF2B5EF4-FFF2-40B4-BE49-F238E27FC236}">
                <a16:creationId xmlns:a16="http://schemas.microsoft.com/office/drawing/2014/main" id="{2614B128-702E-0744-8F65-70AF1F474C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6546" y="332679"/>
            <a:ext cx="1305751" cy="484944"/>
          </a:xfrm>
          <a:prstGeom prst="rect">
            <a:avLst/>
          </a:prstGeom>
        </p:spPr>
      </p:pic>
    </p:spTree>
    <p:extLst>
      <p:ext uri="{BB962C8B-B14F-4D97-AF65-F5344CB8AC3E}">
        <p14:creationId xmlns:p14="http://schemas.microsoft.com/office/powerpoint/2010/main" val="4150023676"/>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2_NTT_content_page">
    <p:bg bwMode="ltGray">
      <p:bgPr>
        <a:solidFill>
          <a:schemeClr val="accent2"/>
        </a:solidFill>
        <a:effectLst/>
      </p:bgPr>
    </p:bg>
    <p:spTree>
      <p:nvGrpSpPr>
        <p:cNvPr id="1" name=""/>
        <p:cNvGrpSpPr/>
        <p:nvPr/>
      </p:nvGrpSpPr>
      <p:grpSpPr>
        <a:xfrm>
          <a:off x="0" y="0"/>
          <a:ext cx="0" cy="0"/>
          <a:chOff x="0" y="0"/>
          <a:chExt cx="0" cy="0"/>
        </a:xfrm>
      </p:grpSpPr>
      <p:sp>
        <p:nvSpPr>
          <p:cNvPr id="37" name="Title 4">
            <a:extLst>
              <a:ext uri="{FF2B5EF4-FFF2-40B4-BE49-F238E27FC236}">
                <a16:creationId xmlns:a16="http://schemas.microsoft.com/office/drawing/2014/main" id="{5E4FBA8E-F792-5B49-AC3F-6764FF3C8F68}"/>
              </a:ext>
            </a:extLst>
          </p:cNvPr>
          <p:cNvSpPr>
            <a:spLocks noGrp="1"/>
          </p:cNvSpPr>
          <p:nvPr>
            <p:ph type="title"/>
          </p:nvPr>
        </p:nvSpPr>
        <p:spPr>
          <a:xfrm>
            <a:off x="391599" y="450777"/>
            <a:ext cx="11408804" cy="631775"/>
          </a:xfrm>
          <a:prstGeom prst="rect">
            <a:avLst/>
          </a:prstGeom>
        </p:spPr>
        <p:txBody>
          <a:bodyPr anchor="ctr"/>
          <a:lstStyle>
            <a:lvl1pPr algn="ctr">
              <a:defRPr sz="3200" b="1">
                <a:solidFill>
                  <a:schemeClr val="tx1"/>
                </a:solidFill>
              </a:defRPr>
            </a:lvl1pPr>
          </a:lstStyle>
          <a:p>
            <a:r>
              <a:rPr lang="en-US"/>
              <a:t>Click to edit Master title style</a:t>
            </a:r>
            <a:endParaRPr lang="en-GB"/>
          </a:p>
        </p:txBody>
      </p:sp>
      <p:sp>
        <p:nvSpPr>
          <p:cNvPr id="17" name="Text Placeholder 6">
            <a:extLst>
              <a:ext uri="{FF2B5EF4-FFF2-40B4-BE49-F238E27FC236}">
                <a16:creationId xmlns:a16="http://schemas.microsoft.com/office/drawing/2014/main" id="{3D48A384-379E-864F-A2E2-01EF6C402438}"/>
              </a:ext>
            </a:extLst>
          </p:cNvPr>
          <p:cNvSpPr>
            <a:spLocks noGrp="1"/>
          </p:cNvSpPr>
          <p:nvPr>
            <p:ph type="body" sz="quarter" idx="16" hasCustomPrompt="1"/>
          </p:nvPr>
        </p:nvSpPr>
        <p:spPr>
          <a:xfrm>
            <a:off x="391599" y="1128122"/>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cxnSp>
        <p:nvCxnSpPr>
          <p:cNvPr id="20" name="Straight Connector 19">
            <a:extLst>
              <a:ext uri="{FF2B5EF4-FFF2-40B4-BE49-F238E27FC236}">
                <a16:creationId xmlns:a16="http://schemas.microsoft.com/office/drawing/2014/main" id="{80C35067-E835-BD4F-A284-A2F4B755A850}"/>
              </a:ext>
            </a:extLst>
          </p:cNvPr>
          <p:cNvCxnSpPr/>
          <p:nvPr userDrawn="1"/>
        </p:nvCxnSpPr>
        <p:spPr>
          <a:xfrm flipV="1">
            <a:off x="7930356" y="2884427"/>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E77D04-FEA0-9A48-99BB-44FA1E043D82}"/>
              </a:ext>
            </a:extLst>
          </p:cNvPr>
          <p:cNvCxnSpPr/>
          <p:nvPr userDrawn="1"/>
        </p:nvCxnSpPr>
        <p:spPr>
          <a:xfrm flipV="1">
            <a:off x="4328319" y="2884427"/>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6">
            <a:extLst>
              <a:ext uri="{FF2B5EF4-FFF2-40B4-BE49-F238E27FC236}">
                <a16:creationId xmlns:a16="http://schemas.microsoft.com/office/drawing/2014/main" id="{66F4426F-9472-8E42-9CE2-56032EEDBDF0}"/>
              </a:ext>
            </a:extLst>
          </p:cNvPr>
          <p:cNvSpPr>
            <a:spLocks noGrp="1"/>
          </p:cNvSpPr>
          <p:nvPr>
            <p:ph type="body" sz="quarter" idx="52"/>
          </p:nvPr>
        </p:nvSpPr>
        <p:spPr>
          <a:xfrm>
            <a:off x="1173699"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312B08A3-6F0E-8345-9F2F-07D520785853}"/>
              </a:ext>
            </a:extLst>
          </p:cNvPr>
          <p:cNvSpPr>
            <a:spLocks noGrp="1"/>
          </p:cNvSpPr>
          <p:nvPr>
            <p:ph type="body" sz="quarter" idx="72"/>
          </p:nvPr>
        </p:nvSpPr>
        <p:spPr>
          <a:xfrm>
            <a:off x="1173699"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5" name="Text Placeholder 6">
            <a:extLst>
              <a:ext uri="{FF2B5EF4-FFF2-40B4-BE49-F238E27FC236}">
                <a16:creationId xmlns:a16="http://schemas.microsoft.com/office/drawing/2014/main" id="{E376E8B7-2C49-5A43-A624-90D032310688}"/>
              </a:ext>
            </a:extLst>
          </p:cNvPr>
          <p:cNvSpPr>
            <a:spLocks noGrp="1"/>
          </p:cNvSpPr>
          <p:nvPr>
            <p:ph type="body" sz="quarter" idx="73"/>
          </p:nvPr>
        </p:nvSpPr>
        <p:spPr>
          <a:xfrm>
            <a:off x="4775738"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38" name="Text Placeholder 6">
            <a:extLst>
              <a:ext uri="{FF2B5EF4-FFF2-40B4-BE49-F238E27FC236}">
                <a16:creationId xmlns:a16="http://schemas.microsoft.com/office/drawing/2014/main" id="{0C68A706-386B-B54D-A68A-407C4C6E9C48}"/>
              </a:ext>
            </a:extLst>
          </p:cNvPr>
          <p:cNvSpPr>
            <a:spLocks noGrp="1"/>
          </p:cNvSpPr>
          <p:nvPr>
            <p:ph type="body" sz="quarter" idx="74"/>
          </p:nvPr>
        </p:nvSpPr>
        <p:spPr>
          <a:xfrm>
            <a:off x="4775739"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39" name="Text Placeholder 6">
            <a:extLst>
              <a:ext uri="{FF2B5EF4-FFF2-40B4-BE49-F238E27FC236}">
                <a16:creationId xmlns:a16="http://schemas.microsoft.com/office/drawing/2014/main" id="{B89421A3-22D4-824A-BC46-312A99FDA7CA}"/>
              </a:ext>
            </a:extLst>
          </p:cNvPr>
          <p:cNvSpPr>
            <a:spLocks noGrp="1"/>
          </p:cNvSpPr>
          <p:nvPr>
            <p:ph type="body" sz="quarter" idx="75"/>
          </p:nvPr>
        </p:nvSpPr>
        <p:spPr>
          <a:xfrm>
            <a:off x="8377759"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40" name="Text Placeholder 6">
            <a:extLst>
              <a:ext uri="{FF2B5EF4-FFF2-40B4-BE49-F238E27FC236}">
                <a16:creationId xmlns:a16="http://schemas.microsoft.com/office/drawing/2014/main" id="{CE424B62-5109-9841-8C42-5BD27006A9DD}"/>
              </a:ext>
            </a:extLst>
          </p:cNvPr>
          <p:cNvSpPr>
            <a:spLocks noGrp="1"/>
          </p:cNvSpPr>
          <p:nvPr>
            <p:ph type="body" sz="quarter" idx="76"/>
          </p:nvPr>
        </p:nvSpPr>
        <p:spPr>
          <a:xfrm>
            <a:off x="8377759"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41" name="Picture Placeholder 3">
            <a:extLst>
              <a:ext uri="{FF2B5EF4-FFF2-40B4-BE49-F238E27FC236}">
                <a16:creationId xmlns:a16="http://schemas.microsoft.com/office/drawing/2014/main" id="{22992596-9553-354E-9FA6-6A7BACE3514C}"/>
              </a:ext>
            </a:extLst>
          </p:cNvPr>
          <p:cNvSpPr>
            <a:spLocks noGrp="1"/>
          </p:cNvSpPr>
          <p:nvPr>
            <p:ph type="pic" sz="quarter" idx="68" hasCustomPrompt="1"/>
          </p:nvPr>
        </p:nvSpPr>
        <p:spPr>
          <a:xfrm>
            <a:off x="2261821" y="2411559"/>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2" name="Picture Placeholder 3">
            <a:extLst>
              <a:ext uri="{FF2B5EF4-FFF2-40B4-BE49-F238E27FC236}">
                <a16:creationId xmlns:a16="http://schemas.microsoft.com/office/drawing/2014/main" id="{74591AD2-2569-CF45-8D7D-E69A713170D1}"/>
              </a:ext>
            </a:extLst>
          </p:cNvPr>
          <p:cNvSpPr>
            <a:spLocks noGrp="1"/>
          </p:cNvSpPr>
          <p:nvPr>
            <p:ph type="pic" sz="quarter" idx="77" hasCustomPrompt="1"/>
          </p:nvPr>
        </p:nvSpPr>
        <p:spPr>
          <a:xfrm>
            <a:off x="5863863" y="2411559"/>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3" name="Picture Placeholder 3">
            <a:extLst>
              <a:ext uri="{FF2B5EF4-FFF2-40B4-BE49-F238E27FC236}">
                <a16:creationId xmlns:a16="http://schemas.microsoft.com/office/drawing/2014/main" id="{A01C25AB-DBA1-3343-A29F-C393C26205AB}"/>
              </a:ext>
            </a:extLst>
          </p:cNvPr>
          <p:cNvSpPr>
            <a:spLocks noGrp="1"/>
          </p:cNvSpPr>
          <p:nvPr>
            <p:ph type="pic" sz="quarter" idx="78" hasCustomPrompt="1"/>
          </p:nvPr>
        </p:nvSpPr>
        <p:spPr>
          <a:xfrm>
            <a:off x="9466930" y="2411559"/>
            <a:ext cx="530953" cy="465780"/>
          </a:xfrm>
          <a:prstGeom prst="rect">
            <a:avLst/>
          </a:prstGeom>
        </p:spPr>
        <p:txBody>
          <a:bodyPr/>
          <a:lstStyle>
            <a:lvl1pPr marL="0" indent="0" algn="ctr">
              <a:buNone/>
              <a:defRPr sz="1067">
                <a:solidFill>
                  <a:schemeClr val="tx1"/>
                </a:solidFill>
              </a:defRPr>
            </a:lvl1pPr>
          </a:lstStyle>
          <a:p>
            <a:r>
              <a:rPr lang="en-GB"/>
              <a:t>Icon</a:t>
            </a:r>
          </a:p>
        </p:txBody>
      </p:sp>
    </p:spTree>
    <p:extLst>
      <p:ext uri="{BB962C8B-B14F-4D97-AF65-F5344CB8AC3E}">
        <p14:creationId xmlns:p14="http://schemas.microsoft.com/office/powerpoint/2010/main" val="24005719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NTT_title_and_content_page_blue">
    <p:bg bwMode="ltGray">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875D2-D38A-4FA1-9ED9-F02B2C6A6E59}"/>
              </a:ext>
            </a:extLst>
          </p:cNvPr>
          <p:cNvGraphicFramePr>
            <a:graphicFrameLocks noChangeAspect="1"/>
          </p:cNvGraphicFramePr>
          <p:nvPr userDrawn="1">
            <p:custDataLst>
              <p:tags r:id="rId1"/>
            </p:custDataLst>
            <p:extLst>
              <p:ext uri="{D42A27DB-BD31-4B8C-83A1-F6EECF244321}">
                <p14:modId xmlns:p14="http://schemas.microsoft.com/office/powerpoint/2010/main" val="7825725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3" name="Object 2" hidden="1">
                        <a:extLst>
                          <a:ext uri="{FF2B5EF4-FFF2-40B4-BE49-F238E27FC236}">
                            <a16:creationId xmlns:a16="http://schemas.microsoft.com/office/drawing/2014/main" id="{6AC875D2-D38A-4FA1-9ED9-F02B2C6A6E5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E0AD56-B9D5-4344-AB28-784686527F90}"/>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p:nvPr>
        </p:nvSpPr>
        <p:spPr>
          <a:xfrm>
            <a:off x="396692" y="169334"/>
            <a:ext cx="9725123" cy="447217"/>
          </a:xfrm>
          <a:prstGeom prst="rect">
            <a:avLst/>
          </a:prstGeom>
        </p:spPr>
        <p:txBody>
          <a:bodyPr vert="horz" lIns="0" tIns="0" rIns="0" bIns="0" anchor="t">
            <a:spAutoFit/>
          </a:bodyPr>
          <a:lstStyle>
            <a:lvl1pPr rtl="0">
              <a:defRPr lang="en-ZA" b="1" dirty="0">
                <a:solidFill>
                  <a:schemeClr val="tx1"/>
                </a:solidFill>
                <a:latin typeface="Arial"/>
                <a:cs typeface="Arial"/>
              </a:defRPr>
            </a:lvl1pPr>
          </a:lstStyle>
          <a:p>
            <a:pPr lvl="0"/>
            <a:r>
              <a:rPr lang="en-US"/>
              <a:t>Click to edit Master title style</a:t>
            </a:r>
          </a:p>
        </p:txBody>
      </p:sp>
      <p:sp>
        <p:nvSpPr>
          <p:cNvPr id="8" name="Content Placeholder 2"/>
          <p:cNvSpPr>
            <a:spLocks noGrp="1"/>
          </p:cNvSpPr>
          <p:nvPr>
            <p:ph idx="1"/>
          </p:nvPr>
        </p:nvSpPr>
        <p:spPr>
          <a:xfrm>
            <a:off x="396694" y="1529025"/>
            <a:ext cx="11376207" cy="1919073"/>
          </a:xfrm>
          <a:prstGeom prst="rect">
            <a:avLst/>
          </a:prstGeom>
        </p:spPr>
        <p:txBody>
          <a:bodyPr/>
          <a:lstStyle>
            <a:lvl1pPr algn="l" rtl="0">
              <a:defRPr sz="2400">
                <a:solidFill>
                  <a:schemeClr val="tx1"/>
                </a:solidFill>
                <a:latin typeface="Arial"/>
                <a:cs typeface="Arial"/>
              </a:defRPr>
            </a:lvl1pPr>
            <a:lvl2pPr algn="l" rtl="0">
              <a:defRPr sz="1867">
                <a:solidFill>
                  <a:schemeClr val="tx1"/>
                </a:solidFill>
                <a:latin typeface="Arial"/>
                <a:cs typeface="Arial"/>
              </a:defRPr>
            </a:lvl2pPr>
            <a:lvl3pPr algn="l" rtl="0">
              <a:defRPr sz="1600">
                <a:solidFill>
                  <a:schemeClr val="tx1"/>
                </a:solidFill>
                <a:latin typeface="Arial"/>
                <a:cs typeface="Arial"/>
              </a:defRPr>
            </a:lvl3pPr>
            <a:lvl4pPr algn="l" rtl="0">
              <a:defRPr sz="1467">
                <a:solidFill>
                  <a:schemeClr val="tx1"/>
                </a:solidFill>
                <a:latin typeface="Arial"/>
                <a:cs typeface="Arial"/>
              </a:defRPr>
            </a:lvl4pPr>
            <a:lvl5pPr algn="l" rtl="0">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8F3EAFF9-7DC3-D348-84B7-12FFB2469E99}"/>
              </a:ext>
            </a:extLst>
          </p:cNvPr>
          <p:cNvPicPr>
            <a:picLocks noChangeAspect="1"/>
          </p:cNvPicPr>
          <p:nvPr userDrawn="1"/>
        </p:nvPicPr>
        <p:blipFill>
          <a:blip r:embed="rId6"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489112823"/>
      </p:ext>
    </p:extLst>
  </p:cSld>
  <p:clrMapOvr>
    <a:overrideClrMapping bg1="dk1" tx1="lt1" bg2="dk2" tx2="lt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34_NTT_content_page">
    <p:bg bwMode="ltGray">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21A6FFB-F313-6141-A172-BADFD8BD87EE}"/>
              </a:ext>
            </a:extLst>
          </p:cNvPr>
          <p:cNvSpPr/>
          <p:nvPr userDrawn="1"/>
        </p:nvSpPr>
        <p:spPr>
          <a:xfrm>
            <a:off x="8115511" y="3417997"/>
            <a:ext cx="4076492" cy="3456575"/>
          </a:xfrm>
          <a:prstGeom prst="rect">
            <a:avLst/>
          </a:prstGeom>
          <a:solidFill>
            <a:schemeClr val="accent5">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0" name="Rectangle 9">
            <a:extLst>
              <a:ext uri="{FF2B5EF4-FFF2-40B4-BE49-F238E27FC236}">
                <a16:creationId xmlns:a16="http://schemas.microsoft.com/office/drawing/2014/main" id="{B80B8852-BEA0-3D4F-B90D-07A70ED2896E}"/>
              </a:ext>
            </a:extLst>
          </p:cNvPr>
          <p:cNvSpPr/>
          <p:nvPr userDrawn="1"/>
        </p:nvSpPr>
        <p:spPr>
          <a:xfrm>
            <a:off x="-3761" y="3423450"/>
            <a:ext cx="4044744" cy="3451121"/>
          </a:xfrm>
          <a:prstGeom prst="rect">
            <a:avLst/>
          </a:prstGeom>
          <a:solidFill>
            <a:schemeClr val="accent4">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2" name="Rectangle 1">
            <a:extLst>
              <a:ext uri="{FF2B5EF4-FFF2-40B4-BE49-F238E27FC236}">
                <a16:creationId xmlns:a16="http://schemas.microsoft.com/office/drawing/2014/main" id="{79775F3A-6E16-BA44-A37B-47351FCDF66D}"/>
              </a:ext>
            </a:extLst>
          </p:cNvPr>
          <p:cNvSpPr/>
          <p:nvPr userDrawn="1"/>
        </p:nvSpPr>
        <p:spPr>
          <a:xfrm>
            <a:off x="4042572" y="-1"/>
            <a:ext cx="4073525" cy="3451121"/>
          </a:xfrm>
          <a:prstGeom prst="rect">
            <a:avLst/>
          </a:prstGeom>
          <a:solidFill>
            <a:schemeClr val="accent2">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3" name="Picture Placeholder 2">
            <a:extLst>
              <a:ext uri="{FF2B5EF4-FFF2-40B4-BE49-F238E27FC236}">
                <a16:creationId xmlns:a16="http://schemas.microsoft.com/office/drawing/2014/main" id="{7B5540B0-93CE-384E-B0EA-1F68C487A39C}"/>
              </a:ext>
            </a:extLst>
          </p:cNvPr>
          <p:cNvSpPr>
            <a:spLocks noGrp="1"/>
          </p:cNvSpPr>
          <p:nvPr>
            <p:ph type="pic" sz="quarter" idx="15"/>
          </p:nvPr>
        </p:nvSpPr>
        <p:spPr bwMode="auto">
          <a:xfrm>
            <a:off x="4042572" y="3434559"/>
            <a:ext cx="4073525" cy="3423444"/>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endParaRPr lang="en-GB"/>
          </a:p>
        </p:txBody>
      </p:sp>
      <p:sp>
        <p:nvSpPr>
          <p:cNvPr id="14" name="Picture Placeholder 1">
            <a:extLst>
              <a:ext uri="{FF2B5EF4-FFF2-40B4-BE49-F238E27FC236}">
                <a16:creationId xmlns:a16="http://schemas.microsoft.com/office/drawing/2014/main" id="{AF09079C-C66C-5A47-BB10-2FB7AE1D67CA}"/>
              </a:ext>
            </a:extLst>
          </p:cNvPr>
          <p:cNvSpPr>
            <a:spLocks noGrp="1"/>
          </p:cNvSpPr>
          <p:nvPr>
            <p:ph type="pic" sz="quarter" idx="18"/>
          </p:nvPr>
        </p:nvSpPr>
        <p:spPr bwMode="auto">
          <a:xfrm>
            <a:off x="-3175" y="3"/>
            <a:ext cx="4045744"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endParaRPr lang="en-GB"/>
          </a:p>
        </p:txBody>
      </p:sp>
      <p:sp>
        <p:nvSpPr>
          <p:cNvPr id="17" name="Picture Placeholder 3">
            <a:extLst>
              <a:ext uri="{FF2B5EF4-FFF2-40B4-BE49-F238E27FC236}">
                <a16:creationId xmlns:a16="http://schemas.microsoft.com/office/drawing/2014/main" id="{D2AC0BAC-2AF9-F540-B096-781969CEA2D6}"/>
              </a:ext>
            </a:extLst>
          </p:cNvPr>
          <p:cNvSpPr>
            <a:spLocks noGrp="1"/>
          </p:cNvSpPr>
          <p:nvPr>
            <p:ph type="pic" sz="quarter" idx="21"/>
          </p:nvPr>
        </p:nvSpPr>
        <p:spPr bwMode="auto">
          <a:xfrm>
            <a:off x="8116101" y="3"/>
            <a:ext cx="4074319"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endParaRPr lang="en-GB"/>
          </a:p>
        </p:txBody>
      </p:sp>
      <p:sp>
        <p:nvSpPr>
          <p:cNvPr id="8" name="Text Placeholder 6">
            <a:extLst>
              <a:ext uri="{FF2B5EF4-FFF2-40B4-BE49-F238E27FC236}">
                <a16:creationId xmlns:a16="http://schemas.microsoft.com/office/drawing/2014/main" id="{4123768B-9ACE-1742-8661-A2254A8C2CA0}"/>
              </a:ext>
            </a:extLst>
          </p:cNvPr>
          <p:cNvSpPr>
            <a:spLocks noGrp="1"/>
          </p:cNvSpPr>
          <p:nvPr>
            <p:ph type="body" sz="quarter" idx="16"/>
          </p:nvPr>
        </p:nvSpPr>
        <p:spPr>
          <a:xfrm>
            <a:off x="4772314" y="1481608"/>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1" name="Text Placeholder 6">
            <a:extLst>
              <a:ext uri="{FF2B5EF4-FFF2-40B4-BE49-F238E27FC236}">
                <a16:creationId xmlns:a16="http://schemas.microsoft.com/office/drawing/2014/main" id="{43DCF11B-18FB-C347-AEE7-4589C1D5322A}"/>
              </a:ext>
            </a:extLst>
          </p:cNvPr>
          <p:cNvSpPr>
            <a:spLocks noGrp="1"/>
          </p:cNvSpPr>
          <p:nvPr>
            <p:ph type="body" sz="quarter" idx="22"/>
          </p:nvPr>
        </p:nvSpPr>
        <p:spPr>
          <a:xfrm>
            <a:off x="712387" y="4927172"/>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5" name="Text Placeholder 6">
            <a:extLst>
              <a:ext uri="{FF2B5EF4-FFF2-40B4-BE49-F238E27FC236}">
                <a16:creationId xmlns:a16="http://schemas.microsoft.com/office/drawing/2014/main" id="{5A1EDE70-062C-4242-98E0-A4DD62699851}"/>
              </a:ext>
            </a:extLst>
          </p:cNvPr>
          <p:cNvSpPr>
            <a:spLocks noGrp="1"/>
          </p:cNvSpPr>
          <p:nvPr>
            <p:ph type="body" sz="quarter" idx="23"/>
          </p:nvPr>
        </p:nvSpPr>
        <p:spPr>
          <a:xfrm>
            <a:off x="8846237" y="4927172"/>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Tree>
    <p:extLst>
      <p:ext uri="{BB962C8B-B14F-4D97-AF65-F5344CB8AC3E}">
        <p14:creationId xmlns:p14="http://schemas.microsoft.com/office/powerpoint/2010/main" val="2514962349"/>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NTT_custom_layout_images_white">
    <p:spTree>
      <p:nvGrpSpPr>
        <p:cNvPr id="1" name=""/>
        <p:cNvGrpSpPr/>
        <p:nvPr/>
      </p:nvGrpSpPr>
      <p:grpSpPr>
        <a:xfrm>
          <a:off x="0" y="0"/>
          <a:ext cx="0" cy="0"/>
          <a:chOff x="0" y="0"/>
          <a:chExt cx="0" cy="0"/>
        </a:xfrm>
      </p:grpSpPr>
      <p:sp>
        <p:nvSpPr>
          <p:cNvPr id="3" name="Rounded Rectangle 2"/>
          <p:cNvSpPr/>
          <p:nvPr userDrawn="1"/>
        </p:nvSpPr>
        <p:spPr>
          <a:xfrm>
            <a:off x="4891617" y="398424"/>
            <a:ext cx="4357515"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5" name="Rounded Rectangle 4"/>
          <p:cNvSpPr/>
          <p:nvPr userDrawn="1"/>
        </p:nvSpPr>
        <p:spPr>
          <a:xfrm>
            <a:off x="427767" y="398424"/>
            <a:ext cx="4363668"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9" name="Rounded Rectangle 8"/>
          <p:cNvSpPr/>
          <p:nvPr userDrawn="1"/>
        </p:nvSpPr>
        <p:spPr>
          <a:xfrm>
            <a:off x="446624" y="4055044"/>
            <a:ext cx="3335953" cy="2204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5" name="Rounded Rectangle 14"/>
          <p:cNvSpPr/>
          <p:nvPr userDrawn="1"/>
        </p:nvSpPr>
        <p:spPr>
          <a:xfrm>
            <a:off x="9349320" y="5003017"/>
            <a:ext cx="2408765" cy="1256569"/>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0" name="Picture Placeholder 25"/>
          <p:cNvSpPr>
            <a:spLocks noGrp="1"/>
          </p:cNvSpPr>
          <p:nvPr>
            <p:ph type="pic" sz="quarter" idx="13" hasCustomPrompt="1"/>
          </p:nvPr>
        </p:nvSpPr>
        <p:spPr>
          <a:xfrm>
            <a:off x="427768" y="4055044"/>
            <a:ext cx="3354805" cy="2204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1" name="Rounded Rectangle 10"/>
          <p:cNvSpPr/>
          <p:nvPr userDrawn="1"/>
        </p:nvSpPr>
        <p:spPr>
          <a:xfrm>
            <a:off x="3881968" y="4055044"/>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3" name="Rounded Rectangle 12"/>
          <p:cNvSpPr/>
          <p:nvPr userDrawn="1"/>
        </p:nvSpPr>
        <p:spPr>
          <a:xfrm>
            <a:off x="9349320" y="2228436"/>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7" y="398424"/>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4" name="Picture Placeholder 25"/>
          <p:cNvSpPr>
            <a:spLocks noGrp="1"/>
          </p:cNvSpPr>
          <p:nvPr>
            <p:ph type="pic" sz="quarter" idx="11" hasCustomPrompt="1"/>
          </p:nvPr>
        </p:nvSpPr>
        <p:spPr>
          <a:xfrm>
            <a:off x="4891987" y="398424"/>
            <a:ext cx="435714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7" name="Rounded Rectangle 6"/>
          <p:cNvSpPr/>
          <p:nvPr userDrawn="1"/>
        </p:nvSpPr>
        <p:spPr>
          <a:xfrm>
            <a:off x="9349320" y="398430"/>
            <a:ext cx="2408765" cy="1744135"/>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6" name="Picture Placeholder 25"/>
          <p:cNvSpPr>
            <a:spLocks noGrp="1"/>
          </p:cNvSpPr>
          <p:nvPr>
            <p:ph type="pic" sz="quarter" idx="16" hasCustomPrompt="1"/>
          </p:nvPr>
        </p:nvSpPr>
        <p:spPr>
          <a:xfrm>
            <a:off x="9349319" y="5003017"/>
            <a:ext cx="2408764" cy="1256569"/>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2" name="Picture Placeholder 25"/>
          <p:cNvSpPr>
            <a:spLocks noGrp="1"/>
          </p:cNvSpPr>
          <p:nvPr>
            <p:ph type="pic" sz="quarter" idx="14" hasCustomPrompt="1"/>
          </p:nvPr>
        </p:nvSpPr>
        <p:spPr>
          <a:xfrm>
            <a:off x="3877781" y="4055044"/>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9" y="2218760"/>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8" name="Picture Placeholder 25"/>
          <p:cNvSpPr>
            <a:spLocks noGrp="1"/>
          </p:cNvSpPr>
          <p:nvPr>
            <p:ph type="pic" sz="quarter" idx="12" hasCustomPrompt="1"/>
          </p:nvPr>
        </p:nvSpPr>
        <p:spPr>
          <a:xfrm>
            <a:off x="9349319" y="398430"/>
            <a:ext cx="2408764" cy="1744135"/>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Tree>
    <p:extLst>
      <p:ext uri="{BB962C8B-B14F-4D97-AF65-F5344CB8AC3E}">
        <p14:creationId xmlns:p14="http://schemas.microsoft.com/office/powerpoint/2010/main" val="3288416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colour_image_mix.02">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4902048" y="508261"/>
            <a:ext cx="4347085" cy="3547536"/>
          </a:xfrm>
          <a:prstGeom prst="rect">
            <a:avLst/>
          </a:prstGeom>
          <a:solidFill>
            <a:schemeClr val="accent6">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solidFill>
                <a:schemeClr val="accent1"/>
              </a:solidFill>
            </a:endParaRPr>
          </a:p>
        </p:txBody>
      </p:sp>
      <p:sp>
        <p:nvSpPr>
          <p:cNvPr id="27" name="Rounded Rectangle 26"/>
          <p:cNvSpPr/>
          <p:nvPr userDrawn="1"/>
        </p:nvSpPr>
        <p:spPr>
          <a:xfrm>
            <a:off x="3881968" y="4164881"/>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28" name="Picture Placeholder 25"/>
          <p:cNvSpPr>
            <a:spLocks noGrp="1"/>
          </p:cNvSpPr>
          <p:nvPr>
            <p:ph type="pic" sz="quarter" idx="22" hasCustomPrompt="1"/>
          </p:nvPr>
        </p:nvSpPr>
        <p:spPr>
          <a:xfrm>
            <a:off x="3877781" y="4164881"/>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accent1"/>
                </a:solidFill>
                <a:latin typeface="Arial"/>
                <a:ea typeface="+mn-ea"/>
                <a:cs typeface="+mn-cs"/>
              </a:defRPr>
            </a:lvl1pPr>
          </a:lstStyle>
          <a:p>
            <a:r>
              <a:rPr lang="en-US"/>
              <a:t>Insert photo here</a:t>
            </a:r>
          </a:p>
        </p:txBody>
      </p:sp>
      <p:sp>
        <p:nvSpPr>
          <p:cNvPr id="13" name="Rounded Rectangle 12"/>
          <p:cNvSpPr/>
          <p:nvPr userDrawn="1"/>
        </p:nvSpPr>
        <p:spPr>
          <a:xfrm>
            <a:off x="9349320" y="2338276"/>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7" y="508261"/>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9" y="2328596"/>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05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9" name="Text Placeholder 4"/>
          <p:cNvSpPr>
            <a:spLocks noGrp="1"/>
          </p:cNvSpPr>
          <p:nvPr>
            <p:ph type="body" sz="quarter" idx="17"/>
          </p:nvPr>
        </p:nvSpPr>
        <p:spPr>
          <a:xfrm>
            <a:off x="4902048" y="508269"/>
            <a:ext cx="4347085" cy="3547535"/>
          </a:xfrm>
          <a:prstGeom prst="roundRect">
            <a:avLst>
              <a:gd name="adj" fmla="val 0"/>
            </a:avLst>
          </a:prstGeom>
          <a:noFill/>
          <a:ln>
            <a:noFill/>
          </a:ln>
          <a:effectLst/>
        </p:spPr>
        <p:txBody>
          <a:bodyPr anchor="ctr"/>
          <a:lstStyle>
            <a:lvl1pPr marL="239155" indent="0" algn="l">
              <a:tabLst>
                <a:tab pos="116404" algn="l"/>
              </a:tabLst>
              <a:defRPr sz="3200">
                <a:solidFill>
                  <a:schemeClr val="tx1"/>
                </a:solidFill>
                <a:effectLst/>
                <a:latin typeface="Arial"/>
                <a:cs typeface="Arial"/>
              </a:defRPr>
            </a:lvl1pPr>
            <a:lvl2pPr marL="478307" indent="-239155" algn="l">
              <a:defRPr>
                <a:solidFill>
                  <a:schemeClr val="tx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1" name="Text Placeholder 4"/>
          <p:cNvSpPr>
            <a:spLocks noGrp="1"/>
          </p:cNvSpPr>
          <p:nvPr>
            <p:ph type="body" sz="quarter" idx="14"/>
          </p:nvPr>
        </p:nvSpPr>
        <p:spPr>
          <a:xfrm>
            <a:off x="9336401" y="508265"/>
            <a:ext cx="2421683" cy="1700963"/>
          </a:xfrm>
          <a:prstGeom prst="roundRect">
            <a:avLst>
              <a:gd name="adj" fmla="val 0"/>
            </a:avLst>
          </a:prstGeom>
          <a:solidFill>
            <a:schemeClr val="accent2"/>
          </a:solidFill>
          <a:ln>
            <a:noFill/>
          </a:ln>
          <a:effectLst/>
        </p:spPr>
        <p:txBody>
          <a:bodyPr anchor="ctr"/>
          <a:lstStyle>
            <a:lvl1pPr algn="ctr">
              <a:defRPr sz="2133">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2" name="Text Placeholder 4"/>
          <p:cNvSpPr>
            <a:spLocks noGrp="1"/>
          </p:cNvSpPr>
          <p:nvPr>
            <p:ph type="body" sz="quarter" idx="19"/>
          </p:nvPr>
        </p:nvSpPr>
        <p:spPr>
          <a:xfrm>
            <a:off x="9349320" y="5118695"/>
            <a:ext cx="2408765" cy="1269180"/>
          </a:xfrm>
          <a:prstGeom prst="roundRect">
            <a:avLst>
              <a:gd name="adj" fmla="val 0"/>
            </a:avLst>
          </a:prstGeom>
          <a:solidFill>
            <a:schemeClr val="accent2">
              <a:lumMod val="20000"/>
              <a:lumOff val="80000"/>
            </a:schemeClr>
          </a:solid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4" name="Text Placeholder 4"/>
          <p:cNvSpPr>
            <a:spLocks noGrp="1"/>
          </p:cNvSpPr>
          <p:nvPr>
            <p:ph type="body" sz="quarter" idx="13"/>
          </p:nvPr>
        </p:nvSpPr>
        <p:spPr>
          <a:xfrm>
            <a:off x="427765" y="4162500"/>
            <a:ext cx="3363979" cy="2225377"/>
          </a:xfrm>
          <a:prstGeom prst="roundRect">
            <a:avLst>
              <a:gd name="adj" fmla="val 0"/>
            </a:avLst>
          </a:prstGeom>
          <a:solidFill>
            <a:schemeClr val="accent2"/>
          </a:solidFill>
          <a:ln>
            <a:noFill/>
          </a:ln>
          <a:effectLst/>
        </p:spPr>
        <p:txBody>
          <a:bodyPr anchor="ctr"/>
          <a:lstStyle>
            <a:lvl1pPr algn="l">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20"/>
          </p:nvPr>
        </p:nvSpPr>
        <p:spPr>
          <a:xfrm>
            <a:off x="3877781" y="5069469"/>
            <a:ext cx="5371355"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21"/>
          </p:nvPr>
        </p:nvSpPr>
        <p:spPr>
          <a:xfrm>
            <a:off x="9336406" y="3702740"/>
            <a:ext cx="2421681"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9" name="Text Placeholder 4"/>
          <p:cNvSpPr>
            <a:spLocks noGrp="1"/>
          </p:cNvSpPr>
          <p:nvPr>
            <p:ph type="body" sz="quarter" idx="23"/>
          </p:nvPr>
        </p:nvSpPr>
        <p:spPr>
          <a:xfrm>
            <a:off x="427767" y="2753372"/>
            <a:ext cx="4363668"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6986845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cSld name="DD_divider_page">
    <p:spTree>
      <p:nvGrpSpPr>
        <p:cNvPr id="1" name=""/>
        <p:cNvGrpSpPr/>
        <p:nvPr/>
      </p:nvGrpSpPr>
      <p:grpSpPr>
        <a:xfrm>
          <a:off x="0" y="0"/>
          <a:ext cx="0" cy="0"/>
          <a:chOff x="0" y="0"/>
          <a:chExt cx="0" cy="0"/>
        </a:xfrm>
      </p:grpSpPr>
      <p:sp>
        <p:nvSpPr>
          <p:cNvPr id="10" name="Picture Placeholder 3"/>
          <p:cNvSpPr>
            <a:spLocks noGrp="1"/>
          </p:cNvSpPr>
          <p:nvPr>
            <p:ph type="pic" sz="quarter" idx="14"/>
          </p:nvPr>
        </p:nvSpPr>
        <p:spPr>
          <a:xfrm>
            <a:off x="0" y="4923"/>
            <a:ext cx="12192000" cy="6853076"/>
          </a:xfrm>
          <a:prstGeom prst="rect">
            <a:avLst/>
          </a:prstGeom>
        </p:spPr>
        <p:txBody>
          <a:bodyPr/>
          <a:lstStyle>
            <a:lvl1pPr>
              <a:defRPr>
                <a:latin typeface="Arial"/>
              </a:defRPr>
            </a:lvl1pPr>
          </a:lstStyle>
          <a:p>
            <a:r>
              <a:rPr lang="en-US"/>
              <a:t>Click icon to add picture</a:t>
            </a:r>
          </a:p>
        </p:txBody>
      </p:sp>
      <p:sp>
        <p:nvSpPr>
          <p:cNvPr id="8" name="Text Placeholder 53"/>
          <p:cNvSpPr>
            <a:spLocks noGrp="1"/>
          </p:cNvSpPr>
          <p:nvPr>
            <p:ph type="body" sz="quarter" idx="10" hasCustomPrompt="1"/>
          </p:nvPr>
        </p:nvSpPr>
        <p:spPr>
          <a:xfrm>
            <a:off x="1302882" y="3645661"/>
            <a:ext cx="10216025" cy="512233"/>
          </a:xfrm>
          <a:prstGeom prst="rect">
            <a:avLst/>
          </a:prstGeom>
        </p:spPr>
        <p:txBody>
          <a:bodyPr vert="horz"/>
          <a:lstStyle>
            <a:lvl1pPr>
              <a:defRPr sz="2400" i="1">
                <a:solidFill>
                  <a:srgbClr val="455565"/>
                </a:solidFill>
                <a:latin typeface="Georgia"/>
                <a:cs typeface="Georgia"/>
              </a:defRPr>
            </a:lvl1pPr>
          </a:lstStyle>
          <a:p>
            <a:pPr lvl="0"/>
            <a:r>
              <a:rPr lang="en-US"/>
              <a:t>Sub-heading</a:t>
            </a:r>
          </a:p>
        </p:txBody>
      </p:sp>
      <p:sp>
        <p:nvSpPr>
          <p:cNvPr id="6" name="Text Placeholder 60"/>
          <p:cNvSpPr>
            <a:spLocks noGrp="1"/>
          </p:cNvSpPr>
          <p:nvPr>
            <p:ph type="body" sz="quarter" idx="11" hasCustomPrompt="1"/>
          </p:nvPr>
        </p:nvSpPr>
        <p:spPr>
          <a:xfrm>
            <a:off x="1302882" y="4379923"/>
            <a:ext cx="10216025" cy="1732596"/>
          </a:xfrm>
          <a:prstGeom prst="rect">
            <a:avLst/>
          </a:prstGeom>
        </p:spPr>
        <p:txBody>
          <a:bodyPr vert="horz"/>
          <a:lstStyle>
            <a:lvl1pPr>
              <a:lnSpc>
                <a:spcPct val="80000"/>
              </a:lnSpc>
              <a:defRPr sz="5333" b="1" baseline="0">
                <a:solidFill>
                  <a:srgbClr val="455565"/>
                </a:solidFill>
                <a:latin typeface="Arial"/>
                <a:cs typeface="Arial"/>
              </a:defRPr>
            </a:lvl1pPr>
          </a:lstStyle>
          <a:p>
            <a:pPr lvl="0"/>
            <a:r>
              <a:rPr lang="en-US"/>
              <a:t>Heading of presentation</a:t>
            </a:r>
          </a:p>
        </p:txBody>
      </p:sp>
    </p:spTree>
    <p:extLst>
      <p:ext uri="{BB962C8B-B14F-4D97-AF65-F5344CB8AC3E}">
        <p14:creationId xmlns:p14="http://schemas.microsoft.com/office/powerpoint/2010/main" val="127274562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597E8-0BE5-4529-AF88-CB2F580888B6}"/>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F6410FB7-3C65-4EDF-9FC0-B57C0643C7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4ADAFC44-BB24-4C04-B0E5-D57CF10316E8}"/>
              </a:ext>
            </a:extLst>
          </p:cNvPr>
          <p:cNvSpPr>
            <a:spLocks noGrp="1"/>
          </p:cNvSpPr>
          <p:nvPr>
            <p:ph type="dt" sz="half" idx="10"/>
          </p:nvPr>
        </p:nvSpPr>
        <p:spPr/>
        <p:txBody>
          <a:bodyPr/>
          <a:lstStyle/>
          <a:p>
            <a:fld id="{18F7392A-80EB-4FA5-A1C9-71F7F7A26AF7}" type="datetimeFigureOut">
              <a:rPr lang="en-NL" smtClean="0"/>
              <a:t>06/20/2023</a:t>
            </a:fld>
            <a:endParaRPr lang="en-NL"/>
          </a:p>
        </p:txBody>
      </p:sp>
      <p:sp>
        <p:nvSpPr>
          <p:cNvPr id="5" name="Footer Placeholder 4">
            <a:extLst>
              <a:ext uri="{FF2B5EF4-FFF2-40B4-BE49-F238E27FC236}">
                <a16:creationId xmlns:a16="http://schemas.microsoft.com/office/drawing/2014/main" id="{FC300032-040F-4F31-A809-36977713501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4B43CF04-2F52-499F-A50E-6BCB72C79791}"/>
              </a:ext>
            </a:extLst>
          </p:cNvPr>
          <p:cNvSpPr>
            <a:spLocks noGrp="1"/>
          </p:cNvSpPr>
          <p:nvPr>
            <p:ph type="sldNum" sz="quarter" idx="12"/>
          </p:nvPr>
        </p:nvSpPr>
        <p:spPr/>
        <p:txBody>
          <a:bodyPr/>
          <a:lstStyle/>
          <a:p>
            <a:fld id="{0784147C-9AD1-43A2-9B30-C667A3F31083}" type="slidenum">
              <a:rPr lang="en-NL" smtClean="0"/>
              <a:t>‹N°›</a:t>
            </a:fld>
            <a:endParaRPr lang="en-NL"/>
          </a:p>
        </p:txBody>
      </p:sp>
    </p:spTree>
    <p:extLst>
      <p:ext uri="{BB962C8B-B14F-4D97-AF65-F5344CB8AC3E}">
        <p14:creationId xmlns:p14="http://schemas.microsoft.com/office/powerpoint/2010/main" val="429460874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1_NTT_title_and_content_page_dark">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718487662"/>
      </p:ext>
    </p:extLst>
  </p:cSld>
  <p:clrMapOvr>
    <a:overrideClrMapping bg1="dk1" tx1="lt1" bg2="dk2" tx2="lt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cSld name="1_NTT_title_and_content_page_white">
    <p:bg bwMode="ltGray">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41"/>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701" y="1529032"/>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9" name="Picture 8">
            <a:extLst>
              <a:ext uri="{FF2B5EF4-FFF2-40B4-BE49-F238E27FC236}">
                <a16:creationId xmlns:a16="http://schemas.microsoft.com/office/drawing/2014/main" id="{EC44C116-FF61-DB4A-943D-398F239A61E4}"/>
              </a:ext>
            </a:extLst>
          </p:cNvPr>
          <p:cNvPicPr>
            <a:picLocks noChangeAspect="1"/>
          </p:cNvPicPr>
          <p:nvPr userDrawn="1"/>
        </p:nvPicPr>
        <p:blipFill>
          <a:blip r:embed="rId2"/>
          <a:stretch>
            <a:fillRect/>
          </a:stretch>
        </p:blipFill>
        <p:spPr>
          <a:xfrm>
            <a:off x="10471353" y="339012"/>
            <a:ext cx="1313600" cy="476912"/>
          </a:xfrm>
          <a:prstGeom prst="rect">
            <a:avLst/>
          </a:prstGeom>
        </p:spPr>
      </p:pic>
    </p:spTree>
    <p:extLst>
      <p:ext uri="{BB962C8B-B14F-4D97-AF65-F5344CB8AC3E}">
        <p14:creationId xmlns:p14="http://schemas.microsoft.com/office/powerpoint/2010/main" val="149658412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_NTT_chart_layout_dark">
    <p:bg>
      <p:bgPr>
        <a:solidFill>
          <a:srgbClr val="0072BC"/>
        </a:solidFill>
        <a:effectLst/>
      </p:bgPr>
    </p:bg>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38FA4721-5BFE-4BC2-AD6B-22A4C0788750}"/>
              </a:ext>
            </a:extLst>
          </p:cNvPr>
          <p:cNvSpPr txBox="1">
            <a:spLocks noGrp="1"/>
          </p:cNvSpPr>
          <p:nvPr>
            <p:ph type="body" sz="quarter" idx="4294967295"/>
          </p:nvPr>
        </p:nvSpPr>
        <p:spPr>
          <a:xfrm>
            <a:off x="395816" y="1211425"/>
            <a:ext cx="11377101" cy="381003"/>
          </a:xfrm>
          <a:prstGeom prst="rect">
            <a:avLst/>
          </a:prstGeom>
          <a:noFill/>
          <a:ln>
            <a:noFill/>
          </a:ln>
        </p:spPr>
        <p:txBody>
          <a:bodyPr vert="horz" wrap="square" lIns="91440" tIns="45720" rIns="91440" bIns="45720" anchor="t" anchorCtr="1" compatLnSpc="1">
            <a:noAutofit/>
          </a:bodyPr>
          <a:lstStyle>
            <a:lvl1pPr marL="0" marR="0" lvl="0" indent="0" algn="ctr" defTabSz="1219139" fontAlgn="auto">
              <a:lnSpc>
                <a:spcPct val="114000"/>
              </a:lnSpc>
              <a:spcBef>
                <a:spcPts val="800"/>
              </a:spcBef>
              <a:spcAft>
                <a:spcPts val="135"/>
              </a:spcAft>
              <a:buNone/>
              <a:tabLst/>
              <a:defRPr lang="fr-FR" sz="1867" b="0" i="0" u="none" strike="noStrike" cap="none" spc="0" baseline="0">
                <a:solidFill>
                  <a:srgbClr val="FFFFFF"/>
                </a:solidFill>
                <a:uFillTx/>
                <a:latin typeface="Arial" pitchFamily="34"/>
                <a:ea typeface="ＭＳ Ｐゴシック" pitchFamily="34"/>
                <a:cs typeface="Arial" pitchFamily="34"/>
              </a:defRPr>
            </a:lvl1pPr>
          </a:lstStyle>
          <a:p>
            <a:pPr lvl="0"/>
            <a:r>
              <a:rPr lang="fr-FR"/>
              <a:t>Cliquez pour modifier les styles du texte du masque</a:t>
            </a:r>
          </a:p>
        </p:txBody>
      </p:sp>
      <p:sp>
        <p:nvSpPr>
          <p:cNvPr id="3" name="Chart Placeholder 5">
            <a:extLst>
              <a:ext uri="{FF2B5EF4-FFF2-40B4-BE49-F238E27FC236}">
                <a16:creationId xmlns:a16="http://schemas.microsoft.com/office/drawing/2014/main" id="{C9EC8BC5-A128-49B9-A3C8-8EAC81B5CCD7}"/>
              </a:ext>
            </a:extLst>
          </p:cNvPr>
          <p:cNvSpPr txBox="1">
            <a:spLocks noGrp="1"/>
          </p:cNvSpPr>
          <p:nvPr>
            <p:ph type="chart" sz="quarter" idx="4294967295"/>
          </p:nvPr>
        </p:nvSpPr>
        <p:spPr>
          <a:xfrm>
            <a:off x="396695" y="1683602"/>
            <a:ext cx="11376205" cy="4108775"/>
          </a:xfrm>
          <a:prstGeom prst="rect">
            <a:avLst/>
          </a:prstGeom>
          <a:noFill/>
          <a:ln>
            <a:noFill/>
          </a:ln>
        </p:spPr>
        <p:txBody>
          <a:bodyPr vert="horz" wrap="square" lIns="35999" tIns="35999" rIns="35999" bIns="35999" anchor="ctr" anchorCtr="1" compatLnSpc="1">
            <a:noAutofit/>
          </a:bodyPr>
          <a:lstStyle>
            <a:lvl1pPr marL="0" marR="0" lvl="0" indent="0" algn="ctr" defTabSz="1219139" fontAlgn="auto">
              <a:lnSpc>
                <a:spcPct val="110000"/>
              </a:lnSpc>
              <a:spcBef>
                <a:spcPts val="265"/>
              </a:spcBef>
              <a:spcAft>
                <a:spcPts val="265"/>
              </a:spcAft>
              <a:buNone/>
              <a:tabLst/>
              <a:defRPr lang="fr-FR" sz="2133" b="0" i="0" u="none" strike="noStrike" cap="none" spc="0" baseline="0">
                <a:solidFill>
                  <a:srgbClr val="FFFFFF"/>
                </a:solidFill>
                <a:uFillTx/>
                <a:latin typeface="Arial" pitchFamily="34"/>
                <a:ea typeface="ＭＳ Ｐゴシック" pitchFamily="34"/>
                <a:cs typeface="Arial" pitchFamily="34"/>
              </a:defRPr>
            </a:lvl1pPr>
          </a:lstStyle>
          <a:p>
            <a:pPr lvl="0"/>
            <a:r>
              <a:rPr lang="fr-FR"/>
              <a:t>Cliquez sur l'icône pour ajouter un graphique</a:t>
            </a:r>
            <a:endParaRPr lang="en-ZA"/>
          </a:p>
        </p:txBody>
      </p:sp>
      <p:sp>
        <p:nvSpPr>
          <p:cNvPr id="4" name="Title 1">
            <a:extLst>
              <a:ext uri="{FF2B5EF4-FFF2-40B4-BE49-F238E27FC236}">
                <a16:creationId xmlns:a16="http://schemas.microsoft.com/office/drawing/2014/main" id="{904047AE-E1D8-4DBD-ABAA-A746E4252F6E}"/>
              </a:ext>
            </a:extLst>
          </p:cNvPr>
          <p:cNvSpPr txBox="1">
            <a:spLocks noGrp="1"/>
          </p:cNvSpPr>
          <p:nvPr>
            <p:ph type="title"/>
          </p:nvPr>
        </p:nvSpPr>
        <p:spPr>
          <a:xfrm>
            <a:off x="396695" y="169337"/>
            <a:ext cx="9941320" cy="793755"/>
          </a:xfrm>
          <a:prstGeom prst="rect">
            <a:avLst/>
          </a:prstGeom>
          <a:noFill/>
          <a:ln>
            <a:noFill/>
          </a:ln>
        </p:spPr>
        <p:txBody>
          <a:bodyPr vert="horz" wrap="square" lIns="91440" tIns="45720" rIns="91440" bIns="45720" anchor="ctr" anchorCtr="0" compatLnSpc="1">
            <a:noAutofit/>
          </a:bodyPr>
          <a:lstStyle>
            <a:lvl1pPr marL="0" marR="0" lvl="0" indent="0" defTabSz="1219139" fontAlgn="auto">
              <a:lnSpc>
                <a:spcPct val="120000"/>
              </a:lnSpc>
              <a:spcBef>
                <a:spcPts val="265"/>
              </a:spcBef>
              <a:spcAft>
                <a:spcPts val="265"/>
              </a:spcAft>
              <a:tabLst/>
              <a:defRPr lang="fr-FR" sz="2667" b="1" i="0" u="none" strike="noStrike" cap="none" spc="0" baseline="0">
                <a:solidFill>
                  <a:srgbClr val="FFFFFF"/>
                </a:solidFill>
                <a:uFillTx/>
                <a:latin typeface="Arial" pitchFamily="34"/>
                <a:ea typeface="ＭＳ Ｐゴシック" pitchFamily="34"/>
                <a:cs typeface="Arial" pitchFamily="34"/>
              </a:defRPr>
            </a:lvl1pPr>
          </a:lstStyle>
          <a:p>
            <a:pPr lvl="0"/>
            <a:r>
              <a:rPr lang="fr-FR"/>
              <a:t>Modifiez le style du titre</a:t>
            </a:r>
            <a:endParaRPr lang="en-ZA"/>
          </a:p>
        </p:txBody>
      </p:sp>
      <p:grpSp>
        <p:nvGrpSpPr>
          <p:cNvPr id="5" name="Group 8">
            <a:extLst>
              <a:ext uri="{FF2B5EF4-FFF2-40B4-BE49-F238E27FC236}">
                <a16:creationId xmlns:a16="http://schemas.microsoft.com/office/drawing/2014/main" id="{B49C395D-23E6-411F-B92F-A802C4D0B31D}"/>
              </a:ext>
            </a:extLst>
          </p:cNvPr>
          <p:cNvGrpSpPr/>
          <p:nvPr/>
        </p:nvGrpSpPr>
        <p:grpSpPr>
          <a:xfrm>
            <a:off x="10458440" y="332678"/>
            <a:ext cx="1308296" cy="484943"/>
            <a:chOff x="10458440" y="332677"/>
            <a:chExt cx="1308296" cy="484942"/>
          </a:xfrm>
        </p:grpSpPr>
        <p:sp>
          <p:nvSpPr>
            <p:cNvPr id="6" name="Freeform 5">
              <a:extLst>
                <a:ext uri="{FF2B5EF4-FFF2-40B4-BE49-F238E27FC236}">
                  <a16:creationId xmlns:a16="http://schemas.microsoft.com/office/drawing/2014/main" id="{2BBCDA9D-27A8-4A51-980B-7499B996229D}"/>
                </a:ext>
              </a:extLst>
            </p:cNvPr>
            <p:cNvSpPr/>
            <p:nvPr/>
          </p:nvSpPr>
          <p:spPr>
            <a:xfrm>
              <a:off x="10458440" y="332677"/>
              <a:ext cx="511999" cy="484942"/>
            </a:xfrm>
            <a:custGeom>
              <a:avLst/>
              <a:gdLst>
                <a:gd name="f0" fmla="val 10800000"/>
                <a:gd name="f1" fmla="val 5400000"/>
                <a:gd name="f2" fmla="val 180"/>
                <a:gd name="f3" fmla="val w"/>
                <a:gd name="f4" fmla="val h"/>
                <a:gd name="f5" fmla="val 0"/>
                <a:gd name="f6" fmla="val 2428"/>
                <a:gd name="f7" fmla="val 2296"/>
                <a:gd name="f8" fmla="val 1508"/>
                <a:gd name="f9" fmla="val 1398"/>
                <a:gd name="f10" fmla="val 1290"/>
                <a:gd name="f11" fmla="val 23"/>
                <a:gd name="f12" fmla="val 1214"/>
                <a:gd name="f13" fmla="val 55"/>
                <a:gd name="f14" fmla="val 1138"/>
                <a:gd name="f15" fmla="val 1030"/>
                <a:gd name="f16" fmla="val 920"/>
                <a:gd name="f17" fmla="val 437"/>
                <a:gd name="f18" fmla="val 457"/>
                <a:gd name="f19" fmla="val 1084"/>
                <a:gd name="f20" fmla="val 1768"/>
                <a:gd name="f21" fmla="val 559"/>
                <a:gd name="f22" fmla="val 1869"/>
                <a:gd name="f23" fmla="val 1991"/>
                <a:gd name="f24" fmla="val 372"/>
                <a:gd name="f25" fmla="val 1307"/>
                <a:gd name="f26" fmla="val 427"/>
                <a:gd name="f27" fmla="val 1430"/>
                <a:gd name="f28" fmla="val 588"/>
                <a:gd name="f29" fmla="val 769"/>
                <a:gd name="f30" fmla="val 902"/>
                <a:gd name="f31" fmla="val 1343"/>
                <a:gd name="f32" fmla="val 1006"/>
                <a:gd name="f33" fmla="val 1086"/>
                <a:gd name="f34" fmla="val 998"/>
                <a:gd name="f35" fmla="val 1121"/>
                <a:gd name="f36" fmla="val 1998"/>
                <a:gd name="f37" fmla="val 713"/>
                <a:gd name="f38" fmla="val 299"/>
                <a:gd name="f39" fmla="val 1595"/>
                <a:gd name="f40" fmla="val 1078"/>
                <a:gd name="f41" fmla="val 606"/>
                <a:gd name="f42" fmla="val 639"/>
                <a:gd name="f43" fmla="val 284"/>
                <a:gd name="f44" fmla="val 907"/>
                <a:gd name="f45" fmla="val 296"/>
                <a:gd name="f46" fmla="val 780"/>
                <a:gd name="f47" fmla="val 422"/>
                <a:gd name="f48" fmla="val 703"/>
                <a:gd name="f49" fmla="val 784"/>
                <a:gd name="f50" fmla="val 1090"/>
                <a:gd name="f51" fmla="val 946"/>
                <a:gd name="f52" fmla="val 1305"/>
                <a:gd name="f53" fmla="val 1482"/>
                <a:gd name="f54" fmla="val 1725"/>
                <a:gd name="f55" fmla="val 1648"/>
                <a:gd name="f56" fmla="val 1521"/>
                <a:gd name="f57" fmla="val 1789"/>
                <a:gd name="f58" fmla="val 2129"/>
                <a:gd name="f59" fmla="val 1715"/>
                <a:gd name="f60" fmla="+- 0 0 -90"/>
                <a:gd name="f61" fmla="*/ f3 1 2428"/>
                <a:gd name="f62" fmla="*/ f4 1 2296"/>
                <a:gd name="f63" fmla="val f5"/>
                <a:gd name="f64" fmla="val f6"/>
                <a:gd name="f65" fmla="val f7"/>
                <a:gd name="f66" fmla="*/ f60 f0 1"/>
                <a:gd name="f67" fmla="+- f65 0 f63"/>
                <a:gd name="f68" fmla="+- f64 0 f63"/>
                <a:gd name="f69" fmla="*/ f66 1 f2"/>
                <a:gd name="f70" fmla="*/ f68 1 2428"/>
                <a:gd name="f71" fmla="*/ f67 1 2296"/>
                <a:gd name="f72" fmla="*/ 1508 f68 1"/>
                <a:gd name="f73" fmla="*/ 0 f67 1"/>
                <a:gd name="f74" fmla="*/ 1214 f68 1"/>
                <a:gd name="f75" fmla="*/ 55 f67 1"/>
                <a:gd name="f76" fmla="*/ 920 f68 1"/>
                <a:gd name="f77" fmla="*/ 0 f68 1"/>
                <a:gd name="f78" fmla="*/ 1084 f67 1"/>
                <a:gd name="f79" fmla="*/ 2296 f67 1"/>
                <a:gd name="f80" fmla="*/ 2428 f68 1"/>
                <a:gd name="f81" fmla="*/ 372 f67 1"/>
                <a:gd name="f82" fmla="*/ 1430 f68 1"/>
                <a:gd name="f83" fmla="*/ 769 f67 1"/>
                <a:gd name="f84" fmla="*/ 1006 f67 1"/>
                <a:gd name="f85" fmla="*/ 998 f68 1"/>
                <a:gd name="f86" fmla="*/ 1998 f67 1"/>
                <a:gd name="f87" fmla="*/ 299 f68 1"/>
                <a:gd name="f88" fmla="*/ 1078 f67 1"/>
                <a:gd name="f89" fmla="*/ 907 f68 1"/>
                <a:gd name="f90" fmla="*/ 296 f67 1"/>
                <a:gd name="f91" fmla="*/ 703 f68 1"/>
                <a:gd name="f92" fmla="*/ 784 f67 1"/>
                <a:gd name="f93" fmla="*/ 1305 f67 1"/>
                <a:gd name="f94" fmla="*/ 1725 f68 1"/>
                <a:gd name="f95" fmla="*/ 1521 f68 1"/>
                <a:gd name="f96" fmla="*/ 2129 f68 1"/>
                <a:gd name="f97" fmla="+- f69 0 f1"/>
                <a:gd name="f98" fmla="*/ f72 1 2428"/>
                <a:gd name="f99" fmla="*/ f73 1 2296"/>
                <a:gd name="f100" fmla="*/ f74 1 2428"/>
                <a:gd name="f101" fmla="*/ f75 1 2296"/>
                <a:gd name="f102" fmla="*/ f76 1 2428"/>
                <a:gd name="f103" fmla="*/ f77 1 2428"/>
                <a:gd name="f104" fmla="*/ f78 1 2296"/>
                <a:gd name="f105" fmla="*/ f79 1 2296"/>
                <a:gd name="f106" fmla="*/ f80 1 2428"/>
                <a:gd name="f107" fmla="*/ f81 1 2296"/>
                <a:gd name="f108" fmla="*/ f82 1 2428"/>
                <a:gd name="f109" fmla="*/ f83 1 2296"/>
                <a:gd name="f110" fmla="*/ f84 1 2296"/>
                <a:gd name="f111" fmla="*/ f85 1 2428"/>
                <a:gd name="f112" fmla="*/ f86 1 2296"/>
                <a:gd name="f113" fmla="*/ f87 1 2428"/>
                <a:gd name="f114" fmla="*/ f88 1 2296"/>
                <a:gd name="f115" fmla="*/ f89 1 2428"/>
                <a:gd name="f116" fmla="*/ f90 1 2296"/>
                <a:gd name="f117" fmla="*/ f91 1 2428"/>
                <a:gd name="f118" fmla="*/ f92 1 2296"/>
                <a:gd name="f119" fmla="*/ f93 1 2296"/>
                <a:gd name="f120" fmla="*/ f94 1 2428"/>
                <a:gd name="f121" fmla="*/ f95 1 2428"/>
                <a:gd name="f122" fmla="*/ f96 1 2428"/>
                <a:gd name="f123" fmla="*/ 0 1 f70"/>
                <a:gd name="f124" fmla="*/ f64 1 f70"/>
                <a:gd name="f125" fmla="*/ 0 1 f71"/>
                <a:gd name="f126" fmla="*/ f65 1 f71"/>
                <a:gd name="f127" fmla="*/ f98 1 f70"/>
                <a:gd name="f128" fmla="*/ f99 1 f71"/>
                <a:gd name="f129" fmla="*/ f100 1 f70"/>
                <a:gd name="f130" fmla="*/ f101 1 f71"/>
                <a:gd name="f131" fmla="*/ f102 1 f70"/>
                <a:gd name="f132" fmla="*/ f103 1 f70"/>
                <a:gd name="f133" fmla="*/ f104 1 f71"/>
                <a:gd name="f134" fmla="*/ f105 1 f71"/>
                <a:gd name="f135" fmla="*/ f106 1 f70"/>
                <a:gd name="f136" fmla="*/ f107 1 f71"/>
                <a:gd name="f137" fmla="*/ f108 1 f70"/>
                <a:gd name="f138" fmla="*/ f109 1 f71"/>
                <a:gd name="f139" fmla="*/ f110 1 f71"/>
                <a:gd name="f140" fmla="*/ f111 1 f70"/>
                <a:gd name="f141" fmla="*/ f112 1 f71"/>
                <a:gd name="f142" fmla="*/ f113 1 f70"/>
                <a:gd name="f143" fmla="*/ f114 1 f71"/>
                <a:gd name="f144" fmla="*/ f115 1 f70"/>
                <a:gd name="f145" fmla="*/ f116 1 f71"/>
                <a:gd name="f146" fmla="*/ f117 1 f70"/>
                <a:gd name="f147" fmla="*/ f118 1 f71"/>
                <a:gd name="f148" fmla="*/ f119 1 f71"/>
                <a:gd name="f149" fmla="*/ f120 1 f70"/>
                <a:gd name="f150" fmla="*/ f121 1 f70"/>
                <a:gd name="f151" fmla="*/ f122 1 f70"/>
                <a:gd name="f152" fmla="*/ f123 f61 1"/>
                <a:gd name="f153" fmla="*/ f124 f61 1"/>
                <a:gd name="f154" fmla="*/ f126 f62 1"/>
                <a:gd name="f155" fmla="*/ f125 f62 1"/>
                <a:gd name="f156" fmla="*/ f127 f61 1"/>
                <a:gd name="f157" fmla="*/ f128 f62 1"/>
                <a:gd name="f158" fmla="*/ f129 f61 1"/>
                <a:gd name="f159" fmla="*/ f130 f62 1"/>
                <a:gd name="f160" fmla="*/ f131 f61 1"/>
                <a:gd name="f161" fmla="*/ f132 f61 1"/>
                <a:gd name="f162" fmla="*/ f133 f62 1"/>
                <a:gd name="f163" fmla="*/ f134 f62 1"/>
                <a:gd name="f164" fmla="*/ f135 f61 1"/>
                <a:gd name="f165" fmla="*/ f136 f62 1"/>
                <a:gd name="f166" fmla="*/ f137 f61 1"/>
                <a:gd name="f167" fmla="*/ f138 f62 1"/>
                <a:gd name="f168" fmla="*/ f139 f62 1"/>
                <a:gd name="f169" fmla="*/ f140 f61 1"/>
                <a:gd name="f170" fmla="*/ f141 f62 1"/>
                <a:gd name="f171" fmla="*/ f142 f61 1"/>
                <a:gd name="f172" fmla="*/ f143 f62 1"/>
                <a:gd name="f173" fmla="*/ f144 f61 1"/>
                <a:gd name="f174" fmla="*/ f145 f62 1"/>
                <a:gd name="f175" fmla="*/ f146 f61 1"/>
                <a:gd name="f176" fmla="*/ f147 f62 1"/>
                <a:gd name="f177" fmla="*/ f148 f62 1"/>
                <a:gd name="f178" fmla="*/ f149 f61 1"/>
                <a:gd name="f179" fmla="*/ f150 f61 1"/>
                <a:gd name="f180" fmla="*/ f151 f61 1"/>
              </a:gdLst>
              <a:ahLst/>
              <a:cxnLst>
                <a:cxn ang="3cd4">
                  <a:pos x="hc" y="t"/>
                </a:cxn>
                <a:cxn ang="0">
                  <a:pos x="r" y="vc"/>
                </a:cxn>
                <a:cxn ang="cd4">
                  <a:pos x="hc" y="b"/>
                </a:cxn>
                <a:cxn ang="cd2">
                  <a:pos x="l" y="vc"/>
                </a:cxn>
                <a:cxn ang="f97">
                  <a:pos x="f156" y="f157"/>
                </a:cxn>
                <a:cxn ang="f97">
                  <a:pos x="f158" y="f159"/>
                </a:cxn>
                <a:cxn ang="f97">
                  <a:pos x="f160" y="f157"/>
                </a:cxn>
                <a:cxn ang="f97">
                  <a:pos x="f161" y="f162"/>
                </a:cxn>
                <a:cxn ang="f97">
                  <a:pos x="f158" y="f163"/>
                </a:cxn>
                <a:cxn ang="f97">
                  <a:pos x="f164" y="f162"/>
                </a:cxn>
                <a:cxn ang="f97">
                  <a:pos x="f156" y="f157"/>
                </a:cxn>
                <a:cxn ang="f97">
                  <a:pos x="f158" y="f165"/>
                </a:cxn>
                <a:cxn ang="f97">
                  <a:pos x="f166" y="f167"/>
                </a:cxn>
                <a:cxn ang="f97">
                  <a:pos x="f158" y="f168"/>
                </a:cxn>
                <a:cxn ang="f97">
                  <a:pos x="f169" y="f167"/>
                </a:cxn>
                <a:cxn ang="f97">
                  <a:pos x="f158" y="f165"/>
                </a:cxn>
                <a:cxn ang="f97">
                  <a:pos x="f158" y="f170"/>
                </a:cxn>
                <a:cxn ang="f97">
                  <a:pos x="f171" y="f172"/>
                </a:cxn>
                <a:cxn ang="f97">
                  <a:pos x="f173" y="f174"/>
                </a:cxn>
                <a:cxn ang="f97">
                  <a:pos x="f175" y="f176"/>
                </a:cxn>
                <a:cxn ang="f97">
                  <a:pos x="f158" y="f177"/>
                </a:cxn>
                <a:cxn ang="f97">
                  <a:pos x="f178" y="f176"/>
                </a:cxn>
                <a:cxn ang="f97">
                  <a:pos x="f179" y="f174"/>
                </a:cxn>
                <a:cxn ang="f97">
                  <a:pos x="f180" y="f172"/>
                </a:cxn>
                <a:cxn ang="f97">
                  <a:pos x="f158" y="f170"/>
                </a:cxn>
              </a:cxnLst>
              <a:rect l="f152" t="f155" r="f153" b="f154"/>
              <a:pathLst>
                <a:path w="2428" h="2296">
                  <a:moveTo>
                    <a:pt x="f8" y="f5"/>
                  </a:moveTo>
                  <a:cubicBezTo>
                    <a:pt x="f9" y="f5"/>
                    <a:pt x="f10" y="f11"/>
                    <a:pt x="f12" y="f13"/>
                  </a:cubicBezTo>
                  <a:cubicBezTo>
                    <a:pt x="f14" y="f11"/>
                    <a:pt x="f15" y="f5"/>
                    <a:pt x="f16" y="f5"/>
                  </a:cubicBezTo>
                  <a:cubicBezTo>
                    <a:pt x="f17" y="f5"/>
                    <a:pt x="f5" y="f18"/>
                    <a:pt x="f5" y="f19"/>
                  </a:cubicBezTo>
                  <a:cubicBezTo>
                    <a:pt x="f5" y="f20"/>
                    <a:pt x="f21" y="f7"/>
                    <a:pt x="f12" y="f7"/>
                  </a:cubicBezTo>
                  <a:cubicBezTo>
                    <a:pt x="f22" y="f7"/>
                    <a:pt x="f6" y="f20"/>
                    <a:pt x="f6" y="f19"/>
                  </a:cubicBezTo>
                  <a:cubicBezTo>
                    <a:pt x="f6" y="f18"/>
                    <a:pt x="f23" y="f5"/>
                    <a:pt x="f8" y="f5"/>
                  </a:cubicBezTo>
                  <a:moveTo>
                    <a:pt x="f12" y="f24"/>
                  </a:moveTo>
                  <a:cubicBezTo>
                    <a:pt x="f25" y="f26"/>
                    <a:pt x="f27" y="f28"/>
                    <a:pt x="f27" y="f29"/>
                  </a:cubicBezTo>
                  <a:cubicBezTo>
                    <a:pt x="f27" y="f30"/>
                    <a:pt x="f31" y="f32"/>
                    <a:pt x="f12" y="f32"/>
                  </a:cubicBezTo>
                  <a:cubicBezTo>
                    <a:pt x="f33" y="f32"/>
                    <a:pt x="f34" y="f30"/>
                    <a:pt x="f34" y="f29"/>
                  </a:cubicBezTo>
                  <a:cubicBezTo>
                    <a:pt x="f34" y="f28"/>
                    <a:pt x="f35" y="f26"/>
                    <a:pt x="f12" y="f24"/>
                  </a:cubicBezTo>
                  <a:moveTo>
                    <a:pt x="f12" y="f36"/>
                  </a:moveTo>
                  <a:cubicBezTo>
                    <a:pt x="f37" y="f36"/>
                    <a:pt x="f38" y="f39"/>
                    <a:pt x="f38" y="f40"/>
                  </a:cubicBezTo>
                  <a:cubicBezTo>
                    <a:pt x="f38" y="f41"/>
                    <a:pt x="f42" y="f43"/>
                    <a:pt x="f44" y="f45"/>
                  </a:cubicBezTo>
                  <a:cubicBezTo>
                    <a:pt x="f46" y="f47"/>
                    <a:pt x="f48" y="f41"/>
                    <a:pt x="f48" y="f49"/>
                  </a:cubicBezTo>
                  <a:cubicBezTo>
                    <a:pt x="f48" y="f50"/>
                    <a:pt x="f51" y="f52"/>
                    <a:pt x="f12" y="f52"/>
                  </a:cubicBezTo>
                  <a:cubicBezTo>
                    <a:pt x="f53" y="f52"/>
                    <a:pt x="f54" y="f50"/>
                    <a:pt x="f54" y="f49"/>
                  </a:cubicBezTo>
                  <a:cubicBezTo>
                    <a:pt x="f54" y="f41"/>
                    <a:pt x="f55" y="f47"/>
                    <a:pt x="f56" y="f45"/>
                  </a:cubicBezTo>
                  <a:cubicBezTo>
                    <a:pt x="f57" y="f43"/>
                    <a:pt x="f58" y="f41"/>
                    <a:pt x="f58" y="f40"/>
                  </a:cubicBezTo>
                  <a:cubicBezTo>
                    <a:pt x="f58" y="f39"/>
                    <a:pt x="f59" y="f36"/>
                    <a:pt x="f12" y="f36"/>
                  </a:cubicBezTo>
                </a:path>
              </a:pathLst>
            </a:custGeom>
            <a:noFill/>
            <a:ln>
              <a:noFill/>
              <a:prstDash val="solid"/>
            </a:ln>
          </p:spPr>
          <p:txBody>
            <a:bodyPr vert="horz" wrap="square" lIns="91440" tIns="45720" rIns="91440" bIns="45720" anchor="t" anchorCtr="0" compatLnSpc="1">
              <a:noAutofit/>
            </a:bodyPr>
            <a:lstStyle/>
            <a:p>
              <a:pPr marL="0" marR="0" lvl="0" indent="0" algn="l" defTabSz="91437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Arial"/>
              </a:endParaRPr>
            </a:p>
          </p:txBody>
        </p:sp>
        <p:sp>
          <p:nvSpPr>
            <p:cNvPr id="7" name="Freeform 6">
              <a:extLst>
                <a:ext uri="{FF2B5EF4-FFF2-40B4-BE49-F238E27FC236}">
                  <a16:creationId xmlns:a16="http://schemas.microsoft.com/office/drawing/2014/main" id="{A2D932E8-6057-4EF4-8558-1AB704225992}"/>
                </a:ext>
              </a:extLst>
            </p:cNvPr>
            <p:cNvSpPr/>
            <p:nvPr/>
          </p:nvSpPr>
          <p:spPr>
            <a:xfrm>
              <a:off x="11065044" y="440210"/>
              <a:ext cx="701692" cy="246092"/>
            </a:xfrm>
            <a:custGeom>
              <a:avLst/>
              <a:gdLst>
                <a:gd name="f0" fmla="val 10800000"/>
                <a:gd name="f1" fmla="val 5400000"/>
                <a:gd name="f2" fmla="val 180"/>
                <a:gd name="f3" fmla="val w"/>
                <a:gd name="f4" fmla="val h"/>
                <a:gd name="f5" fmla="val 0"/>
                <a:gd name="f6" fmla="val 1055"/>
                <a:gd name="f7" fmla="val 370"/>
                <a:gd name="f8" fmla="val 362"/>
                <a:gd name="f9" fmla="val 73"/>
                <a:gd name="f10" fmla="val 321"/>
                <a:gd name="f11" fmla="val 236"/>
                <a:gd name="f12" fmla="val 126"/>
                <a:gd name="f13" fmla="val 163"/>
                <a:gd name="f14" fmla="val 297"/>
                <a:gd name="f15" fmla="val 167"/>
                <a:gd name="f16" fmla="val 40"/>
                <a:gd name="f17" fmla="val 208"/>
                <a:gd name="f18" fmla="val 195"/>
                <a:gd name="f19" fmla="val 709"/>
                <a:gd name="f20" fmla="val 142"/>
                <a:gd name="f21" fmla="val 388"/>
                <a:gd name="f22" fmla="val 461"/>
                <a:gd name="f23" fmla="val 500"/>
                <a:gd name="f24" fmla="val 447"/>
                <a:gd name="f25" fmla="val 650"/>
                <a:gd name="f26" fmla="val 597"/>
                <a:gd name="f27" fmla="val 636"/>
                <a:gd name="f28" fmla="val 734"/>
                <a:gd name="f29" fmla="val 807"/>
                <a:gd name="f30" fmla="val 846"/>
                <a:gd name="f31" fmla="val 793"/>
                <a:gd name="f32" fmla="val 996"/>
                <a:gd name="f33" fmla="val 943"/>
                <a:gd name="f34" fmla="val 982"/>
                <a:gd name="f35" fmla="+- 0 0 -90"/>
                <a:gd name="f36" fmla="*/ f3 1 1055"/>
                <a:gd name="f37" fmla="*/ f4 1 370"/>
                <a:gd name="f38" fmla="val f5"/>
                <a:gd name="f39" fmla="val f6"/>
                <a:gd name="f40" fmla="val f7"/>
                <a:gd name="f41" fmla="*/ f35 f0 1"/>
                <a:gd name="f42" fmla="+- f40 0 f38"/>
                <a:gd name="f43" fmla="+- f39 0 f38"/>
                <a:gd name="f44" fmla="*/ f41 1 f2"/>
                <a:gd name="f45" fmla="*/ f43 1 1055"/>
                <a:gd name="f46" fmla="*/ f42 1 370"/>
                <a:gd name="f47" fmla="*/ 362 f43 1"/>
                <a:gd name="f48" fmla="*/ 0 f42 1"/>
                <a:gd name="f49" fmla="*/ 73 f42 1"/>
                <a:gd name="f50" fmla="*/ 321 f43 1"/>
                <a:gd name="f51" fmla="*/ 370 f42 1"/>
                <a:gd name="f52" fmla="*/ 236 f43 1"/>
                <a:gd name="f53" fmla="*/ 126 f43 1"/>
                <a:gd name="f54" fmla="*/ 163 f42 1"/>
                <a:gd name="f55" fmla="*/ 297 f42 1"/>
                <a:gd name="f56" fmla="*/ 167 f43 1"/>
                <a:gd name="f57" fmla="*/ 0 f43 1"/>
                <a:gd name="f58" fmla="*/ 40 f43 1"/>
                <a:gd name="f59" fmla="*/ 208 f42 1"/>
                <a:gd name="f60" fmla="*/ 195 f43 1"/>
                <a:gd name="f61" fmla="*/ 709 f43 1"/>
                <a:gd name="f62" fmla="*/ 142 f42 1"/>
                <a:gd name="f63" fmla="*/ 388 f43 1"/>
                <a:gd name="f64" fmla="*/ 461 f43 1"/>
                <a:gd name="f65" fmla="*/ 500 f43 1"/>
                <a:gd name="f66" fmla="*/ 447 f43 1"/>
                <a:gd name="f67" fmla="*/ 650 f43 1"/>
                <a:gd name="f68" fmla="*/ 597 f43 1"/>
                <a:gd name="f69" fmla="*/ 636 f43 1"/>
                <a:gd name="f70" fmla="*/ 1055 f43 1"/>
                <a:gd name="f71" fmla="*/ 734 f43 1"/>
                <a:gd name="f72" fmla="*/ 807 f43 1"/>
                <a:gd name="f73" fmla="*/ 846 f43 1"/>
                <a:gd name="f74" fmla="*/ 793 f43 1"/>
                <a:gd name="f75" fmla="*/ 996 f43 1"/>
                <a:gd name="f76" fmla="*/ 943 f43 1"/>
                <a:gd name="f77" fmla="*/ 982 f43 1"/>
                <a:gd name="f78" fmla="+- f44 0 f1"/>
                <a:gd name="f79" fmla="*/ f47 1 1055"/>
                <a:gd name="f80" fmla="*/ f48 1 370"/>
                <a:gd name="f81" fmla="*/ f49 1 370"/>
                <a:gd name="f82" fmla="*/ f50 1 1055"/>
                <a:gd name="f83" fmla="*/ f51 1 370"/>
                <a:gd name="f84" fmla="*/ f52 1 1055"/>
                <a:gd name="f85" fmla="*/ f53 1 1055"/>
                <a:gd name="f86" fmla="*/ f54 1 370"/>
                <a:gd name="f87" fmla="*/ f55 1 370"/>
                <a:gd name="f88" fmla="*/ f56 1 1055"/>
                <a:gd name="f89" fmla="*/ f57 1 1055"/>
                <a:gd name="f90" fmla="*/ f58 1 1055"/>
                <a:gd name="f91" fmla="*/ f59 1 370"/>
                <a:gd name="f92" fmla="*/ f60 1 1055"/>
                <a:gd name="f93" fmla="*/ f61 1 1055"/>
                <a:gd name="f94" fmla="*/ f62 1 370"/>
                <a:gd name="f95" fmla="*/ f63 1 1055"/>
                <a:gd name="f96" fmla="*/ f64 1 1055"/>
                <a:gd name="f97" fmla="*/ f65 1 1055"/>
                <a:gd name="f98" fmla="*/ f66 1 1055"/>
                <a:gd name="f99" fmla="*/ f67 1 1055"/>
                <a:gd name="f100" fmla="*/ f68 1 1055"/>
                <a:gd name="f101" fmla="*/ f69 1 1055"/>
                <a:gd name="f102" fmla="*/ f70 1 1055"/>
                <a:gd name="f103" fmla="*/ f71 1 1055"/>
                <a:gd name="f104" fmla="*/ f72 1 1055"/>
                <a:gd name="f105" fmla="*/ f73 1 1055"/>
                <a:gd name="f106" fmla="*/ f74 1 1055"/>
                <a:gd name="f107" fmla="*/ f75 1 1055"/>
                <a:gd name="f108" fmla="*/ f76 1 1055"/>
                <a:gd name="f109" fmla="*/ f77 1 1055"/>
                <a:gd name="f110" fmla="*/ 0 1 f45"/>
                <a:gd name="f111" fmla="*/ f39 1 f45"/>
                <a:gd name="f112" fmla="*/ 0 1 f46"/>
                <a:gd name="f113" fmla="*/ f40 1 f46"/>
                <a:gd name="f114" fmla="*/ f79 1 f45"/>
                <a:gd name="f115" fmla="*/ f80 1 f46"/>
                <a:gd name="f116" fmla="*/ f81 1 f46"/>
                <a:gd name="f117" fmla="*/ f82 1 f45"/>
                <a:gd name="f118" fmla="*/ f83 1 f46"/>
                <a:gd name="f119" fmla="*/ f84 1 f45"/>
                <a:gd name="f120" fmla="*/ f85 1 f45"/>
                <a:gd name="f121" fmla="*/ f86 1 f46"/>
                <a:gd name="f122" fmla="*/ f87 1 f46"/>
                <a:gd name="f123" fmla="*/ f88 1 f45"/>
                <a:gd name="f124" fmla="*/ f89 1 f45"/>
                <a:gd name="f125" fmla="*/ f90 1 f45"/>
                <a:gd name="f126" fmla="*/ f91 1 f46"/>
                <a:gd name="f127" fmla="*/ f92 1 f45"/>
                <a:gd name="f128" fmla="*/ f93 1 f45"/>
                <a:gd name="f129" fmla="*/ f94 1 f46"/>
                <a:gd name="f130" fmla="*/ f95 1 f45"/>
                <a:gd name="f131" fmla="*/ f96 1 f45"/>
                <a:gd name="f132" fmla="*/ f97 1 f45"/>
                <a:gd name="f133" fmla="*/ f98 1 f45"/>
                <a:gd name="f134" fmla="*/ f99 1 f45"/>
                <a:gd name="f135" fmla="*/ f100 1 f45"/>
                <a:gd name="f136" fmla="*/ f101 1 f45"/>
                <a:gd name="f137" fmla="*/ f102 1 f45"/>
                <a:gd name="f138" fmla="*/ f103 1 f45"/>
                <a:gd name="f139" fmla="*/ f104 1 f45"/>
                <a:gd name="f140" fmla="*/ f105 1 f45"/>
                <a:gd name="f141" fmla="*/ f106 1 f45"/>
                <a:gd name="f142" fmla="*/ f107 1 f45"/>
                <a:gd name="f143" fmla="*/ f108 1 f45"/>
                <a:gd name="f144" fmla="*/ f109 1 f45"/>
                <a:gd name="f145" fmla="*/ f110 f36 1"/>
                <a:gd name="f146" fmla="*/ f111 f36 1"/>
                <a:gd name="f147" fmla="*/ f113 f37 1"/>
                <a:gd name="f148" fmla="*/ f112 f37 1"/>
                <a:gd name="f149" fmla="*/ f114 f36 1"/>
                <a:gd name="f150" fmla="*/ f115 f37 1"/>
                <a:gd name="f151" fmla="*/ f116 f37 1"/>
                <a:gd name="f152" fmla="*/ f117 f36 1"/>
                <a:gd name="f153" fmla="*/ f118 f37 1"/>
                <a:gd name="f154" fmla="*/ f119 f36 1"/>
                <a:gd name="f155" fmla="*/ f120 f36 1"/>
                <a:gd name="f156" fmla="*/ f121 f37 1"/>
                <a:gd name="f157" fmla="*/ f122 f37 1"/>
                <a:gd name="f158" fmla="*/ f123 f36 1"/>
                <a:gd name="f159" fmla="*/ f124 f36 1"/>
                <a:gd name="f160" fmla="*/ f125 f36 1"/>
                <a:gd name="f161" fmla="*/ f126 f37 1"/>
                <a:gd name="f162" fmla="*/ f127 f36 1"/>
                <a:gd name="f163" fmla="*/ f128 f36 1"/>
                <a:gd name="f164" fmla="*/ f129 f37 1"/>
                <a:gd name="f165" fmla="*/ f130 f36 1"/>
                <a:gd name="f166" fmla="*/ f131 f36 1"/>
                <a:gd name="f167" fmla="*/ f132 f36 1"/>
                <a:gd name="f168" fmla="*/ f133 f36 1"/>
                <a:gd name="f169" fmla="*/ f134 f36 1"/>
                <a:gd name="f170" fmla="*/ f135 f36 1"/>
                <a:gd name="f171" fmla="*/ f136 f36 1"/>
                <a:gd name="f172" fmla="*/ f137 f36 1"/>
                <a:gd name="f173" fmla="*/ f138 f36 1"/>
                <a:gd name="f174" fmla="*/ f139 f36 1"/>
                <a:gd name="f175" fmla="*/ f140 f36 1"/>
                <a:gd name="f176" fmla="*/ f141 f36 1"/>
                <a:gd name="f177" fmla="*/ f142 f36 1"/>
                <a:gd name="f178" fmla="*/ f143 f36 1"/>
                <a:gd name="f179" fmla="*/ f144 f36 1"/>
              </a:gdLst>
              <a:ahLst/>
              <a:cxnLst>
                <a:cxn ang="3cd4">
                  <a:pos x="hc" y="t"/>
                </a:cxn>
                <a:cxn ang="0">
                  <a:pos x="r" y="vc"/>
                </a:cxn>
                <a:cxn ang="cd4">
                  <a:pos x="hc" y="b"/>
                </a:cxn>
                <a:cxn ang="cd2">
                  <a:pos x="l" y="vc"/>
                </a:cxn>
                <a:cxn ang="f78">
                  <a:pos x="f149" y="f150"/>
                </a:cxn>
                <a:cxn ang="f78">
                  <a:pos x="f149" y="f151"/>
                </a:cxn>
                <a:cxn ang="f78">
                  <a:pos x="f152" y="f151"/>
                </a:cxn>
                <a:cxn ang="f78">
                  <a:pos x="f152" y="f153"/>
                </a:cxn>
                <a:cxn ang="f78">
                  <a:pos x="f154" y="f153"/>
                </a:cxn>
                <a:cxn ang="f78">
                  <a:pos x="f155" y="f156"/>
                </a:cxn>
                <a:cxn ang="f78">
                  <a:pos x="f155" y="f157"/>
                </a:cxn>
                <a:cxn ang="f78">
                  <a:pos x="f158" y="f157"/>
                </a:cxn>
                <a:cxn ang="f78">
                  <a:pos x="f158" y="f153"/>
                </a:cxn>
                <a:cxn ang="f78">
                  <a:pos x="f159" y="f153"/>
                </a:cxn>
                <a:cxn ang="f78">
                  <a:pos x="f159" y="f157"/>
                </a:cxn>
                <a:cxn ang="f78">
                  <a:pos x="f160" y="f157"/>
                </a:cxn>
                <a:cxn ang="f78">
                  <a:pos x="f160" y="f151"/>
                </a:cxn>
                <a:cxn ang="f78">
                  <a:pos x="f159" y="f151"/>
                </a:cxn>
                <a:cxn ang="f78">
                  <a:pos x="f159" y="f150"/>
                </a:cxn>
                <a:cxn ang="f78">
                  <a:pos x="f155" y="f150"/>
                </a:cxn>
                <a:cxn ang="f78">
                  <a:pos x="f154" y="f161"/>
                </a:cxn>
                <a:cxn ang="f78">
                  <a:pos x="f154" y="f151"/>
                </a:cxn>
                <a:cxn ang="f78">
                  <a:pos x="f162" y="f151"/>
                </a:cxn>
                <a:cxn ang="f78">
                  <a:pos x="f162" y="f150"/>
                </a:cxn>
                <a:cxn ang="f78">
                  <a:pos x="f149" y="f150"/>
                </a:cxn>
                <a:cxn ang="f78">
                  <a:pos x="f163" y="f164"/>
                </a:cxn>
                <a:cxn ang="f78">
                  <a:pos x="f163" y="f150"/>
                </a:cxn>
                <a:cxn ang="f78">
                  <a:pos x="f165" y="f150"/>
                </a:cxn>
                <a:cxn ang="f78">
                  <a:pos x="f165" y="f164"/>
                </a:cxn>
                <a:cxn ang="f78">
                  <a:pos x="f166" y="f164"/>
                </a:cxn>
                <a:cxn ang="f78">
                  <a:pos x="f166" y="f151"/>
                </a:cxn>
                <a:cxn ang="f78">
                  <a:pos x="f167" y="f151"/>
                </a:cxn>
                <a:cxn ang="f78">
                  <a:pos x="f167" y="f157"/>
                </a:cxn>
                <a:cxn ang="f78">
                  <a:pos x="f168" y="f157"/>
                </a:cxn>
                <a:cxn ang="f78">
                  <a:pos x="f168" y="f153"/>
                </a:cxn>
                <a:cxn ang="f78">
                  <a:pos x="f169" y="f153"/>
                </a:cxn>
                <a:cxn ang="f78">
                  <a:pos x="f169" y="f157"/>
                </a:cxn>
                <a:cxn ang="f78">
                  <a:pos x="f170" y="f157"/>
                </a:cxn>
                <a:cxn ang="f78">
                  <a:pos x="f170" y="f151"/>
                </a:cxn>
                <a:cxn ang="f78">
                  <a:pos x="f171" y="f151"/>
                </a:cxn>
                <a:cxn ang="f78">
                  <a:pos x="f171" y="f164"/>
                </a:cxn>
                <a:cxn ang="f78">
                  <a:pos x="f163" y="f164"/>
                </a:cxn>
                <a:cxn ang="f78">
                  <a:pos x="f172" y="f164"/>
                </a:cxn>
                <a:cxn ang="f78">
                  <a:pos x="f172" y="f150"/>
                </a:cxn>
                <a:cxn ang="f78">
                  <a:pos x="f173" y="f150"/>
                </a:cxn>
                <a:cxn ang="f78">
                  <a:pos x="f173" y="f164"/>
                </a:cxn>
                <a:cxn ang="f78">
                  <a:pos x="f174" y="f164"/>
                </a:cxn>
                <a:cxn ang="f78">
                  <a:pos x="f174" y="f151"/>
                </a:cxn>
                <a:cxn ang="f78">
                  <a:pos x="f175" y="f151"/>
                </a:cxn>
                <a:cxn ang="f78">
                  <a:pos x="f175" y="f157"/>
                </a:cxn>
                <a:cxn ang="f78">
                  <a:pos x="f176" y="f157"/>
                </a:cxn>
                <a:cxn ang="f78">
                  <a:pos x="f176" y="f153"/>
                </a:cxn>
                <a:cxn ang="f78">
                  <a:pos x="f177" y="f153"/>
                </a:cxn>
                <a:cxn ang="f78">
                  <a:pos x="f177" y="f157"/>
                </a:cxn>
                <a:cxn ang="f78">
                  <a:pos x="f178" y="f157"/>
                </a:cxn>
                <a:cxn ang="f78">
                  <a:pos x="f178" y="f151"/>
                </a:cxn>
                <a:cxn ang="f78">
                  <a:pos x="f179" y="f151"/>
                </a:cxn>
                <a:cxn ang="f78">
                  <a:pos x="f179" y="f164"/>
                </a:cxn>
                <a:cxn ang="f78">
                  <a:pos x="f172" y="f164"/>
                </a:cxn>
              </a:cxnLst>
              <a:rect l="f145" t="f148" r="f146" b="f147"/>
              <a:pathLst>
                <a:path w="1055" h="370">
                  <a:moveTo>
                    <a:pt x="f8" y="f5"/>
                  </a:moveTo>
                  <a:lnTo>
                    <a:pt x="f8" y="f9"/>
                  </a:lnTo>
                  <a:lnTo>
                    <a:pt x="f10" y="f9"/>
                  </a:lnTo>
                  <a:lnTo>
                    <a:pt x="f10" y="f7"/>
                  </a:lnTo>
                  <a:lnTo>
                    <a:pt x="f11" y="f7"/>
                  </a:lnTo>
                  <a:lnTo>
                    <a:pt x="f12" y="f13"/>
                  </a:lnTo>
                  <a:lnTo>
                    <a:pt x="f12" y="f14"/>
                  </a:lnTo>
                  <a:lnTo>
                    <a:pt x="f15" y="f14"/>
                  </a:lnTo>
                  <a:lnTo>
                    <a:pt x="f15" y="f7"/>
                  </a:lnTo>
                  <a:lnTo>
                    <a:pt x="f5" y="f7"/>
                  </a:lnTo>
                  <a:lnTo>
                    <a:pt x="f5" y="f14"/>
                  </a:lnTo>
                  <a:lnTo>
                    <a:pt x="f16" y="f14"/>
                  </a:lnTo>
                  <a:lnTo>
                    <a:pt x="f16" y="f9"/>
                  </a:lnTo>
                  <a:lnTo>
                    <a:pt x="f5" y="f9"/>
                  </a:lnTo>
                  <a:lnTo>
                    <a:pt x="f5" y="f5"/>
                  </a:lnTo>
                  <a:lnTo>
                    <a:pt x="f12" y="f5"/>
                  </a:lnTo>
                  <a:lnTo>
                    <a:pt x="f11" y="f17"/>
                  </a:lnTo>
                  <a:lnTo>
                    <a:pt x="f11" y="f9"/>
                  </a:lnTo>
                  <a:lnTo>
                    <a:pt x="f18" y="f9"/>
                  </a:lnTo>
                  <a:lnTo>
                    <a:pt x="f18" y="f5"/>
                  </a:lnTo>
                  <a:lnTo>
                    <a:pt x="f8" y="f5"/>
                  </a:lnTo>
                  <a:close/>
                  <a:moveTo>
                    <a:pt x="f19" y="f20"/>
                  </a:moveTo>
                  <a:lnTo>
                    <a:pt x="f19" y="f5"/>
                  </a:lnTo>
                  <a:lnTo>
                    <a:pt x="f21" y="f5"/>
                  </a:lnTo>
                  <a:lnTo>
                    <a:pt x="f21" y="f20"/>
                  </a:lnTo>
                  <a:lnTo>
                    <a:pt x="f22" y="f20"/>
                  </a:lnTo>
                  <a:lnTo>
                    <a:pt x="f22" y="f9"/>
                  </a:lnTo>
                  <a:lnTo>
                    <a:pt x="f23" y="f9"/>
                  </a:lnTo>
                  <a:lnTo>
                    <a:pt x="f23" y="f14"/>
                  </a:lnTo>
                  <a:lnTo>
                    <a:pt x="f24" y="f14"/>
                  </a:lnTo>
                  <a:lnTo>
                    <a:pt x="f24" y="f7"/>
                  </a:lnTo>
                  <a:lnTo>
                    <a:pt x="f25" y="f7"/>
                  </a:lnTo>
                  <a:lnTo>
                    <a:pt x="f25" y="f14"/>
                  </a:lnTo>
                  <a:lnTo>
                    <a:pt x="f26" y="f14"/>
                  </a:lnTo>
                  <a:lnTo>
                    <a:pt x="f26" y="f9"/>
                  </a:lnTo>
                  <a:lnTo>
                    <a:pt x="f27" y="f9"/>
                  </a:lnTo>
                  <a:lnTo>
                    <a:pt x="f27" y="f20"/>
                  </a:lnTo>
                  <a:lnTo>
                    <a:pt x="f19" y="f20"/>
                  </a:lnTo>
                  <a:close/>
                  <a:moveTo>
                    <a:pt x="f6" y="f20"/>
                  </a:moveTo>
                  <a:lnTo>
                    <a:pt x="f6" y="f5"/>
                  </a:lnTo>
                  <a:lnTo>
                    <a:pt x="f28" y="f5"/>
                  </a:lnTo>
                  <a:lnTo>
                    <a:pt x="f28" y="f20"/>
                  </a:lnTo>
                  <a:lnTo>
                    <a:pt x="f29" y="f20"/>
                  </a:lnTo>
                  <a:lnTo>
                    <a:pt x="f29" y="f9"/>
                  </a:lnTo>
                  <a:lnTo>
                    <a:pt x="f30" y="f9"/>
                  </a:lnTo>
                  <a:lnTo>
                    <a:pt x="f30" y="f14"/>
                  </a:lnTo>
                  <a:lnTo>
                    <a:pt x="f31" y="f14"/>
                  </a:lnTo>
                  <a:lnTo>
                    <a:pt x="f31" y="f7"/>
                  </a:lnTo>
                  <a:lnTo>
                    <a:pt x="f32" y="f7"/>
                  </a:lnTo>
                  <a:lnTo>
                    <a:pt x="f32" y="f14"/>
                  </a:lnTo>
                  <a:lnTo>
                    <a:pt x="f33" y="f14"/>
                  </a:lnTo>
                  <a:lnTo>
                    <a:pt x="f33" y="f9"/>
                  </a:lnTo>
                  <a:lnTo>
                    <a:pt x="f34" y="f9"/>
                  </a:lnTo>
                  <a:lnTo>
                    <a:pt x="f34" y="f20"/>
                  </a:lnTo>
                  <a:lnTo>
                    <a:pt x="f6" y="f20"/>
                  </a:lnTo>
                  <a:close/>
                </a:path>
              </a:pathLst>
            </a:custGeom>
            <a:solidFill>
              <a:srgbClr val="FFFFFF"/>
            </a:solidFill>
            <a:ln>
              <a:noFill/>
              <a:prstDash val="solid"/>
            </a:ln>
          </p:spPr>
          <p:txBody>
            <a:bodyPr vert="horz" wrap="square" lIns="91440" tIns="45720" rIns="91440" bIns="45720" anchor="t" anchorCtr="0" compatLnSpc="1">
              <a:noAutofit/>
            </a:bodyPr>
            <a:lstStyle/>
            <a:p>
              <a:pPr marL="0" marR="0" lvl="0" indent="0" algn="l" defTabSz="91437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Arial"/>
              </a:endParaRPr>
            </a:p>
          </p:txBody>
        </p:sp>
      </p:grpSp>
      <p:sp>
        <p:nvSpPr>
          <p:cNvPr id="8" name="Text Placeholder 2">
            <a:extLst>
              <a:ext uri="{FF2B5EF4-FFF2-40B4-BE49-F238E27FC236}">
                <a16:creationId xmlns:a16="http://schemas.microsoft.com/office/drawing/2014/main" id="{167C626D-79AC-49CE-AB5A-B861C6E49CB0}"/>
              </a:ext>
            </a:extLst>
          </p:cNvPr>
          <p:cNvSpPr txBox="1">
            <a:spLocks noGrp="1"/>
          </p:cNvSpPr>
          <p:nvPr>
            <p:ph type="body" sz="quarter" idx="4294967295"/>
          </p:nvPr>
        </p:nvSpPr>
        <p:spPr>
          <a:xfrm>
            <a:off x="6376011" y="6499793"/>
            <a:ext cx="4799411" cy="234945"/>
          </a:xfrm>
          <a:prstGeom prst="rect">
            <a:avLst/>
          </a:prstGeom>
          <a:noFill/>
          <a:ln>
            <a:noFill/>
          </a:ln>
        </p:spPr>
        <p:txBody>
          <a:bodyPr vert="horz" wrap="square" lIns="91440" tIns="45720" rIns="91440" bIns="45720" anchor="ctr" anchorCtr="0" compatLnSpc="1">
            <a:noAutofit/>
          </a:bodyPr>
          <a:lstStyle>
            <a:lvl1pPr marL="0" marR="0" lvl="0" indent="0" algn="r" defTabSz="1219139" fontAlgn="auto">
              <a:lnSpc>
                <a:spcPct val="114000"/>
              </a:lnSpc>
              <a:spcBef>
                <a:spcPts val="800"/>
              </a:spcBef>
              <a:spcAft>
                <a:spcPts val="135"/>
              </a:spcAft>
              <a:buNone/>
              <a:tabLst/>
              <a:defRPr lang="en-GB" sz="1200" b="0" i="0" u="none" strike="noStrike" cap="none" spc="0" baseline="0">
                <a:solidFill>
                  <a:srgbClr val="FFFFFF"/>
                </a:solidFill>
                <a:uFillTx/>
                <a:latin typeface="Arial"/>
              </a:defRPr>
            </a:lvl1pPr>
          </a:lstStyle>
          <a:p>
            <a:pPr lvl="0"/>
            <a:r>
              <a:rPr lang="en-GB"/>
              <a:t>[Name]-[Classification]-[Status]-v[x-x]</a:t>
            </a:r>
          </a:p>
        </p:txBody>
      </p:sp>
      <p:sp>
        <p:nvSpPr>
          <p:cNvPr id="9" name="Text Placeholder 2">
            <a:extLst>
              <a:ext uri="{FF2B5EF4-FFF2-40B4-BE49-F238E27FC236}">
                <a16:creationId xmlns:a16="http://schemas.microsoft.com/office/drawing/2014/main" id="{48AAE529-44A3-4824-81C0-8079AA9BB2C8}"/>
              </a:ext>
            </a:extLst>
          </p:cNvPr>
          <p:cNvSpPr txBox="1">
            <a:spLocks noGrp="1"/>
          </p:cNvSpPr>
          <p:nvPr>
            <p:ph type="body" sz="quarter" idx="4294967295"/>
          </p:nvPr>
        </p:nvSpPr>
        <p:spPr>
          <a:xfrm>
            <a:off x="11367692" y="6499877"/>
            <a:ext cx="608405" cy="234945"/>
          </a:xfrm>
          <a:prstGeom prst="rect">
            <a:avLst/>
          </a:prstGeom>
          <a:noFill/>
          <a:ln>
            <a:noFill/>
          </a:ln>
        </p:spPr>
        <p:txBody>
          <a:bodyPr vert="horz" wrap="square" lIns="91440" tIns="45720" rIns="91440" bIns="45720" anchor="ctr" anchorCtr="0" compatLnSpc="1">
            <a:noAutofit/>
          </a:bodyPr>
          <a:lstStyle>
            <a:lvl1pPr marL="0" marR="0" lvl="0" indent="0" algn="r" defTabSz="1219139" fontAlgn="auto">
              <a:lnSpc>
                <a:spcPct val="114000"/>
              </a:lnSpc>
              <a:spcBef>
                <a:spcPts val="800"/>
              </a:spcBef>
              <a:spcAft>
                <a:spcPts val="135"/>
              </a:spcAft>
              <a:buNone/>
              <a:tabLst/>
              <a:defRPr lang="en-GB" sz="1200" b="0" i="0" u="none" strike="noStrike" cap="none" spc="0" baseline="0">
                <a:solidFill>
                  <a:srgbClr val="FFFFFF"/>
                </a:solidFill>
                <a:uFillTx/>
                <a:latin typeface="Arial"/>
              </a:defRPr>
            </a:lvl1pPr>
          </a:lstStyle>
          <a:p>
            <a:pPr lvl="0"/>
            <a:fld id="{B63DE630-A831-4049-A8B2-AD7DBDAC0F76}" type="slidenum">
              <a:t>‹#›</a:t>
            </a:fld>
            <a:endParaRPr lang="en-GB"/>
          </a:p>
        </p:txBody>
      </p:sp>
      <p:sp>
        <p:nvSpPr>
          <p:cNvPr id="10" name="Rectangle 25">
            <a:extLst>
              <a:ext uri="{FF2B5EF4-FFF2-40B4-BE49-F238E27FC236}">
                <a16:creationId xmlns:a16="http://schemas.microsoft.com/office/drawing/2014/main" id="{C3503FC7-B1B2-4C48-A6BA-BD41FBAC125E}"/>
              </a:ext>
            </a:extLst>
          </p:cNvPr>
          <p:cNvSpPr/>
          <p:nvPr/>
        </p:nvSpPr>
        <p:spPr>
          <a:xfrm>
            <a:off x="215899" y="6463381"/>
            <a:ext cx="2403222" cy="276999"/>
          </a:xfrm>
          <a:prstGeom prst="rect">
            <a:avLst/>
          </a:prstGeom>
          <a:noFill/>
          <a:ln>
            <a:noFill/>
            <a:prstDash val="solid"/>
          </a:ln>
        </p:spPr>
        <p:txBody>
          <a:bodyPr vert="horz" wrap="none" lIns="91440" tIns="45720" rIns="91440" bIns="45720" anchor="t" anchorCtr="0" compatLnSpc="1">
            <a:spAutoFit/>
          </a:bodyPr>
          <a:lstStyle/>
          <a:p>
            <a:pPr marL="0" marR="0" lvl="0" indent="0" algn="l" defTabSz="914377"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FFFFFF"/>
                </a:solidFill>
                <a:uFillTx/>
                <a:latin typeface="Arial"/>
              </a:rPr>
              <a:t>© 2020 NTT All Rights Reserved</a:t>
            </a:r>
          </a:p>
        </p:txBody>
      </p:sp>
    </p:spTree>
    <p:extLst>
      <p:ext uri="{BB962C8B-B14F-4D97-AF65-F5344CB8AC3E}">
        <p14:creationId xmlns:p14="http://schemas.microsoft.com/office/powerpoint/2010/main" val="3981082901"/>
      </p:ext>
    </p:extLst>
  </p:cSld>
  <p:clrMapOvr>
    <a:masterClrMapping/>
  </p:clrMapOvr>
  <p:transition spd="med">
    <p:fade/>
  </p:transition>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2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770027"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grpSp>
        <p:nvGrpSpPr>
          <p:cNvPr id="10" name="Group 9">
            <a:extLst>
              <a:ext uri="{FF2B5EF4-FFF2-40B4-BE49-F238E27FC236}">
                <a16:creationId xmlns:a16="http://schemas.microsoft.com/office/drawing/2014/main" id="{7085ABD9-769E-9F44-B621-8F50D5338B8F}"/>
              </a:ext>
            </a:extLst>
          </p:cNvPr>
          <p:cNvGrpSpPr/>
          <p:nvPr userDrawn="1"/>
        </p:nvGrpSpPr>
        <p:grpSpPr>
          <a:xfrm>
            <a:off x="10458438" y="332679"/>
            <a:ext cx="1308293" cy="484944"/>
            <a:chOff x="7843828" y="249509"/>
            <a:chExt cx="981220" cy="363708"/>
          </a:xfrm>
        </p:grpSpPr>
        <p:sp>
          <p:nvSpPr>
            <p:cNvPr id="11" name="Freeform 5">
              <a:extLst>
                <a:ext uri="{FF2B5EF4-FFF2-40B4-BE49-F238E27FC236}">
                  <a16:creationId xmlns:a16="http://schemas.microsoft.com/office/drawing/2014/main" id="{F831984E-FF85-F444-8E1E-635A70B5FF01}"/>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2" name="Freeform 6">
              <a:extLst>
                <a:ext uri="{FF2B5EF4-FFF2-40B4-BE49-F238E27FC236}">
                  <a16:creationId xmlns:a16="http://schemas.microsoft.com/office/drawing/2014/main" id="{D49B1C00-21CA-8F45-B313-EB0D7B2D8E9F}"/>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endParaRPr>
            </a:p>
          </p:txBody>
        </p:sp>
      </p:grpSp>
      <p:sp>
        <p:nvSpPr>
          <p:cNvPr id="9" name="Rectangle 8">
            <a:extLst>
              <a:ext uri="{FF2B5EF4-FFF2-40B4-BE49-F238E27FC236}">
                <a16:creationId xmlns:a16="http://schemas.microsoft.com/office/drawing/2014/main" id="{B372C535-CC0F-FB4B-8F7C-9110F63E40CF}"/>
              </a:ext>
            </a:extLst>
          </p:cNvPr>
          <p:cNvSpPr/>
          <p:nvPr userDrawn="1"/>
        </p:nvSpPr>
        <p:spPr>
          <a:xfrm>
            <a:off x="215899" y="6463378"/>
            <a:ext cx="2479012" cy="276999"/>
          </a:xfrm>
          <a:prstGeom prst="rect">
            <a:avLst/>
          </a:prstGeom>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2020 © NTT ‘All Rights Reserved’</a:t>
            </a:r>
          </a:p>
        </p:txBody>
      </p:sp>
      <p:sp>
        <p:nvSpPr>
          <p:cNvPr id="15" name="Text Placeholder 2">
            <a:extLst>
              <a:ext uri="{FF2B5EF4-FFF2-40B4-BE49-F238E27FC236}">
                <a16:creationId xmlns:a16="http://schemas.microsoft.com/office/drawing/2014/main" id="{B635664D-C191-2341-8175-0FD71E08F653}"/>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6" name="Text Placeholder 2">
            <a:extLst>
              <a:ext uri="{FF2B5EF4-FFF2-40B4-BE49-F238E27FC236}">
                <a16:creationId xmlns:a16="http://schemas.microsoft.com/office/drawing/2014/main" id="{0253C6C5-850E-9A4D-9D07-B275F523C4C3}"/>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80185568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2_Case_Study_Short_Summary">
    <p:bg bwMode="ltGray">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110D2BC-ED68-3F42-802D-FADCC79FDCEC}"/>
              </a:ext>
            </a:extLst>
          </p:cNvPr>
          <p:cNvSpPr/>
          <p:nvPr userDrawn="1"/>
        </p:nvSpPr>
        <p:spPr>
          <a:xfrm>
            <a:off x="7418653" y="3"/>
            <a:ext cx="4773351" cy="685799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914377" rtl="0" eaLnBrk="1" fontAlgn="auto"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rial"/>
              <a:ea typeface="+mn-ea"/>
              <a:cs typeface="+mn-cs"/>
            </a:endParaRPr>
          </a:p>
        </p:txBody>
      </p:sp>
      <p:sp>
        <p:nvSpPr>
          <p:cNvPr id="16" name="Text Placeholder 14">
            <a:extLst>
              <a:ext uri="{FF2B5EF4-FFF2-40B4-BE49-F238E27FC236}">
                <a16:creationId xmlns:a16="http://schemas.microsoft.com/office/drawing/2014/main" id="{97473D72-CD3C-2042-B2AE-4093DA561D8E}"/>
              </a:ext>
            </a:extLst>
          </p:cNvPr>
          <p:cNvSpPr>
            <a:spLocks noGrp="1"/>
          </p:cNvSpPr>
          <p:nvPr>
            <p:ph type="body" sz="quarter" idx="16" hasCustomPrompt="1"/>
          </p:nvPr>
        </p:nvSpPr>
        <p:spPr>
          <a:xfrm>
            <a:off x="313380" y="818135"/>
            <a:ext cx="6775744" cy="2734500"/>
          </a:xfrm>
          <a:prstGeom prst="rect">
            <a:avLst/>
          </a:prstGeom>
        </p:spPr>
        <p:txBody>
          <a:bodyPr/>
          <a:lstStyle>
            <a:lvl1pPr>
              <a:lnSpc>
                <a:spcPct val="100000"/>
              </a:lnSpc>
              <a:spcBef>
                <a:spcPts val="0"/>
              </a:spcBef>
              <a:spcAft>
                <a:spcPts val="800"/>
              </a:spcAft>
              <a:defRPr sz="1867" b="1">
                <a:solidFill>
                  <a:schemeClr val="tx1"/>
                </a:solidFill>
              </a:defRPr>
            </a:lvl1pPr>
            <a:lvl2pPr marL="6351" indent="0">
              <a:lnSpc>
                <a:spcPct val="100000"/>
              </a:lnSpc>
              <a:spcBef>
                <a:spcPts val="0"/>
              </a:spcBef>
              <a:spcAft>
                <a:spcPts val="800"/>
              </a:spcAft>
              <a:buNone/>
              <a:tabLst/>
              <a:defRPr sz="1333" b="0">
                <a:solidFill>
                  <a:schemeClr val="tx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Outcome (Headings should be 14 pts)</a:t>
            </a:r>
          </a:p>
          <a:p>
            <a:pPr lvl="1"/>
            <a:r>
              <a:rPr lang="en-US"/>
              <a:t>Summary of the case study in a single paragraph. This should capture the clients’ need as well as reference how we helped them address this need. </a:t>
            </a:r>
          </a:p>
          <a:p>
            <a:pPr lvl="1"/>
            <a:r>
              <a:rPr lang="en-US"/>
              <a:t>– Max 120 words and smallest font size 9pt </a:t>
            </a:r>
          </a:p>
        </p:txBody>
      </p:sp>
      <p:sp>
        <p:nvSpPr>
          <p:cNvPr id="9" name="Text Placeholder 14">
            <a:extLst>
              <a:ext uri="{FF2B5EF4-FFF2-40B4-BE49-F238E27FC236}">
                <a16:creationId xmlns:a16="http://schemas.microsoft.com/office/drawing/2014/main" id="{8D7EF2DB-8B36-2D41-B826-AF10E97D721F}"/>
              </a:ext>
            </a:extLst>
          </p:cNvPr>
          <p:cNvSpPr>
            <a:spLocks noGrp="1"/>
          </p:cNvSpPr>
          <p:nvPr>
            <p:ph type="body" sz="quarter" idx="15"/>
          </p:nvPr>
        </p:nvSpPr>
        <p:spPr>
          <a:xfrm>
            <a:off x="313380" y="3956344"/>
            <a:ext cx="3295776" cy="2575661"/>
          </a:xfrm>
          <a:prstGeom prst="rect">
            <a:avLst/>
          </a:prstGeom>
        </p:spPr>
        <p:txBody>
          <a:bodyPr/>
          <a:lstStyle>
            <a:lvl1pPr>
              <a:lnSpc>
                <a:spcPct val="100000"/>
              </a:lnSpc>
              <a:spcBef>
                <a:spcPts val="0"/>
              </a:spcBef>
              <a:spcAft>
                <a:spcPts val="800"/>
              </a:spcAft>
              <a:defRPr sz="1867" b="1">
                <a:solidFill>
                  <a:schemeClr val="tx1"/>
                </a:solidFill>
              </a:defRPr>
            </a:lvl1pPr>
            <a:lvl2pPr>
              <a:lnSpc>
                <a:spcPct val="100000"/>
              </a:lnSpc>
              <a:spcBef>
                <a:spcPts val="0"/>
              </a:spcBef>
              <a:spcAft>
                <a:spcPts val="800"/>
              </a:spcAft>
              <a:defRPr sz="1333">
                <a:solidFill>
                  <a:schemeClr val="tx1"/>
                </a:solidFill>
              </a:defRPr>
            </a:lvl2pPr>
            <a:lvl3pPr>
              <a:lnSpc>
                <a:spcPct val="100000"/>
              </a:lnSpc>
              <a:spcBef>
                <a:spcPts val="0"/>
              </a:spcBef>
              <a:spcAft>
                <a:spcPts val="800"/>
              </a:spcAf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Text Placeholder 14">
            <a:extLst>
              <a:ext uri="{FF2B5EF4-FFF2-40B4-BE49-F238E27FC236}">
                <a16:creationId xmlns:a16="http://schemas.microsoft.com/office/drawing/2014/main" id="{792C796B-8106-8340-8209-9C11028F1855}"/>
              </a:ext>
            </a:extLst>
          </p:cNvPr>
          <p:cNvSpPr>
            <a:spLocks noGrp="1"/>
          </p:cNvSpPr>
          <p:nvPr>
            <p:ph type="body" sz="quarter" idx="17"/>
          </p:nvPr>
        </p:nvSpPr>
        <p:spPr>
          <a:xfrm>
            <a:off x="3793348" y="3956344"/>
            <a:ext cx="3295776" cy="2575661"/>
          </a:xfrm>
          <a:prstGeom prst="rect">
            <a:avLst/>
          </a:prstGeom>
        </p:spPr>
        <p:txBody>
          <a:bodyPr/>
          <a:lstStyle>
            <a:lvl1pPr>
              <a:lnSpc>
                <a:spcPct val="100000"/>
              </a:lnSpc>
              <a:spcBef>
                <a:spcPts val="0"/>
              </a:spcBef>
              <a:spcAft>
                <a:spcPts val="800"/>
              </a:spcAft>
              <a:defRPr sz="1867" b="1">
                <a:solidFill>
                  <a:schemeClr val="tx1"/>
                </a:solidFill>
              </a:defRPr>
            </a:lvl1pPr>
            <a:lvl2pPr>
              <a:lnSpc>
                <a:spcPct val="100000"/>
              </a:lnSpc>
              <a:spcBef>
                <a:spcPts val="0"/>
              </a:spcBef>
              <a:spcAft>
                <a:spcPts val="800"/>
              </a:spcAft>
              <a:defRPr sz="1333">
                <a:solidFill>
                  <a:schemeClr val="tx1"/>
                </a:solidFill>
              </a:defRPr>
            </a:lvl2pPr>
            <a:lvl3pPr>
              <a:lnSpc>
                <a:spcPct val="100000"/>
              </a:lnSpc>
              <a:spcBef>
                <a:spcPts val="0"/>
              </a:spcBef>
              <a:spcAft>
                <a:spcPts val="800"/>
              </a:spcAf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4">
            <a:extLst>
              <a:ext uri="{FF2B5EF4-FFF2-40B4-BE49-F238E27FC236}">
                <a16:creationId xmlns:a16="http://schemas.microsoft.com/office/drawing/2014/main" id="{D3C8F4C6-CB95-CB4B-9D21-04899E317223}"/>
              </a:ext>
            </a:extLst>
          </p:cNvPr>
          <p:cNvSpPr>
            <a:spLocks noGrp="1"/>
          </p:cNvSpPr>
          <p:nvPr>
            <p:ph type="body" sz="quarter" idx="18" hasCustomPrompt="1"/>
          </p:nvPr>
        </p:nvSpPr>
        <p:spPr>
          <a:xfrm>
            <a:off x="8382142" y="1150300"/>
            <a:ext cx="3384591" cy="1216557"/>
          </a:xfrm>
          <a:prstGeom prst="rect">
            <a:avLst/>
          </a:prstGeom>
        </p:spPr>
        <p:txBody>
          <a:bodyPr/>
          <a:lstStyle>
            <a:lvl1pPr>
              <a:lnSpc>
                <a:spcPct val="100000"/>
              </a:lnSpc>
              <a:spcBef>
                <a:spcPts val="0"/>
              </a:spcBef>
              <a:spcAft>
                <a:spcPts val="800"/>
              </a:spcAft>
              <a:defRPr sz="1867" b="1">
                <a:solidFill>
                  <a:schemeClr val="bg1"/>
                </a:solidFill>
              </a:defRPr>
            </a:lvl1pPr>
            <a:lvl2pPr marL="6351" indent="0">
              <a:lnSpc>
                <a:spcPct val="100000"/>
              </a:lnSpc>
              <a:spcBef>
                <a:spcPts val="0"/>
              </a:spcBef>
              <a:spcAft>
                <a:spcPts val="800"/>
              </a:spcAft>
              <a:buNone/>
              <a:tabLst/>
              <a:defRPr sz="1333" b="0">
                <a:solidFill>
                  <a:schemeClr val="bg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Stat </a:t>
            </a:r>
          </a:p>
          <a:p>
            <a:pPr lvl="1"/>
            <a:r>
              <a:rPr lang="en-US"/>
              <a:t>Insert a stat – stat font sizes can vary. Highlight, bold and make font sizes bigger to emphasis words, numbers etc.</a:t>
            </a:r>
          </a:p>
        </p:txBody>
      </p:sp>
      <p:sp>
        <p:nvSpPr>
          <p:cNvPr id="14" name="Text Placeholder 14">
            <a:extLst>
              <a:ext uri="{FF2B5EF4-FFF2-40B4-BE49-F238E27FC236}">
                <a16:creationId xmlns:a16="http://schemas.microsoft.com/office/drawing/2014/main" id="{BE98CBF8-FFEC-CB4F-AC31-4698165E7C79}"/>
              </a:ext>
            </a:extLst>
          </p:cNvPr>
          <p:cNvSpPr>
            <a:spLocks noGrp="1"/>
          </p:cNvSpPr>
          <p:nvPr>
            <p:ph type="body" sz="quarter" idx="19" hasCustomPrompt="1"/>
          </p:nvPr>
        </p:nvSpPr>
        <p:spPr>
          <a:xfrm>
            <a:off x="8382142" y="2485256"/>
            <a:ext cx="3384591" cy="1216557"/>
          </a:xfrm>
          <a:prstGeom prst="rect">
            <a:avLst/>
          </a:prstGeom>
        </p:spPr>
        <p:txBody>
          <a:bodyPr/>
          <a:lstStyle>
            <a:lvl1pPr>
              <a:lnSpc>
                <a:spcPct val="100000"/>
              </a:lnSpc>
              <a:spcBef>
                <a:spcPts val="0"/>
              </a:spcBef>
              <a:spcAft>
                <a:spcPts val="800"/>
              </a:spcAft>
              <a:defRPr sz="1867" b="1">
                <a:solidFill>
                  <a:schemeClr val="bg1"/>
                </a:solidFill>
              </a:defRPr>
            </a:lvl1pPr>
            <a:lvl2pPr marL="6351" indent="0">
              <a:lnSpc>
                <a:spcPct val="100000"/>
              </a:lnSpc>
              <a:spcBef>
                <a:spcPts val="0"/>
              </a:spcBef>
              <a:spcAft>
                <a:spcPts val="800"/>
              </a:spcAft>
              <a:buNone/>
              <a:tabLst/>
              <a:defRPr sz="1333" b="0">
                <a:solidFill>
                  <a:schemeClr val="bg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Stat </a:t>
            </a:r>
          </a:p>
          <a:p>
            <a:pPr lvl="1"/>
            <a:r>
              <a:rPr lang="en-US"/>
              <a:t>Insert a stat – stat font sizes can vary. Highlight, bold and make font sizes bigger to emphasis words, numbers etc.</a:t>
            </a:r>
          </a:p>
        </p:txBody>
      </p:sp>
      <p:sp>
        <p:nvSpPr>
          <p:cNvPr id="18" name="Text Placeholder 14">
            <a:extLst>
              <a:ext uri="{FF2B5EF4-FFF2-40B4-BE49-F238E27FC236}">
                <a16:creationId xmlns:a16="http://schemas.microsoft.com/office/drawing/2014/main" id="{81F20390-388B-584A-8DB8-21850995DF39}"/>
              </a:ext>
            </a:extLst>
          </p:cNvPr>
          <p:cNvSpPr>
            <a:spLocks noGrp="1"/>
          </p:cNvSpPr>
          <p:nvPr>
            <p:ph type="body" sz="quarter" idx="20" hasCustomPrompt="1"/>
          </p:nvPr>
        </p:nvSpPr>
        <p:spPr>
          <a:xfrm>
            <a:off x="8382142" y="3826116"/>
            <a:ext cx="3384591" cy="1216557"/>
          </a:xfrm>
          <a:prstGeom prst="rect">
            <a:avLst/>
          </a:prstGeom>
        </p:spPr>
        <p:txBody>
          <a:bodyPr/>
          <a:lstStyle>
            <a:lvl1pPr>
              <a:lnSpc>
                <a:spcPct val="100000"/>
              </a:lnSpc>
              <a:spcBef>
                <a:spcPts val="0"/>
              </a:spcBef>
              <a:spcAft>
                <a:spcPts val="800"/>
              </a:spcAft>
              <a:defRPr sz="1867" b="1">
                <a:solidFill>
                  <a:schemeClr val="bg1"/>
                </a:solidFill>
              </a:defRPr>
            </a:lvl1pPr>
            <a:lvl2pPr marL="6351" indent="0">
              <a:lnSpc>
                <a:spcPct val="100000"/>
              </a:lnSpc>
              <a:spcBef>
                <a:spcPts val="0"/>
              </a:spcBef>
              <a:spcAft>
                <a:spcPts val="800"/>
              </a:spcAft>
              <a:buNone/>
              <a:tabLst/>
              <a:defRPr sz="1333" b="0">
                <a:solidFill>
                  <a:schemeClr val="bg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Stat </a:t>
            </a:r>
          </a:p>
          <a:p>
            <a:pPr lvl="1"/>
            <a:r>
              <a:rPr lang="en-US"/>
              <a:t>Insert a stat – stat font sizes can vary. Highlight, bold and make font sizes bigger to emphasis words, numbers etc.</a:t>
            </a:r>
          </a:p>
        </p:txBody>
      </p:sp>
      <p:sp>
        <p:nvSpPr>
          <p:cNvPr id="19" name="Text Placeholder 14">
            <a:extLst>
              <a:ext uri="{FF2B5EF4-FFF2-40B4-BE49-F238E27FC236}">
                <a16:creationId xmlns:a16="http://schemas.microsoft.com/office/drawing/2014/main" id="{CADFF860-547A-0542-BEF3-801024CE4D1F}"/>
              </a:ext>
            </a:extLst>
          </p:cNvPr>
          <p:cNvSpPr>
            <a:spLocks noGrp="1"/>
          </p:cNvSpPr>
          <p:nvPr>
            <p:ph type="body" sz="quarter" idx="21" hasCustomPrompt="1"/>
          </p:nvPr>
        </p:nvSpPr>
        <p:spPr>
          <a:xfrm>
            <a:off x="8382142" y="5162040"/>
            <a:ext cx="3384591" cy="1216557"/>
          </a:xfrm>
          <a:prstGeom prst="rect">
            <a:avLst/>
          </a:prstGeom>
        </p:spPr>
        <p:txBody>
          <a:bodyPr/>
          <a:lstStyle>
            <a:lvl1pPr>
              <a:lnSpc>
                <a:spcPct val="100000"/>
              </a:lnSpc>
              <a:spcBef>
                <a:spcPts val="0"/>
              </a:spcBef>
              <a:spcAft>
                <a:spcPts val="800"/>
              </a:spcAft>
              <a:defRPr sz="1867" b="1">
                <a:solidFill>
                  <a:schemeClr val="bg1"/>
                </a:solidFill>
              </a:defRPr>
            </a:lvl1pPr>
            <a:lvl2pPr marL="6351" indent="0">
              <a:lnSpc>
                <a:spcPct val="100000"/>
              </a:lnSpc>
              <a:spcBef>
                <a:spcPts val="0"/>
              </a:spcBef>
              <a:spcAft>
                <a:spcPts val="800"/>
              </a:spcAft>
              <a:buNone/>
              <a:tabLst/>
              <a:defRPr sz="1333" b="0">
                <a:solidFill>
                  <a:schemeClr val="bg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Stat </a:t>
            </a:r>
          </a:p>
          <a:p>
            <a:pPr lvl="1"/>
            <a:r>
              <a:rPr lang="en-US"/>
              <a:t>Insert a stat – stat font sizes can vary. Highlight, bold and make font sizes bigger to emphasis words, numbers etc.</a:t>
            </a:r>
          </a:p>
        </p:txBody>
      </p:sp>
      <p:grpSp>
        <p:nvGrpSpPr>
          <p:cNvPr id="20" name="Group 19">
            <a:extLst>
              <a:ext uri="{FF2B5EF4-FFF2-40B4-BE49-F238E27FC236}">
                <a16:creationId xmlns:a16="http://schemas.microsoft.com/office/drawing/2014/main" id="{5F7CA78E-A213-6B4E-B75E-6EFB617BFE5D}"/>
              </a:ext>
            </a:extLst>
          </p:cNvPr>
          <p:cNvGrpSpPr/>
          <p:nvPr userDrawn="1"/>
        </p:nvGrpSpPr>
        <p:grpSpPr>
          <a:xfrm>
            <a:off x="10458439" y="332679"/>
            <a:ext cx="1308293" cy="484944"/>
            <a:chOff x="7843828" y="249509"/>
            <a:chExt cx="981220" cy="363708"/>
          </a:xfrm>
          <a:solidFill>
            <a:schemeClr val="bg1"/>
          </a:solidFill>
        </p:grpSpPr>
        <p:sp>
          <p:nvSpPr>
            <p:cNvPr id="21" name="Freeform 5">
              <a:extLst>
                <a:ext uri="{FF2B5EF4-FFF2-40B4-BE49-F238E27FC236}">
                  <a16:creationId xmlns:a16="http://schemas.microsoft.com/office/drawing/2014/main" id="{59D9A1D5-B353-C540-A8E4-E6692257BF92}"/>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6">
              <a:extLst>
                <a:ext uri="{FF2B5EF4-FFF2-40B4-BE49-F238E27FC236}">
                  <a16:creationId xmlns:a16="http://schemas.microsoft.com/office/drawing/2014/main" id="{980A7EE1-042D-5249-8ABF-D84C5D863AA7}"/>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26" name="Text Placeholder 14">
            <a:extLst>
              <a:ext uri="{FF2B5EF4-FFF2-40B4-BE49-F238E27FC236}">
                <a16:creationId xmlns:a16="http://schemas.microsoft.com/office/drawing/2014/main" id="{F98A09B1-B076-8A4C-A2D2-76080BCDF867}"/>
              </a:ext>
            </a:extLst>
          </p:cNvPr>
          <p:cNvSpPr>
            <a:spLocks noGrp="1"/>
          </p:cNvSpPr>
          <p:nvPr>
            <p:ph type="body" sz="quarter" idx="22" hasCustomPrompt="1"/>
          </p:nvPr>
        </p:nvSpPr>
        <p:spPr>
          <a:xfrm>
            <a:off x="313380" y="401823"/>
            <a:ext cx="6775744" cy="307776"/>
          </a:xfrm>
          <a:prstGeom prst="rect">
            <a:avLst/>
          </a:prstGeom>
        </p:spPr>
        <p:txBody>
          <a:bodyPr/>
          <a:lstStyle>
            <a:lvl1pPr>
              <a:lnSpc>
                <a:spcPct val="100000"/>
              </a:lnSpc>
              <a:spcBef>
                <a:spcPts val="0"/>
              </a:spcBef>
              <a:spcAft>
                <a:spcPts val="800"/>
              </a:spcAft>
              <a:defRPr sz="1200" b="1">
                <a:solidFill>
                  <a:schemeClr val="tx1"/>
                </a:solidFill>
              </a:defRPr>
            </a:lvl1pPr>
            <a:lvl2pPr marL="6351" indent="0">
              <a:lnSpc>
                <a:spcPct val="100000"/>
              </a:lnSpc>
              <a:spcBef>
                <a:spcPts val="0"/>
              </a:spcBef>
              <a:spcAft>
                <a:spcPts val="800"/>
              </a:spcAft>
              <a:buNone/>
              <a:tabLst/>
              <a:defRPr sz="1333" b="0">
                <a:solidFill>
                  <a:schemeClr val="tx1"/>
                </a:solidFill>
              </a:defRPr>
            </a:lvl2pPr>
            <a:lvl3pPr marL="6351" indent="0">
              <a:lnSpc>
                <a:spcPct val="100000"/>
              </a:lnSpc>
              <a:spcBef>
                <a:spcPts val="0"/>
              </a:spcBef>
              <a:spcAft>
                <a:spcPts val="800"/>
              </a:spcAft>
              <a:buNone/>
              <a:tabLst/>
              <a:defRPr sz="1200">
                <a:solidFill>
                  <a:schemeClr val="tx1"/>
                </a:solidFill>
              </a:defRPr>
            </a:lvl3pPr>
            <a:lvl4pPr>
              <a:lnSpc>
                <a:spcPct val="100000"/>
              </a:lnSpc>
              <a:spcBef>
                <a:spcPts val="0"/>
              </a:spcBef>
              <a:spcAft>
                <a:spcPts val="800"/>
              </a:spcAft>
              <a:defRPr sz="1600">
                <a:solidFill>
                  <a:schemeClr val="bg1"/>
                </a:solidFill>
              </a:defRPr>
            </a:lvl4pPr>
            <a:lvl5pPr>
              <a:defRPr>
                <a:solidFill>
                  <a:schemeClr val="bg1"/>
                </a:solidFill>
              </a:defRPr>
            </a:lvl5pPr>
          </a:lstStyle>
          <a:p>
            <a:pPr lvl="0"/>
            <a:r>
              <a:rPr lang="en-US"/>
              <a:t>Name of client</a:t>
            </a:r>
          </a:p>
        </p:txBody>
      </p:sp>
      <p:sp>
        <p:nvSpPr>
          <p:cNvPr id="6" name="Picture Placeholder 5">
            <a:extLst>
              <a:ext uri="{FF2B5EF4-FFF2-40B4-BE49-F238E27FC236}">
                <a16:creationId xmlns:a16="http://schemas.microsoft.com/office/drawing/2014/main" id="{0AFA50D4-AAC9-BE47-9182-45B18F50EC29}"/>
              </a:ext>
            </a:extLst>
          </p:cNvPr>
          <p:cNvSpPr>
            <a:spLocks noGrp="1"/>
          </p:cNvSpPr>
          <p:nvPr>
            <p:ph type="pic" sz="quarter" idx="23" hasCustomPrompt="1"/>
          </p:nvPr>
        </p:nvSpPr>
        <p:spPr>
          <a:xfrm>
            <a:off x="7632701" y="1149351"/>
            <a:ext cx="603251" cy="789516"/>
          </a:xfrm>
          <a:prstGeom prst="rect">
            <a:avLst/>
          </a:prstGeom>
        </p:spPr>
        <p:txBody>
          <a:bodyPr/>
          <a:lstStyle>
            <a:lvl1pPr>
              <a:defRPr sz="1333">
                <a:solidFill>
                  <a:schemeClr val="bg1"/>
                </a:solidFill>
              </a:defRPr>
            </a:lvl1pPr>
          </a:lstStyle>
          <a:p>
            <a:r>
              <a:rPr lang="en-US"/>
              <a:t>icon</a:t>
            </a:r>
          </a:p>
        </p:txBody>
      </p:sp>
      <p:sp>
        <p:nvSpPr>
          <p:cNvPr id="27" name="Picture Placeholder 5">
            <a:extLst>
              <a:ext uri="{FF2B5EF4-FFF2-40B4-BE49-F238E27FC236}">
                <a16:creationId xmlns:a16="http://schemas.microsoft.com/office/drawing/2014/main" id="{E045957B-5939-454A-9A40-6F7D849880C6}"/>
              </a:ext>
            </a:extLst>
          </p:cNvPr>
          <p:cNvSpPr>
            <a:spLocks noGrp="1"/>
          </p:cNvSpPr>
          <p:nvPr>
            <p:ph type="pic" sz="quarter" idx="24" hasCustomPrompt="1"/>
          </p:nvPr>
        </p:nvSpPr>
        <p:spPr>
          <a:xfrm>
            <a:off x="7632701" y="2474151"/>
            <a:ext cx="603251" cy="789516"/>
          </a:xfrm>
          <a:prstGeom prst="rect">
            <a:avLst/>
          </a:prstGeom>
        </p:spPr>
        <p:txBody>
          <a:bodyPr/>
          <a:lstStyle>
            <a:lvl1pPr>
              <a:defRPr sz="1333">
                <a:solidFill>
                  <a:schemeClr val="bg1"/>
                </a:solidFill>
              </a:defRPr>
            </a:lvl1pPr>
          </a:lstStyle>
          <a:p>
            <a:r>
              <a:rPr lang="en-US"/>
              <a:t>icon</a:t>
            </a:r>
          </a:p>
        </p:txBody>
      </p:sp>
      <p:sp>
        <p:nvSpPr>
          <p:cNvPr id="28" name="Picture Placeholder 5">
            <a:extLst>
              <a:ext uri="{FF2B5EF4-FFF2-40B4-BE49-F238E27FC236}">
                <a16:creationId xmlns:a16="http://schemas.microsoft.com/office/drawing/2014/main" id="{0E274740-D0BB-F64D-BEF3-7BEF277EF2D9}"/>
              </a:ext>
            </a:extLst>
          </p:cNvPr>
          <p:cNvSpPr>
            <a:spLocks noGrp="1"/>
          </p:cNvSpPr>
          <p:nvPr>
            <p:ph type="pic" sz="quarter" idx="25" hasCustomPrompt="1"/>
          </p:nvPr>
        </p:nvSpPr>
        <p:spPr>
          <a:xfrm>
            <a:off x="7632701" y="3818151"/>
            <a:ext cx="603251" cy="789516"/>
          </a:xfrm>
          <a:prstGeom prst="rect">
            <a:avLst/>
          </a:prstGeom>
        </p:spPr>
        <p:txBody>
          <a:bodyPr/>
          <a:lstStyle>
            <a:lvl1pPr>
              <a:defRPr sz="1333">
                <a:solidFill>
                  <a:schemeClr val="bg1"/>
                </a:solidFill>
              </a:defRPr>
            </a:lvl1pPr>
          </a:lstStyle>
          <a:p>
            <a:r>
              <a:rPr lang="en-US"/>
              <a:t>icon</a:t>
            </a:r>
          </a:p>
        </p:txBody>
      </p:sp>
      <p:sp>
        <p:nvSpPr>
          <p:cNvPr id="29" name="Picture Placeholder 5">
            <a:extLst>
              <a:ext uri="{FF2B5EF4-FFF2-40B4-BE49-F238E27FC236}">
                <a16:creationId xmlns:a16="http://schemas.microsoft.com/office/drawing/2014/main" id="{E62625D8-9B9D-1E47-9FEA-E927A25AA9BB}"/>
              </a:ext>
            </a:extLst>
          </p:cNvPr>
          <p:cNvSpPr>
            <a:spLocks noGrp="1"/>
          </p:cNvSpPr>
          <p:nvPr>
            <p:ph type="pic" sz="quarter" idx="26" hasCustomPrompt="1"/>
          </p:nvPr>
        </p:nvSpPr>
        <p:spPr>
          <a:xfrm>
            <a:off x="7632701" y="5152551"/>
            <a:ext cx="603251" cy="789516"/>
          </a:xfrm>
          <a:prstGeom prst="rect">
            <a:avLst/>
          </a:prstGeom>
        </p:spPr>
        <p:txBody>
          <a:bodyPr/>
          <a:lstStyle>
            <a:lvl1pPr>
              <a:defRPr sz="1333">
                <a:solidFill>
                  <a:schemeClr val="bg1"/>
                </a:solidFill>
              </a:defRPr>
            </a:lvl1pPr>
          </a:lstStyle>
          <a:p>
            <a:r>
              <a:rPr lang="en-US"/>
              <a:t>icon</a:t>
            </a:r>
          </a:p>
        </p:txBody>
      </p:sp>
    </p:spTree>
    <p:extLst>
      <p:ext uri="{BB962C8B-B14F-4D97-AF65-F5344CB8AC3E}">
        <p14:creationId xmlns:p14="http://schemas.microsoft.com/office/powerpoint/2010/main" val="32205528"/>
      </p:ext>
    </p:extLst>
  </p:cSld>
  <p:clrMapOvr>
    <a:masterClrMapping/>
  </p:clrMapOvr>
  <p:extLst>
    <p:ext uri="{DCECCB84-F9BA-43D5-87BE-67443E8EF086}">
      <p15:sldGuideLst xmlns:p15="http://schemas.microsoft.com/office/powerpoint/2012/main">
        <p15:guide id="2" pos="5534">
          <p15:clr>
            <a:srgbClr val="FBAE40"/>
          </p15:clr>
        </p15:guide>
        <p15:guide id="3" pos="226">
          <p15:clr>
            <a:srgbClr val="FBAE40"/>
          </p15:clr>
        </p15:guide>
        <p15:guide id="4" orient="horz" pos="194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TT_title_and_content_page_white_no_logo">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00C42D-D963-4A7D-BF8F-59DAD32DEBC8}"/>
              </a:ext>
            </a:extLst>
          </p:cNvPr>
          <p:cNvGraphicFramePr>
            <a:graphicFrameLocks noChangeAspect="1"/>
          </p:cNvGraphicFramePr>
          <p:nvPr userDrawn="1">
            <p:custDataLst>
              <p:tags r:id="rId1"/>
            </p:custDataLst>
            <p:extLst>
              <p:ext uri="{D42A27DB-BD31-4B8C-83A1-F6EECF244321}">
                <p14:modId xmlns:p14="http://schemas.microsoft.com/office/powerpoint/2010/main" val="78327903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3" name="Object 2" hidden="1">
                        <a:extLst>
                          <a:ext uri="{FF2B5EF4-FFF2-40B4-BE49-F238E27FC236}">
                            <a16:creationId xmlns:a16="http://schemas.microsoft.com/office/drawing/2014/main" id="{A200C42D-D963-4A7D-BF8F-59DAD32DEBC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F83D916-1215-4C03-9845-306DCEEB40F1}"/>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p:nvPr>
        </p:nvSpPr>
        <p:spPr>
          <a:xfrm>
            <a:off x="396691" y="169334"/>
            <a:ext cx="9770027" cy="447217"/>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lick to edit Master title style</a:t>
            </a:r>
          </a:p>
        </p:txBody>
      </p:sp>
      <p:sp>
        <p:nvSpPr>
          <p:cNvPr id="8" name="Content Placeholder 2"/>
          <p:cNvSpPr>
            <a:spLocks noGrp="1"/>
          </p:cNvSpPr>
          <p:nvPr>
            <p:ph idx="1"/>
          </p:nvPr>
        </p:nvSpPr>
        <p:spPr>
          <a:xfrm>
            <a:off x="396694" y="1529025"/>
            <a:ext cx="11376207" cy="1919073"/>
          </a:xfrm>
          <a:prstGeom prst="rect">
            <a:avLst/>
          </a:prstGeom>
        </p:spPr>
        <p:txBody>
          <a:bodyPr/>
          <a:lstStyle>
            <a:lvl1pPr algn="l" rtl="0">
              <a:defRPr sz="2400">
                <a:solidFill>
                  <a:schemeClr val="tx1"/>
                </a:solidFill>
                <a:latin typeface="Arial"/>
                <a:cs typeface="Arial"/>
              </a:defRPr>
            </a:lvl1pPr>
            <a:lvl2pPr algn="l" rtl="0">
              <a:defRPr sz="1867">
                <a:solidFill>
                  <a:schemeClr val="tx1"/>
                </a:solidFill>
                <a:latin typeface="Arial"/>
                <a:cs typeface="Arial"/>
              </a:defRPr>
            </a:lvl2pPr>
            <a:lvl3pPr algn="l" rtl="0">
              <a:defRPr sz="1600">
                <a:solidFill>
                  <a:schemeClr val="tx1"/>
                </a:solidFill>
                <a:latin typeface="Arial"/>
                <a:cs typeface="Arial"/>
              </a:defRPr>
            </a:lvl3pPr>
            <a:lvl4pPr algn="l" rtl="0">
              <a:defRPr sz="1467">
                <a:solidFill>
                  <a:schemeClr val="tx1"/>
                </a:solidFill>
                <a:latin typeface="Arial"/>
                <a:cs typeface="Arial"/>
              </a:defRPr>
            </a:lvl4pPr>
            <a:lvl5pPr algn="l" rtl="0">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6731466-BD37-0B4A-BE69-CBD86F77A5A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9" name="Text Placeholder 2">
            <a:extLst>
              <a:ext uri="{FF2B5EF4-FFF2-40B4-BE49-F238E27FC236}">
                <a16:creationId xmlns:a16="http://schemas.microsoft.com/office/drawing/2014/main" id="{A2FD43D3-9DCE-4E30-810E-E3C88EB6F7CF}"/>
              </a:ext>
            </a:extLst>
          </p:cNvPr>
          <p:cNvSpPr>
            <a:spLocks noGrp="1"/>
          </p:cNvSpPr>
          <p:nvPr>
            <p:ph type="body" sz="quarter" idx="10" hasCustomPrompt="1"/>
          </p:nvPr>
        </p:nvSpPr>
        <p:spPr>
          <a:xfrm>
            <a:off x="396692" y="6423417"/>
            <a:ext cx="6706073" cy="285335"/>
          </a:xfrm>
          <a:prstGeom prst="rect">
            <a:avLst/>
          </a:prstGeom>
        </p:spPr>
        <p:txBody>
          <a:bodyPr anchor="ctr"/>
          <a:lstStyle>
            <a:lvl1pPr marL="0" marR="0" indent="0" algn="l" defTabSz="1219170" rtl="0" eaLnBrk="1" fontAlgn="auto" latinLnBrk="0" hangingPunct="1">
              <a:lnSpc>
                <a:spcPct val="114000"/>
              </a:lnSpc>
              <a:spcBef>
                <a:spcPts val="800"/>
              </a:spcBef>
              <a:spcAft>
                <a:spcPts val="133"/>
              </a:spcAft>
              <a:buClrTx/>
              <a:buSzTx/>
              <a:buFont typeface="Arial" pitchFamily="34" charset="0"/>
              <a:buNone/>
              <a:tabLst/>
              <a:defRPr sz="1067">
                <a:solidFill>
                  <a:schemeClr val="tx1"/>
                </a:solidFill>
              </a:defRPr>
            </a:lvl1pPr>
          </a:lstStyle>
          <a:p>
            <a:pPr marL="0" marR="0" lvl="0" indent="0" algn="l" defTabSz="1219170" rtl="0" eaLnBrk="1" fontAlgn="auto" latinLnBrk="0" hangingPunct="1">
              <a:lnSpc>
                <a:spcPct val="114000"/>
              </a:lnSpc>
              <a:spcBef>
                <a:spcPts val="800"/>
              </a:spcBef>
              <a:spcAft>
                <a:spcPts val="133"/>
              </a:spcAft>
              <a:buClrTx/>
              <a:buSzTx/>
              <a:buFont typeface="Arial" pitchFamily="34" charset="0"/>
              <a:buNone/>
              <a:tabLst/>
              <a:defRPr/>
            </a:pPr>
            <a:r>
              <a:rPr lang="en-US" sz="1200">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143882020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NTT_divider_page">
    <p:spTree>
      <p:nvGrpSpPr>
        <p:cNvPr id="1" name=""/>
        <p:cNvGrpSpPr/>
        <p:nvPr/>
      </p:nvGrpSpPr>
      <p:grpSpPr>
        <a:xfrm>
          <a:off x="0" y="0"/>
          <a:ext cx="0" cy="0"/>
          <a:chOff x="0" y="0"/>
          <a:chExt cx="0" cy="0"/>
        </a:xfrm>
      </p:grpSpPr>
      <p:sp>
        <p:nvSpPr>
          <p:cNvPr id="10" name="Picture Placeholder 3"/>
          <p:cNvSpPr>
            <a:spLocks noGrp="1"/>
          </p:cNvSpPr>
          <p:nvPr userDrawn="1">
            <p:ph type="pic" sz="quarter" idx="14"/>
          </p:nvPr>
        </p:nvSpPr>
        <p:spPr>
          <a:xfrm>
            <a:off x="0" y="4925"/>
            <a:ext cx="12192000" cy="6362011"/>
          </a:xfrm>
          <a:prstGeom prst="rect">
            <a:avLst/>
          </a:prstGeom>
        </p:spPr>
        <p:txBody>
          <a:bodyPr/>
          <a:lstStyle>
            <a:lvl1pPr>
              <a:defRPr>
                <a:solidFill>
                  <a:schemeClr val="tx1"/>
                </a:solidFill>
                <a:latin typeface="Arial"/>
              </a:defRPr>
            </a:lvl1pPr>
          </a:lstStyle>
          <a:p>
            <a:r>
              <a:rPr lang="en-US" altLang="ja-JP"/>
              <a:t>Click icon to add picture</a:t>
            </a:r>
            <a:endParaRPr lang="en-US"/>
          </a:p>
        </p:txBody>
      </p:sp>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3"/>
            <a:ext cx="11408804" cy="631775"/>
          </a:xfrm>
          <a:prstGeom prst="rect">
            <a:avLst/>
          </a:prstGeom>
        </p:spPr>
        <p:txBody>
          <a:bodyPr anchor="ctr"/>
          <a:lstStyle>
            <a:lvl1pPr algn="ctr">
              <a:defRPr sz="3200" b="1">
                <a:solidFill>
                  <a:schemeClr val="tx1"/>
                </a:solidFill>
              </a:defRPr>
            </a:lvl1pPr>
          </a:lstStyle>
          <a:p>
            <a:r>
              <a:rPr lang="en-US" altLang="ja-JP"/>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9"/>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5" name="Rectangle 4">
            <a:extLst>
              <a:ext uri="{FF2B5EF4-FFF2-40B4-BE49-F238E27FC236}">
                <a16:creationId xmlns:a16="http://schemas.microsoft.com/office/drawing/2014/main" id="{DBB9AF9C-B2E6-1240-91F3-67F7FFEE08DD}"/>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2" name="Text Placeholder 2">
            <a:extLst>
              <a:ext uri="{FF2B5EF4-FFF2-40B4-BE49-F238E27FC236}">
                <a16:creationId xmlns:a16="http://schemas.microsoft.com/office/drawing/2014/main" id="{6C6B5D88-6607-5741-86F4-1EEAB506600C}"/>
              </a:ext>
            </a:extLst>
          </p:cNvPr>
          <p:cNvSpPr>
            <a:spLocks noGrp="1"/>
          </p:cNvSpPr>
          <p:nvPr>
            <p:ph type="body" sz="quarter" idx="30" hasCustomPrompt="1"/>
          </p:nvPr>
        </p:nvSpPr>
        <p:spPr>
          <a:xfrm>
            <a:off x="6376011" y="6499792"/>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3" name="Text Placeholder 2">
            <a:extLst>
              <a:ext uri="{FF2B5EF4-FFF2-40B4-BE49-F238E27FC236}">
                <a16:creationId xmlns:a16="http://schemas.microsoft.com/office/drawing/2014/main" id="{11B59C2C-0DBF-914F-9BF0-50A28F73C69C}"/>
              </a:ext>
            </a:extLst>
          </p:cNvPr>
          <p:cNvSpPr>
            <a:spLocks noGrp="1"/>
          </p:cNvSpPr>
          <p:nvPr>
            <p:ph type="body" sz="quarter" idx="31" hasCustomPrompt="1"/>
          </p:nvPr>
        </p:nvSpPr>
        <p:spPr>
          <a:xfrm>
            <a:off x="11367694" y="6499875"/>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4" name="Rectangle 25">
            <a:extLst>
              <a:ext uri="{FF2B5EF4-FFF2-40B4-BE49-F238E27FC236}">
                <a16:creationId xmlns:a16="http://schemas.microsoft.com/office/drawing/2014/main" id="{160EC823-744A-4260-A76A-E1CE202A9053}"/>
              </a:ext>
            </a:extLst>
          </p:cNvPr>
          <p:cNvSpPr/>
          <p:nvPr userDrawn="1"/>
        </p:nvSpPr>
        <p:spPr>
          <a:xfrm>
            <a:off x="215899" y="6463379"/>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424738147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2_NTT_title_and_content_page_blue">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grpSp>
        <p:nvGrpSpPr>
          <p:cNvPr id="6" name="Group 5">
            <a:extLst>
              <a:ext uri="{FF2B5EF4-FFF2-40B4-BE49-F238E27FC236}">
                <a16:creationId xmlns:a16="http://schemas.microsoft.com/office/drawing/2014/main" id="{219E7F25-2EF7-AC46-BE52-64D82B8A6273}"/>
              </a:ext>
            </a:extLst>
          </p:cNvPr>
          <p:cNvGrpSpPr/>
          <p:nvPr userDrawn="1"/>
        </p:nvGrpSpPr>
        <p:grpSpPr>
          <a:xfrm>
            <a:off x="10458438" y="332679"/>
            <a:ext cx="1308293" cy="484944"/>
            <a:chOff x="7843828" y="249509"/>
            <a:chExt cx="981220" cy="363708"/>
          </a:xfrm>
          <a:solidFill>
            <a:schemeClr val="tx1"/>
          </a:solidFill>
        </p:grpSpPr>
        <p:sp>
          <p:nvSpPr>
            <p:cNvPr id="9" name="Freeform 5">
              <a:extLst>
                <a:ext uri="{FF2B5EF4-FFF2-40B4-BE49-F238E27FC236}">
                  <a16:creationId xmlns:a16="http://schemas.microsoft.com/office/drawing/2014/main" id="{4A00651C-630D-2848-8A6C-1E402542AC62}"/>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104E9F5D-D76D-464B-8603-B48994E271E3}"/>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Rectangle 12">
            <a:extLst>
              <a:ext uri="{FF2B5EF4-FFF2-40B4-BE49-F238E27FC236}">
                <a16:creationId xmlns:a16="http://schemas.microsoft.com/office/drawing/2014/main" id="{DF6AFE03-9868-924A-868D-3114D133DE8D}"/>
              </a:ext>
            </a:extLst>
          </p:cNvPr>
          <p:cNvSpPr/>
          <p:nvPr userDrawn="1"/>
        </p:nvSpPr>
        <p:spPr>
          <a:xfrm>
            <a:off x="215899" y="6463378"/>
            <a:ext cx="2479012" cy="276999"/>
          </a:xfrm>
          <a:prstGeom prst="rect">
            <a:avLst/>
          </a:prstGeom>
        </p:spPr>
        <p:txBody>
          <a:bodyPr wrap="none">
            <a:spAutoFit/>
          </a:bodyPr>
          <a:lstStyle/>
          <a:p>
            <a:pPr algn="l"/>
            <a:r>
              <a:rPr lang="en-US" sz="1200"/>
              <a:t>2021 © NTT ‘All Rights Reserved’</a:t>
            </a:r>
          </a:p>
        </p:txBody>
      </p:sp>
      <p:sp>
        <p:nvSpPr>
          <p:cNvPr id="14" name="Text Placeholder 2">
            <a:extLst>
              <a:ext uri="{FF2B5EF4-FFF2-40B4-BE49-F238E27FC236}">
                <a16:creationId xmlns:a16="http://schemas.microsoft.com/office/drawing/2014/main" id="{F4B87F2D-9146-5549-9517-387B0BFBA5F2}"/>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5" name="Text Placeholder 2">
            <a:extLst>
              <a:ext uri="{FF2B5EF4-FFF2-40B4-BE49-F238E27FC236}">
                <a16:creationId xmlns:a16="http://schemas.microsoft.com/office/drawing/2014/main" id="{A51DD9DF-6CF5-DD46-9D17-0EBC75D93F2F}"/>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821981116"/>
      </p:ext>
    </p:extLst>
  </p:cSld>
  <p:clrMapOvr>
    <a:overrideClrMapping bg1="dk1" tx1="lt1" bg2="dk2" tx2="lt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66A926-8D7C-6B41-8650-7B8F216F4FD1}"/>
              </a:ext>
            </a:extLst>
          </p:cNvPr>
          <p:cNvSpPr/>
          <p:nvPr userDrawn="1"/>
        </p:nvSpPr>
        <p:spPr>
          <a:xfrm>
            <a:off x="1" y="0"/>
            <a:ext cx="12191999" cy="6858000"/>
          </a:xfrm>
          <a:prstGeom prst="rect">
            <a:avLst/>
          </a:prstGeom>
          <a:solidFill>
            <a:srgbClr val="0070C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rial"/>
              <a:ea typeface="+mn-ea"/>
              <a:cs typeface="+mn-cs"/>
            </a:endParaRPr>
          </a:p>
        </p:txBody>
      </p:sp>
      <p:pic>
        <p:nvPicPr>
          <p:cNvPr id="6" name="Picture 5" descr="A person standing in front of a building&#10;&#10;Description automatically generated">
            <a:extLst>
              <a:ext uri="{FF2B5EF4-FFF2-40B4-BE49-F238E27FC236}">
                <a16:creationId xmlns:a16="http://schemas.microsoft.com/office/drawing/2014/main" id="{BEEB82CD-BC48-8646-95BB-5321F959EA92}"/>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7530883" y="-4371"/>
            <a:ext cx="4661116" cy="6862371"/>
          </a:xfrm>
          <a:prstGeom prst="rect">
            <a:avLst/>
          </a:prstGeom>
        </p:spPr>
      </p:pic>
      <p:sp>
        <p:nvSpPr>
          <p:cNvPr id="9" name="Title 1">
            <a:extLst>
              <a:ext uri="{FF2B5EF4-FFF2-40B4-BE49-F238E27FC236}">
                <a16:creationId xmlns:a16="http://schemas.microsoft.com/office/drawing/2014/main" id="{B2152E95-7148-1C4E-A2A3-CE6B6F374A6F}"/>
              </a:ext>
            </a:extLst>
          </p:cNvPr>
          <p:cNvSpPr>
            <a:spLocks noGrp="1"/>
          </p:cNvSpPr>
          <p:nvPr>
            <p:ph type="title"/>
          </p:nvPr>
        </p:nvSpPr>
        <p:spPr>
          <a:xfrm>
            <a:off x="396692" y="169334"/>
            <a:ext cx="9725123" cy="793751"/>
          </a:xfrm>
          <a:prstGeom prst="rect">
            <a:avLst/>
          </a:prstGeom>
        </p:spPr>
        <p:txBody>
          <a:bodyPr anchor="ctr"/>
          <a:lstStyle>
            <a:lvl1pPr>
              <a:defRPr sz="3200" b="1">
                <a:solidFill>
                  <a:schemeClr val="bg1"/>
                </a:solidFill>
                <a:latin typeface="Arial"/>
                <a:cs typeface="Arial"/>
              </a:defRPr>
            </a:lvl1pPr>
          </a:lstStyle>
          <a:p>
            <a:r>
              <a:rPr lang="en-GB"/>
              <a:t>Click to edit Master title style</a:t>
            </a:r>
            <a:endParaRPr lang="en-ZA"/>
          </a:p>
        </p:txBody>
      </p:sp>
      <p:sp>
        <p:nvSpPr>
          <p:cNvPr id="10" name="Content Placeholder 2">
            <a:extLst>
              <a:ext uri="{FF2B5EF4-FFF2-40B4-BE49-F238E27FC236}">
                <a16:creationId xmlns:a16="http://schemas.microsoft.com/office/drawing/2014/main" id="{156E4CDC-FE24-C745-8696-301AE98B0251}"/>
              </a:ext>
            </a:extLst>
          </p:cNvPr>
          <p:cNvSpPr>
            <a:spLocks noGrp="1"/>
          </p:cNvSpPr>
          <p:nvPr>
            <p:ph idx="1"/>
          </p:nvPr>
        </p:nvSpPr>
        <p:spPr>
          <a:xfrm>
            <a:off x="396694" y="1529025"/>
            <a:ext cx="6691199" cy="4775113"/>
          </a:xfrm>
          <a:prstGeom prst="rect">
            <a:avLst/>
          </a:prstGeom>
        </p:spPr>
        <p:txBody>
          <a:bodyPr/>
          <a:lstStyle>
            <a:lvl1pPr algn="l">
              <a:defRPr sz="2400">
                <a:solidFill>
                  <a:schemeClr val="bg1"/>
                </a:solidFill>
                <a:latin typeface="Arial"/>
                <a:cs typeface="Arial"/>
              </a:defRPr>
            </a:lvl1pPr>
            <a:lvl2pPr algn="l">
              <a:defRPr sz="1867">
                <a:solidFill>
                  <a:schemeClr val="bg1"/>
                </a:solidFill>
                <a:latin typeface="Arial"/>
                <a:cs typeface="Arial"/>
              </a:defRPr>
            </a:lvl2pPr>
            <a:lvl3pPr algn="l">
              <a:defRPr sz="1600">
                <a:solidFill>
                  <a:schemeClr val="bg1"/>
                </a:solidFill>
                <a:latin typeface="Arial"/>
                <a:cs typeface="Arial"/>
              </a:defRPr>
            </a:lvl3pPr>
            <a:lvl4pPr algn="l">
              <a:defRPr sz="1467">
                <a:solidFill>
                  <a:schemeClr val="bg1"/>
                </a:solidFill>
                <a:latin typeface="Arial"/>
                <a:cs typeface="Arial"/>
              </a:defRPr>
            </a:lvl4pPr>
            <a:lvl5pPr algn="l">
              <a:defRPr sz="1467">
                <a:solidFill>
                  <a:schemeClr val="bg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pic>
        <p:nvPicPr>
          <p:cNvPr id="11" name="Picture 10">
            <a:extLst>
              <a:ext uri="{FF2B5EF4-FFF2-40B4-BE49-F238E27FC236}">
                <a16:creationId xmlns:a16="http://schemas.microsoft.com/office/drawing/2014/main" id="{5C7894B9-3D57-A74F-8EAB-1EB8222E9F99}"/>
              </a:ext>
            </a:extLst>
          </p:cNvPr>
          <p:cNvPicPr>
            <a:picLocks noChangeAspect="1"/>
          </p:cNvPicPr>
          <p:nvPr userDrawn="1"/>
        </p:nvPicPr>
        <p:blipFill>
          <a:blip r:embed="rId3"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146885995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7_Custom Layout">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66A926-8D7C-6B41-8650-7B8F216F4FD1}"/>
              </a:ext>
            </a:extLst>
          </p:cNvPr>
          <p:cNvSpPr/>
          <p:nvPr userDrawn="1"/>
        </p:nvSpPr>
        <p:spPr>
          <a:xfrm>
            <a:off x="1" y="0"/>
            <a:ext cx="12191999" cy="685800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rial"/>
              <a:ea typeface="+mn-ea"/>
              <a:cs typeface="+mn-cs"/>
            </a:endParaRPr>
          </a:p>
        </p:txBody>
      </p:sp>
      <p:sp>
        <p:nvSpPr>
          <p:cNvPr id="6" name="object 2">
            <a:extLst>
              <a:ext uri="{FF2B5EF4-FFF2-40B4-BE49-F238E27FC236}">
                <a16:creationId xmlns:a16="http://schemas.microsoft.com/office/drawing/2014/main" id="{DC7FF63E-2276-5641-ABF9-75DBC7E162E7}"/>
              </a:ext>
            </a:extLst>
          </p:cNvPr>
          <p:cNvSpPr/>
          <p:nvPr userDrawn="1"/>
        </p:nvSpPr>
        <p:spPr>
          <a:xfrm>
            <a:off x="6579564" y="1"/>
            <a:ext cx="5612435" cy="6858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1C1F50"/>
              </a:solidFill>
              <a:effectLst/>
              <a:uLnTx/>
              <a:uFillTx/>
              <a:latin typeface="Arial" charset="0"/>
              <a:ea typeface="ＭＳ Ｐゴシック" charset="0"/>
            </a:endParaRPr>
          </a:p>
        </p:txBody>
      </p:sp>
      <p:sp>
        <p:nvSpPr>
          <p:cNvPr id="7" name="Title 1">
            <a:extLst>
              <a:ext uri="{FF2B5EF4-FFF2-40B4-BE49-F238E27FC236}">
                <a16:creationId xmlns:a16="http://schemas.microsoft.com/office/drawing/2014/main" id="{D083C77E-04F7-844F-A652-E5DEBCDA6F54}"/>
              </a:ext>
            </a:extLst>
          </p:cNvPr>
          <p:cNvSpPr>
            <a:spLocks noGrp="1"/>
          </p:cNvSpPr>
          <p:nvPr>
            <p:ph type="title"/>
          </p:nvPr>
        </p:nvSpPr>
        <p:spPr>
          <a:xfrm>
            <a:off x="396692" y="169334"/>
            <a:ext cx="9725123" cy="793751"/>
          </a:xfrm>
          <a:prstGeom prst="rect">
            <a:avLst/>
          </a:prstGeom>
        </p:spPr>
        <p:txBody>
          <a:bodyPr anchor="ctr"/>
          <a:lstStyle>
            <a:lvl1pPr>
              <a:defRPr sz="3200" b="1">
                <a:solidFill>
                  <a:schemeClr val="bg1"/>
                </a:solidFill>
                <a:latin typeface="Arial"/>
                <a:cs typeface="Arial"/>
              </a:defRPr>
            </a:lvl1pPr>
          </a:lstStyle>
          <a:p>
            <a:r>
              <a:rPr lang="en-GB"/>
              <a:t>Click to edit Master title style</a:t>
            </a:r>
            <a:endParaRPr lang="en-ZA"/>
          </a:p>
        </p:txBody>
      </p:sp>
      <p:sp>
        <p:nvSpPr>
          <p:cNvPr id="8" name="Content Placeholder 2">
            <a:extLst>
              <a:ext uri="{FF2B5EF4-FFF2-40B4-BE49-F238E27FC236}">
                <a16:creationId xmlns:a16="http://schemas.microsoft.com/office/drawing/2014/main" id="{44F8C628-E7A5-E048-9B1E-D7AE97C9898F}"/>
              </a:ext>
            </a:extLst>
          </p:cNvPr>
          <p:cNvSpPr>
            <a:spLocks noGrp="1"/>
          </p:cNvSpPr>
          <p:nvPr>
            <p:ph idx="1"/>
          </p:nvPr>
        </p:nvSpPr>
        <p:spPr>
          <a:xfrm>
            <a:off x="396695" y="1529025"/>
            <a:ext cx="5265355" cy="4775113"/>
          </a:xfrm>
          <a:prstGeom prst="rect">
            <a:avLst/>
          </a:prstGeom>
        </p:spPr>
        <p:txBody>
          <a:bodyPr/>
          <a:lstStyle>
            <a:lvl1pPr algn="l">
              <a:defRPr sz="2400">
                <a:solidFill>
                  <a:schemeClr val="bg1"/>
                </a:solidFill>
                <a:latin typeface="Arial"/>
                <a:cs typeface="Arial"/>
              </a:defRPr>
            </a:lvl1pPr>
            <a:lvl2pPr algn="l">
              <a:defRPr sz="1867">
                <a:solidFill>
                  <a:schemeClr val="bg1"/>
                </a:solidFill>
                <a:latin typeface="Arial"/>
                <a:cs typeface="Arial"/>
              </a:defRPr>
            </a:lvl2pPr>
            <a:lvl3pPr algn="l">
              <a:defRPr sz="1600">
                <a:solidFill>
                  <a:schemeClr val="bg1"/>
                </a:solidFill>
                <a:latin typeface="Arial"/>
                <a:cs typeface="Arial"/>
              </a:defRPr>
            </a:lvl3pPr>
            <a:lvl4pPr algn="l">
              <a:defRPr sz="1467">
                <a:solidFill>
                  <a:schemeClr val="bg1"/>
                </a:solidFill>
                <a:latin typeface="Arial"/>
                <a:cs typeface="Arial"/>
              </a:defRPr>
            </a:lvl4pPr>
            <a:lvl5pPr algn="l">
              <a:defRPr sz="1467">
                <a:solidFill>
                  <a:schemeClr val="bg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spTree>
    <p:extLst>
      <p:ext uri="{BB962C8B-B14F-4D97-AF65-F5344CB8AC3E}">
        <p14:creationId xmlns:p14="http://schemas.microsoft.com/office/powerpoint/2010/main" val="360193400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0"/>
            <a:ext cx="12192000" cy="6366933"/>
          </a:xfrm>
          <a:prstGeom prst="rect">
            <a:avLst/>
          </a:prstGeom>
          <a:solidFill>
            <a:schemeClr val="tx2"/>
          </a:solidFill>
        </p:spPr>
        <p:txBody>
          <a:bodyPr/>
          <a:lstStyle>
            <a:lvl1pPr algn="ctr">
              <a:defRPr>
                <a:solidFill>
                  <a:schemeClr val="bg1"/>
                </a:solidFill>
              </a:defRPr>
            </a:lvl1pPr>
          </a:lstStyle>
          <a:p>
            <a:r>
              <a:rPr lang="en-US"/>
              <a:t>Click icon to add picture</a:t>
            </a:r>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818549"/>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9826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6" name="Rectangle 5">
            <a:extLst>
              <a:ext uri="{FF2B5EF4-FFF2-40B4-BE49-F238E27FC236}">
                <a16:creationId xmlns:a16="http://schemas.microsoft.com/office/drawing/2014/main" id="{9E804B60-94DF-184E-8690-7B1C7117FB1A}"/>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7" name="Text Placeholder 2">
            <a:extLst>
              <a:ext uri="{FF2B5EF4-FFF2-40B4-BE49-F238E27FC236}">
                <a16:creationId xmlns:a16="http://schemas.microsoft.com/office/drawing/2014/main" id="{9501D8A8-F69D-4560-A14E-8661DA24F240}"/>
              </a:ext>
            </a:extLst>
          </p:cNvPr>
          <p:cNvSpPr>
            <a:spLocks noGrp="1"/>
          </p:cNvSpPr>
          <p:nvPr>
            <p:ph type="body" sz="quarter" idx="12" hasCustomPrompt="1"/>
          </p:nvPr>
        </p:nvSpPr>
        <p:spPr>
          <a:xfrm>
            <a:off x="5440221" y="6499791"/>
            <a:ext cx="6535881" cy="234949"/>
          </a:xfrm>
          <a:prstGeom prst="rect">
            <a:avLst/>
          </a:prstGeom>
        </p:spPr>
        <p:txBody>
          <a:bodyPr anchor="ctr"/>
          <a:lstStyle>
            <a:lvl1pPr algn="r">
              <a:defRPr sz="1200">
                <a:solidFill>
                  <a:schemeClr val="bg1"/>
                </a:solidFill>
              </a:defRPr>
            </a:lvl1pPr>
          </a:lstStyle>
          <a:p>
            <a:r>
              <a:rPr lang="en-GB" sz="1200"/>
              <a:t>[Name]-[Classification]-[Status]-v[x-x]</a:t>
            </a:r>
          </a:p>
        </p:txBody>
      </p:sp>
    </p:spTree>
    <p:extLst>
      <p:ext uri="{BB962C8B-B14F-4D97-AF65-F5344CB8AC3E}">
        <p14:creationId xmlns:p14="http://schemas.microsoft.com/office/powerpoint/2010/main" val="1339465549"/>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96CEBA-2C8D-004A-BA33-89A03669ED5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1"/>
            <a:ext cx="12192001" cy="3429001"/>
          </a:xfrm>
          <a:prstGeom prst="rect">
            <a:avLst/>
          </a:prstGeom>
        </p:spPr>
      </p:pic>
      <p:sp>
        <p:nvSpPr>
          <p:cNvPr id="5" name="Rectangle 4">
            <a:extLst>
              <a:ext uri="{FF2B5EF4-FFF2-40B4-BE49-F238E27FC236}">
                <a16:creationId xmlns:a16="http://schemas.microsoft.com/office/drawing/2014/main" id="{8137E83E-44CC-AC4A-862E-2558F2DAA81F}"/>
              </a:ext>
            </a:extLst>
          </p:cNvPr>
          <p:cNvSpPr/>
          <p:nvPr userDrawn="1"/>
        </p:nvSpPr>
        <p:spPr>
          <a:xfrm>
            <a:off x="0" y="-1"/>
            <a:ext cx="12192000" cy="3482320"/>
          </a:xfrm>
          <a:prstGeom prst="rect">
            <a:avLst/>
          </a:prstGeom>
          <a:gradFill>
            <a:gsLst>
              <a:gs pos="0">
                <a:srgbClr val="000000">
                  <a:alpha val="44000"/>
                </a:srgbClr>
              </a:gs>
              <a:gs pos="60000">
                <a:srgbClr val="000000">
                  <a:alpha val="19000"/>
                </a:srgbClr>
              </a:gs>
              <a:gs pos="100000">
                <a:srgbClr val="000000">
                  <a:alpha val="11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 name="Rectangle 8">
            <a:extLst>
              <a:ext uri="{FF2B5EF4-FFF2-40B4-BE49-F238E27FC236}">
                <a16:creationId xmlns:a16="http://schemas.microsoft.com/office/drawing/2014/main" id="{C812EABE-8103-0E46-A4BE-42694E4EDE7E}"/>
              </a:ext>
            </a:extLst>
          </p:cNvPr>
          <p:cNvSpPr/>
          <p:nvPr userDrawn="1"/>
        </p:nvSpPr>
        <p:spPr>
          <a:xfrm>
            <a:off x="2" y="2932387"/>
            <a:ext cx="12191997" cy="3923968"/>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rial"/>
              <a:ea typeface="+mn-ea"/>
              <a:cs typeface="+mn-cs"/>
            </a:endParaRPr>
          </a:p>
        </p:txBody>
      </p:sp>
      <p:sp>
        <p:nvSpPr>
          <p:cNvPr id="10" name="Title 1">
            <a:extLst>
              <a:ext uri="{FF2B5EF4-FFF2-40B4-BE49-F238E27FC236}">
                <a16:creationId xmlns:a16="http://schemas.microsoft.com/office/drawing/2014/main" id="{4A4C02F7-DA7B-FF4D-90B8-DE7674CB0AED}"/>
              </a:ext>
            </a:extLst>
          </p:cNvPr>
          <p:cNvSpPr>
            <a:spLocks noGrp="1"/>
          </p:cNvSpPr>
          <p:nvPr>
            <p:ph type="title"/>
          </p:nvPr>
        </p:nvSpPr>
        <p:spPr>
          <a:xfrm>
            <a:off x="1233439" y="1342807"/>
            <a:ext cx="9725123" cy="793751"/>
          </a:xfrm>
          <a:prstGeom prst="rect">
            <a:avLst/>
          </a:prstGeom>
        </p:spPr>
        <p:txBody>
          <a:bodyPr anchor="ctr"/>
          <a:lstStyle>
            <a:lvl1pPr algn="ctr">
              <a:defRPr sz="3200" b="1">
                <a:solidFill>
                  <a:schemeClr val="bg1"/>
                </a:solidFill>
                <a:latin typeface="Arial"/>
                <a:cs typeface="Arial"/>
              </a:defRPr>
            </a:lvl1pPr>
          </a:lstStyle>
          <a:p>
            <a:r>
              <a:rPr lang="en-GB"/>
              <a:t>Click to edit Master title style</a:t>
            </a:r>
            <a:endParaRPr lang="en-ZA"/>
          </a:p>
        </p:txBody>
      </p:sp>
      <p:sp>
        <p:nvSpPr>
          <p:cNvPr id="11" name="Content Placeholder 2">
            <a:extLst>
              <a:ext uri="{FF2B5EF4-FFF2-40B4-BE49-F238E27FC236}">
                <a16:creationId xmlns:a16="http://schemas.microsoft.com/office/drawing/2014/main" id="{10AC97EF-14F6-FF47-8F03-3FB4C7929BF3}"/>
              </a:ext>
            </a:extLst>
          </p:cNvPr>
          <p:cNvSpPr>
            <a:spLocks noGrp="1"/>
          </p:cNvSpPr>
          <p:nvPr>
            <p:ph idx="1"/>
          </p:nvPr>
        </p:nvSpPr>
        <p:spPr>
          <a:xfrm>
            <a:off x="396694" y="4070889"/>
            <a:ext cx="11299361" cy="2233249"/>
          </a:xfrm>
          <a:prstGeom prst="rect">
            <a:avLst/>
          </a:prstGeom>
        </p:spPr>
        <p:txBody>
          <a:bodyPr/>
          <a:lstStyle>
            <a:lvl1pPr algn="ctr">
              <a:defRPr sz="2400">
                <a:solidFill>
                  <a:schemeClr val="bg1"/>
                </a:solidFill>
                <a:latin typeface="Arial"/>
                <a:cs typeface="Arial"/>
              </a:defRPr>
            </a:lvl1pPr>
            <a:lvl2pPr algn="ctr">
              <a:defRPr sz="1867">
                <a:solidFill>
                  <a:schemeClr val="bg1"/>
                </a:solidFill>
                <a:latin typeface="Arial"/>
                <a:cs typeface="Arial"/>
              </a:defRPr>
            </a:lvl2pPr>
            <a:lvl3pPr algn="ctr">
              <a:defRPr sz="1600">
                <a:solidFill>
                  <a:schemeClr val="bg1"/>
                </a:solidFill>
                <a:latin typeface="Arial"/>
                <a:cs typeface="Arial"/>
              </a:defRPr>
            </a:lvl3pPr>
            <a:lvl4pPr algn="ctr">
              <a:defRPr sz="1467">
                <a:solidFill>
                  <a:schemeClr val="bg1"/>
                </a:solidFill>
                <a:latin typeface="Arial"/>
                <a:cs typeface="Arial"/>
              </a:defRPr>
            </a:lvl4pPr>
            <a:lvl5pPr algn="ctr">
              <a:defRPr sz="1467">
                <a:solidFill>
                  <a:schemeClr val="bg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spTree>
    <p:extLst>
      <p:ext uri="{BB962C8B-B14F-4D97-AF65-F5344CB8AC3E}">
        <p14:creationId xmlns:p14="http://schemas.microsoft.com/office/powerpoint/2010/main" val="206910592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NTT_title_and_content_page_dark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4"/>
            <a:ext cx="11376207"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687867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NTT_divider_page_half_dark">
    <p:bg bwMode="ltGray">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DE12E94-2040-8141-BA4E-F436DF461F5A}"/>
              </a:ext>
            </a:extLst>
          </p:cNvPr>
          <p:cNvSpPr/>
          <p:nvPr userDrawn="1"/>
        </p:nvSpPr>
        <p:spPr>
          <a:xfrm>
            <a:off x="0" y="3474572"/>
            <a:ext cx="12192000" cy="33834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9" y="1"/>
            <a:ext cx="12196509" cy="3474571"/>
          </a:xfrm>
          <a:prstGeom prst="rect">
            <a:avLst/>
          </a:prstGeom>
          <a:noFill/>
          <a:effectLst/>
        </p:spPr>
        <p:txBody>
          <a:bodyPr>
            <a:normAutofit/>
          </a:bodyPr>
          <a:lstStyle>
            <a:lvl1pPr marL="0" indent="0">
              <a:buNone/>
              <a:defRPr sz="1867">
                <a:ln>
                  <a:noFill/>
                </a:ln>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p>
        </p:txBody>
      </p:sp>
      <p:sp>
        <p:nvSpPr>
          <p:cNvPr id="16" name="Title 4">
            <a:extLst>
              <a:ext uri="{FF2B5EF4-FFF2-40B4-BE49-F238E27FC236}">
                <a16:creationId xmlns:a16="http://schemas.microsoft.com/office/drawing/2014/main" id="{19094F5A-E79D-4246-8F4D-D88F43EEF216}"/>
              </a:ext>
            </a:extLst>
          </p:cNvPr>
          <p:cNvSpPr>
            <a:spLocks noGrp="1"/>
          </p:cNvSpPr>
          <p:nvPr>
            <p:ph type="title"/>
          </p:nvPr>
        </p:nvSpPr>
        <p:spPr>
          <a:xfrm>
            <a:off x="391599" y="2841351"/>
            <a:ext cx="11408804" cy="631775"/>
          </a:xfrm>
          <a:prstGeom prst="rect">
            <a:avLst/>
          </a:prstGeom>
        </p:spPr>
        <p:txBody>
          <a:bodyPr anchor="ctr"/>
          <a:lstStyle>
            <a:lvl1pPr algn="ctr">
              <a:defRPr sz="3200" b="1">
                <a:solidFill>
                  <a:schemeClr val="accent1"/>
                </a:solidFill>
              </a:defRPr>
            </a:lvl1pPr>
          </a:lstStyle>
          <a:p>
            <a:r>
              <a:rPr lang="en-US"/>
              <a:t>Click to edit Master title style</a:t>
            </a:r>
            <a:endParaRPr lang="en-GB"/>
          </a:p>
        </p:txBody>
      </p:sp>
      <p:sp>
        <p:nvSpPr>
          <p:cNvPr id="29" name="Text Placeholder 6">
            <a:extLst>
              <a:ext uri="{FF2B5EF4-FFF2-40B4-BE49-F238E27FC236}">
                <a16:creationId xmlns:a16="http://schemas.microsoft.com/office/drawing/2014/main" id="{FD3EFF89-A063-C142-9733-A93832686892}"/>
              </a:ext>
            </a:extLst>
          </p:cNvPr>
          <p:cNvSpPr>
            <a:spLocks noGrp="1"/>
          </p:cNvSpPr>
          <p:nvPr>
            <p:ph type="body" sz="quarter" idx="16" hasCustomPrompt="1"/>
          </p:nvPr>
        </p:nvSpPr>
        <p:spPr>
          <a:xfrm>
            <a:off x="391599" y="3477466"/>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Tree>
    <p:extLst>
      <p:ext uri="{BB962C8B-B14F-4D97-AF65-F5344CB8AC3E}">
        <p14:creationId xmlns:p14="http://schemas.microsoft.com/office/powerpoint/2010/main" val="3094373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2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US" altLang="ja-JP"/>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ZA"/>
          </a:p>
        </p:txBody>
      </p:sp>
      <p:grpSp>
        <p:nvGrpSpPr>
          <p:cNvPr id="5" name="Group 4">
            <a:extLst>
              <a:ext uri="{FF2B5EF4-FFF2-40B4-BE49-F238E27FC236}">
                <a16:creationId xmlns:a16="http://schemas.microsoft.com/office/drawing/2014/main" id="{38D7F1C7-6695-A34D-9E94-BA54ABAE009A}"/>
              </a:ext>
            </a:extLst>
          </p:cNvPr>
          <p:cNvGrpSpPr/>
          <p:nvPr userDrawn="1"/>
        </p:nvGrpSpPr>
        <p:grpSpPr>
          <a:xfrm>
            <a:off x="10458438" y="332679"/>
            <a:ext cx="1308293" cy="484944"/>
            <a:chOff x="7843828" y="249509"/>
            <a:chExt cx="981220" cy="363708"/>
          </a:xfrm>
        </p:grpSpPr>
        <p:sp>
          <p:nvSpPr>
            <p:cNvPr id="9" name="Freeform 5">
              <a:extLst>
                <a:ext uri="{FF2B5EF4-FFF2-40B4-BE49-F238E27FC236}">
                  <a16:creationId xmlns:a16="http://schemas.microsoft.com/office/drawing/2014/main" id="{D426F0B0-CF4C-8B43-90F0-F374BA1161A6}"/>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6AD97A14-CA51-B249-A18A-0D4E8BE47FE9}"/>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Text Placeholder 2">
            <a:extLst>
              <a:ext uri="{FF2B5EF4-FFF2-40B4-BE49-F238E27FC236}">
                <a16:creationId xmlns:a16="http://schemas.microsoft.com/office/drawing/2014/main" id="{85F4C83D-6BA3-B04B-A3B2-E94C3B8DCF8B}"/>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4" name="Text Placeholder 2">
            <a:extLst>
              <a:ext uri="{FF2B5EF4-FFF2-40B4-BE49-F238E27FC236}">
                <a16:creationId xmlns:a16="http://schemas.microsoft.com/office/drawing/2014/main" id="{213459C4-7224-DC47-8A1C-147786A90B27}"/>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1" name="Rectangle 28">
            <a:extLst>
              <a:ext uri="{FF2B5EF4-FFF2-40B4-BE49-F238E27FC236}">
                <a16:creationId xmlns:a16="http://schemas.microsoft.com/office/drawing/2014/main" id="{8ABC7D15-9DC4-42FB-8991-3725CBACA7C2}"/>
              </a:ext>
            </a:extLst>
          </p:cNvPr>
          <p:cNvSpPr/>
          <p:nvPr userDrawn="1"/>
        </p:nvSpPr>
        <p:spPr>
          <a:xfrm>
            <a:off x="215899" y="6463378"/>
            <a:ext cx="2403222" cy="276999"/>
          </a:xfrm>
          <a:prstGeom prst="rect">
            <a:avLst/>
          </a:prstGeom>
        </p:spPr>
        <p:txBody>
          <a:bodyPr wrap="none">
            <a:spAutoFit/>
          </a:bodyPr>
          <a:lstStyle/>
          <a:p>
            <a:pPr algn="l"/>
            <a:r>
              <a:rPr lang="en-US" sz="1200"/>
              <a:t>© 2022 NTT All Rights Reserved</a:t>
            </a:r>
          </a:p>
        </p:txBody>
      </p:sp>
    </p:spTree>
    <p:extLst>
      <p:ext uri="{BB962C8B-B14F-4D97-AF65-F5344CB8AC3E}">
        <p14:creationId xmlns:p14="http://schemas.microsoft.com/office/powerpoint/2010/main" val="225416137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Cover_slide_blue_background">
    <p:bg>
      <p:bgPr>
        <a:solidFill>
          <a:schemeClr val="accent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pic>
        <p:nvPicPr>
          <p:cNvPr id="5" name="Picture 4">
            <a:extLst>
              <a:ext uri="{FF2B5EF4-FFF2-40B4-BE49-F238E27FC236}">
                <a16:creationId xmlns:a16="http://schemas.microsoft.com/office/drawing/2014/main" id="{E589A8F4-7485-9F4E-B0C8-C8CB66B56B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2766" y="391424"/>
            <a:ext cx="2544709" cy="1193537"/>
          </a:xfrm>
          <a:prstGeom prst="rect">
            <a:avLst/>
          </a:prstGeom>
        </p:spPr>
      </p:pic>
    </p:spTree>
    <p:extLst>
      <p:ext uri="{BB962C8B-B14F-4D97-AF65-F5344CB8AC3E}">
        <p14:creationId xmlns:p14="http://schemas.microsoft.com/office/powerpoint/2010/main" val="7767145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00C42D-D963-4A7D-BF8F-59DAD32DEBC8}"/>
              </a:ext>
            </a:extLst>
          </p:cNvPr>
          <p:cNvGraphicFramePr>
            <a:graphicFrameLocks noChangeAspect="1"/>
          </p:cNvGraphicFramePr>
          <p:nvPr userDrawn="1">
            <p:custDataLst>
              <p:tags r:id="rId1"/>
            </p:custDataLst>
            <p:extLst>
              <p:ext uri="{D42A27DB-BD31-4B8C-83A1-F6EECF244321}">
                <p14:modId xmlns:p14="http://schemas.microsoft.com/office/powerpoint/2010/main" val="25871924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281" imgH="281" progId="TCLayout.ActiveDocument.1">
                  <p:embed/>
                </p:oleObj>
              </mc:Choice>
              <mc:Fallback>
                <p:oleObj name="think-cell Slide" r:id="rId5" imgW="281" imgH="281" progId="TCLayout.ActiveDocument.1">
                  <p:embed/>
                  <p:pic>
                    <p:nvPicPr>
                      <p:cNvPr id="3" name="Object 2" hidden="1">
                        <a:extLst>
                          <a:ext uri="{FF2B5EF4-FFF2-40B4-BE49-F238E27FC236}">
                            <a16:creationId xmlns:a16="http://schemas.microsoft.com/office/drawing/2014/main" id="{A200C42D-D963-4A7D-BF8F-59DAD32DEBC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F83D916-1215-4C03-9845-306DCEEB40F1}"/>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p:nvPr>
        </p:nvSpPr>
        <p:spPr>
          <a:xfrm>
            <a:off x="396691" y="169334"/>
            <a:ext cx="9770027" cy="447217"/>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lick to edit Master title style</a:t>
            </a:r>
          </a:p>
        </p:txBody>
      </p:sp>
      <p:pic>
        <p:nvPicPr>
          <p:cNvPr id="6" name="Picture 5">
            <a:extLst>
              <a:ext uri="{FF2B5EF4-FFF2-40B4-BE49-F238E27FC236}">
                <a16:creationId xmlns:a16="http://schemas.microsoft.com/office/drawing/2014/main" id="{A6731466-BD37-0B4A-BE69-CBD86F77A5A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9" name="Text Placeholder 2">
            <a:extLst>
              <a:ext uri="{FF2B5EF4-FFF2-40B4-BE49-F238E27FC236}">
                <a16:creationId xmlns:a16="http://schemas.microsoft.com/office/drawing/2014/main" id="{A2FD43D3-9DCE-4E30-810E-E3C88EB6F7CF}"/>
              </a:ext>
            </a:extLst>
          </p:cNvPr>
          <p:cNvSpPr>
            <a:spLocks noGrp="1"/>
          </p:cNvSpPr>
          <p:nvPr>
            <p:ph type="body" sz="quarter" idx="10" hasCustomPrompt="1"/>
          </p:nvPr>
        </p:nvSpPr>
        <p:spPr>
          <a:xfrm>
            <a:off x="396692" y="6423417"/>
            <a:ext cx="6706073" cy="285335"/>
          </a:xfrm>
          <a:prstGeom prst="rect">
            <a:avLst/>
          </a:prstGeom>
        </p:spPr>
        <p:txBody>
          <a:bodyPr anchor="ctr"/>
          <a:lstStyle>
            <a:lvl1pPr marL="0" marR="0" indent="0" algn="l" defTabSz="1219170" rtl="0" eaLnBrk="1" fontAlgn="auto" latinLnBrk="0" hangingPunct="1">
              <a:lnSpc>
                <a:spcPct val="114000"/>
              </a:lnSpc>
              <a:spcBef>
                <a:spcPts val="800"/>
              </a:spcBef>
              <a:spcAft>
                <a:spcPts val="133"/>
              </a:spcAft>
              <a:buClrTx/>
              <a:buSzTx/>
              <a:buFont typeface="Arial" pitchFamily="34" charset="0"/>
              <a:buNone/>
              <a:tabLst/>
              <a:defRPr sz="1067">
                <a:solidFill>
                  <a:schemeClr val="tx1"/>
                </a:solidFill>
              </a:defRPr>
            </a:lvl1pPr>
          </a:lstStyle>
          <a:p>
            <a:pPr marL="0" marR="0" lvl="0" indent="0" algn="l" defTabSz="1219170" rtl="0" eaLnBrk="1" fontAlgn="auto" latinLnBrk="0" hangingPunct="1">
              <a:lnSpc>
                <a:spcPct val="114000"/>
              </a:lnSpc>
              <a:spcBef>
                <a:spcPts val="800"/>
              </a:spcBef>
              <a:spcAft>
                <a:spcPts val="133"/>
              </a:spcAft>
              <a:buClrTx/>
              <a:buSzTx/>
              <a:buFont typeface="Arial" pitchFamily="34" charset="0"/>
              <a:buNone/>
              <a:tabLst/>
              <a:defRPr/>
            </a:pPr>
            <a:r>
              <a:rPr lang="en-US" sz="1200">
                <a:latin typeface="Arial" panose="020B0604020202020204" pitchFamily="34" charset="0"/>
                <a:cs typeface="Arial" panose="020B0604020202020204" pitchFamily="34" charset="0"/>
              </a:rPr>
              <a:t>2020 (insert name of document), © NTT (Ltd or Inc as the case may be) ‘All Rights Reserved’.</a:t>
            </a:r>
          </a:p>
        </p:txBody>
      </p:sp>
      <p:sp>
        <p:nvSpPr>
          <p:cNvPr id="10" name="Slide Number">
            <a:extLst>
              <a:ext uri="{FF2B5EF4-FFF2-40B4-BE49-F238E27FC236}">
                <a16:creationId xmlns:a16="http://schemas.microsoft.com/office/drawing/2014/main" id="{9E237D36-E8D0-4433-A9EA-6F60255DE3E2}"/>
              </a:ext>
            </a:extLst>
          </p:cNvPr>
          <p:cNvSpPr>
            <a:spLocks noChangeArrowheads="1"/>
          </p:cNvSpPr>
          <p:nvPr userDrawn="1">
            <p:custDataLst>
              <p:tags r:id="rId3"/>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rtl="0" fontAlgn="auto">
                <a:spcBef>
                  <a:spcPts val="0"/>
                </a:spcBef>
                <a:spcAft>
                  <a:spcPts val="0"/>
                </a:spcAft>
                <a:defRPr/>
              </a:pPr>
              <a:t>‹N°›</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174501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AAE65148-FDC7-4ACD-BC2C-70267F8E249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accent2"/>
                </a:solidFill>
              </a:defRPr>
            </a:lvl1pPr>
          </a:lstStyle>
          <a:p>
            <a:r>
              <a:rPr lang="en-US"/>
              <a:t>Click to edit Master title style</a:t>
            </a:r>
            <a:endParaRPr lang="en-GB"/>
          </a:p>
        </p:txBody>
      </p:sp>
      <p:sp>
        <p:nvSpPr>
          <p:cNvPr id="4" name="Text Placeholder 9">
            <a:extLst>
              <a:ext uri="{FF2B5EF4-FFF2-40B4-BE49-F238E27FC236}">
                <a16:creationId xmlns:a16="http://schemas.microsoft.com/office/drawing/2014/main" id="{10E6012D-9F24-4549-A0DA-C3FE30C2EB9F}"/>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accent2"/>
                </a:solidFill>
              </a:defRPr>
            </a:lvl1pPr>
          </a:lstStyle>
          <a:p>
            <a:pPr lvl="0"/>
            <a:r>
              <a:rPr lang="en-US"/>
              <a:t>Sub-title / Presenter Name</a:t>
            </a:r>
            <a:endParaRPr lang="en-GB"/>
          </a:p>
        </p:txBody>
      </p:sp>
      <p:pic>
        <p:nvPicPr>
          <p:cNvPr id="6" name="Picture 5">
            <a:extLst>
              <a:ext uri="{FF2B5EF4-FFF2-40B4-BE49-F238E27FC236}">
                <a16:creationId xmlns:a16="http://schemas.microsoft.com/office/drawing/2014/main" id="{17748E14-788E-4E98-925E-E369F02A82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5973" y="599448"/>
            <a:ext cx="2143952" cy="796243"/>
          </a:xfrm>
          <a:prstGeom prst="rect">
            <a:avLst/>
          </a:prstGeom>
        </p:spPr>
      </p:pic>
    </p:spTree>
    <p:extLst>
      <p:ext uri="{BB962C8B-B14F-4D97-AF65-F5344CB8AC3E}">
        <p14:creationId xmlns:p14="http://schemas.microsoft.com/office/powerpoint/2010/main" val="3950565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0"/>
            <a:ext cx="12192000" cy="6366933"/>
          </a:xfrm>
          <a:prstGeom prst="rect">
            <a:avLst/>
          </a:prstGeom>
          <a:solidFill>
            <a:schemeClr val="tx2"/>
          </a:solidFill>
        </p:spPr>
        <p:txBody>
          <a:bodyPr/>
          <a:lstStyle>
            <a:lvl1pPr algn="ctr">
              <a:defRPr>
                <a:solidFill>
                  <a:schemeClr val="bg1"/>
                </a:solidFill>
              </a:defRPr>
            </a:lvl1pPr>
          </a:lstStyle>
          <a:p>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818549"/>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9826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2" name="Rectangle 1">
            <a:extLst>
              <a:ext uri="{FF2B5EF4-FFF2-40B4-BE49-F238E27FC236}">
                <a16:creationId xmlns:a16="http://schemas.microsoft.com/office/drawing/2014/main" id="{5AFCCD30-A182-C14B-89B0-90EE95174CAB}"/>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Tree>
    <p:extLst>
      <p:ext uri="{BB962C8B-B14F-4D97-AF65-F5344CB8AC3E}">
        <p14:creationId xmlns:p14="http://schemas.microsoft.com/office/powerpoint/2010/main" val="3590529684"/>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NTT_content_page_white">
    <p:bg bwMode="ltGray">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5" y="161003"/>
            <a:ext cx="9635171" cy="833780"/>
          </a:xfrm>
          <a:prstGeom prst="rect">
            <a:avLst/>
          </a:prstGeom>
        </p:spPr>
        <p:txBody>
          <a:bodyPr anchor="ctr"/>
          <a:lstStyle>
            <a:lvl1pPr>
              <a:defRPr sz="3200" b="1">
                <a:solidFill>
                  <a:schemeClr val="accent2"/>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1"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1"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0"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0"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1"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1"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0"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0"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0"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3" name="Picture 22">
            <a:extLst>
              <a:ext uri="{FF2B5EF4-FFF2-40B4-BE49-F238E27FC236}">
                <a16:creationId xmlns:a16="http://schemas.microsoft.com/office/drawing/2014/main" id="{37B729C0-E7FD-734B-968A-D6B00E485D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2004568613"/>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NTT_contents_page_blue">
    <p:bg bwMode="ltGray">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5" y="161003"/>
            <a:ext cx="9897147" cy="833780"/>
          </a:xfrm>
          <a:prstGeom prst="rect">
            <a:avLst/>
          </a:prstGeom>
        </p:spPr>
        <p:txBody>
          <a:bodyPr anchor="ctr"/>
          <a:lstStyle>
            <a:lvl1pPr>
              <a:defRPr sz="3200" b="1">
                <a:solidFill>
                  <a:srgbClr val="FFFFFF"/>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1" y="1375838"/>
            <a:ext cx="2021429" cy="486833"/>
          </a:xfrm>
          <a:prstGeom prst="rect">
            <a:avLst/>
          </a:prstGeom>
        </p:spPr>
        <p:txBody>
          <a:bodyPr vert="horz"/>
          <a:lstStyle>
            <a:lvl1pPr>
              <a:defRPr b="1">
                <a:solidFill>
                  <a:schemeClr val="bg1"/>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1"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38"/>
            <a:ext cx="2021429" cy="486833"/>
          </a:xfrm>
          <a:prstGeom prst="rect">
            <a:avLst/>
          </a:prstGeom>
        </p:spPr>
        <p:txBody>
          <a:bodyPr vert="horz"/>
          <a:lstStyle>
            <a:lvl1pPr>
              <a:defRPr b="1">
                <a:solidFill>
                  <a:schemeClr val="bg1"/>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38"/>
            <a:ext cx="2021429" cy="486833"/>
          </a:xfrm>
          <a:prstGeom prst="rect">
            <a:avLst/>
          </a:prstGeom>
        </p:spPr>
        <p:txBody>
          <a:bodyPr vert="horz"/>
          <a:lstStyle>
            <a:lvl1pPr>
              <a:defRPr b="1">
                <a:solidFill>
                  <a:schemeClr val="bg1"/>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38"/>
            <a:ext cx="2021429" cy="486833"/>
          </a:xfrm>
          <a:prstGeom prst="rect">
            <a:avLst/>
          </a:prstGeom>
        </p:spPr>
        <p:txBody>
          <a:bodyPr vert="horz"/>
          <a:lstStyle>
            <a:lvl1pPr>
              <a:defRPr b="1">
                <a:solidFill>
                  <a:schemeClr val="bg1"/>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0" y="1375838"/>
            <a:ext cx="2021429" cy="486833"/>
          </a:xfrm>
          <a:prstGeom prst="rect">
            <a:avLst/>
          </a:prstGeom>
        </p:spPr>
        <p:txBody>
          <a:bodyPr vert="horz"/>
          <a:lstStyle>
            <a:lvl1pPr>
              <a:defRPr b="1">
                <a:solidFill>
                  <a:schemeClr val="bg1"/>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0"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1" y="3894672"/>
            <a:ext cx="2021429" cy="486833"/>
          </a:xfrm>
          <a:prstGeom prst="rect">
            <a:avLst/>
          </a:prstGeom>
        </p:spPr>
        <p:txBody>
          <a:bodyPr vert="horz"/>
          <a:lstStyle>
            <a:lvl1pPr>
              <a:defRPr b="1">
                <a:solidFill>
                  <a:schemeClr val="bg1"/>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1"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2"/>
            <a:ext cx="2021429" cy="486833"/>
          </a:xfrm>
          <a:prstGeom prst="rect">
            <a:avLst/>
          </a:prstGeom>
        </p:spPr>
        <p:txBody>
          <a:bodyPr vert="horz"/>
          <a:lstStyle>
            <a:lvl1pPr>
              <a:defRPr b="1">
                <a:solidFill>
                  <a:schemeClr val="bg1"/>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2"/>
            <a:ext cx="2021429" cy="486833"/>
          </a:xfrm>
          <a:prstGeom prst="rect">
            <a:avLst/>
          </a:prstGeom>
        </p:spPr>
        <p:txBody>
          <a:bodyPr vert="horz"/>
          <a:lstStyle>
            <a:lvl1pPr>
              <a:defRPr b="1">
                <a:solidFill>
                  <a:schemeClr val="bg1"/>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2"/>
            <a:ext cx="2021429" cy="486833"/>
          </a:xfrm>
          <a:prstGeom prst="rect">
            <a:avLst/>
          </a:prstGeom>
        </p:spPr>
        <p:txBody>
          <a:bodyPr vert="horz"/>
          <a:lstStyle>
            <a:lvl1pPr>
              <a:defRPr b="1">
                <a:solidFill>
                  <a:schemeClr val="bg1"/>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0"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0" y="3894672"/>
            <a:ext cx="2021429" cy="486833"/>
          </a:xfrm>
          <a:prstGeom prst="rect">
            <a:avLst/>
          </a:prstGeom>
        </p:spPr>
        <p:txBody>
          <a:bodyPr vert="horz"/>
          <a:lstStyle>
            <a:lvl1pPr>
              <a:defRPr b="1">
                <a:solidFill>
                  <a:schemeClr val="bg1"/>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0"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4" name="Picture 23">
            <a:extLst>
              <a:ext uri="{FF2B5EF4-FFF2-40B4-BE49-F238E27FC236}">
                <a16:creationId xmlns:a16="http://schemas.microsoft.com/office/drawing/2014/main" id="{BC1456C7-EA29-1349-BF59-3A88514782BE}"/>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247887785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NTT_content_page">
    <p:bg bwMode="ltGray">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085481-1F38-7744-AE2E-14E71BBC7165}"/>
              </a:ext>
            </a:extLst>
          </p:cNvPr>
          <p:cNvSpPr/>
          <p:nvPr userDrawn="1"/>
        </p:nvSpPr>
        <p:spPr>
          <a:xfrm>
            <a:off x="5883965" y="0"/>
            <a:ext cx="6308035" cy="685800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solidFill>
                <a:schemeClr val="tx1"/>
              </a:solidFill>
            </a:endParaRPr>
          </a:p>
        </p:txBody>
      </p:sp>
      <p:sp>
        <p:nvSpPr>
          <p:cNvPr id="4" name="Rectangle 3">
            <a:extLst>
              <a:ext uri="{FF2B5EF4-FFF2-40B4-BE49-F238E27FC236}">
                <a16:creationId xmlns:a16="http://schemas.microsoft.com/office/drawing/2014/main" id="{F047273F-8383-0B40-A84D-A6E3D5DAB531}"/>
              </a:ext>
            </a:extLst>
          </p:cNvPr>
          <p:cNvSpPr/>
          <p:nvPr userDrawn="1"/>
        </p:nvSpPr>
        <p:spPr>
          <a:xfrm>
            <a:off x="1157207" y="1290234"/>
            <a:ext cx="3822916" cy="4277532"/>
          </a:xfrm>
          <a:prstGeom prst="rect">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ext Placeholder 6">
            <a:extLst>
              <a:ext uri="{FF2B5EF4-FFF2-40B4-BE49-F238E27FC236}">
                <a16:creationId xmlns:a16="http://schemas.microsoft.com/office/drawing/2014/main" id="{7172A34A-A47D-0B40-835D-28831DC7725C}"/>
              </a:ext>
            </a:extLst>
          </p:cNvPr>
          <p:cNvSpPr>
            <a:spLocks noGrp="1"/>
          </p:cNvSpPr>
          <p:nvPr>
            <p:ph type="body" sz="quarter" idx="15"/>
          </p:nvPr>
        </p:nvSpPr>
        <p:spPr>
          <a:xfrm>
            <a:off x="1297014" y="3256155"/>
            <a:ext cx="3543300" cy="1437899"/>
          </a:xfrm>
          <a:prstGeom prst="rect">
            <a:avLst/>
          </a:prstGeom>
        </p:spPr>
        <p:txBody>
          <a:bodyPr/>
          <a:lstStyle>
            <a:lvl1pPr marL="0" indent="0" algn="ctr">
              <a:buNone/>
              <a:defRPr sz="1333">
                <a:solidFill>
                  <a:schemeClr val="bg1"/>
                </a:solidFill>
              </a:defRPr>
            </a:lvl1pPr>
            <a:lvl2pPr marL="457189" indent="0" algn="ctr">
              <a:buNone/>
              <a:defRPr sz="1333"/>
            </a:lvl2pPr>
            <a:lvl3pPr marL="914377" indent="0" algn="ctr">
              <a:buNone/>
              <a:defRPr sz="1333"/>
            </a:lvl3pPr>
            <a:lvl4pPr marL="1371566" indent="0" algn="ctr">
              <a:buNone/>
              <a:defRPr sz="1333"/>
            </a:lvl4pPr>
            <a:lvl5pPr marL="1828754" indent="0" algn="ctr">
              <a:buNone/>
              <a:defRPr sz="1333"/>
            </a:lvl5pPr>
          </a:lstStyle>
          <a:p>
            <a:pPr lvl="0"/>
            <a:r>
              <a:rPr lang="en-US"/>
              <a:t>Click to edit Master text styles</a:t>
            </a:r>
          </a:p>
        </p:txBody>
      </p:sp>
      <p:sp>
        <p:nvSpPr>
          <p:cNvPr id="12" name="Text Placeholder 11">
            <a:extLst>
              <a:ext uri="{FF2B5EF4-FFF2-40B4-BE49-F238E27FC236}">
                <a16:creationId xmlns:a16="http://schemas.microsoft.com/office/drawing/2014/main" id="{7301CF58-65C8-5A44-9BBC-7F4C9512C244}"/>
              </a:ext>
            </a:extLst>
          </p:cNvPr>
          <p:cNvSpPr>
            <a:spLocks noGrp="1"/>
          </p:cNvSpPr>
          <p:nvPr>
            <p:ph type="body" sz="quarter" idx="16" hasCustomPrompt="1"/>
          </p:nvPr>
        </p:nvSpPr>
        <p:spPr>
          <a:xfrm>
            <a:off x="6376011" y="799958"/>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14" name="Text Placeholder 11">
            <a:extLst>
              <a:ext uri="{FF2B5EF4-FFF2-40B4-BE49-F238E27FC236}">
                <a16:creationId xmlns:a16="http://schemas.microsoft.com/office/drawing/2014/main" id="{593C8A1F-BBC4-D142-8D11-C3D83D5A59E7}"/>
              </a:ext>
            </a:extLst>
          </p:cNvPr>
          <p:cNvSpPr>
            <a:spLocks noGrp="1"/>
          </p:cNvSpPr>
          <p:nvPr>
            <p:ph type="body" sz="quarter" idx="17" hasCustomPrompt="1"/>
          </p:nvPr>
        </p:nvSpPr>
        <p:spPr>
          <a:xfrm>
            <a:off x="6376011" y="1130588"/>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15" name="Text Placeholder 11">
            <a:extLst>
              <a:ext uri="{FF2B5EF4-FFF2-40B4-BE49-F238E27FC236}">
                <a16:creationId xmlns:a16="http://schemas.microsoft.com/office/drawing/2014/main" id="{B2E1BFFD-5E6B-184E-9C96-C96EA10F3A87}"/>
              </a:ext>
            </a:extLst>
          </p:cNvPr>
          <p:cNvSpPr>
            <a:spLocks noGrp="1"/>
          </p:cNvSpPr>
          <p:nvPr>
            <p:ph type="body" sz="quarter" idx="18" hasCustomPrompt="1"/>
          </p:nvPr>
        </p:nvSpPr>
        <p:spPr>
          <a:xfrm>
            <a:off x="6376011" y="1440554"/>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2" name="Text Placeholder 11">
            <a:extLst>
              <a:ext uri="{FF2B5EF4-FFF2-40B4-BE49-F238E27FC236}">
                <a16:creationId xmlns:a16="http://schemas.microsoft.com/office/drawing/2014/main" id="{252F90EC-C0F9-F040-B680-A6A9A3CB16FF}"/>
              </a:ext>
            </a:extLst>
          </p:cNvPr>
          <p:cNvSpPr>
            <a:spLocks noGrp="1"/>
          </p:cNvSpPr>
          <p:nvPr>
            <p:ph type="body" sz="quarter" idx="19" hasCustomPrompt="1"/>
          </p:nvPr>
        </p:nvSpPr>
        <p:spPr>
          <a:xfrm>
            <a:off x="6376011" y="2163809"/>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3" name="Text Placeholder 11">
            <a:extLst>
              <a:ext uri="{FF2B5EF4-FFF2-40B4-BE49-F238E27FC236}">
                <a16:creationId xmlns:a16="http://schemas.microsoft.com/office/drawing/2014/main" id="{8B064F4E-61E6-8D43-884D-B02F8BF1243B}"/>
              </a:ext>
            </a:extLst>
          </p:cNvPr>
          <p:cNvSpPr>
            <a:spLocks noGrp="1"/>
          </p:cNvSpPr>
          <p:nvPr>
            <p:ph type="body" sz="quarter" idx="20" hasCustomPrompt="1"/>
          </p:nvPr>
        </p:nvSpPr>
        <p:spPr>
          <a:xfrm>
            <a:off x="6376011" y="2494438"/>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4" name="Text Placeholder 11">
            <a:extLst>
              <a:ext uri="{FF2B5EF4-FFF2-40B4-BE49-F238E27FC236}">
                <a16:creationId xmlns:a16="http://schemas.microsoft.com/office/drawing/2014/main" id="{03EE597B-F187-9343-9BDB-C8BFA2AFFFD0}"/>
              </a:ext>
            </a:extLst>
          </p:cNvPr>
          <p:cNvSpPr>
            <a:spLocks noGrp="1"/>
          </p:cNvSpPr>
          <p:nvPr>
            <p:ph type="body" sz="quarter" idx="21" hasCustomPrompt="1"/>
          </p:nvPr>
        </p:nvSpPr>
        <p:spPr>
          <a:xfrm>
            <a:off x="6376011" y="2804405"/>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6" name="Text Placeholder 11">
            <a:extLst>
              <a:ext uri="{FF2B5EF4-FFF2-40B4-BE49-F238E27FC236}">
                <a16:creationId xmlns:a16="http://schemas.microsoft.com/office/drawing/2014/main" id="{586E91DD-916B-F645-80BE-74FE13A1A309}"/>
              </a:ext>
            </a:extLst>
          </p:cNvPr>
          <p:cNvSpPr>
            <a:spLocks noGrp="1"/>
          </p:cNvSpPr>
          <p:nvPr>
            <p:ph type="body" sz="quarter" idx="22" hasCustomPrompt="1"/>
          </p:nvPr>
        </p:nvSpPr>
        <p:spPr>
          <a:xfrm>
            <a:off x="6376011" y="3541221"/>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7" name="Text Placeholder 11">
            <a:extLst>
              <a:ext uri="{FF2B5EF4-FFF2-40B4-BE49-F238E27FC236}">
                <a16:creationId xmlns:a16="http://schemas.microsoft.com/office/drawing/2014/main" id="{D33AE9B1-FC4C-B64A-A627-4C5DEB4D3642}"/>
              </a:ext>
            </a:extLst>
          </p:cNvPr>
          <p:cNvSpPr>
            <a:spLocks noGrp="1"/>
          </p:cNvSpPr>
          <p:nvPr>
            <p:ph type="body" sz="quarter" idx="23" hasCustomPrompt="1"/>
          </p:nvPr>
        </p:nvSpPr>
        <p:spPr>
          <a:xfrm>
            <a:off x="6376011" y="3871850"/>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8" name="Text Placeholder 11">
            <a:extLst>
              <a:ext uri="{FF2B5EF4-FFF2-40B4-BE49-F238E27FC236}">
                <a16:creationId xmlns:a16="http://schemas.microsoft.com/office/drawing/2014/main" id="{D7BDC373-757A-224C-BDE1-7C04B2534237}"/>
              </a:ext>
            </a:extLst>
          </p:cNvPr>
          <p:cNvSpPr>
            <a:spLocks noGrp="1"/>
          </p:cNvSpPr>
          <p:nvPr>
            <p:ph type="body" sz="quarter" idx="24" hasCustomPrompt="1"/>
          </p:nvPr>
        </p:nvSpPr>
        <p:spPr>
          <a:xfrm>
            <a:off x="6376011" y="4181817"/>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9" name="Text Placeholder 11">
            <a:extLst>
              <a:ext uri="{FF2B5EF4-FFF2-40B4-BE49-F238E27FC236}">
                <a16:creationId xmlns:a16="http://schemas.microsoft.com/office/drawing/2014/main" id="{D237CA36-D07E-5643-B2B1-CCB818CA6974}"/>
              </a:ext>
            </a:extLst>
          </p:cNvPr>
          <p:cNvSpPr>
            <a:spLocks noGrp="1"/>
          </p:cNvSpPr>
          <p:nvPr>
            <p:ph type="body" sz="quarter" idx="25" hasCustomPrompt="1"/>
          </p:nvPr>
        </p:nvSpPr>
        <p:spPr>
          <a:xfrm>
            <a:off x="6376011" y="4920642"/>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30" name="Text Placeholder 11">
            <a:extLst>
              <a:ext uri="{FF2B5EF4-FFF2-40B4-BE49-F238E27FC236}">
                <a16:creationId xmlns:a16="http://schemas.microsoft.com/office/drawing/2014/main" id="{C423DBFD-C745-4648-850A-74997E87CFF1}"/>
              </a:ext>
            </a:extLst>
          </p:cNvPr>
          <p:cNvSpPr>
            <a:spLocks noGrp="1"/>
          </p:cNvSpPr>
          <p:nvPr>
            <p:ph type="body" sz="quarter" idx="26" hasCustomPrompt="1"/>
          </p:nvPr>
        </p:nvSpPr>
        <p:spPr>
          <a:xfrm>
            <a:off x="6376011" y="5251272"/>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31" name="Text Placeholder 11">
            <a:extLst>
              <a:ext uri="{FF2B5EF4-FFF2-40B4-BE49-F238E27FC236}">
                <a16:creationId xmlns:a16="http://schemas.microsoft.com/office/drawing/2014/main" id="{060C62B5-4383-B249-A74D-872EBA69941E}"/>
              </a:ext>
            </a:extLst>
          </p:cNvPr>
          <p:cNvSpPr>
            <a:spLocks noGrp="1"/>
          </p:cNvSpPr>
          <p:nvPr>
            <p:ph type="body" sz="quarter" idx="27" hasCustomPrompt="1"/>
          </p:nvPr>
        </p:nvSpPr>
        <p:spPr>
          <a:xfrm>
            <a:off x="6376011" y="5561238"/>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32" name="Title 4">
            <a:extLst>
              <a:ext uri="{FF2B5EF4-FFF2-40B4-BE49-F238E27FC236}">
                <a16:creationId xmlns:a16="http://schemas.microsoft.com/office/drawing/2014/main" id="{738D054A-338D-8647-BDC8-3D1F6F5A5227}"/>
              </a:ext>
            </a:extLst>
          </p:cNvPr>
          <p:cNvSpPr>
            <a:spLocks noGrp="1"/>
          </p:cNvSpPr>
          <p:nvPr>
            <p:ph type="title" hasCustomPrompt="1"/>
          </p:nvPr>
        </p:nvSpPr>
        <p:spPr>
          <a:xfrm>
            <a:off x="1297014" y="2157093"/>
            <a:ext cx="3543300" cy="958321"/>
          </a:xfrm>
          <a:prstGeom prst="rect">
            <a:avLst/>
          </a:prstGeom>
        </p:spPr>
        <p:txBody>
          <a:bodyPr anchor="ctr"/>
          <a:lstStyle>
            <a:lvl1pPr algn="ctr">
              <a:lnSpc>
                <a:spcPct val="100000"/>
              </a:lnSpc>
              <a:spcBef>
                <a:spcPts val="0"/>
              </a:spcBef>
              <a:spcAft>
                <a:spcPts val="0"/>
              </a:spcAft>
              <a:defRPr sz="3200" b="1">
                <a:solidFill>
                  <a:schemeClr val="bg1"/>
                </a:solidFill>
              </a:defRPr>
            </a:lvl1pPr>
          </a:lstStyle>
          <a:p>
            <a:r>
              <a:rPr lang="en-US"/>
              <a:t>Today’s</a:t>
            </a:r>
            <a:br>
              <a:rPr lang="en-US"/>
            </a:br>
            <a:r>
              <a:rPr lang="en-US"/>
              <a:t>agenda</a:t>
            </a:r>
            <a:endParaRPr lang="en-GB"/>
          </a:p>
        </p:txBody>
      </p:sp>
    </p:spTree>
    <p:extLst>
      <p:ext uri="{BB962C8B-B14F-4D97-AF65-F5344CB8AC3E}">
        <p14:creationId xmlns:p14="http://schemas.microsoft.com/office/powerpoint/2010/main" val="351450997"/>
      </p:ext>
    </p:extLst>
  </p:cSld>
  <p:clrMapOvr>
    <a:overrideClrMapping bg1="dk1" tx1="lt1" bg2="dk2" tx2="lt2" accent1="accent1" accent2="accent2" accent3="accent3" accent4="accent4" accent5="accent5" accent6="accent6" hlink="hlink" folHlink="folHlink"/>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NTT_divider_page">
    <p:spTree>
      <p:nvGrpSpPr>
        <p:cNvPr id="1" name=""/>
        <p:cNvGrpSpPr/>
        <p:nvPr/>
      </p:nvGrpSpPr>
      <p:grpSpPr>
        <a:xfrm>
          <a:off x="0" y="0"/>
          <a:ext cx="0" cy="0"/>
          <a:chOff x="0" y="0"/>
          <a:chExt cx="0" cy="0"/>
        </a:xfrm>
      </p:grpSpPr>
      <p:sp>
        <p:nvSpPr>
          <p:cNvPr id="10" name="Picture Placeholder 3"/>
          <p:cNvSpPr>
            <a:spLocks noGrp="1"/>
          </p:cNvSpPr>
          <p:nvPr userDrawn="1">
            <p:ph type="pic" sz="quarter" idx="14"/>
          </p:nvPr>
        </p:nvSpPr>
        <p:spPr>
          <a:xfrm>
            <a:off x="0" y="4924"/>
            <a:ext cx="12192000" cy="6362011"/>
          </a:xfrm>
          <a:prstGeom prst="rect">
            <a:avLst/>
          </a:prstGeom>
        </p:spPr>
        <p:txBody>
          <a:bodyPr/>
          <a:lstStyle>
            <a:lvl1pPr>
              <a:defRPr>
                <a:solidFill>
                  <a:schemeClr val="accent1"/>
                </a:solidFill>
                <a:latin typeface="Arial"/>
              </a:defRPr>
            </a:lvl1pPr>
          </a:lstStyle>
          <a:p>
            <a:r>
              <a:rPr lang="en-US"/>
              <a:t>Drag picture to placeholder or click icon to add</a:t>
            </a:r>
          </a:p>
        </p:txBody>
      </p:sp>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2"/>
            <a:ext cx="11408804" cy="631775"/>
          </a:xfrm>
          <a:prstGeom prst="rect">
            <a:avLst/>
          </a:prstGeom>
        </p:spPr>
        <p:txBody>
          <a:bodyPr anchor="ctr"/>
          <a:lstStyle>
            <a:lvl1pPr algn="ctr">
              <a:defRPr sz="3200" b="1">
                <a:solidFill>
                  <a:schemeClr val="tx1"/>
                </a:solidFill>
              </a:defRPr>
            </a:lvl1pPr>
          </a:lstStyle>
          <a:p>
            <a:r>
              <a:rPr lang="en-US"/>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7"/>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5" name="Rectangle 4">
            <a:extLst>
              <a:ext uri="{FF2B5EF4-FFF2-40B4-BE49-F238E27FC236}">
                <a16:creationId xmlns:a16="http://schemas.microsoft.com/office/drawing/2014/main" id="{DBB9AF9C-B2E6-1240-91F3-67F7FFEE08DD}"/>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Tree>
    <p:extLst>
      <p:ext uri="{BB962C8B-B14F-4D97-AF65-F5344CB8AC3E}">
        <p14:creationId xmlns:p14="http://schemas.microsoft.com/office/powerpoint/2010/main" val="398228795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NTT_divider_page_blue">
    <p:bg>
      <p:bgPr>
        <a:solidFill>
          <a:schemeClr val="accent2"/>
        </a:soli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2"/>
            <a:ext cx="11408804" cy="631775"/>
          </a:xfrm>
          <a:prstGeom prst="rect">
            <a:avLst/>
          </a:prstGeom>
        </p:spPr>
        <p:txBody>
          <a:bodyPr anchor="ctr"/>
          <a:lstStyle>
            <a:lvl1pPr algn="ctr">
              <a:defRPr sz="3200" b="1">
                <a:solidFill>
                  <a:schemeClr val="bg1"/>
                </a:solidFill>
              </a:defRPr>
            </a:lvl1pPr>
          </a:lstStyle>
          <a:p>
            <a:r>
              <a:rPr lang="en-US"/>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7"/>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Tree>
    <p:extLst>
      <p:ext uri="{BB962C8B-B14F-4D97-AF65-F5344CB8AC3E}">
        <p14:creationId xmlns:p14="http://schemas.microsoft.com/office/powerpoint/2010/main" val="36809984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1302153"/>
            <a:ext cx="12192000" cy="5555847"/>
          </a:xfrm>
          <a:prstGeom prst="rect">
            <a:avLst/>
          </a:prstGeom>
          <a:solidFill>
            <a:schemeClr val="tx2"/>
          </a:solidFill>
        </p:spPr>
        <p:txBody>
          <a:bodyPr/>
          <a:lstStyle>
            <a:lvl1pPr algn="ctr">
              <a:defRPr>
                <a:solidFill>
                  <a:schemeClr val="bg1"/>
                </a:solidFill>
              </a:defRPr>
            </a:lvl1pPr>
          </a:lstStyle>
          <a:p>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724147"/>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888271"/>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5" name="Rectangle 4">
            <a:extLst>
              <a:ext uri="{FF2B5EF4-FFF2-40B4-BE49-F238E27FC236}">
                <a16:creationId xmlns:a16="http://schemas.microsoft.com/office/drawing/2014/main" id="{AEC331B1-A2E3-4449-A203-C1004B13CA10}"/>
              </a:ext>
            </a:extLst>
          </p:cNvPr>
          <p:cNvSpPr/>
          <p:nvPr userDrawn="1"/>
        </p:nvSpPr>
        <p:spPr>
          <a:xfrm>
            <a:off x="-1" y="1"/>
            <a:ext cx="12192001" cy="1302153"/>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pic>
        <p:nvPicPr>
          <p:cNvPr id="9" name="Picture 8">
            <a:extLst>
              <a:ext uri="{FF2B5EF4-FFF2-40B4-BE49-F238E27FC236}">
                <a16:creationId xmlns:a16="http://schemas.microsoft.com/office/drawing/2014/main" id="{B0D76022-ABF5-4D71-8FD6-F77E9816DD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293076095"/>
      </p:ext>
    </p:extLst>
  </p:cSld>
  <p:clrMapOvr>
    <a:overrideClrMapping bg1="lt1" tx1="dk1" bg2="lt2" tx2="dk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a:extLst>
              <a:ext uri="{FF2B5EF4-FFF2-40B4-BE49-F238E27FC236}">
                <a16:creationId xmlns:a16="http://schemas.microsoft.com/office/drawing/2014/main" id="{80889D0A-8FE3-CF4D-B7B4-5465281051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765543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B720457-78E2-D349-BA3A-D34C6CC50DD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7" name="Title 1"/>
          <p:cNvSpPr>
            <a:spLocks noGrp="1"/>
          </p:cNvSpPr>
          <p:nvPr>
            <p:ph type="title"/>
          </p:nvPr>
        </p:nvSpPr>
        <p:spPr>
          <a:xfrm>
            <a:off x="396695" y="169334"/>
            <a:ext cx="9951392"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331318"/>
            <a:ext cx="11376207" cy="473081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0" name="TextBox 9">
            <a:extLst>
              <a:ext uri="{FF2B5EF4-FFF2-40B4-BE49-F238E27FC236}">
                <a16:creationId xmlns:a16="http://schemas.microsoft.com/office/drawing/2014/main" id="{18E46106-3C11-F94C-9726-13D794768550}"/>
              </a:ext>
            </a:extLst>
          </p:cNvPr>
          <p:cNvSpPr txBox="1"/>
          <p:nvPr userDrawn="1"/>
        </p:nvSpPr>
        <p:spPr>
          <a:xfrm>
            <a:off x="8367517" y="6458580"/>
            <a:ext cx="1103396" cy="276999"/>
          </a:xfrm>
          <a:prstGeom prst="rect">
            <a:avLst/>
          </a:prstGeom>
          <a:noFill/>
        </p:spPr>
        <p:txBody>
          <a:bodyPr wrap="square" rtlCol="0">
            <a:spAutoFit/>
          </a:bodyPr>
          <a:lstStyle/>
          <a:p>
            <a:r>
              <a:rPr lang="en-US" sz="1200">
                <a:solidFill>
                  <a:schemeClr val="bg1"/>
                </a:solidFill>
              </a:rPr>
              <a:t>Copyright ©</a:t>
            </a:r>
          </a:p>
        </p:txBody>
      </p:sp>
      <p:sp>
        <p:nvSpPr>
          <p:cNvPr id="11" name="Text Placeholder 2">
            <a:extLst>
              <a:ext uri="{FF2B5EF4-FFF2-40B4-BE49-F238E27FC236}">
                <a16:creationId xmlns:a16="http://schemas.microsoft.com/office/drawing/2014/main" id="{CAB657DF-3BD1-D145-99BA-F26C4B4A5088}"/>
              </a:ext>
            </a:extLst>
          </p:cNvPr>
          <p:cNvSpPr>
            <a:spLocks noGrp="1"/>
          </p:cNvSpPr>
          <p:nvPr>
            <p:ph type="body" sz="quarter" idx="10" hasCustomPrompt="1"/>
          </p:nvPr>
        </p:nvSpPr>
        <p:spPr>
          <a:xfrm>
            <a:off x="9249062" y="6494992"/>
            <a:ext cx="2523839" cy="234949"/>
          </a:xfrm>
          <a:prstGeom prst="rect">
            <a:avLst/>
          </a:prstGeom>
        </p:spPr>
        <p:txBody>
          <a:bodyPr anchor="ctr"/>
          <a:lstStyle>
            <a:lvl1pPr>
              <a:defRPr sz="1200">
                <a:solidFill>
                  <a:schemeClr val="bg1"/>
                </a:solidFill>
              </a:defRPr>
            </a:lvl1pPr>
          </a:lstStyle>
          <a:p>
            <a:pPr lvl="0"/>
            <a:r>
              <a:rPr lang="en-US"/>
              <a:t>Year and name of company</a:t>
            </a:r>
            <a:endParaRPr lang="en-GB"/>
          </a:p>
        </p:txBody>
      </p:sp>
      <p:pic>
        <p:nvPicPr>
          <p:cNvPr id="12" name="Picture 11">
            <a:extLst>
              <a:ext uri="{FF2B5EF4-FFF2-40B4-BE49-F238E27FC236}">
                <a16:creationId xmlns:a16="http://schemas.microsoft.com/office/drawing/2014/main" id="{4394DD01-B476-4449-A74F-36512D904F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4110581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white_no_logo">
    <p:bg bwMode="ltGray">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8AB788-47F2-4B87-A506-17AADCF52838}"/>
              </a:ext>
            </a:extLst>
          </p:cNvPr>
          <p:cNvGraphicFramePr>
            <a:graphicFrameLocks noChangeAspect="1"/>
          </p:cNvGraphicFramePr>
          <p:nvPr userDrawn="1">
            <p:custDataLst>
              <p:tags r:id="rId1"/>
            </p:custDataLst>
            <p:extLst>
              <p:ext uri="{D42A27DB-BD31-4B8C-83A1-F6EECF244321}">
                <p14:modId xmlns:p14="http://schemas.microsoft.com/office/powerpoint/2010/main" val="230691677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3" name="Object 2" hidden="1">
                        <a:extLst>
                          <a:ext uri="{FF2B5EF4-FFF2-40B4-BE49-F238E27FC236}">
                            <a16:creationId xmlns:a16="http://schemas.microsoft.com/office/drawing/2014/main" id="{358AB788-47F2-4B87-A506-17AADCF5283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30C923-A40E-421E-B991-47E6D8629AB6}"/>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p:nvPr>
        </p:nvSpPr>
        <p:spPr>
          <a:xfrm>
            <a:off x="396691" y="169334"/>
            <a:ext cx="9860711" cy="447217"/>
          </a:xfrm>
          <a:prstGeom prst="rect">
            <a:avLst/>
          </a:prstGeom>
        </p:spPr>
        <p:txBody>
          <a:bodyPr vert="horz" lIns="0" tIns="0" rIns="0" bIns="0" anchor="t">
            <a:spAutoFit/>
          </a:bodyPr>
          <a:lstStyle>
            <a:lvl1pPr rtl="0">
              <a:defRPr lang="en-ZA" b="1" dirty="0">
                <a:solidFill>
                  <a:schemeClr val="bg1"/>
                </a:solidFill>
                <a:latin typeface="Arial"/>
                <a:cs typeface="Arial"/>
              </a:defRPr>
            </a:lvl1pPr>
          </a:lstStyle>
          <a:p>
            <a:pPr lvl="0"/>
            <a:r>
              <a:rPr lang="en-US"/>
              <a:t>Click to edit Master title style</a:t>
            </a:r>
          </a:p>
        </p:txBody>
      </p:sp>
      <p:sp>
        <p:nvSpPr>
          <p:cNvPr id="8" name="Content Placeholder 2"/>
          <p:cNvSpPr>
            <a:spLocks noGrp="1"/>
          </p:cNvSpPr>
          <p:nvPr>
            <p:ph idx="1"/>
          </p:nvPr>
        </p:nvSpPr>
        <p:spPr>
          <a:xfrm>
            <a:off x="396694" y="1529025"/>
            <a:ext cx="11376207" cy="1919073"/>
          </a:xfrm>
          <a:prstGeom prst="rect">
            <a:avLst/>
          </a:prstGeom>
        </p:spPr>
        <p:txBody>
          <a:bodyPr/>
          <a:lstStyle>
            <a:lvl1pPr algn="l" rtl="0">
              <a:defRPr sz="2400">
                <a:solidFill>
                  <a:schemeClr val="bg1"/>
                </a:solidFill>
                <a:latin typeface="Arial"/>
                <a:cs typeface="Arial"/>
              </a:defRPr>
            </a:lvl1pPr>
            <a:lvl2pPr algn="l" rtl="0">
              <a:defRPr sz="1867">
                <a:solidFill>
                  <a:schemeClr val="bg1"/>
                </a:solidFill>
                <a:latin typeface="Arial"/>
                <a:cs typeface="Arial"/>
              </a:defRPr>
            </a:lvl2pPr>
            <a:lvl3pPr algn="l" rtl="0">
              <a:defRPr sz="1600">
                <a:solidFill>
                  <a:schemeClr val="bg1"/>
                </a:solidFill>
                <a:latin typeface="Arial"/>
                <a:cs typeface="Arial"/>
              </a:defRPr>
            </a:lvl3pPr>
            <a:lvl4pPr algn="l" rtl="0">
              <a:defRPr sz="1467">
                <a:solidFill>
                  <a:schemeClr val="bg1"/>
                </a:solidFill>
                <a:latin typeface="Arial"/>
                <a:cs typeface="Arial"/>
              </a:defRPr>
            </a:lvl4pPr>
            <a:lvl5pPr algn="l" rtl="0">
              <a:defRPr sz="1467">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A9DEE5B1-CDD6-3C4C-B3D3-ADC5828C5E97}"/>
              </a:ext>
            </a:extLst>
          </p:cNvPr>
          <p:cNvPicPr>
            <a:picLocks noChangeAspect="1"/>
          </p:cNvPicPr>
          <p:nvPr userDrawn="1"/>
        </p:nvPicPr>
        <p:blipFill>
          <a:blip r:embed="rId6"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55952977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light_grey_CR">
    <p:bg bwMode="ltGray">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6"/>
            <a:ext cx="11376207" cy="456697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9" name="Picture 8">
            <a:extLst>
              <a:ext uri="{FF2B5EF4-FFF2-40B4-BE49-F238E27FC236}">
                <a16:creationId xmlns:a16="http://schemas.microsoft.com/office/drawing/2014/main" id="{A5514108-DFA6-6A49-ADD4-769859CE9D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10" name="Rectangle 9">
            <a:extLst>
              <a:ext uri="{FF2B5EF4-FFF2-40B4-BE49-F238E27FC236}">
                <a16:creationId xmlns:a16="http://schemas.microsoft.com/office/drawing/2014/main" id="{88CE73B4-B7E7-7745-AF08-F3B6CCC9131B}"/>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1" name="TextBox 10">
            <a:extLst>
              <a:ext uri="{FF2B5EF4-FFF2-40B4-BE49-F238E27FC236}">
                <a16:creationId xmlns:a16="http://schemas.microsoft.com/office/drawing/2014/main" id="{6709F509-4A2D-7942-AE24-477AD9D8BF88}"/>
              </a:ext>
            </a:extLst>
          </p:cNvPr>
          <p:cNvSpPr txBox="1"/>
          <p:nvPr userDrawn="1"/>
        </p:nvSpPr>
        <p:spPr>
          <a:xfrm>
            <a:off x="8367517" y="6458580"/>
            <a:ext cx="1103396" cy="276999"/>
          </a:xfrm>
          <a:prstGeom prst="rect">
            <a:avLst/>
          </a:prstGeom>
          <a:noFill/>
        </p:spPr>
        <p:txBody>
          <a:bodyPr wrap="square" rtlCol="0">
            <a:spAutoFit/>
          </a:bodyPr>
          <a:lstStyle/>
          <a:p>
            <a:r>
              <a:rPr lang="en-US" sz="1200">
                <a:solidFill>
                  <a:schemeClr val="bg1"/>
                </a:solidFill>
              </a:rPr>
              <a:t>Copyright ©</a:t>
            </a:r>
          </a:p>
        </p:txBody>
      </p:sp>
      <p:sp>
        <p:nvSpPr>
          <p:cNvPr id="12" name="Text Placeholder 2">
            <a:extLst>
              <a:ext uri="{FF2B5EF4-FFF2-40B4-BE49-F238E27FC236}">
                <a16:creationId xmlns:a16="http://schemas.microsoft.com/office/drawing/2014/main" id="{0AA716DD-80A6-DA4B-BABB-DE0B9A73DF6D}"/>
              </a:ext>
            </a:extLst>
          </p:cNvPr>
          <p:cNvSpPr>
            <a:spLocks noGrp="1"/>
          </p:cNvSpPr>
          <p:nvPr>
            <p:ph type="body" sz="quarter" idx="10" hasCustomPrompt="1"/>
          </p:nvPr>
        </p:nvSpPr>
        <p:spPr>
          <a:xfrm>
            <a:off x="9249062" y="6494992"/>
            <a:ext cx="2523839" cy="234949"/>
          </a:xfrm>
          <a:prstGeom prst="rect">
            <a:avLst/>
          </a:prstGeom>
        </p:spPr>
        <p:txBody>
          <a:bodyPr anchor="ctr"/>
          <a:lstStyle>
            <a:lvl1pPr>
              <a:defRPr sz="1200">
                <a:solidFill>
                  <a:schemeClr val="bg1"/>
                </a:solidFill>
              </a:defRPr>
            </a:lvl1pPr>
          </a:lstStyle>
          <a:p>
            <a:pPr lvl="0"/>
            <a:r>
              <a:rPr lang="en-US"/>
              <a:t>Year and name of company</a:t>
            </a:r>
            <a:endParaRPr lang="en-GB"/>
          </a:p>
        </p:txBody>
      </p:sp>
    </p:spTree>
    <p:extLst>
      <p:ext uri="{BB962C8B-B14F-4D97-AF65-F5344CB8AC3E}">
        <p14:creationId xmlns:p14="http://schemas.microsoft.com/office/powerpoint/2010/main" val="245932552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NTT_title_and_content_page_blue">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5" name="Picture 4">
            <a:extLst>
              <a:ext uri="{FF2B5EF4-FFF2-40B4-BE49-F238E27FC236}">
                <a16:creationId xmlns:a16="http://schemas.microsoft.com/office/drawing/2014/main" id="{8F3EAFF9-7DC3-D348-84B7-12FFB2469E99}"/>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3756378596"/>
      </p:ext>
    </p:extLst>
  </p:cSld>
  <p:clrMapOvr>
    <a:overrideClrMapping bg1="dk1" tx1="lt1" bg2="dk2" tx2="lt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770027"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2">
            <a:extLst>
              <a:ext uri="{FF2B5EF4-FFF2-40B4-BE49-F238E27FC236}">
                <a16:creationId xmlns:a16="http://schemas.microsoft.com/office/drawing/2014/main" id="{8BD1A41A-CF28-7B4B-A127-2A8B7D391155}"/>
              </a:ext>
            </a:extLst>
          </p:cNvPr>
          <p:cNvSpPr>
            <a:spLocks noGrp="1"/>
          </p:cNvSpPr>
          <p:nvPr>
            <p:ph type="body" sz="quarter" idx="10" hasCustomPrompt="1"/>
          </p:nvPr>
        </p:nvSpPr>
        <p:spPr>
          <a:xfrm>
            <a:off x="1278237" y="6494992"/>
            <a:ext cx="2523839" cy="234949"/>
          </a:xfrm>
          <a:prstGeom prst="rect">
            <a:avLst/>
          </a:prstGeom>
        </p:spPr>
        <p:txBody>
          <a:bodyPr anchor="ctr"/>
          <a:lstStyle>
            <a:lvl1pPr>
              <a:defRPr sz="1200">
                <a:solidFill>
                  <a:schemeClr val="tx1"/>
                </a:solidFill>
              </a:defRPr>
            </a:lvl1pPr>
          </a:lstStyle>
          <a:p>
            <a:pPr lvl="0"/>
            <a:r>
              <a:rPr lang="en-US"/>
              <a:t>Year and name of company</a:t>
            </a:r>
            <a:endParaRPr lang="en-GB"/>
          </a:p>
        </p:txBody>
      </p:sp>
      <p:pic>
        <p:nvPicPr>
          <p:cNvPr id="6" name="Picture 5">
            <a:extLst>
              <a:ext uri="{FF2B5EF4-FFF2-40B4-BE49-F238E27FC236}">
                <a16:creationId xmlns:a16="http://schemas.microsoft.com/office/drawing/2014/main" id="{A6731466-BD37-0B4A-BE69-CBD86F77A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109384490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white_no_logo">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860711" cy="793751"/>
          </a:xfrm>
          <a:prstGeom prst="rect">
            <a:avLst/>
          </a:prstGeom>
        </p:spPr>
        <p:txBody>
          <a:bodyPr anchor="ctr"/>
          <a:lstStyle>
            <a:lvl1pPr>
              <a:defRPr sz="3200" b="1">
                <a:solidFill>
                  <a:schemeClr val="bg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bg1"/>
                </a:solidFill>
                <a:latin typeface="Arial"/>
                <a:cs typeface="Arial"/>
              </a:defRPr>
            </a:lvl1pPr>
            <a:lvl2pPr algn="l">
              <a:defRPr sz="1867">
                <a:solidFill>
                  <a:schemeClr val="bg1"/>
                </a:solidFill>
                <a:latin typeface="Arial"/>
                <a:cs typeface="Arial"/>
              </a:defRPr>
            </a:lvl2pPr>
            <a:lvl3pPr algn="l">
              <a:defRPr sz="1600">
                <a:solidFill>
                  <a:schemeClr val="bg1"/>
                </a:solidFill>
                <a:latin typeface="Arial"/>
                <a:cs typeface="Arial"/>
              </a:defRPr>
            </a:lvl3pPr>
            <a:lvl4pPr algn="l">
              <a:defRPr sz="1467">
                <a:solidFill>
                  <a:schemeClr val="bg1"/>
                </a:solidFill>
                <a:latin typeface="Arial"/>
                <a:cs typeface="Arial"/>
              </a:defRPr>
            </a:lvl4pPr>
            <a:lvl5pPr algn="l">
              <a:defRPr sz="1467">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4" name="Picture 3">
            <a:extLst>
              <a:ext uri="{FF2B5EF4-FFF2-40B4-BE49-F238E27FC236}">
                <a16:creationId xmlns:a16="http://schemas.microsoft.com/office/drawing/2014/main" id="{A9DEE5B1-CDD6-3C4C-B3D3-ADC5828C5E97}"/>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338312593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810331"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566976"/>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Rectangle 5">
            <a:extLst>
              <a:ext uri="{FF2B5EF4-FFF2-40B4-BE49-F238E27FC236}">
                <a16:creationId xmlns:a16="http://schemas.microsoft.com/office/drawing/2014/main" id="{C1B6184E-3522-954B-A811-C22B92045F8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9" name="TextBox 8">
            <a:extLst>
              <a:ext uri="{FF2B5EF4-FFF2-40B4-BE49-F238E27FC236}">
                <a16:creationId xmlns:a16="http://schemas.microsoft.com/office/drawing/2014/main" id="{BBB7EF1D-3914-3D44-9ED2-160A08608D01}"/>
              </a:ext>
            </a:extLst>
          </p:cNvPr>
          <p:cNvSpPr txBox="1"/>
          <p:nvPr userDrawn="1"/>
        </p:nvSpPr>
        <p:spPr>
          <a:xfrm>
            <a:off x="8367517" y="6458580"/>
            <a:ext cx="1103396" cy="276999"/>
          </a:xfrm>
          <a:prstGeom prst="rect">
            <a:avLst/>
          </a:prstGeom>
          <a:noFill/>
        </p:spPr>
        <p:txBody>
          <a:bodyPr wrap="square" rtlCol="0">
            <a:spAutoFit/>
          </a:bodyPr>
          <a:lstStyle/>
          <a:p>
            <a:r>
              <a:rPr lang="en-US" sz="1200">
                <a:solidFill>
                  <a:schemeClr val="bg1"/>
                </a:solidFill>
              </a:rPr>
              <a:t>Copyright ©</a:t>
            </a:r>
          </a:p>
        </p:txBody>
      </p:sp>
      <p:sp>
        <p:nvSpPr>
          <p:cNvPr id="10" name="Text Placeholder 2">
            <a:extLst>
              <a:ext uri="{FF2B5EF4-FFF2-40B4-BE49-F238E27FC236}">
                <a16:creationId xmlns:a16="http://schemas.microsoft.com/office/drawing/2014/main" id="{F79B7AD1-EC58-1449-8AAA-141F57273406}"/>
              </a:ext>
            </a:extLst>
          </p:cNvPr>
          <p:cNvSpPr>
            <a:spLocks noGrp="1"/>
          </p:cNvSpPr>
          <p:nvPr>
            <p:ph type="body" sz="quarter" idx="10" hasCustomPrompt="1"/>
          </p:nvPr>
        </p:nvSpPr>
        <p:spPr>
          <a:xfrm>
            <a:off x="9249062" y="6494992"/>
            <a:ext cx="2523839" cy="234949"/>
          </a:xfrm>
          <a:prstGeom prst="rect">
            <a:avLst/>
          </a:prstGeom>
        </p:spPr>
        <p:txBody>
          <a:bodyPr anchor="ctr"/>
          <a:lstStyle>
            <a:lvl1pPr>
              <a:defRPr sz="1200">
                <a:solidFill>
                  <a:schemeClr val="bg1"/>
                </a:solidFill>
              </a:defRPr>
            </a:lvl1pPr>
          </a:lstStyle>
          <a:p>
            <a:pPr lvl="0"/>
            <a:r>
              <a:rPr lang="en-US"/>
              <a:t>Year and name of company</a:t>
            </a:r>
            <a:endParaRPr lang="en-GB"/>
          </a:p>
        </p:txBody>
      </p:sp>
      <p:pic>
        <p:nvPicPr>
          <p:cNvPr id="11" name="Picture 10">
            <a:extLst>
              <a:ext uri="{FF2B5EF4-FFF2-40B4-BE49-F238E27FC236}">
                <a16:creationId xmlns:a16="http://schemas.microsoft.com/office/drawing/2014/main" id="{DF5856D0-B342-6443-8CFB-BC42A2CCF0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28298378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NTT_title_and_2column_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6693" y="1408823"/>
            <a:ext cx="5495760" cy="4186080"/>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Text Placeholder 5"/>
          <p:cNvSpPr>
            <a:spLocks noGrp="1"/>
          </p:cNvSpPr>
          <p:nvPr>
            <p:ph type="body" sz="quarter" idx="12"/>
          </p:nvPr>
        </p:nvSpPr>
        <p:spPr>
          <a:xfrm>
            <a:off x="6298669" y="1409289"/>
            <a:ext cx="5497515" cy="4186207"/>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itle 1"/>
          <p:cNvSpPr>
            <a:spLocks noGrp="1"/>
          </p:cNvSpPr>
          <p:nvPr>
            <p:ph type="title"/>
          </p:nvPr>
        </p:nvSpPr>
        <p:spPr>
          <a:xfrm>
            <a:off x="396694" y="169335"/>
            <a:ext cx="9961469" cy="793749"/>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pic>
        <p:nvPicPr>
          <p:cNvPr id="7" name="Picture 6">
            <a:extLst>
              <a:ext uri="{FF2B5EF4-FFF2-40B4-BE49-F238E27FC236}">
                <a16:creationId xmlns:a16="http://schemas.microsoft.com/office/drawing/2014/main" id="{3F002DB6-96B1-3B43-B29D-7922E2487FE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133822893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NTT_chart_layout_white">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19"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48" indent="0" algn="ctr">
              <a:buNone/>
              <a:defRPr sz="1867"/>
            </a:lvl2pPr>
          </a:lstStyle>
          <a:p>
            <a:pPr lvl="0"/>
            <a:r>
              <a:rPr lang="en-US"/>
              <a:t>Click to edit Master text styles</a:t>
            </a:r>
          </a:p>
        </p:txBody>
      </p:sp>
      <p:sp>
        <p:nvSpPr>
          <p:cNvPr id="6" name="Chart Placeholder 5"/>
          <p:cNvSpPr>
            <a:spLocks noGrp="1"/>
          </p:cNvSpPr>
          <p:nvPr>
            <p:ph type="chart" sz="quarter" idx="11"/>
          </p:nvPr>
        </p:nvSpPr>
        <p:spPr>
          <a:xfrm>
            <a:off x="396694" y="1683603"/>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tx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US"/>
              <a:t>Click icon to add chart</a:t>
            </a:r>
            <a:endParaRPr lang="en-ZA"/>
          </a:p>
        </p:txBody>
      </p:sp>
      <p:sp>
        <p:nvSpPr>
          <p:cNvPr id="5" name="Title 1"/>
          <p:cNvSpPr>
            <a:spLocks noGrp="1"/>
          </p:cNvSpPr>
          <p:nvPr>
            <p:ph type="title"/>
          </p:nvPr>
        </p:nvSpPr>
        <p:spPr>
          <a:xfrm>
            <a:off x="396693" y="169334"/>
            <a:ext cx="9558508" cy="793751"/>
          </a:xfrm>
          <a:prstGeom prst="rect">
            <a:avLst/>
          </a:prstGeom>
        </p:spPr>
        <p:txBody>
          <a:bodyPr anchor="ctr"/>
          <a:lstStyle>
            <a:lvl1pPr>
              <a:defRPr sz="3200" b="1" i="0">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ZA"/>
          </a:p>
        </p:txBody>
      </p:sp>
      <p:pic>
        <p:nvPicPr>
          <p:cNvPr id="8" name="Picture 7">
            <a:extLst>
              <a:ext uri="{FF2B5EF4-FFF2-40B4-BE49-F238E27FC236}">
                <a16:creationId xmlns:a16="http://schemas.microsoft.com/office/drawing/2014/main" id="{7BD62B93-C8CF-6946-9BCE-593B9275E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22244895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NTT_chart_layout_dark">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19"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48" indent="0" algn="ctr">
              <a:buNone/>
              <a:defRPr sz="1867"/>
            </a:lvl2pPr>
          </a:lstStyle>
          <a:p>
            <a:pPr lvl="0"/>
            <a:r>
              <a:rPr lang="en-US"/>
              <a:t>Click to edit Master text styles</a:t>
            </a:r>
          </a:p>
        </p:txBody>
      </p:sp>
      <p:sp>
        <p:nvSpPr>
          <p:cNvPr id="6" name="Chart Placeholder 5"/>
          <p:cNvSpPr>
            <a:spLocks noGrp="1"/>
          </p:cNvSpPr>
          <p:nvPr>
            <p:ph type="chart" sz="quarter" idx="11"/>
          </p:nvPr>
        </p:nvSpPr>
        <p:spPr>
          <a:xfrm>
            <a:off x="396694" y="1683603"/>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lt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US"/>
              <a:t>Click icon to add chart</a:t>
            </a:r>
            <a:endParaRPr lang="en-ZA"/>
          </a:p>
        </p:txBody>
      </p:sp>
      <p:sp>
        <p:nvSpPr>
          <p:cNvPr id="5" name="Title 1"/>
          <p:cNvSpPr>
            <a:spLocks noGrp="1"/>
          </p:cNvSpPr>
          <p:nvPr>
            <p:ph type="title"/>
          </p:nvPr>
        </p:nvSpPr>
        <p:spPr>
          <a:xfrm>
            <a:off x="396692" y="169334"/>
            <a:ext cx="9941317" cy="793751"/>
          </a:xfrm>
          <a:prstGeom prst="rect">
            <a:avLst/>
          </a:prstGeom>
        </p:spPr>
        <p:txBody>
          <a:bodyPr anchor="ctr"/>
          <a:lstStyle>
            <a:lvl1pPr>
              <a:defRPr b="1" i="0">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ZA"/>
          </a:p>
        </p:txBody>
      </p:sp>
      <p:pic>
        <p:nvPicPr>
          <p:cNvPr id="8" name="Picture 7">
            <a:extLst>
              <a:ext uri="{FF2B5EF4-FFF2-40B4-BE49-F238E27FC236}">
                <a16:creationId xmlns:a16="http://schemas.microsoft.com/office/drawing/2014/main" id="{18F2AC6C-F5EC-F34F-B80D-FEA6C390CB84}"/>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369702349"/>
      </p:ext>
    </p:extLst>
  </p:cSld>
  <p:clrMapOvr>
    <a:overrideClrMapping bg1="dk1" tx1="lt1" bg2="dk2" tx2="lt2" accent1="accent1" accent2="accent2" accent3="accent3" accent4="accent4" accent5="accent5" accent6="accent6" hlink="hlink" folHlink="folHlink"/>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NTT_layout_option_3_column_white">
    <p:bg bwMode="ltGray">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6C46D53-15E4-2C4F-9617-DD90C161B84F}"/>
              </a:ext>
            </a:extLst>
          </p:cNvPr>
          <p:cNvSpPr/>
          <p:nvPr userDrawn="1"/>
        </p:nvSpPr>
        <p:spPr>
          <a:xfrm>
            <a:off x="0" y="2772077"/>
            <a:ext cx="4064000" cy="40859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7" name="Rectangle 6">
            <a:extLst>
              <a:ext uri="{FF2B5EF4-FFF2-40B4-BE49-F238E27FC236}">
                <a16:creationId xmlns:a16="http://schemas.microsoft.com/office/drawing/2014/main" id="{D76A6DF1-0EBD-A441-B4B6-6E5DE055B9AB}"/>
              </a:ext>
            </a:extLst>
          </p:cNvPr>
          <p:cNvSpPr/>
          <p:nvPr userDrawn="1"/>
        </p:nvSpPr>
        <p:spPr>
          <a:xfrm>
            <a:off x="8128000" y="2772077"/>
            <a:ext cx="4064000" cy="40859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3" name="Picture Placeholder 2">
            <a:extLst>
              <a:ext uri="{FF2B5EF4-FFF2-40B4-BE49-F238E27FC236}">
                <a16:creationId xmlns:a16="http://schemas.microsoft.com/office/drawing/2014/main" id="{C00DBA51-2FC2-724F-8D23-DCE9E6E22D76}"/>
              </a:ext>
            </a:extLst>
          </p:cNvPr>
          <p:cNvSpPr>
            <a:spLocks noGrp="1"/>
          </p:cNvSpPr>
          <p:nvPr>
            <p:ph type="pic" sz="quarter" idx="10"/>
          </p:nvPr>
        </p:nvSpPr>
        <p:spPr>
          <a:xfrm>
            <a:off x="4064000" y="2772834"/>
            <a:ext cx="4064000" cy="4085167"/>
          </a:xfrm>
          <a:prstGeom prst="rect">
            <a:avLst/>
          </a:prstGeom>
        </p:spPr>
        <p:txBody>
          <a:bodyPr/>
          <a:lstStyle>
            <a:lvl1pPr>
              <a:defRPr>
                <a:solidFill>
                  <a:schemeClr val="tx1"/>
                </a:solidFill>
              </a:defRPr>
            </a:lvl1pPr>
          </a:lstStyle>
          <a:p>
            <a:endParaRPr lang="en-GB"/>
          </a:p>
        </p:txBody>
      </p:sp>
      <p:sp>
        <p:nvSpPr>
          <p:cNvPr id="8" name="Triangle 7">
            <a:extLst>
              <a:ext uri="{FF2B5EF4-FFF2-40B4-BE49-F238E27FC236}">
                <a16:creationId xmlns:a16="http://schemas.microsoft.com/office/drawing/2014/main" id="{EAB5410C-0EC5-894D-9939-7D4BDEA3A33B}"/>
              </a:ext>
            </a:extLst>
          </p:cNvPr>
          <p:cNvSpPr/>
          <p:nvPr userDrawn="1"/>
        </p:nvSpPr>
        <p:spPr>
          <a:xfrm rot="10800000">
            <a:off x="5698156" y="2772074"/>
            <a:ext cx="795688" cy="29163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accent1"/>
              </a:solidFill>
            </a:endParaRPr>
          </a:p>
        </p:txBody>
      </p:sp>
      <p:sp>
        <p:nvSpPr>
          <p:cNvPr id="9" name="Title 4">
            <a:extLst>
              <a:ext uri="{FF2B5EF4-FFF2-40B4-BE49-F238E27FC236}">
                <a16:creationId xmlns:a16="http://schemas.microsoft.com/office/drawing/2014/main" id="{F2179386-8ECF-2247-89E5-B3685ECA1D57}"/>
              </a:ext>
            </a:extLst>
          </p:cNvPr>
          <p:cNvSpPr>
            <a:spLocks noGrp="1"/>
          </p:cNvSpPr>
          <p:nvPr>
            <p:ph type="title"/>
          </p:nvPr>
        </p:nvSpPr>
        <p:spPr>
          <a:xfrm>
            <a:off x="391599" y="705414"/>
            <a:ext cx="11408804" cy="631775"/>
          </a:xfrm>
          <a:prstGeom prst="rect">
            <a:avLst/>
          </a:prstGeom>
        </p:spPr>
        <p:txBody>
          <a:bodyPr anchor="ctr"/>
          <a:lstStyle>
            <a:lvl1pPr algn="ctr">
              <a:defRPr sz="3200" b="1">
                <a:solidFill>
                  <a:schemeClr val="accent2"/>
                </a:solidFill>
              </a:defRPr>
            </a:lvl1pPr>
          </a:lstStyle>
          <a:p>
            <a:r>
              <a:rPr lang="en-US"/>
              <a:t>Click to edit Master title style</a:t>
            </a:r>
            <a:endParaRPr lang="en-GB"/>
          </a:p>
        </p:txBody>
      </p:sp>
      <p:sp>
        <p:nvSpPr>
          <p:cNvPr id="10" name="Text Placeholder 6">
            <a:extLst>
              <a:ext uri="{FF2B5EF4-FFF2-40B4-BE49-F238E27FC236}">
                <a16:creationId xmlns:a16="http://schemas.microsoft.com/office/drawing/2014/main" id="{DDFBDF62-760F-2942-909D-906703D9C63F}"/>
              </a:ext>
            </a:extLst>
          </p:cNvPr>
          <p:cNvSpPr>
            <a:spLocks noGrp="1"/>
          </p:cNvSpPr>
          <p:nvPr>
            <p:ph type="body" sz="quarter" idx="16" hasCustomPrompt="1"/>
          </p:nvPr>
        </p:nvSpPr>
        <p:spPr>
          <a:xfrm>
            <a:off x="391599" y="1382759"/>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11" name="Text Placeholder 6">
            <a:extLst>
              <a:ext uri="{FF2B5EF4-FFF2-40B4-BE49-F238E27FC236}">
                <a16:creationId xmlns:a16="http://schemas.microsoft.com/office/drawing/2014/main" id="{C3140292-BA2F-5F40-B51A-1F57E8E5304C}"/>
              </a:ext>
            </a:extLst>
          </p:cNvPr>
          <p:cNvSpPr>
            <a:spLocks noGrp="1"/>
          </p:cNvSpPr>
          <p:nvPr>
            <p:ph type="body" sz="quarter" idx="52"/>
          </p:nvPr>
        </p:nvSpPr>
        <p:spPr>
          <a:xfrm>
            <a:off x="539718" y="3598153"/>
            <a:ext cx="2707204" cy="373936"/>
          </a:xfrm>
          <a:prstGeom prst="rect">
            <a:avLst/>
          </a:prstGeom>
        </p:spPr>
        <p:txBody>
          <a:bodyPr/>
          <a:lstStyle>
            <a:lvl1pPr marL="0" indent="0" algn="l">
              <a:buNone/>
              <a:defRPr sz="1867" b="1">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2" name="Text Placeholder 6">
            <a:extLst>
              <a:ext uri="{FF2B5EF4-FFF2-40B4-BE49-F238E27FC236}">
                <a16:creationId xmlns:a16="http://schemas.microsoft.com/office/drawing/2014/main" id="{A1906DE7-FCBA-2C47-BF59-60B682EFAE70}"/>
              </a:ext>
            </a:extLst>
          </p:cNvPr>
          <p:cNvSpPr>
            <a:spLocks noGrp="1"/>
          </p:cNvSpPr>
          <p:nvPr>
            <p:ph type="body" sz="quarter" idx="72"/>
          </p:nvPr>
        </p:nvSpPr>
        <p:spPr>
          <a:xfrm>
            <a:off x="539718" y="4101559"/>
            <a:ext cx="2707188" cy="918901"/>
          </a:xfrm>
          <a:prstGeom prst="rect">
            <a:avLst/>
          </a:prstGeom>
        </p:spPr>
        <p:txBody>
          <a:bodyPr/>
          <a:lstStyle>
            <a:lvl1pPr marL="0" indent="0" algn="l">
              <a:buNone/>
              <a:defRPr sz="1467" b="0">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3" name="Text Placeholder 6">
            <a:extLst>
              <a:ext uri="{FF2B5EF4-FFF2-40B4-BE49-F238E27FC236}">
                <a16:creationId xmlns:a16="http://schemas.microsoft.com/office/drawing/2014/main" id="{703A3ACC-186F-804C-B70E-77B95DB72606}"/>
              </a:ext>
            </a:extLst>
          </p:cNvPr>
          <p:cNvSpPr>
            <a:spLocks noGrp="1"/>
          </p:cNvSpPr>
          <p:nvPr>
            <p:ph type="body" sz="quarter" idx="73"/>
          </p:nvPr>
        </p:nvSpPr>
        <p:spPr>
          <a:xfrm>
            <a:off x="4698887" y="3598153"/>
            <a:ext cx="2707204" cy="373936"/>
          </a:xfrm>
          <a:prstGeom prst="rect">
            <a:avLst/>
          </a:prstGeom>
        </p:spPr>
        <p:txBody>
          <a:bodyPr/>
          <a:lstStyle>
            <a:lvl1pPr marL="0" indent="0" algn="l">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4" name="Text Placeholder 6">
            <a:extLst>
              <a:ext uri="{FF2B5EF4-FFF2-40B4-BE49-F238E27FC236}">
                <a16:creationId xmlns:a16="http://schemas.microsoft.com/office/drawing/2014/main" id="{89D664C2-EB15-B941-872E-C42459621D86}"/>
              </a:ext>
            </a:extLst>
          </p:cNvPr>
          <p:cNvSpPr>
            <a:spLocks noGrp="1"/>
          </p:cNvSpPr>
          <p:nvPr>
            <p:ph type="body" sz="quarter" idx="74"/>
          </p:nvPr>
        </p:nvSpPr>
        <p:spPr>
          <a:xfrm>
            <a:off x="4698887" y="4101559"/>
            <a:ext cx="2707188" cy="918901"/>
          </a:xfrm>
          <a:prstGeom prst="rect">
            <a:avLst/>
          </a:prstGeom>
        </p:spPr>
        <p:txBody>
          <a:bodyPr/>
          <a:lstStyle>
            <a:lvl1pPr marL="0" indent="0" algn="l">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5" name="Text Placeholder 6">
            <a:extLst>
              <a:ext uri="{FF2B5EF4-FFF2-40B4-BE49-F238E27FC236}">
                <a16:creationId xmlns:a16="http://schemas.microsoft.com/office/drawing/2014/main" id="{6DE93A4A-D0D5-DC49-87BA-D7EEFBB11F57}"/>
              </a:ext>
            </a:extLst>
          </p:cNvPr>
          <p:cNvSpPr>
            <a:spLocks noGrp="1"/>
          </p:cNvSpPr>
          <p:nvPr>
            <p:ph type="body" sz="quarter" idx="75"/>
          </p:nvPr>
        </p:nvSpPr>
        <p:spPr>
          <a:xfrm>
            <a:off x="8811758" y="3598153"/>
            <a:ext cx="2707204" cy="373936"/>
          </a:xfrm>
          <a:prstGeom prst="rect">
            <a:avLst/>
          </a:prstGeom>
        </p:spPr>
        <p:txBody>
          <a:bodyPr/>
          <a:lstStyle>
            <a:lvl1pPr marL="0" indent="0" algn="l">
              <a:buNone/>
              <a:defRPr sz="1867" b="1">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6" name="Text Placeholder 6">
            <a:extLst>
              <a:ext uri="{FF2B5EF4-FFF2-40B4-BE49-F238E27FC236}">
                <a16:creationId xmlns:a16="http://schemas.microsoft.com/office/drawing/2014/main" id="{6FE70091-2CA3-B04B-AA23-9D30A96917CE}"/>
              </a:ext>
            </a:extLst>
          </p:cNvPr>
          <p:cNvSpPr>
            <a:spLocks noGrp="1"/>
          </p:cNvSpPr>
          <p:nvPr>
            <p:ph type="body" sz="quarter" idx="76"/>
          </p:nvPr>
        </p:nvSpPr>
        <p:spPr>
          <a:xfrm>
            <a:off x="8811758" y="4101559"/>
            <a:ext cx="2707188" cy="918901"/>
          </a:xfrm>
          <a:prstGeom prst="rect">
            <a:avLst/>
          </a:prstGeom>
        </p:spPr>
        <p:txBody>
          <a:bodyPr/>
          <a:lstStyle>
            <a:lvl1pPr marL="0" indent="0" algn="l">
              <a:buNone/>
              <a:defRPr sz="1467" b="0">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Tree>
    <p:extLst>
      <p:ext uri="{BB962C8B-B14F-4D97-AF65-F5344CB8AC3E}">
        <p14:creationId xmlns:p14="http://schemas.microsoft.com/office/powerpoint/2010/main" val="1858801144"/>
      </p:ext>
    </p:extLst>
  </p:cSld>
  <p:clrMapOvr>
    <a:overrideClrMapping bg1="lt1" tx1="dk1" bg2="lt2" tx2="dk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4439341" y="0"/>
            <a:ext cx="775265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3" name="Picture Placeholder 2">
            <a:extLst>
              <a:ext uri="{FF2B5EF4-FFF2-40B4-BE49-F238E27FC236}">
                <a16:creationId xmlns:a16="http://schemas.microsoft.com/office/drawing/2014/main" id="{7C10F3DA-0062-6342-AECB-F97E69FEAC79}"/>
              </a:ext>
            </a:extLst>
          </p:cNvPr>
          <p:cNvSpPr>
            <a:spLocks noGrp="1"/>
          </p:cNvSpPr>
          <p:nvPr>
            <p:ph type="pic" sz="quarter" idx="14" hasCustomPrompt="1"/>
          </p:nvPr>
        </p:nvSpPr>
        <p:spPr>
          <a:xfrm>
            <a:off x="1539535" y="764405"/>
            <a:ext cx="1333500" cy="1333500"/>
          </a:xfrm>
          <a:prstGeom prst="rect">
            <a:avLst/>
          </a:prstGeom>
        </p:spPr>
        <p:txBody>
          <a:bodyPr/>
          <a:lstStyle>
            <a:lvl1pPr marL="0" indent="0">
              <a:buNone/>
              <a:defRPr sz="1867">
                <a:solidFill>
                  <a:schemeClr val="bg1"/>
                </a:solidFill>
              </a:defRPr>
            </a:lvl1pPr>
          </a:lstStyle>
          <a:p>
            <a:r>
              <a:rPr lang="en-GB"/>
              <a:t>icon</a:t>
            </a:r>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444644" y="2375655"/>
            <a:ext cx="3523281" cy="439727"/>
          </a:xfrm>
          <a:prstGeom prst="rect">
            <a:avLst/>
          </a:prstGeom>
        </p:spPr>
        <p:txBody>
          <a:bodyPr anchor="ctr"/>
          <a:lstStyle>
            <a:lvl1pPr algn="ctr">
              <a:defRPr sz="1867" b="1">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433918" y="3093133"/>
            <a:ext cx="3543300" cy="3199863"/>
          </a:xfrm>
          <a:prstGeom prst="rect">
            <a:avLst/>
          </a:prstGeom>
        </p:spPr>
        <p:txBody>
          <a:bodyPr/>
          <a:lstStyle>
            <a:lvl1pPr marL="0" indent="0" algn="ctr">
              <a:buNone/>
              <a:defRPr sz="1333">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Tree>
    <p:extLst>
      <p:ext uri="{BB962C8B-B14F-4D97-AF65-F5344CB8AC3E}">
        <p14:creationId xmlns:p14="http://schemas.microsoft.com/office/powerpoint/2010/main" val="2732026360"/>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NTT_title_and_content_page_white_no_logo">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73FC-7D37-429F-ACB6-D72EF3BF67D8}"/>
              </a:ext>
            </a:extLst>
          </p:cNvPr>
          <p:cNvGraphicFramePr>
            <a:graphicFrameLocks noChangeAspect="1"/>
          </p:cNvGraphicFramePr>
          <p:nvPr userDrawn="1">
            <p:custDataLst>
              <p:tags r:id="rId1"/>
            </p:custDataLst>
            <p:extLst>
              <p:ext uri="{D42A27DB-BD31-4B8C-83A1-F6EECF244321}">
                <p14:modId xmlns:p14="http://schemas.microsoft.com/office/powerpoint/2010/main" val="103910774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3" name="Object 2" hidden="1">
                        <a:extLst>
                          <a:ext uri="{FF2B5EF4-FFF2-40B4-BE49-F238E27FC236}">
                            <a16:creationId xmlns:a16="http://schemas.microsoft.com/office/drawing/2014/main" id="{AF9773FC-7D37-429F-ACB6-D72EF3BF67D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1AA543F-DEF4-4F14-ACF8-499DD749C848}"/>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p:nvPr>
        </p:nvSpPr>
        <p:spPr>
          <a:xfrm>
            <a:off x="396692" y="169334"/>
            <a:ext cx="9810331" cy="447217"/>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lick to edit Master title style</a:t>
            </a:r>
          </a:p>
        </p:txBody>
      </p:sp>
      <p:sp>
        <p:nvSpPr>
          <p:cNvPr id="8" name="Content Placeholder 2"/>
          <p:cNvSpPr>
            <a:spLocks noGrp="1"/>
          </p:cNvSpPr>
          <p:nvPr>
            <p:ph idx="1"/>
          </p:nvPr>
        </p:nvSpPr>
        <p:spPr>
          <a:xfrm>
            <a:off x="396694" y="1529026"/>
            <a:ext cx="11376207" cy="1919073"/>
          </a:xfrm>
          <a:prstGeom prst="rect">
            <a:avLst/>
          </a:prstGeom>
        </p:spPr>
        <p:txBody>
          <a:bodyPr/>
          <a:lstStyle>
            <a:lvl1pPr algn="l" rtl="0">
              <a:defRPr sz="2400">
                <a:solidFill>
                  <a:schemeClr val="tx1"/>
                </a:solidFill>
                <a:latin typeface="Arial"/>
                <a:cs typeface="Arial"/>
              </a:defRPr>
            </a:lvl1pPr>
            <a:lvl2pPr algn="l" rtl="0">
              <a:defRPr sz="1867">
                <a:solidFill>
                  <a:schemeClr val="tx1"/>
                </a:solidFill>
                <a:latin typeface="Arial"/>
                <a:cs typeface="Arial"/>
              </a:defRPr>
            </a:lvl2pPr>
            <a:lvl3pPr algn="l" rtl="0">
              <a:defRPr sz="1600">
                <a:solidFill>
                  <a:schemeClr val="tx1"/>
                </a:solidFill>
                <a:latin typeface="Arial"/>
                <a:cs typeface="Arial"/>
              </a:defRPr>
            </a:lvl3pPr>
            <a:lvl4pPr algn="l" rtl="0">
              <a:defRPr sz="1467">
                <a:solidFill>
                  <a:schemeClr val="tx1"/>
                </a:solidFill>
                <a:latin typeface="Arial"/>
                <a:cs typeface="Arial"/>
              </a:defRPr>
            </a:lvl4pPr>
            <a:lvl5pPr algn="l" rtl="0">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C1B6184E-3522-954B-A811-C22B92045F8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rtl="0" fontAlgn="auto">
              <a:lnSpc>
                <a:spcPct val="110000"/>
              </a:lnSpc>
              <a:spcBef>
                <a:spcPts val="267"/>
              </a:spcBef>
              <a:spcAft>
                <a:spcPts val="267"/>
              </a:spcAft>
            </a:pPr>
            <a:endParaRPr lang="en-US" sz="2133"/>
          </a:p>
        </p:txBody>
      </p:sp>
      <p:pic>
        <p:nvPicPr>
          <p:cNvPr id="11" name="Picture 10">
            <a:extLst>
              <a:ext uri="{FF2B5EF4-FFF2-40B4-BE49-F238E27FC236}">
                <a16:creationId xmlns:a16="http://schemas.microsoft.com/office/drawing/2014/main" id="{DF5856D0-B342-6443-8CFB-BC42A2CCF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12" name="Text Placeholder 2">
            <a:extLst>
              <a:ext uri="{FF2B5EF4-FFF2-40B4-BE49-F238E27FC236}">
                <a16:creationId xmlns:a16="http://schemas.microsoft.com/office/drawing/2014/main" id="{0EE16BB2-678F-4DAC-9857-4AA50F97D992}"/>
              </a:ext>
            </a:extLst>
          </p:cNvPr>
          <p:cNvSpPr>
            <a:spLocks noGrp="1"/>
          </p:cNvSpPr>
          <p:nvPr>
            <p:ph type="body" sz="quarter" idx="10" hasCustomPrompt="1"/>
          </p:nvPr>
        </p:nvSpPr>
        <p:spPr>
          <a:xfrm>
            <a:off x="5440221" y="6474599"/>
            <a:ext cx="6535881" cy="285335"/>
          </a:xfrm>
          <a:prstGeom prst="rect">
            <a:avLst/>
          </a:prstGeom>
        </p:spPr>
        <p:txBody>
          <a:bodyPr anchor="ctr"/>
          <a:lstStyle>
            <a:lvl1pPr algn="r" rtl="0">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235666803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NTT_custom_layout_text_dark">
    <p:bg bwMode="ltGray">
      <p:bgPr>
        <a:solidFill>
          <a:schemeClr val="accent2"/>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7"/>
            <a:ext cx="3805411" cy="3220412"/>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latin typeface="Arial"/>
                <a:cs typeface="Arial"/>
              </a:defRPr>
            </a:lvl1pPr>
            <a:lvl2pPr algn="l">
              <a:lnSpc>
                <a:spcPct val="100000"/>
              </a:lnSpc>
              <a:defRPr>
                <a:solidFill>
                  <a:schemeClr val="bg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410413" y="4525769"/>
            <a:ext cx="3165808" cy="1932257"/>
          </a:xfrm>
          <a:prstGeom prst="roundRect">
            <a:avLst>
              <a:gd name="adj" fmla="val 0"/>
            </a:avLst>
          </a:prstGeom>
          <a:noFill/>
          <a:ln w="28575">
            <a:solidFill>
              <a:schemeClr val="bg1"/>
            </a:solidFill>
          </a:ln>
          <a:effectLst/>
        </p:spPr>
        <p:txBody>
          <a:bodyPr anchor="ctr"/>
          <a:lstStyle>
            <a:lvl1pPr algn="l">
              <a:lnSpc>
                <a:spcPct val="100000"/>
              </a:lnSpc>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3751383" y="4525769"/>
            <a:ext cx="8149535" cy="1932257"/>
          </a:xfrm>
          <a:prstGeom prst="roundRect">
            <a:avLst>
              <a:gd name="adj" fmla="val 0"/>
            </a:avLst>
          </a:prstGeom>
          <a:noFill/>
          <a:ln w="28575">
            <a:solidFill>
              <a:schemeClr val="bg1"/>
            </a:solidFill>
          </a:ln>
          <a:effectLst/>
        </p:spPr>
        <p:txBody>
          <a:bodyPr anchor="ctr"/>
          <a:lstStyle>
            <a:lvl1pPr algn="ctr">
              <a:lnSpc>
                <a:spcPct val="100000"/>
              </a:lnSpc>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4364451" y="1145277"/>
            <a:ext cx="2715011" cy="3220412"/>
          </a:xfrm>
          <a:prstGeom prst="roundRect">
            <a:avLst>
              <a:gd name="adj" fmla="val 0"/>
            </a:avLst>
          </a:prstGeom>
          <a:noFill/>
          <a:ln w="28575">
            <a:solidFill>
              <a:schemeClr val="bg1"/>
            </a:solidFill>
          </a:ln>
          <a:effectLst/>
        </p:spPr>
        <p:txBody>
          <a:bodyPr anchor="ctr"/>
          <a:lstStyle>
            <a:lvl1pPr algn="ctr">
              <a:lnSpc>
                <a:spcPct val="100000"/>
              </a:lnSpc>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7235005" y="190029"/>
            <a:ext cx="4665912" cy="2467036"/>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effectLst/>
                <a:latin typeface="Arial"/>
                <a:cs typeface="Arial"/>
              </a:defRPr>
            </a:lvl1pPr>
            <a:lvl2pPr algn="l">
              <a:lnSpc>
                <a:spcPct val="100000"/>
              </a:lnSpc>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noFill/>
          <a:ln w="28575">
            <a:solidFill>
              <a:schemeClr val="bg1"/>
            </a:solidFill>
          </a:ln>
          <a:effectLst/>
        </p:spPr>
        <p:txBody>
          <a:bodyPr anchor="ctr"/>
          <a:lstStyle>
            <a:lvl1pPr algn="r">
              <a:lnSpc>
                <a:spcPct val="100000"/>
              </a:lnSpc>
              <a:defRPr>
                <a:solidFill>
                  <a:schemeClr val="bg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410414" y="190029"/>
            <a:ext cx="6712839" cy="751351"/>
          </a:xfrm>
          <a:prstGeom prst="rect">
            <a:avLst/>
          </a:prstGeom>
        </p:spPr>
        <p:txBody>
          <a:bodyPr/>
          <a:lstStyle>
            <a:lvl1pPr algn="l">
              <a:defRPr sz="2933" b="1">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304760042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NTT_custom_layout">
    <p:bg bwMode="ltGray">
      <p:bgPr>
        <a:solidFill>
          <a:schemeClr val="bg1"/>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7"/>
            <a:ext cx="3805411" cy="3220412"/>
          </a:xfrm>
          <a:prstGeom prst="roundRect">
            <a:avLst>
              <a:gd name="adj" fmla="val 0"/>
            </a:avLst>
          </a:prstGeom>
          <a:solidFill>
            <a:schemeClr val="accent1"/>
          </a:solidFill>
          <a:ln>
            <a:noFill/>
          </a:ln>
          <a:effectLst/>
        </p:spPr>
        <p:txBody>
          <a:bodyPr anchor="ctr"/>
          <a:lstStyle>
            <a:lvl1pPr marL="239178" indent="0" algn="l">
              <a:defRPr sz="3200">
                <a:solidFill>
                  <a:srgbClr val="FFFFFF"/>
                </a:solidFill>
                <a:latin typeface="Arial"/>
                <a:cs typeface="Arial"/>
              </a:defRPr>
            </a:lvl1pPr>
            <a:lvl2pPr marL="478355" indent="241294" algn="l">
              <a:defRPr>
                <a:solidFill>
                  <a:srgbClr val="FFFFFF"/>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410413" y="4525769"/>
            <a:ext cx="3165808" cy="1932257"/>
          </a:xfrm>
          <a:prstGeom prst="roundRect">
            <a:avLst>
              <a:gd name="adj" fmla="val 0"/>
            </a:avLst>
          </a:prstGeom>
          <a:solidFill>
            <a:schemeClr val="bg1"/>
          </a:solidFill>
          <a:ln>
            <a:noFill/>
          </a:ln>
          <a:effectLst/>
        </p:spPr>
        <p:txBody>
          <a:bodyPr anchor="ctr"/>
          <a:lstStyle>
            <a:lvl1pPr algn="l">
              <a:defRPr sz="2667" b="1">
                <a:solidFill>
                  <a:schemeClr val="tx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3751383" y="4525769"/>
            <a:ext cx="8149535" cy="1932257"/>
          </a:xfrm>
          <a:prstGeom prst="roundRect">
            <a:avLst>
              <a:gd name="adj" fmla="val 0"/>
            </a:avLst>
          </a:prstGeom>
          <a:solidFill>
            <a:schemeClr val="accent2"/>
          </a:solidFill>
          <a:ln>
            <a:noFill/>
          </a:ln>
          <a:effectLst/>
        </p:spPr>
        <p:txBody>
          <a:bodyPr anchor="ctr"/>
          <a:lstStyle>
            <a:lvl1pPr algn="ctr">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4364451" y="1145277"/>
            <a:ext cx="2715011" cy="3220412"/>
          </a:xfrm>
          <a:prstGeom prst="roundRect">
            <a:avLst>
              <a:gd name="adj" fmla="val 0"/>
            </a:avLst>
          </a:prstGeom>
          <a:solidFill>
            <a:schemeClr val="accent2"/>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7235005" y="190029"/>
            <a:ext cx="4665912" cy="2467036"/>
          </a:xfrm>
          <a:prstGeom prst="roundRect">
            <a:avLst>
              <a:gd name="adj" fmla="val 0"/>
            </a:avLst>
          </a:prstGeom>
          <a:solidFill>
            <a:schemeClr val="accent1"/>
          </a:solidFill>
          <a:ln>
            <a:noFill/>
          </a:ln>
          <a:effectLst/>
        </p:spPr>
        <p:txBody>
          <a:bodyPr anchor="ctr"/>
          <a:lstStyle>
            <a:lvl1pPr marL="239178" indent="0" algn="l">
              <a:defRPr sz="3200">
                <a:solidFill>
                  <a:srgbClr val="FFFFFF"/>
                </a:solidFill>
                <a:effectLst/>
                <a:latin typeface="Arial"/>
                <a:cs typeface="Arial"/>
              </a:defRPr>
            </a:lvl1pPr>
            <a:lvl2pPr marL="478355" indent="-239178" algn="l">
              <a:defRPr>
                <a:solidFill>
                  <a:srgbClr val="FFFFFF"/>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solidFill>
            <a:schemeClr val="bg1"/>
          </a:solidFill>
          <a:ln>
            <a:noFill/>
          </a:ln>
          <a:effectLst/>
        </p:spPr>
        <p:txBody>
          <a:bodyPr anchor="ctr"/>
          <a:lstStyle>
            <a:lvl1pPr algn="r">
              <a:defRPr>
                <a:solidFill>
                  <a:schemeClr val="tx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410414" y="190029"/>
            <a:ext cx="6712839" cy="751351"/>
          </a:xfrm>
          <a:prstGeom prst="rect">
            <a:avLst/>
          </a:prstGeom>
        </p:spPr>
        <p:txBody>
          <a:bodyPr/>
          <a:lstStyle>
            <a:lvl1pPr algn="l">
              <a:defRPr sz="2933" b="1">
                <a:solidFill>
                  <a:schemeClr val="accent2"/>
                </a:solidFill>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297162836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4_NTT_content_page">
    <p:bg bwMode="ltGray">
      <p:bgPr>
        <a:solidFill>
          <a:schemeClr val="tx1"/>
        </a:solidFill>
        <a:effectLst/>
      </p:bgPr>
    </p:bg>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8091E020-A1A3-894A-9A18-A2F931CBD43E}"/>
              </a:ext>
            </a:extLst>
          </p:cNvPr>
          <p:cNvSpPr>
            <a:spLocks noGrp="1"/>
          </p:cNvSpPr>
          <p:nvPr>
            <p:ph type="pic" sz="quarter" idx="13"/>
          </p:nvPr>
        </p:nvSpPr>
        <p:spPr>
          <a:xfrm>
            <a:off x="6194972" y="1003370"/>
            <a:ext cx="1928397" cy="2635401"/>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1" name="Picture Placeholder 13">
            <a:extLst>
              <a:ext uri="{FF2B5EF4-FFF2-40B4-BE49-F238E27FC236}">
                <a16:creationId xmlns:a16="http://schemas.microsoft.com/office/drawing/2014/main" id="{A37017A4-629A-A44D-A88D-1F8DEFFF532C}"/>
              </a:ext>
            </a:extLst>
          </p:cNvPr>
          <p:cNvSpPr>
            <a:spLocks noGrp="1"/>
          </p:cNvSpPr>
          <p:nvPr>
            <p:ph type="pic" sz="quarter" idx="18"/>
          </p:nvPr>
        </p:nvSpPr>
        <p:spPr>
          <a:xfrm>
            <a:off x="4092196" y="1003369"/>
            <a:ext cx="1939033" cy="1540764"/>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2" name="Picture Placeholder 13">
            <a:extLst>
              <a:ext uri="{FF2B5EF4-FFF2-40B4-BE49-F238E27FC236}">
                <a16:creationId xmlns:a16="http://schemas.microsoft.com/office/drawing/2014/main" id="{91168ADE-9466-4740-BD51-47A72258CAAE}"/>
              </a:ext>
            </a:extLst>
          </p:cNvPr>
          <p:cNvSpPr>
            <a:spLocks noGrp="1"/>
          </p:cNvSpPr>
          <p:nvPr>
            <p:ph type="pic" sz="quarter" idx="19"/>
          </p:nvPr>
        </p:nvSpPr>
        <p:spPr>
          <a:xfrm>
            <a:off x="4092196" y="2715211"/>
            <a:ext cx="1939033" cy="3514139"/>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3" name="Picture Placeholder 13">
            <a:extLst>
              <a:ext uri="{FF2B5EF4-FFF2-40B4-BE49-F238E27FC236}">
                <a16:creationId xmlns:a16="http://schemas.microsoft.com/office/drawing/2014/main" id="{94A075D6-2F03-9E41-AF6A-579AABF97DE6}"/>
              </a:ext>
            </a:extLst>
          </p:cNvPr>
          <p:cNvSpPr>
            <a:spLocks noGrp="1"/>
          </p:cNvSpPr>
          <p:nvPr>
            <p:ph type="pic" sz="quarter" idx="17"/>
          </p:nvPr>
        </p:nvSpPr>
        <p:spPr>
          <a:xfrm>
            <a:off x="6184336" y="3798602"/>
            <a:ext cx="5151779" cy="2430748"/>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444644" y="1003368"/>
            <a:ext cx="3523281" cy="877093"/>
          </a:xfrm>
          <a:prstGeom prst="rect">
            <a:avLst/>
          </a:prstGeom>
        </p:spPr>
        <p:txBody>
          <a:bodyPr anchor="ctr"/>
          <a:lstStyle>
            <a:lvl1pPr algn="l">
              <a:lnSpc>
                <a:spcPct val="100000"/>
              </a:lnSpc>
              <a:defRPr sz="3200" b="1">
                <a:solidFill>
                  <a:schemeClr val="accent2"/>
                </a:solidFill>
              </a:defRPr>
            </a:lvl1pPr>
          </a:lstStyle>
          <a:p>
            <a:r>
              <a:rPr lang="en-US"/>
              <a:t>Click to edit Master title style</a:t>
            </a:r>
            <a:endParaRPr lang="en-GB"/>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444644" y="2017008"/>
            <a:ext cx="3523281" cy="42123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287114" y="1003369"/>
            <a:ext cx="3049001" cy="263540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1201940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5_NTT_content_page">
    <p:bg bwMode="ltGray">
      <p:bgPr>
        <a:solidFill>
          <a:schemeClr val="tx1"/>
        </a:solidFill>
        <a:effectLst/>
      </p:bgPr>
    </p:bg>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656678" y="897351"/>
            <a:ext cx="3523281" cy="877093"/>
          </a:xfrm>
          <a:prstGeom prst="rect">
            <a:avLst/>
          </a:prstGeom>
        </p:spPr>
        <p:txBody>
          <a:bodyPr anchor="ctr"/>
          <a:lstStyle>
            <a:lvl1pPr algn="l">
              <a:lnSpc>
                <a:spcPct val="100000"/>
              </a:lnSpc>
              <a:defRPr sz="3200" b="1">
                <a:solidFill>
                  <a:schemeClr val="accent2"/>
                </a:solidFill>
              </a:defRPr>
            </a:lvl1pPr>
          </a:lstStyle>
          <a:p>
            <a:r>
              <a:rPr lang="en-US"/>
              <a:t>Click to edit Master title style</a:t>
            </a:r>
            <a:endParaRPr lang="en-GB"/>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656678" y="1910991"/>
            <a:ext cx="3523281" cy="4212341"/>
          </a:xfrm>
          <a:prstGeom prst="rect">
            <a:avLst/>
          </a:prstGeom>
          <a:solidFill>
            <a:schemeClr val="accent2">
              <a:lumMod val="20000"/>
              <a:lumOff val="80000"/>
            </a:schemeClr>
          </a:solidFill>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499149" y="897352"/>
            <a:ext cx="3049001" cy="2635401"/>
          </a:xfrm>
          <a:prstGeom prst="rect">
            <a:avLst/>
          </a:prstGeom>
          <a:solidFill>
            <a:schemeClr val="accent4">
              <a:lumMod val="20000"/>
              <a:lumOff val="80000"/>
            </a:schemeClr>
          </a:solidFill>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6">
            <a:extLst>
              <a:ext uri="{FF2B5EF4-FFF2-40B4-BE49-F238E27FC236}">
                <a16:creationId xmlns:a16="http://schemas.microsoft.com/office/drawing/2014/main" id="{158B466F-ED96-BE4E-955F-BE1FEA9E2EEB}"/>
              </a:ext>
            </a:extLst>
          </p:cNvPr>
          <p:cNvSpPr>
            <a:spLocks noGrp="1"/>
          </p:cNvSpPr>
          <p:nvPr>
            <p:ph type="body" sz="quarter" idx="22"/>
          </p:nvPr>
        </p:nvSpPr>
        <p:spPr>
          <a:xfrm>
            <a:off x="4321900" y="2540620"/>
            <a:ext cx="1939033" cy="3582712"/>
          </a:xfrm>
          <a:prstGeom prst="rect">
            <a:avLst/>
          </a:prstGeom>
          <a:solidFill>
            <a:schemeClr val="accent5">
              <a:lumMod val="20000"/>
              <a:lumOff val="80000"/>
            </a:schemeClr>
          </a:solidFill>
        </p:spPr>
        <p:txBody>
          <a:bodyPr/>
          <a:lstStyle>
            <a:lvl1pPr>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US"/>
              <a:t>Click to edit Master text styles</a:t>
            </a:r>
          </a:p>
        </p:txBody>
      </p:sp>
      <p:sp>
        <p:nvSpPr>
          <p:cNvPr id="17" name="Picture Placeholder 13">
            <a:extLst>
              <a:ext uri="{FF2B5EF4-FFF2-40B4-BE49-F238E27FC236}">
                <a16:creationId xmlns:a16="http://schemas.microsoft.com/office/drawing/2014/main" id="{E94D3DF8-5CF2-BF47-B246-B473C449DBF3}"/>
              </a:ext>
            </a:extLst>
          </p:cNvPr>
          <p:cNvSpPr>
            <a:spLocks noGrp="1"/>
          </p:cNvSpPr>
          <p:nvPr>
            <p:ph type="pic" sz="quarter" idx="18"/>
          </p:nvPr>
        </p:nvSpPr>
        <p:spPr>
          <a:xfrm>
            <a:off x="4321900" y="897351"/>
            <a:ext cx="1939033" cy="1540764"/>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8" name="Picture Placeholder 13">
            <a:extLst>
              <a:ext uri="{FF2B5EF4-FFF2-40B4-BE49-F238E27FC236}">
                <a16:creationId xmlns:a16="http://schemas.microsoft.com/office/drawing/2014/main" id="{CBE37E95-2D23-464B-9974-5D9E340CF188}"/>
              </a:ext>
            </a:extLst>
          </p:cNvPr>
          <p:cNvSpPr>
            <a:spLocks noGrp="1"/>
          </p:cNvSpPr>
          <p:nvPr>
            <p:ph type="pic" sz="quarter" idx="17"/>
          </p:nvPr>
        </p:nvSpPr>
        <p:spPr>
          <a:xfrm>
            <a:off x="6396371" y="3692585"/>
            <a:ext cx="5151779" cy="2430748"/>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9" name="Text Placeholder 6">
            <a:extLst>
              <a:ext uri="{FF2B5EF4-FFF2-40B4-BE49-F238E27FC236}">
                <a16:creationId xmlns:a16="http://schemas.microsoft.com/office/drawing/2014/main" id="{0174DC45-C4F5-BB48-9E7A-CEE0AEC2189E}"/>
              </a:ext>
            </a:extLst>
          </p:cNvPr>
          <p:cNvSpPr>
            <a:spLocks noGrp="1"/>
          </p:cNvSpPr>
          <p:nvPr>
            <p:ph type="body" sz="quarter" idx="23"/>
          </p:nvPr>
        </p:nvSpPr>
        <p:spPr>
          <a:xfrm>
            <a:off x="6410524" y="897352"/>
            <a:ext cx="1982521" cy="2635401"/>
          </a:xfrm>
          <a:prstGeom prst="rect">
            <a:avLst/>
          </a:prstGeom>
          <a:solidFill>
            <a:schemeClr val="accent6">
              <a:lumMod val="20000"/>
              <a:lumOff val="80000"/>
            </a:schemeClr>
          </a:solidFill>
        </p:spPr>
        <p:txBody>
          <a:bodyPr/>
          <a:lstStyle>
            <a:lvl1pPr>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2357016816"/>
      </p:ext>
    </p:extLst>
  </p:cSld>
  <p:clrMapOvr>
    <a:overrideClrMapping bg1="dk1" tx1="lt1" bg2="dk2" tx2="lt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6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endParaRPr lang="en-US" noProof="0"/>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75" y="0"/>
            <a:ext cx="376951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2" y="141749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2" y="951707"/>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2" y="3508542"/>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2" y="3039979"/>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2" y="5596745"/>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2" y="5130955"/>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2"/>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7"/>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425702799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7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endParaRPr lang="en-US" noProof="0"/>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75" y="0"/>
            <a:ext cx="376951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2" y="141749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2" y="951707"/>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2" y="3508542"/>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2" y="3039979"/>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2" y="5596745"/>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2" y="5130955"/>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2"/>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7"/>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280986139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8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endParaRPr lang="en-US" noProof="0"/>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75" y="0"/>
            <a:ext cx="376951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2" y="141749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2" y="951707"/>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2" y="3508542"/>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2" y="3039979"/>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2" y="5596745"/>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2" y="5130955"/>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2"/>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7"/>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151282338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32_NTT_content_page">
    <p:bg bwMode="ltGray">
      <p:bgPr>
        <a:solidFill>
          <a:schemeClr val="tx1"/>
        </a:solidFill>
        <a:effectLst/>
      </p:bgPr>
    </p:bg>
    <p:spTree>
      <p:nvGrpSpPr>
        <p:cNvPr id="1" name=""/>
        <p:cNvGrpSpPr/>
        <p:nvPr/>
      </p:nvGrpSpPr>
      <p:grpSpPr>
        <a:xfrm>
          <a:off x="0" y="0"/>
          <a:ext cx="0" cy="0"/>
          <a:chOff x="0" y="0"/>
          <a:chExt cx="0" cy="0"/>
        </a:xfrm>
      </p:grpSpPr>
      <p:sp>
        <p:nvSpPr>
          <p:cNvPr id="16" name="Picture Placeholder 1">
            <a:extLst>
              <a:ext uri="{FF2B5EF4-FFF2-40B4-BE49-F238E27FC236}">
                <a16:creationId xmlns:a16="http://schemas.microsoft.com/office/drawing/2014/main" id="{835D2B04-2356-A640-8C36-BF74FA32E5EE}"/>
              </a:ext>
            </a:extLst>
          </p:cNvPr>
          <p:cNvSpPr>
            <a:spLocks noGrp="1"/>
          </p:cNvSpPr>
          <p:nvPr>
            <p:ph type="pic" sz="quarter" idx="26"/>
          </p:nvPr>
        </p:nvSpPr>
        <p:spPr>
          <a:xfrm>
            <a:off x="1" y="0"/>
            <a:ext cx="5065713" cy="6858000"/>
          </a:xfrm>
          <a:prstGeom prst="rect">
            <a:avLst/>
          </a:prstGeom>
          <a:solidFill>
            <a:schemeClr val="bg2">
              <a:lumMod val="20000"/>
              <a:lumOff val="80000"/>
            </a:schemeClr>
          </a:solidFill>
        </p:spPr>
        <p:txBody>
          <a:bodyPr/>
          <a:lstStyle>
            <a:lvl1pPr marL="0" indent="0">
              <a:buNone/>
              <a:defRPr sz="1867">
                <a:solidFill>
                  <a:schemeClr val="bg1"/>
                </a:solidFill>
              </a:defRPr>
            </a:lvl1pPr>
          </a:lstStyle>
          <a:p>
            <a:endParaRPr lang="en-GB"/>
          </a:p>
        </p:txBody>
      </p:sp>
      <p:sp>
        <p:nvSpPr>
          <p:cNvPr id="18" name="Title 4">
            <a:extLst>
              <a:ext uri="{FF2B5EF4-FFF2-40B4-BE49-F238E27FC236}">
                <a16:creationId xmlns:a16="http://schemas.microsoft.com/office/drawing/2014/main" id="{D136005A-11B0-8D4E-9718-39BB0EC340F4}"/>
              </a:ext>
            </a:extLst>
          </p:cNvPr>
          <p:cNvSpPr>
            <a:spLocks noGrp="1"/>
          </p:cNvSpPr>
          <p:nvPr>
            <p:ph type="title" hasCustomPrompt="1"/>
          </p:nvPr>
        </p:nvSpPr>
        <p:spPr>
          <a:xfrm>
            <a:off x="5521127" y="1167037"/>
            <a:ext cx="6251773" cy="996915"/>
          </a:xfrm>
          <a:prstGeom prst="rect">
            <a:avLst/>
          </a:prstGeom>
        </p:spPr>
        <p:txBody>
          <a:bodyPr anchor="ctr"/>
          <a:lstStyle>
            <a:lvl1pPr algn="l">
              <a:lnSpc>
                <a:spcPct val="100000"/>
              </a:lnSpc>
              <a:spcBef>
                <a:spcPts val="0"/>
              </a:spcBef>
              <a:spcAft>
                <a:spcPts val="0"/>
              </a:spcAft>
              <a:defRPr sz="3200" b="1">
                <a:solidFill>
                  <a:schemeClr val="accent2"/>
                </a:solidFill>
              </a:defRPr>
            </a:lvl1pPr>
          </a:lstStyle>
          <a:p>
            <a:r>
              <a:rPr lang="en-US"/>
              <a:t>Click to edit </a:t>
            </a:r>
            <a:br>
              <a:rPr lang="en-US"/>
            </a:br>
            <a:r>
              <a:rPr lang="en-US"/>
              <a:t>Master title style</a:t>
            </a:r>
            <a:endParaRPr lang="en-GB"/>
          </a:p>
        </p:txBody>
      </p:sp>
      <p:sp>
        <p:nvSpPr>
          <p:cNvPr id="19" name="Text Placeholder 6">
            <a:extLst>
              <a:ext uri="{FF2B5EF4-FFF2-40B4-BE49-F238E27FC236}">
                <a16:creationId xmlns:a16="http://schemas.microsoft.com/office/drawing/2014/main" id="{DA5EC964-4A3C-2F47-B937-C98A2869954E}"/>
              </a:ext>
            </a:extLst>
          </p:cNvPr>
          <p:cNvSpPr>
            <a:spLocks noGrp="1"/>
          </p:cNvSpPr>
          <p:nvPr>
            <p:ph type="body" sz="quarter" idx="61"/>
          </p:nvPr>
        </p:nvSpPr>
        <p:spPr>
          <a:xfrm>
            <a:off x="5521127" y="3146593"/>
            <a:ext cx="6251773" cy="286633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2" name="Text Placeholder 6">
            <a:extLst>
              <a:ext uri="{FF2B5EF4-FFF2-40B4-BE49-F238E27FC236}">
                <a16:creationId xmlns:a16="http://schemas.microsoft.com/office/drawing/2014/main" id="{F271EA18-F1C4-5445-BC6B-2E8E13F8085B}"/>
              </a:ext>
            </a:extLst>
          </p:cNvPr>
          <p:cNvSpPr>
            <a:spLocks noGrp="1"/>
          </p:cNvSpPr>
          <p:nvPr>
            <p:ph type="body" sz="quarter" idx="16" hasCustomPrompt="1"/>
          </p:nvPr>
        </p:nvSpPr>
        <p:spPr>
          <a:xfrm>
            <a:off x="5521127" y="2311109"/>
            <a:ext cx="6251773" cy="621339"/>
          </a:xfrm>
          <a:prstGeom prst="rect">
            <a:avLst/>
          </a:prstGeom>
        </p:spPr>
        <p:txBody>
          <a:bodyPr anchor="ctr"/>
          <a:lstStyle>
            <a:lvl1pPr marL="0" indent="0" algn="l">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pic>
        <p:nvPicPr>
          <p:cNvPr id="6" name="Picture 5">
            <a:extLst>
              <a:ext uri="{FF2B5EF4-FFF2-40B4-BE49-F238E27FC236}">
                <a16:creationId xmlns:a16="http://schemas.microsoft.com/office/drawing/2014/main" id="{CC552A4F-D1DB-4444-A096-6B92017E34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2585695751"/>
      </p:ext>
    </p:extLst>
  </p:cSld>
  <p:clrMapOvr>
    <a:overrideClrMapping bg1="dk1" tx1="lt1" bg2="dk2" tx2="lt2" accent1="accent1" accent2="accent2" accent3="accent3" accent4="accent4" accent5="accent5" accent6="accent6" hlink="hlink" folHlink="folHlink"/>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9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5879025" y="0"/>
            <a:ext cx="6312975"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6540644" y="2097904"/>
            <a:ext cx="3523281" cy="996915"/>
          </a:xfrm>
          <a:prstGeom prst="rect">
            <a:avLst/>
          </a:prstGeom>
        </p:spPr>
        <p:txBody>
          <a:bodyPr anchor="ctr"/>
          <a:lstStyle>
            <a:lvl1pPr algn="l">
              <a:lnSpc>
                <a:spcPct val="100000"/>
              </a:lnSpc>
              <a:defRPr sz="3200" b="1">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6529918" y="3274270"/>
            <a:ext cx="3543300" cy="14220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6">
            <a:extLst>
              <a:ext uri="{FF2B5EF4-FFF2-40B4-BE49-F238E27FC236}">
                <a16:creationId xmlns:a16="http://schemas.microsoft.com/office/drawing/2014/main" id="{3B4DA557-7B08-5B4D-97DB-FC7E41E181F5}"/>
              </a:ext>
            </a:extLst>
          </p:cNvPr>
          <p:cNvSpPr>
            <a:spLocks noGrp="1"/>
          </p:cNvSpPr>
          <p:nvPr>
            <p:ph type="body" sz="quarter" idx="61"/>
          </p:nvPr>
        </p:nvSpPr>
        <p:spPr>
          <a:xfrm>
            <a:off x="1415511" y="1814845"/>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8" name="Text Placeholder 6">
            <a:extLst>
              <a:ext uri="{FF2B5EF4-FFF2-40B4-BE49-F238E27FC236}">
                <a16:creationId xmlns:a16="http://schemas.microsoft.com/office/drawing/2014/main" id="{97FFF4BF-46E3-B541-AA52-FAB53E3E1054}"/>
              </a:ext>
            </a:extLst>
          </p:cNvPr>
          <p:cNvSpPr>
            <a:spLocks noGrp="1"/>
          </p:cNvSpPr>
          <p:nvPr>
            <p:ph type="body" sz="quarter" idx="16"/>
          </p:nvPr>
        </p:nvSpPr>
        <p:spPr>
          <a:xfrm>
            <a:off x="1415511" y="1386347"/>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1" name="Text Placeholder 6">
            <a:extLst>
              <a:ext uri="{FF2B5EF4-FFF2-40B4-BE49-F238E27FC236}">
                <a16:creationId xmlns:a16="http://schemas.microsoft.com/office/drawing/2014/main" id="{4BE66BA0-BAB7-6644-9195-003A679DF78A}"/>
              </a:ext>
            </a:extLst>
          </p:cNvPr>
          <p:cNvSpPr>
            <a:spLocks noGrp="1"/>
          </p:cNvSpPr>
          <p:nvPr>
            <p:ph type="body" sz="quarter" idx="62"/>
          </p:nvPr>
        </p:nvSpPr>
        <p:spPr>
          <a:xfrm>
            <a:off x="1415511" y="3240689"/>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12" name="Text Placeholder 6">
            <a:extLst>
              <a:ext uri="{FF2B5EF4-FFF2-40B4-BE49-F238E27FC236}">
                <a16:creationId xmlns:a16="http://schemas.microsoft.com/office/drawing/2014/main" id="{42D8740A-EF16-4A4B-8561-0AFE570EC69D}"/>
              </a:ext>
            </a:extLst>
          </p:cNvPr>
          <p:cNvSpPr>
            <a:spLocks noGrp="1"/>
          </p:cNvSpPr>
          <p:nvPr>
            <p:ph type="body" sz="quarter" idx="63"/>
          </p:nvPr>
        </p:nvSpPr>
        <p:spPr>
          <a:xfrm>
            <a:off x="1415511" y="2812191"/>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3" name="Text Placeholder 6">
            <a:extLst>
              <a:ext uri="{FF2B5EF4-FFF2-40B4-BE49-F238E27FC236}">
                <a16:creationId xmlns:a16="http://schemas.microsoft.com/office/drawing/2014/main" id="{F91806EC-97C9-D043-B9CB-6602A30F2D91}"/>
              </a:ext>
            </a:extLst>
          </p:cNvPr>
          <p:cNvSpPr>
            <a:spLocks noGrp="1"/>
          </p:cNvSpPr>
          <p:nvPr>
            <p:ph type="body" sz="quarter" idx="64"/>
          </p:nvPr>
        </p:nvSpPr>
        <p:spPr>
          <a:xfrm>
            <a:off x="1415511" y="4668486"/>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14" name="Text Placeholder 6">
            <a:extLst>
              <a:ext uri="{FF2B5EF4-FFF2-40B4-BE49-F238E27FC236}">
                <a16:creationId xmlns:a16="http://schemas.microsoft.com/office/drawing/2014/main" id="{BBDBDD5B-089E-2C47-B88F-38897DB817A2}"/>
              </a:ext>
            </a:extLst>
          </p:cNvPr>
          <p:cNvSpPr>
            <a:spLocks noGrp="1"/>
          </p:cNvSpPr>
          <p:nvPr>
            <p:ph type="body" sz="quarter" idx="65"/>
          </p:nvPr>
        </p:nvSpPr>
        <p:spPr>
          <a:xfrm>
            <a:off x="1415511" y="4239988"/>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5" name="Text Placeholder 6">
            <a:extLst>
              <a:ext uri="{FF2B5EF4-FFF2-40B4-BE49-F238E27FC236}">
                <a16:creationId xmlns:a16="http://schemas.microsoft.com/office/drawing/2014/main" id="{3BD2093A-8E00-AD45-A11B-BFF744448A36}"/>
              </a:ext>
            </a:extLst>
          </p:cNvPr>
          <p:cNvSpPr>
            <a:spLocks noGrp="1"/>
          </p:cNvSpPr>
          <p:nvPr>
            <p:ph type="body" sz="quarter" idx="66"/>
          </p:nvPr>
        </p:nvSpPr>
        <p:spPr>
          <a:xfrm>
            <a:off x="1415511" y="6104662"/>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16" name="Text Placeholder 6">
            <a:extLst>
              <a:ext uri="{FF2B5EF4-FFF2-40B4-BE49-F238E27FC236}">
                <a16:creationId xmlns:a16="http://schemas.microsoft.com/office/drawing/2014/main" id="{B477112C-83CB-2B4D-913A-8D32CDC29EB1}"/>
              </a:ext>
            </a:extLst>
          </p:cNvPr>
          <p:cNvSpPr>
            <a:spLocks noGrp="1"/>
          </p:cNvSpPr>
          <p:nvPr>
            <p:ph type="body" sz="quarter" idx="67"/>
          </p:nvPr>
        </p:nvSpPr>
        <p:spPr>
          <a:xfrm>
            <a:off x="1415511" y="5676164"/>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4" name="Picture Placeholder 3">
            <a:extLst>
              <a:ext uri="{FF2B5EF4-FFF2-40B4-BE49-F238E27FC236}">
                <a16:creationId xmlns:a16="http://schemas.microsoft.com/office/drawing/2014/main" id="{F2F982F2-3BB9-344E-A765-82A959FA3FC9}"/>
              </a:ext>
            </a:extLst>
          </p:cNvPr>
          <p:cNvSpPr>
            <a:spLocks noGrp="1"/>
          </p:cNvSpPr>
          <p:nvPr>
            <p:ph type="pic" sz="quarter" idx="68" hasCustomPrompt="1"/>
          </p:nvPr>
        </p:nvSpPr>
        <p:spPr>
          <a:xfrm>
            <a:off x="516541" y="1386349"/>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19" name="Picture Placeholder 3">
            <a:extLst>
              <a:ext uri="{FF2B5EF4-FFF2-40B4-BE49-F238E27FC236}">
                <a16:creationId xmlns:a16="http://schemas.microsoft.com/office/drawing/2014/main" id="{B2D4BA41-426E-2046-9B18-1D5B9B503327}"/>
              </a:ext>
            </a:extLst>
          </p:cNvPr>
          <p:cNvSpPr>
            <a:spLocks noGrp="1"/>
          </p:cNvSpPr>
          <p:nvPr>
            <p:ph type="pic" sz="quarter" idx="69" hasCustomPrompt="1"/>
          </p:nvPr>
        </p:nvSpPr>
        <p:spPr>
          <a:xfrm>
            <a:off x="516541" y="2812193"/>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0" name="Picture Placeholder 3">
            <a:extLst>
              <a:ext uri="{FF2B5EF4-FFF2-40B4-BE49-F238E27FC236}">
                <a16:creationId xmlns:a16="http://schemas.microsoft.com/office/drawing/2014/main" id="{E0D3D9B8-9128-5D45-BFB7-90B2ADBF75A1}"/>
              </a:ext>
            </a:extLst>
          </p:cNvPr>
          <p:cNvSpPr>
            <a:spLocks noGrp="1"/>
          </p:cNvSpPr>
          <p:nvPr>
            <p:ph type="pic" sz="quarter" idx="70" hasCustomPrompt="1"/>
          </p:nvPr>
        </p:nvSpPr>
        <p:spPr>
          <a:xfrm>
            <a:off x="516541" y="4238037"/>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1" name="Picture Placeholder 3">
            <a:extLst>
              <a:ext uri="{FF2B5EF4-FFF2-40B4-BE49-F238E27FC236}">
                <a16:creationId xmlns:a16="http://schemas.microsoft.com/office/drawing/2014/main" id="{33E8DB06-0058-144F-B17F-9E476E611DF7}"/>
              </a:ext>
            </a:extLst>
          </p:cNvPr>
          <p:cNvSpPr>
            <a:spLocks noGrp="1"/>
          </p:cNvSpPr>
          <p:nvPr>
            <p:ph type="pic" sz="quarter" idx="71" hasCustomPrompt="1"/>
          </p:nvPr>
        </p:nvSpPr>
        <p:spPr>
          <a:xfrm>
            <a:off x="516541" y="5676166"/>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pic>
        <p:nvPicPr>
          <p:cNvPr id="17" name="Picture 16">
            <a:extLst>
              <a:ext uri="{FF2B5EF4-FFF2-40B4-BE49-F238E27FC236}">
                <a16:creationId xmlns:a16="http://schemas.microsoft.com/office/drawing/2014/main" id="{2614B128-702E-0744-8F65-70AF1F474C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6541" y="332679"/>
            <a:ext cx="1305751" cy="484944"/>
          </a:xfrm>
          <a:prstGeom prst="rect">
            <a:avLst/>
          </a:prstGeom>
        </p:spPr>
      </p:pic>
    </p:spTree>
    <p:extLst>
      <p:ext uri="{BB962C8B-B14F-4D97-AF65-F5344CB8AC3E}">
        <p14:creationId xmlns:p14="http://schemas.microsoft.com/office/powerpoint/2010/main" val="1747548468"/>
      </p:ext>
    </p:extLst>
  </p:cSld>
  <p:clrMapOvr>
    <a:overrideClrMapping bg1="dk1" tx1="lt1" bg2="dk2" tx2="lt2" accent1="accent1" accent2="accent2" accent3="accent3" accent4="accent4" accent5="accent5" accent6="accent6" hlink="hlink" folHlink="folHlink"/>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22_NTT_content_page">
    <p:bg bwMode="ltGray">
      <p:bgPr>
        <a:solidFill>
          <a:schemeClr val="accent2"/>
        </a:solidFill>
        <a:effectLst/>
      </p:bgPr>
    </p:bg>
    <p:spTree>
      <p:nvGrpSpPr>
        <p:cNvPr id="1" name=""/>
        <p:cNvGrpSpPr/>
        <p:nvPr/>
      </p:nvGrpSpPr>
      <p:grpSpPr>
        <a:xfrm>
          <a:off x="0" y="0"/>
          <a:ext cx="0" cy="0"/>
          <a:chOff x="0" y="0"/>
          <a:chExt cx="0" cy="0"/>
        </a:xfrm>
      </p:grpSpPr>
      <p:sp>
        <p:nvSpPr>
          <p:cNvPr id="37" name="Title 4">
            <a:extLst>
              <a:ext uri="{FF2B5EF4-FFF2-40B4-BE49-F238E27FC236}">
                <a16:creationId xmlns:a16="http://schemas.microsoft.com/office/drawing/2014/main" id="{5E4FBA8E-F792-5B49-AC3F-6764FF3C8F68}"/>
              </a:ext>
            </a:extLst>
          </p:cNvPr>
          <p:cNvSpPr>
            <a:spLocks noGrp="1"/>
          </p:cNvSpPr>
          <p:nvPr>
            <p:ph type="title"/>
          </p:nvPr>
        </p:nvSpPr>
        <p:spPr>
          <a:xfrm>
            <a:off x="391599" y="450771"/>
            <a:ext cx="11408804" cy="631775"/>
          </a:xfrm>
          <a:prstGeom prst="rect">
            <a:avLst/>
          </a:prstGeom>
        </p:spPr>
        <p:txBody>
          <a:bodyPr anchor="ctr"/>
          <a:lstStyle>
            <a:lvl1pPr algn="ctr">
              <a:defRPr sz="3200" b="1">
                <a:solidFill>
                  <a:schemeClr val="tx1"/>
                </a:solidFill>
              </a:defRPr>
            </a:lvl1pPr>
          </a:lstStyle>
          <a:p>
            <a:r>
              <a:rPr lang="en-US"/>
              <a:t>Click to edit Master title style</a:t>
            </a:r>
            <a:endParaRPr lang="en-GB"/>
          </a:p>
        </p:txBody>
      </p:sp>
      <p:sp>
        <p:nvSpPr>
          <p:cNvPr id="17" name="Text Placeholder 6">
            <a:extLst>
              <a:ext uri="{FF2B5EF4-FFF2-40B4-BE49-F238E27FC236}">
                <a16:creationId xmlns:a16="http://schemas.microsoft.com/office/drawing/2014/main" id="{3D48A384-379E-864F-A2E2-01EF6C402438}"/>
              </a:ext>
            </a:extLst>
          </p:cNvPr>
          <p:cNvSpPr>
            <a:spLocks noGrp="1"/>
          </p:cNvSpPr>
          <p:nvPr>
            <p:ph type="body" sz="quarter" idx="16" hasCustomPrompt="1"/>
          </p:nvPr>
        </p:nvSpPr>
        <p:spPr>
          <a:xfrm>
            <a:off x="391599" y="1128117"/>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cxnSp>
        <p:nvCxnSpPr>
          <p:cNvPr id="20" name="Straight Connector 19">
            <a:extLst>
              <a:ext uri="{FF2B5EF4-FFF2-40B4-BE49-F238E27FC236}">
                <a16:creationId xmlns:a16="http://schemas.microsoft.com/office/drawing/2014/main" id="{80C35067-E835-BD4F-A284-A2F4B755A850}"/>
              </a:ext>
            </a:extLst>
          </p:cNvPr>
          <p:cNvCxnSpPr/>
          <p:nvPr userDrawn="1"/>
        </p:nvCxnSpPr>
        <p:spPr>
          <a:xfrm flipV="1">
            <a:off x="7930356" y="2884426"/>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E77D04-FEA0-9A48-99BB-44FA1E043D82}"/>
              </a:ext>
            </a:extLst>
          </p:cNvPr>
          <p:cNvCxnSpPr/>
          <p:nvPr userDrawn="1"/>
        </p:nvCxnSpPr>
        <p:spPr>
          <a:xfrm flipV="1">
            <a:off x="4328319" y="2884426"/>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6">
            <a:extLst>
              <a:ext uri="{FF2B5EF4-FFF2-40B4-BE49-F238E27FC236}">
                <a16:creationId xmlns:a16="http://schemas.microsoft.com/office/drawing/2014/main" id="{66F4426F-9472-8E42-9CE2-56032EEDBDF0}"/>
              </a:ext>
            </a:extLst>
          </p:cNvPr>
          <p:cNvSpPr>
            <a:spLocks noGrp="1"/>
          </p:cNvSpPr>
          <p:nvPr>
            <p:ph type="body" sz="quarter" idx="52"/>
          </p:nvPr>
        </p:nvSpPr>
        <p:spPr>
          <a:xfrm>
            <a:off x="1173699"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312B08A3-6F0E-8345-9F2F-07D520785853}"/>
              </a:ext>
            </a:extLst>
          </p:cNvPr>
          <p:cNvSpPr>
            <a:spLocks noGrp="1"/>
          </p:cNvSpPr>
          <p:nvPr>
            <p:ph type="body" sz="quarter" idx="72"/>
          </p:nvPr>
        </p:nvSpPr>
        <p:spPr>
          <a:xfrm>
            <a:off x="1173699"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5" name="Text Placeholder 6">
            <a:extLst>
              <a:ext uri="{FF2B5EF4-FFF2-40B4-BE49-F238E27FC236}">
                <a16:creationId xmlns:a16="http://schemas.microsoft.com/office/drawing/2014/main" id="{E376E8B7-2C49-5A43-A624-90D032310688}"/>
              </a:ext>
            </a:extLst>
          </p:cNvPr>
          <p:cNvSpPr>
            <a:spLocks noGrp="1"/>
          </p:cNvSpPr>
          <p:nvPr>
            <p:ph type="body" sz="quarter" idx="73"/>
          </p:nvPr>
        </p:nvSpPr>
        <p:spPr>
          <a:xfrm>
            <a:off x="4775737"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38" name="Text Placeholder 6">
            <a:extLst>
              <a:ext uri="{FF2B5EF4-FFF2-40B4-BE49-F238E27FC236}">
                <a16:creationId xmlns:a16="http://schemas.microsoft.com/office/drawing/2014/main" id="{0C68A706-386B-B54D-A68A-407C4C6E9C48}"/>
              </a:ext>
            </a:extLst>
          </p:cNvPr>
          <p:cNvSpPr>
            <a:spLocks noGrp="1"/>
          </p:cNvSpPr>
          <p:nvPr>
            <p:ph type="body" sz="quarter" idx="74"/>
          </p:nvPr>
        </p:nvSpPr>
        <p:spPr>
          <a:xfrm>
            <a:off x="4775737"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39" name="Text Placeholder 6">
            <a:extLst>
              <a:ext uri="{FF2B5EF4-FFF2-40B4-BE49-F238E27FC236}">
                <a16:creationId xmlns:a16="http://schemas.microsoft.com/office/drawing/2014/main" id="{B89421A3-22D4-824A-BC46-312A99FDA7CA}"/>
              </a:ext>
            </a:extLst>
          </p:cNvPr>
          <p:cNvSpPr>
            <a:spLocks noGrp="1"/>
          </p:cNvSpPr>
          <p:nvPr>
            <p:ph type="body" sz="quarter" idx="75"/>
          </p:nvPr>
        </p:nvSpPr>
        <p:spPr>
          <a:xfrm>
            <a:off x="8377757"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40" name="Text Placeholder 6">
            <a:extLst>
              <a:ext uri="{FF2B5EF4-FFF2-40B4-BE49-F238E27FC236}">
                <a16:creationId xmlns:a16="http://schemas.microsoft.com/office/drawing/2014/main" id="{CE424B62-5109-9841-8C42-5BD27006A9DD}"/>
              </a:ext>
            </a:extLst>
          </p:cNvPr>
          <p:cNvSpPr>
            <a:spLocks noGrp="1"/>
          </p:cNvSpPr>
          <p:nvPr>
            <p:ph type="body" sz="quarter" idx="76"/>
          </p:nvPr>
        </p:nvSpPr>
        <p:spPr>
          <a:xfrm>
            <a:off x="8377757"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41" name="Picture Placeholder 3">
            <a:extLst>
              <a:ext uri="{FF2B5EF4-FFF2-40B4-BE49-F238E27FC236}">
                <a16:creationId xmlns:a16="http://schemas.microsoft.com/office/drawing/2014/main" id="{22992596-9553-354E-9FA6-6A7BACE3514C}"/>
              </a:ext>
            </a:extLst>
          </p:cNvPr>
          <p:cNvSpPr>
            <a:spLocks noGrp="1"/>
          </p:cNvSpPr>
          <p:nvPr>
            <p:ph type="pic" sz="quarter" idx="68" hasCustomPrompt="1"/>
          </p:nvPr>
        </p:nvSpPr>
        <p:spPr>
          <a:xfrm>
            <a:off x="2261816" y="2411557"/>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2" name="Picture Placeholder 3">
            <a:extLst>
              <a:ext uri="{FF2B5EF4-FFF2-40B4-BE49-F238E27FC236}">
                <a16:creationId xmlns:a16="http://schemas.microsoft.com/office/drawing/2014/main" id="{74591AD2-2569-CF45-8D7D-E69A713170D1}"/>
              </a:ext>
            </a:extLst>
          </p:cNvPr>
          <p:cNvSpPr>
            <a:spLocks noGrp="1"/>
          </p:cNvSpPr>
          <p:nvPr>
            <p:ph type="pic" sz="quarter" idx="77" hasCustomPrompt="1"/>
          </p:nvPr>
        </p:nvSpPr>
        <p:spPr>
          <a:xfrm>
            <a:off x="5863862" y="2411557"/>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3" name="Picture Placeholder 3">
            <a:extLst>
              <a:ext uri="{FF2B5EF4-FFF2-40B4-BE49-F238E27FC236}">
                <a16:creationId xmlns:a16="http://schemas.microsoft.com/office/drawing/2014/main" id="{A01C25AB-DBA1-3343-A29F-C393C26205AB}"/>
              </a:ext>
            </a:extLst>
          </p:cNvPr>
          <p:cNvSpPr>
            <a:spLocks noGrp="1"/>
          </p:cNvSpPr>
          <p:nvPr>
            <p:ph type="pic" sz="quarter" idx="78" hasCustomPrompt="1"/>
          </p:nvPr>
        </p:nvSpPr>
        <p:spPr>
          <a:xfrm>
            <a:off x="9466925" y="2411557"/>
            <a:ext cx="530953" cy="465780"/>
          </a:xfrm>
          <a:prstGeom prst="rect">
            <a:avLst/>
          </a:prstGeom>
        </p:spPr>
        <p:txBody>
          <a:bodyPr/>
          <a:lstStyle>
            <a:lvl1pPr marL="0" indent="0" algn="ctr">
              <a:buNone/>
              <a:defRPr sz="1067">
                <a:solidFill>
                  <a:schemeClr val="tx1"/>
                </a:solidFill>
              </a:defRPr>
            </a:lvl1pPr>
          </a:lstStyle>
          <a:p>
            <a:r>
              <a:rPr lang="en-GB"/>
              <a:t>Icon</a:t>
            </a:r>
          </a:p>
        </p:txBody>
      </p:sp>
    </p:spTree>
    <p:extLst>
      <p:ext uri="{BB962C8B-B14F-4D97-AF65-F5344CB8AC3E}">
        <p14:creationId xmlns:p14="http://schemas.microsoft.com/office/powerpoint/2010/main" val="138319863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1FE45B-4634-4C8F-B00A-0F6287CEEAB6}"/>
              </a:ext>
            </a:extLst>
          </p:cNvPr>
          <p:cNvGraphicFramePr>
            <a:graphicFrameLocks noChangeAspect="1"/>
          </p:cNvGraphicFramePr>
          <p:nvPr userDrawn="1">
            <p:custDataLst>
              <p:tags r:id="rId1"/>
            </p:custDataLst>
            <p:extLst>
              <p:ext uri="{D42A27DB-BD31-4B8C-83A1-F6EECF244321}">
                <p14:modId xmlns:p14="http://schemas.microsoft.com/office/powerpoint/2010/main" val="178118611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181FE45B-4634-4C8F-B00A-0F6287CEEAB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Title 7">
            <a:extLst>
              <a:ext uri="{FF2B5EF4-FFF2-40B4-BE49-F238E27FC236}">
                <a16:creationId xmlns:a16="http://schemas.microsoft.com/office/drawing/2014/main" id="{AAE65148-FDC7-4ACD-BC2C-70267F8E2497}"/>
              </a:ext>
            </a:extLst>
          </p:cNvPr>
          <p:cNvSpPr>
            <a:spLocks noGrp="1"/>
          </p:cNvSpPr>
          <p:nvPr>
            <p:ph type="title"/>
          </p:nvPr>
        </p:nvSpPr>
        <p:spPr>
          <a:xfrm>
            <a:off x="838200" y="4368900"/>
            <a:ext cx="10515600" cy="743832"/>
          </a:xfrm>
          <a:prstGeom prst="rect">
            <a:avLst/>
          </a:prstGeom>
        </p:spPr>
        <p:txBody>
          <a:bodyPr vert="horz" anchor="ctr"/>
          <a:lstStyle>
            <a:lvl1pPr algn="l" rtl="0">
              <a:defRPr sz="4800" b="1">
                <a:solidFill>
                  <a:schemeClr val="accent2"/>
                </a:solidFill>
              </a:defRPr>
            </a:lvl1pPr>
          </a:lstStyle>
          <a:p>
            <a:r>
              <a:rPr lang="en-US"/>
              <a:t>Click to edit Master title style</a:t>
            </a:r>
          </a:p>
        </p:txBody>
      </p:sp>
      <p:sp>
        <p:nvSpPr>
          <p:cNvPr id="4" name="Text Placeholder 9">
            <a:extLst>
              <a:ext uri="{FF2B5EF4-FFF2-40B4-BE49-F238E27FC236}">
                <a16:creationId xmlns:a16="http://schemas.microsoft.com/office/drawing/2014/main" id="{10E6012D-9F24-4549-A0DA-C3FE30C2EB9F}"/>
              </a:ext>
            </a:extLst>
          </p:cNvPr>
          <p:cNvSpPr>
            <a:spLocks noGrp="1"/>
          </p:cNvSpPr>
          <p:nvPr>
            <p:ph type="body" sz="quarter" idx="10" hasCustomPrompt="1"/>
          </p:nvPr>
        </p:nvSpPr>
        <p:spPr>
          <a:xfrm>
            <a:off x="838199" y="5284834"/>
            <a:ext cx="10515600" cy="392480"/>
          </a:xfrm>
          <a:prstGeom prst="rect">
            <a:avLst/>
          </a:prstGeom>
        </p:spPr>
        <p:txBody>
          <a:bodyPr anchor="ctr"/>
          <a:lstStyle>
            <a:lvl1pPr marL="0" indent="0" algn="l" rtl="0">
              <a:buNone/>
              <a:defRPr>
                <a:solidFill>
                  <a:schemeClr val="accent2"/>
                </a:solidFill>
              </a:defRPr>
            </a:lvl1pPr>
          </a:lstStyle>
          <a:p>
            <a:pPr lvl="0"/>
            <a:r>
              <a:rPr lang="en-US"/>
              <a:t>Sub-title / Presenter Name</a:t>
            </a:r>
          </a:p>
        </p:txBody>
      </p:sp>
      <p:pic>
        <p:nvPicPr>
          <p:cNvPr id="6" name="Picture 5">
            <a:extLst>
              <a:ext uri="{FF2B5EF4-FFF2-40B4-BE49-F238E27FC236}">
                <a16:creationId xmlns:a16="http://schemas.microsoft.com/office/drawing/2014/main" id="{17748E14-788E-4E98-925E-E369F02A82D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5973" y="599448"/>
            <a:ext cx="2143952" cy="796243"/>
          </a:xfrm>
          <a:prstGeom prst="rect">
            <a:avLst/>
          </a:prstGeom>
        </p:spPr>
      </p:pic>
    </p:spTree>
    <p:extLst>
      <p:ext uri="{BB962C8B-B14F-4D97-AF65-F5344CB8AC3E}">
        <p14:creationId xmlns:p14="http://schemas.microsoft.com/office/powerpoint/2010/main" val="15232249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TT_title_and_2column_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DC509F-7BDB-4706-AFB3-0198F54D91BE}"/>
              </a:ext>
            </a:extLst>
          </p:cNvPr>
          <p:cNvGraphicFramePr>
            <a:graphicFrameLocks noChangeAspect="1"/>
          </p:cNvGraphicFramePr>
          <p:nvPr userDrawn="1">
            <p:custDataLst>
              <p:tags r:id="rId1"/>
            </p:custDataLst>
            <p:extLst>
              <p:ext uri="{D42A27DB-BD31-4B8C-83A1-F6EECF244321}">
                <p14:modId xmlns:p14="http://schemas.microsoft.com/office/powerpoint/2010/main" val="26470512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4" name="Object 3" hidden="1">
                        <a:extLst>
                          <a:ext uri="{FF2B5EF4-FFF2-40B4-BE49-F238E27FC236}">
                            <a16:creationId xmlns:a16="http://schemas.microsoft.com/office/drawing/2014/main" id="{18DC509F-7BDB-4706-AFB3-0198F54D91B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E55E6A-D5E2-4CE2-85FA-9BDA3C14A352}"/>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396693" y="1408823"/>
            <a:ext cx="5495760" cy="2006532"/>
          </a:xfrm>
          <a:prstGeom prst="rect">
            <a:avLst/>
          </a:prstGeom>
        </p:spPr>
        <p:txBody>
          <a:bodyPr/>
          <a:lstStyle>
            <a:lvl1pPr rtl="0">
              <a:defRPr>
                <a:solidFill>
                  <a:schemeClr val="tx1"/>
                </a:solidFill>
                <a:latin typeface="Arial"/>
                <a:cs typeface="Arial"/>
              </a:defRPr>
            </a:lvl1pPr>
            <a:lvl2pPr rtl="0">
              <a:defRPr>
                <a:solidFill>
                  <a:schemeClr val="tx1"/>
                </a:solidFill>
                <a:latin typeface="Arial"/>
                <a:cs typeface="Arial"/>
              </a:defRPr>
            </a:lvl2pPr>
            <a:lvl3pPr rtl="0">
              <a:defRPr>
                <a:solidFill>
                  <a:schemeClr val="tx1"/>
                </a:solidFill>
                <a:latin typeface="Arial"/>
                <a:cs typeface="Arial"/>
              </a:defRPr>
            </a:lvl3pPr>
            <a:lvl4pPr rtl="0">
              <a:defRPr>
                <a:solidFill>
                  <a:schemeClr val="tx1"/>
                </a:solidFill>
                <a:latin typeface="Arial"/>
                <a:cs typeface="Arial"/>
              </a:defRPr>
            </a:lvl4pPr>
            <a:lvl5pPr rtl="0">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2"/>
          </p:nvPr>
        </p:nvSpPr>
        <p:spPr>
          <a:xfrm>
            <a:off x="6298669" y="1409289"/>
            <a:ext cx="5497515" cy="2006532"/>
          </a:xfrm>
          <a:prstGeom prst="rect">
            <a:avLst/>
          </a:prstGeom>
        </p:spPr>
        <p:txBody>
          <a:bodyPr/>
          <a:lstStyle>
            <a:lvl1pPr rtl="0">
              <a:defRPr>
                <a:solidFill>
                  <a:schemeClr val="tx1"/>
                </a:solidFill>
                <a:latin typeface="Arial"/>
                <a:cs typeface="Arial"/>
              </a:defRPr>
            </a:lvl1pPr>
            <a:lvl2pPr rtl="0">
              <a:defRPr>
                <a:solidFill>
                  <a:schemeClr val="tx1"/>
                </a:solidFill>
                <a:latin typeface="Arial"/>
                <a:cs typeface="Arial"/>
              </a:defRPr>
            </a:lvl2pPr>
            <a:lvl3pPr rtl="0">
              <a:defRPr>
                <a:solidFill>
                  <a:schemeClr val="tx1"/>
                </a:solidFill>
                <a:latin typeface="Arial"/>
                <a:cs typeface="Arial"/>
              </a:defRPr>
            </a:lvl3pPr>
            <a:lvl4pPr rtl="0">
              <a:defRPr>
                <a:solidFill>
                  <a:schemeClr val="tx1"/>
                </a:solidFill>
                <a:latin typeface="Arial"/>
                <a:cs typeface="Arial"/>
              </a:defRPr>
            </a:lvl4pPr>
            <a:lvl5pPr rtl="0">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p:cNvSpPr>
            <a:spLocks noGrp="1"/>
          </p:cNvSpPr>
          <p:nvPr>
            <p:ph type="title"/>
          </p:nvPr>
        </p:nvSpPr>
        <p:spPr>
          <a:xfrm>
            <a:off x="396694" y="169336"/>
            <a:ext cx="9961469" cy="447217"/>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lick to edit Master title style</a:t>
            </a:r>
          </a:p>
        </p:txBody>
      </p:sp>
      <p:pic>
        <p:nvPicPr>
          <p:cNvPr id="7" name="Picture 6">
            <a:extLst>
              <a:ext uri="{FF2B5EF4-FFF2-40B4-BE49-F238E27FC236}">
                <a16:creationId xmlns:a16="http://schemas.microsoft.com/office/drawing/2014/main" id="{3F002DB6-96B1-3B43-B29D-7922E2487F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174132703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34_NTT_content_page">
    <p:bg bwMode="ltGray">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21A6FFB-F313-6141-A172-BADFD8BD87EE}"/>
              </a:ext>
            </a:extLst>
          </p:cNvPr>
          <p:cNvSpPr/>
          <p:nvPr userDrawn="1"/>
        </p:nvSpPr>
        <p:spPr>
          <a:xfrm>
            <a:off x="8115509" y="3417991"/>
            <a:ext cx="4076492" cy="3456575"/>
          </a:xfrm>
          <a:prstGeom prst="rect">
            <a:avLst/>
          </a:prstGeom>
          <a:solidFill>
            <a:schemeClr val="accent5">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0" name="Rectangle 9">
            <a:extLst>
              <a:ext uri="{FF2B5EF4-FFF2-40B4-BE49-F238E27FC236}">
                <a16:creationId xmlns:a16="http://schemas.microsoft.com/office/drawing/2014/main" id="{B80B8852-BEA0-3D4F-B90D-07A70ED2896E}"/>
              </a:ext>
            </a:extLst>
          </p:cNvPr>
          <p:cNvSpPr/>
          <p:nvPr userDrawn="1"/>
        </p:nvSpPr>
        <p:spPr>
          <a:xfrm>
            <a:off x="-3761" y="3423445"/>
            <a:ext cx="4044744" cy="3451121"/>
          </a:xfrm>
          <a:prstGeom prst="rect">
            <a:avLst/>
          </a:prstGeom>
          <a:solidFill>
            <a:schemeClr val="accent4">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2" name="Rectangle 1">
            <a:extLst>
              <a:ext uri="{FF2B5EF4-FFF2-40B4-BE49-F238E27FC236}">
                <a16:creationId xmlns:a16="http://schemas.microsoft.com/office/drawing/2014/main" id="{79775F3A-6E16-BA44-A37B-47351FCDF66D}"/>
              </a:ext>
            </a:extLst>
          </p:cNvPr>
          <p:cNvSpPr/>
          <p:nvPr userDrawn="1"/>
        </p:nvSpPr>
        <p:spPr>
          <a:xfrm>
            <a:off x="4042570" y="-1"/>
            <a:ext cx="4073525" cy="3451121"/>
          </a:xfrm>
          <a:prstGeom prst="rect">
            <a:avLst/>
          </a:prstGeom>
          <a:solidFill>
            <a:schemeClr val="accent2">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3" name="Picture Placeholder 2">
            <a:extLst>
              <a:ext uri="{FF2B5EF4-FFF2-40B4-BE49-F238E27FC236}">
                <a16:creationId xmlns:a16="http://schemas.microsoft.com/office/drawing/2014/main" id="{7B5540B0-93CE-384E-B0EA-1F68C487A39C}"/>
              </a:ext>
            </a:extLst>
          </p:cNvPr>
          <p:cNvSpPr>
            <a:spLocks noGrp="1"/>
          </p:cNvSpPr>
          <p:nvPr>
            <p:ph type="pic" sz="quarter" idx="15"/>
          </p:nvPr>
        </p:nvSpPr>
        <p:spPr bwMode="auto">
          <a:xfrm>
            <a:off x="4042570" y="3434557"/>
            <a:ext cx="4073525" cy="3423444"/>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endParaRPr lang="en-GB"/>
          </a:p>
        </p:txBody>
      </p:sp>
      <p:sp>
        <p:nvSpPr>
          <p:cNvPr id="14" name="Picture Placeholder 1">
            <a:extLst>
              <a:ext uri="{FF2B5EF4-FFF2-40B4-BE49-F238E27FC236}">
                <a16:creationId xmlns:a16="http://schemas.microsoft.com/office/drawing/2014/main" id="{AF09079C-C66C-5A47-BB10-2FB7AE1D67CA}"/>
              </a:ext>
            </a:extLst>
          </p:cNvPr>
          <p:cNvSpPr>
            <a:spLocks noGrp="1"/>
          </p:cNvSpPr>
          <p:nvPr>
            <p:ph type="pic" sz="quarter" idx="18"/>
          </p:nvPr>
        </p:nvSpPr>
        <p:spPr bwMode="auto">
          <a:xfrm>
            <a:off x="-3175" y="1"/>
            <a:ext cx="4045744"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endParaRPr lang="en-GB"/>
          </a:p>
        </p:txBody>
      </p:sp>
      <p:sp>
        <p:nvSpPr>
          <p:cNvPr id="17" name="Picture Placeholder 3">
            <a:extLst>
              <a:ext uri="{FF2B5EF4-FFF2-40B4-BE49-F238E27FC236}">
                <a16:creationId xmlns:a16="http://schemas.microsoft.com/office/drawing/2014/main" id="{D2AC0BAC-2AF9-F540-B096-781969CEA2D6}"/>
              </a:ext>
            </a:extLst>
          </p:cNvPr>
          <p:cNvSpPr>
            <a:spLocks noGrp="1"/>
          </p:cNvSpPr>
          <p:nvPr>
            <p:ph type="pic" sz="quarter" idx="21"/>
          </p:nvPr>
        </p:nvSpPr>
        <p:spPr bwMode="auto">
          <a:xfrm>
            <a:off x="8116095" y="1"/>
            <a:ext cx="4074319"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endParaRPr lang="en-GB"/>
          </a:p>
        </p:txBody>
      </p:sp>
      <p:sp>
        <p:nvSpPr>
          <p:cNvPr id="8" name="Text Placeholder 6">
            <a:extLst>
              <a:ext uri="{FF2B5EF4-FFF2-40B4-BE49-F238E27FC236}">
                <a16:creationId xmlns:a16="http://schemas.microsoft.com/office/drawing/2014/main" id="{4123768B-9ACE-1742-8661-A2254A8C2CA0}"/>
              </a:ext>
            </a:extLst>
          </p:cNvPr>
          <p:cNvSpPr>
            <a:spLocks noGrp="1"/>
          </p:cNvSpPr>
          <p:nvPr>
            <p:ph type="body" sz="quarter" idx="16"/>
          </p:nvPr>
        </p:nvSpPr>
        <p:spPr>
          <a:xfrm>
            <a:off x="4772309" y="1481606"/>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1" name="Text Placeholder 6">
            <a:extLst>
              <a:ext uri="{FF2B5EF4-FFF2-40B4-BE49-F238E27FC236}">
                <a16:creationId xmlns:a16="http://schemas.microsoft.com/office/drawing/2014/main" id="{43DCF11B-18FB-C347-AEE7-4589C1D5322A}"/>
              </a:ext>
            </a:extLst>
          </p:cNvPr>
          <p:cNvSpPr>
            <a:spLocks noGrp="1"/>
          </p:cNvSpPr>
          <p:nvPr>
            <p:ph type="body" sz="quarter" idx="22"/>
          </p:nvPr>
        </p:nvSpPr>
        <p:spPr>
          <a:xfrm>
            <a:off x="712382" y="4927171"/>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5" name="Text Placeholder 6">
            <a:extLst>
              <a:ext uri="{FF2B5EF4-FFF2-40B4-BE49-F238E27FC236}">
                <a16:creationId xmlns:a16="http://schemas.microsoft.com/office/drawing/2014/main" id="{5A1EDE70-062C-4242-98E0-A4DD62699851}"/>
              </a:ext>
            </a:extLst>
          </p:cNvPr>
          <p:cNvSpPr>
            <a:spLocks noGrp="1"/>
          </p:cNvSpPr>
          <p:nvPr>
            <p:ph type="body" sz="quarter" idx="23"/>
          </p:nvPr>
        </p:nvSpPr>
        <p:spPr>
          <a:xfrm>
            <a:off x="8846231" y="4927171"/>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Tree>
    <p:extLst>
      <p:ext uri="{BB962C8B-B14F-4D97-AF65-F5344CB8AC3E}">
        <p14:creationId xmlns:p14="http://schemas.microsoft.com/office/powerpoint/2010/main" val="1377380381"/>
      </p:ext>
    </p:extLst>
  </p:cSld>
  <p:clrMapOvr>
    <a:overrideClrMapping bg1="dk1" tx1="lt1" bg2="dk2" tx2="lt2" accent1="accent1" accent2="accent2" accent3="accent3" accent4="accent4" accent5="accent5" accent6="accent6" hlink="hlink" folHlink="folHlink"/>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NTT_custom_layout_images_white">
    <p:spTree>
      <p:nvGrpSpPr>
        <p:cNvPr id="1" name=""/>
        <p:cNvGrpSpPr/>
        <p:nvPr/>
      </p:nvGrpSpPr>
      <p:grpSpPr>
        <a:xfrm>
          <a:off x="0" y="0"/>
          <a:ext cx="0" cy="0"/>
          <a:chOff x="0" y="0"/>
          <a:chExt cx="0" cy="0"/>
        </a:xfrm>
      </p:grpSpPr>
      <p:sp>
        <p:nvSpPr>
          <p:cNvPr id="3" name="Rounded Rectangle 2"/>
          <p:cNvSpPr/>
          <p:nvPr userDrawn="1"/>
        </p:nvSpPr>
        <p:spPr>
          <a:xfrm>
            <a:off x="4891617" y="398424"/>
            <a:ext cx="4357515"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5" name="Rounded Rectangle 4"/>
          <p:cNvSpPr/>
          <p:nvPr userDrawn="1"/>
        </p:nvSpPr>
        <p:spPr>
          <a:xfrm>
            <a:off x="427766" y="398424"/>
            <a:ext cx="4363668"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9" name="Rounded Rectangle 8"/>
          <p:cNvSpPr/>
          <p:nvPr userDrawn="1"/>
        </p:nvSpPr>
        <p:spPr>
          <a:xfrm>
            <a:off x="446618" y="4055044"/>
            <a:ext cx="3335953" cy="2204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5" name="Rounded Rectangle 14"/>
          <p:cNvSpPr/>
          <p:nvPr userDrawn="1"/>
        </p:nvSpPr>
        <p:spPr>
          <a:xfrm>
            <a:off x="9349318" y="5003012"/>
            <a:ext cx="2408765" cy="1256569"/>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0" name="Picture Placeholder 25"/>
          <p:cNvSpPr>
            <a:spLocks noGrp="1"/>
          </p:cNvSpPr>
          <p:nvPr>
            <p:ph type="pic" sz="quarter" idx="13" hasCustomPrompt="1"/>
          </p:nvPr>
        </p:nvSpPr>
        <p:spPr>
          <a:xfrm>
            <a:off x="427766" y="4055044"/>
            <a:ext cx="3354805" cy="2204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1" name="Rounded Rectangle 10"/>
          <p:cNvSpPr/>
          <p:nvPr userDrawn="1"/>
        </p:nvSpPr>
        <p:spPr>
          <a:xfrm>
            <a:off x="3881968" y="4055044"/>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3" name="Rounded Rectangle 12"/>
          <p:cNvSpPr/>
          <p:nvPr userDrawn="1"/>
        </p:nvSpPr>
        <p:spPr>
          <a:xfrm>
            <a:off x="9349318" y="2228436"/>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6" y="398424"/>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4" name="Picture Placeholder 25"/>
          <p:cNvSpPr>
            <a:spLocks noGrp="1"/>
          </p:cNvSpPr>
          <p:nvPr>
            <p:ph type="pic" sz="quarter" idx="11" hasCustomPrompt="1"/>
          </p:nvPr>
        </p:nvSpPr>
        <p:spPr>
          <a:xfrm>
            <a:off x="4891986" y="398424"/>
            <a:ext cx="435714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7" name="Rounded Rectangle 6"/>
          <p:cNvSpPr/>
          <p:nvPr userDrawn="1"/>
        </p:nvSpPr>
        <p:spPr>
          <a:xfrm>
            <a:off x="9349318" y="398425"/>
            <a:ext cx="2408765" cy="1744135"/>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6" name="Picture Placeholder 25"/>
          <p:cNvSpPr>
            <a:spLocks noGrp="1"/>
          </p:cNvSpPr>
          <p:nvPr>
            <p:ph type="pic" sz="quarter" idx="16" hasCustomPrompt="1"/>
          </p:nvPr>
        </p:nvSpPr>
        <p:spPr>
          <a:xfrm>
            <a:off x="9349318" y="5003012"/>
            <a:ext cx="2408764" cy="1256569"/>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2" name="Picture Placeholder 25"/>
          <p:cNvSpPr>
            <a:spLocks noGrp="1"/>
          </p:cNvSpPr>
          <p:nvPr>
            <p:ph type="pic" sz="quarter" idx="14" hasCustomPrompt="1"/>
          </p:nvPr>
        </p:nvSpPr>
        <p:spPr>
          <a:xfrm>
            <a:off x="3877779" y="4055044"/>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8" y="2218759"/>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8" name="Picture Placeholder 25"/>
          <p:cNvSpPr>
            <a:spLocks noGrp="1"/>
          </p:cNvSpPr>
          <p:nvPr>
            <p:ph type="pic" sz="quarter" idx="12" hasCustomPrompt="1"/>
          </p:nvPr>
        </p:nvSpPr>
        <p:spPr>
          <a:xfrm>
            <a:off x="9349318" y="398425"/>
            <a:ext cx="2408764" cy="1744135"/>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Tree>
    <p:extLst>
      <p:ext uri="{BB962C8B-B14F-4D97-AF65-F5344CB8AC3E}">
        <p14:creationId xmlns:p14="http://schemas.microsoft.com/office/powerpoint/2010/main" val="21606664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colour_image_mix.02">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4902048" y="508261"/>
            <a:ext cx="4347085" cy="3547536"/>
          </a:xfrm>
          <a:prstGeom prst="rect">
            <a:avLst/>
          </a:prstGeom>
          <a:solidFill>
            <a:schemeClr val="accent6">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solidFill>
                <a:schemeClr val="accent1"/>
              </a:solidFill>
            </a:endParaRPr>
          </a:p>
        </p:txBody>
      </p:sp>
      <p:sp>
        <p:nvSpPr>
          <p:cNvPr id="27" name="Rounded Rectangle 26"/>
          <p:cNvSpPr/>
          <p:nvPr userDrawn="1"/>
        </p:nvSpPr>
        <p:spPr>
          <a:xfrm>
            <a:off x="3881968" y="4164881"/>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28" name="Picture Placeholder 25"/>
          <p:cNvSpPr>
            <a:spLocks noGrp="1"/>
          </p:cNvSpPr>
          <p:nvPr>
            <p:ph type="pic" sz="quarter" idx="22" hasCustomPrompt="1"/>
          </p:nvPr>
        </p:nvSpPr>
        <p:spPr>
          <a:xfrm>
            <a:off x="3877779" y="4164881"/>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accent1"/>
                </a:solidFill>
                <a:latin typeface="Arial"/>
                <a:ea typeface="+mn-ea"/>
                <a:cs typeface="+mn-cs"/>
              </a:defRPr>
            </a:lvl1pPr>
          </a:lstStyle>
          <a:p>
            <a:r>
              <a:rPr lang="en-US"/>
              <a:t>Insert photo here</a:t>
            </a:r>
          </a:p>
        </p:txBody>
      </p:sp>
      <p:sp>
        <p:nvSpPr>
          <p:cNvPr id="13" name="Rounded Rectangle 12"/>
          <p:cNvSpPr/>
          <p:nvPr userDrawn="1"/>
        </p:nvSpPr>
        <p:spPr>
          <a:xfrm>
            <a:off x="9349318" y="2338274"/>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6" y="508261"/>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8" y="2328596"/>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9" name="Text Placeholder 4"/>
          <p:cNvSpPr>
            <a:spLocks noGrp="1"/>
          </p:cNvSpPr>
          <p:nvPr>
            <p:ph type="body" sz="quarter" idx="17"/>
          </p:nvPr>
        </p:nvSpPr>
        <p:spPr>
          <a:xfrm>
            <a:off x="4902048" y="508263"/>
            <a:ext cx="4347085" cy="3547535"/>
          </a:xfrm>
          <a:prstGeom prst="roundRect">
            <a:avLst>
              <a:gd name="adj" fmla="val 0"/>
            </a:avLst>
          </a:prstGeom>
          <a:noFill/>
          <a:ln>
            <a:noFill/>
          </a:ln>
          <a:effectLst/>
        </p:spPr>
        <p:txBody>
          <a:bodyPr anchor="ctr"/>
          <a:lstStyle>
            <a:lvl1pPr marL="239178" indent="0" algn="l">
              <a:tabLst>
                <a:tab pos="116414" algn="l"/>
              </a:tabLst>
              <a:defRPr sz="3200">
                <a:solidFill>
                  <a:schemeClr val="tx1"/>
                </a:solidFill>
                <a:effectLst/>
                <a:latin typeface="Arial"/>
                <a:cs typeface="Arial"/>
              </a:defRPr>
            </a:lvl1pPr>
            <a:lvl2pPr marL="478355" indent="-239178" algn="l">
              <a:defRPr>
                <a:solidFill>
                  <a:schemeClr val="tx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1" name="Text Placeholder 4"/>
          <p:cNvSpPr>
            <a:spLocks noGrp="1"/>
          </p:cNvSpPr>
          <p:nvPr>
            <p:ph type="body" sz="quarter" idx="14"/>
          </p:nvPr>
        </p:nvSpPr>
        <p:spPr>
          <a:xfrm>
            <a:off x="9336400" y="508263"/>
            <a:ext cx="2421683" cy="1700963"/>
          </a:xfrm>
          <a:prstGeom prst="roundRect">
            <a:avLst>
              <a:gd name="adj" fmla="val 0"/>
            </a:avLst>
          </a:prstGeom>
          <a:solidFill>
            <a:schemeClr val="accent2"/>
          </a:solidFill>
          <a:ln>
            <a:noFill/>
          </a:ln>
          <a:effectLst/>
        </p:spPr>
        <p:txBody>
          <a:bodyPr anchor="ctr"/>
          <a:lstStyle>
            <a:lvl1pPr algn="ctr">
              <a:defRPr sz="2133">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2" name="Text Placeholder 4"/>
          <p:cNvSpPr>
            <a:spLocks noGrp="1"/>
          </p:cNvSpPr>
          <p:nvPr>
            <p:ph type="body" sz="quarter" idx="19"/>
          </p:nvPr>
        </p:nvSpPr>
        <p:spPr>
          <a:xfrm>
            <a:off x="9349318" y="5118693"/>
            <a:ext cx="2408765" cy="1269180"/>
          </a:xfrm>
          <a:prstGeom prst="roundRect">
            <a:avLst>
              <a:gd name="adj" fmla="val 0"/>
            </a:avLst>
          </a:prstGeom>
          <a:solidFill>
            <a:schemeClr val="accent2">
              <a:lumMod val="20000"/>
              <a:lumOff val="80000"/>
            </a:schemeClr>
          </a:solid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4" name="Text Placeholder 4"/>
          <p:cNvSpPr>
            <a:spLocks noGrp="1"/>
          </p:cNvSpPr>
          <p:nvPr>
            <p:ph type="body" sz="quarter" idx="13"/>
          </p:nvPr>
        </p:nvSpPr>
        <p:spPr>
          <a:xfrm>
            <a:off x="427765" y="4162494"/>
            <a:ext cx="3363979" cy="2225377"/>
          </a:xfrm>
          <a:prstGeom prst="roundRect">
            <a:avLst>
              <a:gd name="adj" fmla="val 0"/>
            </a:avLst>
          </a:prstGeom>
          <a:solidFill>
            <a:schemeClr val="accent2"/>
          </a:solidFill>
          <a:ln>
            <a:noFill/>
          </a:ln>
          <a:effectLst/>
        </p:spPr>
        <p:txBody>
          <a:bodyPr anchor="ctr"/>
          <a:lstStyle>
            <a:lvl1pPr algn="l">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20"/>
          </p:nvPr>
        </p:nvSpPr>
        <p:spPr>
          <a:xfrm>
            <a:off x="3877779" y="5069464"/>
            <a:ext cx="5371355"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21"/>
          </p:nvPr>
        </p:nvSpPr>
        <p:spPr>
          <a:xfrm>
            <a:off x="9336401" y="3702734"/>
            <a:ext cx="2421681"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9" name="Text Placeholder 4"/>
          <p:cNvSpPr>
            <a:spLocks noGrp="1"/>
          </p:cNvSpPr>
          <p:nvPr>
            <p:ph type="body" sz="quarter" idx="23"/>
          </p:nvPr>
        </p:nvSpPr>
        <p:spPr>
          <a:xfrm>
            <a:off x="427766" y="2753366"/>
            <a:ext cx="4363668"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4122856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4_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00C42D-D963-4A7D-BF8F-59DAD32DEBC8}"/>
              </a:ext>
            </a:extLst>
          </p:cNvPr>
          <p:cNvGraphicFramePr>
            <a:graphicFrameLocks noChangeAspect="1"/>
          </p:cNvGraphicFramePr>
          <p:nvPr userDrawn="1">
            <p:custDataLst>
              <p:tags r:id="rId1"/>
            </p:custDataLst>
            <p:extLst>
              <p:ext uri="{D42A27DB-BD31-4B8C-83A1-F6EECF244321}">
                <p14:modId xmlns:p14="http://schemas.microsoft.com/office/powerpoint/2010/main" val="377186893"/>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5" imgW="281" imgH="281" progId="TCLayout.ActiveDocument.1">
                  <p:embed/>
                </p:oleObj>
              </mc:Choice>
              <mc:Fallback>
                <p:oleObj name="think-cell Slide" r:id="rId5" imgW="281" imgH="281" progId="TCLayout.ActiveDocument.1">
                  <p:embed/>
                  <p:pic>
                    <p:nvPicPr>
                      <p:cNvPr id="3" name="Object 2" hidden="1">
                        <a:extLst>
                          <a:ext uri="{FF2B5EF4-FFF2-40B4-BE49-F238E27FC236}">
                            <a16:creationId xmlns:a16="http://schemas.microsoft.com/office/drawing/2014/main" id="{A200C42D-D963-4A7D-BF8F-59DAD32DEBC8}"/>
                          </a:ext>
                        </a:extLst>
                      </p:cNvPr>
                      <p:cNvPicPr/>
                      <p:nvPr/>
                    </p:nvPicPr>
                    <p:blipFill>
                      <a:blip r:embed="rId6"/>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F83D916-1215-4C03-9845-306DCEEB40F1}"/>
              </a:ext>
            </a:extLst>
          </p:cNvPr>
          <p:cNvSpPr/>
          <p:nvPr userDrawn="1">
            <p:custDataLst>
              <p:tags r:id="rId2"/>
            </p:custDataLst>
          </p:nvPr>
        </p:nvSpPr>
        <p:spPr>
          <a:xfrm>
            <a:off x="1" y="1"/>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p:nvPr>
        </p:nvSpPr>
        <p:spPr>
          <a:xfrm>
            <a:off x="396693" y="169338"/>
            <a:ext cx="9770027" cy="447239"/>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lick to edit Master title style</a:t>
            </a:r>
          </a:p>
        </p:txBody>
      </p:sp>
      <p:pic>
        <p:nvPicPr>
          <p:cNvPr id="6" name="Picture 5">
            <a:extLst>
              <a:ext uri="{FF2B5EF4-FFF2-40B4-BE49-F238E27FC236}">
                <a16:creationId xmlns:a16="http://schemas.microsoft.com/office/drawing/2014/main" id="{A6731466-BD37-0B4A-BE69-CBD86F77A5A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467154" y="332679"/>
            <a:ext cx="1305751" cy="484944"/>
          </a:xfrm>
          <a:prstGeom prst="rect">
            <a:avLst/>
          </a:prstGeom>
        </p:spPr>
      </p:pic>
      <p:sp>
        <p:nvSpPr>
          <p:cNvPr id="9" name="Text Placeholder 2">
            <a:extLst>
              <a:ext uri="{FF2B5EF4-FFF2-40B4-BE49-F238E27FC236}">
                <a16:creationId xmlns:a16="http://schemas.microsoft.com/office/drawing/2014/main" id="{A2FD43D3-9DCE-4E30-810E-E3C88EB6F7CF}"/>
              </a:ext>
            </a:extLst>
          </p:cNvPr>
          <p:cNvSpPr>
            <a:spLocks noGrp="1"/>
          </p:cNvSpPr>
          <p:nvPr>
            <p:ph type="body" sz="quarter" idx="10" hasCustomPrompt="1"/>
          </p:nvPr>
        </p:nvSpPr>
        <p:spPr>
          <a:xfrm>
            <a:off x="396696" y="6469585"/>
            <a:ext cx="6706073" cy="193003"/>
          </a:xfrm>
          <a:prstGeom prst="rect">
            <a:avLst/>
          </a:prstGeom>
        </p:spPr>
        <p:txBody>
          <a:bodyPr anchor="ctr"/>
          <a:lstStyle>
            <a:lvl1pPr marL="0" marR="0" indent="0" algn="l" defTabSz="1219080" rtl="0" eaLnBrk="1" fontAlgn="auto" latinLnBrk="0" hangingPunct="1">
              <a:lnSpc>
                <a:spcPct val="114000"/>
              </a:lnSpc>
              <a:spcBef>
                <a:spcPts val="800"/>
              </a:spcBef>
              <a:spcAft>
                <a:spcPts val="133"/>
              </a:spcAft>
              <a:buClrTx/>
              <a:buSzTx/>
              <a:buFont typeface="Arial" pitchFamily="34" charset="0"/>
              <a:buNone/>
              <a:tabLst/>
              <a:defRPr sz="1067">
                <a:solidFill>
                  <a:schemeClr val="tx1"/>
                </a:solidFill>
              </a:defRPr>
            </a:lvl1pPr>
          </a:lstStyle>
          <a:p>
            <a:pPr marL="0" marR="0" lvl="0" indent="0" algn="l" defTabSz="1219080" rtl="0" eaLnBrk="1" fontAlgn="auto" latinLnBrk="0" hangingPunct="1">
              <a:lnSpc>
                <a:spcPct val="114000"/>
              </a:lnSpc>
              <a:spcBef>
                <a:spcPts val="800"/>
              </a:spcBef>
              <a:spcAft>
                <a:spcPts val="133"/>
              </a:spcAft>
              <a:buClrTx/>
              <a:buSzTx/>
              <a:buFont typeface="Arial" pitchFamily="34" charset="0"/>
              <a:buNone/>
              <a:tabLst/>
              <a:defRPr/>
            </a:pPr>
            <a:r>
              <a:rPr lang="en-US" sz="1200">
                <a:latin typeface="Arial" panose="020B0604020202020204" pitchFamily="34" charset="0"/>
                <a:cs typeface="Arial" panose="020B0604020202020204" pitchFamily="34" charset="0"/>
              </a:rPr>
              <a:t>2020 (insert name of document), © NTT (Ltd or Inc as the case may be) ‘All Rights Reserved’.</a:t>
            </a:r>
          </a:p>
        </p:txBody>
      </p:sp>
      <p:sp>
        <p:nvSpPr>
          <p:cNvPr id="10" name="Slide Number">
            <a:extLst>
              <a:ext uri="{FF2B5EF4-FFF2-40B4-BE49-F238E27FC236}">
                <a16:creationId xmlns:a16="http://schemas.microsoft.com/office/drawing/2014/main" id="{9E237D36-E8D0-4433-A9EA-6F60255DE3E2}"/>
              </a:ext>
            </a:extLst>
          </p:cNvPr>
          <p:cNvSpPr>
            <a:spLocks noChangeArrowheads="1"/>
          </p:cNvSpPr>
          <p:nvPr userDrawn="1">
            <p:custDataLst>
              <p:tags r:id="rId3"/>
            </p:custDataLst>
          </p:nvPr>
        </p:nvSpPr>
        <p:spPr bwMode="black">
          <a:xfrm>
            <a:off x="11312528" y="6498759"/>
            <a:ext cx="325501" cy="138499"/>
          </a:xfrm>
          <a:prstGeom prst="rect">
            <a:avLst/>
          </a:prstGeom>
          <a:noFill/>
          <a:ln w="9525" algn="ctr">
            <a:noFill/>
            <a:miter lim="800000"/>
            <a:headEnd/>
            <a:tailEnd/>
          </a:ln>
          <a:effectLst/>
        </p:spPr>
        <p:txBody>
          <a:bodyPr wrap="square" lIns="0" tIns="0" rIns="0" bIns="0" anchor="b">
            <a:spAutoFit/>
          </a:bodyPr>
          <a:lstStyle/>
          <a:p>
            <a:pPr algn="r" defTabSz="610683"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683" rtl="0" fontAlgn="auto">
                <a:spcBef>
                  <a:spcPts val="0"/>
                </a:spcBef>
                <a:spcAft>
                  <a:spcPts val="0"/>
                </a:spcAft>
                <a:defRPr/>
              </a:pPr>
              <a:t>‹N°›</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0965185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1_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00C42D-D963-4A7D-BF8F-59DAD32DEBC8}"/>
              </a:ext>
            </a:extLst>
          </p:cNvPr>
          <p:cNvGraphicFramePr>
            <a:graphicFrameLocks noChangeAspect="1"/>
          </p:cNvGraphicFramePr>
          <p:nvPr userDrawn="1">
            <p:custDataLst>
              <p:tags r:id="rId1"/>
            </p:custDataLst>
            <p:extLst>
              <p:ext uri="{D42A27DB-BD31-4B8C-83A1-F6EECF244321}">
                <p14:modId xmlns:p14="http://schemas.microsoft.com/office/powerpoint/2010/main" val="2845818295"/>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281" imgH="281" progId="TCLayout.ActiveDocument.1">
                  <p:embed/>
                </p:oleObj>
              </mc:Choice>
              <mc:Fallback>
                <p:oleObj name="think-cell Slide" r:id="rId5" imgW="281" imgH="281" progId="TCLayout.ActiveDocument.1">
                  <p:embed/>
                  <p:pic>
                    <p:nvPicPr>
                      <p:cNvPr id="3" name="Object 2" hidden="1">
                        <a:extLst>
                          <a:ext uri="{FF2B5EF4-FFF2-40B4-BE49-F238E27FC236}">
                            <a16:creationId xmlns:a16="http://schemas.microsoft.com/office/drawing/2014/main" id="{A200C42D-D963-4A7D-BF8F-59DAD32DEBC8}"/>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F83D916-1215-4C03-9845-306DCEEB40F1}"/>
              </a:ext>
            </a:extLst>
          </p:cNvPr>
          <p:cNvSpPr/>
          <p:nvPr userDrawn="1">
            <p:custDataLst>
              <p:tags r:id="rId2"/>
            </p:custDataLst>
          </p:nvPr>
        </p:nvSpPr>
        <p:spPr>
          <a:xfrm>
            <a:off x="1" y="1"/>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p:nvPr>
        </p:nvSpPr>
        <p:spPr>
          <a:xfrm>
            <a:off x="396692" y="169336"/>
            <a:ext cx="9770027" cy="447217"/>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lick to edit Master title style</a:t>
            </a:r>
          </a:p>
        </p:txBody>
      </p:sp>
      <p:pic>
        <p:nvPicPr>
          <p:cNvPr id="6" name="Picture 5">
            <a:extLst>
              <a:ext uri="{FF2B5EF4-FFF2-40B4-BE49-F238E27FC236}">
                <a16:creationId xmlns:a16="http://schemas.microsoft.com/office/drawing/2014/main" id="{A6731466-BD37-0B4A-BE69-CBD86F77A5A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467151" y="332679"/>
            <a:ext cx="1305751" cy="484944"/>
          </a:xfrm>
          <a:prstGeom prst="rect">
            <a:avLst/>
          </a:prstGeom>
        </p:spPr>
      </p:pic>
      <p:sp>
        <p:nvSpPr>
          <p:cNvPr id="10" name="Slide Number">
            <a:extLst>
              <a:ext uri="{FF2B5EF4-FFF2-40B4-BE49-F238E27FC236}">
                <a16:creationId xmlns:a16="http://schemas.microsoft.com/office/drawing/2014/main" id="{9E237D36-E8D0-4433-A9EA-6F60255DE3E2}"/>
              </a:ext>
            </a:extLst>
          </p:cNvPr>
          <p:cNvSpPr>
            <a:spLocks noChangeArrowheads="1"/>
          </p:cNvSpPr>
          <p:nvPr userDrawn="1">
            <p:custDataLst>
              <p:tags r:id="rId3"/>
            </p:custDataLst>
          </p:nvPr>
        </p:nvSpPr>
        <p:spPr bwMode="black">
          <a:xfrm>
            <a:off x="11312527" y="6498756"/>
            <a:ext cx="325501" cy="138499"/>
          </a:xfrm>
          <a:prstGeom prst="rect">
            <a:avLst/>
          </a:prstGeom>
          <a:noFill/>
          <a:ln w="9525" algn="ctr">
            <a:noFill/>
            <a:miter lim="800000"/>
            <a:headEnd/>
            <a:tailEnd/>
          </a:ln>
          <a:effectLst/>
        </p:spPr>
        <p:txBody>
          <a:bodyPr wrap="square" lIns="0" tIns="0" rIns="0" bIns="0" anchor="b">
            <a:spAutoFit/>
          </a:bodyPr>
          <a:lstStyle/>
          <a:p>
            <a:pPr algn="r" defTabSz="61071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14" rtl="0" fontAlgn="auto">
                <a:spcBef>
                  <a:spcPts val="0"/>
                </a:spcBef>
                <a:spcAft>
                  <a:spcPts val="0"/>
                </a:spcAft>
                <a:defRPr/>
              </a:pPr>
              <a:t>‹N°›</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9787749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userDrawn="1">
  <p:cSld name="2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5"/>
            <a:ext cx="9770027"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5" y="1529026"/>
            <a:ext cx="11376207" cy="191907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a:extLst>
              <a:ext uri="{FF2B5EF4-FFF2-40B4-BE49-F238E27FC236}">
                <a16:creationId xmlns:a16="http://schemas.microsoft.com/office/drawing/2014/main" id="{A6731466-BD37-0B4A-BE69-CBD86F77A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1" y="332679"/>
            <a:ext cx="1305751" cy="484944"/>
          </a:xfrm>
          <a:prstGeom prst="rect">
            <a:avLst/>
          </a:prstGeom>
        </p:spPr>
      </p:pic>
    </p:spTree>
    <p:extLst>
      <p:ext uri="{BB962C8B-B14F-4D97-AF65-F5344CB8AC3E}">
        <p14:creationId xmlns:p14="http://schemas.microsoft.com/office/powerpoint/2010/main" val="109481417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4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770027" cy="793751"/>
          </a:xfrm>
          <a:prstGeom prst="rect">
            <a:avLst/>
          </a:prstGeom>
        </p:spPr>
        <p:txBody>
          <a:bodyPr anchor="ctr"/>
          <a:lstStyle>
            <a:lvl1pPr>
              <a:defRPr sz="3200" b="1">
                <a:solidFill>
                  <a:schemeClr val="accent2"/>
                </a:solidFill>
                <a:latin typeface="Arial"/>
                <a:cs typeface="Arial"/>
              </a:defRPr>
            </a:lvl1pPr>
          </a:lstStyle>
          <a:p>
            <a:r>
              <a:rPr lang="en-US" altLang="ja-JP"/>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ZA"/>
          </a:p>
        </p:txBody>
      </p:sp>
      <p:grpSp>
        <p:nvGrpSpPr>
          <p:cNvPr id="10" name="Group 9">
            <a:extLst>
              <a:ext uri="{FF2B5EF4-FFF2-40B4-BE49-F238E27FC236}">
                <a16:creationId xmlns:a16="http://schemas.microsoft.com/office/drawing/2014/main" id="{7085ABD9-769E-9F44-B621-8F50D5338B8F}"/>
              </a:ext>
            </a:extLst>
          </p:cNvPr>
          <p:cNvGrpSpPr/>
          <p:nvPr userDrawn="1"/>
        </p:nvGrpSpPr>
        <p:grpSpPr>
          <a:xfrm>
            <a:off x="10458438" y="332679"/>
            <a:ext cx="1308293" cy="484944"/>
            <a:chOff x="7843828" y="249509"/>
            <a:chExt cx="981220" cy="363708"/>
          </a:xfrm>
        </p:grpSpPr>
        <p:sp>
          <p:nvSpPr>
            <p:cNvPr id="11" name="Freeform 5">
              <a:extLst>
                <a:ext uri="{FF2B5EF4-FFF2-40B4-BE49-F238E27FC236}">
                  <a16:creationId xmlns:a16="http://schemas.microsoft.com/office/drawing/2014/main" id="{F831984E-FF85-F444-8E1E-635A70B5FF01}"/>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2" name="Freeform 6">
              <a:extLst>
                <a:ext uri="{FF2B5EF4-FFF2-40B4-BE49-F238E27FC236}">
                  <a16:creationId xmlns:a16="http://schemas.microsoft.com/office/drawing/2014/main" id="{D49B1C00-21CA-8F45-B313-EB0D7B2D8E9F}"/>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5" name="Text Placeholder 2">
            <a:extLst>
              <a:ext uri="{FF2B5EF4-FFF2-40B4-BE49-F238E27FC236}">
                <a16:creationId xmlns:a16="http://schemas.microsoft.com/office/drawing/2014/main" id="{B635664D-C191-2341-8175-0FD71E08F653}"/>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6" name="Text Placeholder 2">
            <a:extLst>
              <a:ext uri="{FF2B5EF4-FFF2-40B4-BE49-F238E27FC236}">
                <a16:creationId xmlns:a16="http://schemas.microsoft.com/office/drawing/2014/main" id="{0253C6C5-850E-9A4D-9D07-B275F523C4C3}"/>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4" name="Rectangle 28">
            <a:extLst>
              <a:ext uri="{FF2B5EF4-FFF2-40B4-BE49-F238E27FC236}">
                <a16:creationId xmlns:a16="http://schemas.microsoft.com/office/drawing/2014/main" id="{040CBF7E-5D20-264C-A2D4-1592C4F1F28F}"/>
              </a:ext>
            </a:extLst>
          </p:cNvPr>
          <p:cNvSpPr/>
          <p:nvPr userDrawn="1"/>
        </p:nvSpPr>
        <p:spPr>
          <a:xfrm>
            <a:off x="215899" y="6463378"/>
            <a:ext cx="2409634" cy="276999"/>
          </a:xfrm>
          <a:prstGeom prst="rect">
            <a:avLst/>
          </a:prstGeom>
        </p:spPr>
        <p:txBody>
          <a:bodyPr wrap="none">
            <a:spAutoFit/>
          </a:bodyPr>
          <a:lstStyle/>
          <a:p>
            <a:pPr algn="l"/>
            <a:r>
              <a:rPr lang="en-US" sz="1200">
                <a:solidFill>
                  <a:schemeClr val="tx1"/>
                </a:solidFill>
              </a:rPr>
              <a:t>©          NTT All Rights Reserved</a:t>
            </a:r>
          </a:p>
        </p:txBody>
      </p:sp>
      <p:sp>
        <p:nvSpPr>
          <p:cNvPr id="17" name="Date Placeholder 3">
            <a:extLst>
              <a:ext uri="{FF2B5EF4-FFF2-40B4-BE49-F238E27FC236}">
                <a16:creationId xmlns:a16="http://schemas.microsoft.com/office/drawing/2014/main" id="{B5CF53AD-F5A7-1C48-B07C-66CB453EA79C}"/>
              </a:ext>
            </a:extLst>
          </p:cNvPr>
          <p:cNvSpPr>
            <a:spLocks noGrp="1"/>
          </p:cNvSpPr>
          <p:nvPr>
            <p:ph type="dt" sz="half" idx="32"/>
          </p:nvPr>
        </p:nvSpPr>
        <p:spPr>
          <a:xfrm>
            <a:off x="375328" y="6463378"/>
            <a:ext cx="641248" cy="486833"/>
          </a:xfrm>
          <a:prstGeom prst="rect">
            <a:avLst/>
          </a:prstGeom>
        </p:spPr>
        <p:txBody>
          <a:bodyPr/>
          <a:lstStyle>
            <a:lvl1pPr>
              <a:defRPr lang="en-ZA" sz="1200" kern="1200" smtClean="0">
                <a:solidFill>
                  <a:schemeClr val="tx1"/>
                </a:solidFill>
                <a:latin typeface="Arial" charset="0"/>
                <a:ea typeface="ＭＳ Ｐゴシック" charset="0"/>
                <a:cs typeface="ＭＳ Ｐゴシック" charset="0"/>
              </a:defRPr>
            </a:lvl1pPr>
          </a:lstStyle>
          <a:p>
            <a:fld id="{8BEC62DD-575F-844D-BD9F-C3CDE49DB97D}" type="datetimeyyyy">
              <a:rPr lang="en-ZA" smtClean="0"/>
              <a:t>2023</a:t>
            </a:fld>
            <a:endParaRPr lang="en-ZA"/>
          </a:p>
        </p:txBody>
      </p:sp>
    </p:spTree>
    <p:extLst>
      <p:ext uri="{BB962C8B-B14F-4D97-AF65-F5344CB8AC3E}">
        <p14:creationId xmlns:p14="http://schemas.microsoft.com/office/powerpoint/2010/main" val="42462586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NTT_divider_page_blue">
    <p:bg>
      <p:bgPr>
        <a:solidFill>
          <a:schemeClr val="accent2"/>
        </a:soli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3"/>
            <a:ext cx="11408804" cy="631775"/>
          </a:xfrm>
          <a:prstGeom prst="rect">
            <a:avLst/>
          </a:prstGeom>
        </p:spPr>
        <p:txBody>
          <a:bodyPr anchor="ctr"/>
          <a:lstStyle>
            <a:lvl1pPr algn="ctr">
              <a:defRPr sz="3200" b="1">
                <a:solidFill>
                  <a:schemeClr val="bg1"/>
                </a:solidFill>
              </a:defRPr>
            </a:lvl1pPr>
          </a:lstStyle>
          <a:p>
            <a:r>
              <a:rPr lang="en-US" altLang="ja-JP"/>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9"/>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8" name="Text Placeholder 2">
            <a:extLst>
              <a:ext uri="{FF2B5EF4-FFF2-40B4-BE49-F238E27FC236}">
                <a16:creationId xmlns:a16="http://schemas.microsoft.com/office/drawing/2014/main" id="{6B87E193-D582-9A49-8D1F-70FB365FB386}"/>
              </a:ext>
            </a:extLst>
          </p:cNvPr>
          <p:cNvSpPr>
            <a:spLocks noGrp="1"/>
          </p:cNvSpPr>
          <p:nvPr>
            <p:ph type="body" sz="quarter" idx="30" hasCustomPrompt="1"/>
          </p:nvPr>
        </p:nvSpPr>
        <p:spPr>
          <a:xfrm>
            <a:off x="6376011" y="6499792"/>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0" name="Text Placeholder 2">
            <a:extLst>
              <a:ext uri="{FF2B5EF4-FFF2-40B4-BE49-F238E27FC236}">
                <a16:creationId xmlns:a16="http://schemas.microsoft.com/office/drawing/2014/main" id="{EC73C4E2-B298-A942-A63E-921BEC1C6477}"/>
              </a:ext>
            </a:extLst>
          </p:cNvPr>
          <p:cNvSpPr>
            <a:spLocks noGrp="1"/>
          </p:cNvSpPr>
          <p:nvPr>
            <p:ph type="body" sz="quarter" idx="31" hasCustomPrompt="1"/>
          </p:nvPr>
        </p:nvSpPr>
        <p:spPr>
          <a:xfrm>
            <a:off x="11367694" y="6499875"/>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412093643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userDrawn="1">
            <p:ph type="title" hasCustomPrompt="1"/>
          </p:nvPr>
        </p:nvSpPr>
        <p:spPr>
          <a:xfrm>
            <a:off x="572716" y="2828979"/>
            <a:ext cx="5557835" cy="788036"/>
          </a:xfrm>
          <a:noFill/>
        </p:spPr>
        <p:txBody>
          <a:bodyPr lIns="0" tIns="91440" rIns="0" bIns="91440" anchor="b" anchorCtr="0"/>
          <a:lstStyle>
            <a:lvl1pPr>
              <a:defRPr sz="3921" b="1" spc="-99" baseline="0">
                <a:solidFill>
                  <a:schemeClr val="accent3"/>
                </a:solidFill>
              </a:defRPr>
            </a:lvl1pPr>
          </a:lstStyle>
          <a:p>
            <a:r>
              <a:rPr lang="en-US"/>
              <a:t>Presentation title</a:t>
            </a:r>
          </a:p>
        </p:txBody>
      </p:sp>
      <p:sp>
        <p:nvSpPr>
          <p:cNvPr id="16" name="Text Placeholder 4">
            <a:extLst>
              <a:ext uri="{FF2B5EF4-FFF2-40B4-BE49-F238E27FC236}">
                <a16:creationId xmlns:a16="http://schemas.microsoft.com/office/drawing/2014/main" id="{744383EB-BE88-497D-A24B-D7A9C21794EE}"/>
              </a:ext>
            </a:extLst>
          </p:cNvPr>
          <p:cNvSpPr>
            <a:spLocks noGrp="1"/>
          </p:cNvSpPr>
          <p:nvPr userDrawn="1">
            <p:ph type="body" sz="quarter" idx="12" hasCustomPrompt="1"/>
          </p:nvPr>
        </p:nvSpPr>
        <p:spPr>
          <a:xfrm>
            <a:off x="572716" y="3916790"/>
            <a:ext cx="5557835"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userDrawn="1"/>
        </p:nvPicPr>
        <p:blipFill>
          <a:blip r:embed="rId2"/>
          <a:stretch>
            <a:fillRect/>
          </a:stretch>
        </p:blipFill>
        <p:spPr bwMode="black">
          <a:xfrm>
            <a:off x="572717" y="574356"/>
            <a:ext cx="1339387" cy="286897"/>
          </a:xfrm>
          <a:prstGeom prst="rect">
            <a:avLst/>
          </a:prstGeom>
        </p:spPr>
      </p:pic>
      <p:grpSp>
        <p:nvGrpSpPr>
          <p:cNvPr id="2" name="Group 1">
            <a:extLst>
              <a:ext uri="{FF2B5EF4-FFF2-40B4-BE49-F238E27FC236}">
                <a16:creationId xmlns:a16="http://schemas.microsoft.com/office/drawing/2014/main" id="{42D22C36-406A-4FE1-9F5A-C654695A815C}"/>
              </a:ext>
              <a:ext uri="{C183D7F6-B498-43B3-948B-1728B52AA6E4}">
                <adec:decorative xmlns:adec="http://schemas.microsoft.com/office/drawing/2017/decorative" val="1"/>
              </a:ext>
            </a:extLst>
          </p:cNvPr>
          <p:cNvGrpSpPr/>
          <p:nvPr userDrawn="1"/>
        </p:nvGrpSpPr>
        <p:grpSpPr>
          <a:xfrm>
            <a:off x="6372502" y="744386"/>
            <a:ext cx="5579687" cy="6113615"/>
            <a:chOff x="6500282" y="759203"/>
            <a:chExt cx="5691571" cy="6235321"/>
          </a:xfrm>
        </p:grpSpPr>
        <p:sp>
          <p:nvSpPr>
            <p:cNvPr id="123" name="Freeform: Shape 122">
              <a:extLst>
                <a:ext uri="{FF2B5EF4-FFF2-40B4-BE49-F238E27FC236}">
                  <a16:creationId xmlns:a16="http://schemas.microsoft.com/office/drawing/2014/main" id="{2A38B632-BE0E-4F16-802B-BEA4A6D67834}"/>
                </a:ext>
                <a:ext uri="{C183D7F6-B498-43B3-948B-1728B52AA6E4}">
                  <adec:decorative xmlns:adec="http://schemas.microsoft.com/office/drawing/2017/decorative" val="1"/>
                </a:ext>
              </a:extLst>
            </p:cNvPr>
            <p:cNvSpPr/>
            <p:nvPr userDrawn="1"/>
          </p:nvSpPr>
          <p:spPr>
            <a:xfrm>
              <a:off x="6993382" y="1210071"/>
              <a:ext cx="589644" cy="577556"/>
            </a:xfrm>
            <a:custGeom>
              <a:avLst/>
              <a:gdLst>
                <a:gd name="connsiteX0" fmla="*/ 418464 w 726878"/>
                <a:gd name="connsiteY0" fmla="*/ 0 h 711977"/>
                <a:gd name="connsiteX1" fmla="*/ 714363 w 726878"/>
                <a:gd name="connsiteY1" fmla="*/ 122647 h 711977"/>
                <a:gd name="connsiteX2" fmla="*/ 726878 w 726878"/>
                <a:gd name="connsiteY2" fmla="*/ 137825 h 711977"/>
                <a:gd name="connsiteX3" fmla="*/ 527794 w 726878"/>
                <a:gd name="connsiteY3" fmla="*/ 286796 h 711977"/>
                <a:gd name="connsiteX4" fmla="*/ 171536 w 726878"/>
                <a:gd name="connsiteY4" fmla="*/ 643290 h 711977"/>
                <a:gd name="connsiteX5" fmla="*/ 120207 w 726878"/>
                <a:gd name="connsiteY5" fmla="*/ 711977 h 711977"/>
                <a:gd name="connsiteX6" fmla="*/ 71468 w 726878"/>
                <a:gd name="connsiteY6" fmla="*/ 652865 h 711977"/>
                <a:gd name="connsiteX7" fmla="*/ 0 w 726878"/>
                <a:gd name="connsiteY7" fmla="*/ 418742 h 711977"/>
                <a:gd name="connsiteX8" fmla="*/ 418464 w 726878"/>
                <a:gd name="connsiteY8" fmla="*/ 0 h 711977"/>
                <a:gd name="connsiteX0" fmla="*/ 527794 w 726878"/>
                <a:gd name="connsiteY0" fmla="*/ 286796 h 711977"/>
                <a:gd name="connsiteX1" fmla="*/ 171536 w 726878"/>
                <a:gd name="connsiteY1" fmla="*/ 643290 h 711977"/>
                <a:gd name="connsiteX2" fmla="*/ 120207 w 726878"/>
                <a:gd name="connsiteY2" fmla="*/ 711977 h 711977"/>
                <a:gd name="connsiteX3" fmla="*/ 71468 w 726878"/>
                <a:gd name="connsiteY3" fmla="*/ 652865 h 711977"/>
                <a:gd name="connsiteX4" fmla="*/ 0 w 726878"/>
                <a:gd name="connsiteY4" fmla="*/ 418742 h 711977"/>
                <a:gd name="connsiteX5" fmla="*/ 418464 w 726878"/>
                <a:gd name="connsiteY5" fmla="*/ 0 h 711977"/>
                <a:gd name="connsiteX6" fmla="*/ 714363 w 726878"/>
                <a:gd name="connsiteY6" fmla="*/ 122647 h 711977"/>
                <a:gd name="connsiteX7" fmla="*/ 726878 w 726878"/>
                <a:gd name="connsiteY7" fmla="*/ 137825 h 711977"/>
                <a:gd name="connsiteX8" fmla="*/ 619234 w 726878"/>
                <a:gd name="connsiteY8" fmla="*/ 378236 h 711977"/>
                <a:gd name="connsiteX0" fmla="*/ 527794 w 726878"/>
                <a:gd name="connsiteY0" fmla="*/ 286796 h 711977"/>
                <a:gd name="connsiteX1" fmla="*/ 171536 w 726878"/>
                <a:gd name="connsiteY1" fmla="*/ 643290 h 711977"/>
                <a:gd name="connsiteX2" fmla="*/ 120207 w 726878"/>
                <a:gd name="connsiteY2" fmla="*/ 711977 h 711977"/>
                <a:gd name="connsiteX3" fmla="*/ 71468 w 726878"/>
                <a:gd name="connsiteY3" fmla="*/ 652865 h 711977"/>
                <a:gd name="connsiteX4" fmla="*/ 0 w 726878"/>
                <a:gd name="connsiteY4" fmla="*/ 418742 h 711977"/>
                <a:gd name="connsiteX5" fmla="*/ 418464 w 726878"/>
                <a:gd name="connsiteY5" fmla="*/ 0 h 711977"/>
                <a:gd name="connsiteX6" fmla="*/ 714363 w 726878"/>
                <a:gd name="connsiteY6" fmla="*/ 122647 h 711977"/>
                <a:gd name="connsiteX7" fmla="*/ 726878 w 726878"/>
                <a:gd name="connsiteY7" fmla="*/ 137825 h 711977"/>
                <a:gd name="connsiteX0" fmla="*/ 171536 w 726878"/>
                <a:gd name="connsiteY0" fmla="*/ 643290 h 711977"/>
                <a:gd name="connsiteX1" fmla="*/ 120207 w 726878"/>
                <a:gd name="connsiteY1" fmla="*/ 711977 h 711977"/>
                <a:gd name="connsiteX2" fmla="*/ 71468 w 726878"/>
                <a:gd name="connsiteY2" fmla="*/ 652865 h 711977"/>
                <a:gd name="connsiteX3" fmla="*/ 0 w 726878"/>
                <a:gd name="connsiteY3" fmla="*/ 418742 h 711977"/>
                <a:gd name="connsiteX4" fmla="*/ 418464 w 726878"/>
                <a:gd name="connsiteY4" fmla="*/ 0 h 711977"/>
                <a:gd name="connsiteX5" fmla="*/ 714363 w 726878"/>
                <a:gd name="connsiteY5" fmla="*/ 122647 h 711977"/>
                <a:gd name="connsiteX6" fmla="*/ 726878 w 726878"/>
                <a:gd name="connsiteY6" fmla="*/ 137825 h 711977"/>
                <a:gd name="connsiteX0" fmla="*/ 120207 w 726878"/>
                <a:gd name="connsiteY0" fmla="*/ 711977 h 711977"/>
                <a:gd name="connsiteX1" fmla="*/ 71468 w 726878"/>
                <a:gd name="connsiteY1" fmla="*/ 652865 h 711977"/>
                <a:gd name="connsiteX2" fmla="*/ 0 w 726878"/>
                <a:gd name="connsiteY2" fmla="*/ 418742 h 711977"/>
                <a:gd name="connsiteX3" fmla="*/ 418464 w 726878"/>
                <a:gd name="connsiteY3" fmla="*/ 0 h 711977"/>
                <a:gd name="connsiteX4" fmla="*/ 714363 w 726878"/>
                <a:gd name="connsiteY4" fmla="*/ 122647 h 711977"/>
                <a:gd name="connsiteX5" fmla="*/ 726878 w 726878"/>
                <a:gd name="connsiteY5" fmla="*/ 137825 h 71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6878" h="711977">
                  <a:moveTo>
                    <a:pt x="120207" y="711977"/>
                  </a:moveTo>
                  <a:lnTo>
                    <a:pt x="71468" y="652865"/>
                  </a:lnTo>
                  <a:cubicBezTo>
                    <a:pt x="26347" y="586033"/>
                    <a:pt x="0" y="505467"/>
                    <a:pt x="0" y="418742"/>
                  </a:cubicBezTo>
                  <a:cubicBezTo>
                    <a:pt x="0" y="187477"/>
                    <a:pt x="187353" y="0"/>
                    <a:pt x="418464" y="0"/>
                  </a:cubicBezTo>
                  <a:cubicBezTo>
                    <a:pt x="534020" y="0"/>
                    <a:pt x="638636" y="46869"/>
                    <a:pt x="714363" y="122647"/>
                  </a:cubicBezTo>
                  <a:lnTo>
                    <a:pt x="726878" y="137825"/>
                  </a:lnTo>
                </a:path>
              </a:pathLst>
            </a:custGeom>
            <a:solidFill>
              <a:srgbClr val="243A5E"/>
            </a:solid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4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endParaRPr>
            </a:p>
          </p:txBody>
        </p:sp>
        <p:sp>
          <p:nvSpPr>
            <p:cNvPr id="43" name="Graphic 35">
              <a:extLst>
                <a:ext uri="{FF2B5EF4-FFF2-40B4-BE49-F238E27FC236}">
                  <a16:creationId xmlns:a16="http://schemas.microsoft.com/office/drawing/2014/main" id="{CA418C6D-9A2B-47CC-84CC-253D0A834A66}"/>
                </a:ext>
                <a:ext uri="{C183D7F6-B498-43B3-948B-1728B52AA6E4}">
                  <adec:decorative xmlns:adec="http://schemas.microsoft.com/office/drawing/2017/decorative" val="1"/>
                </a:ext>
              </a:extLst>
            </p:cNvPr>
            <p:cNvSpPr/>
            <p:nvPr userDrawn="1"/>
          </p:nvSpPr>
          <p:spPr>
            <a:xfrm>
              <a:off x="11059429" y="5247392"/>
              <a:ext cx="757574" cy="758952"/>
            </a:xfrm>
            <a:prstGeom prst="ellipse">
              <a:avLst/>
            </a:prstGeom>
            <a:no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4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endParaRPr>
            </a:p>
          </p:txBody>
        </p:sp>
        <p:sp>
          <p:nvSpPr>
            <p:cNvPr id="44" name="Graphic 35">
              <a:extLst>
                <a:ext uri="{FF2B5EF4-FFF2-40B4-BE49-F238E27FC236}">
                  <a16:creationId xmlns:a16="http://schemas.microsoft.com/office/drawing/2014/main" id="{F5C3FC1D-7E1F-4DE7-8AA2-FA5E4512ED85}"/>
                </a:ext>
                <a:ext uri="{C183D7F6-B498-43B3-948B-1728B52AA6E4}">
                  <adec:decorative xmlns:adec="http://schemas.microsoft.com/office/drawing/2017/decorative" val="1"/>
                </a:ext>
              </a:extLst>
            </p:cNvPr>
            <p:cNvSpPr/>
            <p:nvPr userDrawn="1"/>
          </p:nvSpPr>
          <p:spPr>
            <a:xfrm>
              <a:off x="10209865" y="5247392"/>
              <a:ext cx="757574" cy="758952"/>
            </a:xfrm>
            <a:prstGeom prst="ellipse">
              <a:avLst/>
            </a:prstGeom>
            <a:solidFill>
              <a:schemeClr val="bg1">
                <a:alpha val="5000"/>
              </a:schemeClr>
            </a:solid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4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endParaRPr>
            </a:p>
          </p:txBody>
        </p:sp>
        <p:sp>
          <p:nvSpPr>
            <p:cNvPr id="41" name="Freeform: Shape 40">
              <a:extLst>
                <a:ext uri="{FF2B5EF4-FFF2-40B4-BE49-F238E27FC236}">
                  <a16:creationId xmlns:a16="http://schemas.microsoft.com/office/drawing/2014/main" id="{DB5A732F-A974-43C3-911E-9B880B1DFA2B}"/>
                </a:ext>
                <a:ext uri="{C183D7F6-B498-43B3-948B-1728B52AA6E4}">
                  <adec:decorative xmlns:adec="http://schemas.microsoft.com/office/drawing/2017/decorative" val="1"/>
                </a:ext>
              </a:extLst>
            </p:cNvPr>
            <p:cNvSpPr/>
            <p:nvPr userDrawn="1"/>
          </p:nvSpPr>
          <p:spPr>
            <a:xfrm>
              <a:off x="8623965" y="5504205"/>
              <a:ext cx="2391144" cy="1490319"/>
            </a:xfrm>
            <a:custGeom>
              <a:avLst/>
              <a:gdLst>
                <a:gd name="connsiteX0" fmla="*/ 1195572 w 2391144"/>
                <a:gd name="connsiteY0" fmla="*/ 0 h 1490319"/>
                <a:gd name="connsiteX1" fmla="*/ 2391144 w 2391144"/>
                <a:gd name="connsiteY1" fmla="*/ 1196538 h 1490319"/>
                <a:gd name="connsiteX2" fmla="*/ 2366854 w 2391144"/>
                <a:gd name="connsiteY2" fmla="*/ 1437683 h 1490319"/>
                <a:gd name="connsiteX3" fmla="*/ 2350528 w 2391144"/>
                <a:gd name="connsiteY3" fmla="*/ 1490319 h 1490319"/>
                <a:gd name="connsiteX4" fmla="*/ 40616 w 2391144"/>
                <a:gd name="connsiteY4" fmla="*/ 1490319 h 1490319"/>
                <a:gd name="connsiteX5" fmla="*/ 24290 w 2391144"/>
                <a:gd name="connsiteY5" fmla="*/ 1437683 h 1490319"/>
                <a:gd name="connsiteX6" fmla="*/ 0 w 2391144"/>
                <a:gd name="connsiteY6" fmla="*/ 1196538 h 1490319"/>
                <a:gd name="connsiteX7" fmla="*/ 1195572 w 2391144"/>
                <a:gd name="connsiteY7" fmla="*/ 0 h 1490319"/>
                <a:gd name="connsiteX0" fmla="*/ 1195572 w 2391144"/>
                <a:gd name="connsiteY0" fmla="*/ 0 h 1506195"/>
                <a:gd name="connsiteX1" fmla="*/ 2391144 w 2391144"/>
                <a:gd name="connsiteY1" fmla="*/ 1196538 h 1506195"/>
                <a:gd name="connsiteX2" fmla="*/ 2366854 w 2391144"/>
                <a:gd name="connsiteY2" fmla="*/ 1437683 h 1506195"/>
                <a:gd name="connsiteX3" fmla="*/ 2350528 w 2391144"/>
                <a:gd name="connsiteY3" fmla="*/ 1490319 h 1506195"/>
                <a:gd name="connsiteX4" fmla="*/ 1205835 w 2391144"/>
                <a:gd name="connsiteY4" fmla="*/ 1506195 h 1506195"/>
                <a:gd name="connsiteX5" fmla="*/ 40616 w 2391144"/>
                <a:gd name="connsiteY5" fmla="*/ 1490319 h 1506195"/>
                <a:gd name="connsiteX6" fmla="*/ 24290 w 2391144"/>
                <a:gd name="connsiteY6" fmla="*/ 1437683 h 1506195"/>
                <a:gd name="connsiteX7" fmla="*/ 0 w 2391144"/>
                <a:gd name="connsiteY7" fmla="*/ 1196538 h 1506195"/>
                <a:gd name="connsiteX8" fmla="*/ 1195572 w 2391144"/>
                <a:gd name="connsiteY8" fmla="*/ 0 h 1506195"/>
                <a:gd name="connsiteX0" fmla="*/ 1205835 w 2391144"/>
                <a:gd name="connsiteY0" fmla="*/ 1506195 h 1597635"/>
                <a:gd name="connsiteX1" fmla="*/ 40616 w 2391144"/>
                <a:gd name="connsiteY1" fmla="*/ 1490319 h 1597635"/>
                <a:gd name="connsiteX2" fmla="*/ 24290 w 2391144"/>
                <a:gd name="connsiteY2" fmla="*/ 1437683 h 1597635"/>
                <a:gd name="connsiteX3" fmla="*/ 0 w 2391144"/>
                <a:gd name="connsiteY3" fmla="*/ 1196538 h 1597635"/>
                <a:gd name="connsiteX4" fmla="*/ 1195572 w 2391144"/>
                <a:gd name="connsiteY4" fmla="*/ 0 h 1597635"/>
                <a:gd name="connsiteX5" fmla="*/ 2391144 w 2391144"/>
                <a:gd name="connsiteY5" fmla="*/ 1196538 h 1597635"/>
                <a:gd name="connsiteX6" fmla="*/ 2366854 w 2391144"/>
                <a:gd name="connsiteY6" fmla="*/ 1437683 h 1597635"/>
                <a:gd name="connsiteX7" fmla="*/ 2350528 w 2391144"/>
                <a:gd name="connsiteY7" fmla="*/ 1490319 h 1597635"/>
                <a:gd name="connsiteX8" fmla="*/ 1297275 w 2391144"/>
                <a:gd name="connsiteY8" fmla="*/ 1597635 h 1597635"/>
                <a:gd name="connsiteX0" fmla="*/ 1205835 w 2391144"/>
                <a:gd name="connsiteY0" fmla="*/ 1506195 h 1506195"/>
                <a:gd name="connsiteX1" fmla="*/ 40616 w 2391144"/>
                <a:gd name="connsiteY1" fmla="*/ 1490319 h 1506195"/>
                <a:gd name="connsiteX2" fmla="*/ 24290 w 2391144"/>
                <a:gd name="connsiteY2" fmla="*/ 1437683 h 1506195"/>
                <a:gd name="connsiteX3" fmla="*/ 0 w 2391144"/>
                <a:gd name="connsiteY3" fmla="*/ 1196538 h 1506195"/>
                <a:gd name="connsiteX4" fmla="*/ 1195572 w 2391144"/>
                <a:gd name="connsiteY4" fmla="*/ 0 h 1506195"/>
                <a:gd name="connsiteX5" fmla="*/ 2391144 w 2391144"/>
                <a:gd name="connsiteY5" fmla="*/ 1196538 h 1506195"/>
                <a:gd name="connsiteX6" fmla="*/ 2366854 w 2391144"/>
                <a:gd name="connsiteY6" fmla="*/ 1437683 h 1506195"/>
                <a:gd name="connsiteX7" fmla="*/ 2350528 w 2391144"/>
                <a:gd name="connsiteY7" fmla="*/ 1490319 h 1506195"/>
                <a:gd name="connsiteX0" fmla="*/ 40616 w 2391144"/>
                <a:gd name="connsiteY0" fmla="*/ 1490319 h 1490319"/>
                <a:gd name="connsiteX1" fmla="*/ 24290 w 2391144"/>
                <a:gd name="connsiteY1" fmla="*/ 1437683 h 1490319"/>
                <a:gd name="connsiteX2" fmla="*/ 0 w 2391144"/>
                <a:gd name="connsiteY2" fmla="*/ 1196538 h 1490319"/>
                <a:gd name="connsiteX3" fmla="*/ 1195572 w 2391144"/>
                <a:gd name="connsiteY3" fmla="*/ 0 h 1490319"/>
                <a:gd name="connsiteX4" fmla="*/ 2391144 w 2391144"/>
                <a:gd name="connsiteY4" fmla="*/ 1196538 h 1490319"/>
                <a:gd name="connsiteX5" fmla="*/ 2366854 w 2391144"/>
                <a:gd name="connsiteY5" fmla="*/ 1437683 h 1490319"/>
                <a:gd name="connsiteX6" fmla="*/ 2350528 w 2391144"/>
                <a:gd name="connsiteY6" fmla="*/ 1490319 h 149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1144" h="1490319">
                  <a:moveTo>
                    <a:pt x="40616" y="1490319"/>
                  </a:moveTo>
                  <a:lnTo>
                    <a:pt x="24290" y="1437683"/>
                  </a:lnTo>
                  <a:cubicBezTo>
                    <a:pt x="8364" y="1359791"/>
                    <a:pt x="0" y="1279142"/>
                    <a:pt x="0" y="1196538"/>
                  </a:cubicBezTo>
                  <a:cubicBezTo>
                    <a:pt x="0" y="535708"/>
                    <a:pt x="535276" y="0"/>
                    <a:pt x="1195572" y="0"/>
                  </a:cubicBezTo>
                  <a:cubicBezTo>
                    <a:pt x="1855868" y="0"/>
                    <a:pt x="2391144" y="535708"/>
                    <a:pt x="2391144" y="1196538"/>
                  </a:cubicBezTo>
                  <a:cubicBezTo>
                    <a:pt x="2391144" y="1279142"/>
                    <a:pt x="2382780" y="1359791"/>
                    <a:pt x="2366854" y="1437683"/>
                  </a:cubicBezTo>
                  <a:lnTo>
                    <a:pt x="2350528" y="1490319"/>
                  </a:lnTo>
                </a:path>
              </a:pathLst>
            </a:custGeom>
            <a:no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4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endParaRPr>
            </a:p>
          </p:txBody>
        </p:sp>
        <p:sp>
          <p:nvSpPr>
            <p:cNvPr id="46" name="Graphic 35">
              <a:extLst>
                <a:ext uri="{FF2B5EF4-FFF2-40B4-BE49-F238E27FC236}">
                  <a16:creationId xmlns:a16="http://schemas.microsoft.com/office/drawing/2014/main" id="{D54D9190-78E5-4589-A1C1-986ED89757BE}"/>
                </a:ext>
                <a:ext uri="{C183D7F6-B498-43B3-948B-1728B52AA6E4}">
                  <adec:decorative xmlns:adec="http://schemas.microsoft.com/office/drawing/2017/decorative" val="1"/>
                </a:ext>
              </a:extLst>
            </p:cNvPr>
            <p:cNvSpPr/>
            <p:nvPr userDrawn="1"/>
          </p:nvSpPr>
          <p:spPr>
            <a:xfrm>
              <a:off x="10273164" y="3169078"/>
              <a:ext cx="1918689" cy="1920240"/>
            </a:xfrm>
            <a:prstGeom prst="ellipse">
              <a:avLst/>
            </a:prstGeom>
            <a:no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4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endParaRPr>
            </a:p>
          </p:txBody>
        </p:sp>
        <p:sp>
          <p:nvSpPr>
            <p:cNvPr id="59" name="Oval 58">
              <a:extLst>
                <a:ext uri="{FF2B5EF4-FFF2-40B4-BE49-F238E27FC236}">
                  <a16:creationId xmlns:a16="http://schemas.microsoft.com/office/drawing/2014/main" id="{EDF7CFF5-1974-4F2C-ABBB-71BF4232A1B8}"/>
                </a:ext>
                <a:ext uri="{C183D7F6-B498-43B3-948B-1728B52AA6E4}">
                  <adec:decorative xmlns:adec="http://schemas.microsoft.com/office/drawing/2017/decorative" val="1"/>
                </a:ext>
              </a:extLst>
            </p:cNvPr>
            <p:cNvSpPr/>
            <p:nvPr userDrawn="1"/>
          </p:nvSpPr>
          <p:spPr>
            <a:xfrm>
              <a:off x="11672692" y="4600120"/>
              <a:ext cx="515986" cy="512064"/>
            </a:xfrm>
            <a:prstGeom prst="ellipse">
              <a:avLst/>
            </a:prstGeom>
            <a:solidFill>
              <a:srgbClr val="243A5E"/>
            </a:solidFill>
            <a:ln w="10795" cap="flat" cmpd="sng" algn="ctr">
              <a:solidFill>
                <a:schemeClr val="bg1">
                  <a:alpha val="9000"/>
                </a:schemeClr>
              </a:solidFill>
              <a:prstDash val="solid"/>
            </a:ln>
            <a:effectLst/>
          </p:spPr>
          <p:txBody>
            <a:bodyPr spcFirstLastPara="0" vert="horz" wrap="square" lIns="0" tIns="0" rIns="0" bIns="0" numCol="1" spcCol="1270" anchor="ctr" anchorCtr="0">
              <a:noAutofit/>
            </a:bodyPr>
            <a:lstStyle/>
            <a:p>
              <a:pPr marL="0" marR="0" lvl="0" indent="0" algn="ctr" defTabSz="91434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endParaRPr>
            </a:p>
          </p:txBody>
        </p:sp>
        <p:pic>
          <p:nvPicPr>
            <p:cNvPr id="38" name="Picture 37">
              <a:extLst>
                <a:ext uri="{FF2B5EF4-FFF2-40B4-BE49-F238E27FC236}">
                  <a16:creationId xmlns:a16="http://schemas.microsoft.com/office/drawing/2014/main" id="{B7694C20-94BE-4332-A5E0-82D9511AAC01}"/>
                </a:ext>
                <a:ext uri="{C183D7F6-B498-43B3-948B-1728B52AA6E4}">
                  <adec:decorative xmlns:adec="http://schemas.microsoft.com/office/drawing/2017/decorative" val="1"/>
                </a:ext>
              </a:extLst>
            </p:cNvPr>
            <p:cNvPicPr>
              <a:picLocks noChangeAspect="1"/>
            </p:cNvPicPr>
            <p:nvPr userDrawn="1"/>
          </p:nvPicPr>
          <p:blipFill>
            <a:blip r:embed="rId3">
              <a:alphaModFix amt="19000"/>
            </a:blip>
            <a:stretch>
              <a:fillRect/>
            </a:stretch>
          </p:blipFill>
          <p:spPr>
            <a:xfrm>
              <a:off x="6500282" y="759203"/>
              <a:ext cx="5482168" cy="5476118"/>
            </a:xfrm>
            <a:prstGeom prst="rect">
              <a:avLst/>
            </a:prstGeom>
          </p:spPr>
        </p:pic>
        <p:sp>
          <p:nvSpPr>
            <p:cNvPr id="42" name="Graphic 35">
              <a:extLst>
                <a:ext uri="{FF2B5EF4-FFF2-40B4-BE49-F238E27FC236}">
                  <a16:creationId xmlns:a16="http://schemas.microsoft.com/office/drawing/2014/main" id="{795774E4-E8BE-47F7-9960-4CD3F5FA4CE3}"/>
                </a:ext>
                <a:ext uri="{C183D7F6-B498-43B3-948B-1728B52AA6E4}">
                  <adec:decorative xmlns:adec="http://schemas.microsoft.com/office/drawing/2017/decorative" val="1"/>
                </a:ext>
              </a:extLst>
            </p:cNvPr>
            <p:cNvSpPr/>
            <p:nvPr userDrawn="1"/>
          </p:nvSpPr>
          <p:spPr>
            <a:xfrm>
              <a:off x="10803969" y="6168740"/>
              <a:ext cx="604853" cy="605953"/>
            </a:xfrm>
            <a:prstGeom prst="ellipse">
              <a:avLst/>
            </a:prstGeom>
            <a:solidFill>
              <a:srgbClr val="243A5E"/>
            </a:solidFill>
            <a:ln w="10795" cap="flat" cmpd="sng" algn="ctr">
              <a:solidFill>
                <a:schemeClr val="bg1">
                  <a:alpha val="9000"/>
                </a:schemeClr>
              </a:solidFill>
              <a:prstDash val="solid"/>
            </a:ln>
            <a:effectLst/>
          </p:spPr>
          <p:txBody>
            <a:bodyPr spcFirstLastPara="0" vert="horz" wrap="square" lIns="0" tIns="0" rIns="0" bIns="0" numCol="1" spcCol="1270" anchor="ctr" anchorCtr="0">
              <a:noAutofit/>
            </a:bodyPr>
            <a:lstStyle/>
            <a:p>
              <a:pPr marR="0" lvl="0" indent="0" algn="ctr" fontAlgn="auto">
                <a:lnSpc>
                  <a:spcPct val="100000"/>
                </a:lnSpc>
                <a:spcBef>
                  <a:spcPct val="20000"/>
                </a:spcBef>
                <a:spcAft>
                  <a:spcPts val="0"/>
                </a:spcAft>
                <a:buClrTx/>
                <a:buSzPct val="90000"/>
                <a:buFont typeface="Wingdings" panose="05000000000000000000" pitchFamily="2" charset="2"/>
                <a:buNone/>
                <a:tabLst/>
              </a:pPr>
              <a:endParaRPr kumimoji="0" lang="en-GB" sz="2353" b="0" i="0" u="none" strike="noStrike" cap="none" spc="0" normalizeH="0" baseline="0" noProof="0">
                <a:ln>
                  <a:noFill/>
                </a:ln>
                <a:solidFill>
                  <a:schemeClr val="bg1"/>
                </a:solidFill>
                <a:effectLst/>
                <a:uLnTx/>
                <a:uFillTx/>
                <a:latin typeface="Segoe UI Semibold"/>
                <a:cs typeface="Segoe UI" panose="020B0502040204020203" pitchFamily="34" charset="0"/>
              </a:endParaRPr>
            </a:p>
          </p:txBody>
        </p:sp>
        <p:pic>
          <p:nvPicPr>
            <p:cNvPr id="47" name="Picture 46">
              <a:extLst>
                <a:ext uri="{FF2B5EF4-FFF2-40B4-BE49-F238E27FC236}">
                  <a16:creationId xmlns:a16="http://schemas.microsoft.com/office/drawing/2014/main" id="{0ABD9A98-17B5-4E8F-B539-B58EBEB07C1B}"/>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6533720" y="835123"/>
              <a:ext cx="5366181" cy="5376672"/>
            </a:xfrm>
            <a:prstGeom prst="rect">
              <a:avLst/>
            </a:prstGeom>
          </p:spPr>
        </p:pic>
        <p:sp>
          <p:nvSpPr>
            <p:cNvPr id="19" name="Oval 18">
              <a:extLst>
                <a:ext uri="{FF2B5EF4-FFF2-40B4-BE49-F238E27FC236}">
                  <a16:creationId xmlns:a16="http://schemas.microsoft.com/office/drawing/2014/main" id="{1EEA2B05-58F8-4F9D-8FD3-B37F8B10127D}"/>
                </a:ext>
                <a:ext uri="{C183D7F6-B498-43B3-948B-1728B52AA6E4}">
                  <adec:decorative xmlns:adec="http://schemas.microsoft.com/office/drawing/2017/decorative" val="1"/>
                </a:ext>
              </a:extLst>
            </p:cNvPr>
            <p:cNvSpPr/>
            <p:nvPr userDrawn="1"/>
          </p:nvSpPr>
          <p:spPr bwMode="auto">
            <a:xfrm>
              <a:off x="8946545" y="5410199"/>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4D6AEBAA-ABCD-48D5-AA15-D9C207FB6193}"/>
                </a:ext>
                <a:ext uri="{C183D7F6-B498-43B3-948B-1728B52AA6E4}">
                  <adec:decorative xmlns:adec="http://schemas.microsoft.com/office/drawing/2017/decorative" val="1"/>
                </a:ext>
              </a:extLst>
            </p:cNvPr>
            <p:cNvSpPr/>
            <p:nvPr userDrawn="1"/>
          </p:nvSpPr>
          <p:spPr bwMode="auto">
            <a:xfrm>
              <a:off x="6998607" y="2114549"/>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7" name="Oval 16">
              <a:extLst>
                <a:ext uri="{FF2B5EF4-FFF2-40B4-BE49-F238E27FC236}">
                  <a16:creationId xmlns:a16="http://schemas.microsoft.com/office/drawing/2014/main" id="{E9797D91-713C-4644-9695-F0815F99B77D}"/>
                </a:ext>
                <a:ext uri="{C183D7F6-B498-43B3-948B-1728B52AA6E4}">
                  <adec:decorative xmlns:adec="http://schemas.microsoft.com/office/drawing/2017/decorative" val="1"/>
                </a:ext>
              </a:extLst>
            </p:cNvPr>
            <p:cNvSpPr/>
            <p:nvPr userDrawn="1"/>
          </p:nvSpPr>
          <p:spPr bwMode="auto">
            <a:xfrm>
              <a:off x="7036707" y="4290333"/>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8" name="Oval 17">
              <a:extLst>
                <a:ext uri="{FF2B5EF4-FFF2-40B4-BE49-F238E27FC236}">
                  <a16:creationId xmlns:a16="http://schemas.microsoft.com/office/drawing/2014/main" id="{CAFEB445-05E0-45AF-93F8-D2545A042E4B}"/>
                </a:ext>
                <a:ext uri="{C183D7F6-B498-43B3-948B-1728B52AA6E4}">
                  <adec:decorative xmlns:adec="http://schemas.microsoft.com/office/drawing/2017/decorative" val="1"/>
                </a:ext>
              </a:extLst>
            </p:cNvPr>
            <p:cNvSpPr/>
            <p:nvPr userDrawn="1"/>
          </p:nvSpPr>
          <p:spPr bwMode="auto">
            <a:xfrm>
              <a:off x="10887453" y="4290333"/>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0" name="Oval 19">
              <a:extLst>
                <a:ext uri="{FF2B5EF4-FFF2-40B4-BE49-F238E27FC236}">
                  <a16:creationId xmlns:a16="http://schemas.microsoft.com/office/drawing/2014/main" id="{CCD9815F-CE8E-4940-BE1A-9FE6C0C4CFE4}"/>
                </a:ext>
                <a:ext uri="{C183D7F6-B498-43B3-948B-1728B52AA6E4}">
                  <adec:decorative xmlns:adec="http://schemas.microsoft.com/office/drawing/2017/decorative" val="1"/>
                </a:ext>
              </a:extLst>
            </p:cNvPr>
            <p:cNvSpPr/>
            <p:nvPr userDrawn="1"/>
          </p:nvSpPr>
          <p:spPr bwMode="auto">
            <a:xfrm>
              <a:off x="10975370" y="2114549"/>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1" name="Oval 20">
              <a:extLst>
                <a:ext uri="{FF2B5EF4-FFF2-40B4-BE49-F238E27FC236}">
                  <a16:creationId xmlns:a16="http://schemas.microsoft.com/office/drawing/2014/main" id="{654EBE60-00E5-428E-8756-07ADDB45C9D0}"/>
                </a:ext>
                <a:ext uri="{C183D7F6-B498-43B3-948B-1728B52AA6E4}">
                  <adec:decorative xmlns:adec="http://schemas.microsoft.com/office/drawing/2017/decorative" val="1"/>
                </a:ext>
              </a:extLst>
            </p:cNvPr>
            <p:cNvSpPr/>
            <p:nvPr userDrawn="1"/>
          </p:nvSpPr>
          <p:spPr bwMode="auto">
            <a:xfrm>
              <a:off x="8946545" y="914399"/>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13118AB9-3290-4DB6-AFB7-7208CF9C6DCE}"/>
                </a:ext>
                <a:ext uri="{C183D7F6-B498-43B3-948B-1728B52AA6E4}">
                  <adec:decorative xmlns:adec="http://schemas.microsoft.com/office/drawing/2017/decorative" val="1"/>
                </a:ext>
              </a:extLst>
            </p:cNvPr>
            <p:cNvSpPr/>
            <p:nvPr/>
          </p:nvSpPr>
          <p:spPr>
            <a:xfrm>
              <a:off x="9186210" y="1179292"/>
              <a:ext cx="189506" cy="185835"/>
            </a:xfrm>
            <a:custGeom>
              <a:avLst/>
              <a:gdLst>
                <a:gd name="connsiteX0" fmla="*/ 799780 w 919538"/>
                <a:gd name="connsiteY0" fmla="*/ 751179 h 901721"/>
                <a:gd name="connsiteX1" fmla="*/ 771586 w 919538"/>
                <a:gd name="connsiteY1" fmla="*/ 117766 h 901721"/>
                <a:gd name="connsiteX2" fmla="*/ 121981 w 919538"/>
                <a:gd name="connsiteY2" fmla="*/ 145579 h 901721"/>
                <a:gd name="connsiteX3" fmla="*/ 150175 w 919538"/>
                <a:gd name="connsiteY3" fmla="*/ 784612 h 901721"/>
                <a:gd name="connsiteX4" fmla="*/ 799780 w 919538"/>
                <a:gd name="connsiteY4" fmla="*/ 751179 h 901721"/>
                <a:gd name="connsiteX5" fmla="*/ 799780 w 919538"/>
                <a:gd name="connsiteY5" fmla="*/ 751179 h 901721"/>
                <a:gd name="connsiteX6" fmla="*/ 799780 w 919538"/>
                <a:gd name="connsiteY6" fmla="*/ 751179 h 901721"/>
                <a:gd name="connsiteX7" fmla="*/ 799780 w 919538"/>
                <a:gd name="connsiteY7" fmla="*/ 751179 h 90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538" h="901721">
                  <a:moveTo>
                    <a:pt x="799780" y="751179"/>
                  </a:moveTo>
                  <a:cubicBezTo>
                    <a:pt x="969230" y="567823"/>
                    <a:pt x="957991" y="284454"/>
                    <a:pt x="771586" y="117766"/>
                  </a:cubicBezTo>
                  <a:cubicBezTo>
                    <a:pt x="585182" y="-48921"/>
                    <a:pt x="291431" y="-37777"/>
                    <a:pt x="121981" y="145579"/>
                  </a:cubicBezTo>
                  <a:cubicBezTo>
                    <a:pt x="-53088" y="328936"/>
                    <a:pt x="-36229" y="617924"/>
                    <a:pt x="150175" y="784612"/>
                  </a:cubicBezTo>
                  <a:cubicBezTo>
                    <a:pt x="336580" y="951204"/>
                    <a:pt x="624616" y="940060"/>
                    <a:pt x="799780" y="751179"/>
                  </a:cubicBezTo>
                  <a:lnTo>
                    <a:pt x="799780" y="751179"/>
                  </a:lnTo>
                  <a:lnTo>
                    <a:pt x="799780" y="751179"/>
                  </a:lnTo>
                  <a:lnTo>
                    <a:pt x="799780" y="751179"/>
                  </a:lnTo>
                  <a:close/>
                </a:path>
              </a:pathLst>
            </a:custGeom>
            <a:noFill/>
            <a:ln w="12700" cap="sq">
              <a:solidFill>
                <a:schemeClr val="bg1"/>
              </a:solidFill>
              <a:prstDash val="solid"/>
              <a:miter/>
            </a:ln>
          </p:spPr>
          <p:txBody>
            <a:bodyPr rtlCol="0" anchor="ctr"/>
            <a:lstStyle/>
            <a:p>
              <a:endParaRPr lang="en-IN" sz="1765"/>
            </a:p>
          </p:txBody>
        </p:sp>
        <p:sp>
          <p:nvSpPr>
            <p:cNvPr id="57" name="Freeform: Shape 56">
              <a:extLst>
                <a:ext uri="{FF2B5EF4-FFF2-40B4-BE49-F238E27FC236}">
                  <a16:creationId xmlns:a16="http://schemas.microsoft.com/office/drawing/2014/main" id="{75C6843B-47CA-4381-80B1-55CCA4B1589D}"/>
                </a:ext>
                <a:ext uri="{C183D7F6-B498-43B3-948B-1728B52AA6E4}">
                  <adec:decorative xmlns:adec="http://schemas.microsoft.com/office/drawing/2017/decorative" val="1"/>
                </a:ext>
              </a:extLst>
            </p:cNvPr>
            <p:cNvSpPr/>
            <p:nvPr/>
          </p:nvSpPr>
          <p:spPr>
            <a:xfrm>
              <a:off x="9107016" y="1053314"/>
              <a:ext cx="204269" cy="287284"/>
            </a:xfrm>
            <a:custGeom>
              <a:avLst/>
              <a:gdLst>
                <a:gd name="connsiteX0" fmla="*/ 405479 w 991171"/>
                <a:gd name="connsiteY0" fmla="*/ 1393984 h 1393983"/>
                <a:gd name="connsiteX1" fmla="*/ 0 w 991171"/>
                <a:gd name="connsiteY1" fmla="*/ 1393984 h 1393983"/>
                <a:gd name="connsiteX2" fmla="*/ 0 w 991171"/>
                <a:gd name="connsiteY2" fmla="*/ 0 h 1393983"/>
                <a:gd name="connsiteX3" fmla="*/ 991172 w 991171"/>
                <a:gd name="connsiteY3" fmla="*/ 762 h 1393983"/>
                <a:gd name="connsiteX4" fmla="*/ 991172 w 991171"/>
                <a:gd name="connsiteY4" fmla="*/ 533114 h 139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71" h="1393983">
                  <a:moveTo>
                    <a:pt x="405479" y="1393984"/>
                  </a:moveTo>
                  <a:cubicBezTo>
                    <a:pt x="0" y="1393984"/>
                    <a:pt x="0" y="1393984"/>
                    <a:pt x="0" y="1393984"/>
                  </a:cubicBezTo>
                  <a:lnTo>
                    <a:pt x="0" y="0"/>
                  </a:lnTo>
                  <a:lnTo>
                    <a:pt x="991172" y="762"/>
                  </a:lnTo>
                  <a:cubicBezTo>
                    <a:pt x="991172" y="533114"/>
                    <a:pt x="991172" y="533114"/>
                    <a:pt x="991172" y="533114"/>
                  </a:cubicBezTo>
                </a:path>
              </a:pathLst>
            </a:custGeom>
            <a:noFill/>
            <a:ln w="12700" cap="sq">
              <a:solidFill>
                <a:schemeClr val="bg1"/>
              </a:solidFill>
              <a:prstDash val="solid"/>
              <a:miter/>
            </a:ln>
          </p:spPr>
          <p:txBody>
            <a:bodyPr rtlCol="0" anchor="ctr"/>
            <a:lstStyle/>
            <a:p>
              <a:endParaRPr lang="en-IN" sz="1765"/>
            </a:p>
          </p:txBody>
        </p:sp>
        <p:sp>
          <p:nvSpPr>
            <p:cNvPr id="58" name="Freeform: Shape 57">
              <a:extLst>
                <a:ext uri="{FF2B5EF4-FFF2-40B4-BE49-F238E27FC236}">
                  <a16:creationId xmlns:a16="http://schemas.microsoft.com/office/drawing/2014/main" id="{15FA5CF6-8B3B-44C0-A304-D01922BFEF67}"/>
                </a:ext>
                <a:ext uri="{C183D7F6-B498-43B3-948B-1728B52AA6E4}">
                  <adec:decorative xmlns:adec="http://schemas.microsoft.com/office/drawing/2017/decorative" val="1"/>
                </a:ext>
              </a:extLst>
            </p:cNvPr>
            <p:cNvSpPr/>
            <p:nvPr/>
          </p:nvSpPr>
          <p:spPr>
            <a:xfrm>
              <a:off x="9226091" y="1245923"/>
              <a:ext cx="106904" cy="66703"/>
            </a:xfrm>
            <a:custGeom>
              <a:avLst/>
              <a:gdLst>
                <a:gd name="connsiteX0" fmla="*/ 0 w 518731"/>
                <a:gd name="connsiteY0" fmla="*/ 145828 h 323659"/>
                <a:gd name="connsiteX1" fmla="*/ 150304 w 518731"/>
                <a:gd name="connsiteY1" fmla="*/ 323660 h 323659"/>
                <a:gd name="connsiteX2" fmla="*/ 518732 w 518731"/>
                <a:gd name="connsiteY2" fmla="*/ 0 h 323659"/>
              </a:gdLst>
              <a:ahLst/>
              <a:cxnLst>
                <a:cxn ang="0">
                  <a:pos x="connsiteX0" y="connsiteY0"/>
                </a:cxn>
                <a:cxn ang="0">
                  <a:pos x="connsiteX1" y="connsiteY1"/>
                </a:cxn>
                <a:cxn ang="0">
                  <a:pos x="connsiteX2" y="connsiteY2"/>
                </a:cxn>
              </a:cxnLst>
              <a:rect l="l" t="t" r="r" b="b"/>
              <a:pathLst>
                <a:path w="518731" h="323659">
                  <a:moveTo>
                    <a:pt x="0" y="145828"/>
                  </a:moveTo>
                  <a:lnTo>
                    <a:pt x="150304" y="323660"/>
                  </a:lnTo>
                  <a:lnTo>
                    <a:pt x="518732" y="0"/>
                  </a:lnTo>
                </a:path>
              </a:pathLst>
            </a:custGeom>
            <a:noFill/>
            <a:ln w="12700" cap="sq">
              <a:solidFill>
                <a:schemeClr val="bg1"/>
              </a:solidFill>
              <a:prstDash val="solid"/>
              <a:miter/>
            </a:ln>
          </p:spPr>
          <p:txBody>
            <a:bodyPr rtlCol="0" anchor="ctr"/>
            <a:lstStyle/>
            <a:p>
              <a:endParaRPr lang="en-IN" sz="1765"/>
            </a:p>
          </p:txBody>
        </p:sp>
        <p:sp>
          <p:nvSpPr>
            <p:cNvPr id="60" name="Freeform: Shape 59">
              <a:extLst>
                <a:ext uri="{FF2B5EF4-FFF2-40B4-BE49-F238E27FC236}">
                  <a16:creationId xmlns:a16="http://schemas.microsoft.com/office/drawing/2014/main" id="{20E277B0-C39E-45CB-8D4C-1F429E5172C4}"/>
                </a:ext>
                <a:ext uri="{C183D7F6-B498-43B3-948B-1728B52AA6E4}">
                  <adec:decorative xmlns:adec="http://schemas.microsoft.com/office/drawing/2017/decorative" val="1"/>
                </a:ext>
              </a:extLst>
            </p:cNvPr>
            <p:cNvSpPr/>
            <p:nvPr/>
          </p:nvSpPr>
          <p:spPr>
            <a:xfrm>
              <a:off x="9122622" y="1074828"/>
              <a:ext cx="167207" cy="226942"/>
            </a:xfrm>
            <a:custGeom>
              <a:avLst/>
              <a:gdLst>
                <a:gd name="connsiteX0" fmla="*/ 166402 w 811339"/>
                <a:gd name="connsiteY0" fmla="*/ 0 h 1101185"/>
                <a:gd name="connsiteX1" fmla="*/ 645033 w 811339"/>
                <a:gd name="connsiteY1" fmla="*/ 0 h 1101185"/>
                <a:gd name="connsiteX2" fmla="*/ 0 w 811339"/>
                <a:gd name="connsiteY2" fmla="*/ 183547 h 1101185"/>
                <a:gd name="connsiteX3" fmla="*/ 811340 w 811339"/>
                <a:gd name="connsiteY3" fmla="*/ 183547 h 1101185"/>
                <a:gd name="connsiteX4" fmla="*/ 0 w 811339"/>
                <a:gd name="connsiteY4" fmla="*/ 367093 h 1101185"/>
                <a:gd name="connsiteX5" fmla="*/ 811340 w 811339"/>
                <a:gd name="connsiteY5" fmla="*/ 367093 h 1101185"/>
                <a:gd name="connsiteX6" fmla="*/ 0 w 811339"/>
                <a:gd name="connsiteY6" fmla="*/ 550640 h 1101185"/>
                <a:gd name="connsiteX7" fmla="*/ 459581 w 811339"/>
                <a:gd name="connsiteY7" fmla="*/ 550640 h 1101185"/>
                <a:gd name="connsiteX8" fmla="*/ 0 w 811339"/>
                <a:gd name="connsiteY8" fmla="*/ 734187 h 1101185"/>
                <a:gd name="connsiteX9" fmla="*/ 316135 w 811339"/>
                <a:gd name="connsiteY9" fmla="*/ 734187 h 1101185"/>
                <a:gd name="connsiteX10" fmla="*/ 0 w 811339"/>
                <a:gd name="connsiteY10" fmla="*/ 917639 h 1101185"/>
                <a:gd name="connsiteX11" fmla="*/ 275177 w 811339"/>
                <a:gd name="connsiteY11" fmla="*/ 917639 h 1101185"/>
                <a:gd name="connsiteX12" fmla="*/ 0 w 811339"/>
                <a:gd name="connsiteY12" fmla="*/ 1101185 h 1101185"/>
                <a:gd name="connsiteX13" fmla="*/ 275177 w 811339"/>
                <a:gd name="connsiteY13" fmla="*/ 1101185 h 110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1339" h="1101185">
                  <a:moveTo>
                    <a:pt x="166402" y="0"/>
                  </a:moveTo>
                  <a:lnTo>
                    <a:pt x="645033" y="0"/>
                  </a:lnTo>
                  <a:moveTo>
                    <a:pt x="0" y="183547"/>
                  </a:moveTo>
                  <a:lnTo>
                    <a:pt x="811340" y="183547"/>
                  </a:lnTo>
                  <a:moveTo>
                    <a:pt x="0" y="367093"/>
                  </a:moveTo>
                  <a:lnTo>
                    <a:pt x="811340" y="367093"/>
                  </a:lnTo>
                  <a:moveTo>
                    <a:pt x="0" y="550640"/>
                  </a:moveTo>
                  <a:lnTo>
                    <a:pt x="459581" y="550640"/>
                  </a:lnTo>
                  <a:moveTo>
                    <a:pt x="0" y="734187"/>
                  </a:moveTo>
                  <a:lnTo>
                    <a:pt x="316135" y="734187"/>
                  </a:lnTo>
                  <a:moveTo>
                    <a:pt x="0" y="917639"/>
                  </a:moveTo>
                  <a:lnTo>
                    <a:pt x="275177" y="917639"/>
                  </a:lnTo>
                  <a:moveTo>
                    <a:pt x="0" y="1101185"/>
                  </a:moveTo>
                  <a:lnTo>
                    <a:pt x="275177" y="1101185"/>
                  </a:lnTo>
                </a:path>
              </a:pathLst>
            </a:custGeom>
            <a:noFill/>
            <a:ln w="12700" cap="sq">
              <a:solidFill>
                <a:schemeClr val="bg1"/>
              </a:solidFill>
              <a:prstDash val="solid"/>
              <a:miter/>
            </a:ln>
          </p:spPr>
          <p:txBody>
            <a:bodyPr rtlCol="0" anchor="ctr"/>
            <a:lstStyle/>
            <a:p>
              <a:endParaRPr lang="en-IN" sz="1765"/>
            </a:p>
          </p:txBody>
        </p:sp>
        <p:sp>
          <p:nvSpPr>
            <p:cNvPr id="65" name="Freeform: Shape 64">
              <a:extLst>
                <a:ext uri="{FF2B5EF4-FFF2-40B4-BE49-F238E27FC236}">
                  <a16:creationId xmlns:a16="http://schemas.microsoft.com/office/drawing/2014/main" id="{BD9A1EB0-FEC3-4A68-9A7B-28F05302EC49}"/>
                </a:ext>
                <a:ext uri="{C183D7F6-B498-43B3-948B-1728B52AA6E4}">
                  <adec:decorative xmlns:adec="http://schemas.microsoft.com/office/drawing/2017/decorative" val="1"/>
                </a:ext>
              </a:extLst>
            </p:cNvPr>
            <p:cNvSpPr/>
            <p:nvPr/>
          </p:nvSpPr>
          <p:spPr>
            <a:xfrm>
              <a:off x="7221238" y="2269849"/>
              <a:ext cx="145297" cy="25290"/>
            </a:xfrm>
            <a:custGeom>
              <a:avLst/>
              <a:gdLst>
                <a:gd name="connsiteX0" fmla="*/ 0 w 283464"/>
                <a:gd name="connsiteY0" fmla="*/ 23622 h 49339"/>
                <a:gd name="connsiteX1" fmla="*/ 117443 w 283464"/>
                <a:gd name="connsiteY1" fmla="*/ 0 h 49339"/>
                <a:gd name="connsiteX2" fmla="*/ 283464 w 283464"/>
                <a:gd name="connsiteY2" fmla="*/ 49340 h 49339"/>
              </a:gdLst>
              <a:ahLst/>
              <a:cxnLst>
                <a:cxn ang="0">
                  <a:pos x="connsiteX0" y="connsiteY0"/>
                </a:cxn>
                <a:cxn ang="0">
                  <a:pos x="connsiteX1" y="connsiteY1"/>
                </a:cxn>
                <a:cxn ang="0">
                  <a:pos x="connsiteX2" y="connsiteY2"/>
                </a:cxn>
              </a:cxnLst>
              <a:rect l="l" t="t" r="r" b="b"/>
              <a:pathLst>
                <a:path w="283464" h="49339">
                  <a:moveTo>
                    <a:pt x="0" y="23622"/>
                  </a:moveTo>
                  <a:cubicBezTo>
                    <a:pt x="36100" y="8477"/>
                    <a:pt x="75819" y="0"/>
                    <a:pt x="117443" y="0"/>
                  </a:cubicBezTo>
                  <a:cubicBezTo>
                    <a:pt x="178689" y="0"/>
                    <a:pt x="235649" y="18098"/>
                    <a:pt x="283464" y="4934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66" name="Freeform: Shape 65">
              <a:extLst>
                <a:ext uri="{FF2B5EF4-FFF2-40B4-BE49-F238E27FC236}">
                  <a16:creationId xmlns:a16="http://schemas.microsoft.com/office/drawing/2014/main" id="{153636D5-0914-4A5D-A651-F087817D3BCF}"/>
                </a:ext>
                <a:ext uri="{C183D7F6-B498-43B3-948B-1728B52AA6E4}">
                  <adec:decorative xmlns:adec="http://schemas.microsoft.com/office/drawing/2017/decorative" val="1"/>
                </a:ext>
              </a:extLst>
            </p:cNvPr>
            <p:cNvSpPr/>
            <p:nvPr/>
          </p:nvSpPr>
          <p:spPr>
            <a:xfrm>
              <a:off x="7124032" y="2330194"/>
              <a:ext cx="314859" cy="258468"/>
            </a:xfrm>
            <a:custGeom>
              <a:avLst/>
              <a:gdLst>
                <a:gd name="connsiteX0" fmla="*/ 575596 w 614267"/>
                <a:gd name="connsiteY0" fmla="*/ 42481 h 504253"/>
                <a:gd name="connsiteX1" fmla="*/ 614267 w 614267"/>
                <a:gd name="connsiteY1" fmla="*/ 194215 h 504253"/>
                <a:gd name="connsiteX2" fmla="*/ 307181 w 614267"/>
                <a:gd name="connsiteY2" fmla="*/ 504254 h 504253"/>
                <a:gd name="connsiteX3" fmla="*/ 0 w 614267"/>
                <a:gd name="connsiteY3" fmla="*/ 194215 h 504253"/>
                <a:gd name="connsiteX4" fmla="*/ 0 w 614267"/>
                <a:gd name="connsiteY4" fmla="*/ 194215 h 504253"/>
                <a:gd name="connsiteX5" fmla="*/ 66580 w 614267"/>
                <a:gd name="connsiteY5" fmla="*/ 0 h 5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267" h="504253">
                  <a:moveTo>
                    <a:pt x="575596" y="42481"/>
                  </a:moveTo>
                  <a:cubicBezTo>
                    <a:pt x="600266" y="87440"/>
                    <a:pt x="614267" y="139160"/>
                    <a:pt x="614267" y="194215"/>
                  </a:cubicBezTo>
                  <a:cubicBezTo>
                    <a:pt x="614267" y="364141"/>
                    <a:pt x="477393" y="504254"/>
                    <a:pt x="307181" y="504254"/>
                  </a:cubicBezTo>
                  <a:cubicBezTo>
                    <a:pt x="136970" y="504254"/>
                    <a:pt x="0" y="364141"/>
                    <a:pt x="0" y="194215"/>
                  </a:cubicBezTo>
                  <a:lnTo>
                    <a:pt x="0" y="194215"/>
                  </a:lnTo>
                  <a:cubicBezTo>
                    <a:pt x="0" y="121348"/>
                    <a:pt x="24098" y="54102"/>
                    <a:pt x="6658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67" name="Freeform: Shape 66">
              <a:extLst>
                <a:ext uri="{FF2B5EF4-FFF2-40B4-BE49-F238E27FC236}">
                  <a16:creationId xmlns:a16="http://schemas.microsoft.com/office/drawing/2014/main" id="{2F3991B3-A623-4AD6-8C41-765F015BFFD1}"/>
                </a:ext>
                <a:ext uri="{C183D7F6-B498-43B3-948B-1728B52AA6E4}">
                  <adec:decorative xmlns:adec="http://schemas.microsoft.com/office/drawing/2017/decorative" val="1"/>
                </a:ext>
              </a:extLst>
            </p:cNvPr>
            <p:cNvSpPr/>
            <p:nvPr/>
          </p:nvSpPr>
          <p:spPr>
            <a:xfrm>
              <a:off x="7154400" y="2334979"/>
              <a:ext cx="30807" cy="4882"/>
            </a:xfrm>
            <a:custGeom>
              <a:avLst/>
              <a:gdLst>
                <a:gd name="connsiteX0" fmla="*/ 60103 w 60102"/>
                <a:gd name="connsiteY0" fmla="*/ 0 h 9525"/>
                <a:gd name="connsiteX1" fmla="*/ 0 w 60102"/>
                <a:gd name="connsiteY1" fmla="*/ 0 h 9525"/>
              </a:gdLst>
              <a:ahLst/>
              <a:cxnLst>
                <a:cxn ang="0">
                  <a:pos x="connsiteX0" y="connsiteY0"/>
                </a:cxn>
                <a:cxn ang="0">
                  <a:pos x="connsiteX1" y="connsiteY1"/>
                </a:cxn>
              </a:cxnLst>
              <a:rect l="l" t="t" r="r" b="b"/>
              <a:pathLst>
                <a:path w="60102" h="9525">
                  <a:moveTo>
                    <a:pt x="60103" y="0"/>
                  </a:moveTo>
                  <a:cubicBezTo>
                    <a:pt x="0" y="0"/>
                    <a:pt x="0" y="0"/>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68" name="Freeform: Shape 67">
              <a:extLst>
                <a:ext uri="{FF2B5EF4-FFF2-40B4-BE49-F238E27FC236}">
                  <a16:creationId xmlns:a16="http://schemas.microsoft.com/office/drawing/2014/main" id="{9C9AFD92-23D7-433C-9102-8105CBE3812E}"/>
                </a:ext>
                <a:ext uri="{C183D7F6-B498-43B3-948B-1728B52AA6E4}">
                  <adec:decorative xmlns:adec="http://schemas.microsoft.com/office/drawing/2017/decorative" val="1"/>
                </a:ext>
              </a:extLst>
            </p:cNvPr>
            <p:cNvSpPr/>
            <p:nvPr/>
          </p:nvSpPr>
          <p:spPr>
            <a:xfrm>
              <a:off x="7144000" y="2314815"/>
              <a:ext cx="117516" cy="255637"/>
            </a:xfrm>
            <a:custGeom>
              <a:avLst/>
              <a:gdLst>
                <a:gd name="connsiteX0" fmla="*/ 125730 w 229266"/>
                <a:gd name="connsiteY0" fmla="*/ 498729 h 498729"/>
                <a:gd name="connsiteX1" fmla="*/ 149828 w 229266"/>
                <a:gd name="connsiteY1" fmla="*/ 470726 h 498729"/>
                <a:gd name="connsiteX2" fmla="*/ 142399 w 229266"/>
                <a:gd name="connsiteY2" fmla="*/ 420338 h 498729"/>
                <a:gd name="connsiteX3" fmla="*/ 94298 w 229266"/>
                <a:gd name="connsiteY3" fmla="*/ 388620 h 498729"/>
                <a:gd name="connsiteX4" fmla="*/ 31433 w 229266"/>
                <a:gd name="connsiteY4" fmla="*/ 388620 h 498729"/>
                <a:gd name="connsiteX5" fmla="*/ 0 w 229266"/>
                <a:gd name="connsiteY5" fmla="*/ 317659 h 498729"/>
                <a:gd name="connsiteX6" fmla="*/ 31433 w 229266"/>
                <a:gd name="connsiteY6" fmla="*/ 226124 h 498729"/>
                <a:gd name="connsiteX7" fmla="*/ 68390 w 229266"/>
                <a:gd name="connsiteY7" fmla="*/ 224218 h 498729"/>
                <a:gd name="connsiteX8" fmla="*/ 109061 w 229266"/>
                <a:gd name="connsiteY8" fmla="*/ 272796 h 498729"/>
                <a:gd name="connsiteX9" fmla="*/ 149733 w 229266"/>
                <a:gd name="connsiteY9" fmla="*/ 252222 h 498729"/>
                <a:gd name="connsiteX10" fmla="*/ 133064 w 229266"/>
                <a:gd name="connsiteY10" fmla="*/ 203644 h 498729"/>
                <a:gd name="connsiteX11" fmla="*/ 147828 w 229266"/>
                <a:gd name="connsiteY11" fmla="*/ 143828 h 498729"/>
                <a:gd name="connsiteX12" fmla="*/ 229267 w 229266"/>
                <a:gd name="connsiteY12" fmla="*/ 61627 h 498729"/>
                <a:gd name="connsiteX13" fmla="*/ 181166 w 229266"/>
                <a:gd name="connsiteY13" fmla="*/ 0 h 498729"/>
                <a:gd name="connsiteX14" fmla="*/ 153067 w 229266"/>
                <a:gd name="connsiteY14" fmla="*/ 33147 h 498729"/>
                <a:gd name="connsiteX15" fmla="*/ 147923 w 229266"/>
                <a:gd name="connsiteY15" fmla="*/ 39338 h 49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9266" h="498729">
                  <a:moveTo>
                    <a:pt x="125730" y="498729"/>
                  </a:moveTo>
                  <a:cubicBezTo>
                    <a:pt x="149828" y="470726"/>
                    <a:pt x="149828" y="470726"/>
                    <a:pt x="149828" y="470726"/>
                  </a:cubicBezTo>
                  <a:cubicBezTo>
                    <a:pt x="142399" y="420338"/>
                    <a:pt x="142399" y="420338"/>
                    <a:pt x="142399" y="420338"/>
                  </a:cubicBezTo>
                  <a:cubicBezTo>
                    <a:pt x="94298" y="388620"/>
                    <a:pt x="94298" y="388620"/>
                    <a:pt x="94298" y="388620"/>
                  </a:cubicBezTo>
                  <a:cubicBezTo>
                    <a:pt x="31433" y="388620"/>
                    <a:pt x="31433" y="388620"/>
                    <a:pt x="31433" y="388620"/>
                  </a:cubicBezTo>
                  <a:cubicBezTo>
                    <a:pt x="0" y="317659"/>
                    <a:pt x="0" y="317659"/>
                    <a:pt x="0" y="317659"/>
                  </a:cubicBezTo>
                  <a:cubicBezTo>
                    <a:pt x="31433" y="226124"/>
                    <a:pt x="31433" y="226124"/>
                    <a:pt x="31433" y="226124"/>
                  </a:cubicBezTo>
                  <a:cubicBezTo>
                    <a:pt x="68390" y="224218"/>
                    <a:pt x="68390" y="224218"/>
                    <a:pt x="68390" y="224218"/>
                  </a:cubicBezTo>
                  <a:cubicBezTo>
                    <a:pt x="109061" y="272796"/>
                    <a:pt x="109061" y="272796"/>
                    <a:pt x="109061" y="272796"/>
                  </a:cubicBezTo>
                  <a:cubicBezTo>
                    <a:pt x="149733" y="252222"/>
                    <a:pt x="149733" y="252222"/>
                    <a:pt x="149733" y="252222"/>
                  </a:cubicBezTo>
                  <a:cubicBezTo>
                    <a:pt x="133064" y="203644"/>
                    <a:pt x="133064" y="203644"/>
                    <a:pt x="133064" y="203644"/>
                  </a:cubicBezTo>
                  <a:cubicBezTo>
                    <a:pt x="147828" y="143828"/>
                    <a:pt x="147828" y="143828"/>
                    <a:pt x="147828" y="143828"/>
                  </a:cubicBezTo>
                  <a:cubicBezTo>
                    <a:pt x="229267" y="61627"/>
                    <a:pt x="229267" y="61627"/>
                    <a:pt x="229267" y="61627"/>
                  </a:cubicBezTo>
                  <a:cubicBezTo>
                    <a:pt x="181166" y="0"/>
                    <a:pt x="181166" y="0"/>
                    <a:pt x="181166" y="0"/>
                  </a:cubicBezTo>
                  <a:cubicBezTo>
                    <a:pt x="165830" y="18097"/>
                    <a:pt x="157544" y="27813"/>
                    <a:pt x="153067" y="33147"/>
                  </a:cubicBezTo>
                  <a:cubicBezTo>
                    <a:pt x="147923" y="39338"/>
                    <a:pt x="147923" y="39338"/>
                    <a:pt x="147923" y="3933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69" name="Freeform: Shape 68">
              <a:extLst>
                <a:ext uri="{FF2B5EF4-FFF2-40B4-BE49-F238E27FC236}">
                  <a16:creationId xmlns:a16="http://schemas.microsoft.com/office/drawing/2014/main" id="{0FA16087-EDE6-4531-8136-F644F656D192}"/>
                </a:ext>
                <a:ext uri="{C183D7F6-B498-43B3-948B-1728B52AA6E4}">
                  <adec:decorative xmlns:adec="http://schemas.microsoft.com/office/drawing/2017/decorative" val="1"/>
                </a:ext>
              </a:extLst>
            </p:cNvPr>
            <p:cNvSpPr/>
            <p:nvPr/>
          </p:nvSpPr>
          <p:spPr>
            <a:xfrm>
              <a:off x="7276701" y="2292845"/>
              <a:ext cx="162190" cy="253732"/>
            </a:xfrm>
            <a:custGeom>
              <a:avLst/>
              <a:gdLst>
                <a:gd name="connsiteX0" fmla="*/ 166592 w 316420"/>
                <a:gd name="connsiteY0" fmla="*/ 0 h 495014"/>
                <a:gd name="connsiteX1" fmla="*/ 48196 w 316420"/>
                <a:gd name="connsiteY1" fmla="*/ 59817 h 495014"/>
                <a:gd name="connsiteX2" fmla="*/ 74105 w 316420"/>
                <a:gd name="connsiteY2" fmla="*/ 127063 h 495014"/>
                <a:gd name="connsiteX3" fmla="*/ 136969 w 316420"/>
                <a:gd name="connsiteY3" fmla="*/ 127063 h 495014"/>
                <a:gd name="connsiteX4" fmla="*/ 107347 w 316420"/>
                <a:gd name="connsiteY4" fmla="*/ 170021 h 495014"/>
                <a:gd name="connsiteX5" fmla="*/ 48101 w 316420"/>
                <a:gd name="connsiteY5" fmla="*/ 198025 h 495014"/>
                <a:gd name="connsiteX6" fmla="*/ 0 w 316420"/>
                <a:gd name="connsiteY6" fmla="*/ 268986 h 495014"/>
                <a:gd name="connsiteX7" fmla="*/ 14764 w 316420"/>
                <a:gd name="connsiteY7" fmla="*/ 336232 h 495014"/>
                <a:gd name="connsiteX8" fmla="*/ 83249 w 316420"/>
                <a:gd name="connsiteY8" fmla="*/ 375476 h 495014"/>
                <a:gd name="connsiteX9" fmla="*/ 105442 w 316420"/>
                <a:gd name="connsiteY9" fmla="*/ 351187 h 495014"/>
                <a:gd name="connsiteX10" fmla="*/ 125825 w 316420"/>
                <a:gd name="connsiteY10" fmla="*/ 411004 h 495014"/>
                <a:gd name="connsiteX11" fmla="*/ 103632 w 316420"/>
                <a:gd name="connsiteY11" fmla="*/ 495014 h 495014"/>
                <a:gd name="connsiteX12" fmla="*/ 155448 w 316420"/>
                <a:gd name="connsiteY12" fmla="*/ 470726 h 495014"/>
                <a:gd name="connsiteX13" fmla="*/ 181356 w 316420"/>
                <a:gd name="connsiteY13" fmla="*/ 433388 h 495014"/>
                <a:gd name="connsiteX14" fmla="*/ 181356 w 316420"/>
                <a:gd name="connsiteY14" fmla="*/ 268986 h 495014"/>
                <a:gd name="connsiteX15" fmla="*/ 144399 w 316420"/>
                <a:gd name="connsiteY15" fmla="*/ 211074 h 495014"/>
                <a:gd name="connsiteX16" fmla="*/ 181356 w 316420"/>
                <a:gd name="connsiteY16" fmla="*/ 186785 h 495014"/>
                <a:gd name="connsiteX17" fmla="*/ 227648 w 316420"/>
                <a:gd name="connsiteY17" fmla="*/ 211074 h 495014"/>
                <a:gd name="connsiteX18" fmla="*/ 268319 w 316420"/>
                <a:gd name="connsiteY18" fmla="*/ 272701 h 495014"/>
                <a:gd name="connsiteX19" fmla="*/ 268319 w 316420"/>
                <a:gd name="connsiteY19" fmla="*/ 302609 h 495014"/>
                <a:gd name="connsiteX20" fmla="*/ 316421 w 316420"/>
                <a:gd name="connsiteY20" fmla="*/ 293180 h 49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6420" h="495014">
                  <a:moveTo>
                    <a:pt x="166592" y="0"/>
                  </a:moveTo>
                  <a:cubicBezTo>
                    <a:pt x="48196" y="59817"/>
                    <a:pt x="48196" y="59817"/>
                    <a:pt x="48196" y="59817"/>
                  </a:cubicBezTo>
                  <a:cubicBezTo>
                    <a:pt x="74105" y="127063"/>
                    <a:pt x="74105" y="127063"/>
                    <a:pt x="74105" y="127063"/>
                  </a:cubicBezTo>
                  <a:cubicBezTo>
                    <a:pt x="136969" y="127063"/>
                    <a:pt x="136969" y="127063"/>
                    <a:pt x="136969" y="127063"/>
                  </a:cubicBezTo>
                  <a:cubicBezTo>
                    <a:pt x="107347" y="170021"/>
                    <a:pt x="107347" y="170021"/>
                    <a:pt x="107347" y="170021"/>
                  </a:cubicBezTo>
                  <a:cubicBezTo>
                    <a:pt x="48101" y="198025"/>
                    <a:pt x="48101" y="198025"/>
                    <a:pt x="48101" y="198025"/>
                  </a:cubicBezTo>
                  <a:cubicBezTo>
                    <a:pt x="0" y="268986"/>
                    <a:pt x="0" y="268986"/>
                    <a:pt x="0" y="268986"/>
                  </a:cubicBezTo>
                  <a:cubicBezTo>
                    <a:pt x="14764" y="336232"/>
                    <a:pt x="14764" y="336232"/>
                    <a:pt x="14764" y="336232"/>
                  </a:cubicBezTo>
                  <a:cubicBezTo>
                    <a:pt x="83249" y="375476"/>
                    <a:pt x="83249" y="375476"/>
                    <a:pt x="83249" y="375476"/>
                  </a:cubicBezTo>
                  <a:cubicBezTo>
                    <a:pt x="105442" y="351187"/>
                    <a:pt x="105442" y="351187"/>
                    <a:pt x="105442" y="351187"/>
                  </a:cubicBezTo>
                  <a:cubicBezTo>
                    <a:pt x="125825" y="411004"/>
                    <a:pt x="125825" y="411004"/>
                    <a:pt x="125825" y="411004"/>
                  </a:cubicBezTo>
                  <a:cubicBezTo>
                    <a:pt x="103632" y="495014"/>
                    <a:pt x="103632" y="495014"/>
                    <a:pt x="103632" y="495014"/>
                  </a:cubicBezTo>
                  <a:cubicBezTo>
                    <a:pt x="155448" y="470726"/>
                    <a:pt x="155448" y="470726"/>
                    <a:pt x="155448" y="470726"/>
                  </a:cubicBezTo>
                  <a:cubicBezTo>
                    <a:pt x="181356" y="433388"/>
                    <a:pt x="181356" y="433388"/>
                    <a:pt x="181356" y="433388"/>
                  </a:cubicBezTo>
                  <a:cubicBezTo>
                    <a:pt x="181356" y="268986"/>
                    <a:pt x="181356" y="268986"/>
                    <a:pt x="181356" y="268986"/>
                  </a:cubicBezTo>
                  <a:cubicBezTo>
                    <a:pt x="144399" y="211074"/>
                    <a:pt x="144399" y="211074"/>
                    <a:pt x="144399" y="211074"/>
                  </a:cubicBezTo>
                  <a:cubicBezTo>
                    <a:pt x="181356" y="186785"/>
                    <a:pt x="181356" y="186785"/>
                    <a:pt x="181356" y="186785"/>
                  </a:cubicBezTo>
                  <a:cubicBezTo>
                    <a:pt x="227648" y="211074"/>
                    <a:pt x="227648" y="211074"/>
                    <a:pt x="227648" y="211074"/>
                  </a:cubicBezTo>
                  <a:cubicBezTo>
                    <a:pt x="268319" y="272701"/>
                    <a:pt x="268319" y="272701"/>
                    <a:pt x="268319" y="272701"/>
                  </a:cubicBezTo>
                  <a:cubicBezTo>
                    <a:pt x="268319" y="302609"/>
                    <a:pt x="268319" y="302609"/>
                    <a:pt x="268319" y="302609"/>
                  </a:cubicBezTo>
                  <a:cubicBezTo>
                    <a:pt x="316421" y="293180"/>
                    <a:pt x="316421" y="293180"/>
                    <a:pt x="316421" y="29318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70" name="Freeform: Shape 69">
              <a:extLst>
                <a:ext uri="{FF2B5EF4-FFF2-40B4-BE49-F238E27FC236}">
                  <a16:creationId xmlns:a16="http://schemas.microsoft.com/office/drawing/2014/main" id="{1FA7459B-3150-4D58-911B-713F549F2A1D}"/>
                </a:ext>
                <a:ext uri="{C183D7F6-B498-43B3-948B-1728B52AA6E4}">
                  <adec:decorative xmlns:adec="http://schemas.microsoft.com/office/drawing/2017/decorative" val="1"/>
                </a:ext>
              </a:extLst>
            </p:cNvPr>
            <p:cNvSpPr/>
            <p:nvPr/>
          </p:nvSpPr>
          <p:spPr>
            <a:xfrm>
              <a:off x="7374674" y="2244257"/>
              <a:ext cx="88185" cy="134515"/>
            </a:xfrm>
            <a:custGeom>
              <a:avLst/>
              <a:gdLst>
                <a:gd name="connsiteX0" fmla="*/ 143761 w 172042"/>
                <a:gd name="connsiteY0" fmla="*/ 148987 h 262430"/>
                <a:gd name="connsiteX1" fmla="*/ 11078 w 172042"/>
                <a:gd name="connsiteY1" fmla="*/ 262430 h 262430"/>
                <a:gd name="connsiteX2" fmla="*/ 219 w 172042"/>
                <a:gd name="connsiteY2" fmla="*/ 88218 h 262430"/>
                <a:gd name="connsiteX3" fmla="*/ 5744 w 172042"/>
                <a:gd name="connsiteY3" fmla="*/ 52975 h 262430"/>
                <a:gd name="connsiteX4" fmla="*/ 119282 w 172042"/>
                <a:gd name="connsiteY4" fmla="*/ 6874 h 262430"/>
                <a:gd name="connsiteX5" fmla="*/ 165097 w 172042"/>
                <a:gd name="connsiteY5" fmla="*/ 120508 h 262430"/>
                <a:gd name="connsiteX6" fmla="*/ 143761 w 172042"/>
                <a:gd name="connsiteY6" fmla="*/ 148987 h 262430"/>
                <a:gd name="connsiteX7" fmla="*/ 143761 w 172042"/>
                <a:gd name="connsiteY7" fmla="*/ 148987 h 262430"/>
                <a:gd name="connsiteX8" fmla="*/ 104232 w 172042"/>
                <a:gd name="connsiteY8" fmla="*/ 42688 h 262430"/>
                <a:gd name="connsiteX9" fmla="*/ 41367 w 172042"/>
                <a:gd name="connsiteY9" fmla="*/ 68215 h 262430"/>
                <a:gd name="connsiteX10" fmla="*/ 66704 w 172042"/>
                <a:gd name="connsiteY10" fmla="*/ 131080 h 262430"/>
                <a:gd name="connsiteX11" fmla="*/ 129569 w 172042"/>
                <a:gd name="connsiteY11" fmla="*/ 105553 h 262430"/>
                <a:gd name="connsiteX12" fmla="*/ 104232 w 172042"/>
                <a:gd name="connsiteY12" fmla="*/ 42688 h 262430"/>
                <a:gd name="connsiteX13" fmla="*/ 104232 w 172042"/>
                <a:gd name="connsiteY13" fmla="*/ 42688 h 26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042" h="262430">
                  <a:moveTo>
                    <a:pt x="143761" y="148987"/>
                  </a:moveTo>
                  <a:cubicBezTo>
                    <a:pt x="11078" y="262430"/>
                    <a:pt x="11078" y="262430"/>
                    <a:pt x="11078" y="262430"/>
                  </a:cubicBezTo>
                  <a:cubicBezTo>
                    <a:pt x="219" y="88218"/>
                    <a:pt x="219" y="88218"/>
                    <a:pt x="219" y="88218"/>
                  </a:cubicBezTo>
                  <a:cubicBezTo>
                    <a:pt x="-638" y="76216"/>
                    <a:pt x="981" y="64310"/>
                    <a:pt x="5744" y="52975"/>
                  </a:cubicBezTo>
                  <a:cubicBezTo>
                    <a:pt x="24413" y="8875"/>
                    <a:pt x="75276" y="-11795"/>
                    <a:pt x="119282" y="6874"/>
                  </a:cubicBezTo>
                  <a:cubicBezTo>
                    <a:pt x="163287" y="25543"/>
                    <a:pt x="183861" y="76407"/>
                    <a:pt x="165097" y="120508"/>
                  </a:cubicBezTo>
                  <a:cubicBezTo>
                    <a:pt x="160430" y="131747"/>
                    <a:pt x="153000" y="141272"/>
                    <a:pt x="143761" y="148987"/>
                  </a:cubicBezTo>
                  <a:lnTo>
                    <a:pt x="143761" y="148987"/>
                  </a:lnTo>
                  <a:close/>
                  <a:moveTo>
                    <a:pt x="104232" y="42688"/>
                  </a:moveTo>
                  <a:cubicBezTo>
                    <a:pt x="79848" y="32401"/>
                    <a:pt x="51749" y="43831"/>
                    <a:pt x="41367" y="68215"/>
                  </a:cubicBezTo>
                  <a:cubicBezTo>
                    <a:pt x="30985" y="92599"/>
                    <a:pt x="42415" y="120793"/>
                    <a:pt x="66704" y="131080"/>
                  </a:cubicBezTo>
                  <a:cubicBezTo>
                    <a:pt x="91088" y="141367"/>
                    <a:pt x="119186" y="129937"/>
                    <a:pt x="129569" y="105553"/>
                  </a:cubicBezTo>
                  <a:cubicBezTo>
                    <a:pt x="139951" y="81169"/>
                    <a:pt x="128521" y="53071"/>
                    <a:pt x="104232" y="42688"/>
                  </a:cubicBezTo>
                  <a:lnTo>
                    <a:pt x="104232" y="4268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71" name="Freeform: Shape 70">
              <a:extLst>
                <a:ext uri="{FF2B5EF4-FFF2-40B4-BE49-F238E27FC236}">
                  <a16:creationId xmlns:a16="http://schemas.microsoft.com/office/drawing/2014/main" id="{D38DAF6C-ACC2-4CA3-B1DD-5CD08CBA4CD5}"/>
                </a:ext>
                <a:ext uri="{C183D7F6-B498-43B3-948B-1728B52AA6E4}">
                  <adec:decorative xmlns:adec="http://schemas.microsoft.com/office/drawing/2017/decorative" val="1"/>
                </a:ext>
              </a:extLst>
            </p:cNvPr>
            <p:cNvSpPr/>
            <p:nvPr/>
          </p:nvSpPr>
          <p:spPr>
            <a:xfrm>
              <a:off x="7123997" y="2230078"/>
              <a:ext cx="99143" cy="125504"/>
            </a:xfrm>
            <a:custGeom>
              <a:avLst/>
              <a:gdLst>
                <a:gd name="connsiteX0" fmla="*/ 170657 w 193421"/>
                <a:gd name="connsiteY0" fmla="*/ 71781 h 244849"/>
                <a:gd name="connsiteX1" fmla="*/ 193422 w 193421"/>
                <a:gd name="connsiteY1" fmla="*/ 244850 h 244849"/>
                <a:gd name="connsiteX2" fmla="*/ 41498 w 193421"/>
                <a:gd name="connsiteY2" fmla="*/ 159030 h 244849"/>
                <a:gd name="connsiteX3" fmla="*/ 14923 w 193421"/>
                <a:gd name="connsiteY3" fmla="*/ 135122 h 244849"/>
                <a:gd name="connsiteX4" fmla="*/ 38164 w 193421"/>
                <a:gd name="connsiteY4" fmla="*/ 14821 h 244849"/>
                <a:gd name="connsiteX5" fmla="*/ 158465 w 193421"/>
                <a:gd name="connsiteY5" fmla="*/ 38253 h 244849"/>
                <a:gd name="connsiteX6" fmla="*/ 170657 w 193421"/>
                <a:gd name="connsiteY6" fmla="*/ 71781 h 244849"/>
                <a:gd name="connsiteX7" fmla="*/ 170657 w 193421"/>
                <a:gd name="connsiteY7" fmla="*/ 71781 h 244849"/>
                <a:gd name="connsiteX8" fmla="*/ 59976 w 193421"/>
                <a:gd name="connsiteY8" fmla="*/ 47111 h 244849"/>
                <a:gd name="connsiteX9" fmla="*/ 47118 w 193421"/>
                <a:gd name="connsiteY9" fmla="*/ 113691 h 244849"/>
                <a:gd name="connsiteX10" fmla="*/ 113697 w 193421"/>
                <a:gd name="connsiteY10" fmla="*/ 126645 h 244849"/>
                <a:gd name="connsiteX11" fmla="*/ 126556 w 193421"/>
                <a:gd name="connsiteY11" fmla="*/ 60065 h 244849"/>
                <a:gd name="connsiteX12" fmla="*/ 59976 w 193421"/>
                <a:gd name="connsiteY12" fmla="*/ 47111 h 244849"/>
                <a:gd name="connsiteX13" fmla="*/ 59976 w 193421"/>
                <a:gd name="connsiteY13" fmla="*/ 47111 h 24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3421" h="244849">
                  <a:moveTo>
                    <a:pt x="170657" y="71781"/>
                  </a:moveTo>
                  <a:cubicBezTo>
                    <a:pt x="193422" y="244850"/>
                    <a:pt x="193422" y="244850"/>
                    <a:pt x="193422" y="244850"/>
                  </a:cubicBezTo>
                  <a:cubicBezTo>
                    <a:pt x="41498" y="159030"/>
                    <a:pt x="41498" y="159030"/>
                    <a:pt x="41498" y="159030"/>
                  </a:cubicBezTo>
                  <a:cubicBezTo>
                    <a:pt x="31020" y="153219"/>
                    <a:pt x="21876" y="145314"/>
                    <a:pt x="14923" y="135122"/>
                  </a:cubicBezTo>
                  <a:cubicBezTo>
                    <a:pt x="-11937" y="95403"/>
                    <a:pt x="-1555" y="41586"/>
                    <a:pt x="38164" y="14821"/>
                  </a:cubicBezTo>
                  <a:cubicBezTo>
                    <a:pt x="77883" y="-11944"/>
                    <a:pt x="131604" y="-1467"/>
                    <a:pt x="158465" y="38253"/>
                  </a:cubicBezTo>
                  <a:cubicBezTo>
                    <a:pt x="165323" y="48444"/>
                    <a:pt x="169228" y="59874"/>
                    <a:pt x="170657" y="71781"/>
                  </a:cubicBezTo>
                  <a:lnTo>
                    <a:pt x="170657" y="71781"/>
                  </a:lnTo>
                  <a:close/>
                  <a:moveTo>
                    <a:pt x="59976" y="47111"/>
                  </a:moveTo>
                  <a:cubicBezTo>
                    <a:pt x="38069" y="61875"/>
                    <a:pt x="32259" y="91688"/>
                    <a:pt x="47118" y="113691"/>
                  </a:cubicBezTo>
                  <a:cubicBezTo>
                    <a:pt x="61977" y="135693"/>
                    <a:pt x="91790" y="141504"/>
                    <a:pt x="113697" y="126645"/>
                  </a:cubicBezTo>
                  <a:cubicBezTo>
                    <a:pt x="135605" y="111786"/>
                    <a:pt x="141415" y="82068"/>
                    <a:pt x="126556" y="60065"/>
                  </a:cubicBezTo>
                  <a:cubicBezTo>
                    <a:pt x="111697" y="38062"/>
                    <a:pt x="81979" y="32347"/>
                    <a:pt x="59976" y="47111"/>
                  </a:cubicBezTo>
                  <a:lnTo>
                    <a:pt x="59976" y="4711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73" name="Freeform: Shape 72">
              <a:extLst>
                <a:ext uri="{FF2B5EF4-FFF2-40B4-BE49-F238E27FC236}">
                  <a16:creationId xmlns:a16="http://schemas.microsoft.com/office/drawing/2014/main" id="{C820808F-6E62-4B54-9777-608095425764}"/>
                </a:ext>
                <a:ext uri="{C183D7F6-B498-43B3-948B-1728B52AA6E4}">
                  <adec:decorative xmlns:adec="http://schemas.microsoft.com/office/drawing/2017/decorative" val="1"/>
                </a:ext>
              </a:extLst>
            </p:cNvPr>
            <p:cNvSpPr/>
            <p:nvPr/>
          </p:nvSpPr>
          <p:spPr>
            <a:xfrm>
              <a:off x="7277835" y="4407063"/>
              <a:ext cx="244545" cy="255176"/>
            </a:xfrm>
            <a:custGeom>
              <a:avLst/>
              <a:gdLst>
                <a:gd name="connsiteX0" fmla="*/ 74976 w 219075"/>
                <a:gd name="connsiteY0" fmla="*/ 205468 h 228600"/>
                <a:gd name="connsiteX1" fmla="*/ 114028 w 219075"/>
                <a:gd name="connsiteY1" fmla="*/ 213088 h 228600"/>
                <a:gd name="connsiteX2" fmla="*/ 166416 w 219075"/>
                <a:gd name="connsiteY2" fmla="*/ 199753 h 228600"/>
                <a:gd name="connsiteX3" fmla="*/ 220708 w 219075"/>
                <a:gd name="connsiteY3" fmla="*/ 230233 h 228600"/>
                <a:gd name="connsiteX4" fmla="*/ 196896 w 219075"/>
                <a:gd name="connsiteY4" fmla="*/ 174036 h 228600"/>
                <a:gd name="connsiteX5" fmla="*/ 220708 w 219075"/>
                <a:gd name="connsiteY5" fmla="*/ 110218 h 228600"/>
                <a:gd name="connsiteX6" fmla="*/ 114028 w 219075"/>
                <a:gd name="connsiteY6" fmla="*/ 7348 h 228600"/>
                <a:gd name="connsiteX7" fmla="*/ 7348 w 219075"/>
                <a:gd name="connsiteY7" fmla="*/ 11021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228600">
                  <a:moveTo>
                    <a:pt x="74976" y="205468"/>
                  </a:moveTo>
                  <a:cubicBezTo>
                    <a:pt x="87358" y="210231"/>
                    <a:pt x="100693" y="213088"/>
                    <a:pt x="114028" y="213088"/>
                  </a:cubicBezTo>
                  <a:cubicBezTo>
                    <a:pt x="133078" y="213088"/>
                    <a:pt x="151176" y="208326"/>
                    <a:pt x="166416" y="199753"/>
                  </a:cubicBezTo>
                  <a:cubicBezTo>
                    <a:pt x="174036" y="208326"/>
                    <a:pt x="191181" y="222613"/>
                    <a:pt x="220708" y="230233"/>
                  </a:cubicBezTo>
                  <a:cubicBezTo>
                    <a:pt x="213088" y="218803"/>
                    <a:pt x="199753" y="198801"/>
                    <a:pt x="196896" y="174036"/>
                  </a:cubicBezTo>
                  <a:cubicBezTo>
                    <a:pt x="211183" y="156891"/>
                    <a:pt x="220708" y="134031"/>
                    <a:pt x="220708" y="110218"/>
                  </a:cubicBezTo>
                  <a:cubicBezTo>
                    <a:pt x="220708" y="54021"/>
                    <a:pt x="173083" y="7348"/>
                    <a:pt x="114028" y="7348"/>
                  </a:cubicBezTo>
                  <a:cubicBezTo>
                    <a:pt x="54973" y="7348"/>
                    <a:pt x="7348" y="53068"/>
                    <a:pt x="7348" y="11021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74" name="Freeform: Shape 73">
              <a:extLst>
                <a:ext uri="{FF2B5EF4-FFF2-40B4-BE49-F238E27FC236}">
                  <a16:creationId xmlns:a16="http://schemas.microsoft.com/office/drawing/2014/main" id="{3E5F3240-8374-4E1D-A5F6-6D098004B87C}"/>
                </a:ext>
                <a:ext uri="{C183D7F6-B498-43B3-948B-1728B52AA6E4}">
                  <adec:decorative xmlns:adec="http://schemas.microsoft.com/office/drawing/2017/decorative" val="1"/>
                </a:ext>
              </a:extLst>
            </p:cNvPr>
            <p:cNvSpPr/>
            <p:nvPr/>
          </p:nvSpPr>
          <p:spPr>
            <a:xfrm>
              <a:off x="7140677" y="4518702"/>
              <a:ext cx="223281" cy="244543"/>
            </a:xfrm>
            <a:custGeom>
              <a:avLst/>
              <a:gdLst>
                <a:gd name="connsiteX0" fmla="*/ 102598 w 200025"/>
                <a:gd name="connsiteY0" fmla="*/ 7348 h 219075"/>
                <a:gd name="connsiteX1" fmla="*/ 7348 w 200025"/>
                <a:gd name="connsiteY1" fmla="*/ 98788 h 219075"/>
                <a:gd name="connsiteX2" fmla="*/ 34018 w 200025"/>
                <a:gd name="connsiteY2" fmla="*/ 162606 h 219075"/>
                <a:gd name="connsiteX3" fmla="*/ 11158 w 200025"/>
                <a:gd name="connsiteY3" fmla="*/ 213088 h 219075"/>
                <a:gd name="connsiteX4" fmla="*/ 64498 w 200025"/>
                <a:gd name="connsiteY4" fmla="*/ 182608 h 219075"/>
                <a:gd name="connsiteX5" fmla="*/ 101646 w 200025"/>
                <a:gd name="connsiteY5" fmla="*/ 190228 h 219075"/>
                <a:gd name="connsiteX6" fmla="*/ 196896 w 200025"/>
                <a:gd name="connsiteY6" fmla="*/ 98788 h 219075"/>
                <a:gd name="connsiteX7" fmla="*/ 102598 w 200025"/>
                <a:gd name="connsiteY7" fmla="*/ 734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19075">
                  <a:moveTo>
                    <a:pt x="102598" y="7348"/>
                  </a:moveTo>
                  <a:cubicBezTo>
                    <a:pt x="50211" y="7348"/>
                    <a:pt x="7348" y="48306"/>
                    <a:pt x="7348" y="98788"/>
                  </a:cubicBezTo>
                  <a:cubicBezTo>
                    <a:pt x="7348" y="123553"/>
                    <a:pt x="17826" y="145461"/>
                    <a:pt x="34018" y="162606"/>
                  </a:cubicBezTo>
                  <a:cubicBezTo>
                    <a:pt x="32113" y="185466"/>
                    <a:pt x="18778" y="201658"/>
                    <a:pt x="11158" y="213088"/>
                  </a:cubicBezTo>
                  <a:cubicBezTo>
                    <a:pt x="39733" y="205468"/>
                    <a:pt x="56878" y="191181"/>
                    <a:pt x="64498" y="182608"/>
                  </a:cubicBezTo>
                  <a:cubicBezTo>
                    <a:pt x="75928" y="187371"/>
                    <a:pt x="88311" y="190228"/>
                    <a:pt x="101646" y="190228"/>
                  </a:cubicBezTo>
                  <a:cubicBezTo>
                    <a:pt x="154033" y="190228"/>
                    <a:pt x="196896" y="149271"/>
                    <a:pt x="196896" y="98788"/>
                  </a:cubicBezTo>
                  <a:cubicBezTo>
                    <a:pt x="197848" y="48306"/>
                    <a:pt x="154986" y="7348"/>
                    <a:pt x="102598" y="7348"/>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grpSp>
          <p:nvGrpSpPr>
            <p:cNvPr id="76" name="Graphic 460">
              <a:extLst>
                <a:ext uri="{FF2B5EF4-FFF2-40B4-BE49-F238E27FC236}">
                  <a16:creationId xmlns:a16="http://schemas.microsoft.com/office/drawing/2014/main" id="{288176D4-1326-4F5C-80D8-2F84958618ED}"/>
                </a:ext>
                <a:ext uri="{C183D7F6-B498-43B3-948B-1728B52AA6E4}">
                  <adec:decorative xmlns:adec="http://schemas.microsoft.com/office/drawing/2017/decorative" val="1"/>
                </a:ext>
              </a:extLst>
            </p:cNvPr>
            <p:cNvGrpSpPr/>
            <p:nvPr userDrawn="1"/>
          </p:nvGrpSpPr>
          <p:grpSpPr>
            <a:xfrm>
              <a:off x="9050600" y="5576561"/>
              <a:ext cx="381531" cy="256918"/>
              <a:chOff x="5876665" y="3267725"/>
              <a:chExt cx="686172" cy="462059"/>
            </a:xfrm>
          </p:grpSpPr>
          <p:sp>
            <p:nvSpPr>
              <p:cNvPr id="90" name="Freeform: Shape 89">
                <a:extLst>
                  <a:ext uri="{FF2B5EF4-FFF2-40B4-BE49-F238E27FC236}">
                    <a16:creationId xmlns:a16="http://schemas.microsoft.com/office/drawing/2014/main" id="{3BB56575-02F2-42D6-A68B-2F3DA899D515}"/>
                  </a:ext>
                </a:extLst>
              </p:cNvPr>
              <p:cNvSpPr/>
              <p:nvPr/>
            </p:nvSpPr>
            <p:spPr>
              <a:xfrm>
                <a:off x="5876665" y="3267725"/>
                <a:ext cx="686170" cy="462059"/>
              </a:xfrm>
              <a:custGeom>
                <a:avLst/>
                <a:gdLst>
                  <a:gd name="connsiteX0" fmla="*/ 0 w 462057"/>
                  <a:gd name="connsiteY0" fmla="*/ 0 h 462057"/>
                  <a:gd name="connsiteX1" fmla="*/ 462058 w 462057"/>
                  <a:gd name="connsiteY1" fmla="*/ 0 h 462057"/>
                  <a:gd name="connsiteX2" fmla="*/ 462058 w 462057"/>
                  <a:gd name="connsiteY2" fmla="*/ 462058 h 462057"/>
                  <a:gd name="connsiteX3" fmla="*/ 0 w 462057"/>
                  <a:gd name="connsiteY3" fmla="*/ 462058 h 462057"/>
                </a:gdLst>
                <a:ahLst/>
                <a:cxnLst>
                  <a:cxn ang="0">
                    <a:pos x="connsiteX0" y="connsiteY0"/>
                  </a:cxn>
                  <a:cxn ang="0">
                    <a:pos x="connsiteX1" y="connsiteY1"/>
                  </a:cxn>
                  <a:cxn ang="0">
                    <a:pos x="connsiteX2" y="connsiteY2"/>
                  </a:cxn>
                  <a:cxn ang="0">
                    <a:pos x="connsiteX3" y="connsiteY3"/>
                  </a:cxn>
                </a:cxnLst>
                <a:rect l="l" t="t" r="r" b="b"/>
                <a:pathLst>
                  <a:path w="462057" h="462057">
                    <a:moveTo>
                      <a:pt x="0" y="0"/>
                    </a:moveTo>
                    <a:lnTo>
                      <a:pt x="462058" y="0"/>
                    </a:lnTo>
                    <a:lnTo>
                      <a:pt x="462058" y="462058"/>
                    </a:lnTo>
                    <a:lnTo>
                      <a:pt x="0" y="46205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91" name="Freeform: Shape 90">
                <a:extLst>
                  <a:ext uri="{FF2B5EF4-FFF2-40B4-BE49-F238E27FC236}">
                    <a16:creationId xmlns:a16="http://schemas.microsoft.com/office/drawing/2014/main" id="{7FDF784C-D2F7-4052-9C3F-ECFCD447631A}"/>
                  </a:ext>
                </a:extLst>
              </p:cNvPr>
              <p:cNvSpPr/>
              <p:nvPr/>
            </p:nvSpPr>
            <p:spPr>
              <a:xfrm>
                <a:off x="5876667" y="3352190"/>
                <a:ext cx="686170" cy="9525"/>
              </a:xfrm>
              <a:custGeom>
                <a:avLst/>
                <a:gdLst>
                  <a:gd name="connsiteX0" fmla="*/ 0 w 462057"/>
                  <a:gd name="connsiteY0" fmla="*/ 0 h 9525"/>
                  <a:gd name="connsiteX1" fmla="*/ 462058 w 462057"/>
                  <a:gd name="connsiteY1" fmla="*/ 0 h 9525"/>
                </a:gdLst>
                <a:ahLst/>
                <a:cxnLst>
                  <a:cxn ang="0">
                    <a:pos x="connsiteX0" y="connsiteY0"/>
                  </a:cxn>
                  <a:cxn ang="0">
                    <a:pos x="connsiteX1" y="connsiteY1"/>
                  </a:cxn>
                </a:cxnLst>
                <a:rect l="l" t="t" r="r" b="b"/>
                <a:pathLst>
                  <a:path w="462057" h="9525">
                    <a:moveTo>
                      <a:pt x="0" y="0"/>
                    </a:moveTo>
                    <a:lnTo>
                      <a:pt x="46205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92" name="Freeform: Shape 91">
                <a:extLst>
                  <a:ext uri="{FF2B5EF4-FFF2-40B4-BE49-F238E27FC236}">
                    <a16:creationId xmlns:a16="http://schemas.microsoft.com/office/drawing/2014/main" id="{C4DFA267-24F1-49ED-8A71-01B9E50D7709}"/>
                  </a:ext>
                </a:extLst>
              </p:cNvPr>
              <p:cNvSpPr/>
              <p:nvPr/>
            </p:nvSpPr>
            <p:spPr>
              <a:xfrm>
                <a:off x="6381343" y="3295008"/>
                <a:ext cx="24193" cy="24193"/>
              </a:xfrm>
              <a:custGeom>
                <a:avLst/>
                <a:gdLst>
                  <a:gd name="connsiteX0" fmla="*/ 24194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4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4" y="12097"/>
                    </a:moveTo>
                    <a:cubicBezTo>
                      <a:pt x="24194" y="18778"/>
                      <a:pt x="18778" y="24194"/>
                      <a:pt x="12097" y="24194"/>
                    </a:cubicBezTo>
                    <a:cubicBezTo>
                      <a:pt x="5416" y="24194"/>
                      <a:pt x="0" y="18778"/>
                      <a:pt x="0" y="12097"/>
                    </a:cubicBezTo>
                    <a:cubicBezTo>
                      <a:pt x="0" y="5416"/>
                      <a:pt x="5416" y="0"/>
                      <a:pt x="12097" y="0"/>
                    </a:cubicBezTo>
                    <a:cubicBezTo>
                      <a:pt x="18778" y="0"/>
                      <a:pt x="24194" y="5416"/>
                      <a:pt x="24194"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93" name="Freeform: Shape 92">
                <a:extLst>
                  <a:ext uri="{FF2B5EF4-FFF2-40B4-BE49-F238E27FC236}">
                    <a16:creationId xmlns:a16="http://schemas.microsoft.com/office/drawing/2014/main" id="{C0CFE961-0B5B-4328-9C6A-92AE3480D894}"/>
                  </a:ext>
                </a:extLst>
              </p:cNvPr>
              <p:cNvSpPr/>
              <p:nvPr/>
            </p:nvSpPr>
            <p:spPr>
              <a:xfrm>
                <a:off x="6429927" y="3295060"/>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94" name="Freeform: Shape 93">
                <a:extLst>
                  <a:ext uri="{FF2B5EF4-FFF2-40B4-BE49-F238E27FC236}">
                    <a16:creationId xmlns:a16="http://schemas.microsoft.com/office/drawing/2014/main" id="{5DC96354-FC0F-4FEC-861A-04C0431B54FB}"/>
                  </a:ext>
                </a:extLst>
              </p:cNvPr>
              <p:cNvSpPr/>
              <p:nvPr/>
            </p:nvSpPr>
            <p:spPr>
              <a:xfrm>
                <a:off x="648504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grpSp>
        <p:grpSp>
          <p:nvGrpSpPr>
            <p:cNvPr id="77" name="Graphic 584">
              <a:extLst>
                <a:ext uri="{FF2B5EF4-FFF2-40B4-BE49-F238E27FC236}">
                  <a16:creationId xmlns:a16="http://schemas.microsoft.com/office/drawing/2014/main" id="{6FE394CF-ABD9-4D14-976F-3648165BD82C}"/>
                </a:ext>
                <a:ext uri="{C183D7F6-B498-43B3-948B-1728B52AA6E4}">
                  <adec:decorative xmlns:adec="http://schemas.microsoft.com/office/drawing/2017/decorative" val="1"/>
                </a:ext>
              </a:extLst>
            </p:cNvPr>
            <p:cNvGrpSpPr/>
            <p:nvPr userDrawn="1"/>
          </p:nvGrpSpPr>
          <p:grpSpPr>
            <a:xfrm>
              <a:off x="9106715" y="5651341"/>
              <a:ext cx="262874" cy="155721"/>
              <a:chOff x="6088988" y="3382408"/>
              <a:chExt cx="254034" cy="150487"/>
            </a:xfrm>
          </p:grpSpPr>
          <p:sp>
            <p:nvSpPr>
              <p:cNvPr id="78" name="Freeform: Shape 77">
                <a:extLst>
                  <a:ext uri="{FF2B5EF4-FFF2-40B4-BE49-F238E27FC236}">
                    <a16:creationId xmlns:a16="http://schemas.microsoft.com/office/drawing/2014/main" id="{250073B8-072F-4525-A70B-E2AEDDCBA809}"/>
                  </a:ext>
                </a:extLst>
              </p:cNvPr>
              <p:cNvSpPr/>
              <p:nvPr/>
            </p:nvSpPr>
            <p:spPr>
              <a:xfrm>
                <a:off x="6088988" y="3522138"/>
                <a:ext cx="125632" cy="9525"/>
              </a:xfrm>
              <a:custGeom>
                <a:avLst/>
                <a:gdLst>
                  <a:gd name="connsiteX0" fmla="*/ 125635 w 125634"/>
                  <a:gd name="connsiteY0" fmla="*/ 0 h 9525"/>
                  <a:gd name="connsiteX1" fmla="*/ 0 w 125634"/>
                  <a:gd name="connsiteY1" fmla="*/ 0 h 9525"/>
                </a:gdLst>
                <a:ahLst/>
                <a:cxnLst>
                  <a:cxn ang="0">
                    <a:pos x="connsiteX0" y="connsiteY0"/>
                  </a:cxn>
                  <a:cxn ang="0">
                    <a:pos x="connsiteX1" y="connsiteY1"/>
                  </a:cxn>
                </a:cxnLst>
                <a:rect l="l" t="t" r="r" b="b"/>
                <a:pathLst>
                  <a:path w="125634" h="9525">
                    <a:moveTo>
                      <a:pt x="125635" y="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79" name="Freeform: Shape 78">
                <a:extLst>
                  <a:ext uri="{FF2B5EF4-FFF2-40B4-BE49-F238E27FC236}">
                    <a16:creationId xmlns:a16="http://schemas.microsoft.com/office/drawing/2014/main" id="{624C6616-CBDB-4D8B-B3F9-72436A2CCC1F}"/>
                  </a:ext>
                </a:extLst>
              </p:cNvPr>
              <p:cNvSpPr/>
              <p:nvPr/>
            </p:nvSpPr>
            <p:spPr>
              <a:xfrm>
                <a:off x="6103847" y="3459653"/>
                <a:ext cx="9525" cy="62483"/>
              </a:xfrm>
              <a:custGeom>
                <a:avLst/>
                <a:gdLst>
                  <a:gd name="connsiteX0" fmla="*/ 0 w 9525"/>
                  <a:gd name="connsiteY0" fmla="*/ 62484 h 62483"/>
                  <a:gd name="connsiteX1" fmla="*/ 0 w 9525"/>
                  <a:gd name="connsiteY1" fmla="*/ 0 h 62483"/>
                </a:gdLst>
                <a:ahLst/>
                <a:cxnLst>
                  <a:cxn ang="0">
                    <a:pos x="connsiteX0" y="connsiteY0"/>
                  </a:cxn>
                  <a:cxn ang="0">
                    <a:pos x="connsiteX1" y="connsiteY1"/>
                  </a:cxn>
                </a:cxnLst>
                <a:rect l="l" t="t" r="r" b="b"/>
                <a:pathLst>
                  <a:path w="9525" h="62483">
                    <a:moveTo>
                      <a:pt x="0" y="62484"/>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0" name="Freeform: Shape 79">
                <a:extLst>
                  <a:ext uri="{FF2B5EF4-FFF2-40B4-BE49-F238E27FC236}">
                    <a16:creationId xmlns:a16="http://schemas.microsoft.com/office/drawing/2014/main" id="{FAC4E160-FAD6-4BD0-B969-B852E4D13B3A}"/>
                  </a:ext>
                </a:extLst>
              </p:cNvPr>
              <p:cNvSpPr/>
              <p:nvPr/>
            </p:nvSpPr>
            <p:spPr>
              <a:xfrm>
                <a:off x="6133659" y="3480418"/>
                <a:ext cx="9525" cy="41719"/>
              </a:xfrm>
              <a:custGeom>
                <a:avLst/>
                <a:gdLst>
                  <a:gd name="connsiteX0" fmla="*/ 0 w 9525"/>
                  <a:gd name="connsiteY0" fmla="*/ 41720 h 41719"/>
                  <a:gd name="connsiteX1" fmla="*/ 0 w 9525"/>
                  <a:gd name="connsiteY1" fmla="*/ 0 h 41719"/>
                </a:gdLst>
                <a:ahLst/>
                <a:cxnLst>
                  <a:cxn ang="0">
                    <a:pos x="connsiteX0" y="connsiteY0"/>
                  </a:cxn>
                  <a:cxn ang="0">
                    <a:pos x="connsiteX1" y="connsiteY1"/>
                  </a:cxn>
                </a:cxnLst>
                <a:rect l="l" t="t" r="r" b="b"/>
                <a:pathLst>
                  <a:path w="9525" h="41719">
                    <a:moveTo>
                      <a:pt x="0" y="4172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1" name="Freeform: Shape 80">
                <a:extLst>
                  <a:ext uri="{FF2B5EF4-FFF2-40B4-BE49-F238E27FC236}">
                    <a16:creationId xmlns:a16="http://schemas.microsoft.com/office/drawing/2014/main" id="{87D1A7DF-014E-4A6A-A2D6-6CA60E94CAF8}"/>
                  </a:ext>
                </a:extLst>
              </p:cNvPr>
              <p:cNvSpPr/>
              <p:nvPr/>
            </p:nvSpPr>
            <p:spPr>
              <a:xfrm>
                <a:off x="6163377" y="3475179"/>
                <a:ext cx="9525" cy="46958"/>
              </a:xfrm>
              <a:custGeom>
                <a:avLst/>
                <a:gdLst>
                  <a:gd name="connsiteX0" fmla="*/ 0 w 9525"/>
                  <a:gd name="connsiteY0" fmla="*/ 46958 h 46958"/>
                  <a:gd name="connsiteX1" fmla="*/ 0 w 9525"/>
                  <a:gd name="connsiteY1" fmla="*/ 0 h 46958"/>
                </a:gdLst>
                <a:ahLst/>
                <a:cxnLst>
                  <a:cxn ang="0">
                    <a:pos x="connsiteX0" y="connsiteY0"/>
                  </a:cxn>
                  <a:cxn ang="0">
                    <a:pos x="connsiteX1" y="connsiteY1"/>
                  </a:cxn>
                </a:cxnLst>
                <a:rect l="l" t="t" r="r" b="b"/>
                <a:pathLst>
                  <a:path w="9525" h="46958">
                    <a:moveTo>
                      <a:pt x="0" y="46958"/>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2" name="Freeform: Shape 81">
                <a:extLst>
                  <a:ext uri="{FF2B5EF4-FFF2-40B4-BE49-F238E27FC236}">
                    <a16:creationId xmlns:a16="http://schemas.microsoft.com/office/drawing/2014/main" id="{984516E4-4C2A-4021-8F1E-E9E28F38B44B}"/>
                  </a:ext>
                </a:extLst>
              </p:cNvPr>
              <p:cNvSpPr/>
              <p:nvPr/>
            </p:nvSpPr>
            <p:spPr>
              <a:xfrm>
                <a:off x="6193190" y="3500135"/>
                <a:ext cx="9525" cy="22002"/>
              </a:xfrm>
              <a:custGeom>
                <a:avLst/>
                <a:gdLst>
                  <a:gd name="connsiteX0" fmla="*/ 0 w 9525"/>
                  <a:gd name="connsiteY0" fmla="*/ 22003 h 22002"/>
                  <a:gd name="connsiteX1" fmla="*/ 0 w 9525"/>
                  <a:gd name="connsiteY1" fmla="*/ 0 h 22002"/>
                </a:gdLst>
                <a:ahLst/>
                <a:cxnLst>
                  <a:cxn ang="0">
                    <a:pos x="connsiteX0" y="connsiteY0"/>
                  </a:cxn>
                  <a:cxn ang="0">
                    <a:pos x="connsiteX1" y="connsiteY1"/>
                  </a:cxn>
                </a:cxnLst>
                <a:rect l="l" t="t" r="r" b="b"/>
                <a:pathLst>
                  <a:path w="9525" h="22002">
                    <a:moveTo>
                      <a:pt x="0" y="22003"/>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3" name="Freeform: Shape 82">
                <a:extLst>
                  <a:ext uri="{FF2B5EF4-FFF2-40B4-BE49-F238E27FC236}">
                    <a16:creationId xmlns:a16="http://schemas.microsoft.com/office/drawing/2014/main" id="{0425EB54-15FB-4EBC-AE68-A88E0E79B470}"/>
                  </a:ext>
                </a:extLst>
              </p:cNvPr>
              <p:cNvSpPr/>
              <p:nvPr/>
            </p:nvSpPr>
            <p:spPr>
              <a:xfrm>
                <a:off x="6100322" y="3390597"/>
                <a:ext cx="92866"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4" name="Freeform: Shape 83">
                <a:extLst>
                  <a:ext uri="{FF2B5EF4-FFF2-40B4-BE49-F238E27FC236}">
                    <a16:creationId xmlns:a16="http://schemas.microsoft.com/office/drawing/2014/main" id="{1C525B00-72C3-4275-8C24-D48DAF98F3CB}"/>
                  </a:ext>
                </a:extLst>
              </p:cNvPr>
              <p:cNvSpPr/>
              <p:nvPr/>
            </p:nvSpPr>
            <p:spPr>
              <a:xfrm>
                <a:off x="6100310" y="3415076"/>
                <a:ext cx="92866"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5" name="Freeform: Shape 84">
                <a:extLst>
                  <a:ext uri="{FF2B5EF4-FFF2-40B4-BE49-F238E27FC236}">
                    <a16:creationId xmlns:a16="http://schemas.microsoft.com/office/drawing/2014/main" id="{8E4186D0-0513-44D7-8218-C8AE4B508E98}"/>
                  </a:ext>
                </a:extLst>
              </p:cNvPr>
              <p:cNvSpPr/>
              <p:nvPr/>
            </p:nvSpPr>
            <p:spPr>
              <a:xfrm>
                <a:off x="6260408" y="3498896"/>
                <a:ext cx="82579"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6" name="Freeform: Shape 85">
                <a:extLst>
                  <a:ext uri="{FF2B5EF4-FFF2-40B4-BE49-F238E27FC236}">
                    <a16:creationId xmlns:a16="http://schemas.microsoft.com/office/drawing/2014/main" id="{813DE6C0-A0E7-4690-94F8-54C16BE49265}"/>
                  </a:ext>
                </a:extLst>
              </p:cNvPr>
              <p:cNvSpPr/>
              <p:nvPr/>
            </p:nvSpPr>
            <p:spPr>
              <a:xfrm>
                <a:off x="6260443" y="3523370"/>
                <a:ext cx="82579"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7" name="Freeform: Shape 86">
                <a:extLst>
                  <a:ext uri="{FF2B5EF4-FFF2-40B4-BE49-F238E27FC236}">
                    <a16:creationId xmlns:a16="http://schemas.microsoft.com/office/drawing/2014/main" id="{1B1CB984-6483-43DE-AA2B-53A6FF06C400}"/>
                  </a:ext>
                </a:extLst>
              </p:cNvPr>
              <p:cNvSpPr/>
              <p:nvPr/>
            </p:nvSpPr>
            <p:spPr>
              <a:xfrm>
                <a:off x="6264727" y="3382408"/>
                <a:ext cx="70293" cy="70294"/>
              </a:xfrm>
              <a:custGeom>
                <a:avLst/>
                <a:gdLst>
                  <a:gd name="connsiteX0" fmla="*/ 70295 w 70294"/>
                  <a:gd name="connsiteY0" fmla="*/ 35147 h 70294"/>
                  <a:gd name="connsiteX1" fmla="*/ 35147 w 70294"/>
                  <a:gd name="connsiteY1" fmla="*/ 70295 h 70294"/>
                  <a:gd name="connsiteX2" fmla="*/ 0 w 70294"/>
                  <a:gd name="connsiteY2" fmla="*/ 35147 h 70294"/>
                  <a:gd name="connsiteX3" fmla="*/ 35147 w 70294"/>
                  <a:gd name="connsiteY3" fmla="*/ 0 h 70294"/>
                  <a:gd name="connsiteX4" fmla="*/ 70295 w 70294"/>
                  <a:gd name="connsiteY4" fmla="*/ 35147 h 7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4" h="70294">
                    <a:moveTo>
                      <a:pt x="70295" y="35147"/>
                    </a:moveTo>
                    <a:cubicBezTo>
                      <a:pt x="70295" y="54559"/>
                      <a:pt x="54559" y="70295"/>
                      <a:pt x="35147" y="70295"/>
                    </a:cubicBezTo>
                    <a:cubicBezTo>
                      <a:pt x="15736" y="70295"/>
                      <a:pt x="0" y="54559"/>
                      <a:pt x="0" y="35147"/>
                    </a:cubicBezTo>
                    <a:cubicBezTo>
                      <a:pt x="0" y="15736"/>
                      <a:pt x="15736" y="0"/>
                      <a:pt x="35147" y="0"/>
                    </a:cubicBezTo>
                    <a:cubicBezTo>
                      <a:pt x="54559" y="0"/>
                      <a:pt x="70295" y="15736"/>
                      <a:pt x="70295" y="3514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8" name="Freeform: Shape 87">
                <a:extLst>
                  <a:ext uri="{FF2B5EF4-FFF2-40B4-BE49-F238E27FC236}">
                    <a16:creationId xmlns:a16="http://schemas.microsoft.com/office/drawing/2014/main" id="{3C79FD02-92A9-4EA3-870B-3C632A44966A}"/>
                  </a:ext>
                </a:extLst>
              </p:cNvPr>
              <p:cNvSpPr/>
              <p:nvPr/>
            </p:nvSpPr>
            <p:spPr>
              <a:xfrm>
                <a:off x="6302921" y="3390600"/>
                <a:ext cx="17049" cy="25718"/>
              </a:xfrm>
              <a:custGeom>
                <a:avLst/>
                <a:gdLst>
                  <a:gd name="connsiteX0" fmla="*/ 17050 w 17049"/>
                  <a:gd name="connsiteY0" fmla="*/ 0 h 25717"/>
                  <a:gd name="connsiteX1" fmla="*/ 0 w 17049"/>
                  <a:gd name="connsiteY1" fmla="*/ 25718 h 25717"/>
                </a:gdLst>
                <a:ahLst/>
                <a:cxnLst>
                  <a:cxn ang="0">
                    <a:pos x="connsiteX0" y="connsiteY0"/>
                  </a:cxn>
                  <a:cxn ang="0">
                    <a:pos x="connsiteX1" y="connsiteY1"/>
                  </a:cxn>
                </a:cxnLst>
                <a:rect l="l" t="t" r="r" b="b"/>
                <a:pathLst>
                  <a:path w="17049" h="25717">
                    <a:moveTo>
                      <a:pt x="17050" y="0"/>
                    </a:moveTo>
                    <a:lnTo>
                      <a:pt x="0" y="25718"/>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89" name="Freeform: Shape 88">
                <a:extLst>
                  <a:ext uri="{FF2B5EF4-FFF2-40B4-BE49-F238E27FC236}">
                    <a16:creationId xmlns:a16="http://schemas.microsoft.com/office/drawing/2014/main" id="{1F02F1D9-B1BD-4D7E-8F40-A764F2CEFD6D}"/>
                  </a:ext>
                </a:extLst>
              </p:cNvPr>
              <p:cNvSpPr/>
              <p:nvPr/>
            </p:nvSpPr>
            <p:spPr>
              <a:xfrm>
                <a:off x="6291674" y="3384866"/>
                <a:ext cx="33623" cy="53911"/>
              </a:xfrm>
              <a:custGeom>
                <a:avLst/>
                <a:gdLst>
                  <a:gd name="connsiteX0" fmla="*/ 0 w 33623"/>
                  <a:gd name="connsiteY0" fmla="*/ 0 h 53911"/>
                  <a:gd name="connsiteX1" fmla="*/ 8287 w 33623"/>
                  <a:gd name="connsiteY1" fmla="*/ 32671 h 53911"/>
                  <a:gd name="connsiteX2" fmla="*/ 33623 w 33623"/>
                  <a:gd name="connsiteY2" fmla="*/ 53911 h 53911"/>
                </a:gdLst>
                <a:ahLst/>
                <a:cxnLst>
                  <a:cxn ang="0">
                    <a:pos x="connsiteX0" y="connsiteY0"/>
                  </a:cxn>
                  <a:cxn ang="0">
                    <a:pos x="connsiteX1" y="connsiteY1"/>
                  </a:cxn>
                  <a:cxn ang="0">
                    <a:pos x="connsiteX2" y="connsiteY2"/>
                  </a:cxn>
                </a:cxnLst>
                <a:rect l="l" t="t" r="r" b="b"/>
                <a:pathLst>
                  <a:path w="33623" h="53911">
                    <a:moveTo>
                      <a:pt x="0" y="0"/>
                    </a:moveTo>
                    <a:lnTo>
                      <a:pt x="8287" y="32671"/>
                    </a:lnTo>
                    <a:lnTo>
                      <a:pt x="33623" y="53911"/>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grpSp>
        <p:sp>
          <p:nvSpPr>
            <p:cNvPr id="96" name="Freeform: Shape 95">
              <a:extLst>
                <a:ext uri="{FF2B5EF4-FFF2-40B4-BE49-F238E27FC236}">
                  <a16:creationId xmlns:a16="http://schemas.microsoft.com/office/drawing/2014/main" id="{2B7DB131-B586-416E-8379-FF770069B4FD}"/>
                </a:ext>
                <a:ext uri="{C183D7F6-B498-43B3-948B-1728B52AA6E4}">
                  <adec:decorative xmlns:adec="http://schemas.microsoft.com/office/drawing/2017/decorative" val="1"/>
                </a:ext>
              </a:extLst>
            </p:cNvPr>
            <p:cNvSpPr/>
            <p:nvPr/>
          </p:nvSpPr>
          <p:spPr>
            <a:xfrm>
              <a:off x="11239815" y="4635391"/>
              <a:ext cx="84098" cy="84098"/>
            </a:xfrm>
            <a:custGeom>
              <a:avLst/>
              <a:gdLst>
                <a:gd name="connsiteX0" fmla="*/ 72390 w 72390"/>
                <a:gd name="connsiteY0" fmla="*/ 36195 h 72390"/>
                <a:gd name="connsiteX1" fmla="*/ 36195 w 72390"/>
                <a:gd name="connsiteY1" fmla="*/ 72390 h 72390"/>
                <a:gd name="connsiteX2" fmla="*/ 0 w 72390"/>
                <a:gd name="connsiteY2" fmla="*/ 36195 h 72390"/>
                <a:gd name="connsiteX3" fmla="*/ 36195 w 72390"/>
                <a:gd name="connsiteY3" fmla="*/ 0 h 72390"/>
                <a:gd name="connsiteX4" fmla="*/ 72390 w 72390"/>
                <a:gd name="connsiteY4" fmla="*/ 36195 h 72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 h="72390">
                  <a:moveTo>
                    <a:pt x="72390" y="36195"/>
                  </a:moveTo>
                  <a:cubicBezTo>
                    <a:pt x="72390" y="56185"/>
                    <a:pt x="56185" y="72390"/>
                    <a:pt x="36195" y="72390"/>
                  </a:cubicBezTo>
                  <a:cubicBezTo>
                    <a:pt x="16205" y="72390"/>
                    <a:pt x="0" y="56185"/>
                    <a:pt x="0" y="36195"/>
                  </a:cubicBezTo>
                  <a:cubicBezTo>
                    <a:pt x="0" y="16205"/>
                    <a:pt x="16205" y="0"/>
                    <a:pt x="36195" y="0"/>
                  </a:cubicBezTo>
                  <a:cubicBezTo>
                    <a:pt x="56185" y="0"/>
                    <a:pt x="72390" y="16205"/>
                    <a:pt x="72390" y="36195"/>
                  </a:cubicBezTo>
                  <a:close/>
                </a:path>
              </a:pathLst>
            </a:custGeom>
            <a:noFill/>
            <a:ln w="12700" cap="flat">
              <a:solidFill>
                <a:schemeClr val="bg1"/>
              </a:solidFill>
              <a:prstDash val="solid"/>
              <a:miter/>
            </a:ln>
          </p:spPr>
          <p:txBody>
            <a:bodyPr rtlCol="0" anchor="ctr"/>
            <a:lstStyle/>
            <a:p>
              <a:endParaRPr lang="en-US" sz="1765"/>
            </a:p>
          </p:txBody>
        </p:sp>
        <p:sp>
          <p:nvSpPr>
            <p:cNvPr id="97" name="Freeform: Shape 96">
              <a:extLst>
                <a:ext uri="{FF2B5EF4-FFF2-40B4-BE49-F238E27FC236}">
                  <a16:creationId xmlns:a16="http://schemas.microsoft.com/office/drawing/2014/main" id="{EEF80346-1D7A-4BDC-8532-69FB3EAAD9AE}"/>
                </a:ext>
                <a:ext uri="{C183D7F6-B498-43B3-948B-1728B52AA6E4}">
                  <adec:decorative xmlns:adec="http://schemas.microsoft.com/office/drawing/2017/decorative" val="1"/>
                </a:ext>
              </a:extLst>
            </p:cNvPr>
            <p:cNvSpPr/>
            <p:nvPr/>
          </p:nvSpPr>
          <p:spPr>
            <a:xfrm>
              <a:off x="11197213" y="4588694"/>
              <a:ext cx="169302" cy="177491"/>
            </a:xfrm>
            <a:custGeom>
              <a:avLst/>
              <a:gdLst>
                <a:gd name="connsiteX0" fmla="*/ 136398 w 145732"/>
                <a:gd name="connsiteY0" fmla="*/ 76391 h 152781"/>
                <a:gd name="connsiteX1" fmla="*/ 133350 w 145732"/>
                <a:gd name="connsiteY1" fmla="*/ 56864 h 152781"/>
                <a:gd name="connsiteX2" fmla="*/ 145733 w 145732"/>
                <a:gd name="connsiteY2" fmla="*/ 49721 h 152781"/>
                <a:gd name="connsiteX3" fmla="*/ 132398 w 145732"/>
                <a:gd name="connsiteY3" fmla="*/ 26670 h 152781"/>
                <a:gd name="connsiteX4" fmla="*/ 119920 w 145732"/>
                <a:gd name="connsiteY4" fmla="*/ 33814 h 152781"/>
                <a:gd name="connsiteX5" fmla="*/ 86201 w 145732"/>
                <a:gd name="connsiteY5" fmla="*/ 14288 h 152781"/>
                <a:gd name="connsiteX6" fmla="*/ 86201 w 145732"/>
                <a:gd name="connsiteY6" fmla="*/ 0 h 152781"/>
                <a:gd name="connsiteX7" fmla="*/ 59531 w 145732"/>
                <a:gd name="connsiteY7" fmla="*/ 0 h 152781"/>
                <a:gd name="connsiteX8" fmla="*/ 59531 w 145732"/>
                <a:gd name="connsiteY8" fmla="*/ 14288 h 152781"/>
                <a:gd name="connsiteX9" fmla="*/ 25813 w 145732"/>
                <a:gd name="connsiteY9" fmla="*/ 33814 h 152781"/>
                <a:gd name="connsiteX10" fmla="*/ 13335 w 145732"/>
                <a:gd name="connsiteY10" fmla="*/ 26670 h 152781"/>
                <a:gd name="connsiteX11" fmla="*/ 0 w 145732"/>
                <a:gd name="connsiteY11" fmla="*/ 49721 h 152781"/>
                <a:gd name="connsiteX12" fmla="*/ 12382 w 145732"/>
                <a:gd name="connsiteY12" fmla="*/ 56864 h 152781"/>
                <a:gd name="connsiteX13" fmla="*/ 9334 w 145732"/>
                <a:gd name="connsiteY13" fmla="*/ 76391 h 152781"/>
                <a:gd name="connsiteX14" fmla="*/ 12382 w 145732"/>
                <a:gd name="connsiteY14" fmla="*/ 95917 h 152781"/>
                <a:gd name="connsiteX15" fmla="*/ 0 w 145732"/>
                <a:gd name="connsiteY15" fmla="*/ 103061 h 152781"/>
                <a:gd name="connsiteX16" fmla="*/ 13335 w 145732"/>
                <a:gd name="connsiteY16" fmla="*/ 126111 h 152781"/>
                <a:gd name="connsiteX17" fmla="*/ 25813 w 145732"/>
                <a:gd name="connsiteY17" fmla="*/ 118967 h 152781"/>
                <a:gd name="connsiteX18" fmla="*/ 59531 w 145732"/>
                <a:gd name="connsiteY18" fmla="*/ 138494 h 152781"/>
                <a:gd name="connsiteX19" fmla="*/ 59531 w 145732"/>
                <a:gd name="connsiteY19" fmla="*/ 152781 h 152781"/>
                <a:gd name="connsiteX20" fmla="*/ 86201 w 145732"/>
                <a:gd name="connsiteY20" fmla="*/ 152781 h 152781"/>
                <a:gd name="connsiteX21" fmla="*/ 86201 w 145732"/>
                <a:gd name="connsiteY21" fmla="*/ 138494 h 152781"/>
                <a:gd name="connsiteX22" fmla="*/ 119920 w 145732"/>
                <a:gd name="connsiteY22" fmla="*/ 118967 h 152781"/>
                <a:gd name="connsiteX23" fmla="*/ 132398 w 145732"/>
                <a:gd name="connsiteY23" fmla="*/ 126111 h 152781"/>
                <a:gd name="connsiteX24" fmla="*/ 145733 w 145732"/>
                <a:gd name="connsiteY24" fmla="*/ 103061 h 152781"/>
                <a:gd name="connsiteX25" fmla="*/ 133350 w 145732"/>
                <a:gd name="connsiteY25" fmla="*/ 95917 h 152781"/>
                <a:gd name="connsiteX26" fmla="*/ 136398 w 145732"/>
                <a:gd name="connsiteY26" fmla="*/ 76391 h 15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732" h="152781">
                  <a:moveTo>
                    <a:pt x="136398" y="76391"/>
                  </a:moveTo>
                  <a:cubicBezTo>
                    <a:pt x="136398" y="69628"/>
                    <a:pt x="135255" y="63056"/>
                    <a:pt x="133350" y="56864"/>
                  </a:cubicBezTo>
                  <a:lnTo>
                    <a:pt x="145733" y="49721"/>
                  </a:lnTo>
                  <a:lnTo>
                    <a:pt x="132398" y="26670"/>
                  </a:lnTo>
                  <a:lnTo>
                    <a:pt x="119920" y="33814"/>
                  </a:lnTo>
                  <a:cubicBezTo>
                    <a:pt x="111157" y="24098"/>
                    <a:pt x="99441" y="17145"/>
                    <a:pt x="86201" y="14288"/>
                  </a:cubicBezTo>
                  <a:lnTo>
                    <a:pt x="86201" y="0"/>
                  </a:lnTo>
                  <a:lnTo>
                    <a:pt x="59531" y="0"/>
                  </a:lnTo>
                  <a:lnTo>
                    <a:pt x="59531" y="14288"/>
                  </a:lnTo>
                  <a:cubicBezTo>
                    <a:pt x="46291" y="17145"/>
                    <a:pt x="34576" y="24098"/>
                    <a:pt x="25813" y="33814"/>
                  </a:cubicBezTo>
                  <a:lnTo>
                    <a:pt x="13335" y="26670"/>
                  </a:lnTo>
                  <a:lnTo>
                    <a:pt x="0" y="49721"/>
                  </a:lnTo>
                  <a:lnTo>
                    <a:pt x="12382" y="56864"/>
                  </a:lnTo>
                  <a:cubicBezTo>
                    <a:pt x="10382" y="63056"/>
                    <a:pt x="9334" y="69533"/>
                    <a:pt x="9334" y="76391"/>
                  </a:cubicBezTo>
                  <a:cubicBezTo>
                    <a:pt x="9334" y="83153"/>
                    <a:pt x="10478" y="89726"/>
                    <a:pt x="12382" y="95917"/>
                  </a:cubicBezTo>
                  <a:lnTo>
                    <a:pt x="0" y="103061"/>
                  </a:lnTo>
                  <a:lnTo>
                    <a:pt x="13335" y="126111"/>
                  </a:lnTo>
                  <a:lnTo>
                    <a:pt x="25813" y="118967"/>
                  </a:lnTo>
                  <a:cubicBezTo>
                    <a:pt x="34576" y="128683"/>
                    <a:pt x="46291" y="135636"/>
                    <a:pt x="59531" y="138494"/>
                  </a:cubicBezTo>
                  <a:lnTo>
                    <a:pt x="59531" y="152781"/>
                  </a:lnTo>
                  <a:lnTo>
                    <a:pt x="86201" y="152781"/>
                  </a:lnTo>
                  <a:lnTo>
                    <a:pt x="86201" y="138494"/>
                  </a:lnTo>
                  <a:cubicBezTo>
                    <a:pt x="99441" y="135636"/>
                    <a:pt x="111157" y="128683"/>
                    <a:pt x="119920" y="118967"/>
                  </a:cubicBezTo>
                  <a:lnTo>
                    <a:pt x="132398" y="126111"/>
                  </a:lnTo>
                  <a:lnTo>
                    <a:pt x="145733" y="103061"/>
                  </a:lnTo>
                  <a:lnTo>
                    <a:pt x="133350" y="95917"/>
                  </a:lnTo>
                  <a:cubicBezTo>
                    <a:pt x="135350" y="89726"/>
                    <a:pt x="136398" y="83153"/>
                    <a:pt x="136398" y="76391"/>
                  </a:cubicBezTo>
                  <a:close/>
                </a:path>
              </a:pathLst>
            </a:custGeom>
            <a:noFill/>
            <a:ln w="12700" cap="flat">
              <a:solidFill>
                <a:schemeClr val="bg1"/>
              </a:solidFill>
              <a:prstDash val="solid"/>
              <a:miter/>
            </a:ln>
          </p:spPr>
          <p:txBody>
            <a:bodyPr rtlCol="0" anchor="ctr"/>
            <a:lstStyle/>
            <a:p>
              <a:endParaRPr lang="en-US" sz="1765"/>
            </a:p>
          </p:txBody>
        </p:sp>
        <p:sp>
          <p:nvSpPr>
            <p:cNvPr id="98" name="Freeform: Shape 97">
              <a:extLst>
                <a:ext uri="{FF2B5EF4-FFF2-40B4-BE49-F238E27FC236}">
                  <a16:creationId xmlns:a16="http://schemas.microsoft.com/office/drawing/2014/main" id="{147230A8-3326-4219-9405-BF19B6390CAC}"/>
                </a:ext>
                <a:ext uri="{C183D7F6-B498-43B3-948B-1728B52AA6E4}">
                  <adec:decorative xmlns:adec="http://schemas.microsoft.com/office/drawing/2017/decorative" val="1"/>
                </a:ext>
              </a:extLst>
            </p:cNvPr>
            <p:cNvSpPr/>
            <p:nvPr/>
          </p:nvSpPr>
          <p:spPr>
            <a:xfrm>
              <a:off x="10996706" y="4412642"/>
              <a:ext cx="356420" cy="219539"/>
            </a:xfrm>
            <a:custGeom>
              <a:avLst/>
              <a:gdLst>
                <a:gd name="connsiteX0" fmla="*/ 0 w 306800"/>
                <a:gd name="connsiteY0" fmla="*/ 188976 h 188975"/>
                <a:gd name="connsiteX1" fmla="*/ 150114 w 306800"/>
                <a:gd name="connsiteY1" fmla="*/ 38767 h 188975"/>
                <a:gd name="connsiteX2" fmla="*/ 209074 w 306800"/>
                <a:gd name="connsiteY2" fmla="*/ 97727 h 188975"/>
                <a:gd name="connsiteX3" fmla="*/ 306800 w 306800"/>
                <a:gd name="connsiteY3" fmla="*/ 0 h 188975"/>
              </a:gdLst>
              <a:ahLst/>
              <a:cxnLst>
                <a:cxn ang="0">
                  <a:pos x="connsiteX0" y="connsiteY0"/>
                </a:cxn>
                <a:cxn ang="0">
                  <a:pos x="connsiteX1" y="connsiteY1"/>
                </a:cxn>
                <a:cxn ang="0">
                  <a:pos x="connsiteX2" y="connsiteY2"/>
                </a:cxn>
                <a:cxn ang="0">
                  <a:pos x="connsiteX3" y="connsiteY3"/>
                </a:cxn>
              </a:cxnLst>
              <a:rect l="l" t="t" r="r" b="b"/>
              <a:pathLst>
                <a:path w="306800" h="188975">
                  <a:moveTo>
                    <a:pt x="0" y="188976"/>
                  </a:moveTo>
                  <a:lnTo>
                    <a:pt x="150114" y="38767"/>
                  </a:lnTo>
                  <a:lnTo>
                    <a:pt x="209074" y="97727"/>
                  </a:lnTo>
                  <a:lnTo>
                    <a:pt x="306800" y="0"/>
                  </a:lnTo>
                </a:path>
              </a:pathLst>
            </a:custGeom>
            <a:noFill/>
            <a:ln w="12700" cap="flat">
              <a:solidFill>
                <a:schemeClr val="bg1"/>
              </a:solidFill>
              <a:prstDash val="solid"/>
              <a:miter/>
            </a:ln>
          </p:spPr>
          <p:txBody>
            <a:bodyPr rtlCol="0" anchor="ctr"/>
            <a:lstStyle/>
            <a:p>
              <a:endParaRPr lang="en-US" sz="1765"/>
            </a:p>
          </p:txBody>
        </p:sp>
        <p:sp>
          <p:nvSpPr>
            <p:cNvPr id="99" name="Freeform: Shape 98">
              <a:extLst>
                <a:ext uri="{FF2B5EF4-FFF2-40B4-BE49-F238E27FC236}">
                  <a16:creationId xmlns:a16="http://schemas.microsoft.com/office/drawing/2014/main" id="{07FB0FFC-A544-4836-80B6-43011C387384}"/>
                </a:ext>
                <a:ext uri="{C183D7F6-B498-43B3-948B-1728B52AA6E4}">
                  <adec:decorative xmlns:adec="http://schemas.microsoft.com/office/drawing/2017/decorative" val="1"/>
                </a:ext>
              </a:extLst>
            </p:cNvPr>
            <p:cNvSpPr/>
            <p:nvPr/>
          </p:nvSpPr>
          <p:spPr>
            <a:xfrm>
              <a:off x="11281864" y="4408216"/>
              <a:ext cx="77015" cy="77679"/>
            </a:xfrm>
            <a:custGeom>
              <a:avLst/>
              <a:gdLst>
                <a:gd name="connsiteX0" fmla="*/ 0 w 66293"/>
                <a:gd name="connsiteY0" fmla="*/ 0 h 66865"/>
                <a:gd name="connsiteX1" fmla="*/ 66294 w 66293"/>
                <a:gd name="connsiteY1" fmla="*/ 0 h 66865"/>
                <a:gd name="connsiteX2" fmla="*/ 66294 w 66293"/>
                <a:gd name="connsiteY2" fmla="*/ 66866 h 66865"/>
              </a:gdLst>
              <a:ahLst/>
              <a:cxnLst>
                <a:cxn ang="0">
                  <a:pos x="connsiteX0" y="connsiteY0"/>
                </a:cxn>
                <a:cxn ang="0">
                  <a:pos x="connsiteX1" y="connsiteY1"/>
                </a:cxn>
                <a:cxn ang="0">
                  <a:pos x="connsiteX2" y="connsiteY2"/>
                </a:cxn>
              </a:cxnLst>
              <a:rect l="l" t="t" r="r" b="b"/>
              <a:pathLst>
                <a:path w="66293" h="66865">
                  <a:moveTo>
                    <a:pt x="0" y="0"/>
                  </a:moveTo>
                  <a:lnTo>
                    <a:pt x="66294" y="0"/>
                  </a:lnTo>
                  <a:lnTo>
                    <a:pt x="66294" y="66866"/>
                  </a:lnTo>
                </a:path>
              </a:pathLst>
            </a:custGeom>
            <a:noFill/>
            <a:ln w="12700" cap="flat">
              <a:solidFill>
                <a:schemeClr val="bg1"/>
              </a:solidFill>
              <a:prstDash val="solid"/>
              <a:miter/>
            </a:ln>
          </p:spPr>
          <p:txBody>
            <a:bodyPr rtlCol="0" anchor="ctr"/>
            <a:lstStyle/>
            <a:p>
              <a:endParaRPr lang="en-US" sz="1765"/>
            </a:p>
          </p:txBody>
        </p:sp>
        <p:sp>
          <p:nvSpPr>
            <p:cNvPr id="100" name="Freeform: Shape 99">
              <a:extLst>
                <a:ext uri="{FF2B5EF4-FFF2-40B4-BE49-F238E27FC236}">
                  <a16:creationId xmlns:a16="http://schemas.microsoft.com/office/drawing/2014/main" id="{7C17C486-35DD-487F-B21E-F4875E4786CD}"/>
                </a:ext>
                <a:ext uri="{C183D7F6-B498-43B3-948B-1728B52AA6E4}">
                  <adec:decorative xmlns:adec="http://schemas.microsoft.com/office/drawing/2017/decorative" val="1"/>
                </a:ext>
              </a:extLst>
            </p:cNvPr>
            <p:cNvSpPr/>
            <p:nvPr/>
          </p:nvSpPr>
          <p:spPr>
            <a:xfrm>
              <a:off x="11003566" y="4686181"/>
              <a:ext cx="11066" cy="48688"/>
            </a:xfrm>
            <a:custGeom>
              <a:avLst/>
              <a:gdLst>
                <a:gd name="connsiteX0" fmla="*/ 0 w 9525"/>
                <a:gd name="connsiteY0" fmla="*/ 0 h 41910"/>
                <a:gd name="connsiteX1" fmla="*/ 0 w 9525"/>
                <a:gd name="connsiteY1" fmla="*/ 41910 h 41910"/>
              </a:gdLst>
              <a:ahLst/>
              <a:cxnLst>
                <a:cxn ang="0">
                  <a:pos x="connsiteX0" y="connsiteY0"/>
                </a:cxn>
                <a:cxn ang="0">
                  <a:pos x="connsiteX1" y="connsiteY1"/>
                </a:cxn>
              </a:cxnLst>
              <a:rect l="l" t="t" r="r" b="b"/>
              <a:pathLst>
                <a:path w="9525" h="41910">
                  <a:moveTo>
                    <a:pt x="0" y="0"/>
                  </a:moveTo>
                  <a:lnTo>
                    <a:pt x="0" y="41910"/>
                  </a:lnTo>
                </a:path>
              </a:pathLst>
            </a:custGeom>
            <a:noFill/>
            <a:ln w="12700" cap="flat">
              <a:solidFill>
                <a:schemeClr val="bg1"/>
              </a:solidFill>
              <a:prstDash val="solid"/>
              <a:miter/>
            </a:ln>
          </p:spPr>
          <p:txBody>
            <a:bodyPr rtlCol="0" anchor="ctr"/>
            <a:lstStyle/>
            <a:p>
              <a:endParaRPr lang="en-US" sz="1765"/>
            </a:p>
          </p:txBody>
        </p:sp>
        <p:sp>
          <p:nvSpPr>
            <p:cNvPr id="101" name="Freeform: Shape 100">
              <a:extLst>
                <a:ext uri="{FF2B5EF4-FFF2-40B4-BE49-F238E27FC236}">
                  <a16:creationId xmlns:a16="http://schemas.microsoft.com/office/drawing/2014/main" id="{FC8F042F-BAD9-4A03-AA81-AFC3BA3CB4EC}"/>
                </a:ext>
                <a:ext uri="{C183D7F6-B498-43B3-948B-1728B52AA6E4}">
                  <adec:decorative xmlns:adec="http://schemas.microsoft.com/office/drawing/2017/decorative" val="1"/>
                </a:ext>
              </a:extLst>
            </p:cNvPr>
            <p:cNvSpPr/>
            <p:nvPr/>
          </p:nvSpPr>
          <p:spPr>
            <a:xfrm>
              <a:off x="11050041" y="4637383"/>
              <a:ext cx="11066" cy="97487"/>
            </a:xfrm>
            <a:custGeom>
              <a:avLst/>
              <a:gdLst>
                <a:gd name="connsiteX0" fmla="*/ 0 w 9525"/>
                <a:gd name="connsiteY0" fmla="*/ 0 h 83915"/>
                <a:gd name="connsiteX1" fmla="*/ 0 w 9525"/>
                <a:gd name="connsiteY1" fmla="*/ 83915 h 83915"/>
              </a:gdLst>
              <a:ahLst/>
              <a:cxnLst>
                <a:cxn ang="0">
                  <a:pos x="connsiteX0" y="connsiteY0"/>
                </a:cxn>
                <a:cxn ang="0">
                  <a:pos x="connsiteX1" y="connsiteY1"/>
                </a:cxn>
              </a:cxnLst>
              <a:rect l="l" t="t" r="r" b="b"/>
              <a:pathLst>
                <a:path w="9525" h="83915">
                  <a:moveTo>
                    <a:pt x="0" y="0"/>
                  </a:moveTo>
                  <a:lnTo>
                    <a:pt x="0" y="83915"/>
                  </a:lnTo>
                </a:path>
              </a:pathLst>
            </a:custGeom>
            <a:noFill/>
            <a:ln w="12700" cap="flat">
              <a:solidFill>
                <a:schemeClr val="bg1"/>
              </a:solidFill>
              <a:prstDash val="solid"/>
              <a:miter/>
            </a:ln>
          </p:spPr>
          <p:txBody>
            <a:bodyPr rtlCol="0" anchor="ctr"/>
            <a:lstStyle/>
            <a:p>
              <a:endParaRPr lang="en-US" sz="1765"/>
            </a:p>
          </p:txBody>
        </p:sp>
        <p:sp>
          <p:nvSpPr>
            <p:cNvPr id="102" name="Freeform: Shape 101">
              <a:extLst>
                <a:ext uri="{FF2B5EF4-FFF2-40B4-BE49-F238E27FC236}">
                  <a16:creationId xmlns:a16="http://schemas.microsoft.com/office/drawing/2014/main" id="{D43D96A1-F997-49A5-B5A5-E97EB2531E20}"/>
                </a:ext>
                <a:ext uri="{C183D7F6-B498-43B3-948B-1728B52AA6E4}">
                  <adec:decorative xmlns:adec="http://schemas.microsoft.com/office/drawing/2017/decorative" val="1"/>
                </a:ext>
              </a:extLst>
            </p:cNvPr>
            <p:cNvSpPr/>
            <p:nvPr/>
          </p:nvSpPr>
          <p:spPr>
            <a:xfrm>
              <a:off x="11102049" y="4589027"/>
              <a:ext cx="11066" cy="145843"/>
            </a:xfrm>
            <a:custGeom>
              <a:avLst/>
              <a:gdLst>
                <a:gd name="connsiteX0" fmla="*/ 0 w 9525"/>
                <a:gd name="connsiteY0" fmla="*/ 0 h 125539"/>
                <a:gd name="connsiteX1" fmla="*/ 0 w 9525"/>
                <a:gd name="connsiteY1" fmla="*/ 125540 h 125539"/>
              </a:gdLst>
              <a:ahLst/>
              <a:cxnLst>
                <a:cxn ang="0">
                  <a:pos x="connsiteX0" y="connsiteY0"/>
                </a:cxn>
                <a:cxn ang="0">
                  <a:pos x="connsiteX1" y="connsiteY1"/>
                </a:cxn>
              </a:cxnLst>
              <a:rect l="l" t="t" r="r" b="b"/>
              <a:pathLst>
                <a:path w="9525" h="125539">
                  <a:moveTo>
                    <a:pt x="0" y="0"/>
                  </a:moveTo>
                  <a:lnTo>
                    <a:pt x="0" y="125540"/>
                  </a:lnTo>
                </a:path>
              </a:pathLst>
            </a:custGeom>
            <a:noFill/>
            <a:ln w="12700" cap="flat">
              <a:solidFill>
                <a:schemeClr val="bg1"/>
              </a:solidFill>
              <a:prstDash val="solid"/>
              <a:miter/>
            </a:ln>
          </p:spPr>
          <p:txBody>
            <a:bodyPr rtlCol="0" anchor="ctr"/>
            <a:lstStyle/>
            <a:p>
              <a:endParaRPr lang="en-US" sz="1765"/>
            </a:p>
          </p:txBody>
        </p:sp>
        <p:sp>
          <p:nvSpPr>
            <p:cNvPr id="103" name="Freeform: Shape 102">
              <a:extLst>
                <a:ext uri="{FF2B5EF4-FFF2-40B4-BE49-F238E27FC236}">
                  <a16:creationId xmlns:a16="http://schemas.microsoft.com/office/drawing/2014/main" id="{2992E67A-2B06-4D77-A2E8-80BEA53C1261}"/>
                </a:ext>
                <a:ext uri="{C183D7F6-B498-43B3-948B-1728B52AA6E4}">
                  <adec:decorative xmlns:adec="http://schemas.microsoft.com/office/drawing/2017/decorative" val="1"/>
                </a:ext>
              </a:extLst>
            </p:cNvPr>
            <p:cNvSpPr/>
            <p:nvPr/>
          </p:nvSpPr>
          <p:spPr>
            <a:xfrm>
              <a:off x="11145647" y="4545207"/>
              <a:ext cx="11066" cy="189662"/>
            </a:xfrm>
            <a:custGeom>
              <a:avLst/>
              <a:gdLst>
                <a:gd name="connsiteX0" fmla="*/ 0 w 9525"/>
                <a:gd name="connsiteY0" fmla="*/ 0 h 163258"/>
                <a:gd name="connsiteX1" fmla="*/ 0 w 9525"/>
                <a:gd name="connsiteY1" fmla="*/ 163259 h 163258"/>
              </a:gdLst>
              <a:ahLst/>
              <a:cxnLst>
                <a:cxn ang="0">
                  <a:pos x="connsiteX0" y="connsiteY0"/>
                </a:cxn>
                <a:cxn ang="0">
                  <a:pos x="connsiteX1" y="connsiteY1"/>
                </a:cxn>
              </a:cxnLst>
              <a:rect l="l" t="t" r="r" b="b"/>
              <a:pathLst>
                <a:path w="9525" h="163258">
                  <a:moveTo>
                    <a:pt x="0" y="0"/>
                  </a:moveTo>
                  <a:lnTo>
                    <a:pt x="0" y="163259"/>
                  </a:lnTo>
                </a:path>
              </a:pathLst>
            </a:custGeom>
            <a:noFill/>
            <a:ln w="12700" cap="flat">
              <a:solidFill>
                <a:schemeClr val="bg1"/>
              </a:solidFill>
              <a:prstDash val="solid"/>
              <a:miter/>
            </a:ln>
          </p:spPr>
          <p:txBody>
            <a:bodyPr rtlCol="0" anchor="ctr"/>
            <a:lstStyle/>
            <a:p>
              <a:endParaRPr lang="en-US" sz="1765"/>
            </a:p>
          </p:txBody>
        </p:sp>
        <p:sp>
          <p:nvSpPr>
            <p:cNvPr id="104" name="Freeform: Shape 103">
              <a:extLst>
                <a:ext uri="{FF2B5EF4-FFF2-40B4-BE49-F238E27FC236}">
                  <a16:creationId xmlns:a16="http://schemas.microsoft.com/office/drawing/2014/main" id="{3A179FCF-232C-418B-B185-34910EF55144}"/>
                </a:ext>
                <a:ext uri="{C183D7F6-B498-43B3-948B-1728B52AA6E4}">
                  <adec:decorative xmlns:adec="http://schemas.microsoft.com/office/drawing/2017/decorative" val="1"/>
                </a:ext>
              </a:extLst>
            </p:cNvPr>
            <p:cNvSpPr/>
            <p:nvPr/>
          </p:nvSpPr>
          <p:spPr>
            <a:xfrm>
              <a:off x="11189909" y="4539011"/>
              <a:ext cx="11066" cy="43045"/>
            </a:xfrm>
            <a:custGeom>
              <a:avLst/>
              <a:gdLst>
                <a:gd name="connsiteX0" fmla="*/ 0 w 9525"/>
                <a:gd name="connsiteY0" fmla="*/ 0 h 37052"/>
                <a:gd name="connsiteX1" fmla="*/ 0 w 9525"/>
                <a:gd name="connsiteY1" fmla="*/ 37052 h 37052"/>
              </a:gdLst>
              <a:ahLst/>
              <a:cxnLst>
                <a:cxn ang="0">
                  <a:pos x="connsiteX0" y="connsiteY0"/>
                </a:cxn>
                <a:cxn ang="0">
                  <a:pos x="connsiteX1" y="connsiteY1"/>
                </a:cxn>
              </a:cxnLst>
              <a:rect l="l" t="t" r="r" b="b"/>
              <a:pathLst>
                <a:path w="9525" h="37052">
                  <a:moveTo>
                    <a:pt x="0" y="0"/>
                  </a:moveTo>
                  <a:lnTo>
                    <a:pt x="0" y="37052"/>
                  </a:lnTo>
                </a:path>
              </a:pathLst>
            </a:custGeom>
            <a:noFill/>
            <a:ln w="12700" cap="flat">
              <a:solidFill>
                <a:schemeClr val="bg1"/>
              </a:solidFill>
              <a:prstDash val="solid"/>
              <a:miter/>
            </a:ln>
          </p:spPr>
          <p:txBody>
            <a:bodyPr rtlCol="0" anchor="ctr"/>
            <a:lstStyle/>
            <a:p>
              <a:endParaRPr lang="en-US" sz="1765"/>
            </a:p>
          </p:txBody>
        </p:sp>
        <p:sp>
          <p:nvSpPr>
            <p:cNvPr id="105" name="Freeform: Shape 104">
              <a:extLst>
                <a:ext uri="{FF2B5EF4-FFF2-40B4-BE49-F238E27FC236}">
                  <a16:creationId xmlns:a16="http://schemas.microsoft.com/office/drawing/2014/main" id="{C14193AB-E731-41D7-B6C5-97331CFD4018}"/>
                </a:ext>
                <a:ext uri="{C183D7F6-B498-43B3-948B-1728B52AA6E4}">
                  <adec:decorative xmlns:adec="http://schemas.microsoft.com/office/drawing/2017/decorative" val="1"/>
                </a:ext>
              </a:extLst>
            </p:cNvPr>
            <p:cNvSpPr/>
            <p:nvPr/>
          </p:nvSpPr>
          <p:spPr>
            <a:xfrm>
              <a:off x="11239815" y="4554613"/>
              <a:ext cx="11066" cy="27441"/>
            </a:xfrm>
            <a:custGeom>
              <a:avLst/>
              <a:gdLst>
                <a:gd name="connsiteX0" fmla="*/ 0 w 9525"/>
                <a:gd name="connsiteY0" fmla="*/ 0 h 23621"/>
                <a:gd name="connsiteX1" fmla="*/ 0 w 9525"/>
                <a:gd name="connsiteY1" fmla="*/ 23622 h 23621"/>
              </a:gdLst>
              <a:ahLst/>
              <a:cxnLst>
                <a:cxn ang="0">
                  <a:pos x="connsiteX0" y="connsiteY0"/>
                </a:cxn>
                <a:cxn ang="0">
                  <a:pos x="connsiteX1" y="connsiteY1"/>
                </a:cxn>
              </a:cxnLst>
              <a:rect l="l" t="t" r="r" b="b"/>
              <a:pathLst>
                <a:path w="9525" h="23621">
                  <a:moveTo>
                    <a:pt x="0" y="0"/>
                  </a:moveTo>
                  <a:lnTo>
                    <a:pt x="0" y="23622"/>
                  </a:lnTo>
                </a:path>
              </a:pathLst>
            </a:custGeom>
            <a:noFill/>
            <a:ln w="12700" cap="flat">
              <a:solidFill>
                <a:schemeClr val="bg1"/>
              </a:solidFill>
              <a:prstDash val="solid"/>
              <a:miter/>
            </a:ln>
          </p:spPr>
          <p:txBody>
            <a:bodyPr rtlCol="0" anchor="ctr"/>
            <a:lstStyle/>
            <a:p>
              <a:endParaRPr lang="en-US" sz="1765"/>
            </a:p>
          </p:txBody>
        </p:sp>
        <p:sp>
          <p:nvSpPr>
            <p:cNvPr id="106" name="Freeform: Shape 105">
              <a:extLst>
                <a:ext uri="{FF2B5EF4-FFF2-40B4-BE49-F238E27FC236}">
                  <a16:creationId xmlns:a16="http://schemas.microsoft.com/office/drawing/2014/main" id="{F0630702-F1E1-4D97-ACDF-36681F642C1F}"/>
                </a:ext>
                <a:ext uri="{C183D7F6-B498-43B3-948B-1728B52AA6E4}">
                  <adec:decorative xmlns:adec="http://schemas.microsoft.com/office/drawing/2017/decorative" val="1"/>
                </a:ext>
              </a:extLst>
            </p:cNvPr>
            <p:cNvSpPr/>
            <p:nvPr/>
          </p:nvSpPr>
          <p:spPr>
            <a:xfrm>
              <a:off x="11289941" y="4539011"/>
              <a:ext cx="11066" cy="22020"/>
            </a:xfrm>
            <a:custGeom>
              <a:avLst/>
              <a:gdLst>
                <a:gd name="connsiteX0" fmla="*/ 0 w 9525"/>
                <a:gd name="connsiteY0" fmla="*/ 0 h 18954"/>
                <a:gd name="connsiteX1" fmla="*/ 0 w 9525"/>
                <a:gd name="connsiteY1" fmla="*/ 18955 h 18954"/>
              </a:gdLst>
              <a:ahLst/>
              <a:cxnLst>
                <a:cxn ang="0">
                  <a:pos x="connsiteX0" y="connsiteY0"/>
                </a:cxn>
                <a:cxn ang="0">
                  <a:pos x="connsiteX1" y="connsiteY1"/>
                </a:cxn>
              </a:cxnLst>
              <a:rect l="l" t="t" r="r" b="b"/>
              <a:pathLst>
                <a:path w="9525" h="18954">
                  <a:moveTo>
                    <a:pt x="0" y="0"/>
                  </a:moveTo>
                  <a:lnTo>
                    <a:pt x="0" y="18955"/>
                  </a:lnTo>
                </a:path>
              </a:pathLst>
            </a:custGeom>
            <a:noFill/>
            <a:ln w="12700" cap="flat">
              <a:solidFill>
                <a:schemeClr val="bg1"/>
              </a:solidFill>
              <a:prstDash val="solid"/>
              <a:miter/>
            </a:ln>
          </p:spPr>
          <p:txBody>
            <a:bodyPr rtlCol="0" anchor="ctr"/>
            <a:lstStyle/>
            <a:p>
              <a:endParaRPr lang="en-US" sz="1765"/>
            </a:p>
          </p:txBody>
        </p:sp>
        <p:sp>
          <p:nvSpPr>
            <p:cNvPr id="107" name="Freeform: Shape 106">
              <a:extLst>
                <a:ext uri="{FF2B5EF4-FFF2-40B4-BE49-F238E27FC236}">
                  <a16:creationId xmlns:a16="http://schemas.microsoft.com/office/drawing/2014/main" id="{2C1BB167-D9CC-45F9-A50C-C5A49FE9B8ED}"/>
                </a:ext>
                <a:ext uri="{C183D7F6-B498-43B3-948B-1728B52AA6E4}">
                  <adec:decorative xmlns:adec="http://schemas.microsoft.com/office/drawing/2017/decorative" val="1"/>
                </a:ext>
              </a:extLst>
            </p:cNvPr>
            <p:cNvSpPr/>
            <p:nvPr/>
          </p:nvSpPr>
          <p:spPr>
            <a:xfrm>
              <a:off x="11334203" y="4516215"/>
              <a:ext cx="11066" cy="53003"/>
            </a:xfrm>
            <a:custGeom>
              <a:avLst/>
              <a:gdLst>
                <a:gd name="connsiteX0" fmla="*/ 0 w 9525"/>
                <a:gd name="connsiteY0" fmla="*/ 0 h 45624"/>
                <a:gd name="connsiteX1" fmla="*/ 0 w 9525"/>
                <a:gd name="connsiteY1" fmla="*/ 45625 h 45624"/>
              </a:gdLst>
              <a:ahLst/>
              <a:cxnLst>
                <a:cxn ang="0">
                  <a:pos x="connsiteX0" y="connsiteY0"/>
                </a:cxn>
                <a:cxn ang="0">
                  <a:pos x="connsiteX1" y="connsiteY1"/>
                </a:cxn>
              </a:cxnLst>
              <a:rect l="l" t="t" r="r" b="b"/>
              <a:pathLst>
                <a:path w="9525" h="45624">
                  <a:moveTo>
                    <a:pt x="0" y="0"/>
                  </a:moveTo>
                  <a:lnTo>
                    <a:pt x="0" y="45625"/>
                  </a:lnTo>
                </a:path>
              </a:pathLst>
            </a:custGeom>
            <a:noFill/>
            <a:ln w="12700" cap="flat">
              <a:solidFill>
                <a:schemeClr val="bg1"/>
              </a:solidFill>
              <a:prstDash val="solid"/>
              <a:miter/>
            </a:ln>
          </p:spPr>
          <p:txBody>
            <a:bodyPr rtlCol="0" anchor="ctr"/>
            <a:lstStyle/>
            <a:p>
              <a:endParaRPr lang="en-US" sz="1765"/>
            </a:p>
          </p:txBody>
        </p:sp>
        <p:sp>
          <p:nvSpPr>
            <p:cNvPr id="109" name="Freeform: Shape 108">
              <a:extLst>
                <a:ext uri="{FF2B5EF4-FFF2-40B4-BE49-F238E27FC236}">
                  <a16:creationId xmlns:a16="http://schemas.microsoft.com/office/drawing/2014/main" id="{20ACF9FE-CF5C-4C20-B59C-CD60ACC19A0C}"/>
                </a:ext>
                <a:ext uri="{C183D7F6-B498-43B3-948B-1728B52AA6E4}">
                  <adec:decorative xmlns:adec="http://schemas.microsoft.com/office/drawing/2017/decorative" val="1"/>
                </a:ext>
              </a:extLst>
            </p:cNvPr>
            <p:cNvSpPr/>
            <p:nvPr/>
          </p:nvSpPr>
          <p:spPr>
            <a:xfrm>
              <a:off x="11218572" y="2262072"/>
              <a:ext cx="225094" cy="225094"/>
            </a:xfrm>
            <a:custGeom>
              <a:avLst/>
              <a:gdLst>
                <a:gd name="connsiteX0" fmla="*/ 298941 w 298941"/>
                <a:gd name="connsiteY0" fmla="*/ 149471 h 298941"/>
                <a:gd name="connsiteX1" fmla="*/ 149471 w 298941"/>
                <a:gd name="connsiteY1" fmla="*/ 298941 h 298941"/>
                <a:gd name="connsiteX2" fmla="*/ 0 w 298941"/>
                <a:gd name="connsiteY2" fmla="*/ 149471 h 298941"/>
                <a:gd name="connsiteX3" fmla="*/ 149471 w 298941"/>
                <a:gd name="connsiteY3" fmla="*/ 0 h 298941"/>
                <a:gd name="connsiteX4" fmla="*/ 298941 w 298941"/>
                <a:gd name="connsiteY4" fmla="*/ 149471 h 29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41" h="298941">
                  <a:moveTo>
                    <a:pt x="298941" y="149471"/>
                  </a:moveTo>
                  <a:cubicBezTo>
                    <a:pt x="298941" y="232021"/>
                    <a:pt x="232021" y="298941"/>
                    <a:pt x="149471" y="298941"/>
                  </a:cubicBezTo>
                  <a:cubicBezTo>
                    <a:pt x="66920" y="298941"/>
                    <a:pt x="0" y="232021"/>
                    <a:pt x="0" y="149471"/>
                  </a:cubicBezTo>
                  <a:cubicBezTo>
                    <a:pt x="0" y="66920"/>
                    <a:pt x="66920" y="0"/>
                    <a:pt x="149471" y="0"/>
                  </a:cubicBezTo>
                  <a:cubicBezTo>
                    <a:pt x="232021" y="0"/>
                    <a:pt x="298941" y="66920"/>
                    <a:pt x="298941" y="149471"/>
                  </a:cubicBezTo>
                  <a:close/>
                </a:path>
              </a:pathLst>
            </a:custGeom>
            <a:noFill/>
            <a:ln w="12700" cap="flat">
              <a:solidFill>
                <a:schemeClr val="bg1"/>
              </a:solidFill>
              <a:prstDash val="solid"/>
              <a:miter/>
            </a:ln>
          </p:spPr>
          <p:txBody>
            <a:bodyPr rtlCol="0" anchor="ctr"/>
            <a:lstStyle/>
            <a:p>
              <a:endParaRPr lang="en-US" sz="1765"/>
            </a:p>
          </p:txBody>
        </p:sp>
        <p:sp>
          <p:nvSpPr>
            <p:cNvPr id="110" name="Freeform: Shape 109">
              <a:extLst>
                <a:ext uri="{FF2B5EF4-FFF2-40B4-BE49-F238E27FC236}">
                  <a16:creationId xmlns:a16="http://schemas.microsoft.com/office/drawing/2014/main" id="{7347F961-6CBB-4911-9C52-1768787C8B79}"/>
                </a:ext>
                <a:ext uri="{C183D7F6-B498-43B3-948B-1728B52AA6E4}">
                  <adec:decorative xmlns:adec="http://schemas.microsoft.com/office/drawing/2017/decorative" val="1"/>
                </a:ext>
              </a:extLst>
            </p:cNvPr>
            <p:cNvSpPr/>
            <p:nvPr/>
          </p:nvSpPr>
          <p:spPr>
            <a:xfrm>
              <a:off x="11326603" y="2308898"/>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11" name="Freeform: Shape 110">
              <a:extLst>
                <a:ext uri="{FF2B5EF4-FFF2-40B4-BE49-F238E27FC236}">
                  <a16:creationId xmlns:a16="http://schemas.microsoft.com/office/drawing/2014/main" id="{1030EAA2-DCCB-4464-BE3A-DF0292E5651E}"/>
                </a:ext>
                <a:ext uri="{C183D7F6-B498-43B3-948B-1728B52AA6E4}">
                  <adec:decorative xmlns:adec="http://schemas.microsoft.com/office/drawing/2017/decorative" val="1"/>
                </a:ext>
              </a:extLst>
            </p:cNvPr>
            <p:cNvSpPr/>
            <p:nvPr/>
          </p:nvSpPr>
          <p:spPr>
            <a:xfrm>
              <a:off x="11257471" y="2373698"/>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12" name="Freeform: Shape 111">
              <a:extLst>
                <a:ext uri="{FF2B5EF4-FFF2-40B4-BE49-F238E27FC236}">
                  <a16:creationId xmlns:a16="http://schemas.microsoft.com/office/drawing/2014/main" id="{141C4FF1-AFEF-46EB-A32C-84D65D863639}"/>
                </a:ext>
                <a:ext uri="{C183D7F6-B498-43B3-948B-1728B52AA6E4}">
                  <adec:decorative xmlns:adec="http://schemas.microsoft.com/office/drawing/2017/decorative" val="1"/>
                </a:ext>
              </a:extLst>
            </p:cNvPr>
            <p:cNvSpPr/>
            <p:nvPr/>
          </p:nvSpPr>
          <p:spPr>
            <a:xfrm>
              <a:off x="11159672" y="2322632"/>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13" name="Freeform: Shape 112">
              <a:extLst>
                <a:ext uri="{FF2B5EF4-FFF2-40B4-BE49-F238E27FC236}">
                  <a16:creationId xmlns:a16="http://schemas.microsoft.com/office/drawing/2014/main" id="{6D0249F3-FEE0-445F-A901-738DD3ADCA0E}"/>
                </a:ext>
                <a:ext uri="{C183D7F6-B498-43B3-948B-1728B52AA6E4}">
                  <adec:decorative xmlns:adec="http://schemas.microsoft.com/office/drawing/2017/decorative" val="1"/>
                </a:ext>
              </a:extLst>
            </p:cNvPr>
            <p:cNvSpPr/>
            <p:nvPr/>
          </p:nvSpPr>
          <p:spPr>
            <a:xfrm>
              <a:off x="11099757" y="2401535"/>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14" name="Freeform: Shape 113">
              <a:extLst>
                <a:ext uri="{FF2B5EF4-FFF2-40B4-BE49-F238E27FC236}">
                  <a16:creationId xmlns:a16="http://schemas.microsoft.com/office/drawing/2014/main" id="{4A863A1B-0087-4853-ADA1-151E1A8497B4}"/>
                </a:ext>
                <a:ext uri="{C183D7F6-B498-43B3-948B-1728B52AA6E4}">
                  <adec:decorative xmlns:adec="http://schemas.microsoft.com/office/drawing/2017/decorative" val="1"/>
                </a:ext>
              </a:extLst>
            </p:cNvPr>
            <p:cNvSpPr/>
            <p:nvPr/>
          </p:nvSpPr>
          <p:spPr>
            <a:xfrm>
              <a:off x="11398408" y="2401535"/>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15" name="Freeform: Shape 114">
              <a:extLst>
                <a:ext uri="{FF2B5EF4-FFF2-40B4-BE49-F238E27FC236}">
                  <a16:creationId xmlns:a16="http://schemas.microsoft.com/office/drawing/2014/main" id="{B07711F5-DB25-4DAD-BA87-4277503007F7}"/>
                </a:ext>
                <a:ext uri="{C183D7F6-B498-43B3-948B-1728B52AA6E4}">
                  <adec:decorative xmlns:adec="http://schemas.microsoft.com/office/drawing/2017/decorative" val="1"/>
                </a:ext>
              </a:extLst>
            </p:cNvPr>
            <p:cNvSpPr/>
            <p:nvPr/>
          </p:nvSpPr>
          <p:spPr>
            <a:xfrm>
              <a:off x="11171009" y="2460066"/>
              <a:ext cx="86922" cy="97430"/>
            </a:xfrm>
            <a:custGeom>
              <a:avLst/>
              <a:gdLst>
                <a:gd name="connsiteX0" fmla="*/ 115439 w 115438"/>
                <a:gd name="connsiteY0" fmla="*/ 0 h 129394"/>
                <a:gd name="connsiteX1" fmla="*/ 0 w 115438"/>
                <a:gd name="connsiteY1" fmla="*/ 129394 h 129394"/>
              </a:gdLst>
              <a:ahLst/>
              <a:cxnLst>
                <a:cxn ang="0">
                  <a:pos x="connsiteX0" y="connsiteY0"/>
                </a:cxn>
                <a:cxn ang="0">
                  <a:pos x="connsiteX1" y="connsiteY1"/>
                </a:cxn>
              </a:cxnLst>
              <a:rect l="l" t="t" r="r" b="b"/>
              <a:pathLst>
                <a:path w="115438" h="129394">
                  <a:moveTo>
                    <a:pt x="115439" y="0"/>
                  </a:moveTo>
                  <a:lnTo>
                    <a:pt x="0" y="129394"/>
                  </a:lnTo>
                </a:path>
              </a:pathLst>
            </a:custGeom>
            <a:noFill/>
            <a:ln w="12700" cap="flat">
              <a:solidFill>
                <a:schemeClr val="bg1"/>
              </a:solidFill>
              <a:prstDash val="solid"/>
              <a:miter/>
            </a:ln>
          </p:spPr>
          <p:txBody>
            <a:bodyPr rtlCol="0" anchor="ctr"/>
            <a:lstStyle/>
            <a:p>
              <a:endParaRPr lang="en-US" sz="1765"/>
            </a:p>
          </p:txBody>
        </p:sp>
        <p:sp>
          <p:nvSpPr>
            <p:cNvPr id="116" name="Freeform: Shape 115">
              <a:extLst>
                <a:ext uri="{FF2B5EF4-FFF2-40B4-BE49-F238E27FC236}">
                  <a16:creationId xmlns:a16="http://schemas.microsoft.com/office/drawing/2014/main" id="{20E3B8C5-02D4-4A4C-A966-E56DD060FE48}"/>
                </a:ext>
                <a:ext uri="{C183D7F6-B498-43B3-948B-1728B52AA6E4}">
                  <adec:decorative xmlns:adec="http://schemas.microsoft.com/office/drawing/2017/decorative" val="1"/>
                </a:ext>
              </a:extLst>
            </p:cNvPr>
            <p:cNvSpPr/>
            <p:nvPr/>
          </p:nvSpPr>
          <p:spPr>
            <a:xfrm>
              <a:off x="11120680" y="2347335"/>
              <a:ext cx="44889" cy="57702"/>
            </a:xfrm>
            <a:custGeom>
              <a:avLst/>
              <a:gdLst>
                <a:gd name="connsiteX0" fmla="*/ 0 w 59616"/>
                <a:gd name="connsiteY0" fmla="*/ 76633 h 76632"/>
                <a:gd name="connsiteX1" fmla="*/ 59617 w 59616"/>
                <a:gd name="connsiteY1" fmla="*/ 0 h 76632"/>
              </a:gdLst>
              <a:ahLst/>
              <a:cxnLst>
                <a:cxn ang="0">
                  <a:pos x="connsiteX0" y="connsiteY0"/>
                </a:cxn>
                <a:cxn ang="0">
                  <a:pos x="connsiteX1" y="connsiteY1"/>
                </a:cxn>
              </a:cxnLst>
              <a:rect l="l" t="t" r="r" b="b"/>
              <a:pathLst>
                <a:path w="59616" h="76632">
                  <a:moveTo>
                    <a:pt x="0" y="76633"/>
                  </a:moveTo>
                  <a:lnTo>
                    <a:pt x="59617" y="0"/>
                  </a:lnTo>
                </a:path>
              </a:pathLst>
            </a:custGeom>
            <a:noFill/>
            <a:ln w="12700" cap="flat">
              <a:solidFill>
                <a:schemeClr val="bg1"/>
              </a:solidFill>
              <a:prstDash val="solid"/>
              <a:miter/>
            </a:ln>
          </p:spPr>
          <p:txBody>
            <a:bodyPr rtlCol="0" anchor="ctr"/>
            <a:lstStyle/>
            <a:p>
              <a:endParaRPr lang="en-US" sz="1765"/>
            </a:p>
          </p:txBody>
        </p:sp>
        <p:sp>
          <p:nvSpPr>
            <p:cNvPr id="117" name="Freeform: Shape 116">
              <a:extLst>
                <a:ext uri="{FF2B5EF4-FFF2-40B4-BE49-F238E27FC236}">
                  <a16:creationId xmlns:a16="http://schemas.microsoft.com/office/drawing/2014/main" id="{F430935A-EDDA-4EAE-983C-E98914427BDB}"/>
                </a:ext>
                <a:ext uri="{C183D7F6-B498-43B3-948B-1728B52AA6E4}">
                  <adec:decorative xmlns:adec="http://schemas.microsoft.com/office/drawing/2017/decorative" val="1"/>
                </a:ext>
              </a:extLst>
            </p:cNvPr>
            <p:cNvSpPr/>
            <p:nvPr/>
          </p:nvSpPr>
          <p:spPr>
            <a:xfrm>
              <a:off x="11184374" y="2342726"/>
              <a:ext cx="73096" cy="40557"/>
            </a:xfrm>
            <a:custGeom>
              <a:avLst/>
              <a:gdLst>
                <a:gd name="connsiteX0" fmla="*/ 0 w 97076"/>
                <a:gd name="connsiteY0" fmla="*/ 0 h 53863"/>
                <a:gd name="connsiteX1" fmla="*/ 97076 w 97076"/>
                <a:gd name="connsiteY1" fmla="*/ 53863 h 53863"/>
              </a:gdLst>
              <a:ahLst/>
              <a:cxnLst>
                <a:cxn ang="0">
                  <a:pos x="connsiteX0" y="connsiteY0"/>
                </a:cxn>
                <a:cxn ang="0">
                  <a:pos x="connsiteX1" y="connsiteY1"/>
                </a:cxn>
              </a:cxnLst>
              <a:rect l="l" t="t" r="r" b="b"/>
              <a:pathLst>
                <a:path w="97076" h="53863">
                  <a:moveTo>
                    <a:pt x="0" y="0"/>
                  </a:moveTo>
                  <a:lnTo>
                    <a:pt x="97076" y="53863"/>
                  </a:lnTo>
                </a:path>
              </a:pathLst>
            </a:custGeom>
            <a:noFill/>
            <a:ln w="12700" cap="flat">
              <a:solidFill>
                <a:schemeClr val="bg1"/>
              </a:solidFill>
              <a:prstDash val="solid"/>
              <a:miter/>
            </a:ln>
          </p:spPr>
          <p:txBody>
            <a:bodyPr rtlCol="0" anchor="ctr"/>
            <a:lstStyle/>
            <a:p>
              <a:endParaRPr lang="en-US" sz="1765"/>
            </a:p>
          </p:txBody>
        </p:sp>
        <p:sp>
          <p:nvSpPr>
            <p:cNvPr id="118" name="Freeform: Shape 117">
              <a:extLst>
                <a:ext uri="{FF2B5EF4-FFF2-40B4-BE49-F238E27FC236}">
                  <a16:creationId xmlns:a16="http://schemas.microsoft.com/office/drawing/2014/main" id="{5EA66964-4017-4066-9BF4-B7BE756342AB}"/>
                </a:ext>
                <a:ext uri="{C183D7F6-B498-43B3-948B-1728B52AA6E4}">
                  <adec:decorative xmlns:adec="http://schemas.microsoft.com/office/drawing/2017/decorative" val="1"/>
                </a:ext>
              </a:extLst>
            </p:cNvPr>
            <p:cNvSpPr/>
            <p:nvPr/>
          </p:nvSpPr>
          <p:spPr>
            <a:xfrm>
              <a:off x="11279316" y="2327609"/>
              <a:ext cx="47286" cy="50604"/>
            </a:xfrm>
            <a:custGeom>
              <a:avLst/>
              <a:gdLst>
                <a:gd name="connsiteX0" fmla="*/ 62800 w 62799"/>
                <a:gd name="connsiteY0" fmla="*/ 0 h 67206"/>
                <a:gd name="connsiteX1" fmla="*/ 0 w 62799"/>
                <a:gd name="connsiteY1" fmla="*/ 67207 h 67206"/>
              </a:gdLst>
              <a:ahLst/>
              <a:cxnLst>
                <a:cxn ang="0">
                  <a:pos x="connsiteX0" y="connsiteY0"/>
                </a:cxn>
                <a:cxn ang="0">
                  <a:pos x="connsiteX1" y="connsiteY1"/>
                </a:cxn>
              </a:cxnLst>
              <a:rect l="l" t="t" r="r" b="b"/>
              <a:pathLst>
                <a:path w="62799" h="67206">
                  <a:moveTo>
                    <a:pt x="62800" y="0"/>
                  </a:moveTo>
                  <a:lnTo>
                    <a:pt x="0" y="67207"/>
                  </a:lnTo>
                </a:path>
              </a:pathLst>
            </a:custGeom>
            <a:noFill/>
            <a:ln w="12700" cap="flat">
              <a:solidFill>
                <a:schemeClr val="bg1"/>
              </a:solidFill>
              <a:prstDash val="solid"/>
              <a:miter/>
            </a:ln>
          </p:spPr>
          <p:txBody>
            <a:bodyPr rtlCol="0" anchor="ctr"/>
            <a:lstStyle/>
            <a:p>
              <a:endParaRPr lang="en-US" sz="1765"/>
            </a:p>
          </p:txBody>
        </p:sp>
        <p:sp>
          <p:nvSpPr>
            <p:cNvPr id="119" name="Freeform: Shape 118">
              <a:extLst>
                <a:ext uri="{FF2B5EF4-FFF2-40B4-BE49-F238E27FC236}">
                  <a16:creationId xmlns:a16="http://schemas.microsoft.com/office/drawing/2014/main" id="{174CEB42-D1F2-42F9-9F3D-9EBF2E750D1C}"/>
                </a:ext>
                <a:ext uri="{C183D7F6-B498-43B3-948B-1728B52AA6E4}">
                  <adec:decorative xmlns:adec="http://schemas.microsoft.com/office/drawing/2017/decorative" val="1"/>
                </a:ext>
              </a:extLst>
            </p:cNvPr>
            <p:cNvSpPr/>
            <p:nvPr/>
          </p:nvSpPr>
          <p:spPr>
            <a:xfrm>
              <a:off x="11346973" y="2330559"/>
              <a:ext cx="56596" cy="71068"/>
            </a:xfrm>
            <a:custGeom>
              <a:avLst/>
              <a:gdLst>
                <a:gd name="connsiteX0" fmla="*/ 75164 w 75163"/>
                <a:gd name="connsiteY0" fmla="*/ 94383 h 94383"/>
                <a:gd name="connsiteX1" fmla="*/ 0 w 75163"/>
                <a:gd name="connsiteY1" fmla="*/ 0 h 94383"/>
              </a:gdLst>
              <a:ahLst/>
              <a:cxnLst>
                <a:cxn ang="0">
                  <a:pos x="connsiteX0" y="connsiteY0"/>
                </a:cxn>
                <a:cxn ang="0">
                  <a:pos x="connsiteX1" y="connsiteY1"/>
                </a:cxn>
              </a:cxnLst>
              <a:rect l="l" t="t" r="r" b="b"/>
              <a:pathLst>
                <a:path w="75163" h="94383">
                  <a:moveTo>
                    <a:pt x="75164" y="94383"/>
                  </a:moveTo>
                  <a:lnTo>
                    <a:pt x="0" y="0"/>
                  </a:lnTo>
                </a:path>
              </a:pathLst>
            </a:custGeom>
            <a:noFill/>
            <a:ln w="12700" cap="flat">
              <a:solidFill>
                <a:schemeClr val="bg1"/>
              </a:solidFill>
              <a:prstDash val="solid"/>
              <a:miter/>
            </a:ln>
          </p:spPr>
          <p:txBody>
            <a:bodyPr rtlCol="0" anchor="ctr"/>
            <a:lstStyle/>
            <a:p>
              <a:endParaRPr lang="en-US" sz="1765"/>
            </a:p>
          </p:txBody>
        </p:sp>
        <p:sp>
          <p:nvSpPr>
            <p:cNvPr id="50" name="Oval 49">
              <a:extLst>
                <a:ext uri="{FF2B5EF4-FFF2-40B4-BE49-F238E27FC236}">
                  <a16:creationId xmlns:a16="http://schemas.microsoft.com/office/drawing/2014/main" id="{C954D913-6828-46CE-B7F7-C5B826932DF6}"/>
                </a:ext>
                <a:ext uri="{C183D7F6-B498-43B3-948B-1728B52AA6E4}">
                  <adec:decorative xmlns:adec="http://schemas.microsoft.com/office/drawing/2017/decorative" val="1"/>
                </a:ext>
              </a:extLst>
            </p:cNvPr>
            <p:cNvSpPr/>
            <p:nvPr userDrawn="1"/>
          </p:nvSpPr>
          <p:spPr bwMode="auto">
            <a:xfrm>
              <a:off x="9670876" y="242888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9" name="POI_ECAF">
              <a:extLst>
                <a:ext uri="{FF2B5EF4-FFF2-40B4-BE49-F238E27FC236}">
                  <a16:creationId xmlns:a16="http://schemas.microsoft.com/office/drawing/2014/main" id="{ED9A837C-BBB5-4B7B-A3B1-E4490B1F96F9}"/>
                </a:ext>
                <a:ext uri="{C183D7F6-B498-43B3-948B-1728B52AA6E4}">
                  <adec:decorative xmlns:adec="http://schemas.microsoft.com/office/drawing/2017/decorative" val="1"/>
                </a:ext>
              </a:extLst>
            </p:cNvPr>
            <p:cNvSpPr>
              <a:spLocks noChangeAspect="1" noEditPoints="1"/>
            </p:cNvSpPr>
            <p:nvPr userDrawn="1"/>
          </p:nvSpPr>
          <p:spPr bwMode="auto">
            <a:xfrm>
              <a:off x="9705248" y="215072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25" name="Oval 124">
              <a:extLst>
                <a:ext uri="{FF2B5EF4-FFF2-40B4-BE49-F238E27FC236}">
                  <a16:creationId xmlns:a16="http://schemas.microsoft.com/office/drawing/2014/main" id="{4FF933DF-6C0E-4335-9604-AC63C545A336}"/>
                </a:ext>
                <a:ext uri="{C183D7F6-B498-43B3-948B-1728B52AA6E4}">
                  <adec:decorative xmlns:adec="http://schemas.microsoft.com/office/drawing/2017/decorative" val="1"/>
                </a:ext>
              </a:extLst>
            </p:cNvPr>
            <p:cNvSpPr/>
            <p:nvPr userDrawn="1"/>
          </p:nvSpPr>
          <p:spPr bwMode="auto">
            <a:xfrm>
              <a:off x="8581216" y="207836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6" name="POI_ECAF">
              <a:extLst>
                <a:ext uri="{FF2B5EF4-FFF2-40B4-BE49-F238E27FC236}">
                  <a16:creationId xmlns:a16="http://schemas.microsoft.com/office/drawing/2014/main" id="{1ACB37D4-A9B5-4BA5-800C-FDEF42C6E7E7}"/>
                </a:ext>
                <a:ext uri="{C183D7F6-B498-43B3-948B-1728B52AA6E4}">
                  <adec:decorative xmlns:adec="http://schemas.microsoft.com/office/drawing/2017/decorative" val="1"/>
                </a:ext>
              </a:extLst>
            </p:cNvPr>
            <p:cNvSpPr>
              <a:spLocks noChangeAspect="1" noEditPoints="1"/>
            </p:cNvSpPr>
            <p:nvPr userDrawn="1"/>
          </p:nvSpPr>
          <p:spPr bwMode="auto">
            <a:xfrm>
              <a:off x="8615588" y="18002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28" name="Oval 127">
              <a:extLst>
                <a:ext uri="{FF2B5EF4-FFF2-40B4-BE49-F238E27FC236}">
                  <a16:creationId xmlns:a16="http://schemas.microsoft.com/office/drawing/2014/main" id="{B397D425-416B-4047-91C6-8BF3C1B73384}"/>
                </a:ext>
                <a:ext uri="{C183D7F6-B498-43B3-948B-1728B52AA6E4}">
                  <adec:decorative xmlns:adec="http://schemas.microsoft.com/office/drawing/2017/decorative" val="1"/>
                </a:ext>
              </a:extLst>
            </p:cNvPr>
            <p:cNvSpPr/>
            <p:nvPr userDrawn="1"/>
          </p:nvSpPr>
          <p:spPr bwMode="auto">
            <a:xfrm>
              <a:off x="8543116" y="273368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9" name="POI_ECAF">
              <a:extLst>
                <a:ext uri="{FF2B5EF4-FFF2-40B4-BE49-F238E27FC236}">
                  <a16:creationId xmlns:a16="http://schemas.microsoft.com/office/drawing/2014/main" id="{74D983E0-D909-4B9A-B397-DA27FE6D3759}"/>
                </a:ext>
                <a:ext uri="{C183D7F6-B498-43B3-948B-1728B52AA6E4}">
                  <adec:decorative xmlns:adec="http://schemas.microsoft.com/office/drawing/2017/decorative" val="1"/>
                </a:ext>
              </a:extLst>
            </p:cNvPr>
            <p:cNvSpPr>
              <a:spLocks noChangeAspect="1" noEditPoints="1"/>
            </p:cNvSpPr>
            <p:nvPr userDrawn="1"/>
          </p:nvSpPr>
          <p:spPr bwMode="auto">
            <a:xfrm>
              <a:off x="8577488" y="245552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31" name="Oval 130">
              <a:extLst>
                <a:ext uri="{FF2B5EF4-FFF2-40B4-BE49-F238E27FC236}">
                  <a16:creationId xmlns:a16="http://schemas.microsoft.com/office/drawing/2014/main" id="{E4F54358-C419-4412-BF67-067C00028513}"/>
                </a:ext>
                <a:ext uri="{C183D7F6-B498-43B3-948B-1728B52AA6E4}">
                  <adec:decorative xmlns:adec="http://schemas.microsoft.com/office/drawing/2017/decorative" val="1"/>
                </a:ext>
              </a:extLst>
            </p:cNvPr>
            <p:cNvSpPr/>
            <p:nvPr userDrawn="1"/>
          </p:nvSpPr>
          <p:spPr bwMode="auto">
            <a:xfrm>
              <a:off x="9686116" y="325946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32" name="POI_ECAF">
              <a:extLst>
                <a:ext uri="{FF2B5EF4-FFF2-40B4-BE49-F238E27FC236}">
                  <a16:creationId xmlns:a16="http://schemas.microsoft.com/office/drawing/2014/main" id="{8E3DB3F6-1E07-4A0C-B4BF-BED0A2215EAB}"/>
                </a:ext>
                <a:ext uri="{C183D7F6-B498-43B3-948B-1728B52AA6E4}">
                  <adec:decorative xmlns:adec="http://schemas.microsoft.com/office/drawing/2017/decorative" val="1"/>
                </a:ext>
              </a:extLst>
            </p:cNvPr>
            <p:cNvSpPr>
              <a:spLocks noChangeAspect="1" noEditPoints="1"/>
            </p:cNvSpPr>
            <p:nvPr userDrawn="1"/>
          </p:nvSpPr>
          <p:spPr bwMode="auto">
            <a:xfrm>
              <a:off x="9720488" y="29813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34" name="Oval 133">
              <a:extLst>
                <a:ext uri="{FF2B5EF4-FFF2-40B4-BE49-F238E27FC236}">
                  <a16:creationId xmlns:a16="http://schemas.microsoft.com/office/drawing/2014/main" id="{48C1C39C-4F0F-4DFA-A494-D2C678222ADE}"/>
                </a:ext>
                <a:ext uri="{C183D7F6-B498-43B3-948B-1728B52AA6E4}">
                  <adec:decorative xmlns:adec="http://schemas.microsoft.com/office/drawing/2017/decorative" val="1"/>
                </a:ext>
              </a:extLst>
            </p:cNvPr>
            <p:cNvSpPr/>
            <p:nvPr userDrawn="1"/>
          </p:nvSpPr>
          <p:spPr bwMode="auto">
            <a:xfrm>
              <a:off x="8238316" y="397574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35" name="POI_ECAF">
              <a:extLst>
                <a:ext uri="{FF2B5EF4-FFF2-40B4-BE49-F238E27FC236}">
                  <a16:creationId xmlns:a16="http://schemas.microsoft.com/office/drawing/2014/main" id="{B0CDE0C8-C831-473A-8179-1175A3A8598D}"/>
                </a:ext>
                <a:ext uri="{C183D7F6-B498-43B3-948B-1728B52AA6E4}">
                  <adec:decorative xmlns:adec="http://schemas.microsoft.com/office/drawing/2017/decorative" val="1"/>
                </a:ext>
              </a:extLst>
            </p:cNvPr>
            <p:cNvSpPr>
              <a:spLocks noChangeAspect="1" noEditPoints="1"/>
            </p:cNvSpPr>
            <p:nvPr userDrawn="1"/>
          </p:nvSpPr>
          <p:spPr bwMode="auto">
            <a:xfrm>
              <a:off x="8272688" y="369758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37" name="Oval 136">
              <a:extLst>
                <a:ext uri="{FF2B5EF4-FFF2-40B4-BE49-F238E27FC236}">
                  <a16:creationId xmlns:a16="http://schemas.microsoft.com/office/drawing/2014/main" id="{4DC5C691-7825-47EF-B2EE-7F20BD46AB53}"/>
                </a:ext>
                <a:ext uri="{C183D7F6-B498-43B3-948B-1728B52AA6E4}">
                  <adec:decorative xmlns:adec="http://schemas.microsoft.com/office/drawing/2017/decorative" val="1"/>
                </a:ext>
              </a:extLst>
            </p:cNvPr>
            <p:cNvSpPr/>
            <p:nvPr userDrawn="1"/>
          </p:nvSpPr>
          <p:spPr bwMode="auto">
            <a:xfrm>
              <a:off x="7628716" y="477584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38" name="POI_ECAF">
              <a:extLst>
                <a:ext uri="{FF2B5EF4-FFF2-40B4-BE49-F238E27FC236}">
                  <a16:creationId xmlns:a16="http://schemas.microsoft.com/office/drawing/2014/main" id="{9E3784DF-BB1C-436D-8F2A-FA28B1F61C2D}"/>
                </a:ext>
                <a:ext uri="{C183D7F6-B498-43B3-948B-1728B52AA6E4}">
                  <adec:decorative xmlns:adec="http://schemas.microsoft.com/office/drawing/2017/decorative" val="1"/>
                </a:ext>
              </a:extLst>
            </p:cNvPr>
            <p:cNvSpPr>
              <a:spLocks noChangeAspect="1" noEditPoints="1"/>
            </p:cNvSpPr>
            <p:nvPr userDrawn="1"/>
          </p:nvSpPr>
          <p:spPr bwMode="auto">
            <a:xfrm>
              <a:off x="7663088" y="449768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40" name="Oval 139">
              <a:extLst>
                <a:ext uri="{FF2B5EF4-FFF2-40B4-BE49-F238E27FC236}">
                  <a16:creationId xmlns:a16="http://schemas.microsoft.com/office/drawing/2014/main" id="{2251B5F5-E32C-46BF-986C-1E72DDB81710}"/>
                </a:ext>
                <a:ext uri="{C183D7F6-B498-43B3-948B-1728B52AA6E4}">
                  <adec:decorative xmlns:adec="http://schemas.microsoft.com/office/drawing/2017/decorative" val="1"/>
                </a:ext>
              </a:extLst>
            </p:cNvPr>
            <p:cNvSpPr/>
            <p:nvPr userDrawn="1"/>
          </p:nvSpPr>
          <p:spPr bwMode="auto">
            <a:xfrm>
              <a:off x="9487996" y="505778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41" name="POI_ECAF">
              <a:extLst>
                <a:ext uri="{FF2B5EF4-FFF2-40B4-BE49-F238E27FC236}">
                  <a16:creationId xmlns:a16="http://schemas.microsoft.com/office/drawing/2014/main" id="{89C90395-C7A0-4EF6-A3C1-3A2EFD42E143}"/>
                </a:ext>
                <a:ext uri="{C183D7F6-B498-43B3-948B-1728B52AA6E4}">
                  <adec:decorative xmlns:adec="http://schemas.microsoft.com/office/drawing/2017/decorative" val="1"/>
                </a:ext>
              </a:extLst>
            </p:cNvPr>
            <p:cNvSpPr>
              <a:spLocks noChangeAspect="1" noEditPoints="1"/>
            </p:cNvSpPr>
            <p:nvPr userDrawn="1"/>
          </p:nvSpPr>
          <p:spPr bwMode="auto">
            <a:xfrm>
              <a:off x="9522368" y="477962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43" name="Oval 142">
              <a:extLst>
                <a:ext uri="{FF2B5EF4-FFF2-40B4-BE49-F238E27FC236}">
                  <a16:creationId xmlns:a16="http://schemas.microsoft.com/office/drawing/2014/main" id="{D1972970-C6C6-4C96-8C52-77A981615C99}"/>
                </a:ext>
                <a:ext uri="{C183D7F6-B498-43B3-948B-1728B52AA6E4}">
                  <adec:decorative xmlns:adec="http://schemas.microsoft.com/office/drawing/2017/decorative" val="1"/>
                </a:ext>
              </a:extLst>
            </p:cNvPr>
            <p:cNvSpPr/>
            <p:nvPr userDrawn="1"/>
          </p:nvSpPr>
          <p:spPr bwMode="auto">
            <a:xfrm>
              <a:off x="10326196" y="354902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44" name="POI_ECAF">
              <a:extLst>
                <a:ext uri="{FF2B5EF4-FFF2-40B4-BE49-F238E27FC236}">
                  <a16:creationId xmlns:a16="http://schemas.microsoft.com/office/drawing/2014/main" id="{EEA7FBED-2D46-43CD-B7EE-F3FEF7303598}"/>
                </a:ext>
                <a:ext uri="{C183D7F6-B498-43B3-948B-1728B52AA6E4}">
                  <adec:decorative xmlns:adec="http://schemas.microsoft.com/office/drawing/2017/decorative" val="1"/>
                </a:ext>
              </a:extLst>
            </p:cNvPr>
            <p:cNvSpPr>
              <a:spLocks noChangeAspect="1" noEditPoints="1"/>
            </p:cNvSpPr>
            <p:nvPr userDrawn="1"/>
          </p:nvSpPr>
          <p:spPr bwMode="auto">
            <a:xfrm>
              <a:off x="10360568" y="327086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46" name="Oval 145">
              <a:extLst>
                <a:ext uri="{FF2B5EF4-FFF2-40B4-BE49-F238E27FC236}">
                  <a16:creationId xmlns:a16="http://schemas.microsoft.com/office/drawing/2014/main" id="{FBE48C8C-6474-47E6-8CF3-B93978A41418}"/>
                </a:ext>
                <a:ext uri="{C183D7F6-B498-43B3-948B-1728B52AA6E4}">
                  <adec:decorative xmlns:adec="http://schemas.microsoft.com/office/drawing/2017/decorative" val="1"/>
                </a:ext>
              </a:extLst>
            </p:cNvPr>
            <p:cNvSpPr/>
            <p:nvPr userDrawn="1"/>
          </p:nvSpPr>
          <p:spPr bwMode="auto">
            <a:xfrm>
              <a:off x="10707196" y="279464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47" name="POI_ECAF">
              <a:extLst>
                <a:ext uri="{FF2B5EF4-FFF2-40B4-BE49-F238E27FC236}">
                  <a16:creationId xmlns:a16="http://schemas.microsoft.com/office/drawing/2014/main" id="{E75FF138-164A-4FF8-BD05-712927FCF6A7}"/>
                </a:ext>
                <a:ext uri="{C183D7F6-B498-43B3-948B-1728B52AA6E4}">
                  <adec:decorative xmlns:adec="http://schemas.microsoft.com/office/drawing/2017/decorative" val="1"/>
                </a:ext>
              </a:extLst>
            </p:cNvPr>
            <p:cNvSpPr>
              <a:spLocks noChangeAspect="1" noEditPoints="1"/>
            </p:cNvSpPr>
            <p:nvPr userDrawn="1"/>
          </p:nvSpPr>
          <p:spPr bwMode="auto">
            <a:xfrm>
              <a:off x="10741568" y="251648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49" name="Oval 148">
              <a:extLst>
                <a:ext uri="{FF2B5EF4-FFF2-40B4-BE49-F238E27FC236}">
                  <a16:creationId xmlns:a16="http://schemas.microsoft.com/office/drawing/2014/main" id="{A93F6647-745E-4EE2-9B36-EEACF33BEC62}"/>
                </a:ext>
                <a:ext uri="{C183D7F6-B498-43B3-948B-1728B52AA6E4}">
                  <adec:decorative xmlns:adec="http://schemas.microsoft.com/office/drawing/2017/decorative" val="1"/>
                </a:ext>
              </a:extLst>
            </p:cNvPr>
            <p:cNvSpPr/>
            <p:nvPr userDrawn="1"/>
          </p:nvSpPr>
          <p:spPr bwMode="auto">
            <a:xfrm>
              <a:off x="11179636" y="350330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50" name="POI_ECAF">
              <a:extLst>
                <a:ext uri="{FF2B5EF4-FFF2-40B4-BE49-F238E27FC236}">
                  <a16:creationId xmlns:a16="http://schemas.microsoft.com/office/drawing/2014/main" id="{A3E75CDE-7BD5-43B1-8B19-2DF28A7030B8}"/>
                </a:ext>
                <a:ext uri="{C183D7F6-B498-43B3-948B-1728B52AA6E4}">
                  <adec:decorative xmlns:adec="http://schemas.microsoft.com/office/drawing/2017/decorative" val="1"/>
                </a:ext>
              </a:extLst>
            </p:cNvPr>
            <p:cNvSpPr>
              <a:spLocks noChangeAspect="1" noEditPoints="1"/>
            </p:cNvSpPr>
            <p:nvPr userDrawn="1"/>
          </p:nvSpPr>
          <p:spPr bwMode="auto">
            <a:xfrm>
              <a:off x="11214008" y="322514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52" name="Oval 151">
              <a:extLst>
                <a:ext uri="{FF2B5EF4-FFF2-40B4-BE49-F238E27FC236}">
                  <a16:creationId xmlns:a16="http://schemas.microsoft.com/office/drawing/2014/main" id="{254CF20F-CA93-4528-B0A4-84EBE7413785}"/>
                </a:ext>
                <a:ext uri="{C183D7F6-B498-43B3-948B-1728B52AA6E4}">
                  <adec:decorative xmlns:adec="http://schemas.microsoft.com/office/drawing/2017/decorative" val="1"/>
                </a:ext>
              </a:extLst>
            </p:cNvPr>
            <p:cNvSpPr/>
            <p:nvPr userDrawn="1"/>
          </p:nvSpPr>
          <p:spPr bwMode="auto">
            <a:xfrm>
              <a:off x="9487996" y="1941373"/>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53" name="POI_ECAF">
              <a:extLst>
                <a:ext uri="{FF2B5EF4-FFF2-40B4-BE49-F238E27FC236}">
                  <a16:creationId xmlns:a16="http://schemas.microsoft.com/office/drawing/2014/main" id="{98A9183A-A18D-48A4-9F87-D3452B5F912B}"/>
                </a:ext>
                <a:ext uri="{C183D7F6-B498-43B3-948B-1728B52AA6E4}">
                  <adec:decorative xmlns:adec="http://schemas.microsoft.com/office/drawing/2017/decorative" val="1"/>
                </a:ext>
              </a:extLst>
            </p:cNvPr>
            <p:cNvSpPr>
              <a:spLocks noChangeAspect="1" noEditPoints="1"/>
            </p:cNvSpPr>
            <p:nvPr userDrawn="1"/>
          </p:nvSpPr>
          <p:spPr bwMode="auto">
            <a:xfrm>
              <a:off x="9522368" y="1663212"/>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55" name="Oval 154">
              <a:extLst>
                <a:ext uri="{FF2B5EF4-FFF2-40B4-BE49-F238E27FC236}">
                  <a16:creationId xmlns:a16="http://schemas.microsoft.com/office/drawing/2014/main" id="{ABCE188D-9B80-44DB-99B5-062D4EB10080}"/>
                </a:ext>
                <a:ext uri="{C183D7F6-B498-43B3-948B-1728B52AA6E4}">
                  <adec:decorative xmlns:adec="http://schemas.microsoft.com/office/drawing/2017/decorative" val="1"/>
                </a:ext>
              </a:extLst>
            </p:cNvPr>
            <p:cNvSpPr/>
            <p:nvPr userDrawn="1"/>
          </p:nvSpPr>
          <p:spPr bwMode="auto">
            <a:xfrm>
              <a:off x="10021396" y="4234993"/>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56" name="POI_ECAF">
              <a:extLst>
                <a:ext uri="{FF2B5EF4-FFF2-40B4-BE49-F238E27FC236}">
                  <a16:creationId xmlns:a16="http://schemas.microsoft.com/office/drawing/2014/main" id="{2429A4FB-BD51-4190-BC75-635953385A1C}"/>
                </a:ext>
                <a:ext uri="{C183D7F6-B498-43B3-948B-1728B52AA6E4}">
                  <adec:decorative xmlns:adec="http://schemas.microsoft.com/office/drawing/2017/decorative" val="1"/>
                </a:ext>
              </a:extLst>
            </p:cNvPr>
            <p:cNvSpPr>
              <a:spLocks noChangeAspect="1" noEditPoints="1"/>
            </p:cNvSpPr>
            <p:nvPr userDrawn="1"/>
          </p:nvSpPr>
          <p:spPr bwMode="auto">
            <a:xfrm>
              <a:off x="10055768" y="3956832"/>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217913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1652">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0">
              <a:schemeClr val="accent1"/>
            </a:gs>
            <a:gs pos="44000">
              <a:srgbClr val="0F4E86"/>
            </a:gs>
            <a:gs pos="100000">
              <a:schemeClr val="accent2">
                <a:lumMod val="75000"/>
              </a:schemeClr>
            </a:gs>
          </a:gsLst>
          <a:lin ang="10800000" scaled="1"/>
          <a:tileRect/>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p:ph type="title" hasCustomPrompt="1"/>
          </p:nvPr>
        </p:nvSpPr>
        <p:spPr>
          <a:xfrm>
            <a:off x="572716" y="2828979"/>
            <a:ext cx="5557835" cy="788036"/>
          </a:xfrm>
          <a:noFill/>
        </p:spPr>
        <p:txBody>
          <a:bodyPr lIns="0" tIns="91440" rIns="0" bIns="91440" anchor="b" anchorCtr="0"/>
          <a:lstStyle>
            <a:lvl1pPr>
              <a:defRPr sz="3921" b="1" spc="-99" baseline="0">
                <a:solidFill>
                  <a:schemeClr val="accent3"/>
                </a:solidFill>
              </a:defRPr>
            </a:lvl1pPr>
          </a:lstStyle>
          <a:p>
            <a:r>
              <a:rPr lang="en-US"/>
              <a:t>Presentation title</a:t>
            </a:r>
          </a:p>
        </p:txBody>
      </p:sp>
      <p:sp>
        <p:nvSpPr>
          <p:cNvPr id="2579" name="Freeform: Shape 2578">
            <a:extLst>
              <a:ext uri="{FF2B5EF4-FFF2-40B4-BE49-F238E27FC236}">
                <a16:creationId xmlns:a16="http://schemas.microsoft.com/office/drawing/2014/main" id="{71A7C478-25BE-4AD3-9519-0B49CA12ACFE}"/>
              </a:ext>
              <a:ext uri="{C183D7F6-B498-43B3-948B-1728B52AA6E4}">
                <adec:decorative xmlns:adec="http://schemas.microsoft.com/office/drawing/2017/decorative" val="1"/>
              </a:ext>
            </a:extLst>
          </p:cNvPr>
          <p:cNvSpPr/>
          <p:nvPr userDrawn="1"/>
        </p:nvSpPr>
        <p:spPr>
          <a:xfrm flipH="1" flipV="1">
            <a:off x="6648485" y="1"/>
            <a:ext cx="5543516" cy="6858001"/>
          </a:xfrm>
          <a:custGeom>
            <a:avLst/>
            <a:gdLst>
              <a:gd name="connsiteX0" fmla="*/ 4594375 w 5932286"/>
              <a:gd name="connsiteY0" fmla="*/ 5875 h 6994526"/>
              <a:gd name="connsiteX1" fmla="*/ 4565871 w 5932286"/>
              <a:gd name="connsiteY1" fmla="*/ 0 h 6994526"/>
              <a:gd name="connsiteX2" fmla="*/ 4622918 w 5932286"/>
              <a:gd name="connsiteY2" fmla="*/ 0 h 6994526"/>
              <a:gd name="connsiteX3" fmla="*/ 14015 w 5932286"/>
              <a:gd name="connsiteY3" fmla="*/ 12585 h 6994526"/>
              <a:gd name="connsiteX4" fmla="*/ 0 w 5932286"/>
              <a:gd name="connsiteY4" fmla="*/ 9918 h 6994526"/>
              <a:gd name="connsiteX5" fmla="*/ 0 w 5932286"/>
              <a:gd name="connsiteY5" fmla="*/ 0 h 6994526"/>
              <a:gd name="connsiteX6" fmla="*/ 61067 w 5932286"/>
              <a:gd name="connsiteY6" fmla="*/ 0 h 6994526"/>
              <a:gd name="connsiteX7" fmla="*/ 54785 w 5932286"/>
              <a:gd name="connsiteY7" fmla="*/ 4284 h 6994526"/>
              <a:gd name="connsiteX8" fmla="*/ 14015 w 5932286"/>
              <a:gd name="connsiteY8" fmla="*/ 12585 h 6994526"/>
              <a:gd name="connsiteX9" fmla="*/ 342166 w 5932286"/>
              <a:gd name="connsiteY9" fmla="*/ 27267 h 6994526"/>
              <a:gd name="connsiteX10" fmla="*/ 301794 w 5932286"/>
              <a:gd name="connsiteY10" fmla="*/ 19197 h 6994526"/>
              <a:gd name="connsiteX11" fmla="*/ 273043 w 5932286"/>
              <a:gd name="connsiteY11" fmla="*/ 0 h 6994526"/>
              <a:gd name="connsiteX12" fmla="*/ 410491 w 5932286"/>
              <a:gd name="connsiteY12" fmla="*/ 0 h 6994526"/>
              <a:gd name="connsiteX13" fmla="*/ 382423 w 5932286"/>
              <a:gd name="connsiteY13" fmla="*/ 19087 h 6994526"/>
              <a:gd name="connsiteX14" fmla="*/ 342166 w 5932286"/>
              <a:gd name="connsiteY14" fmla="*/ 27267 h 6994526"/>
              <a:gd name="connsiteX15" fmla="*/ 2488906 w 5932286"/>
              <a:gd name="connsiteY15" fmla="*/ 27452 h 6994526"/>
              <a:gd name="connsiteX16" fmla="*/ 2432561 w 5932286"/>
              <a:gd name="connsiteY16" fmla="*/ 4314 h 6994526"/>
              <a:gd name="connsiteX17" fmla="*/ 2429614 w 5932286"/>
              <a:gd name="connsiteY17" fmla="*/ 0 h 6994526"/>
              <a:gd name="connsiteX18" fmla="*/ 2547809 w 5932286"/>
              <a:gd name="connsiteY18" fmla="*/ 0 h 6994526"/>
              <a:gd name="connsiteX19" fmla="*/ 2545162 w 5932286"/>
              <a:gd name="connsiteY19" fmla="*/ 3960 h 6994526"/>
              <a:gd name="connsiteX20" fmla="*/ 2488906 w 5932286"/>
              <a:gd name="connsiteY20" fmla="*/ 27452 h 6994526"/>
              <a:gd name="connsiteX21" fmla="*/ 667513 w 5932286"/>
              <a:gd name="connsiteY21" fmla="*/ 71371 h 6994526"/>
              <a:gd name="connsiteX22" fmla="*/ 573130 w 5932286"/>
              <a:gd name="connsiteY22" fmla="*/ 9373 h 6994526"/>
              <a:gd name="connsiteX23" fmla="*/ 571230 w 5932286"/>
              <a:gd name="connsiteY23" fmla="*/ 0 h 6994526"/>
              <a:gd name="connsiteX24" fmla="*/ 763055 w 5932286"/>
              <a:gd name="connsiteY24" fmla="*/ 0 h 6994526"/>
              <a:gd name="connsiteX25" fmla="*/ 761304 w 5932286"/>
              <a:gd name="connsiteY25" fmla="*/ 8778 h 6994526"/>
              <a:gd name="connsiteX26" fmla="*/ 667513 w 5932286"/>
              <a:gd name="connsiteY26" fmla="*/ 71371 h 6994526"/>
              <a:gd name="connsiteX27" fmla="*/ 1907321 w 5932286"/>
              <a:gd name="connsiteY27" fmla="*/ 116369 h 6994526"/>
              <a:gd name="connsiteX28" fmla="*/ 1812647 w 5932286"/>
              <a:gd name="connsiteY28" fmla="*/ 22405 h 6994526"/>
              <a:gd name="connsiteX29" fmla="*/ 1817171 w 5932286"/>
              <a:gd name="connsiteY29" fmla="*/ 0 h 6994526"/>
              <a:gd name="connsiteX30" fmla="*/ 1997611 w 5932286"/>
              <a:gd name="connsiteY30" fmla="*/ 0 h 6994526"/>
              <a:gd name="connsiteX31" fmla="*/ 2001994 w 5932286"/>
              <a:gd name="connsiteY31" fmla="*/ 21697 h 6994526"/>
              <a:gd name="connsiteX32" fmla="*/ 1907321 w 5932286"/>
              <a:gd name="connsiteY32" fmla="*/ 116369 h 6994526"/>
              <a:gd name="connsiteX33" fmla="*/ 987061 w 5932286"/>
              <a:gd name="connsiteY33" fmla="*/ 144026 h 6994526"/>
              <a:gd name="connsiteX34" fmla="*/ 886027 w 5932286"/>
              <a:gd name="connsiteY34" fmla="*/ 43701 h 6994526"/>
              <a:gd name="connsiteX35" fmla="*/ 893953 w 5932286"/>
              <a:gd name="connsiteY35" fmla="*/ 4368 h 6994526"/>
              <a:gd name="connsiteX36" fmla="*/ 896887 w 5932286"/>
              <a:gd name="connsiteY36" fmla="*/ 0 h 6994526"/>
              <a:gd name="connsiteX37" fmla="*/ 1076886 w 5932286"/>
              <a:gd name="connsiteY37" fmla="*/ 0 h 6994526"/>
              <a:gd name="connsiteX38" fmla="*/ 1079447 w 5932286"/>
              <a:gd name="connsiteY38" fmla="*/ 3771 h 6994526"/>
              <a:gd name="connsiteX39" fmla="*/ 1087385 w 5932286"/>
              <a:gd name="connsiteY39" fmla="*/ 42993 h 6994526"/>
              <a:gd name="connsiteX40" fmla="*/ 987061 w 5932286"/>
              <a:gd name="connsiteY40" fmla="*/ 144026 h 6994526"/>
              <a:gd name="connsiteX41" fmla="*/ 3290557 w 5932286"/>
              <a:gd name="connsiteY41" fmla="*/ 202933 h 6994526"/>
              <a:gd name="connsiteX42" fmla="*/ 3217735 w 5932286"/>
              <a:gd name="connsiteY42" fmla="*/ 130111 h 6994526"/>
              <a:gd name="connsiteX43" fmla="*/ 3289399 w 5932286"/>
              <a:gd name="connsiteY43" fmla="*/ 56132 h 6994526"/>
              <a:gd name="connsiteX44" fmla="*/ 3363379 w 5932286"/>
              <a:gd name="connsiteY44" fmla="*/ 128953 h 6994526"/>
              <a:gd name="connsiteX45" fmla="*/ 3290557 w 5932286"/>
              <a:gd name="connsiteY45" fmla="*/ 202933 h 6994526"/>
              <a:gd name="connsiteX46" fmla="*/ 3808744 w 5932286"/>
              <a:gd name="connsiteY46" fmla="*/ 210107 h 6994526"/>
              <a:gd name="connsiteX47" fmla="*/ 3735026 w 5932286"/>
              <a:gd name="connsiteY47" fmla="*/ 138177 h 6994526"/>
              <a:gd name="connsiteX48" fmla="*/ 3806941 w 5932286"/>
              <a:gd name="connsiteY48" fmla="*/ 64463 h 6994526"/>
              <a:gd name="connsiteX49" fmla="*/ 3880677 w 5932286"/>
              <a:gd name="connsiteY49" fmla="*/ 136393 h 6994526"/>
              <a:gd name="connsiteX50" fmla="*/ 3808744 w 5932286"/>
              <a:gd name="connsiteY50" fmla="*/ 210107 h 6994526"/>
              <a:gd name="connsiteX51" fmla="*/ 2752770 w 5932286"/>
              <a:gd name="connsiteY51" fmla="*/ 223532 h 6994526"/>
              <a:gd name="connsiteX52" fmla="*/ 2672933 w 5932286"/>
              <a:gd name="connsiteY52" fmla="*/ 144404 h 6994526"/>
              <a:gd name="connsiteX53" fmla="*/ 2752068 w 5932286"/>
              <a:gd name="connsiteY53" fmla="*/ 64568 h 6994526"/>
              <a:gd name="connsiteX54" fmla="*/ 2831903 w 5932286"/>
              <a:gd name="connsiteY54" fmla="*/ 143696 h 6994526"/>
              <a:gd name="connsiteX55" fmla="*/ 2752770 w 5932286"/>
              <a:gd name="connsiteY55" fmla="*/ 223532 h 6994526"/>
              <a:gd name="connsiteX56" fmla="*/ 4310074 w 5932286"/>
              <a:gd name="connsiteY56" fmla="*/ 236639 h 6994526"/>
              <a:gd name="connsiteX57" fmla="*/ 4234246 w 5932286"/>
              <a:gd name="connsiteY57" fmla="*/ 160757 h 6994526"/>
              <a:gd name="connsiteX58" fmla="*/ 4310074 w 5932286"/>
              <a:gd name="connsiteY58" fmla="*/ 84944 h 6994526"/>
              <a:gd name="connsiteX59" fmla="*/ 4379057 w 5932286"/>
              <a:gd name="connsiteY59" fmla="*/ 160757 h 6994526"/>
              <a:gd name="connsiteX60" fmla="*/ 4310074 w 5932286"/>
              <a:gd name="connsiteY60" fmla="*/ 236639 h 6994526"/>
              <a:gd name="connsiteX61" fmla="*/ 1299339 w 5932286"/>
              <a:gd name="connsiteY61" fmla="*/ 246672 h 6994526"/>
              <a:gd name="connsiteX62" fmla="*/ 1198308 w 5932286"/>
              <a:gd name="connsiteY62" fmla="*/ 146349 h 6994526"/>
              <a:gd name="connsiteX63" fmla="*/ 1298631 w 5932286"/>
              <a:gd name="connsiteY63" fmla="*/ 45319 h 6994526"/>
              <a:gd name="connsiteX64" fmla="*/ 1399661 w 5932286"/>
              <a:gd name="connsiteY64" fmla="*/ 145642 h 6994526"/>
              <a:gd name="connsiteX65" fmla="*/ 1299339 w 5932286"/>
              <a:gd name="connsiteY65" fmla="*/ 246672 h 6994526"/>
              <a:gd name="connsiteX66" fmla="*/ 4790983 w 5932286"/>
              <a:gd name="connsiteY66" fmla="*/ 269478 h 6994526"/>
              <a:gd name="connsiteX67" fmla="*/ 4718128 w 5932286"/>
              <a:gd name="connsiteY67" fmla="*/ 196624 h 6994526"/>
              <a:gd name="connsiteX68" fmla="*/ 4790983 w 5932286"/>
              <a:gd name="connsiteY68" fmla="*/ 123771 h 6994526"/>
              <a:gd name="connsiteX69" fmla="*/ 4863836 w 5932286"/>
              <a:gd name="connsiteY69" fmla="*/ 196624 h 6994526"/>
              <a:gd name="connsiteX70" fmla="*/ 4790983 w 5932286"/>
              <a:gd name="connsiteY70" fmla="*/ 269478 h 6994526"/>
              <a:gd name="connsiteX71" fmla="*/ 2190175 w 5932286"/>
              <a:gd name="connsiteY71" fmla="*/ 296108 h 6994526"/>
              <a:gd name="connsiteX72" fmla="*/ 2082793 w 5932286"/>
              <a:gd name="connsiteY72" fmla="*/ 189433 h 6994526"/>
              <a:gd name="connsiteX73" fmla="*/ 2189475 w 5932286"/>
              <a:gd name="connsiteY73" fmla="*/ 82043 h 6994526"/>
              <a:gd name="connsiteX74" fmla="*/ 2296857 w 5932286"/>
              <a:gd name="connsiteY74" fmla="*/ 188725 h 6994526"/>
              <a:gd name="connsiteX75" fmla="*/ 2190175 w 5932286"/>
              <a:gd name="connsiteY75" fmla="*/ 296108 h 6994526"/>
              <a:gd name="connsiteX76" fmla="*/ 1600960 w 5932286"/>
              <a:gd name="connsiteY76" fmla="*/ 396686 h 6994526"/>
              <a:gd name="connsiteX77" fmla="*/ 1480149 w 5932286"/>
              <a:gd name="connsiteY77" fmla="*/ 276581 h 6994526"/>
              <a:gd name="connsiteX78" fmla="*/ 1600252 w 5932286"/>
              <a:gd name="connsiteY78" fmla="*/ 155768 h 6994526"/>
              <a:gd name="connsiteX79" fmla="*/ 1721063 w 5932286"/>
              <a:gd name="connsiteY79" fmla="*/ 275873 h 6994526"/>
              <a:gd name="connsiteX80" fmla="*/ 1600960 w 5932286"/>
              <a:gd name="connsiteY80" fmla="*/ 396686 h 6994526"/>
              <a:gd name="connsiteX81" fmla="*/ 12459 w 5932286"/>
              <a:gd name="connsiteY81" fmla="*/ 397574 h 6994526"/>
              <a:gd name="connsiteX82" fmla="*/ 0 w 5932286"/>
              <a:gd name="connsiteY82" fmla="*/ 395061 h 6994526"/>
              <a:gd name="connsiteX83" fmla="*/ 0 w 5932286"/>
              <a:gd name="connsiteY83" fmla="*/ 153466 h 6994526"/>
              <a:gd name="connsiteX84" fmla="*/ 11751 w 5932286"/>
              <a:gd name="connsiteY84" fmla="*/ 151009 h 6994526"/>
              <a:gd name="connsiteX85" fmla="*/ 135387 w 5932286"/>
              <a:gd name="connsiteY85" fmla="*/ 273938 h 6994526"/>
              <a:gd name="connsiteX86" fmla="*/ 12459 w 5932286"/>
              <a:gd name="connsiteY86" fmla="*/ 397574 h 6994526"/>
              <a:gd name="connsiteX87" fmla="*/ 340716 w 5932286"/>
              <a:gd name="connsiteY87" fmla="*/ 415001 h 6994526"/>
              <a:gd name="connsiteX88" fmla="*/ 217079 w 5932286"/>
              <a:gd name="connsiteY88" fmla="*/ 292072 h 6994526"/>
              <a:gd name="connsiteX89" fmla="*/ 340009 w 5932286"/>
              <a:gd name="connsiteY89" fmla="*/ 168436 h 6994526"/>
              <a:gd name="connsiteX90" fmla="*/ 463645 w 5932286"/>
              <a:gd name="connsiteY90" fmla="*/ 291364 h 6994526"/>
              <a:gd name="connsiteX91" fmla="*/ 340716 w 5932286"/>
              <a:gd name="connsiteY91" fmla="*/ 415001 h 6994526"/>
              <a:gd name="connsiteX92" fmla="*/ 3520665 w 5932286"/>
              <a:gd name="connsiteY92" fmla="*/ 437641 h 6994526"/>
              <a:gd name="connsiteX93" fmla="*/ 3447465 w 5932286"/>
              <a:gd name="connsiteY93" fmla="*/ 365213 h 6994526"/>
              <a:gd name="connsiteX94" fmla="*/ 3519893 w 5932286"/>
              <a:gd name="connsiteY94" fmla="*/ 292013 h 6994526"/>
              <a:gd name="connsiteX95" fmla="*/ 3593093 w 5932286"/>
              <a:gd name="connsiteY95" fmla="*/ 364440 h 6994526"/>
              <a:gd name="connsiteX96" fmla="*/ 3520665 w 5932286"/>
              <a:gd name="connsiteY96" fmla="*/ 437641 h 6994526"/>
              <a:gd name="connsiteX97" fmla="*/ 3001138 w 5932286"/>
              <a:gd name="connsiteY97" fmla="*/ 443447 h 6994526"/>
              <a:gd name="connsiteX98" fmla="*/ 2916352 w 5932286"/>
              <a:gd name="connsiteY98" fmla="*/ 358669 h 6994526"/>
              <a:gd name="connsiteX99" fmla="*/ 3000431 w 5932286"/>
              <a:gd name="connsiteY99" fmla="*/ 274592 h 6994526"/>
              <a:gd name="connsiteX100" fmla="*/ 3085210 w 5932286"/>
              <a:gd name="connsiteY100" fmla="*/ 358669 h 6994526"/>
              <a:gd name="connsiteX101" fmla="*/ 3001138 w 5932286"/>
              <a:gd name="connsiteY101" fmla="*/ 443447 h 6994526"/>
              <a:gd name="connsiteX102" fmla="*/ 4020801 w 5932286"/>
              <a:gd name="connsiteY102" fmla="*/ 460815 h 6994526"/>
              <a:gd name="connsiteX103" fmla="*/ 3947122 w 5932286"/>
              <a:gd name="connsiteY103" fmla="*/ 388920 h 6994526"/>
              <a:gd name="connsiteX104" fmla="*/ 4019017 w 5932286"/>
              <a:gd name="connsiteY104" fmla="*/ 315241 h 6994526"/>
              <a:gd name="connsiteX105" fmla="*/ 4092696 w 5932286"/>
              <a:gd name="connsiteY105" fmla="*/ 387118 h 6994526"/>
              <a:gd name="connsiteX106" fmla="*/ 4020801 w 5932286"/>
              <a:gd name="connsiteY106" fmla="*/ 460815 h 6994526"/>
              <a:gd name="connsiteX107" fmla="*/ 665095 w 5932286"/>
              <a:gd name="connsiteY107" fmla="*/ 465350 h 6994526"/>
              <a:gd name="connsiteX108" fmla="*/ 541459 w 5932286"/>
              <a:gd name="connsiteY108" fmla="*/ 342422 h 6994526"/>
              <a:gd name="connsiteX109" fmla="*/ 664387 w 5932286"/>
              <a:gd name="connsiteY109" fmla="*/ 218785 h 6994526"/>
              <a:gd name="connsiteX110" fmla="*/ 788024 w 5932286"/>
              <a:gd name="connsiteY110" fmla="*/ 341714 h 6994526"/>
              <a:gd name="connsiteX111" fmla="*/ 665095 w 5932286"/>
              <a:gd name="connsiteY111" fmla="*/ 465350 h 6994526"/>
              <a:gd name="connsiteX112" fmla="*/ 2458890 w 5932286"/>
              <a:gd name="connsiteY112" fmla="*/ 476012 h 6994526"/>
              <a:gd name="connsiteX113" fmla="*/ 2361395 w 5932286"/>
              <a:gd name="connsiteY113" fmla="*/ 379225 h 6994526"/>
              <a:gd name="connsiteX114" fmla="*/ 2458182 w 5932286"/>
              <a:gd name="connsiteY114" fmla="*/ 281729 h 6994526"/>
              <a:gd name="connsiteX115" fmla="*/ 2555677 w 5932286"/>
              <a:gd name="connsiteY115" fmla="*/ 378517 h 6994526"/>
              <a:gd name="connsiteX116" fmla="*/ 2458890 w 5932286"/>
              <a:gd name="connsiteY116" fmla="*/ 476012 h 6994526"/>
              <a:gd name="connsiteX117" fmla="*/ 4503358 w 5932286"/>
              <a:gd name="connsiteY117" fmla="*/ 497432 h 6994526"/>
              <a:gd name="connsiteX118" fmla="*/ 4430544 w 5932286"/>
              <a:gd name="connsiteY118" fmla="*/ 427538 h 6994526"/>
              <a:gd name="connsiteX119" fmla="*/ 4503358 w 5932286"/>
              <a:gd name="connsiteY119" fmla="*/ 351805 h 6994526"/>
              <a:gd name="connsiteX120" fmla="*/ 4576171 w 5932286"/>
              <a:gd name="connsiteY120" fmla="*/ 424618 h 6994526"/>
              <a:gd name="connsiteX121" fmla="*/ 4503358 w 5932286"/>
              <a:gd name="connsiteY121" fmla="*/ 497432 h 6994526"/>
              <a:gd name="connsiteX122" fmla="*/ 4972541 w 5932286"/>
              <a:gd name="connsiteY122" fmla="*/ 543506 h 6994526"/>
              <a:gd name="connsiteX123" fmla="*/ 4899686 w 5932286"/>
              <a:gd name="connsiteY123" fmla="*/ 470653 h 6994526"/>
              <a:gd name="connsiteX124" fmla="*/ 4972541 w 5932286"/>
              <a:gd name="connsiteY124" fmla="*/ 397799 h 6994526"/>
              <a:gd name="connsiteX125" fmla="*/ 5045394 w 5932286"/>
              <a:gd name="connsiteY125" fmla="*/ 470653 h 6994526"/>
              <a:gd name="connsiteX126" fmla="*/ 4972541 w 5932286"/>
              <a:gd name="connsiteY126" fmla="*/ 543506 h 6994526"/>
              <a:gd name="connsiteX127" fmla="*/ 983186 w 5932286"/>
              <a:gd name="connsiteY127" fmla="*/ 547658 h 6994526"/>
              <a:gd name="connsiteX128" fmla="*/ 859549 w 5932286"/>
              <a:gd name="connsiteY128" fmla="*/ 424729 h 6994526"/>
              <a:gd name="connsiteX129" fmla="*/ 982478 w 5932286"/>
              <a:gd name="connsiteY129" fmla="*/ 301092 h 6994526"/>
              <a:gd name="connsiteX130" fmla="*/ 1106115 w 5932286"/>
              <a:gd name="connsiteY130" fmla="*/ 424021 h 6994526"/>
              <a:gd name="connsiteX131" fmla="*/ 983186 w 5932286"/>
              <a:gd name="connsiteY131" fmla="*/ 547658 h 6994526"/>
              <a:gd name="connsiteX132" fmla="*/ 1890007 w 5932286"/>
              <a:gd name="connsiteY132" fmla="*/ 548606 h 6994526"/>
              <a:gd name="connsiteX133" fmla="*/ 1774139 w 5932286"/>
              <a:gd name="connsiteY133" fmla="*/ 433445 h 6994526"/>
              <a:gd name="connsiteX134" fmla="*/ 1889300 w 5932286"/>
              <a:gd name="connsiteY134" fmla="*/ 317576 h 6994526"/>
              <a:gd name="connsiteX135" fmla="*/ 2005169 w 5932286"/>
              <a:gd name="connsiteY135" fmla="*/ 432737 h 6994526"/>
              <a:gd name="connsiteX136" fmla="*/ 1890007 w 5932286"/>
              <a:gd name="connsiteY136" fmla="*/ 548606 h 6994526"/>
              <a:gd name="connsiteX137" fmla="*/ 1291591 w 5932286"/>
              <a:gd name="connsiteY137" fmla="*/ 664493 h 6994526"/>
              <a:gd name="connsiteX138" fmla="*/ 1164417 w 5932286"/>
              <a:gd name="connsiteY138" fmla="*/ 538029 h 6994526"/>
              <a:gd name="connsiteX139" fmla="*/ 1290883 w 5932286"/>
              <a:gd name="connsiteY139" fmla="*/ 410856 h 6994526"/>
              <a:gd name="connsiteX140" fmla="*/ 1418057 w 5932286"/>
              <a:gd name="connsiteY140" fmla="*/ 537320 h 6994526"/>
              <a:gd name="connsiteX141" fmla="*/ 1291591 w 5932286"/>
              <a:gd name="connsiteY141" fmla="*/ 664493 h 6994526"/>
              <a:gd name="connsiteX142" fmla="*/ 3232569 w 5932286"/>
              <a:gd name="connsiteY142" fmla="*/ 677291 h 6994526"/>
              <a:gd name="connsiteX143" fmla="*/ 3147783 w 5932286"/>
              <a:gd name="connsiteY143" fmla="*/ 593221 h 6994526"/>
              <a:gd name="connsiteX144" fmla="*/ 3231861 w 5932286"/>
              <a:gd name="connsiteY144" fmla="*/ 508435 h 6994526"/>
              <a:gd name="connsiteX145" fmla="*/ 3316641 w 5932286"/>
              <a:gd name="connsiteY145" fmla="*/ 592513 h 6994526"/>
              <a:gd name="connsiteX146" fmla="*/ 3232569 w 5932286"/>
              <a:gd name="connsiteY146" fmla="*/ 677291 h 6994526"/>
              <a:gd name="connsiteX147" fmla="*/ 3733068 w 5932286"/>
              <a:gd name="connsiteY147" fmla="*/ 688189 h 6994526"/>
              <a:gd name="connsiteX148" fmla="*/ 3660260 w 5932286"/>
              <a:gd name="connsiteY148" fmla="*/ 615379 h 6994526"/>
              <a:gd name="connsiteX149" fmla="*/ 3733068 w 5932286"/>
              <a:gd name="connsiteY149" fmla="*/ 542562 h 6994526"/>
              <a:gd name="connsiteX150" fmla="*/ 3805882 w 5932286"/>
              <a:gd name="connsiteY150" fmla="*/ 615379 h 6994526"/>
              <a:gd name="connsiteX151" fmla="*/ 3733068 w 5932286"/>
              <a:gd name="connsiteY151" fmla="*/ 688189 h 6994526"/>
              <a:gd name="connsiteX152" fmla="*/ 2710650 w 5932286"/>
              <a:gd name="connsiteY152" fmla="*/ 708304 h 6994526"/>
              <a:gd name="connsiteX153" fmla="*/ 2591957 w 5932286"/>
              <a:gd name="connsiteY153" fmla="*/ 590318 h 6994526"/>
              <a:gd name="connsiteX154" fmla="*/ 2709942 w 5932286"/>
              <a:gd name="connsiteY154" fmla="*/ 471624 h 6994526"/>
              <a:gd name="connsiteX155" fmla="*/ 2828636 w 5932286"/>
              <a:gd name="connsiteY155" fmla="*/ 589610 h 6994526"/>
              <a:gd name="connsiteX156" fmla="*/ 2710650 w 5932286"/>
              <a:gd name="connsiteY156" fmla="*/ 708304 h 6994526"/>
              <a:gd name="connsiteX157" fmla="*/ 4215782 w 5932286"/>
              <a:gd name="connsiteY157" fmla="*/ 724997 h 6994526"/>
              <a:gd name="connsiteX158" fmla="*/ 4142958 w 5932286"/>
              <a:gd name="connsiteY158" fmla="*/ 652174 h 6994526"/>
              <a:gd name="connsiteX159" fmla="*/ 4215782 w 5932286"/>
              <a:gd name="connsiteY159" fmla="*/ 579361 h 6994526"/>
              <a:gd name="connsiteX160" fmla="*/ 4288597 w 5932286"/>
              <a:gd name="connsiteY160" fmla="*/ 652174 h 6994526"/>
              <a:gd name="connsiteX161" fmla="*/ 4215782 w 5932286"/>
              <a:gd name="connsiteY161" fmla="*/ 724997 h 6994526"/>
              <a:gd name="connsiteX162" fmla="*/ 2163547 w 5932286"/>
              <a:gd name="connsiteY162" fmla="*/ 743360 h 6994526"/>
              <a:gd name="connsiteX163" fmla="*/ 2034968 w 5932286"/>
              <a:gd name="connsiteY163" fmla="*/ 615481 h 6994526"/>
              <a:gd name="connsiteX164" fmla="*/ 2162847 w 5932286"/>
              <a:gd name="connsiteY164" fmla="*/ 486901 h 6994526"/>
              <a:gd name="connsiteX165" fmla="*/ 2291427 w 5932286"/>
              <a:gd name="connsiteY165" fmla="*/ 614779 h 6994526"/>
              <a:gd name="connsiteX166" fmla="*/ 2163547 w 5932286"/>
              <a:gd name="connsiteY166" fmla="*/ 743360 h 6994526"/>
              <a:gd name="connsiteX167" fmla="*/ 11008 w 5932286"/>
              <a:gd name="connsiteY167" fmla="*/ 750068 h 6994526"/>
              <a:gd name="connsiteX168" fmla="*/ 0 w 5932286"/>
              <a:gd name="connsiteY168" fmla="*/ 747972 h 6994526"/>
              <a:gd name="connsiteX169" fmla="*/ 0 w 5932286"/>
              <a:gd name="connsiteY169" fmla="*/ 533205 h 6994526"/>
              <a:gd name="connsiteX170" fmla="*/ 10300 w 5932286"/>
              <a:gd name="connsiteY170" fmla="*/ 531042 h 6994526"/>
              <a:gd name="connsiteX171" fmla="*/ 120511 w 5932286"/>
              <a:gd name="connsiteY171" fmla="*/ 639847 h 6994526"/>
              <a:gd name="connsiteX172" fmla="*/ 11008 w 5932286"/>
              <a:gd name="connsiteY172" fmla="*/ 750068 h 6994526"/>
              <a:gd name="connsiteX173" fmla="*/ 338777 w 5932286"/>
              <a:gd name="connsiteY173" fmla="*/ 772141 h 6994526"/>
              <a:gd name="connsiteX174" fmla="*/ 226445 w 5932286"/>
              <a:gd name="connsiteY174" fmla="*/ 660516 h 6994526"/>
              <a:gd name="connsiteX175" fmla="*/ 338068 w 5932286"/>
              <a:gd name="connsiteY175" fmla="*/ 548185 h 6994526"/>
              <a:gd name="connsiteX176" fmla="*/ 450400 w 5932286"/>
              <a:gd name="connsiteY176" fmla="*/ 659808 h 6994526"/>
              <a:gd name="connsiteX177" fmla="*/ 338777 w 5932286"/>
              <a:gd name="connsiteY177" fmla="*/ 772141 h 6994526"/>
              <a:gd name="connsiteX178" fmla="*/ 4684710 w 5932286"/>
              <a:gd name="connsiteY178" fmla="*/ 773436 h 6994526"/>
              <a:gd name="connsiteX179" fmla="*/ 4610407 w 5932286"/>
              <a:gd name="connsiteY179" fmla="*/ 699133 h 6994526"/>
              <a:gd name="connsiteX180" fmla="*/ 4681731 w 5932286"/>
              <a:gd name="connsiteY180" fmla="*/ 624831 h 6994526"/>
              <a:gd name="connsiteX181" fmla="*/ 4756034 w 5932286"/>
              <a:gd name="connsiteY181" fmla="*/ 699133 h 6994526"/>
              <a:gd name="connsiteX182" fmla="*/ 4684710 w 5932286"/>
              <a:gd name="connsiteY182" fmla="*/ 773436 h 6994526"/>
              <a:gd name="connsiteX183" fmla="*/ 1587412 w 5932286"/>
              <a:gd name="connsiteY183" fmla="*/ 816055 h 6994526"/>
              <a:gd name="connsiteX184" fmla="*/ 1452471 w 5932286"/>
              <a:gd name="connsiteY184" fmla="*/ 681815 h 6994526"/>
              <a:gd name="connsiteX185" fmla="*/ 1586704 w 5932286"/>
              <a:gd name="connsiteY185" fmla="*/ 546874 h 6994526"/>
              <a:gd name="connsiteX186" fmla="*/ 1721651 w 5932286"/>
              <a:gd name="connsiteY186" fmla="*/ 681107 h 6994526"/>
              <a:gd name="connsiteX187" fmla="*/ 1587412 w 5932286"/>
              <a:gd name="connsiteY187" fmla="*/ 816055 h 6994526"/>
              <a:gd name="connsiteX188" fmla="*/ 5138605 w 5932286"/>
              <a:gd name="connsiteY188" fmla="*/ 827226 h 6994526"/>
              <a:gd name="connsiteX189" fmla="*/ 5065750 w 5932286"/>
              <a:gd name="connsiteY189" fmla="*/ 754372 h 6994526"/>
              <a:gd name="connsiteX190" fmla="*/ 5138605 w 5932286"/>
              <a:gd name="connsiteY190" fmla="*/ 681519 h 6994526"/>
              <a:gd name="connsiteX191" fmla="*/ 5211458 w 5932286"/>
              <a:gd name="connsiteY191" fmla="*/ 754372 h 6994526"/>
              <a:gd name="connsiteX192" fmla="*/ 5138605 w 5932286"/>
              <a:gd name="connsiteY192" fmla="*/ 827226 h 6994526"/>
              <a:gd name="connsiteX193" fmla="*/ 662786 w 5932286"/>
              <a:gd name="connsiteY193" fmla="*/ 836781 h 6994526"/>
              <a:gd name="connsiteX194" fmla="*/ 541269 w 5932286"/>
              <a:gd name="connsiteY194" fmla="*/ 716679 h 6994526"/>
              <a:gd name="connsiteX195" fmla="*/ 662079 w 5932286"/>
              <a:gd name="connsiteY195" fmla="*/ 595867 h 6994526"/>
              <a:gd name="connsiteX196" fmla="*/ 782887 w 5932286"/>
              <a:gd name="connsiteY196" fmla="*/ 715971 h 6994526"/>
              <a:gd name="connsiteX197" fmla="*/ 662786 w 5932286"/>
              <a:gd name="connsiteY197" fmla="*/ 836781 h 6994526"/>
              <a:gd name="connsiteX198" fmla="*/ 2944494 w 5932286"/>
              <a:gd name="connsiteY198" fmla="*/ 924405 h 6994526"/>
              <a:gd name="connsiteX199" fmla="*/ 2840638 w 5932286"/>
              <a:gd name="connsiteY199" fmla="*/ 821256 h 6994526"/>
              <a:gd name="connsiteX200" fmla="*/ 2943786 w 5932286"/>
              <a:gd name="connsiteY200" fmla="*/ 717399 h 6994526"/>
              <a:gd name="connsiteX201" fmla="*/ 3047643 w 5932286"/>
              <a:gd name="connsiteY201" fmla="*/ 820548 h 6994526"/>
              <a:gd name="connsiteX202" fmla="*/ 2944494 w 5932286"/>
              <a:gd name="connsiteY202" fmla="*/ 924405 h 6994526"/>
              <a:gd name="connsiteX203" fmla="*/ 3446189 w 5932286"/>
              <a:gd name="connsiteY203" fmla="*/ 927119 h 6994526"/>
              <a:gd name="connsiteX204" fmla="*/ 3360705 w 5932286"/>
              <a:gd name="connsiteY204" fmla="*/ 843050 h 6994526"/>
              <a:gd name="connsiteX205" fmla="*/ 3445482 w 5932286"/>
              <a:gd name="connsiteY205" fmla="*/ 758265 h 6994526"/>
              <a:gd name="connsiteX206" fmla="*/ 3530257 w 5932286"/>
              <a:gd name="connsiteY206" fmla="*/ 842341 h 6994526"/>
              <a:gd name="connsiteX207" fmla="*/ 3446189 w 5932286"/>
              <a:gd name="connsiteY207" fmla="*/ 927119 h 6994526"/>
              <a:gd name="connsiteX208" fmla="*/ 978459 w 5932286"/>
              <a:gd name="connsiteY208" fmla="*/ 935126 h 6994526"/>
              <a:gd name="connsiteX209" fmla="*/ 850583 w 5932286"/>
              <a:gd name="connsiteY209" fmla="*/ 808664 h 6994526"/>
              <a:gd name="connsiteX210" fmla="*/ 977752 w 5932286"/>
              <a:gd name="connsiteY210" fmla="*/ 681495 h 6994526"/>
              <a:gd name="connsiteX211" fmla="*/ 1104921 w 5932286"/>
              <a:gd name="connsiteY211" fmla="*/ 807956 h 6994526"/>
              <a:gd name="connsiteX212" fmla="*/ 978459 w 5932286"/>
              <a:gd name="connsiteY212" fmla="*/ 935126 h 6994526"/>
              <a:gd name="connsiteX213" fmla="*/ 2419665 w 5932286"/>
              <a:gd name="connsiteY213" fmla="*/ 949128 h 6994526"/>
              <a:gd name="connsiteX214" fmla="*/ 2291085 w 5932286"/>
              <a:gd name="connsiteY214" fmla="*/ 821248 h 6994526"/>
              <a:gd name="connsiteX215" fmla="*/ 2418963 w 5932286"/>
              <a:gd name="connsiteY215" fmla="*/ 692669 h 6994526"/>
              <a:gd name="connsiteX216" fmla="*/ 2547543 w 5932286"/>
              <a:gd name="connsiteY216" fmla="*/ 820547 h 6994526"/>
              <a:gd name="connsiteX217" fmla="*/ 2419665 w 5932286"/>
              <a:gd name="connsiteY217" fmla="*/ 949128 h 6994526"/>
              <a:gd name="connsiteX218" fmla="*/ 3927697 w 5932286"/>
              <a:gd name="connsiteY218" fmla="*/ 952547 h 6994526"/>
              <a:gd name="connsiteX219" fmla="*/ 3854883 w 5932286"/>
              <a:gd name="connsiteY219" fmla="*/ 879723 h 6994526"/>
              <a:gd name="connsiteX220" fmla="*/ 3927697 w 5932286"/>
              <a:gd name="connsiteY220" fmla="*/ 806910 h 6994526"/>
              <a:gd name="connsiteX221" fmla="*/ 4000510 w 5932286"/>
              <a:gd name="connsiteY221" fmla="*/ 879723 h 6994526"/>
              <a:gd name="connsiteX222" fmla="*/ 3927697 w 5932286"/>
              <a:gd name="connsiteY222" fmla="*/ 952547 h 6994526"/>
              <a:gd name="connsiteX223" fmla="*/ 1867364 w 5932286"/>
              <a:gd name="connsiteY223" fmla="*/ 989230 h 6994526"/>
              <a:gd name="connsiteX224" fmla="*/ 1731009 w 5932286"/>
              <a:gd name="connsiteY224" fmla="*/ 854291 h 6994526"/>
              <a:gd name="connsiteX225" fmla="*/ 1865947 w 5932286"/>
              <a:gd name="connsiteY225" fmla="*/ 717936 h 6994526"/>
              <a:gd name="connsiteX226" fmla="*/ 2002302 w 5932286"/>
              <a:gd name="connsiteY226" fmla="*/ 852874 h 6994526"/>
              <a:gd name="connsiteX227" fmla="*/ 1867364 w 5932286"/>
              <a:gd name="connsiteY227" fmla="*/ 989230 h 6994526"/>
              <a:gd name="connsiteX228" fmla="*/ 4394163 w 5932286"/>
              <a:gd name="connsiteY228" fmla="*/ 1001208 h 6994526"/>
              <a:gd name="connsiteX229" fmla="*/ 4320878 w 5932286"/>
              <a:gd name="connsiteY229" fmla="*/ 928856 h 6994526"/>
              <a:gd name="connsiteX230" fmla="*/ 4393231 w 5932286"/>
              <a:gd name="connsiteY230" fmla="*/ 855571 h 6994526"/>
              <a:gd name="connsiteX231" fmla="*/ 4466515 w 5932286"/>
              <a:gd name="connsiteY231" fmla="*/ 927923 h 6994526"/>
              <a:gd name="connsiteX232" fmla="*/ 4394163 w 5932286"/>
              <a:gd name="connsiteY232" fmla="*/ 1001208 h 6994526"/>
              <a:gd name="connsiteX233" fmla="*/ 1280941 w 5932286"/>
              <a:gd name="connsiteY233" fmla="*/ 1032300 h 6994526"/>
              <a:gd name="connsiteX234" fmla="*/ 1183446 w 5932286"/>
              <a:gd name="connsiteY234" fmla="*/ 935512 h 6994526"/>
              <a:gd name="connsiteX235" fmla="*/ 1280234 w 5932286"/>
              <a:gd name="connsiteY235" fmla="*/ 838017 h 6994526"/>
              <a:gd name="connsiteX236" fmla="*/ 1377729 w 5932286"/>
              <a:gd name="connsiteY236" fmla="*/ 934804 h 6994526"/>
              <a:gd name="connsiteX237" fmla="*/ 1280941 w 5932286"/>
              <a:gd name="connsiteY237" fmla="*/ 1032300 h 6994526"/>
              <a:gd name="connsiteX238" fmla="*/ 4847738 w 5932286"/>
              <a:gd name="connsiteY238" fmla="*/ 1057375 h 6994526"/>
              <a:gd name="connsiteX239" fmla="*/ 4774020 w 5932286"/>
              <a:gd name="connsiteY239" fmla="*/ 985445 h 6994526"/>
              <a:gd name="connsiteX240" fmla="*/ 4845954 w 5932286"/>
              <a:gd name="connsiteY240" fmla="*/ 911731 h 6994526"/>
              <a:gd name="connsiteX241" fmla="*/ 4919671 w 5932286"/>
              <a:gd name="connsiteY241" fmla="*/ 983661 h 6994526"/>
              <a:gd name="connsiteX242" fmla="*/ 4847738 w 5932286"/>
              <a:gd name="connsiteY242" fmla="*/ 1057375 h 6994526"/>
              <a:gd name="connsiteX243" fmla="*/ 9443 w 5932286"/>
              <a:gd name="connsiteY243" fmla="*/ 1079396 h 6994526"/>
              <a:gd name="connsiteX244" fmla="*/ 0 w 5932286"/>
              <a:gd name="connsiteY244" fmla="*/ 1077491 h 6994526"/>
              <a:gd name="connsiteX245" fmla="*/ 0 w 5932286"/>
              <a:gd name="connsiteY245" fmla="*/ 935674 h 6994526"/>
              <a:gd name="connsiteX246" fmla="*/ 9443 w 5932286"/>
              <a:gd name="connsiteY246" fmla="*/ 933761 h 6994526"/>
              <a:gd name="connsiteX247" fmla="*/ 82257 w 5932286"/>
              <a:gd name="connsiteY247" fmla="*/ 1006578 h 6994526"/>
              <a:gd name="connsiteX248" fmla="*/ 9443 w 5932286"/>
              <a:gd name="connsiteY248" fmla="*/ 1079396 h 6994526"/>
              <a:gd name="connsiteX249" fmla="*/ 336731 w 5932286"/>
              <a:gd name="connsiteY249" fmla="*/ 1102280 h 6994526"/>
              <a:gd name="connsiteX250" fmla="*/ 263916 w 5932286"/>
              <a:gd name="connsiteY250" fmla="*/ 1029467 h 6994526"/>
              <a:gd name="connsiteX251" fmla="*/ 336731 w 5932286"/>
              <a:gd name="connsiteY251" fmla="*/ 955887 h 6994526"/>
              <a:gd name="connsiteX252" fmla="*/ 409551 w 5932286"/>
              <a:gd name="connsiteY252" fmla="*/ 1028699 h 6994526"/>
              <a:gd name="connsiteX253" fmla="*/ 336731 w 5932286"/>
              <a:gd name="connsiteY253" fmla="*/ 1102280 h 6994526"/>
              <a:gd name="connsiteX254" fmla="*/ 5288877 w 5932286"/>
              <a:gd name="connsiteY254" fmla="*/ 1119568 h 6994526"/>
              <a:gd name="connsiteX255" fmla="*/ 5216059 w 5932286"/>
              <a:gd name="connsiteY255" fmla="*/ 1046754 h 6994526"/>
              <a:gd name="connsiteX256" fmla="*/ 5288877 w 5932286"/>
              <a:gd name="connsiteY256" fmla="*/ 973941 h 6994526"/>
              <a:gd name="connsiteX257" fmla="*/ 5361696 w 5932286"/>
              <a:gd name="connsiteY257" fmla="*/ 1046754 h 6994526"/>
              <a:gd name="connsiteX258" fmla="*/ 5288877 w 5932286"/>
              <a:gd name="connsiteY258" fmla="*/ 1119568 h 6994526"/>
              <a:gd name="connsiteX259" fmla="*/ 659772 w 5932286"/>
              <a:gd name="connsiteY259" fmla="*/ 1175301 h 6994526"/>
              <a:gd name="connsiteX260" fmla="*/ 577109 w 5932286"/>
              <a:gd name="connsiteY260" fmla="*/ 1093346 h 6994526"/>
              <a:gd name="connsiteX261" fmla="*/ 659063 w 5932286"/>
              <a:gd name="connsiteY261" fmla="*/ 1010685 h 6994526"/>
              <a:gd name="connsiteX262" fmla="*/ 741725 w 5932286"/>
              <a:gd name="connsiteY262" fmla="*/ 1092638 h 6994526"/>
              <a:gd name="connsiteX263" fmla="*/ 659772 w 5932286"/>
              <a:gd name="connsiteY263" fmla="*/ 1175301 h 6994526"/>
              <a:gd name="connsiteX264" fmla="*/ 2656418 w 5932286"/>
              <a:gd name="connsiteY264" fmla="*/ 1183530 h 6994526"/>
              <a:gd name="connsiteX265" fmla="*/ 2521477 w 5932286"/>
              <a:gd name="connsiteY265" fmla="*/ 1049290 h 6994526"/>
              <a:gd name="connsiteX266" fmla="*/ 2655717 w 5932286"/>
              <a:gd name="connsiteY266" fmla="*/ 914349 h 6994526"/>
              <a:gd name="connsiteX267" fmla="*/ 2790658 w 5932286"/>
              <a:gd name="connsiteY267" fmla="*/ 1048582 h 6994526"/>
              <a:gd name="connsiteX268" fmla="*/ 2656418 w 5932286"/>
              <a:gd name="connsiteY268" fmla="*/ 1183530 h 6994526"/>
              <a:gd name="connsiteX269" fmla="*/ 3158974 w 5932286"/>
              <a:gd name="connsiteY269" fmla="*/ 1188099 h 6994526"/>
              <a:gd name="connsiteX270" fmla="*/ 3040280 w 5932286"/>
              <a:gd name="connsiteY270" fmla="*/ 1070113 h 6994526"/>
              <a:gd name="connsiteX271" fmla="*/ 3158266 w 5932286"/>
              <a:gd name="connsiteY271" fmla="*/ 951420 h 6994526"/>
              <a:gd name="connsiteX272" fmla="*/ 3276960 w 5932286"/>
              <a:gd name="connsiteY272" fmla="*/ 1069406 h 6994526"/>
              <a:gd name="connsiteX273" fmla="*/ 3158974 w 5932286"/>
              <a:gd name="connsiteY273" fmla="*/ 1188099 h 6994526"/>
              <a:gd name="connsiteX274" fmla="*/ 3640216 w 5932286"/>
              <a:gd name="connsiteY274" fmla="*/ 1192069 h 6994526"/>
              <a:gd name="connsiteX275" fmla="*/ 3555440 w 5932286"/>
              <a:gd name="connsiteY275" fmla="*/ 1107294 h 6994526"/>
              <a:gd name="connsiteX276" fmla="*/ 3639515 w 5932286"/>
              <a:gd name="connsiteY276" fmla="*/ 1022510 h 6994526"/>
              <a:gd name="connsiteX277" fmla="*/ 3724293 w 5932286"/>
              <a:gd name="connsiteY277" fmla="*/ 1106586 h 6994526"/>
              <a:gd name="connsiteX278" fmla="*/ 3640216 w 5932286"/>
              <a:gd name="connsiteY278" fmla="*/ 1192069 h 6994526"/>
              <a:gd name="connsiteX279" fmla="*/ 2128210 w 5932286"/>
              <a:gd name="connsiteY279" fmla="*/ 1195056 h 6994526"/>
              <a:gd name="connsiteX280" fmla="*/ 1986201 w 5932286"/>
              <a:gd name="connsiteY280" fmla="*/ 1053747 h 6994526"/>
              <a:gd name="connsiteX281" fmla="*/ 2126793 w 5932286"/>
              <a:gd name="connsiteY281" fmla="*/ 911037 h 6994526"/>
              <a:gd name="connsiteX282" fmla="*/ 2269508 w 5932286"/>
              <a:gd name="connsiteY282" fmla="*/ 1052338 h 6994526"/>
              <a:gd name="connsiteX283" fmla="*/ 2128210 w 5932286"/>
              <a:gd name="connsiteY283" fmla="*/ 1195056 h 6994526"/>
              <a:gd name="connsiteX284" fmla="*/ 1568151 w 5932286"/>
              <a:gd name="connsiteY284" fmla="*/ 1214683 h 6994526"/>
              <a:gd name="connsiteX285" fmla="*/ 1448049 w 5932286"/>
              <a:gd name="connsiteY285" fmla="*/ 1095283 h 6994526"/>
              <a:gd name="connsiteX286" fmla="*/ 1566741 w 5932286"/>
              <a:gd name="connsiteY286" fmla="*/ 975182 h 6994526"/>
              <a:gd name="connsiteX287" fmla="*/ 1686843 w 5932286"/>
              <a:gd name="connsiteY287" fmla="*/ 1094582 h 6994526"/>
              <a:gd name="connsiteX288" fmla="*/ 1568151 w 5932286"/>
              <a:gd name="connsiteY288" fmla="*/ 1214683 h 6994526"/>
              <a:gd name="connsiteX289" fmla="*/ 4104539 w 5932286"/>
              <a:gd name="connsiteY289" fmla="*/ 1230206 h 6994526"/>
              <a:gd name="connsiteX290" fmla="*/ 4031358 w 5932286"/>
              <a:gd name="connsiteY290" fmla="*/ 1157752 h 6994526"/>
              <a:gd name="connsiteX291" fmla="*/ 4103812 w 5932286"/>
              <a:gd name="connsiteY291" fmla="*/ 1084572 h 6994526"/>
              <a:gd name="connsiteX292" fmla="*/ 4176993 w 5932286"/>
              <a:gd name="connsiteY292" fmla="*/ 1157025 h 6994526"/>
              <a:gd name="connsiteX293" fmla="*/ 4104539 w 5932286"/>
              <a:gd name="connsiteY293" fmla="*/ 1230206 h 6994526"/>
              <a:gd name="connsiteX294" fmla="*/ 4554422 w 5932286"/>
              <a:gd name="connsiteY294" fmla="*/ 1288307 h 6994526"/>
              <a:gd name="connsiteX295" fmla="*/ 4481138 w 5932286"/>
              <a:gd name="connsiteY295" fmla="*/ 1215955 h 6994526"/>
              <a:gd name="connsiteX296" fmla="*/ 4553490 w 5932286"/>
              <a:gd name="connsiteY296" fmla="*/ 1142671 h 6994526"/>
              <a:gd name="connsiteX297" fmla="*/ 4626774 w 5932286"/>
              <a:gd name="connsiteY297" fmla="*/ 1215023 h 6994526"/>
              <a:gd name="connsiteX298" fmla="*/ 4554422 w 5932286"/>
              <a:gd name="connsiteY298" fmla="*/ 1288307 h 6994526"/>
              <a:gd name="connsiteX299" fmla="*/ 971081 w 5932286"/>
              <a:gd name="connsiteY299" fmla="*/ 1294714 h 6994526"/>
              <a:gd name="connsiteX300" fmla="*/ 873585 w 5932286"/>
              <a:gd name="connsiteY300" fmla="*/ 1197926 h 6994526"/>
              <a:gd name="connsiteX301" fmla="*/ 970373 w 5932286"/>
              <a:gd name="connsiteY301" fmla="*/ 1100431 h 6994526"/>
              <a:gd name="connsiteX302" fmla="*/ 1067869 w 5932286"/>
              <a:gd name="connsiteY302" fmla="*/ 1197219 h 6994526"/>
              <a:gd name="connsiteX303" fmla="*/ 971081 w 5932286"/>
              <a:gd name="connsiteY303" fmla="*/ 1294714 h 6994526"/>
              <a:gd name="connsiteX304" fmla="*/ 4992844 w 5932286"/>
              <a:gd name="connsiteY304" fmla="*/ 1351992 h 6994526"/>
              <a:gd name="connsiteX305" fmla="*/ 4920018 w 5932286"/>
              <a:gd name="connsiteY305" fmla="*/ 1279165 h 6994526"/>
              <a:gd name="connsiteX306" fmla="*/ 4992844 w 5932286"/>
              <a:gd name="connsiteY306" fmla="*/ 1206341 h 6994526"/>
              <a:gd name="connsiteX307" fmla="*/ 5065670 w 5932286"/>
              <a:gd name="connsiteY307" fmla="*/ 1279165 h 6994526"/>
              <a:gd name="connsiteX308" fmla="*/ 4992844 w 5932286"/>
              <a:gd name="connsiteY308" fmla="*/ 1351992 h 6994526"/>
              <a:gd name="connsiteX309" fmla="*/ 1835303 w 5932286"/>
              <a:gd name="connsiteY309" fmla="*/ 1393201 h 6994526"/>
              <a:gd name="connsiteX310" fmla="*/ 1727913 w 5932286"/>
              <a:gd name="connsiteY310" fmla="*/ 1286526 h 6994526"/>
              <a:gd name="connsiteX311" fmla="*/ 1834595 w 5932286"/>
              <a:gd name="connsiteY311" fmla="*/ 1179136 h 6994526"/>
              <a:gd name="connsiteX312" fmla="*/ 1941978 w 5932286"/>
              <a:gd name="connsiteY312" fmla="*/ 1285818 h 6994526"/>
              <a:gd name="connsiteX313" fmla="*/ 1835303 w 5932286"/>
              <a:gd name="connsiteY313" fmla="*/ 1393201 h 6994526"/>
              <a:gd name="connsiteX314" fmla="*/ 1265820 w 5932286"/>
              <a:gd name="connsiteY314" fmla="*/ 1413937 h 6994526"/>
              <a:gd name="connsiteX315" fmla="*/ 1193001 w 5932286"/>
              <a:gd name="connsiteY315" fmla="*/ 1341129 h 6994526"/>
              <a:gd name="connsiteX316" fmla="*/ 1265820 w 5932286"/>
              <a:gd name="connsiteY316" fmla="*/ 1268309 h 6994526"/>
              <a:gd name="connsiteX317" fmla="*/ 1338628 w 5932286"/>
              <a:gd name="connsiteY317" fmla="*/ 1341129 h 6994526"/>
              <a:gd name="connsiteX318" fmla="*/ 1265820 w 5932286"/>
              <a:gd name="connsiteY318" fmla="*/ 1413937 h 6994526"/>
              <a:gd name="connsiteX319" fmla="*/ 2367864 w 5932286"/>
              <a:gd name="connsiteY319" fmla="*/ 1414754 h 6994526"/>
              <a:gd name="connsiteX320" fmla="*/ 2230803 w 5932286"/>
              <a:gd name="connsiteY320" fmla="*/ 1278400 h 6994526"/>
              <a:gd name="connsiteX321" fmla="*/ 2366449 w 5932286"/>
              <a:gd name="connsiteY321" fmla="*/ 1140637 h 6994526"/>
              <a:gd name="connsiteX322" fmla="*/ 2504211 w 5932286"/>
              <a:gd name="connsiteY322" fmla="*/ 1276991 h 6994526"/>
              <a:gd name="connsiteX323" fmla="*/ 2367864 w 5932286"/>
              <a:gd name="connsiteY323" fmla="*/ 1414754 h 6994526"/>
              <a:gd name="connsiteX324" fmla="*/ 5421837 w 5932286"/>
              <a:gd name="connsiteY324" fmla="*/ 1420312 h 6994526"/>
              <a:gd name="connsiteX325" fmla="*/ 5348982 w 5932286"/>
              <a:gd name="connsiteY325" fmla="*/ 1347459 h 6994526"/>
              <a:gd name="connsiteX326" fmla="*/ 5421837 w 5932286"/>
              <a:gd name="connsiteY326" fmla="*/ 1274605 h 6994526"/>
              <a:gd name="connsiteX327" fmla="*/ 5494691 w 5932286"/>
              <a:gd name="connsiteY327" fmla="*/ 1347459 h 6994526"/>
              <a:gd name="connsiteX328" fmla="*/ 5421837 w 5932286"/>
              <a:gd name="connsiteY328" fmla="*/ 1420312 h 6994526"/>
              <a:gd name="connsiteX329" fmla="*/ 2871869 w 5932286"/>
              <a:gd name="connsiteY329" fmla="*/ 1434948 h 6994526"/>
              <a:gd name="connsiteX330" fmla="*/ 2733395 w 5932286"/>
              <a:gd name="connsiteY330" fmla="*/ 1297177 h 6994526"/>
              <a:gd name="connsiteX331" fmla="*/ 2871162 w 5932286"/>
              <a:gd name="connsiteY331" fmla="*/ 1158700 h 6994526"/>
              <a:gd name="connsiteX332" fmla="*/ 3009636 w 5932286"/>
              <a:gd name="connsiteY332" fmla="*/ 1296469 h 6994526"/>
              <a:gd name="connsiteX333" fmla="*/ 2871869 w 5932286"/>
              <a:gd name="connsiteY333" fmla="*/ 1434948 h 6994526"/>
              <a:gd name="connsiteX334" fmla="*/ 8117 w 5932286"/>
              <a:gd name="connsiteY334" fmla="*/ 1447460 h 6994526"/>
              <a:gd name="connsiteX335" fmla="*/ 0 w 5932286"/>
              <a:gd name="connsiteY335" fmla="*/ 1445854 h 6994526"/>
              <a:gd name="connsiteX336" fmla="*/ 0 w 5932286"/>
              <a:gd name="connsiteY336" fmla="*/ 1299902 h 6994526"/>
              <a:gd name="connsiteX337" fmla="*/ 8117 w 5932286"/>
              <a:gd name="connsiteY337" fmla="*/ 1298248 h 6994526"/>
              <a:gd name="connsiteX338" fmla="*/ 80819 w 5932286"/>
              <a:gd name="connsiteY338" fmla="*/ 1370917 h 6994526"/>
              <a:gd name="connsiteX339" fmla="*/ 8117 w 5932286"/>
              <a:gd name="connsiteY339" fmla="*/ 1447460 h 6994526"/>
              <a:gd name="connsiteX340" fmla="*/ 3352149 w 5932286"/>
              <a:gd name="connsiteY340" fmla="*/ 1453897 h 6994526"/>
              <a:gd name="connsiteX341" fmla="*/ 3233456 w 5932286"/>
              <a:gd name="connsiteY341" fmla="*/ 1335911 h 6994526"/>
              <a:gd name="connsiteX342" fmla="*/ 3351442 w 5932286"/>
              <a:gd name="connsiteY342" fmla="*/ 1217218 h 6994526"/>
              <a:gd name="connsiteX343" fmla="*/ 3470135 w 5932286"/>
              <a:gd name="connsiteY343" fmla="*/ 1335204 h 6994526"/>
              <a:gd name="connsiteX344" fmla="*/ 3352149 w 5932286"/>
              <a:gd name="connsiteY344" fmla="*/ 1453897 h 6994526"/>
              <a:gd name="connsiteX345" fmla="*/ 335259 w 5932286"/>
              <a:gd name="connsiteY345" fmla="*/ 1471582 h 6994526"/>
              <a:gd name="connsiteX346" fmla="*/ 262435 w 5932286"/>
              <a:gd name="connsiteY346" fmla="*/ 1398737 h 6994526"/>
              <a:gd name="connsiteX347" fmla="*/ 335259 w 5932286"/>
              <a:gd name="connsiteY347" fmla="*/ 1325924 h 6994526"/>
              <a:gd name="connsiteX348" fmla="*/ 408115 w 5932286"/>
              <a:gd name="connsiteY348" fmla="*/ 1398737 h 6994526"/>
              <a:gd name="connsiteX349" fmla="*/ 335259 w 5932286"/>
              <a:gd name="connsiteY349" fmla="*/ 1471582 h 6994526"/>
              <a:gd name="connsiteX350" fmla="*/ 3814037 w 5932286"/>
              <a:gd name="connsiteY350" fmla="*/ 1489898 h 6994526"/>
              <a:gd name="connsiteX351" fmla="*/ 3710179 w 5932286"/>
              <a:gd name="connsiteY351" fmla="*/ 1386749 h 6994526"/>
              <a:gd name="connsiteX352" fmla="*/ 3813328 w 5932286"/>
              <a:gd name="connsiteY352" fmla="*/ 1282893 h 6994526"/>
              <a:gd name="connsiteX353" fmla="*/ 3917186 w 5932286"/>
              <a:gd name="connsiteY353" fmla="*/ 1386042 h 6994526"/>
              <a:gd name="connsiteX354" fmla="*/ 3814037 w 5932286"/>
              <a:gd name="connsiteY354" fmla="*/ 1489898 h 6994526"/>
              <a:gd name="connsiteX355" fmla="*/ 4260907 w 5932286"/>
              <a:gd name="connsiteY355" fmla="*/ 1522369 h 6994526"/>
              <a:gd name="connsiteX356" fmla="*/ 4184606 w 5932286"/>
              <a:gd name="connsiteY356" fmla="*/ 1446776 h 6994526"/>
              <a:gd name="connsiteX357" fmla="*/ 4260199 w 5932286"/>
              <a:gd name="connsiteY357" fmla="*/ 1370476 h 6994526"/>
              <a:gd name="connsiteX358" fmla="*/ 4336507 w 5932286"/>
              <a:gd name="connsiteY358" fmla="*/ 1446068 h 6994526"/>
              <a:gd name="connsiteX359" fmla="*/ 4260907 w 5932286"/>
              <a:gd name="connsiteY359" fmla="*/ 1522369 h 6994526"/>
              <a:gd name="connsiteX360" fmla="*/ 655315 w 5932286"/>
              <a:gd name="connsiteY360" fmla="*/ 1545624 h 6994526"/>
              <a:gd name="connsiteX361" fmla="*/ 582491 w 5932286"/>
              <a:gd name="connsiteY361" fmla="*/ 1472820 h 6994526"/>
              <a:gd name="connsiteX362" fmla="*/ 655315 w 5932286"/>
              <a:gd name="connsiteY362" fmla="*/ 1399997 h 6994526"/>
              <a:gd name="connsiteX363" fmla="*/ 728119 w 5932286"/>
              <a:gd name="connsiteY363" fmla="*/ 1472820 h 6994526"/>
              <a:gd name="connsiteX364" fmla="*/ 655315 w 5932286"/>
              <a:gd name="connsiteY364" fmla="*/ 1545624 h 6994526"/>
              <a:gd name="connsiteX365" fmla="*/ 4696346 w 5932286"/>
              <a:gd name="connsiteY365" fmla="*/ 1584587 h 6994526"/>
              <a:gd name="connsiteX366" fmla="*/ 4623014 w 5932286"/>
              <a:gd name="connsiteY366" fmla="*/ 1512316 h 6994526"/>
              <a:gd name="connsiteX367" fmla="*/ 4695280 w 5932286"/>
              <a:gd name="connsiteY367" fmla="*/ 1438981 h 6994526"/>
              <a:gd name="connsiteX368" fmla="*/ 4768600 w 5932286"/>
              <a:gd name="connsiteY368" fmla="*/ 1511250 h 6994526"/>
              <a:gd name="connsiteX369" fmla="*/ 4696346 w 5932286"/>
              <a:gd name="connsiteY369" fmla="*/ 1584587 h 6994526"/>
              <a:gd name="connsiteX370" fmla="*/ 1540823 w 5932286"/>
              <a:gd name="connsiteY370" fmla="*/ 1594697 h 6994526"/>
              <a:gd name="connsiteX371" fmla="*/ 1467349 w 5932286"/>
              <a:gd name="connsiteY371" fmla="*/ 1521221 h 6994526"/>
              <a:gd name="connsiteX372" fmla="*/ 1540823 w 5932286"/>
              <a:gd name="connsiteY372" fmla="*/ 1447746 h 6994526"/>
              <a:gd name="connsiteX373" fmla="*/ 1614299 w 5932286"/>
              <a:gd name="connsiteY373" fmla="*/ 1521221 h 6994526"/>
              <a:gd name="connsiteX374" fmla="*/ 1540823 w 5932286"/>
              <a:gd name="connsiteY374" fmla="*/ 1594697 h 6994526"/>
              <a:gd name="connsiteX375" fmla="*/ 2079311 w 5932286"/>
              <a:gd name="connsiteY375" fmla="*/ 1643271 h 6994526"/>
              <a:gd name="connsiteX376" fmla="*/ 1942251 w 5932286"/>
              <a:gd name="connsiteY376" fmla="*/ 1506917 h 6994526"/>
              <a:gd name="connsiteX377" fmla="*/ 2078603 w 5932286"/>
              <a:gd name="connsiteY377" fmla="*/ 1369154 h 6994526"/>
              <a:gd name="connsiteX378" fmla="*/ 2215657 w 5932286"/>
              <a:gd name="connsiteY378" fmla="*/ 1505508 h 6994526"/>
              <a:gd name="connsiteX379" fmla="*/ 2079311 w 5932286"/>
              <a:gd name="connsiteY379" fmla="*/ 1643271 h 6994526"/>
              <a:gd name="connsiteX380" fmla="*/ 5120664 w 5932286"/>
              <a:gd name="connsiteY380" fmla="*/ 1654586 h 6994526"/>
              <a:gd name="connsiteX381" fmla="*/ 5047838 w 5932286"/>
              <a:gd name="connsiteY381" fmla="*/ 1581760 h 6994526"/>
              <a:gd name="connsiteX382" fmla="*/ 5120664 w 5932286"/>
              <a:gd name="connsiteY382" fmla="*/ 1508935 h 6994526"/>
              <a:gd name="connsiteX383" fmla="*/ 5193490 w 5932286"/>
              <a:gd name="connsiteY383" fmla="*/ 1581760 h 6994526"/>
              <a:gd name="connsiteX384" fmla="*/ 5120664 w 5932286"/>
              <a:gd name="connsiteY384" fmla="*/ 1654586 h 6994526"/>
              <a:gd name="connsiteX385" fmla="*/ 960329 w 5932286"/>
              <a:gd name="connsiteY385" fmla="*/ 1666663 h 6994526"/>
              <a:gd name="connsiteX386" fmla="*/ 887505 w 5932286"/>
              <a:gd name="connsiteY386" fmla="*/ 1593859 h 6994526"/>
              <a:gd name="connsiteX387" fmla="*/ 960329 w 5932286"/>
              <a:gd name="connsiteY387" fmla="*/ 1521036 h 6994526"/>
              <a:gd name="connsiteX388" fmla="*/ 1033133 w 5932286"/>
              <a:gd name="connsiteY388" fmla="*/ 1593859 h 6994526"/>
              <a:gd name="connsiteX389" fmla="*/ 960329 w 5932286"/>
              <a:gd name="connsiteY389" fmla="*/ 1666663 h 6994526"/>
              <a:gd name="connsiteX390" fmla="*/ 2584880 w 5932286"/>
              <a:gd name="connsiteY390" fmla="*/ 1671567 h 6994526"/>
              <a:gd name="connsiteX391" fmla="*/ 2437223 w 5932286"/>
              <a:gd name="connsiteY391" fmla="*/ 1525326 h 6994526"/>
              <a:gd name="connsiteX392" fmla="*/ 2583464 w 5932286"/>
              <a:gd name="connsiteY392" fmla="*/ 1377669 h 6994526"/>
              <a:gd name="connsiteX393" fmla="*/ 2731121 w 5932286"/>
              <a:gd name="connsiteY393" fmla="*/ 1523910 h 6994526"/>
              <a:gd name="connsiteX394" fmla="*/ 2584880 w 5932286"/>
              <a:gd name="connsiteY394" fmla="*/ 1671567 h 6994526"/>
              <a:gd name="connsiteX395" fmla="*/ 3064079 w 5932286"/>
              <a:gd name="connsiteY395" fmla="*/ 1701710 h 6994526"/>
              <a:gd name="connsiteX396" fmla="*/ 2925604 w 5932286"/>
              <a:gd name="connsiteY396" fmla="*/ 1563939 h 6994526"/>
              <a:gd name="connsiteX397" fmla="*/ 3063371 w 5932286"/>
              <a:gd name="connsiteY397" fmla="*/ 1425462 h 6994526"/>
              <a:gd name="connsiteX398" fmla="*/ 3201845 w 5932286"/>
              <a:gd name="connsiteY398" fmla="*/ 1563231 h 6994526"/>
              <a:gd name="connsiteX399" fmla="*/ 3064079 w 5932286"/>
              <a:gd name="connsiteY399" fmla="*/ 1701710 h 6994526"/>
              <a:gd name="connsiteX400" fmla="*/ 5539857 w 5932286"/>
              <a:gd name="connsiteY400" fmla="*/ 1729754 h 6994526"/>
              <a:gd name="connsiteX401" fmla="*/ 5464933 w 5932286"/>
              <a:gd name="connsiteY401" fmla="*/ 1654875 h 6994526"/>
              <a:gd name="connsiteX402" fmla="*/ 5535684 w 5932286"/>
              <a:gd name="connsiteY402" fmla="*/ 1579955 h 6994526"/>
              <a:gd name="connsiteX403" fmla="*/ 5610608 w 5932286"/>
              <a:gd name="connsiteY403" fmla="*/ 1654875 h 6994526"/>
              <a:gd name="connsiteX404" fmla="*/ 5539857 w 5932286"/>
              <a:gd name="connsiteY404" fmla="*/ 1729754 h 6994526"/>
              <a:gd name="connsiteX405" fmla="*/ 3523059 w 5932286"/>
              <a:gd name="connsiteY405" fmla="*/ 1734708 h 6994526"/>
              <a:gd name="connsiteX406" fmla="*/ 3404365 w 5932286"/>
              <a:gd name="connsiteY406" fmla="*/ 1616723 h 6994526"/>
              <a:gd name="connsiteX407" fmla="*/ 3522351 w 5932286"/>
              <a:gd name="connsiteY407" fmla="*/ 1498029 h 6994526"/>
              <a:gd name="connsiteX408" fmla="*/ 3641044 w 5932286"/>
              <a:gd name="connsiteY408" fmla="*/ 1616015 h 6994526"/>
              <a:gd name="connsiteX409" fmla="*/ 3523059 w 5932286"/>
              <a:gd name="connsiteY409" fmla="*/ 1734708 h 6994526"/>
              <a:gd name="connsiteX410" fmla="*/ 3966544 w 5932286"/>
              <a:gd name="connsiteY410" fmla="*/ 1783475 h 6994526"/>
              <a:gd name="connsiteX411" fmla="*/ 3860568 w 5932286"/>
              <a:gd name="connsiteY411" fmla="*/ 1678208 h 6994526"/>
              <a:gd name="connsiteX412" fmla="*/ 3965836 w 5932286"/>
              <a:gd name="connsiteY412" fmla="*/ 1572234 h 6994526"/>
              <a:gd name="connsiteX413" fmla="*/ 4071812 w 5932286"/>
              <a:gd name="connsiteY413" fmla="*/ 1677500 h 6994526"/>
              <a:gd name="connsiteX414" fmla="*/ 3966544 w 5932286"/>
              <a:gd name="connsiteY414" fmla="*/ 1783475 h 6994526"/>
              <a:gd name="connsiteX415" fmla="*/ 1790168 w 5932286"/>
              <a:gd name="connsiteY415" fmla="*/ 1807567 h 6994526"/>
              <a:gd name="connsiteX416" fmla="*/ 1717359 w 5932286"/>
              <a:gd name="connsiteY416" fmla="*/ 1734758 h 6994526"/>
              <a:gd name="connsiteX417" fmla="*/ 1790168 w 5932286"/>
              <a:gd name="connsiteY417" fmla="*/ 1661948 h 6994526"/>
              <a:gd name="connsiteX418" fmla="*/ 1862977 w 5932286"/>
              <a:gd name="connsiteY418" fmla="*/ 1734758 h 6994526"/>
              <a:gd name="connsiteX419" fmla="*/ 1790168 w 5932286"/>
              <a:gd name="connsiteY419" fmla="*/ 1807567 h 6994526"/>
              <a:gd name="connsiteX420" fmla="*/ 1244039 w 5932286"/>
              <a:gd name="connsiteY420" fmla="*/ 1832140 h 6994526"/>
              <a:gd name="connsiteX421" fmla="*/ 1171225 w 5932286"/>
              <a:gd name="connsiteY421" fmla="*/ 1759306 h 6994526"/>
              <a:gd name="connsiteX422" fmla="*/ 1244039 w 5932286"/>
              <a:gd name="connsiteY422" fmla="*/ 1686472 h 6994526"/>
              <a:gd name="connsiteX423" fmla="*/ 1316853 w 5932286"/>
              <a:gd name="connsiteY423" fmla="*/ 1759306 h 6994526"/>
              <a:gd name="connsiteX424" fmla="*/ 1244039 w 5932286"/>
              <a:gd name="connsiteY424" fmla="*/ 1832140 h 6994526"/>
              <a:gd name="connsiteX425" fmla="*/ 4397441 w 5932286"/>
              <a:gd name="connsiteY425" fmla="*/ 1842290 h 6994526"/>
              <a:gd name="connsiteX426" fmla="*/ 4299945 w 5932286"/>
              <a:gd name="connsiteY426" fmla="*/ 1745502 h 6994526"/>
              <a:gd name="connsiteX427" fmla="*/ 4396733 w 5932286"/>
              <a:gd name="connsiteY427" fmla="*/ 1648007 h 6994526"/>
              <a:gd name="connsiteX428" fmla="*/ 4494229 w 5932286"/>
              <a:gd name="connsiteY428" fmla="*/ 1744794 h 6994526"/>
              <a:gd name="connsiteX429" fmla="*/ 4397441 w 5932286"/>
              <a:gd name="connsiteY429" fmla="*/ 1842290 h 6994526"/>
              <a:gd name="connsiteX430" fmla="*/ 334007 w 5932286"/>
              <a:gd name="connsiteY430" fmla="*/ 1842774 h 6994526"/>
              <a:gd name="connsiteX431" fmla="*/ 260860 w 5932286"/>
              <a:gd name="connsiteY431" fmla="*/ 1769598 h 6994526"/>
              <a:gd name="connsiteX432" fmla="*/ 334007 w 5932286"/>
              <a:gd name="connsiteY432" fmla="*/ 1696785 h 6994526"/>
              <a:gd name="connsiteX433" fmla="*/ 406789 w 5932286"/>
              <a:gd name="connsiteY433" fmla="*/ 1769598 h 6994526"/>
              <a:gd name="connsiteX434" fmla="*/ 334007 w 5932286"/>
              <a:gd name="connsiteY434" fmla="*/ 1842774 h 6994526"/>
              <a:gd name="connsiteX435" fmla="*/ 2297175 w 5932286"/>
              <a:gd name="connsiteY435" fmla="*/ 1862498 h 6994526"/>
              <a:gd name="connsiteX436" fmla="*/ 2186258 w 5932286"/>
              <a:gd name="connsiteY436" fmla="*/ 1752289 h 6994526"/>
              <a:gd name="connsiteX437" fmla="*/ 2296473 w 5932286"/>
              <a:gd name="connsiteY437" fmla="*/ 1641365 h 6994526"/>
              <a:gd name="connsiteX438" fmla="*/ 2407390 w 5932286"/>
              <a:gd name="connsiteY438" fmla="*/ 1751581 h 6994526"/>
              <a:gd name="connsiteX439" fmla="*/ 2297175 w 5932286"/>
              <a:gd name="connsiteY439" fmla="*/ 1862498 h 6994526"/>
              <a:gd name="connsiteX440" fmla="*/ 4818059 w 5932286"/>
              <a:gd name="connsiteY440" fmla="*/ 1890035 h 6994526"/>
              <a:gd name="connsiteX441" fmla="*/ 4744582 w 5932286"/>
              <a:gd name="connsiteY441" fmla="*/ 1816560 h 6994526"/>
              <a:gd name="connsiteX442" fmla="*/ 4818059 w 5932286"/>
              <a:gd name="connsiteY442" fmla="*/ 1743085 h 6994526"/>
              <a:gd name="connsiteX443" fmla="*/ 4891535 w 5932286"/>
              <a:gd name="connsiteY443" fmla="*/ 1816560 h 6994526"/>
              <a:gd name="connsiteX444" fmla="*/ 4818059 w 5932286"/>
              <a:gd name="connsiteY444" fmla="*/ 1890035 h 6994526"/>
              <a:gd name="connsiteX445" fmla="*/ 639303 w 5932286"/>
              <a:gd name="connsiteY445" fmla="*/ 1930770 h 6994526"/>
              <a:gd name="connsiteX446" fmla="*/ 576920 w 5932286"/>
              <a:gd name="connsiteY446" fmla="*/ 1847525 h 6994526"/>
              <a:gd name="connsiteX447" fmla="*/ 639303 w 5932286"/>
              <a:gd name="connsiteY447" fmla="*/ 1785143 h 6994526"/>
              <a:gd name="connsiteX448" fmla="*/ 722547 w 5932286"/>
              <a:gd name="connsiteY448" fmla="*/ 1868388 h 6994526"/>
              <a:gd name="connsiteX449" fmla="*/ 639303 w 5932286"/>
              <a:gd name="connsiteY449" fmla="*/ 1930770 h 6994526"/>
              <a:gd name="connsiteX450" fmla="*/ 2775633 w 5932286"/>
              <a:gd name="connsiteY450" fmla="*/ 1932941 h 6994526"/>
              <a:gd name="connsiteX451" fmla="*/ 2634335 w 5932286"/>
              <a:gd name="connsiteY451" fmla="*/ 1793059 h 6994526"/>
              <a:gd name="connsiteX452" fmla="*/ 2774224 w 5932286"/>
              <a:gd name="connsiteY452" fmla="*/ 1651761 h 6994526"/>
              <a:gd name="connsiteX453" fmla="*/ 2915522 w 5932286"/>
              <a:gd name="connsiteY453" fmla="*/ 1791642 h 6994526"/>
              <a:gd name="connsiteX454" fmla="*/ 2775633 w 5932286"/>
              <a:gd name="connsiteY454" fmla="*/ 1932941 h 6994526"/>
              <a:gd name="connsiteX455" fmla="*/ 5230555 w 5932286"/>
              <a:gd name="connsiteY455" fmla="*/ 1964417 h 6994526"/>
              <a:gd name="connsiteX456" fmla="*/ 5157741 w 5932286"/>
              <a:gd name="connsiteY456" fmla="*/ 1891602 h 6994526"/>
              <a:gd name="connsiteX457" fmla="*/ 5230555 w 5932286"/>
              <a:gd name="connsiteY457" fmla="*/ 1818789 h 6994526"/>
              <a:gd name="connsiteX458" fmla="*/ 5303368 w 5932286"/>
              <a:gd name="connsiteY458" fmla="*/ 1891602 h 6994526"/>
              <a:gd name="connsiteX459" fmla="*/ 5230555 w 5932286"/>
              <a:gd name="connsiteY459" fmla="*/ 1964417 h 6994526"/>
              <a:gd name="connsiteX460" fmla="*/ 3231105 w 5932286"/>
              <a:gd name="connsiteY460" fmla="*/ 1983644 h 6994526"/>
              <a:gd name="connsiteX461" fmla="*/ 3094050 w 5932286"/>
              <a:gd name="connsiteY461" fmla="*/ 1847290 h 6994526"/>
              <a:gd name="connsiteX462" fmla="*/ 3229696 w 5932286"/>
              <a:gd name="connsiteY462" fmla="*/ 1709526 h 6994526"/>
              <a:gd name="connsiteX463" fmla="*/ 3367459 w 5932286"/>
              <a:gd name="connsiteY463" fmla="*/ 1845880 h 6994526"/>
              <a:gd name="connsiteX464" fmla="*/ 3231105 w 5932286"/>
              <a:gd name="connsiteY464" fmla="*/ 1983644 h 6994526"/>
              <a:gd name="connsiteX465" fmla="*/ 3670721 w 5932286"/>
              <a:gd name="connsiteY465" fmla="*/ 2029517 h 6994526"/>
              <a:gd name="connsiteX466" fmla="*/ 3550615 w 5932286"/>
              <a:gd name="connsiteY466" fmla="*/ 1910113 h 6994526"/>
              <a:gd name="connsiteX467" fmla="*/ 3670019 w 5932286"/>
              <a:gd name="connsiteY467" fmla="*/ 1790009 h 6994526"/>
              <a:gd name="connsiteX468" fmla="*/ 3790125 w 5932286"/>
              <a:gd name="connsiteY468" fmla="*/ 1909411 h 6994526"/>
              <a:gd name="connsiteX469" fmla="*/ 3670721 w 5932286"/>
              <a:gd name="connsiteY469" fmla="*/ 2029517 h 6994526"/>
              <a:gd name="connsiteX470" fmla="*/ 1501320 w 5932286"/>
              <a:gd name="connsiteY470" fmla="*/ 2038423 h 6994526"/>
              <a:gd name="connsiteX471" fmla="*/ 1427585 w 5932286"/>
              <a:gd name="connsiteY471" fmla="*/ 1964718 h 6994526"/>
              <a:gd name="connsiteX472" fmla="*/ 1499425 w 5932286"/>
              <a:gd name="connsiteY472" fmla="*/ 1890995 h 6994526"/>
              <a:gd name="connsiteX473" fmla="*/ 1573143 w 5932286"/>
              <a:gd name="connsiteY473" fmla="*/ 1964718 h 6994526"/>
              <a:gd name="connsiteX474" fmla="*/ 1501320 w 5932286"/>
              <a:gd name="connsiteY474" fmla="*/ 2038423 h 6994526"/>
              <a:gd name="connsiteX475" fmla="*/ 5636293 w 5932286"/>
              <a:gd name="connsiteY475" fmla="*/ 2041197 h 6994526"/>
              <a:gd name="connsiteX476" fmla="*/ 5561375 w 5932286"/>
              <a:gd name="connsiteY476" fmla="*/ 1966278 h 6994526"/>
              <a:gd name="connsiteX477" fmla="*/ 5636293 w 5932286"/>
              <a:gd name="connsiteY477" fmla="*/ 1895529 h 6994526"/>
              <a:gd name="connsiteX478" fmla="*/ 5711170 w 5932286"/>
              <a:gd name="connsiteY478" fmla="*/ 1966278 h 6994526"/>
              <a:gd name="connsiteX479" fmla="*/ 5636293 w 5932286"/>
              <a:gd name="connsiteY479" fmla="*/ 2041197 h 6994526"/>
              <a:gd name="connsiteX480" fmla="*/ 2009972 w 5932286"/>
              <a:gd name="connsiteY480" fmla="*/ 2052222 h 6994526"/>
              <a:gd name="connsiteX481" fmla="*/ 1937153 w 5932286"/>
              <a:gd name="connsiteY481" fmla="*/ 1979410 h 6994526"/>
              <a:gd name="connsiteX482" fmla="*/ 2009972 w 5932286"/>
              <a:gd name="connsiteY482" fmla="*/ 1905763 h 6994526"/>
              <a:gd name="connsiteX483" fmla="*/ 2082789 w 5932286"/>
              <a:gd name="connsiteY483" fmla="*/ 1978581 h 6994526"/>
              <a:gd name="connsiteX484" fmla="*/ 2009972 w 5932286"/>
              <a:gd name="connsiteY484" fmla="*/ 2052222 h 6994526"/>
              <a:gd name="connsiteX485" fmla="*/ 4096782 w 5932286"/>
              <a:gd name="connsiteY485" fmla="*/ 2085107 h 6994526"/>
              <a:gd name="connsiteX486" fmla="*/ 3990806 w 5932286"/>
              <a:gd name="connsiteY486" fmla="*/ 1979835 h 6994526"/>
              <a:gd name="connsiteX487" fmla="*/ 4096074 w 5932286"/>
              <a:gd name="connsiteY487" fmla="*/ 1873862 h 6994526"/>
              <a:gd name="connsiteX488" fmla="*/ 4202050 w 5932286"/>
              <a:gd name="connsiteY488" fmla="*/ 1979127 h 6994526"/>
              <a:gd name="connsiteX489" fmla="*/ 4096782 w 5932286"/>
              <a:gd name="connsiteY489" fmla="*/ 2085107 h 6994526"/>
              <a:gd name="connsiteX490" fmla="*/ 2486483 w 5932286"/>
              <a:gd name="connsiteY490" fmla="*/ 2142015 h 6994526"/>
              <a:gd name="connsiteX491" fmla="*/ 2364257 w 5932286"/>
              <a:gd name="connsiteY491" fmla="*/ 2020497 h 6994526"/>
              <a:gd name="connsiteX492" fmla="*/ 2485775 w 5932286"/>
              <a:gd name="connsiteY492" fmla="*/ 1898278 h 6994526"/>
              <a:gd name="connsiteX493" fmla="*/ 2607994 w 5932286"/>
              <a:gd name="connsiteY493" fmla="*/ 2019795 h 6994526"/>
              <a:gd name="connsiteX494" fmla="*/ 2486483 w 5932286"/>
              <a:gd name="connsiteY494" fmla="*/ 2142015 h 6994526"/>
              <a:gd name="connsiteX495" fmla="*/ 4513156 w 5932286"/>
              <a:gd name="connsiteY495" fmla="*/ 2162831 h 6994526"/>
              <a:gd name="connsiteX496" fmla="*/ 4402936 w 5932286"/>
              <a:gd name="connsiteY496" fmla="*/ 2054025 h 6994526"/>
              <a:gd name="connsiteX497" fmla="*/ 4512446 w 5932286"/>
              <a:gd name="connsiteY497" fmla="*/ 1943805 h 6994526"/>
              <a:gd name="connsiteX498" fmla="*/ 4622658 w 5932286"/>
              <a:gd name="connsiteY498" fmla="*/ 2052610 h 6994526"/>
              <a:gd name="connsiteX499" fmla="*/ 4513156 w 5932286"/>
              <a:gd name="connsiteY499" fmla="*/ 2162831 h 6994526"/>
              <a:gd name="connsiteX500" fmla="*/ 4920812 w 5932286"/>
              <a:gd name="connsiteY500" fmla="*/ 2222703 h 6994526"/>
              <a:gd name="connsiteX501" fmla="*/ 4826849 w 5932286"/>
              <a:gd name="connsiteY501" fmla="*/ 2129441 h 6994526"/>
              <a:gd name="connsiteX502" fmla="*/ 4920104 w 5932286"/>
              <a:gd name="connsiteY502" fmla="*/ 2035478 h 6994526"/>
              <a:gd name="connsiteX503" fmla="*/ 5014067 w 5932286"/>
              <a:gd name="connsiteY503" fmla="*/ 2128734 h 6994526"/>
              <a:gd name="connsiteX504" fmla="*/ 4920812 w 5932286"/>
              <a:gd name="connsiteY504" fmla="*/ 2222703 h 6994526"/>
              <a:gd name="connsiteX505" fmla="*/ 2939280 w 5932286"/>
              <a:gd name="connsiteY505" fmla="*/ 2228936 h 6994526"/>
              <a:gd name="connsiteX506" fmla="*/ 2786676 w 5932286"/>
              <a:gd name="connsiteY506" fmla="*/ 2077743 h 6994526"/>
              <a:gd name="connsiteX507" fmla="*/ 2937863 w 5932286"/>
              <a:gd name="connsiteY507" fmla="*/ 1925139 h 6994526"/>
              <a:gd name="connsiteX508" fmla="*/ 3090473 w 5932286"/>
              <a:gd name="connsiteY508" fmla="*/ 2076326 h 6994526"/>
              <a:gd name="connsiteX509" fmla="*/ 2939280 w 5932286"/>
              <a:gd name="connsiteY509" fmla="*/ 2228936 h 6994526"/>
              <a:gd name="connsiteX510" fmla="*/ 1209657 w 5932286"/>
              <a:gd name="connsiteY510" fmla="*/ 2268830 h 6994526"/>
              <a:gd name="connsiteX511" fmla="*/ 1136842 w 5932286"/>
              <a:gd name="connsiteY511" fmla="*/ 2195654 h 6994526"/>
              <a:gd name="connsiteX512" fmla="*/ 1209657 w 5932286"/>
              <a:gd name="connsiteY512" fmla="*/ 2122841 h 6994526"/>
              <a:gd name="connsiteX513" fmla="*/ 1282831 w 5932286"/>
              <a:gd name="connsiteY513" fmla="*/ 2195654 h 6994526"/>
              <a:gd name="connsiteX514" fmla="*/ 1209657 w 5932286"/>
              <a:gd name="connsiteY514" fmla="*/ 2268830 h 6994526"/>
              <a:gd name="connsiteX515" fmla="*/ 1722867 w 5932286"/>
              <a:gd name="connsiteY515" fmla="*/ 2280246 h 6994526"/>
              <a:gd name="connsiteX516" fmla="*/ 1650045 w 5932286"/>
              <a:gd name="connsiteY516" fmla="*/ 2207425 h 6994526"/>
              <a:gd name="connsiteX517" fmla="*/ 1722867 w 5932286"/>
              <a:gd name="connsiteY517" fmla="*/ 2132866 h 6994526"/>
              <a:gd name="connsiteX518" fmla="*/ 1795689 w 5932286"/>
              <a:gd name="connsiteY518" fmla="*/ 2205686 h 6994526"/>
              <a:gd name="connsiteX519" fmla="*/ 1722867 w 5932286"/>
              <a:gd name="connsiteY519" fmla="*/ 2280246 h 6994526"/>
              <a:gd name="connsiteX520" fmla="*/ 5321772 w 5932286"/>
              <a:gd name="connsiteY520" fmla="*/ 2280522 h 6994526"/>
              <a:gd name="connsiteX521" fmla="*/ 5248524 w 5932286"/>
              <a:gd name="connsiteY521" fmla="*/ 2207271 h 6994526"/>
              <a:gd name="connsiteX522" fmla="*/ 5320886 w 5932286"/>
              <a:gd name="connsiteY522" fmla="*/ 2134020 h 6994526"/>
              <a:gd name="connsiteX523" fmla="*/ 5394134 w 5932286"/>
              <a:gd name="connsiteY523" fmla="*/ 2207271 h 6994526"/>
              <a:gd name="connsiteX524" fmla="*/ 5321772 w 5932286"/>
              <a:gd name="connsiteY524" fmla="*/ 2280522 h 6994526"/>
              <a:gd name="connsiteX525" fmla="*/ 3372970 w 5932286"/>
              <a:gd name="connsiteY525" fmla="*/ 2292550 h 6994526"/>
              <a:gd name="connsiteX526" fmla="*/ 3223195 w 5932286"/>
              <a:gd name="connsiteY526" fmla="*/ 2143476 h 6994526"/>
              <a:gd name="connsiteX527" fmla="*/ 3372261 w 5932286"/>
              <a:gd name="connsiteY527" fmla="*/ 1993702 h 6994526"/>
              <a:gd name="connsiteX528" fmla="*/ 3522043 w 5932286"/>
              <a:gd name="connsiteY528" fmla="*/ 2142769 h 6994526"/>
              <a:gd name="connsiteX529" fmla="*/ 3372970 w 5932286"/>
              <a:gd name="connsiteY529" fmla="*/ 2292550 h 6994526"/>
              <a:gd name="connsiteX530" fmla="*/ 2197439 w 5932286"/>
              <a:gd name="connsiteY530" fmla="*/ 2328649 h 6994526"/>
              <a:gd name="connsiteX531" fmla="*/ 2117601 w 5932286"/>
              <a:gd name="connsiteY531" fmla="*/ 2249514 h 6994526"/>
              <a:gd name="connsiteX532" fmla="*/ 2196738 w 5932286"/>
              <a:gd name="connsiteY532" fmla="*/ 2169676 h 6994526"/>
              <a:gd name="connsiteX533" fmla="*/ 2276575 w 5932286"/>
              <a:gd name="connsiteY533" fmla="*/ 2248813 h 6994526"/>
              <a:gd name="connsiteX534" fmla="*/ 2197439 w 5932286"/>
              <a:gd name="connsiteY534" fmla="*/ 2328649 h 6994526"/>
              <a:gd name="connsiteX535" fmla="*/ 3793699 w 5932286"/>
              <a:gd name="connsiteY535" fmla="*/ 2347956 h 6994526"/>
              <a:gd name="connsiteX536" fmla="*/ 3660169 w 5932286"/>
              <a:gd name="connsiteY536" fmla="*/ 2215135 h 6994526"/>
              <a:gd name="connsiteX537" fmla="*/ 3792991 w 5932286"/>
              <a:gd name="connsiteY537" fmla="*/ 2081605 h 6994526"/>
              <a:gd name="connsiteX538" fmla="*/ 3926522 w 5932286"/>
              <a:gd name="connsiteY538" fmla="*/ 2214426 h 6994526"/>
              <a:gd name="connsiteX539" fmla="*/ 3793699 w 5932286"/>
              <a:gd name="connsiteY539" fmla="*/ 2347956 h 6994526"/>
              <a:gd name="connsiteX540" fmla="*/ 5717144 w 5932286"/>
              <a:gd name="connsiteY540" fmla="*/ 2359584 h 6994526"/>
              <a:gd name="connsiteX541" fmla="*/ 5644317 w 5932286"/>
              <a:gd name="connsiteY541" fmla="*/ 2286787 h 6994526"/>
              <a:gd name="connsiteX542" fmla="*/ 5714338 w 5932286"/>
              <a:gd name="connsiteY542" fmla="*/ 2213962 h 6994526"/>
              <a:gd name="connsiteX543" fmla="*/ 5789944 w 5932286"/>
              <a:gd name="connsiteY543" fmla="*/ 2286787 h 6994526"/>
              <a:gd name="connsiteX544" fmla="*/ 5717144 w 5932286"/>
              <a:gd name="connsiteY544" fmla="*/ 2359584 h 6994526"/>
              <a:gd name="connsiteX545" fmla="*/ 4204257 w 5932286"/>
              <a:gd name="connsiteY545" fmla="*/ 2406747 h 6994526"/>
              <a:gd name="connsiteX546" fmla="*/ 4086982 w 5932286"/>
              <a:gd name="connsiteY546" fmla="*/ 2290173 h 6994526"/>
              <a:gd name="connsiteX547" fmla="*/ 4203556 w 5932286"/>
              <a:gd name="connsiteY547" fmla="*/ 2172898 h 6994526"/>
              <a:gd name="connsiteX548" fmla="*/ 4320833 w 5932286"/>
              <a:gd name="connsiteY548" fmla="*/ 2289466 h 6994526"/>
              <a:gd name="connsiteX549" fmla="*/ 4204257 w 5932286"/>
              <a:gd name="connsiteY549" fmla="*/ 2406747 h 6994526"/>
              <a:gd name="connsiteX550" fmla="*/ 2644311 w 5932286"/>
              <a:gd name="connsiteY550" fmla="*/ 2430091 h 6994526"/>
              <a:gd name="connsiteX551" fmla="*/ 2522092 w 5932286"/>
              <a:gd name="connsiteY551" fmla="*/ 2308573 h 6994526"/>
              <a:gd name="connsiteX552" fmla="*/ 2643609 w 5932286"/>
              <a:gd name="connsiteY552" fmla="*/ 2186355 h 6994526"/>
              <a:gd name="connsiteX553" fmla="*/ 2765829 w 5932286"/>
              <a:gd name="connsiteY553" fmla="*/ 2307872 h 6994526"/>
              <a:gd name="connsiteX554" fmla="*/ 2644311 w 5932286"/>
              <a:gd name="connsiteY554" fmla="*/ 2430091 h 6994526"/>
              <a:gd name="connsiteX555" fmla="*/ 4607189 w 5932286"/>
              <a:gd name="connsiteY555" fmla="*/ 2477047 h 6994526"/>
              <a:gd name="connsiteX556" fmla="*/ 4496974 w 5932286"/>
              <a:gd name="connsiteY556" fmla="*/ 2367540 h 6994526"/>
              <a:gd name="connsiteX557" fmla="*/ 4606480 w 5932286"/>
              <a:gd name="connsiteY557" fmla="*/ 2258034 h 6994526"/>
              <a:gd name="connsiteX558" fmla="*/ 4715986 w 5932286"/>
              <a:gd name="connsiteY558" fmla="*/ 2366832 h 6994526"/>
              <a:gd name="connsiteX559" fmla="*/ 4607189 w 5932286"/>
              <a:gd name="connsiteY559" fmla="*/ 2477047 h 6994526"/>
              <a:gd name="connsiteX560" fmla="*/ 1436119 w 5932286"/>
              <a:gd name="connsiteY560" fmla="*/ 2507032 h 6994526"/>
              <a:gd name="connsiteX561" fmla="*/ 1362943 w 5932286"/>
              <a:gd name="connsiteY561" fmla="*/ 2433856 h 6994526"/>
              <a:gd name="connsiteX562" fmla="*/ 1436119 w 5932286"/>
              <a:gd name="connsiteY562" fmla="*/ 2361043 h 6994526"/>
              <a:gd name="connsiteX563" fmla="*/ 1508933 w 5932286"/>
              <a:gd name="connsiteY563" fmla="*/ 2433856 h 6994526"/>
              <a:gd name="connsiteX564" fmla="*/ 1436119 w 5932286"/>
              <a:gd name="connsiteY564" fmla="*/ 2507032 h 6994526"/>
              <a:gd name="connsiteX565" fmla="*/ 3073391 w 5932286"/>
              <a:gd name="connsiteY565" fmla="*/ 2519230 h 6994526"/>
              <a:gd name="connsiteX566" fmla="*/ 2930680 w 5932286"/>
              <a:gd name="connsiteY566" fmla="*/ 2377923 h 6994526"/>
              <a:gd name="connsiteX567" fmla="*/ 3072690 w 5932286"/>
              <a:gd name="connsiteY567" fmla="*/ 2235211 h 6994526"/>
              <a:gd name="connsiteX568" fmla="*/ 3214699 w 5932286"/>
              <a:gd name="connsiteY568" fmla="*/ 2376512 h 6994526"/>
              <a:gd name="connsiteX569" fmla="*/ 3073391 w 5932286"/>
              <a:gd name="connsiteY569" fmla="*/ 2519230 h 6994526"/>
              <a:gd name="connsiteX570" fmla="*/ 5002631 w 5932286"/>
              <a:gd name="connsiteY570" fmla="*/ 2526666 h 6994526"/>
              <a:gd name="connsiteX571" fmla="*/ 4922794 w 5932286"/>
              <a:gd name="connsiteY571" fmla="*/ 2447531 h 6994526"/>
              <a:gd name="connsiteX572" fmla="*/ 5001923 w 5932286"/>
              <a:gd name="connsiteY572" fmla="*/ 2367693 h 6994526"/>
              <a:gd name="connsiteX573" fmla="*/ 5081758 w 5932286"/>
              <a:gd name="connsiteY573" fmla="*/ 2446830 h 6994526"/>
              <a:gd name="connsiteX574" fmla="*/ 5002631 w 5932286"/>
              <a:gd name="connsiteY574" fmla="*/ 2526666 h 6994526"/>
              <a:gd name="connsiteX575" fmla="*/ 1906866 w 5932286"/>
              <a:gd name="connsiteY575" fmla="*/ 2551213 h 6994526"/>
              <a:gd name="connsiteX576" fmla="*/ 1834027 w 5932286"/>
              <a:gd name="connsiteY576" fmla="*/ 2478424 h 6994526"/>
              <a:gd name="connsiteX577" fmla="*/ 1906866 w 5932286"/>
              <a:gd name="connsiteY577" fmla="*/ 2405585 h 6994526"/>
              <a:gd name="connsiteX578" fmla="*/ 1979655 w 5932286"/>
              <a:gd name="connsiteY578" fmla="*/ 2478424 h 6994526"/>
              <a:gd name="connsiteX579" fmla="*/ 1906866 w 5932286"/>
              <a:gd name="connsiteY579" fmla="*/ 2551213 h 6994526"/>
              <a:gd name="connsiteX580" fmla="*/ 5392571 w 5932286"/>
              <a:gd name="connsiteY580" fmla="*/ 2600889 h 6994526"/>
              <a:gd name="connsiteX581" fmla="*/ 5320655 w 5932286"/>
              <a:gd name="connsiteY581" fmla="*/ 2528971 h 6994526"/>
              <a:gd name="connsiteX582" fmla="*/ 5392571 w 5932286"/>
              <a:gd name="connsiteY582" fmla="*/ 2455250 h 6994526"/>
              <a:gd name="connsiteX583" fmla="*/ 5466306 w 5932286"/>
              <a:gd name="connsiteY583" fmla="*/ 2527169 h 6994526"/>
              <a:gd name="connsiteX584" fmla="*/ 5392571 w 5932286"/>
              <a:gd name="connsiteY584" fmla="*/ 2600889 h 6994526"/>
              <a:gd name="connsiteX585" fmla="*/ 3487827 w 5932286"/>
              <a:gd name="connsiteY585" fmla="*/ 2609541 h 6994526"/>
              <a:gd name="connsiteX586" fmla="*/ 3328867 w 5932286"/>
              <a:gd name="connsiteY586" fmla="*/ 2451992 h 6994526"/>
              <a:gd name="connsiteX587" fmla="*/ 3487119 w 5932286"/>
              <a:gd name="connsiteY587" fmla="*/ 2293032 h 6994526"/>
              <a:gd name="connsiteX588" fmla="*/ 3645370 w 5932286"/>
              <a:gd name="connsiteY588" fmla="*/ 2450581 h 6994526"/>
              <a:gd name="connsiteX589" fmla="*/ 3487827 w 5932286"/>
              <a:gd name="connsiteY589" fmla="*/ 2609541 h 6994526"/>
              <a:gd name="connsiteX590" fmla="*/ 2348242 w 5932286"/>
              <a:gd name="connsiteY590" fmla="*/ 2614712 h 6994526"/>
              <a:gd name="connsiteX591" fmla="*/ 2274851 w 5932286"/>
              <a:gd name="connsiteY591" fmla="*/ 2542504 h 6994526"/>
              <a:gd name="connsiteX592" fmla="*/ 2347057 w 5932286"/>
              <a:gd name="connsiteY592" fmla="*/ 2467926 h 6994526"/>
              <a:gd name="connsiteX593" fmla="*/ 2420459 w 5932286"/>
              <a:gd name="connsiteY593" fmla="*/ 2541319 h 6994526"/>
              <a:gd name="connsiteX594" fmla="*/ 2348242 w 5932286"/>
              <a:gd name="connsiteY594" fmla="*/ 2614712 h 6994526"/>
              <a:gd name="connsiteX595" fmla="*/ 3891496 w 5932286"/>
              <a:gd name="connsiteY595" fmla="*/ 2656743 h 6994526"/>
              <a:gd name="connsiteX596" fmla="*/ 3762915 w 5932286"/>
              <a:gd name="connsiteY596" fmla="*/ 2528866 h 6994526"/>
              <a:gd name="connsiteX597" fmla="*/ 3890795 w 5932286"/>
              <a:gd name="connsiteY597" fmla="*/ 2400287 h 6994526"/>
              <a:gd name="connsiteX598" fmla="*/ 4019375 w 5932286"/>
              <a:gd name="connsiteY598" fmla="*/ 2528165 h 6994526"/>
              <a:gd name="connsiteX599" fmla="*/ 3891496 w 5932286"/>
              <a:gd name="connsiteY599" fmla="*/ 2656743 h 6994526"/>
              <a:gd name="connsiteX600" fmla="*/ 5780553 w 5932286"/>
              <a:gd name="connsiteY600" fmla="*/ 2682276 h 6994526"/>
              <a:gd name="connsiteX601" fmla="*/ 5704742 w 5932286"/>
              <a:gd name="connsiteY601" fmla="*/ 2606451 h 6994526"/>
              <a:gd name="connsiteX602" fmla="*/ 5780553 w 5932286"/>
              <a:gd name="connsiteY602" fmla="*/ 2537470 h 6994526"/>
              <a:gd name="connsiteX603" fmla="*/ 5856433 w 5932286"/>
              <a:gd name="connsiteY603" fmla="*/ 2606451 h 6994526"/>
              <a:gd name="connsiteX604" fmla="*/ 5780553 w 5932286"/>
              <a:gd name="connsiteY604" fmla="*/ 2682276 h 6994526"/>
              <a:gd name="connsiteX605" fmla="*/ 2768743 w 5932286"/>
              <a:gd name="connsiteY605" fmla="*/ 2706584 h 6994526"/>
              <a:gd name="connsiteX606" fmla="*/ 2674075 w 5932286"/>
              <a:gd name="connsiteY606" fmla="*/ 2612623 h 6994526"/>
              <a:gd name="connsiteX607" fmla="*/ 2768035 w 5932286"/>
              <a:gd name="connsiteY607" fmla="*/ 2517955 h 6994526"/>
              <a:gd name="connsiteX608" fmla="*/ 2862704 w 5932286"/>
              <a:gd name="connsiteY608" fmla="*/ 2611916 h 6994526"/>
              <a:gd name="connsiteX609" fmla="*/ 2768743 w 5932286"/>
              <a:gd name="connsiteY609" fmla="*/ 2706584 h 6994526"/>
              <a:gd name="connsiteX610" fmla="*/ 4288014 w 5932286"/>
              <a:gd name="connsiteY610" fmla="*/ 2729299 h 6994526"/>
              <a:gd name="connsiteX611" fmla="*/ 4165795 w 5932286"/>
              <a:gd name="connsiteY611" fmla="*/ 2607782 h 6994526"/>
              <a:gd name="connsiteX612" fmla="*/ 4287313 w 5932286"/>
              <a:gd name="connsiteY612" fmla="*/ 2485563 h 6994526"/>
              <a:gd name="connsiteX613" fmla="*/ 4409531 w 5932286"/>
              <a:gd name="connsiteY613" fmla="*/ 2607081 h 6994526"/>
              <a:gd name="connsiteX614" fmla="*/ 4288014 w 5932286"/>
              <a:gd name="connsiteY614" fmla="*/ 2729299 h 6994526"/>
              <a:gd name="connsiteX615" fmla="*/ 1615861 w 5932286"/>
              <a:gd name="connsiteY615" fmla="*/ 2781335 h 6994526"/>
              <a:gd name="connsiteX616" fmla="*/ 1543048 w 5932286"/>
              <a:gd name="connsiteY616" fmla="*/ 2708552 h 6994526"/>
              <a:gd name="connsiteX617" fmla="*/ 1615861 w 5932286"/>
              <a:gd name="connsiteY617" fmla="*/ 2635406 h 6994526"/>
              <a:gd name="connsiteX618" fmla="*/ 1689037 w 5932286"/>
              <a:gd name="connsiteY618" fmla="*/ 2708552 h 6994526"/>
              <a:gd name="connsiteX619" fmla="*/ 1615861 w 5932286"/>
              <a:gd name="connsiteY619" fmla="*/ 2781335 h 6994526"/>
              <a:gd name="connsiteX620" fmla="*/ 4678737 w 5932286"/>
              <a:gd name="connsiteY620" fmla="*/ 2798847 h 6994526"/>
              <a:gd name="connsiteX621" fmla="*/ 4567813 w 5932286"/>
              <a:gd name="connsiteY621" fmla="*/ 2688632 h 6994526"/>
              <a:gd name="connsiteX622" fmla="*/ 4677320 w 5932286"/>
              <a:gd name="connsiteY622" fmla="*/ 2577714 h 6994526"/>
              <a:gd name="connsiteX623" fmla="*/ 4788944 w 5932286"/>
              <a:gd name="connsiteY623" fmla="*/ 2687931 h 6994526"/>
              <a:gd name="connsiteX624" fmla="*/ 4678737 w 5932286"/>
              <a:gd name="connsiteY624" fmla="*/ 2798847 h 6994526"/>
              <a:gd name="connsiteX625" fmla="*/ 3176997 w 5932286"/>
              <a:gd name="connsiteY625" fmla="*/ 2847261 h 6994526"/>
              <a:gd name="connsiteX626" fmla="*/ 3018037 w 5932286"/>
              <a:gd name="connsiteY626" fmla="*/ 2689712 h 6994526"/>
              <a:gd name="connsiteX627" fmla="*/ 3175580 w 5932286"/>
              <a:gd name="connsiteY627" fmla="*/ 2530752 h 6994526"/>
              <a:gd name="connsiteX628" fmla="*/ 3334540 w 5932286"/>
              <a:gd name="connsiteY628" fmla="*/ 2688302 h 6994526"/>
              <a:gd name="connsiteX629" fmla="*/ 3176997 w 5932286"/>
              <a:gd name="connsiteY629" fmla="*/ 2847261 h 6994526"/>
              <a:gd name="connsiteX630" fmla="*/ 2058885 w 5932286"/>
              <a:gd name="connsiteY630" fmla="*/ 2858028 h 6994526"/>
              <a:gd name="connsiteX631" fmla="*/ 1975640 w 5932286"/>
              <a:gd name="connsiteY631" fmla="*/ 2774702 h 6994526"/>
              <a:gd name="connsiteX632" fmla="*/ 2058885 w 5932286"/>
              <a:gd name="connsiteY632" fmla="*/ 2691376 h 6994526"/>
              <a:gd name="connsiteX633" fmla="*/ 2121267 w 5932286"/>
              <a:gd name="connsiteY633" fmla="*/ 2774702 h 6994526"/>
              <a:gd name="connsiteX634" fmla="*/ 2058885 w 5932286"/>
              <a:gd name="connsiteY634" fmla="*/ 2858028 h 6994526"/>
              <a:gd name="connsiteX635" fmla="*/ 5064001 w 5932286"/>
              <a:gd name="connsiteY635" fmla="*/ 2863705 h 6994526"/>
              <a:gd name="connsiteX636" fmla="*/ 4970750 w 5932286"/>
              <a:gd name="connsiteY636" fmla="*/ 2770454 h 6994526"/>
              <a:gd name="connsiteX637" fmla="*/ 5063300 w 5932286"/>
              <a:gd name="connsiteY637" fmla="*/ 2676496 h 6994526"/>
              <a:gd name="connsiteX638" fmla="*/ 5157259 w 5932286"/>
              <a:gd name="connsiteY638" fmla="*/ 2769746 h 6994526"/>
              <a:gd name="connsiteX639" fmla="*/ 5064001 w 5932286"/>
              <a:gd name="connsiteY639" fmla="*/ 2863705 h 6994526"/>
              <a:gd name="connsiteX640" fmla="*/ 2460230 w 5932286"/>
              <a:gd name="connsiteY640" fmla="*/ 2922733 h 6994526"/>
              <a:gd name="connsiteX641" fmla="*/ 2386755 w 5932286"/>
              <a:gd name="connsiteY641" fmla="*/ 2849258 h 6994526"/>
              <a:gd name="connsiteX642" fmla="*/ 2460230 w 5932286"/>
              <a:gd name="connsiteY642" fmla="*/ 2775783 h 6994526"/>
              <a:gd name="connsiteX643" fmla="*/ 2533705 w 5932286"/>
              <a:gd name="connsiteY643" fmla="*/ 2849258 h 6994526"/>
              <a:gd name="connsiteX644" fmla="*/ 2460230 w 5932286"/>
              <a:gd name="connsiteY644" fmla="*/ 2922733 h 6994526"/>
              <a:gd name="connsiteX645" fmla="*/ 5446926 w 5932286"/>
              <a:gd name="connsiteY645" fmla="*/ 2925236 h 6994526"/>
              <a:gd name="connsiteX646" fmla="*/ 5373435 w 5932286"/>
              <a:gd name="connsiteY646" fmla="*/ 2853085 h 6994526"/>
              <a:gd name="connsiteX647" fmla="*/ 5445586 w 5932286"/>
              <a:gd name="connsiteY647" fmla="*/ 2779595 h 6994526"/>
              <a:gd name="connsiteX648" fmla="*/ 5519075 w 5932286"/>
              <a:gd name="connsiteY648" fmla="*/ 2851746 h 6994526"/>
              <a:gd name="connsiteX649" fmla="*/ 5446926 w 5932286"/>
              <a:gd name="connsiteY649" fmla="*/ 2925236 h 6994526"/>
              <a:gd name="connsiteX650" fmla="*/ 3573998 w 5932286"/>
              <a:gd name="connsiteY650" fmla="*/ 2925247 h 6994526"/>
              <a:gd name="connsiteX651" fmla="*/ 3416450 w 5932286"/>
              <a:gd name="connsiteY651" fmla="*/ 2769118 h 6994526"/>
              <a:gd name="connsiteX652" fmla="*/ 3572588 w 5932286"/>
              <a:gd name="connsiteY652" fmla="*/ 2611564 h 6994526"/>
              <a:gd name="connsiteX653" fmla="*/ 3730136 w 5932286"/>
              <a:gd name="connsiteY653" fmla="*/ 2767701 h 6994526"/>
              <a:gd name="connsiteX654" fmla="*/ 3573998 w 5932286"/>
              <a:gd name="connsiteY654" fmla="*/ 2925247 h 6994526"/>
              <a:gd name="connsiteX655" fmla="*/ 3963753 w 5932286"/>
              <a:gd name="connsiteY655" fmla="*/ 2984913 h 6994526"/>
              <a:gd name="connsiteX656" fmla="*/ 3827399 w 5932286"/>
              <a:gd name="connsiteY656" fmla="*/ 2849975 h 6994526"/>
              <a:gd name="connsiteX657" fmla="*/ 3962336 w 5932286"/>
              <a:gd name="connsiteY657" fmla="*/ 2713620 h 6994526"/>
              <a:gd name="connsiteX658" fmla="*/ 4098690 w 5932286"/>
              <a:gd name="connsiteY658" fmla="*/ 2848558 h 6994526"/>
              <a:gd name="connsiteX659" fmla="*/ 3963753 w 5932286"/>
              <a:gd name="connsiteY659" fmla="*/ 2984913 h 6994526"/>
              <a:gd name="connsiteX660" fmla="*/ 5825099 w 5932286"/>
              <a:gd name="connsiteY660" fmla="*/ 3007771 h 6994526"/>
              <a:gd name="connsiteX661" fmla="*/ 5752285 w 5932286"/>
              <a:gd name="connsiteY661" fmla="*/ 2934958 h 6994526"/>
              <a:gd name="connsiteX662" fmla="*/ 5825099 w 5932286"/>
              <a:gd name="connsiteY662" fmla="*/ 2862144 h 6994526"/>
              <a:gd name="connsiteX663" fmla="*/ 5897912 w 5932286"/>
              <a:gd name="connsiteY663" fmla="*/ 2934958 h 6994526"/>
              <a:gd name="connsiteX664" fmla="*/ 5825099 w 5932286"/>
              <a:gd name="connsiteY664" fmla="*/ 3007771 h 6994526"/>
              <a:gd name="connsiteX665" fmla="*/ 4348053 w 5932286"/>
              <a:gd name="connsiteY665" fmla="*/ 3059068 h 6994526"/>
              <a:gd name="connsiteX666" fmla="*/ 4219472 w 5932286"/>
              <a:gd name="connsiteY666" fmla="*/ 2931189 h 6994526"/>
              <a:gd name="connsiteX667" fmla="*/ 4347351 w 5932286"/>
              <a:gd name="connsiteY667" fmla="*/ 2802609 h 6994526"/>
              <a:gd name="connsiteX668" fmla="*/ 4475931 w 5932286"/>
              <a:gd name="connsiteY668" fmla="*/ 2930488 h 6994526"/>
              <a:gd name="connsiteX669" fmla="*/ 4348053 w 5932286"/>
              <a:gd name="connsiteY669" fmla="*/ 3059068 h 6994526"/>
              <a:gd name="connsiteX670" fmla="*/ 2859391 w 5932286"/>
              <a:gd name="connsiteY670" fmla="*/ 3059363 h 6994526"/>
              <a:gd name="connsiteX671" fmla="*/ 2727985 w 5932286"/>
              <a:gd name="connsiteY671" fmla="*/ 2929368 h 6994526"/>
              <a:gd name="connsiteX672" fmla="*/ 2857981 w 5932286"/>
              <a:gd name="connsiteY672" fmla="*/ 2797962 h 6994526"/>
              <a:gd name="connsiteX673" fmla="*/ 2989386 w 5932286"/>
              <a:gd name="connsiteY673" fmla="*/ 2927959 h 6994526"/>
              <a:gd name="connsiteX674" fmla="*/ 2859391 w 5932286"/>
              <a:gd name="connsiteY674" fmla="*/ 3059363 h 6994526"/>
              <a:gd name="connsiteX675" fmla="*/ 1743677 w 5932286"/>
              <a:gd name="connsiteY675" fmla="*/ 3083119 h 6994526"/>
              <a:gd name="connsiteX676" fmla="*/ 1663481 w 5932286"/>
              <a:gd name="connsiteY676" fmla="*/ 3002945 h 6994526"/>
              <a:gd name="connsiteX677" fmla="*/ 1743677 w 5932286"/>
              <a:gd name="connsiteY677" fmla="*/ 2942863 h 6994526"/>
              <a:gd name="connsiteX678" fmla="*/ 1823871 w 5932286"/>
              <a:gd name="connsiteY678" fmla="*/ 3002945 h 6994526"/>
              <a:gd name="connsiteX679" fmla="*/ 1743677 w 5932286"/>
              <a:gd name="connsiteY679" fmla="*/ 3083119 h 6994526"/>
              <a:gd name="connsiteX680" fmla="*/ 4728714 w 5932286"/>
              <a:gd name="connsiteY680" fmla="*/ 3133603 h 6994526"/>
              <a:gd name="connsiteX681" fmla="*/ 4607197 w 5932286"/>
              <a:gd name="connsiteY681" fmla="*/ 3013499 h 6994526"/>
              <a:gd name="connsiteX682" fmla="*/ 4727297 w 5932286"/>
              <a:gd name="connsiteY682" fmla="*/ 2892688 h 6994526"/>
              <a:gd name="connsiteX683" fmla="*/ 4848814 w 5932286"/>
              <a:gd name="connsiteY683" fmla="*/ 3012792 h 6994526"/>
              <a:gd name="connsiteX684" fmla="*/ 4728714 w 5932286"/>
              <a:gd name="connsiteY684" fmla="*/ 3133603 h 6994526"/>
              <a:gd name="connsiteX685" fmla="*/ 2143589 w 5932286"/>
              <a:gd name="connsiteY685" fmla="*/ 3163085 h 6994526"/>
              <a:gd name="connsiteX686" fmla="*/ 2070773 w 5932286"/>
              <a:gd name="connsiteY686" fmla="*/ 3090277 h 6994526"/>
              <a:gd name="connsiteX687" fmla="*/ 2141377 w 5932286"/>
              <a:gd name="connsiteY687" fmla="*/ 3015258 h 6994526"/>
              <a:gd name="connsiteX688" fmla="*/ 2216405 w 5932286"/>
              <a:gd name="connsiteY688" fmla="*/ 3088066 h 6994526"/>
              <a:gd name="connsiteX689" fmla="*/ 2143589 w 5932286"/>
              <a:gd name="connsiteY689" fmla="*/ 3163085 h 6994526"/>
              <a:gd name="connsiteX690" fmla="*/ 3248651 w 5932286"/>
              <a:gd name="connsiteY690" fmla="*/ 3171303 h 6994526"/>
              <a:gd name="connsiteX691" fmla="*/ 3086161 w 5932286"/>
              <a:gd name="connsiteY691" fmla="*/ 3010224 h 6994526"/>
              <a:gd name="connsiteX692" fmla="*/ 3247240 w 5932286"/>
              <a:gd name="connsiteY692" fmla="*/ 2847728 h 6994526"/>
              <a:gd name="connsiteX693" fmla="*/ 3409736 w 5932286"/>
              <a:gd name="connsiteY693" fmla="*/ 3008808 h 6994526"/>
              <a:gd name="connsiteX694" fmla="*/ 3248651 w 5932286"/>
              <a:gd name="connsiteY694" fmla="*/ 3171303 h 6994526"/>
              <a:gd name="connsiteX695" fmla="*/ 5105157 w 5932286"/>
              <a:gd name="connsiteY695" fmla="*/ 3190027 h 6994526"/>
              <a:gd name="connsiteX696" fmla="*/ 5011906 w 5932286"/>
              <a:gd name="connsiteY696" fmla="*/ 3096777 h 6994526"/>
              <a:gd name="connsiteX697" fmla="*/ 5104456 w 5932286"/>
              <a:gd name="connsiteY697" fmla="*/ 3002818 h 6994526"/>
              <a:gd name="connsiteX698" fmla="*/ 5198415 w 5932286"/>
              <a:gd name="connsiteY698" fmla="*/ 3096069 h 6994526"/>
              <a:gd name="connsiteX699" fmla="*/ 5105157 w 5932286"/>
              <a:gd name="connsiteY699" fmla="*/ 3190027 h 6994526"/>
              <a:gd name="connsiteX700" fmla="*/ 2531890 w 5932286"/>
              <a:gd name="connsiteY700" fmla="*/ 3242602 h 6994526"/>
              <a:gd name="connsiteX701" fmla="*/ 2459071 w 5932286"/>
              <a:gd name="connsiteY701" fmla="*/ 3169791 h 6994526"/>
              <a:gd name="connsiteX702" fmla="*/ 2531890 w 5932286"/>
              <a:gd name="connsiteY702" fmla="*/ 3096972 h 6994526"/>
              <a:gd name="connsiteX703" fmla="*/ 2604699 w 5932286"/>
              <a:gd name="connsiteY703" fmla="*/ 3169791 h 6994526"/>
              <a:gd name="connsiteX704" fmla="*/ 2531890 w 5932286"/>
              <a:gd name="connsiteY704" fmla="*/ 3242602 h 6994526"/>
              <a:gd name="connsiteX705" fmla="*/ 3631618 w 5932286"/>
              <a:gd name="connsiteY705" fmla="*/ 3248662 h 6994526"/>
              <a:gd name="connsiteX706" fmla="*/ 3474070 w 5932286"/>
              <a:gd name="connsiteY706" fmla="*/ 3092525 h 6994526"/>
              <a:gd name="connsiteX707" fmla="*/ 3630208 w 5932286"/>
              <a:gd name="connsiteY707" fmla="*/ 2934977 h 6994526"/>
              <a:gd name="connsiteX708" fmla="*/ 3787756 w 5932286"/>
              <a:gd name="connsiteY708" fmla="*/ 3091116 h 6994526"/>
              <a:gd name="connsiteX709" fmla="*/ 3631618 w 5932286"/>
              <a:gd name="connsiteY709" fmla="*/ 3248662 h 6994526"/>
              <a:gd name="connsiteX710" fmla="*/ 5479755 w 5932286"/>
              <a:gd name="connsiteY710" fmla="*/ 3252835 h 6994526"/>
              <a:gd name="connsiteX711" fmla="*/ 5406364 w 5932286"/>
              <a:gd name="connsiteY711" fmla="*/ 3179450 h 6994526"/>
              <a:gd name="connsiteX712" fmla="*/ 5478567 w 5932286"/>
              <a:gd name="connsiteY712" fmla="*/ 3106064 h 6994526"/>
              <a:gd name="connsiteX713" fmla="*/ 5551956 w 5932286"/>
              <a:gd name="connsiteY713" fmla="*/ 3179450 h 6994526"/>
              <a:gd name="connsiteX714" fmla="*/ 5479755 w 5932286"/>
              <a:gd name="connsiteY714" fmla="*/ 3252835 h 6994526"/>
              <a:gd name="connsiteX715" fmla="*/ 4009150 w 5932286"/>
              <a:gd name="connsiteY715" fmla="*/ 3317439 h 6994526"/>
              <a:gd name="connsiteX716" fmla="*/ 3865733 w 5932286"/>
              <a:gd name="connsiteY716" fmla="*/ 3174722 h 6994526"/>
              <a:gd name="connsiteX717" fmla="*/ 4008449 w 5932286"/>
              <a:gd name="connsiteY717" fmla="*/ 3031305 h 6994526"/>
              <a:gd name="connsiteX718" fmla="*/ 4151867 w 5932286"/>
              <a:gd name="connsiteY718" fmla="*/ 3174021 h 6994526"/>
              <a:gd name="connsiteX719" fmla="*/ 4009150 w 5932286"/>
              <a:gd name="connsiteY719" fmla="*/ 3317439 h 6994526"/>
              <a:gd name="connsiteX720" fmla="*/ 5851244 w 5932286"/>
              <a:gd name="connsiteY720" fmla="*/ 3335538 h 6994526"/>
              <a:gd name="connsiteX721" fmla="*/ 5778430 w 5932286"/>
              <a:gd name="connsiteY721" fmla="*/ 3262725 h 6994526"/>
              <a:gd name="connsiteX722" fmla="*/ 5851244 w 5932286"/>
              <a:gd name="connsiteY722" fmla="*/ 3189911 h 6994526"/>
              <a:gd name="connsiteX723" fmla="*/ 5924057 w 5932286"/>
              <a:gd name="connsiteY723" fmla="*/ 3262725 h 6994526"/>
              <a:gd name="connsiteX724" fmla="*/ 5851244 w 5932286"/>
              <a:gd name="connsiteY724" fmla="*/ 3335538 h 6994526"/>
              <a:gd name="connsiteX725" fmla="*/ 2912537 w 5932286"/>
              <a:gd name="connsiteY725" fmla="*/ 3373262 h 6994526"/>
              <a:gd name="connsiteX726" fmla="*/ 2791726 w 5932286"/>
              <a:gd name="connsiteY726" fmla="*/ 3253156 h 6994526"/>
              <a:gd name="connsiteX727" fmla="*/ 2911127 w 5932286"/>
              <a:gd name="connsiteY727" fmla="*/ 3132342 h 6994526"/>
              <a:gd name="connsiteX728" fmla="*/ 3032639 w 5932286"/>
              <a:gd name="connsiteY728" fmla="*/ 3252447 h 6994526"/>
              <a:gd name="connsiteX729" fmla="*/ 2912537 w 5932286"/>
              <a:gd name="connsiteY729" fmla="*/ 3373262 h 6994526"/>
              <a:gd name="connsiteX730" fmla="*/ 4383877 w 5932286"/>
              <a:gd name="connsiteY730" fmla="*/ 3392229 h 6994526"/>
              <a:gd name="connsiteX731" fmla="*/ 4248936 w 5932286"/>
              <a:gd name="connsiteY731" fmla="*/ 3257999 h 6994526"/>
              <a:gd name="connsiteX732" fmla="*/ 4383170 w 5932286"/>
              <a:gd name="connsiteY732" fmla="*/ 3123058 h 6994526"/>
              <a:gd name="connsiteX733" fmla="*/ 4518118 w 5932286"/>
              <a:gd name="connsiteY733" fmla="*/ 3257297 h 6994526"/>
              <a:gd name="connsiteX734" fmla="*/ 4383877 w 5932286"/>
              <a:gd name="connsiteY734" fmla="*/ 3392229 h 6994526"/>
              <a:gd name="connsiteX735" fmla="*/ 1828141 w 5932286"/>
              <a:gd name="connsiteY735" fmla="*/ 3416801 h 6994526"/>
              <a:gd name="connsiteX736" fmla="*/ 1742375 w 5932286"/>
              <a:gd name="connsiteY736" fmla="*/ 3330997 h 6994526"/>
              <a:gd name="connsiteX737" fmla="*/ 1785258 w 5932286"/>
              <a:gd name="connsiteY737" fmla="*/ 3245603 h 6994526"/>
              <a:gd name="connsiteX738" fmla="*/ 1870599 w 5932286"/>
              <a:gd name="connsiteY738" fmla="*/ 3330997 h 6994526"/>
              <a:gd name="connsiteX739" fmla="*/ 1828141 w 5932286"/>
              <a:gd name="connsiteY739" fmla="*/ 3416801 h 6994526"/>
              <a:gd name="connsiteX740" fmla="*/ 4755713 w 5932286"/>
              <a:gd name="connsiteY740" fmla="*/ 3469142 h 6994526"/>
              <a:gd name="connsiteX741" fmla="*/ 4627133 w 5932286"/>
              <a:gd name="connsiteY741" fmla="*/ 3341275 h 6994526"/>
              <a:gd name="connsiteX742" fmla="*/ 4755012 w 5932286"/>
              <a:gd name="connsiteY742" fmla="*/ 3212695 h 6994526"/>
              <a:gd name="connsiteX743" fmla="*/ 4883593 w 5932286"/>
              <a:gd name="connsiteY743" fmla="*/ 3340574 h 6994526"/>
              <a:gd name="connsiteX744" fmla="*/ 4755713 w 5932286"/>
              <a:gd name="connsiteY744" fmla="*/ 3469142 h 6994526"/>
              <a:gd name="connsiteX745" fmla="*/ 2191543 w 5932286"/>
              <a:gd name="connsiteY745" fmla="*/ 3486615 h 6994526"/>
              <a:gd name="connsiteX746" fmla="*/ 2118711 w 5932286"/>
              <a:gd name="connsiteY746" fmla="*/ 3413786 h 6994526"/>
              <a:gd name="connsiteX747" fmla="*/ 2191543 w 5932286"/>
              <a:gd name="connsiteY747" fmla="*/ 3340969 h 6994526"/>
              <a:gd name="connsiteX748" fmla="*/ 2264373 w 5932286"/>
              <a:gd name="connsiteY748" fmla="*/ 3413786 h 6994526"/>
              <a:gd name="connsiteX749" fmla="*/ 2191543 w 5932286"/>
              <a:gd name="connsiteY749" fmla="*/ 3486615 h 6994526"/>
              <a:gd name="connsiteX750" fmla="*/ 3287758 w 5932286"/>
              <a:gd name="connsiteY750" fmla="*/ 3499834 h 6994526"/>
              <a:gd name="connsiteX751" fmla="*/ 3123150 w 5932286"/>
              <a:gd name="connsiteY751" fmla="*/ 3335945 h 6994526"/>
              <a:gd name="connsiteX752" fmla="*/ 3287049 w 5932286"/>
              <a:gd name="connsiteY752" fmla="*/ 3171337 h 6994526"/>
              <a:gd name="connsiteX753" fmla="*/ 3451657 w 5932286"/>
              <a:gd name="connsiteY753" fmla="*/ 3335238 h 6994526"/>
              <a:gd name="connsiteX754" fmla="*/ 3287758 w 5932286"/>
              <a:gd name="connsiteY754" fmla="*/ 3499834 h 6994526"/>
              <a:gd name="connsiteX755" fmla="*/ 5125121 w 5932286"/>
              <a:gd name="connsiteY755" fmla="*/ 3526285 h 6994526"/>
              <a:gd name="connsiteX756" fmla="*/ 5022681 w 5932286"/>
              <a:gd name="connsiteY756" fmla="*/ 3424547 h 6994526"/>
              <a:gd name="connsiteX757" fmla="*/ 5124413 w 5932286"/>
              <a:gd name="connsiteY757" fmla="*/ 3322113 h 6994526"/>
              <a:gd name="connsiteX758" fmla="*/ 5226859 w 5932286"/>
              <a:gd name="connsiteY758" fmla="*/ 3423846 h 6994526"/>
              <a:gd name="connsiteX759" fmla="*/ 5125121 w 5932286"/>
              <a:gd name="connsiteY759" fmla="*/ 3526285 h 6994526"/>
              <a:gd name="connsiteX760" fmla="*/ 2563137 w 5932286"/>
              <a:gd name="connsiteY760" fmla="*/ 3569844 h 6994526"/>
              <a:gd name="connsiteX761" fmla="*/ 2489304 w 5932286"/>
              <a:gd name="connsiteY761" fmla="*/ 3497047 h 6994526"/>
              <a:gd name="connsiteX762" fmla="*/ 2562124 w 5932286"/>
              <a:gd name="connsiteY762" fmla="*/ 3424229 h 6994526"/>
              <a:gd name="connsiteX763" fmla="*/ 2635946 w 5932286"/>
              <a:gd name="connsiteY763" fmla="*/ 3497047 h 6994526"/>
              <a:gd name="connsiteX764" fmla="*/ 2563137 w 5932286"/>
              <a:gd name="connsiteY764" fmla="*/ 3569844 h 6994526"/>
              <a:gd name="connsiteX765" fmla="*/ 5492972 w 5932286"/>
              <a:gd name="connsiteY765" fmla="*/ 3580517 h 6994526"/>
              <a:gd name="connsiteX766" fmla="*/ 5420153 w 5932286"/>
              <a:gd name="connsiteY766" fmla="*/ 3507717 h 6994526"/>
              <a:gd name="connsiteX767" fmla="*/ 5492972 w 5932286"/>
              <a:gd name="connsiteY767" fmla="*/ 3434897 h 6994526"/>
              <a:gd name="connsiteX768" fmla="*/ 5565780 w 5932286"/>
              <a:gd name="connsiteY768" fmla="*/ 3507717 h 6994526"/>
              <a:gd name="connsiteX769" fmla="*/ 5492972 w 5932286"/>
              <a:gd name="connsiteY769" fmla="*/ 3580517 h 6994526"/>
              <a:gd name="connsiteX770" fmla="*/ 4028026 w 5932286"/>
              <a:gd name="connsiteY770" fmla="*/ 3652007 h 6994526"/>
              <a:gd name="connsiteX771" fmla="*/ 3878251 w 5932286"/>
              <a:gd name="connsiteY771" fmla="*/ 3502969 h 6994526"/>
              <a:gd name="connsiteX772" fmla="*/ 4027319 w 5932286"/>
              <a:gd name="connsiteY772" fmla="*/ 3353209 h 6994526"/>
              <a:gd name="connsiteX773" fmla="*/ 4177100 w 5932286"/>
              <a:gd name="connsiteY773" fmla="*/ 3502260 h 6994526"/>
              <a:gd name="connsiteX774" fmla="*/ 4028026 w 5932286"/>
              <a:gd name="connsiteY774" fmla="*/ 3652007 h 6994526"/>
              <a:gd name="connsiteX775" fmla="*/ 5859473 w 5932286"/>
              <a:gd name="connsiteY775" fmla="*/ 3664284 h 6994526"/>
              <a:gd name="connsiteX776" fmla="*/ 5786659 w 5932286"/>
              <a:gd name="connsiteY776" fmla="*/ 3591471 h 6994526"/>
              <a:gd name="connsiteX777" fmla="*/ 5859473 w 5932286"/>
              <a:gd name="connsiteY777" fmla="*/ 3518657 h 6994526"/>
              <a:gd name="connsiteX778" fmla="*/ 5932286 w 5932286"/>
              <a:gd name="connsiteY778" fmla="*/ 3591471 h 6994526"/>
              <a:gd name="connsiteX779" fmla="*/ 5859473 w 5932286"/>
              <a:gd name="connsiteY779" fmla="*/ 3664284 h 6994526"/>
              <a:gd name="connsiteX780" fmla="*/ 2929967 w 5932286"/>
              <a:gd name="connsiteY780" fmla="*/ 3697434 h 6994526"/>
              <a:gd name="connsiteX781" fmla="*/ 2812692 w 5932286"/>
              <a:gd name="connsiteY781" fmla="*/ 3580873 h 6994526"/>
              <a:gd name="connsiteX782" fmla="*/ 2929259 w 5932286"/>
              <a:gd name="connsiteY782" fmla="*/ 3463632 h 6994526"/>
              <a:gd name="connsiteX783" fmla="*/ 3046541 w 5932286"/>
              <a:gd name="connsiteY783" fmla="*/ 3580164 h 6994526"/>
              <a:gd name="connsiteX784" fmla="*/ 2929967 w 5932286"/>
              <a:gd name="connsiteY784" fmla="*/ 3697434 h 6994526"/>
              <a:gd name="connsiteX785" fmla="*/ 4395129 w 5932286"/>
              <a:gd name="connsiteY785" fmla="*/ 3725385 h 6994526"/>
              <a:gd name="connsiteX786" fmla="*/ 4255238 w 5932286"/>
              <a:gd name="connsiteY786" fmla="*/ 3586212 h 6994526"/>
              <a:gd name="connsiteX787" fmla="*/ 4393712 w 5932286"/>
              <a:gd name="connsiteY787" fmla="*/ 3446354 h 6994526"/>
              <a:gd name="connsiteX788" fmla="*/ 4533596 w 5932286"/>
              <a:gd name="connsiteY788" fmla="*/ 3585503 h 6994526"/>
              <a:gd name="connsiteX789" fmla="*/ 4395129 w 5932286"/>
              <a:gd name="connsiteY789" fmla="*/ 3725385 h 6994526"/>
              <a:gd name="connsiteX790" fmla="*/ 4760666 w 5932286"/>
              <a:gd name="connsiteY790" fmla="*/ 3800894 h 6994526"/>
              <a:gd name="connsiteX791" fmla="*/ 4627843 w 5932286"/>
              <a:gd name="connsiteY791" fmla="*/ 3669497 h 6994526"/>
              <a:gd name="connsiteX792" fmla="*/ 4759959 w 5932286"/>
              <a:gd name="connsiteY792" fmla="*/ 3537409 h 6994526"/>
              <a:gd name="connsiteX793" fmla="*/ 4892075 w 5932286"/>
              <a:gd name="connsiteY793" fmla="*/ 3668791 h 6994526"/>
              <a:gd name="connsiteX794" fmla="*/ 4760666 w 5932286"/>
              <a:gd name="connsiteY794" fmla="*/ 3800894 h 6994526"/>
              <a:gd name="connsiteX795" fmla="*/ 2190569 w 5932286"/>
              <a:gd name="connsiteY795" fmla="*/ 3814783 h 6994526"/>
              <a:gd name="connsiteX796" fmla="*/ 2117735 w 5932286"/>
              <a:gd name="connsiteY796" fmla="*/ 3742003 h 6994526"/>
              <a:gd name="connsiteX797" fmla="*/ 2190569 w 5932286"/>
              <a:gd name="connsiteY797" fmla="*/ 3669172 h 6994526"/>
              <a:gd name="connsiteX798" fmla="*/ 2263362 w 5932286"/>
              <a:gd name="connsiteY798" fmla="*/ 3742003 h 6994526"/>
              <a:gd name="connsiteX799" fmla="*/ 2190569 w 5932286"/>
              <a:gd name="connsiteY799" fmla="*/ 3814783 h 6994526"/>
              <a:gd name="connsiteX800" fmla="*/ 3295022 w 5932286"/>
              <a:gd name="connsiteY800" fmla="*/ 3828033 h 6994526"/>
              <a:gd name="connsiteX801" fmla="*/ 3130408 w 5932286"/>
              <a:gd name="connsiteY801" fmla="*/ 3664146 h 6994526"/>
              <a:gd name="connsiteX802" fmla="*/ 3293607 w 5932286"/>
              <a:gd name="connsiteY802" fmla="*/ 3499577 h 6994526"/>
              <a:gd name="connsiteX803" fmla="*/ 3458929 w 5932286"/>
              <a:gd name="connsiteY803" fmla="*/ 3663442 h 6994526"/>
              <a:gd name="connsiteX804" fmla="*/ 3295022 w 5932286"/>
              <a:gd name="connsiteY804" fmla="*/ 3828033 h 6994526"/>
              <a:gd name="connsiteX805" fmla="*/ 5124152 w 5932286"/>
              <a:gd name="connsiteY805" fmla="*/ 3854992 h 6994526"/>
              <a:gd name="connsiteX806" fmla="*/ 5021712 w 5932286"/>
              <a:gd name="connsiteY806" fmla="*/ 3753265 h 6994526"/>
              <a:gd name="connsiteX807" fmla="*/ 5123451 w 5932286"/>
              <a:gd name="connsiteY807" fmla="*/ 3650833 h 6994526"/>
              <a:gd name="connsiteX808" fmla="*/ 5225890 w 5932286"/>
              <a:gd name="connsiteY808" fmla="*/ 3752562 h 6994526"/>
              <a:gd name="connsiteX809" fmla="*/ 5124152 w 5932286"/>
              <a:gd name="connsiteY809" fmla="*/ 3854992 h 6994526"/>
              <a:gd name="connsiteX810" fmla="*/ 2551031 w 5932286"/>
              <a:gd name="connsiteY810" fmla="*/ 3898047 h 6994526"/>
              <a:gd name="connsiteX811" fmla="*/ 2477198 w 5932286"/>
              <a:gd name="connsiteY811" fmla="*/ 3825241 h 6994526"/>
              <a:gd name="connsiteX812" fmla="*/ 2551031 w 5932286"/>
              <a:gd name="connsiteY812" fmla="*/ 3752438 h 6994526"/>
              <a:gd name="connsiteX813" fmla="*/ 2623840 w 5932286"/>
              <a:gd name="connsiteY813" fmla="*/ 3825241 h 6994526"/>
              <a:gd name="connsiteX814" fmla="*/ 2551031 w 5932286"/>
              <a:gd name="connsiteY814" fmla="*/ 3898047 h 6994526"/>
              <a:gd name="connsiteX815" fmla="*/ 5486679 w 5932286"/>
              <a:gd name="connsiteY815" fmla="*/ 3909244 h 6994526"/>
              <a:gd name="connsiteX816" fmla="*/ 5413859 w 5932286"/>
              <a:gd name="connsiteY816" fmla="*/ 3836436 h 6994526"/>
              <a:gd name="connsiteX817" fmla="*/ 5486679 w 5932286"/>
              <a:gd name="connsiteY817" fmla="*/ 3763621 h 6994526"/>
              <a:gd name="connsiteX818" fmla="*/ 5559487 w 5932286"/>
              <a:gd name="connsiteY818" fmla="*/ 3836436 h 6994526"/>
              <a:gd name="connsiteX819" fmla="*/ 5486679 w 5932286"/>
              <a:gd name="connsiteY819" fmla="*/ 3909244 h 6994526"/>
              <a:gd name="connsiteX820" fmla="*/ 4020280 w 5932286"/>
              <a:gd name="connsiteY820" fmla="*/ 3980226 h 6994526"/>
              <a:gd name="connsiteX821" fmla="*/ 3870505 w 5932286"/>
              <a:gd name="connsiteY821" fmla="*/ 3831156 h 6994526"/>
              <a:gd name="connsiteX822" fmla="*/ 4019570 w 5932286"/>
              <a:gd name="connsiteY822" fmla="*/ 3681406 h 6994526"/>
              <a:gd name="connsiteX823" fmla="*/ 4169346 w 5932286"/>
              <a:gd name="connsiteY823" fmla="*/ 3830452 h 6994526"/>
              <a:gd name="connsiteX824" fmla="*/ 4020280 w 5932286"/>
              <a:gd name="connsiteY824" fmla="*/ 3980226 h 6994526"/>
              <a:gd name="connsiteX825" fmla="*/ 5848846 w 5932286"/>
              <a:gd name="connsiteY825" fmla="*/ 3992529 h 6994526"/>
              <a:gd name="connsiteX826" fmla="*/ 5776006 w 5932286"/>
              <a:gd name="connsiteY826" fmla="*/ 3919742 h 6994526"/>
              <a:gd name="connsiteX827" fmla="*/ 5848846 w 5932286"/>
              <a:gd name="connsiteY827" fmla="*/ 3846903 h 6994526"/>
              <a:gd name="connsiteX828" fmla="*/ 5921633 w 5932286"/>
              <a:gd name="connsiteY828" fmla="*/ 3919742 h 6994526"/>
              <a:gd name="connsiteX829" fmla="*/ 5848846 w 5932286"/>
              <a:gd name="connsiteY829" fmla="*/ 3992529 h 6994526"/>
              <a:gd name="connsiteX830" fmla="*/ 2910711 w 5932286"/>
              <a:gd name="connsiteY830" fmla="*/ 4029206 h 6994526"/>
              <a:gd name="connsiteX831" fmla="*/ 2789194 w 5932286"/>
              <a:gd name="connsiteY831" fmla="*/ 3909103 h 6994526"/>
              <a:gd name="connsiteX832" fmla="*/ 2910002 w 5932286"/>
              <a:gd name="connsiteY832" fmla="*/ 3788302 h 6994526"/>
              <a:gd name="connsiteX833" fmla="*/ 3030811 w 5932286"/>
              <a:gd name="connsiteY833" fmla="*/ 3908395 h 6994526"/>
              <a:gd name="connsiteX834" fmla="*/ 2910711 w 5932286"/>
              <a:gd name="connsiteY834" fmla="*/ 4029206 h 6994526"/>
              <a:gd name="connsiteX835" fmla="*/ 1783865 w 5932286"/>
              <a:gd name="connsiteY835" fmla="*/ 4056998 h 6994526"/>
              <a:gd name="connsiteX836" fmla="*/ 1711051 w 5932286"/>
              <a:gd name="connsiteY836" fmla="*/ 3983854 h 6994526"/>
              <a:gd name="connsiteX837" fmla="*/ 1783865 w 5932286"/>
              <a:gd name="connsiteY837" fmla="*/ 3911070 h 6994526"/>
              <a:gd name="connsiteX838" fmla="*/ 1857041 w 5932286"/>
              <a:gd name="connsiteY838" fmla="*/ 3983854 h 6994526"/>
              <a:gd name="connsiteX839" fmla="*/ 1783865 w 5932286"/>
              <a:gd name="connsiteY839" fmla="*/ 4056998 h 6994526"/>
              <a:gd name="connsiteX840" fmla="*/ 4381567 w 5932286"/>
              <a:gd name="connsiteY840" fmla="*/ 4059873 h 6994526"/>
              <a:gd name="connsiteX841" fmla="*/ 4235325 w 5932286"/>
              <a:gd name="connsiteY841" fmla="*/ 3915045 h 6994526"/>
              <a:gd name="connsiteX842" fmla="*/ 4380157 w 5932286"/>
              <a:gd name="connsiteY842" fmla="*/ 3768805 h 6994526"/>
              <a:gd name="connsiteX843" fmla="*/ 4526399 w 5932286"/>
              <a:gd name="connsiteY843" fmla="*/ 3913637 h 6994526"/>
              <a:gd name="connsiteX844" fmla="*/ 4381567 w 5932286"/>
              <a:gd name="connsiteY844" fmla="*/ 4059873 h 6994526"/>
              <a:gd name="connsiteX845" fmla="*/ 4742160 w 5932286"/>
              <a:gd name="connsiteY845" fmla="*/ 4131976 h 6994526"/>
              <a:gd name="connsiteX846" fmla="*/ 4607219 w 5932286"/>
              <a:gd name="connsiteY846" fmla="*/ 3997732 h 6994526"/>
              <a:gd name="connsiteX847" fmla="*/ 4741451 w 5932286"/>
              <a:gd name="connsiteY847" fmla="*/ 3862794 h 6994526"/>
              <a:gd name="connsiteX848" fmla="*/ 4876399 w 5932286"/>
              <a:gd name="connsiteY848" fmla="*/ 3997026 h 6994526"/>
              <a:gd name="connsiteX849" fmla="*/ 4742160 w 5932286"/>
              <a:gd name="connsiteY849" fmla="*/ 4131976 h 6994526"/>
              <a:gd name="connsiteX850" fmla="*/ 2142321 w 5932286"/>
              <a:gd name="connsiteY850" fmla="*/ 4139916 h 6994526"/>
              <a:gd name="connsiteX851" fmla="*/ 2067635 w 5932286"/>
              <a:gd name="connsiteY851" fmla="*/ 4068935 h 6994526"/>
              <a:gd name="connsiteX852" fmla="*/ 2138577 w 5932286"/>
              <a:gd name="connsiteY852" fmla="*/ 3994249 h 6994526"/>
              <a:gd name="connsiteX853" fmla="*/ 2213299 w 5932286"/>
              <a:gd name="connsiteY853" fmla="*/ 4065194 h 6994526"/>
              <a:gd name="connsiteX854" fmla="*/ 2142321 w 5932286"/>
              <a:gd name="connsiteY854" fmla="*/ 4139916 h 6994526"/>
              <a:gd name="connsiteX855" fmla="*/ 5101884 w 5932286"/>
              <a:gd name="connsiteY855" fmla="*/ 4180058 h 6994526"/>
              <a:gd name="connsiteX856" fmla="*/ 5001564 w 5932286"/>
              <a:gd name="connsiteY856" fmla="*/ 4080433 h 6994526"/>
              <a:gd name="connsiteX857" fmla="*/ 5101176 w 5932286"/>
              <a:gd name="connsiteY857" fmla="*/ 3980819 h 6994526"/>
              <a:gd name="connsiteX858" fmla="*/ 5201495 w 5932286"/>
              <a:gd name="connsiteY858" fmla="*/ 4079734 h 6994526"/>
              <a:gd name="connsiteX859" fmla="*/ 5101884 w 5932286"/>
              <a:gd name="connsiteY859" fmla="*/ 4180058 h 6994526"/>
              <a:gd name="connsiteX860" fmla="*/ 2497738 w 5932286"/>
              <a:gd name="connsiteY860" fmla="*/ 4222683 h 6994526"/>
              <a:gd name="connsiteX861" fmla="*/ 2424452 w 5932286"/>
              <a:gd name="connsiteY861" fmla="*/ 4150337 h 6994526"/>
              <a:gd name="connsiteX862" fmla="*/ 2496805 w 5932286"/>
              <a:gd name="connsiteY862" fmla="*/ 4077044 h 6994526"/>
              <a:gd name="connsiteX863" fmla="*/ 2570091 w 5932286"/>
              <a:gd name="connsiteY863" fmla="*/ 4149395 h 6994526"/>
              <a:gd name="connsiteX864" fmla="*/ 2497738 w 5932286"/>
              <a:gd name="connsiteY864" fmla="*/ 4222683 h 6994526"/>
              <a:gd name="connsiteX865" fmla="*/ 5461432 w 5932286"/>
              <a:gd name="connsiteY865" fmla="*/ 4236788 h 6994526"/>
              <a:gd name="connsiteX866" fmla="*/ 5387939 w 5932286"/>
              <a:gd name="connsiteY866" fmla="*/ 4164637 h 6994526"/>
              <a:gd name="connsiteX867" fmla="*/ 5460092 w 5932286"/>
              <a:gd name="connsiteY867" fmla="*/ 4091148 h 6994526"/>
              <a:gd name="connsiteX868" fmla="*/ 5533586 w 5932286"/>
              <a:gd name="connsiteY868" fmla="*/ 4163297 h 6994526"/>
              <a:gd name="connsiteX869" fmla="*/ 5461432 w 5932286"/>
              <a:gd name="connsiteY869" fmla="*/ 4236788 h 6994526"/>
              <a:gd name="connsiteX870" fmla="*/ 3985425 w 5932286"/>
              <a:gd name="connsiteY870" fmla="*/ 4311155 h 6994526"/>
              <a:gd name="connsiteX871" fmla="*/ 3832112 w 5932286"/>
              <a:gd name="connsiteY871" fmla="*/ 4158562 h 6994526"/>
              <a:gd name="connsiteX872" fmla="*/ 3984016 w 5932286"/>
              <a:gd name="connsiteY872" fmla="*/ 4004543 h 6994526"/>
              <a:gd name="connsiteX873" fmla="*/ 4138029 w 5932286"/>
              <a:gd name="connsiteY873" fmla="*/ 4157148 h 6994526"/>
              <a:gd name="connsiteX874" fmla="*/ 3985425 w 5932286"/>
              <a:gd name="connsiteY874" fmla="*/ 4311155 h 6994526"/>
              <a:gd name="connsiteX875" fmla="*/ 5820258 w 5932286"/>
              <a:gd name="connsiteY875" fmla="*/ 4319815 h 6994526"/>
              <a:gd name="connsiteX876" fmla="*/ 5747444 w 5932286"/>
              <a:gd name="connsiteY876" fmla="*/ 4247003 h 6994526"/>
              <a:gd name="connsiteX877" fmla="*/ 5820258 w 5932286"/>
              <a:gd name="connsiteY877" fmla="*/ 4174188 h 6994526"/>
              <a:gd name="connsiteX878" fmla="*/ 5893071 w 5932286"/>
              <a:gd name="connsiteY878" fmla="*/ 4247003 h 6994526"/>
              <a:gd name="connsiteX879" fmla="*/ 5820258 w 5932286"/>
              <a:gd name="connsiteY879" fmla="*/ 4319815 h 6994526"/>
              <a:gd name="connsiteX880" fmla="*/ 2853847 w 5932286"/>
              <a:gd name="connsiteY880" fmla="*/ 4363108 h 6994526"/>
              <a:gd name="connsiteX881" fmla="*/ 2723143 w 5932286"/>
              <a:gd name="connsiteY881" fmla="*/ 4233115 h 6994526"/>
              <a:gd name="connsiteX882" fmla="*/ 2853139 w 5932286"/>
              <a:gd name="connsiteY882" fmla="*/ 4101708 h 6994526"/>
              <a:gd name="connsiteX883" fmla="*/ 2984545 w 5932286"/>
              <a:gd name="connsiteY883" fmla="*/ 4231704 h 6994526"/>
              <a:gd name="connsiteX884" fmla="*/ 2853847 w 5932286"/>
              <a:gd name="connsiteY884" fmla="*/ 4363108 h 6994526"/>
              <a:gd name="connsiteX885" fmla="*/ 4343810 w 5932286"/>
              <a:gd name="connsiteY885" fmla="*/ 4391141 h 6994526"/>
              <a:gd name="connsiteX886" fmla="*/ 4192625 w 5932286"/>
              <a:gd name="connsiteY886" fmla="*/ 4241360 h 6994526"/>
              <a:gd name="connsiteX887" fmla="*/ 4342400 w 5932286"/>
              <a:gd name="connsiteY887" fmla="*/ 4090175 h 6994526"/>
              <a:gd name="connsiteX888" fmla="*/ 4493593 w 5932286"/>
              <a:gd name="connsiteY888" fmla="*/ 4239950 h 6994526"/>
              <a:gd name="connsiteX889" fmla="*/ 4343810 w 5932286"/>
              <a:gd name="connsiteY889" fmla="*/ 4391141 h 6994526"/>
              <a:gd name="connsiteX890" fmla="*/ 2050073 w 5932286"/>
              <a:gd name="connsiteY890" fmla="*/ 4460270 h 6994526"/>
              <a:gd name="connsiteX891" fmla="*/ 1969897 w 5932286"/>
              <a:gd name="connsiteY891" fmla="*/ 4380074 h 6994526"/>
              <a:gd name="connsiteX892" fmla="*/ 2050073 w 5932286"/>
              <a:gd name="connsiteY892" fmla="*/ 4299880 h 6994526"/>
              <a:gd name="connsiteX893" fmla="*/ 2110154 w 5932286"/>
              <a:gd name="connsiteY893" fmla="*/ 4380074 h 6994526"/>
              <a:gd name="connsiteX894" fmla="*/ 2050073 w 5932286"/>
              <a:gd name="connsiteY894" fmla="*/ 4460270 h 6994526"/>
              <a:gd name="connsiteX895" fmla="*/ 4700999 w 5932286"/>
              <a:gd name="connsiteY895" fmla="*/ 4461819 h 6994526"/>
              <a:gd name="connsiteX896" fmla="*/ 4562520 w 5932286"/>
              <a:gd name="connsiteY896" fmla="*/ 4324050 h 6994526"/>
              <a:gd name="connsiteX897" fmla="*/ 4700291 w 5932286"/>
              <a:gd name="connsiteY897" fmla="*/ 4185572 h 6994526"/>
              <a:gd name="connsiteX898" fmla="*/ 4838769 w 5932286"/>
              <a:gd name="connsiteY898" fmla="*/ 4323343 h 6994526"/>
              <a:gd name="connsiteX899" fmla="*/ 4700999 w 5932286"/>
              <a:gd name="connsiteY899" fmla="*/ 4461819 h 6994526"/>
              <a:gd name="connsiteX900" fmla="*/ 3211374 w 5932286"/>
              <a:gd name="connsiteY900" fmla="*/ 4484756 h 6994526"/>
              <a:gd name="connsiteX901" fmla="*/ 3041110 w 5932286"/>
              <a:gd name="connsiteY901" fmla="*/ 4315900 h 6994526"/>
              <a:gd name="connsiteX902" fmla="*/ 3144531 w 5932286"/>
              <a:gd name="connsiteY902" fmla="*/ 4159429 h 6994526"/>
              <a:gd name="connsiteX903" fmla="*/ 3207351 w 5932286"/>
              <a:gd name="connsiteY903" fmla="*/ 4146334 h 6994526"/>
              <a:gd name="connsiteX904" fmla="*/ 3204562 w 5932286"/>
              <a:gd name="connsiteY904" fmla="*/ 4145781 h 6994526"/>
              <a:gd name="connsiteX905" fmla="*/ 3102036 w 5932286"/>
              <a:gd name="connsiteY905" fmla="*/ 3992481 h 6994526"/>
              <a:gd name="connsiteX906" fmla="*/ 3268061 w 5932286"/>
              <a:gd name="connsiteY906" fmla="*/ 3825056 h 6994526"/>
              <a:gd name="connsiteX907" fmla="*/ 3435495 w 5932286"/>
              <a:gd name="connsiteY907" fmla="*/ 3991068 h 6994526"/>
              <a:gd name="connsiteX908" fmla="*/ 3334257 w 5932286"/>
              <a:gd name="connsiteY908" fmla="*/ 4145366 h 6994526"/>
              <a:gd name="connsiteX909" fmla="*/ 3271954 w 5932286"/>
              <a:gd name="connsiteY909" fmla="*/ 4158006 h 6994526"/>
              <a:gd name="connsiteX910" fmla="*/ 3276406 w 5932286"/>
              <a:gd name="connsiteY910" fmla="*/ 4158911 h 6994526"/>
              <a:gd name="connsiteX911" fmla="*/ 3380229 w 5932286"/>
              <a:gd name="connsiteY911" fmla="*/ 4314495 h 6994526"/>
              <a:gd name="connsiteX912" fmla="*/ 3211374 w 5932286"/>
              <a:gd name="connsiteY912" fmla="*/ 4484756 h 6994526"/>
              <a:gd name="connsiteX913" fmla="*/ 5058310 w 5932286"/>
              <a:gd name="connsiteY913" fmla="*/ 4507182 h 6994526"/>
              <a:gd name="connsiteX914" fmla="*/ 4957274 w 5932286"/>
              <a:gd name="connsiteY914" fmla="*/ 4406854 h 6994526"/>
              <a:gd name="connsiteX915" fmla="*/ 5057602 w 5932286"/>
              <a:gd name="connsiteY915" fmla="*/ 4305820 h 6994526"/>
              <a:gd name="connsiteX916" fmla="*/ 5158637 w 5932286"/>
              <a:gd name="connsiteY916" fmla="*/ 4406147 h 6994526"/>
              <a:gd name="connsiteX917" fmla="*/ 5058310 w 5932286"/>
              <a:gd name="connsiteY917" fmla="*/ 4507182 h 6994526"/>
              <a:gd name="connsiteX918" fmla="*/ 2402623 w 5932286"/>
              <a:gd name="connsiteY918" fmla="*/ 4536670 h 6994526"/>
              <a:gd name="connsiteX919" fmla="*/ 2329797 w 5932286"/>
              <a:gd name="connsiteY919" fmla="*/ 4463841 h 6994526"/>
              <a:gd name="connsiteX920" fmla="*/ 2402623 w 5932286"/>
              <a:gd name="connsiteY920" fmla="*/ 4391011 h 6994526"/>
              <a:gd name="connsiteX921" fmla="*/ 2475448 w 5932286"/>
              <a:gd name="connsiteY921" fmla="*/ 4463841 h 6994526"/>
              <a:gd name="connsiteX922" fmla="*/ 2402623 w 5932286"/>
              <a:gd name="connsiteY922" fmla="*/ 4536670 h 6994526"/>
              <a:gd name="connsiteX923" fmla="*/ 5415506 w 5932286"/>
              <a:gd name="connsiteY923" fmla="*/ 4562365 h 6994526"/>
              <a:gd name="connsiteX924" fmla="*/ 5342692 w 5932286"/>
              <a:gd name="connsiteY924" fmla="*/ 4489553 h 6994526"/>
              <a:gd name="connsiteX925" fmla="*/ 5415506 w 5932286"/>
              <a:gd name="connsiteY925" fmla="*/ 4416739 h 6994526"/>
              <a:gd name="connsiteX926" fmla="*/ 5488319 w 5932286"/>
              <a:gd name="connsiteY926" fmla="*/ 4489553 h 6994526"/>
              <a:gd name="connsiteX927" fmla="*/ 5415506 w 5932286"/>
              <a:gd name="connsiteY927" fmla="*/ 4562365 h 6994526"/>
              <a:gd name="connsiteX928" fmla="*/ 2761855 w 5932286"/>
              <a:gd name="connsiteY928" fmla="*/ 4621031 h 6994526"/>
              <a:gd name="connsiteX929" fmla="*/ 2689041 w 5932286"/>
              <a:gd name="connsiteY929" fmla="*/ 4548216 h 6994526"/>
              <a:gd name="connsiteX930" fmla="*/ 2761086 w 5932286"/>
              <a:gd name="connsiteY930" fmla="*/ 4474635 h 6994526"/>
              <a:gd name="connsiteX931" fmla="*/ 2834676 w 5932286"/>
              <a:gd name="connsiteY931" fmla="*/ 4547449 h 6994526"/>
              <a:gd name="connsiteX932" fmla="*/ 2761855 w 5932286"/>
              <a:gd name="connsiteY932" fmla="*/ 4621031 h 6994526"/>
              <a:gd name="connsiteX933" fmla="*/ 3924421 w 5932286"/>
              <a:gd name="connsiteY933" fmla="*/ 4636800 h 6994526"/>
              <a:gd name="connsiteX934" fmla="*/ 3768284 w 5932286"/>
              <a:gd name="connsiteY934" fmla="*/ 4482081 h 6994526"/>
              <a:gd name="connsiteX935" fmla="*/ 3923713 w 5932286"/>
              <a:gd name="connsiteY935" fmla="*/ 4325235 h 6994526"/>
              <a:gd name="connsiteX936" fmla="*/ 4079848 w 5932286"/>
              <a:gd name="connsiteY936" fmla="*/ 4480662 h 6994526"/>
              <a:gd name="connsiteX937" fmla="*/ 3924421 w 5932286"/>
              <a:gd name="connsiteY937" fmla="*/ 4636800 h 6994526"/>
              <a:gd name="connsiteX938" fmla="*/ 5773294 w 5932286"/>
              <a:gd name="connsiteY938" fmla="*/ 4645164 h 6994526"/>
              <a:gd name="connsiteX939" fmla="*/ 5700479 w 5932286"/>
              <a:gd name="connsiteY939" fmla="*/ 4572352 h 6994526"/>
              <a:gd name="connsiteX940" fmla="*/ 5773294 w 5932286"/>
              <a:gd name="connsiteY940" fmla="*/ 4499536 h 6994526"/>
              <a:gd name="connsiteX941" fmla="*/ 5846107 w 5932286"/>
              <a:gd name="connsiteY941" fmla="*/ 4572352 h 6994526"/>
              <a:gd name="connsiteX942" fmla="*/ 5773294 w 5932286"/>
              <a:gd name="connsiteY942" fmla="*/ 4645164 h 6994526"/>
              <a:gd name="connsiteX943" fmla="*/ 1524353 w 5932286"/>
              <a:gd name="connsiteY943" fmla="*/ 4657347 h 6994526"/>
              <a:gd name="connsiteX944" fmla="*/ 1451540 w 5932286"/>
              <a:gd name="connsiteY944" fmla="*/ 4584207 h 6994526"/>
              <a:gd name="connsiteX945" fmla="*/ 1524353 w 5932286"/>
              <a:gd name="connsiteY945" fmla="*/ 4511422 h 6994526"/>
              <a:gd name="connsiteX946" fmla="*/ 1597529 w 5932286"/>
              <a:gd name="connsiteY946" fmla="*/ 4584207 h 6994526"/>
              <a:gd name="connsiteX947" fmla="*/ 1524353 w 5932286"/>
              <a:gd name="connsiteY947" fmla="*/ 4657347 h 6994526"/>
              <a:gd name="connsiteX948" fmla="*/ 4281357 w 5932286"/>
              <a:gd name="connsiteY948" fmla="*/ 4713592 h 6994526"/>
              <a:gd name="connsiteX949" fmla="*/ 4130162 w 5932286"/>
              <a:gd name="connsiteY949" fmla="*/ 4563106 h 6994526"/>
              <a:gd name="connsiteX950" fmla="*/ 4279940 w 5932286"/>
              <a:gd name="connsiteY950" fmla="*/ 4412621 h 6994526"/>
              <a:gd name="connsiteX951" fmla="*/ 4431134 w 5932286"/>
              <a:gd name="connsiteY951" fmla="*/ 4562401 h 6994526"/>
              <a:gd name="connsiteX952" fmla="*/ 4281357 w 5932286"/>
              <a:gd name="connsiteY952" fmla="*/ 4713592 h 6994526"/>
              <a:gd name="connsiteX953" fmla="*/ 1898609 w 5932286"/>
              <a:gd name="connsiteY953" fmla="*/ 4748603 h 6994526"/>
              <a:gd name="connsiteX954" fmla="*/ 1825795 w 5932286"/>
              <a:gd name="connsiteY954" fmla="*/ 4675769 h 6994526"/>
              <a:gd name="connsiteX955" fmla="*/ 1898609 w 5932286"/>
              <a:gd name="connsiteY955" fmla="*/ 4602937 h 6994526"/>
              <a:gd name="connsiteX956" fmla="*/ 1971423 w 5932286"/>
              <a:gd name="connsiteY956" fmla="*/ 4675769 h 6994526"/>
              <a:gd name="connsiteX957" fmla="*/ 1898609 w 5932286"/>
              <a:gd name="connsiteY957" fmla="*/ 4748603 h 6994526"/>
              <a:gd name="connsiteX958" fmla="*/ 4638170 w 5932286"/>
              <a:gd name="connsiteY958" fmla="*/ 4777091 h 6994526"/>
              <a:gd name="connsiteX959" fmla="*/ 4506766 w 5932286"/>
              <a:gd name="connsiteY959" fmla="*/ 4647098 h 6994526"/>
              <a:gd name="connsiteX960" fmla="*/ 4636761 w 5932286"/>
              <a:gd name="connsiteY960" fmla="*/ 4515689 h 6994526"/>
              <a:gd name="connsiteX961" fmla="*/ 4768165 w 5932286"/>
              <a:gd name="connsiteY961" fmla="*/ 4645688 h 6994526"/>
              <a:gd name="connsiteX962" fmla="*/ 4638170 w 5932286"/>
              <a:gd name="connsiteY962" fmla="*/ 4777091 h 6994526"/>
              <a:gd name="connsiteX963" fmla="*/ 3121323 w 5932286"/>
              <a:gd name="connsiteY963" fmla="*/ 4778306 h 6994526"/>
              <a:gd name="connsiteX964" fmla="*/ 2973667 w 5932286"/>
              <a:gd name="connsiteY964" fmla="*/ 4632064 h 6994526"/>
              <a:gd name="connsiteX965" fmla="*/ 3119908 w 5932286"/>
              <a:gd name="connsiteY965" fmla="*/ 4484404 h 6994526"/>
              <a:gd name="connsiteX966" fmla="*/ 3267565 w 5932286"/>
              <a:gd name="connsiteY966" fmla="*/ 4630646 h 6994526"/>
              <a:gd name="connsiteX967" fmla="*/ 3121323 w 5932286"/>
              <a:gd name="connsiteY967" fmla="*/ 4778306 h 6994526"/>
              <a:gd name="connsiteX968" fmla="*/ 4994396 w 5932286"/>
              <a:gd name="connsiteY968" fmla="*/ 4824678 h 6994526"/>
              <a:gd name="connsiteX969" fmla="*/ 4898311 w 5932286"/>
              <a:gd name="connsiteY969" fmla="*/ 4729297 h 6994526"/>
              <a:gd name="connsiteX970" fmla="*/ 4993694 w 5932286"/>
              <a:gd name="connsiteY970" fmla="*/ 4633212 h 6994526"/>
              <a:gd name="connsiteX971" fmla="*/ 5089779 w 5932286"/>
              <a:gd name="connsiteY971" fmla="*/ 4728596 h 6994526"/>
              <a:gd name="connsiteX972" fmla="*/ 4994396 w 5932286"/>
              <a:gd name="connsiteY972" fmla="*/ 4824678 h 6994526"/>
              <a:gd name="connsiteX973" fmla="*/ 2268509 w 5932286"/>
              <a:gd name="connsiteY973" fmla="*/ 4836828 h 6994526"/>
              <a:gd name="connsiteX974" fmla="*/ 2195689 w 5932286"/>
              <a:gd name="connsiteY974" fmla="*/ 4764020 h 6994526"/>
              <a:gd name="connsiteX975" fmla="*/ 2268509 w 5932286"/>
              <a:gd name="connsiteY975" fmla="*/ 4691195 h 6994526"/>
              <a:gd name="connsiteX976" fmla="*/ 2341317 w 5932286"/>
              <a:gd name="connsiteY976" fmla="*/ 4764020 h 6994526"/>
              <a:gd name="connsiteX977" fmla="*/ 2268509 w 5932286"/>
              <a:gd name="connsiteY977" fmla="*/ 4836828 h 6994526"/>
              <a:gd name="connsiteX978" fmla="*/ 5351112 w 5932286"/>
              <a:gd name="connsiteY978" fmla="*/ 4884809 h 6994526"/>
              <a:gd name="connsiteX979" fmla="*/ 5278298 w 5932286"/>
              <a:gd name="connsiteY979" fmla="*/ 4811995 h 6994526"/>
              <a:gd name="connsiteX980" fmla="*/ 5349853 w 5932286"/>
              <a:gd name="connsiteY980" fmla="*/ 4739179 h 6994526"/>
              <a:gd name="connsiteX981" fmla="*/ 5423925 w 5932286"/>
              <a:gd name="connsiteY981" fmla="*/ 4811995 h 6994526"/>
              <a:gd name="connsiteX982" fmla="*/ 5351112 w 5932286"/>
              <a:gd name="connsiteY982" fmla="*/ 4884809 h 6994526"/>
              <a:gd name="connsiteX983" fmla="*/ 1319439 w 5932286"/>
              <a:gd name="connsiteY983" fmla="*/ 4912984 h 6994526"/>
              <a:gd name="connsiteX984" fmla="*/ 1246262 w 5932286"/>
              <a:gd name="connsiteY984" fmla="*/ 4839838 h 6994526"/>
              <a:gd name="connsiteX985" fmla="*/ 1319439 w 5932286"/>
              <a:gd name="connsiteY985" fmla="*/ 4767055 h 6994526"/>
              <a:gd name="connsiteX986" fmla="*/ 1392251 w 5932286"/>
              <a:gd name="connsiteY986" fmla="*/ 4839838 h 6994526"/>
              <a:gd name="connsiteX987" fmla="*/ 1319439 w 5932286"/>
              <a:gd name="connsiteY987" fmla="*/ 4912984 h 6994526"/>
              <a:gd name="connsiteX988" fmla="*/ 2635603 w 5932286"/>
              <a:gd name="connsiteY988" fmla="*/ 4944521 h 6994526"/>
              <a:gd name="connsiteX989" fmla="*/ 2541642 w 5932286"/>
              <a:gd name="connsiteY989" fmla="*/ 4851268 h 6994526"/>
              <a:gd name="connsiteX990" fmla="*/ 2634901 w 5932286"/>
              <a:gd name="connsiteY990" fmla="*/ 4757313 h 6994526"/>
              <a:gd name="connsiteX991" fmla="*/ 2728860 w 5932286"/>
              <a:gd name="connsiteY991" fmla="*/ 4850558 h 6994526"/>
              <a:gd name="connsiteX992" fmla="*/ 2635603 w 5932286"/>
              <a:gd name="connsiteY992" fmla="*/ 4944521 h 6994526"/>
              <a:gd name="connsiteX993" fmla="*/ 5707448 w 5932286"/>
              <a:gd name="connsiteY993" fmla="*/ 4967166 h 6994526"/>
              <a:gd name="connsiteX994" fmla="*/ 5634633 w 5932286"/>
              <a:gd name="connsiteY994" fmla="*/ 4894348 h 6994526"/>
              <a:gd name="connsiteX995" fmla="*/ 5707448 w 5932286"/>
              <a:gd name="connsiteY995" fmla="*/ 4821530 h 6994526"/>
              <a:gd name="connsiteX996" fmla="*/ 5780261 w 5932286"/>
              <a:gd name="connsiteY996" fmla="*/ 4894348 h 6994526"/>
              <a:gd name="connsiteX997" fmla="*/ 5707448 w 5932286"/>
              <a:gd name="connsiteY997" fmla="*/ 4967166 h 6994526"/>
              <a:gd name="connsiteX998" fmla="*/ 1714008 w 5932286"/>
              <a:gd name="connsiteY998" fmla="*/ 5018904 h 6994526"/>
              <a:gd name="connsiteX999" fmla="*/ 1639021 w 5932286"/>
              <a:gd name="connsiteY999" fmla="*/ 4946134 h 6994526"/>
              <a:gd name="connsiteX1000" fmla="*/ 1711797 w 5932286"/>
              <a:gd name="connsiteY1000" fmla="*/ 4873364 h 6994526"/>
              <a:gd name="connsiteX1001" fmla="*/ 1786785 w 5932286"/>
              <a:gd name="connsiteY1001" fmla="*/ 4946134 h 6994526"/>
              <a:gd name="connsiteX1002" fmla="*/ 1714008 w 5932286"/>
              <a:gd name="connsiteY1002" fmla="*/ 5018904 h 6994526"/>
              <a:gd name="connsiteX1003" fmla="*/ 4195062 w 5932286"/>
              <a:gd name="connsiteY1003" fmla="*/ 5039784 h 6994526"/>
              <a:gd name="connsiteX1004" fmla="*/ 4035395 w 5932286"/>
              <a:gd name="connsiteY1004" fmla="*/ 4880820 h 6994526"/>
              <a:gd name="connsiteX1005" fmla="*/ 4194354 w 5932286"/>
              <a:gd name="connsiteY1005" fmla="*/ 4721149 h 6994526"/>
              <a:gd name="connsiteX1006" fmla="*/ 4354023 w 5932286"/>
              <a:gd name="connsiteY1006" fmla="*/ 4880113 h 6994526"/>
              <a:gd name="connsiteX1007" fmla="*/ 4195062 w 5932286"/>
              <a:gd name="connsiteY1007" fmla="*/ 5039784 h 6994526"/>
              <a:gd name="connsiteX1008" fmla="*/ 2999685 w 5932286"/>
              <a:gd name="connsiteY1008" fmla="*/ 5100391 h 6994526"/>
              <a:gd name="connsiteX1009" fmla="*/ 2835077 w 5932286"/>
              <a:gd name="connsiteY1009" fmla="*/ 4936484 h 6994526"/>
              <a:gd name="connsiteX1010" fmla="*/ 2998976 w 5932286"/>
              <a:gd name="connsiteY1010" fmla="*/ 4771870 h 6994526"/>
              <a:gd name="connsiteX1011" fmla="*/ 3163590 w 5932286"/>
              <a:gd name="connsiteY1011" fmla="*/ 4935771 h 6994526"/>
              <a:gd name="connsiteX1012" fmla="*/ 2999685 w 5932286"/>
              <a:gd name="connsiteY1012" fmla="*/ 5100391 h 6994526"/>
              <a:gd name="connsiteX1013" fmla="*/ 4552965 w 5932286"/>
              <a:gd name="connsiteY1013" fmla="*/ 5104582 h 6994526"/>
              <a:gd name="connsiteX1014" fmla="*/ 4411667 w 5932286"/>
              <a:gd name="connsiteY1014" fmla="*/ 4964697 h 6994526"/>
              <a:gd name="connsiteX1015" fmla="*/ 4551556 w 5932286"/>
              <a:gd name="connsiteY1015" fmla="*/ 4823400 h 6994526"/>
              <a:gd name="connsiteX1016" fmla="*/ 4692854 w 5932286"/>
              <a:gd name="connsiteY1016" fmla="*/ 4963284 h 6994526"/>
              <a:gd name="connsiteX1017" fmla="*/ 4552965 w 5932286"/>
              <a:gd name="connsiteY1017" fmla="*/ 5104582 h 6994526"/>
              <a:gd name="connsiteX1018" fmla="*/ 2097708 w 5932286"/>
              <a:gd name="connsiteY1018" fmla="*/ 5116687 h 6994526"/>
              <a:gd name="connsiteX1019" fmla="*/ 2024186 w 5932286"/>
              <a:gd name="connsiteY1019" fmla="*/ 5043869 h 6994526"/>
              <a:gd name="connsiteX1020" fmla="*/ 2097708 w 5932286"/>
              <a:gd name="connsiteY1020" fmla="*/ 4971061 h 6994526"/>
              <a:gd name="connsiteX1021" fmla="*/ 2170523 w 5932286"/>
              <a:gd name="connsiteY1021" fmla="*/ 5043869 h 6994526"/>
              <a:gd name="connsiteX1022" fmla="*/ 2097708 w 5932286"/>
              <a:gd name="connsiteY1022" fmla="*/ 5116687 h 6994526"/>
              <a:gd name="connsiteX1023" fmla="*/ 1071193 w 5932286"/>
              <a:gd name="connsiteY1023" fmla="*/ 5128439 h 6994526"/>
              <a:gd name="connsiteX1024" fmla="*/ 998378 w 5932286"/>
              <a:gd name="connsiteY1024" fmla="*/ 5055655 h 6994526"/>
              <a:gd name="connsiteX1025" fmla="*/ 1071193 w 5932286"/>
              <a:gd name="connsiteY1025" fmla="*/ 4982505 h 6994526"/>
              <a:gd name="connsiteX1026" fmla="*/ 1144367 w 5932286"/>
              <a:gd name="connsiteY1026" fmla="*/ 5055655 h 6994526"/>
              <a:gd name="connsiteX1027" fmla="*/ 1071193 w 5932286"/>
              <a:gd name="connsiteY1027" fmla="*/ 5128439 h 6994526"/>
              <a:gd name="connsiteX1028" fmla="*/ 4910268 w 5932286"/>
              <a:gd name="connsiteY1028" fmla="*/ 5156309 h 6994526"/>
              <a:gd name="connsiteX1029" fmla="*/ 4800052 w 5932286"/>
              <a:gd name="connsiteY1029" fmla="*/ 5047508 h 6994526"/>
              <a:gd name="connsiteX1030" fmla="*/ 4908851 w 5932286"/>
              <a:gd name="connsiteY1030" fmla="*/ 4937292 h 6994526"/>
              <a:gd name="connsiteX1031" fmla="*/ 5019065 w 5932286"/>
              <a:gd name="connsiteY1031" fmla="*/ 5046094 h 6994526"/>
              <a:gd name="connsiteX1032" fmla="*/ 4910268 w 5932286"/>
              <a:gd name="connsiteY1032" fmla="*/ 5156309 h 6994526"/>
              <a:gd name="connsiteX1033" fmla="*/ 5267464 w 5932286"/>
              <a:gd name="connsiteY1033" fmla="*/ 5204369 h 6994526"/>
              <a:gd name="connsiteX1034" fmla="*/ 5192570 w 5932286"/>
              <a:gd name="connsiteY1034" fmla="*/ 5130194 h 6994526"/>
              <a:gd name="connsiteX1035" fmla="*/ 5266755 w 5932286"/>
              <a:gd name="connsiteY1035" fmla="*/ 5055300 h 6994526"/>
              <a:gd name="connsiteX1036" fmla="*/ 5341640 w 5932286"/>
              <a:gd name="connsiteY1036" fmla="*/ 5129483 h 6994526"/>
              <a:gd name="connsiteX1037" fmla="*/ 5267464 w 5932286"/>
              <a:gd name="connsiteY1037" fmla="*/ 5204369 h 6994526"/>
              <a:gd name="connsiteX1038" fmla="*/ 2475354 w 5932286"/>
              <a:gd name="connsiteY1038" fmla="*/ 5255855 h 6994526"/>
              <a:gd name="connsiteX1039" fmla="*/ 2356661 w 5932286"/>
              <a:gd name="connsiteY1039" fmla="*/ 5137898 h 6994526"/>
              <a:gd name="connsiteX1040" fmla="*/ 2474646 w 5932286"/>
              <a:gd name="connsiteY1040" fmla="*/ 5019202 h 6994526"/>
              <a:gd name="connsiteX1041" fmla="*/ 2593340 w 5932286"/>
              <a:gd name="connsiteY1041" fmla="*/ 5137190 h 6994526"/>
              <a:gd name="connsiteX1042" fmla="*/ 2475354 w 5932286"/>
              <a:gd name="connsiteY1042" fmla="*/ 5255855 h 6994526"/>
              <a:gd name="connsiteX1043" fmla="*/ 1488569 w 5932286"/>
              <a:gd name="connsiteY1043" fmla="*/ 5259059 h 6994526"/>
              <a:gd name="connsiteX1044" fmla="*/ 1415715 w 5932286"/>
              <a:gd name="connsiteY1044" fmla="*/ 5186234 h 6994526"/>
              <a:gd name="connsiteX1045" fmla="*/ 1488569 w 5932286"/>
              <a:gd name="connsiteY1045" fmla="*/ 5113388 h 6994526"/>
              <a:gd name="connsiteX1046" fmla="*/ 1561423 w 5932286"/>
              <a:gd name="connsiteY1046" fmla="*/ 5186234 h 6994526"/>
              <a:gd name="connsiteX1047" fmla="*/ 1488569 w 5932286"/>
              <a:gd name="connsiteY1047" fmla="*/ 5259059 h 6994526"/>
              <a:gd name="connsiteX1048" fmla="*/ 5624659 w 5932286"/>
              <a:gd name="connsiteY1048" fmla="*/ 5285236 h 6994526"/>
              <a:gd name="connsiteX1049" fmla="*/ 5551844 w 5932286"/>
              <a:gd name="connsiteY1049" fmla="*/ 5212405 h 6994526"/>
              <a:gd name="connsiteX1050" fmla="*/ 5624659 w 5932286"/>
              <a:gd name="connsiteY1050" fmla="*/ 5139591 h 6994526"/>
              <a:gd name="connsiteX1051" fmla="*/ 5697489 w 5932286"/>
              <a:gd name="connsiteY1051" fmla="*/ 5212405 h 6994526"/>
              <a:gd name="connsiteX1052" fmla="*/ 5624659 w 5932286"/>
              <a:gd name="connsiteY1052" fmla="*/ 5285236 h 6994526"/>
              <a:gd name="connsiteX1053" fmla="*/ 4085752 w 5932286"/>
              <a:gd name="connsiteY1053" fmla="*/ 5348825 h 6994526"/>
              <a:gd name="connsiteX1054" fmla="*/ 3926789 w 5932286"/>
              <a:gd name="connsiteY1054" fmla="*/ 5191273 h 6994526"/>
              <a:gd name="connsiteX1055" fmla="*/ 4084343 w 5932286"/>
              <a:gd name="connsiteY1055" fmla="*/ 5032310 h 6994526"/>
              <a:gd name="connsiteX1056" fmla="*/ 4243305 w 5932286"/>
              <a:gd name="connsiteY1056" fmla="*/ 5189860 h 6994526"/>
              <a:gd name="connsiteX1057" fmla="*/ 4085752 w 5932286"/>
              <a:gd name="connsiteY1057" fmla="*/ 5348825 h 6994526"/>
              <a:gd name="connsiteX1058" fmla="*/ 1891993 w 5932286"/>
              <a:gd name="connsiteY1058" fmla="*/ 5373014 h 6994526"/>
              <a:gd name="connsiteX1059" fmla="*/ 1818784 w 5932286"/>
              <a:gd name="connsiteY1059" fmla="*/ 5300601 h 6994526"/>
              <a:gd name="connsiteX1060" fmla="*/ 1891195 w 5932286"/>
              <a:gd name="connsiteY1060" fmla="*/ 5227422 h 6994526"/>
              <a:gd name="connsiteX1061" fmla="*/ 1964403 w 5932286"/>
              <a:gd name="connsiteY1061" fmla="*/ 5299805 h 6994526"/>
              <a:gd name="connsiteX1062" fmla="*/ 1891993 w 5932286"/>
              <a:gd name="connsiteY1062" fmla="*/ 5373014 h 6994526"/>
              <a:gd name="connsiteX1063" fmla="*/ 2849224 w 5932286"/>
              <a:gd name="connsiteY1063" fmla="*/ 5392317 h 6994526"/>
              <a:gd name="connsiteX1064" fmla="*/ 2683906 w 5932286"/>
              <a:gd name="connsiteY1064" fmla="*/ 5228412 h 6994526"/>
              <a:gd name="connsiteX1065" fmla="*/ 2848515 w 5932286"/>
              <a:gd name="connsiteY1065" fmla="*/ 5063820 h 6994526"/>
              <a:gd name="connsiteX1066" fmla="*/ 3013126 w 5932286"/>
              <a:gd name="connsiteY1066" fmla="*/ 5227721 h 6994526"/>
              <a:gd name="connsiteX1067" fmla="*/ 2849224 w 5932286"/>
              <a:gd name="connsiteY1067" fmla="*/ 5392317 h 6994526"/>
              <a:gd name="connsiteX1068" fmla="*/ 4445965 w 5932286"/>
              <a:gd name="connsiteY1068" fmla="*/ 5414448 h 6994526"/>
              <a:gd name="connsiteX1069" fmla="*/ 4304664 w 5932286"/>
              <a:gd name="connsiteY1069" fmla="*/ 5273854 h 6994526"/>
              <a:gd name="connsiteX1070" fmla="*/ 4444556 w 5932286"/>
              <a:gd name="connsiteY1070" fmla="*/ 5133265 h 6994526"/>
              <a:gd name="connsiteX1071" fmla="*/ 4585856 w 5932286"/>
              <a:gd name="connsiteY1071" fmla="*/ 5273147 h 6994526"/>
              <a:gd name="connsiteX1072" fmla="*/ 4445965 w 5932286"/>
              <a:gd name="connsiteY1072" fmla="*/ 5414448 h 6994526"/>
              <a:gd name="connsiteX1073" fmla="*/ 4804984 w 5932286"/>
              <a:gd name="connsiteY1073" fmla="*/ 5431581 h 6994526"/>
              <a:gd name="connsiteX1074" fmla="*/ 4731509 w 5932286"/>
              <a:gd name="connsiteY1074" fmla="*/ 5358103 h 6994526"/>
              <a:gd name="connsiteX1075" fmla="*/ 4804984 w 5932286"/>
              <a:gd name="connsiteY1075" fmla="*/ 5284629 h 6994526"/>
              <a:gd name="connsiteX1076" fmla="*/ 4878459 w 5932286"/>
              <a:gd name="connsiteY1076" fmla="*/ 5358103 h 6994526"/>
              <a:gd name="connsiteX1077" fmla="*/ 4804984 w 5932286"/>
              <a:gd name="connsiteY1077" fmla="*/ 5431581 h 6994526"/>
              <a:gd name="connsiteX1078" fmla="*/ 1230962 w 5932286"/>
              <a:gd name="connsiteY1078" fmla="*/ 5462807 h 6994526"/>
              <a:gd name="connsiteX1079" fmla="*/ 1158147 w 5932286"/>
              <a:gd name="connsiteY1079" fmla="*/ 5389997 h 6994526"/>
              <a:gd name="connsiteX1080" fmla="*/ 1230962 w 5932286"/>
              <a:gd name="connsiteY1080" fmla="*/ 5317184 h 6994526"/>
              <a:gd name="connsiteX1081" fmla="*/ 1303775 w 5932286"/>
              <a:gd name="connsiteY1081" fmla="*/ 5389997 h 6994526"/>
              <a:gd name="connsiteX1082" fmla="*/ 1230962 w 5932286"/>
              <a:gd name="connsiteY1082" fmla="*/ 5462807 h 6994526"/>
              <a:gd name="connsiteX1083" fmla="*/ 5164226 w 5932286"/>
              <a:gd name="connsiteY1083" fmla="*/ 5514692 h 6994526"/>
              <a:gd name="connsiteX1084" fmla="*/ 5091412 w 5932286"/>
              <a:gd name="connsiteY1084" fmla="*/ 5441879 h 6994526"/>
              <a:gd name="connsiteX1085" fmla="*/ 5164226 w 5932286"/>
              <a:gd name="connsiteY1085" fmla="*/ 5369064 h 6994526"/>
              <a:gd name="connsiteX1086" fmla="*/ 5237039 w 5932286"/>
              <a:gd name="connsiteY1086" fmla="*/ 5441879 h 6994526"/>
              <a:gd name="connsiteX1087" fmla="*/ 5164226 w 5932286"/>
              <a:gd name="connsiteY1087" fmla="*/ 5514692 h 6994526"/>
              <a:gd name="connsiteX1088" fmla="*/ 2284587 w 5932286"/>
              <a:gd name="connsiteY1088" fmla="*/ 5518153 h 6994526"/>
              <a:gd name="connsiteX1089" fmla="*/ 2170845 w 5932286"/>
              <a:gd name="connsiteY1089" fmla="*/ 5405112 h 6994526"/>
              <a:gd name="connsiteX1090" fmla="*/ 2283887 w 5932286"/>
              <a:gd name="connsiteY1090" fmla="*/ 5291369 h 6994526"/>
              <a:gd name="connsiteX1091" fmla="*/ 2397629 w 5932286"/>
              <a:gd name="connsiteY1091" fmla="*/ 5404412 h 6994526"/>
              <a:gd name="connsiteX1092" fmla="*/ 2284587 w 5932286"/>
              <a:gd name="connsiteY1092" fmla="*/ 5518153 h 6994526"/>
              <a:gd name="connsiteX1093" fmla="*/ 5523466 w 5932286"/>
              <a:gd name="connsiteY1093" fmla="*/ 5598020 h 6994526"/>
              <a:gd name="connsiteX1094" fmla="*/ 5450652 w 5932286"/>
              <a:gd name="connsiteY1094" fmla="*/ 5525174 h 6994526"/>
              <a:gd name="connsiteX1095" fmla="*/ 5523466 w 5932286"/>
              <a:gd name="connsiteY1095" fmla="*/ 5452361 h 6994526"/>
              <a:gd name="connsiteX1096" fmla="*/ 5596310 w 5932286"/>
              <a:gd name="connsiteY1096" fmla="*/ 5525174 h 6994526"/>
              <a:gd name="connsiteX1097" fmla="*/ 5523466 w 5932286"/>
              <a:gd name="connsiteY1097" fmla="*/ 5598020 h 6994526"/>
              <a:gd name="connsiteX1098" fmla="*/ 1655079 w 5932286"/>
              <a:gd name="connsiteY1098" fmla="*/ 5600972 h 6994526"/>
              <a:gd name="connsiteX1099" fmla="*/ 1581395 w 5932286"/>
              <a:gd name="connsiteY1099" fmla="*/ 5529077 h 6994526"/>
              <a:gd name="connsiteX1100" fmla="*/ 1655079 w 5932286"/>
              <a:gd name="connsiteY1100" fmla="*/ 5455400 h 6994526"/>
              <a:gd name="connsiteX1101" fmla="*/ 1728763 w 5932286"/>
              <a:gd name="connsiteY1101" fmla="*/ 5527274 h 6994526"/>
              <a:gd name="connsiteX1102" fmla="*/ 1655079 w 5932286"/>
              <a:gd name="connsiteY1102" fmla="*/ 5600972 h 6994526"/>
              <a:gd name="connsiteX1103" fmla="*/ 956466 w 5932286"/>
              <a:gd name="connsiteY1103" fmla="*/ 5629118 h 6994526"/>
              <a:gd name="connsiteX1104" fmla="*/ 873219 w 5932286"/>
              <a:gd name="connsiteY1104" fmla="*/ 5566687 h 6994526"/>
              <a:gd name="connsiteX1105" fmla="*/ 935603 w 5932286"/>
              <a:gd name="connsiteY1105" fmla="*/ 5483376 h 6994526"/>
              <a:gd name="connsiteX1106" fmla="*/ 1018851 w 5932286"/>
              <a:gd name="connsiteY1106" fmla="*/ 5545807 h 6994526"/>
              <a:gd name="connsiteX1107" fmla="*/ 956466 w 5932286"/>
              <a:gd name="connsiteY1107" fmla="*/ 5629118 h 6994526"/>
              <a:gd name="connsiteX1108" fmla="*/ 3952984 w 5932286"/>
              <a:gd name="connsiteY1108" fmla="*/ 5631810 h 6994526"/>
              <a:gd name="connsiteX1109" fmla="*/ 3811686 w 5932286"/>
              <a:gd name="connsiteY1109" fmla="*/ 5491928 h 6994526"/>
              <a:gd name="connsiteX1110" fmla="*/ 3952276 w 5932286"/>
              <a:gd name="connsiteY1110" fmla="*/ 5350632 h 6994526"/>
              <a:gd name="connsiteX1111" fmla="*/ 4093573 w 5932286"/>
              <a:gd name="connsiteY1111" fmla="*/ 5490511 h 6994526"/>
              <a:gd name="connsiteX1112" fmla="*/ 3952984 w 5932286"/>
              <a:gd name="connsiteY1112" fmla="*/ 5631810 h 6994526"/>
              <a:gd name="connsiteX1113" fmla="*/ 2669604 w 5932286"/>
              <a:gd name="connsiteY1113" fmla="*/ 5654267 h 6994526"/>
              <a:gd name="connsiteX1114" fmla="*/ 2518412 w 5932286"/>
              <a:gd name="connsiteY1114" fmla="*/ 5504481 h 6994526"/>
              <a:gd name="connsiteX1115" fmla="*/ 2668189 w 5932286"/>
              <a:gd name="connsiteY1115" fmla="*/ 5353300 h 6994526"/>
              <a:gd name="connsiteX1116" fmla="*/ 2819381 w 5932286"/>
              <a:gd name="connsiteY1116" fmla="*/ 5503075 h 6994526"/>
              <a:gd name="connsiteX1117" fmla="*/ 2669604 w 5932286"/>
              <a:gd name="connsiteY1117" fmla="*/ 5654267 h 6994526"/>
              <a:gd name="connsiteX1118" fmla="*/ 4317552 w 5932286"/>
              <a:gd name="connsiteY1118" fmla="*/ 5689147 h 6994526"/>
              <a:gd name="connsiteX1119" fmla="*/ 4205221 w 5932286"/>
              <a:gd name="connsiteY1119" fmla="*/ 5577524 h 6994526"/>
              <a:gd name="connsiteX1120" fmla="*/ 4316844 w 5932286"/>
              <a:gd name="connsiteY1120" fmla="*/ 5465192 h 6994526"/>
              <a:gd name="connsiteX1121" fmla="*/ 4429175 w 5932286"/>
              <a:gd name="connsiteY1121" fmla="*/ 5576815 h 6994526"/>
              <a:gd name="connsiteX1122" fmla="*/ 4317552 w 5932286"/>
              <a:gd name="connsiteY1122" fmla="*/ 5689147 h 6994526"/>
              <a:gd name="connsiteX1123" fmla="*/ 4680554 w 5932286"/>
              <a:gd name="connsiteY1123" fmla="*/ 5735625 h 6994526"/>
              <a:gd name="connsiteX1124" fmla="*/ 4607079 w 5932286"/>
              <a:gd name="connsiteY1124" fmla="*/ 5662149 h 6994526"/>
              <a:gd name="connsiteX1125" fmla="*/ 4680554 w 5932286"/>
              <a:gd name="connsiteY1125" fmla="*/ 5588674 h 6994526"/>
              <a:gd name="connsiteX1126" fmla="*/ 4754030 w 5932286"/>
              <a:gd name="connsiteY1126" fmla="*/ 5662149 h 6994526"/>
              <a:gd name="connsiteX1127" fmla="*/ 4680554 w 5932286"/>
              <a:gd name="connsiteY1127" fmla="*/ 5735625 h 6994526"/>
              <a:gd name="connsiteX1128" fmla="*/ 639823 w 5932286"/>
              <a:gd name="connsiteY1128" fmla="*/ 5744752 h 6994526"/>
              <a:gd name="connsiteX1129" fmla="*/ 566990 w 5932286"/>
              <a:gd name="connsiteY1129" fmla="*/ 5671926 h 6994526"/>
              <a:gd name="connsiteX1130" fmla="*/ 639823 w 5932286"/>
              <a:gd name="connsiteY1130" fmla="*/ 5599097 h 6994526"/>
              <a:gd name="connsiteX1131" fmla="*/ 712657 w 5932286"/>
              <a:gd name="connsiteY1131" fmla="*/ 5671926 h 6994526"/>
              <a:gd name="connsiteX1132" fmla="*/ 639823 w 5932286"/>
              <a:gd name="connsiteY1132" fmla="*/ 5744752 h 6994526"/>
              <a:gd name="connsiteX1133" fmla="*/ 2064785 w 5932286"/>
              <a:gd name="connsiteY1133" fmla="*/ 5762654 h 6994526"/>
              <a:gd name="connsiteX1134" fmla="*/ 1951043 w 5932286"/>
              <a:gd name="connsiteY1134" fmla="*/ 5649612 h 6994526"/>
              <a:gd name="connsiteX1135" fmla="*/ 2064084 w 5932286"/>
              <a:gd name="connsiteY1135" fmla="*/ 5535866 h 6994526"/>
              <a:gd name="connsiteX1136" fmla="*/ 2177827 w 5932286"/>
              <a:gd name="connsiteY1136" fmla="*/ 5648908 h 6994526"/>
              <a:gd name="connsiteX1137" fmla="*/ 2064785 w 5932286"/>
              <a:gd name="connsiteY1137" fmla="*/ 5762654 h 6994526"/>
              <a:gd name="connsiteX1138" fmla="*/ 1391324 w 5932286"/>
              <a:gd name="connsiteY1138" fmla="*/ 5796155 h 6994526"/>
              <a:gd name="connsiteX1139" fmla="*/ 1318155 w 5932286"/>
              <a:gd name="connsiteY1139" fmla="*/ 5723691 h 6994526"/>
              <a:gd name="connsiteX1140" fmla="*/ 1391324 w 5932286"/>
              <a:gd name="connsiteY1140" fmla="*/ 5650520 h 6994526"/>
              <a:gd name="connsiteX1141" fmla="*/ 1463789 w 5932286"/>
              <a:gd name="connsiteY1141" fmla="*/ 5722988 h 6994526"/>
              <a:gd name="connsiteX1142" fmla="*/ 1391324 w 5932286"/>
              <a:gd name="connsiteY1142" fmla="*/ 5796155 h 6994526"/>
              <a:gd name="connsiteX1143" fmla="*/ 319820 w 5932286"/>
              <a:gd name="connsiteY1143" fmla="*/ 5816809 h 6994526"/>
              <a:gd name="connsiteX1144" fmla="*/ 246967 w 5932286"/>
              <a:gd name="connsiteY1144" fmla="*/ 5743955 h 6994526"/>
              <a:gd name="connsiteX1145" fmla="*/ 319820 w 5932286"/>
              <a:gd name="connsiteY1145" fmla="*/ 5671100 h 6994526"/>
              <a:gd name="connsiteX1146" fmla="*/ 392675 w 5932286"/>
              <a:gd name="connsiteY1146" fmla="*/ 5743955 h 6994526"/>
              <a:gd name="connsiteX1147" fmla="*/ 319820 w 5932286"/>
              <a:gd name="connsiteY1147" fmla="*/ 5816809 h 6994526"/>
              <a:gd name="connsiteX1148" fmla="*/ 5043199 w 5932286"/>
              <a:gd name="connsiteY1148" fmla="*/ 5820223 h 6994526"/>
              <a:gd name="connsiteX1149" fmla="*/ 4970373 w 5932286"/>
              <a:gd name="connsiteY1149" fmla="*/ 5747396 h 6994526"/>
              <a:gd name="connsiteX1150" fmla="*/ 5043199 w 5932286"/>
              <a:gd name="connsiteY1150" fmla="*/ 5674570 h 6994526"/>
              <a:gd name="connsiteX1151" fmla="*/ 5116025 w 5932286"/>
              <a:gd name="connsiteY1151" fmla="*/ 5747396 h 6994526"/>
              <a:gd name="connsiteX1152" fmla="*/ 5043199 w 5932286"/>
              <a:gd name="connsiteY1152" fmla="*/ 5820223 h 6994526"/>
              <a:gd name="connsiteX1153" fmla="*/ 0 w 5932286"/>
              <a:gd name="connsiteY1153" fmla="*/ 5838543 h 6994526"/>
              <a:gd name="connsiteX1154" fmla="*/ 0 w 5932286"/>
              <a:gd name="connsiteY1154" fmla="*/ 5695865 h 6994526"/>
              <a:gd name="connsiteX1155" fmla="*/ 20966 w 5932286"/>
              <a:gd name="connsiteY1155" fmla="*/ 5699865 h 6994526"/>
              <a:gd name="connsiteX1156" fmla="*/ 64931 w 5932286"/>
              <a:gd name="connsiteY1156" fmla="*/ 5767151 h 6994526"/>
              <a:gd name="connsiteX1157" fmla="*/ 20966 w 5932286"/>
              <a:gd name="connsiteY1157" fmla="*/ 5834531 h 6994526"/>
              <a:gd name="connsiteX1158" fmla="*/ 5405330 w 5932286"/>
              <a:gd name="connsiteY1158" fmla="*/ 5904968 h 6994526"/>
              <a:gd name="connsiteX1159" fmla="*/ 5325780 w 5932286"/>
              <a:gd name="connsiteY1159" fmla="*/ 5832583 h 6994526"/>
              <a:gd name="connsiteX1160" fmla="*/ 5405330 w 5932286"/>
              <a:gd name="connsiteY1160" fmla="*/ 5760274 h 6994526"/>
              <a:gd name="connsiteX1161" fmla="*/ 5484951 w 5932286"/>
              <a:gd name="connsiteY1161" fmla="*/ 5832583 h 6994526"/>
              <a:gd name="connsiteX1162" fmla="*/ 5405330 w 5932286"/>
              <a:gd name="connsiteY1162" fmla="*/ 5904968 h 6994526"/>
              <a:gd name="connsiteX1163" fmla="*/ 2463837 w 5932286"/>
              <a:gd name="connsiteY1163" fmla="*/ 5931581 h 6994526"/>
              <a:gd name="connsiteX1164" fmla="*/ 2291449 w 5932286"/>
              <a:gd name="connsiteY1164" fmla="*/ 5760610 h 6994526"/>
              <a:gd name="connsiteX1165" fmla="*/ 2462420 w 5932286"/>
              <a:gd name="connsiteY1165" fmla="*/ 5588229 h 6994526"/>
              <a:gd name="connsiteX1166" fmla="*/ 2634807 w 5932286"/>
              <a:gd name="connsiteY1166" fmla="*/ 5759200 h 6994526"/>
              <a:gd name="connsiteX1167" fmla="*/ 2463837 w 5932286"/>
              <a:gd name="connsiteY1167" fmla="*/ 5931581 h 6994526"/>
              <a:gd name="connsiteX1168" fmla="*/ 3798060 w 5932286"/>
              <a:gd name="connsiteY1168" fmla="*/ 5940306 h 6994526"/>
              <a:gd name="connsiteX1169" fmla="*/ 3638391 w 5932286"/>
              <a:gd name="connsiteY1169" fmla="*/ 5781343 h 6994526"/>
              <a:gd name="connsiteX1170" fmla="*/ 3797352 w 5932286"/>
              <a:gd name="connsiteY1170" fmla="*/ 5621676 h 6994526"/>
              <a:gd name="connsiteX1171" fmla="*/ 3957021 w 5932286"/>
              <a:gd name="connsiteY1171" fmla="*/ 5780635 h 6994526"/>
              <a:gd name="connsiteX1172" fmla="*/ 3798060 w 5932286"/>
              <a:gd name="connsiteY1172" fmla="*/ 5940306 h 6994526"/>
              <a:gd name="connsiteX1173" fmla="*/ 1104633 w 5932286"/>
              <a:gd name="connsiteY1173" fmla="*/ 5956428 h 6994526"/>
              <a:gd name="connsiteX1174" fmla="*/ 1031057 w 5932286"/>
              <a:gd name="connsiteY1174" fmla="*/ 5884367 h 6994526"/>
              <a:gd name="connsiteX1175" fmla="*/ 1103112 w 5932286"/>
              <a:gd name="connsiteY1175" fmla="*/ 5810770 h 6994526"/>
              <a:gd name="connsiteX1176" fmla="*/ 1176689 w 5932286"/>
              <a:gd name="connsiteY1176" fmla="*/ 5882834 h 6994526"/>
              <a:gd name="connsiteX1177" fmla="*/ 1104633 w 5932286"/>
              <a:gd name="connsiteY1177" fmla="*/ 5956428 h 6994526"/>
              <a:gd name="connsiteX1178" fmla="*/ 1818839 w 5932286"/>
              <a:gd name="connsiteY1178" fmla="*/ 5974160 h 6994526"/>
              <a:gd name="connsiteX1179" fmla="*/ 1711447 w 5932286"/>
              <a:gd name="connsiteY1179" fmla="*/ 5867486 h 6994526"/>
              <a:gd name="connsiteX1180" fmla="*/ 1818129 w 5932286"/>
              <a:gd name="connsiteY1180" fmla="*/ 5760094 h 6994526"/>
              <a:gd name="connsiteX1181" fmla="*/ 1925514 w 5932286"/>
              <a:gd name="connsiteY1181" fmla="*/ 5866776 h 6994526"/>
              <a:gd name="connsiteX1182" fmla="*/ 1818839 w 5932286"/>
              <a:gd name="connsiteY1182" fmla="*/ 5974160 h 6994526"/>
              <a:gd name="connsiteX1183" fmla="*/ 4168433 w 5932286"/>
              <a:gd name="connsiteY1183" fmla="*/ 5991951 h 6994526"/>
              <a:gd name="connsiteX1184" fmla="*/ 4046213 w 5932286"/>
              <a:gd name="connsiteY1184" fmla="*/ 5870441 h 6994526"/>
              <a:gd name="connsiteX1185" fmla="*/ 4167731 w 5932286"/>
              <a:gd name="connsiteY1185" fmla="*/ 5748215 h 6994526"/>
              <a:gd name="connsiteX1186" fmla="*/ 4289950 w 5932286"/>
              <a:gd name="connsiteY1186" fmla="*/ 5869732 h 6994526"/>
              <a:gd name="connsiteX1187" fmla="*/ 4168433 w 5932286"/>
              <a:gd name="connsiteY1187" fmla="*/ 5991951 h 6994526"/>
              <a:gd name="connsiteX1188" fmla="*/ 4537360 w 5932286"/>
              <a:gd name="connsiteY1188" fmla="*/ 6050417 h 6994526"/>
              <a:gd name="connsiteX1189" fmla="*/ 4444805 w 5932286"/>
              <a:gd name="connsiteY1189" fmla="*/ 5958578 h 6994526"/>
              <a:gd name="connsiteX1190" fmla="*/ 4536652 w 5932286"/>
              <a:gd name="connsiteY1190" fmla="*/ 5866023 h 6994526"/>
              <a:gd name="connsiteX1191" fmla="*/ 4629199 w 5932286"/>
              <a:gd name="connsiteY1191" fmla="*/ 5957869 h 6994526"/>
              <a:gd name="connsiteX1192" fmla="*/ 4537360 w 5932286"/>
              <a:gd name="connsiteY1192" fmla="*/ 6050417 h 6994526"/>
              <a:gd name="connsiteX1193" fmla="*/ 799114 w 5932286"/>
              <a:gd name="connsiteY1193" fmla="*/ 6078686 h 6994526"/>
              <a:gd name="connsiteX1194" fmla="*/ 726283 w 5932286"/>
              <a:gd name="connsiteY1194" fmla="*/ 6005858 h 6994526"/>
              <a:gd name="connsiteX1195" fmla="*/ 799114 w 5932286"/>
              <a:gd name="connsiteY1195" fmla="*/ 5933024 h 6994526"/>
              <a:gd name="connsiteX1196" fmla="*/ 871944 w 5932286"/>
              <a:gd name="connsiteY1196" fmla="*/ 6005858 h 6994526"/>
              <a:gd name="connsiteX1197" fmla="*/ 799114 w 5932286"/>
              <a:gd name="connsiteY1197" fmla="*/ 6078686 h 6994526"/>
              <a:gd name="connsiteX1198" fmla="*/ 4904240 w 5932286"/>
              <a:gd name="connsiteY1198" fmla="*/ 6117968 h 6994526"/>
              <a:gd name="connsiteX1199" fmla="*/ 4831419 w 5932286"/>
              <a:gd name="connsiteY1199" fmla="*/ 6045147 h 6994526"/>
              <a:gd name="connsiteX1200" fmla="*/ 4904240 w 5932286"/>
              <a:gd name="connsiteY1200" fmla="*/ 5972326 h 6994526"/>
              <a:gd name="connsiteX1201" fmla="*/ 4977060 w 5932286"/>
              <a:gd name="connsiteY1201" fmla="*/ 6045147 h 6994526"/>
              <a:gd name="connsiteX1202" fmla="*/ 4904240 w 5932286"/>
              <a:gd name="connsiteY1202" fmla="*/ 6117968 h 6994526"/>
              <a:gd name="connsiteX1203" fmla="*/ 2233269 w 5932286"/>
              <a:gd name="connsiteY1203" fmla="*/ 6138470 h 6994526"/>
              <a:gd name="connsiteX1204" fmla="*/ 2088437 w 5932286"/>
              <a:gd name="connsiteY1204" fmla="*/ 5994346 h 6994526"/>
              <a:gd name="connsiteX1205" fmla="*/ 2232561 w 5932286"/>
              <a:gd name="connsiteY1205" fmla="*/ 5849514 h 6994526"/>
              <a:gd name="connsiteX1206" fmla="*/ 2377393 w 5932286"/>
              <a:gd name="connsiteY1206" fmla="*/ 5993638 h 6994526"/>
              <a:gd name="connsiteX1207" fmla="*/ 2233269 w 5932286"/>
              <a:gd name="connsiteY1207" fmla="*/ 6138470 h 6994526"/>
              <a:gd name="connsiteX1208" fmla="*/ 481007 w 5932286"/>
              <a:gd name="connsiteY1208" fmla="*/ 6160973 h 6994526"/>
              <a:gd name="connsiteX1209" fmla="*/ 408192 w 5932286"/>
              <a:gd name="connsiteY1209" fmla="*/ 6089207 h 6994526"/>
              <a:gd name="connsiteX1210" fmla="*/ 481007 w 5932286"/>
              <a:gd name="connsiteY1210" fmla="*/ 6015334 h 6994526"/>
              <a:gd name="connsiteX1211" fmla="*/ 553830 w 5932286"/>
              <a:gd name="connsiteY1211" fmla="*/ 6088149 h 6994526"/>
              <a:gd name="connsiteX1212" fmla="*/ 481007 w 5932286"/>
              <a:gd name="connsiteY1212" fmla="*/ 6160973 h 6994526"/>
              <a:gd name="connsiteX1213" fmla="*/ 1550239 w 5932286"/>
              <a:gd name="connsiteY1213" fmla="*/ 6182436 h 6994526"/>
              <a:gd name="connsiteX1214" fmla="*/ 1423777 w 5932286"/>
              <a:gd name="connsiteY1214" fmla="*/ 6057384 h 6994526"/>
              <a:gd name="connsiteX1215" fmla="*/ 1548829 w 5932286"/>
              <a:gd name="connsiteY1215" fmla="*/ 5930918 h 6994526"/>
              <a:gd name="connsiteX1216" fmla="*/ 1675292 w 5932286"/>
              <a:gd name="connsiteY1216" fmla="*/ 6055966 h 6994526"/>
              <a:gd name="connsiteX1217" fmla="*/ 1550239 w 5932286"/>
              <a:gd name="connsiteY1217" fmla="*/ 6182436 h 6994526"/>
              <a:gd name="connsiteX1218" fmla="*/ 3622904 w 5932286"/>
              <a:gd name="connsiteY1218" fmla="*/ 6190656 h 6994526"/>
              <a:gd name="connsiteX1219" fmla="*/ 3490080 w 5932286"/>
              <a:gd name="connsiteY1219" fmla="*/ 6059245 h 6994526"/>
              <a:gd name="connsiteX1220" fmla="*/ 3622196 w 5932286"/>
              <a:gd name="connsiteY1220" fmla="*/ 5927133 h 6994526"/>
              <a:gd name="connsiteX1221" fmla="*/ 3754311 w 5932286"/>
              <a:gd name="connsiteY1221" fmla="*/ 6058537 h 6994526"/>
              <a:gd name="connsiteX1222" fmla="*/ 3622904 w 5932286"/>
              <a:gd name="connsiteY1222" fmla="*/ 6190656 h 6994526"/>
              <a:gd name="connsiteX1223" fmla="*/ 155173 w 5932286"/>
              <a:gd name="connsiteY1223" fmla="*/ 6201392 h 6994526"/>
              <a:gd name="connsiteX1224" fmla="*/ 81786 w 5932286"/>
              <a:gd name="connsiteY1224" fmla="*/ 6127999 h 6994526"/>
              <a:gd name="connsiteX1225" fmla="*/ 155173 w 5932286"/>
              <a:gd name="connsiteY1225" fmla="*/ 6055798 h 6994526"/>
              <a:gd name="connsiteX1226" fmla="*/ 228557 w 5932286"/>
              <a:gd name="connsiteY1226" fmla="*/ 6127999 h 6994526"/>
              <a:gd name="connsiteX1227" fmla="*/ 155173 w 5932286"/>
              <a:gd name="connsiteY1227" fmla="*/ 6201392 h 6994526"/>
              <a:gd name="connsiteX1228" fmla="*/ 5269637 w 5932286"/>
              <a:gd name="connsiteY1228" fmla="*/ 6204197 h 6994526"/>
              <a:gd name="connsiteX1229" fmla="*/ 5196975 w 5932286"/>
              <a:gd name="connsiteY1229" fmla="*/ 6131496 h 6994526"/>
              <a:gd name="connsiteX1230" fmla="*/ 5265842 w 5932286"/>
              <a:gd name="connsiteY1230" fmla="*/ 6058835 h 6994526"/>
              <a:gd name="connsiteX1231" fmla="*/ 5342338 w 5932286"/>
              <a:gd name="connsiteY1231" fmla="*/ 6131496 h 6994526"/>
              <a:gd name="connsiteX1232" fmla="*/ 5269637 w 5932286"/>
              <a:gd name="connsiteY1232" fmla="*/ 6204197 h 6994526"/>
              <a:gd name="connsiteX1233" fmla="*/ 3999947 w 5932286"/>
              <a:gd name="connsiteY1233" fmla="*/ 6249491 h 6994526"/>
              <a:gd name="connsiteX1234" fmla="*/ 3902452 w 5932286"/>
              <a:gd name="connsiteY1234" fmla="*/ 6152704 h 6994526"/>
              <a:gd name="connsiteX1235" fmla="*/ 3999239 w 5932286"/>
              <a:gd name="connsiteY1235" fmla="*/ 6055207 h 6994526"/>
              <a:gd name="connsiteX1236" fmla="*/ 4096735 w 5932286"/>
              <a:gd name="connsiteY1236" fmla="*/ 6151996 h 6994526"/>
              <a:gd name="connsiteX1237" fmla="*/ 3999947 w 5932286"/>
              <a:gd name="connsiteY1237" fmla="*/ 6249491 h 6994526"/>
              <a:gd name="connsiteX1238" fmla="*/ 1262057 w 5932286"/>
              <a:gd name="connsiteY1238" fmla="*/ 6307887 h 6994526"/>
              <a:gd name="connsiteX1239" fmla="*/ 1168095 w 5932286"/>
              <a:gd name="connsiteY1239" fmla="*/ 6214622 h 6994526"/>
              <a:gd name="connsiteX1240" fmla="*/ 1261350 w 5932286"/>
              <a:gd name="connsiteY1240" fmla="*/ 6120658 h 6994526"/>
              <a:gd name="connsiteX1241" fmla="*/ 1355319 w 5932286"/>
              <a:gd name="connsiteY1241" fmla="*/ 6213913 h 6994526"/>
              <a:gd name="connsiteX1242" fmla="*/ 1262057 w 5932286"/>
              <a:gd name="connsiteY1242" fmla="*/ 6307887 h 6994526"/>
              <a:gd name="connsiteX1243" fmla="*/ 4375181 w 5932286"/>
              <a:gd name="connsiteY1243" fmla="*/ 6316682 h 6994526"/>
              <a:gd name="connsiteX1244" fmla="*/ 4302000 w 5932286"/>
              <a:gd name="connsiteY1244" fmla="*/ 6244229 h 6994526"/>
              <a:gd name="connsiteX1245" fmla="*/ 4374454 w 5932286"/>
              <a:gd name="connsiteY1245" fmla="*/ 6171048 h 6994526"/>
              <a:gd name="connsiteX1246" fmla="*/ 4447635 w 5932286"/>
              <a:gd name="connsiteY1246" fmla="*/ 6243502 h 6994526"/>
              <a:gd name="connsiteX1247" fmla="*/ 4375181 w 5932286"/>
              <a:gd name="connsiteY1247" fmla="*/ 6316682 h 6994526"/>
              <a:gd name="connsiteX1248" fmla="*/ 1981139 w 5932286"/>
              <a:gd name="connsiteY1248" fmla="*/ 6352608 h 6994526"/>
              <a:gd name="connsiteX1249" fmla="*/ 1832073 w 5932286"/>
              <a:gd name="connsiteY1249" fmla="*/ 6204952 h 6994526"/>
              <a:gd name="connsiteX1250" fmla="*/ 1980438 w 5932286"/>
              <a:gd name="connsiteY1250" fmla="*/ 6056587 h 6994526"/>
              <a:gd name="connsiteX1251" fmla="*/ 2128795 w 5932286"/>
              <a:gd name="connsiteY1251" fmla="*/ 6204243 h 6994526"/>
              <a:gd name="connsiteX1252" fmla="*/ 1981139 w 5932286"/>
              <a:gd name="connsiteY1252" fmla="*/ 6352608 h 6994526"/>
              <a:gd name="connsiteX1253" fmla="*/ 4747377 w 5932286"/>
              <a:gd name="connsiteY1253" fmla="*/ 6406521 h 6994526"/>
              <a:gd name="connsiteX1254" fmla="*/ 4674556 w 5932286"/>
              <a:gd name="connsiteY1254" fmla="*/ 6333701 h 6994526"/>
              <a:gd name="connsiteX1255" fmla="*/ 4747377 w 5932286"/>
              <a:gd name="connsiteY1255" fmla="*/ 6260880 h 6994526"/>
              <a:gd name="connsiteX1256" fmla="*/ 4820184 w 5932286"/>
              <a:gd name="connsiteY1256" fmla="*/ 6333701 h 6994526"/>
              <a:gd name="connsiteX1257" fmla="*/ 4747377 w 5932286"/>
              <a:gd name="connsiteY1257" fmla="*/ 6406521 h 6994526"/>
              <a:gd name="connsiteX1258" fmla="*/ 958009 w 5932286"/>
              <a:gd name="connsiteY1258" fmla="*/ 6432315 h 6994526"/>
              <a:gd name="connsiteX1259" fmla="*/ 864045 w 5932286"/>
              <a:gd name="connsiteY1259" fmla="*/ 6339055 h 6994526"/>
              <a:gd name="connsiteX1260" fmla="*/ 957301 w 5932286"/>
              <a:gd name="connsiteY1260" fmla="*/ 6245091 h 6994526"/>
              <a:gd name="connsiteX1261" fmla="*/ 1051270 w 5932286"/>
              <a:gd name="connsiteY1261" fmla="*/ 6338347 h 6994526"/>
              <a:gd name="connsiteX1262" fmla="*/ 958009 w 5932286"/>
              <a:gd name="connsiteY1262" fmla="*/ 6432315 h 6994526"/>
              <a:gd name="connsiteX1263" fmla="*/ 3426338 w 5932286"/>
              <a:gd name="connsiteY1263" fmla="*/ 6484301 h 6994526"/>
              <a:gd name="connsiteX1264" fmla="*/ 3263843 w 5932286"/>
              <a:gd name="connsiteY1264" fmla="*/ 6323223 h 6994526"/>
              <a:gd name="connsiteX1265" fmla="*/ 3424921 w 5932286"/>
              <a:gd name="connsiteY1265" fmla="*/ 6160725 h 6994526"/>
              <a:gd name="connsiteX1266" fmla="*/ 3587416 w 5932286"/>
              <a:gd name="connsiteY1266" fmla="*/ 6321806 h 6994526"/>
              <a:gd name="connsiteX1267" fmla="*/ 3426338 w 5932286"/>
              <a:gd name="connsiteY1267" fmla="*/ 6484301 h 6994526"/>
              <a:gd name="connsiteX1268" fmla="*/ 5117751 w 5932286"/>
              <a:gd name="connsiteY1268" fmla="*/ 6495980 h 6994526"/>
              <a:gd name="connsiteX1269" fmla="*/ 5044937 w 5932286"/>
              <a:gd name="connsiteY1269" fmla="*/ 6423146 h 6994526"/>
              <a:gd name="connsiteX1270" fmla="*/ 5117751 w 5932286"/>
              <a:gd name="connsiteY1270" fmla="*/ 6350312 h 6994526"/>
              <a:gd name="connsiteX1271" fmla="*/ 5190564 w 5932286"/>
              <a:gd name="connsiteY1271" fmla="*/ 6423146 h 6994526"/>
              <a:gd name="connsiteX1272" fmla="*/ 5117751 w 5932286"/>
              <a:gd name="connsiteY1272" fmla="*/ 6495980 h 6994526"/>
              <a:gd name="connsiteX1273" fmla="*/ 2399822 w 5932286"/>
              <a:gd name="connsiteY1273" fmla="*/ 6500545 h 6994526"/>
              <a:gd name="connsiteX1274" fmla="*/ 2235207 w 5932286"/>
              <a:gd name="connsiteY1274" fmla="*/ 6336646 h 6994526"/>
              <a:gd name="connsiteX1275" fmla="*/ 2399114 w 5932286"/>
              <a:gd name="connsiteY1275" fmla="*/ 6172033 h 6994526"/>
              <a:gd name="connsiteX1276" fmla="*/ 2462988 w 5932286"/>
              <a:gd name="connsiteY1276" fmla="*/ 6184925 h 6994526"/>
              <a:gd name="connsiteX1277" fmla="*/ 2500338 w 5932286"/>
              <a:gd name="connsiteY1277" fmla="*/ 6210005 h 6994526"/>
              <a:gd name="connsiteX1278" fmla="*/ 2478864 w 5932286"/>
              <a:gd name="connsiteY1278" fmla="*/ 6178416 h 6994526"/>
              <a:gd name="connsiteX1279" fmla="*/ 2464821 w 5932286"/>
              <a:gd name="connsiteY1279" fmla="*/ 6111144 h 6994526"/>
              <a:gd name="connsiteX1280" fmla="*/ 2637204 w 5932286"/>
              <a:gd name="connsiteY1280" fmla="*/ 5937353 h 6994526"/>
              <a:gd name="connsiteX1281" fmla="*/ 2680258 w 5932286"/>
              <a:gd name="connsiteY1281" fmla="*/ 5945763 h 6994526"/>
              <a:gd name="connsiteX1282" fmla="*/ 2676188 w 5932286"/>
              <a:gd name="connsiteY1282" fmla="*/ 5939774 h 6994526"/>
              <a:gd name="connsiteX1283" fmla="*/ 2660523 w 5932286"/>
              <a:gd name="connsiteY1283" fmla="*/ 5864222 h 6994526"/>
              <a:gd name="connsiteX1284" fmla="*/ 2854103 w 5932286"/>
              <a:gd name="connsiteY1284" fmla="*/ 5669232 h 6994526"/>
              <a:gd name="connsiteX1285" fmla="*/ 2876716 w 5932286"/>
              <a:gd name="connsiteY1285" fmla="*/ 5673663 h 6994526"/>
              <a:gd name="connsiteX1286" fmla="*/ 2875899 w 5932286"/>
              <a:gd name="connsiteY1286" fmla="*/ 5672461 h 6994526"/>
              <a:gd name="connsiteX1287" fmla="*/ 2861030 w 5932286"/>
              <a:gd name="connsiteY1287" fmla="*/ 5599396 h 6994526"/>
              <a:gd name="connsiteX1288" fmla="*/ 3048249 w 5932286"/>
              <a:gd name="connsiteY1288" fmla="*/ 5410763 h 6994526"/>
              <a:gd name="connsiteX1289" fmla="*/ 3049311 w 5932286"/>
              <a:gd name="connsiteY1289" fmla="*/ 5410973 h 6994526"/>
              <a:gd name="connsiteX1290" fmla="*/ 3037902 w 5932286"/>
              <a:gd name="connsiteY1290" fmla="*/ 5394195 h 6994526"/>
              <a:gd name="connsiteX1291" fmla="*/ 3022009 w 5932286"/>
              <a:gd name="connsiteY1291" fmla="*/ 5317618 h 6994526"/>
              <a:gd name="connsiteX1292" fmla="*/ 3141127 w 5932286"/>
              <a:gd name="connsiteY1292" fmla="*/ 5136019 h 6994526"/>
              <a:gd name="connsiteX1293" fmla="*/ 3213112 w 5932286"/>
              <a:gd name="connsiteY1293" fmla="*/ 5121447 h 6994526"/>
              <a:gd name="connsiteX1294" fmla="*/ 3194016 w 5932286"/>
              <a:gd name="connsiteY1294" fmla="*/ 5093389 h 6994526"/>
              <a:gd name="connsiteX1295" fmla="*/ 3179224 w 5932286"/>
              <a:gd name="connsiteY1295" fmla="*/ 5022285 h 6994526"/>
              <a:gd name="connsiteX1296" fmla="*/ 3290395 w 5932286"/>
              <a:gd name="connsiteY1296" fmla="*/ 4853396 h 6994526"/>
              <a:gd name="connsiteX1297" fmla="*/ 3359764 w 5932286"/>
              <a:gd name="connsiteY1297" fmla="*/ 4838968 h 6994526"/>
              <a:gd name="connsiteX1298" fmla="*/ 3356937 w 5932286"/>
              <a:gd name="connsiteY1298" fmla="*/ 4837077 h 6994526"/>
              <a:gd name="connsiteX1299" fmla="*/ 3305805 w 5932286"/>
              <a:gd name="connsiteY1299" fmla="*/ 4714856 h 6994526"/>
              <a:gd name="connsiteX1300" fmla="*/ 3478185 w 5932286"/>
              <a:gd name="connsiteY1300" fmla="*/ 4541063 h 6994526"/>
              <a:gd name="connsiteX1301" fmla="*/ 3485099 w 5932286"/>
              <a:gd name="connsiteY1301" fmla="*/ 4542417 h 6994526"/>
              <a:gd name="connsiteX1302" fmla="*/ 3447824 w 5932286"/>
              <a:gd name="connsiteY1302" fmla="*/ 4517494 h 6994526"/>
              <a:gd name="connsiteX1303" fmla="*/ 3397928 w 5932286"/>
              <a:gd name="connsiteY1303" fmla="*/ 4398096 h 6994526"/>
              <a:gd name="connsiteX1304" fmla="*/ 3501057 w 5932286"/>
              <a:gd name="connsiteY1304" fmla="*/ 4241919 h 6994526"/>
              <a:gd name="connsiteX1305" fmla="*/ 3555561 w 5932286"/>
              <a:gd name="connsiteY1305" fmla="*/ 4230945 h 6994526"/>
              <a:gd name="connsiteX1306" fmla="*/ 3505082 w 5932286"/>
              <a:gd name="connsiteY1306" fmla="*/ 4197243 h 6994526"/>
              <a:gd name="connsiteX1307" fmla="*/ 3453952 w 5932286"/>
              <a:gd name="connsiteY1307" fmla="*/ 4075282 h 6994526"/>
              <a:gd name="connsiteX1308" fmla="*/ 3559164 w 5932286"/>
              <a:gd name="connsiteY1308" fmla="*/ 3915133 h 6994526"/>
              <a:gd name="connsiteX1309" fmla="*/ 3601066 w 5932286"/>
              <a:gd name="connsiteY1309" fmla="*/ 3906621 h 6994526"/>
              <a:gd name="connsiteX1310" fmla="*/ 3591780 w 5932286"/>
              <a:gd name="connsiteY1310" fmla="*/ 3904750 h 6994526"/>
              <a:gd name="connsiteX1311" fmla="*/ 3487165 w 5932286"/>
              <a:gd name="connsiteY1311" fmla="*/ 3747896 h 6994526"/>
              <a:gd name="connsiteX1312" fmla="*/ 3590884 w 5932286"/>
              <a:gd name="connsiteY1312" fmla="*/ 3590733 h 6994526"/>
              <a:gd name="connsiteX1313" fmla="*/ 3638553 w 5932286"/>
              <a:gd name="connsiteY1313" fmla="*/ 3580852 h 6994526"/>
              <a:gd name="connsiteX1314" fmla="*/ 3595297 w 5932286"/>
              <a:gd name="connsiteY1314" fmla="*/ 3572373 h 6994526"/>
              <a:gd name="connsiteX1315" fmla="*/ 3493564 w 5932286"/>
              <a:gd name="connsiteY1315" fmla="*/ 3420391 h 6994526"/>
              <a:gd name="connsiteX1316" fmla="*/ 3658886 w 5932286"/>
              <a:gd name="connsiteY1316" fmla="*/ 3253676 h 6994526"/>
              <a:gd name="connsiteX1317" fmla="*/ 3824909 w 5932286"/>
              <a:gd name="connsiteY1317" fmla="*/ 3418983 h 6994526"/>
              <a:gd name="connsiteX1318" fmla="*/ 3723868 w 5932286"/>
              <a:gd name="connsiteY1318" fmla="*/ 3571853 h 6994526"/>
              <a:gd name="connsiteX1319" fmla="*/ 3678299 w 5932286"/>
              <a:gd name="connsiteY1319" fmla="*/ 3581158 h 6994526"/>
              <a:gd name="connsiteX1320" fmla="*/ 3723682 w 5932286"/>
              <a:gd name="connsiteY1320" fmla="*/ 3590327 h 6994526"/>
              <a:gd name="connsiteX1321" fmla="*/ 3828397 w 5932286"/>
              <a:gd name="connsiteY1321" fmla="*/ 3747187 h 6994526"/>
              <a:gd name="connsiteX1322" fmla="*/ 3724380 w 5932286"/>
              <a:gd name="connsiteY1322" fmla="*/ 3904635 h 6994526"/>
              <a:gd name="connsiteX1323" fmla="*/ 3684115 w 5932286"/>
              <a:gd name="connsiteY1323" fmla="*/ 3912843 h 6994526"/>
              <a:gd name="connsiteX1324" fmla="*/ 3693627 w 5932286"/>
              <a:gd name="connsiteY1324" fmla="*/ 3914710 h 6994526"/>
              <a:gd name="connsiteX1325" fmla="*/ 3800132 w 5932286"/>
              <a:gd name="connsiteY1325" fmla="*/ 4073868 h 6994526"/>
              <a:gd name="connsiteX1326" fmla="*/ 3694919 w 5932286"/>
              <a:gd name="connsiteY1326" fmla="*/ 4233624 h 6994526"/>
              <a:gd name="connsiteX1327" fmla="*/ 3638655 w 5932286"/>
              <a:gd name="connsiteY1327" fmla="*/ 4245389 h 6994526"/>
              <a:gd name="connsiteX1328" fmla="*/ 3687241 w 5932286"/>
              <a:gd name="connsiteY1328" fmla="*/ 4277994 h 6994526"/>
              <a:gd name="connsiteX1329" fmla="*/ 3737049 w 5932286"/>
              <a:gd name="connsiteY1329" fmla="*/ 4397395 h 6994526"/>
              <a:gd name="connsiteX1330" fmla="*/ 3568192 w 5932286"/>
              <a:gd name="connsiteY1330" fmla="*/ 4566952 h 6994526"/>
              <a:gd name="connsiteX1331" fmla="*/ 3562966 w 5932286"/>
              <a:gd name="connsiteY1331" fmla="*/ 4565909 h 6994526"/>
              <a:gd name="connsiteX1332" fmla="*/ 3600850 w 5932286"/>
              <a:gd name="connsiteY1332" fmla="*/ 4591221 h 6994526"/>
              <a:gd name="connsiteX1333" fmla="*/ 3651980 w 5932286"/>
              <a:gd name="connsiteY1333" fmla="*/ 4713442 h 6994526"/>
              <a:gd name="connsiteX1334" fmla="*/ 3546870 w 5932286"/>
              <a:gd name="connsiteY1334" fmla="*/ 4873200 h 6994526"/>
              <a:gd name="connsiteX1335" fmla="*/ 3483492 w 5932286"/>
              <a:gd name="connsiteY1335" fmla="*/ 4886428 h 6994526"/>
              <a:gd name="connsiteX1336" fmla="*/ 3491228 w 5932286"/>
              <a:gd name="connsiteY1336" fmla="*/ 4891595 h 6994526"/>
              <a:gd name="connsiteX1337" fmla="*/ 3545187 w 5932286"/>
              <a:gd name="connsiteY1337" fmla="*/ 5020876 h 6994526"/>
              <a:gd name="connsiteX1338" fmla="*/ 3434112 w 5932286"/>
              <a:gd name="connsiteY1338" fmla="*/ 5190075 h 6994526"/>
              <a:gd name="connsiteX1339" fmla="*/ 3374016 w 5932286"/>
              <a:gd name="connsiteY1339" fmla="*/ 5202313 h 6994526"/>
              <a:gd name="connsiteX1340" fmla="*/ 3399316 w 5932286"/>
              <a:gd name="connsiteY1340" fmla="*/ 5239626 h 6994526"/>
              <a:gd name="connsiteX1341" fmla="*/ 3414815 w 5932286"/>
              <a:gd name="connsiteY1341" fmla="*/ 5316204 h 6994526"/>
              <a:gd name="connsiteX1342" fmla="*/ 3219121 w 5932286"/>
              <a:gd name="connsiteY1342" fmla="*/ 5513309 h 6994526"/>
              <a:gd name="connsiteX1343" fmla="*/ 3213113 w 5932286"/>
              <a:gd name="connsiteY1343" fmla="*/ 5512131 h 6994526"/>
              <a:gd name="connsiteX1344" fmla="*/ 3221715 w 5932286"/>
              <a:gd name="connsiteY1344" fmla="*/ 5524812 h 6994526"/>
              <a:gd name="connsiteX1345" fmla="*/ 3236884 w 5932286"/>
              <a:gd name="connsiteY1345" fmla="*/ 5597980 h 6994526"/>
              <a:gd name="connsiteX1346" fmla="*/ 3049665 w 5932286"/>
              <a:gd name="connsiteY1346" fmla="*/ 5786617 h 6994526"/>
              <a:gd name="connsiteX1347" fmla="*/ 3030806 w 5932286"/>
              <a:gd name="connsiteY1347" fmla="*/ 5782846 h 6994526"/>
              <a:gd name="connsiteX1348" fmla="*/ 3033734 w 5932286"/>
              <a:gd name="connsiteY1348" fmla="*/ 5787159 h 6994526"/>
              <a:gd name="connsiteX1349" fmla="*/ 3049099 w 5932286"/>
              <a:gd name="connsiteY1349" fmla="*/ 5862812 h 6994526"/>
              <a:gd name="connsiteX1350" fmla="*/ 2855519 w 5932286"/>
              <a:gd name="connsiteY1350" fmla="*/ 6057808 h 6994526"/>
              <a:gd name="connsiteX1351" fmla="*/ 2798141 w 5932286"/>
              <a:gd name="connsiteY1351" fmla="*/ 6046322 h 6994526"/>
              <a:gd name="connsiteX1352" fmla="*/ 2811002 w 5932286"/>
              <a:gd name="connsiteY1352" fmla="*/ 6109729 h 6994526"/>
              <a:gd name="connsiteX1353" fmla="*/ 2638619 w 5932286"/>
              <a:gd name="connsiteY1353" fmla="*/ 6283526 h 6994526"/>
              <a:gd name="connsiteX1354" fmla="*/ 2571325 w 5932286"/>
              <a:gd name="connsiteY1354" fmla="*/ 6270302 h 6994526"/>
              <a:gd name="connsiteX1355" fmla="*/ 2531170 w 5932286"/>
              <a:gd name="connsiteY1355" fmla="*/ 6243387 h 6994526"/>
              <a:gd name="connsiteX1356" fmla="*/ 2550725 w 5932286"/>
              <a:gd name="connsiteY1356" fmla="*/ 6272177 h 6994526"/>
              <a:gd name="connsiteX1357" fmla="*/ 2563729 w 5932286"/>
              <a:gd name="connsiteY1357" fmla="*/ 6335936 h 6994526"/>
              <a:gd name="connsiteX1358" fmla="*/ 2399822 w 5932286"/>
              <a:gd name="connsiteY1358" fmla="*/ 6500545 h 6994526"/>
              <a:gd name="connsiteX1359" fmla="*/ 3812095 w 5932286"/>
              <a:gd name="connsiteY1359" fmla="*/ 6527635 h 6994526"/>
              <a:gd name="connsiteX1360" fmla="*/ 3706118 w 5932286"/>
              <a:gd name="connsiteY1360" fmla="*/ 6422367 h 6994526"/>
              <a:gd name="connsiteX1361" fmla="*/ 3811387 w 5932286"/>
              <a:gd name="connsiteY1361" fmla="*/ 6316391 h 6994526"/>
              <a:gd name="connsiteX1362" fmla="*/ 3917363 w 5932286"/>
              <a:gd name="connsiteY1362" fmla="*/ 6421660 h 6994526"/>
              <a:gd name="connsiteX1363" fmla="*/ 3812095 w 5932286"/>
              <a:gd name="connsiteY1363" fmla="*/ 6527635 h 6994526"/>
              <a:gd name="connsiteX1364" fmla="*/ 1709037 w 5932286"/>
              <a:gd name="connsiteY1364" fmla="*/ 6537172 h 6994526"/>
              <a:gd name="connsiteX1365" fmla="*/ 1559971 w 5932286"/>
              <a:gd name="connsiteY1365" fmla="*/ 6389518 h 6994526"/>
              <a:gd name="connsiteX1366" fmla="*/ 1707627 w 5932286"/>
              <a:gd name="connsiteY1366" fmla="*/ 6240451 h 6994526"/>
              <a:gd name="connsiteX1367" fmla="*/ 1856693 w 5932286"/>
              <a:gd name="connsiteY1367" fmla="*/ 6388106 h 6994526"/>
              <a:gd name="connsiteX1368" fmla="*/ 1709037 w 5932286"/>
              <a:gd name="connsiteY1368" fmla="*/ 6537172 h 6994526"/>
              <a:gd name="connsiteX1369" fmla="*/ 642451 w 5932286"/>
              <a:gd name="connsiteY1369" fmla="*/ 6554755 h 6994526"/>
              <a:gd name="connsiteX1370" fmla="*/ 515987 w 5932286"/>
              <a:gd name="connsiteY1370" fmla="*/ 6429700 h 6994526"/>
              <a:gd name="connsiteX1371" fmla="*/ 641042 w 5932286"/>
              <a:gd name="connsiteY1371" fmla="*/ 6303240 h 6994526"/>
              <a:gd name="connsiteX1372" fmla="*/ 767505 w 5932286"/>
              <a:gd name="connsiteY1372" fmla="*/ 6428285 h 6994526"/>
              <a:gd name="connsiteX1373" fmla="*/ 642451 w 5932286"/>
              <a:gd name="connsiteY1373" fmla="*/ 6554755 h 6994526"/>
              <a:gd name="connsiteX1374" fmla="*/ 4194588 w 5932286"/>
              <a:gd name="connsiteY1374" fmla="*/ 6591200 h 6994526"/>
              <a:gd name="connsiteX1375" fmla="*/ 4121407 w 5932286"/>
              <a:gd name="connsiteY1375" fmla="*/ 6518745 h 6994526"/>
              <a:gd name="connsiteX1376" fmla="*/ 4193861 w 5932286"/>
              <a:gd name="connsiteY1376" fmla="*/ 6445565 h 6994526"/>
              <a:gd name="connsiteX1377" fmla="*/ 4267042 w 5932286"/>
              <a:gd name="connsiteY1377" fmla="*/ 6518019 h 6994526"/>
              <a:gd name="connsiteX1378" fmla="*/ 4194588 w 5932286"/>
              <a:gd name="connsiteY1378" fmla="*/ 6591200 h 6994526"/>
              <a:gd name="connsiteX1379" fmla="*/ 317955 w 5932286"/>
              <a:gd name="connsiteY1379" fmla="*/ 6594472 h 6994526"/>
              <a:gd name="connsiteX1380" fmla="*/ 205623 w 5932286"/>
              <a:gd name="connsiteY1380" fmla="*/ 6482847 h 6994526"/>
              <a:gd name="connsiteX1381" fmla="*/ 317247 w 5932286"/>
              <a:gd name="connsiteY1381" fmla="*/ 6370516 h 6994526"/>
              <a:gd name="connsiteX1382" fmla="*/ 429578 w 5932286"/>
              <a:gd name="connsiteY1382" fmla="*/ 6482138 h 6994526"/>
              <a:gd name="connsiteX1383" fmla="*/ 317955 w 5932286"/>
              <a:gd name="connsiteY1383" fmla="*/ 6594472 h 6994526"/>
              <a:gd name="connsiteX1384" fmla="*/ 0 w 5932286"/>
              <a:gd name="connsiteY1384" fmla="*/ 6602983 h 6994526"/>
              <a:gd name="connsiteX1385" fmla="*/ 0 w 5932286"/>
              <a:gd name="connsiteY1385" fmla="*/ 6395926 h 6994526"/>
              <a:gd name="connsiteX1386" fmla="*/ 30295 w 5932286"/>
              <a:gd name="connsiteY1386" fmla="*/ 6401722 h 6994526"/>
              <a:gd name="connsiteX1387" fmla="*/ 94975 w 5932286"/>
              <a:gd name="connsiteY1387" fmla="*/ 6499084 h 6994526"/>
              <a:gd name="connsiteX1388" fmla="*/ 30989 w 5932286"/>
              <a:gd name="connsiteY1388" fmla="*/ 6596667 h 6994526"/>
              <a:gd name="connsiteX1389" fmla="*/ 2809415 w 5932286"/>
              <a:gd name="connsiteY1389" fmla="*/ 6611719 h 6994526"/>
              <a:gd name="connsiteX1390" fmla="*/ 2654697 w 5932286"/>
              <a:gd name="connsiteY1390" fmla="*/ 6457689 h 6994526"/>
              <a:gd name="connsiteX1391" fmla="*/ 2808707 w 5932286"/>
              <a:gd name="connsiteY1391" fmla="*/ 6302974 h 6994526"/>
              <a:gd name="connsiteX1392" fmla="*/ 2868651 w 5932286"/>
              <a:gd name="connsiteY1392" fmla="*/ 6315017 h 6994526"/>
              <a:gd name="connsiteX1393" fmla="*/ 2909063 w 5932286"/>
              <a:gd name="connsiteY1393" fmla="*/ 6342039 h 6994526"/>
              <a:gd name="connsiteX1394" fmla="*/ 2872584 w 5932286"/>
              <a:gd name="connsiteY1394" fmla="*/ 6288313 h 6994526"/>
              <a:gd name="connsiteX1395" fmla="*/ 2858291 w 5932286"/>
              <a:gd name="connsiteY1395" fmla="*/ 6219594 h 6994526"/>
              <a:gd name="connsiteX1396" fmla="*/ 3034206 w 5932286"/>
              <a:gd name="connsiteY1396" fmla="*/ 6042271 h 6994526"/>
              <a:gd name="connsiteX1397" fmla="*/ 3077479 w 5932286"/>
              <a:gd name="connsiteY1397" fmla="*/ 6050742 h 6994526"/>
              <a:gd name="connsiteX1398" fmla="*/ 3067919 w 5932286"/>
              <a:gd name="connsiteY1398" fmla="*/ 6036652 h 6994526"/>
              <a:gd name="connsiteX1399" fmla="*/ 3052755 w 5932286"/>
              <a:gd name="connsiteY1399" fmla="*/ 5963487 h 6994526"/>
              <a:gd name="connsiteX1400" fmla="*/ 3239974 w 5932286"/>
              <a:gd name="connsiteY1400" fmla="*/ 5774851 h 6994526"/>
              <a:gd name="connsiteX1401" fmla="*/ 3262349 w 5932286"/>
              <a:gd name="connsiteY1401" fmla="*/ 5779233 h 6994526"/>
              <a:gd name="connsiteX1402" fmla="*/ 3252386 w 5932286"/>
              <a:gd name="connsiteY1402" fmla="*/ 5764547 h 6994526"/>
              <a:gd name="connsiteX1403" fmla="*/ 3237221 w 5932286"/>
              <a:gd name="connsiteY1403" fmla="*/ 5691380 h 6994526"/>
              <a:gd name="connsiteX1404" fmla="*/ 3424440 w 5932286"/>
              <a:gd name="connsiteY1404" fmla="*/ 5502744 h 6994526"/>
              <a:gd name="connsiteX1405" fmla="*/ 3449879 w 5932286"/>
              <a:gd name="connsiteY1405" fmla="*/ 5507836 h 6994526"/>
              <a:gd name="connsiteX1406" fmla="*/ 3426219 w 5932286"/>
              <a:gd name="connsiteY1406" fmla="*/ 5472952 h 6994526"/>
              <a:gd name="connsiteX1407" fmla="*/ 3412465 w 5932286"/>
              <a:gd name="connsiteY1407" fmla="*/ 5405261 h 6994526"/>
              <a:gd name="connsiteX1408" fmla="*/ 3585553 w 5932286"/>
              <a:gd name="connsiteY1408" fmla="*/ 5230046 h 6994526"/>
              <a:gd name="connsiteX1409" fmla="*/ 3608013 w 5932286"/>
              <a:gd name="connsiteY1409" fmla="*/ 5234538 h 6994526"/>
              <a:gd name="connsiteX1410" fmla="*/ 3601178 w 5932286"/>
              <a:gd name="connsiteY1410" fmla="*/ 5229950 h 6994526"/>
              <a:gd name="connsiteX1411" fmla="*/ 3549959 w 5932286"/>
              <a:gd name="connsiteY1411" fmla="*/ 5107029 h 6994526"/>
              <a:gd name="connsiteX1412" fmla="*/ 3723755 w 5932286"/>
              <a:gd name="connsiteY1412" fmla="*/ 4931805 h 6994526"/>
              <a:gd name="connsiteX1413" fmla="*/ 3748379 w 5932286"/>
              <a:gd name="connsiteY1413" fmla="*/ 4936760 h 6994526"/>
              <a:gd name="connsiteX1414" fmla="*/ 3718249 w 5932286"/>
              <a:gd name="connsiteY1414" fmla="*/ 4916569 h 6994526"/>
              <a:gd name="connsiteX1415" fmla="*/ 3668529 w 5932286"/>
              <a:gd name="connsiteY1415" fmla="*/ 4798134 h 6994526"/>
              <a:gd name="connsiteX1416" fmla="*/ 3835969 w 5932286"/>
              <a:gd name="connsiteY1416" fmla="*/ 4629284 h 6994526"/>
              <a:gd name="connsiteX1417" fmla="*/ 4004824 w 5932286"/>
              <a:gd name="connsiteY1417" fmla="*/ 4796726 h 6994526"/>
              <a:gd name="connsiteX1418" fmla="*/ 3837386 w 5932286"/>
              <a:gd name="connsiteY1418" fmla="*/ 4965582 h 6994526"/>
              <a:gd name="connsiteX1419" fmla="*/ 3814820 w 5932286"/>
              <a:gd name="connsiteY1419" fmla="*/ 4961058 h 6994526"/>
              <a:gd name="connsiteX1420" fmla="*/ 3847038 w 5932286"/>
              <a:gd name="connsiteY1420" fmla="*/ 4982675 h 6994526"/>
              <a:gd name="connsiteX1421" fmla="*/ 3898261 w 5932286"/>
              <a:gd name="connsiteY1421" fmla="*/ 5105609 h 6994526"/>
              <a:gd name="connsiteX1422" fmla="*/ 3724457 w 5932286"/>
              <a:gd name="connsiteY1422" fmla="*/ 5280821 h 6994526"/>
              <a:gd name="connsiteX1423" fmla="*/ 3702792 w 5932286"/>
              <a:gd name="connsiteY1423" fmla="*/ 5276460 h 6994526"/>
              <a:gd name="connsiteX1424" fmla="*/ 3709455 w 5932286"/>
              <a:gd name="connsiteY1424" fmla="*/ 5280914 h 6994526"/>
              <a:gd name="connsiteX1425" fmla="*/ 3760767 w 5932286"/>
              <a:gd name="connsiteY1425" fmla="*/ 5403845 h 6994526"/>
              <a:gd name="connsiteX1426" fmla="*/ 3586963 w 5932286"/>
              <a:gd name="connsiteY1426" fmla="*/ 5579062 h 6994526"/>
              <a:gd name="connsiteX1427" fmla="*/ 3569818 w 5932286"/>
              <a:gd name="connsiteY1427" fmla="*/ 5575612 h 6994526"/>
              <a:gd name="connsiteX1428" fmla="*/ 3597906 w 5932286"/>
              <a:gd name="connsiteY1428" fmla="*/ 5616900 h 6994526"/>
              <a:gd name="connsiteX1429" fmla="*/ 3613075 w 5932286"/>
              <a:gd name="connsiteY1429" fmla="*/ 5689965 h 6994526"/>
              <a:gd name="connsiteX1430" fmla="*/ 3425856 w 5932286"/>
              <a:gd name="connsiteY1430" fmla="*/ 5878600 h 6994526"/>
              <a:gd name="connsiteX1431" fmla="*/ 3403809 w 5932286"/>
              <a:gd name="connsiteY1431" fmla="*/ 5874278 h 6994526"/>
              <a:gd name="connsiteX1432" fmla="*/ 3413739 w 5932286"/>
              <a:gd name="connsiteY1432" fmla="*/ 5888904 h 6994526"/>
              <a:gd name="connsiteX1433" fmla="*/ 3428609 w 5932286"/>
              <a:gd name="connsiteY1433" fmla="*/ 5962072 h 6994526"/>
              <a:gd name="connsiteX1434" fmla="*/ 3241390 w 5932286"/>
              <a:gd name="connsiteY1434" fmla="*/ 6150705 h 6994526"/>
              <a:gd name="connsiteX1435" fmla="*/ 3191769 w 5932286"/>
              <a:gd name="connsiteY1435" fmla="*/ 6140976 h 6994526"/>
              <a:gd name="connsiteX1436" fmla="*/ 3197540 w 5932286"/>
              <a:gd name="connsiteY1436" fmla="*/ 6149466 h 6994526"/>
              <a:gd name="connsiteX1437" fmla="*/ 3211537 w 5932286"/>
              <a:gd name="connsiteY1437" fmla="*/ 6218185 h 6994526"/>
              <a:gd name="connsiteX1438" fmla="*/ 3035615 w 5932286"/>
              <a:gd name="connsiteY1438" fmla="*/ 6395516 h 6994526"/>
              <a:gd name="connsiteX1439" fmla="*/ 2966876 w 5932286"/>
              <a:gd name="connsiteY1439" fmla="*/ 6382037 h 6994526"/>
              <a:gd name="connsiteX1440" fmla="*/ 2919475 w 5932286"/>
              <a:gd name="connsiteY1440" fmla="*/ 6350290 h 6994526"/>
              <a:gd name="connsiteX1441" fmla="*/ 2951179 w 5932286"/>
              <a:gd name="connsiteY1441" fmla="*/ 6396858 h 6994526"/>
              <a:gd name="connsiteX1442" fmla="*/ 2963432 w 5932286"/>
              <a:gd name="connsiteY1442" fmla="*/ 6456987 h 6994526"/>
              <a:gd name="connsiteX1443" fmla="*/ 2809415 w 5932286"/>
              <a:gd name="connsiteY1443" fmla="*/ 6611719 h 6994526"/>
              <a:gd name="connsiteX1444" fmla="*/ 4573566 w 5932286"/>
              <a:gd name="connsiteY1444" fmla="*/ 6685393 h 6994526"/>
              <a:gd name="connsiteX1445" fmla="*/ 4500747 w 5932286"/>
              <a:gd name="connsiteY1445" fmla="*/ 6612573 h 6994526"/>
              <a:gd name="connsiteX1446" fmla="*/ 4573566 w 5932286"/>
              <a:gd name="connsiteY1446" fmla="*/ 6539751 h 6994526"/>
              <a:gd name="connsiteX1447" fmla="*/ 4646386 w 5932286"/>
              <a:gd name="connsiteY1447" fmla="*/ 6612573 h 6994526"/>
              <a:gd name="connsiteX1448" fmla="*/ 4573566 w 5932286"/>
              <a:gd name="connsiteY1448" fmla="*/ 6685393 h 6994526"/>
              <a:gd name="connsiteX1449" fmla="*/ 2142359 w 5932286"/>
              <a:gd name="connsiteY1449" fmla="*/ 6702651 h 6994526"/>
              <a:gd name="connsiteX1450" fmla="*/ 1979865 w 5932286"/>
              <a:gd name="connsiteY1450" fmla="*/ 6541555 h 6994526"/>
              <a:gd name="connsiteX1451" fmla="*/ 2140943 w 5932286"/>
              <a:gd name="connsiteY1451" fmla="*/ 6379060 h 6994526"/>
              <a:gd name="connsiteX1452" fmla="*/ 2303438 w 5932286"/>
              <a:gd name="connsiteY1452" fmla="*/ 6540139 h 6994526"/>
              <a:gd name="connsiteX1453" fmla="*/ 2142359 w 5932286"/>
              <a:gd name="connsiteY1453" fmla="*/ 6702651 h 6994526"/>
              <a:gd name="connsiteX1454" fmla="*/ 1419410 w 5932286"/>
              <a:gd name="connsiteY1454" fmla="*/ 6703796 h 6994526"/>
              <a:gd name="connsiteX1455" fmla="*/ 1259741 w 5932286"/>
              <a:gd name="connsiteY1455" fmla="*/ 6544821 h 6994526"/>
              <a:gd name="connsiteX1456" fmla="*/ 1418702 w 5932286"/>
              <a:gd name="connsiteY1456" fmla="*/ 6385151 h 6994526"/>
              <a:gd name="connsiteX1457" fmla="*/ 1578369 w 5932286"/>
              <a:gd name="connsiteY1457" fmla="*/ 6544112 h 6994526"/>
              <a:gd name="connsiteX1458" fmla="*/ 1419410 w 5932286"/>
              <a:gd name="connsiteY1458" fmla="*/ 6703796 h 6994526"/>
              <a:gd name="connsiteX1459" fmla="*/ 3211370 w 5932286"/>
              <a:gd name="connsiteY1459" fmla="*/ 6707954 h 6994526"/>
              <a:gd name="connsiteX1460" fmla="*/ 3073607 w 5932286"/>
              <a:gd name="connsiteY1460" fmla="*/ 6571591 h 6994526"/>
              <a:gd name="connsiteX1461" fmla="*/ 3210668 w 5932286"/>
              <a:gd name="connsiteY1461" fmla="*/ 6433826 h 6994526"/>
              <a:gd name="connsiteX1462" fmla="*/ 3347724 w 5932286"/>
              <a:gd name="connsiteY1462" fmla="*/ 6570182 h 6994526"/>
              <a:gd name="connsiteX1463" fmla="*/ 3211370 w 5932286"/>
              <a:gd name="connsiteY1463" fmla="*/ 6707954 h 6994526"/>
              <a:gd name="connsiteX1464" fmla="*/ 4950232 w 5932286"/>
              <a:gd name="connsiteY1464" fmla="*/ 6778374 h 6994526"/>
              <a:gd name="connsiteX1465" fmla="*/ 4877418 w 5932286"/>
              <a:gd name="connsiteY1465" fmla="*/ 6705537 h 6994526"/>
              <a:gd name="connsiteX1466" fmla="*/ 4950232 w 5932286"/>
              <a:gd name="connsiteY1466" fmla="*/ 6632724 h 6994526"/>
              <a:gd name="connsiteX1467" fmla="*/ 5023069 w 5932286"/>
              <a:gd name="connsiteY1467" fmla="*/ 6705537 h 6994526"/>
              <a:gd name="connsiteX1468" fmla="*/ 4950232 w 5932286"/>
              <a:gd name="connsiteY1468" fmla="*/ 6778374 h 6994526"/>
              <a:gd name="connsiteX1469" fmla="*/ 3606328 w 5932286"/>
              <a:gd name="connsiteY1469" fmla="*/ 6783767 h 6994526"/>
              <a:gd name="connsiteX1470" fmla="*/ 3500354 w 5932286"/>
              <a:gd name="connsiteY1470" fmla="*/ 6678501 h 6994526"/>
              <a:gd name="connsiteX1471" fmla="*/ 3605619 w 5932286"/>
              <a:gd name="connsiteY1471" fmla="*/ 6572519 h 6994526"/>
              <a:gd name="connsiteX1472" fmla="*/ 3711594 w 5932286"/>
              <a:gd name="connsiteY1472" fmla="*/ 6677794 h 6994526"/>
              <a:gd name="connsiteX1473" fmla="*/ 3606328 w 5932286"/>
              <a:gd name="connsiteY1473" fmla="*/ 6783767 h 6994526"/>
              <a:gd name="connsiteX1474" fmla="*/ 1116919 w 5932286"/>
              <a:gd name="connsiteY1474" fmla="*/ 6813582 h 6994526"/>
              <a:gd name="connsiteX1475" fmla="*/ 974210 w 5932286"/>
              <a:gd name="connsiteY1475" fmla="*/ 6672284 h 6994526"/>
              <a:gd name="connsiteX1476" fmla="*/ 1115509 w 5932286"/>
              <a:gd name="connsiteY1476" fmla="*/ 6529556 h 6994526"/>
              <a:gd name="connsiteX1477" fmla="*/ 1258223 w 5932286"/>
              <a:gd name="connsiteY1477" fmla="*/ 6670873 h 6994526"/>
              <a:gd name="connsiteX1478" fmla="*/ 1116919 w 5932286"/>
              <a:gd name="connsiteY1478" fmla="*/ 6813582 h 6994526"/>
              <a:gd name="connsiteX1479" fmla="*/ 2565027 w 5932286"/>
              <a:gd name="connsiteY1479" fmla="*/ 6835173 h 6994526"/>
              <a:gd name="connsiteX1480" fmla="*/ 2406067 w 5932286"/>
              <a:gd name="connsiteY1480" fmla="*/ 6677624 h 6994526"/>
              <a:gd name="connsiteX1481" fmla="*/ 2564319 w 5932286"/>
              <a:gd name="connsiteY1481" fmla="*/ 6518651 h 6994526"/>
              <a:gd name="connsiteX1482" fmla="*/ 2722570 w 5932286"/>
              <a:gd name="connsiteY1482" fmla="*/ 6676216 h 6994526"/>
              <a:gd name="connsiteX1483" fmla="*/ 2565027 w 5932286"/>
              <a:gd name="connsiteY1483" fmla="*/ 6835173 h 6994526"/>
              <a:gd name="connsiteX1484" fmla="*/ 3997274 w 5932286"/>
              <a:gd name="connsiteY1484" fmla="*/ 6854905 h 6994526"/>
              <a:gd name="connsiteX1485" fmla="*/ 3923884 w 5932286"/>
              <a:gd name="connsiteY1485" fmla="*/ 6782706 h 6994526"/>
              <a:gd name="connsiteX1486" fmla="*/ 3996087 w 5932286"/>
              <a:gd name="connsiteY1486" fmla="*/ 6708133 h 6994526"/>
              <a:gd name="connsiteX1487" fmla="*/ 4069476 w 5932286"/>
              <a:gd name="connsiteY1487" fmla="*/ 6781518 h 6994526"/>
              <a:gd name="connsiteX1488" fmla="*/ 3997274 w 5932286"/>
              <a:gd name="connsiteY1488" fmla="*/ 6854905 h 6994526"/>
              <a:gd name="connsiteX1489" fmla="*/ 5324485 w 5932286"/>
              <a:gd name="connsiteY1489" fmla="*/ 6869480 h 6994526"/>
              <a:gd name="connsiteX1490" fmla="*/ 5251671 w 5932286"/>
              <a:gd name="connsiteY1490" fmla="*/ 6796564 h 6994526"/>
              <a:gd name="connsiteX1491" fmla="*/ 5324485 w 5932286"/>
              <a:gd name="connsiteY1491" fmla="*/ 6723750 h 6994526"/>
              <a:gd name="connsiteX1492" fmla="*/ 5397402 w 5932286"/>
              <a:gd name="connsiteY1492" fmla="*/ 6796564 h 6994526"/>
              <a:gd name="connsiteX1493" fmla="*/ 5324485 w 5932286"/>
              <a:gd name="connsiteY1493" fmla="*/ 6869480 h 6994526"/>
              <a:gd name="connsiteX1494" fmla="*/ 1867847 w 5932286"/>
              <a:gd name="connsiteY1494" fmla="*/ 6884498 h 6994526"/>
              <a:gd name="connsiteX1495" fmla="*/ 1702529 w 5932286"/>
              <a:gd name="connsiteY1495" fmla="*/ 6720593 h 6994526"/>
              <a:gd name="connsiteX1496" fmla="*/ 1867138 w 5932286"/>
              <a:gd name="connsiteY1496" fmla="*/ 6555970 h 6994526"/>
              <a:gd name="connsiteX1497" fmla="*/ 2031749 w 5932286"/>
              <a:gd name="connsiteY1497" fmla="*/ 6719884 h 6994526"/>
              <a:gd name="connsiteX1498" fmla="*/ 1867847 w 5932286"/>
              <a:gd name="connsiteY1498" fmla="*/ 6884498 h 6994526"/>
              <a:gd name="connsiteX1499" fmla="*/ 2978008 w 5932286"/>
              <a:gd name="connsiteY1499" fmla="*/ 6936670 h 6994526"/>
              <a:gd name="connsiteX1500" fmla="*/ 2843071 w 5932286"/>
              <a:gd name="connsiteY1500" fmla="*/ 6802431 h 6994526"/>
              <a:gd name="connsiteX1501" fmla="*/ 2976598 w 5932286"/>
              <a:gd name="connsiteY1501" fmla="*/ 6667491 h 6994526"/>
              <a:gd name="connsiteX1502" fmla="*/ 3111535 w 5932286"/>
              <a:gd name="connsiteY1502" fmla="*/ 6801723 h 6994526"/>
              <a:gd name="connsiteX1503" fmla="*/ 2978008 w 5932286"/>
              <a:gd name="connsiteY1503" fmla="*/ 6936670 h 6994526"/>
              <a:gd name="connsiteX1504" fmla="*/ 4383297 w 5932286"/>
              <a:gd name="connsiteY1504" fmla="*/ 6953626 h 6994526"/>
              <a:gd name="connsiteX1505" fmla="*/ 4310471 w 5932286"/>
              <a:gd name="connsiteY1505" fmla="*/ 6880800 h 6994526"/>
              <a:gd name="connsiteX1506" fmla="*/ 4383297 w 5932286"/>
              <a:gd name="connsiteY1506" fmla="*/ 6807976 h 6994526"/>
              <a:gd name="connsiteX1507" fmla="*/ 4456124 w 5932286"/>
              <a:gd name="connsiteY1507" fmla="*/ 6880800 h 6994526"/>
              <a:gd name="connsiteX1508" fmla="*/ 4383297 w 5932286"/>
              <a:gd name="connsiteY1508" fmla="*/ 6953626 h 6994526"/>
              <a:gd name="connsiteX1509" fmla="*/ 243112 w 5932286"/>
              <a:gd name="connsiteY1509" fmla="*/ 6994526 h 6994526"/>
              <a:gd name="connsiteX1510" fmla="*/ 62124 w 5932286"/>
              <a:gd name="connsiteY1510" fmla="*/ 6994526 h 6994526"/>
              <a:gd name="connsiteX1511" fmla="*/ 37374 w 5932286"/>
              <a:gd name="connsiteY1511" fmla="*/ 6977930 h 6994526"/>
              <a:gd name="connsiteX1512" fmla="*/ 2260 w 5932286"/>
              <a:gd name="connsiteY1512" fmla="*/ 6926278 h 6994526"/>
              <a:gd name="connsiteX1513" fmla="*/ 0 w 5932286"/>
              <a:gd name="connsiteY1513" fmla="*/ 6915444 h 6994526"/>
              <a:gd name="connsiteX1514" fmla="*/ 0 w 5932286"/>
              <a:gd name="connsiteY1514" fmla="*/ 6808507 h 6994526"/>
              <a:gd name="connsiteX1515" fmla="*/ 1851 w 5932286"/>
              <a:gd name="connsiteY1515" fmla="*/ 6799275 h 6994526"/>
              <a:gd name="connsiteX1516" fmla="*/ 152272 w 5932286"/>
              <a:gd name="connsiteY1516" fmla="*/ 6699131 h 6994526"/>
              <a:gd name="connsiteX1517" fmla="*/ 315469 w 5932286"/>
              <a:gd name="connsiteY1517" fmla="*/ 6861626 h 6994526"/>
              <a:gd name="connsiteX1518" fmla="*/ 268135 w 5932286"/>
              <a:gd name="connsiteY1518" fmla="*/ 6977488 h 6994526"/>
              <a:gd name="connsiteX1519" fmla="*/ 487472 w 5932286"/>
              <a:gd name="connsiteY1519" fmla="*/ 6994526 h 6994526"/>
              <a:gd name="connsiteX1520" fmla="*/ 473965 w 5932286"/>
              <a:gd name="connsiteY1520" fmla="*/ 6994526 h 6994526"/>
              <a:gd name="connsiteX1521" fmla="*/ 415488 w 5932286"/>
              <a:gd name="connsiteY1521" fmla="*/ 6982688 h 6994526"/>
              <a:gd name="connsiteX1522" fmla="*/ 313750 w 5932286"/>
              <a:gd name="connsiteY1522" fmla="*/ 6830384 h 6994526"/>
              <a:gd name="connsiteX1523" fmla="*/ 478363 w 5932286"/>
              <a:gd name="connsiteY1523" fmla="*/ 6665065 h 6994526"/>
              <a:gd name="connsiteX1524" fmla="*/ 631266 w 5932286"/>
              <a:gd name="connsiteY1524" fmla="*/ 6765407 h 6994526"/>
              <a:gd name="connsiteX1525" fmla="*/ 631365 w 5932286"/>
              <a:gd name="connsiteY1525" fmla="*/ 6765897 h 6994526"/>
              <a:gd name="connsiteX1526" fmla="*/ 644531 w 5932286"/>
              <a:gd name="connsiteY1526" fmla="*/ 6700129 h 6994526"/>
              <a:gd name="connsiteX1527" fmla="*/ 800815 w 5932286"/>
              <a:gd name="connsiteY1527" fmla="*/ 6596193 h 6994526"/>
              <a:gd name="connsiteX1528" fmla="*/ 971789 w 5932286"/>
              <a:gd name="connsiteY1528" fmla="*/ 6765765 h 6994526"/>
              <a:gd name="connsiteX1529" fmla="*/ 802225 w 5932286"/>
              <a:gd name="connsiteY1529" fmla="*/ 6936738 h 6994526"/>
              <a:gd name="connsiteX1530" fmla="*/ 644751 w 5932286"/>
              <a:gd name="connsiteY1530" fmla="*/ 6832718 h 6994526"/>
              <a:gd name="connsiteX1531" fmla="*/ 644264 w 5932286"/>
              <a:gd name="connsiteY1531" fmla="*/ 6830328 h 6994526"/>
              <a:gd name="connsiteX1532" fmla="*/ 631785 w 5932286"/>
              <a:gd name="connsiteY1532" fmla="*/ 6894066 h 6994526"/>
              <a:gd name="connsiteX1533" fmla="*/ 528874 w 5932286"/>
              <a:gd name="connsiteY1533" fmla="*/ 6988191 h 6994526"/>
              <a:gd name="connsiteX1534" fmla="*/ 1089823 w 5932286"/>
              <a:gd name="connsiteY1534" fmla="*/ 6994526 h 6994526"/>
              <a:gd name="connsiteX1535" fmla="*/ 832853 w 5932286"/>
              <a:gd name="connsiteY1535" fmla="*/ 6994526 h 6994526"/>
              <a:gd name="connsiteX1536" fmla="*/ 840539 w 5932286"/>
              <a:gd name="connsiteY1536" fmla="*/ 6983078 h 6994526"/>
              <a:gd name="connsiteX1537" fmla="*/ 961170 w 5932286"/>
              <a:gd name="connsiteY1537" fmla="*/ 6933182 h 6994526"/>
              <a:gd name="connsiteX1538" fmla="*/ 1081625 w 5932286"/>
              <a:gd name="connsiteY1538" fmla="*/ 6982458 h 6994526"/>
              <a:gd name="connsiteX1539" fmla="*/ 1686900 w 5932286"/>
              <a:gd name="connsiteY1539" fmla="*/ 6994526 h 6994526"/>
              <a:gd name="connsiteX1540" fmla="*/ 1466869 w 5932286"/>
              <a:gd name="connsiteY1540" fmla="*/ 6994526 h 6994526"/>
              <a:gd name="connsiteX1541" fmla="*/ 1461972 w 5932286"/>
              <a:gd name="connsiteY1541" fmla="*/ 6991268 h 6994526"/>
              <a:gd name="connsiteX1542" fmla="*/ 1434489 w 5932286"/>
              <a:gd name="connsiteY1542" fmla="*/ 6950906 h 6994526"/>
              <a:gd name="connsiteX1543" fmla="*/ 1443380 w 5932286"/>
              <a:gd name="connsiteY1543" fmla="*/ 6994526 h 6994526"/>
              <a:gd name="connsiteX1544" fmla="*/ 1105323 w 5932286"/>
              <a:gd name="connsiteY1544" fmla="*/ 6994526 h 6994526"/>
              <a:gd name="connsiteX1545" fmla="*/ 1116968 w 5932286"/>
              <a:gd name="connsiteY1545" fmla="*/ 6936398 h 6994526"/>
              <a:gd name="connsiteX1546" fmla="*/ 1273939 w 5932286"/>
              <a:gd name="connsiteY1546" fmla="*/ 6832478 h 6994526"/>
              <a:gd name="connsiteX1547" fmla="*/ 1394661 w 5932286"/>
              <a:gd name="connsiteY1547" fmla="*/ 6881754 h 6994526"/>
              <a:gd name="connsiteX1548" fmla="*/ 1423761 w 5932286"/>
              <a:gd name="connsiteY1548" fmla="*/ 6924552 h 6994526"/>
              <a:gd name="connsiteX1549" fmla="*/ 1413931 w 5932286"/>
              <a:gd name="connsiteY1549" fmla="*/ 6876109 h 6994526"/>
              <a:gd name="connsiteX1550" fmla="*/ 1576424 w 5932286"/>
              <a:gd name="connsiteY1550" fmla="*/ 6712210 h 6994526"/>
              <a:gd name="connsiteX1551" fmla="*/ 1740325 w 5932286"/>
              <a:gd name="connsiteY1551" fmla="*/ 6874700 h 6994526"/>
              <a:gd name="connsiteX1552" fmla="*/ 1692726 w 5932286"/>
              <a:gd name="connsiteY1552" fmla="*/ 6990561 h 6994526"/>
              <a:gd name="connsiteX1553" fmla="*/ 2166566 w 5932286"/>
              <a:gd name="connsiteY1553" fmla="*/ 6994526 h 6994526"/>
              <a:gd name="connsiteX1554" fmla="*/ 1883474 w 5932286"/>
              <a:gd name="connsiteY1554" fmla="*/ 6994526 h 6994526"/>
              <a:gd name="connsiteX1555" fmla="*/ 1883882 w 5932286"/>
              <a:gd name="connsiteY1555" fmla="*/ 6992427 h 6994526"/>
              <a:gd name="connsiteX1556" fmla="*/ 2024861 w 5932286"/>
              <a:gd name="connsiteY1556" fmla="*/ 6898939 h 6994526"/>
              <a:gd name="connsiteX1557" fmla="*/ 2166037 w 5932286"/>
              <a:gd name="connsiteY1557" fmla="*/ 6991930 h 6994526"/>
              <a:gd name="connsiteX1558" fmla="*/ 2379658 w 5932286"/>
              <a:gd name="connsiteY1558" fmla="*/ 6994526 h 6994526"/>
              <a:gd name="connsiteX1559" fmla="*/ 2224803 w 5932286"/>
              <a:gd name="connsiteY1559" fmla="*/ 6994526 h 6994526"/>
              <a:gd name="connsiteX1560" fmla="*/ 2200153 w 5932286"/>
              <a:gd name="connsiteY1560" fmla="*/ 6978020 h 6994526"/>
              <a:gd name="connsiteX1561" fmla="*/ 2157675 w 5932286"/>
              <a:gd name="connsiteY1561" fmla="*/ 6876021 h 6994526"/>
              <a:gd name="connsiteX1562" fmla="*/ 2301799 w 5932286"/>
              <a:gd name="connsiteY1562" fmla="*/ 6731189 h 6994526"/>
              <a:gd name="connsiteX1563" fmla="*/ 2446631 w 5932286"/>
              <a:gd name="connsiteY1563" fmla="*/ 6875313 h 6994526"/>
              <a:gd name="connsiteX1564" fmla="*/ 2404507 w 5932286"/>
              <a:gd name="connsiteY1564" fmla="*/ 6977666 h 6994526"/>
              <a:gd name="connsiteX1565" fmla="*/ 2863882 w 5932286"/>
              <a:gd name="connsiteY1565" fmla="*/ 6994526 h 6994526"/>
              <a:gd name="connsiteX1566" fmla="*/ 2591274 w 5932286"/>
              <a:gd name="connsiteY1566" fmla="*/ 6994526 h 6994526"/>
              <a:gd name="connsiteX1567" fmla="*/ 2597818 w 5932286"/>
              <a:gd name="connsiteY1567" fmla="*/ 6961671 h 6994526"/>
              <a:gd name="connsiteX1568" fmla="*/ 2726779 w 5932286"/>
              <a:gd name="connsiteY1568" fmla="*/ 6875238 h 6994526"/>
              <a:gd name="connsiteX1569" fmla="*/ 2856927 w 5932286"/>
              <a:gd name="connsiteY1569" fmla="*/ 6960379 h 6994526"/>
              <a:gd name="connsiteX1570" fmla="*/ 3469436 w 5932286"/>
              <a:gd name="connsiteY1570" fmla="*/ 6994526 h 6994526"/>
              <a:gd name="connsiteX1571" fmla="*/ 3297068 w 5932286"/>
              <a:gd name="connsiteY1571" fmla="*/ 6994526 h 6994526"/>
              <a:gd name="connsiteX1572" fmla="*/ 3276916 w 5932286"/>
              <a:gd name="connsiteY1572" fmla="*/ 6964826 h 6994526"/>
              <a:gd name="connsiteX1573" fmla="*/ 3267754 w 5932286"/>
              <a:gd name="connsiteY1573" fmla="*/ 6919612 h 6994526"/>
              <a:gd name="connsiteX1574" fmla="*/ 3382915 w 5932286"/>
              <a:gd name="connsiteY1574" fmla="*/ 6803747 h 6994526"/>
              <a:gd name="connsiteX1575" fmla="*/ 3498782 w 5932286"/>
              <a:gd name="connsiteY1575" fmla="*/ 6918904 h 6994526"/>
              <a:gd name="connsiteX1576" fmla="*/ 3490026 w 5932286"/>
              <a:gd name="connsiteY1576" fmla="*/ 6963831 h 6994526"/>
              <a:gd name="connsiteX1577" fmla="*/ 3859494 w 5932286"/>
              <a:gd name="connsiteY1577" fmla="*/ 6994526 h 6994526"/>
              <a:gd name="connsiteX1578" fmla="*/ 3706722 w 5932286"/>
              <a:gd name="connsiteY1578" fmla="*/ 6994526 h 6994526"/>
              <a:gd name="connsiteX1579" fmla="*/ 3722796 w 5932286"/>
              <a:gd name="connsiteY1579" fmla="*/ 6970515 h 6994526"/>
              <a:gd name="connsiteX1580" fmla="*/ 3782936 w 5932286"/>
              <a:gd name="connsiteY1580" fmla="*/ 6945611 h 6994526"/>
              <a:gd name="connsiteX1581" fmla="*/ 3842808 w 5932286"/>
              <a:gd name="connsiteY1581" fmla="*/ 6969901 h 6994526"/>
              <a:gd name="connsiteX1582" fmla="*/ 4835937 w 5932286"/>
              <a:gd name="connsiteY1582" fmla="*/ 6994526 h 6994526"/>
              <a:gd name="connsiteX1583" fmla="*/ 4696568 w 5932286"/>
              <a:gd name="connsiteY1583" fmla="*/ 6994526 h 6994526"/>
              <a:gd name="connsiteX1584" fmla="*/ 4693436 w 5932286"/>
              <a:gd name="connsiteY1584" fmla="*/ 6978144 h 6994526"/>
              <a:gd name="connsiteX1585" fmla="*/ 4766277 w 5932286"/>
              <a:gd name="connsiteY1585" fmla="*/ 6905305 h 6994526"/>
              <a:gd name="connsiteX1586" fmla="*/ 4839064 w 5932286"/>
              <a:gd name="connsiteY1586" fmla="*/ 6978144 h 69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Lst>
            <a:rect l="l" t="t" r="r" b="b"/>
            <a:pathLst>
              <a:path w="5932286" h="6994526">
                <a:moveTo>
                  <a:pt x="4594375" y="5875"/>
                </a:moveTo>
                <a:lnTo>
                  <a:pt x="4565871" y="0"/>
                </a:lnTo>
                <a:lnTo>
                  <a:pt x="4622918" y="0"/>
                </a:lnTo>
                <a:close/>
                <a:moveTo>
                  <a:pt x="14015" y="12585"/>
                </a:moveTo>
                <a:lnTo>
                  <a:pt x="0" y="9918"/>
                </a:lnTo>
                <a:lnTo>
                  <a:pt x="0" y="0"/>
                </a:lnTo>
                <a:lnTo>
                  <a:pt x="61067" y="0"/>
                </a:lnTo>
                <a:lnTo>
                  <a:pt x="54785" y="4284"/>
                </a:lnTo>
                <a:cubicBezTo>
                  <a:pt x="42277" y="9627"/>
                  <a:pt x="28499" y="12585"/>
                  <a:pt x="14015" y="12585"/>
                </a:cubicBezTo>
                <a:close/>
                <a:moveTo>
                  <a:pt x="342166" y="27267"/>
                </a:moveTo>
                <a:cubicBezTo>
                  <a:pt x="327858" y="27267"/>
                  <a:pt x="314213" y="24396"/>
                  <a:pt x="301794" y="19197"/>
                </a:cubicBezTo>
                <a:lnTo>
                  <a:pt x="273043" y="0"/>
                </a:lnTo>
                <a:lnTo>
                  <a:pt x="410491" y="0"/>
                </a:lnTo>
                <a:lnTo>
                  <a:pt x="382423" y="19087"/>
                </a:lnTo>
                <a:cubicBezTo>
                  <a:pt x="370071" y="24353"/>
                  <a:pt x="356471" y="27267"/>
                  <a:pt x="342166" y="27267"/>
                </a:cubicBezTo>
                <a:close/>
                <a:moveTo>
                  <a:pt x="2488906" y="27452"/>
                </a:moveTo>
                <a:cubicBezTo>
                  <a:pt x="2467004" y="27452"/>
                  <a:pt x="2447045" y="18621"/>
                  <a:pt x="2432561" y="4314"/>
                </a:cubicBezTo>
                <a:lnTo>
                  <a:pt x="2429614" y="0"/>
                </a:lnTo>
                <a:lnTo>
                  <a:pt x="2547809" y="0"/>
                </a:lnTo>
                <a:lnTo>
                  <a:pt x="2545162" y="3960"/>
                </a:lnTo>
                <a:cubicBezTo>
                  <a:pt x="2530767" y="18444"/>
                  <a:pt x="2510808" y="27452"/>
                  <a:pt x="2488906" y="27452"/>
                </a:cubicBezTo>
                <a:close/>
                <a:moveTo>
                  <a:pt x="667513" y="71371"/>
                </a:moveTo>
                <a:cubicBezTo>
                  <a:pt x="625128" y="71371"/>
                  <a:pt x="588697" y="45936"/>
                  <a:pt x="573130" y="9373"/>
                </a:cubicBezTo>
                <a:lnTo>
                  <a:pt x="571230" y="0"/>
                </a:lnTo>
                <a:lnTo>
                  <a:pt x="763055" y="0"/>
                </a:lnTo>
                <a:lnTo>
                  <a:pt x="761304" y="8778"/>
                </a:lnTo>
                <a:cubicBezTo>
                  <a:pt x="745937" y="45537"/>
                  <a:pt x="709904" y="71371"/>
                  <a:pt x="667513" y="71371"/>
                </a:cubicBezTo>
                <a:close/>
                <a:moveTo>
                  <a:pt x="1907321" y="116369"/>
                </a:moveTo>
                <a:cubicBezTo>
                  <a:pt x="1855743" y="117078"/>
                  <a:pt x="1812647" y="74684"/>
                  <a:pt x="1812647" y="22405"/>
                </a:cubicBezTo>
                <a:lnTo>
                  <a:pt x="1817171" y="0"/>
                </a:lnTo>
                <a:lnTo>
                  <a:pt x="1997611" y="0"/>
                </a:lnTo>
                <a:lnTo>
                  <a:pt x="2001994" y="21697"/>
                </a:lnTo>
                <a:cubicBezTo>
                  <a:pt x="2001994" y="73983"/>
                  <a:pt x="1959601" y="116369"/>
                  <a:pt x="1907321" y="116369"/>
                </a:cubicBezTo>
                <a:close/>
                <a:moveTo>
                  <a:pt x="987061" y="144026"/>
                </a:moveTo>
                <a:cubicBezTo>
                  <a:pt x="931245" y="144727"/>
                  <a:pt x="886027" y="99516"/>
                  <a:pt x="886027" y="43701"/>
                </a:cubicBezTo>
                <a:cubicBezTo>
                  <a:pt x="886027" y="29747"/>
                  <a:pt x="888853" y="16456"/>
                  <a:pt x="893953" y="4368"/>
                </a:cubicBezTo>
                <a:lnTo>
                  <a:pt x="896887" y="0"/>
                </a:lnTo>
                <a:lnTo>
                  <a:pt x="1076886" y="0"/>
                </a:lnTo>
                <a:lnTo>
                  <a:pt x="1079447" y="3771"/>
                </a:lnTo>
                <a:cubicBezTo>
                  <a:pt x="1084559" y="15793"/>
                  <a:pt x="1087385" y="29040"/>
                  <a:pt x="1087385" y="42993"/>
                </a:cubicBezTo>
                <a:cubicBezTo>
                  <a:pt x="1088086" y="98806"/>
                  <a:pt x="1042874" y="144026"/>
                  <a:pt x="987061" y="144026"/>
                </a:cubicBezTo>
                <a:close/>
                <a:moveTo>
                  <a:pt x="3290557" y="202933"/>
                </a:moveTo>
                <a:cubicBezTo>
                  <a:pt x="3250096" y="202933"/>
                  <a:pt x="3217735" y="170560"/>
                  <a:pt x="3217735" y="130111"/>
                </a:cubicBezTo>
                <a:cubicBezTo>
                  <a:pt x="3217735" y="89652"/>
                  <a:pt x="3250096" y="56132"/>
                  <a:pt x="3289399" y="56132"/>
                </a:cubicBezTo>
                <a:cubicBezTo>
                  <a:pt x="3329858" y="56132"/>
                  <a:pt x="3363379" y="88493"/>
                  <a:pt x="3363379" y="128953"/>
                </a:cubicBezTo>
                <a:cubicBezTo>
                  <a:pt x="3363379" y="169402"/>
                  <a:pt x="3331006" y="202933"/>
                  <a:pt x="3290557" y="202933"/>
                </a:cubicBezTo>
                <a:close/>
                <a:moveTo>
                  <a:pt x="3808744" y="210107"/>
                </a:moveTo>
                <a:cubicBezTo>
                  <a:pt x="3769181" y="210107"/>
                  <a:pt x="3735026" y="177738"/>
                  <a:pt x="3735026" y="138177"/>
                </a:cubicBezTo>
                <a:cubicBezTo>
                  <a:pt x="3735026" y="98616"/>
                  <a:pt x="3767397" y="66265"/>
                  <a:pt x="3806941" y="64463"/>
                </a:cubicBezTo>
                <a:cubicBezTo>
                  <a:pt x="3848306" y="64463"/>
                  <a:pt x="3880677" y="96832"/>
                  <a:pt x="3880677" y="136393"/>
                </a:cubicBezTo>
                <a:cubicBezTo>
                  <a:pt x="3882462" y="177738"/>
                  <a:pt x="3850108" y="210107"/>
                  <a:pt x="3808744" y="210107"/>
                </a:cubicBezTo>
                <a:close/>
                <a:moveTo>
                  <a:pt x="2752770" y="223532"/>
                </a:moveTo>
                <a:cubicBezTo>
                  <a:pt x="2708967" y="223532"/>
                  <a:pt x="2672933" y="188206"/>
                  <a:pt x="2672933" y="144404"/>
                </a:cubicBezTo>
                <a:cubicBezTo>
                  <a:pt x="2672232" y="99893"/>
                  <a:pt x="2708259" y="64568"/>
                  <a:pt x="2752068" y="64568"/>
                </a:cubicBezTo>
                <a:cubicBezTo>
                  <a:pt x="2795870" y="64568"/>
                  <a:pt x="2831903" y="99893"/>
                  <a:pt x="2831903" y="143696"/>
                </a:cubicBezTo>
                <a:cubicBezTo>
                  <a:pt x="2832605" y="187498"/>
                  <a:pt x="2796579" y="223532"/>
                  <a:pt x="2752770" y="223532"/>
                </a:cubicBezTo>
                <a:close/>
                <a:moveTo>
                  <a:pt x="4310074" y="236639"/>
                </a:moveTo>
                <a:cubicBezTo>
                  <a:pt x="4268739" y="236639"/>
                  <a:pt x="4234246" y="202154"/>
                  <a:pt x="4234246" y="160757"/>
                </a:cubicBezTo>
                <a:cubicBezTo>
                  <a:pt x="4234246" y="119429"/>
                  <a:pt x="4268739" y="91855"/>
                  <a:pt x="4310074" y="84944"/>
                </a:cubicBezTo>
                <a:cubicBezTo>
                  <a:pt x="4351478" y="84944"/>
                  <a:pt x="4379057" y="119429"/>
                  <a:pt x="4379057" y="160757"/>
                </a:cubicBezTo>
                <a:cubicBezTo>
                  <a:pt x="4385969" y="202154"/>
                  <a:pt x="4351478" y="236639"/>
                  <a:pt x="4310074" y="236639"/>
                </a:cubicBezTo>
                <a:close/>
                <a:moveTo>
                  <a:pt x="1299339" y="246672"/>
                </a:moveTo>
                <a:cubicBezTo>
                  <a:pt x="1243527" y="246672"/>
                  <a:pt x="1198308" y="202163"/>
                  <a:pt x="1198308" y="146349"/>
                </a:cubicBezTo>
                <a:cubicBezTo>
                  <a:pt x="1198308" y="90537"/>
                  <a:pt x="1243527" y="45319"/>
                  <a:pt x="1298631" y="45319"/>
                </a:cubicBezTo>
                <a:cubicBezTo>
                  <a:pt x="1354444" y="45319"/>
                  <a:pt x="1399661" y="89828"/>
                  <a:pt x="1399661" y="145642"/>
                </a:cubicBezTo>
                <a:cubicBezTo>
                  <a:pt x="1399661" y="201454"/>
                  <a:pt x="1355152" y="246672"/>
                  <a:pt x="1299339" y="246672"/>
                </a:cubicBezTo>
                <a:close/>
                <a:moveTo>
                  <a:pt x="4790983" y="269478"/>
                </a:moveTo>
                <a:cubicBezTo>
                  <a:pt x="4750498" y="269478"/>
                  <a:pt x="4718128" y="237107"/>
                  <a:pt x="4718128" y="196624"/>
                </a:cubicBezTo>
                <a:cubicBezTo>
                  <a:pt x="4718128" y="156141"/>
                  <a:pt x="4750498" y="123771"/>
                  <a:pt x="4790983" y="123771"/>
                </a:cubicBezTo>
                <a:cubicBezTo>
                  <a:pt x="4831466" y="123771"/>
                  <a:pt x="4863836" y="156141"/>
                  <a:pt x="4863836" y="196624"/>
                </a:cubicBezTo>
                <a:cubicBezTo>
                  <a:pt x="4863836" y="237107"/>
                  <a:pt x="4831466" y="269478"/>
                  <a:pt x="4790983" y="269478"/>
                </a:cubicBezTo>
                <a:close/>
                <a:moveTo>
                  <a:pt x="2190175" y="296108"/>
                </a:moveTo>
                <a:cubicBezTo>
                  <a:pt x="2130836" y="296108"/>
                  <a:pt x="2082793" y="248772"/>
                  <a:pt x="2082793" y="189433"/>
                </a:cubicBezTo>
                <a:cubicBezTo>
                  <a:pt x="2082793" y="130086"/>
                  <a:pt x="2130836" y="82043"/>
                  <a:pt x="2189475" y="82043"/>
                </a:cubicBezTo>
                <a:cubicBezTo>
                  <a:pt x="2248821" y="82043"/>
                  <a:pt x="2296857" y="129379"/>
                  <a:pt x="2296857" y="188725"/>
                </a:cubicBezTo>
                <a:cubicBezTo>
                  <a:pt x="2296857" y="248071"/>
                  <a:pt x="2249522" y="296108"/>
                  <a:pt x="2190175" y="296108"/>
                </a:cubicBezTo>
                <a:close/>
                <a:moveTo>
                  <a:pt x="1600960" y="396686"/>
                </a:moveTo>
                <a:cubicBezTo>
                  <a:pt x="1534546" y="397395"/>
                  <a:pt x="1480149" y="342998"/>
                  <a:pt x="1480149" y="276581"/>
                </a:cubicBezTo>
                <a:cubicBezTo>
                  <a:pt x="1480149" y="209465"/>
                  <a:pt x="1533845" y="155768"/>
                  <a:pt x="1600252" y="155768"/>
                </a:cubicBezTo>
                <a:cubicBezTo>
                  <a:pt x="1666666" y="155060"/>
                  <a:pt x="1721063" y="208757"/>
                  <a:pt x="1721063" y="275873"/>
                </a:cubicBezTo>
                <a:cubicBezTo>
                  <a:pt x="1721771" y="342290"/>
                  <a:pt x="1667367" y="396686"/>
                  <a:pt x="1600960" y="396686"/>
                </a:cubicBezTo>
                <a:close/>
                <a:moveTo>
                  <a:pt x="12459" y="397574"/>
                </a:moveTo>
                <a:lnTo>
                  <a:pt x="0" y="395061"/>
                </a:lnTo>
                <a:lnTo>
                  <a:pt x="0" y="153466"/>
                </a:lnTo>
                <a:lnTo>
                  <a:pt x="11751" y="151009"/>
                </a:lnTo>
                <a:cubicBezTo>
                  <a:pt x="79575" y="151009"/>
                  <a:pt x="135387" y="206113"/>
                  <a:pt x="135387" y="273938"/>
                </a:cubicBezTo>
                <a:cubicBezTo>
                  <a:pt x="135387" y="341761"/>
                  <a:pt x="80283" y="397574"/>
                  <a:pt x="12459" y="397574"/>
                </a:cubicBezTo>
                <a:close/>
                <a:moveTo>
                  <a:pt x="340716" y="415001"/>
                </a:moveTo>
                <a:cubicBezTo>
                  <a:pt x="272893" y="415001"/>
                  <a:pt x="217079" y="359897"/>
                  <a:pt x="217079" y="292072"/>
                </a:cubicBezTo>
                <a:cubicBezTo>
                  <a:pt x="216372" y="224248"/>
                  <a:pt x="271484" y="168436"/>
                  <a:pt x="340009" y="168436"/>
                </a:cubicBezTo>
                <a:cubicBezTo>
                  <a:pt x="407833" y="168436"/>
                  <a:pt x="463645" y="223540"/>
                  <a:pt x="463645" y="291364"/>
                </a:cubicBezTo>
                <a:cubicBezTo>
                  <a:pt x="463645" y="359187"/>
                  <a:pt x="408541" y="415001"/>
                  <a:pt x="340716" y="415001"/>
                </a:cubicBezTo>
                <a:close/>
                <a:moveTo>
                  <a:pt x="3520665" y="437641"/>
                </a:moveTo>
                <a:cubicBezTo>
                  <a:pt x="3480174" y="437641"/>
                  <a:pt x="3447465" y="405713"/>
                  <a:pt x="3447465" y="365213"/>
                </a:cubicBezTo>
                <a:cubicBezTo>
                  <a:pt x="3447465" y="324722"/>
                  <a:pt x="3479393" y="292013"/>
                  <a:pt x="3519893" y="292013"/>
                </a:cubicBezTo>
                <a:cubicBezTo>
                  <a:pt x="3560384" y="292013"/>
                  <a:pt x="3593093" y="324722"/>
                  <a:pt x="3593093" y="364440"/>
                </a:cubicBezTo>
                <a:cubicBezTo>
                  <a:pt x="3593093" y="404932"/>
                  <a:pt x="3561165" y="437641"/>
                  <a:pt x="3520665" y="437641"/>
                </a:cubicBezTo>
                <a:close/>
                <a:moveTo>
                  <a:pt x="3001138" y="443447"/>
                </a:moveTo>
                <a:cubicBezTo>
                  <a:pt x="2954511" y="443447"/>
                  <a:pt x="2916352" y="405296"/>
                  <a:pt x="2916352" y="358669"/>
                </a:cubicBezTo>
                <a:cubicBezTo>
                  <a:pt x="2915651" y="312041"/>
                  <a:pt x="2953803" y="273891"/>
                  <a:pt x="3000431" y="274592"/>
                </a:cubicBezTo>
                <a:cubicBezTo>
                  <a:pt x="3047058" y="273891"/>
                  <a:pt x="3085210" y="312041"/>
                  <a:pt x="3085210" y="358669"/>
                </a:cubicBezTo>
                <a:cubicBezTo>
                  <a:pt x="3085918" y="405296"/>
                  <a:pt x="3047767" y="443447"/>
                  <a:pt x="3001138" y="443447"/>
                </a:cubicBezTo>
                <a:close/>
                <a:moveTo>
                  <a:pt x="4020801" y="460815"/>
                </a:moveTo>
                <a:cubicBezTo>
                  <a:pt x="3979475" y="462599"/>
                  <a:pt x="3947122" y="428461"/>
                  <a:pt x="3947122" y="388920"/>
                </a:cubicBezTo>
                <a:cubicBezTo>
                  <a:pt x="3947122" y="347595"/>
                  <a:pt x="3979475" y="315241"/>
                  <a:pt x="4019017" y="315241"/>
                </a:cubicBezTo>
                <a:cubicBezTo>
                  <a:pt x="4060342" y="315241"/>
                  <a:pt x="4092696" y="347595"/>
                  <a:pt x="4092696" y="387118"/>
                </a:cubicBezTo>
                <a:cubicBezTo>
                  <a:pt x="4094480" y="428461"/>
                  <a:pt x="4060342" y="460815"/>
                  <a:pt x="4020801" y="460815"/>
                </a:cubicBezTo>
                <a:close/>
                <a:moveTo>
                  <a:pt x="665095" y="465350"/>
                </a:moveTo>
                <a:cubicBezTo>
                  <a:pt x="597271" y="465350"/>
                  <a:pt x="541459" y="410246"/>
                  <a:pt x="541459" y="342422"/>
                </a:cubicBezTo>
                <a:cubicBezTo>
                  <a:pt x="541459" y="274597"/>
                  <a:pt x="596563" y="219493"/>
                  <a:pt x="664387" y="218785"/>
                </a:cubicBezTo>
                <a:cubicBezTo>
                  <a:pt x="732211" y="218785"/>
                  <a:pt x="788024" y="273889"/>
                  <a:pt x="788024" y="341714"/>
                </a:cubicBezTo>
                <a:cubicBezTo>
                  <a:pt x="788024" y="409537"/>
                  <a:pt x="732919" y="465350"/>
                  <a:pt x="665095" y="465350"/>
                </a:cubicBezTo>
                <a:close/>
                <a:moveTo>
                  <a:pt x="2458890" y="476012"/>
                </a:moveTo>
                <a:cubicBezTo>
                  <a:pt x="2405196" y="476012"/>
                  <a:pt x="2361395" y="432919"/>
                  <a:pt x="2361395" y="379225"/>
                </a:cubicBezTo>
                <a:cubicBezTo>
                  <a:pt x="2361395" y="325531"/>
                  <a:pt x="2404488" y="281729"/>
                  <a:pt x="2458182" y="281729"/>
                </a:cubicBezTo>
                <a:cubicBezTo>
                  <a:pt x="2511876" y="281729"/>
                  <a:pt x="2555677" y="324821"/>
                  <a:pt x="2555677" y="378517"/>
                </a:cubicBezTo>
                <a:cubicBezTo>
                  <a:pt x="2555677" y="432211"/>
                  <a:pt x="2512584" y="476012"/>
                  <a:pt x="2458890" y="476012"/>
                </a:cubicBezTo>
                <a:close/>
                <a:moveTo>
                  <a:pt x="4503358" y="497432"/>
                </a:moveTo>
                <a:cubicBezTo>
                  <a:pt x="4462572" y="497432"/>
                  <a:pt x="4430544" y="465404"/>
                  <a:pt x="4430544" y="427538"/>
                </a:cubicBezTo>
                <a:cubicBezTo>
                  <a:pt x="4430544" y="386752"/>
                  <a:pt x="4462572" y="354724"/>
                  <a:pt x="4503358" y="351805"/>
                </a:cubicBezTo>
                <a:cubicBezTo>
                  <a:pt x="4544144" y="351805"/>
                  <a:pt x="4576171" y="383832"/>
                  <a:pt x="4576171" y="424618"/>
                </a:cubicBezTo>
                <a:cubicBezTo>
                  <a:pt x="4576171" y="465404"/>
                  <a:pt x="4544144" y="497432"/>
                  <a:pt x="4503358" y="497432"/>
                </a:cubicBezTo>
                <a:close/>
                <a:moveTo>
                  <a:pt x="4972541" y="543506"/>
                </a:moveTo>
                <a:cubicBezTo>
                  <a:pt x="4932056" y="543506"/>
                  <a:pt x="4899686" y="511136"/>
                  <a:pt x="4899686" y="470653"/>
                </a:cubicBezTo>
                <a:cubicBezTo>
                  <a:pt x="4899686" y="430170"/>
                  <a:pt x="4932056" y="397799"/>
                  <a:pt x="4972541" y="397799"/>
                </a:cubicBezTo>
                <a:cubicBezTo>
                  <a:pt x="5013024" y="397799"/>
                  <a:pt x="5045394" y="430170"/>
                  <a:pt x="5045394" y="470653"/>
                </a:cubicBezTo>
                <a:cubicBezTo>
                  <a:pt x="5045394" y="511136"/>
                  <a:pt x="5013024" y="543506"/>
                  <a:pt x="4972541" y="543506"/>
                </a:cubicBezTo>
                <a:close/>
                <a:moveTo>
                  <a:pt x="983186" y="547658"/>
                </a:moveTo>
                <a:cubicBezTo>
                  <a:pt x="915361" y="547658"/>
                  <a:pt x="859549" y="492553"/>
                  <a:pt x="859549" y="424729"/>
                </a:cubicBezTo>
                <a:cubicBezTo>
                  <a:pt x="859549" y="356905"/>
                  <a:pt x="914653" y="301800"/>
                  <a:pt x="982478" y="301092"/>
                </a:cubicBezTo>
                <a:cubicBezTo>
                  <a:pt x="1050303" y="301092"/>
                  <a:pt x="1106115" y="356197"/>
                  <a:pt x="1106115" y="424021"/>
                </a:cubicBezTo>
                <a:cubicBezTo>
                  <a:pt x="1106115" y="491844"/>
                  <a:pt x="1051010" y="547658"/>
                  <a:pt x="983186" y="547658"/>
                </a:cubicBezTo>
                <a:close/>
                <a:moveTo>
                  <a:pt x="1890007" y="548606"/>
                </a:moveTo>
                <a:cubicBezTo>
                  <a:pt x="1826419" y="549307"/>
                  <a:pt x="1774139" y="497735"/>
                  <a:pt x="1774139" y="433445"/>
                </a:cubicBezTo>
                <a:cubicBezTo>
                  <a:pt x="1773431" y="369147"/>
                  <a:pt x="1825009" y="317576"/>
                  <a:pt x="1889300" y="317576"/>
                </a:cubicBezTo>
                <a:cubicBezTo>
                  <a:pt x="1952883" y="317576"/>
                  <a:pt x="2005169" y="369147"/>
                  <a:pt x="2005169" y="432737"/>
                </a:cubicBezTo>
                <a:cubicBezTo>
                  <a:pt x="2005870" y="496318"/>
                  <a:pt x="1954298" y="548606"/>
                  <a:pt x="1890007" y="548606"/>
                </a:cubicBezTo>
                <a:close/>
                <a:moveTo>
                  <a:pt x="1291591" y="664493"/>
                </a:moveTo>
                <a:cubicBezTo>
                  <a:pt x="1221648" y="664493"/>
                  <a:pt x="1164417" y="607972"/>
                  <a:pt x="1164417" y="538029"/>
                </a:cubicBezTo>
                <a:cubicBezTo>
                  <a:pt x="1164417" y="468086"/>
                  <a:pt x="1220940" y="410856"/>
                  <a:pt x="1290883" y="410856"/>
                </a:cubicBezTo>
                <a:cubicBezTo>
                  <a:pt x="1360833" y="410856"/>
                  <a:pt x="1418057" y="467377"/>
                  <a:pt x="1418057" y="537320"/>
                </a:cubicBezTo>
                <a:cubicBezTo>
                  <a:pt x="1418057" y="607262"/>
                  <a:pt x="1361534" y="664493"/>
                  <a:pt x="1291591" y="664493"/>
                </a:cubicBezTo>
                <a:close/>
                <a:moveTo>
                  <a:pt x="3232569" y="677291"/>
                </a:moveTo>
                <a:cubicBezTo>
                  <a:pt x="3185942" y="678000"/>
                  <a:pt x="3147783" y="639848"/>
                  <a:pt x="3147783" y="593221"/>
                </a:cubicBezTo>
                <a:cubicBezTo>
                  <a:pt x="3147082" y="546593"/>
                  <a:pt x="3185234" y="508435"/>
                  <a:pt x="3231861" y="508435"/>
                </a:cubicBezTo>
                <a:cubicBezTo>
                  <a:pt x="3278489" y="507734"/>
                  <a:pt x="3316641" y="545884"/>
                  <a:pt x="3316641" y="592513"/>
                </a:cubicBezTo>
                <a:cubicBezTo>
                  <a:pt x="3317349" y="639141"/>
                  <a:pt x="3279198" y="677291"/>
                  <a:pt x="3232569" y="677291"/>
                </a:cubicBezTo>
                <a:close/>
                <a:moveTo>
                  <a:pt x="3733068" y="688189"/>
                </a:moveTo>
                <a:cubicBezTo>
                  <a:pt x="3693286" y="688189"/>
                  <a:pt x="3660260" y="655915"/>
                  <a:pt x="3660260" y="615379"/>
                </a:cubicBezTo>
                <a:cubicBezTo>
                  <a:pt x="3659508" y="575588"/>
                  <a:pt x="3692533" y="542562"/>
                  <a:pt x="3733068" y="542562"/>
                </a:cubicBezTo>
                <a:cubicBezTo>
                  <a:pt x="3772858" y="542562"/>
                  <a:pt x="3805882" y="574842"/>
                  <a:pt x="3805882" y="615379"/>
                </a:cubicBezTo>
                <a:cubicBezTo>
                  <a:pt x="3805882" y="655163"/>
                  <a:pt x="3773602" y="688189"/>
                  <a:pt x="3733068" y="688189"/>
                </a:cubicBezTo>
                <a:close/>
                <a:moveTo>
                  <a:pt x="2710650" y="708304"/>
                </a:moveTo>
                <a:cubicBezTo>
                  <a:pt x="2644944" y="708304"/>
                  <a:pt x="2591957" y="655316"/>
                  <a:pt x="2591957" y="590318"/>
                </a:cubicBezTo>
                <a:cubicBezTo>
                  <a:pt x="2591957" y="525319"/>
                  <a:pt x="2644944" y="472332"/>
                  <a:pt x="2709942" y="471624"/>
                </a:cubicBezTo>
                <a:cubicBezTo>
                  <a:pt x="2774941" y="471624"/>
                  <a:pt x="2828636" y="524612"/>
                  <a:pt x="2828636" y="589610"/>
                </a:cubicBezTo>
                <a:cubicBezTo>
                  <a:pt x="2828636" y="654608"/>
                  <a:pt x="2776350" y="708304"/>
                  <a:pt x="2710650" y="708304"/>
                </a:cubicBezTo>
                <a:close/>
                <a:moveTo>
                  <a:pt x="4215782" y="724997"/>
                </a:moveTo>
                <a:cubicBezTo>
                  <a:pt x="4175430" y="724997"/>
                  <a:pt x="4142958" y="692526"/>
                  <a:pt x="4142958" y="652174"/>
                </a:cubicBezTo>
                <a:cubicBezTo>
                  <a:pt x="4141981" y="611832"/>
                  <a:pt x="4174453" y="579361"/>
                  <a:pt x="4215782" y="579361"/>
                </a:cubicBezTo>
                <a:cubicBezTo>
                  <a:pt x="4255138" y="579361"/>
                  <a:pt x="4288597" y="611832"/>
                  <a:pt x="4288597" y="652174"/>
                </a:cubicBezTo>
                <a:cubicBezTo>
                  <a:pt x="4288597" y="692526"/>
                  <a:pt x="4256124" y="724997"/>
                  <a:pt x="4215782" y="724997"/>
                </a:cubicBezTo>
                <a:close/>
                <a:moveTo>
                  <a:pt x="2163547" y="743360"/>
                </a:moveTo>
                <a:cubicBezTo>
                  <a:pt x="2092899" y="743360"/>
                  <a:pt x="2034968" y="686131"/>
                  <a:pt x="2034968" y="615481"/>
                </a:cubicBezTo>
                <a:cubicBezTo>
                  <a:pt x="2034968" y="544832"/>
                  <a:pt x="2092197" y="486901"/>
                  <a:pt x="2162847" y="486901"/>
                </a:cubicBezTo>
                <a:cubicBezTo>
                  <a:pt x="2233497" y="486901"/>
                  <a:pt x="2291427" y="544130"/>
                  <a:pt x="2291427" y="614779"/>
                </a:cubicBezTo>
                <a:cubicBezTo>
                  <a:pt x="2291427" y="685430"/>
                  <a:pt x="2234198" y="743360"/>
                  <a:pt x="2163547" y="743360"/>
                </a:cubicBezTo>
                <a:close/>
                <a:moveTo>
                  <a:pt x="11008" y="750068"/>
                </a:moveTo>
                <a:lnTo>
                  <a:pt x="0" y="747972"/>
                </a:lnTo>
                <a:lnTo>
                  <a:pt x="0" y="533205"/>
                </a:lnTo>
                <a:lnTo>
                  <a:pt x="10300" y="531042"/>
                </a:lnTo>
                <a:cubicBezTo>
                  <a:pt x="71058" y="530334"/>
                  <a:pt x="120511" y="579796"/>
                  <a:pt x="120511" y="639847"/>
                </a:cubicBezTo>
                <a:cubicBezTo>
                  <a:pt x="120511" y="700605"/>
                  <a:pt x="71765" y="750068"/>
                  <a:pt x="11008" y="750068"/>
                </a:cubicBezTo>
                <a:close/>
                <a:moveTo>
                  <a:pt x="338777" y="772141"/>
                </a:moveTo>
                <a:cubicBezTo>
                  <a:pt x="277314" y="772141"/>
                  <a:pt x="226445" y="722689"/>
                  <a:pt x="226445" y="660516"/>
                </a:cubicBezTo>
                <a:cubicBezTo>
                  <a:pt x="226445" y="599053"/>
                  <a:pt x="276605" y="548185"/>
                  <a:pt x="338068" y="548185"/>
                </a:cubicBezTo>
                <a:cubicBezTo>
                  <a:pt x="399531" y="548185"/>
                  <a:pt x="450400" y="597638"/>
                  <a:pt x="450400" y="659808"/>
                </a:cubicBezTo>
                <a:cubicBezTo>
                  <a:pt x="450400" y="721979"/>
                  <a:pt x="400948" y="772141"/>
                  <a:pt x="338777" y="772141"/>
                </a:cubicBezTo>
                <a:close/>
                <a:moveTo>
                  <a:pt x="4684710" y="773436"/>
                </a:moveTo>
                <a:cubicBezTo>
                  <a:pt x="4643089" y="773436"/>
                  <a:pt x="4610407" y="740754"/>
                  <a:pt x="4610407" y="699133"/>
                </a:cubicBezTo>
                <a:cubicBezTo>
                  <a:pt x="4610407" y="657514"/>
                  <a:pt x="4643089" y="624831"/>
                  <a:pt x="4681731" y="624831"/>
                </a:cubicBezTo>
                <a:cubicBezTo>
                  <a:pt x="4723352" y="627810"/>
                  <a:pt x="4756034" y="660493"/>
                  <a:pt x="4756034" y="699133"/>
                </a:cubicBezTo>
                <a:cubicBezTo>
                  <a:pt x="4756034" y="740754"/>
                  <a:pt x="4726330" y="773436"/>
                  <a:pt x="4684710" y="773436"/>
                </a:cubicBezTo>
                <a:close/>
                <a:moveTo>
                  <a:pt x="1587412" y="816055"/>
                </a:moveTo>
                <a:cubicBezTo>
                  <a:pt x="1513228" y="816055"/>
                  <a:pt x="1452471" y="755999"/>
                  <a:pt x="1452471" y="681815"/>
                </a:cubicBezTo>
                <a:cubicBezTo>
                  <a:pt x="1451763" y="608339"/>
                  <a:pt x="1511819" y="547582"/>
                  <a:pt x="1586704" y="546874"/>
                </a:cubicBezTo>
                <a:cubicBezTo>
                  <a:pt x="1660889" y="546874"/>
                  <a:pt x="1721651" y="606929"/>
                  <a:pt x="1721651" y="681107"/>
                </a:cubicBezTo>
                <a:cubicBezTo>
                  <a:pt x="1721651" y="755291"/>
                  <a:pt x="1661597" y="816055"/>
                  <a:pt x="1587412" y="816055"/>
                </a:cubicBezTo>
                <a:close/>
                <a:moveTo>
                  <a:pt x="5138605" y="827226"/>
                </a:moveTo>
                <a:cubicBezTo>
                  <a:pt x="5098120" y="827226"/>
                  <a:pt x="5065750" y="794855"/>
                  <a:pt x="5065750" y="754372"/>
                </a:cubicBezTo>
                <a:cubicBezTo>
                  <a:pt x="5065750" y="713889"/>
                  <a:pt x="5098120" y="681519"/>
                  <a:pt x="5138605" y="681519"/>
                </a:cubicBezTo>
                <a:cubicBezTo>
                  <a:pt x="5179088" y="681519"/>
                  <a:pt x="5211458" y="713889"/>
                  <a:pt x="5211458" y="754372"/>
                </a:cubicBezTo>
                <a:cubicBezTo>
                  <a:pt x="5211458" y="794855"/>
                  <a:pt x="5179088" y="827226"/>
                  <a:pt x="5138605" y="827226"/>
                </a:cubicBezTo>
                <a:close/>
                <a:moveTo>
                  <a:pt x="662786" y="836781"/>
                </a:moveTo>
                <a:cubicBezTo>
                  <a:pt x="595665" y="837490"/>
                  <a:pt x="541977" y="783086"/>
                  <a:pt x="541269" y="716679"/>
                </a:cubicBezTo>
                <a:cubicBezTo>
                  <a:pt x="541269" y="650271"/>
                  <a:pt x="594963" y="595867"/>
                  <a:pt x="662079" y="595867"/>
                </a:cubicBezTo>
                <a:cubicBezTo>
                  <a:pt x="728485" y="595159"/>
                  <a:pt x="782887" y="648854"/>
                  <a:pt x="782887" y="715971"/>
                </a:cubicBezTo>
                <a:cubicBezTo>
                  <a:pt x="783594" y="782385"/>
                  <a:pt x="729193" y="836781"/>
                  <a:pt x="662786" y="836781"/>
                </a:cubicBezTo>
                <a:close/>
                <a:moveTo>
                  <a:pt x="2944494" y="924405"/>
                </a:moveTo>
                <a:cubicBezTo>
                  <a:pt x="2887265" y="924405"/>
                  <a:pt x="2840638" y="878479"/>
                  <a:pt x="2840638" y="821256"/>
                </a:cubicBezTo>
                <a:cubicBezTo>
                  <a:pt x="2840638" y="764027"/>
                  <a:pt x="2886564" y="718107"/>
                  <a:pt x="2943786" y="717399"/>
                </a:cubicBezTo>
                <a:cubicBezTo>
                  <a:pt x="3001016" y="717399"/>
                  <a:pt x="3047643" y="763319"/>
                  <a:pt x="3047643" y="820548"/>
                </a:cubicBezTo>
                <a:cubicBezTo>
                  <a:pt x="3047643" y="877778"/>
                  <a:pt x="3001717" y="924405"/>
                  <a:pt x="2944494" y="924405"/>
                </a:cubicBezTo>
                <a:close/>
                <a:moveTo>
                  <a:pt x="3446189" y="927119"/>
                </a:moveTo>
                <a:cubicBezTo>
                  <a:pt x="3398854" y="927119"/>
                  <a:pt x="3361413" y="889676"/>
                  <a:pt x="3360705" y="843050"/>
                </a:cubicBezTo>
                <a:cubicBezTo>
                  <a:pt x="3360705" y="796422"/>
                  <a:pt x="3398854" y="758265"/>
                  <a:pt x="3445482" y="758265"/>
                </a:cubicBezTo>
                <a:cubicBezTo>
                  <a:pt x="3492108" y="757564"/>
                  <a:pt x="3530257" y="795714"/>
                  <a:pt x="3530257" y="842341"/>
                </a:cubicBezTo>
                <a:cubicBezTo>
                  <a:pt x="3530257" y="888968"/>
                  <a:pt x="3492816" y="927119"/>
                  <a:pt x="3446189" y="927119"/>
                </a:cubicBezTo>
                <a:close/>
                <a:moveTo>
                  <a:pt x="978459" y="935126"/>
                </a:moveTo>
                <a:cubicBezTo>
                  <a:pt x="907812" y="935126"/>
                  <a:pt x="850583" y="878604"/>
                  <a:pt x="850583" y="808664"/>
                </a:cubicBezTo>
                <a:cubicBezTo>
                  <a:pt x="850583" y="738723"/>
                  <a:pt x="907103" y="681495"/>
                  <a:pt x="977752" y="681495"/>
                </a:cubicBezTo>
                <a:cubicBezTo>
                  <a:pt x="1047693" y="681495"/>
                  <a:pt x="1104921" y="738015"/>
                  <a:pt x="1104921" y="807956"/>
                </a:cubicBezTo>
                <a:cubicBezTo>
                  <a:pt x="1104921" y="877896"/>
                  <a:pt x="1048401" y="935126"/>
                  <a:pt x="978459" y="935126"/>
                </a:cubicBezTo>
                <a:close/>
                <a:moveTo>
                  <a:pt x="2419665" y="949128"/>
                </a:moveTo>
                <a:cubicBezTo>
                  <a:pt x="2349015" y="949128"/>
                  <a:pt x="2291085" y="891899"/>
                  <a:pt x="2291085" y="821248"/>
                </a:cubicBezTo>
                <a:cubicBezTo>
                  <a:pt x="2291085" y="750599"/>
                  <a:pt x="2348314" y="692669"/>
                  <a:pt x="2418963" y="692669"/>
                </a:cubicBezTo>
                <a:cubicBezTo>
                  <a:pt x="2489612" y="692669"/>
                  <a:pt x="2547543" y="749898"/>
                  <a:pt x="2547543" y="820547"/>
                </a:cubicBezTo>
                <a:cubicBezTo>
                  <a:pt x="2547543" y="891197"/>
                  <a:pt x="2490314" y="949128"/>
                  <a:pt x="2419665" y="949128"/>
                </a:cubicBezTo>
                <a:close/>
                <a:moveTo>
                  <a:pt x="3927697" y="952547"/>
                </a:moveTo>
                <a:cubicBezTo>
                  <a:pt x="3887354" y="952547"/>
                  <a:pt x="3854883" y="920076"/>
                  <a:pt x="3854883" y="879723"/>
                </a:cubicBezTo>
                <a:cubicBezTo>
                  <a:pt x="3854883" y="839381"/>
                  <a:pt x="3887354" y="806910"/>
                  <a:pt x="3927697" y="806910"/>
                </a:cubicBezTo>
                <a:cubicBezTo>
                  <a:pt x="3968039" y="806910"/>
                  <a:pt x="4000510" y="839381"/>
                  <a:pt x="4000510" y="879723"/>
                </a:cubicBezTo>
                <a:cubicBezTo>
                  <a:pt x="4000510" y="920076"/>
                  <a:pt x="3968039" y="952547"/>
                  <a:pt x="3927697" y="952547"/>
                </a:cubicBezTo>
                <a:close/>
                <a:moveTo>
                  <a:pt x="1867364" y="989230"/>
                </a:moveTo>
                <a:cubicBezTo>
                  <a:pt x="1792473" y="989937"/>
                  <a:pt x="1731009" y="929174"/>
                  <a:pt x="1731009" y="854291"/>
                </a:cubicBezTo>
                <a:cubicBezTo>
                  <a:pt x="1730301" y="779401"/>
                  <a:pt x="1791056" y="717936"/>
                  <a:pt x="1865947" y="717936"/>
                </a:cubicBezTo>
                <a:cubicBezTo>
                  <a:pt x="1940839" y="717228"/>
                  <a:pt x="2002302" y="777990"/>
                  <a:pt x="2002302" y="852874"/>
                </a:cubicBezTo>
                <a:cubicBezTo>
                  <a:pt x="2003010" y="927765"/>
                  <a:pt x="1942248" y="989230"/>
                  <a:pt x="1867364" y="989230"/>
                </a:cubicBezTo>
                <a:close/>
                <a:moveTo>
                  <a:pt x="4394163" y="1001208"/>
                </a:moveTo>
                <a:cubicBezTo>
                  <a:pt x="4353767" y="1001208"/>
                  <a:pt x="4320878" y="969260"/>
                  <a:pt x="4320878" y="928856"/>
                </a:cubicBezTo>
                <a:cubicBezTo>
                  <a:pt x="4320878" y="888460"/>
                  <a:pt x="4353767" y="856513"/>
                  <a:pt x="4393231" y="855571"/>
                </a:cubicBezTo>
                <a:cubicBezTo>
                  <a:pt x="4433626" y="855571"/>
                  <a:pt x="4466515" y="887519"/>
                  <a:pt x="4466515" y="927923"/>
                </a:cubicBezTo>
                <a:cubicBezTo>
                  <a:pt x="4466515" y="968319"/>
                  <a:pt x="4434569" y="1001208"/>
                  <a:pt x="4394163" y="1001208"/>
                </a:cubicBezTo>
                <a:close/>
                <a:moveTo>
                  <a:pt x="1280941" y="1032300"/>
                </a:moveTo>
                <a:cubicBezTo>
                  <a:pt x="1227247" y="1032300"/>
                  <a:pt x="1183446" y="989206"/>
                  <a:pt x="1183446" y="935512"/>
                </a:cubicBezTo>
                <a:cubicBezTo>
                  <a:pt x="1183446" y="881818"/>
                  <a:pt x="1226540" y="838724"/>
                  <a:pt x="1280234" y="838017"/>
                </a:cubicBezTo>
                <a:cubicBezTo>
                  <a:pt x="1333928" y="838017"/>
                  <a:pt x="1377729" y="881109"/>
                  <a:pt x="1377729" y="934804"/>
                </a:cubicBezTo>
                <a:cubicBezTo>
                  <a:pt x="1377729" y="988498"/>
                  <a:pt x="1334635" y="1032300"/>
                  <a:pt x="1280941" y="1032300"/>
                </a:cubicBezTo>
                <a:close/>
                <a:moveTo>
                  <a:pt x="4847738" y="1057375"/>
                </a:moveTo>
                <a:cubicBezTo>
                  <a:pt x="4808175" y="1057375"/>
                  <a:pt x="4774020" y="1025006"/>
                  <a:pt x="4774020" y="985445"/>
                </a:cubicBezTo>
                <a:cubicBezTo>
                  <a:pt x="4774020" y="944100"/>
                  <a:pt x="4806392" y="911731"/>
                  <a:pt x="4845954" y="911731"/>
                </a:cubicBezTo>
                <a:cubicBezTo>
                  <a:pt x="4887300" y="911731"/>
                  <a:pt x="4919671" y="944100"/>
                  <a:pt x="4919671" y="983661"/>
                </a:cubicBezTo>
                <a:cubicBezTo>
                  <a:pt x="4921456" y="1025006"/>
                  <a:pt x="4889102" y="1057375"/>
                  <a:pt x="4847738" y="1057375"/>
                </a:cubicBezTo>
                <a:close/>
                <a:moveTo>
                  <a:pt x="9443" y="1079396"/>
                </a:moveTo>
                <a:lnTo>
                  <a:pt x="0" y="1077491"/>
                </a:lnTo>
                <a:lnTo>
                  <a:pt x="0" y="935674"/>
                </a:lnTo>
                <a:lnTo>
                  <a:pt x="9443" y="933761"/>
                </a:lnTo>
                <a:cubicBezTo>
                  <a:pt x="49156" y="933761"/>
                  <a:pt x="82257" y="966035"/>
                  <a:pt x="82257" y="1006578"/>
                </a:cubicBezTo>
                <a:cubicBezTo>
                  <a:pt x="82257" y="1046293"/>
                  <a:pt x="49156" y="1079396"/>
                  <a:pt x="9443" y="1079396"/>
                </a:cubicBezTo>
                <a:close/>
                <a:moveTo>
                  <a:pt x="336731" y="1102280"/>
                </a:moveTo>
                <a:cubicBezTo>
                  <a:pt x="296877" y="1102280"/>
                  <a:pt x="263916" y="1070087"/>
                  <a:pt x="263916" y="1029467"/>
                </a:cubicBezTo>
                <a:cubicBezTo>
                  <a:pt x="263916" y="989608"/>
                  <a:pt x="296877" y="956655"/>
                  <a:pt x="336731" y="955887"/>
                </a:cubicBezTo>
                <a:cubicBezTo>
                  <a:pt x="376591" y="955887"/>
                  <a:pt x="409551" y="988847"/>
                  <a:pt x="409551" y="1028699"/>
                </a:cubicBezTo>
                <a:cubicBezTo>
                  <a:pt x="409551" y="1069327"/>
                  <a:pt x="377351" y="1102280"/>
                  <a:pt x="336731" y="1102280"/>
                </a:cubicBezTo>
                <a:close/>
                <a:moveTo>
                  <a:pt x="5288877" y="1119568"/>
                </a:moveTo>
                <a:cubicBezTo>
                  <a:pt x="5247906" y="1119568"/>
                  <a:pt x="5216059" y="1087723"/>
                  <a:pt x="5216059" y="1046754"/>
                </a:cubicBezTo>
                <a:cubicBezTo>
                  <a:pt x="5211497" y="1005785"/>
                  <a:pt x="5243343" y="973941"/>
                  <a:pt x="5288877" y="973941"/>
                </a:cubicBezTo>
                <a:cubicBezTo>
                  <a:pt x="5329849" y="973941"/>
                  <a:pt x="5361696" y="1005785"/>
                  <a:pt x="5361696" y="1046754"/>
                </a:cubicBezTo>
                <a:cubicBezTo>
                  <a:pt x="5361696" y="1087723"/>
                  <a:pt x="5329849" y="1119568"/>
                  <a:pt x="5288877" y="1119568"/>
                </a:cubicBezTo>
                <a:close/>
                <a:moveTo>
                  <a:pt x="659772" y="1175301"/>
                </a:moveTo>
                <a:cubicBezTo>
                  <a:pt x="614553" y="1175301"/>
                  <a:pt x="577109" y="1138566"/>
                  <a:pt x="577109" y="1093346"/>
                </a:cubicBezTo>
                <a:cubicBezTo>
                  <a:pt x="577109" y="1048128"/>
                  <a:pt x="613143" y="1011393"/>
                  <a:pt x="659063" y="1010685"/>
                </a:cubicBezTo>
                <a:cubicBezTo>
                  <a:pt x="704991" y="1010685"/>
                  <a:pt x="741725" y="1047427"/>
                  <a:pt x="741725" y="1092638"/>
                </a:cubicBezTo>
                <a:cubicBezTo>
                  <a:pt x="741725" y="1138566"/>
                  <a:pt x="704991" y="1175301"/>
                  <a:pt x="659772" y="1175301"/>
                </a:cubicBezTo>
                <a:close/>
                <a:moveTo>
                  <a:pt x="2656418" y="1183530"/>
                </a:moveTo>
                <a:cubicBezTo>
                  <a:pt x="2582234" y="1183530"/>
                  <a:pt x="2521477" y="1123474"/>
                  <a:pt x="2521477" y="1049290"/>
                </a:cubicBezTo>
                <a:cubicBezTo>
                  <a:pt x="2521477" y="975106"/>
                  <a:pt x="2581533" y="915057"/>
                  <a:pt x="2655717" y="914349"/>
                </a:cubicBezTo>
                <a:cubicBezTo>
                  <a:pt x="2729895" y="914349"/>
                  <a:pt x="2789950" y="974405"/>
                  <a:pt x="2790658" y="1048582"/>
                </a:cubicBezTo>
                <a:cubicBezTo>
                  <a:pt x="2790658" y="1122767"/>
                  <a:pt x="2730602" y="1183530"/>
                  <a:pt x="2656418" y="1183530"/>
                </a:cubicBezTo>
                <a:close/>
                <a:moveTo>
                  <a:pt x="3158974" y="1188099"/>
                </a:moveTo>
                <a:cubicBezTo>
                  <a:pt x="3093976" y="1188099"/>
                  <a:pt x="3040280" y="1135112"/>
                  <a:pt x="3040280" y="1070113"/>
                </a:cubicBezTo>
                <a:cubicBezTo>
                  <a:pt x="3040280" y="1004407"/>
                  <a:pt x="3092560" y="951420"/>
                  <a:pt x="3158266" y="951420"/>
                </a:cubicBezTo>
                <a:cubicBezTo>
                  <a:pt x="3223972" y="951420"/>
                  <a:pt x="3276960" y="1004407"/>
                  <a:pt x="3276960" y="1069406"/>
                </a:cubicBezTo>
                <a:cubicBezTo>
                  <a:pt x="3276960" y="1134404"/>
                  <a:pt x="3223972" y="1187391"/>
                  <a:pt x="3158974" y="1188099"/>
                </a:cubicBezTo>
                <a:close/>
                <a:moveTo>
                  <a:pt x="3640216" y="1192069"/>
                </a:moveTo>
                <a:cubicBezTo>
                  <a:pt x="3593590" y="1192069"/>
                  <a:pt x="3555440" y="1153920"/>
                  <a:pt x="3555440" y="1107294"/>
                </a:cubicBezTo>
                <a:cubicBezTo>
                  <a:pt x="3555440" y="1059958"/>
                  <a:pt x="3592881" y="1022510"/>
                  <a:pt x="3639515" y="1022510"/>
                </a:cubicBezTo>
                <a:cubicBezTo>
                  <a:pt x="3686143" y="1021809"/>
                  <a:pt x="3724293" y="1059958"/>
                  <a:pt x="3724293" y="1106586"/>
                </a:cubicBezTo>
                <a:cubicBezTo>
                  <a:pt x="3725001" y="1153920"/>
                  <a:pt x="3686844" y="1192069"/>
                  <a:pt x="3640216" y="1192069"/>
                </a:cubicBezTo>
                <a:close/>
                <a:moveTo>
                  <a:pt x="2128210" y="1195056"/>
                </a:moveTo>
                <a:cubicBezTo>
                  <a:pt x="2049784" y="1195757"/>
                  <a:pt x="1986201" y="1132175"/>
                  <a:pt x="1986201" y="1053747"/>
                </a:cubicBezTo>
                <a:cubicBezTo>
                  <a:pt x="1985493" y="975328"/>
                  <a:pt x="2049076" y="911745"/>
                  <a:pt x="2126793" y="911037"/>
                </a:cubicBezTo>
                <a:cubicBezTo>
                  <a:pt x="2205219" y="911037"/>
                  <a:pt x="2269508" y="973919"/>
                  <a:pt x="2269508" y="1052338"/>
                </a:cubicBezTo>
                <a:cubicBezTo>
                  <a:pt x="2269508" y="1130758"/>
                  <a:pt x="2206628" y="1194347"/>
                  <a:pt x="2128210" y="1195056"/>
                </a:cubicBezTo>
                <a:close/>
                <a:moveTo>
                  <a:pt x="1568151" y="1214683"/>
                </a:moveTo>
                <a:cubicBezTo>
                  <a:pt x="1501745" y="1214683"/>
                  <a:pt x="1448049" y="1160989"/>
                  <a:pt x="1448049" y="1095283"/>
                </a:cubicBezTo>
                <a:cubicBezTo>
                  <a:pt x="1448049" y="1028876"/>
                  <a:pt x="1501035" y="975182"/>
                  <a:pt x="1566741" y="975182"/>
                </a:cubicBezTo>
                <a:cubicBezTo>
                  <a:pt x="1633147" y="975182"/>
                  <a:pt x="1686843" y="1028876"/>
                  <a:pt x="1686843" y="1094582"/>
                </a:cubicBezTo>
                <a:cubicBezTo>
                  <a:pt x="1687551" y="1160989"/>
                  <a:pt x="1633857" y="1214683"/>
                  <a:pt x="1568151" y="1214683"/>
                </a:cubicBezTo>
                <a:close/>
                <a:moveTo>
                  <a:pt x="4104539" y="1230206"/>
                </a:moveTo>
                <a:cubicBezTo>
                  <a:pt x="4063961" y="1230206"/>
                  <a:pt x="4031358" y="1197603"/>
                  <a:pt x="4031358" y="1157752"/>
                </a:cubicBezTo>
                <a:cubicBezTo>
                  <a:pt x="4031358" y="1117901"/>
                  <a:pt x="4063235" y="1085298"/>
                  <a:pt x="4103812" y="1084572"/>
                </a:cubicBezTo>
                <a:cubicBezTo>
                  <a:pt x="4143664" y="1084572"/>
                  <a:pt x="4176993" y="1117175"/>
                  <a:pt x="4176993" y="1157025"/>
                </a:cubicBezTo>
                <a:cubicBezTo>
                  <a:pt x="4176993" y="1197603"/>
                  <a:pt x="4144390" y="1230206"/>
                  <a:pt x="4104539" y="1230206"/>
                </a:cubicBezTo>
                <a:close/>
                <a:moveTo>
                  <a:pt x="4554422" y="1288307"/>
                </a:moveTo>
                <a:cubicBezTo>
                  <a:pt x="4514027" y="1288307"/>
                  <a:pt x="4481138" y="1256360"/>
                  <a:pt x="4481138" y="1215955"/>
                </a:cubicBezTo>
                <a:cubicBezTo>
                  <a:pt x="4481138" y="1176492"/>
                  <a:pt x="4514027" y="1143612"/>
                  <a:pt x="4553490" y="1142671"/>
                </a:cubicBezTo>
                <a:cubicBezTo>
                  <a:pt x="4593885" y="1142671"/>
                  <a:pt x="4626774" y="1174618"/>
                  <a:pt x="4626774" y="1215023"/>
                </a:cubicBezTo>
                <a:cubicBezTo>
                  <a:pt x="4626774" y="1255418"/>
                  <a:pt x="4594828" y="1288307"/>
                  <a:pt x="4554422" y="1288307"/>
                </a:cubicBezTo>
                <a:close/>
                <a:moveTo>
                  <a:pt x="971081" y="1294714"/>
                </a:moveTo>
                <a:cubicBezTo>
                  <a:pt x="917387" y="1294714"/>
                  <a:pt x="873585" y="1251620"/>
                  <a:pt x="873585" y="1197926"/>
                </a:cubicBezTo>
                <a:cubicBezTo>
                  <a:pt x="873585" y="1144232"/>
                  <a:pt x="916679" y="1101139"/>
                  <a:pt x="970373" y="1100431"/>
                </a:cubicBezTo>
                <a:cubicBezTo>
                  <a:pt x="1024067" y="1100431"/>
                  <a:pt x="1067869" y="1143523"/>
                  <a:pt x="1067869" y="1197219"/>
                </a:cubicBezTo>
                <a:cubicBezTo>
                  <a:pt x="1067869" y="1250913"/>
                  <a:pt x="1024775" y="1294714"/>
                  <a:pt x="971081" y="1294714"/>
                </a:cubicBezTo>
                <a:close/>
                <a:moveTo>
                  <a:pt x="4992844" y="1351992"/>
                </a:moveTo>
                <a:cubicBezTo>
                  <a:pt x="4954011" y="1351992"/>
                  <a:pt x="4920018" y="1320433"/>
                  <a:pt x="4920018" y="1279165"/>
                </a:cubicBezTo>
                <a:cubicBezTo>
                  <a:pt x="4920018" y="1240332"/>
                  <a:pt x="4951578" y="1206341"/>
                  <a:pt x="4992844" y="1206341"/>
                </a:cubicBezTo>
                <a:cubicBezTo>
                  <a:pt x="5031678" y="1206341"/>
                  <a:pt x="5065670" y="1237899"/>
                  <a:pt x="5065670" y="1279165"/>
                </a:cubicBezTo>
                <a:cubicBezTo>
                  <a:pt x="5065670" y="1320433"/>
                  <a:pt x="5034111" y="1351992"/>
                  <a:pt x="4992844" y="1351992"/>
                </a:cubicBezTo>
                <a:close/>
                <a:moveTo>
                  <a:pt x="1835303" y="1393201"/>
                </a:moveTo>
                <a:cubicBezTo>
                  <a:pt x="1775957" y="1393201"/>
                  <a:pt x="1727913" y="1345865"/>
                  <a:pt x="1727913" y="1286526"/>
                </a:cubicBezTo>
                <a:cubicBezTo>
                  <a:pt x="1727913" y="1227180"/>
                  <a:pt x="1775249" y="1179136"/>
                  <a:pt x="1834595" y="1179136"/>
                </a:cubicBezTo>
                <a:cubicBezTo>
                  <a:pt x="1893941" y="1179136"/>
                  <a:pt x="1941978" y="1226472"/>
                  <a:pt x="1941978" y="1285818"/>
                </a:cubicBezTo>
                <a:cubicBezTo>
                  <a:pt x="1941978" y="1345164"/>
                  <a:pt x="1893941" y="1393201"/>
                  <a:pt x="1835303" y="1393201"/>
                </a:cubicBezTo>
                <a:close/>
                <a:moveTo>
                  <a:pt x="1265820" y="1413937"/>
                </a:moveTo>
                <a:cubicBezTo>
                  <a:pt x="1225761" y="1413937"/>
                  <a:pt x="1193001" y="1381176"/>
                  <a:pt x="1193001" y="1341129"/>
                </a:cubicBezTo>
                <a:cubicBezTo>
                  <a:pt x="1193001" y="1301082"/>
                  <a:pt x="1225761" y="1268309"/>
                  <a:pt x="1265820" y="1268309"/>
                </a:cubicBezTo>
                <a:cubicBezTo>
                  <a:pt x="1305867" y="1268309"/>
                  <a:pt x="1338628" y="1301082"/>
                  <a:pt x="1338628" y="1341129"/>
                </a:cubicBezTo>
                <a:cubicBezTo>
                  <a:pt x="1338628" y="1381176"/>
                  <a:pt x="1305867" y="1413937"/>
                  <a:pt x="1265820" y="1413937"/>
                </a:cubicBezTo>
                <a:close/>
                <a:moveTo>
                  <a:pt x="2367864" y="1414754"/>
                </a:moveTo>
                <a:cubicBezTo>
                  <a:pt x="2292973" y="1414754"/>
                  <a:pt x="2230803" y="1353999"/>
                  <a:pt x="2230803" y="1278400"/>
                </a:cubicBezTo>
                <a:cubicBezTo>
                  <a:pt x="2230803" y="1202808"/>
                  <a:pt x="2291557" y="1141345"/>
                  <a:pt x="2366449" y="1140637"/>
                </a:cubicBezTo>
                <a:cubicBezTo>
                  <a:pt x="2442039" y="1140637"/>
                  <a:pt x="2504211" y="1201392"/>
                  <a:pt x="2504211" y="1276991"/>
                </a:cubicBezTo>
                <a:cubicBezTo>
                  <a:pt x="2504919" y="1352582"/>
                  <a:pt x="2443456" y="1414754"/>
                  <a:pt x="2367864" y="1414754"/>
                </a:cubicBezTo>
                <a:close/>
                <a:moveTo>
                  <a:pt x="5421837" y="1420312"/>
                </a:moveTo>
                <a:cubicBezTo>
                  <a:pt x="5381353" y="1420312"/>
                  <a:pt x="5348982" y="1387942"/>
                  <a:pt x="5348982" y="1347459"/>
                </a:cubicBezTo>
                <a:cubicBezTo>
                  <a:pt x="5348982" y="1306976"/>
                  <a:pt x="5373240" y="1274605"/>
                  <a:pt x="5421837" y="1274605"/>
                </a:cubicBezTo>
                <a:cubicBezTo>
                  <a:pt x="5462320" y="1274605"/>
                  <a:pt x="5494691" y="1306976"/>
                  <a:pt x="5494691" y="1347459"/>
                </a:cubicBezTo>
                <a:cubicBezTo>
                  <a:pt x="5494691" y="1387942"/>
                  <a:pt x="5462320" y="1420312"/>
                  <a:pt x="5421837" y="1420312"/>
                </a:cubicBezTo>
                <a:close/>
                <a:moveTo>
                  <a:pt x="2871869" y="1434948"/>
                </a:moveTo>
                <a:cubicBezTo>
                  <a:pt x="2795568" y="1434948"/>
                  <a:pt x="2733395" y="1373481"/>
                  <a:pt x="2733395" y="1297177"/>
                </a:cubicBezTo>
                <a:cubicBezTo>
                  <a:pt x="2732687" y="1220165"/>
                  <a:pt x="2794151" y="1158700"/>
                  <a:pt x="2871162" y="1158700"/>
                </a:cubicBezTo>
                <a:cubicBezTo>
                  <a:pt x="2947463" y="1158700"/>
                  <a:pt x="3009636" y="1220165"/>
                  <a:pt x="3009636" y="1296469"/>
                </a:cubicBezTo>
                <a:cubicBezTo>
                  <a:pt x="3009636" y="1372773"/>
                  <a:pt x="2948172" y="1434948"/>
                  <a:pt x="2871869" y="1434948"/>
                </a:cubicBezTo>
                <a:close/>
                <a:moveTo>
                  <a:pt x="8117" y="1447460"/>
                </a:moveTo>
                <a:lnTo>
                  <a:pt x="0" y="1445854"/>
                </a:lnTo>
                <a:lnTo>
                  <a:pt x="0" y="1299902"/>
                </a:lnTo>
                <a:lnTo>
                  <a:pt x="8117" y="1298248"/>
                </a:lnTo>
                <a:cubicBezTo>
                  <a:pt x="46385" y="1298248"/>
                  <a:pt x="80819" y="1328849"/>
                  <a:pt x="80819" y="1370917"/>
                </a:cubicBezTo>
                <a:cubicBezTo>
                  <a:pt x="80819" y="1413024"/>
                  <a:pt x="50219" y="1447460"/>
                  <a:pt x="8117" y="1447460"/>
                </a:cubicBezTo>
                <a:close/>
                <a:moveTo>
                  <a:pt x="3352149" y="1453897"/>
                </a:moveTo>
                <a:cubicBezTo>
                  <a:pt x="3286443" y="1453897"/>
                  <a:pt x="3233456" y="1400910"/>
                  <a:pt x="3233456" y="1335911"/>
                </a:cubicBezTo>
                <a:cubicBezTo>
                  <a:pt x="3233456" y="1270205"/>
                  <a:pt x="3286443" y="1217218"/>
                  <a:pt x="3351442" y="1217218"/>
                </a:cubicBezTo>
                <a:cubicBezTo>
                  <a:pt x="3417148" y="1217218"/>
                  <a:pt x="3470135" y="1270205"/>
                  <a:pt x="3470135" y="1335204"/>
                </a:cubicBezTo>
                <a:cubicBezTo>
                  <a:pt x="3470135" y="1400910"/>
                  <a:pt x="3417849" y="1453897"/>
                  <a:pt x="3352149" y="1453897"/>
                </a:cubicBezTo>
                <a:close/>
                <a:moveTo>
                  <a:pt x="335259" y="1471582"/>
                </a:moveTo>
                <a:cubicBezTo>
                  <a:pt x="294117" y="1471582"/>
                  <a:pt x="262435" y="1439905"/>
                  <a:pt x="262435" y="1398737"/>
                </a:cubicBezTo>
                <a:cubicBezTo>
                  <a:pt x="262435" y="1360743"/>
                  <a:pt x="297259" y="1329097"/>
                  <a:pt x="335259" y="1325924"/>
                </a:cubicBezTo>
                <a:cubicBezTo>
                  <a:pt x="376433" y="1325924"/>
                  <a:pt x="408115" y="1357601"/>
                  <a:pt x="408115" y="1398737"/>
                </a:cubicBezTo>
                <a:cubicBezTo>
                  <a:pt x="408115" y="1439905"/>
                  <a:pt x="376433" y="1471582"/>
                  <a:pt x="335259" y="1471582"/>
                </a:cubicBezTo>
                <a:close/>
                <a:moveTo>
                  <a:pt x="3814037" y="1489898"/>
                </a:moveTo>
                <a:cubicBezTo>
                  <a:pt x="3756806" y="1489898"/>
                  <a:pt x="3710179" y="1443972"/>
                  <a:pt x="3710179" y="1386749"/>
                </a:cubicBezTo>
                <a:cubicBezTo>
                  <a:pt x="3710179" y="1329520"/>
                  <a:pt x="3756098" y="1282893"/>
                  <a:pt x="3813328" y="1282893"/>
                </a:cubicBezTo>
                <a:cubicBezTo>
                  <a:pt x="3870557" y="1282893"/>
                  <a:pt x="3917186" y="1328819"/>
                  <a:pt x="3917186" y="1386042"/>
                </a:cubicBezTo>
                <a:cubicBezTo>
                  <a:pt x="3917186" y="1443271"/>
                  <a:pt x="3871258" y="1489898"/>
                  <a:pt x="3814037" y="1489898"/>
                </a:cubicBezTo>
                <a:close/>
                <a:moveTo>
                  <a:pt x="4260907" y="1522369"/>
                </a:moveTo>
                <a:cubicBezTo>
                  <a:pt x="4219222" y="1522369"/>
                  <a:pt x="4184606" y="1488460"/>
                  <a:pt x="4184606" y="1446776"/>
                </a:cubicBezTo>
                <a:cubicBezTo>
                  <a:pt x="4184606" y="1405093"/>
                  <a:pt x="4218521" y="1371184"/>
                  <a:pt x="4260199" y="1370476"/>
                </a:cubicBezTo>
                <a:cubicBezTo>
                  <a:pt x="4302591" y="1370476"/>
                  <a:pt x="4336507" y="1404384"/>
                  <a:pt x="4336507" y="1446068"/>
                </a:cubicBezTo>
                <a:cubicBezTo>
                  <a:pt x="4336507" y="1487753"/>
                  <a:pt x="4302591" y="1522369"/>
                  <a:pt x="4260907" y="1522369"/>
                </a:cubicBezTo>
                <a:close/>
                <a:moveTo>
                  <a:pt x="655315" y="1545624"/>
                </a:moveTo>
                <a:cubicBezTo>
                  <a:pt x="615775" y="1545624"/>
                  <a:pt x="582491" y="1512340"/>
                  <a:pt x="582491" y="1472820"/>
                </a:cubicBezTo>
                <a:cubicBezTo>
                  <a:pt x="582491" y="1433280"/>
                  <a:pt x="613691" y="1399997"/>
                  <a:pt x="655315" y="1399997"/>
                </a:cubicBezTo>
                <a:cubicBezTo>
                  <a:pt x="694835" y="1399997"/>
                  <a:pt x="728119" y="1431195"/>
                  <a:pt x="728119" y="1472820"/>
                </a:cubicBezTo>
                <a:cubicBezTo>
                  <a:pt x="728119" y="1512340"/>
                  <a:pt x="694835" y="1545624"/>
                  <a:pt x="655315" y="1545624"/>
                </a:cubicBezTo>
                <a:close/>
                <a:moveTo>
                  <a:pt x="4696346" y="1584587"/>
                </a:moveTo>
                <a:cubicBezTo>
                  <a:pt x="4655962" y="1585641"/>
                  <a:pt x="4623014" y="1552703"/>
                  <a:pt x="4623014" y="1512316"/>
                </a:cubicBezTo>
                <a:cubicBezTo>
                  <a:pt x="4621961" y="1471931"/>
                  <a:pt x="4654898" y="1438981"/>
                  <a:pt x="4695280" y="1438981"/>
                </a:cubicBezTo>
                <a:cubicBezTo>
                  <a:pt x="4735663" y="1437925"/>
                  <a:pt x="4768600" y="1470865"/>
                  <a:pt x="4768600" y="1511250"/>
                </a:cubicBezTo>
                <a:cubicBezTo>
                  <a:pt x="4769666" y="1551637"/>
                  <a:pt x="4736728" y="1584587"/>
                  <a:pt x="4696346" y="1584587"/>
                </a:cubicBezTo>
                <a:close/>
                <a:moveTo>
                  <a:pt x="1540823" y="1594697"/>
                </a:moveTo>
                <a:cubicBezTo>
                  <a:pt x="1500556" y="1594697"/>
                  <a:pt x="1467349" y="1561489"/>
                  <a:pt x="1467349" y="1521221"/>
                </a:cubicBezTo>
                <a:cubicBezTo>
                  <a:pt x="1467349" y="1480953"/>
                  <a:pt x="1499847" y="1447746"/>
                  <a:pt x="1540823" y="1447746"/>
                </a:cubicBezTo>
                <a:cubicBezTo>
                  <a:pt x="1581091" y="1447746"/>
                  <a:pt x="1614299" y="1480953"/>
                  <a:pt x="1614299" y="1521221"/>
                </a:cubicBezTo>
                <a:cubicBezTo>
                  <a:pt x="1614299" y="1561489"/>
                  <a:pt x="1581091" y="1594697"/>
                  <a:pt x="1540823" y="1594697"/>
                </a:cubicBezTo>
                <a:close/>
                <a:moveTo>
                  <a:pt x="2079311" y="1643271"/>
                </a:moveTo>
                <a:cubicBezTo>
                  <a:pt x="2003714" y="1643979"/>
                  <a:pt x="1942251" y="1582516"/>
                  <a:pt x="1942251" y="1506917"/>
                </a:cubicBezTo>
                <a:cubicBezTo>
                  <a:pt x="1942251" y="1431325"/>
                  <a:pt x="2003006" y="1369862"/>
                  <a:pt x="2078603" y="1369154"/>
                </a:cubicBezTo>
                <a:cubicBezTo>
                  <a:pt x="2154194" y="1369154"/>
                  <a:pt x="2215657" y="1429910"/>
                  <a:pt x="2215657" y="1505508"/>
                </a:cubicBezTo>
                <a:cubicBezTo>
                  <a:pt x="2215657" y="1581808"/>
                  <a:pt x="2154902" y="1643271"/>
                  <a:pt x="2079311" y="1643271"/>
                </a:cubicBezTo>
                <a:close/>
                <a:moveTo>
                  <a:pt x="5120664" y="1654586"/>
                </a:moveTo>
                <a:cubicBezTo>
                  <a:pt x="5079397" y="1654586"/>
                  <a:pt x="5047838" y="1620595"/>
                  <a:pt x="5047838" y="1581760"/>
                </a:cubicBezTo>
                <a:cubicBezTo>
                  <a:pt x="5047838" y="1542926"/>
                  <a:pt x="5081830" y="1508935"/>
                  <a:pt x="5120664" y="1508935"/>
                </a:cubicBezTo>
                <a:cubicBezTo>
                  <a:pt x="5159497" y="1508935"/>
                  <a:pt x="5193490" y="1540493"/>
                  <a:pt x="5193490" y="1581760"/>
                </a:cubicBezTo>
                <a:cubicBezTo>
                  <a:pt x="5193490" y="1623028"/>
                  <a:pt x="5161930" y="1654586"/>
                  <a:pt x="5120664" y="1654586"/>
                </a:cubicBezTo>
                <a:close/>
                <a:moveTo>
                  <a:pt x="960329" y="1666663"/>
                </a:moveTo>
                <a:cubicBezTo>
                  <a:pt x="920789" y="1666663"/>
                  <a:pt x="887505" y="1633379"/>
                  <a:pt x="887505" y="1593859"/>
                </a:cubicBezTo>
                <a:cubicBezTo>
                  <a:pt x="887505" y="1554319"/>
                  <a:pt x="920789" y="1521036"/>
                  <a:pt x="960329" y="1521036"/>
                </a:cubicBezTo>
                <a:cubicBezTo>
                  <a:pt x="999849" y="1521036"/>
                  <a:pt x="1033133" y="1552234"/>
                  <a:pt x="1033133" y="1593859"/>
                </a:cubicBezTo>
                <a:cubicBezTo>
                  <a:pt x="1033133" y="1633379"/>
                  <a:pt x="1001934" y="1666663"/>
                  <a:pt x="960329" y="1666663"/>
                </a:cubicBezTo>
                <a:close/>
                <a:moveTo>
                  <a:pt x="2584880" y="1671567"/>
                </a:moveTo>
                <a:cubicBezTo>
                  <a:pt x="2503630" y="1672275"/>
                  <a:pt x="2437223" y="1606569"/>
                  <a:pt x="2437223" y="1525326"/>
                </a:cubicBezTo>
                <a:cubicBezTo>
                  <a:pt x="2437223" y="1444076"/>
                  <a:pt x="2502929" y="1378377"/>
                  <a:pt x="2583464" y="1377669"/>
                </a:cubicBezTo>
                <a:cubicBezTo>
                  <a:pt x="2664714" y="1376961"/>
                  <a:pt x="2730413" y="1442666"/>
                  <a:pt x="2731121" y="1523910"/>
                </a:cubicBezTo>
                <a:cubicBezTo>
                  <a:pt x="2731121" y="1605153"/>
                  <a:pt x="2666124" y="1670858"/>
                  <a:pt x="2584880" y="1671567"/>
                </a:cubicBezTo>
                <a:close/>
                <a:moveTo>
                  <a:pt x="3064079" y="1701710"/>
                </a:moveTo>
                <a:cubicBezTo>
                  <a:pt x="2987777" y="1701710"/>
                  <a:pt x="2925604" y="1640243"/>
                  <a:pt x="2925604" y="1563939"/>
                </a:cubicBezTo>
                <a:cubicBezTo>
                  <a:pt x="2924896" y="1487636"/>
                  <a:pt x="2987069" y="1425462"/>
                  <a:pt x="3063371" y="1425462"/>
                </a:cubicBezTo>
                <a:cubicBezTo>
                  <a:pt x="3139672" y="1425462"/>
                  <a:pt x="3201845" y="1486927"/>
                  <a:pt x="3201845" y="1563231"/>
                </a:cubicBezTo>
                <a:cubicBezTo>
                  <a:pt x="3201845" y="1639535"/>
                  <a:pt x="3140381" y="1701710"/>
                  <a:pt x="3064079" y="1701710"/>
                </a:cubicBezTo>
                <a:close/>
                <a:moveTo>
                  <a:pt x="5539857" y="1729754"/>
                </a:moveTo>
                <a:cubicBezTo>
                  <a:pt x="5498223" y="1729754"/>
                  <a:pt x="5464933" y="1696465"/>
                  <a:pt x="5464933" y="1654875"/>
                </a:cubicBezTo>
                <a:cubicBezTo>
                  <a:pt x="5464933" y="1613244"/>
                  <a:pt x="5494052" y="1579955"/>
                  <a:pt x="5535684" y="1579955"/>
                </a:cubicBezTo>
                <a:cubicBezTo>
                  <a:pt x="5577318" y="1579955"/>
                  <a:pt x="5610608" y="1613244"/>
                  <a:pt x="5610608" y="1654875"/>
                </a:cubicBezTo>
                <a:cubicBezTo>
                  <a:pt x="5610608" y="1696465"/>
                  <a:pt x="5581449" y="1729754"/>
                  <a:pt x="5539857" y="1729754"/>
                </a:cubicBezTo>
                <a:close/>
                <a:moveTo>
                  <a:pt x="3523059" y="1734708"/>
                </a:moveTo>
                <a:cubicBezTo>
                  <a:pt x="3458060" y="1734708"/>
                  <a:pt x="3404365" y="1681721"/>
                  <a:pt x="3404365" y="1616723"/>
                </a:cubicBezTo>
                <a:cubicBezTo>
                  <a:pt x="3404365" y="1551724"/>
                  <a:pt x="3457353" y="1498737"/>
                  <a:pt x="3522351" y="1498029"/>
                </a:cubicBezTo>
                <a:cubicBezTo>
                  <a:pt x="3588057" y="1498029"/>
                  <a:pt x="3641044" y="1551017"/>
                  <a:pt x="3641044" y="1616015"/>
                </a:cubicBezTo>
                <a:cubicBezTo>
                  <a:pt x="3641044" y="1681013"/>
                  <a:pt x="3588057" y="1734708"/>
                  <a:pt x="3523059" y="1734708"/>
                </a:cubicBezTo>
                <a:close/>
                <a:moveTo>
                  <a:pt x="3966544" y="1783475"/>
                </a:moveTo>
                <a:cubicBezTo>
                  <a:pt x="3907904" y="1783475"/>
                  <a:pt x="3860568" y="1736848"/>
                  <a:pt x="3860568" y="1678208"/>
                </a:cubicBezTo>
                <a:cubicBezTo>
                  <a:pt x="3860568" y="1620277"/>
                  <a:pt x="3907904" y="1572234"/>
                  <a:pt x="3965836" y="1572234"/>
                </a:cubicBezTo>
                <a:cubicBezTo>
                  <a:pt x="4023774" y="1572234"/>
                  <a:pt x="4071812" y="1618862"/>
                  <a:pt x="4071812" y="1677500"/>
                </a:cubicBezTo>
                <a:cubicBezTo>
                  <a:pt x="4072520" y="1736138"/>
                  <a:pt x="4025183" y="1783475"/>
                  <a:pt x="3966544" y="1783475"/>
                </a:cubicBezTo>
                <a:close/>
                <a:moveTo>
                  <a:pt x="1790168" y="1807567"/>
                </a:moveTo>
                <a:cubicBezTo>
                  <a:pt x="1750451" y="1807567"/>
                  <a:pt x="1717359" y="1775297"/>
                  <a:pt x="1717359" y="1734758"/>
                </a:cubicBezTo>
                <a:cubicBezTo>
                  <a:pt x="1716529" y="1694219"/>
                  <a:pt x="1749621" y="1661118"/>
                  <a:pt x="1790168" y="1661948"/>
                </a:cubicBezTo>
                <a:cubicBezTo>
                  <a:pt x="1829878" y="1661948"/>
                  <a:pt x="1862977" y="1695039"/>
                  <a:pt x="1862977" y="1734758"/>
                </a:cubicBezTo>
                <a:cubicBezTo>
                  <a:pt x="1862977" y="1774468"/>
                  <a:pt x="1830707" y="1807567"/>
                  <a:pt x="1790168" y="1807567"/>
                </a:cubicBezTo>
                <a:close/>
                <a:moveTo>
                  <a:pt x="1244039" y="1832140"/>
                </a:moveTo>
                <a:cubicBezTo>
                  <a:pt x="1207663" y="1832140"/>
                  <a:pt x="1171225" y="1801838"/>
                  <a:pt x="1171225" y="1759306"/>
                </a:cubicBezTo>
                <a:cubicBezTo>
                  <a:pt x="1171225" y="1716835"/>
                  <a:pt x="1207663" y="1680388"/>
                  <a:pt x="1244039" y="1686472"/>
                </a:cubicBezTo>
                <a:cubicBezTo>
                  <a:pt x="1280475" y="1686472"/>
                  <a:pt x="1316853" y="1716835"/>
                  <a:pt x="1316853" y="1759306"/>
                </a:cubicBezTo>
                <a:cubicBezTo>
                  <a:pt x="1316853" y="1795752"/>
                  <a:pt x="1286499" y="1832140"/>
                  <a:pt x="1244039" y="1832140"/>
                </a:cubicBezTo>
                <a:close/>
                <a:moveTo>
                  <a:pt x="4397441" y="1842290"/>
                </a:moveTo>
                <a:cubicBezTo>
                  <a:pt x="4343747" y="1842290"/>
                  <a:pt x="4299945" y="1799196"/>
                  <a:pt x="4299945" y="1745502"/>
                </a:cubicBezTo>
                <a:cubicBezTo>
                  <a:pt x="4299945" y="1691808"/>
                  <a:pt x="4343039" y="1648007"/>
                  <a:pt x="4396733" y="1648007"/>
                </a:cubicBezTo>
                <a:cubicBezTo>
                  <a:pt x="4450427" y="1648007"/>
                  <a:pt x="4494229" y="1691099"/>
                  <a:pt x="4494229" y="1744794"/>
                </a:cubicBezTo>
                <a:cubicBezTo>
                  <a:pt x="4494229" y="1798488"/>
                  <a:pt x="4451136" y="1842290"/>
                  <a:pt x="4397441" y="1842290"/>
                </a:cubicBezTo>
                <a:close/>
                <a:moveTo>
                  <a:pt x="334007" y="1842774"/>
                </a:moveTo>
                <a:cubicBezTo>
                  <a:pt x="297433" y="1842774"/>
                  <a:pt x="260860" y="1806187"/>
                  <a:pt x="260860" y="1769598"/>
                </a:cubicBezTo>
                <a:cubicBezTo>
                  <a:pt x="260860" y="1733372"/>
                  <a:pt x="260860" y="1696785"/>
                  <a:pt x="334007" y="1696785"/>
                </a:cubicBezTo>
                <a:cubicBezTo>
                  <a:pt x="370217" y="1696785"/>
                  <a:pt x="406789" y="1733372"/>
                  <a:pt x="406789" y="1769598"/>
                </a:cubicBezTo>
                <a:cubicBezTo>
                  <a:pt x="406789" y="1806187"/>
                  <a:pt x="370217" y="1842774"/>
                  <a:pt x="334007" y="1842774"/>
                </a:cubicBezTo>
                <a:close/>
                <a:moveTo>
                  <a:pt x="2297175" y="1862498"/>
                </a:moveTo>
                <a:cubicBezTo>
                  <a:pt x="2236419" y="1863207"/>
                  <a:pt x="2186258" y="1813753"/>
                  <a:pt x="2186258" y="1752289"/>
                </a:cubicBezTo>
                <a:cubicBezTo>
                  <a:pt x="2186258" y="1691526"/>
                  <a:pt x="2235710" y="1641365"/>
                  <a:pt x="2296473" y="1641365"/>
                </a:cubicBezTo>
                <a:cubicBezTo>
                  <a:pt x="2357229" y="1640657"/>
                  <a:pt x="2407390" y="1690117"/>
                  <a:pt x="2407390" y="1751581"/>
                </a:cubicBezTo>
                <a:cubicBezTo>
                  <a:pt x="2408097" y="1812336"/>
                  <a:pt x="2358645" y="1862498"/>
                  <a:pt x="2297175" y="1862498"/>
                </a:cubicBezTo>
                <a:close/>
                <a:moveTo>
                  <a:pt x="4818059" y="1890035"/>
                </a:moveTo>
                <a:cubicBezTo>
                  <a:pt x="4777783" y="1890035"/>
                  <a:pt x="4744582" y="1856827"/>
                  <a:pt x="4744582" y="1816560"/>
                </a:cubicBezTo>
                <a:cubicBezTo>
                  <a:pt x="4743875" y="1775583"/>
                  <a:pt x="4777082" y="1743085"/>
                  <a:pt x="4818059" y="1743085"/>
                </a:cubicBezTo>
                <a:cubicBezTo>
                  <a:pt x="4858328" y="1743085"/>
                  <a:pt x="4891535" y="1776291"/>
                  <a:pt x="4891535" y="1816560"/>
                </a:cubicBezTo>
                <a:cubicBezTo>
                  <a:pt x="4891535" y="1856827"/>
                  <a:pt x="4858328" y="1890035"/>
                  <a:pt x="4818059" y="1890035"/>
                </a:cubicBezTo>
                <a:close/>
                <a:moveTo>
                  <a:pt x="639303" y="1930770"/>
                </a:moveTo>
                <a:cubicBezTo>
                  <a:pt x="597783" y="1930770"/>
                  <a:pt x="576920" y="1889250"/>
                  <a:pt x="576920" y="1847525"/>
                </a:cubicBezTo>
                <a:cubicBezTo>
                  <a:pt x="576920" y="1806005"/>
                  <a:pt x="597783" y="1785143"/>
                  <a:pt x="639303" y="1785143"/>
                </a:cubicBezTo>
                <a:cubicBezTo>
                  <a:pt x="681027" y="1785143"/>
                  <a:pt x="722547" y="1826868"/>
                  <a:pt x="722547" y="1868388"/>
                </a:cubicBezTo>
                <a:cubicBezTo>
                  <a:pt x="722547" y="1889250"/>
                  <a:pt x="681027" y="1930770"/>
                  <a:pt x="639303" y="1930770"/>
                </a:cubicBezTo>
                <a:close/>
                <a:moveTo>
                  <a:pt x="2775633" y="1932941"/>
                </a:moveTo>
                <a:cubicBezTo>
                  <a:pt x="2697916" y="1933650"/>
                  <a:pt x="2634335" y="1870770"/>
                  <a:pt x="2634335" y="1793059"/>
                </a:cubicBezTo>
                <a:cubicBezTo>
                  <a:pt x="2634335" y="1716050"/>
                  <a:pt x="2697215" y="1652469"/>
                  <a:pt x="2774224" y="1651761"/>
                </a:cubicBezTo>
                <a:cubicBezTo>
                  <a:pt x="2851934" y="1651053"/>
                  <a:pt x="2915522" y="1713933"/>
                  <a:pt x="2915522" y="1791642"/>
                </a:cubicBezTo>
                <a:cubicBezTo>
                  <a:pt x="2916223" y="1869359"/>
                  <a:pt x="2853350" y="1932941"/>
                  <a:pt x="2775633" y="1932941"/>
                </a:cubicBezTo>
                <a:close/>
                <a:moveTo>
                  <a:pt x="5230555" y="1964417"/>
                </a:moveTo>
                <a:cubicBezTo>
                  <a:pt x="5190386" y="1964417"/>
                  <a:pt x="5157741" y="1931772"/>
                  <a:pt x="5157741" y="1891602"/>
                </a:cubicBezTo>
                <a:cubicBezTo>
                  <a:pt x="5157741" y="1851433"/>
                  <a:pt x="5190386" y="1818789"/>
                  <a:pt x="5230555" y="1818789"/>
                </a:cubicBezTo>
                <a:cubicBezTo>
                  <a:pt x="5270737" y="1818789"/>
                  <a:pt x="5303368" y="1851433"/>
                  <a:pt x="5303368" y="1891602"/>
                </a:cubicBezTo>
                <a:cubicBezTo>
                  <a:pt x="5303368" y="1931772"/>
                  <a:pt x="5270737" y="1964417"/>
                  <a:pt x="5230555" y="1964417"/>
                </a:cubicBezTo>
                <a:close/>
                <a:moveTo>
                  <a:pt x="3231105" y="1983644"/>
                </a:moveTo>
                <a:cubicBezTo>
                  <a:pt x="3155513" y="1984352"/>
                  <a:pt x="3094050" y="1922889"/>
                  <a:pt x="3094050" y="1847290"/>
                </a:cubicBezTo>
                <a:cubicBezTo>
                  <a:pt x="3094050" y="1771698"/>
                  <a:pt x="3155513" y="1710234"/>
                  <a:pt x="3229696" y="1709526"/>
                </a:cubicBezTo>
                <a:cubicBezTo>
                  <a:pt x="3305287" y="1708818"/>
                  <a:pt x="3367459" y="1770281"/>
                  <a:pt x="3367459" y="1845880"/>
                </a:cubicBezTo>
                <a:cubicBezTo>
                  <a:pt x="3368167" y="1922180"/>
                  <a:pt x="3306704" y="1983644"/>
                  <a:pt x="3231105" y="1983644"/>
                </a:cubicBezTo>
                <a:close/>
                <a:moveTo>
                  <a:pt x="3670721" y="2029517"/>
                </a:moveTo>
                <a:cubicBezTo>
                  <a:pt x="3604312" y="2029517"/>
                  <a:pt x="3550615" y="1975820"/>
                  <a:pt x="3550615" y="1910113"/>
                </a:cubicBezTo>
                <a:cubicBezTo>
                  <a:pt x="3550615" y="1843704"/>
                  <a:pt x="3604312" y="1790009"/>
                  <a:pt x="3670019" y="1790009"/>
                </a:cubicBezTo>
                <a:cubicBezTo>
                  <a:pt x="3736428" y="1790009"/>
                  <a:pt x="3790125" y="1843704"/>
                  <a:pt x="3790125" y="1909411"/>
                </a:cubicBezTo>
                <a:cubicBezTo>
                  <a:pt x="3790125" y="1975820"/>
                  <a:pt x="3736428" y="2029517"/>
                  <a:pt x="3670721" y="2029517"/>
                </a:cubicBezTo>
                <a:close/>
                <a:moveTo>
                  <a:pt x="1501320" y="2038423"/>
                </a:moveTo>
                <a:cubicBezTo>
                  <a:pt x="1459725" y="2038423"/>
                  <a:pt x="1427585" y="2004413"/>
                  <a:pt x="1427585" y="1964718"/>
                </a:cubicBezTo>
                <a:cubicBezTo>
                  <a:pt x="1427585" y="1923129"/>
                  <a:pt x="1459725" y="1890995"/>
                  <a:pt x="1499425" y="1890995"/>
                </a:cubicBezTo>
                <a:cubicBezTo>
                  <a:pt x="1541022" y="1890995"/>
                  <a:pt x="1573143" y="1925024"/>
                  <a:pt x="1573143" y="1964718"/>
                </a:cubicBezTo>
                <a:cubicBezTo>
                  <a:pt x="1575038" y="2006288"/>
                  <a:pt x="1541022" y="2038423"/>
                  <a:pt x="1501320" y="2038423"/>
                </a:cubicBezTo>
                <a:close/>
                <a:moveTo>
                  <a:pt x="5636293" y="2041197"/>
                </a:moveTo>
                <a:cubicBezTo>
                  <a:pt x="5594664" y="2041197"/>
                  <a:pt x="5561375" y="2007909"/>
                  <a:pt x="5561375" y="1966278"/>
                </a:cubicBezTo>
                <a:cubicBezTo>
                  <a:pt x="5561375" y="1928818"/>
                  <a:pt x="5594664" y="1895529"/>
                  <a:pt x="5636293" y="1895529"/>
                </a:cubicBezTo>
                <a:cubicBezTo>
                  <a:pt x="5677882" y="1895529"/>
                  <a:pt x="5711170" y="1924647"/>
                  <a:pt x="5711170" y="1966278"/>
                </a:cubicBezTo>
                <a:cubicBezTo>
                  <a:pt x="5711170" y="2007909"/>
                  <a:pt x="5677882" y="2041197"/>
                  <a:pt x="5636293" y="2041197"/>
                </a:cubicBezTo>
                <a:close/>
                <a:moveTo>
                  <a:pt x="2009972" y="2052222"/>
                </a:moveTo>
                <a:cubicBezTo>
                  <a:pt x="1970249" y="2052222"/>
                  <a:pt x="1937153" y="2019955"/>
                  <a:pt x="1937153" y="1979410"/>
                </a:cubicBezTo>
                <a:cubicBezTo>
                  <a:pt x="1937153" y="1938858"/>
                  <a:pt x="1969427" y="1905763"/>
                  <a:pt x="2009972" y="1905763"/>
                </a:cubicBezTo>
                <a:cubicBezTo>
                  <a:pt x="2049686" y="1905763"/>
                  <a:pt x="2082789" y="1938036"/>
                  <a:pt x="2082789" y="1978581"/>
                </a:cubicBezTo>
                <a:cubicBezTo>
                  <a:pt x="2082789" y="2019125"/>
                  <a:pt x="2050515" y="2052222"/>
                  <a:pt x="2009972" y="2052222"/>
                </a:cubicBezTo>
                <a:close/>
                <a:moveTo>
                  <a:pt x="4096782" y="2085107"/>
                </a:moveTo>
                <a:cubicBezTo>
                  <a:pt x="4038850" y="2085808"/>
                  <a:pt x="3990806" y="2038473"/>
                  <a:pt x="3990806" y="1979835"/>
                </a:cubicBezTo>
                <a:cubicBezTo>
                  <a:pt x="3990806" y="1921198"/>
                  <a:pt x="4037435" y="1873862"/>
                  <a:pt x="4096074" y="1873862"/>
                </a:cubicBezTo>
                <a:cubicBezTo>
                  <a:pt x="4154012" y="1873154"/>
                  <a:pt x="4202050" y="1920490"/>
                  <a:pt x="4202050" y="1979127"/>
                </a:cubicBezTo>
                <a:cubicBezTo>
                  <a:pt x="4202758" y="2037064"/>
                  <a:pt x="4155422" y="2085107"/>
                  <a:pt x="4096782" y="2085107"/>
                </a:cubicBezTo>
                <a:close/>
                <a:moveTo>
                  <a:pt x="2486483" y="2142015"/>
                </a:moveTo>
                <a:cubicBezTo>
                  <a:pt x="2419361" y="2142015"/>
                  <a:pt x="2364257" y="2087618"/>
                  <a:pt x="2364257" y="2020497"/>
                </a:cubicBezTo>
                <a:cubicBezTo>
                  <a:pt x="2364257" y="1952681"/>
                  <a:pt x="2418660" y="1898278"/>
                  <a:pt x="2485775" y="1898278"/>
                </a:cubicBezTo>
                <a:cubicBezTo>
                  <a:pt x="2552889" y="1898278"/>
                  <a:pt x="2607994" y="1952681"/>
                  <a:pt x="2607994" y="2019795"/>
                </a:cubicBezTo>
                <a:cubicBezTo>
                  <a:pt x="2607994" y="2086911"/>
                  <a:pt x="2553598" y="2142015"/>
                  <a:pt x="2486483" y="2142015"/>
                </a:cubicBezTo>
                <a:close/>
                <a:moveTo>
                  <a:pt x="4513156" y="2162831"/>
                </a:moveTo>
                <a:cubicBezTo>
                  <a:pt x="4452391" y="2163538"/>
                  <a:pt x="4402936" y="2114785"/>
                  <a:pt x="4402936" y="2054025"/>
                </a:cubicBezTo>
                <a:cubicBezTo>
                  <a:pt x="4402936" y="1993969"/>
                  <a:pt x="4451682" y="1944513"/>
                  <a:pt x="4512446" y="1943805"/>
                </a:cubicBezTo>
                <a:cubicBezTo>
                  <a:pt x="4573204" y="1943097"/>
                  <a:pt x="4622658" y="1991851"/>
                  <a:pt x="4622658" y="2052610"/>
                </a:cubicBezTo>
                <a:cubicBezTo>
                  <a:pt x="4622658" y="2113374"/>
                  <a:pt x="4573912" y="2162831"/>
                  <a:pt x="4513156" y="2162831"/>
                </a:cubicBezTo>
                <a:close/>
                <a:moveTo>
                  <a:pt x="4920812" y="2222703"/>
                </a:moveTo>
                <a:cubicBezTo>
                  <a:pt x="4869242" y="2222703"/>
                  <a:pt x="4826849" y="2181018"/>
                  <a:pt x="4826849" y="2129441"/>
                </a:cubicBezTo>
                <a:cubicBezTo>
                  <a:pt x="4826849" y="2077871"/>
                  <a:pt x="4868534" y="2035478"/>
                  <a:pt x="4920104" y="2035478"/>
                </a:cubicBezTo>
                <a:cubicBezTo>
                  <a:pt x="4971683" y="2035478"/>
                  <a:pt x="5014067" y="2077163"/>
                  <a:pt x="5014067" y="2128734"/>
                </a:cubicBezTo>
                <a:cubicBezTo>
                  <a:pt x="5014067" y="2180311"/>
                  <a:pt x="4972390" y="2222703"/>
                  <a:pt x="4920812" y="2222703"/>
                </a:cubicBezTo>
                <a:close/>
                <a:moveTo>
                  <a:pt x="2939280" y="2228936"/>
                </a:moveTo>
                <a:cubicBezTo>
                  <a:pt x="2855202" y="2229638"/>
                  <a:pt x="2786676" y="2161820"/>
                  <a:pt x="2786676" y="2077743"/>
                </a:cubicBezTo>
                <a:cubicBezTo>
                  <a:pt x="2785968" y="1993671"/>
                  <a:pt x="2853792" y="1925139"/>
                  <a:pt x="2937863" y="1925139"/>
                </a:cubicBezTo>
                <a:cubicBezTo>
                  <a:pt x="3021941" y="1924431"/>
                  <a:pt x="3090473" y="1992255"/>
                  <a:pt x="3090473" y="2076326"/>
                </a:cubicBezTo>
                <a:cubicBezTo>
                  <a:pt x="3091174" y="2160403"/>
                  <a:pt x="3023350" y="2228936"/>
                  <a:pt x="2939280" y="2228936"/>
                </a:cubicBezTo>
                <a:close/>
                <a:moveTo>
                  <a:pt x="1209657" y="2268830"/>
                </a:moveTo>
                <a:cubicBezTo>
                  <a:pt x="1173429" y="2268830"/>
                  <a:pt x="1136842" y="2232243"/>
                  <a:pt x="1136842" y="2195654"/>
                </a:cubicBezTo>
                <a:cubicBezTo>
                  <a:pt x="1136842" y="2159429"/>
                  <a:pt x="1173429" y="2122841"/>
                  <a:pt x="1209657" y="2122841"/>
                </a:cubicBezTo>
                <a:cubicBezTo>
                  <a:pt x="1246244" y="2122841"/>
                  <a:pt x="1282831" y="2159429"/>
                  <a:pt x="1282831" y="2195654"/>
                </a:cubicBezTo>
                <a:cubicBezTo>
                  <a:pt x="1282831" y="2232243"/>
                  <a:pt x="1246244" y="2268830"/>
                  <a:pt x="1209657" y="2268830"/>
                </a:cubicBezTo>
                <a:close/>
                <a:moveTo>
                  <a:pt x="1722867" y="2280246"/>
                </a:moveTo>
                <a:cubicBezTo>
                  <a:pt x="1682980" y="2280246"/>
                  <a:pt x="1650045" y="2247294"/>
                  <a:pt x="1650045" y="2207425"/>
                </a:cubicBezTo>
                <a:cubicBezTo>
                  <a:pt x="1650045" y="2167538"/>
                  <a:pt x="1682980" y="2134604"/>
                  <a:pt x="1722867" y="2132866"/>
                </a:cubicBezTo>
                <a:cubicBezTo>
                  <a:pt x="1762738" y="2132866"/>
                  <a:pt x="1795689" y="2165800"/>
                  <a:pt x="1795689" y="2205686"/>
                </a:cubicBezTo>
                <a:cubicBezTo>
                  <a:pt x="1795689" y="2247294"/>
                  <a:pt x="1762738" y="2280246"/>
                  <a:pt x="1722867" y="2280246"/>
                </a:cubicBezTo>
                <a:close/>
                <a:moveTo>
                  <a:pt x="5321772" y="2280522"/>
                </a:moveTo>
                <a:cubicBezTo>
                  <a:pt x="5282060" y="2280522"/>
                  <a:pt x="5248524" y="2247869"/>
                  <a:pt x="5248524" y="2207271"/>
                </a:cubicBezTo>
                <a:cubicBezTo>
                  <a:pt x="5248524" y="2166673"/>
                  <a:pt x="5281176" y="2134020"/>
                  <a:pt x="5320886" y="2134020"/>
                </a:cubicBezTo>
                <a:cubicBezTo>
                  <a:pt x="5361483" y="2134020"/>
                  <a:pt x="5394134" y="2166673"/>
                  <a:pt x="5394134" y="2207271"/>
                </a:cubicBezTo>
                <a:cubicBezTo>
                  <a:pt x="5395018" y="2246984"/>
                  <a:pt x="5362367" y="2280522"/>
                  <a:pt x="5321772" y="2280522"/>
                </a:cubicBezTo>
                <a:close/>
                <a:moveTo>
                  <a:pt x="3372970" y="2292550"/>
                </a:moveTo>
                <a:cubicBezTo>
                  <a:pt x="3291018" y="2292550"/>
                  <a:pt x="3223195" y="2226136"/>
                  <a:pt x="3223195" y="2143476"/>
                </a:cubicBezTo>
                <a:cubicBezTo>
                  <a:pt x="3223195" y="2061525"/>
                  <a:pt x="3289602" y="1994410"/>
                  <a:pt x="3372261" y="1993702"/>
                </a:cubicBezTo>
                <a:cubicBezTo>
                  <a:pt x="3454921" y="1993702"/>
                  <a:pt x="3522043" y="2060109"/>
                  <a:pt x="3522043" y="2142769"/>
                </a:cubicBezTo>
                <a:cubicBezTo>
                  <a:pt x="3522043" y="2225428"/>
                  <a:pt x="3455629" y="2292550"/>
                  <a:pt x="3372970" y="2292550"/>
                </a:cubicBezTo>
                <a:close/>
                <a:moveTo>
                  <a:pt x="2197439" y="2328649"/>
                </a:moveTo>
                <a:cubicBezTo>
                  <a:pt x="2153635" y="2328649"/>
                  <a:pt x="2117601" y="2293323"/>
                  <a:pt x="2117601" y="2249514"/>
                </a:cubicBezTo>
                <a:cubicBezTo>
                  <a:pt x="2116901" y="2205710"/>
                  <a:pt x="2152927" y="2169676"/>
                  <a:pt x="2196738" y="2169676"/>
                </a:cubicBezTo>
                <a:cubicBezTo>
                  <a:pt x="2240541" y="2168975"/>
                  <a:pt x="2276575" y="2205002"/>
                  <a:pt x="2276575" y="2248813"/>
                </a:cubicBezTo>
                <a:cubicBezTo>
                  <a:pt x="2277276" y="2292615"/>
                  <a:pt x="2241249" y="2328649"/>
                  <a:pt x="2197439" y="2328649"/>
                </a:cubicBezTo>
                <a:close/>
                <a:moveTo>
                  <a:pt x="3793699" y="2347956"/>
                </a:moveTo>
                <a:cubicBezTo>
                  <a:pt x="3720224" y="2347956"/>
                  <a:pt x="3660169" y="2288610"/>
                  <a:pt x="3660169" y="2215135"/>
                </a:cubicBezTo>
                <a:cubicBezTo>
                  <a:pt x="3660169" y="2141658"/>
                  <a:pt x="3719516" y="2082312"/>
                  <a:pt x="3792991" y="2081605"/>
                </a:cubicBezTo>
                <a:cubicBezTo>
                  <a:pt x="3866467" y="2081605"/>
                  <a:pt x="3925813" y="2140951"/>
                  <a:pt x="3926522" y="2214426"/>
                </a:cubicBezTo>
                <a:cubicBezTo>
                  <a:pt x="3926522" y="2287901"/>
                  <a:pt x="3867174" y="2347956"/>
                  <a:pt x="3793699" y="2347956"/>
                </a:cubicBezTo>
                <a:close/>
                <a:moveTo>
                  <a:pt x="5717144" y="2359584"/>
                </a:moveTo>
                <a:cubicBezTo>
                  <a:pt x="5677924" y="2359584"/>
                  <a:pt x="5644317" y="2325980"/>
                  <a:pt x="5644317" y="2286787"/>
                </a:cubicBezTo>
                <a:cubicBezTo>
                  <a:pt x="5644317" y="2244760"/>
                  <a:pt x="5677924" y="2211156"/>
                  <a:pt x="5714338" y="2213962"/>
                </a:cubicBezTo>
                <a:cubicBezTo>
                  <a:pt x="5756338" y="2213962"/>
                  <a:pt x="5789944" y="2244760"/>
                  <a:pt x="5789944" y="2286787"/>
                </a:cubicBezTo>
                <a:cubicBezTo>
                  <a:pt x="5789944" y="2325980"/>
                  <a:pt x="5759146" y="2359584"/>
                  <a:pt x="5717144" y="2359584"/>
                </a:cubicBezTo>
                <a:close/>
                <a:moveTo>
                  <a:pt x="4204257" y="2406747"/>
                </a:moveTo>
                <a:cubicBezTo>
                  <a:pt x="4139968" y="2406747"/>
                  <a:pt x="4086982" y="2354463"/>
                  <a:pt x="4086982" y="2290173"/>
                </a:cubicBezTo>
                <a:cubicBezTo>
                  <a:pt x="4086982" y="2225176"/>
                  <a:pt x="4139260" y="2172898"/>
                  <a:pt x="4203556" y="2172898"/>
                </a:cubicBezTo>
                <a:cubicBezTo>
                  <a:pt x="4267845" y="2172898"/>
                  <a:pt x="4320833" y="2224467"/>
                  <a:pt x="4320833" y="2289466"/>
                </a:cubicBezTo>
                <a:cubicBezTo>
                  <a:pt x="4320833" y="2353761"/>
                  <a:pt x="4268547" y="2406747"/>
                  <a:pt x="4204257" y="2406747"/>
                </a:cubicBezTo>
                <a:close/>
                <a:moveTo>
                  <a:pt x="2644311" y="2430091"/>
                </a:moveTo>
                <a:cubicBezTo>
                  <a:pt x="2577197" y="2430091"/>
                  <a:pt x="2522800" y="2375695"/>
                  <a:pt x="2522092" y="2308573"/>
                </a:cubicBezTo>
                <a:cubicBezTo>
                  <a:pt x="2522092" y="2240750"/>
                  <a:pt x="2576496" y="2185647"/>
                  <a:pt x="2643609" y="2186355"/>
                </a:cubicBezTo>
                <a:cubicBezTo>
                  <a:pt x="2710725" y="2186355"/>
                  <a:pt x="2765829" y="2240050"/>
                  <a:pt x="2765829" y="2307872"/>
                </a:cubicBezTo>
                <a:cubicBezTo>
                  <a:pt x="2766537" y="2374987"/>
                  <a:pt x="2711432" y="2430091"/>
                  <a:pt x="2644311" y="2430091"/>
                </a:cubicBezTo>
                <a:close/>
                <a:moveTo>
                  <a:pt x="4607189" y="2477047"/>
                </a:moveTo>
                <a:cubicBezTo>
                  <a:pt x="4546426" y="2477047"/>
                  <a:pt x="4496974" y="2428296"/>
                  <a:pt x="4496974" y="2367540"/>
                </a:cubicBezTo>
                <a:cubicBezTo>
                  <a:pt x="4496974" y="2306785"/>
                  <a:pt x="4545718" y="2258034"/>
                  <a:pt x="4606480" y="2258034"/>
                </a:cubicBezTo>
                <a:cubicBezTo>
                  <a:pt x="4666534" y="2257326"/>
                  <a:pt x="4715986" y="2306077"/>
                  <a:pt x="4715986" y="2366832"/>
                </a:cubicBezTo>
                <a:cubicBezTo>
                  <a:pt x="4716687" y="2427594"/>
                  <a:pt x="4667235" y="2477047"/>
                  <a:pt x="4607189" y="2477047"/>
                </a:cubicBezTo>
                <a:close/>
                <a:moveTo>
                  <a:pt x="1436119" y="2507032"/>
                </a:moveTo>
                <a:cubicBezTo>
                  <a:pt x="1399531" y="2507032"/>
                  <a:pt x="1362943" y="2470445"/>
                  <a:pt x="1362943" y="2433856"/>
                </a:cubicBezTo>
                <a:cubicBezTo>
                  <a:pt x="1362943" y="2433856"/>
                  <a:pt x="1436119" y="2397631"/>
                  <a:pt x="1436119" y="2361043"/>
                </a:cubicBezTo>
                <a:cubicBezTo>
                  <a:pt x="1472345" y="2361043"/>
                  <a:pt x="1508933" y="2397631"/>
                  <a:pt x="1508933" y="2433856"/>
                </a:cubicBezTo>
                <a:cubicBezTo>
                  <a:pt x="1508933" y="2470445"/>
                  <a:pt x="1472345" y="2507032"/>
                  <a:pt x="1436119" y="2507032"/>
                </a:cubicBezTo>
                <a:close/>
                <a:moveTo>
                  <a:pt x="3073391" y="2519230"/>
                </a:moveTo>
                <a:cubicBezTo>
                  <a:pt x="2994972" y="2519230"/>
                  <a:pt x="2931389" y="2456349"/>
                  <a:pt x="2930680" y="2377923"/>
                </a:cubicBezTo>
                <a:cubicBezTo>
                  <a:pt x="2929972" y="2299502"/>
                  <a:pt x="2993555" y="2235919"/>
                  <a:pt x="3072690" y="2235211"/>
                </a:cubicBezTo>
                <a:cubicBezTo>
                  <a:pt x="3150402" y="2234503"/>
                  <a:pt x="3214699" y="2298086"/>
                  <a:pt x="3214699" y="2376512"/>
                </a:cubicBezTo>
                <a:cubicBezTo>
                  <a:pt x="3214699" y="2454932"/>
                  <a:pt x="3151817" y="2519230"/>
                  <a:pt x="3073391" y="2519230"/>
                </a:cubicBezTo>
                <a:close/>
                <a:moveTo>
                  <a:pt x="5002631" y="2526666"/>
                </a:moveTo>
                <a:cubicBezTo>
                  <a:pt x="4958828" y="2526666"/>
                  <a:pt x="4922794" y="2491340"/>
                  <a:pt x="4922794" y="2447531"/>
                </a:cubicBezTo>
                <a:cubicBezTo>
                  <a:pt x="4922794" y="2403019"/>
                  <a:pt x="4958120" y="2366992"/>
                  <a:pt x="5001923" y="2367693"/>
                </a:cubicBezTo>
                <a:cubicBezTo>
                  <a:pt x="5045725" y="2367693"/>
                  <a:pt x="5081758" y="2403019"/>
                  <a:pt x="5081758" y="2446830"/>
                </a:cubicBezTo>
                <a:cubicBezTo>
                  <a:pt x="5081758" y="2490632"/>
                  <a:pt x="5046434" y="2526666"/>
                  <a:pt x="5002631" y="2526666"/>
                </a:cubicBezTo>
                <a:close/>
                <a:moveTo>
                  <a:pt x="1906866" y="2551213"/>
                </a:moveTo>
                <a:cubicBezTo>
                  <a:pt x="1865259" y="2551213"/>
                  <a:pt x="1834027" y="2520032"/>
                  <a:pt x="1834027" y="2478424"/>
                </a:cubicBezTo>
                <a:cubicBezTo>
                  <a:pt x="1834027" y="2436817"/>
                  <a:pt x="1865259" y="2405585"/>
                  <a:pt x="1906866" y="2405585"/>
                </a:cubicBezTo>
                <a:cubicBezTo>
                  <a:pt x="1948475" y="2405585"/>
                  <a:pt x="1979655" y="2436817"/>
                  <a:pt x="1979655" y="2478424"/>
                </a:cubicBezTo>
                <a:cubicBezTo>
                  <a:pt x="1979655" y="2520032"/>
                  <a:pt x="1948475" y="2551213"/>
                  <a:pt x="1906866" y="2551213"/>
                </a:cubicBezTo>
                <a:close/>
                <a:moveTo>
                  <a:pt x="5392571" y="2600889"/>
                </a:moveTo>
                <a:cubicBezTo>
                  <a:pt x="5353026" y="2600889"/>
                  <a:pt x="5320655" y="2568535"/>
                  <a:pt x="5320655" y="2528971"/>
                </a:cubicBezTo>
                <a:cubicBezTo>
                  <a:pt x="5320655" y="2487605"/>
                  <a:pt x="5353026" y="2455250"/>
                  <a:pt x="5392571" y="2455250"/>
                </a:cubicBezTo>
                <a:cubicBezTo>
                  <a:pt x="5433935" y="2453448"/>
                  <a:pt x="5466306" y="2487605"/>
                  <a:pt x="5466306" y="2527169"/>
                </a:cubicBezTo>
                <a:cubicBezTo>
                  <a:pt x="5466306" y="2568535"/>
                  <a:pt x="5433935" y="2600889"/>
                  <a:pt x="5392571" y="2600889"/>
                </a:cubicBezTo>
                <a:close/>
                <a:moveTo>
                  <a:pt x="3487827" y="2609541"/>
                </a:moveTo>
                <a:cubicBezTo>
                  <a:pt x="3400224" y="2609541"/>
                  <a:pt x="3328867" y="2539594"/>
                  <a:pt x="3328867" y="2451992"/>
                </a:cubicBezTo>
                <a:cubicBezTo>
                  <a:pt x="3328159" y="2365090"/>
                  <a:pt x="3398808" y="2293740"/>
                  <a:pt x="3487119" y="2293032"/>
                </a:cubicBezTo>
                <a:cubicBezTo>
                  <a:pt x="3574021" y="2293032"/>
                  <a:pt x="3645370" y="2363680"/>
                  <a:pt x="3645370" y="2450581"/>
                </a:cubicBezTo>
                <a:cubicBezTo>
                  <a:pt x="3645370" y="2538184"/>
                  <a:pt x="3575430" y="2609541"/>
                  <a:pt x="3487827" y="2609541"/>
                </a:cubicBezTo>
                <a:close/>
                <a:moveTo>
                  <a:pt x="2348242" y="2614712"/>
                </a:moveTo>
                <a:cubicBezTo>
                  <a:pt x="2307993" y="2615897"/>
                  <a:pt x="2274851" y="2582755"/>
                  <a:pt x="2274851" y="2542504"/>
                </a:cubicBezTo>
                <a:cubicBezTo>
                  <a:pt x="2274851" y="2502255"/>
                  <a:pt x="2307993" y="2469112"/>
                  <a:pt x="2347057" y="2467926"/>
                </a:cubicBezTo>
                <a:cubicBezTo>
                  <a:pt x="2387305" y="2467926"/>
                  <a:pt x="2420459" y="2501068"/>
                  <a:pt x="2420459" y="2541319"/>
                </a:cubicBezTo>
                <a:cubicBezTo>
                  <a:pt x="2421635" y="2581569"/>
                  <a:pt x="2388493" y="2614712"/>
                  <a:pt x="2348242" y="2614712"/>
                </a:cubicBezTo>
                <a:close/>
                <a:moveTo>
                  <a:pt x="3891496" y="2656743"/>
                </a:moveTo>
                <a:cubicBezTo>
                  <a:pt x="3820846" y="2656743"/>
                  <a:pt x="3762915" y="2599514"/>
                  <a:pt x="3762915" y="2528866"/>
                </a:cubicBezTo>
                <a:cubicBezTo>
                  <a:pt x="3762915" y="2458216"/>
                  <a:pt x="3820145" y="2400995"/>
                  <a:pt x="3890795" y="2400287"/>
                </a:cubicBezTo>
                <a:cubicBezTo>
                  <a:pt x="3961444" y="2400287"/>
                  <a:pt x="4019375" y="2457515"/>
                  <a:pt x="4019375" y="2528165"/>
                </a:cubicBezTo>
                <a:cubicBezTo>
                  <a:pt x="4019375" y="2598814"/>
                  <a:pt x="3962145" y="2656743"/>
                  <a:pt x="3891496" y="2656743"/>
                </a:cubicBezTo>
                <a:close/>
                <a:moveTo>
                  <a:pt x="5780553" y="2682276"/>
                </a:moveTo>
                <a:cubicBezTo>
                  <a:pt x="5739227" y="2682276"/>
                  <a:pt x="5704742" y="2647786"/>
                  <a:pt x="5704742" y="2606451"/>
                </a:cubicBezTo>
                <a:cubicBezTo>
                  <a:pt x="5704742" y="2565049"/>
                  <a:pt x="5732316" y="2530559"/>
                  <a:pt x="5780553" y="2537470"/>
                </a:cubicBezTo>
                <a:cubicBezTo>
                  <a:pt x="5821948" y="2530559"/>
                  <a:pt x="5856433" y="2565049"/>
                  <a:pt x="5856433" y="2606451"/>
                </a:cubicBezTo>
                <a:cubicBezTo>
                  <a:pt x="5856433" y="2647786"/>
                  <a:pt x="5821948" y="2682276"/>
                  <a:pt x="5780553" y="2682276"/>
                </a:cubicBezTo>
                <a:close/>
                <a:moveTo>
                  <a:pt x="2768743" y="2706584"/>
                </a:moveTo>
                <a:cubicBezTo>
                  <a:pt x="2716466" y="2707293"/>
                  <a:pt x="2674075" y="2664902"/>
                  <a:pt x="2674075" y="2612623"/>
                </a:cubicBezTo>
                <a:cubicBezTo>
                  <a:pt x="2674075" y="2559638"/>
                  <a:pt x="2716466" y="2517247"/>
                  <a:pt x="2768035" y="2517955"/>
                </a:cubicBezTo>
                <a:cubicBezTo>
                  <a:pt x="2820312" y="2517247"/>
                  <a:pt x="2862704" y="2559638"/>
                  <a:pt x="2862704" y="2611916"/>
                </a:cubicBezTo>
                <a:cubicBezTo>
                  <a:pt x="2863412" y="2663493"/>
                  <a:pt x="2821021" y="2706584"/>
                  <a:pt x="2768743" y="2706584"/>
                </a:cubicBezTo>
                <a:close/>
                <a:moveTo>
                  <a:pt x="4288014" y="2729299"/>
                </a:moveTo>
                <a:cubicBezTo>
                  <a:pt x="4220899" y="2729299"/>
                  <a:pt x="4165795" y="2674904"/>
                  <a:pt x="4165795" y="2607782"/>
                </a:cubicBezTo>
                <a:cubicBezTo>
                  <a:pt x="4165795" y="2539966"/>
                  <a:pt x="4220198" y="2484855"/>
                  <a:pt x="4287313" y="2485563"/>
                </a:cubicBezTo>
                <a:cubicBezTo>
                  <a:pt x="4354428" y="2485563"/>
                  <a:pt x="4409531" y="2539966"/>
                  <a:pt x="4409531" y="2607081"/>
                </a:cubicBezTo>
                <a:cubicBezTo>
                  <a:pt x="4409531" y="2674195"/>
                  <a:pt x="4355136" y="2729299"/>
                  <a:pt x="4288014" y="2729299"/>
                </a:cubicBezTo>
                <a:close/>
                <a:moveTo>
                  <a:pt x="1615861" y="2781335"/>
                </a:moveTo>
                <a:cubicBezTo>
                  <a:pt x="1579635" y="2781335"/>
                  <a:pt x="1543048" y="2744762"/>
                  <a:pt x="1543048" y="2708552"/>
                </a:cubicBezTo>
                <a:cubicBezTo>
                  <a:pt x="1543048" y="2671979"/>
                  <a:pt x="1579635" y="2671979"/>
                  <a:pt x="1615861" y="2635406"/>
                </a:cubicBezTo>
                <a:cubicBezTo>
                  <a:pt x="1652449" y="2635406"/>
                  <a:pt x="1689037" y="2671979"/>
                  <a:pt x="1689037" y="2708552"/>
                </a:cubicBezTo>
                <a:cubicBezTo>
                  <a:pt x="1689037" y="2744762"/>
                  <a:pt x="1652449" y="2781335"/>
                  <a:pt x="1615861" y="2781335"/>
                </a:cubicBezTo>
                <a:close/>
                <a:moveTo>
                  <a:pt x="4678737" y="2798847"/>
                </a:moveTo>
                <a:cubicBezTo>
                  <a:pt x="4617973" y="2799557"/>
                  <a:pt x="4567813" y="2750103"/>
                  <a:pt x="4567813" y="2688632"/>
                </a:cubicBezTo>
                <a:cubicBezTo>
                  <a:pt x="4567104" y="2627168"/>
                  <a:pt x="4616564" y="2577006"/>
                  <a:pt x="4677320" y="2577714"/>
                </a:cubicBezTo>
                <a:cubicBezTo>
                  <a:pt x="4738784" y="2577006"/>
                  <a:pt x="4788236" y="2626466"/>
                  <a:pt x="4788944" y="2687931"/>
                </a:cubicBezTo>
                <a:cubicBezTo>
                  <a:pt x="4788944" y="2748687"/>
                  <a:pt x="4739492" y="2798847"/>
                  <a:pt x="4678737" y="2798847"/>
                </a:cubicBezTo>
                <a:close/>
                <a:moveTo>
                  <a:pt x="3176997" y="2847261"/>
                </a:moveTo>
                <a:cubicBezTo>
                  <a:pt x="3089388" y="2847261"/>
                  <a:pt x="3018739" y="2777314"/>
                  <a:pt x="3018037" y="2689712"/>
                </a:cubicBezTo>
                <a:cubicBezTo>
                  <a:pt x="3017330" y="2602817"/>
                  <a:pt x="3087979" y="2531460"/>
                  <a:pt x="3175580" y="2530752"/>
                </a:cubicBezTo>
                <a:cubicBezTo>
                  <a:pt x="3263191" y="2530752"/>
                  <a:pt x="3333839" y="2600692"/>
                  <a:pt x="3334540" y="2688302"/>
                </a:cubicBezTo>
                <a:cubicBezTo>
                  <a:pt x="3334540" y="2775905"/>
                  <a:pt x="3264600" y="2847261"/>
                  <a:pt x="3176997" y="2847261"/>
                </a:cubicBezTo>
                <a:close/>
                <a:moveTo>
                  <a:pt x="2058885" y="2858028"/>
                </a:moveTo>
                <a:cubicBezTo>
                  <a:pt x="1996503" y="2858028"/>
                  <a:pt x="1975640" y="2816469"/>
                  <a:pt x="1975640" y="2774702"/>
                </a:cubicBezTo>
                <a:cubicBezTo>
                  <a:pt x="1975640" y="2733143"/>
                  <a:pt x="1996503" y="2691376"/>
                  <a:pt x="2058885" y="2691376"/>
                </a:cubicBezTo>
                <a:cubicBezTo>
                  <a:pt x="2079749" y="2691376"/>
                  <a:pt x="2121267" y="2733143"/>
                  <a:pt x="2121267" y="2774702"/>
                </a:cubicBezTo>
                <a:cubicBezTo>
                  <a:pt x="2121267" y="2816469"/>
                  <a:pt x="2100611" y="2858028"/>
                  <a:pt x="2058885" y="2858028"/>
                </a:cubicBezTo>
                <a:close/>
                <a:moveTo>
                  <a:pt x="5064001" y="2863705"/>
                </a:moveTo>
                <a:cubicBezTo>
                  <a:pt x="5013141" y="2863705"/>
                  <a:pt x="4970750" y="2822029"/>
                  <a:pt x="4970750" y="2770454"/>
                </a:cubicBezTo>
                <a:cubicBezTo>
                  <a:pt x="4970750" y="2718886"/>
                  <a:pt x="5012433" y="2676496"/>
                  <a:pt x="5063300" y="2676496"/>
                </a:cubicBezTo>
                <a:cubicBezTo>
                  <a:pt x="5114868" y="2676496"/>
                  <a:pt x="5157259" y="2718178"/>
                  <a:pt x="5157259" y="2769746"/>
                </a:cubicBezTo>
                <a:cubicBezTo>
                  <a:pt x="5157259" y="2821321"/>
                  <a:pt x="5115576" y="2863705"/>
                  <a:pt x="5064001" y="2863705"/>
                </a:cubicBezTo>
                <a:close/>
                <a:moveTo>
                  <a:pt x="2460230" y="2922733"/>
                </a:moveTo>
                <a:cubicBezTo>
                  <a:pt x="2419962" y="2922733"/>
                  <a:pt x="2386755" y="2889526"/>
                  <a:pt x="2386755" y="2849258"/>
                </a:cubicBezTo>
                <a:cubicBezTo>
                  <a:pt x="2386755" y="2808282"/>
                  <a:pt x="2419253" y="2775783"/>
                  <a:pt x="2460230" y="2775783"/>
                </a:cubicBezTo>
                <a:cubicBezTo>
                  <a:pt x="2500497" y="2775783"/>
                  <a:pt x="2533705" y="2808991"/>
                  <a:pt x="2533705" y="2849258"/>
                </a:cubicBezTo>
                <a:cubicBezTo>
                  <a:pt x="2533705" y="2889526"/>
                  <a:pt x="2500497" y="2922733"/>
                  <a:pt x="2460230" y="2922733"/>
                </a:cubicBezTo>
                <a:close/>
                <a:moveTo>
                  <a:pt x="5446926" y="2925236"/>
                </a:moveTo>
                <a:cubicBezTo>
                  <a:pt x="5406838" y="2925236"/>
                  <a:pt x="5373435" y="2893172"/>
                  <a:pt x="5373435" y="2853085"/>
                </a:cubicBezTo>
                <a:cubicBezTo>
                  <a:pt x="5373435" y="2811659"/>
                  <a:pt x="5405500" y="2779595"/>
                  <a:pt x="5445586" y="2779595"/>
                </a:cubicBezTo>
                <a:cubicBezTo>
                  <a:pt x="5485673" y="2779595"/>
                  <a:pt x="5519075" y="2811659"/>
                  <a:pt x="5519075" y="2851746"/>
                </a:cubicBezTo>
                <a:cubicBezTo>
                  <a:pt x="5519075" y="2891832"/>
                  <a:pt x="5487012" y="2925236"/>
                  <a:pt x="5446926" y="2925236"/>
                </a:cubicBezTo>
                <a:close/>
                <a:moveTo>
                  <a:pt x="3573998" y="2925247"/>
                </a:moveTo>
                <a:cubicBezTo>
                  <a:pt x="3487101" y="2925955"/>
                  <a:pt x="3416450" y="2856013"/>
                  <a:pt x="3416450" y="2769118"/>
                </a:cubicBezTo>
                <a:cubicBezTo>
                  <a:pt x="3415743" y="2682922"/>
                  <a:pt x="3485685" y="2612272"/>
                  <a:pt x="3572588" y="2611564"/>
                </a:cubicBezTo>
                <a:cubicBezTo>
                  <a:pt x="3659486" y="2611564"/>
                  <a:pt x="3730136" y="2680798"/>
                  <a:pt x="3730136" y="2767701"/>
                </a:cubicBezTo>
                <a:cubicBezTo>
                  <a:pt x="3730844" y="2854597"/>
                  <a:pt x="3660901" y="2925247"/>
                  <a:pt x="3573998" y="2925247"/>
                </a:cubicBezTo>
                <a:close/>
                <a:moveTo>
                  <a:pt x="3963753" y="2984913"/>
                </a:moveTo>
                <a:cubicBezTo>
                  <a:pt x="3888862" y="2985621"/>
                  <a:pt x="3827399" y="2924860"/>
                  <a:pt x="3827399" y="2849975"/>
                </a:cubicBezTo>
                <a:cubicBezTo>
                  <a:pt x="3827399" y="2775084"/>
                  <a:pt x="3888154" y="2714329"/>
                  <a:pt x="3962336" y="2713620"/>
                </a:cubicBezTo>
                <a:cubicBezTo>
                  <a:pt x="4037227" y="2712912"/>
                  <a:pt x="4098690" y="2773675"/>
                  <a:pt x="4098690" y="2848558"/>
                </a:cubicBezTo>
                <a:cubicBezTo>
                  <a:pt x="4099399" y="2923450"/>
                  <a:pt x="4038636" y="2984913"/>
                  <a:pt x="3963753" y="2984913"/>
                </a:cubicBezTo>
                <a:close/>
                <a:moveTo>
                  <a:pt x="5825099" y="3007771"/>
                </a:moveTo>
                <a:cubicBezTo>
                  <a:pt x="5784130" y="3007771"/>
                  <a:pt x="5752285" y="2975927"/>
                  <a:pt x="5752285" y="2934958"/>
                </a:cubicBezTo>
                <a:cubicBezTo>
                  <a:pt x="5752285" y="2893990"/>
                  <a:pt x="5784130" y="2862144"/>
                  <a:pt x="5825099" y="2862144"/>
                </a:cubicBezTo>
                <a:cubicBezTo>
                  <a:pt x="5866068" y="2862144"/>
                  <a:pt x="5897912" y="2893990"/>
                  <a:pt x="5897912" y="2934958"/>
                </a:cubicBezTo>
                <a:cubicBezTo>
                  <a:pt x="5897912" y="2975927"/>
                  <a:pt x="5866068" y="3007771"/>
                  <a:pt x="5825099" y="3007771"/>
                </a:cubicBezTo>
                <a:close/>
                <a:moveTo>
                  <a:pt x="4348053" y="3059068"/>
                </a:moveTo>
                <a:cubicBezTo>
                  <a:pt x="4277402" y="3059068"/>
                  <a:pt x="4219472" y="3001839"/>
                  <a:pt x="4219472" y="2931189"/>
                </a:cubicBezTo>
                <a:cubicBezTo>
                  <a:pt x="4219472" y="2860539"/>
                  <a:pt x="4276701" y="2802609"/>
                  <a:pt x="4347351" y="2802609"/>
                </a:cubicBezTo>
                <a:cubicBezTo>
                  <a:pt x="4418000" y="2802609"/>
                  <a:pt x="4475931" y="2859838"/>
                  <a:pt x="4475931" y="2930488"/>
                </a:cubicBezTo>
                <a:cubicBezTo>
                  <a:pt x="4475931" y="3001137"/>
                  <a:pt x="4418702" y="3059068"/>
                  <a:pt x="4348053" y="3059068"/>
                </a:cubicBezTo>
                <a:close/>
                <a:moveTo>
                  <a:pt x="2859391" y="3059363"/>
                </a:moveTo>
                <a:cubicBezTo>
                  <a:pt x="2786624" y="3060071"/>
                  <a:pt x="2727985" y="3001432"/>
                  <a:pt x="2727985" y="2929368"/>
                </a:cubicBezTo>
                <a:cubicBezTo>
                  <a:pt x="2727278" y="2857309"/>
                  <a:pt x="2785916" y="2798671"/>
                  <a:pt x="2857981" y="2797962"/>
                </a:cubicBezTo>
                <a:cubicBezTo>
                  <a:pt x="2930748" y="2797254"/>
                  <a:pt x="2989386" y="2855892"/>
                  <a:pt x="2989386" y="2927959"/>
                </a:cubicBezTo>
                <a:cubicBezTo>
                  <a:pt x="2990094" y="3000017"/>
                  <a:pt x="2931456" y="3059363"/>
                  <a:pt x="2859391" y="3059363"/>
                </a:cubicBezTo>
                <a:close/>
                <a:moveTo>
                  <a:pt x="1743677" y="3083119"/>
                </a:moveTo>
                <a:cubicBezTo>
                  <a:pt x="1703678" y="3063026"/>
                  <a:pt x="1663481" y="3043131"/>
                  <a:pt x="1663481" y="3002945"/>
                </a:cubicBezTo>
                <a:cubicBezTo>
                  <a:pt x="1663481" y="2962957"/>
                  <a:pt x="1703678" y="2922770"/>
                  <a:pt x="1743677" y="2942863"/>
                </a:cubicBezTo>
                <a:cubicBezTo>
                  <a:pt x="1783872" y="2922770"/>
                  <a:pt x="1823871" y="2962957"/>
                  <a:pt x="1823871" y="3002945"/>
                </a:cubicBezTo>
                <a:cubicBezTo>
                  <a:pt x="1823871" y="3043131"/>
                  <a:pt x="1783872" y="3083119"/>
                  <a:pt x="1743677" y="3083119"/>
                </a:cubicBezTo>
                <a:close/>
                <a:moveTo>
                  <a:pt x="4728714" y="3133603"/>
                </a:moveTo>
                <a:cubicBezTo>
                  <a:pt x="4661600" y="3134311"/>
                  <a:pt x="4607197" y="3080616"/>
                  <a:pt x="4607197" y="3013499"/>
                </a:cubicBezTo>
                <a:cubicBezTo>
                  <a:pt x="4607197" y="2946384"/>
                  <a:pt x="4660891" y="2891980"/>
                  <a:pt x="4727297" y="2892688"/>
                </a:cubicBezTo>
                <a:cubicBezTo>
                  <a:pt x="4794412" y="2891980"/>
                  <a:pt x="4848814" y="2946384"/>
                  <a:pt x="4848814" y="3012792"/>
                </a:cubicBezTo>
                <a:cubicBezTo>
                  <a:pt x="4848814" y="3079207"/>
                  <a:pt x="4795120" y="3133603"/>
                  <a:pt x="4728714" y="3133603"/>
                </a:cubicBezTo>
                <a:close/>
                <a:moveTo>
                  <a:pt x="2143589" y="3163085"/>
                </a:moveTo>
                <a:cubicBezTo>
                  <a:pt x="2103863" y="3163085"/>
                  <a:pt x="2070773" y="3132189"/>
                  <a:pt x="2070773" y="3090277"/>
                </a:cubicBezTo>
                <a:cubicBezTo>
                  <a:pt x="2070773" y="3050557"/>
                  <a:pt x="2103863" y="3017471"/>
                  <a:pt x="2141377" y="3015258"/>
                </a:cubicBezTo>
                <a:cubicBezTo>
                  <a:pt x="2183315" y="3015258"/>
                  <a:pt x="2216405" y="3048345"/>
                  <a:pt x="2216405" y="3088066"/>
                </a:cubicBezTo>
                <a:cubicBezTo>
                  <a:pt x="2216405" y="3129999"/>
                  <a:pt x="2185527" y="3163085"/>
                  <a:pt x="2143589" y="3163085"/>
                </a:cubicBezTo>
                <a:close/>
                <a:moveTo>
                  <a:pt x="3248651" y="3171303"/>
                </a:moveTo>
                <a:cubicBezTo>
                  <a:pt x="3158928" y="3172011"/>
                  <a:pt x="3086161" y="3099945"/>
                  <a:pt x="3086161" y="3010224"/>
                </a:cubicBezTo>
                <a:cubicBezTo>
                  <a:pt x="3085453" y="2920495"/>
                  <a:pt x="3158220" y="2848429"/>
                  <a:pt x="3247240" y="2847728"/>
                </a:cubicBezTo>
                <a:cubicBezTo>
                  <a:pt x="3336969" y="2847020"/>
                  <a:pt x="3409736" y="2919079"/>
                  <a:pt x="3409736" y="3008808"/>
                </a:cubicBezTo>
                <a:cubicBezTo>
                  <a:pt x="3410444" y="3098536"/>
                  <a:pt x="3338378" y="3171303"/>
                  <a:pt x="3248651" y="3171303"/>
                </a:cubicBezTo>
                <a:close/>
                <a:moveTo>
                  <a:pt x="5105157" y="3190027"/>
                </a:moveTo>
                <a:cubicBezTo>
                  <a:pt x="5054297" y="3190027"/>
                  <a:pt x="5011906" y="3148351"/>
                  <a:pt x="5011906" y="3096777"/>
                </a:cubicBezTo>
                <a:cubicBezTo>
                  <a:pt x="5011906" y="3045209"/>
                  <a:pt x="5052880" y="3003526"/>
                  <a:pt x="5104456" y="3002818"/>
                </a:cubicBezTo>
                <a:cubicBezTo>
                  <a:pt x="5156023" y="3002818"/>
                  <a:pt x="5198415" y="3044500"/>
                  <a:pt x="5198415" y="3096069"/>
                </a:cubicBezTo>
                <a:cubicBezTo>
                  <a:pt x="5198415" y="3147644"/>
                  <a:pt x="5156731" y="3190027"/>
                  <a:pt x="5105157" y="3190027"/>
                </a:cubicBezTo>
                <a:close/>
                <a:moveTo>
                  <a:pt x="2531890" y="3242602"/>
                </a:moveTo>
                <a:cubicBezTo>
                  <a:pt x="2492331" y="3242602"/>
                  <a:pt x="2459071" y="3210243"/>
                  <a:pt x="2459071" y="3169791"/>
                </a:cubicBezTo>
                <a:cubicBezTo>
                  <a:pt x="2459071" y="3129330"/>
                  <a:pt x="2491430" y="3096070"/>
                  <a:pt x="2531890" y="3096972"/>
                </a:cubicBezTo>
                <a:cubicBezTo>
                  <a:pt x="2572340" y="3096972"/>
                  <a:pt x="2604699" y="3129330"/>
                  <a:pt x="2604699" y="3169791"/>
                </a:cubicBezTo>
                <a:cubicBezTo>
                  <a:pt x="2604699" y="3209342"/>
                  <a:pt x="2572340" y="3242602"/>
                  <a:pt x="2531890" y="3242602"/>
                </a:cubicBezTo>
                <a:close/>
                <a:moveTo>
                  <a:pt x="3631618" y="3248662"/>
                </a:moveTo>
                <a:cubicBezTo>
                  <a:pt x="3544720" y="3249370"/>
                  <a:pt x="3474771" y="3179428"/>
                  <a:pt x="3474070" y="3092525"/>
                </a:cubicBezTo>
                <a:cubicBezTo>
                  <a:pt x="3473362" y="3005628"/>
                  <a:pt x="3543305" y="2935686"/>
                  <a:pt x="3630208" y="2934977"/>
                </a:cubicBezTo>
                <a:cubicBezTo>
                  <a:pt x="3717105" y="2934269"/>
                  <a:pt x="3787055" y="3004211"/>
                  <a:pt x="3787756" y="3091116"/>
                </a:cubicBezTo>
                <a:cubicBezTo>
                  <a:pt x="3788464" y="3178012"/>
                  <a:pt x="3718521" y="3248662"/>
                  <a:pt x="3631618" y="3248662"/>
                </a:cubicBezTo>
                <a:close/>
                <a:moveTo>
                  <a:pt x="5479755" y="3252835"/>
                </a:moveTo>
                <a:cubicBezTo>
                  <a:pt x="5439505" y="3252835"/>
                  <a:pt x="5406364" y="3219695"/>
                  <a:pt x="5406364" y="3179450"/>
                </a:cubicBezTo>
                <a:cubicBezTo>
                  <a:pt x="5406364" y="3139203"/>
                  <a:pt x="5439505" y="3107251"/>
                  <a:pt x="5478567" y="3106064"/>
                </a:cubicBezTo>
                <a:cubicBezTo>
                  <a:pt x="5518815" y="3106064"/>
                  <a:pt x="5551956" y="3139203"/>
                  <a:pt x="5551956" y="3179450"/>
                </a:cubicBezTo>
                <a:cubicBezTo>
                  <a:pt x="5553144" y="3219695"/>
                  <a:pt x="5520003" y="3252835"/>
                  <a:pt x="5479755" y="3252835"/>
                </a:cubicBezTo>
                <a:close/>
                <a:moveTo>
                  <a:pt x="4009150" y="3317439"/>
                </a:moveTo>
                <a:cubicBezTo>
                  <a:pt x="3930731" y="3317439"/>
                  <a:pt x="3866442" y="3253850"/>
                  <a:pt x="3865733" y="3174722"/>
                </a:cubicBezTo>
                <a:cubicBezTo>
                  <a:pt x="3865733" y="3095595"/>
                  <a:pt x="3929315" y="3031305"/>
                  <a:pt x="4008449" y="3031305"/>
                </a:cubicBezTo>
                <a:cubicBezTo>
                  <a:pt x="4087576" y="3031305"/>
                  <a:pt x="4151867" y="3094887"/>
                  <a:pt x="4151867" y="3174021"/>
                </a:cubicBezTo>
                <a:cubicBezTo>
                  <a:pt x="4151867" y="3253148"/>
                  <a:pt x="4088278" y="3317439"/>
                  <a:pt x="4009150" y="3317439"/>
                </a:cubicBezTo>
                <a:close/>
                <a:moveTo>
                  <a:pt x="5851244" y="3335538"/>
                </a:moveTo>
                <a:cubicBezTo>
                  <a:pt x="5810275" y="3335538"/>
                  <a:pt x="5778430" y="3303694"/>
                  <a:pt x="5778430" y="3262725"/>
                </a:cubicBezTo>
                <a:cubicBezTo>
                  <a:pt x="5778430" y="3221756"/>
                  <a:pt x="5810275" y="3189911"/>
                  <a:pt x="5851244" y="3189911"/>
                </a:cubicBezTo>
                <a:cubicBezTo>
                  <a:pt x="5892213" y="3189911"/>
                  <a:pt x="5924057" y="3221756"/>
                  <a:pt x="5924057" y="3262725"/>
                </a:cubicBezTo>
                <a:cubicBezTo>
                  <a:pt x="5924057" y="3303694"/>
                  <a:pt x="5892213" y="3335538"/>
                  <a:pt x="5851244" y="3335538"/>
                </a:cubicBezTo>
                <a:close/>
                <a:moveTo>
                  <a:pt x="2912537" y="3373262"/>
                </a:moveTo>
                <a:cubicBezTo>
                  <a:pt x="2846129" y="3373969"/>
                  <a:pt x="2791726" y="3319565"/>
                  <a:pt x="2791726" y="3253156"/>
                </a:cubicBezTo>
                <a:cubicBezTo>
                  <a:pt x="2791726" y="3186748"/>
                  <a:pt x="2845421" y="3132342"/>
                  <a:pt x="2911127" y="3132342"/>
                </a:cubicBezTo>
                <a:cubicBezTo>
                  <a:pt x="2978243" y="3131634"/>
                  <a:pt x="3032639" y="3186038"/>
                  <a:pt x="3032639" y="3252447"/>
                </a:cubicBezTo>
                <a:cubicBezTo>
                  <a:pt x="3033347" y="3318864"/>
                  <a:pt x="2978944" y="3373262"/>
                  <a:pt x="2912537" y="3373262"/>
                </a:cubicBezTo>
                <a:close/>
                <a:moveTo>
                  <a:pt x="4383877" y="3392229"/>
                </a:moveTo>
                <a:cubicBezTo>
                  <a:pt x="4309693" y="3392229"/>
                  <a:pt x="4248936" y="3332183"/>
                  <a:pt x="4248936" y="3257999"/>
                </a:cubicBezTo>
                <a:cubicBezTo>
                  <a:pt x="4248936" y="3183814"/>
                  <a:pt x="4308993" y="3123766"/>
                  <a:pt x="4383170" y="3123058"/>
                </a:cubicBezTo>
                <a:cubicBezTo>
                  <a:pt x="4457354" y="3123058"/>
                  <a:pt x="4518118" y="3183113"/>
                  <a:pt x="4518118" y="3257297"/>
                </a:cubicBezTo>
                <a:cubicBezTo>
                  <a:pt x="4518118" y="3331475"/>
                  <a:pt x="4458062" y="3392229"/>
                  <a:pt x="4383877" y="3392229"/>
                </a:cubicBezTo>
                <a:close/>
                <a:moveTo>
                  <a:pt x="1828141" y="3416801"/>
                </a:moveTo>
                <a:cubicBezTo>
                  <a:pt x="1785258" y="3416801"/>
                  <a:pt x="1742375" y="3373907"/>
                  <a:pt x="1742375" y="3330997"/>
                </a:cubicBezTo>
                <a:cubicBezTo>
                  <a:pt x="1742375" y="3288512"/>
                  <a:pt x="1785258" y="3245603"/>
                  <a:pt x="1785258" y="3245603"/>
                </a:cubicBezTo>
                <a:cubicBezTo>
                  <a:pt x="1828141" y="3245603"/>
                  <a:pt x="1870599" y="3288512"/>
                  <a:pt x="1870599" y="3330997"/>
                </a:cubicBezTo>
                <a:cubicBezTo>
                  <a:pt x="1913482" y="3373907"/>
                  <a:pt x="1870599" y="3416801"/>
                  <a:pt x="1828141" y="3416801"/>
                </a:cubicBezTo>
                <a:close/>
                <a:moveTo>
                  <a:pt x="4755713" y="3469142"/>
                </a:moveTo>
                <a:cubicBezTo>
                  <a:pt x="4685064" y="3469142"/>
                  <a:pt x="4627133" y="3411914"/>
                  <a:pt x="4627133" y="3341275"/>
                </a:cubicBezTo>
                <a:cubicBezTo>
                  <a:pt x="4626424" y="3270626"/>
                  <a:pt x="4684355" y="3212695"/>
                  <a:pt x="4755012" y="3212695"/>
                </a:cubicBezTo>
                <a:cubicBezTo>
                  <a:pt x="4825662" y="3212695"/>
                  <a:pt x="4882883" y="3269925"/>
                  <a:pt x="4883593" y="3340574"/>
                </a:cubicBezTo>
                <a:cubicBezTo>
                  <a:pt x="4883593" y="3411211"/>
                  <a:pt x="4826363" y="3469142"/>
                  <a:pt x="4755713" y="3469142"/>
                </a:cubicBezTo>
                <a:close/>
                <a:moveTo>
                  <a:pt x="2191543" y="3486615"/>
                </a:moveTo>
                <a:cubicBezTo>
                  <a:pt x="2153407" y="3486615"/>
                  <a:pt x="2118711" y="3455398"/>
                  <a:pt x="2118711" y="3413786"/>
                </a:cubicBezTo>
                <a:cubicBezTo>
                  <a:pt x="2118711" y="3372188"/>
                  <a:pt x="2153407" y="3340969"/>
                  <a:pt x="2191543" y="3340969"/>
                </a:cubicBezTo>
                <a:cubicBezTo>
                  <a:pt x="2233155" y="3340969"/>
                  <a:pt x="2264373" y="3372188"/>
                  <a:pt x="2264373" y="3413786"/>
                </a:cubicBezTo>
                <a:cubicBezTo>
                  <a:pt x="2264373" y="3455398"/>
                  <a:pt x="2233155" y="3486615"/>
                  <a:pt x="2191543" y="3486615"/>
                </a:cubicBezTo>
                <a:close/>
                <a:moveTo>
                  <a:pt x="3287758" y="3499834"/>
                </a:moveTo>
                <a:cubicBezTo>
                  <a:pt x="3197331" y="3499834"/>
                  <a:pt x="3123150" y="3426352"/>
                  <a:pt x="3123150" y="3335945"/>
                </a:cubicBezTo>
                <a:cubicBezTo>
                  <a:pt x="3123150" y="3245519"/>
                  <a:pt x="3196623" y="3171337"/>
                  <a:pt x="3287049" y="3171337"/>
                </a:cubicBezTo>
                <a:cubicBezTo>
                  <a:pt x="3377484" y="3171337"/>
                  <a:pt x="3451657" y="3244102"/>
                  <a:pt x="3451657" y="3335238"/>
                </a:cubicBezTo>
                <a:cubicBezTo>
                  <a:pt x="3451657" y="3425654"/>
                  <a:pt x="3378893" y="3499834"/>
                  <a:pt x="3287758" y="3499834"/>
                </a:cubicBezTo>
                <a:close/>
                <a:moveTo>
                  <a:pt x="5125121" y="3526285"/>
                </a:moveTo>
                <a:cubicBezTo>
                  <a:pt x="5068601" y="3526285"/>
                  <a:pt x="5022681" y="3481067"/>
                  <a:pt x="5022681" y="3424547"/>
                </a:cubicBezTo>
                <a:cubicBezTo>
                  <a:pt x="5022681" y="3368033"/>
                  <a:pt x="5067900" y="3322113"/>
                  <a:pt x="5124413" y="3322113"/>
                </a:cubicBezTo>
                <a:cubicBezTo>
                  <a:pt x="5180933" y="3322113"/>
                  <a:pt x="5226859" y="3367331"/>
                  <a:pt x="5226859" y="3423846"/>
                </a:cubicBezTo>
                <a:cubicBezTo>
                  <a:pt x="5226859" y="3480358"/>
                  <a:pt x="5181641" y="3526285"/>
                  <a:pt x="5125121" y="3526285"/>
                </a:cubicBezTo>
                <a:close/>
                <a:moveTo>
                  <a:pt x="2563137" y="3569844"/>
                </a:moveTo>
                <a:cubicBezTo>
                  <a:pt x="2522677" y="3569844"/>
                  <a:pt x="2489304" y="3537494"/>
                  <a:pt x="2489304" y="3497047"/>
                </a:cubicBezTo>
                <a:cubicBezTo>
                  <a:pt x="2489304" y="3456590"/>
                  <a:pt x="2521664" y="3424229"/>
                  <a:pt x="2562124" y="3424229"/>
                </a:cubicBezTo>
                <a:cubicBezTo>
                  <a:pt x="2602573" y="3424229"/>
                  <a:pt x="2635946" y="3456590"/>
                  <a:pt x="2635946" y="3497047"/>
                </a:cubicBezTo>
                <a:cubicBezTo>
                  <a:pt x="2635946" y="3536477"/>
                  <a:pt x="2603586" y="3569844"/>
                  <a:pt x="2563137" y="3569844"/>
                </a:cubicBezTo>
                <a:close/>
                <a:moveTo>
                  <a:pt x="5492972" y="3580517"/>
                </a:moveTo>
                <a:cubicBezTo>
                  <a:pt x="5452913" y="3580517"/>
                  <a:pt x="5420153" y="3547765"/>
                  <a:pt x="5420153" y="3507717"/>
                </a:cubicBezTo>
                <a:cubicBezTo>
                  <a:pt x="5420153" y="3467670"/>
                  <a:pt x="5452913" y="3434897"/>
                  <a:pt x="5492972" y="3434897"/>
                </a:cubicBezTo>
                <a:cubicBezTo>
                  <a:pt x="5533020" y="3434897"/>
                  <a:pt x="5565780" y="3467670"/>
                  <a:pt x="5565780" y="3507717"/>
                </a:cubicBezTo>
                <a:cubicBezTo>
                  <a:pt x="5565780" y="3547765"/>
                  <a:pt x="5533020" y="3580517"/>
                  <a:pt x="5492972" y="3580517"/>
                </a:cubicBezTo>
                <a:close/>
                <a:moveTo>
                  <a:pt x="4028026" y="3652007"/>
                </a:moveTo>
                <a:cubicBezTo>
                  <a:pt x="3946074" y="3652007"/>
                  <a:pt x="3878961" y="3585592"/>
                  <a:pt x="3878251" y="3502969"/>
                </a:cubicBezTo>
                <a:cubicBezTo>
                  <a:pt x="3878251" y="3421015"/>
                  <a:pt x="3944659" y="3353917"/>
                  <a:pt x="4027319" y="3353209"/>
                </a:cubicBezTo>
                <a:cubicBezTo>
                  <a:pt x="4109277" y="3353209"/>
                  <a:pt x="4177100" y="3419600"/>
                  <a:pt x="4177100" y="3502260"/>
                </a:cubicBezTo>
                <a:cubicBezTo>
                  <a:pt x="4177100" y="3584882"/>
                  <a:pt x="4110686" y="3652007"/>
                  <a:pt x="4028026" y="3652007"/>
                </a:cubicBezTo>
                <a:close/>
                <a:moveTo>
                  <a:pt x="5859473" y="3664284"/>
                </a:moveTo>
                <a:cubicBezTo>
                  <a:pt x="5818504" y="3664284"/>
                  <a:pt x="5786659" y="3632440"/>
                  <a:pt x="5786659" y="3591471"/>
                </a:cubicBezTo>
                <a:cubicBezTo>
                  <a:pt x="5786659" y="3555064"/>
                  <a:pt x="5818504" y="3518657"/>
                  <a:pt x="5859473" y="3518657"/>
                </a:cubicBezTo>
                <a:cubicBezTo>
                  <a:pt x="5900442" y="3518657"/>
                  <a:pt x="5932286" y="3550502"/>
                  <a:pt x="5932286" y="3591471"/>
                </a:cubicBezTo>
                <a:cubicBezTo>
                  <a:pt x="5932286" y="3632440"/>
                  <a:pt x="5900442" y="3664284"/>
                  <a:pt x="5859473" y="3664284"/>
                </a:cubicBezTo>
                <a:close/>
                <a:moveTo>
                  <a:pt x="2929967" y="3697434"/>
                </a:moveTo>
                <a:cubicBezTo>
                  <a:pt x="2865678" y="3698135"/>
                  <a:pt x="2812692" y="3645865"/>
                  <a:pt x="2812692" y="3580873"/>
                </a:cubicBezTo>
                <a:cubicBezTo>
                  <a:pt x="2812692" y="3515906"/>
                  <a:pt x="2864970" y="3463632"/>
                  <a:pt x="2929259" y="3463632"/>
                </a:cubicBezTo>
                <a:cubicBezTo>
                  <a:pt x="2993555" y="3463632"/>
                  <a:pt x="3046541" y="3515205"/>
                  <a:pt x="3046541" y="3580164"/>
                </a:cubicBezTo>
                <a:cubicBezTo>
                  <a:pt x="3046541" y="3644454"/>
                  <a:pt x="2994256" y="3697434"/>
                  <a:pt x="2929967" y="3697434"/>
                </a:cubicBezTo>
                <a:close/>
                <a:moveTo>
                  <a:pt x="4395129" y="3725385"/>
                </a:moveTo>
                <a:cubicBezTo>
                  <a:pt x="4318119" y="3725385"/>
                  <a:pt x="4255238" y="3663217"/>
                  <a:pt x="4255238" y="3586212"/>
                </a:cubicBezTo>
                <a:cubicBezTo>
                  <a:pt x="4255238" y="3509233"/>
                  <a:pt x="4317411" y="3446354"/>
                  <a:pt x="4393712" y="3446354"/>
                </a:cubicBezTo>
                <a:cubicBezTo>
                  <a:pt x="4470721" y="3446354"/>
                  <a:pt x="4533596" y="3508525"/>
                  <a:pt x="4533596" y="3585503"/>
                </a:cubicBezTo>
                <a:cubicBezTo>
                  <a:pt x="4534304" y="3662514"/>
                  <a:pt x="4472132" y="3725385"/>
                  <a:pt x="4395129" y="3725385"/>
                </a:cubicBezTo>
                <a:close/>
                <a:moveTo>
                  <a:pt x="4760666" y="3800894"/>
                </a:moveTo>
                <a:cubicBezTo>
                  <a:pt x="4687190" y="3800894"/>
                  <a:pt x="4627843" y="3742261"/>
                  <a:pt x="4627843" y="3669497"/>
                </a:cubicBezTo>
                <a:cubicBezTo>
                  <a:pt x="4627133" y="3596026"/>
                  <a:pt x="4686482" y="3536701"/>
                  <a:pt x="4759959" y="3537409"/>
                </a:cubicBezTo>
                <a:cubicBezTo>
                  <a:pt x="4832727" y="3536701"/>
                  <a:pt x="4892075" y="3596026"/>
                  <a:pt x="4892075" y="3668791"/>
                </a:cubicBezTo>
                <a:cubicBezTo>
                  <a:pt x="4892783" y="3741558"/>
                  <a:pt x="4833435" y="3800894"/>
                  <a:pt x="4760666" y="3800894"/>
                </a:cubicBezTo>
                <a:close/>
                <a:moveTo>
                  <a:pt x="2190569" y="3814783"/>
                </a:moveTo>
                <a:cubicBezTo>
                  <a:pt x="2150096" y="3814783"/>
                  <a:pt x="2117735" y="3782423"/>
                  <a:pt x="2117735" y="3742003"/>
                </a:cubicBezTo>
                <a:cubicBezTo>
                  <a:pt x="2117735" y="3701527"/>
                  <a:pt x="2150096" y="3669172"/>
                  <a:pt x="2190569" y="3669172"/>
                </a:cubicBezTo>
                <a:cubicBezTo>
                  <a:pt x="2231001" y="3669172"/>
                  <a:pt x="2263362" y="3701527"/>
                  <a:pt x="2263362" y="3742003"/>
                </a:cubicBezTo>
                <a:cubicBezTo>
                  <a:pt x="2263362" y="3782423"/>
                  <a:pt x="2231001" y="3814783"/>
                  <a:pt x="2190569" y="3814783"/>
                </a:cubicBezTo>
                <a:close/>
                <a:moveTo>
                  <a:pt x="3295022" y="3828033"/>
                </a:moveTo>
                <a:cubicBezTo>
                  <a:pt x="3204592" y="3828033"/>
                  <a:pt x="3130408" y="3754561"/>
                  <a:pt x="3130408" y="3664146"/>
                </a:cubicBezTo>
                <a:cubicBezTo>
                  <a:pt x="3129700" y="3573020"/>
                  <a:pt x="3203176" y="3499577"/>
                  <a:pt x="3293607" y="3499577"/>
                </a:cubicBezTo>
                <a:cubicBezTo>
                  <a:pt x="3384751" y="3499577"/>
                  <a:pt x="3458228" y="3573020"/>
                  <a:pt x="3458929" y="3663442"/>
                </a:cubicBezTo>
                <a:cubicBezTo>
                  <a:pt x="3458929" y="3753868"/>
                  <a:pt x="3385452" y="3827325"/>
                  <a:pt x="3295022" y="3828033"/>
                </a:cubicBezTo>
                <a:close/>
                <a:moveTo>
                  <a:pt x="5124152" y="3854992"/>
                </a:moveTo>
                <a:cubicBezTo>
                  <a:pt x="5067632" y="3854992"/>
                  <a:pt x="5021712" y="3809774"/>
                  <a:pt x="5021712" y="3753265"/>
                </a:cubicBezTo>
                <a:cubicBezTo>
                  <a:pt x="5021712" y="3696745"/>
                  <a:pt x="5066931" y="3650833"/>
                  <a:pt x="5123451" y="3650833"/>
                </a:cubicBezTo>
                <a:cubicBezTo>
                  <a:pt x="5179964" y="3650833"/>
                  <a:pt x="5225890" y="3696042"/>
                  <a:pt x="5225890" y="3752562"/>
                </a:cubicBezTo>
                <a:cubicBezTo>
                  <a:pt x="5225890" y="3809068"/>
                  <a:pt x="5180672" y="3854992"/>
                  <a:pt x="5124152" y="3854992"/>
                </a:cubicBezTo>
                <a:close/>
                <a:moveTo>
                  <a:pt x="2551031" y="3898047"/>
                </a:moveTo>
                <a:cubicBezTo>
                  <a:pt x="2510571" y="3898047"/>
                  <a:pt x="2477198" y="3865688"/>
                  <a:pt x="2477198" y="3825241"/>
                </a:cubicBezTo>
                <a:cubicBezTo>
                  <a:pt x="2477198" y="3784786"/>
                  <a:pt x="2510571" y="3752438"/>
                  <a:pt x="2551031" y="3752438"/>
                </a:cubicBezTo>
                <a:cubicBezTo>
                  <a:pt x="2590467" y="3752438"/>
                  <a:pt x="2623840" y="3784786"/>
                  <a:pt x="2623840" y="3825241"/>
                </a:cubicBezTo>
                <a:cubicBezTo>
                  <a:pt x="2623840" y="3864670"/>
                  <a:pt x="2591480" y="3898047"/>
                  <a:pt x="2551031" y="3898047"/>
                </a:cubicBezTo>
                <a:close/>
                <a:moveTo>
                  <a:pt x="5486679" y="3909244"/>
                </a:moveTo>
                <a:cubicBezTo>
                  <a:pt x="5446632" y="3909244"/>
                  <a:pt x="5413859" y="3876485"/>
                  <a:pt x="5413859" y="3836436"/>
                </a:cubicBezTo>
                <a:cubicBezTo>
                  <a:pt x="5413859" y="3796379"/>
                  <a:pt x="5446632" y="3763621"/>
                  <a:pt x="5486679" y="3763621"/>
                </a:cubicBezTo>
                <a:cubicBezTo>
                  <a:pt x="5526727" y="3763621"/>
                  <a:pt x="5559487" y="3796379"/>
                  <a:pt x="5559487" y="3836436"/>
                </a:cubicBezTo>
                <a:cubicBezTo>
                  <a:pt x="5559487" y="3876485"/>
                  <a:pt x="5526727" y="3909244"/>
                  <a:pt x="5486679" y="3909244"/>
                </a:cubicBezTo>
                <a:close/>
                <a:moveTo>
                  <a:pt x="4020280" y="3980226"/>
                </a:moveTo>
                <a:cubicBezTo>
                  <a:pt x="3938328" y="3980226"/>
                  <a:pt x="3870505" y="3913812"/>
                  <a:pt x="3870505" y="3831156"/>
                </a:cubicBezTo>
                <a:cubicBezTo>
                  <a:pt x="3869795" y="3748518"/>
                  <a:pt x="3936911" y="3681406"/>
                  <a:pt x="4019570" y="3681406"/>
                </a:cubicBezTo>
                <a:cubicBezTo>
                  <a:pt x="4101523" y="3681406"/>
                  <a:pt x="4169346" y="3747806"/>
                  <a:pt x="4169346" y="3830452"/>
                </a:cubicBezTo>
                <a:cubicBezTo>
                  <a:pt x="4169346" y="3913107"/>
                  <a:pt x="4102939" y="3980226"/>
                  <a:pt x="4020280" y="3980226"/>
                </a:cubicBezTo>
                <a:close/>
                <a:moveTo>
                  <a:pt x="5848846" y="3992529"/>
                </a:moveTo>
                <a:cubicBezTo>
                  <a:pt x="5807238" y="3992529"/>
                  <a:pt x="5776006" y="3961348"/>
                  <a:pt x="5776006" y="3919742"/>
                </a:cubicBezTo>
                <a:cubicBezTo>
                  <a:pt x="5776006" y="3878134"/>
                  <a:pt x="5807238" y="3846903"/>
                  <a:pt x="5848846" y="3846903"/>
                </a:cubicBezTo>
                <a:cubicBezTo>
                  <a:pt x="5890454" y="3846903"/>
                  <a:pt x="5921633" y="3878134"/>
                  <a:pt x="5921633" y="3919742"/>
                </a:cubicBezTo>
                <a:cubicBezTo>
                  <a:pt x="5921633" y="3961348"/>
                  <a:pt x="5890454" y="3992529"/>
                  <a:pt x="5848846" y="3992529"/>
                </a:cubicBezTo>
                <a:close/>
                <a:moveTo>
                  <a:pt x="2910711" y="4029206"/>
                </a:moveTo>
                <a:cubicBezTo>
                  <a:pt x="2843596" y="4029915"/>
                  <a:pt x="2789194" y="3975513"/>
                  <a:pt x="2789194" y="3909103"/>
                </a:cubicBezTo>
                <a:cubicBezTo>
                  <a:pt x="2789194" y="3842694"/>
                  <a:pt x="2842888" y="3788302"/>
                  <a:pt x="2910002" y="3788302"/>
                </a:cubicBezTo>
                <a:cubicBezTo>
                  <a:pt x="2976416" y="3787591"/>
                  <a:pt x="3030811" y="3841988"/>
                  <a:pt x="3030811" y="3908395"/>
                </a:cubicBezTo>
                <a:cubicBezTo>
                  <a:pt x="3031519" y="3974806"/>
                  <a:pt x="2977117" y="4029206"/>
                  <a:pt x="2910711" y="4029206"/>
                </a:cubicBezTo>
                <a:close/>
                <a:moveTo>
                  <a:pt x="1783865" y="4056998"/>
                </a:moveTo>
                <a:cubicBezTo>
                  <a:pt x="1747639" y="4056998"/>
                  <a:pt x="1711051" y="4020426"/>
                  <a:pt x="1711051" y="3983854"/>
                </a:cubicBezTo>
                <a:cubicBezTo>
                  <a:pt x="1711051" y="3947641"/>
                  <a:pt x="1747639" y="3947641"/>
                  <a:pt x="1783865" y="3911070"/>
                </a:cubicBezTo>
                <a:cubicBezTo>
                  <a:pt x="1820453" y="3911070"/>
                  <a:pt x="1857041" y="3947641"/>
                  <a:pt x="1857041" y="3983854"/>
                </a:cubicBezTo>
                <a:cubicBezTo>
                  <a:pt x="1857041" y="4020426"/>
                  <a:pt x="1820453" y="4056998"/>
                  <a:pt x="1783865" y="4056998"/>
                </a:cubicBezTo>
                <a:close/>
                <a:moveTo>
                  <a:pt x="4381567" y="4059873"/>
                </a:moveTo>
                <a:cubicBezTo>
                  <a:pt x="4301031" y="4060583"/>
                  <a:pt x="4235325" y="3995583"/>
                  <a:pt x="4235325" y="3915045"/>
                </a:cubicBezTo>
                <a:cubicBezTo>
                  <a:pt x="4235325" y="3834511"/>
                  <a:pt x="4300323" y="3768805"/>
                  <a:pt x="4380157" y="3768805"/>
                </a:cubicBezTo>
                <a:cubicBezTo>
                  <a:pt x="4460700" y="3768096"/>
                  <a:pt x="4526399" y="3833093"/>
                  <a:pt x="4526399" y="3913637"/>
                </a:cubicBezTo>
                <a:cubicBezTo>
                  <a:pt x="4527107" y="3994167"/>
                  <a:pt x="4462109" y="4059873"/>
                  <a:pt x="4381567" y="4059873"/>
                </a:cubicBezTo>
                <a:close/>
                <a:moveTo>
                  <a:pt x="4742160" y="4131976"/>
                </a:moveTo>
                <a:cubicBezTo>
                  <a:pt x="4667976" y="4131976"/>
                  <a:pt x="4607219" y="4071920"/>
                  <a:pt x="4607219" y="3997732"/>
                </a:cubicBezTo>
                <a:cubicBezTo>
                  <a:pt x="4606510" y="3923553"/>
                  <a:pt x="4666566" y="3862794"/>
                  <a:pt x="4741451" y="3862794"/>
                </a:cubicBezTo>
                <a:cubicBezTo>
                  <a:pt x="4815635" y="3862794"/>
                  <a:pt x="4876399" y="3922849"/>
                  <a:pt x="4876399" y="3997026"/>
                </a:cubicBezTo>
                <a:cubicBezTo>
                  <a:pt x="4876399" y="4071213"/>
                  <a:pt x="4816343" y="4131976"/>
                  <a:pt x="4742160" y="4131976"/>
                </a:cubicBezTo>
                <a:close/>
                <a:moveTo>
                  <a:pt x="2142321" y="4139916"/>
                </a:moveTo>
                <a:cubicBezTo>
                  <a:pt x="2101253" y="4139916"/>
                  <a:pt x="2067635" y="4110041"/>
                  <a:pt x="2067635" y="4068935"/>
                </a:cubicBezTo>
                <a:cubicBezTo>
                  <a:pt x="2067635" y="4031614"/>
                  <a:pt x="2101253" y="3997991"/>
                  <a:pt x="2138577" y="3994249"/>
                </a:cubicBezTo>
                <a:cubicBezTo>
                  <a:pt x="2179681" y="3994249"/>
                  <a:pt x="2213299" y="4024128"/>
                  <a:pt x="2213299" y="4065194"/>
                </a:cubicBezTo>
                <a:cubicBezTo>
                  <a:pt x="2213299" y="4106299"/>
                  <a:pt x="2183425" y="4139916"/>
                  <a:pt x="2142321" y="4139916"/>
                </a:cubicBezTo>
                <a:close/>
                <a:moveTo>
                  <a:pt x="5101884" y="4180058"/>
                </a:moveTo>
                <a:cubicBezTo>
                  <a:pt x="5046781" y="4180058"/>
                  <a:pt x="5001564" y="4135545"/>
                  <a:pt x="5001564" y="4080433"/>
                </a:cubicBezTo>
                <a:cubicBezTo>
                  <a:pt x="5001564" y="4025328"/>
                  <a:pt x="5046073" y="3980108"/>
                  <a:pt x="5101176" y="3980819"/>
                </a:cubicBezTo>
                <a:cubicBezTo>
                  <a:pt x="5156286" y="3980108"/>
                  <a:pt x="5201495" y="4024622"/>
                  <a:pt x="5201495" y="4079734"/>
                </a:cubicBezTo>
                <a:cubicBezTo>
                  <a:pt x="5201495" y="4134837"/>
                  <a:pt x="5156987" y="4180058"/>
                  <a:pt x="5101884" y="4180058"/>
                </a:cubicBezTo>
                <a:close/>
                <a:moveTo>
                  <a:pt x="2497738" y="4222683"/>
                </a:moveTo>
                <a:cubicBezTo>
                  <a:pt x="2457342" y="4222683"/>
                  <a:pt x="2424452" y="4190735"/>
                  <a:pt x="2424452" y="4150337"/>
                </a:cubicBezTo>
                <a:cubicBezTo>
                  <a:pt x="2423511" y="4110869"/>
                  <a:pt x="2456401" y="4077985"/>
                  <a:pt x="2496805" y="4077044"/>
                </a:cubicBezTo>
                <a:cubicBezTo>
                  <a:pt x="2537202" y="4077044"/>
                  <a:pt x="2570091" y="4108994"/>
                  <a:pt x="2570091" y="4149395"/>
                </a:cubicBezTo>
                <a:cubicBezTo>
                  <a:pt x="2570091" y="4189793"/>
                  <a:pt x="2538144" y="4222683"/>
                  <a:pt x="2497738" y="4222683"/>
                </a:cubicBezTo>
                <a:close/>
                <a:moveTo>
                  <a:pt x="5461432" y="4236788"/>
                </a:moveTo>
                <a:cubicBezTo>
                  <a:pt x="5421344" y="4236788"/>
                  <a:pt x="5387939" y="4204724"/>
                  <a:pt x="5387939" y="4164637"/>
                </a:cubicBezTo>
                <a:cubicBezTo>
                  <a:pt x="5387939" y="4123210"/>
                  <a:pt x="5421344" y="4091148"/>
                  <a:pt x="5460092" y="4091148"/>
                </a:cubicBezTo>
                <a:cubicBezTo>
                  <a:pt x="5500181" y="4091148"/>
                  <a:pt x="5533586" y="4123210"/>
                  <a:pt x="5533586" y="4163297"/>
                </a:cubicBezTo>
                <a:cubicBezTo>
                  <a:pt x="5534926" y="4203386"/>
                  <a:pt x="5501521" y="4236788"/>
                  <a:pt x="5461432" y="4236788"/>
                </a:cubicBezTo>
                <a:close/>
                <a:moveTo>
                  <a:pt x="3985425" y="4311155"/>
                </a:moveTo>
                <a:cubicBezTo>
                  <a:pt x="3901347" y="4311155"/>
                  <a:pt x="3832112" y="4243335"/>
                  <a:pt x="3832112" y="4158562"/>
                </a:cubicBezTo>
                <a:cubicBezTo>
                  <a:pt x="3832112" y="4073781"/>
                  <a:pt x="3899938" y="4005251"/>
                  <a:pt x="3984016" y="4004543"/>
                </a:cubicBezTo>
                <a:cubicBezTo>
                  <a:pt x="4068796" y="4004543"/>
                  <a:pt x="4137328" y="4072367"/>
                  <a:pt x="4138029" y="4157148"/>
                </a:cubicBezTo>
                <a:cubicBezTo>
                  <a:pt x="4138029" y="4241919"/>
                  <a:pt x="4070205" y="4311155"/>
                  <a:pt x="3985425" y="4311155"/>
                </a:cubicBezTo>
                <a:close/>
                <a:moveTo>
                  <a:pt x="5820258" y="4319815"/>
                </a:moveTo>
                <a:cubicBezTo>
                  <a:pt x="5779289" y="4319815"/>
                  <a:pt x="5747444" y="4287971"/>
                  <a:pt x="5747444" y="4247003"/>
                </a:cubicBezTo>
                <a:cubicBezTo>
                  <a:pt x="5747444" y="4206033"/>
                  <a:pt x="5779289" y="4174188"/>
                  <a:pt x="5820258" y="4174188"/>
                </a:cubicBezTo>
                <a:cubicBezTo>
                  <a:pt x="5861227" y="4174188"/>
                  <a:pt x="5893071" y="4206033"/>
                  <a:pt x="5893071" y="4247003"/>
                </a:cubicBezTo>
                <a:cubicBezTo>
                  <a:pt x="5893071" y="4287971"/>
                  <a:pt x="5861227" y="4319815"/>
                  <a:pt x="5820258" y="4319815"/>
                </a:cubicBezTo>
                <a:close/>
                <a:moveTo>
                  <a:pt x="2853847" y="4363108"/>
                </a:moveTo>
                <a:cubicBezTo>
                  <a:pt x="2781781" y="4363814"/>
                  <a:pt x="2723143" y="4305177"/>
                  <a:pt x="2723143" y="4233115"/>
                </a:cubicBezTo>
                <a:cubicBezTo>
                  <a:pt x="2723143" y="4161055"/>
                  <a:pt x="2781073" y="4102417"/>
                  <a:pt x="2853139" y="4101708"/>
                </a:cubicBezTo>
                <a:cubicBezTo>
                  <a:pt x="2925198" y="4101002"/>
                  <a:pt x="2984545" y="4159638"/>
                  <a:pt x="2984545" y="4231704"/>
                </a:cubicBezTo>
                <a:cubicBezTo>
                  <a:pt x="2984545" y="4304470"/>
                  <a:pt x="2925907" y="4363108"/>
                  <a:pt x="2853847" y="4363108"/>
                </a:cubicBezTo>
                <a:close/>
                <a:moveTo>
                  <a:pt x="4343810" y="4391141"/>
                </a:moveTo>
                <a:cubicBezTo>
                  <a:pt x="4260448" y="4391845"/>
                  <a:pt x="4192625" y="4324729"/>
                  <a:pt x="4192625" y="4241360"/>
                </a:cubicBezTo>
                <a:cubicBezTo>
                  <a:pt x="4191916" y="4157999"/>
                  <a:pt x="4259741" y="4090175"/>
                  <a:pt x="4342400" y="4090175"/>
                </a:cubicBezTo>
                <a:cubicBezTo>
                  <a:pt x="4425769" y="4089467"/>
                  <a:pt x="4493593" y="4156580"/>
                  <a:pt x="4493593" y="4239950"/>
                </a:cubicBezTo>
                <a:cubicBezTo>
                  <a:pt x="4494294" y="4323320"/>
                  <a:pt x="4427179" y="4391141"/>
                  <a:pt x="4343810" y="4391141"/>
                </a:cubicBezTo>
                <a:close/>
                <a:moveTo>
                  <a:pt x="2050073" y="4460270"/>
                </a:moveTo>
                <a:cubicBezTo>
                  <a:pt x="1989991" y="4460270"/>
                  <a:pt x="1969897" y="4420272"/>
                  <a:pt x="1969897" y="4380074"/>
                </a:cubicBezTo>
                <a:cubicBezTo>
                  <a:pt x="1969897" y="4340076"/>
                  <a:pt x="1989991" y="4299880"/>
                  <a:pt x="2050073" y="4299880"/>
                </a:cubicBezTo>
                <a:cubicBezTo>
                  <a:pt x="2090259" y="4299880"/>
                  <a:pt x="2110154" y="4340076"/>
                  <a:pt x="2110154" y="4380074"/>
                </a:cubicBezTo>
                <a:cubicBezTo>
                  <a:pt x="2130247" y="4420272"/>
                  <a:pt x="2090259" y="4460270"/>
                  <a:pt x="2050073" y="4460270"/>
                </a:cubicBezTo>
                <a:close/>
                <a:moveTo>
                  <a:pt x="4700999" y="4461819"/>
                </a:moveTo>
                <a:cubicBezTo>
                  <a:pt x="4624695" y="4461819"/>
                  <a:pt x="4562520" y="4400354"/>
                  <a:pt x="4562520" y="4324050"/>
                </a:cubicBezTo>
                <a:cubicBezTo>
                  <a:pt x="4562520" y="4247746"/>
                  <a:pt x="4623987" y="4185572"/>
                  <a:pt x="4700291" y="4185572"/>
                </a:cubicBezTo>
                <a:cubicBezTo>
                  <a:pt x="4776594" y="4185572"/>
                  <a:pt x="4838769" y="4247039"/>
                  <a:pt x="4838769" y="4323343"/>
                </a:cubicBezTo>
                <a:cubicBezTo>
                  <a:pt x="4838769" y="4399645"/>
                  <a:pt x="4777303" y="4461819"/>
                  <a:pt x="4700999" y="4461819"/>
                </a:cubicBezTo>
                <a:close/>
                <a:moveTo>
                  <a:pt x="3211374" y="4484756"/>
                </a:moveTo>
                <a:cubicBezTo>
                  <a:pt x="3117411" y="4484756"/>
                  <a:pt x="3041110" y="4409167"/>
                  <a:pt x="3041110" y="4315900"/>
                </a:cubicBezTo>
                <a:cubicBezTo>
                  <a:pt x="3041110" y="4245966"/>
                  <a:pt x="3083631" y="4185561"/>
                  <a:pt x="3144531" y="4159429"/>
                </a:cubicBezTo>
                <a:lnTo>
                  <a:pt x="3207351" y="4146334"/>
                </a:lnTo>
                <a:lnTo>
                  <a:pt x="3204562" y="4145781"/>
                </a:lnTo>
                <a:cubicBezTo>
                  <a:pt x="3144556" y="4120714"/>
                  <a:pt x="3102036" y="4061371"/>
                  <a:pt x="3102036" y="3992481"/>
                </a:cubicBezTo>
                <a:cubicBezTo>
                  <a:pt x="3102036" y="3900639"/>
                  <a:pt x="3176218" y="3825056"/>
                  <a:pt x="3268061" y="3825056"/>
                </a:cubicBezTo>
                <a:cubicBezTo>
                  <a:pt x="3359898" y="3824346"/>
                  <a:pt x="3435495" y="3899224"/>
                  <a:pt x="3435495" y="3991068"/>
                </a:cubicBezTo>
                <a:cubicBezTo>
                  <a:pt x="3436025" y="4060484"/>
                  <a:pt x="3394032" y="4119967"/>
                  <a:pt x="3334257" y="4145366"/>
                </a:cubicBezTo>
                <a:lnTo>
                  <a:pt x="3271954" y="4158006"/>
                </a:lnTo>
                <a:lnTo>
                  <a:pt x="3276406" y="4158911"/>
                </a:lnTo>
                <a:cubicBezTo>
                  <a:pt x="3337045" y="4184541"/>
                  <a:pt x="3379697" y="4244548"/>
                  <a:pt x="3380229" y="4314495"/>
                </a:cubicBezTo>
                <a:cubicBezTo>
                  <a:pt x="3380229" y="4408458"/>
                  <a:pt x="3304637" y="4484756"/>
                  <a:pt x="3211374" y="4484756"/>
                </a:cubicBezTo>
                <a:close/>
                <a:moveTo>
                  <a:pt x="5058310" y="4507182"/>
                </a:moveTo>
                <a:cubicBezTo>
                  <a:pt x="5002495" y="4507890"/>
                  <a:pt x="4957274" y="4462667"/>
                  <a:pt x="4957274" y="4406854"/>
                </a:cubicBezTo>
                <a:cubicBezTo>
                  <a:pt x="4957274" y="4351038"/>
                  <a:pt x="5002495" y="4305820"/>
                  <a:pt x="5057602" y="4305820"/>
                </a:cubicBezTo>
                <a:cubicBezTo>
                  <a:pt x="5112709" y="4305111"/>
                  <a:pt x="5158637" y="4350334"/>
                  <a:pt x="5158637" y="4406147"/>
                </a:cubicBezTo>
                <a:cubicBezTo>
                  <a:pt x="5159338" y="4461961"/>
                  <a:pt x="5114125" y="4507182"/>
                  <a:pt x="5058310" y="4507182"/>
                </a:cubicBezTo>
                <a:close/>
                <a:moveTo>
                  <a:pt x="2402623" y="4536670"/>
                </a:moveTo>
                <a:cubicBezTo>
                  <a:pt x="2363788" y="4536670"/>
                  <a:pt x="2329797" y="4505109"/>
                  <a:pt x="2329797" y="4463841"/>
                </a:cubicBezTo>
                <a:cubicBezTo>
                  <a:pt x="2329797" y="4422571"/>
                  <a:pt x="2361355" y="4391011"/>
                  <a:pt x="2402623" y="4391011"/>
                </a:cubicBezTo>
                <a:cubicBezTo>
                  <a:pt x="2443889" y="4391011"/>
                  <a:pt x="2475448" y="4425009"/>
                  <a:pt x="2475448" y="4463841"/>
                </a:cubicBezTo>
                <a:cubicBezTo>
                  <a:pt x="2475448" y="4505109"/>
                  <a:pt x="2441457" y="4536670"/>
                  <a:pt x="2402623" y="4536670"/>
                </a:cubicBezTo>
                <a:close/>
                <a:moveTo>
                  <a:pt x="5415506" y="4562365"/>
                </a:moveTo>
                <a:cubicBezTo>
                  <a:pt x="5375336" y="4562365"/>
                  <a:pt x="5342692" y="4529724"/>
                  <a:pt x="5342692" y="4489553"/>
                </a:cubicBezTo>
                <a:cubicBezTo>
                  <a:pt x="5342692" y="4449378"/>
                  <a:pt x="5375336" y="4416739"/>
                  <a:pt x="5415506" y="4416739"/>
                </a:cubicBezTo>
                <a:cubicBezTo>
                  <a:pt x="5455676" y="4416739"/>
                  <a:pt x="5488319" y="4449378"/>
                  <a:pt x="5488319" y="4489553"/>
                </a:cubicBezTo>
                <a:cubicBezTo>
                  <a:pt x="5488319" y="4529724"/>
                  <a:pt x="5455676" y="4562365"/>
                  <a:pt x="5415506" y="4562365"/>
                </a:cubicBezTo>
                <a:close/>
                <a:moveTo>
                  <a:pt x="2761855" y="4621031"/>
                </a:moveTo>
                <a:cubicBezTo>
                  <a:pt x="2722002" y="4621031"/>
                  <a:pt x="2689041" y="4588840"/>
                  <a:pt x="2689041" y="4548216"/>
                </a:cubicBezTo>
                <a:cubicBezTo>
                  <a:pt x="2689041" y="4508366"/>
                  <a:pt x="2721234" y="4475410"/>
                  <a:pt x="2761086" y="4474635"/>
                </a:cubicBezTo>
                <a:cubicBezTo>
                  <a:pt x="2801715" y="4474635"/>
                  <a:pt x="2834676" y="4506828"/>
                  <a:pt x="2834676" y="4547449"/>
                </a:cubicBezTo>
                <a:cubicBezTo>
                  <a:pt x="2834676" y="4588077"/>
                  <a:pt x="2802483" y="4621031"/>
                  <a:pt x="2761855" y="4621031"/>
                </a:cubicBezTo>
                <a:close/>
                <a:moveTo>
                  <a:pt x="3924421" y="4636800"/>
                </a:moveTo>
                <a:cubicBezTo>
                  <a:pt x="3838225" y="4637515"/>
                  <a:pt x="3768284" y="4568278"/>
                  <a:pt x="3768284" y="4482081"/>
                </a:cubicBezTo>
                <a:cubicBezTo>
                  <a:pt x="3768284" y="4395879"/>
                  <a:pt x="3837524" y="4325937"/>
                  <a:pt x="3923713" y="4325235"/>
                </a:cubicBezTo>
                <a:cubicBezTo>
                  <a:pt x="4009906" y="4325235"/>
                  <a:pt x="4079146" y="4394472"/>
                  <a:pt x="4079848" y="4480662"/>
                </a:cubicBezTo>
                <a:cubicBezTo>
                  <a:pt x="4079848" y="4566862"/>
                  <a:pt x="4010614" y="4636800"/>
                  <a:pt x="3924421" y="4636800"/>
                </a:cubicBezTo>
                <a:close/>
                <a:moveTo>
                  <a:pt x="5773294" y="4645164"/>
                </a:moveTo>
                <a:cubicBezTo>
                  <a:pt x="5732325" y="4645164"/>
                  <a:pt x="5700479" y="4613319"/>
                  <a:pt x="5700479" y="4572352"/>
                </a:cubicBezTo>
                <a:cubicBezTo>
                  <a:pt x="5700479" y="4531381"/>
                  <a:pt x="5732325" y="4499536"/>
                  <a:pt x="5773294" y="4499536"/>
                </a:cubicBezTo>
                <a:cubicBezTo>
                  <a:pt x="5814262" y="4499536"/>
                  <a:pt x="5846107" y="4531381"/>
                  <a:pt x="5846107" y="4572352"/>
                </a:cubicBezTo>
                <a:cubicBezTo>
                  <a:pt x="5846107" y="4613319"/>
                  <a:pt x="5814262" y="4645164"/>
                  <a:pt x="5773294" y="4645164"/>
                </a:cubicBezTo>
                <a:close/>
                <a:moveTo>
                  <a:pt x="1524353" y="4657347"/>
                </a:moveTo>
                <a:cubicBezTo>
                  <a:pt x="1488127" y="4657347"/>
                  <a:pt x="1451540" y="4620777"/>
                  <a:pt x="1451540" y="4584207"/>
                </a:cubicBezTo>
                <a:cubicBezTo>
                  <a:pt x="1451540" y="4547990"/>
                  <a:pt x="1488127" y="4511422"/>
                  <a:pt x="1524353" y="4511422"/>
                </a:cubicBezTo>
                <a:cubicBezTo>
                  <a:pt x="1560942" y="4511422"/>
                  <a:pt x="1597529" y="4584207"/>
                  <a:pt x="1597529" y="4584207"/>
                </a:cubicBezTo>
                <a:cubicBezTo>
                  <a:pt x="1597529" y="4620777"/>
                  <a:pt x="1560942" y="4657347"/>
                  <a:pt x="1524353" y="4657347"/>
                </a:cubicBezTo>
                <a:close/>
                <a:moveTo>
                  <a:pt x="4281357" y="4713592"/>
                </a:moveTo>
                <a:cubicBezTo>
                  <a:pt x="4197986" y="4713592"/>
                  <a:pt x="4130162" y="4646474"/>
                  <a:pt x="4130162" y="4563106"/>
                </a:cubicBezTo>
                <a:cubicBezTo>
                  <a:pt x="4130162" y="4479739"/>
                  <a:pt x="4197278" y="4412621"/>
                  <a:pt x="4279940" y="4412621"/>
                </a:cubicBezTo>
                <a:cubicBezTo>
                  <a:pt x="4363310" y="4411913"/>
                  <a:pt x="4431134" y="4479030"/>
                  <a:pt x="4431134" y="4562401"/>
                </a:cubicBezTo>
                <a:cubicBezTo>
                  <a:pt x="4431843" y="4645768"/>
                  <a:pt x="4364727" y="4713592"/>
                  <a:pt x="4281357" y="4713592"/>
                </a:cubicBezTo>
                <a:close/>
                <a:moveTo>
                  <a:pt x="1898609" y="4748603"/>
                </a:moveTo>
                <a:cubicBezTo>
                  <a:pt x="1856150" y="4748603"/>
                  <a:pt x="1825795" y="4718241"/>
                  <a:pt x="1825795" y="4675769"/>
                </a:cubicBezTo>
                <a:cubicBezTo>
                  <a:pt x="1825795" y="4633296"/>
                  <a:pt x="1862233" y="4596848"/>
                  <a:pt x="1898609" y="4602937"/>
                </a:cubicBezTo>
                <a:cubicBezTo>
                  <a:pt x="1935046" y="4602937"/>
                  <a:pt x="1971423" y="4633296"/>
                  <a:pt x="1971423" y="4675769"/>
                </a:cubicBezTo>
                <a:cubicBezTo>
                  <a:pt x="1971423" y="4718241"/>
                  <a:pt x="1941069" y="4748603"/>
                  <a:pt x="1898609" y="4748603"/>
                </a:cubicBezTo>
                <a:close/>
                <a:moveTo>
                  <a:pt x="4638170" y="4777091"/>
                </a:moveTo>
                <a:cubicBezTo>
                  <a:pt x="4565404" y="4777798"/>
                  <a:pt x="4506766" y="4719161"/>
                  <a:pt x="4506766" y="4647098"/>
                </a:cubicBezTo>
                <a:cubicBezTo>
                  <a:pt x="4506766" y="4575039"/>
                  <a:pt x="4564696" y="4516399"/>
                  <a:pt x="4636761" y="4515689"/>
                </a:cubicBezTo>
                <a:cubicBezTo>
                  <a:pt x="4709527" y="4514984"/>
                  <a:pt x="4768165" y="4573621"/>
                  <a:pt x="4768165" y="4645688"/>
                </a:cubicBezTo>
                <a:cubicBezTo>
                  <a:pt x="4768873" y="4718455"/>
                  <a:pt x="4710235" y="4777091"/>
                  <a:pt x="4638170" y="4777091"/>
                </a:cubicBezTo>
                <a:close/>
                <a:moveTo>
                  <a:pt x="3121323" y="4778306"/>
                </a:moveTo>
                <a:cubicBezTo>
                  <a:pt x="3040074" y="4779019"/>
                  <a:pt x="2973667" y="4713312"/>
                  <a:pt x="2973667" y="4632064"/>
                </a:cubicBezTo>
                <a:cubicBezTo>
                  <a:pt x="2972959" y="4551524"/>
                  <a:pt x="3038665" y="4485115"/>
                  <a:pt x="3119908" y="4484404"/>
                </a:cubicBezTo>
                <a:cubicBezTo>
                  <a:pt x="3201159" y="4483698"/>
                  <a:pt x="3267565" y="4549403"/>
                  <a:pt x="3267565" y="4630646"/>
                </a:cubicBezTo>
                <a:cubicBezTo>
                  <a:pt x="3267565" y="4711902"/>
                  <a:pt x="3202568" y="4778306"/>
                  <a:pt x="3121323" y="4778306"/>
                </a:cubicBezTo>
                <a:close/>
                <a:moveTo>
                  <a:pt x="4994396" y="4824678"/>
                </a:moveTo>
                <a:cubicBezTo>
                  <a:pt x="4941407" y="4824678"/>
                  <a:pt x="4898311" y="4782289"/>
                  <a:pt x="4898311" y="4729297"/>
                </a:cubicBezTo>
                <a:cubicBezTo>
                  <a:pt x="4898311" y="4676310"/>
                  <a:pt x="4941407" y="4633212"/>
                  <a:pt x="4993694" y="4633212"/>
                </a:cubicBezTo>
                <a:cubicBezTo>
                  <a:pt x="5046683" y="4633212"/>
                  <a:pt x="5089779" y="4675608"/>
                  <a:pt x="5089779" y="4728596"/>
                </a:cubicBezTo>
                <a:cubicBezTo>
                  <a:pt x="5090487" y="4781587"/>
                  <a:pt x="5047384" y="4824678"/>
                  <a:pt x="4994396" y="4824678"/>
                </a:cubicBezTo>
                <a:close/>
                <a:moveTo>
                  <a:pt x="2268509" y="4836828"/>
                </a:moveTo>
                <a:cubicBezTo>
                  <a:pt x="2228462" y="4836828"/>
                  <a:pt x="2195689" y="4804063"/>
                  <a:pt x="2195689" y="4764020"/>
                </a:cubicBezTo>
                <a:cubicBezTo>
                  <a:pt x="2195689" y="4723972"/>
                  <a:pt x="2228462" y="4691195"/>
                  <a:pt x="2268509" y="4691195"/>
                </a:cubicBezTo>
                <a:cubicBezTo>
                  <a:pt x="2308556" y="4691195"/>
                  <a:pt x="2341317" y="4723972"/>
                  <a:pt x="2341317" y="4764020"/>
                </a:cubicBezTo>
                <a:cubicBezTo>
                  <a:pt x="2341317" y="4804063"/>
                  <a:pt x="2308556" y="4836828"/>
                  <a:pt x="2268509" y="4836828"/>
                </a:cubicBezTo>
                <a:close/>
                <a:moveTo>
                  <a:pt x="5351112" y="4884809"/>
                </a:moveTo>
                <a:cubicBezTo>
                  <a:pt x="5310943" y="4884809"/>
                  <a:pt x="5278298" y="4852163"/>
                  <a:pt x="5278298" y="4811995"/>
                </a:cubicBezTo>
                <a:cubicBezTo>
                  <a:pt x="5278298" y="4773082"/>
                  <a:pt x="5310943" y="4739179"/>
                  <a:pt x="5349853" y="4739179"/>
                </a:cubicBezTo>
                <a:cubicBezTo>
                  <a:pt x="5391282" y="4739179"/>
                  <a:pt x="5423925" y="4771824"/>
                  <a:pt x="5423925" y="4811995"/>
                </a:cubicBezTo>
                <a:cubicBezTo>
                  <a:pt x="5423925" y="4852163"/>
                  <a:pt x="5391282" y="4884809"/>
                  <a:pt x="5351112" y="4884809"/>
                </a:cubicBezTo>
                <a:close/>
                <a:moveTo>
                  <a:pt x="1319439" y="4912984"/>
                </a:moveTo>
                <a:cubicBezTo>
                  <a:pt x="1282849" y="4912984"/>
                  <a:pt x="1246262" y="4876414"/>
                  <a:pt x="1246262" y="4839838"/>
                </a:cubicBezTo>
                <a:cubicBezTo>
                  <a:pt x="1246262" y="4803627"/>
                  <a:pt x="1246262" y="4767055"/>
                  <a:pt x="1319439" y="4767055"/>
                </a:cubicBezTo>
                <a:cubicBezTo>
                  <a:pt x="1355664" y="4767055"/>
                  <a:pt x="1392251" y="4803627"/>
                  <a:pt x="1392251" y="4839838"/>
                </a:cubicBezTo>
                <a:cubicBezTo>
                  <a:pt x="1392251" y="4876414"/>
                  <a:pt x="1355664" y="4912984"/>
                  <a:pt x="1319439" y="4912984"/>
                </a:cubicBezTo>
                <a:close/>
                <a:moveTo>
                  <a:pt x="2635603" y="4944521"/>
                </a:moveTo>
                <a:cubicBezTo>
                  <a:pt x="2584033" y="4944521"/>
                  <a:pt x="2541642" y="4902847"/>
                  <a:pt x="2541642" y="4851268"/>
                </a:cubicBezTo>
                <a:cubicBezTo>
                  <a:pt x="2540935" y="4799698"/>
                  <a:pt x="2582618" y="4758019"/>
                  <a:pt x="2634901" y="4757313"/>
                </a:cubicBezTo>
                <a:cubicBezTo>
                  <a:pt x="2686471" y="4757313"/>
                  <a:pt x="2728860" y="4798991"/>
                  <a:pt x="2728860" y="4850558"/>
                </a:cubicBezTo>
                <a:cubicBezTo>
                  <a:pt x="2728860" y="4902137"/>
                  <a:pt x="2687178" y="4944521"/>
                  <a:pt x="2635603" y="4944521"/>
                </a:cubicBezTo>
                <a:close/>
                <a:moveTo>
                  <a:pt x="5707448" y="4967166"/>
                </a:moveTo>
                <a:cubicBezTo>
                  <a:pt x="5667278" y="4967166"/>
                  <a:pt x="5634633" y="4934520"/>
                  <a:pt x="5634633" y="4894348"/>
                </a:cubicBezTo>
                <a:cubicBezTo>
                  <a:pt x="5634633" y="4854177"/>
                  <a:pt x="5667278" y="4820271"/>
                  <a:pt x="5707448" y="4821530"/>
                </a:cubicBezTo>
                <a:cubicBezTo>
                  <a:pt x="5747617" y="4821530"/>
                  <a:pt x="5780261" y="4854177"/>
                  <a:pt x="5780261" y="4894348"/>
                </a:cubicBezTo>
                <a:cubicBezTo>
                  <a:pt x="5780261" y="4934520"/>
                  <a:pt x="5747617" y="4967166"/>
                  <a:pt x="5707448" y="4967166"/>
                </a:cubicBezTo>
                <a:close/>
                <a:moveTo>
                  <a:pt x="1714008" y="5018904"/>
                </a:moveTo>
                <a:cubicBezTo>
                  <a:pt x="1672093" y="5018904"/>
                  <a:pt x="1639021" y="4988015"/>
                  <a:pt x="1639021" y="4946134"/>
                </a:cubicBezTo>
                <a:cubicBezTo>
                  <a:pt x="1639021" y="4904221"/>
                  <a:pt x="1672093" y="4871153"/>
                  <a:pt x="1711797" y="4873364"/>
                </a:cubicBezTo>
                <a:cubicBezTo>
                  <a:pt x="1753691" y="4871153"/>
                  <a:pt x="1786785" y="4904221"/>
                  <a:pt x="1786785" y="4946134"/>
                </a:cubicBezTo>
                <a:cubicBezTo>
                  <a:pt x="1788995" y="4985828"/>
                  <a:pt x="1755901" y="5018904"/>
                  <a:pt x="1714008" y="5018904"/>
                </a:cubicBezTo>
                <a:close/>
                <a:moveTo>
                  <a:pt x="4195062" y="5039784"/>
                </a:moveTo>
                <a:cubicBezTo>
                  <a:pt x="4107453" y="5039784"/>
                  <a:pt x="4036096" y="4969132"/>
                  <a:pt x="4035395" y="4880820"/>
                </a:cubicBezTo>
                <a:cubicBezTo>
                  <a:pt x="4034685" y="4793217"/>
                  <a:pt x="4106044" y="4721149"/>
                  <a:pt x="4194354" y="4721149"/>
                </a:cubicBezTo>
                <a:cubicBezTo>
                  <a:pt x="4281957" y="4721149"/>
                  <a:pt x="4353314" y="4791800"/>
                  <a:pt x="4354023" y="4880113"/>
                </a:cubicBezTo>
                <a:cubicBezTo>
                  <a:pt x="4354023" y="4967716"/>
                  <a:pt x="4283374" y="5039784"/>
                  <a:pt x="4195062" y="5039784"/>
                </a:cubicBezTo>
                <a:close/>
                <a:moveTo>
                  <a:pt x="2999685" y="5100391"/>
                </a:moveTo>
                <a:cubicBezTo>
                  <a:pt x="2909257" y="5100391"/>
                  <a:pt x="2835077" y="5027616"/>
                  <a:pt x="2835077" y="4936484"/>
                </a:cubicBezTo>
                <a:cubicBezTo>
                  <a:pt x="2835077" y="4845342"/>
                  <a:pt x="2907842" y="4771870"/>
                  <a:pt x="2998976" y="4771870"/>
                </a:cubicBezTo>
                <a:cubicBezTo>
                  <a:pt x="3089410" y="4771870"/>
                  <a:pt x="3163590" y="4844639"/>
                  <a:pt x="3163590" y="4935771"/>
                </a:cubicBezTo>
                <a:cubicBezTo>
                  <a:pt x="3163590" y="5026202"/>
                  <a:pt x="3090111" y="5099686"/>
                  <a:pt x="2999685" y="5100391"/>
                </a:cubicBezTo>
                <a:close/>
                <a:moveTo>
                  <a:pt x="4552965" y="5104582"/>
                </a:moveTo>
                <a:cubicBezTo>
                  <a:pt x="4475256" y="5105287"/>
                  <a:pt x="4411667" y="5042414"/>
                  <a:pt x="4411667" y="4964697"/>
                </a:cubicBezTo>
                <a:cubicBezTo>
                  <a:pt x="4411667" y="4887690"/>
                  <a:pt x="4473839" y="4824108"/>
                  <a:pt x="4551556" y="4823400"/>
                </a:cubicBezTo>
                <a:cubicBezTo>
                  <a:pt x="4629266" y="4822693"/>
                  <a:pt x="4692854" y="4885568"/>
                  <a:pt x="4692854" y="4963284"/>
                </a:cubicBezTo>
                <a:cubicBezTo>
                  <a:pt x="4693555" y="5040998"/>
                  <a:pt x="4630682" y="5104582"/>
                  <a:pt x="4552965" y="5104582"/>
                </a:cubicBezTo>
                <a:close/>
                <a:moveTo>
                  <a:pt x="2097708" y="5116687"/>
                </a:moveTo>
                <a:cubicBezTo>
                  <a:pt x="2057023" y="5116687"/>
                  <a:pt x="2024186" y="5083846"/>
                  <a:pt x="2024186" y="5043869"/>
                </a:cubicBezTo>
                <a:cubicBezTo>
                  <a:pt x="2024186" y="5003182"/>
                  <a:pt x="2056307" y="4970345"/>
                  <a:pt x="2097708" y="4971061"/>
                </a:cubicBezTo>
                <a:cubicBezTo>
                  <a:pt x="2137687" y="4971061"/>
                  <a:pt x="2170523" y="5003897"/>
                  <a:pt x="2170523" y="5043869"/>
                </a:cubicBezTo>
                <a:cubicBezTo>
                  <a:pt x="2170523" y="5083846"/>
                  <a:pt x="2137687" y="5116687"/>
                  <a:pt x="2097708" y="5116687"/>
                </a:cubicBezTo>
                <a:close/>
                <a:moveTo>
                  <a:pt x="1071193" y="5128439"/>
                </a:moveTo>
                <a:cubicBezTo>
                  <a:pt x="1034965" y="5128439"/>
                  <a:pt x="998378" y="5091862"/>
                  <a:pt x="998378" y="5055655"/>
                </a:cubicBezTo>
                <a:cubicBezTo>
                  <a:pt x="998378" y="5019079"/>
                  <a:pt x="998378" y="5019079"/>
                  <a:pt x="1071193" y="4982505"/>
                </a:cubicBezTo>
                <a:cubicBezTo>
                  <a:pt x="1107779" y="4982505"/>
                  <a:pt x="1144367" y="5019079"/>
                  <a:pt x="1144367" y="5055655"/>
                </a:cubicBezTo>
                <a:cubicBezTo>
                  <a:pt x="1144367" y="5091862"/>
                  <a:pt x="1107779" y="5128439"/>
                  <a:pt x="1071193" y="5128439"/>
                </a:cubicBezTo>
                <a:close/>
                <a:moveTo>
                  <a:pt x="4910268" y="5156309"/>
                </a:moveTo>
                <a:cubicBezTo>
                  <a:pt x="4849505" y="5157020"/>
                  <a:pt x="4800052" y="5107560"/>
                  <a:pt x="4800052" y="5047508"/>
                </a:cubicBezTo>
                <a:cubicBezTo>
                  <a:pt x="4800052" y="4986745"/>
                  <a:pt x="4848797" y="4938001"/>
                  <a:pt x="4908851" y="4937292"/>
                </a:cubicBezTo>
                <a:cubicBezTo>
                  <a:pt x="4969606" y="4936585"/>
                  <a:pt x="5019065" y="4985337"/>
                  <a:pt x="5019065" y="5046094"/>
                </a:cubicBezTo>
                <a:cubicBezTo>
                  <a:pt x="5019766" y="5106856"/>
                  <a:pt x="4971022" y="5156309"/>
                  <a:pt x="4910268" y="5156309"/>
                </a:cubicBezTo>
                <a:close/>
                <a:moveTo>
                  <a:pt x="5267464" y="5204369"/>
                </a:moveTo>
                <a:cubicBezTo>
                  <a:pt x="5226487" y="5205079"/>
                  <a:pt x="5192570" y="5171170"/>
                  <a:pt x="5192570" y="5130194"/>
                </a:cubicBezTo>
                <a:cubicBezTo>
                  <a:pt x="5192570" y="5089218"/>
                  <a:pt x="5225778" y="5055300"/>
                  <a:pt x="5266755" y="5055300"/>
                </a:cubicBezTo>
                <a:cubicBezTo>
                  <a:pt x="5307731" y="5055300"/>
                  <a:pt x="5341640" y="5088505"/>
                  <a:pt x="5341640" y="5129483"/>
                </a:cubicBezTo>
                <a:cubicBezTo>
                  <a:pt x="5341640" y="5170462"/>
                  <a:pt x="5308441" y="5204369"/>
                  <a:pt x="5267464" y="5204369"/>
                </a:cubicBezTo>
                <a:close/>
                <a:moveTo>
                  <a:pt x="2475354" y="5255855"/>
                </a:moveTo>
                <a:cubicBezTo>
                  <a:pt x="2410355" y="5255855"/>
                  <a:pt x="2356661" y="5202900"/>
                  <a:pt x="2356661" y="5137898"/>
                </a:cubicBezTo>
                <a:cubicBezTo>
                  <a:pt x="2356661" y="5072188"/>
                  <a:pt x="2409648" y="5019202"/>
                  <a:pt x="2474646" y="5019202"/>
                </a:cubicBezTo>
                <a:cubicBezTo>
                  <a:pt x="2539644" y="5019202"/>
                  <a:pt x="2593340" y="5072188"/>
                  <a:pt x="2593340" y="5137190"/>
                </a:cubicBezTo>
                <a:cubicBezTo>
                  <a:pt x="2593340" y="5202192"/>
                  <a:pt x="2541053" y="5255855"/>
                  <a:pt x="2475354" y="5255855"/>
                </a:cubicBezTo>
                <a:close/>
                <a:moveTo>
                  <a:pt x="1488569" y="5259059"/>
                </a:moveTo>
                <a:cubicBezTo>
                  <a:pt x="1448086" y="5259059"/>
                  <a:pt x="1415715" y="5226718"/>
                  <a:pt x="1415715" y="5186234"/>
                </a:cubicBezTo>
                <a:cubicBezTo>
                  <a:pt x="1415715" y="5145753"/>
                  <a:pt x="1448086" y="5113388"/>
                  <a:pt x="1488569" y="5113388"/>
                </a:cubicBezTo>
                <a:cubicBezTo>
                  <a:pt x="1529052" y="5113388"/>
                  <a:pt x="1561423" y="5145753"/>
                  <a:pt x="1561423" y="5186234"/>
                </a:cubicBezTo>
                <a:cubicBezTo>
                  <a:pt x="1561423" y="5226718"/>
                  <a:pt x="1529052" y="5259059"/>
                  <a:pt x="1488569" y="5259059"/>
                </a:cubicBezTo>
                <a:close/>
                <a:moveTo>
                  <a:pt x="5624659" y="5285236"/>
                </a:moveTo>
                <a:cubicBezTo>
                  <a:pt x="5584942" y="5285236"/>
                  <a:pt x="5551844" y="5252138"/>
                  <a:pt x="5551844" y="5212405"/>
                </a:cubicBezTo>
                <a:cubicBezTo>
                  <a:pt x="5551844" y="5172687"/>
                  <a:pt x="5583282" y="5139591"/>
                  <a:pt x="5624659" y="5139591"/>
                </a:cubicBezTo>
                <a:cubicBezTo>
                  <a:pt x="5664391" y="5139591"/>
                  <a:pt x="5697489" y="5172687"/>
                  <a:pt x="5697489" y="5212405"/>
                </a:cubicBezTo>
                <a:cubicBezTo>
                  <a:pt x="5697489" y="5252138"/>
                  <a:pt x="5664391" y="5285236"/>
                  <a:pt x="5624659" y="5285236"/>
                </a:cubicBezTo>
                <a:close/>
                <a:moveTo>
                  <a:pt x="4085752" y="5348825"/>
                </a:moveTo>
                <a:cubicBezTo>
                  <a:pt x="3998148" y="5348825"/>
                  <a:pt x="3927499" y="5278175"/>
                  <a:pt x="3926789" y="5191273"/>
                </a:cubicBezTo>
                <a:cubicBezTo>
                  <a:pt x="3926789" y="5104381"/>
                  <a:pt x="3996732" y="5033020"/>
                  <a:pt x="4084343" y="5032310"/>
                </a:cubicBezTo>
                <a:cubicBezTo>
                  <a:pt x="4171947" y="5032310"/>
                  <a:pt x="4243305" y="5102255"/>
                  <a:pt x="4243305" y="5189860"/>
                </a:cubicBezTo>
                <a:cubicBezTo>
                  <a:pt x="4243305" y="5277468"/>
                  <a:pt x="4172655" y="5348116"/>
                  <a:pt x="4085752" y="5348825"/>
                </a:cubicBezTo>
                <a:close/>
                <a:moveTo>
                  <a:pt x="1891993" y="5373014"/>
                </a:moveTo>
                <a:cubicBezTo>
                  <a:pt x="1851408" y="5373014"/>
                  <a:pt x="1818784" y="5341187"/>
                  <a:pt x="1818784" y="5300601"/>
                </a:cubicBezTo>
                <a:cubicBezTo>
                  <a:pt x="1817986" y="5260017"/>
                  <a:pt x="1850610" y="5227422"/>
                  <a:pt x="1891195" y="5227422"/>
                </a:cubicBezTo>
                <a:cubicBezTo>
                  <a:pt x="1931779" y="5226623"/>
                  <a:pt x="1964403" y="5259217"/>
                  <a:pt x="1964403" y="5299805"/>
                </a:cubicBezTo>
                <a:cubicBezTo>
                  <a:pt x="1964403" y="5340388"/>
                  <a:pt x="1931779" y="5373014"/>
                  <a:pt x="1891993" y="5373014"/>
                </a:cubicBezTo>
                <a:close/>
                <a:moveTo>
                  <a:pt x="2849224" y="5392317"/>
                </a:moveTo>
                <a:cubicBezTo>
                  <a:pt x="2758087" y="5392317"/>
                  <a:pt x="2683906" y="5318840"/>
                  <a:pt x="2683906" y="5228412"/>
                </a:cubicBezTo>
                <a:cubicBezTo>
                  <a:pt x="2683906" y="5137297"/>
                  <a:pt x="2756672" y="5063820"/>
                  <a:pt x="2848515" y="5063820"/>
                </a:cubicBezTo>
                <a:cubicBezTo>
                  <a:pt x="2938944" y="5063820"/>
                  <a:pt x="3013126" y="5136588"/>
                  <a:pt x="3013126" y="5227721"/>
                </a:cubicBezTo>
                <a:cubicBezTo>
                  <a:pt x="3013126" y="5318138"/>
                  <a:pt x="2940360" y="5391610"/>
                  <a:pt x="2849224" y="5392317"/>
                </a:cubicBezTo>
                <a:close/>
                <a:moveTo>
                  <a:pt x="4445965" y="5414448"/>
                </a:moveTo>
                <a:cubicBezTo>
                  <a:pt x="4368246" y="5414448"/>
                  <a:pt x="4304664" y="5351573"/>
                  <a:pt x="4304664" y="5273854"/>
                </a:cubicBezTo>
                <a:cubicBezTo>
                  <a:pt x="4304664" y="5196145"/>
                  <a:pt x="4366837" y="5132555"/>
                  <a:pt x="4444556" y="5133265"/>
                </a:cubicBezTo>
                <a:cubicBezTo>
                  <a:pt x="4522267" y="5132555"/>
                  <a:pt x="4585856" y="5195434"/>
                  <a:pt x="4585856" y="5273147"/>
                </a:cubicBezTo>
                <a:cubicBezTo>
                  <a:pt x="4586558" y="5350864"/>
                  <a:pt x="4523683" y="5414448"/>
                  <a:pt x="4445965" y="5414448"/>
                </a:cubicBezTo>
                <a:close/>
                <a:moveTo>
                  <a:pt x="4804984" y="5431581"/>
                </a:moveTo>
                <a:cubicBezTo>
                  <a:pt x="4764716" y="5431581"/>
                  <a:pt x="4731509" y="5398373"/>
                  <a:pt x="4731509" y="5358103"/>
                </a:cubicBezTo>
                <a:cubicBezTo>
                  <a:pt x="4731509" y="5317837"/>
                  <a:pt x="4764008" y="5284629"/>
                  <a:pt x="4804984" y="5284629"/>
                </a:cubicBezTo>
                <a:cubicBezTo>
                  <a:pt x="4845253" y="5284629"/>
                  <a:pt x="4878459" y="5317837"/>
                  <a:pt x="4878459" y="5358103"/>
                </a:cubicBezTo>
                <a:cubicBezTo>
                  <a:pt x="4878459" y="5398373"/>
                  <a:pt x="4845253" y="5431581"/>
                  <a:pt x="4804984" y="5431581"/>
                </a:cubicBezTo>
                <a:close/>
                <a:moveTo>
                  <a:pt x="1230962" y="5462807"/>
                </a:moveTo>
                <a:cubicBezTo>
                  <a:pt x="1194585" y="5462807"/>
                  <a:pt x="1158147" y="5432454"/>
                  <a:pt x="1158147" y="5389997"/>
                </a:cubicBezTo>
                <a:cubicBezTo>
                  <a:pt x="1158147" y="5347535"/>
                  <a:pt x="1194585" y="5317184"/>
                  <a:pt x="1230962" y="5317184"/>
                </a:cubicBezTo>
                <a:cubicBezTo>
                  <a:pt x="1267397" y="5317184"/>
                  <a:pt x="1303775" y="5347535"/>
                  <a:pt x="1303775" y="5389997"/>
                </a:cubicBezTo>
                <a:cubicBezTo>
                  <a:pt x="1303775" y="5426430"/>
                  <a:pt x="1273421" y="5462807"/>
                  <a:pt x="1230962" y="5462807"/>
                </a:cubicBezTo>
                <a:close/>
                <a:moveTo>
                  <a:pt x="5164226" y="5514692"/>
                </a:moveTo>
                <a:cubicBezTo>
                  <a:pt x="5124057" y="5514692"/>
                  <a:pt x="5091412" y="5482049"/>
                  <a:pt x="5091412" y="5441879"/>
                </a:cubicBezTo>
                <a:cubicBezTo>
                  <a:pt x="5091412" y="5401710"/>
                  <a:pt x="5124057" y="5369064"/>
                  <a:pt x="5164226" y="5369064"/>
                </a:cubicBezTo>
                <a:cubicBezTo>
                  <a:pt x="5204396" y="5369064"/>
                  <a:pt x="5237039" y="5401710"/>
                  <a:pt x="5237039" y="5441879"/>
                </a:cubicBezTo>
                <a:cubicBezTo>
                  <a:pt x="5237039" y="5482049"/>
                  <a:pt x="5204396" y="5514692"/>
                  <a:pt x="5164226" y="5514692"/>
                </a:cubicBezTo>
                <a:close/>
                <a:moveTo>
                  <a:pt x="2284587" y="5518153"/>
                </a:moveTo>
                <a:cubicBezTo>
                  <a:pt x="2221715" y="5518153"/>
                  <a:pt x="2170845" y="5467992"/>
                  <a:pt x="2170845" y="5405112"/>
                </a:cubicBezTo>
                <a:cubicBezTo>
                  <a:pt x="2170137" y="5342240"/>
                  <a:pt x="2221007" y="5291369"/>
                  <a:pt x="2283887" y="5291369"/>
                </a:cubicBezTo>
                <a:cubicBezTo>
                  <a:pt x="2346760" y="5291369"/>
                  <a:pt x="2397629" y="5342240"/>
                  <a:pt x="2397629" y="5404412"/>
                </a:cubicBezTo>
                <a:cubicBezTo>
                  <a:pt x="2397629" y="5467285"/>
                  <a:pt x="2346760" y="5518153"/>
                  <a:pt x="2284587" y="5518153"/>
                </a:cubicBezTo>
                <a:close/>
                <a:moveTo>
                  <a:pt x="5523466" y="5598020"/>
                </a:moveTo>
                <a:cubicBezTo>
                  <a:pt x="5482329" y="5598020"/>
                  <a:pt x="5450652" y="5566343"/>
                  <a:pt x="5450652" y="5525174"/>
                </a:cubicBezTo>
                <a:cubicBezTo>
                  <a:pt x="5450652" y="5484038"/>
                  <a:pt x="5485472" y="5452361"/>
                  <a:pt x="5523466" y="5452361"/>
                </a:cubicBezTo>
                <a:cubicBezTo>
                  <a:pt x="5564633" y="5452361"/>
                  <a:pt x="5596310" y="5484038"/>
                  <a:pt x="5596310" y="5525174"/>
                </a:cubicBezTo>
                <a:cubicBezTo>
                  <a:pt x="5596310" y="5566343"/>
                  <a:pt x="5561491" y="5598020"/>
                  <a:pt x="5523466" y="5598020"/>
                </a:cubicBezTo>
                <a:close/>
                <a:moveTo>
                  <a:pt x="1655079" y="5600972"/>
                </a:moveTo>
                <a:cubicBezTo>
                  <a:pt x="1613751" y="5602758"/>
                  <a:pt x="1581395" y="5568620"/>
                  <a:pt x="1581395" y="5529077"/>
                </a:cubicBezTo>
                <a:cubicBezTo>
                  <a:pt x="1581395" y="5489536"/>
                  <a:pt x="1613751" y="5455400"/>
                  <a:pt x="1655079" y="5455400"/>
                </a:cubicBezTo>
                <a:cubicBezTo>
                  <a:pt x="1696425" y="5455400"/>
                  <a:pt x="1728763" y="5487752"/>
                  <a:pt x="1728763" y="5527274"/>
                </a:cubicBezTo>
                <a:cubicBezTo>
                  <a:pt x="1728763" y="5568620"/>
                  <a:pt x="1694623" y="5600972"/>
                  <a:pt x="1655079" y="5600972"/>
                </a:cubicBezTo>
                <a:close/>
                <a:moveTo>
                  <a:pt x="956466" y="5629118"/>
                </a:moveTo>
                <a:cubicBezTo>
                  <a:pt x="914946" y="5629118"/>
                  <a:pt x="873219" y="5608239"/>
                  <a:pt x="873219" y="5566687"/>
                </a:cubicBezTo>
                <a:cubicBezTo>
                  <a:pt x="873219" y="5524928"/>
                  <a:pt x="914946" y="5483376"/>
                  <a:pt x="935603" y="5483376"/>
                </a:cubicBezTo>
                <a:cubicBezTo>
                  <a:pt x="977330" y="5462499"/>
                  <a:pt x="1018851" y="5504257"/>
                  <a:pt x="1018851" y="5545807"/>
                </a:cubicBezTo>
                <a:cubicBezTo>
                  <a:pt x="1018851" y="5587566"/>
                  <a:pt x="998194" y="5629118"/>
                  <a:pt x="956466" y="5629118"/>
                </a:cubicBezTo>
                <a:close/>
                <a:moveTo>
                  <a:pt x="3952984" y="5631810"/>
                </a:moveTo>
                <a:cubicBezTo>
                  <a:pt x="3875275" y="5632518"/>
                  <a:pt x="3811686" y="5569647"/>
                  <a:pt x="3811686" y="5491928"/>
                </a:cubicBezTo>
                <a:cubicBezTo>
                  <a:pt x="3811686" y="5414212"/>
                  <a:pt x="3874566" y="5350632"/>
                  <a:pt x="3952276" y="5350632"/>
                </a:cubicBezTo>
                <a:cubicBezTo>
                  <a:pt x="4029992" y="5349922"/>
                  <a:pt x="4093573" y="5412804"/>
                  <a:pt x="4093573" y="5490511"/>
                </a:cubicBezTo>
                <a:cubicBezTo>
                  <a:pt x="4093573" y="5568231"/>
                  <a:pt x="4030701" y="5631810"/>
                  <a:pt x="3952984" y="5631810"/>
                </a:cubicBezTo>
                <a:close/>
                <a:moveTo>
                  <a:pt x="2669604" y="5654267"/>
                </a:moveTo>
                <a:cubicBezTo>
                  <a:pt x="2586237" y="5654968"/>
                  <a:pt x="2518412" y="5587852"/>
                  <a:pt x="2518412" y="5504481"/>
                </a:cubicBezTo>
                <a:cubicBezTo>
                  <a:pt x="2518412" y="5421121"/>
                  <a:pt x="2585527" y="5353300"/>
                  <a:pt x="2668189" y="5353300"/>
                </a:cubicBezTo>
                <a:cubicBezTo>
                  <a:pt x="2751556" y="5352593"/>
                  <a:pt x="2818673" y="5419706"/>
                  <a:pt x="2819381" y="5503075"/>
                </a:cubicBezTo>
                <a:cubicBezTo>
                  <a:pt x="2820089" y="5586444"/>
                  <a:pt x="2752967" y="5654267"/>
                  <a:pt x="2669604" y="5654267"/>
                </a:cubicBezTo>
                <a:close/>
                <a:moveTo>
                  <a:pt x="4317552" y="5689147"/>
                </a:moveTo>
                <a:cubicBezTo>
                  <a:pt x="4255381" y="5689147"/>
                  <a:pt x="4205221" y="5639694"/>
                  <a:pt x="4205221" y="5577524"/>
                </a:cubicBezTo>
                <a:cubicBezTo>
                  <a:pt x="4204512" y="5516060"/>
                  <a:pt x="4254674" y="5465900"/>
                  <a:pt x="4316844" y="5465192"/>
                </a:cubicBezTo>
                <a:cubicBezTo>
                  <a:pt x="4379015" y="5465192"/>
                  <a:pt x="4429175" y="5514644"/>
                  <a:pt x="4429175" y="5576815"/>
                </a:cubicBezTo>
                <a:cubicBezTo>
                  <a:pt x="4429175" y="5638278"/>
                  <a:pt x="4379015" y="5689147"/>
                  <a:pt x="4317552" y="5689147"/>
                </a:cubicBezTo>
                <a:close/>
                <a:moveTo>
                  <a:pt x="4680554" y="5735625"/>
                </a:moveTo>
                <a:cubicBezTo>
                  <a:pt x="4640287" y="5735625"/>
                  <a:pt x="4607079" y="5702417"/>
                  <a:pt x="4607079" y="5662149"/>
                </a:cubicBezTo>
                <a:cubicBezTo>
                  <a:pt x="4607079" y="5621882"/>
                  <a:pt x="4639579" y="5588674"/>
                  <a:pt x="4680554" y="5588674"/>
                </a:cubicBezTo>
                <a:cubicBezTo>
                  <a:pt x="4720823" y="5588674"/>
                  <a:pt x="4754030" y="5621882"/>
                  <a:pt x="4754030" y="5662149"/>
                </a:cubicBezTo>
                <a:cubicBezTo>
                  <a:pt x="4754030" y="5702417"/>
                  <a:pt x="4720823" y="5735625"/>
                  <a:pt x="4680554" y="5735625"/>
                </a:cubicBezTo>
                <a:close/>
                <a:moveTo>
                  <a:pt x="639823" y="5744752"/>
                </a:moveTo>
                <a:cubicBezTo>
                  <a:pt x="601686" y="5744752"/>
                  <a:pt x="566990" y="5713535"/>
                  <a:pt x="566990" y="5671926"/>
                </a:cubicBezTo>
                <a:cubicBezTo>
                  <a:pt x="566990" y="5630313"/>
                  <a:pt x="601686" y="5595619"/>
                  <a:pt x="639823" y="5599097"/>
                </a:cubicBezTo>
                <a:cubicBezTo>
                  <a:pt x="677961" y="5599097"/>
                  <a:pt x="712657" y="5630313"/>
                  <a:pt x="712657" y="5671926"/>
                </a:cubicBezTo>
                <a:cubicBezTo>
                  <a:pt x="712657" y="5713535"/>
                  <a:pt x="681437" y="5744752"/>
                  <a:pt x="639823" y="5744752"/>
                </a:cubicBezTo>
                <a:close/>
                <a:moveTo>
                  <a:pt x="2064785" y="5762654"/>
                </a:moveTo>
                <a:cubicBezTo>
                  <a:pt x="2001911" y="5762654"/>
                  <a:pt x="1951043" y="5712492"/>
                  <a:pt x="1951043" y="5649612"/>
                </a:cubicBezTo>
                <a:cubicBezTo>
                  <a:pt x="1950335" y="5587447"/>
                  <a:pt x="2001204" y="5536575"/>
                  <a:pt x="2064084" y="5535866"/>
                </a:cubicBezTo>
                <a:cubicBezTo>
                  <a:pt x="2126957" y="5535866"/>
                  <a:pt x="2177827" y="5586738"/>
                  <a:pt x="2177827" y="5648908"/>
                </a:cubicBezTo>
                <a:cubicBezTo>
                  <a:pt x="2177827" y="5711785"/>
                  <a:pt x="2126957" y="5762654"/>
                  <a:pt x="2064785" y="5762654"/>
                </a:cubicBezTo>
                <a:close/>
                <a:moveTo>
                  <a:pt x="1391324" y="5796155"/>
                </a:moveTo>
                <a:cubicBezTo>
                  <a:pt x="1350833" y="5796155"/>
                  <a:pt x="1318155" y="5763478"/>
                  <a:pt x="1318155" y="5723691"/>
                </a:cubicBezTo>
                <a:cubicBezTo>
                  <a:pt x="1318155" y="5683203"/>
                  <a:pt x="1350121" y="5650520"/>
                  <a:pt x="1391324" y="5650520"/>
                </a:cubicBezTo>
                <a:cubicBezTo>
                  <a:pt x="1431110" y="5650520"/>
                  <a:pt x="1463789" y="5682490"/>
                  <a:pt x="1463789" y="5722988"/>
                </a:cubicBezTo>
                <a:cubicBezTo>
                  <a:pt x="1463789" y="5763478"/>
                  <a:pt x="1431110" y="5796155"/>
                  <a:pt x="1391324" y="5796155"/>
                </a:cubicBezTo>
                <a:close/>
                <a:moveTo>
                  <a:pt x="319820" y="5816809"/>
                </a:moveTo>
                <a:cubicBezTo>
                  <a:pt x="279337" y="5816809"/>
                  <a:pt x="246967" y="5784436"/>
                  <a:pt x="246967" y="5743955"/>
                </a:cubicBezTo>
                <a:cubicBezTo>
                  <a:pt x="246967" y="5703474"/>
                  <a:pt x="279337" y="5671100"/>
                  <a:pt x="319820" y="5671100"/>
                </a:cubicBezTo>
                <a:cubicBezTo>
                  <a:pt x="360303" y="5671100"/>
                  <a:pt x="392675" y="5703474"/>
                  <a:pt x="392675" y="5743955"/>
                </a:cubicBezTo>
                <a:cubicBezTo>
                  <a:pt x="392675" y="5784436"/>
                  <a:pt x="360303" y="5816809"/>
                  <a:pt x="319820" y="5816809"/>
                </a:cubicBezTo>
                <a:close/>
                <a:moveTo>
                  <a:pt x="5043199" y="5820223"/>
                </a:moveTo>
                <a:cubicBezTo>
                  <a:pt x="5004365" y="5820223"/>
                  <a:pt x="4970373" y="5788664"/>
                  <a:pt x="4970373" y="5747396"/>
                </a:cubicBezTo>
                <a:cubicBezTo>
                  <a:pt x="4970373" y="5708563"/>
                  <a:pt x="5004365" y="5674570"/>
                  <a:pt x="5043199" y="5674570"/>
                </a:cubicBezTo>
                <a:cubicBezTo>
                  <a:pt x="5084465" y="5674570"/>
                  <a:pt x="5116025" y="5706130"/>
                  <a:pt x="5116025" y="5747396"/>
                </a:cubicBezTo>
                <a:cubicBezTo>
                  <a:pt x="5116025" y="5788664"/>
                  <a:pt x="5084465" y="5820223"/>
                  <a:pt x="5043199" y="5820223"/>
                </a:cubicBezTo>
                <a:close/>
                <a:moveTo>
                  <a:pt x="0" y="5838543"/>
                </a:moveTo>
                <a:lnTo>
                  <a:pt x="0" y="5695865"/>
                </a:lnTo>
                <a:lnTo>
                  <a:pt x="20966" y="5699865"/>
                </a:lnTo>
                <a:cubicBezTo>
                  <a:pt x="47328" y="5710588"/>
                  <a:pt x="64931" y="5735936"/>
                  <a:pt x="64931" y="5767151"/>
                </a:cubicBezTo>
                <a:cubicBezTo>
                  <a:pt x="64931" y="5798370"/>
                  <a:pt x="47328" y="5823778"/>
                  <a:pt x="20966" y="5834531"/>
                </a:cubicBezTo>
                <a:close/>
                <a:moveTo>
                  <a:pt x="5405330" y="5904968"/>
                </a:moveTo>
                <a:cubicBezTo>
                  <a:pt x="5361965" y="5904968"/>
                  <a:pt x="5325780" y="5876028"/>
                  <a:pt x="5325780" y="5832583"/>
                </a:cubicBezTo>
                <a:cubicBezTo>
                  <a:pt x="5325780" y="5789212"/>
                  <a:pt x="5361965" y="5760274"/>
                  <a:pt x="5405330" y="5760274"/>
                </a:cubicBezTo>
                <a:cubicBezTo>
                  <a:pt x="5448766" y="5753021"/>
                  <a:pt x="5484951" y="5789212"/>
                  <a:pt x="5484951" y="5832583"/>
                </a:cubicBezTo>
                <a:cubicBezTo>
                  <a:pt x="5484951" y="5868776"/>
                  <a:pt x="5448766" y="5904968"/>
                  <a:pt x="5405330" y="5904968"/>
                </a:cubicBezTo>
                <a:close/>
                <a:moveTo>
                  <a:pt x="2463837" y="5931581"/>
                </a:moveTo>
                <a:cubicBezTo>
                  <a:pt x="2369166" y="5932287"/>
                  <a:pt x="2291449" y="5855281"/>
                  <a:pt x="2291449" y="5760610"/>
                </a:cubicBezTo>
                <a:cubicBezTo>
                  <a:pt x="2291449" y="5665939"/>
                  <a:pt x="2367749" y="5588229"/>
                  <a:pt x="2462420" y="5588229"/>
                </a:cubicBezTo>
                <a:cubicBezTo>
                  <a:pt x="2557090" y="5587520"/>
                  <a:pt x="2634807" y="5664529"/>
                  <a:pt x="2634807" y="5759200"/>
                </a:cubicBezTo>
                <a:cubicBezTo>
                  <a:pt x="2635509" y="5853870"/>
                  <a:pt x="2558500" y="5931581"/>
                  <a:pt x="2463837" y="5931581"/>
                </a:cubicBezTo>
                <a:close/>
                <a:moveTo>
                  <a:pt x="3798060" y="5940306"/>
                </a:moveTo>
                <a:cubicBezTo>
                  <a:pt x="3710449" y="5940306"/>
                  <a:pt x="3638391" y="5869655"/>
                  <a:pt x="3638391" y="5781343"/>
                </a:cubicBezTo>
                <a:cubicBezTo>
                  <a:pt x="3638391" y="5693740"/>
                  <a:pt x="3709040" y="5621676"/>
                  <a:pt x="3797352" y="5621676"/>
                </a:cubicBezTo>
                <a:cubicBezTo>
                  <a:pt x="3884955" y="5621676"/>
                  <a:pt x="3957021" y="5692325"/>
                  <a:pt x="3957021" y="5780635"/>
                </a:cubicBezTo>
                <a:cubicBezTo>
                  <a:pt x="3957021" y="5868238"/>
                  <a:pt x="3885663" y="5940306"/>
                  <a:pt x="3798060" y="5940306"/>
                </a:cubicBezTo>
                <a:close/>
                <a:moveTo>
                  <a:pt x="1104633" y="5956428"/>
                </a:moveTo>
                <a:cubicBezTo>
                  <a:pt x="1063251" y="5957950"/>
                  <a:pt x="1031057" y="5924232"/>
                  <a:pt x="1031057" y="5884367"/>
                </a:cubicBezTo>
                <a:cubicBezTo>
                  <a:pt x="1031057" y="5842968"/>
                  <a:pt x="1063251" y="5810770"/>
                  <a:pt x="1103112" y="5810770"/>
                </a:cubicBezTo>
                <a:cubicBezTo>
                  <a:pt x="1144495" y="5809249"/>
                  <a:pt x="1176689" y="5842968"/>
                  <a:pt x="1176689" y="5882834"/>
                </a:cubicBezTo>
                <a:cubicBezTo>
                  <a:pt x="1176689" y="5924232"/>
                  <a:pt x="1144495" y="5956428"/>
                  <a:pt x="1104633" y="5956428"/>
                </a:cubicBezTo>
                <a:close/>
                <a:moveTo>
                  <a:pt x="1818839" y="5974160"/>
                </a:moveTo>
                <a:cubicBezTo>
                  <a:pt x="1760193" y="5974160"/>
                  <a:pt x="1711447" y="5926824"/>
                  <a:pt x="1711447" y="5867486"/>
                </a:cubicBezTo>
                <a:cubicBezTo>
                  <a:pt x="1710739" y="5808139"/>
                  <a:pt x="1758783" y="5760094"/>
                  <a:pt x="1818129" y="5760094"/>
                </a:cubicBezTo>
                <a:cubicBezTo>
                  <a:pt x="1877477" y="5760094"/>
                  <a:pt x="1925514" y="5807431"/>
                  <a:pt x="1925514" y="5866776"/>
                </a:cubicBezTo>
                <a:cubicBezTo>
                  <a:pt x="1925514" y="5926123"/>
                  <a:pt x="1878185" y="5974160"/>
                  <a:pt x="1818839" y="5974160"/>
                </a:cubicBezTo>
                <a:close/>
                <a:moveTo>
                  <a:pt x="4168433" y="5991951"/>
                </a:moveTo>
                <a:cubicBezTo>
                  <a:pt x="4101318" y="5991951"/>
                  <a:pt x="4046213" y="5938263"/>
                  <a:pt x="4046213" y="5870441"/>
                </a:cubicBezTo>
                <a:cubicBezTo>
                  <a:pt x="4046213" y="5803317"/>
                  <a:pt x="4100616" y="5748215"/>
                  <a:pt x="4167731" y="5748215"/>
                </a:cubicBezTo>
                <a:cubicBezTo>
                  <a:pt x="4234847" y="5748215"/>
                  <a:pt x="4289950" y="5801909"/>
                  <a:pt x="4289950" y="5869732"/>
                </a:cubicBezTo>
                <a:cubicBezTo>
                  <a:pt x="4289950" y="5936847"/>
                  <a:pt x="4235554" y="5991951"/>
                  <a:pt x="4168433" y="5991951"/>
                </a:cubicBezTo>
                <a:close/>
                <a:moveTo>
                  <a:pt x="4537360" y="6050417"/>
                </a:moveTo>
                <a:cubicBezTo>
                  <a:pt x="4486489" y="6050417"/>
                  <a:pt x="4444805" y="6009440"/>
                  <a:pt x="4444805" y="5958578"/>
                </a:cubicBezTo>
                <a:cubicBezTo>
                  <a:pt x="4444805" y="5908416"/>
                  <a:pt x="4485782" y="5866731"/>
                  <a:pt x="4536652" y="5866023"/>
                </a:cubicBezTo>
                <a:cubicBezTo>
                  <a:pt x="4587515" y="5866023"/>
                  <a:pt x="4629199" y="5907000"/>
                  <a:pt x="4629199" y="5957869"/>
                </a:cubicBezTo>
                <a:cubicBezTo>
                  <a:pt x="4629199" y="6008740"/>
                  <a:pt x="4588223" y="6050417"/>
                  <a:pt x="4537360" y="6050417"/>
                </a:cubicBezTo>
                <a:close/>
                <a:moveTo>
                  <a:pt x="799114" y="6078686"/>
                </a:moveTo>
                <a:cubicBezTo>
                  <a:pt x="760977" y="6078686"/>
                  <a:pt x="726283" y="6047469"/>
                  <a:pt x="726283" y="6005858"/>
                </a:cubicBezTo>
                <a:cubicBezTo>
                  <a:pt x="726283" y="5964244"/>
                  <a:pt x="757501" y="5933024"/>
                  <a:pt x="799114" y="5933024"/>
                </a:cubicBezTo>
                <a:cubicBezTo>
                  <a:pt x="837250" y="5933024"/>
                  <a:pt x="871944" y="5964244"/>
                  <a:pt x="871944" y="6005858"/>
                </a:cubicBezTo>
                <a:cubicBezTo>
                  <a:pt x="871944" y="6047469"/>
                  <a:pt x="840727" y="6078686"/>
                  <a:pt x="799114" y="6078686"/>
                </a:cubicBezTo>
                <a:close/>
                <a:moveTo>
                  <a:pt x="4904240" y="6117968"/>
                </a:moveTo>
                <a:cubicBezTo>
                  <a:pt x="4864252" y="6117968"/>
                  <a:pt x="4831419" y="6085121"/>
                  <a:pt x="4831419" y="6045147"/>
                </a:cubicBezTo>
                <a:cubicBezTo>
                  <a:pt x="4831419" y="6005173"/>
                  <a:pt x="4862835" y="5972326"/>
                  <a:pt x="4904240" y="5972326"/>
                </a:cubicBezTo>
                <a:cubicBezTo>
                  <a:pt x="4944215" y="5972326"/>
                  <a:pt x="4977060" y="6005173"/>
                  <a:pt x="4977060" y="6045147"/>
                </a:cubicBezTo>
                <a:cubicBezTo>
                  <a:pt x="4977060" y="6085121"/>
                  <a:pt x="4944215" y="6117968"/>
                  <a:pt x="4904240" y="6117968"/>
                </a:cubicBezTo>
                <a:close/>
                <a:moveTo>
                  <a:pt x="2233269" y="6138470"/>
                </a:moveTo>
                <a:cubicBezTo>
                  <a:pt x="2153435" y="6138470"/>
                  <a:pt x="2088437" y="6074180"/>
                  <a:pt x="2088437" y="5994346"/>
                </a:cubicBezTo>
                <a:cubicBezTo>
                  <a:pt x="2088437" y="5914511"/>
                  <a:pt x="2152727" y="5849514"/>
                  <a:pt x="2232561" y="5849514"/>
                </a:cubicBezTo>
                <a:cubicBezTo>
                  <a:pt x="2312397" y="5849514"/>
                  <a:pt x="2377393" y="5913803"/>
                  <a:pt x="2377393" y="5993638"/>
                </a:cubicBezTo>
                <a:cubicBezTo>
                  <a:pt x="2377393" y="6073470"/>
                  <a:pt x="2313105" y="6138470"/>
                  <a:pt x="2233269" y="6138470"/>
                </a:cubicBezTo>
                <a:close/>
                <a:moveTo>
                  <a:pt x="481007" y="6160973"/>
                </a:moveTo>
                <a:cubicBezTo>
                  <a:pt x="440913" y="6160973"/>
                  <a:pt x="408192" y="6129310"/>
                  <a:pt x="408192" y="6089207"/>
                </a:cubicBezTo>
                <a:cubicBezTo>
                  <a:pt x="408192" y="6048057"/>
                  <a:pt x="440913" y="6016395"/>
                  <a:pt x="481007" y="6015334"/>
                </a:cubicBezTo>
                <a:cubicBezTo>
                  <a:pt x="521109" y="6015334"/>
                  <a:pt x="553830" y="6048057"/>
                  <a:pt x="553830" y="6088149"/>
                </a:cubicBezTo>
                <a:cubicBezTo>
                  <a:pt x="553830" y="6128251"/>
                  <a:pt x="521109" y="6160973"/>
                  <a:pt x="481007" y="6160973"/>
                </a:cubicBezTo>
                <a:close/>
                <a:moveTo>
                  <a:pt x="1550239" y="6182436"/>
                </a:moveTo>
                <a:cubicBezTo>
                  <a:pt x="1480299" y="6183137"/>
                  <a:pt x="1423777" y="6126624"/>
                  <a:pt x="1423777" y="6057384"/>
                </a:cubicBezTo>
                <a:cubicBezTo>
                  <a:pt x="1423777" y="5988145"/>
                  <a:pt x="1480299" y="5931629"/>
                  <a:pt x="1548829" y="5930918"/>
                </a:cubicBezTo>
                <a:cubicBezTo>
                  <a:pt x="1618771" y="5930212"/>
                  <a:pt x="1675292" y="5986732"/>
                  <a:pt x="1675292" y="6055966"/>
                </a:cubicBezTo>
                <a:cubicBezTo>
                  <a:pt x="1675999" y="6125913"/>
                  <a:pt x="1619479" y="6182436"/>
                  <a:pt x="1550239" y="6182436"/>
                </a:cubicBezTo>
                <a:close/>
                <a:moveTo>
                  <a:pt x="3622904" y="6190656"/>
                </a:moveTo>
                <a:cubicBezTo>
                  <a:pt x="3549427" y="6191357"/>
                  <a:pt x="3490080" y="6132011"/>
                  <a:pt x="3490080" y="6059245"/>
                </a:cubicBezTo>
                <a:cubicBezTo>
                  <a:pt x="3489372" y="5986481"/>
                  <a:pt x="3548719" y="5927133"/>
                  <a:pt x="3622196" y="5927133"/>
                </a:cubicBezTo>
                <a:cubicBezTo>
                  <a:pt x="3694963" y="5926427"/>
                  <a:pt x="3754311" y="5985772"/>
                  <a:pt x="3754311" y="6058537"/>
                </a:cubicBezTo>
                <a:cubicBezTo>
                  <a:pt x="3754311" y="6131308"/>
                  <a:pt x="3695671" y="6190656"/>
                  <a:pt x="3622904" y="6190656"/>
                </a:cubicBezTo>
                <a:close/>
                <a:moveTo>
                  <a:pt x="155173" y="6201392"/>
                </a:moveTo>
                <a:cubicBezTo>
                  <a:pt x="114926" y="6201392"/>
                  <a:pt x="81786" y="6168247"/>
                  <a:pt x="81786" y="6127999"/>
                </a:cubicBezTo>
                <a:cubicBezTo>
                  <a:pt x="81786" y="6087750"/>
                  <a:pt x="113739" y="6054611"/>
                  <a:pt x="155173" y="6055798"/>
                </a:cubicBezTo>
                <a:cubicBezTo>
                  <a:pt x="195418" y="6054611"/>
                  <a:pt x="228557" y="6087750"/>
                  <a:pt x="228557" y="6127999"/>
                </a:cubicBezTo>
                <a:cubicBezTo>
                  <a:pt x="228557" y="6168247"/>
                  <a:pt x="195418" y="6201392"/>
                  <a:pt x="155173" y="6201392"/>
                </a:cubicBezTo>
                <a:close/>
                <a:moveTo>
                  <a:pt x="5269637" y="6204197"/>
                </a:moveTo>
                <a:cubicBezTo>
                  <a:pt x="5231408" y="6204197"/>
                  <a:pt x="5196975" y="6173561"/>
                  <a:pt x="5196975" y="6131496"/>
                </a:cubicBezTo>
                <a:cubicBezTo>
                  <a:pt x="5196975" y="6089433"/>
                  <a:pt x="5231408" y="6055000"/>
                  <a:pt x="5265842" y="6058835"/>
                </a:cubicBezTo>
                <a:cubicBezTo>
                  <a:pt x="5307905" y="6058835"/>
                  <a:pt x="5342338" y="6089433"/>
                  <a:pt x="5342338" y="6131496"/>
                </a:cubicBezTo>
                <a:cubicBezTo>
                  <a:pt x="5346172" y="6169764"/>
                  <a:pt x="5311739" y="6204197"/>
                  <a:pt x="5269637" y="6204197"/>
                </a:cubicBezTo>
                <a:close/>
                <a:moveTo>
                  <a:pt x="3999947" y="6249491"/>
                </a:moveTo>
                <a:cubicBezTo>
                  <a:pt x="3946253" y="6249491"/>
                  <a:pt x="3902452" y="6206399"/>
                  <a:pt x="3902452" y="6152704"/>
                </a:cubicBezTo>
                <a:cubicBezTo>
                  <a:pt x="3902452" y="6099717"/>
                  <a:pt x="3945545" y="6055916"/>
                  <a:pt x="3999239" y="6055207"/>
                </a:cubicBezTo>
                <a:cubicBezTo>
                  <a:pt x="4052933" y="6055207"/>
                  <a:pt x="4096735" y="6098300"/>
                  <a:pt x="4096735" y="6151996"/>
                </a:cubicBezTo>
                <a:cubicBezTo>
                  <a:pt x="4096735" y="6205690"/>
                  <a:pt x="4053643" y="6249491"/>
                  <a:pt x="3999947" y="6249491"/>
                </a:cubicBezTo>
                <a:close/>
                <a:moveTo>
                  <a:pt x="1262057" y="6307887"/>
                </a:moveTo>
                <a:cubicBezTo>
                  <a:pt x="1210487" y="6307887"/>
                  <a:pt x="1168095" y="6266198"/>
                  <a:pt x="1168095" y="6214622"/>
                </a:cubicBezTo>
                <a:cubicBezTo>
                  <a:pt x="1168095" y="6163051"/>
                  <a:pt x="1209779" y="6121366"/>
                  <a:pt x="1261350" y="6120658"/>
                </a:cubicBezTo>
                <a:cubicBezTo>
                  <a:pt x="1312927" y="6120658"/>
                  <a:pt x="1355319" y="6162341"/>
                  <a:pt x="1355319" y="6213913"/>
                </a:cubicBezTo>
                <a:cubicBezTo>
                  <a:pt x="1355319" y="6265493"/>
                  <a:pt x="1313636" y="6307887"/>
                  <a:pt x="1262057" y="6307887"/>
                </a:cubicBezTo>
                <a:close/>
                <a:moveTo>
                  <a:pt x="4375181" y="6316682"/>
                </a:moveTo>
                <a:cubicBezTo>
                  <a:pt x="4334603" y="6316682"/>
                  <a:pt x="4302000" y="6284079"/>
                  <a:pt x="4302000" y="6244229"/>
                </a:cubicBezTo>
                <a:cubicBezTo>
                  <a:pt x="4302000" y="6204376"/>
                  <a:pt x="4333877" y="6171773"/>
                  <a:pt x="4374454" y="6171048"/>
                </a:cubicBezTo>
                <a:cubicBezTo>
                  <a:pt x="4415032" y="6171048"/>
                  <a:pt x="4447635" y="6203651"/>
                  <a:pt x="4447635" y="6243502"/>
                </a:cubicBezTo>
                <a:cubicBezTo>
                  <a:pt x="4447635" y="6284079"/>
                  <a:pt x="4415032" y="6316682"/>
                  <a:pt x="4375181" y="6316682"/>
                </a:cubicBezTo>
                <a:close/>
                <a:moveTo>
                  <a:pt x="1981139" y="6352608"/>
                </a:moveTo>
                <a:cubicBezTo>
                  <a:pt x="1899187" y="6352608"/>
                  <a:pt x="1832781" y="6286904"/>
                  <a:pt x="1832073" y="6204952"/>
                </a:cubicBezTo>
                <a:cubicBezTo>
                  <a:pt x="1832073" y="6123700"/>
                  <a:pt x="1898479" y="6057296"/>
                  <a:pt x="1980438" y="6056587"/>
                </a:cubicBezTo>
                <a:cubicBezTo>
                  <a:pt x="2061681" y="6056587"/>
                  <a:pt x="2128795" y="6122292"/>
                  <a:pt x="2128795" y="6204243"/>
                </a:cubicBezTo>
                <a:cubicBezTo>
                  <a:pt x="2128795" y="6285486"/>
                  <a:pt x="2063097" y="6352608"/>
                  <a:pt x="1981139" y="6352608"/>
                </a:cubicBezTo>
                <a:close/>
                <a:moveTo>
                  <a:pt x="4747377" y="6406521"/>
                </a:moveTo>
                <a:cubicBezTo>
                  <a:pt x="4707389" y="6406521"/>
                  <a:pt x="4674556" y="6373675"/>
                  <a:pt x="4674556" y="6333701"/>
                </a:cubicBezTo>
                <a:cubicBezTo>
                  <a:pt x="4674556" y="6293726"/>
                  <a:pt x="4705972" y="6260880"/>
                  <a:pt x="4747377" y="6260880"/>
                </a:cubicBezTo>
                <a:cubicBezTo>
                  <a:pt x="4787352" y="6260880"/>
                  <a:pt x="4820184" y="6293726"/>
                  <a:pt x="4820184" y="6333701"/>
                </a:cubicBezTo>
                <a:cubicBezTo>
                  <a:pt x="4820184" y="6373675"/>
                  <a:pt x="4787352" y="6406521"/>
                  <a:pt x="4747377" y="6406521"/>
                </a:cubicBezTo>
                <a:close/>
                <a:moveTo>
                  <a:pt x="958009" y="6432315"/>
                </a:moveTo>
                <a:cubicBezTo>
                  <a:pt x="906438" y="6432315"/>
                  <a:pt x="864045" y="6390633"/>
                  <a:pt x="864045" y="6339055"/>
                </a:cubicBezTo>
                <a:cubicBezTo>
                  <a:pt x="864045" y="6287483"/>
                  <a:pt x="905730" y="6245091"/>
                  <a:pt x="957301" y="6245091"/>
                </a:cubicBezTo>
                <a:cubicBezTo>
                  <a:pt x="1008877" y="6245091"/>
                  <a:pt x="1051270" y="6286776"/>
                  <a:pt x="1051270" y="6338347"/>
                </a:cubicBezTo>
                <a:cubicBezTo>
                  <a:pt x="1051270" y="6389922"/>
                  <a:pt x="1009587" y="6432315"/>
                  <a:pt x="958009" y="6432315"/>
                </a:cubicBezTo>
                <a:close/>
                <a:moveTo>
                  <a:pt x="3426338" y="6484301"/>
                </a:moveTo>
                <a:cubicBezTo>
                  <a:pt x="3337318" y="6485010"/>
                  <a:pt x="3264550" y="6412944"/>
                  <a:pt x="3263843" y="6323223"/>
                </a:cubicBezTo>
                <a:cubicBezTo>
                  <a:pt x="3263843" y="6233493"/>
                  <a:pt x="3335901" y="6161426"/>
                  <a:pt x="3424921" y="6160725"/>
                </a:cubicBezTo>
                <a:cubicBezTo>
                  <a:pt x="3513941" y="6160017"/>
                  <a:pt x="3586708" y="6232076"/>
                  <a:pt x="3587416" y="6321806"/>
                </a:cubicBezTo>
                <a:cubicBezTo>
                  <a:pt x="3588124" y="6410825"/>
                  <a:pt x="3515358" y="6484301"/>
                  <a:pt x="3426338" y="6484301"/>
                </a:cubicBezTo>
                <a:close/>
                <a:moveTo>
                  <a:pt x="5117751" y="6495980"/>
                </a:moveTo>
                <a:cubicBezTo>
                  <a:pt x="5081374" y="6495980"/>
                  <a:pt x="5044937" y="6465676"/>
                  <a:pt x="5044937" y="6423146"/>
                </a:cubicBezTo>
                <a:cubicBezTo>
                  <a:pt x="5044937" y="6380675"/>
                  <a:pt x="5081374" y="6344229"/>
                  <a:pt x="5117751" y="6350312"/>
                </a:cubicBezTo>
                <a:cubicBezTo>
                  <a:pt x="5160210" y="6350312"/>
                  <a:pt x="5190564" y="6380675"/>
                  <a:pt x="5190564" y="6423146"/>
                </a:cubicBezTo>
                <a:cubicBezTo>
                  <a:pt x="5190564" y="6465676"/>
                  <a:pt x="5160210" y="6495980"/>
                  <a:pt x="5117751" y="6495980"/>
                </a:cubicBezTo>
                <a:close/>
                <a:moveTo>
                  <a:pt x="2399822" y="6500545"/>
                </a:moveTo>
                <a:cubicBezTo>
                  <a:pt x="2309391" y="6500545"/>
                  <a:pt x="2235207" y="6427073"/>
                  <a:pt x="2235207" y="6336646"/>
                </a:cubicBezTo>
                <a:cubicBezTo>
                  <a:pt x="2234499" y="6245508"/>
                  <a:pt x="2307976" y="6172033"/>
                  <a:pt x="2399114" y="6172033"/>
                </a:cubicBezTo>
                <a:cubicBezTo>
                  <a:pt x="2421723" y="6172033"/>
                  <a:pt x="2443317" y="6176625"/>
                  <a:pt x="2462988" y="6184925"/>
                </a:cubicBezTo>
                <a:lnTo>
                  <a:pt x="2500338" y="6210005"/>
                </a:lnTo>
                <a:lnTo>
                  <a:pt x="2478864" y="6178416"/>
                </a:lnTo>
                <a:cubicBezTo>
                  <a:pt x="2469988" y="6157729"/>
                  <a:pt x="2464999" y="6134990"/>
                  <a:pt x="2464821" y="6111144"/>
                </a:cubicBezTo>
                <a:cubicBezTo>
                  <a:pt x="2464114" y="6015770"/>
                  <a:pt x="2541830" y="5938053"/>
                  <a:pt x="2637204" y="5937353"/>
                </a:cubicBezTo>
                <a:lnTo>
                  <a:pt x="2680258" y="5945763"/>
                </a:lnTo>
                <a:lnTo>
                  <a:pt x="2676188" y="5939774"/>
                </a:lnTo>
                <a:cubicBezTo>
                  <a:pt x="2666264" y="5916591"/>
                  <a:pt x="2660699" y="5891068"/>
                  <a:pt x="2660523" y="5864222"/>
                </a:cubicBezTo>
                <a:cubicBezTo>
                  <a:pt x="2660523" y="5756836"/>
                  <a:pt x="2747419" y="5669232"/>
                  <a:pt x="2854103" y="5669232"/>
                </a:cubicBezTo>
                <a:lnTo>
                  <a:pt x="2876716" y="5673663"/>
                </a:lnTo>
                <a:lnTo>
                  <a:pt x="2875899" y="5672461"/>
                </a:lnTo>
                <a:cubicBezTo>
                  <a:pt x="2866328" y="5650042"/>
                  <a:pt x="2861030" y="5625360"/>
                  <a:pt x="2861030" y="5599396"/>
                </a:cubicBezTo>
                <a:cubicBezTo>
                  <a:pt x="2860322" y="5495539"/>
                  <a:pt x="2944392" y="5411464"/>
                  <a:pt x="3048249" y="5410763"/>
                </a:cubicBezTo>
                <a:lnTo>
                  <a:pt x="3049311" y="5410973"/>
                </a:lnTo>
                <a:lnTo>
                  <a:pt x="3037902" y="5394195"/>
                </a:lnTo>
                <a:cubicBezTo>
                  <a:pt x="3027835" y="5370692"/>
                  <a:pt x="3022184" y="5344819"/>
                  <a:pt x="3022009" y="5317618"/>
                </a:cubicBezTo>
                <a:cubicBezTo>
                  <a:pt x="3021477" y="5236016"/>
                  <a:pt x="3070623" y="5165955"/>
                  <a:pt x="3141127" y="5136019"/>
                </a:cubicBezTo>
                <a:lnTo>
                  <a:pt x="3213112" y="5121447"/>
                </a:lnTo>
                <a:lnTo>
                  <a:pt x="3194016" y="5093389"/>
                </a:lnTo>
                <a:cubicBezTo>
                  <a:pt x="3184655" y="5071574"/>
                  <a:pt x="3179400" y="5047546"/>
                  <a:pt x="3179224" y="5022285"/>
                </a:cubicBezTo>
                <a:cubicBezTo>
                  <a:pt x="3179224" y="4946521"/>
                  <a:pt x="3224923" y="4881477"/>
                  <a:pt x="3290395" y="4853396"/>
                </a:cubicBezTo>
                <a:lnTo>
                  <a:pt x="3359764" y="4838968"/>
                </a:lnTo>
                <a:lnTo>
                  <a:pt x="3356937" y="4837077"/>
                </a:lnTo>
                <a:cubicBezTo>
                  <a:pt x="3325410" y="4805817"/>
                  <a:pt x="3305805" y="4762542"/>
                  <a:pt x="3305805" y="4714856"/>
                </a:cubicBezTo>
                <a:cubicBezTo>
                  <a:pt x="3305098" y="4618775"/>
                  <a:pt x="3382814" y="4541063"/>
                  <a:pt x="3478185" y="4541063"/>
                </a:cubicBezTo>
                <a:lnTo>
                  <a:pt x="3485099" y="4542417"/>
                </a:lnTo>
                <a:lnTo>
                  <a:pt x="3447824" y="4517494"/>
                </a:lnTo>
                <a:cubicBezTo>
                  <a:pt x="3417003" y="4486940"/>
                  <a:pt x="3397928" y="4444728"/>
                  <a:pt x="3397928" y="4398096"/>
                </a:cubicBezTo>
                <a:cubicBezTo>
                  <a:pt x="3397928" y="4328154"/>
                  <a:pt x="3440055" y="4267752"/>
                  <a:pt x="3501057" y="4241919"/>
                </a:cubicBezTo>
                <a:lnTo>
                  <a:pt x="3555561" y="4230945"/>
                </a:lnTo>
                <a:lnTo>
                  <a:pt x="3505082" y="4197243"/>
                </a:lnTo>
                <a:cubicBezTo>
                  <a:pt x="3473555" y="4166069"/>
                  <a:pt x="3453952" y="4122974"/>
                  <a:pt x="3453952" y="4075282"/>
                </a:cubicBezTo>
                <a:cubicBezTo>
                  <a:pt x="3453952" y="4003221"/>
                  <a:pt x="3497269" y="3941494"/>
                  <a:pt x="3559164" y="3915133"/>
                </a:cubicBezTo>
                <a:lnTo>
                  <a:pt x="3601066" y="3906621"/>
                </a:lnTo>
                <a:lnTo>
                  <a:pt x="3591780" y="3904750"/>
                </a:lnTo>
                <a:cubicBezTo>
                  <a:pt x="3530482" y="3878885"/>
                  <a:pt x="3487165" y="3818351"/>
                  <a:pt x="3487165" y="3747896"/>
                </a:cubicBezTo>
                <a:cubicBezTo>
                  <a:pt x="3487165" y="3677432"/>
                  <a:pt x="3529685" y="3616900"/>
                  <a:pt x="3590884" y="3590733"/>
                </a:cubicBezTo>
                <a:lnTo>
                  <a:pt x="3638553" y="3580852"/>
                </a:lnTo>
                <a:lnTo>
                  <a:pt x="3595297" y="3572373"/>
                </a:lnTo>
                <a:cubicBezTo>
                  <a:pt x="3535952" y="3547558"/>
                  <a:pt x="3494095" y="3488746"/>
                  <a:pt x="3493564" y="3420391"/>
                </a:cubicBezTo>
                <a:cubicBezTo>
                  <a:pt x="3492856" y="3329269"/>
                  <a:pt x="3567040" y="3254384"/>
                  <a:pt x="3658886" y="3253676"/>
                </a:cubicBezTo>
                <a:cubicBezTo>
                  <a:pt x="3750024" y="3253676"/>
                  <a:pt x="3824909" y="3327860"/>
                  <a:pt x="3824909" y="3418983"/>
                </a:cubicBezTo>
                <a:cubicBezTo>
                  <a:pt x="3824909" y="3487333"/>
                  <a:pt x="3783181" y="3546545"/>
                  <a:pt x="3723868" y="3571853"/>
                </a:cubicBezTo>
                <a:lnTo>
                  <a:pt x="3678299" y="3581158"/>
                </a:lnTo>
                <a:lnTo>
                  <a:pt x="3723682" y="3590327"/>
                </a:lnTo>
                <a:cubicBezTo>
                  <a:pt x="3784815" y="3616191"/>
                  <a:pt x="3827865" y="3676723"/>
                  <a:pt x="3828397" y="3747187"/>
                </a:cubicBezTo>
                <a:cubicBezTo>
                  <a:pt x="3828397" y="3817642"/>
                  <a:pt x="3785478" y="3878575"/>
                  <a:pt x="3724380" y="3904635"/>
                </a:cubicBezTo>
                <a:lnTo>
                  <a:pt x="3684115" y="3912843"/>
                </a:lnTo>
                <a:lnTo>
                  <a:pt x="3693627" y="3914710"/>
                </a:lnTo>
                <a:cubicBezTo>
                  <a:pt x="3755752" y="3940741"/>
                  <a:pt x="3799601" y="4002340"/>
                  <a:pt x="3800132" y="4073868"/>
                </a:cubicBezTo>
                <a:cubicBezTo>
                  <a:pt x="3800132" y="4145406"/>
                  <a:pt x="3756815" y="4206996"/>
                  <a:pt x="3694919" y="4233624"/>
                </a:cubicBezTo>
                <a:lnTo>
                  <a:pt x="3638655" y="4245389"/>
                </a:lnTo>
                <a:lnTo>
                  <a:pt x="3687241" y="4277994"/>
                </a:lnTo>
                <a:cubicBezTo>
                  <a:pt x="3717973" y="4308548"/>
                  <a:pt x="3737049" y="4350765"/>
                  <a:pt x="3737049" y="4397395"/>
                </a:cubicBezTo>
                <a:cubicBezTo>
                  <a:pt x="3737049" y="4490650"/>
                  <a:pt x="3661455" y="4566952"/>
                  <a:pt x="3568192" y="4566952"/>
                </a:cubicBezTo>
                <a:lnTo>
                  <a:pt x="3562966" y="4565909"/>
                </a:lnTo>
                <a:lnTo>
                  <a:pt x="3600850" y="4591221"/>
                </a:lnTo>
                <a:cubicBezTo>
                  <a:pt x="3632376" y="4622488"/>
                  <a:pt x="3651980" y="4665759"/>
                  <a:pt x="3651980" y="4713442"/>
                </a:cubicBezTo>
                <a:cubicBezTo>
                  <a:pt x="3652511" y="4784976"/>
                  <a:pt x="3608929" y="4846575"/>
                  <a:pt x="3546870" y="4873200"/>
                </a:cubicBezTo>
                <a:lnTo>
                  <a:pt x="3483492" y="4886428"/>
                </a:lnTo>
                <a:lnTo>
                  <a:pt x="3491228" y="4891595"/>
                </a:lnTo>
                <a:cubicBezTo>
                  <a:pt x="3524521" y="4924620"/>
                  <a:pt x="3545187" y="4970365"/>
                  <a:pt x="3545187" y="5020876"/>
                </a:cubicBezTo>
                <a:cubicBezTo>
                  <a:pt x="3545717" y="5096652"/>
                  <a:pt x="3499749" y="5162089"/>
                  <a:pt x="3434112" y="5190075"/>
                </a:cubicBezTo>
                <a:lnTo>
                  <a:pt x="3374016" y="5202313"/>
                </a:lnTo>
                <a:lnTo>
                  <a:pt x="3399316" y="5239626"/>
                </a:lnTo>
                <a:cubicBezTo>
                  <a:pt x="3409295" y="5263124"/>
                  <a:pt x="3414815" y="5289000"/>
                  <a:pt x="3414815" y="5316204"/>
                </a:cubicBezTo>
                <a:cubicBezTo>
                  <a:pt x="3415523" y="5424299"/>
                  <a:pt x="3327920" y="5513309"/>
                  <a:pt x="3219121" y="5513309"/>
                </a:cubicBezTo>
                <a:lnTo>
                  <a:pt x="3213113" y="5512131"/>
                </a:lnTo>
                <a:lnTo>
                  <a:pt x="3221715" y="5524812"/>
                </a:lnTo>
                <a:cubicBezTo>
                  <a:pt x="3231319" y="5547290"/>
                  <a:pt x="3236706" y="5572017"/>
                  <a:pt x="3236884" y="5597980"/>
                </a:cubicBezTo>
                <a:cubicBezTo>
                  <a:pt x="3237592" y="5701838"/>
                  <a:pt x="3153515" y="5785909"/>
                  <a:pt x="3049665" y="5786617"/>
                </a:cubicBezTo>
                <a:lnTo>
                  <a:pt x="3030806" y="5782846"/>
                </a:lnTo>
                <a:lnTo>
                  <a:pt x="3033734" y="5787159"/>
                </a:lnTo>
                <a:cubicBezTo>
                  <a:pt x="3043624" y="5810397"/>
                  <a:pt x="3049099" y="5835963"/>
                  <a:pt x="3049099" y="5862812"/>
                </a:cubicBezTo>
                <a:cubicBezTo>
                  <a:pt x="3049099" y="5970204"/>
                  <a:pt x="2962904" y="6057808"/>
                  <a:pt x="2855519" y="6057808"/>
                </a:cubicBezTo>
                <a:lnTo>
                  <a:pt x="2798141" y="6046322"/>
                </a:lnTo>
                <a:lnTo>
                  <a:pt x="2811002" y="6109729"/>
                </a:lnTo>
                <a:cubicBezTo>
                  <a:pt x="2811710" y="6205107"/>
                  <a:pt x="2733993" y="6283526"/>
                  <a:pt x="2638619" y="6283526"/>
                </a:cubicBezTo>
                <a:cubicBezTo>
                  <a:pt x="2614774" y="6283703"/>
                  <a:pt x="2592034" y="6278980"/>
                  <a:pt x="2571325" y="6270302"/>
                </a:cubicBezTo>
                <a:lnTo>
                  <a:pt x="2531170" y="6243387"/>
                </a:lnTo>
                <a:lnTo>
                  <a:pt x="2550725" y="6272177"/>
                </a:lnTo>
                <a:cubicBezTo>
                  <a:pt x="2559092" y="6291783"/>
                  <a:pt x="2563729" y="6313330"/>
                  <a:pt x="2563729" y="6335936"/>
                </a:cubicBezTo>
                <a:cubicBezTo>
                  <a:pt x="2563729" y="6426370"/>
                  <a:pt x="2490252" y="6500545"/>
                  <a:pt x="2399822" y="6500545"/>
                </a:cubicBezTo>
                <a:close/>
                <a:moveTo>
                  <a:pt x="3812095" y="6527635"/>
                </a:moveTo>
                <a:cubicBezTo>
                  <a:pt x="3754163" y="6528344"/>
                  <a:pt x="3706118" y="6481007"/>
                  <a:pt x="3706118" y="6422367"/>
                </a:cubicBezTo>
                <a:cubicBezTo>
                  <a:pt x="3706118" y="6363728"/>
                  <a:pt x="3753455" y="6316391"/>
                  <a:pt x="3811387" y="6316391"/>
                </a:cubicBezTo>
                <a:cubicBezTo>
                  <a:pt x="3869325" y="6316391"/>
                  <a:pt x="3917363" y="6363019"/>
                  <a:pt x="3917363" y="6421660"/>
                </a:cubicBezTo>
                <a:cubicBezTo>
                  <a:pt x="3918071" y="6479598"/>
                  <a:pt x="3870734" y="6527635"/>
                  <a:pt x="3812095" y="6527635"/>
                </a:cubicBezTo>
                <a:close/>
                <a:moveTo>
                  <a:pt x="1709037" y="6537172"/>
                </a:moveTo>
                <a:cubicBezTo>
                  <a:pt x="1627085" y="6537172"/>
                  <a:pt x="1560679" y="6471475"/>
                  <a:pt x="1559971" y="6389518"/>
                </a:cubicBezTo>
                <a:cubicBezTo>
                  <a:pt x="1559971" y="6307568"/>
                  <a:pt x="1626377" y="6241158"/>
                  <a:pt x="1707627" y="6240451"/>
                </a:cubicBezTo>
                <a:cubicBezTo>
                  <a:pt x="1789579" y="6240451"/>
                  <a:pt x="1856693" y="6306159"/>
                  <a:pt x="1856693" y="6388106"/>
                </a:cubicBezTo>
                <a:cubicBezTo>
                  <a:pt x="1856693" y="6470057"/>
                  <a:pt x="1790995" y="6537172"/>
                  <a:pt x="1709037" y="6537172"/>
                </a:cubicBezTo>
                <a:close/>
                <a:moveTo>
                  <a:pt x="642451" y="6554755"/>
                </a:moveTo>
                <a:cubicBezTo>
                  <a:pt x="572509" y="6555458"/>
                  <a:pt x="515987" y="6498940"/>
                  <a:pt x="515987" y="6429700"/>
                </a:cubicBezTo>
                <a:cubicBezTo>
                  <a:pt x="515279" y="6360462"/>
                  <a:pt x="571801" y="6303948"/>
                  <a:pt x="641042" y="6303240"/>
                </a:cubicBezTo>
                <a:cubicBezTo>
                  <a:pt x="710983" y="6302531"/>
                  <a:pt x="767505" y="6359052"/>
                  <a:pt x="767505" y="6428285"/>
                </a:cubicBezTo>
                <a:cubicBezTo>
                  <a:pt x="768206" y="6498232"/>
                  <a:pt x="711691" y="6554755"/>
                  <a:pt x="642451" y="6554755"/>
                </a:cubicBezTo>
                <a:close/>
                <a:moveTo>
                  <a:pt x="4194588" y="6591200"/>
                </a:moveTo>
                <a:cubicBezTo>
                  <a:pt x="4154736" y="6591200"/>
                  <a:pt x="4121407" y="6558597"/>
                  <a:pt x="4121407" y="6518745"/>
                </a:cubicBezTo>
                <a:cubicBezTo>
                  <a:pt x="4121407" y="6478169"/>
                  <a:pt x="4154010" y="6445565"/>
                  <a:pt x="4193861" y="6445565"/>
                </a:cubicBezTo>
                <a:cubicBezTo>
                  <a:pt x="4234439" y="6445565"/>
                  <a:pt x="4267042" y="6478169"/>
                  <a:pt x="4267042" y="6518019"/>
                </a:cubicBezTo>
                <a:cubicBezTo>
                  <a:pt x="4267042" y="6558597"/>
                  <a:pt x="4235157" y="6591200"/>
                  <a:pt x="4194588" y="6591200"/>
                </a:cubicBezTo>
                <a:close/>
                <a:moveTo>
                  <a:pt x="317955" y="6594472"/>
                </a:moveTo>
                <a:cubicBezTo>
                  <a:pt x="255784" y="6594472"/>
                  <a:pt x="205623" y="6545019"/>
                  <a:pt x="205623" y="6482847"/>
                </a:cubicBezTo>
                <a:cubicBezTo>
                  <a:pt x="204915" y="6421384"/>
                  <a:pt x="255075" y="6370516"/>
                  <a:pt x="317247" y="6370516"/>
                </a:cubicBezTo>
                <a:cubicBezTo>
                  <a:pt x="379418" y="6369810"/>
                  <a:pt x="429578" y="6419968"/>
                  <a:pt x="429578" y="6482138"/>
                </a:cubicBezTo>
                <a:cubicBezTo>
                  <a:pt x="429578" y="6543601"/>
                  <a:pt x="380126" y="6594472"/>
                  <a:pt x="317955" y="6594472"/>
                </a:cubicBezTo>
                <a:close/>
                <a:moveTo>
                  <a:pt x="0" y="6602983"/>
                </a:moveTo>
                <a:lnTo>
                  <a:pt x="0" y="6395926"/>
                </a:lnTo>
                <a:lnTo>
                  <a:pt x="30295" y="6401722"/>
                </a:lnTo>
                <a:cubicBezTo>
                  <a:pt x="68348" y="6417483"/>
                  <a:pt x="94975" y="6455104"/>
                  <a:pt x="94975" y="6499084"/>
                </a:cubicBezTo>
                <a:cubicBezTo>
                  <a:pt x="95502" y="6542540"/>
                  <a:pt x="69007" y="6580435"/>
                  <a:pt x="30989" y="6596667"/>
                </a:cubicBezTo>
                <a:close/>
                <a:moveTo>
                  <a:pt x="2809415" y="6611719"/>
                </a:moveTo>
                <a:cubicBezTo>
                  <a:pt x="2724638" y="6611719"/>
                  <a:pt x="2654697" y="6543179"/>
                  <a:pt x="2654697" y="6457689"/>
                </a:cubicBezTo>
                <a:cubicBezTo>
                  <a:pt x="2653989" y="6372203"/>
                  <a:pt x="2722521" y="6302974"/>
                  <a:pt x="2808707" y="6302974"/>
                </a:cubicBezTo>
                <a:cubicBezTo>
                  <a:pt x="2829903" y="6302974"/>
                  <a:pt x="2850171" y="6307255"/>
                  <a:pt x="2868651" y="6315017"/>
                </a:cubicBezTo>
                <a:lnTo>
                  <a:pt x="2909063" y="6342039"/>
                </a:lnTo>
                <a:lnTo>
                  <a:pt x="2872584" y="6288313"/>
                </a:lnTo>
                <a:cubicBezTo>
                  <a:pt x="2863544" y="6267196"/>
                  <a:pt x="2858466" y="6243968"/>
                  <a:pt x="2858291" y="6219594"/>
                </a:cubicBezTo>
                <a:cubicBezTo>
                  <a:pt x="2857584" y="6121395"/>
                  <a:pt x="2936710" y="6042271"/>
                  <a:pt x="3034206" y="6042271"/>
                </a:cubicBezTo>
                <a:lnTo>
                  <a:pt x="3077479" y="6050742"/>
                </a:lnTo>
                <a:lnTo>
                  <a:pt x="3067919" y="6036652"/>
                </a:lnTo>
                <a:cubicBezTo>
                  <a:pt x="3058317" y="6014177"/>
                  <a:pt x="3052930" y="5989452"/>
                  <a:pt x="3052755" y="5963487"/>
                </a:cubicBezTo>
                <a:cubicBezTo>
                  <a:pt x="3052047" y="5859631"/>
                  <a:pt x="3136117" y="5774851"/>
                  <a:pt x="3239974" y="5774851"/>
                </a:cubicBezTo>
                <a:lnTo>
                  <a:pt x="3262349" y="5779233"/>
                </a:lnTo>
                <a:lnTo>
                  <a:pt x="3252386" y="5764547"/>
                </a:lnTo>
                <a:cubicBezTo>
                  <a:pt x="3242783" y="5742072"/>
                  <a:pt x="3237396" y="5717345"/>
                  <a:pt x="3237221" y="5691380"/>
                </a:cubicBezTo>
                <a:cubicBezTo>
                  <a:pt x="3236513" y="5587525"/>
                  <a:pt x="3320583" y="5502744"/>
                  <a:pt x="3424440" y="5502744"/>
                </a:cubicBezTo>
                <a:lnTo>
                  <a:pt x="3449879" y="5507836"/>
                </a:lnTo>
                <a:lnTo>
                  <a:pt x="3426219" y="5472952"/>
                </a:lnTo>
                <a:cubicBezTo>
                  <a:pt x="3417366" y="5452155"/>
                  <a:pt x="3412465" y="5429282"/>
                  <a:pt x="3412465" y="5405261"/>
                </a:cubicBezTo>
                <a:cubicBezTo>
                  <a:pt x="3411757" y="5309172"/>
                  <a:pt x="3489474" y="5230753"/>
                  <a:pt x="3585553" y="5230046"/>
                </a:cubicBezTo>
                <a:lnTo>
                  <a:pt x="3608013" y="5234538"/>
                </a:lnTo>
                <a:lnTo>
                  <a:pt x="3601178" y="5229950"/>
                </a:lnTo>
                <a:cubicBezTo>
                  <a:pt x="3569563" y="5198515"/>
                  <a:pt x="3549959" y="5155066"/>
                  <a:pt x="3549959" y="5107029"/>
                </a:cubicBezTo>
                <a:cubicBezTo>
                  <a:pt x="3549251" y="5010937"/>
                  <a:pt x="3626968" y="4932514"/>
                  <a:pt x="3723755" y="4931805"/>
                </a:cubicBezTo>
                <a:lnTo>
                  <a:pt x="3748379" y="4936760"/>
                </a:lnTo>
                <a:lnTo>
                  <a:pt x="3718249" y="4916569"/>
                </a:lnTo>
                <a:cubicBezTo>
                  <a:pt x="3687782" y="4886272"/>
                  <a:pt x="3668883" y="4844414"/>
                  <a:pt x="3668529" y="4798134"/>
                </a:cubicBezTo>
                <a:cubicBezTo>
                  <a:pt x="3668529" y="4704877"/>
                  <a:pt x="3743422" y="4629985"/>
                  <a:pt x="3835969" y="4629284"/>
                </a:cubicBezTo>
                <a:cubicBezTo>
                  <a:pt x="3929232" y="4628575"/>
                  <a:pt x="4004824" y="4704167"/>
                  <a:pt x="4004824" y="4796726"/>
                </a:cubicBezTo>
                <a:cubicBezTo>
                  <a:pt x="4005533" y="4889984"/>
                  <a:pt x="3929933" y="4965582"/>
                  <a:pt x="3837386" y="4965582"/>
                </a:cubicBezTo>
                <a:lnTo>
                  <a:pt x="3814820" y="4961058"/>
                </a:lnTo>
                <a:lnTo>
                  <a:pt x="3847038" y="4982675"/>
                </a:lnTo>
                <a:cubicBezTo>
                  <a:pt x="3878655" y="5014114"/>
                  <a:pt x="3898261" y="5057565"/>
                  <a:pt x="3898261" y="5105609"/>
                </a:cubicBezTo>
                <a:cubicBezTo>
                  <a:pt x="3898261" y="5202397"/>
                  <a:pt x="3820544" y="5280821"/>
                  <a:pt x="3724457" y="5280821"/>
                </a:cubicBezTo>
                <a:lnTo>
                  <a:pt x="3702792" y="5276460"/>
                </a:lnTo>
                <a:lnTo>
                  <a:pt x="3709455" y="5280914"/>
                </a:lnTo>
                <a:cubicBezTo>
                  <a:pt x="3741161" y="5312354"/>
                  <a:pt x="3760767" y="5355804"/>
                  <a:pt x="3760767" y="5403845"/>
                </a:cubicBezTo>
                <a:cubicBezTo>
                  <a:pt x="3760767" y="5500635"/>
                  <a:pt x="3683050" y="5579062"/>
                  <a:pt x="3586963" y="5579062"/>
                </a:cubicBezTo>
                <a:lnTo>
                  <a:pt x="3569818" y="5575612"/>
                </a:lnTo>
                <a:lnTo>
                  <a:pt x="3597906" y="5616900"/>
                </a:lnTo>
                <a:cubicBezTo>
                  <a:pt x="3607510" y="5639318"/>
                  <a:pt x="3612897" y="5664003"/>
                  <a:pt x="3613075" y="5689965"/>
                </a:cubicBezTo>
                <a:cubicBezTo>
                  <a:pt x="3613783" y="5793820"/>
                  <a:pt x="3529706" y="5877898"/>
                  <a:pt x="3425856" y="5878600"/>
                </a:cubicBezTo>
                <a:lnTo>
                  <a:pt x="3403809" y="5874278"/>
                </a:lnTo>
                <a:lnTo>
                  <a:pt x="3413739" y="5888904"/>
                </a:lnTo>
                <a:cubicBezTo>
                  <a:pt x="3423311" y="5911379"/>
                  <a:pt x="3428609" y="5936107"/>
                  <a:pt x="3428609" y="5962072"/>
                </a:cubicBezTo>
                <a:cubicBezTo>
                  <a:pt x="3429317" y="6065929"/>
                  <a:pt x="3345240" y="6150705"/>
                  <a:pt x="3241390" y="6150705"/>
                </a:cubicBezTo>
                <a:lnTo>
                  <a:pt x="3191769" y="6140976"/>
                </a:lnTo>
                <a:lnTo>
                  <a:pt x="3197540" y="6149466"/>
                </a:lnTo>
                <a:cubicBezTo>
                  <a:pt x="3206547" y="6170585"/>
                  <a:pt x="3211537" y="6193812"/>
                  <a:pt x="3211537" y="6218185"/>
                </a:cubicBezTo>
                <a:cubicBezTo>
                  <a:pt x="3212245" y="6315683"/>
                  <a:pt x="3133112" y="6395516"/>
                  <a:pt x="3035615" y="6395516"/>
                </a:cubicBezTo>
                <a:cubicBezTo>
                  <a:pt x="3011241" y="6395692"/>
                  <a:pt x="2988015" y="6390880"/>
                  <a:pt x="2966876" y="6382037"/>
                </a:cubicBezTo>
                <a:lnTo>
                  <a:pt x="2919475" y="6350290"/>
                </a:lnTo>
                <a:lnTo>
                  <a:pt x="2951179" y="6396858"/>
                </a:lnTo>
                <a:cubicBezTo>
                  <a:pt x="2959061" y="6415304"/>
                  <a:pt x="2963432" y="6435616"/>
                  <a:pt x="2963432" y="6456987"/>
                </a:cubicBezTo>
                <a:cubicBezTo>
                  <a:pt x="2963432" y="6541764"/>
                  <a:pt x="2894901" y="6611719"/>
                  <a:pt x="2809415" y="6611719"/>
                </a:cubicBezTo>
                <a:close/>
                <a:moveTo>
                  <a:pt x="4573566" y="6685393"/>
                </a:moveTo>
                <a:cubicBezTo>
                  <a:pt x="4533355" y="6685393"/>
                  <a:pt x="4500747" y="6652785"/>
                  <a:pt x="4500747" y="6612573"/>
                </a:cubicBezTo>
                <a:cubicBezTo>
                  <a:pt x="4500747" y="6572358"/>
                  <a:pt x="4533355" y="6539751"/>
                  <a:pt x="4573566" y="6539751"/>
                </a:cubicBezTo>
                <a:cubicBezTo>
                  <a:pt x="4613777" y="6539751"/>
                  <a:pt x="4646386" y="6572358"/>
                  <a:pt x="4646386" y="6612573"/>
                </a:cubicBezTo>
                <a:cubicBezTo>
                  <a:pt x="4646386" y="6652785"/>
                  <a:pt x="4613777" y="6685393"/>
                  <a:pt x="4573566" y="6685393"/>
                </a:cubicBezTo>
                <a:close/>
                <a:moveTo>
                  <a:pt x="2142359" y="6702651"/>
                </a:moveTo>
                <a:cubicBezTo>
                  <a:pt x="2052632" y="6703359"/>
                  <a:pt x="1979865" y="6631291"/>
                  <a:pt x="1979865" y="6541555"/>
                </a:cubicBezTo>
                <a:cubicBezTo>
                  <a:pt x="1979865" y="6452533"/>
                  <a:pt x="2051931" y="6379760"/>
                  <a:pt x="2140943" y="6379060"/>
                </a:cubicBezTo>
                <a:cubicBezTo>
                  <a:pt x="2230671" y="6378350"/>
                  <a:pt x="2302730" y="6450415"/>
                  <a:pt x="2303438" y="6540139"/>
                </a:cubicBezTo>
                <a:cubicBezTo>
                  <a:pt x="2304145" y="6629176"/>
                  <a:pt x="2232081" y="6702651"/>
                  <a:pt x="2142359" y="6702651"/>
                </a:cubicBezTo>
                <a:close/>
                <a:moveTo>
                  <a:pt x="1419410" y="6703796"/>
                </a:moveTo>
                <a:cubicBezTo>
                  <a:pt x="1331807" y="6703796"/>
                  <a:pt x="1259741" y="6632439"/>
                  <a:pt x="1259741" y="6544821"/>
                </a:cubicBezTo>
                <a:cubicBezTo>
                  <a:pt x="1259741" y="6456509"/>
                  <a:pt x="1330390" y="6385151"/>
                  <a:pt x="1418702" y="6385151"/>
                </a:cubicBezTo>
                <a:cubicBezTo>
                  <a:pt x="1506305" y="6385151"/>
                  <a:pt x="1578369" y="6456509"/>
                  <a:pt x="1578369" y="6544112"/>
                </a:cubicBezTo>
                <a:cubicBezTo>
                  <a:pt x="1578369" y="6631730"/>
                  <a:pt x="1507013" y="6703796"/>
                  <a:pt x="1419410" y="6703796"/>
                </a:cubicBezTo>
                <a:close/>
                <a:moveTo>
                  <a:pt x="3211370" y="6707954"/>
                </a:moveTo>
                <a:cubicBezTo>
                  <a:pt x="3135778" y="6708664"/>
                  <a:pt x="3073607" y="6647193"/>
                  <a:pt x="3073607" y="6571591"/>
                </a:cubicBezTo>
                <a:cubicBezTo>
                  <a:pt x="3073607" y="6495998"/>
                  <a:pt x="3134362" y="6434535"/>
                  <a:pt x="3210668" y="6433826"/>
                </a:cubicBezTo>
                <a:cubicBezTo>
                  <a:pt x="3285553" y="6433118"/>
                  <a:pt x="3347724" y="6494582"/>
                  <a:pt x="3347724" y="6570182"/>
                </a:cubicBezTo>
                <a:cubicBezTo>
                  <a:pt x="3347724" y="6645784"/>
                  <a:pt x="3286968" y="6707954"/>
                  <a:pt x="3211370" y="6707954"/>
                </a:cubicBezTo>
                <a:close/>
                <a:moveTo>
                  <a:pt x="4950232" y="6778374"/>
                </a:moveTo>
                <a:cubicBezTo>
                  <a:pt x="4909286" y="6778374"/>
                  <a:pt x="4877418" y="6744224"/>
                  <a:pt x="4877418" y="6705537"/>
                </a:cubicBezTo>
                <a:cubicBezTo>
                  <a:pt x="4877418" y="6666850"/>
                  <a:pt x="4909286" y="6632724"/>
                  <a:pt x="4950232" y="6632724"/>
                </a:cubicBezTo>
                <a:cubicBezTo>
                  <a:pt x="4991201" y="6632724"/>
                  <a:pt x="5023069" y="6664590"/>
                  <a:pt x="5023069" y="6705537"/>
                </a:cubicBezTo>
                <a:cubicBezTo>
                  <a:pt x="5023069" y="6746506"/>
                  <a:pt x="4988920" y="6778374"/>
                  <a:pt x="4950232" y="6778374"/>
                </a:cubicBezTo>
                <a:close/>
                <a:moveTo>
                  <a:pt x="3606328" y="6783767"/>
                </a:moveTo>
                <a:cubicBezTo>
                  <a:pt x="3548398" y="6783767"/>
                  <a:pt x="3500354" y="6737140"/>
                  <a:pt x="3500354" y="6678501"/>
                </a:cubicBezTo>
                <a:cubicBezTo>
                  <a:pt x="3500354" y="6619863"/>
                  <a:pt x="3547689" y="6572519"/>
                  <a:pt x="3605619" y="6572519"/>
                </a:cubicBezTo>
                <a:cubicBezTo>
                  <a:pt x="3664259" y="6572519"/>
                  <a:pt x="3711594" y="6619157"/>
                  <a:pt x="3711594" y="6677794"/>
                </a:cubicBezTo>
                <a:cubicBezTo>
                  <a:pt x="3711594" y="6735731"/>
                  <a:pt x="3664967" y="6783767"/>
                  <a:pt x="3606328" y="6783767"/>
                </a:cubicBezTo>
                <a:close/>
                <a:moveTo>
                  <a:pt x="1116919" y="6813582"/>
                </a:moveTo>
                <a:cubicBezTo>
                  <a:pt x="1038501" y="6813582"/>
                  <a:pt x="974210" y="6750709"/>
                  <a:pt x="974210" y="6672284"/>
                </a:cubicBezTo>
                <a:cubicBezTo>
                  <a:pt x="974210" y="6594558"/>
                  <a:pt x="1037090" y="6530265"/>
                  <a:pt x="1115509" y="6529556"/>
                </a:cubicBezTo>
                <a:cubicBezTo>
                  <a:pt x="1193927" y="6528846"/>
                  <a:pt x="1258223" y="6592432"/>
                  <a:pt x="1258223" y="6670873"/>
                </a:cubicBezTo>
                <a:cubicBezTo>
                  <a:pt x="1258223" y="6749293"/>
                  <a:pt x="1195343" y="6813582"/>
                  <a:pt x="1116919" y="6813582"/>
                </a:cubicBezTo>
                <a:close/>
                <a:moveTo>
                  <a:pt x="2565027" y="6835173"/>
                </a:moveTo>
                <a:cubicBezTo>
                  <a:pt x="2477417" y="6835173"/>
                  <a:pt x="2406067" y="6765225"/>
                  <a:pt x="2406067" y="6677624"/>
                </a:cubicBezTo>
                <a:cubicBezTo>
                  <a:pt x="2405359" y="6590009"/>
                  <a:pt x="2476008" y="6519359"/>
                  <a:pt x="2564319" y="6518651"/>
                </a:cubicBezTo>
                <a:cubicBezTo>
                  <a:pt x="2651221" y="6518651"/>
                  <a:pt x="2721868" y="6588594"/>
                  <a:pt x="2722570" y="6676216"/>
                </a:cubicBezTo>
                <a:cubicBezTo>
                  <a:pt x="2722570" y="6763818"/>
                  <a:pt x="2652630" y="6835173"/>
                  <a:pt x="2565027" y="6835173"/>
                </a:cubicBezTo>
                <a:close/>
                <a:moveTo>
                  <a:pt x="3997274" y="6854905"/>
                </a:moveTo>
                <a:cubicBezTo>
                  <a:pt x="3957025" y="6854905"/>
                  <a:pt x="3923884" y="6822952"/>
                  <a:pt x="3923884" y="6782706"/>
                </a:cubicBezTo>
                <a:cubicBezTo>
                  <a:pt x="3923884" y="6742459"/>
                  <a:pt x="3957025" y="6709320"/>
                  <a:pt x="3996087" y="6708133"/>
                </a:cubicBezTo>
                <a:cubicBezTo>
                  <a:pt x="4036335" y="6708133"/>
                  <a:pt x="4069476" y="6741273"/>
                  <a:pt x="4069476" y="6781518"/>
                </a:cubicBezTo>
                <a:cubicBezTo>
                  <a:pt x="4070663" y="6821765"/>
                  <a:pt x="4037522" y="6854905"/>
                  <a:pt x="3997274" y="6854905"/>
                </a:cubicBezTo>
                <a:close/>
                <a:moveTo>
                  <a:pt x="5324485" y="6869480"/>
                </a:moveTo>
                <a:cubicBezTo>
                  <a:pt x="5282862" y="6869480"/>
                  <a:pt x="5251671" y="6838186"/>
                  <a:pt x="5251671" y="6796564"/>
                </a:cubicBezTo>
                <a:cubicBezTo>
                  <a:pt x="5251671" y="6754941"/>
                  <a:pt x="5282862" y="6723750"/>
                  <a:pt x="5324485" y="6723750"/>
                </a:cubicBezTo>
                <a:cubicBezTo>
                  <a:pt x="5366107" y="6723750"/>
                  <a:pt x="5397402" y="6754941"/>
                  <a:pt x="5397402" y="6796564"/>
                </a:cubicBezTo>
                <a:cubicBezTo>
                  <a:pt x="5397402" y="6838186"/>
                  <a:pt x="5366107" y="6869480"/>
                  <a:pt x="5324485" y="6869480"/>
                </a:cubicBezTo>
                <a:close/>
                <a:moveTo>
                  <a:pt x="1867847" y="6884498"/>
                </a:moveTo>
                <a:cubicBezTo>
                  <a:pt x="1776711" y="6884498"/>
                  <a:pt x="1703237" y="6811020"/>
                  <a:pt x="1702529" y="6720593"/>
                </a:cubicBezTo>
                <a:cubicBezTo>
                  <a:pt x="1702529" y="6629459"/>
                  <a:pt x="1775295" y="6555970"/>
                  <a:pt x="1867138" y="6555970"/>
                </a:cubicBezTo>
                <a:cubicBezTo>
                  <a:pt x="1957567" y="6555970"/>
                  <a:pt x="2031749" y="6629459"/>
                  <a:pt x="2031749" y="6719884"/>
                </a:cubicBezTo>
                <a:cubicBezTo>
                  <a:pt x="2031749" y="6810318"/>
                  <a:pt x="1958275" y="6884498"/>
                  <a:pt x="1867847" y="6884498"/>
                </a:cubicBezTo>
                <a:close/>
                <a:moveTo>
                  <a:pt x="2978008" y="6936670"/>
                </a:moveTo>
                <a:cubicBezTo>
                  <a:pt x="2903826" y="6936670"/>
                  <a:pt x="2843071" y="6876614"/>
                  <a:pt x="2843071" y="6802431"/>
                </a:cubicBezTo>
                <a:cubicBezTo>
                  <a:pt x="2843071" y="6728246"/>
                  <a:pt x="2902417" y="6667491"/>
                  <a:pt x="2976598" y="6667491"/>
                </a:cubicBezTo>
                <a:cubicBezTo>
                  <a:pt x="3050780" y="6667491"/>
                  <a:pt x="3111535" y="6727545"/>
                  <a:pt x="3111535" y="6801723"/>
                </a:cubicBezTo>
                <a:cubicBezTo>
                  <a:pt x="3112243" y="6875906"/>
                  <a:pt x="3052189" y="6936670"/>
                  <a:pt x="2978008" y="6936670"/>
                </a:cubicBezTo>
                <a:close/>
                <a:moveTo>
                  <a:pt x="4383297" y="6953626"/>
                </a:moveTo>
                <a:cubicBezTo>
                  <a:pt x="4344464" y="6953626"/>
                  <a:pt x="4310471" y="6922068"/>
                  <a:pt x="4310471" y="6880800"/>
                </a:cubicBezTo>
                <a:cubicBezTo>
                  <a:pt x="4310471" y="6839534"/>
                  <a:pt x="4342031" y="6807976"/>
                  <a:pt x="4383297" y="6807976"/>
                </a:cubicBezTo>
                <a:cubicBezTo>
                  <a:pt x="4424564" y="6807976"/>
                  <a:pt x="4456124" y="6841968"/>
                  <a:pt x="4456124" y="6880800"/>
                </a:cubicBezTo>
                <a:cubicBezTo>
                  <a:pt x="4456124" y="6922068"/>
                  <a:pt x="4424564" y="6953626"/>
                  <a:pt x="4383297" y="6953626"/>
                </a:cubicBezTo>
                <a:close/>
                <a:moveTo>
                  <a:pt x="243112" y="6994526"/>
                </a:moveTo>
                <a:lnTo>
                  <a:pt x="62124" y="6994526"/>
                </a:lnTo>
                <a:lnTo>
                  <a:pt x="37374" y="6977930"/>
                </a:lnTo>
                <a:cubicBezTo>
                  <a:pt x="22582" y="6963226"/>
                  <a:pt x="10594" y="6945718"/>
                  <a:pt x="2260" y="6926278"/>
                </a:cubicBezTo>
                <a:lnTo>
                  <a:pt x="0" y="6915444"/>
                </a:lnTo>
                <a:lnTo>
                  <a:pt x="0" y="6808507"/>
                </a:lnTo>
                <a:lnTo>
                  <a:pt x="1851" y="6799275"/>
                </a:lnTo>
                <a:cubicBezTo>
                  <a:pt x="26556" y="6740461"/>
                  <a:pt x="84444" y="6699131"/>
                  <a:pt x="152272" y="6699131"/>
                </a:cubicBezTo>
                <a:cubicBezTo>
                  <a:pt x="241993" y="6699131"/>
                  <a:pt x="315469" y="6771899"/>
                  <a:pt x="315469" y="6861626"/>
                </a:cubicBezTo>
                <a:cubicBezTo>
                  <a:pt x="315469" y="6906840"/>
                  <a:pt x="297454" y="6947816"/>
                  <a:pt x="268135" y="6977488"/>
                </a:cubicBezTo>
                <a:close/>
                <a:moveTo>
                  <a:pt x="487472" y="6994526"/>
                </a:moveTo>
                <a:lnTo>
                  <a:pt x="473965" y="6994526"/>
                </a:lnTo>
                <a:lnTo>
                  <a:pt x="415488" y="6982688"/>
                </a:lnTo>
                <a:cubicBezTo>
                  <a:pt x="356142" y="6957552"/>
                  <a:pt x="314280" y="6898737"/>
                  <a:pt x="313750" y="6830384"/>
                </a:cubicBezTo>
                <a:cubicBezTo>
                  <a:pt x="313750" y="6738538"/>
                  <a:pt x="387225" y="6664357"/>
                  <a:pt x="478363" y="6665065"/>
                </a:cubicBezTo>
                <a:cubicBezTo>
                  <a:pt x="546715" y="6664533"/>
                  <a:pt x="605931" y="6706129"/>
                  <a:pt x="631266" y="6765407"/>
                </a:cubicBezTo>
                <a:lnTo>
                  <a:pt x="631365" y="6765897"/>
                </a:lnTo>
                <a:lnTo>
                  <a:pt x="644531" y="6700129"/>
                </a:lnTo>
                <a:cubicBezTo>
                  <a:pt x="670195" y="6638862"/>
                  <a:pt x="730337" y="6595664"/>
                  <a:pt x="800815" y="6596193"/>
                </a:cubicBezTo>
                <a:cubicBezTo>
                  <a:pt x="894779" y="6595486"/>
                  <a:pt x="971789" y="6671802"/>
                  <a:pt x="971789" y="6765765"/>
                </a:cubicBezTo>
                <a:cubicBezTo>
                  <a:pt x="972490" y="6859729"/>
                  <a:pt x="896189" y="6936029"/>
                  <a:pt x="802225" y="6936738"/>
                </a:cubicBezTo>
                <a:cubicBezTo>
                  <a:pt x="731752" y="6936738"/>
                  <a:pt x="670815" y="6893818"/>
                  <a:pt x="644751" y="6832718"/>
                </a:cubicBezTo>
                <a:lnTo>
                  <a:pt x="644264" y="6830328"/>
                </a:lnTo>
                <a:lnTo>
                  <a:pt x="631785" y="6894066"/>
                </a:lnTo>
                <a:cubicBezTo>
                  <a:pt x="613157" y="6938700"/>
                  <a:pt x="575416" y="6973554"/>
                  <a:pt x="528874" y="6988191"/>
                </a:cubicBezTo>
                <a:close/>
                <a:moveTo>
                  <a:pt x="1089823" y="6994526"/>
                </a:moveTo>
                <a:lnTo>
                  <a:pt x="832853" y="6994526"/>
                </a:lnTo>
                <a:lnTo>
                  <a:pt x="840539" y="6983078"/>
                </a:lnTo>
                <a:cubicBezTo>
                  <a:pt x="871270" y="6952257"/>
                  <a:pt x="913835" y="6933182"/>
                  <a:pt x="961170" y="6933182"/>
                </a:cubicBezTo>
                <a:cubicBezTo>
                  <a:pt x="1008151" y="6932828"/>
                  <a:pt x="1050717" y="6951726"/>
                  <a:pt x="1081625" y="6982458"/>
                </a:cubicBezTo>
                <a:close/>
                <a:moveTo>
                  <a:pt x="1686900" y="6994526"/>
                </a:moveTo>
                <a:lnTo>
                  <a:pt x="1466869" y="6994526"/>
                </a:lnTo>
                <a:lnTo>
                  <a:pt x="1461972" y="6991268"/>
                </a:lnTo>
                <a:lnTo>
                  <a:pt x="1434489" y="6950906"/>
                </a:lnTo>
                <a:lnTo>
                  <a:pt x="1443380" y="6994526"/>
                </a:lnTo>
                <a:lnTo>
                  <a:pt x="1105323" y="6994526"/>
                </a:lnTo>
                <a:lnTo>
                  <a:pt x="1116968" y="6936398"/>
                </a:lnTo>
                <a:cubicBezTo>
                  <a:pt x="1142666" y="6875131"/>
                  <a:pt x="1202937" y="6831946"/>
                  <a:pt x="1273939" y="6832478"/>
                </a:cubicBezTo>
                <a:cubicBezTo>
                  <a:pt x="1320921" y="6832123"/>
                  <a:pt x="1363663" y="6851022"/>
                  <a:pt x="1394661" y="6881754"/>
                </a:cubicBezTo>
                <a:lnTo>
                  <a:pt x="1423761" y="6924552"/>
                </a:lnTo>
                <a:lnTo>
                  <a:pt x="1413931" y="6876109"/>
                </a:lnTo>
                <a:cubicBezTo>
                  <a:pt x="1413223" y="6786392"/>
                  <a:pt x="1485989" y="6712920"/>
                  <a:pt x="1576424" y="6712210"/>
                </a:cubicBezTo>
                <a:cubicBezTo>
                  <a:pt x="1666851" y="6712210"/>
                  <a:pt x="1740325" y="6784975"/>
                  <a:pt x="1740325" y="6874700"/>
                </a:cubicBezTo>
                <a:cubicBezTo>
                  <a:pt x="1740325" y="6919914"/>
                  <a:pt x="1722133" y="6960889"/>
                  <a:pt x="1692726" y="6990561"/>
                </a:cubicBezTo>
                <a:close/>
                <a:moveTo>
                  <a:pt x="2166566" y="6994526"/>
                </a:moveTo>
                <a:lnTo>
                  <a:pt x="1883474" y="6994526"/>
                </a:lnTo>
                <a:lnTo>
                  <a:pt x="1883882" y="6992427"/>
                </a:lnTo>
                <a:cubicBezTo>
                  <a:pt x="1906832" y="6937222"/>
                  <a:pt x="1961277" y="6898407"/>
                  <a:pt x="2024861" y="6898939"/>
                </a:cubicBezTo>
                <a:cubicBezTo>
                  <a:pt x="2087913" y="6898939"/>
                  <a:pt x="2142623" y="6937089"/>
                  <a:pt x="2166037" y="6991930"/>
                </a:cubicBezTo>
                <a:close/>
                <a:moveTo>
                  <a:pt x="2379658" y="6994526"/>
                </a:moveTo>
                <a:lnTo>
                  <a:pt x="2224803" y="6994526"/>
                </a:lnTo>
                <a:lnTo>
                  <a:pt x="2200153" y="6978020"/>
                </a:lnTo>
                <a:cubicBezTo>
                  <a:pt x="2173924" y="6951968"/>
                  <a:pt x="2157675" y="6915937"/>
                  <a:pt x="2157675" y="6876021"/>
                </a:cubicBezTo>
                <a:cubicBezTo>
                  <a:pt x="2157675" y="6796187"/>
                  <a:pt x="2221963" y="6731896"/>
                  <a:pt x="2301799" y="6731189"/>
                </a:cubicBezTo>
                <a:cubicBezTo>
                  <a:pt x="2381634" y="6731189"/>
                  <a:pt x="2446631" y="6795478"/>
                  <a:pt x="2446631" y="6875313"/>
                </a:cubicBezTo>
                <a:cubicBezTo>
                  <a:pt x="2446631" y="6915230"/>
                  <a:pt x="2430559" y="6951438"/>
                  <a:pt x="2404507" y="6977666"/>
                </a:cubicBezTo>
                <a:close/>
                <a:moveTo>
                  <a:pt x="2863882" y="6994526"/>
                </a:moveTo>
                <a:lnTo>
                  <a:pt x="2591274" y="6994526"/>
                </a:lnTo>
                <a:lnTo>
                  <a:pt x="2597818" y="6961671"/>
                </a:lnTo>
                <a:cubicBezTo>
                  <a:pt x="2618947" y="6911003"/>
                  <a:pt x="2668491" y="6875238"/>
                  <a:pt x="2726779" y="6875238"/>
                </a:cubicBezTo>
                <a:cubicBezTo>
                  <a:pt x="2785061" y="6874708"/>
                  <a:pt x="2835400" y="6909944"/>
                  <a:pt x="2856927" y="6960379"/>
                </a:cubicBezTo>
                <a:close/>
                <a:moveTo>
                  <a:pt x="3469436" y="6994526"/>
                </a:moveTo>
                <a:lnTo>
                  <a:pt x="3297068" y="6994526"/>
                </a:lnTo>
                <a:lnTo>
                  <a:pt x="3276916" y="6964826"/>
                </a:lnTo>
                <a:cubicBezTo>
                  <a:pt x="3271021" y="6950961"/>
                  <a:pt x="3267754" y="6935684"/>
                  <a:pt x="3267754" y="6919612"/>
                </a:cubicBezTo>
                <a:cubicBezTo>
                  <a:pt x="3267046" y="6855323"/>
                  <a:pt x="3318625" y="6803038"/>
                  <a:pt x="3382915" y="6803747"/>
                </a:cubicBezTo>
                <a:cubicBezTo>
                  <a:pt x="3446496" y="6803747"/>
                  <a:pt x="3498782" y="6855323"/>
                  <a:pt x="3498782" y="6918904"/>
                </a:cubicBezTo>
                <a:cubicBezTo>
                  <a:pt x="3498957" y="6934799"/>
                  <a:pt x="3495821" y="6949988"/>
                  <a:pt x="3490026" y="6963831"/>
                </a:cubicBezTo>
                <a:close/>
                <a:moveTo>
                  <a:pt x="3859494" y="6994526"/>
                </a:moveTo>
                <a:lnTo>
                  <a:pt x="3706722" y="6994526"/>
                </a:lnTo>
                <a:lnTo>
                  <a:pt x="3722796" y="6970515"/>
                </a:lnTo>
                <a:cubicBezTo>
                  <a:pt x="3738074" y="6955148"/>
                  <a:pt x="3759268" y="6945611"/>
                  <a:pt x="3782936" y="6945611"/>
                </a:cubicBezTo>
                <a:cubicBezTo>
                  <a:pt x="3806249" y="6945261"/>
                  <a:pt x="3827443" y="6954623"/>
                  <a:pt x="3842808" y="6969901"/>
                </a:cubicBezTo>
                <a:close/>
                <a:moveTo>
                  <a:pt x="4835937" y="6994526"/>
                </a:moveTo>
                <a:lnTo>
                  <a:pt x="4696568" y="6994526"/>
                </a:lnTo>
                <a:lnTo>
                  <a:pt x="4693436" y="6978144"/>
                </a:lnTo>
                <a:cubicBezTo>
                  <a:pt x="4693436" y="6936537"/>
                  <a:pt x="4729830" y="6905305"/>
                  <a:pt x="4766277" y="6905305"/>
                </a:cubicBezTo>
                <a:cubicBezTo>
                  <a:pt x="4807884" y="6905305"/>
                  <a:pt x="4839064" y="6936537"/>
                  <a:pt x="4839064" y="6978144"/>
                </a:cubicBezTo>
                <a:close/>
              </a:path>
            </a:pathLst>
          </a:custGeom>
          <a:solidFill>
            <a:schemeClr val="tx2">
              <a:alpha val="24000"/>
            </a:schemeClr>
          </a:solidFill>
          <a:ln w="10076" cap="flat">
            <a:noFill/>
            <a:prstDash val="solid"/>
            <a:miter/>
          </a:ln>
        </p:spPr>
        <p:txBody>
          <a:bodyPr wrap="square" rtlCol="0" anchor="ctr">
            <a:noAutofit/>
          </a:bodyPr>
          <a:lstStyle/>
          <a:p>
            <a:endParaRPr lang="en-US" sz="1765"/>
          </a:p>
        </p:txBody>
      </p:sp>
      <p:sp>
        <p:nvSpPr>
          <p:cNvPr id="16" name="Text Placeholder 4">
            <a:extLst>
              <a:ext uri="{FF2B5EF4-FFF2-40B4-BE49-F238E27FC236}">
                <a16:creationId xmlns:a16="http://schemas.microsoft.com/office/drawing/2014/main" id="{744383EB-BE88-497D-A24B-D7A9C21794EE}"/>
              </a:ext>
            </a:extLst>
          </p:cNvPr>
          <p:cNvSpPr>
            <a:spLocks noGrp="1"/>
          </p:cNvSpPr>
          <p:nvPr>
            <p:ph type="body" sz="quarter" idx="12" hasCustomPrompt="1"/>
          </p:nvPr>
        </p:nvSpPr>
        <p:spPr>
          <a:xfrm>
            <a:off x="572716" y="3916790"/>
            <a:ext cx="5557835"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sp>
        <p:nvSpPr>
          <p:cNvPr id="1725" name="Freeform: Shape 1724">
            <a:extLst>
              <a:ext uri="{FF2B5EF4-FFF2-40B4-BE49-F238E27FC236}">
                <a16:creationId xmlns:a16="http://schemas.microsoft.com/office/drawing/2014/main" id="{5BADBCA2-EDBE-4FD3-BE04-5E67773566A6}"/>
              </a:ext>
              <a:ext uri="{C183D7F6-B498-43B3-948B-1728B52AA6E4}">
                <adec:decorative xmlns:adec="http://schemas.microsoft.com/office/drawing/2017/decorative" val="1"/>
              </a:ext>
            </a:extLst>
          </p:cNvPr>
          <p:cNvSpPr/>
          <p:nvPr/>
        </p:nvSpPr>
        <p:spPr>
          <a:xfrm flipH="1" flipV="1">
            <a:off x="8546220" y="1"/>
            <a:ext cx="3645781" cy="6858000"/>
          </a:xfrm>
          <a:custGeom>
            <a:avLst/>
            <a:gdLst>
              <a:gd name="connsiteX0" fmla="*/ 1629926 w 3718887"/>
              <a:gd name="connsiteY0" fmla="*/ 82914 h 6994525"/>
              <a:gd name="connsiteX1" fmla="*/ 1564429 w 3718887"/>
              <a:gd name="connsiteY1" fmla="*/ 19002 h 6994525"/>
              <a:gd name="connsiteX2" fmla="*/ 1567987 w 3718887"/>
              <a:gd name="connsiteY2" fmla="*/ 0 h 6994525"/>
              <a:gd name="connsiteX3" fmla="*/ 1690282 w 3718887"/>
              <a:gd name="connsiteY3" fmla="*/ 0 h 6994525"/>
              <a:gd name="connsiteX4" fmla="*/ 1693837 w 3718887"/>
              <a:gd name="connsiteY4" fmla="*/ 17401 h 6994525"/>
              <a:gd name="connsiteX5" fmla="*/ 1629926 w 3718887"/>
              <a:gd name="connsiteY5" fmla="*/ 82914 h 6994525"/>
              <a:gd name="connsiteX6" fmla="*/ 2087064 w 3718887"/>
              <a:gd name="connsiteY6" fmla="*/ 91005 h 6994525"/>
              <a:gd name="connsiteX7" fmla="*/ 2022351 w 3718887"/>
              <a:gd name="connsiteY7" fmla="*/ 26297 h 6994525"/>
              <a:gd name="connsiteX8" fmla="*/ 2027263 w 3718887"/>
              <a:gd name="connsiteY8" fmla="*/ 155 h 6994525"/>
              <a:gd name="connsiteX9" fmla="*/ 2027362 w 3718887"/>
              <a:gd name="connsiteY9" fmla="*/ 0 h 6994525"/>
              <a:gd name="connsiteX10" fmla="*/ 2146021 w 3718887"/>
              <a:gd name="connsiteY10" fmla="*/ 0 h 6994525"/>
              <a:gd name="connsiteX11" fmla="*/ 2146432 w 3718887"/>
              <a:gd name="connsiteY11" fmla="*/ 589 h 6994525"/>
              <a:gd name="connsiteX12" fmla="*/ 2151778 w 3718887"/>
              <a:gd name="connsiteY12" fmla="*/ 26297 h 6994525"/>
              <a:gd name="connsiteX13" fmla="*/ 2087064 w 3718887"/>
              <a:gd name="connsiteY13" fmla="*/ 91005 h 6994525"/>
              <a:gd name="connsiteX14" fmla="*/ 1154122 w 3718887"/>
              <a:gd name="connsiteY14" fmla="*/ 92359 h 6994525"/>
              <a:gd name="connsiteX15" fmla="*/ 1089083 w 3718887"/>
              <a:gd name="connsiteY15" fmla="*/ 28006 h 6994525"/>
              <a:gd name="connsiteX16" fmla="*/ 1094175 w 3718887"/>
              <a:gd name="connsiteY16" fmla="*/ 2666 h 6994525"/>
              <a:gd name="connsiteX17" fmla="*/ 1095961 w 3718887"/>
              <a:gd name="connsiteY17" fmla="*/ 0 h 6994525"/>
              <a:gd name="connsiteX18" fmla="*/ 1211952 w 3718887"/>
              <a:gd name="connsiteY18" fmla="*/ 0 h 6994525"/>
              <a:gd name="connsiteX19" fmla="*/ 1213372 w 3718887"/>
              <a:gd name="connsiteY19" fmla="*/ 2084 h 6994525"/>
              <a:gd name="connsiteX20" fmla="*/ 1218475 w 3718887"/>
              <a:gd name="connsiteY20" fmla="*/ 27319 h 6994525"/>
              <a:gd name="connsiteX21" fmla="*/ 1154122 w 3718887"/>
              <a:gd name="connsiteY21" fmla="*/ 92359 h 6994525"/>
              <a:gd name="connsiteX22" fmla="*/ 2530133 w 3718887"/>
              <a:gd name="connsiteY22" fmla="*/ 112239 h 6994525"/>
              <a:gd name="connsiteX23" fmla="*/ 2462774 w 3718887"/>
              <a:gd name="connsiteY23" fmla="*/ 44867 h 6994525"/>
              <a:gd name="connsiteX24" fmla="*/ 2468135 w 3718887"/>
              <a:gd name="connsiteY24" fmla="*/ 18907 h 6994525"/>
              <a:gd name="connsiteX25" fmla="*/ 2481370 w 3718887"/>
              <a:gd name="connsiteY25" fmla="*/ 0 h 6994525"/>
              <a:gd name="connsiteX26" fmla="*/ 2578949 w 3718887"/>
              <a:gd name="connsiteY26" fmla="*/ 0 h 6994525"/>
              <a:gd name="connsiteX27" fmla="*/ 2592191 w 3718887"/>
              <a:gd name="connsiteY27" fmla="*/ 18907 h 6994525"/>
              <a:gd name="connsiteX28" fmla="*/ 2597553 w 3718887"/>
              <a:gd name="connsiteY28" fmla="*/ 44867 h 6994525"/>
              <a:gd name="connsiteX29" fmla="*/ 2530133 w 3718887"/>
              <a:gd name="connsiteY29" fmla="*/ 112239 h 6994525"/>
              <a:gd name="connsiteX30" fmla="*/ 659393 w 3718887"/>
              <a:gd name="connsiteY30" fmla="*/ 131409 h 6994525"/>
              <a:gd name="connsiteX31" fmla="*/ 588456 w 3718887"/>
              <a:gd name="connsiteY31" fmla="*/ 61102 h 6994525"/>
              <a:gd name="connsiteX32" fmla="*/ 609015 w 3718887"/>
              <a:gd name="connsiteY32" fmla="*/ 10804 h 6994525"/>
              <a:gd name="connsiteX33" fmla="*/ 624986 w 3718887"/>
              <a:gd name="connsiteY33" fmla="*/ 0 h 6994525"/>
              <a:gd name="connsiteX34" fmla="*/ 692744 w 3718887"/>
              <a:gd name="connsiteY34" fmla="*/ 0 h 6994525"/>
              <a:gd name="connsiteX35" fmla="*/ 708826 w 3718887"/>
              <a:gd name="connsiteY35" fmla="*/ 10726 h 6994525"/>
              <a:gd name="connsiteX36" fmla="*/ 729700 w 3718887"/>
              <a:gd name="connsiteY36" fmla="*/ 60473 h 6994525"/>
              <a:gd name="connsiteX37" fmla="*/ 659393 w 3718887"/>
              <a:gd name="connsiteY37" fmla="*/ 131409 h 6994525"/>
              <a:gd name="connsiteX38" fmla="*/ 142646 w 3718887"/>
              <a:gd name="connsiteY38" fmla="*/ 210413 h 6994525"/>
              <a:gd name="connsiteX39" fmla="*/ 58527 w 3718887"/>
              <a:gd name="connsiteY39" fmla="*/ 126923 h 6994525"/>
              <a:gd name="connsiteX40" fmla="*/ 142646 w 3718887"/>
              <a:gd name="connsiteY40" fmla="*/ 42805 h 6994525"/>
              <a:gd name="connsiteX41" fmla="*/ 226764 w 3718887"/>
              <a:gd name="connsiteY41" fmla="*/ 126294 h 6994525"/>
              <a:gd name="connsiteX42" fmla="*/ 142646 w 3718887"/>
              <a:gd name="connsiteY42" fmla="*/ 210413 h 6994525"/>
              <a:gd name="connsiteX43" fmla="*/ 1371671 w 3718887"/>
              <a:gd name="connsiteY43" fmla="*/ 287327 h 6994525"/>
              <a:gd name="connsiteX44" fmla="*/ 1306968 w 3718887"/>
              <a:gd name="connsiteY44" fmla="*/ 222624 h 6994525"/>
              <a:gd name="connsiteX45" fmla="*/ 1370642 w 3718887"/>
              <a:gd name="connsiteY45" fmla="*/ 156892 h 6994525"/>
              <a:gd name="connsiteX46" fmla="*/ 1436374 w 3718887"/>
              <a:gd name="connsiteY46" fmla="*/ 221595 h 6994525"/>
              <a:gd name="connsiteX47" fmla="*/ 1371671 w 3718887"/>
              <a:gd name="connsiteY47" fmla="*/ 287327 h 6994525"/>
              <a:gd name="connsiteX48" fmla="*/ 1832087 w 3718887"/>
              <a:gd name="connsiteY48" fmla="*/ 293701 h 6994525"/>
              <a:gd name="connsiteX49" fmla="*/ 1766588 w 3718887"/>
              <a:gd name="connsiteY49" fmla="*/ 229789 h 6994525"/>
              <a:gd name="connsiteX50" fmla="*/ 1830486 w 3718887"/>
              <a:gd name="connsiteY50" fmla="*/ 164293 h 6994525"/>
              <a:gd name="connsiteX51" fmla="*/ 1896001 w 3718887"/>
              <a:gd name="connsiteY51" fmla="*/ 228204 h 6994525"/>
              <a:gd name="connsiteX52" fmla="*/ 1832087 w 3718887"/>
              <a:gd name="connsiteY52" fmla="*/ 293701 h 6994525"/>
              <a:gd name="connsiteX53" fmla="*/ 893839 w 3718887"/>
              <a:gd name="connsiteY53" fmla="*/ 305629 h 6994525"/>
              <a:gd name="connsiteX54" fmla="*/ 822903 w 3718887"/>
              <a:gd name="connsiteY54" fmla="*/ 235322 h 6994525"/>
              <a:gd name="connsiteX55" fmla="*/ 893216 w 3718887"/>
              <a:gd name="connsiteY55" fmla="*/ 164387 h 6994525"/>
              <a:gd name="connsiteX56" fmla="*/ 964151 w 3718887"/>
              <a:gd name="connsiteY56" fmla="*/ 234693 h 6994525"/>
              <a:gd name="connsiteX57" fmla="*/ 893839 w 3718887"/>
              <a:gd name="connsiteY57" fmla="*/ 305629 h 6994525"/>
              <a:gd name="connsiteX58" fmla="*/ 2277527 w 3718887"/>
              <a:gd name="connsiteY58" fmla="*/ 317275 h 6994525"/>
              <a:gd name="connsiteX59" fmla="*/ 2210154 w 3718887"/>
              <a:gd name="connsiteY59" fmla="*/ 249853 h 6994525"/>
              <a:gd name="connsiteX60" fmla="*/ 2277527 w 3718887"/>
              <a:gd name="connsiteY60" fmla="*/ 182492 h 6994525"/>
              <a:gd name="connsiteX61" fmla="*/ 2338820 w 3718887"/>
              <a:gd name="connsiteY61" fmla="*/ 249853 h 6994525"/>
              <a:gd name="connsiteX62" fmla="*/ 2277527 w 3718887"/>
              <a:gd name="connsiteY62" fmla="*/ 317275 h 6994525"/>
              <a:gd name="connsiteX63" fmla="*/ 2704822 w 3718887"/>
              <a:gd name="connsiteY63" fmla="*/ 346452 h 6994525"/>
              <a:gd name="connsiteX64" fmla="*/ 2640090 w 3718887"/>
              <a:gd name="connsiteY64" fmla="*/ 281720 h 6994525"/>
              <a:gd name="connsiteX65" fmla="*/ 2704822 w 3718887"/>
              <a:gd name="connsiteY65" fmla="*/ 216989 h 6994525"/>
              <a:gd name="connsiteX66" fmla="*/ 2769553 w 3718887"/>
              <a:gd name="connsiteY66" fmla="*/ 281720 h 6994525"/>
              <a:gd name="connsiteX67" fmla="*/ 2704822 w 3718887"/>
              <a:gd name="connsiteY67" fmla="*/ 346452 h 6994525"/>
              <a:gd name="connsiteX68" fmla="*/ 393966 w 3718887"/>
              <a:gd name="connsiteY68" fmla="*/ 370114 h 6994525"/>
              <a:gd name="connsiteX69" fmla="*/ 298555 w 3718887"/>
              <a:gd name="connsiteY69" fmla="*/ 275332 h 6994525"/>
              <a:gd name="connsiteX70" fmla="*/ 393343 w 3718887"/>
              <a:gd name="connsiteY70" fmla="*/ 179915 h 6994525"/>
              <a:gd name="connsiteX71" fmla="*/ 488754 w 3718887"/>
              <a:gd name="connsiteY71" fmla="*/ 274703 h 6994525"/>
              <a:gd name="connsiteX72" fmla="*/ 393966 w 3718887"/>
              <a:gd name="connsiteY72" fmla="*/ 370114 h 6994525"/>
              <a:gd name="connsiteX73" fmla="*/ 1576126 w 3718887"/>
              <a:gd name="connsiteY73" fmla="*/ 495868 h 6994525"/>
              <a:gd name="connsiteX74" fmla="*/ 1511087 w 3718887"/>
              <a:gd name="connsiteY74" fmla="*/ 431515 h 6994525"/>
              <a:gd name="connsiteX75" fmla="*/ 1575440 w 3718887"/>
              <a:gd name="connsiteY75" fmla="*/ 366476 h 6994525"/>
              <a:gd name="connsiteX76" fmla="*/ 1640479 w 3718887"/>
              <a:gd name="connsiteY76" fmla="*/ 430828 h 6994525"/>
              <a:gd name="connsiteX77" fmla="*/ 1576126 w 3718887"/>
              <a:gd name="connsiteY77" fmla="*/ 495868 h 6994525"/>
              <a:gd name="connsiteX78" fmla="*/ 1114519 w 3718887"/>
              <a:gd name="connsiteY78" fmla="*/ 501027 h 6994525"/>
              <a:gd name="connsiteX79" fmla="*/ 1039185 w 3718887"/>
              <a:gd name="connsiteY79" fmla="*/ 425700 h 6994525"/>
              <a:gd name="connsiteX80" fmla="*/ 1113889 w 3718887"/>
              <a:gd name="connsiteY80" fmla="*/ 350997 h 6994525"/>
              <a:gd name="connsiteX81" fmla="*/ 1189217 w 3718887"/>
              <a:gd name="connsiteY81" fmla="*/ 425700 h 6994525"/>
              <a:gd name="connsiteX82" fmla="*/ 1114519 w 3718887"/>
              <a:gd name="connsiteY82" fmla="*/ 501027 h 6994525"/>
              <a:gd name="connsiteX83" fmla="*/ 2020504 w 3718887"/>
              <a:gd name="connsiteY83" fmla="*/ 516458 h 6994525"/>
              <a:gd name="connsiteX84" fmla="*/ 1955039 w 3718887"/>
              <a:gd name="connsiteY84" fmla="*/ 452578 h 6994525"/>
              <a:gd name="connsiteX85" fmla="*/ 2018919 w 3718887"/>
              <a:gd name="connsiteY85" fmla="*/ 387114 h 6994525"/>
              <a:gd name="connsiteX86" fmla="*/ 2084383 w 3718887"/>
              <a:gd name="connsiteY86" fmla="*/ 450978 h 6994525"/>
              <a:gd name="connsiteX87" fmla="*/ 2020504 w 3718887"/>
              <a:gd name="connsiteY87" fmla="*/ 516458 h 6994525"/>
              <a:gd name="connsiteX88" fmla="*/ 632723 w 3718887"/>
              <a:gd name="connsiteY88" fmla="*/ 529961 h 6994525"/>
              <a:gd name="connsiteX89" fmla="*/ 546096 w 3718887"/>
              <a:gd name="connsiteY89" fmla="*/ 443963 h 6994525"/>
              <a:gd name="connsiteX90" fmla="*/ 632093 w 3718887"/>
              <a:gd name="connsiteY90" fmla="*/ 357337 h 6994525"/>
              <a:gd name="connsiteX91" fmla="*/ 718720 w 3718887"/>
              <a:gd name="connsiteY91" fmla="*/ 443334 h 6994525"/>
              <a:gd name="connsiteX92" fmla="*/ 632723 w 3718887"/>
              <a:gd name="connsiteY92" fmla="*/ 529961 h 6994525"/>
              <a:gd name="connsiteX93" fmla="*/ 2449263 w 3718887"/>
              <a:gd name="connsiteY93" fmla="*/ 548993 h 6994525"/>
              <a:gd name="connsiteX94" fmla="*/ 2384567 w 3718887"/>
              <a:gd name="connsiteY94" fmla="*/ 486891 h 6994525"/>
              <a:gd name="connsiteX95" fmla="*/ 2449263 w 3718887"/>
              <a:gd name="connsiteY95" fmla="*/ 419601 h 6994525"/>
              <a:gd name="connsiteX96" fmla="*/ 2513959 w 3718887"/>
              <a:gd name="connsiteY96" fmla="*/ 484297 h 6994525"/>
              <a:gd name="connsiteX97" fmla="*/ 2449263 w 3718887"/>
              <a:gd name="connsiteY97" fmla="*/ 548993 h 6994525"/>
              <a:gd name="connsiteX98" fmla="*/ 2866138 w 3718887"/>
              <a:gd name="connsiteY98" fmla="*/ 589931 h 6994525"/>
              <a:gd name="connsiteX99" fmla="*/ 2801406 w 3718887"/>
              <a:gd name="connsiteY99" fmla="*/ 525199 h 6994525"/>
              <a:gd name="connsiteX100" fmla="*/ 2866138 w 3718887"/>
              <a:gd name="connsiteY100" fmla="*/ 460468 h 6994525"/>
              <a:gd name="connsiteX101" fmla="*/ 2930869 w 3718887"/>
              <a:gd name="connsiteY101" fmla="*/ 525199 h 6994525"/>
              <a:gd name="connsiteX102" fmla="*/ 2866138 w 3718887"/>
              <a:gd name="connsiteY102" fmla="*/ 589931 h 6994525"/>
              <a:gd name="connsiteX103" fmla="*/ 127263 w 3718887"/>
              <a:gd name="connsiteY103" fmla="*/ 594462 h 6994525"/>
              <a:gd name="connsiteX104" fmla="*/ 24311 w 3718887"/>
              <a:gd name="connsiteY104" fmla="*/ 492139 h 6994525"/>
              <a:gd name="connsiteX105" fmla="*/ 126633 w 3718887"/>
              <a:gd name="connsiteY105" fmla="*/ 389188 h 6994525"/>
              <a:gd name="connsiteX106" fmla="*/ 229585 w 3718887"/>
              <a:gd name="connsiteY106" fmla="*/ 491510 h 6994525"/>
              <a:gd name="connsiteX107" fmla="*/ 127263 w 3718887"/>
              <a:gd name="connsiteY107" fmla="*/ 594462 h 6994525"/>
              <a:gd name="connsiteX108" fmla="*/ 1320149 w 3718887"/>
              <a:gd name="connsiteY108" fmla="*/ 708802 h 6994525"/>
              <a:gd name="connsiteX109" fmla="*/ 1244815 w 3718887"/>
              <a:gd name="connsiteY109" fmla="*/ 634103 h 6994525"/>
              <a:gd name="connsiteX110" fmla="*/ 1319519 w 3718887"/>
              <a:gd name="connsiteY110" fmla="*/ 558770 h 6994525"/>
              <a:gd name="connsiteX111" fmla="*/ 1394847 w 3718887"/>
              <a:gd name="connsiteY111" fmla="*/ 633474 h 6994525"/>
              <a:gd name="connsiteX112" fmla="*/ 1320149 w 3718887"/>
              <a:gd name="connsiteY112" fmla="*/ 708802 h 6994525"/>
              <a:gd name="connsiteX113" fmla="*/ 1764849 w 3718887"/>
              <a:gd name="connsiteY113" fmla="*/ 718484 h 6994525"/>
              <a:gd name="connsiteX114" fmla="*/ 1700159 w 3718887"/>
              <a:gd name="connsiteY114" fmla="*/ 653791 h 6994525"/>
              <a:gd name="connsiteX115" fmla="*/ 1764849 w 3718887"/>
              <a:gd name="connsiteY115" fmla="*/ 589092 h 6994525"/>
              <a:gd name="connsiteX116" fmla="*/ 1829546 w 3718887"/>
              <a:gd name="connsiteY116" fmla="*/ 653791 h 6994525"/>
              <a:gd name="connsiteX117" fmla="*/ 1764849 w 3718887"/>
              <a:gd name="connsiteY117" fmla="*/ 718484 h 6994525"/>
              <a:gd name="connsiteX118" fmla="*/ 856415 w 3718887"/>
              <a:gd name="connsiteY118" fmla="*/ 736355 h 6994525"/>
              <a:gd name="connsiteX119" fmla="*/ 750953 w 3718887"/>
              <a:gd name="connsiteY119" fmla="*/ 631522 h 6994525"/>
              <a:gd name="connsiteX120" fmla="*/ 855785 w 3718887"/>
              <a:gd name="connsiteY120" fmla="*/ 526061 h 6994525"/>
              <a:gd name="connsiteX121" fmla="*/ 961247 w 3718887"/>
              <a:gd name="connsiteY121" fmla="*/ 630893 h 6994525"/>
              <a:gd name="connsiteX122" fmla="*/ 856415 w 3718887"/>
              <a:gd name="connsiteY122" fmla="*/ 736355 h 6994525"/>
              <a:gd name="connsiteX123" fmla="*/ 2193747 w 3718887"/>
              <a:gd name="connsiteY123" fmla="*/ 751188 h 6994525"/>
              <a:gd name="connsiteX124" fmla="*/ 2129041 w 3718887"/>
              <a:gd name="connsiteY124" fmla="*/ 686484 h 6994525"/>
              <a:gd name="connsiteX125" fmla="*/ 2193747 w 3718887"/>
              <a:gd name="connsiteY125" fmla="*/ 621788 h 6994525"/>
              <a:gd name="connsiteX126" fmla="*/ 2258444 w 3718887"/>
              <a:gd name="connsiteY126" fmla="*/ 686484 h 6994525"/>
              <a:gd name="connsiteX127" fmla="*/ 2193747 w 3718887"/>
              <a:gd name="connsiteY127" fmla="*/ 751188 h 6994525"/>
              <a:gd name="connsiteX128" fmla="*/ 370307 w 3718887"/>
              <a:gd name="connsiteY128" fmla="*/ 767504 h 6994525"/>
              <a:gd name="connsiteX129" fmla="*/ 256062 w 3718887"/>
              <a:gd name="connsiteY129" fmla="*/ 653882 h 6994525"/>
              <a:gd name="connsiteX130" fmla="*/ 369684 w 3718887"/>
              <a:gd name="connsiteY130" fmla="*/ 539637 h 6994525"/>
              <a:gd name="connsiteX131" fmla="*/ 483929 w 3718887"/>
              <a:gd name="connsiteY131" fmla="*/ 653259 h 6994525"/>
              <a:gd name="connsiteX132" fmla="*/ 370307 w 3718887"/>
              <a:gd name="connsiteY132" fmla="*/ 767504 h 6994525"/>
              <a:gd name="connsiteX133" fmla="*/ 2610398 w 3718887"/>
              <a:gd name="connsiteY133" fmla="*/ 794227 h 6994525"/>
              <a:gd name="connsiteX134" fmla="*/ 2544378 w 3718887"/>
              <a:gd name="connsiteY134" fmla="*/ 728208 h 6994525"/>
              <a:gd name="connsiteX135" fmla="*/ 2607750 w 3718887"/>
              <a:gd name="connsiteY135" fmla="*/ 662189 h 6994525"/>
              <a:gd name="connsiteX136" fmla="*/ 2673770 w 3718887"/>
              <a:gd name="connsiteY136" fmla="*/ 728208 h 6994525"/>
              <a:gd name="connsiteX137" fmla="*/ 2610398 w 3718887"/>
              <a:gd name="connsiteY137" fmla="*/ 794227 h 6994525"/>
              <a:gd name="connsiteX138" fmla="*/ 3013689 w 3718887"/>
              <a:gd name="connsiteY138" fmla="*/ 842020 h 6994525"/>
              <a:gd name="connsiteX139" fmla="*/ 2948957 w 3718887"/>
              <a:gd name="connsiteY139" fmla="*/ 777288 h 6994525"/>
              <a:gd name="connsiteX140" fmla="*/ 3013689 w 3718887"/>
              <a:gd name="connsiteY140" fmla="*/ 712557 h 6994525"/>
              <a:gd name="connsiteX141" fmla="*/ 3078420 w 3718887"/>
              <a:gd name="connsiteY141" fmla="*/ 777288 h 6994525"/>
              <a:gd name="connsiteX142" fmla="*/ 3013689 w 3718887"/>
              <a:gd name="connsiteY142" fmla="*/ 842020 h 6994525"/>
              <a:gd name="connsiteX143" fmla="*/ 1064190 w 3718887"/>
              <a:gd name="connsiteY143" fmla="*/ 928366 h 6994525"/>
              <a:gd name="connsiteX144" fmla="*/ 971911 w 3718887"/>
              <a:gd name="connsiteY144" fmla="*/ 836716 h 6994525"/>
              <a:gd name="connsiteX145" fmla="*/ 1063561 w 3718887"/>
              <a:gd name="connsiteY145" fmla="*/ 744438 h 6994525"/>
              <a:gd name="connsiteX146" fmla="*/ 1155839 w 3718887"/>
              <a:gd name="connsiteY146" fmla="*/ 836087 h 6994525"/>
              <a:gd name="connsiteX147" fmla="*/ 1064190 w 3718887"/>
              <a:gd name="connsiteY147" fmla="*/ 928366 h 6994525"/>
              <a:gd name="connsiteX148" fmla="*/ 1509952 w 3718887"/>
              <a:gd name="connsiteY148" fmla="*/ 930776 h 6994525"/>
              <a:gd name="connsiteX149" fmla="*/ 1433998 w 3718887"/>
              <a:gd name="connsiteY149" fmla="*/ 856080 h 6994525"/>
              <a:gd name="connsiteX150" fmla="*/ 1509323 w 3718887"/>
              <a:gd name="connsiteY150" fmla="*/ 780748 h 6994525"/>
              <a:gd name="connsiteX151" fmla="*/ 1584648 w 3718887"/>
              <a:gd name="connsiteY151" fmla="*/ 855450 h 6994525"/>
              <a:gd name="connsiteX152" fmla="*/ 1509952 w 3718887"/>
              <a:gd name="connsiteY152" fmla="*/ 930776 h 6994525"/>
              <a:gd name="connsiteX153" fmla="*/ 597871 w 3718887"/>
              <a:gd name="connsiteY153" fmla="*/ 950331 h 6994525"/>
              <a:gd name="connsiteX154" fmla="*/ 483626 w 3718887"/>
              <a:gd name="connsiteY154" fmla="*/ 836709 h 6994525"/>
              <a:gd name="connsiteX155" fmla="*/ 597248 w 3718887"/>
              <a:gd name="connsiteY155" fmla="*/ 722464 h 6994525"/>
              <a:gd name="connsiteX156" fmla="*/ 711493 w 3718887"/>
              <a:gd name="connsiteY156" fmla="*/ 836086 h 6994525"/>
              <a:gd name="connsiteX157" fmla="*/ 597871 w 3718887"/>
              <a:gd name="connsiteY157" fmla="*/ 950331 h 6994525"/>
              <a:gd name="connsiteX158" fmla="*/ 1937779 w 3718887"/>
              <a:gd name="connsiteY158" fmla="*/ 953370 h 6994525"/>
              <a:gd name="connsiteX159" fmla="*/ 1873083 w 3718887"/>
              <a:gd name="connsiteY159" fmla="*/ 888666 h 6994525"/>
              <a:gd name="connsiteX160" fmla="*/ 1937779 w 3718887"/>
              <a:gd name="connsiteY160" fmla="*/ 823970 h 6994525"/>
              <a:gd name="connsiteX161" fmla="*/ 2002475 w 3718887"/>
              <a:gd name="connsiteY161" fmla="*/ 888666 h 6994525"/>
              <a:gd name="connsiteX162" fmla="*/ 1937779 w 3718887"/>
              <a:gd name="connsiteY162" fmla="*/ 953370 h 6994525"/>
              <a:gd name="connsiteX163" fmla="*/ 107143 w 3718887"/>
              <a:gd name="connsiteY163" fmla="*/ 985963 h 6994525"/>
              <a:gd name="connsiteX164" fmla="*/ 21613 w 3718887"/>
              <a:gd name="connsiteY164" fmla="*/ 951202 h 6994525"/>
              <a:gd name="connsiteX165" fmla="*/ 0 w 3718887"/>
              <a:gd name="connsiteY165" fmla="*/ 919474 h 6994525"/>
              <a:gd name="connsiteX166" fmla="*/ 0 w 3718887"/>
              <a:gd name="connsiteY166" fmla="*/ 811706 h 6994525"/>
              <a:gd name="connsiteX167" fmla="*/ 20748 w 3718887"/>
              <a:gd name="connsiteY167" fmla="*/ 780538 h 6994525"/>
              <a:gd name="connsiteX168" fmla="*/ 105885 w 3718887"/>
              <a:gd name="connsiteY168" fmla="*/ 744914 h 6994525"/>
              <a:gd name="connsiteX169" fmla="*/ 227038 w 3718887"/>
              <a:gd name="connsiteY169" fmla="*/ 864809 h 6994525"/>
              <a:gd name="connsiteX170" fmla="*/ 107143 w 3718887"/>
              <a:gd name="connsiteY170" fmla="*/ 985963 h 6994525"/>
              <a:gd name="connsiteX171" fmla="*/ 2352242 w 3718887"/>
              <a:gd name="connsiteY171" fmla="*/ 996605 h 6994525"/>
              <a:gd name="connsiteX172" fmla="*/ 2287128 w 3718887"/>
              <a:gd name="connsiteY172" fmla="*/ 932319 h 6994525"/>
              <a:gd name="connsiteX173" fmla="*/ 2351414 w 3718887"/>
              <a:gd name="connsiteY173" fmla="*/ 867205 h 6994525"/>
              <a:gd name="connsiteX174" fmla="*/ 2416528 w 3718887"/>
              <a:gd name="connsiteY174" fmla="*/ 931491 h 6994525"/>
              <a:gd name="connsiteX175" fmla="*/ 2352242 w 3718887"/>
              <a:gd name="connsiteY175" fmla="*/ 996605 h 6994525"/>
              <a:gd name="connsiteX176" fmla="*/ 2755248 w 3718887"/>
              <a:gd name="connsiteY176" fmla="*/ 1046513 h 6994525"/>
              <a:gd name="connsiteX177" fmla="*/ 2689749 w 3718887"/>
              <a:gd name="connsiteY177" fmla="*/ 982601 h 6994525"/>
              <a:gd name="connsiteX178" fmla="*/ 2753663 w 3718887"/>
              <a:gd name="connsiteY178" fmla="*/ 917105 h 6994525"/>
              <a:gd name="connsiteX179" fmla="*/ 2819162 w 3718887"/>
              <a:gd name="connsiteY179" fmla="*/ 981016 h 6994525"/>
              <a:gd name="connsiteX180" fmla="*/ 2755248 w 3718887"/>
              <a:gd name="connsiteY180" fmla="*/ 1046513 h 6994525"/>
              <a:gd name="connsiteX181" fmla="*/ 3147209 w 3718887"/>
              <a:gd name="connsiteY181" fmla="*/ 1101770 h 6994525"/>
              <a:gd name="connsiteX182" fmla="*/ 3082509 w 3718887"/>
              <a:gd name="connsiteY182" fmla="*/ 1037074 h 6994525"/>
              <a:gd name="connsiteX183" fmla="*/ 3147209 w 3718887"/>
              <a:gd name="connsiteY183" fmla="*/ 972378 h 6994525"/>
              <a:gd name="connsiteX184" fmla="*/ 3211909 w 3718887"/>
              <a:gd name="connsiteY184" fmla="*/ 1037074 h 6994525"/>
              <a:gd name="connsiteX185" fmla="*/ 3147209 w 3718887"/>
              <a:gd name="connsiteY185" fmla="*/ 1101770 h 6994525"/>
              <a:gd name="connsiteX186" fmla="*/ 808229 w 3718887"/>
              <a:gd name="connsiteY186" fmla="*/ 1158601 h 6994525"/>
              <a:gd name="connsiteX187" fmla="*/ 688332 w 3718887"/>
              <a:gd name="connsiteY187" fmla="*/ 1039327 h 6994525"/>
              <a:gd name="connsiteX188" fmla="*/ 807606 w 3718887"/>
              <a:gd name="connsiteY188" fmla="*/ 919430 h 6994525"/>
              <a:gd name="connsiteX189" fmla="*/ 927503 w 3718887"/>
              <a:gd name="connsiteY189" fmla="*/ 1038698 h 6994525"/>
              <a:gd name="connsiteX190" fmla="*/ 808229 w 3718887"/>
              <a:gd name="connsiteY190" fmla="*/ 1158601 h 6994525"/>
              <a:gd name="connsiteX191" fmla="*/ 1254758 w 3718887"/>
              <a:gd name="connsiteY191" fmla="*/ 1162662 h 6994525"/>
              <a:gd name="connsiteX192" fmla="*/ 1149296 w 3718887"/>
              <a:gd name="connsiteY192" fmla="*/ 1057829 h 6994525"/>
              <a:gd name="connsiteX193" fmla="*/ 1254129 w 3718887"/>
              <a:gd name="connsiteY193" fmla="*/ 952368 h 6994525"/>
              <a:gd name="connsiteX194" fmla="*/ 1359590 w 3718887"/>
              <a:gd name="connsiteY194" fmla="*/ 1057200 h 6994525"/>
              <a:gd name="connsiteX195" fmla="*/ 1254758 w 3718887"/>
              <a:gd name="connsiteY195" fmla="*/ 1162662 h 6994525"/>
              <a:gd name="connsiteX196" fmla="*/ 1682350 w 3718887"/>
              <a:gd name="connsiteY196" fmla="*/ 1166189 h 6994525"/>
              <a:gd name="connsiteX197" fmla="*/ 1607025 w 3718887"/>
              <a:gd name="connsiteY197" fmla="*/ 1090864 h 6994525"/>
              <a:gd name="connsiteX198" fmla="*/ 1681727 w 3718887"/>
              <a:gd name="connsiteY198" fmla="*/ 1015533 h 6994525"/>
              <a:gd name="connsiteX199" fmla="*/ 1757053 w 3718887"/>
              <a:gd name="connsiteY199" fmla="*/ 1090235 h 6994525"/>
              <a:gd name="connsiteX200" fmla="*/ 1682350 w 3718887"/>
              <a:gd name="connsiteY200" fmla="*/ 1166189 h 6994525"/>
              <a:gd name="connsiteX201" fmla="*/ 338908 w 3718887"/>
              <a:gd name="connsiteY201" fmla="*/ 1168843 h 6994525"/>
              <a:gd name="connsiteX202" fmla="*/ 212732 w 3718887"/>
              <a:gd name="connsiteY202" fmla="*/ 1043289 h 6994525"/>
              <a:gd name="connsiteX203" fmla="*/ 337649 w 3718887"/>
              <a:gd name="connsiteY203" fmla="*/ 916489 h 6994525"/>
              <a:gd name="connsiteX204" fmla="*/ 464454 w 3718887"/>
              <a:gd name="connsiteY204" fmla="*/ 1042037 h 6994525"/>
              <a:gd name="connsiteX205" fmla="*/ 338908 w 3718887"/>
              <a:gd name="connsiteY205" fmla="*/ 1168843 h 6994525"/>
              <a:gd name="connsiteX206" fmla="*/ 2094906 w 3718887"/>
              <a:gd name="connsiteY206" fmla="*/ 1200074 h 6994525"/>
              <a:gd name="connsiteX207" fmla="*/ 2029884 w 3718887"/>
              <a:gd name="connsiteY207" fmla="*/ 1135698 h 6994525"/>
              <a:gd name="connsiteX208" fmla="*/ 2094261 w 3718887"/>
              <a:gd name="connsiteY208" fmla="*/ 1070676 h 6994525"/>
              <a:gd name="connsiteX209" fmla="*/ 2159282 w 3718887"/>
              <a:gd name="connsiteY209" fmla="*/ 1135052 h 6994525"/>
              <a:gd name="connsiteX210" fmla="*/ 2094906 w 3718887"/>
              <a:gd name="connsiteY210" fmla="*/ 1200074 h 6994525"/>
              <a:gd name="connsiteX211" fmla="*/ 2494634 w 3718887"/>
              <a:gd name="connsiteY211" fmla="*/ 1251698 h 6994525"/>
              <a:gd name="connsiteX212" fmla="*/ 2429520 w 3718887"/>
              <a:gd name="connsiteY212" fmla="*/ 1187412 h 6994525"/>
              <a:gd name="connsiteX213" fmla="*/ 2493806 w 3718887"/>
              <a:gd name="connsiteY213" fmla="*/ 1122298 h 6994525"/>
              <a:gd name="connsiteX214" fmla="*/ 2558920 w 3718887"/>
              <a:gd name="connsiteY214" fmla="*/ 1186584 h 6994525"/>
              <a:gd name="connsiteX215" fmla="*/ 2494634 w 3718887"/>
              <a:gd name="connsiteY215" fmla="*/ 1251698 h 6994525"/>
              <a:gd name="connsiteX216" fmla="*/ 2884179 w 3718887"/>
              <a:gd name="connsiteY216" fmla="*/ 1308282 h 6994525"/>
              <a:gd name="connsiteX217" fmla="*/ 2819472 w 3718887"/>
              <a:gd name="connsiteY217" fmla="*/ 1243575 h 6994525"/>
              <a:gd name="connsiteX218" fmla="*/ 2884179 w 3718887"/>
              <a:gd name="connsiteY218" fmla="*/ 1178869 h 6994525"/>
              <a:gd name="connsiteX219" fmla="*/ 2948885 w 3718887"/>
              <a:gd name="connsiteY219" fmla="*/ 1243575 h 6994525"/>
              <a:gd name="connsiteX220" fmla="*/ 2884179 w 3718887"/>
              <a:gd name="connsiteY220" fmla="*/ 1308282 h 6994525"/>
              <a:gd name="connsiteX221" fmla="*/ 78656 w 3718887"/>
              <a:gd name="connsiteY221" fmla="*/ 1344897 h 6994525"/>
              <a:gd name="connsiteX222" fmla="*/ 11174 w 3718887"/>
              <a:gd name="connsiteY222" fmla="*/ 1317278 h 6994525"/>
              <a:gd name="connsiteX223" fmla="*/ 0 w 3718887"/>
              <a:gd name="connsiteY223" fmla="*/ 1300819 h 6994525"/>
              <a:gd name="connsiteX224" fmla="*/ 0 w 3718887"/>
              <a:gd name="connsiteY224" fmla="*/ 1198917 h 6994525"/>
              <a:gd name="connsiteX225" fmla="*/ 10859 w 3718887"/>
              <a:gd name="connsiteY225" fmla="*/ 1182633 h 6994525"/>
              <a:gd name="connsiteX226" fmla="*/ 78027 w 3718887"/>
              <a:gd name="connsiteY226" fmla="*/ 1154698 h 6994525"/>
              <a:gd name="connsiteX227" fmla="*/ 173438 w 3718887"/>
              <a:gd name="connsiteY227" fmla="*/ 1249486 h 6994525"/>
              <a:gd name="connsiteX228" fmla="*/ 78656 w 3718887"/>
              <a:gd name="connsiteY228" fmla="*/ 1344897 h 6994525"/>
              <a:gd name="connsiteX229" fmla="*/ 551846 w 3718887"/>
              <a:gd name="connsiteY229" fmla="*/ 1364048 h 6994525"/>
              <a:gd name="connsiteX230" fmla="*/ 430064 w 3718887"/>
              <a:gd name="connsiteY230" fmla="*/ 1242895 h 6994525"/>
              <a:gd name="connsiteX231" fmla="*/ 550587 w 3718887"/>
              <a:gd name="connsiteY231" fmla="*/ 1120490 h 6994525"/>
              <a:gd name="connsiteX232" fmla="*/ 672992 w 3718887"/>
              <a:gd name="connsiteY232" fmla="*/ 1241643 h 6994525"/>
              <a:gd name="connsiteX233" fmla="*/ 551846 w 3718887"/>
              <a:gd name="connsiteY233" fmla="*/ 1364048 h 6994525"/>
              <a:gd name="connsiteX234" fmla="*/ 3265345 w 3718887"/>
              <a:gd name="connsiteY234" fmla="*/ 1368986 h 6994525"/>
              <a:gd name="connsiteX235" fmla="*/ 3200613 w 3718887"/>
              <a:gd name="connsiteY235" fmla="*/ 1304254 h 6994525"/>
              <a:gd name="connsiteX236" fmla="*/ 3265345 w 3718887"/>
              <a:gd name="connsiteY236" fmla="*/ 1239523 h 6994525"/>
              <a:gd name="connsiteX237" fmla="*/ 3330076 w 3718887"/>
              <a:gd name="connsiteY237" fmla="*/ 1304254 h 6994525"/>
              <a:gd name="connsiteX238" fmla="*/ 3265345 w 3718887"/>
              <a:gd name="connsiteY238" fmla="*/ 1368986 h 6994525"/>
              <a:gd name="connsiteX239" fmla="*/ 999660 w 3718887"/>
              <a:gd name="connsiteY239" fmla="*/ 1381990 h 6994525"/>
              <a:gd name="connsiteX240" fmla="*/ 876623 w 3718887"/>
              <a:gd name="connsiteY240" fmla="*/ 1259579 h 6994525"/>
              <a:gd name="connsiteX241" fmla="*/ 999031 w 3718887"/>
              <a:gd name="connsiteY241" fmla="*/ 1136539 h 6994525"/>
              <a:gd name="connsiteX242" fmla="*/ 1122068 w 3718887"/>
              <a:gd name="connsiteY242" fmla="*/ 1258950 h 6994525"/>
              <a:gd name="connsiteX243" fmla="*/ 999660 w 3718887"/>
              <a:gd name="connsiteY243" fmla="*/ 1381990 h 6994525"/>
              <a:gd name="connsiteX244" fmla="*/ 1426398 w 3718887"/>
              <a:gd name="connsiteY244" fmla="*/ 1398827 h 6994525"/>
              <a:gd name="connsiteX245" fmla="*/ 1320936 w 3718887"/>
              <a:gd name="connsiteY245" fmla="*/ 1293994 h 6994525"/>
              <a:gd name="connsiteX246" fmla="*/ 1425769 w 3718887"/>
              <a:gd name="connsiteY246" fmla="*/ 1188533 h 6994525"/>
              <a:gd name="connsiteX247" fmla="*/ 1531230 w 3718887"/>
              <a:gd name="connsiteY247" fmla="*/ 1293365 h 6994525"/>
              <a:gd name="connsiteX248" fmla="*/ 1426398 w 3718887"/>
              <a:gd name="connsiteY248" fmla="*/ 1398827 h 6994525"/>
              <a:gd name="connsiteX249" fmla="*/ 1836790 w 3718887"/>
              <a:gd name="connsiteY249" fmla="*/ 1430815 h 6994525"/>
              <a:gd name="connsiteX250" fmla="*/ 1744511 w 3718887"/>
              <a:gd name="connsiteY250" fmla="*/ 1339165 h 6994525"/>
              <a:gd name="connsiteX251" fmla="*/ 1836161 w 3718887"/>
              <a:gd name="connsiteY251" fmla="*/ 1246887 h 6994525"/>
              <a:gd name="connsiteX252" fmla="*/ 1928439 w 3718887"/>
              <a:gd name="connsiteY252" fmla="*/ 1338536 h 6994525"/>
              <a:gd name="connsiteX253" fmla="*/ 1836790 w 3718887"/>
              <a:gd name="connsiteY253" fmla="*/ 1430815 h 6994525"/>
              <a:gd name="connsiteX254" fmla="*/ 2233842 w 3718887"/>
              <a:gd name="connsiteY254" fmla="*/ 1459666 h 6994525"/>
              <a:gd name="connsiteX255" fmla="*/ 2166047 w 3718887"/>
              <a:gd name="connsiteY255" fmla="*/ 1392500 h 6994525"/>
              <a:gd name="connsiteX256" fmla="*/ 2233212 w 3718887"/>
              <a:gd name="connsiteY256" fmla="*/ 1324706 h 6994525"/>
              <a:gd name="connsiteX257" fmla="*/ 2301013 w 3718887"/>
              <a:gd name="connsiteY257" fmla="*/ 1391871 h 6994525"/>
              <a:gd name="connsiteX258" fmla="*/ 2233842 w 3718887"/>
              <a:gd name="connsiteY258" fmla="*/ 1459666 h 6994525"/>
              <a:gd name="connsiteX259" fmla="*/ 2620735 w 3718887"/>
              <a:gd name="connsiteY259" fmla="*/ 1514947 h 6994525"/>
              <a:gd name="connsiteX260" fmla="*/ 2555580 w 3718887"/>
              <a:gd name="connsiteY260" fmla="*/ 1450734 h 6994525"/>
              <a:gd name="connsiteX261" fmla="*/ 2619788 w 3718887"/>
              <a:gd name="connsiteY261" fmla="*/ 1385573 h 6994525"/>
              <a:gd name="connsiteX262" fmla="*/ 2684934 w 3718887"/>
              <a:gd name="connsiteY262" fmla="*/ 1449787 h 6994525"/>
              <a:gd name="connsiteX263" fmla="*/ 2620735 w 3718887"/>
              <a:gd name="connsiteY263" fmla="*/ 1514947 h 6994525"/>
              <a:gd name="connsiteX264" fmla="*/ 295462 w 3718887"/>
              <a:gd name="connsiteY264" fmla="*/ 1567089 h 6994525"/>
              <a:gd name="connsiteX265" fmla="*/ 173681 w 3718887"/>
              <a:gd name="connsiteY265" fmla="*/ 1445936 h 6994525"/>
              <a:gd name="connsiteX266" fmla="*/ 294833 w 3718887"/>
              <a:gd name="connsiteY266" fmla="*/ 1323531 h 6994525"/>
              <a:gd name="connsiteX267" fmla="*/ 416607 w 3718887"/>
              <a:gd name="connsiteY267" fmla="*/ 1444684 h 6994525"/>
              <a:gd name="connsiteX268" fmla="*/ 295462 w 3718887"/>
              <a:gd name="connsiteY268" fmla="*/ 1567089 h 6994525"/>
              <a:gd name="connsiteX269" fmla="*/ 2997749 w 3718887"/>
              <a:gd name="connsiteY269" fmla="*/ 1577142 h 6994525"/>
              <a:gd name="connsiteX270" fmla="*/ 2933042 w 3718887"/>
              <a:gd name="connsiteY270" fmla="*/ 1512435 h 6994525"/>
              <a:gd name="connsiteX271" fmla="*/ 2997749 w 3718887"/>
              <a:gd name="connsiteY271" fmla="*/ 1447729 h 6994525"/>
              <a:gd name="connsiteX272" fmla="*/ 3062455 w 3718887"/>
              <a:gd name="connsiteY272" fmla="*/ 1512435 h 6994525"/>
              <a:gd name="connsiteX273" fmla="*/ 2997749 w 3718887"/>
              <a:gd name="connsiteY273" fmla="*/ 1577142 h 6994525"/>
              <a:gd name="connsiteX274" fmla="*/ 744666 w 3718887"/>
              <a:gd name="connsiteY274" fmla="*/ 1592229 h 6994525"/>
              <a:gd name="connsiteX275" fmla="*/ 613470 w 3718887"/>
              <a:gd name="connsiteY275" fmla="*/ 1462292 h 6994525"/>
              <a:gd name="connsiteX276" fmla="*/ 743407 w 3718887"/>
              <a:gd name="connsiteY276" fmla="*/ 1331096 h 6994525"/>
              <a:gd name="connsiteX277" fmla="*/ 874603 w 3718887"/>
              <a:gd name="connsiteY277" fmla="*/ 1461033 h 6994525"/>
              <a:gd name="connsiteX278" fmla="*/ 744666 w 3718887"/>
              <a:gd name="connsiteY278" fmla="*/ 1592229 h 6994525"/>
              <a:gd name="connsiteX279" fmla="*/ 1170441 w 3718887"/>
              <a:gd name="connsiteY279" fmla="*/ 1619012 h 6994525"/>
              <a:gd name="connsiteX280" fmla="*/ 1047404 w 3718887"/>
              <a:gd name="connsiteY280" fmla="*/ 1496601 h 6994525"/>
              <a:gd name="connsiteX281" fmla="*/ 1169812 w 3718887"/>
              <a:gd name="connsiteY281" fmla="*/ 1373561 h 6994525"/>
              <a:gd name="connsiteX282" fmla="*/ 1292849 w 3718887"/>
              <a:gd name="connsiteY282" fmla="*/ 1495972 h 6994525"/>
              <a:gd name="connsiteX283" fmla="*/ 1170441 w 3718887"/>
              <a:gd name="connsiteY283" fmla="*/ 1619012 h 6994525"/>
              <a:gd name="connsiteX284" fmla="*/ 3370208 w 3718887"/>
              <a:gd name="connsiteY284" fmla="*/ 1643930 h 6994525"/>
              <a:gd name="connsiteX285" fmla="*/ 3303638 w 3718887"/>
              <a:gd name="connsiteY285" fmla="*/ 1577399 h 6994525"/>
              <a:gd name="connsiteX286" fmla="*/ 3366501 w 3718887"/>
              <a:gd name="connsiteY286" fmla="*/ 1510831 h 6994525"/>
              <a:gd name="connsiteX287" fmla="*/ 3433071 w 3718887"/>
              <a:gd name="connsiteY287" fmla="*/ 1577399 h 6994525"/>
              <a:gd name="connsiteX288" fmla="*/ 3370208 w 3718887"/>
              <a:gd name="connsiteY288" fmla="*/ 1643930 h 6994525"/>
              <a:gd name="connsiteX289" fmla="*/ 1578253 w 3718887"/>
              <a:gd name="connsiteY289" fmla="*/ 1648332 h 6994525"/>
              <a:gd name="connsiteX290" fmla="*/ 1472791 w 3718887"/>
              <a:gd name="connsiteY290" fmla="*/ 1543499 h 6994525"/>
              <a:gd name="connsiteX291" fmla="*/ 1577623 w 3718887"/>
              <a:gd name="connsiteY291" fmla="*/ 1438038 h 6994525"/>
              <a:gd name="connsiteX292" fmla="*/ 1683085 w 3718887"/>
              <a:gd name="connsiteY292" fmla="*/ 1542870 h 6994525"/>
              <a:gd name="connsiteX293" fmla="*/ 1578253 w 3718887"/>
              <a:gd name="connsiteY293" fmla="*/ 1648332 h 6994525"/>
              <a:gd name="connsiteX294" fmla="*/ 1972296 w 3718887"/>
              <a:gd name="connsiteY294" fmla="*/ 1691662 h 6994525"/>
              <a:gd name="connsiteX295" fmla="*/ 1878134 w 3718887"/>
              <a:gd name="connsiteY295" fmla="*/ 1598131 h 6994525"/>
              <a:gd name="connsiteX296" fmla="*/ 1971666 w 3718887"/>
              <a:gd name="connsiteY296" fmla="*/ 1503972 h 6994525"/>
              <a:gd name="connsiteX297" fmla="*/ 2065828 w 3718887"/>
              <a:gd name="connsiteY297" fmla="*/ 1597502 h 6994525"/>
              <a:gd name="connsiteX298" fmla="*/ 1972296 w 3718887"/>
              <a:gd name="connsiteY298" fmla="*/ 1691662 h 6994525"/>
              <a:gd name="connsiteX299" fmla="*/ 38554 w 3718887"/>
              <a:gd name="connsiteY299" fmla="*/ 1713067 h 6994525"/>
              <a:gd name="connsiteX300" fmla="*/ 13558 w 3718887"/>
              <a:gd name="connsiteY300" fmla="*/ 1708024 h 6994525"/>
              <a:gd name="connsiteX301" fmla="*/ 0 w 3718887"/>
              <a:gd name="connsiteY301" fmla="*/ 1698937 h 6994525"/>
              <a:gd name="connsiteX302" fmla="*/ 0 w 3718887"/>
              <a:gd name="connsiteY302" fmla="*/ 1597187 h 6994525"/>
              <a:gd name="connsiteX303" fmla="*/ 13143 w 3718887"/>
              <a:gd name="connsiteY303" fmla="*/ 1588414 h 6994525"/>
              <a:gd name="connsiteX304" fmla="*/ 38554 w 3718887"/>
              <a:gd name="connsiteY304" fmla="*/ 1583682 h 6994525"/>
              <a:gd name="connsiteX305" fmla="*/ 103246 w 3718887"/>
              <a:gd name="connsiteY305" fmla="*/ 1648375 h 6994525"/>
              <a:gd name="connsiteX306" fmla="*/ 38554 w 3718887"/>
              <a:gd name="connsiteY306" fmla="*/ 1713067 h 6994525"/>
              <a:gd name="connsiteX307" fmla="*/ 2355155 w 3718887"/>
              <a:gd name="connsiteY307" fmla="*/ 1743920 h 6994525"/>
              <a:gd name="connsiteX308" fmla="*/ 2268528 w 3718887"/>
              <a:gd name="connsiteY308" fmla="*/ 1657922 h 6994525"/>
              <a:gd name="connsiteX309" fmla="*/ 2354525 w 3718887"/>
              <a:gd name="connsiteY309" fmla="*/ 1571296 h 6994525"/>
              <a:gd name="connsiteX310" fmla="*/ 2441152 w 3718887"/>
              <a:gd name="connsiteY310" fmla="*/ 1657293 h 6994525"/>
              <a:gd name="connsiteX311" fmla="*/ 2355155 w 3718887"/>
              <a:gd name="connsiteY311" fmla="*/ 1743920 h 6994525"/>
              <a:gd name="connsiteX312" fmla="*/ 489035 w 3718887"/>
              <a:gd name="connsiteY312" fmla="*/ 1761875 h 6994525"/>
              <a:gd name="connsiteX313" fmla="*/ 390484 w 3718887"/>
              <a:gd name="connsiteY313" fmla="*/ 1663952 h 6994525"/>
              <a:gd name="connsiteX314" fmla="*/ 488412 w 3718887"/>
              <a:gd name="connsiteY314" fmla="*/ 1565394 h 6994525"/>
              <a:gd name="connsiteX315" fmla="*/ 586963 w 3718887"/>
              <a:gd name="connsiteY315" fmla="*/ 1663323 h 6994525"/>
              <a:gd name="connsiteX316" fmla="*/ 489035 w 3718887"/>
              <a:gd name="connsiteY316" fmla="*/ 1761875 h 6994525"/>
              <a:gd name="connsiteX317" fmla="*/ 2728879 w 3718887"/>
              <a:gd name="connsiteY317" fmla="*/ 1786342 h 6994525"/>
              <a:gd name="connsiteX318" fmla="*/ 2663594 w 3718887"/>
              <a:gd name="connsiteY318" fmla="*/ 1721058 h 6994525"/>
              <a:gd name="connsiteX319" fmla="*/ 2728879 w 3718887"/>
              <a:gd name="connsiteY319" fmla="*/ 1655774 h 6994525"/>
              <a:gd name="connsiteX320" fmla="*/ 2794164 w 3718887"/>
              <a:gd name="connsiteY320" fmla="*/ 1721058 h 6994525"/>
              <a:gd name="connsiteX321" fmla="*/ 2728879 w 3718887"/>
              <a:gd name="connsiteY321" fmla="*/ 1786342 h 6994525"/>
              <a:gd name="connsiteX322" fmla="*/ 914154 w 3718887"/>
              <a:gd name="connsiteY322" fmla="*/ 1824465 h 6994525"/>
              <a:gd name="connsiteX323" fmla="*/ 788608 w 3718887"/>
              <a:gd name="connsiteY323" fmla="*/ 1700177 h 6994525"/>
              <a:gd name="connsiteX324" fmla="*/ 912901 w 3718887"/>
              <a:gd name="connsiteY324" fmla="*/ 1574632 h 6994525"/>
              <a:gd name="connsiteX325" fmla="*/ 1038447 w 3718887"/>
              <a:gd name="connsiteY325" fmla="*/ 1698919 h 6994525"/>
              <a:gd name="connsiteX326" fmla="*/ 914154 w 3718887"/>
              <a:gd name="connsiteY326" fmla="*/ 1824465 h 6994525"/>
              <a:gd name="connsiteX327" fmla="*/ 3095388 w 3718887"/>
              <a:gd name="connsiteY327" fmla="*/ 1852431 h 6994525"/>
              <a:gd name="connsiteX328" fmla="*/ 3030692 w 3718887"/>
              <a:gd name="connsiteY328" fmla="*/ 1787735 h 6994525"/>
              <a:gd name="connsiteX329" fmla="*/ 3095388 w 3718887"/>
              <a:gd name="connsiteY329" fmla="*/ 1723039 h 6994525"/>
              <a:gd name="connsiteX330" fmla="*/ 3160084 w 3718887"/>
              <a:gd name="connsiteY330" fmla="*/ 1787735 h 6994525"/>
              <a:gd name="connsiteX331" fmla="*/ 3095388 w 3718887"/>
              <a:gd name="connsiteY331" fmla="*/ 1852431 h 6994525"/>
              <a:gd name="connsiteX332" fmla="*/ 1318847 w 3718887"/>
              <a:gd name="connsiteY332" fmla="*/ 1869515 h 6994525"/>
              <a:gd name="connsiteX333" fmla="*/ 1197072 w 3718887"/>
              <a:gd name="connsiteY333" fmla="*/ 1748362 h 6994525"/>
              <a:gd name="connsiteX334" fmla="*/ 1317595 w 3718887"/>
              <a:gd name="connsiteY334" fmla="*/ 1625957 h 6994525"/>
              <a:gd name="connsiteX335" fmla="*/ 1440000 w 3718887"/>
              <a:gd name="connsiteY335" fmla="*/ 1747110 h 6994525"/>
              <a:gd name="connsiteX336" fmla="*/ 1318847 w 3718887"/>
              <a:gd name="connsiteY336" fmla="*/ 1869515 h 6994525"/>
              <a:gd name="connsiteX337" fmla="*/ 1709452 w 3718887"/>
              <a:gd name="connsiteY337" fmla="*/ 1910274 h 6994525"/>
              <a:gd name="connsiteX338" fmla="*/ 1602737 w 3718887"/>
              <a:gd name="connsiteY338" fmla="*/ 1804182 h 6994525"/>
              <a:gd name="connsiteX339" fmla="*/ 1708829 w 3718887"/>
              <a:gd name="connsiteY339" fmla="*/ 1697467 h 6994525"/>
              <a:gd name="connsiteX340" fmla="*/ 1815544 w 3718887"/>
              <a:gd name="connsiteY340" fmla="*/ 1803559 h 6994525"/>
              <a:gd name="connsiteX341" fmla="*/ 1709452 w 3718887"/>
              <a:gd name="connsiteY341" fmla="*/ 1910274 h 6994525"/>
              <a:gd name="connsiteX342" fmla="*/ 3455893 w 3718887"/>
              <a:gd name="connsiteY342" fmla="*/ 1920652 h 6994525"/>
              <a:gd name="connsiteX343" fmla="*/ 3389327 w 3718887"/>
              <a:gd name="connsiteY343" fmla="*/ 1854085 h 6994525"/>
              <a:gd name="connsiteX344" fmla="*/ 3455893 w 3718887"/>
              <a:gd name="connsiteY344" fmla="*/ 1791224 h 6994525"/>
              <a:gd name="connsiteX345" fmla="*/ 3522422 w 3718887"/>
              <a:gd name="connsiteY345" fmla="*/ 1854085 h 6994525"/>
              <a:gd name="connsiteX346" fmla="*/ 3455893 w 3718887"/>
              <a:gd name="connsiteY346" fmla="*/ 1920652 h 6994525"/>
              <a:gd name="connsiteX347" fmla="*/ 233853 w 3718887"/>
              <a:gd name="connsiteY347" fmla="*/ 1930447 h 6994525"/>
              <a:gd name="connsiteX348" fmla="*/ 169153 w 3718887"/>
              <a:gd name="connsiteY348" fmla="*/ 1865753 h 6994525"/>
              <a:gd name="connsiteX349" fmla="*/ 233853 w 3718887"/>
              <a:gd name="connsiteY349" fmla="*/ 1800316 h 6994525"/>
              <a:gd name="connsiteX350" fmla="*/ 298552 w 3718887"/>
              <a:gd name="connsiteY350" fmla="*/ 1865016 h 6994525"/>
              <a:gd name="connsiteX351" fmla="*/ 233853 w 3718887"/>
              <a:gd name="connsiteY351" fmla="*/ 1930447 h 6994525"/>
              <a:gd name="connsiteX352" fmla="*/ 2088014 w 3718887"/>
              <a:gd name="connsiteY352" fmla="*/ 1959666 h 6994525"/>
              <a:gd name="connsiteX353" fmla="*/ 1993852 w 3718887"/>
              <a:gd name="connsiteY353" fmla="*/ 1866130 h 6994525"/>
              <a:gd name="connsiteX354" fmla="*/ 2087384 w 3718887"/>
              <a:gd name="connsiteY354" fmla="*/ 1771972 h 6994525"/>
              <a:gd name="connsiteX355" fmla="*/ 2181546 w 3718887"/>
              <a:gd name="connsiteY355" fmla="*/ 1865501 h 6994525"/>
              <a:gd name="connsiteX356" fmla="*/ 2088014 w 3718887"/>
              <a:gd name="connsiteY356" fmla="*/ 1959666 h 6994525"/>
              <a:gd name="connsiteX357" fmla="*/ 657239 w 3718887"/>
              <a:gd name="connsiteY357" fmla="*/ 2010230 h 6994525"/>
              <a:gd name="connsiteX358" fmla="*/ 548639 w 3718887"/>
              <a:gd name="connsiteY358" fmla="*/ 1902259 h 6994525"/>
              <a:gd name="connsiteX359" fmla="*/ 656610 w 3718887"/>
              <a:gd name="connsiteY359" fmla="*/ 1793666 h 6994525"/>
              <a:gd name="connsiteX360" fmla="*/ 765203 w 3718887"/>
              <a:gd name="connsiteY360" fmla="*/ 1901636 h 6994525"/>
              <a:gd name="connsiteX361" fmla="*/ 657239 w 3718887"/>
              <a:gd name="connsiteY361" fmla="*/ 2010230 h 6994525"/>
              <a:gd name="connsiteX362" fmla="*/ 2457967 w 3718887"/>
              <a:gd name="connsiteY362" fmla="*/ 2028725 h 6994525"/>
              <a:gd name="connsiteX363" fmla="*/ 2360037 w 3718887"/>
              <a:gd name="connsiteY363" fmla="*/ 1932050 h 6994525"/>
              <a:gd name="connsiteX364" fmla="*/ 2457338 w 3718887"/>
              <a:gd name="connsiteY364" fmla="*/ 1834117 h 6994525"/>
              <a:gd name="connsiteX365" fmla="*/ 2555262 w 3718887"/>
              <a:gd name="connsiteY365" fmla="*/ 1930792 h 6994525"/>
              <a:gd name="connsiteX366" fmla="*/ 2457967 w 3718887"/>
              <a:gd name="connsiteY366" fmla="*/ 2028725 h 6994525"/>
              <a:gd name="connsiteX367" fmla="*/ 2820177 w 3718887"/>
              <a:gd name="connsiteY367" fmla="*/ 2081922 h 6994525"/>
              <a:gd name="connsiteX368" fmla="*/ 2736689 w 3718887"/>
              <a:gd name="connsiteY368" fmla="*/ 1999057 h 6994525"/>
              <a:gd name="connsiteX369" fmla="*/ 2819547 w 3718887"/>
              <a:gd name="connsiteY369" fmla="*/ 1915570 h 6994525"/>
              <a:gd name="connsiteX370" fmla="*/ 2903035 w 3718887"/>
              <a:gd name="connsiteY370" fmla="*/ 1998428 h 6994525"/>
              <a:gd name="connsiteX371" fmla="*/ 2820177 w 3718887"/>
              <a:gd name="connsiteY371" fmla="*/ 2081922 h 6994525"/>
              <a:gd name="connsiteX372" fmla="*/ 1059555 w 3718887"/>
              <a:gd name="connsiteY372" fmla="*/ 2087461 h 6994525"/>
              <a:gd name="connsiteX373" fmla="*/ 923965 w 3718887"/>
              <a:gd name="connsiteY373" fmla="*/ 1953123 h 6994525"/>
              <a:gd name="connsiteX374" fmla="*/ 1058297 w 3718887"/>
              <a:gd name="connsiteY374" fmla="*/ 1817533 h 6994525"/>
              <a:gd name="connsiteX375" fmla="*/ 1193893 w 3718887"/>
              <a:gd name="connsiteY375" fmla="*/ 1951865 h 6994525"/>
              <a:gd name="connsiteX376" fmla="*/ 1059555 w 3718887"/>
              <a:gd name="connsiteY376" fmla="*/ 2087461 h 6994525"/>
              <a:gd name="connsiteX377" fmla="*/ 0 w 3718887"/>
              <a:gd name="connsiteY377" fmla="*/ 2128682 h 6994525"/>
              <a:gd name="connsiteX378" fmla="*/ 0 w 3718887"/>
              <a:gd name="connsiteY378" fmla="*/ 2006448 h 6994525"/>
              <a:gd name="connsiteX379" fmla="*/ 3811 w 3718887"/>
              <a:gd name="connsiteY379" fmla="*/ 2007227 h 6994525"/>
              <a:gd name="connsiteX380" fmla="*/ 43459 w 3718887"/>
              <a:gd name="connsiteY380" fmla="*/ 2066803 h 6994525"/>
              <a:gd name="connsiteX381" fmla="*/ 3811 w 3718887"/>
              <a:gd name="connsiteY381" fmla="*/ 2127898 h 6994525"/>
              <a:gd name="connsiteX382" fmla="*/ 3176435 w 3718887"/>
              <a:gd name="connsiteY382" fmla="*/ 2133296 h 6994525"/>
              <a:gd name="connsiteX383" fmla="*/ 3111354 w 3718887"/>
              <a:gd name="connsiteY383" fmla="*/ 2068211 h 6994525"/>
              <a:gd name="connsiteX384" fmla="*/ 3175649 w 3718887"/>
              <a:gd name="connsiteY384" fmla="*/ 2003127 h 6994525"/>
              <a:gd name="connsiteX385" fmla="*/ 3240730 w 3718887"/>
              <a:gd name="connsiteY385" fmla="*/ 2068211 h 6994525"/>
              <a:gd name="connsiteX386" fmla="*/ 3176435 w 3718887"/>
              <a:gd name="connsiteY386" fmla="*/ 2133296 h 6994525"/>
              <a:gd name="connsiteX387" fmla="*/ 1444896 w 3718887"/>
              <a:gd name="connsiteY387" fmla="*/ 2143982 h 6994525"/>
              <a:gd name="connsiteX388" fmla="*/ 1311819 w 3718887"/>
              <a:gd name="connsiteY388" fmla="*/ 2011528 h 6994525"/>
              <a:gd name="connsiteX389" fmla="*/ 1444267 w 3718887"/>
              <a:gd name="connsiteY389" fmla="*/ 1878451 h 6994525"/>
              <a:gd name="connsiteX390" fmla="*/ 1577350 w 3718887"/>
              <a:gd name="connsiteY390" fmla="*/ 2010899 h 6994525"/>
              <a:gd name="connsiteX391" fmla="*/ 1444896 w 3718887"/>
              <a:gd name="connsiteY391" fmla="*/ 2143982 h 6994525"/>
              <a:gd name="connsiteX392" fmla="*/ 400419 w 3718887"/>
              <a:gd name="connsiteY392" fmla="*/ 2176057 h 6994525"/>
              <a:gd name="connsiteX393" fmla="*/ 329482 w 3718887"/>
              <a:gd name="connsiteY393" fmla="*/ 2105743 h 6994525"/>
              <a:gd name="connsiteX394" fmla="*/ 399796 w 3718887"/>
              <a:gd name="connsiteY394" fmla="*/ 2034807 h 6994525"/>
              <a:gd name="connsiteX395" fmla="*/ 470732 w 3718887"/>
              <a:gd name="connsiteY395" fmla="*/ 2105120 h 6994525"/>
              <a:gd name="connsiteX396" fmla="*/ 400419 w 3718887"/>
              <a:gd name="connsiteY396" fmla="*/ 2176057 h 6994525"/>
              <a:gd name="connsiteX397" fmla="*/ 1818721 w 3718887"/>
              <a:gd name="connsiteY397" fmla="*/ 2193212 h 6994525"/>
              <a:gd name="connsiteX398" fmla="*/ 1700077 w 3718887"/>
              <a:gd name="connsiteY398" fmla="*/ 2075197 h 6994525"/>
              <a:gd name="connsiteX399" fmla="*/ 1818091 w 3718887"/>
              <a:gd name="connsiteY399" fmla="*/ 1956554 h 6994525"/>
              <a:gd name="connsiteX400" fmla="*/ 1936735 w 3718887"/>
              <a:gd name="connsiteY400" fmla="*/ 2074568 h 6994525"/>
              <a:gd name="connsiteX401" fmla="*/ 1818721 w 3718887"/>
              <a:gd name="connsiteY401" fmla="*/ 2193212 h 6994525"/>
              <a:gd name="connsiteX402" fmla="*/ 3527730 w 3718887"/>
              <a:gd name="connsiteY402" fmla="*/ 2203544 h 6994525"/>
              <a:gd name="connsiteX403" fmla="*/ 3463022 w 3718887"/>
              <a:gd name="connsiteY403" fmla="*/ 2138863 h 6994525"/>
              <a:gd name="connsiteX404" fmla="*/ 3525236 w 3718887"/>
              <a:gd name="connsiteY404" fmla="*/ 2074157 h 6994525"/>
              <a:gd name="connsiteX405" fmla="*/ 3592414 w 3718887"/>
              <a:gd name="connsiteY405" fmla="*/ 2138863 h 6994525"/>
              <a:gd name="connsiteX406" fmla="*/ 3527730 w 3718887"/>
              <a:gd name="connsiteY406" fmla="*/ 2203544 h 6994525"/>
              <a:gd name="connsiteX407" fmla="*/ 2183507 w 3718887"/>
              <a:gd name="connsiteY407" fmla="*/ 2245449 h 6994525"/>
              <a:gd name="connsiteX408" fmla="*/ 2079306 w 3718887"/>
              <a:gd name="connsiteY408" fmla="*/ 2141871 h 6994525"/>
              <a:gd name="connsiteX409" fmla="*/ 2182884 w 3718887"/>
              <a:gd name="connsiteY409" fmla="*/ 2037670 h 6994525"/>
              <a:gd name="connsiteX410" fmla="*/ 2287085 w 3718887"/>
              <a:gd name="connsiteY410" fmla="*/ 2141242 h 6994525"/>
              <a:gd name="connsiteX411" fmla="*/ 2183507 w 3718887"/>
              <a:gd name="connsiteY411" fmla="*/ 2245449 h 6994525"/>
              <a:gd name="connsiteX412" fmla="*/ 797472 w 3718887"/>
              <a:gd name="connsiteY412" fmla="*/ 2266190 h 6994525"/>
              <a:gd name="connsiteX413" fmla="*/ 688879 w 3718887"/>
              <a:gd name="connsiteY413" fmla="*/ 2158219 h 6994525"/>
              <a:gd name="connsiteX414" fmla="*/ 796849 w 3718887"/>
              <a:gd name="connsiteY414" fmla="*/ 2049626 h 6994525"/>
              <a:gd name="connsiteX415" fmla="*/ 905443 w 3718887"/>
              <a:gd name="connsiteY415" fmla="*/ 2157596 h 6994525"/>
              <a:gd name="connsiteX416" fmla="*/ 797472 w 3718887"/>
              <a:gd name="connsiteY416" fmla="*/ 2266190 h 6994525"/>
              <a:gd name="connsiteX417" fmla="*/ 2541517 w 3718887"/>
              <a:gd name="connsiteY417" fmla="*/ 2307910 h 6994525"/>
              <a:gd name="connsiteX418" fmla="*/ 2443590 w 3718887"/>
              <a:gd name="connsiteY418" fmla="*/ 2210612 h 6994525"/>
              <a:gd name="connsiteX419" fmla="*/ 2540888 w 3718887"/>
              <a:gd name="connsiteY419" fmla="*/ 2113314 h 6994525"/>
              <a:gd name="connsiteX420" fmla="*/ 2638186 w 3718887"/>
              <a:gd name="connsiteY420" fmla="*/ 2209983 h 6994525"/>
              <a:gd name="connsiteX421" fmla="*/ 2541517 w 3718887"/>
              <a:gd name="connsiteY421" fmla="*/ 2307910 h 6994525"/>
              <a:gd name="connsiteX422" fmla="*/ 1178716 w 3718887"/>
              <a:gd name="connsiteY422" fmla="*/ 2345391 h 6994525"/>
              <a:gd name="connsiteX423" fmla="*/ 1051916 w 3718887"/>
              <a:gd name="connsiteY423" fmla="*/ 2219837 h 6994525"/>
              <a:gd name="connsiteX424" fmla="*/ 1178093 w 3718887"/>
              <a:gd name="connsiteY424" fmla="*/ 2093037 h 6994525"/>
              <a:gd name="connsiteX425" fmla="*/ 1304270 w 3718887"/>
              <a:gd name="connsiteY425" fmla="*/ 2218585 h 6994525"/>
              <a:gd name="connsiteX426" fmla="*/ 1178716 w 3718887"/>
              <a:gd name="connsiteY426" fmla="*/ 2345391 h 6994525"/>
              <a:gd name="connsiteX427" fmla="*/ 2892874 w 3718887"/>
              <a:gd name="connsiteY427" fmla="*/ 2351999 h 6994525"/>
              <a:gd name="connsiteX428" fmla="*/ 2821938 w 3718887"/>
              <a:gd name="connsiteY428" fmla="*/ 2281685 h 6994525"/>
              <a:gd name="connsiteX429" fmla="*/ 2892244 w 3718887"/>
              <a:gd name="connsiteY429" fmla="*/ 2210749 h 6994525"/>
              <a:gd name="connsiteX430" fmla="*/ 2963180 w 3718887"/>
              <a:gd name="connsiteY430" fmla="*/ 2281062 h 6994525"/>
              <a:gd name="connsiteX431" fmla="*/ 2892874 w 3718887"/>
              <a:gd name="connsiteY431" fmla="*/ 2351999 h 6994525"/>
              <a:gd name="connsiteX432" fmla="*/ 142242 w 3718887"/>
              <a:gd name="connsiteY432" fmla="*/ 2373807 h 6994525"/>
              <a:gd name="connsiteX433" fmla="*/ 77523 w 3718887"/>
              <a:gd name="connsiteY433" fmla="*/ 2309134 h 6994525"/>
              <a:gd name="connsiteX434" fmla="*/ 142242 w 3718887"/>
              <a:gd name="connsiteY434" fmla="*/ 2244415 h 6994525"/>
              <a:gd name="connsiteX435" fmla="*/ 206915 w 3718887"/>
              <a:gd name="connsiteY435" fmla="*/ 2309134 h 6994525"/>
              <a:gd name="connsiteX436" fmla="*/ 142242 w 3718887"/>
              <a:gd name="connsiteY436" fmla="*/ 2373807 h 6994525"/>
              <a:gd name="connsiteX437" fmla="*/ 3239341 w 3718887"/>
              <a:gd name="connsiteY437" fmla="*/ 2417946 h 6994525"/>
              <a:gd name="connsiteX438" fmla="*/ 3175444 w 3718887"/>
              <a:gd name="connsiteY438" fmla="*/ 2354046 h 6994525"/>
              <a:gd name="connsiteX439" fmla="*/ 3239341 w 3718887"/>
              <a:gd name="connsiteY439" fmla="*/ 2288544 h 6994525"/>
              <a:gd name="connsiteX440" fmla="*/ 3304856 w 3718887"/>
              <a:gd name="connsiteY440" fmla="*/ 2352444 h 6994525"/>
              <a:gd name="connsiteX441" fmla="*/ 3239341 w 3718887"/>
              <a:gd name="connsiteY441" fmla="*/ 2417946 h 6994525"/>
              <a:gd name="connsiteX442" fmla="*/ 1546948 w 3718887"/>
              <a:gd name="connsiteY442" fmla="*/ 2425634 h 6994525"/>
              <a:gd name="connsiteX443" fmla="*/ 1405710 w 3718887"/>
              <a:gd name="connsiteY443" fmla="*/ 2285648 h 6994525"/>
              <a:gd name="connsiteX444" fmla="*/ 1546319 w 3718887"/>
              <a:gd name="connsiteY444" fmla="*/ 2144410 h 6994525"/>
              <a:gd name="connsiteX445" fmla="*/ 1686928 w 3718887"/>
              <a:gd name="connsiteY445" fmla="*/ 2284396 h 6994525"/>
              <a:gd name="connsiteX446" fmla="*/ 1546948 w 3718887"/>
              <a:gd name="connsiteY446" fmla="*/ 2425634 h 6994525"/>
              <a:gd name="connsiteX447" fmla="*/ 534410 w 3718887"/>
              <a:gd name="connsiteY447" fmla="*/ 2430227 h 6994525"/>
              <a:gd name="connsiteX448" fmla="*/ 469201 w 3718887"/>
              <a:gd name="connsiteY448" fmla="*/ 2366070 h 6994525"/>
              <a:gd name="connsiteX449" fmla="*/ 533356 w 3718887"/>
              <a:gd name="connsiteY449" fmla="*/ 2299805 h 6994525"/>
              <a:gd name="connsiteX450" fmla="*/ 598576 w 3718887"/>
              <a:gd name="connsiteY450" fmla="*/ 2365016 h 6994525"/>
              <a:gd name="connsiteX451" fmla="*/ 534410 w 3718887"/>
              <a:gd name="connsiteY451" fmla="*/ 2430227 h 6994525"/>
              <a:gd name="connsiteX452" fmla="*/ 1905614 w 3718887"/>
              <a:gd name="connsiteY452" fmla="*/ 2467574 h 6994525"/>
              <a:gd name="connsiteX453" fmla="*/ 1791369 w 3718887"/>
              <a:gd name="connsiteY453" fmla="*/ 2353953 h 6994525"/>
              <a:gd name="connsiteX454" fmla="*/ 1904991 w 3718887"/>
              <a:gd name="connsiteY454" fmla="*/ 2239709 h 6994525"/>
              <a:gd name="connsiteX455" fmla="*/ 2019236 w 3718887"/>
              <a:gd name="connsiteY455" fmla="*/ 2353330 h 6994525"/>
              <a:gd name="connsiteX456" fmla="*/ 1905614 w 3718887"/>
              <a:gd name="connsiteY456" fmla="*/ 2467574 h 6994525"/>
              <a:gd name="connsiteX457" fmla="*/ 3584069 w 3718887"/>
              <a:gd name="connsiteY457" fmla="*/ 2490261 h 6994525"/>
              <a:gd name="connsiteX458" fmla="*/ 3516710 w 3718887"/>
              <a:gd name="connsiteY458" fmla="*/ 2422889 h 6994525"/>
              <a:gd name="connsiteX459" fmla="*/ 3584069 w 3718887"/>
              <a:gd name="connsiteY459" fmla="*/ 2361598 h 6994525"/>
              <a:gd name="connsiteX460" fmla="*/ 3651489 w 3718887"/>
              <a:gd name="connsiteY460" fmla="*/ 2422889 h 6994525"/>
              <a:gd name="connsiteX461" fmla="*/ 3584069 w 3718887"/>
              <a:gd name="connsiteY461" fmla="*/ 2490261 h 6994525"/>
              <a:gd name="connsiteX462" fmla="*/ 908031 w 3718887"/>
              <a:gd name="connsiteY462" fmla="*/ 2511858 h 6994525"/>
              <a:gd name="connsiteX463" fmla="*/ 823917 w 3718887"/>
              <a:gd name="connsiteY463" fmla="*/ 2428372 h 6994525"/>
              <a:gd name="connsiteX464" fmla="*/ 907402 w 3718887"/>
              <a:gd name="connsiteY464" fmla="*/ 2344258 h 6994525"/>
              <a:gd name="connsiteX465" fmla="*/ 991517 w 3718887"/>
              <a:gd name="connsiteY465" fmla="*/ 2427743 h 6994525"/>
              <a:gd name="connsiteX466" fmla="*/ 908031 w 3718887"/>
              <a:gd name="connsiteY466" fmla="*/ 2511858 h 6994525"/>
              <a:gd name="connsiteX467" fmla="*/ 2257925 w 3718887"/>
              <a:gd name="connsiteY467" fmla="*/ 2532041 h 6994525"/>
              <a:gd name="connsiteX468" fmla="*/ 2149332 w 3718887"/>
              <a:gd name="connsiteY468" fmla="*/ 2424070 h 6994525"/>
              <a:gd name="connsiteX469" fmla="*/ 2257303 w 3718887"/>
              <a:gd name="connsiteY469" fmla="*/ 2315477 h 6994525"/>
              <a:gd name="connsiteX470" fmla="*/ 2365896 w 3718887"/>
              <a:gd name="connsiteY470" fmla="*/ 2423447 h 6994525"/>
              <a:gd name="connsiteX471" fmla="*/ 2257925 w 3718887"/>
              <a:gd name="connsiteY471" fmla="*/ 2532041 h 6994525"/>
              <a:gd name="connsiteX472" fmla="*/ 2605089 w 3718887"/>
              <a:gd name="connsiteY472" fmla="*/ 2593836 h 6994525"/>
              <a:gd name="connsiteX473" fmla="*/ 2506532 w 3718887"/>
              <a:gd name="connsiteY473" fmla="*/ 2495907 h 6994525"/>
              <a:gd name="connsiteX474" fmla="*/ 2603831 w 3718887"/>
              <a:gd name="connsiteY474" fmla="*/ 2397355 h 6994525"/>
              <a:gd name="connsiteX475" fmla="*/ 2703011 w 3718887"/>
              <a:gd name="connsiteY475" fmla="*/ 2495284 h 6994525"/>
              <a:gd name="connsiteX476" fmla="*/ 2605089 w 3718887"/>
              <a:gd name="connsiteY476" fmla="*/ 2593836 h 6994525"/>
              <a:gd name="connsiteX477" fmla="*/ 1270771 w 3718887"/>
              <a:gd name="connsiteY477" fmla="*/ 2636852 h 6994525"/>
              <a:gd name="connsiteX478" fmla="*/ 1129533 w 3718887"/>
              <a:gd name="connsiteY478" fmla="*/ 2496866 h 6994525"/>
              <a:gd name="connsiteX479" fmla="*/ 1269513 w 3718887"/>
              <a:gd name="connsiteY479" fmla="*/ 2355628 h 6994525"/>
              <a:gd name="connsiteX480" fmla="*/ 1410751 w 3718887"/>
              <a:gd name="connsiteY480" fmla="*/ 2495614 h 6994525"/>
              <a:gd name="connsiteX481" fmla="*/ 1270771 w 3718887"/>
              <a:gd name="connsiteY481" fmla="*/ 2636852 h 6994525"/>
              <a:gd name="connsiteX482" fmla="*/ 277313 w 3718887"/>
              <a:gd name="connsiteY482" fmla="*/ 2646417 h 6994525"/>
              <a:gd name="connsiteX483" fmla="*/ 203348 w 3718887"/>
              <a:gd name="connsiteY483" fmla="*/ 2572380 h 6994525"/>
              <a:gd name="connsiteX484" fmla="*/ 277313 w 3718887"/>
              <a:gd name="connsiteY484" fmla="*/ 2498344 h 6994525"/>
              <a:gd name="connsiteX485" fmla="*/ 332740 w 3718887"/>
              <a:gd name="connsiteY485" fmla="*/ 2572380 h 6994525"/>
              <a:gd name="connsiteX486" fmla="*/ 277313 w 3718887"/>
              <a:gd name="connsiteY486" fmla="*/ 2646417 h 6994525"/>
              <a:gd name="connsiteX487" fmla="*/ 2947403 w 3718887"/>
              <a:gd name="connsiteY487" fmla="*/ 2651462 h 6994525"/>
              <a:gd name="connsiteX488" fmla="*/ 2864549 w 3718887"/>
              <a:gd name="connsiteY488" fmla="*/ 2568607 h 6994525"/>
              <a:gd name="connsiteX489" fmla="*/ 2946780 w 3718887"/>
              <a:gd name="connsiteY489" fmla="*/ 2485124 h 6994525"/>
              <a:gd name="connsiteX490" fmla="*/ 3030263 w 3718887"/>
              <a:gd name="connsiteY490" fmla="*/ 2567978 h 6994525"/>
              <a:gd name="connsiteX491" fmla="*/ 2947403 w 3718887"/>
              <a:gd name="connsiteY491" fmla="*/ 2651462 h 6994525"/>
              <a:gd name="connsiteX492" fmla="*/ 633913 w 3718887"/>
              <a:gd name="connsiteY492" fmla="*/ 2703910 h 6994525"/>
              <a:gd name="connsiteX493" fmla="*/ 568630 w 3718887"/>
              <a:gd name="connsiteY493" fmla="*/ 2638626 h 6994525"/>
              <a:gd name="connsiteX494" fmla="*/ 633913 w 3718887"/>
              <a:gd name="connsiteY494" fmla="*/ 2573342 h 6994525"/>
              <a:gd name="connsiteX495" fmla="*/ 699197 w 3718887"/>
              <a:gd name="connsiteY495" fmla="*/ 2638626 h 6994525"/>
              <a:gd name="connsiteX496" fmla="*/ 633913 w 3718887"/>
              <a:gd name="connsiteY496" fmla="*/ 2703910 h 6994525"/>
              <a:gd name="connsiteX497" fmla="*/ 3287637 w 3718887"/>
              <a:gd name="connsiteY497" fmla="*/ 2706134 h 6994525"/>
              <a:gd name="connsiteX498" fmla="*/ 3222340 w 3718887"/>
              <a:gd name="connsiteY498" fmla="*/ 2642027 h 6994525"/>
              <a:gd name="connsiteX499" fmla="*/ 3286447 w 3718887"/>
              <a:gd name="connsiteY499" fmla="*/ 2576730 h 6994525"/>
              <a:gd name="connsiteX500" fmla="*/ 3351744 w 3718887"/>
              <a:gd name="connsiteY500" fmla="*/ 2640837 h 6994525"/>
              <a:gd name="connsiteX501" fmla="*/ 3287637 w 3718887"/>
              <a:gd name="connsiteY501" fmla="*/ 2706134 h 6994525"/>
              <a:gd name="connsiteX502" fmla="*/ 1623513 w 3718887"/>
              <a:gd name="connsiteY502" fmla="*/ 2706144 h 6994525"/>
              <a:gd name="connsiteX503" fmla="*/ 1483529 w 3718887"/>
              <a:gd name="connsiteY503" fmla="*/ 2567419 h 6994525"/>
              <a:gd name="connsiteX504" fmla="*/ 1622260 w 3718887"/>
              <a:gd name="connsiteY504" fmla="*/ 2427431 h 6994525"/>
              <a:gd name="connsiteX505" fmla="*/ 1762244 w 3718887"/>
              <a:gd name="connsiteY505" fmla="*/ 2566161 h 6994525"/>
              <a:gd name="connsiteX506" fmla="*/ 1623513 w 3718887"/>
              <a:gd name="connsiteY506" fmla="*/ 2706144 h 6994525"/>
              <a:gd name="connsiteX507" fmla="*/ 1969815 w 3718887"/>
              <a:gd name="connsiteY507" fmla="*/ 2759158 h 6994525"/>
              <a:gd name="connsiteX508" fmla="*/ 1848663 w 3718887"/>
              <a:gd name="connsiteY508" fmla="*/ 2639263 h 6994525"/>
              <a:gd name="connsiteX509" fmla="*/ 1968557 w 3718887"/>
              <a:gd name="connsiteY509" fmla="*/ 2518109 h 6994525"/>
              <a:gd name="connsiteX510" fmla="*/ 2089709 w 3718887"/>
              <a:gd name="connsiteY510" fmla="*/ 2638004 h 6994525"/>
              <a:gd name="connsiteX511" fmla="*/ 1969815 w 3718887"/>
              <a:gd name="connsiteY511" fmla="*/ 2759158 h 6994525"/>
              <a:gd name="connsiteX512" fmla="*/ 3623650 w 3718887"/>
              <a:gd name="connsiteY512" fmla="*/ 2779468 h 6994525"/>
              <a:gd name="connsiteX513" fmla="*/ 3558954 w 3718887"/>
              <a:gd name="connsiteY513" fmla="*/ 2714772 h 6994525"/>
              <a:gd name="connsiteX514" fmla="*/ 3623650 w 3718887"/>
              <a:gd name="connsiteY514" fmla="*/ 2650076 h 6994525"/>
              <a:gd name="connsiteX515" fmla="*/ 3688346 w 3718887"/>
              <a:gd name="connsiteY515" fmla="*/ 2714772 h 6994525"/>
              <a:gd name="connsiteX516" fmla="*/ 3623650 w 3718887"/>
              <a:gd name="connsiteY516" fmla="*/ 2779468 h 6994525"/>
              <a:gd name="connsiteX517" fmla="*/ 2311272 w 3718887"/>
              <a:gd name="connsiteY517" fmla="*/ 2825045 h 6994525"/>
              <a:gd name="connsiteX518" fmla="*/ 2197027 w 3718887"/>
              <a:gd name="connsiteY518" fmla="*/ 2711423 h 6994525"/>
              <a:gd name="connsiteX519" fmla="*/ 2310649 w 3718887"/>
              <a:gd name="connsiteY519" fmla="*/ 2597178 h 6994525"/>
              <a:gd name="connsiteX520" fmla="*/ 2424894 w 3718887"/>
              <a:gd name="connsiteY520" fmla="*/ 2710800 h 6994525"/>
              <a:gd name="connsiteX521" fmla="*/ 2311272 w 3718887"/>
              <a:gd name="connsiteY521" fmla="*/ 2825045 h 6994525"/>
              <a:gd name="connsiteX522" fmla="*/ 988573 w 3718887"/>
              <a:gd name="connsiteY522" fmla="*/ 2825307 h 6994525"/>
              <a:gd name="connsiteX523" fmla="*/ 871818 w 3718887"/>
              <a:gd name="connsiteY523" fmla="*/ 2709804 h 6994525"/>
              <a:gd name="connsiteX524" fmla="*/ 987321 w 3718887"/>
              <a:gd name="connsiteY524" fmla="*/ 2593049 h 6994525"/>
              <a:gd name="connsiteX525" fmla="*/ 1104076 w 3718887"/>
              <a:gd name="connsiteY525" fmla="*/ 2708552 h 6994525"/>
              <a:gd name="connsiteX526" fmla="*/ 988573 w 3718887"/>
              <a:gd name="connsiteY526" fmla="*/ 2825307 h 6994525"/>
              <a:gd name="connsiteX527" fmla="*/ 0 w 3718887"/>
              <a:gd name="connsiteY527" fmla="*/ 2845772 h 6994525"/>
              <a:gd name="connsiteX528" fmla="*/ 0 w 3718887"/>
              <a:gd name="connsiteY528" fmla="*/ 2721356 h 6994525"/>
              <a:gd name="connsiteX529" fmla="*/ 23444 w 3718887"/>
              <a:gd name="connsiteY529" fmla="*/ 2717609 h 6994525"/>
              <a:gd name="connsiteX530" fmla="*/ 68498 w 3718887"/>
              <a:gd name="connsiteY530" fmla="*/ 2775179 h 6994525"/>
              <a:gd name="connsiteX531" fmla="*/ 23444 w 3718887"/>
              <a:gd name="connsiteY531" fmla="*/ 2840306 h 6994525"/>
              <a:gd name="connsiteX532" fmla="*/ 2649495 w 3718887"/>
              <a:gd name="connsiteY532" fmla="*/ 2891271 h 6994525"/>
              <a:gd name="connsiteX533" fmla="*/ 2541526 w 3718887"/>
              <a:gd name="connsiteY533" fmla="*/ 2784557 h 6994525"/>
              <a:gd name="connsiteX534" fmla="*/ 2648237 w 3718887"/>
              <a:gd name="connsiteY534" fmla="*/ 2677214 h 6994525"/>
              <a:gd name="connsiteX535" fmla="*/ 2756206 w 3718887"/>
              <a:gd name="connsiteY535" fmla="*/ 2783928 h 6994525"/>
              <a:gd name="connsiteX536" fmla="*/ 2649495 w 3718887"/>
              <a:gd name="connsiteY536" fmla="*/ 2891271 h 6994525"/>
              <a:gd name="connsiteX537" fmla="*/ 352573 w 3718887"/>
              <a:gd name="connsiteY537" fmla="*/ 2917466 h 6994525"/>
              <a:gd name="connsiteX538" fmla="*/ 287875 w 3718887"/>
              <a:gd name="connsiteY538" fmla="*/ 2852775 h 6994525"/>
              <a:gd name="connsiteX539" fmla="*/ 350608 w 3718887"/>
              <a:gd name="connsiteY539" fmla="*/ 2786120 h 6994525"/>
              <a:gd name="connsiteX540" fmla="*/ 417271 w 3718887"/>
              <a:gd name="connsiteY540" fmla="*/ 2850810 h 6994525"/>
              <a:gd name="connsiteX541" fmla="*/ 352573 w 3718887"/>
              <a:gd name="connsiteY541" fmla="*/ 2917466 h 6994525"/>
              <a:gd name="connsiteX542" fmla="*/ 1334437 w 3718887"/>
              <a:gd name="connsiteY542" fmla="*/ 2924768 h 6994525"/>
              <a:gd name="connsiteX543" fmla="*/ 1190063 w 3718887"/>
              <a:gd name="connsiteY543" fmla="*/ 2781647 h 6994525"/>
              <a:gd name="connsiteX544" fmla="*/ 1333184 w 3718887"/>
              <a:gd name="connsiteY544" fmla="*/ 2637267 h 6994525"/>
              <a:gd name="connsiteX545" fmla="*/ 1477564 w 3718887"/>
              <a:gd name="connsiteY545" fmla="*/ 2780389 h 6994525"/>
              <a:gd name="connsiteX546" fmla="*/ 1334437 w 3718887"/>
              <a:gd name="connsiteY546" fmla="*/ 2924768 h 6994525"/>
              <a:gd name="connsiteX547" fmla="*/ 2983970 w 3718887"/>
              <a:gd name="connsiteY547" fmla="*/ 2941403 h 6994525"/>
              <a:gd name="connsiteX548" fmla="*/ 2901116 w 3718887"/>
              <a:gd name="connsiteY548" fmla="*/ 2858549 h 6994525"/>
              <a:gd name="connsiteX549" fmla="*/ 2983347 w 3718887"/>
              <a:gd name="connsiteY549" fmla="*/ 2775065 h 6994525"/>
              <a:gd name="connsiteX550" fmla="*/ 3066830 w 3718887"/>
              <a:gd name="connsiteY550" fmla="*/ 2857920 h 6994525"/>
              <a:gd name="connsiteX551" fmla="*/ 2983970 w 3718887"/>
              <a:gd name="connsiteY551" fmla="*/ 2941403 h 6994525"/>
              <a:gd name="connsiteX552" fmla="*/ 697583 w 3718887"/>
              <a:gd name="connsiteY552" fmla="*/ 2988118 h 6994525"/>
              <a:gd name="connsiteX553" fmla="*/ 632883 w 3718887"/>
              <a:gd name="connsiteY553" fmla="*/ 2923425 h 6994525"/>
              <a:gd name="connsiteX554" fmla="*/ 697583 w 3718887"/>
              <a:gd name="connsiteY554" fmla="*/ 2858723 h 6994525"/>
              <a:gd name="connsiteX555" fmla="*/ 762275 w 3718887"/>
              <a:gd name="connsiteY555" fmla="*/ 2923425 h 6994525"/>
              <a:gd name="connsiteX556" fmla="*/ 697583 w 3718887"/>
              <a:gd name="connsiteY556" fmla="*/ 2988118 h 6994525"/>
              <a:gd name="connsiteX557" fmla="*/ 1674708 w 3718887"/>
              <a:gd name="connsiteY557" fmla="*/ 2993502 h 6994525"/>
              <a:gd name="connsiteX558" fmla="*/ 1534724 w 3718887"/>
              <a:gd name="connsiteY558" fmla="*/ 2854771 h 6994525"/>
              <a:gd name="connsiteX559" fmla="*/ 1673455 w 3718887"/>
              <a:gd name="connsiteY559" fmla="*/ 2714787 h 6994525"/>
              <a:gd name="connsiteX560" fmla="*/ 1813439 w 3718887"/>
              <a:gd name="connsiteY560" fmla="*/ 2853519 h 6994525"/>
              <a:gd name="connsiteX561" fmla="*/ 1674708 w 3718887"/>
              <a:gd name="connsiteY561" fmla="*/ 2993502 h 6994525"/>
              <a:gd name="connsiteX562" fmla="*/ 3316804 w 3718887"/>
              <a:gd name="connsiteY562" fmla="*/ 2997210 h 6994525"/>
              <a:gd name="connsiteX563" fmla="*/ 3251597 w 3718887"/>
              <a:gd name="connsiteY563" fmla="*/ 2932006 h 6994525"/>
              <a:gd name="connsiteX564" fmla="*/ 3315750 w 3718887"/>
              <a:gd name="connsiteY564" fmla="*/ 2866801 h 6994525"/>
              <a:gd name="connsiteX565" fmla="*/ 3380958 w 3718887"/>
              <a:gd name="connsiteY565" fmla="*/ 2932006 h 6994525"/>
              <a:gd name="connsiteX566" fmla="*/ 3316804 w 3718887"/>
              <a:gd name="connsiteY566" fmla="*/ 2997210 h 6994525"/>
              <a:gd name="connsiteX567" fmla="*/ 2010151 w 3718887"/>
              <a:gd name="connsiteY567" fmla="*/ 3054611 h 6994525"/>
              <a:gd name="connsiteX568" fmla="*/ 1882722 w 3718887"/>
              <a:gd name="connsiteY568" fmla="*/ 2927806 h 6994525"/>
              <a:gd name="connsiteX569" fmla="*/ 2009528 w 3718887"/>
              <a:gd name="connsiteY569" fmla="*/ 2800377 h 6994525"/>
              <a:gd name="connsiteX570" fmla="*/ 2136956 w 3718887"/>
              <a:gd name="connsiteY570" fmla="*/ 2927183 h 6994525"/>
              <a:gd name="connsiteX571" fmla="*/ 2010151 w 3718887"/>
              <a:gd name="connsiteY571" fmla="*/ 3054611 h 6994525"/>
              <a:gd name="connsiteX572" fmla="*/ 3646879 w 3718887"/>
              <a:gd name="connsiteY572" fmla="*/ 3070693 h 6994525"/>
              <a:gd name="connsiteX573" fmla="*/ 3582183 w 3718887"/>
              <a:gd name="connsiteY573" fmla="*/ 3005997 h 6994525"/>
              <a:gd name="connsiteX574" fmla="*/ 3646879 w 3718887"/>
              <a:gd name="connsiteY574" fmla="*/ 2941301 h 6994525"/>
              <a:gd name="connsiteX575" fmla="*/ 3711575 w 3718887"/>
              <a:gd name="connsiteY575" fmla="*/ 3005997 h 6994525"/>
              <a:gd name="connsiteX576" fmla="*/ 3646879 w 3718887"/>
              <a:gd name="connsiteY576" fmla="*/ 3070693 h 6994525"/>
              <a:gd name="connsiteX577" fmla="*/ 1035794 w 3718887"/>
              <a:gd name="connsiteY577" fmla="*/ 3104210 h 6994525"/>
              <a:gd name="connsiteX578" fmla="*/ 928452 w 3718887"/>
              <a:gd name="connsiteY578" fmla="*/ 2997494 h 6994525"/>
              <a:gd name="connsiteX579" fmla="*/ 1034542 w 3718887"/>
              <a:gd name="connsiteY579" fmla="*/ 2890149 h 6994525"/>
              <a:gd name="connsiteX580" fmla="*/ 1142507 w 3718887"/>
              <a:gd name="connsiteY580" fmla="*/ 2996865 h 6994525"/>
              <a:gd name="connsiteX581" fmla="*/ 1035794 w 3718887"/>
              <a:gd name="connsiteY581" fmla="*/ 3104210 h 6994525"/>
              <a:gd name="connsiteX582" fmla="*/ 2343103 w 3718887"/>
              <a:gd name="connsiteY582" fmla="*/ 3121058 h 6994525"/>
              <a:gd name="connsiteX583" fmla="*/ 2223206 w 3718887"/>
              <a:gd name="connsiteY583" fmla="*/ 3001798 h 6994525"/>
              <a:gd name="connsiteX584" fmla="*/ 2342474 w 3718887"/>
              <a:gd name="connsiteY584" fmla="*/ 2881901 h 6994525"/>
              <a:gd name="connsiteX585" fmla="*/ 2462377 w 3718887"/>
              <a:gd name="connsiteY585" fmla="*/ 3001175 h 6994525"/>
              <a:gd name="connsiteX586" fmla="*/ 2343103 w 3718887"/>
              <a:gd name="connsiteY586" fmla="*/ 3121058 h 6994525"/>
              <a:gd name="connsiteX587" fmla="*/ 72292 w 3718887"/>
              <a:gd name="connsiteY587" fmla="*/ 3142886 h 6994525"/>
              <a:gd name="connsiteX588" fmla="*/ 2637 w 3718887"/>
              <a:gd name="connsiteY588" fmla="*/ 3094653 h 6994525"/>
              <a:gd name="connsiteX589" fmla="*/ 0 w 3718887"/>
              <a:gd name="connsiteY589" fmla="*/ 3083381 h 6994525"/>
              <a:gd name="connsiteX590" fmla="*/ 0 w 3718887"/>
              <a:gd name="connsiteY590" fmla="*/ 3048404 h 6994525"/>
              <a:gd name="connsiteX591" fmla="*/ 2041 w 3718887"/>
              <a:gd name="connsiteY591" fmla="*/ 3038877 h 6994525"/>
              <a:gd name="connsiteX592" fmla="*/ 34190 w 3718887"/>
              <a:gd name="connsiteY592" fmla="*/ 2990783 h 6994525"/>
              <a:gd name="connsiteX593" fmla="*/ 110017 w 3718887"/>
              <a:gd name="connsiteY593" fmla="*/ 3066658 h 6994525"/>
              <a:gd name="connsiteX594" fmla="*/ 72292 w 3718887"/>
              <a:gd name="connsiteY594" fmla="*/ 3142886 h 6994525"/>
              <a:gd name="connsiteX595" fmla="*/ 2673484 w 3718887"/>
              <a:gd name="connsiteY595" fmla="*/ 3189399 h 6994525"/>
              <a:gd name="connsiteX596" fmla="*/ 2559239 w 3718887"/>
              <a:gd name="connsiteY596" fmla="*/ 3075791 h 6994525"/>
              <a:gd name="connsiteX597" fmla="*/ 2672861 w 3718887"/>
              <a:gd name="connsiteY597" fmla="*/ 2961547 h 6994525"/>
              <a:gd name="connsiteX598" fmla="*/ 2787106 w 3718887"/>
              <a:gd name="connsiteY598" fmla="*/ 3075168 h 6994525"/>
              <a:gd name="connsiteX599" fmla="*/ 2673484 w 3718887"/>
              <a:gd name="connsiteY599" fmla="*/ 3189399 h 6994525"/>
              <a:gd name="connsiteX600" fmla="*/ 395180 w 3718887"/>
              <a:gd name="connsiteY600" fmla="*/ 3204915 h 6994525"/>
              <a:gd name="connsiteX601" fmla="*/ 330469 w 3718887"/>
              <a:gd name="connsiteY601" fmla="*/ 3140213 h 6994525"/>
              <a:gd name="connsiteX602" fmla="*/ 395180 w 3718887"/>
              <a:gd name="connsiteY602" fmla="*/ 3075519 h 6994525"/>
              <a:gd name="connsiteX603" fmla="*/ 459892 w 3718887"/>
              <a:gd name="connsiteY603" fmla="*/ 3140213 h 6994525"/>
              <a:gd name="connsiteX604" fmla="*/ 395180 w 3718887"/>
              <a:gd name="connsiteY604" fmla="*/ 3204915 h 6994525"/>
              <a:gd name="connsiteX605" fmla="*/ 1369184 w 3718887"/>
              <a:gd name="connsiteY605" fmla="*/ 3216661 h 6994525"/>
              <a:gd name="connsiteX606" fmla="*/ 1222928 w 3718887"/>
              <a:gd name="connsiteY606" fmla="*/ 3071054 h 6994525"/>
              <a:gd name="connsiteX607" fmla="*/ 1368555 w 3718887"/>
              <a:gd name="connsiteY607" fmla="*/ 2924797 h 6994525"/>
              <a:gd name="connsiteX608" fmla="*/ 1514811 w 3718887"/>
              <a:gd name="connsiteY608" fmla="*/ 3070425 h 6994525"/>
              <a:gd name="connsiteX609" fmla="*/ 1369184 w 3718887"/>
              <a:gd name="connsiteY609" fmla="*/ 3216661 h 6994525"/>
              <a:gd name="connsiteX610" fmla="*/ 3001708 w 3718887"/>
              <a:gd name="connsiteY610" fmla="*/ 3240171 h 6994525"/>
              <a:gd name="connsiteX611" fmla="*/ 2910689 w 3718887"/>
              <a:gd name="connsiteY611" fmla="*/ 3149775 h 6994525"/>
              <a:gd name="connsiteX612" fmla="*/ 3001079 w 3718887"/>
              <a:gd name="connsiteY612" fmla="*/ 3058763 h 6994525"/>
              <a:gd name="connsiteX613" fmla="*/ 3092104 w 3718887"/>
              <a:gd name="connsiteY613" fmla="*/ 3149152 h 6994525"/>
              <a:gd name="connsiteX614" fmla="*/ 3001708 w 3718887"/>
              <a:gd name="connsiteY614" fmla="*/ 3240171 h 6994525"/>
              <a:gd name="connsiteX615" fmla="*/ 725348 w 3718887"/>
              <a:gd name="connsiteY615" fmla="*/ 3278863 h 6994525"/>
              <a:gd name="connsiteX616" fmla="*/ 659746 w 3718887"/>
              <a:gd name="connsiteY616" fmla="*/ 3214185 h 6994525"/>
              <a:gd name="connsiteX617" fmla="*/ 724447 w 3718887"/>
              <a:gd name="connsiteY617" fmla="*/ 3149489 h 6994525"/>
              <a:gd name="connsiteX618" fmla="*/ 790040 w 3718887"/>
              <a:gd name="connsiteY618" fmla="*/ 3214185 h 6994525"/>
              <a:gd name="connsiteX619" fmla="*/ 725348 w 3718887"/>
              <a:gd name="connsiteY619" fmla="*/ 3278863 h 6994525"/>
              <a:gd name="connsiteX620" fmla="*/ 3328550 w 3718887"/>
              <a:gd name="connsiteY620" fmla="*/ 3288358 h 6994525"/>
              <a:gd name="connsiteX621" fmla="*/ 3263849 w 3718887"/>
              <a:gd name="connsiteY621" fmla="*/ 3223676 h 6994525"/>
              <a:gd name="connsiteX622" fmla="*/ 3328550 w 3718887"/>
              <a:gd name="connsiteY622" fmla="*/ 3158975 h 6994525"/>
              <a:gd name="connsiteX623" fmla="*/ 3393241 w 3718887"/>
              <a:gd name="connsiteY623" fmla="*/ 3223676 h 6994525"/>
              <a:gd name="connsiteX624" fmla="*/ 3328550 w 3718887"/>
              <a:gd name="connsiteY624" fmla="*/ 3288358 h 6994525"/>
              <a:gd name="connsiteX625" fmla="*/ 2026923 w 3718887"/>
              <a:gd name="connsiteY625" fmla="*/ 3351864 h 6994525"/>
              <a:gd name="connsiteX626" fmla="*/ 1893846 w 3718887"/>
              <a:gd name="connsiteY626" fmla="*/ 3219449 h 6994525"/>
              <a:gd name="connsiteX627" fmla="*/ 2026294 w 3718887"/>
              <a:gd name="connsiteY627" fmla="*/ 3086394 h 6994525"/>
              <a:gd name="connsiteX628" fmla="*/ 2159377 w 3718887"/>
              <a:gd name="connsiteY628" fmla="*/ 3218819 h 6994525"/>
              <a:gd name="connsiteX629" fmla="*/ 2026923 w 3718887"/>
              <a:gd name="connsiteY629" fmla="*/ 3351864 h 6994525"/>
              <a:gd name="connsiteX630" fmla="*/ 3654191 w 3718887"/>
              <a:gd name="connsiteY630" fmla="*/ 3362788 h 6994525"/>
              <a:gd name="connsiteX631" fmla="*/ 3589495 w 3718887"/>
              <a:gd name="connsiteY631" fmla="*/ 3298092 h 6994525"/>
              <a:gd name="connsiteX632" fmla="*/ 3654191 w 3718887"/>
              <a:gd name="connsiteY632" fmla="*/ 3233396 h 6994525"/>
              <a:gd name="connsiteX633" fmla="*/ 3718887 w 3718887"/>
              <a:gd name="connsiteY633" fmla="*/ 3298092 h 6994525"/>
              <a:gd name="connsiteX634" fmla="*/ 3654191 w 3718887"/>
              <a:gd name="connsiteY634" fmla="*/ 3362788 h 6994525"/>
              <a:gd name="connsiteX635" fmla="*/ 1051281 w 3718887"/>
              <a:gd name="connsiteY635" fmla="*/ 3392217 h 6994525"/>
              <a:gd name="connsiteX636" fmla="*/ 947080 w 3718887"/>
              <a:gd name="connsiteY636" fmla="*/ 3288654 h 6994525"/>
              <a:gd name="connsiteX637" fmla="*/ 1050652 w 3718887"/>
              <a:gd name="connsiteY637" fmla="*/ 3184495 h 6994525"/>
              <a:gd name="connsiteX638" fmla="*/ 1154859 w 3718887"/>
              <a:gd name="connsiteY638" fmla="*/ 3288026 h 6994525"/>
              <a:gd name="connsiteX639" fmla="*/ 1051281 w 3718887"/>
              <a:gd name="connsiteY639" fmla="*/ 3392217 h 6994525"/>
              <a:gd name="connsiteX640" fmla="*/ 2353099 w 3718887"/>
              <a:gd name="connsiteY640" fmla="*/ 3417066 h 6994525"/>
              <a:gd name="connsiteX641" fmla="*/ 2228804 w 3718887"/>
              <a:gd name="connsiteY641" fmla="*/ 3293408 h 6994525"/>
              <a:gd name="connsiteX642" fmla="*/ 2351841 w 3718887"/>
              <a:gd name="connsiteY642" fmla="*/ 3169149 h 6994525"/>
              <a:gd name="connsiteX643" fmla="*/ 2476130 w 3718887"/>
              <a:gd name="connsiteY643" fmla="*/ 3292781 h 6994525"/>
              <a:gd name="connsiteX644" fmla="*/ 2353099 w 3718887"/>
              <a:gd name="connsiteY644" fmla="*/ 3417066 h 6994525"/>
              <a:gd name="connsiteX645" fmla="*/ 2677885 w 3718887"/>
              <a:gd name="connsiteY645" fmla="*/ 3484158 h 6994525"/>
              <a:gd name="connsiteX646" fmla="*/ 2559868 w 3718887"/>
              <a:gd name="connsiteY646" fmla="*/ 3367413 h 6994525"/>
              <a:gd name="connsiteX647" fmla="*/ 2677255 w 3718887"/>
              <a:gd name="connsiteY647" fmla="*/ 3250056 h 6994525"/>
              <a:gd name="connsiteX648" fmla="*/ 2794643 w 3718887"/>
              <a:gd name="connsiteY648" fmla="*/ 3366783 h 6994525"/>
              <a:gd name="connsiteX649" fmla="*/ 2677885 w 3718887"/>
              <a:gd name="connsiteY649" fmla="*/ 3484158 h 6994525"/>
              <a:gd name="connsiteX650" fmla="*/ 394316 w 3718887"/>
              <a:gd name="connsiteY650" fmla="*/ 3496489 h 6994525"/>
              <a:gd name="connsiteX651" fmla="*/ 329602 w 3718887"/>
              <a:gd name="connsiteY651" fmla="*/ 3431820 h 6994525"/>
              <a:gd name="connsiteX652" fmla="*/ 394316 w 3718887"/>
              <a:gd name="connsiteY652" fmla="*/ 3367113 h 6994525"/>
              <a:gd name="connsiteX653" fmla="*/ 458994 w 3718887"/>
              <a:gd name="connsiteY653" fmla="*/ 3431820 h 6994525"/>
              <a:gd name="connsiteX654" fmla="*/ 394316 w 3718887"/>
              <a:gd name="connsiteY654" fmla="*/ 3496489 h 6994525"/>
              <a:gd name="connsiteX655" fmla="*/ 1375639 w 3718887"/>
              <a:gd name="connsiteY655" fmla="*/ 3508269 h 6994525"/>
              <a:gd name="connsiteX656" fmla="*/ 1229376 w 3718887"/>
              <a:gd name="connsiteY656" fmla="*/ 3362645 h 6994525"/>
              <a:gd name="connsiteX657" fmla="*/ 1374380 w 3718887"/>
              <a:gd name="connsiteY657" fmla="*/ 3216432 h 6994525"/>
              <a:gd name="connsiteX658" fmla="*/ 1521272 w 3718887"/>
              <a:gd name="connsiteY658" fmla="*/ 3362017 h 6994525"/>
              <a:gd name="connsiteX659" fmla="*/ 1375639 w 3718887"/>
              <a:gd name="connsiteY659" fmla="*/ 3508269 h 6994525"/>
              <a:gd name="connsiteX660" fmla="*/ 3000847 w 3718887"/>
              <a:gd name="connsiteY660" fmla="*/ 3532223 h 6994525"/>
              <a:gd name="connsiteX661" fmla="*/ 2909828 w 3718887"/>
              <a:gd name="connsiteY661" fmla="*/ 3441837 h 6994525"/>
              <a:gd name="connsiteX662" fmla="*/ 3000224 w 3718887"/>
              <a:gd name="connsiteY662" fmla="*/ 3350824 h 6994525"/>
              <a:gd name="connsiteX663" fmla="*/ 3091243 w 3718887"/>
              <a:gd name="connsiteY663" fmla="*/ 3441215 h 6994525"/>
              <a:gd name="connsiteX664" fmla="*/ 3000847 w 3718887"/>
              <a:gd name="connsiteY664" fmla="*/ 3532223 h 6994525"/>
              <a:gd name="connsiteX665" fmla="*/ 714591 w 3718887"/>
              <a:gd name="connsiteY665" fmla="*/ 3570467 h 6994525"/>
              <a:gd name="connsiteX666" fmla="*/ 648989 w 3718887"/>
              <a:gd name="connsiteY666" fmla="*/ 3505777 h 6994525"/>
              <a:gd name="connsiteX667" fmla="*/ 714591 w 3718887"/>
              <a:gd name="connsiteY667" fmla="*/ 3441087 h 6994525"/>
              <a:gd name="connsiteX668" fmla="*/ 779283 w 3718887"/>
              <a:gd name="connsiteY668" fmla="*/ 3505777 h 6994525"/>
              <a:gd name="connsiteX669" fmla="*/ 714591 w 3718887"/>
              <a:gd name="connsiteY669" fmla="*/ 3570467 h 6994525"/>
              <a:gd name="connsiteX670" fmla="*/ 3322958 w 3718887"/>
              <a:gd name="connsiteY670" fmla="*/ 3580434 h 6994525"/>
              <a:gd name="connsiteX671" fmla="*/ 3258257 w 3718887"/>
              <a:gd name="connsiteY671" fmla="*/ 3515742 h 6994525"/>
              <a:gd name="connsiteX672" fmla="*/ 3322958 w 3718887"/>
              <a:gd name="connsiteY672" fmla="*/ 3451046 h 6994525"/>
              <a:gd name="connsiteX673" fmla="*/ 3387649 w 3718887"/>
              <a:gd name="connsiteY673" fmla="*/ 3515742 h 6994525"/>
              <a:gd name="connsiteX674" fmla="*/ 3322958 w 3718887"/>
              <a:gd name="connsiteY674" fmla="*/ 3580434 h 6994525"/>
              <a:gd name="connsiteX675" fmla="*/ 2020040 w 3718887"/>
              <a:gd name="connsiteY675" fmla="*/ 3643497 h 6994525"/>
              <a:gd name="connsiteX676" fmla="*/ 1886963 w 3718887"/>
              <a:gd name="connsiteY676" fmla="*/ 3511048 h 6994525"/>
              <a:gd name="connsiteX677" fmla="*/ 2019411 w 3718887"/>
              <a:gd name="connsiteY677" fmla="*/ 3377990 h 6994525"/>
              <a:gd name="connsiteX678" fmla="*/ 2152488 w 3718887"/>
              <a:gd name="connsiteY678" fmla="*/ 3510419 h 6994525"/>
              <a:gd name="connsiteX679" fmla="*/ 2020040 w 3718887"/>
              <a:gd name="connsiteY679" fmla="*/ 3643497 h 6994525"/>
              <a:gd name="connsiteX680" fmla="*/ 3644749 w 3718887"/>
              <a:gd name="connsiteY680" fmla="*/ 3654438 h 6994525"/>
              <a:gd name="connsiteX681" fmla="*/ 3580030 w 3718887"/>
              <a:gd name="connsiteY681" fmla="*/ 3589766 h 6994525"/>
              <a:gd name="connsiteX682" fmla="*/ 3644749 w 3718887"/>
              <a:gd name="connsiteY682" fmla="*/ 3525047 h 6994525"/>
              <a:gd name="connsiteX683" fmla="*/ 3709422 w 3718887"/>
              <a:gd name="connsiteY683" fmla="*/ 3589766 h 6994525"/>
              <a:gd name="connsiteX684" fmla="*/ 3644749 w 3718887"/>
              <a:gd name="connsiteY684" fmla="*/ 3654438 h 6994525"/>
              <a:gd name="connsiteX685" fmla="*/ 1034172 w 3718887"/>
              <a:gd name="connsiteY685" fmla="*/ 3687006 h 6994525"/>
              <a:gd name="connsiteX686" fmla="*/ 926203 w 3718887"/>
              <a:gd name="connsiteY686" fmla="*/ 3580296 h 6994525"/>
              <a:gd name="connsiteX687" fmla="*/ 1033543 w 3718887"/>
              <a:gd name="connsiteY687" fmla="*/ 3472953 h 6994525"/>
              <a:gd name="connsiteX688" fmla="*/ 1140883 w 3718887"/>
              <a:gd name="connsiteY688" fmla="*/ 3579662 h 6994525"/>
              <a:gd name="connsiteX689" fmla="*/ 1034172 w 3718887"/>
              <a:gd name="connsiteY689" fmla="*/ 3687006 h 6994525"/>
              <a:gd name="connsiteX690" fmla="*/ 32953 w 3718887"/>
              <a:gd name="connsiteY690" fmla="*/ 3711701 h 6994525"/>
              <a:gd name="connsiteX691" fmla="*/ 9265 w 3718887"/>
              <a:gd name="connsiteY691" fmla="*/ 3706116 h 6994525"/>
              <a:gd name="connsiteX692" fmla="*/ 0 w 3718887"/>
              <a:gd name="connsiteY692" fmla="*/ 3699536 h 6994525"/>
              <a:gd name="connsiteX693" fmla="*/ 0 w 3718887"/>
              <a:gd name="connsiteY693" fmla="*/ 3607217 h 6994525"/>
              <a:gd name="connsiteX694" fmla="*/ 9265 w 3718887"/>
              <a:gd name="connsiteY694" fmla="*/ 3601332 h 6994525"/>
              <a:gd name="connsiteX695" fmla="*/ 32953 w 3718887"/>
              <a:gd name="connsiteY695" fmla="*/ 3582043 h 6994525"/>
              <a:gd name="connsiteX696" fmla="*/ 97971 w 3718887"/>
              <a:gd name="connsiteY696" fmla="*/ 3646713 h 6994525"/>
              <a:gd name="connsiteX697" fmla="*/ 32953 w 3718887"/>
              <a:gd name="connsiteY697" fmla="*/ 3711701 h 6994525"/>
              <a:gd name="connsiteX698" fmla="*/ 2341049 w 3718887"/>
              <a:gd name="connsiteY698" fmla="*/ 3714268 h 6994525"/>
              <a:gd name="connsiteX699" fmla="*/ 2211111 w 3718887"/>
              <a:gd name="connsiteY699" fmla="*/ 3585578 h 6994525"/>
              <a:gd name="connsiteX700" fmla="*/ 2339797 w 3718887"/>
              <a:gd name="connsiteY700" fmla="*/ 3455647 h 6994525"/>
              <a:gd name="connsiteX701" fmla="*/ 2469735 w 3718887"/>
              <a:gd name="connsiteY701" fmla="*/ 3584331 h 6994525"/>
              <a:gd name="connsiteX702" fmla="*/ 2341049 w 3718887"/>
              <a:gd name="connsiteY702" fmla="*/ 3714268 h 6994525"/>
              <a:gd name="connsiteX703" fmla="*/ 2661441 w 3718887"/>
              <a:gd name="connsiteY703" fmla="*/ 3778326 h 6994525"/>
              <a:gd name="connsiteX704" fmla="*/ 2541544 w 3718887"/>
              <a:gd name="connsiteY704" fmla="*/ 3659051 h 6994525"/>
              <a:gd name="connsiteX705" fmla="*/ 2660812 w 3718887"/>
              <a:gd name="connsiteY705" fmla="*/ 3539155 h 6994525"/>
              <a:gd name="connsiteX706" fmla="*/ 2780715 w 3718887"/>
              <a:gd name="connsiteY706" fmla="*/ 3658422 h 6994525"/>
              <a:gd name="connsiteX707" fmla="*/ 2661441 w 3718887"/>
              <a:gd name="connsiteY707" fmla="*/ 3778326 h 6994525"/>
              <a:gd name="connsiteX708" fmla="*/ 351445 w 3718887"/>
              <a:gd name="connsiteY708" fmla="*/ 3785371 h 6994525"/>
              <a:gd name="connsiteX709" fmla="*/ 285086 w 3718887"/>
              <a:gd name="connsiteY709" fmla="*/ 3722311 h 6994525"/>
              <a:gd name="connsiteX710" fmla="*/ 348119 w 3718887"/>
              <a:gd name="connsiteY710" fmla="*/ 3655949 h 6994525"/>
              <a:gd name="connsiteX711" fmla="*/ 414511 w 3718887"/>
              <a:gd name="connsiteY711" fmla="*/ 3718986 h 6994525"/>
              <a:gd name="connsiteX712" fmla="*/ 351445 w 3718887"/>
              <a:gd name="connsiteY712" fmla="*/ 3785371 h 6994525"/>
              <a:gd name="connsiteX713" fmla="*/ 2981063 w 3718887"/>
              <a:gd name="connsiteY713" fmla="*/ 3821052 h 6994525"/>
              <a:gd name="connsiteX714" fmla="*/ 2891927 w 3718887"/>
              <a:gd name="connsiteY714" fmla="*/ 3732534 h 6994525"/>
              <a:gd name="connsiteX715" fmla="*/ 2980433 w 3718887"/>
              <a:gd name="connsiteY715" fmla="*/ 3644024 h 6994525"/>
              <a:gd name="connsiteX716" fmla="*/ 3069569 w 3718887"/>
              <a:gd name="connsiteY716" fmla="*/ 3731912 h 6994525"/>
              <a:gd name="connsiteX717" fmla="*/ 2981063 w 3718887"/>
              <a:gd name="connsiteY717" fmla="*/ 3821052 h 6994525"/>
              <a:gd name="connsiteX718" fmla="*/ 667240 w 3718887"/>
              <a:gd name="connsiteY718" fmla="*/ 3858914 h 6994525"/>
              <a:gd name="connsiteX719" fmla="*/ 602125 w 3718887"/>
              <a:gd name="connsiteY719" fmla="*/ 3794628 h 6994525"/>
              <a:gd name="connsiteX720" fmla="*/ 666412 w 3718887"/>
              <a:gd name="connsiteY720" fmla="*/ 3729515 h 6994525"/>
              <a:gd name="connsiteX721" fmla="*/ 731527 w 3718887"/>
              <a:gd name="connsiteY721" fmla="*/ 3793801 h 6994525"/>
              <a:gd name="connsiteX722" fmla="*/ 667240 w 3718887"/>
              <a:gd name="connsiteY722" fmla="*/ 3858914 h 6994525"/>
              <a:gd name="connsiteX723" fmla="*/ 3300526 w 3718887"/>
              <a:gd name="connsiteY723" fmla="*/ 3871463 h 6994525"/>
              <a:gd name="connsiteX724" fmla="*/ 3235226 w 3718887"/>
              <a:gd name="connsiteY724" fmla="*/ 3807355 h 6994525"/>
              <a:gd name="connsiteX725" fmla="*/ 3299336 w 3718887"/>
              <a:gd name="connsiteY725" fmla="*/ 3742059 h 6994525"/>
              <a:gd name="connsiteX726" fmla="*/ 3364635 w 3718887"/>
              <a:gd name="connsiteY726" fmla="*/ 3806165 h 6994525"/>
              <a:gd name="connsiteX727" fmla="*/ 3300526 w 3718887"/>
              <a:gd name="connsiteY727" fmla="*/ 3871463 h 6994525"/>
              <a:gd name="connsiteX728" fmla="*/ 1989072 w 3718887"/>
              <a:gd name="connsiteY728" fmla="*/ 3937534 h 6994525"/>
              <a:gd name="connsiteX729" fmla="*/ 1852852 w 3718887"/>
              <a:gd name="connsiteY729" fmla="*/ 3801945 h 6994525"/>
              <a:gd name="connsiteX730" fmla="*/ 1987820 w 3718887"/>
              <a:gd name="connsiteY730" fmla="*/ 3665102 h 6994525"/>
              <a:gd name="connsiteX731" fmla="*/ 2124663 w 3718887"/>
              <a:gd name="connsiteY731" fmla="*/ 3800690 h 6994525"/>
              <a:gd name="connsiteX732" fmla="*/ 1989072 w 3718887"/>
              <a:gd name="connsiteY732" fmla="*/ 3937534 h 6994525"/>
              <a:gd name="connsiteX733" fmla="*/ 3619348 w 3718887"/>
              <a:gd name="connsiteY733" fmla="*/ 3945237 h 6994525"/>
              <a:gd name="connsiteX734" fmla="*/ 3554652 w 3718887"/>
              <a:gd name="connsiteY734" fmla="*/ 3880541 h 6994525"/>
              <a:gd name="connsiteX735" fmla="*/ 3619348 w 3718887"/>
              <a:gd name="connsiteY735" fmla="*/ 3815845 h 6994525"/>
              <a:gd name="connsiteX736" fmla="*/ 3684044 w 3718887"/>
              <a:gd name="connsiteY736" fmla="*/ 3880541 h 6994525"/>
              <a:gd name="connsiteX737" fmla="*/ 3619348 w 3718887"/>
              <a:gd name="connsiteY737" fmla="*/ 3945237 h 6994525"/>
              <a:gd name="connsiteX738" fmla="*/ 983648 w 3718887"/>
              <a:gd name="connsiteY738" fmla="*/ 3983681 h 6994525"/>
              <a:gd name="connsiteX739" fmla="*/ 867515 w 3718887"/>
              <a:gd name="connsiteY739" fmla="*/ 3868184 h 6994525"/>
              <a:gd name="connsiteX740" fmla="*/ 983019 w 3718887"/>
              <a:gd name="connsiteY740" fmla="*/ 3751429 h 6994525"/>
              <a:gd name="connsiteX741" fmla="*/ 1099775 w 3718887"/>
              <a:gd name="connsiteY741" fmla="*/ 3866931 h 6994525"/>
              <a:gd name="connsiteX742" fmla="*/ 983648 w 3718887"/>
              <a:gd name="connsiteY742" fmla="*/ 3983681 h 6994525"/>
              <a:gd name="connsiteX743" fmla="*/ 2307502 w 3718887"/>
              <a:gd name="connsiteY743" fmla="*/ 4008599 h 6994525"/>
              <a:gd name="connsiteX744" fmla="*/ 2173171 w 3718887"/>
              <a:gd name="connsiteY744" fmla="*/ 3875517 h 6994525"/>
              <a:gd name="connsiteX745" fmla="*/ 2306249 w 3718887"/>
              <a:gd name="connsiteY745" fmla="*/ 3741186 h 6994525"/>
              <a:gd name="connsiteX746" fmla="*/ 2440586 w 3718887"/>
              <a:gd name="connsiteY746" fmla="*/ 3874266 h 6994525"/>
              <a:gd name="connsiteX747" fmla="*/ 2307502 w 3718887"/>
              <a:gd name="connsiteY747" fmla="*/ 4008599 h 6994525"/>
              <a:gd name="connsiteX748" fmla="*/ 269481 w 3718887"/>
              <a:gd name="connsiteY748" fmla="*/ 4070013 h 6994525"/>
              <a:gd name="connsiteX749" fmla="*/ 198245 w 3718887"/>
              <a:gd name="connsiteY749" fmla="*/ 3998760 h 6994525"/>
              <a:gd name="connsiteX750" fmla="*/ 269481 w 3718887"/>
              <a:gd name="connsiteY750" fmla="*/ 3927506 h 6994525"/>
              <a:gd name="connsiteX751" fmla="*/ 322864 w 3718887"/>
              <a:gd name="connsiteY751" fmla="*/ 3998760 h 6994525"/>
              <a:gd name="connsiteX752" fmla="*/ 269481 w 3718887"/>
              <a:gd name="connsiteY752" fmla="*/ 4070013 h 6994525"/>
              <a:gd name="connsiteX753" fmla="*/ 2624870 w 3718887"/>
              <a:gd name="connsiteY753" fmla="*/ 4071398 h 6994525"/>
              <a:gd name="connsiteX754" fmla="*/ 2501830 w 3718887"/>
              <a:gd name="connsiteY754" fmla="*/ 3948989 h 6994525"/>
              <a:gd name="connsiteX755" fmla="*/ 2624241 w 3718887"/>
              <a:gd name="connsiteY755" fmla="*/ 3825947 h 6994525"/>
              <a:gd name="connsiteX756" fmla="*/ 2747281 w 3718887"/>
              <a:gd name="connsiteY756" fmla="*/ 3948360 h 6994525"/>
              <a:gd name="connsiteX757" fmla="*/ 2624870 w 3718887"/>
              <a:gd name="connsiteY757" fmla="*/ 4071398 h 6994525"/>
              <a:gd name="connsiteX758" fmla="*/ 1301316 w 3718887"/>
              <a:gd name="connsiteY758" fmla="*/ 4091771 h 6994525"/>
              <a:gd name="connsiteX759" fmla="*/ 1150034 w 3718887"/>
              <a:gd name="connsiteY759" fmla="*/ 3941739 h 6994525"/>
              <a:gd name="connsiteX760" fmla="*/ 1241926 w 3718887"/>
              <a:gd name="connsiteY760" fmla="*/ 3802712 h 6994525"/>
              <a:gd name="connsiteX761" fmla="*/ 1297741 w 3718887"/>
              <a:gd name="connsiteY761" fmla="*/ 3791076 h 6994525"/>
              <a:gd name="connsiteX762" fmla="*/ 1295263 w 3718887"/>
              <a:gd name="connsiteY762" fmla="*/ 3790590 h 6994525"/>
              <a:gd name="connsiteX763" fmla="*/ 1204167 w 3718887"/>
              <a:gd name="connsiteY763" fmla="*/ 3654382 h 6994525"/>
              <a:gd name="connsiteX764" fmla="*/ 1351683 w 3718887"/>
              <a:gd name="connsiteY764" fmla="*/ 3505615 h 6994525"/>
              <a:gd name="connsiteX765" fmla="*/ 1500451 w 3718887"/>
              <a:gd name="connsiteY765" fmla="*/ 3653123 h 6994525"/>
              <a:gd name="connsiteX766" fmla="*/ 1410499 w 3718887"/>
              <a:gd name="connsiteY766" fmla="*/ 3790219 h 6994525"/>
              <a:gd name="connsiteX767" fmla="*/ 1355143 w 3718887"/>
              <a:gd name="connsiteY767" fmla="*/ 3801455 h 6994525"/>
              <a:gd name="connsiteX768" fmla="*/ 1359098 w 3718887"/>
              <a:gd name="connsiteY768" fmla="*/ 3802252 h 6994525"/>
              <a:gd name="connsiteX769" fmla="*/ 1451346 w 3718887"/>
              <a:gd name="connsiteY769" fmla="*/ 3940489 h 6994525"/>
              <a:gd name="connsiteX770" fmla="*/ 1301316 w 3718887"/>
              <a:gd name="connsiteY770" fmla="*/ 4091771 h 6994525"/>
              <a:gd name="connsiteX771" fmla="*/ 2942346 w 3718887"/>
              <a:gd name="connsiteY771" fmla="*/ 4111701 h 6994525"/>
              <a:gd name="connsiteX772" fmla="*/ 2852574 w 3718887"/>
              <a:gd name="connsiteY772" fmla="*/ 4022561 h 6994525"/>
              <a:gd name="connsiteX773" fmla="*/ 2941716 w 3718887"/>
              <a:gd name="connsiteY773" fmla="*/ 3932792 h 6994525"/>
              <a:gd name="connsiteX774" fmla="*/ 3031488 w 3718887"/>
              <a:gd name="connsiteY774" fmla="*/ 4021932 h 6994525"/>
              <a:gd name="connsiteX775" fmla="*/ 2942346 w 3718887"/>
              <a:gd name="connsiteY775" fmla="*/ 4111701 h 6994525"/>
              <a:gd name="connsiteX776" fmla="*/ 582729 w 3718887"/>
              <a:gd name="connsiteY776" fmla="*/ 4137895 h 6994525"/>
              <a:gd name="connsiteX777" fmla="*/ 518022 w 3718887"/>
              <a:gd name="connsiteY777" fmla="*/ 4073191 h 6994525"/>
              <a:gd name="connsiteX778" fmla="*/ 582729 w 3718887"/>
              <a:gd name="connsiteY778" fmla="*/ 4008481 h 6994525"/>
              <a:gd name="connsiteX779" fmla="*/ 647435 w 3718887"/>
              <a:gd name="connsiteY779" fmla="*/ 4073191 h 6994525"/>
              <a:gd name="connsiteX780" fmla="*/ 582729 w 3718887"/>
              <a:gd name="connsiteY780" fmla="*/ 4137895 h 6994525"/>
              <a:gd name="connsiteX781" fmla="*/ 3259720 w 3718887"/>
              <a:gd name="connsiteY781" fmla="*/ 4160741 h 6994525"/>
              <a:gd name="connsiteX782" fmla="*/ 3195024 w 3718887"/>
              <a:gd name="connsiteY782" fmla="*/ 4096046 h 6994525"/>
              <a:gd name="connsiteX783" fmla="*/ 3259720 w 3718887"/>
              <a:gd name="connsiteY783" fmla="*/ 4031350 h 6994525"/>
              <a:gd name="connsiteX784" fmla="*/ 3324416 w 3718887"/>
              <a:gd name="connsiteY784" fmla="*/ 4096046 h 6994525"/>
              <a:gd name="connsiteX785" fmla="*/ 3259720 w 3718887"/>
              <a:gd name="connsiteY785" fmla="*/ 4160741 h 6994525"/>
              <a:gd name="connsiteX786" fmla="*/ 901912 w 3718887"/>
              <a:gd name="connsiteY786" fmla="*/ 4212852 h 6994525"/>
              <a:gd name="connsiteX787" fmla="*/ 837216 w 3718887"/>
              <a:gd name="connsiteY787" fmla="*/ 4148152 h 6994525"/>
              <a:gd name="connsiteX788" fmla="*/ 901229 w 3718887"/>
              <a:gd name="connsiteY788" fmla="*/ 4082776 h 6994525"/>
              <a:gd name="connsiteX789" fmla="*/ 966615 w 3718887"/>
              <a:gd name="connsiteY789" fmla="*/ 4147473 h 6994525"/>
              <a:gd name="connsiteX790" fmla="*/ 901912 w 3718887"/>
              <a:gd name="connsiteY790" fmla="*/ 4212852 h 6994525"/>
              <a:gd name="connsiteX791" fmla="*/ 1934868 w 3718887"/>
              <a:gd name="connsiteY791" fmla="*/ 4226874 h 6994525"/>
              <a:gd name="connsiteX792" fmla="*/ 1796139 w 3718887"/>
              <a:gd name="connsiteY792" fmla="*/ 4089399 h 6994525"/>
              <a:gd name="connsiteX793" fmla="*/ 1934239 w 3718887"/>
              <a:gd name="connsiteY793" fmla="*/ 3950039 h 6994525"/>
              <a:gd name="connsiteX794" fmla="*/ 2072968 w 3718887"/>
              <a:gd name="connsiteY794" fmla="*/ 4088141 h 6994525"/>
              <a:gd name="connsiteX795" fmla="*/ 1934868 w 3718887"/>
              <a:gd name="connsiteY795" fmla="*/ 4226874 h 6994525"/>
              <a:gd name="connsiteX796" fmla="*/ 3577620 w 3718887"/>
              <a:gd name="connsiteY796" fmla="*/ 4234315 h 6994525"/>
              <a:gd name="connsiteX797" fmla="*/ 3512924 w 3718887"/>
              <a:gd name="connsiteY797" fmla="*/ 4169618 h 6994525"/>
              <a:gd name="connsiteX798" fmla="*/ 3577620 w 3718887"/>
              <a:gd name="connsiteY798" fmla="*/ 4104922 h 6994525"/>
              <a:gd name="connsiteX799" fmla="*/ 3642316 w 3718887"/>
              <a:gd name="connsiteY799" fmla="*/ 4169618 h 6994525"/>
              <a:gd name="connsiteX800" fmla="*/ 3577620 w 3718887"/>
              <a:gd name="connsiteY800" fmla="*/ 4234315 h 6994525"/>
              <a:gd name="connsiteX801" fmla="*/ 2252011 w 3718887"/>
              <a:gd name="connsiteY801" fmla="*/ 4295104 h 6994525"/>
              <a:gd name="connsiteX802" fmla="*/ 2117672 w 3718887"/>
              <a:gd name="connsiteY802" fmla="*/ 4161391 h 6994525"/>
              <a:gd name="connsiteX803" fmla="*/ 2250752 w 3718887"/>
              <a:gd name="connsiteY803" fmla="*/ 4027679 h 6994525"/>
              <a:gd name="connsiteX804" fmla="*/ 2385091 w 3718887"/>
              <a:gd name="connsiteY804" fmla="*/ 4160762 h 6994525"/>
              <a:gd name="connsiteX805" fmla="*/ 2252011 w 3718887"/>
              <a:gd name="connsiteY805" fmla="*/ 4295104 h 6994525"/>
              <a:gd name="connsiteX806" fmla="*/ 134905 w 3718887"/>
              <a:gd name="connsiteY806" fmla="*/ 4326202 h 6994525"/>
              <a:gd name="connsiteX807" fmla="*/ 70209 w 3718887"/>
              <a:gd name="connsiteY807" fmla="*/ 4261484 h 6994525"/>
              <a:gd name="connsiteX808" fmla="*/ 134905 w 3718887"/>
              <a:gd name="connsiteY808" fmla="*/ 4196772 h 6994525"/>
              <a:gd name="connsiteX809" fmla="*/ 199601 w 3718887"/>
              <a:gd name="connsiteY809" fmla="*/ 4261484 h 6994525"/>
              <a:gd name="connsiteX810" fmla="*/ 134905 w 3718887"/>
              <a:gd name="connsiteY810" fmla="*/ 4326202 h 6994525"/>
              <a:gd name="connsiteX811" fmla="*/ 2569045 w 3718887"/>
              <a:gd name="connsiteY811" fmla="*/ 4351519 h 6994525"/>
              <a:gd name="connsiteX812" fmla="*/ 2452290 w 3718887"/>
              <a:gd name="connsiteY812" fmla="*/ 4236016 h 6994525"/>
              <a:gd name="connsiteX813" fmla="*/ 2567793 w 3718887"/>
              <a:gd name="connsiteY813" fmla="*/ 4119263 h 6994525"/>
              <a:gd name="connsiteX814" fmla="*/ 2684548 w 3718887"/>
              <a:gd name="connsiteY814" fmla="*/ 4234767 h 6994525"/>
              <a:gd name="connsiteX815" fmla="*/ 2569045 w 3718887"/>
              <a:gd name="connsiteY815" fmla="*/ 4351519 h 6994525"/>
              <a:gd name="connsiteX816" fmla="*/ 1221305 w 3718887"/>
              <a:gd name="connsiteY816" fmla="*/ 4352597 h 6994525"/>
              <a:gd name="connsiteX817" fmla="*/ 1090109 w 3718887"/>
              <a:gd name="connsiteY817" fmla="*/ 4222657 h 6994525"/>
              <a:gd name="connsiteX818" fmla="*/ 1220046 w 3718887"/>
              <a:gd name="connsiteY818" fmla="*/ 4091461 h 6994525"/>
              <a:gd name="connsiteX819" fmla="*/ 1351242 w 3718887"/>
              <a:gd name="connsiteY819" fmla="*/ 4221400 h 6994525"/>
              <a:gd name="connsiteX820" fmla="*/ 1221305 w 3718887"/>
              <a:gd name="connsiteY820" fmla="*/ 4352597 h 6994525"/>
              <a:gd name="connsiteX821" fmla="*/ 2885557 w 3718887"/>
              <a:gd name="connsiteY821" fmla="*/ 4393807 h 6994525"/>
              <a:gd name="connsiteX822" fmla="*/ 2800184 w 3718887"/>
              <a:gd name="connsiteY822" fmla="*/ 4309057 h 6994525"/>
              <a:gd name="connsiteX823" fmla="*/ 2884934 w 3718887"/>
              <a:gd name="connsiteY823" fmla="*/ 4223683 h 6994525"/>
              <a:gd name="connsiteX824" fmla="*/ 2970307 w 3718887"/>
              <a:gd name="connsiteY824" fmla="*/ 4308432 h 6994525"/>
              <a:gd name="connsiteX825" fmla="*/ 2885557 w 3718887"/>
              <a:gd name="connsiteY825" fmla="*/ 4393807 h 6994525"/>
              <a:gd name="connsiteX826" fmla="*/ 463566 w 3718887"/>
              <a:gd name="connsiteY826" fmla="*/ 4404587 h 6994525"/>
              <a:gd name="connsiteX827" fmla="*/ 398865 w 3718887"/>
              <a:gd name="connsiteY827" fmla="*/ 4339897 h 6994525"/>
              <a:gd name="connsiteX828" fmla="*/ 463566 w 3718887"/>
              <a:gd name="connsiteY828" fmla="*/ 4275194 h 6994525"/>
              <a:gd name="connsiteX829" fmla="*/ 528257 w 3718887"/>
              <a:gd name="connsiteY829" fmla="*/ 4339897 h 6994525"/>
              <a:gd name="connsiteX830" fmla="*/ 463566 w 3718887"/>
              <a:gd name="connsiteY830" fmla="*/ 4404587 h 6994525"/>
              <a:gd name="connsiteX831" fmla="*/ 3202505 w 3718887"/>
              <a:gd name="connsiteY831" fmla="*/ 4447238 h 6994525"/>
              <a:gd name="connsiteX832" fmla="*/ 3137809 w 3718887"/>
              <a:gd name="connsiteY832" fmla="*/ 4382541 h 6994525"/>
              <a:gd name="connsiteX833" fmla="*/ 3201387 w 3718887"/>
              <a:gd name="connsiteY833" fmla="*/ 4317845 h 6994525"/>
              <a:gd name="connsiteX834" fmla="*/ 3267201 w 3718887"/>
              <a:gd name="connsiteY834" fmla="*/ 4382541 h 6994525"/>
              <a:gd name="connsiteX835" fmla="*/ 3202505 w 3718887"/>
              <a:gd name="connsiteY835" fmla="*/ 4447238 h 6994525"/>
              <a:gd name="connsiteX836" fmla="*/ 789734 w 3718887"/>
              <a:gd name="connsiteY836" fmla="*/ 4500275 h 6994525"/>
              <a:gd name="connsiteX837" fmla="*/ 706249 w 3718887"/>
              <a:gd name="connsiteY837" fmla="*/ 4417418 h 6994525"/>
              <a:gd name="connsiteX838" fmla="*/ 789111 w 3718887"/>
              <a:gd name="connsiteY838" fmla="*/ 4333937 h 6994525"/>
              <a:gd name="connsiteX839" fmla="*/ 872595 w 3718887"/>
              <a:gd name="connsiteY839" fmla="*/ 4416792 h 6994525"/>
              <a:gd name="connsiteX840" fmla="*/ 789734 w 3718887"/>
              <a:gd name="connsiteY840" fmla="*/ 4500275 h 6994525"/>
              <a:gd name="connsiteX841" fmla="*/ 3519114 w 3718887"/>
              <a:gd name="connsiteY841" fmla="*/ 4520419 h 6994525"/>
              <a:gd name="connsiteX842" fmla="*/ 3454418 w 3718887"/>
              <a:gd name="connsiteY842" fmla="*/ 4455718 h 6994525"/>
              <a:gd name="connsiteX843" fmla="*/ 3519114 w 3718887"/>
              <a:gd name="connsiteY843" fmla="*/ 4391018 h 6994525"/>
              <a:gd name="connsiteX844" fmla="*/ 3583810 w 3718887"/>
              <a:gd name="connsiteY844" fmla="*/ 4455718 h 6994525"/>
              <a:gd name="connsiteX845" fmla="*/ 3519114 w 3718887"/>
              <a:gd name="connsiteY845" fmla="*/ 4520419 h 6994525"/>
              <a:gd name="connsiteX846" fmla="*/ 0 w 3718887"/>
              <a:gd name="connsiteY846" fmla="*/ 4559202 h 6994525"/>
              <a:gd name="connsiteX847" fmla="*/ 0 w 3718887"/>
              <a:gd name="connsiteY847" fmla="*/ 4444276 h 6994525"/>
              <a:gd name="connsiteX848" fmla="*/ 16192 w 3718887"/>
              <a:gd name="connsiteY848" fmla="*/ 4454676 h 6994525"/>
              <a:gd name="connsiteX849" fmla="*/ 35547 w 3718887"/>
              <a:gd name="connsiteY849" fmla="*/ 4501705 h 6994525"/>
              <a:gd name="connsiteX850" fmla="*/ 17910 w 3718887"/>
              <a:gd name="connsiteY850" fmla="*/ 4547264 h 6994525"/>
              <a:gd name="connsiteX851" fmla="*/ 2175337 w 3718887"/>
              <a:gd name="connsiteY851" fmla="*/ 4584925 h 6994525"/>
              <a:gd name="connsiteX852" fmla="*/ 2033469 w 3718887"/>
              <a:gd name="connsiteY852" fmla="*/ 4443687 h 6994525"/>
              <a:gd name="connsiteX853" fmla="*/ 2174708 w 3718887"/>
              <a:gd name="connsiteY853" fmla="*/ 4301820 h 6994525"/>
              <a:gd name="connsiteX854" fmla="*/ 2316576 w 3718887"/>
              <a:gd name="connsiteY854" fmla="*/ 4443056 h 6994525"/>
              <a:gd name="connsiteX855" fmla="*/ 2175337 w 3718887"/>
              <a:gd name="connsiteY855" fmla="*/ 4584925 h 6994525"/>
              <a:gd name="connsiteX856" fmla="*/ 1113226 w 3718887"/>
              <a:gd name="connsiteY856" fmla="*/ 4638768 h 6994525"/>
              <a:gd name="connsiteX857" fmla="*/ 966970 w 3718887"/>
              <a:gd name="connsiteY857" fmla="*/ 4493127 h 6994525"/>
              <a:gd name="connsiteX858" fmla="*/ 1112597 w 3718887"/>
              <a:gd name="connsiteY858" fmla="*/ 4346877 h 6994525"/>
              <a:gd name="connsiteX859" fmla="*/ 1258859 w 3718887"/>
              <a:gd name="connsiteY859" fmla="*/ 4492502 h 6994525"/>
              <a:gd name="connsiteX860" fmla="*/ 1113226 w 3718887"/>
              <a:gd name="connsiteY860" fmla="*/ 4638768 h 6994525"/>
              <a:gd name="connsiteX861" fmla="*/ 2493340 w 3718887"/>
              <a:gd name="connsiteY861" fmla="*/ 4642500 h 6994525"/>
              <a:gd name="connsiteX862" fmla="*/ 2367794 w 3718887"/>
              <a:gd name="connsiteY862" fmla="*/ 4518213 h 6994525"/>
              <a:gd name="connsiteX863" fmla="*/ 2492087 w 3718887"/>
              <a:gd name="connsiteY863" fmla="*/ 4392669 h 6994525"/>
              <a:gd name="connsiteX864" fmla="*/ 2617633 w 3718887"/>
              <a:gd name="connsiteY864" fmla="*/ 4516956 h 6994525"/>
              <a:gd name="connsiteX865" fmla="*/ 2493340 w 3718887"/>
              <a:gd name="connsiteY865" fmla="*/ 4642500 h 6994525"/>
              <a:gd name="connsiteX866" fmla="*/ 311808 w 3718887"/>
              <a:gd name="connsiteY866" fmla="*/ 4653247 h 6994525"/>
              <a:gd name="connsiteX867" fmla="*/ 246482 w 3718887"/>
              <a:gd name="connsiteY867" fmla="*/ 4588549 h 6994525"/>
              <a:gd name="connsiteX868" fmla="*/ 311808 w 3718887"/>
              <a:gd name="connsiteY868" fmla="*/ 4523857 h 6994525"/>
              <a:gd name="connsiteX869" fmla="*/ 376504 w 3718887"/>
              <a:gd name="connsiteY869" fmla="*/ 4588549 h 6994525"/>
              <a:gd name="connsiteX870" fmla="*/ 311808 w 3718887"/>
              <a:gd name="connsiteY870" fmla="*/ 4653247 h 6994525"/>
              <a:gd name="connsiteX871" fmla="*/ 2810807 w 3718887"/>
              <a:gd name="connsiteY871" fmla="*/ 4688467 h 6994525"/>
              <a:gd name="connsiteX872" fmla="*/ 2712880 w 3718887"/>
              <a:gd name="connsiteY872" fmla="*/ 4591796 h 6994525"/>
              <a:gd name="connsiteX873" fmla="*/ 2809549 w 3718887"/>
              <a:gd name="connsiteY873" fmla="*/ 4493865 h 6994525"/>
              <a:gd name="connsiteX874" fmla="*/ 2907476 w 3718887"/>
              <a:gd name="connsiteY874" fmla="*/ 4590537 h 6994525"/>
              <a:gd name="connsiteX875" fmla="*/ 2810807 w 3718887"/>
              <a:gd name="connsiteY875" fmla="*/ 4688467 h 6994525"/>
              <a:gd name="connsiteX876" fmla="*/ 3128182 w 3718887"/>
              <a:gd name="connsiteY876" fmla="*/ 4731178 h 6994525"/>
              <a:gd name="connsiteX877" fmla="*/ 3061639 w 3718887"/>
              <a:gd name="connsiteY877" fmla="*/ 4665269 h 6994525"/>
              <a:gd name="connsiteX878" fmla="*/ 3127553 w 3718887"/>
              <a:gd name="connsiteY878" fmla="*/ 4598723 h 6994525"/>
              <a:gd name="connsiteX879" fmla="*/ 3194090 w 3718887"/>
              <a:gd name="connsiteY879" fmla="*/ 4664640 h 6994525"/>
              <a:gd name="connsiteX880" fmla="*/ 3128182 w 3718887"/>
              <a:gd name="connsiteY880" fmla="*/ 4731178 h 6994525"/>
              <a:gd name="connsiteX881" fmla="*/ 647351 w 3718887"/>
              <a:gd name="connsiteY881" fmla="*/ 4776926 h 6994525"/>
              <a:gd name="connsiteX882" fmla="*/ 541889 w 3718887"/>
              <a:gd name="connsiteY882" fmla="*/ 4672094 h 6994525"/>
              <a:gd name="connsiteX883" fmla="*/ 646721 w 3718887"/>
              <a:gd name="connsiteY883" fmla="*/ 4566636 h 6994525"/>
              <a:gd name="connsiteX884" fmla="*/ 752183 w 3718887"/>
              <a:gd name="connsiteY884" fmla="*/ 4671464 h 6994525"/>
              <a:gd name="connsiteX885" fmla="*/ 647351 w 3718887"/>
              <a:gd name="connsiteY885" fmla="*/ 4776926 h 6994525"/>
              <a:gd name="connsiteX886" fmla="*/ 3445555 w 3718887"/>
              <a:gd name="connsiteY886" fmla="*/ 4803030 h 6994525"/>
              <a:gd name="connsiteX887" fmla="*/ 3380859 w 3718887"/>
              <a:gd name="connsiteY887" fmla="*/ 4738319 h 6994525"/>
              <a:gd name="connsiteX888" fmla="*/ 3445555 w 3718887"/>
              <a:gd name="connsiteY888" fmla="*/ 4673622 h 6994525"/>
              <a:gd name="connsiteX889" fmla="*/ 3510266 w 3718887"/>
              <a:gd name="connsiteY889" fmla="*/ 4738319 h 6994525"/>
              <a:gd name="connsiteX890" fmla="*/ 3445555 w 3718887"/>
              <a:gd name="connsiteY890" fmla="*/ 4803030 h 6994525"/>
              <a:gd name="connsiteX891" fmla="*/ 2078214 w 3718887"/>
              <a:gd name="connsiteY891" fmla="*/ 4859519 h 6994525"/>
              <a:gd name="connsiteX892" fmla="*/ 1936974 w 3718887"/>
              <a:gd name="connsiteY892" fmla="*/ 4719531 h 6994525"/>
              <a:gd name="connsiteX893" fmla="*/ 2076962 w 3718887"/>
              <a:gd name="connsiteY893" fmla="*/ 4578292 h 6994525"/>
              <a:gd name="connsiteX894" fmla="*/ 2218202 w 3718887"/>
              <a:gd name="connsiteY894" fmla="*/ 4718279 h 6994525"/>
              <a:gd name="connsiteX895" fmla="*/ 2078214 w 3718887"/>
              <a:gd name="connsiteY895" fmla="*/ 4859519 h 6994525"/>
              <a:gd name="connsiteX896" fmla="*/ 129027 w 3718887"/>
              <a:gd name="connsiteY896" fmla="*/ 4881022 h 6994525"/>
              <a:gd name="connsiteX897" fmla="*/ 63980 w 3718887"/>
              <a:gd name="connsiteY897" fmla="*/ 4816687 h 6994525"/>
              <a:gd name="connsiteX898" fmla="*/ 128318 w 3718887"/>
              <a:gd name="connsiteY898" fmla="*/ 4751635 h 6994525"/>
              <a:gd name="connsiteX899" fmla="*/ 193365 w 3718887"/>
              <a:gd name="connsiteY899" fmla="*/ 4815977 h 6994525"/>
              <a:gd name="connsiteX900" fmla="*/ 129027 w 3718887"/>
              <a:gd name="connsiteY900" fmla="*/ 4881022 h 6994525"/>
              <a:gd name="connsiteX901" fmla="*/ 979540 w 3718887"/>
              <a:gd name="connsiteY901" fmla="*/ 4898167 h 6994525"/>
              <a:gd name="connsiteX902" fmla="*/ 832652 w 3718887"/>
              <a:gd name="connsiteY902" fmla="*/ 4752532 h 6994525"/>
              <a:gd name="connsiteX903" fmla="*/ 978911 w 3718887"/>
              <a:gd name="connsiteY903" fmla="*/ 4606278 h 6994525"/>
              <a:gd name="connsiteX904" fmla="*/ 1125169 w 3718887"/>
              <a:gd name="connsiteY904" fmla="*/ 4751905 h 6994525"/>
              <a:gd name="connsiteX905" fmla="*/ 979540 w 3718887"/>
              <a:gd name="connsiteY905" fmla="*/ 4898167 h 6994525"/>
              <a:gd name="connsiteX906" fmla="*/ 2398269 w 3718887"/>
              <a:gd name="connsiteY906" fmla="*/ 4917831 h 6994525"/>
              <a:gd name="connsiteX907" fmla="*/ 2272721 w 3718887"/>
              <a:gd name="connsiteY907" fmla="*/ 4792906 h 6994525"/>
              <a:gd name="connsiteX908" fmla="*/ 2397016 w 3718887"/>
              <a:gd name="connsiteY908" fmla="*/ 4667987 h 6994525"/>
              <a:gd name="connsiteX909" fmla="*/ 2522564 w 3718887"/>
              <a:gd name="connsiteY909" fmla="*/ 4792277 h 6994525"/>
              <a:gd name="connsiteX910" fmla="*/ 2398269 w 3718887"/>
              <a:gd name="connsiteY910" fmla="*/ 4917831 h 6994525"/>
              <a:gd name="connsiteX911" fmla="*/ 2717263 w 3718887"/>
              <a:gd name="connsiteY911" fmla="*/ 4933051 h 6994525"/>
              <a:gd name="connsiteX912" fmla="*/ 2651979 w 3718887"/>
              <a:gd name="connsiteY912" fmla="*/ 4867765 h 6994525"/>
              <a:gd name="connsiteX913" fmla="*/ 2717263 w 3718887"/>
              <a:gd name="connsiteY913" fmla="*/ 4802481 h 6994525"/>
              <a:gd name="connsiteX914" fmla="*/ 2782546 w 3718887"/>
              <a:gd name="connsiteY914" fmla="*/ 4867765 h 6994525"/>
              <a:gd name="connsiteX915" fmla="*/ 2717263 w 3718887"/>
              <a:gd name="connsiteY915" fmla="*/ 4933051 h 6994525"/>
              <a:gd name="connsiteX916" fmla="*/ 3036454 w 3718887"/>
              <a:gd name="connsiteY916" fmla="*/ 5006903 h 6994525"/>
              <a:gd name="connsiteX917" fmla="*/ 2971758 w 3718887"/>
              <a:gd name="connsiteY917" fmla="*/ 4942206 h 6994525"/>
              <a:gd name="connsiteX918" fmla="*/ 3036454 w 3718887"/>
              <a:gd name="connsiteY918" fmla="*/ 4877509 h 6994525"/>
              <a:gd name="connsiteX919" fmla="*/ 3101150 w 3718887"/>
              <a:gd name="connsiteY919" fmla="*/ 4942206 h 6994525"/>
              <a:gd name="connsiteX920" fmla="*/ 3036454 w 3718887"/>
              <a:gd name="connsiteY920" fmla="*/ 5006903 h 6994525"/>
              <a:gd name="connsiteX921" fmla="*/ 477852 w 3718887"/>
              <a:gd name="connsiteY921" fmla="*/ 5009977 h 6994525"/>
              <a:gd name="connsiteX922" fmla="*/ 376790 w 3718887"/>
              <a:gd name="connsiteY922" fmla="*/ 4909537 h 6994525"/>
              <a:gd name="connsiteX923" fmla="*/ 477229 w 3718887"/>
              <a:gd name="connsiteY923" fmla="*/ 4808481 h 6994525"/>
              <a:gd name="connsiteX924" fmla="*/ 578291 w 3718887"/>
              <a:gd name="connsiteY924" fmla="*/ 4908915 h 6994525"/>
              <a:gd name="connsiteX925" fmla="*/ 477852 w 3718887"/>
              <a:gd name="connsiteY925" fmla="*/ 5009977 h 6994525"/>
              <a:gd name="connsiteX926" fmla="*/ 3355644 w 3718887"/>
              <a:gd name="connsiteY926" fmla="*/ 5080943 h 6994525"/>
              <a:gd name="connsiteX927" fmla="*/ 3290948 w 3718887"/>
              <a:gd name="connsiteY927" fmla="*/ 5016218 h 6994525"/>
              <a:gd name="connsiteX928" fmla="*/ 3355644 w 3718887"/>
              <a:gd name="connsiteY928" fmla="*/ 4951522 h 6994525"/>
              <a:gd name="connsiteX929" fmla="*/ 3420368 w 3718887"/>
              <a:gd name="connsiteY929" fmla="*/ 5016218 h 6994525"/>
              <a:gd name="connsiteX930" fmla="*/ 3355644 w 3718887"/>
              <a:gd name="connsiteY930" fmla="*/ 5080943 h 6994525"/>
              <a:gd name="connsiteX931" fmla="*/ 1960248 w 3718887"/>
              <a:gd name="connsiteY931" fmla="*/ 5110963 h 6994525"/>
              <a:gd name="connsiteX932" fmla="*/ 1834703 w 3718887"/>
              <a:gd name="connsiteY932" fmla="*/ 4986675 h 6994525"/>
              <a:gd name="connsiteX933" fmla="*/ 1959619 w 3718887"/>
              <a:gd name="connsiteY933" fmla="*/ 4861124 h 6994525"/>
              <a:gd name="connsiteX934" fmla="*/ 2085164 w 3718887"/>
              <a:gd name="connsiteY934" fmla="*/ 4985415 h 6994525"/>
              <a:gd name="connsiteX935" fmla="*/ 1960248 w 3718887"/>
              <a:gd name="connsiteY935" fmla="*/ 5110963 h 6994525"/>
              <a:gd name="connsiteX936" fmla="*/ 819946 w 3718887"/>
              <a:gd name="connsiteY936" fmla="*/ 5130916 h 6994525"/>
              <a:gd name="connsiteX937" fmla="*/ 685609 w 3718887"/>
              <a:gd name="connsiteY937" fmla="*/ 4997831 h 6994525"/>
              <a:gd name="connsiteX938" fmla="*/ 818687 w 3718887"/>
              <a:gd name="connsiteY938" fmla="*/ 4863499 h 6994525"/>
              <a:gd name="connsiteX939" fmla="*/ 953024 w 3718887"/>
              <a:gd name="connsiteY939" fmla="*/ 4996578 h 6994525"/>
              <a:gd name="connsiteX940" fmla="*/ 819946 w 3718887"/>
              <a:gd name="connsiteY940" fmla="*/ 5130916 h 6994525"/>
              <a:gd name="connsiteX941" fmla="*/ 2284172 w 3718887"/>
              <a:gd name="connsiteY941" fmla="*/ 5161907 h 6994525"/>
              <a:gd name="connsiteX942" fmla="*/ 2184363 w 3718887"/>
              <a:gd name="connsiteY942" fmla="*/ 5062725 h 6994525"/>
              <a:gd name="connsiteX943" fmla="*/ 2283543 w 3718887"/>
              <a:gd name="connsiteY943" fmla="*/ 4962916 h 6994525"/>
              <a:gd name="connsiteX944" fmla="*/ 2383351 w 3718887"/>
              <a:gd name="connsiteY944" fmla="*/ 5062097 h 6994525"/>
              <a:gd name="connsiteX945" fmla="*/ 2284172 w 3718887"/>
              <a:gd name="connsiteY945" fmla="*/ 5161907 h 6994525"/>
              <a:gd name="connsiteX946" fmla="*/ 2606705 w 3718887"/>
              <a:gd name="connsiteY946" fmla="*/ 5203204 h 6994525"/>
              <a:gd name="connsiteX947" fmla="*/ 2541422 w 3718887"/>
              <a:gd name="connsiteY947" fmla="*/ 5137920 h 6994525"/>
              <a:gd name="connsiteX948" fmla="*/ 2606705 w 3718887"/>
              <a:gd name="connsiteY948" fmla="*/ 5072634 h 6994525"/>
              <a:gd name="connsiteX949" fmla="*/ 2671989 w 3718887"/>
              <a:gd name="connsiteY949" fmla="*/ 5137920 h 6994525"/>
              <a:gd name="connsiteX950" fmla="*/ 2606705 w 3718887"/>
              <a:gd name="connsiteY950" fmla="*/ 5203204 h 6994525"/>
              <a:gd name="connsiteX951" fmla="*/ 282554 w 3718887"/>
              <a:gd name="connsiteY951" fmla="*/ 5227222 h 6994525"/>
              <a:gd name="connsiteX952" fmla="*/ 181492 w 3718887"/>
              <a:gd name="connsiteY952" fmla="*/ 5126781 h 6994525"/>
              <a:gd name="connsiteX953" fmla="*/ 281931 w 3718887"/>
              <a:gd name="connsiteY953" fmla="*/ 5025719 h 6994525"/>
              <a:gd name="connsiteX954" fmla="*/ 382993 w 3718887"/>
              <a:gd name="connsiteY954" fmla="*/ 5126157 h 6994525"/>
              <a:gd name="connsiteX955" fmla="*/ 282554 w 3718887"/>
              <a:gd name="connsiteY955" fmla="*/ 5227222 h 6994525"/>
              <a:gd name="connsiteX956" fmla="*/ 2928920 w 3718887"/>
              <a:gd name="connsiteY956" fmla="*/ 5278373 h 6994525"/>
              <a:gd name="connsiteX957" fmla="*/ 2864213 w 3718887"/>
              <a:gd name="connsiteY957" fmla="*/ 5213666 h 6994525"/>
              <a:gd name="connsiteX958" fmla="*/ 2928920 w 3718887"/>
              <a:gd name="connsiteY958" fmla="*/ 5148959 h 6994525"/>
              <a:gd name="connsiteX959" fmla="*/ 2993626 w 3718887"/>
              <a:gd name="connsiteY959" fmla="*/ 5213666 h 6994525"/>
              <a:gd name="connsiteX960" fmla="*/ 2928920 w 3718887"/>
              <a:gd name="connsiteY960" fmla="*/ 5278373 h 6994525"/>
              <a:gd name="connsiteX961" fmla="*/ 3250679 w 3718887"/>
              <a:gd name="connsiteY961" fmla="*/ 5353672 h 6994525"/>
              <a:gd name="connsiteX962" fmla="*/ 3179998 w 3718887"/>
              <a:gd name="connsiteY962" fmla="*/ 5289358 h 6994525"/>
              <a:gd name="connsiteX963" fmla="*/ 3250679 w 3718887"/>
              <a:gd name="connsiteY963" fmla="*/ 5225110 h 6994525"/>
              <a:gd name="connsiteX964" fmla="*/ 3321424 w 3718887"/>
              <a:gd name="connsiteY964" fmla="*/ 5289358 h 6994525"/>
              <a:gd name="connsiteX965" fmla="*/ 3250679 w 3718887"/>
              <a:gd name="connsiteY965" fmla="*/ 5353672 h 6994525"/>
              <a:gd name="connsiteX966" fmla="*/ 637118 w 3718887"/>
              <a:gd name="connsiteY966" fmla="*/ 5377314 h 6994525"/>
              <a:gd name="connsiteX967" fmla="*/ 483949 w 3718887"/>
              <a:gd name="connsiteY967" fmla="*/ 5225403 h 6994525"/>
              <a:gd name="connsiteX968" fmla="*/ 635859 w 3718887"/>
              <a:gd name="connsiteY968" fmla="*/ 5072239 h 6994525"/>
              <a:gd name="connsiteX969" fmla="*/ 789028 w 3718887"/>
              <a:gd name="connsiteY969" fmla="*/ 5224152 h 6994525"/>
              <a:gd name="connsiteX970" fmla="*/ 637118 w 3718887"/>
              <a:gd name="connsiteY970" fmla="*/ 5377314 h 6994525"/>
              <a:gd name="connsiteX971" fmla="*/ 1822594 w 3718887"/>
              <a:gd name="connsiteY971" fmla="*/ 5385068 h 6994525"/>
              <a:gd name="connsiteX972" fmla="*/ 1680726 w 3718887"/>
              <a:gd name="connsiteY972" fmla="*/ 5243827 h 6994525"/>
              <a:gd name="connsiteX973" fmla="*/ 1821965 w 3718887"/>
              <a:gd name="connsiteY973" fmla="*/ 5101958 h 6994525"/>
              <a:gd name="connsiteX974" fmla="*/ 1963833 w 3718887"/>
              <a:gd name="connsiteY974" fmla="*/ 5243198 h 6994525"/>
              <a:gd name="connsiteX975" fmla="*/ 1822594 w 3718887"/>
              <a:gd name="connsiteY975" fmla="*/ 5385068 h 6994525"/>
              <a:gd name="connsiteX976" fmla="*/ 64027 w 3718887"/>
              <a:gd name="connsiteY976" fmla="*/ 5415148 h 6994525"/>
              <a:gd name="connsiteX977" fmla="*/ 27135 w 3718887"/>
              <a:gd name="connsiteY977" fmla="*/ 5407753 h 6994525"/>
              <a:gd name="connsiteX978" fmla="*/ 0 w 3718887"/>
              <a:gd name="connsiteY978" fmla="*/ 5389675 h 6994525"/>
              <a:gd name="connsiteX979" fmla="*/ 0 w 3718887"/>
              <a:gd name="connsiteY979" fmla="*/ 5250177 h 6994525"/>
              <a:gd name="connsiteX980" fmla="*/ 26253 w 3718887"/>
              <a:gd name="connsiteY980" fmla="*/ 5232443 h 6994525"/>
              <a:gd name="connsiteX981" fmla="*/ 63398 w 3718887"/>
              <a:gd name="connsiteY981" fmla="*/ 5224949 h 6994525"/>
              <a:gd name="connsiteX982" fmla="*/ 158810 w 3718887"/>
              <a:gd name="connsiteY982" fmla="*/ 5319739 h 6994525"/>
              <a:gd name="connsiteX983" fmla="*/ 64027 w 3718887"/>
              <a:gd name="connsiteY983" fmla="*/ 5415148 h 6994525"/>
              <a:gd name="connsiteX984" fmla="*/ 2151676 w 3718887"/>
              <a:gd name="connsiteY984" fmla="*/ 5430955 h 6994525"/>
              <a:gd name="connsiteX985" fmla="*/ 2043083 w 3718887"/>
              <a:gd name="connsiteY985" fmla="*/ 5322992 h 6994525"/>
              <a:gd name="connsiteX986" fmla="*/ 2151054 w 3718887"/>
              <a:gd name="connsiteY986" fmla="*/ 5214390 h 6994525"/>
              <a:gd name="connsiteX987" fmla="*/ 2259647 w 3718887"/>
              <a:gd name="connsiteY987" fmla="*/ 5322361 h 6994525"/>
              <a:gd name="connsiteX988" fmla="*/ 2151676 w 3718887"/>
              <a:gd name="connsiteY988" fmla="*/ 5430955 h 6994525"/>
              <a:gd name="connsiteX989" fmla="*/ 2479474 w 3718887"/>
              <a:gd name="connsiteY989" fmla="*/ 5482904 h 6994525"/>
              <a:gd name="connsiteX990" fmla="*/ 2397238 w 3718887"/>
              <a:gd name="connsiteY990" fmla="*/ 5401304 h 6994525"/>
              <a:gd name="connsiteX991" fmla="*/ 2478845 w 3718887"/>
              <a:gd name="connsiteY991" fmla="*/ 5319068 h 6994525"/>
              <a:gd name="connsiteX992" fmla="*/ 2561075 w 3718887"/>
              <a:gd name="connsiteY992" fmla="*/ 5400674 h 6994525"/>
              <a:gd name="connsiteX993" fmla="*/ 2479474 w 3718887"/>
              <a:gd name="connsiteY993" fmla="*/ 5482904 h 6994525"/>
              <a:gd name="connsiteX994" fmla="*/ 2805452 w 3718887"/>
              <a:gd name="connsiteY994" fmla="*/ 5542928 h 6994525"/>
              <a:gd name="connsiteX995" fmla="*/ 2740750 w 3718887"/>
              <a:gd name="connsiteY995" fmla="*/ 5478225 h 6994525"/>
              <a:gd name="connsiteX996" fmla="*/ 2805452 w 3718887"/>
              <a:gd name="connsiteY996" fmla="*/ 5413523 h 6994525"/>
              <a:gd name="connsiteX997" fmla="*/ 2870155 w 3718887"/>
              <a:gd name="connsiteY997" fmla="*/ 5478225 h 6994525"/>
              <a:gd name="connsiteX998" fmla="*/ 2805452 w 3718887"/>
              <a:gd name="connsiteY998" fmla="*/ 5542928 h 6994525"/>
              <a:gd name="connsiteX999" fmla="*/ 432254 w 3718887"/>
              <a:gd name="connsiteY999" fmla="*/ 5561139 h 6994525"/>
              <a:gd name="connsiteX1000" fmla="*/ 303568 w 3718887"/>
              <a:gd name="connsiteY1000" fmla="*/ 5433082 h 6994525"/>
              <a:gd name="connsiteX1001" fmla="*/ 431625 w 3718887"/>
              <a:gd name="connsiteY1001" fmla="*/ 5304397 h 6994525"/>
              <a:gd name="connsiteX1002" fmla="*/ 560311 w 3718887"/>
              <a:gd name="connsiteY1002" fmla="*/ 5432453 h 6994525"/>
              <a:gd name="connsiteX1003" fmla="*/ 432254 w 3718887"/>
              <a:gd name="connsiteY1003" fmla="*/ 5561139 h 6994525"/>
              <a:gd name="connsiteX1004" fmla="*/ 1666966 w 3718887"/>
              <a:gd name="connsiteY1004" fmla="*/ 5607507 h 6994525"/>
              <a:gd name="connsiteX1005" fmla="*/ 1548950 w 3718887"/>
              <a:gd name="connsiteY1005" fmla="*/ 5490746 h 6994525"/>
              <a:gd name="connsiteX1006" fmla="*/ 1666337 w 3718887"/>
              <a:gd name="connsiteY1006" fmla="*/ 5373364 h 6994525"/>
              <a:gd name="connsiteX1007" fmla="*/ 1783723 w 3718887"/>
              <a:gd name="connsiteY1007" fmla="*/ 5490116 h 6994525"/>
              <a:gd name="connsiteX1008" fmla="*/ 1666966 w 3718887"/>
              <a:gd name="connsiteY1008" fmla="*/ 5607507 h 6994525"/>
              <a:gd name="connsiteX1009" fmla="*/ 3130114 w 3718887"/>
              <a:gd name="connsiteY1009" fmla="*/ 5619540 h 6994525"/>
              <a:gd name="connsiteX1010" fmla="*/ 3065553 w 3718887"/>
              <a:gd name="connsiteY1010" fmla="*/ 5554945 h 6994525"/>
              <a:gd name="connsiteX1011" fmla="*/ 3126741 w 3718887"/>
              <a:gd name="connsiteY1011" fmla="*/ 5490385 h 6994525"/>
              <a:gd name="connsiteX1012" fmla="*/ 3194709 w 3718887"/>
              <a:gd name="connsiteY1012" fmla="*/ 5554945 h 6994525"/>
              <a:gd name="connsiteX1013" fmla="*/ 3130114 w 3718887"/>
              <a:gd name="connsiteY1013" fmla="*/ 5619540 h 6994525"/>
              <a:gd name="connsiteX1014" fmla="*/ 2001975 w 3718887"/>
              <a:gd name="connsiteY1014" fmla="*/ 5659784 h 6994525"/>
              <a:gd name="connsiteX1015" fmla="*/ 1915348 w 3718887"/>
              <a:gd name="connsiteY1015" fmla="*/ 5573786 h 6994525"/>
              <a:gd name="connsiteX1016" fmla="*/ 2001345 w 3718887"/>
              <a:gd name="connsiteY1016" fmla="*/ 5487159 h 6994525"/>
              <a:gd name="connsiteX1017" fmla="*/ 2087972 w 3718887"/>
              <a:gd name="connsiteY1017" fmla="*/ 5573156 h 6994525"/>
              <a:gd name="connsiteX1018" fmla="*/ 2001975 w 3718887"/>
              <a:gd name="connsiteY1018" fmla="*/ 5659784 h 6994525"/>
              <a:gd name="connsiteX1019" fmla="*/ 2335375 w 3718887"/>
              <a:gd name="connsiteY1019" fmla="*/ 5719486 h 6994525"/>
              <a:gd name="connsiteX1020" fmla="*/ 2270353 w 3718887"/>
              <a:gd name="connsiteY1020" fmla="*/ 5655108 h 6994525"/>
              <a:gd name="connsiteX1021" fmla="*/ 2334730 w 3718887"/>
              <a:gd name="connsiteY1021" fmla="*/ 5590086 h 6994525"/>
              <a:gd name="connsiteX1022" fmla="*/ 2399751 w 3718887"/>
              <a:gd name="connsiteY1022" fmla="*/ 5654463 h 6994525"/>
              <a:gd name="connsiteX1023" fmla="*/ 2335375 w 3718887"/>
              <a:gd name="connsiteY1023" fmla="*/ 5719486 h 6994525"/>
              <a:gd name="connsiteX1024" fmla="*/ 208233 w 3718887"/>
              <a:gd name="connsiteY1024" fmla="*/ 5751408 h 6994525"/>
              <a:gd name="connsiteX1025" fmla="*/ 75786 w 3718887"/>
              <a:gd name="connsiteY1025" fmla="*/ 5620212 h 6994525"/>
              <a:gd name="connsiteX1026" fmla="*/ 207610 w 3718887"/>
              <a:gd name="connsiteY1026" fmla="*/ 5488386 h 6994525"/>
              <a:gd name="connsiteX1027" fmla="*/ 339428 w 3718887"/>
              <a:gd name="connsiteY1027" fmla="*/ 5619583 h 6994525"/>
              <a:gd name="connsiteX1028" fmla="*/ 208233 w 3718887"/>
              <a:gd name="connsiteY1028" fmla="*/ 5751408 h 6994525"/>
              <a:gd name="connsiteX1029" fmla="*/ 2666078 w 3718887"/>
              <a:gd name="connsiteY1029" fmla="*/ 5799312 h 6994525"/>
              <a:gd name="connsiteX1030" fmla="*/ 2601376 w 3718887"/>
              <a:gd name="connsiteY1030" fmla="*/ 5734609 h 6994525"/>
              <a:gd name="connsiteX1031" fmla="*/ 2666078 w 3718887"/>
              <a:gd name="connsiteY1031" fmla="*/ 5669907 h 6994525"/>
              <a:gd name="connsiteX1032" fmla="*/ 2730768 w 3718887"/>
              <a:gd name="connsiteY1032" fmla="*/ 5734609 h 6994525"/>
              <a:gd name="connsiteX1033" fmla="*/ 2666078 w 3718887"/>
              <a:gd name="connsiteY1033" fmla="*/ 5799312 h 6994525"/>
              <a:gd name="connsiteX1034" fmla="*/ 1492315 w 3718887"/>
              <a:gd name="connsiteY1034" fmla="*/ 5868417 h 6994525"/>
              <a:gd name="connsiteX1035" fmla="*/ 1347936 w 3718887"/>
              <a:gd name="connsiteY1035" fmla="*/ 5725296 h 6994525"/>
              <a:gd name="connsiteX1036" fmla="*/ 1491056 w 3718887"/>
              <a:gd name="connsiteY1036" fmla="*/ 5580914 h 6994525"/>
              <a:gd name="connsiteX1037" fmla="*/ 1635435 w 3718887"/>
              <a:gd name="connsiteY1037" fmla="*/ 5724037 h 6994525"/>
              <a:gd name="connsiteX1038" fmla="*/ 1492315 w 3718887"/>
              <a:gd name="connsiteY1038" fmla="*/ 5868417 h 6994525"/>
              <a:gd name="connsiteX1039" fmla="*/ 2995160 w 3718887"/>
              <a:gd name="connsiteY1039" fmla="*/ 5878794 h 6994525"/>
              <a:gd name="connsiteX1040" fmla="*/ 2930464 w 3718887"/>
              <a:gd name="connsiteY1040" fmla="*/ 5814081 h 6994525"/>
              <a:gd name="connsiteX1041" fmla="*/ 2995160 w 3718887"/>
              <a:gd name="connsiteY1041" fmla="*/ 5749367 h 6994525"/>
              <a:gd name="connsiteX1042" fmla="*/ 3059856 w 3718887"/>
              <a:gd name="connsiteY1042" fmla="*/ 5814081 h 6994525"/>
              <a:gd name="connsiteX1043" fmla="*/ 2995160 w 3718887"/>
              <a:gd name="connsiteY1043" fmla="*/ 5878794 h 6994525"/>
              <a:gd name="connsiteX1044" fmla="*/ 580240 w 3718887"/>
              <a:gd name="connsiteY1044" fmla="*/ 5882856 h 6994525"/>
              <a:gd name="connsiteX1045" fmla="*/ 433977 w 3718887"/>
              <a:gd name="connsiteY1045" fmla="*/ 5737224 h 6994525"/>
              <a:gd name="connsiteX1046" fmla="*/ 579611 w 3718887"/>
              <a:gd name="connsiteY1046" fmla="*/ 5590961 h 6994525"/>
              <a:gd name="connsiteX1047" fmla="*/ 636364 w 3718887"/>
              <a:gd name="connsiteY1047" fmla="*/ 5602418 h 6994525"/>
              <a:gd name="connsiteX1048" fmla="*/ 669550 w 3718887"/>
              <a:gd name="connsiteY1048" fmla="*/ 5624700 h 6994525"/>
              <a:gd name="connsiteX1049" fmla="*/ 650469 w 3718887"/>
              <a:gd name="connsiteY1049" fmla="*/ 5596632 h 6994525"/>
              <a:gd name="connsiteX1050" fmla="*/ 637993 w 3718887"/>
              <a:gd name="connsiteY1050" fmla="*/ 5536861 h 6994525"/>
              <a:gd name="connsiteX1051" fmla="*/ 791157 w 3718887"/>
              <a:gd name="connsiteY1051" fmla="*/ 5382443 h 6994525"/>
              <a:gd name="connsiteX1052" fmla="*/ 829413 w 3718887"/>
              <a:gd name="connsiteY1052" fmla="*/ 5389916 h 6994525"/>
              <a:gd name="connsiteX1053" fmla="*/ 825795 w 3718887"/>
              <a:gd name="connsiteY1053" fmla="*/ 5384597 h 6994525"/>
              <a:gd name="connsiteX1054" fmla="*/ 811877 w 3718887"/>
              <a:gd name="connsiteY1054" fmla="*/ 5317465 h 6994525"/>
              <a:gd name="connsiteX1055" fmla="*/ 983876 w 3718887"/>
              <a:gd name="connsiteY1055" fmla="*/ 5144212 h 6994525"/>
              <a:gd name="connsiteX1056" fmla="*/ 1003968 w 3718887"/>
              <a:gd name="connsiteY1056" fmla="*/ 5148148 h 6994525"/>
              <a:gd name="connsiteX1057" fmla="*/ 1003242 w 3718887"/>
              <a:gd name="connsiteY1057" fmla="*/ 5147081 h 6994525"/>
              <a:gd name="connsiteX1058" fmla="*/ 990030 w 3718887"/>
              <a:gd name="connsiteY1058" fmla="*/ 5082165 h 6994525"/>
              <a:gd name="connsiteX1059" fmla="*/ 1156377 w 3718887"/>
              <a:gd name="connsiteY1059" fmla="*/ 4914558 h 6994525"/>
              <a:gd name="connsiteX1060" fmla="*/ 1157320 w 3718887"/>
              <a:gd name="connsiteY1060" fmla="*/ 4914741 h 6994525"/>
              <a:gd name="connsiteX1061" fmla="*/ 1147184 w 3718887"/>
              <a:gd name="connsiteY1061" fmla="*/ 4899835 h 6994525"/>
              <a:gd name="connsiteX1062" fmla="*/ 1133063 w 3718887"/>
              <a:gd name="connsiteY1062" fmla="*/ 4831793 h 6994525"/>
              <a:gd name="connsiteX1063" fmla="*/ 1238901 w 3718887"/>
              <a:gd name="connsiteY1063" fmla="*/ 4670426 h 6994525"/>
              <a:gd name="connsiteX1064" fmla="*/ 1302861 w 3718887"/>
              <a:gd name="connsiteY1064" fmla="*/ 4657482 h 6994525"/>
              <a:gd name="connsiteX1065" fmla="*/ 1285895 w 3718887"/>
              <a:gd name="connsiteY1065" fmla="*/ 4632557 h 6994525"/>
              <a:gd name="connsiteX1066" fmla="*/ 1272751 w 3718887"/>
              <a:gd name="connsiteY1066" fmla="*/ 4569384 h 6994525"/>
              <a:gd name="connsiteX1067" fmla="*/ 1371528 w 3718887"/>
              <a:gd name="connsiteY1067" fmla="*/ 4419318 h 6994525"/>
              <a:gd name="connsiteX1068" fmla="*/ 1433163 w 3718887"/>
              <a:gd name="connsiteY1068" fmla="*/ 4406496 h 6994525"/>
              <a:gd name="connsiteX1069" fmla="*/ 1430650 w 3718887"/>
              <a:gd name="connsiteY1069" fmla="*/ 4404815 h 6994525"/>
              <a:gd name="connsiteX1070" fmla="*/ 1385219 w 3718887"/>
              <a:gd name="connsiteY1070" fmla="*/ 4296224 h 6994525"/>
              <a:gd name="connsiteX1071" fmla="*/ 1538381 w 3718887"/>
              <a:gd name="connsiteY1071" fmla="*/ 4141802 h 6994525"/>
              <a:gd name="connsiteX1072" fmla="*/ 1544525 w 3718887"/>
              <a:gd name="connsiteY1072" fmla="*/ 4143007 h 6994525"/>
              <a:gd name="connsiteX1073" fmla="*/ 1511406 w 3718887"/>
              <a:gd name="connsiteY1073" fmla="*/ 4120864 h 6994525"/>
              <a:gd name="connsiteX1074" fmla="*/ 1467073 w 3718887"/>
              <a:gd name="connsiteY1074" fmla="*/ 4014775 h 6994525"/>
              <a:gd name="connsiteX1075" fmla="*/ 1558705 w 3718887"/>
              <a:gd name="connsiteY1075" fmla="*/ 3876012 h 6994525"/>
              <a:gd name="connsiteX1076" fmla="*/ 1607131 w 3718887"/>
              <a:gd name="connsiteY1076" fmla="*/ 3866259 h 6994525"/>
              <a:gd name="connsiteX1077" fmla="*/ 1562279 w 3718887"/>
              <a:gd name="connsiteY1077" fmla="*/ 3836312 h 6994525"/>
              <a:gd name="connsiteX1078" fmla="*/ 1516849 w 3718887"/>
              <a:gd name="connsiteY1078" fmla="*/ 3727962 h 6994525"/>
              <a:gd name="connsiteX1079" fmla="*/ 1610332 w 3718887"/>
              <a:gd name="connsiteY1079" fmla="*/ 3585656 h 6994525"/>
              <a:gd name="connsiteX1080" fmla="*/ 1647563 w 3718887"/>
              <a:gd name="connsiteY1080" fmla="*/ 3578094 h 6994525"/>
              <a:gd name="connsiteX1081" fmla="*/ 1639313 w 3718887"/>
              <a:gd name="connsiteY1081" fmla="*/ 3576431 h 6994525"/>
              <a:gd name="connsiteX1082" fmla="*/ 1546361 w 3718887"/>
              <a:gd name="connsiteY1082" fmla="*/ 3437058 h 6994525"/>
              <a:gd name="connsiteX1083" fmla="*/ 1638517 w 3718887"/>
              <a:gd name="connsiteY1083" fmla="*/ 3297425 h 6994525"/>
              <a:gd name="connsiteX1084" fmla="*/ 1680874 w 3718887"/>
              <a:gd name="connsiteY1084" fmla="*/ 3288643 h 6994525"/>
              <a:gd name="connsiteX1085" fmla="*/ 1642437 w 3718887"/>
              <a:gd name="connsiteY1085" fmla="*/ 3281111 h 6994525"/>
              <a:gd name="connsiteX1086" fmla="*/ 1552046 w 3718887"/>
              <a:gd name="connsiteY1086" fmla="*/ 3146080 h 6994525"/>
              <a:gd name="connsiteX1087" fmla="*/ 1698937 w 3718887"/>
              <a:gd name="connsiteY1087" fmla="*/ 2997956 h 6994525"/>
              <a:gd name="connsiteX1088" fmla="*/ 1846451 w 3718887"/>
              <a:gd name="connsiteY1088" fmla="*/ 3144829 h 6994525"/>
              <a:gd name="connsiteX1089" fmla="*/ 1756674 w 3718887"/>
              <a:gd name="connsiteY1089" fmla="*/ 3280650 h 6994525"/>
              <a:gd name="connsiteX1090" fmla="*/ 1716184 w 3718887"/>
              <a:gd name="connsiteY1090" fmla="*/ 3288913 h 6994525"/>
              <a:gd name="connsiteX1091" fmla="*/ 1756509 w 3718887"/>
              <a:gd name="connsiteY1091" fmla="*/ 3297061 h 6994525"/>
              <a:gd name="connsiteX1092" fmla="*/ 1849550 w 3718887"/>
              <a:gd name="connsiteY1092" fmla="*/ 3436433 h 6994525"/>
              <a:gd name="connsiteX1093" fmla="*/ 1757129 w 3718887"/>
              <a:gd name="connsiteY1093" fmla="*/ 3576332 h 6994525"/>
              <a:gd name="connsiteX1094" fmla="*/ 1721353 w 3718887"/>
              <a:gd name="connsiteY1094" fmla="*/ 3583624 h 6994525"/>
              <a:gd name="connsiteX1095" fmla="*/ 1729804 w 3718887"/>
              <a:gd name="connsiteY1095" fmla="*/ 3585283 h 6994525"/>
              <a:gd name="connsiteX1096" fmla="*/ 1824435 w 3718887"/>
              <a:gd name="connsiteY1096" fmla="*/ 3726698 h 6994525"/>
              <a:gd name="connsiteX1097" fmla="*/ 1730952 w 3718887"/>
              <a:gd name="connsiteY1097" fmla="*/ 3868639 h 6994525"/>
              <a:gd name="connsiteX1098" fmla="*/ 1680961 w 3718887"/>
              <a:gd name="connsiteY1098" fmla="*/ 3879090 h 6994525"/>
              <a:gd name="connsiteX1099" fmla="*/ 1724131 w 3718887"/>
              <a:gd name="connsiteY1099" fmla="*/ 3908063 h 6994525"/>
              <a:gd name="connsiteX1100" fmla="*/ 1768385 w 3718887"/>
              <a:gd name="connsiteY1100" fmla="*/ 4014150 h 6994525"/>
              <a:gd name="connsiteX1101" fmla="*/ 1618355 w 3718887"/>
              <a:gd name="connsiteY1101" fmla="*/ 4164807 h 6994525"/>
              <a:gd name="connsiteX1102" fmla="*/ 1613709 w 3718887"/>
              <a:gd name="connsiteY1102" fmla="*/ 4163874 h 6994525"/>
              <a:gd name="connsiteX1103" fmla="*/ 1647370 w 3718887"/>
              <a:gd name="connsiteY1103" fmla="*/ 4186372 h 6994525"/>
              <a:gd name="connsiteX1104" fmla="*/ 1692801 w 3718887"/>
              <a:gd name="connsiteY1104" fmla="*/ 4294968 h 6994525"/>
              <a:gd name="connsiteX1105" fmla="*/ 1599408 w 3718887"/>
              <a:gd name="connsiteY1105" fmla="*/ 4436910 h 6994525"/>
              <a:gd name="connsiteX1106" fmla="*/ 1543097 w 3718887"/>
              <a:gd name="connsiteY1106" fmla="*/ 4448660 h 6994525"/>
              <a:gd name="connsiteX1107" fmla="*/ 1549971 w 3718887"/>
              <a:gd name="connsiteY1107" fmla="*/ 4453252 h 6994525"/>
              <a:gd name="connsiteX1108" fmla="*/ 1597914 w 3718887"/>
              <a:gd name="connsiteY1108" fmla="*/ 4568131 h 6994525"/>
              <a:gd name="connsiteX1109" fmla="*/ 1499223 w 3718887"/>
              <a:gd name="connsiteY1109" fmla="*/ 4718461 h 6994525"/>
              <a:gd name="connsiteX1110" fmla="*/ 1445826 w 3718887"/>
              <a:gd name="connsiteY1110" fmla="*/ 4729330 h 6994525"/>
              <a:gd name="connsiteX1111" fmla="*/ 1468306 w 3718887"/>
              <a:gd name="connsiteY1111" fmla="*/ 4762495 h 6994525"/>
              <a:gd name="connsiteX1112" fmla="*/ 1482077 w 3718887"/>
              <a:gd name="connsiteY1112" fmla="*/ 4830536 h 6994525"/>
              <a:gd name="connsiteX1113" fmla="*/ 1308199 w 3718887"/>
              <a:gd name="connsiteY1113" fmla="*/ 5005674 h 6994525"/>
              <a:gd name="connsiteX1114" fmla="*/ 1302861 w 3718887"/>
              <a:gd name="connsiteY1114" fmla="*/ 5004626 h 6994525"/>
              <a:gd name="connsiteX1115" fmla="*/ 1310505 w 3718887"/>
              <a:gd name="connsiteY1115" fmla="*/ 5015893 h 6994525"/>
              <a:gd name="connsiteX1116" fmla="*/ 1323982 w 3718887"/>
              <a:gd name="connsiteY1116" fmla="*/ 5080903 h 6994525"/>
              <a:gd name="connsiteX1117" fmla="*/ 1157635 w 3718887"/>
              <a:gd name="connsiteY1117" fmla="*/ 5248512 h 6994525"/>
              <a:gd name="connsiteX1118" fmla="*/ 1140879 w 3718887"/>
              <a:gd name="connsiteY1118" fmla="*/ 5245163 h 6994525"/>
              <a:gd name="connsiteX1119" fmla="*/ 1143480 w 3718887"/>
              <a:gd name="connsiteY1119" fmla="*/ 5248995 h 6994525"/>
              <a:gd name="connsiteX1120" fmla="*/ 1157133 w 3718887"/>
              <a:gd name="connsiteY1120" fmla="*/ 5316214 h 6994525"/>
              <a:gd name="connsiteX1121" fmla="*/ 985134 w 3718887"/>
              <a:gd name="connsiteY1121" fmla="*/ 5489471 h 6994525"/>
              <a:gd name="connsiteX1122" fmla="*/ 934152 w 3718887"/>
              <a:gd name="connsiteY1122" fmla="*/ 5479265 h 6994525"/>
              <a:gd name="connsiteX1123" fmla="*/ 945579 w 3718887"/>
              <a:gd name="connsiteY1123" fmla="*/ 5535604 h 6994525"/>
              <a:gd name="connsiteX1124" fmla="*/ 792415 w 3718887"/>
              <a:gd name="connsiteY1124" fmla="*/ 5690026 h 6994525"/>
              <a:gd name="connsiteX1125" fmla="*/ 732623 w 3718887"/>
              <a:gd name="connsiteY1125" fmla="*/ 5678276 h 6994525"/>
              <a:gd name="connsiteX1126" fmla="*/ 696944 w 3718887"/>
              <a:gd name="connsiteY1126" fmla="*/ 5654361 h 6994525"/>
              <a:gd name="connsiteX1127" fmla="*/ 714319 w 3718887"/>
              <a:gd name="connsiteY1127" fmla="*/ 5679942 h 6994525"/>
              <a:gd name="connsiteX1128" fmla="*/ 725873 w 3718887"/>
              <a:gd name="connsiteY1128" fmla="*/ 5736595 h 6994525"/>
              <a:gd name="connsiteX1129" fmla="*/ 580240 w 3718887"/>
              <a:gd name="connsiteY1129" fmla="*/ 5882856 h 6994525"/>
              <a:gd name="connsiteX1130" fmla="*/ 1835066 w 3718887"/>
              <a:gd name="connsiteY1130" fmla="*/ 5906921 h 6994525"/>
              <a:gd name="connsiteX1131" fmla="*/ 1740904 w 3718887"/>
              <a:gd name="connsiteY1131" fmla="*/ 5813388 h 6994525"/>
              <a:gd name="connsiteX1132" fmla="*/ 1834436 w 3718887"/>
              <a:gd name="connsiteY1132" fmla="*/ 5719226 h 6994525"/>
              <a:gd name="connsiteX1133" fmla="*/ 1928598 w 3718887"/>
              <a:gd name="connsiteY1133" fmla="*/ 5812758 h 6994525"/>
              <a:gd name="connsiteX1134" fmla="*/ 1835066 w 3718887"/>
              <a:gd name="connsiteY1134" fmla="*/ 5906921 h 6994525"/>
              <a:gd name="connsiteX1135" fmla="*/ 0 w 3718887"/>
              <a:gd name="connsiteY1135" fmla="*/ 5908550 h 6994525"/>
              <a:gd name="connsiteX1136" fmla="*/ 0 w 3718887"/>
              <a:gd name="connsiteY1136" fmla="*/ 5658693 h 6994525"/>
              <a:gd name="connsiteX1137" fmla="*/ 16628 w 3718887"/>
              <a:gd name="connsiteY1137" fmla="*/ 5662012 h 6994525"/>
              <a:gd name="connsiteX1138" fmla="*/ 97661 w 3718887"/>
              <a:gd name="connsiteY1138" fmla="*/ 5782949 h 6994525"/>
              <a:gd name="connsiteX1139" fmla="*/ 17686 w 3718887"/>
              <a:gd name="connsiteY1139" fmla="*/ 5904940 h 6994525"/>
              <a:gd name="connsiteX1140" fmla="*/ 2174916 w 3718887"/>
              <a:gd name="connsiteY1140" fmla="*/ 5963402 h 6994525"/>
              <a:gd name="connsiteX1141" fmla="*/ 2109894 w 3718887"/>
              <a:gd name="connsiteY1141" fmla="*/ 5899023 h 6994525"/>
              <a:gd name="connsiteX1142" fmla="*/ 2174271 w 3718887"/>
              <a:gd name="connsiteY1142" fmla="*/ 5834002 h 6994525"/>
              <a:gd name="connsiteX1143" fmla="*/ 2239292 w 3718887"/>
              <a:gd name="connsiteY1143" fmla="*/ 5898379 h 6994525"/>
              <a:gd name="connsiteX1144" fmla="*/ 2174916 w 3718887"/>
              <a:gd name="connsiteY1144" fmla="*/ 5963402 h 6994525"/>
              <a:gd name="connsiteX1145" fmla="*/ 944170 w 3718887"/>
              <a:gd name="connsiteY1145" fmla="*/ 5981628 h 6994525"/>
              <a:gd name="connsiteX1146" fmla="*/ 806700 w 3718887"/>
              <a:gd name="connsiteY1146" fmla="*/ 5844773 h 6994525"/>
              <a:gd name="connsiteX1147" fmla="*/ 943541 w 3718887"/>
              <a:gd name="connsiteY1147" fmla="*/ 5707303 h 6994525"/>
              <a:gd name="connsiteX1148" fmla="*/ 996802 w 3718887"/>
              <a:gd name="connsiteY1148" fmla="*/ 5718003 h 6994525"/>
              <a:gd name="connsiteX1149" fmla="*/ 1032709 w 3718887"/>
              <a:gd name="connsiteY1149" fmla="*/ 5742017 h 6994525"/>
              <a:gd name="connsiteX1150" fmla="*/ 1000297 w 3718887"/>
              <a:gd name="connsiteY1150" fmla="*/ 5694280 h 6994525"/>
              <a:gd name="connsiteX1151" fmla="*/ 987598 w 3718887"/>
              <a:gd name="connsiteY1151" fmla="*/ 5633221 h 6994525"/>
              <a:gd name="connsiteX1152" fmla="*/ 1143900 w 3718887"/>
              <a:gd name="connsiteY1152" fmla="*/ 5475666 h 6994525"/>
              <a:gd name="connsiteX1153" fmla="*/ 1182349 w 3718887"/>
              <a:gd name="connsiteY1153" fmla="*/ 5483194 h 6994525"/>
              <a:gd name="connsiteX1154" fmla="*/ 1173854 w 3718887"/>
              <a:gd name="connsiteY1154" fmla="*/ 5470670 h 6994525"/>
              <a:gd name="connsiteX1155" fmla="*/ 1160380 w 3718887"/>
              <a:gd name="connsiteY1155" fmla="*/ 5405666 h 6994525"/>
              <a:gd name="connsiteX1156" fmla="*/ 1326727 w 3718887"/>
              <a:gd name="connsiteY1156" fmla="*/ 5238060 h 6994525"/>
              <a:gd name="connsiteX1157" fmla="*/ 1346608 w 3718887"/>
              <a:gd name="connsiteY1157" fmla="*/ 5241952 h 6994525"/>
              <a:gd name="connsiteX1158" fmla="*/ 1337756 w 3718887"/>
              <a:gd name="connsiteY1158" fmla="*/ 5228905 h 6994525"/>
              <a:gd name="connsiteX1159" fmla="*/ 1324282 w 3718887"/>
              <a:gd name="connsiteY1159" fmla="*/ 5163893 h 6994525"/>
              <a:gd name="connsiteX1160" fmla="*/ 1490629 w 3718887"/>
              <a:gd name="connsiteY1160" fmla="*/ 4996287 h 6994525"/>
              <a:gd name="connsiteX1161" fmla="*/ 1513231 w 3718887"/>
              <a:gd name="connsiteY1161" fmla="*/ 5000811 h 6994525"/>
              <a:gd name="connsiteX1162" fmla="*/ 1492209 w 3718887"/>
              <a:gd name="connsiteY1162" fmla="*/ 4969814 h 6994525"/>
              <a:gd name="connsiteX1163" fmla="*/ 1479988 w 3718887"/>
              <a:gd name="connsiteY1163" fmla="*/ 4909668 h 6994525"/>
              <a:gd name="connsiteX1164" fmla="*/ 1633780 w 3718887"/>
              <a:gd name="connsiteY1164" fmla="*/ 4753981 h 6994525"/>
              <a:gd name="connsiteX1165" fmla="*/ 1653737 w 3718887"/>
              <a:gd name="connsiteY1165" fmla="*/ 4757973 h 6994525"/>
              <a:gd name="connsiteX1166" fmla="*/ 1647662 w 3718887"/>
              <a:gd name="connsiteY1166" fmla="*/ 4753897 h 6994525"/>
              <a:gd name="connsiteX1167" fmla="*/ 1602153 w 3718887"/>
              <a:gd name="connsiteY1167" fmla="*/ 4644671 h 6994525"/>
              <a:gd name="connsiteX1168" fmla="*/ 1756574 w 3718887"/>
              <a:gd name="connsiteY1168" fmla="*/ 4488988 h 6994525"/>
              <a:gd name="connsiteX1169" fmla="*/ 1778451 w 3718887"/>
              <a:gd name="connsiteY1169" fmla="*/ 4493388 h 6994525"/>
              <a:gd name="connsiteX1170" fmla="*/ 1751682 w 3718887"/>
              <a:gd name="connsiteY1170" fmla="*/ 4475444 h 6994525"/>
              <a:gd name="connsiteX1171" fmla="*/ 1707505 w 3718887"/>
              <a:gd name="connsiteY1171" fmla="*/ 4370218 h 6994525"/>
              <a:gd name="connsiteX1172" fmla="*/ 1856277 w 3718887"/>
              <a:gd name="connsiteY1172" fmla="*/ 4220194 h 6994525"/>
              <a:gd name="connsiteX1173" fmla="*/ 2006308 w 3718887"/>
              <a:gd name="connsiteY1173" fmla="*/ 4368965 h 6994525"/>
              <a:gd name="connsiteX1174" fmla="*/ 1857536 w 3718887"/>
              <a:gd name="connsiteY1174" fmla="*/ 4518996 h 6994525"/>
              <a:gd name="connsiteX1175" fmla="*/ 1837487 w 3718887"/>
              <a:gd name="connsiteY1175" fmla="*/ 4514981 h 6994525"/>
              <a:gd name="connsiteX1176" fmla="*/ 1866112 w 3718887"/>
              <a:gd name="connsiteY1176" fmla="*/ 4534185 h 6994525"/>
              <a:gd name="connsiteX1177" fmla="*/ 1911624 w 3718887"/>
              <a:gd name="connsiteY1177" fmla="*/ 4643414 h 6994525"/>
              <a:gd name="connsiteX1178" fmla="*/ 1757197 w 3718887"/>
              <a:gd name="connsiteY1178" fmla="*/ 4799095 h 6994525"/>
              <a:gd name="connsiteX1179" fmla="*/ 1737947 w 3718887"/>
              <a:gd name="connsiteY1179" fmla="*/ 4795224 h 6994525"/>
              <a:gd name="connsiteX1180" fmla="*/ 1743869 w 3718887"/>
              <a:gd name="connsiteY1180" fmla="*/ 4799182 h 6994525"/>
              <a:gd name="connsiteX1181" fmla="*/ 1789459 w 3718887"/>
              <a:gd name="connsiteY1181" fmla="*/ 4908411 h 6994525"/>
              <a:gd name="connsiteX1182" fmla="*/ 1635032 w 3718887"/>
              <a:gd name="connsiteY1182" fmla="*/ 5064095 h 6994525"/>
              <a:gd name="connsiteX1183" fmla="*/ 1619800 w 3718887"/>
              <a:gd name="connsiteY1183" fmla="*/ 5061030 h 6994525"/>
              <a:gd name="connsiteX1184" fmla="*/ 1644757 w 3718887"/>
              <a:gd name="connsiteY1184" fmla="*/ 5097714 h 6994525"/>
              <a:gd name="connsiteX1185" fmla="*/ 1658234 w 3718887"/>
              <a:gd name="connsiteY1185" fmla="*/ 5162634 h 6994525"/>
              <a:gd name="connsiteX1186" fmla="*/ 1491887 w 3718887"/>
              <a:gd name="connsiteY1186" fmla="*/ 5330242 h 6994525"/>
              <a:gd name="connsiteX1187" fmla="*/ 1472297 w 3718887"/>
              <a:gd name="connsiteY1187" fmla="*/ 5326403 h 6994525"/>
              <a:gd name="connsiteX1188" fmla="*/ 1481120 w 3718887"/>
              <a:gd name="connsiteY1188" fmla="*/ 5339398 h 6994525"/>
              <a:gd name="connsiteX1189" fmla="*/ 1494332 w 3718887"/>
              <a:gd name="connsiteY1189" fmla="*/ 5404407 h 6994525"/>
              <a:gd name="connsiteX1190" fmla="*/ 1327985 w 3718887"/>
              <a:gd name="connsiteY1190" fmla="*/ 5572010 h 6994525"/>
              <a:gd name="connsiteX1191" fmla="*/ 1283896 w 3718887"/>
              <a:gd name="connsiteY1191" fmla="*/ 5563367 h 6994525"/>
              <a:gd name="connsiteX1192" fmla="*/ 1289024 w 3718887"/>
              <a:gd name="connsiteY1192" fmla="*/ 5570914 h 6994525"/>
              <a:gd name="connsiteX1193" fmla="*/ 1301461 w 3718887"/>
              <a:gd name="connsiteY1193" fmla="*/ 5631968 h 6994525"/>
              <a:gd name="connsiteX1194" fmla="*/ 1145153 w 3718887"/>
              <a:gd name="connsiteY1194" fmla="*/ 5789530 h 6994525"/>
              <a:gd name="connsiteX1195" fmla="*/ 1084077 w 3718887"/>
              <a:gd name="connsiteY1195" fmla="*/ 5777556 h 6994525"/>
              <a:gd name="connsiteX1196" fmla="*/ 1041960 w 3718887"/>
              <a:gd name="connsiteY1196" fmla="*/ 5749347 h 6994525"/>
              <a:gd name="connsiteX1197" fmla="*/ 1070129 w 3718887"/>
              <a:gd name="connsiteY1197" fmla="*/ 5790723 h 6994525"/>
              <a:gd name="connsiteX1198" fmla="*/ 1081016 w 3718887"/>
              <a:gd name="connsiteY1198" fmla="*/ 5844149 h 6994525"/>
              <a:gd name="connsiteX1199" fmla="*/ 944170 w 3718887"/>
              <a:gd name="connsiteY1199" fmla="*/ 5981628 h 6994525"/>
              <a:gd name="connsiteX1200" fmla="*/ 2511644 w 3718887"/>
              <a:gd name="connsiteY1200" fmla="*/ 6047089 h 6994525"/>
              <a:gd name="connsiteX1201" fmla="*/ 2446943 w 3718887"/>
              <a:gd name="connsiteY1201" fmla="*/ 5982389 h 6994525"/>
              <a:gd name="connsiteX1202" fmla="*/ 2511644 w 3718887"/>
              <a:gd name="connsiteY1202" fmla="*/ 5917688 h 6994525"/>
              <a:gd name="connsiteX1203" fmla="*/ 2576345 w 3718887"/>
              <a:gd name="connsiteY1203" fmla="*/ 5982389 h 6994525"/>
              <a:gd name="connsiteX1204" fmla="*/ 2511644 w 3718887"/>
              <a:gd name="connsiteY1204" fmla="*/ 6047089 h 6994525"/>
              <a:gd name="connsiteX1205" fmla="*/ 351481 w 3718887"/>
              <a:gd name="connsiteY1205" fmla="*/ 6062421 h 6994525"/>
              <a:gd name="connsiteX1206" fmla="*/ 207102 w 3718887"/>
              <a:gd name="connsiteY1206" fmla="*/ 5919290 h 6994525"/>
              <a:gd name="connsiteX1207" fmla="*/ 350222 w 3718887"/>
              <a:gd name="connsiteY1207" fmla="*/ 5774911 h 6994525"/>
              <a:gd name="connsiteX1208" fmla="*/ 494601 w 3718887"/>
              <a:gd name="connsiteY1208" fmla="*/ 5918032 h 6994525"/>
              <a:gd name="connsiteX1209" fmla="*/ 351481 w 3718887"/>
              <a:gd name="connsiteY1209" fmla="*/ 6062421 h 6994525"/>
              <a:gd name="connsiteX1210" fmla="*/ 1301312 w 3718887"/>
              <a:gd name="connsiteY1210" fmla="*/ 6067134 h 6994525"/>
              <a:gd name="connsiteX1211" fmla="*/ 1178907 w 3718887"/>
              <a:gd name="connsiteY1211" fmla="*/ 5945983 h 6994525"/>
              <a:gd name="connsiteX1212" fmla="*/ 1300689 w 3718887"/>
              <a:gd name="connsiteY1212" fmla="*/ 5823570 h 6994525"/>
              <a:gd name="connsiteX1213" fmla="*/ 1422465 w 3718887"/>
              <a:gd name="connsiteY1213" fmla="*/ 5944724 h 6994525"/>
              <a:gd name="connsiteX1214" fmla="*/ 1301312 w 3718887"/>
              <a:gd name="connsiteY1214" fmla="*/ 6067134 h 6994525"/>
              <a:gd name="connsiteX1215" fmla="*/ 2846317 w 3718887"/>
              <a:gd name="connsiteY1215" fmla="*/ 6129704 h 6994525"/>
              <a:gd name="connsiteX1216" fmla="*/ 2781621 w 3718887"/>
              <a:gd name="connsiteY1216" fmla="*/ 6064988 h 6994525"/>
              <a:gd name="connsiteX1217" fmla="*/ 2846317 w 3718887"/>
              <a:gd name="connsiteY1217" fmla="*/ 6000292 h 6994525"/>
              <a:gd name="connsiteX1218" fmla="*/ 2911033 w 3718887"/>
              <a:gd name="connsiteY1218" fmla="*/ 6064988 h 6994525"/>
              <a:gd name="connsiteX1219" fmla="*/ 2846317 w 3718887"/>
              <a:gd name="connsiteY1219" fmla="*/ 6129704 h 6994525"/>
              <a:gd name="connsiteX1220" fmla="*/ 1652239 w 3718887"/>
              <a:gd name="connsiteY1220" fmla="*/ 6134497 h 6994525"/>
              <a:gd name="connsiteX1221" fmla="*/ 1558079 w 3718887"/>
              <a:gd name="connsiteY1221" fmla="*/ 6040967 h 6994525"/>
              <a:gd name="connsiteX1222" fmla="*/ 1651609 w 3718887"/>
              <a:gd name="connsiteY1222" fmla="*/ 5946808 h 6994525"/>
              <a:gd name="connsiteX1223" fmla="*/ 1745769 w 3718887"/>
              <a:gd name="connsiteY1223" fmla="*/ 6040337 h 6994525"/>
              <a:gd name="connsiteX1224" fmla="*/ 1652239 w 3718887"/>
              <a:gd name="connsiteY1224" fmla="*/ 6134497 h 6994525"/>
              <a:gd name="connsiteX1225" fmla="*/ 727026 w 3718887"/>
              <a:gd name="connsiteY1225" fmla="*/ 6180171 h 6994525"/>
              <a:gd name="connsiteX1226" fmla="*/ 585788 w 3718887"/>
              <a:gd name="connsiteY1226" fmla="*/ 6040185 h 6994525"/>
              <a:gd name="connsiteX1227" fmla="*/ 726397 w 3718887"/>
              <a:gd name="connsiteY1227" fmla="*/ 5898939 h 6994525"/>
              <a:gd name="connsiteX1228" fmla="*/ 867006 w 3718887"/>
              <a:gd name="connsiteY1228" fmla="*/ 6038933 h 6994525"/>
              <a:gd name="connsiteX1229" fmla="*/ 727026 w 3718887"/>
              <a:gd name="connsiteY1229" fmla="*/ 6180171 h 6994525"/>
              <a:gd name="connsiteX1230" fmla="*/ 1999598 w 3718887"/>
              <a:gd name="connsiteY1230" fmla="*/ 6197703 h 6994525"/>
              <a:gd name="connsiteX1231" fmla="*/ 1934391 w 3718887"/>
              <a:gd name="connsiteY1231" fmla="*/ 6133553 h 6994525"/>
              <a:gd name="connsiteX1232" fmla="*/ 1998544 w 3718887"/>
              <a:gd name="connsiteY1232" fmla="*/ 6067295 h 6994525"/>
              <a:gd name="connsiteX1233" fmla="*/ 2063752 w 3718887"/>
              <a:gd name="connsiteY1233" fmla="*/ 6132499 h 6994525"/>
              <a:gd name="connsiteX1234" fmla="*/ 1999598 w 3718887"/>
              <a:gd name="connsiteY1234" fmla="*/ 6197703 h 6994525"/>
              <a:gd name="connsiteX1235" fmla="*/ 3178847 w 3718887"/>
              <a:gd name="connsiteY1235" fmla="*/ 6210654 h 6994525"/>
              <a:gd name="connsiteX1236" fmla="*/ 3114151 w 3718887"/>
              <a:gd name="connsiteY1236" fmla="*/ 6145866 h 6994525"/>
              <a:gd name="connsiteX1237" fmla="*/ 3178847 w 3718887"/>
              <a:gd name="connsiteY1237" fmla="*/ 6081170 h 6994525"/>
              <a:gd name="connsiteX1238" fmla="*/ 3243635 w 3718887"/>
              <a:gd name="connsiteY1238" fmla="*/ 6145866 h 6994525"/>
              <a:gd name="connsiteX1239" fmla="*/ 3178847 w 3718887"/>
              <a:gd name="connsiteY1239" fmla="*/ 6210654 h 6994525"/>
              <a:gd name="connsiteX1240" fmla="*/ 107572 w 3718887"/>
              <a:gd name="connsiteY1240" fmla="*/ 6223995 h 6994525"/>
              <a:gd name="connsiteX1241" fmla="*/ 3998 w 3718887"/>
              <a:gd name="connsiteY1241" fmla="*/ 6181309 h 6994525"/>
              <a:gd name="connsiteX1242" fmla="*/ 0 w 3718887"/>
              <a:gd name="connsiteY1242" fmla="*/ 6175430 h 6994525"/>
              <a:gd name="connsiteX1243" fmla="*/ 0 w 3718887"/>
              <a:gd name="connsiteY1243" fmla="*/ 5979658 h 6994525"/>
              <a:gd name="connsiteX1244" fmla="*/ 3211 w 3718887"/>
              <a:gd name="connsiteY1244" fmla="*/ 5974866 h 6994525"/>
              <a:gd name="connsiteX1245" fmla="*/ 106943 w 3718887"/>
              <a:gd name="connsiteY1245" fmla="*/ 5932099 h 6994525"/>
              <a:gd name="connsiteX1246" fmla="*/ 253201 w 3718887"/>
              <a:gd name="connsiteY1246" fmla="*/ 6077734 h 6994525"/>
              <a:gd name="connsiteX1247" fmla="*/ 107572 w 3718887"/>
              <a:gd name="connsiteY1247" fmla="*/ 6223995 h 6994525"/>
              <a:gd name="connsiteX1248" fmla="*/ 1093967 w 3718887"/>
              <a:gd name="connsiteY1248" fmla="*/ 6270351 h 6994525"/>
              <a:gd name="connsiteX1249" fmla="*/ 974073 w 3718887"/>
              <a:gd name="connsiteY1249" fmla="*/ 6151078 h 6994525"/>
              <a:gd name="connsiteX1250" fmla="*/ 1092714 w 3718887"/>
              <a:gd name="connsiteY1250" fmla="*/ 6031181 h 6994525"/>
              <a:gd name="connsiteX1251" fmla="*/ 1212608 w 3718887"/>
              <a:gd name="connsiteY1251" fmla="*/ 6150448 h 6994525"/>
              <a:gd name="connsiteX1252" fmla="*/ 1093967 w 3718887"/>
              <a:gd name="connsiteY1252" fmla="*/ 6270351 h 6994525"/>
              <a:gd name="connsiteX1253" fmla="*/ 2342587 w 3718887"/>
              <a:gd name="connsiteY1253" fmla="*/ 6285418 h 6994525"/>
              <a:gd name="connsiteX1254" fmla="*/ 2277880 w 3718887"/>
              <a:gd name="connsiteY1254" fmla="*/ 6220712 h 6994525"/>
              <a:gd name="connsiteX1255" fmla="*/ 2342587 w 3718887"/>
              <a:gd name="connsiteY1255" fmla="*/ 6156005 h 6994525"/>
              <a:gd name="connsiteX1256" fmla="*/ 2407293 w 3718887"/>
              <a:gd name="connsiteY1256" fmla="*/ 6220712 h 6994525"/>
              <a:gd name="connsiteX1257" fmla="*/ 2342587 w 3718887"/>
              <a:gd name="connsiteY1257" fmla="*/ 6285418 h 6994525"/>
              <a:gd name="connsiteX1258" fmla="*/ 493774 w 3718887"/>
              <a:gd name="connsiteY1258" fmla="*/ 6344519 h 6994525"/>
              <a:gd name="connsiteX1259" fmla="*/ 365088 w 3718887"/>
              <a:gd name="connsiteY1259" fmla="*/ 6216463 h 6994525"/>
              <a:gd name="connsiteX1260" fmla="*/ 493145 w 3718887"/>
              <a:gd name="connsiteY1260" fmla="*/ 6087778 h 6994525"/>
              <a:gd name="connsiteX1261" fmla="*/ 621831 w 3718887"/>
              <a:gd name="connsiteY1261" fmla="*/ 6215834 h 6994525"/>
              <a:gd name="connsiteX1262" fmla="*/ 493774 w 3718887"/>
              <a:gd name="connsiteY1262" fmla="*/ 6344519 h 6994525"/>
              <a:gd name="connsiteX1263" fmla="*/ 1454361 w 3718887"/>
              <a:gd name="connsiteY1263" fmla="*/ 6357516 h 6994525"/>
              <a:gd name="connsiteX1264" fmla="*/ 1351410 w 3718887"/>
              <a:gd name="connsiteY1264" fmla="*/ 6255196 h 6994525"/>
              <a:gd name="connsiteX1265" fmla="*/ 1453731 w 3718887"/>
              <a:gd name="connsiteY1265" fmla="*/ 6152247 h 6994525"/>
              <a:gd name="connsiteX1266" fmla="*/ 1556682 w 3718887"/>
              <a:gd name="connsiteY1266" fmla="*/ 6254566 h 6994525"/>
              <a:gd name="connsiteX1267" fmla="*/ 1454361 w 3718887"/>
              <a:gd name="connsiteY1267" fmla="*/ 6357516 h 6994525"/>
              <a:gd name="connsiteX1268" fmla="*/ 2682869 w 3718887"/>
              <a:gd name="connsiteY1268" fmla="*/ 6371877 h 6994525"/>
              <a:gd name="connsiteX1269" fmla="*/ 2618150 w 3718887"/>
              <a:gd name="connsiteY1269" fmla="*/ 6307204 h 6994525"/>
              <a:gd name="connsiteX1270" fmla="*/ 2682869 w 3718887"/>
              <a:gd name="connsiteY1270" fmla="*/ 6242485 h 6994525"/>
              <a:gd name="connsiteX1271" fmla="*/ 2747542 w 3718887"/>
              <a:gd name="connsiteY1271" fmla="*/ 6307204 h 6994525"/>
              <a:gd name="connsiteX1272" fmla="*/ 2682869 w 3718887"/>
              <a:gd name="connsiteY1272" fmla="*/ 6371877 h 6994525"/>
              <a:gd name="connsiteX1273" fmla="*/ 1809156 w 3718887"/>
              <a:gd name="connsiteY1273" fmla="*/ 6428951 h 6994525"/>
              <a:gd name="connsiteX1274" fmla="*/ 1733831 w 3718887"/>
              <a:gd name="connsiteY1274" fmla="*/ 6353626 h 6994525"/>
              <a:gd name="connsiteX1275" fmla="*/ 1809156 w 3718887"/>
              <a:gd name="connsiteY1275" fmla="*/ 6278296 h 6994525"/>
              <a:gd name="connsiteX1276" fmla="*/ 1884481 w 3718887"/>
              <a:gd name="connsiteY1276" fmla="*/ 6352998 h 6994525"/>
              <a:gd name="connsiteX1277" fmla="*/ 1809156 w 3718887"/>
              <a:gd name="connsiteY1277" fmla="*/ 6428951 h 6994525"/>
              <a:gd name="connsiteX1278" fmla="*/ 871999 w 3718887"/>
              <a:gd name="connsiteY1278" fmla="*/ 6465599 h 6994525"/>
              <a:gd name="connsiteX1279" fmla="*/ 746453 w 3718887"/>
              <a:gd name="connsiteY1279" fmla="*/ 6341313 h 6994525"/>
              <a:gd name="connsiteX1280" fmla="*/ 870746 w 3718887"/>
              <a:gd name="connsiteY1280" fmla="*/ 6215769 h 6994525"/>
              <a:gd name="connsiteX1281" fmla="*/ 996292 w 3718887"/>
              <a:gd name="connsiteY1281" fmla="*/ 6340055 h 6994525"/>
              <a:gd name="connsiteX1282" fmla="*/ 871999 w 3718887"/>
              <a:gd name="connsiteY1282" fmla="*/ 6465599 h 6994525"/>
              <a:gd name="connsiteX1283" fmla="*/ 247710 w 3718887"/>
              <a:gd name="connsiteY1283" fmla="*/ 6508631 h 6994525"/>
              <a:gd name="connsiteX1284" fmla="*/ 111492 w 3718887"/>
              <a:gd name="connsiteY1284" fmla="*/ 6373043 h 6994525"/>
              <a:gd name="connsiteX1285" fmla="*/ 247081 w 3718887"/>
              <a:gd name="connsiteY1285" fmla="*/ 6236826 h 6994525"/>
              <a:gd name="connsiteX1286" fmla="*/ 383299 w 3718887"/>
              <a:gd name="connsiteY1286" fmla="*/ 6372414 h 6994525"/>
              <a:gd name="connsiteX1287" fmla="*/ 247710 w 3718887"/>
              <a:gd name="connsiteY1287" fmla="*/ 6508631 h 6994525"/>
              <a:gd name="connsiteX1288" fmla="*/ 2160210 w 3718887"/>
              <a:gd name="connsiteY1288" fmla="*/ 6513179 h 6994525"/>
              <a:gd name="connsiteX1289" fmla="*/ 2094838 w 3718887"/>
              <a:gd name="connsiteY1289" fmla="*/ 6449159 h 6994525"/>
              <a:gd name="connsiteX1290" fmla="*/ 2158858 w 3718887"/>
              <a:gd name="connsiteY1290" fmla="*/ 6383788 h 6994525"/>
              <a:gd name="connsiteX1291" fmla="*/ 2224230 w 3718887"/>
              <a:gd name="connsiteY1291" fmla="*/ 6447807 h 6994525"/>
              <a:gd name="connsiteX1292" fmla="*/ 2160210 w 3718887"/>
              <a:gd name="connsiteY1292" fmla="*/ 6513179 h 6994525"/>
              <a:gd name="connsiteX1293" fmla="*/ 1241852 w 3718887"/>
              <a:gd name="connsiteY1293" fmla="*/ 6541647 h 6994525"/>
              <a:gd name="connsiteX1294" fmla="*/ 1155225 w 3718887"/>
              <a:gd name="connsiteY1294" fmla="*/ 6455651 h 6994525"/>
              <a:gd name="connsiteX1295" fmla="*/ 1241222 w 3718887"/>
              <a:gd name="connsiteY1295" fmla="*/ 6369024 h 6994525"/>
              <a:gd name="connsiteX1296" fmla="*/ 1327849 w 3718887"/>
              <a:gd name="connsiteY1296" fmla="*/ 6455022 h 6994525"/>
              <a:gd name="connsiteX1297" fmla="*/ 1241852 w 3718887"/>
              <a:gd name="connsiteY1297" fmla="*/ 6541647 h 6994525"/>
              <a:gd name="connsiteX1298" fmla="*/ 2506494 w 3718887"/>
              <a:gd name="connsiteY1298" fmla="*/ 6604865 h 6994525"/>
              <a:gd name="connsiteX1299" fmla="*/ 2441780 w 3718887"/>
              <a:gd name="connsiteY1299" fmla="*/ 6543763 h 6994525"/>
              <a:gd name="connsiteX1300" fmla="*/ 2506494 w 3718887"/>
              <a:gd name="connsiteY1300" fmla="*/ 6475490 h 6994525"/>
              <a:gd name="connsiteX1301" fmla="*/ 2571172 w 3718887"/>
              <a:gd name="connsiteY1301" fmla="*/ 6540196 h 6994525"/>
              <a:gd name="connsiteX1302" fmla="*/ 2506494 w 3718887"/>
              <a:gd name="connsiteY1302" fmla="*/ 6604865 h 6994525"/>
              <a:gd name="connsiteX1303" fmla="*/ 636161 w 3718887"/>
              <a:gd name="connsiteY1303" fmla="*/ 6620104 h 6994525"/>
              <a:gd name="connsiteX1304" fmla="*/ 528818 w 3718887"/>
              <a:gd name="connsiteY1304" fmla="*/ 6512764 h 6994525"/>
              <a:gd name="connsiteX1305" fmla="*/ 635532 w 3718887"/>
              <a:gd name="connsiteY1305" fmla="*/ 6405425 h 6994525"/>
              <a:gd name="connsiteX1306" fmla="*/ 742875 w 3718887"/>
              <a:gd name="connsiteY1306" fmla="*/ 6512135 h 6994525"/>
              <a:gd name="connsiteX1307" fmla="*/ 636161 w 3718887"/>
              <a:gd name="connsiteY1307" fmla="*/ 6620104 h 6994525"/>
              <a:gd name="connsiteX1308" fmla="*/ 0 w 3718887"/>
              <a:gd name="connsiteY1308" fmla="*/ 6625003 h 6994525"/>
              <a:gd name="connsiteX1309" fmla="*/ 0 w 3718887"/>
              <a:gd name="connsiteY1309" fmla="*/ 6394664 h 6994525"/>
              <a:gd name="connsiteX1310" fmla="*/ 34326 w 3718887"/>
              <a:gd name="connsiteY1310" fmla="*/ 6401495 h 6994525"/>
              <a:gd name="connsiteX1311" fmla="*/ 106355 w 3718887"/>
              <a:gd name="connsiteY1311" fmla="*/ 6509100 h 6994525"/>
              <a:gd name="connsiteX1312" fmla="*/ 35208 w 3718887"/>
              <a:gd name="connsiteY1312" fmla="*/ 6617856 h 6994525"/>
              <a:gd name="connsiteX1313" fmla="*/ 1605782 w 3718887"/>
              <a:gd name="connsiteY1313" fmla="*/ 6627599 h 6994525"/>
              <a:gd name="connsiteX1314" fmla="*/ 1540767 w 3718887"/>
              <a:gd name="connsiteY1314" fmla="*/ 6563214 h 6994525"/>
              <a:gd name="connsiteX1315" fmla="*/ 1605149 w 3718887"/>
              <a:gd name="connsiteY1315" fmla="*/ 6498202 h 6994525"/>
              <a:gd name="connsiteX1316" fmla="*/ 1670171 w 3718887"/>
              <a:gd name="connsiteY1316" fmla="*/ 6562587 h 6994525"/>
              <a:gd name="connsiteX1317" fmla="*/ 1605782 w 3718887"/>
              <a:gd name="connsiteY1317" fmla="*/ 6627599 h 6994525"/>
              <a:gd name="connsiteX1318" fmla="*/ 1964034 w 3718887"/>
              <a:gd name="connsiteY1318" fmla="*/ 6729553 h 6994525"/>
              <a:gd name="connsiteX1319" fmla="*/ 1898683 w 3718887"/>
              <a:gd name="connsiteY1319" fmla="*/ 6665550 h 6994525"/>
              <a:gd name="connsiteX1320" fmla="*/ 1962683 w 3718887"/>
              <a:gd name="connsiteY1320" fmla="*/ 6600183 h 6994525"/>
              <a:gd name="connsiteX1321" fmla="*/ 2028034 w 3718887"/>
              <a:gd name="connsiteY1321" fmla="*/ 6664185 h 6994525"/>
              <a:gd name="connsiteX1322" fmla="*/ 1964034 w 3718887"/>
              <a:gd name="connsiteY1322" fmla="*/ 6729553 h 6994525"/>
              <a:gd name="connsiteX1323" fmla="*/ 1016008 w 3718887"/>
              <a:gd name="connsiteY1323" fmla="*/ 6740237 h 6994525"/>
              <a:gd name="connsiteX1324" fmla="*/ 916199 w 3718887"/>
              <a:gd name="connsiteY1324" fmla="*/ 6641058 h 6994525"/>
              <a:gd name="connsiteX1325" fmla="*/ 1015378 w 3718887"/>
              <a:gd name="connsiteY1325" fmla="*/ 6541249 h 6994525"/>
              <a:gd name="connsiteX1326" fmla="*/ 1115187 w 3718887"/>
              <a:gd name="connsiteY1326" fmla="*/ 6640428 h 6994525"/>
              <a:gd name="connsiteX1327" fmla="*/ 1016008 w 3718887"/>
              <a:gd name="connsiteY1327" fmla="*/ 6740237 h 6994525"/>
              <a:gd name="connsiteX1328" fmla="*/ 388474 w 3718887"/>
              <a:gd name="connsiteY1328" fmla="*/ 6779360 h 6994525"/>
              <a:gd name="connsiteX1329" fmla="*/ 276110 w 3718887"/>
              <a:gd name="connsiteY1329" fmla="*/ 6668248 h 6994525"/>
              <a:gd name="connsiteX1330" fmla="*/ 387221 w 3718887"/>
              <a:gd name="connsiteY1330" fmla="*/ 6555884 h 6994525"/>
              <a:gd name="connsiteX1331" fmla="*/ 499585 w 3718887"/>
              <a:gd name="connsiteY1331" fmla="*/ 6666996 h 6994525"/>
              <a:gd name="connsiteX1332" fmla="*/ 388474 w 3718887"/>
              <a:gd name="connsiteY1332" fmla="*/ 6779360 h 6994525"/>
              <a:gd name="connsiteX1333" fmla="*/ 2317645 w 3718887"/>
              <a:gd name="connsiteY1333" fmla="*/ 6827001 h 6994525"/>
              <a:gd name="connsiteX1334" fmla="*/ 2252931 w 3718887"/>
              <a:gd name="connsiteY1334" fmla="*/ 6762323 h 6994525"/>
              <a:gd name="connsiteX1335" fmla="*/ 2317645 w 3718887"/>
              <a:gd name="connsiteY1335" fmla="*/ 6697609 h 6994525"/>
              <a:gd name="connsiteX1336" fmla="*/ 2382323 w 3718887"/>
              <a:gd name="connsiteY1336" fmla="*/ 6762323 h 6994525"/>
              <a:gd name="connsiteX1337" fmla="*/ 2317645 w 3718887"/>
              <a:gd name="connsiteY1337" fmla="*/ 6827001 h 6994525"/>
              <a:gd name="connsiteX1338" fmla="*/ 1388540 w 3718887"/>
              <a:gd name="connsiteY1338" fmla="*/ 6844934 h 6994525"/>
              <a:gd name="connsiteX1339" fmla="*/ 1301913 w 3718887"/>
              <a:gd name="connsiteY1339" fmla="*/ 6758937 h 6994525"/>
              <a:gd name="connsiteX1340" fmla="*/ 1387910 w 3718887"/>
              <a:gd name="connsiteY1340" fmla="*/ 6672311 h 6994525"/>
              <a:gd name="connsiteX1341" fmla="*/ 1474537 w 3718887"/>
              <a:gd name="connsiteY1341" fmla="*/ 6758308 h 6994525"/>
              <a:gd name="connsiteX1342" fmla="*/ 1388540 w 3718887"/>
              <a:gd name="connsiteY1342" fmla="*/ 6844934 h 6994525"/>
              <a:gd name="connsiteX1343" fmla="*/ 778121 w 3718887"/>
              <a:gd name="connsiteY1343" fmla="*/ 6891725 h 6994525"/>
              <a:gd name="connsiteX1344" fmla="*/ 695885 w 3718887"/>
              <a:gd name="connsiteY1344" fmla="*/ 6810125 h 6994525"/>
              <a:gd name="connsiteX1345" fmla="*/ 777492 w 3718887"/>
              <a:gd name="connsiteY1345" fmla="*/ 6727888 h 6994525"/>
              <a:gd name="connsiteX1346" fmla="*/ 859722 w 3718887"/>
              <a:gd name="connsiteY1346" fmla="*/ 6809495 h 6994525"/>
              <a:gd name="connsiteX1347" fmla="*/ 778121 w 3718887"/>
              <a:gd name="connsiteY1347" fmla="*/ 6891725 h 6994525"/>
              <a:gd name="connsiteX1348" fmla="*/ 129309 w 3718887"/>
              <a:gd name="connsiteY1348" fmla="*/ 6896031 h 6994525"/>
              <a:gd name="connsiteX1349" fmla="*/ 36408 w 3718887"/>
              <a:gd name="connsiteY1349" fmla="*/ 6803129 h 6994525"/>
              <a:gd name="connsiteX1350" fmla="*/ 128686 w 3718887"/>
              <a:gd name="connsiteY1350" fmla="*/ 6710220 h 6994525"/>
              <a:gd name="connsiteX1351" fmla="*/ 222215 w 3718887"/>
              <a:gd name="connsiteY1351" fmla="*/ 6802500 h 6994525"/>
              <a:gd name="connsiteX1352" fmla="*/ 129309 w 3718887"/>
              <a:gd name="connsiteY1352" fmla="*/ 6896031 h 6994525"/>
              <a:gd name="connsiteX1353" fmla="*/ 1754959 w 3718887"/>
              <a:gd name="connsiteY1353" fmla="*/ 6933471 h 6994525"/>
              <a:gd name="connsiteX1354" fmla="*/ 1689840 w 3718887"/>
              <a:gd name="connsiteY1354" fmla="*/ 6868349 h 6994525"/>
              <a:gd name="connsiteX1355" fmla="*/ 1754959 w 3718887"/>
              <a:gd name="connsiteY1355" fmla="*/ 6804087 h 6994525"/>
              <a:gd name="connsiteX1356" fmla="*/ 1820077 w 3718887"/>
              <a:gd name="connsiteY1356" fmla="*/ 6868349 h 6994525"/>
              <a:gd name="connsiteX1357" fmla="*/ 1754959 w 3718887"/>
              <a:gd name="connsiteY1357" fmla="*/ 6933471 h 6994525"/>
              <a:gd name="connsiteX1358" fmla="*/ 608501 w 3718887"/>
              <a:gd name="connsiteY1358" fmla="*/ 6994525 h 6994525"/>
              <a:gd name="connsiteX1359" fmla="*/ 448954 w 3718887"/>
              <a:gd name="connsiteY1359" fmla="*/ 6994525 h 6994525"/>
              <a:gd name="connsiteX1360" fmla="*/ 442420 w 3718887"/>
              <a:gd name="connsiteY1360" fmla="*/ 6962396 h 6994525"/>
              <a:gd name="connsiteX1361" fmla="*/ 528419 w 3718887"/>
              <a:gd name="connsiteY1361" fmla="*/ 6875770 h 6994525"/>
              <a:gd name="connsiteX1362" fmla="*/ 615048 w 3718887"/>
              <a:gd name="connsiteY1362" fmla="*/ 6961768 h 6994525"/>
              <a:gd name="connsiteX1363" fmla="*/ 1208063 w 3718887"/>
              <a:gd name="connsiteY1363" fmla="*/ 6994525 h 6994525"/>
              <a:gd name="connsiteX1364" fmla="*/ 1110791 w 3718887"/>
              <a:gd name="connsiteY1364" fmla="*/ 6994525 h 6994525"/>
              <a:gd name="connsiteX1365" fmla="*/ 1106799 w 3718887"/>
              <a:gd name="connsiteY1365" fmla="*/ 6991851 h 6994525"/>
              <a:gd name="connsiteX1366" fmla="*/ 1084986 w 3718887"/>
              <a:gd name="connsiteY1366" fmla="*/ 6939515 h 6994525"/>
              <a:gd name="connsiteX1367" fmla="*/ 1159689 w 3718887"/>
              <a:gd name="connsiteY1367" fmla="*/ 6865439 h 6994525"/>
              <a:gd name="connsiteX1368" fmla="*/ 1233757 w 3718887"/>
              <a:gd name="connsiteY1368" fmla="*/ 6939515 h 6994525"/>
              <a:gd name="connsiteX1369" fmla="*/ 1212023 w 3718887"/>
              <a:gd name="connsiteY1369" fmla="*/ 6991851 h 6994525"/>
              <a:gd name="connsiteX1370" fmla="*/ 2176182 w 3718887"/>
              <a:gd name="connsiteY1370" fmla="*/ 6994525 h 6994525"/>
              <a:gd name="connsiteX1371" fmla="*/ 2055562 w 3718887"/>
              <a:gd name="connsiteY1371" fmla="*/ 6994525 h 6994525"/>
              <a:gd name="connsiteX1372" fmla="*/ 2051176 w 3718887"/>
              <a:gd name="connsiteY1372" fmla="*/ 6973520 h 6994525"/>
              <a:gd name="connsiteX1373" fmla="*/ 2115872 w 3718887"/>
              <a:gd name="connsiteY1373" fmla="*/ 6908824 h 6994525"/>
              <a:gd name="connsiteX1374" fmla="*/ 2180568 w 3718887"/>
              <a:gd name="connsiteY1374" fmla="*/ 6973520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3718887" h="6994525">
                <a:moveTo>
                  <a:pt x="1629926" y="82914"/>
                </a:moveTo>
                <a:cubicBezTo>
                  <a:pt x="1593190" y="82914"/>
                  <a:pt x="1564429" y="54153"/>
                  <a:pt x="1564429" y="19002"/>
                </a:cubicBezTo>
                <a:lnTo>
                  <a:pt x="1567987" y="0"/>
                </a:lnTo>
                <a:lnTo>
                  <a:pt x="1690282" y="0"/>
                </a:lnTo>
                <a:lnTo>
                  <a:pt x="1693837" y="17401"/>
                </a:lnTo>
                <a:cubicBezTo>
                  <a:pt x="1693837" y="54153"/>
                  <a:pt x="1665076" y="82914"/>
                  <a:pt x="1629926" y="82914"/>
                </a:cubicBezTo>
                <a:close/>
                <a:moveTo>
                  <a:pt x="2087064" y="91005"/>
                </a:moveTo>
                <a:cubicBezTo>
                  <a:pt x="2050090" y="91005"/>
                  <a:pt x="2022351" y="63269"/>
                  <a:pt x="2022351" y="26297"/>
                </a:cubicBezTo>
                <a:cubicBezTo>
                  <a:pt x="2022351" y="17054"/>
                  <a:pt x="2024084" y="8195"/>
                  <a:pt x="2027263" y="155"/>
                </a:cubicBezTo>
                <a:lnTo>
                  <a:pt x="2027362" y="0"/>
                </a:lnTo>
                <a:lnTo>
                  <a:pt x="2146021" y="0"/>
                </a:lnTo>
                <a:lnTo>
                  <a:pt x="2146432" y="589"/>
                </a:lnTo>
                <a:cubicBezTo>
                  <a:pt x="2149851" y="8388"/>
                  <a:pt x="2151778" y="17054"/>
                  <a:pt x="2151778" y="26297"/>
                </a:cubicBezTo>
                <a:cubicBezTo>
                  <a:pt x="2151778" y="60180"/>
                  <a:pt x="2124039" y="91005"/>
                  <a:pt x="2087064" y="91005"/>
                </a:cubicBezTo>
                <a:close/>
                <a:moveTo>
                  <a:pt x="1154122" y="92359"/>
                </a:moveTo>
                <a:cubicBezTo>
                  <a:pt x="1118145" y="92359"/>
                  <a:pt x="1089083" y="63990"/>
                  <a:pt x="1089083" y="28006"/>
                </a:cubicBezTo>
                <a:cubicBezTo>
                  <a:pt x="1089083" y="19012"/>
                  <a:pt x="1090899" y="10450"/>
                  <a:pt x="1094175" y="2666"/>
                </a:cubicBezTo>
                <a:lnTo>
                  <a:pt x="1095961" y="0"/>
                </a:lnTo>
                <a:lnTo>
                  <a:pt x="1211952" y="0"/>
                </a:lnTo>
                <a:lnTo>
                  <a:pt x="1213372" y="2084"/>
                </a:lnTo>
                <a:cubicBezTo>
                  <a:pt x="1216658" y="9803"/>
                  <a:pt x="1218475" y="18323"/>
                  <a:pt x="1218475" y="27319"/>
                </a:cubicBezTo>
                <a:cubicBezTo>
                  <a:pt x="1218475" y="63297"/>
                  <a:pt x="1190107" y="92359"/>
                  <a:pt x="1154122" y="92359"/>
                </a:cubicBezTo>
                <a:close/>
                <a:moveTo>
                  <a:pt x="2530133" y="112239"/>
                </a:moveTo>
                <a:cubicBezTo>
                  <a:pt x="2493414" y="112239"/>
                  <a:pt x="2462774" y="81593"/>
                  <a:pt x="2462774" y="44867"/>
                </a:cubicBezTo>
                <a:cubicBezTo>
                  <a:pt x="2462774" y="35670"/>
                  <a:pt x="2464689" y="26858"/>
                  <a:pt x="2468135" y="18907"/>
                </a:cubicBezTo>
                <a:lnTo>
                  <a:pt x="2481370" y="0"/>
                </a:lnTo>
                <a:lnTo>
                  <a:pt x="2578949" y="0"/>
                </a:lnTo>
                <a:lnTo>
                  <a:pt x="2592191" y="18907"/>
                </a:lnTo>
                <a:cubicBezTo>
                  <a:pt x="2595638" y="26858"/>
                  <a:pt x="2597553" y="35670"/>
                  <a:pt x="2597553" y="44867"/>
                </a:cubicBezTo>
                <a:cubicBezTo>
                  <a:pt x="2597553" y="81593"/>
                  <a:pt x="2566913" y="112239"/>
                  <a:pt x="2530133" y="112239"/>
                </a:cubicBezTo>
                <a:close/>
                <a:moveTo>
                  <a:pt x="659393" y="131409"/>
                </a:moveTo>
                <a:cubicBezTo>
                  <a:pt x="620473" y="131409"/>
                  <a:pt x="588456" y="100022"/>
                  <a:pt x="588456" y="61102"/>
                </a:cubicBezTo>
                <a:cubicBezTo>
                  <a:pt x="588456" y="41328"/>
                  <a:pt x="596303" y="23595"/>
                  <a:pt x="609015" y="10804"/>
                </a:cubicBezTo>
                <a:lnTo>
                  <a:pt x="624986" y="0"/>
                </a:lnTo>
                <a:lnTo>
                  <a:pt x="692744" y="0"/>
                </a:lnTo>
                <a:lnTo>
                  <a:pt x="708826" y="10726"/>
                </a:lnTo>
                <a:cubicBezTo>
                  <a:pt x="721696" y="23437"/>
                  <a:pt x="729700" y="41014"/>
                  <a:pt x="729700" y="60473"/>
                </a:cubicBezTo>
                <a:cubicBezTo>
                  <a:pt x="730329" y="99392"/>
                  <a:pt x="698312" y="131409"/>
                  <a:pt x="659393" y="131409"/>
                </a:cubicBezTo>
                <a:close/>
                <a:moveTo>
                  <a:pt x="142646" y="210413"/>
                </a:moveTo>
                <a:cubicBezTo>
                  <a:pt x="96817" y="211042"/>
                  <a:pt x="58527" y="173375"/>
                  <a:pt x="58527" y="126923"/>
                </a:cubicBezTo>
                <a:cubicBezTo>
                  <a:pt x="58527" y="80472"/>
                  <a:pt x="96194" y="42805"/>
                  <a:pt x="142646" y="42805"/>
                </a:cubicBezTo>
                <a:cubicBezTo>
                  <a:pt x="189097" y="42176"/>
                  <a:pt x="226764" y="79843"/>
                  <a:pt x="226764" y="126294"/>
                </a:cubicBezTo>
                <a:cubicBezTo>
                  <a:pt x="226764" y="172752"/>
                  <a:pt x="189097" y="210413"/>
                  <a:pt x="142646" y="210413"/>
                </a:cubicBezTo>
                <a:close/>
                <a:moveTo>
                  <a:pt x="1371671" y="287327"/>
                </a:moveTo>
                <a:cubicBezTo>
                  <a:pt x="1335722" y="287327"/>
                  <a:pt x="1306968" y="258563"/>
                  <a:pt x="1306968" y="222624"/>
                </a:cubicBezTo>
                <a:cubicBezTo>
                  <a:pt x="1306968" y="186675"/>
                  <a:pt x="1335722" y="156892"/>
                  <a:pt x="1370642" y="156892"/>
                </a:cubicBezTo>
                <a:cubicBezTo>
                  <a:pt x="1406591" y="156892"/>
                  <a:pt x="1436374" y="185645"/>
                  <a:pt x="1436374" y="221595"/>
                </a:cubicBezTo>
                <a:cubicBezTo>
                  <a:pt x="1436374" y="257534"/>
                  <a:pt x="1407610" y="287327"/>
                  <a:pt x="1371671" y="287327"/>
                </a:cubicBezTo>
                <a:close/>
                <a:moveTo>
                  <a:pt x="1832087" y="293701"/>
                </a:moveTo>
                <a:cubicBezTo>
                  <a:pt x="1796936" y="293701"/>
                  <a:pt x="1766588" y="264940"/>
                  <a:pt x="1766588" y="229789"/>
                </a:cubicBezTo>
                <a:cubicBezTo>
                  <a:pt x="1766588" y="194639"/>
                  <a:pt x="1795350" y="165894"/>
                  <a:pt x="1830486" y="164293"/>
                </a:cubicBezTo>
                <a:cubicBezTo>
                  <a:pt x="1867239" y="164293"/>
                  <a:pt x="1896001" y="193054"/>
                  <a:pt x="1896001" y="228204"/>
                </a:cubicBezTo>
                <a:cubicBezTo>
                  <a:pt x="1897587" y="264940"/>
                  <a:pt x="1868841" y="293701"/>
                  <a:pt x="1832087" y="293701"/>
                </a:cubicBezTo>
                <a:close/>
                <a:moveTo>
                  <a:pt x="893839" y="305629"/>
                </a:moveTo>
                <a:cubicBezTo>
                  <a:pt x="854919" y="305629"/>
                  <a:pt x="822903" y="274242"/>
                  <a:pt x="822903" y="235322"/>
                </a:cubicBezTo>
                <a:cubicBezTo>
                  <a:pt x="822280" y="195774"/>
                  <a:pt x="854290" y="164387"/>
                  <a:pt x="893216" y="164387"/>
                </a:cubicBezTo>
                <a:cubicBezTo>
                  <a:pt x="932135" y="164387"/>
                  <a:pt x="964151" y="195774"/>
                  <a:pt x="964151" y="234693"/>
                </a:cubicBezTo>
                <a:cubicBezTo>
                  <a:pt x="964774" y="273612"/>
                  <a:pt x="932764" y="305629"/>
                  <a:pt x="893839" y="305629"/>
                </a:cubicBezTo>
                <a:close/>
                <a:moveTo>
                  <a:pt x="2277527" y="317275"/>
                </a:moveTo>
                <a:cubicBezTo>
                  <a:pt x="2240800" y="317275"/>
                  <a:pt x="2210154" y="286634"/>
                  <a:pt x="2210154" y="249853"/>
                </a:cubicBezTo>
                <a:cubicBezTo>
                  <a:pt x="2210154" y="213132"/>
                  <a:pt x="2240800" y="188632"/>
                  <a:pt x="2277527" y="182492"/>
                </a:cubicBezTo>
                <a:cubicBezTo>
                  <a:pt x="2314315" y="182492"/>
                  <a:pt x="2338820" y="213132"/>
                  <a:pt x="2338820" y="249853"/>
                </a:cubicBezTo>
                <a:cubicBezTo>
                  <a:pt x="2344962" y="286634"/>
                  <a:pt x="2314315" y="317275"/>
                  <a:pt x="2277527" y="317275"/>
                </a:cubicBezTo>
                <a:close/>
                <a:moveTo>
                  <a:pt x="2704822" y="346452"/>
                </a:moveTo>
                <a:cubicBezTo>
                  <a:pt x="2668852" y="346452"/>
                  <a:pt x="2640090" y="317690"/>
                  <a:pt x="2640090" y="281720"/>
                </a:cubicBezTo>
                <a:cubicBezTo>
                  <a:pt x="2640090" y="245750"/>
                  <a:pt x="2668852" y="216989"/>
                  <a:pt x="2704822" y="216989"/>
                </a:cubicBezTo>
                <a:cubicBezTo>
                  <a:pt x="2740792" y="216989"/>
                  <a:pt x="2769553" y="245750"/>
                  <a:pt x="2769553" y="281720"/>
                </a:cubicBezTo>
                <a:cubicBezTo>
                  <a:pt x="2769553" y="317690"/>
                  <a:pt x="2740792" y="346452"/>
                  <a:pt x="2704822" y="346452"/>
                </a:cubicBezTo>
                <a:close/>
                <a:moveTo>
                  <a:pt x="393966" y="370114"/>
                </a:moveTo>
                <a:cubicBezTo>
                  <a:pt x="341242" y="370114"/>
                  <a:pt x="298555" y="328056"/>
                  <a:pt x="298555" y="275332"/>
                </a:cubicBezTo>
                <a:cubicBezTo>
                  <a:pt x="298555" y="222602"/>
                  <a:pt x="341242" y="179915"/>
                  <a:pt x="393343" y="179915"/>
                </a:cubicBezTo>
                <a:cubicBezTo>
                  <a:pt x="446073" y="179915"/>
                  <a:pt x="488754" y="221973"/>
                  <a:pt x="488754" y="274703"/>
                </a:cubicBezTo>
                <a:cubicBezTo>
                  <a:pt x="488754" y="327433"/>
                  <a:pt x="446696" y="370114"/>
                  <a:pt x="393966" y="370114"/>
                </a:cubicBezTo>
                <a:close/>
                <a:moveTo>
                  <a:pt x="1576126" y="495868"/>
                </a:moveTo>
                <a:cubicBezTo>
                  <a:pt x="1540149" y="495868"/>
                  <a:pt x="1511087" y="467499"/>
                  <a:pt x="1511087" y="431515"/>
                </a:cubicBezTo>
                <a:cubicBezTo>
                  <a:pt x="1511087" y="395538"/>
                  <a:pt x="1539455" y="366476"/>
                  <a:pt x="1575440" y="366476"/>
                </a:cubicBezTo>
                <a:cubicBezTo>
                  <a:pt x="1611417" y="366476"/>
                  <a:pt x="1640479" y="395538"/>
                  <a:pt x="1640479" y="430828"/>
                </a:cubicBezTo>
                <a:cubicBezTo>
                  <a:pt x="1640479" y="466806"/>
                  <a:pt x="1612111" y="495868"/>
                  <a:pt x="1576126" y="495868"/>
                </a:cubicBezTo>
                <a:close/>
                <a:moveTo>
                  <a:pt x="1114519" y="501027"/>
                </a:moveTo>
                <a:cubicBezTo>
                  <a:pt x="1073089" y="501027"/>
                  <a:pt x="1039185" y="467130"/>
                  <a:pt x="1039185" y="425700"/>
                </a:cubicBezTo>
                <a:cubicBezTo>
                  <a:pt x="1038562" y="384271"/>
                  <a:pt x="1072460" y="350374"/>
                  <a:pt x="1113889" y="350997"/>
                </a:cubicBezTo>
                <a:cubicBezTo>
                  <a:pt x="1155319" y="350374"/>
                  <a:pt x="1189217" y="384271"/>
                  <a:pt x="1189217" y="425700"/>
                </a:cubicBezTo>
                <a:cubicBezTo>
                  <a:pt x="1189846" y="467130"/>
                  <a:pt x="1155948" y="501027"/>
                  <a:pt x="1114519" y="501027"/>
                </a:cubicBezTo>
                <a:close/>
                <a:moveTo>
                  <a:pt x="2020504" y="516458"/>
                </a:moveTo>
                <a:cubicBezTo>
                  <a:pt x="1983786" y="518043"/>
                  <a:pt x="1955039" y="487711"/>
                  <a:pt x="1955039" y="452578"/>
                </a:cubicBezTo>
                <a:cubicBezTo>
                  <a:pt x="1955039" y="415860"/>
                  <a:pt x="1983786" y="387114"/>
                  <a:pt x="2018919" y="387114"/>
                </a:cubicBezTo>
                <a:cubicBezTo>
                  <a:pt x="2055637" y="387114"/>
                  <a:pt x="2084383" y="415860"/>
                  <a:pt x="2084383" y="450978"/>
                </a:cubicBezTo>
                <a:cubicBezTo>
                  <a:pt x="2085968" y="487711"/>
                  <a:pt x="2055637" y="516458"/>
                  <a:pt x="2020504" y="516458"/>
                </a:cubicBezTo>
                <a:close/>
                <a:moveTo>
                  <a:pt x="632723" y="529961"/>
                </a:moveTo>
                <a:cubicBezTo>
                  <a:pt x="585014" y="529961"/>
                  <a:pt x="546096" y="491672"/>
                  <a:pt x="546096" y="443963"/>
                </a:cubicBezTo>
                <a:cubicBezTo>
                  <a:pt x="546096" y="396255"/>
                  <a:pt x="584385" y="357337"/>
                  <a:pt x="632093" y="357337"/>
                </a:cubicBezTo>
                <a:cubicBezTo>
                  <a:pt x="679802" y="357337"/>
                  <a:pt x="718720" y="395626"/>
                  <a:pt x="718720" y="443334"/>
                </a:cubicBezTo>
                <a:cubicBezTo>
                  <a:pt x="718720" y="491043"/>
                  <a:pt x="680431" y="529961"/>
                  <a:pt x="632723" y="529961"/>
                </a:cubicBezTo>
                <a:close/>
                <a:moveTo>
                  <a:pt x="2449263" y="548993"/>
                </a:moveTo>
                <a:cubicBezTo>
                  <a:pt x="2413024" y="548993"/>
                  <a:pt x="2384567" y="520536"/>
                  <a:pt x="2384567" y="486891"/>
                </a:cubicBezTo>
                <a:cubicBezTo>
                  <a:pt x="2384567" y="450652"/>
                  <a:pt x="2413024" y="422195"/>
                  <a:pt x="2449263" y="419601"/>
                </a:cubicBezTo>
                <a:cubicBezTo>
                  <a:pt x="2485502" y="419601"/>
                  <a:pt x="2513959" y="448058"/>
                  <a:pt x="2513959" y="484297"/>
                </a:cubicBezTo>
                <a:cubicBezTo>
                  <a:pt x="2513959" y="520536"/>
                  <a:pt x="2485502" y="548993"/>
                  <a:pt x="2449263" y="548993"/>
                </a:cubicBezTo>
                <a:close/>
                <a:moveTo>
                  <a:pt x="2866138" y="589931"/>
                </a:moveTo>
                <a:cubicBezTo>
                  <a:pt x="2830168" y="589931"/>
                  <a:pt x="2801406" y="561169"/>
                  <a:pt x="2801406" y="525199"/>
                </a:cubicBezTo>
                <a:cubicBezTo>
                  <a:pt x="2801406" y="489229"/>
                  <a:pt x="2830168" y="460468"/>
                  <a:pt x="2866138" y="460468"/>
                </a:cubicBezTo>
                <a:cubicBezTo>
                  <a:pt x="2902108" y="460468"/>
                  <a:pt x="2930869" y="489229"/>
                  <a:pt x="2930869" y="525199"/>
                </a:cubicBezTo>
                <a:cubicBezTo>
                  <a:pt x="2930869" y="561169"/>
                  <a:pt x="2902108" y="589931"/>
                  <a:pt x="2866138" y="589931"/>
                </a:cubicBezTo>
                <a:close/>
                <a:moveTo>
                  <a:pt x="127263" y="594462"/>
                </a:moveTo>
                <a:cubicBezTo>
                  <a:pt x="70762" y="595085"/>
                  <a:pt x="24311" y="549263"/>
                  <a:pt x="24311" y="492139"/>
                </a:cubicBezTo>
                <a:cubicBezTo>
                  <a:pt x="23682" y="435010"/>
                  <a:pt x="69510" y="389188"/>
                  <a:pt x="126633" y="389188"/>
                </a:cubicBezTo>
                <a:cubicBezTo>
                  <a:pt x="183128" y="389188"/>
                  <a:pt x="229585" y="435010"/>
                  <a:pt x="229585" y="491510"/>
                </a:cubicBezTo>
                <a:cubicBezTo>
                  <a:pt x="230208" y="548004"/>
                  <a:pt x="184386" y="594462"/>
                  <a:pt x="127263" y="594462"/>
                </a:cubicBezTo>
                <a:close/>
                <a:moveTo>
                  <a:pt x="1320149" y="708802"/>
                </a:moveTo>
                <a:cubicBezTo>
                  <a:pt x="1278719" y="709431"/>
                  <a:pt x="1244815" y="675533"/>
                  <a:pt x="1244815" y="634103"/>
                </a:cubicBezTo>
                <a:cubicBezTo>
                  <a:pt x="1244192" y="592674"/>
                  <a:pt x="1278090" y="558770"/>
                  <a:pt x="1319519" y="558770"/>
                </a:cubicBezTo>
                <a:cubicBezTo>
                  <a:pt x="1360949" y="558147"/>
                  <a:pt x="1394847" y="592045"/>
                  <a:pt x="1394847" y="633474"/>
                </a:cubicBezTo>
                <a:cubicBezTo>
                  <a:pt x="1395476" y="674904"/>
                  <a:pt x="1361578" y="708802"/>
                  <a:pt x="1320149" y="708802"/>
                </a:cubicBezTo>
                <a:close/>
                <a:moveTo>
                  <a:pt x="1764849" y="718484"/>
                </a:moveTo>
                <a:cubicBezTo>
                  <a:pt x="1729502" y="718484"/>
                  <a:pt x="1700159" y="689808"/>
                  <a:pt x="1700159" y="653791"/>
                </a:cubicBezTo>
                <a:cubicBezTo>
                  <a:pt x="1699491" y="618436"/>
                  <a:pt x="1728834" y="589092"/>
                  <a:pt x="1764849" y="589092"/>
                </a:cubicBezTo>
                <a:cubicBezTo>
                  <a:pt x="1800203" y="589092"/>
                  <a:pt x="1829546" y="617774"/>
                  <a:pt x="1829546" y="653791"/>
                </a:cubicBezTo>
                <a:cubicBezTo>
                  <a:pt x="1829546" y="689139"/>
                  <a:pt x="1800865" y="718484"/>
                  <a:pt x="1764849" y="718484"/>
                </a:cubicBezTo>
                <a:close/>
                <a:moveTo>
                  <a:pt x="856415" y="736355"/>
                </a:moveTo>
                <a:cubicBezTo>
                  <a:pt x="798033" y="736355"/>
                  <a:pt x="750953" y="689275"/>
                  <a:pt x="750953" y="631522"/>
                </a:cubicBezTo>
                <a:cubicBezTo>
                  <a:pt x="750953" y="573770"/>
                  <a:pt x="798033" y="526690"/>
                  <a:pt x="855785" y="526061"/>
                </a:cubicBezTo>
                <a:cubicBezTo>
                  <a:pt x="913538" y="526061"/>
                  <a:pt x="961247" y="573141"/>
                  <a:pt x="961247" y="630893"/>
                </a:cubicBezTo>
                <a:cubicBezTo>
                  <a:pt x="961247" y="688646"/>
                  <a:pt x="914790" y="736355"/>
                  <a:pt x="856415" y="736355"/>
                </a:cubicBezTo>
                <a:close/>
                <a:moveTo>
                  <a:pt x="2193747" y="751188"/>
                </a:moveTo>
                <a:cubicBezTo>
                  <a:pt x="2157893" y="751188"/>
                  <a:pt x="2129041" y="722337"/>
                  <a:pt x="2129041" y="686484"/>
                </a:cubicBezTo>
                <a:cubicBezTo>
                  <a:pt x="2128174" y="650639"/>
                  <a:pt x="2157025" y="621788"/>
                  <a:pt x="2193747" y="621788"/>
                </a:cubicBezTo>
                <a:cubicBezTo>
                  <a:pt x="2228716" y="621788"/>
                  <a:pt x="2258444" y="650639"/>
                  <a:pt x="2258444" y="686484"/>
                </a:cubicBezTo>
                <a:cubicBezTo>
                  <a:pt x="2258444" y="722337"/>
                  <a:pt x="2229592" y="751188"/>
                  <a:pt x="2193747" y="751188"/>
                </a:cubicBezTo>
                <a:close/>
                <a:moveTo>
                  <a:pt x="370307" y="767504"/>
                </a:moveTo>
                <a:cubicBezTo>
                  <a:pt x="307534" y="767504"/>
                  <a:pt x="256062" y="716655"/>
                  <a:pt x="256062" y="653882"/>
                </a:cubicBezTo>
                <a:cubicBezTo>
                  <a:pt x="256062" y="591109"/>
                  <a:pt x="306911" y="539637"/>
                  <a:pt x="369684" y="539637"/>
                </a:cubicBezTo>
                <a:cubicBezTo>
                  <a:pt x="432457" y="539637"/>
                  <a:pt x="483929" y="590486"/>
                  <a:pt x="483929" y="653259"/>
                </a:cubicBezTo>
                <a:cubicBezTo>
                  <a:pt x="483929" y="716032"/>
                  <a:pt x="433080" y="767504"/>
                  <a:pt x="370307" y="767504"/>
                </a:cubicBezTo>
                <a:close/>
                <a:moveTo>
                  <a:pt x="2610398" y="794227"/>
                </a:moveTo>
                <a:cubicBezTo>
                  <a:pt x="2573417" y="794227"/>
                  <a:pt x="2544378" y="765188"/>
                  <a:pt x="2544378" y="728208"/>
                </a:cubicBezTo>
                <a:cubicBezTo>
                  <a:pt x="2544378" y="691228"/>
                  <a:pt x="2573417" y="662189"/>
                  <a:pt x="2607750" y="662189"/>
                </a:cubicBezTo>
                <a:cubicBezTo>
                  <a:pt x="2644731" y="664836"/>
                  <a:pt x="2673770" y="693875"/>
                  <a:pt x="2673770" y="728208"/>
                </a:cubicBezTo>
                <a:cubicBezTo>
                  <a:pt x="2673770" y="765188"/>
                  <a:pt x="2647378" y="794227"/>
                  <a:pt x="2610398" y="794227"/>
                </a:cubicBezTo>
                <a:close/>
                <a:moveTo>
                  <a:pt x="3013689" y="842020"/>
                </a:moveTo>
                <a:cubicBezTo>
                  <a:pt x="2977719" y="842020"/>
                  <a:pt x="2948957" y="813258"/>
                  <a:pt x="2948957" y="777288"/>
                </a:cubicBezTo>
                <a:cubicBezTo>
                  <a:pt x="2948957" y="741318"/>
                  <a:pt x="2977719" y="712557"/>
                  <a:pt x="3013689" y="712557"/>
                </a:cubicBezTo>
                <a:cubicBezTo>
                  <a:pt x="3049659" y="712557"/>
                  <a:pt x="3078420" y="741318"/>
                  <a:pt x="3078420" y="777288"/>
                </a:cubicBezTo>
                <a:cubicBezTo>
                  <a:pt x="3078420" y="813258"/>
                  <a:pt x="3049659" y="842020"/>
                  <a:pt x="3013689" y="842020"/>
                </a:cubicBezTo>
                <a:close/>
                <a:moveTo>
                  <a:pt x="1064190" y="928366"/>
                </a:moveTo>
                <a:cubicBezTo>
                  <a:pt x="1013340" y="928366"/>
                  <a:pt x="971911" y="887560"/>
                  <a:pt x="971911" y="836716"/>
                </a:cubicBezTo>
                <a:cubicBezTo>
                  <a:pt x="971911" y="785867"/>
                  <a:pt x="1012717" y="745067"/>
                  <a:pt x="1063561" y="744438"/>
                </a:cubicBezTo>
                <a:cubicBezTo>
                  <a:pt x="1114410" y="744438"/>
                  <a:pt x="1155839" y="785238"/>
                  <a:pt x="1155839" y="836087"/>
                </a:cubicBezTo>
                <a:cubicBezTo>
                  <a:pt x="1155839" y="886937"/>
                  <a:pt x="1115033" y="928366"/>
                  <a:pt x="1064190" y="928366"/>
                </a:cubicBezTo>
                <a:close/>
                <a:moveTo>
                  <a:pt x="1509952" y="930776"/>
                </a:moveTo>
                <a:cubicBezTo>
                  <a:pt x="1467895" y="930776"/>
                  <a:pt x="1434627" y="897508"/>
                  <a:pt x="1433998" y="856080"/>
                </a:cubicBezTo>
                <a:cubicBezTo>
                  <a:pt x="1433998" y="814651"/>
                  <a:pt x="1467895" y="780748"/>
                  <a:pt x="1509323" y="780748"/>
                </a:cubicBezTo>
                <a:cubicBezTo>
                  <a:pt x="1550751" y="780125"/>
                  <a:pt x="1584648" y="814022"/>
                  <a:pt x="1584648" y="855450"/>
                </a:cubicBezTo>
                <a:cubicBezTo>
                  <a:pt x="1584648" y="896879"/>
                  <a:pt x="1551381" y="930776"/>
                  <a:pt x="1509952" y="930776"/>
                </a:cubicBezTo>
                <a:close/>
                <a:moveTo>
                  <a:pt x="597871" y="950331"/>
                </a:moveTo>
                <a:cubicBezTo>
                  <a:pt x="535098" y="950331"/>
                  <a:pt x="483626" y="899482"/>
                  <a:pt x="483626" y="836709"/>
                </a:cubicBezTo>
                <a:cubicBezTo>
                  <a:pt x="483626" y="773936"/>
                  <a:pt x="534475" y="722464"/>
                  <a:pt x="597248" y="722464"/>
                </a:cubicBezTo>
                <a:cubicBezTo>
                  <a:pt x="660021" y="722464"/>
                  <a:pt x="711493" y="773313"/>
                  <a:pt x="711493" y="836086"/>
                </a:cubicBezTo>
                <a:cubicBezTo>
                  <a:pt x="711493" y="898859"/>
                  <a:pt x="660644" y="950331"/>
                  <a:pt x="597871" y="950331"/>
                </a:cubicBezTo>
                <a:close/>
                <a:moveTo>
                  <a:pt x="1937779" y="953370"/>
                </a:moveTo>
                <a:cubicBezTo>
                  <a:pt x="1901934" y="953370"/>
                  <a:pt x="1873083" y="924519"/>
                  <a:pt x="1873083" y="888666"/>
                </a:cubicBezTo>
                <a:cubicBezTo>
                  <a:pt x="1873083" y="852821"/>
                  <a:pt x="1901934" y="823970"/>
                  <a:pt x="1937779" y="823970"/>
                </a:cubicBezTo>
                <a:cubicBezTo>
                  <a:pt x="1973624" y="823970"/>
                  <a:pt x="2002475" y="852821"/>
                  <a:pt x="2002475" y="888666"/>
                </a:cubicBezTo>
                <a:cubicBezTo>
                  <a:pt x="2002475" y="924519"/>
                  <a:pt x="1973624" y="953370"/>
                  <a:pt x="1937779" y="953370"/>
                </a:cubicBezTo>
                <a:close/>
                <a:moveTo>
                  <a:pt x="107143" y="985963"/>
                </a:moveTo>
                <a:cubicBezTo>
                  <a:pt x="73872" y="986278"/>
                  <a:pt x="43584" y="972938"/>
                  <a:pt x="21613" y="951202"/>
                </a:cubicBezTo>
                <a:lnTo>
                  <a:pt x="0" y="919474"/>
                </a:lnTo>
                <a:lnTo>
                  <a:pt x="0" y="811706"/>
                </a:lnTo>
                <a:lnTo>
                  <a:pt x="20748" y="780538"/>
                </a:lnTo>
                <a:cubicBezTo>
                  <a:pt x="42483" y="758567"/>
                  <a:pt x="72614" y="744914"/>
                  <a:pt x="105885" y="744914"/>
                </a:cubicBezTo>
                <a:cubicBezTo>
                  <a:pt x="172427" y="744285"/>
                  <a:pt x="227038" y="798273"/>
                  <a:pt x="227038" y="864809"/>
                </a:cubicBezTo>
                <a:cubicBezTo>
                  <a:pt x="227667" y="931351"/>
                  <a:pt x="173679" y="985963"/>
                  <a:pt x="107143" y="985963"/>
                </a:cubicBezTo>
                <a:close/>
                <a:moveTo>
                  <a:pt x="2352242" y="996605"/>
                </a:moveTo>
                <a:cubicBezTo>
                  <a:pt x="2316350" y="996605"/>
                  <a:pt x="2287128" y="968219"/>
                  <a:pt x="2287128" y="932319"/>
                </a:cubicBezTo>
                <a:cubicBezTo>
                  <a:pt x="2287128" y="896427"/>
                  <a:pt x="2316350" y="868042"/>
                  <a:pt x="2351414" y="867205"/>
                </a:cubicBezTo>
                <a:cubicBezTo>
                  <a:pt x="2387306" y="867205"/>
                  <a:pt x="2416528" y="895590"/>
                  <a:pt x="2416528" y="931491"/>
                </a:cubicBezTo>
                <a:cubicBezTo>
                  <a:pt x="2416528" y="967383"/>
                  <a:pt x="2388143" y="996605"/>
                  <a:pt x="2352242" y="996605"/>
                </a:cubicBezTo>
                <a:close/>
                <a:moveTo>
                  <a:pt x="2755248" y="1046513"/>
                </a:moveTo>
                <a:cubicBezTo>
                  <a:pt x="2720097" y="1046513"/>
                  <a:pt x="2689749" y="1017752"/>
                  <a:pt x="2689749" y="982601"/>
                </a:cubicBezTo>
                <a:cubicBezTo>
                  <a:pt x="2689749" y="945866"/>
                  <a:pt x="2718511" y="917105"/>
                  <a:pt x="2753663" y="917105"/>
                </a:cubicBezTo>
                <a:cubicBezTo>
                  <a:pt x="2790400" y="917105"/>
                  <a:pt x="2819162" y="945866"/>
                  <a:pt x="2819162" y="981016"/>
                </a:cubicBezTo>
                <a:cubicBezTo>
                  <a:pt x="2820748" y="1017752"/>
                  <a:pt x="2792002" y="1046513"/>
                  <a:pt x="2755248" y="1046513"/>
                </a:cubicBezTo>
                <a:close/>
                <a:moveTo>
                  <a:pt x="3147209" y="1101770"/>
                </a:moveTo>
                <a:cubicBezTo>
                  <a:pt x="3110806" y="1101770"/>
                  <a:pt x="3082509" y="1073475"/>
                  <a:pt x="3082509" y="1037074"/>
                </a:cubicBezTo>
                <a:cubicBezTo>
                  <a:pt x="3078456" y="1000672"/>
                  <a:pt x="3106752" y="972378"/>
                  <a:pt x="3147209" y="972378"/>
                </a:cubicBezTo>
                <a:cubicBezTo>
                  <a:pt x="3183613" y="972378"/>
                  <a:pt x="3211909" y="1000672"/>
                  <a:pt x="3211909" y="1037074"/>
                </a:cubicBezTo>
                <a:cubicBezTo>
                  <a:pt x="3211909" y="1073475"/>
                  <a:pt x="3183613" y="1101770"/>
                  <a:pt x="3147209" y="1101770"/>
                </a:cubicBezTo>
                <a:close/>
                <a:moveTo>
                  <a:pt x="808229" y="1158601"/>
                </a:moveTo>
                <a:cubicBezTo>
                  <a:pt x="742315" y="1158601"/>
                  <a:pt x="688332" y="1105241"/>
                  <a:pt x="688332" y="1039327"/>
                </a:cubicBezTo>
                <a:cubicBezTo>
                  <a:pt x="688332" y="973413"/>
                  <a:pt x="741692" y="920059"/>
                  <a:pt x="807606" y="919430"/>
                </a:cubicBezTo>
                <a:cubicBezTo>
                  <a:pt x="873514" y="919430"/>
                  <a:pt x="926874" y="972790"/>
                  <a:pt x="927503" y="1038698"/>
                </a:cubicBezTo>
                <a:cubicBezTo>
                  <a:pt x="927503" y="1104611"/>
                  <a:pt x="874143" y="1158601"/>
                  <a:pt x="808229" y="1158601"/>
                </a:cubicBezTo>
                <a:close/>
                <a:moveTo>
                  <a:pt x="1254758" y="1162662"/>
                </a:moveTo>
                <a:cubicBezTo>
                  <a:pt x="1197005" y="1162662"/>
                  <a:pt x="1149296" y="1115582"/>
                  <a:pt x="1149296" y="1057829"/>
                </a:cubicBezTo>
                <a:cubicBezTo>
                  <a:pt x="1149296" y="999448"/>
                  <a:pt x="1195747" y="952368"/>
                  <a:pt x="1254129" y="952368"/>
                </a:cubicBezTo>
                <a:cubicBezTo>
                  <a:pt x="1312510" y="952368"/>
                  <a:pt x="1359590" y="999448"/>
                  <a:pt x="1359590" y="1057200"/>
                </a:cubicBezTo>
                <a:cubicBezTo>
                  <a:pt x="1359590" y="1114953"/>
                  <a:pt x="1312510" y="1162033"/>
                  <a:pt x="1254758" y="1162662"/>
                </a:cubicBezTo>
                <a:close/>
                <a:moveTo>
                  <a:pt x="1682350" y="1166189"/>
                </a:moveTo>
                <a:cubicBezTo>
                  <a:pt x="1640922" y="1166189"/>
                  <a:pt x="1607025" y="1132292"/>
                  <a:pt x="1607025" y="1090864"/>
                </a:cubicBezTo>
                <a:cubicBezTo>
                  <a:pt x="1607025" y="1048807"/>
                  <a:pt x="1640293" y="1015533"/>
                  <a:pt x="1681727" y="1015533"/>
                </a:cubicBezTo>
                <a:cubicBezTo>
                  <a:pt x="1723156" y="1014910"/>
                  <a:pt x="1757053" y="1048807"/>
                  <a:pt x="1757053" y="1090235"/>
                </a:cubicBezTo>
                <a:cubicBezTo>
                  <a:pt x="1757682" y="1132292"/>
                  <a:pt x="1723779" y="1166189"/>
                  <a:pt x="1682350" y="1166189"/>
                </a:cubicBezTo>
                <a:close/>
                <a:moveTo>
                  <a:pt x="338908" y="1168843"/>
                </a:moveTo>
                <a:cubicBezTo>
                  <a:pt x="269226" y="1169466"/>
                  <a:pt x="212732" y="1112972"/>
                  <a:pt x="212732" y="1043289"/>
                </a:cubicBezTo>
                <a:cubicBezTo>
                  <a:pt x="212103" y="973612"/>
                  <a:pt x="268596" y="917118"/>
                  <a:pt x="337649" y="916489"/>
                </a:cubicBezTo>
                <a:cubicBezTo>
                  <a:pt x="407332" y="916489"/>
                  <a:pt x="464454" y="972360"/>
                  <a:pt x="464454" y="1042037"/>
                </a:cubicBezTo>
                <a:cubicBezTo>
                  <a:pt x="464454" y="1111713"/>
                  <a:pt x="408584" y="1168214"/>
                  <a:pt x="338908" y="1168843"/>
                </a:cubicBezTo>
                <a:close/>
                <a:moveTo>
                  <a:pt x="2094906" y="1200074"/>
                </a:moveTo>
                <a:cubicBezTo>
                  <a:pt x="2058852" y="1200074"/>
                  <a:pt x="2029884" y="1171106"/>
                  <a:pt x="2029884" y="1135698"/>
                </a:cubicBezTo>
                <a:cubicBezTo>
                  <a:pt x="2029884" y="1100289"/>
                  <a:pt x="2058207" y="1071321"/>
                  <a:pt x="2094261" y="1070676"/>
                </a:cubicBezTo>
                <a:cubicBezTo>
                  <a:pt x="2129669" y="1070676"/>
                  <a:pt x="2159282" y="1099644"/>
                  <a:pt x="2159282" y="1135052"/>
                </a:cubicBezTo>
                <a:cubicBezTo>
                  <a:pt x="2159282" y="1171106"/>
                  <a:pt x="2130314" y="1200074"/>
                  <a:pt x="2094906" y="1200074"/>
                </a:cubicBezTo>
                <a:close/>
                <a:moveTo>
                  <a:pt x="2494634" y="1251698"/>
                </a:moveTo>
                <a:cubicBezTo>
                  <a:pt x="2458742" y="1251698"/>
                  <a:pt x="2429520" y="1223312"/>
                  <a:pt x="2429520" y="1187412"/>
                </a:cubicBezTo>
                <a:cubicBezTo>
                  <a:pt x="2429520" y="1152349"/>
                  <a:pt x="2458742" y="1123135"/>
                  <a:pt x="2493806" y="1122298"/>
                </a:cubicBezTo>
                <a:cubicBezTo>
                  <a:pt x="2529698" y="1122298"/>
                  <a:pt x="2558920" y="1150683"/>
                  <a:pt x="2558920" y="1186584"/>
                </a:cubicBezTo>
                <a:cubicBezTo>
                  <a:pt x="2558920" y="1222476"/>
                  <a:pt x="2530535" y="1251698"/>
                  <a:pt x="2494634" y="1251698"/>
                </a:cubicBezTo>
                <a:close/>
                <a:moveTo>
                  <a:pt x="2884179" y="1308282"/>
                </a:moveTo>
                <a:cubicBezTo>
                  <a:pt x="2849674" y="1308282"/>
                  <a:pt x="2819472" y="1280242"/>
                  <a:pt x="2819472" y="1243575"/>
                </a:cubicBezTo>
                <a:cubicBezTo>
                  <a:pt x="2819472" y="1209071"/>
                  <a:pt x="2847512" y="1178869"/>
                  <a:pt x="2884179" y="1178869"/>
                </a:cubicBezTo>
                <a:cubicBezTo>
                  <a:pt x="2918683" y="1178869"/>
                  <a:pt x="2948885" y="1206909"/>
                  <a:pt x="2948885" y="1243575"/>
                </a:cubicBezTo>
                <a:cubicBezTo>
                  <a:pt x="2948885" y="1280242"/>
                  <a:pt x="2920845" y="1308282"/>
                  <a:pt x="2884179" y="1308282"/>
                </a:cubicBezTo>
                <a:close/>
                <a:moveTo>
                  <a:pt x="78656" y="1344897"/>
                </a:moveTo>
                <a:cubicBezTo>
                  <a:pt x="52291" y="1344897"/>
                  <a:pt x="28437" y="1334383"/>
                  <a:pt x="11174" y="1317278"/>
                </a:cubicBezTo>
                <a:lnTo>
                  <a:pt x="0" y="1300819"/>
                </a:lnTo>
                <a:lnTo>
                  <a:pt x="0" y="1198917"/>
                </a:lnTo>
                <a:lnTo>
                  <a:pt x="10859" y="1182633"/>
                </a:lnTo>
                <a:cubicBezTo>
                  <a:pt x="27965" y="1165370"/>
                  <a:pt x="51662" y="1154698"/>
                  <a:pt x="78027" y="1154698"/>
                </a:cubicBezTo>
                <a:cubicBezTo>
                  <a:pt x="130757" y="1154698"/>
                  <a:pt x="173438" y="1196756"/>
                  <a:pt x="173438" y="1249486"/>
                </a:cubicBezTo>
                <a:cubicBezTo>
                  <a:pt x="173438" y="1302216"/>
                  <a:pt x="130757" y="1344897"/>
                  <a:pt x="78656" y="1344897"/>
                </a:cubicBezTo>
                <a:close/>
                <a:moveTo>
                  <a:pt x="551846" y="1364048"/>
                </a:moveTo>
                <a:cubicBezTo>
                  <a:pt x="485304" y="1364048"/>
                  <a:pt x="430064" y="1310066"/>
                  <a:pt x="430064" y="1242895"/>
                </a:cubicBezTo>
                <a:cubicBezTo>
                  <a:pt x="430064" y="1175730"/>
                  <a:pt x="484046" y="1121119"/>
                  <a:pt x="550587" y="1120490"/>
                </a:cubicBezTo>
                <a:cubicBezTo>
                  <a:pt x="617751" y="1120490"/>
                  <a:pt x="672992" y="1174472"/>
                  <a:pt x="672992" y="1241643"/>
                </a:cubicBezTo>
                <a:cubicBezTo>
                  <a:pt x="673621" y="1308807"/>
                  <a:pt x="619010" y="1364048"/>
                  <a:pt x="551846" y="1364048"/>
                </a:cubicBezTo>
                <a:close/>
                <a:moveTo>
                  <a:pt x="3265345" y="1368986"/>
                </a:moveTo>
                <a:cubicBezTo>
                  <a:pt x="3229375" y="1368986"/>
                  <a:pt x="3200613" y="1340224"/>
                  <a:pt x="3200613" y="1304254"/>
                </a:cubicBezTo>
                <a:cubicBezTo>
                  <a:pt x="3200613" y="1268284"/>
                  <a:pt x="3222166" y="1239523"/>
                  <a:pt x="3265345" y="1239523"/>
                </a:cubicBezTo>
                <a:cubicBezTo>
                  <a:pt x="3301315" y="1239523"/>
                  <a:pt x="3330076" y="1268284"/>
                  <a:pt x="3330076" y="1304254"/>
                </a:cubicBezTo>
                <a:cubicBezTo>
                  <a:pt x="3330076" y="1340224"/>
                  <a:pt x="3301315" y="1368986"/>
                  <a:pt x="3265345" y="1368986"/>
                </a:cubicBezTo>
                <a:close/>
                <a:moveTo>
                  <a:pt x="999660" y="1381990"/>
                </a:moveTo>
                <a:cubicBezTo>
                  <a:pt x="931865" y="1381990"/>
                  <a:pt x="876623" y="1327376"/>
                  <a:pt x="876623" y="1259579"/>
                </a:cubicBezTo>
                <a:cubicBezTo>
                  <a:pt x="875994" y="1191153"/>
                  <a:pt x="930607" y="1136539"/>
                  <a:pt x="999031" y="1136539"/>
                </a:cubicBezTo>
                <a:cubicBezTo>
                  <a:pt x="1066826" y="1136539"/>
                  <a:pt x="1122068" y="1191153"/>
                  <a:pt x="1122068" y="1258950"/>
                </a:cubicBezTo>
                <a:cubicBezTo>
                  <a:pt x="1122068" y="1326747"/>
                  <a:pt x="1067455" y="1381990"/>
                  <a:pt x="999660" y="1381990"/>
                </a:cubicBezTo>
                <a:close/>
                <a:moveTo>
                  <a:pt x="1426398" y="1398827"/>
                </a:moveTo>
                <a:cubicBezTo>
                  <a:pt x="1368016" y="1398827"/>
                  <a:pt x="1320936" y="1351747"/>
                  <a:pt x="1320936" y="1293994"/>
                </a:cubicBezTo>
                <a:cubicBezTo>
                  <a:pt x="1320936" y="1235613"/>
                  <a:pt x="1368016" y="1188533"/>
                  <a:pt x="1425769" y="1188533"/>
                </a:cubicBezTo>
                <a:cubicBezTo>
                  <a:pt x="1484150" y="1188533"/>
                  <a:pt x="1531230" y="1235613"/>
                  <a:pt x="1531230" y="1293365"/>
                </a:cubicBezTo>
                <a:cubicBezTo>
                  <a:pt x="1531230" y="1351747"/>
                  <a:pt x="1484773" y="1398827"/>
                  <a:pt x="1426398" y="1398827"/>
                </a:cubicBezTo>
                <a:close/>
                <a:moveTo>
                  <a:pt x="1836790" y="1430815"/>
                </a:moveTo>
                <a:cubicBezTo>
                  <a:pt x="1785940" y="1430815"/>
                  <a:pt x="1744511" y="1390009"/>
                  <a:pt x="1744511" y="1339165"/>
                </a:cubicBezTo>
                <a:cubicBezTo>
                  <a:pt x="1744511" y="1288316"/>
                  <a:pt x="1785311" y="1246887"/>
                  <a:pt x="1836161" y="1246887"/>
                </a:cubicBezTo>
                <a:cubicBezTo>
                  <a:pt x="1887010" y="1246887"/>
                  <a:pt x="1928439" y="1287693"/>
                  <a:pt x="1928439" y="1338536"/>
                </a:cubicBezTo>
                <a:cubicBezTo>
                  <a:pt x="1928439" y="1389386"/>
                  <a:pt x="1887633" y="1430815"/>
                  <a:pt x="1836790" y="1430815"/>
                </a:cubicBezTo>
                <a:close/>
                <a:moveTo>
                  <a:pt x="2233842" y="1459666"/>
                </a:moveTo>
                <a:cubicBezTo>
                  <a:pt x="2196804" y="1459666"/>
                  <a:pt x="2166047" y="1429538"/>
                  <a:pt x="2166047" y="1392500"/>
                </a:cubicBezTo>
                <a:cubicBezTo>
                  <a:pt x="2166047" y="1355463"/>
                  <a:pt x="2196181" y="1325335"/>
                  <a:pt x="2233212" y="1324706"/>
                </a:cubicBezTo>
                <a:cubicBezTo>
                  <a:pt x="2270879" y="1324706"/>
                  <a:pt x="2301013" y="1354834"/>
                  <a:pt x="2301013" y="1391871"/>
                </a:cubicBezTo>
                <a:cubicBezTo>
                  <a:pt x="2301013" y="1428908"/>
                  <a:pt x="2270879" y="1459666"/>
                  <a:pt x="2233842" y="1459666"/>
                </a:cubicBezTo>
                <a:close/>
                <a:moveTo>
                  <a:pt x="2620735" y="1514947"/>
                </a:moveTo>
                <a:cubicBezTo>
                  <a:pt x="2584854" y="1515884"/>
                  <a:pt x="2555580" y="1486617"/>
                  <a:pt x="2555580" y="1450734"/>
                </a:cubicBezTo>
                <a:cubicBezTo>
                  <a:pt x="2554643" y="1414850"/>
                  <a:pt x="2583908" y="1385573"/>
                  <a:pt x="2619788" y="1385573"/>
                </a:cubicBezTo>
                <a:cubicBezTo>
                  <a:pt x="2655669" y="1384636"/>
                  <a:pt x="2684934" y="1413904"/>
                  <a:pt x="2684934" y="1449787"/>
                </a:cubicBezTo>
                <a:cubicBezTo>
                  <a:pt x="2685881" y="1485670"/>
                  <a:pt x="2656616" y="1514947"/>
                  <a:pt x="2620735" y="1514947"/>
                </a:cubicBezTo>
                <a:close/>
                <a:moveTo>
                  <a:pt x="295462" y="1567089"/>
                </a:moveTo>
                <a:cubicBezTo>
                  <a:pt x="228292" y="1567718"/>
                  <a:pt x="173681" y="1513107"/>
                  <a:pt x="173681" y="1445936"/>
                </a:cubicBezTo>
                <a:cubicBezTo>
                  <a:pt x="173681" y="1378771"/>
                  <a:pt x="227662" y="1324160"/>
                  <a:pt x="294833" y="1323531"/>
                </a:cubicBezTo>
                <a:cubicBezTo>
                  <a:pt x="361996" y="1323531"/>
                  <a:pt x="416607" y="1377513"/>
                  <a:pt x="416607" y="1444684"/>
                </a:cubicBezTo>
                <a:cubicBezTo>
                  <a:pt x="416607" y="1512477"/>
                  <a:pt x="362626" y="1567089"/>
                  <a:pt x="295462" y="1567089"/>
                </a:cubicBezTo>
                <a:close/>
                <a:moveTo>
                  <a:pt x="2997749" y="1577142"/>
                </a:moveTo>
                <a:cubicBezTo>
                  <a:pt x="2961082" y="1577142"/>
                  <a:pt x="2933042" y="1546940"/>
                  <a:pt x="2933042" y="1512435"/>
                </a:cubicBezTo>
                <a:cubicBezTo>
                  <a:pt x="2933042" y="1477931"/>
                  <a:pt x="2963244" y="1447729"/>
                  <a:pt x="2997749" y="1447729"/>
                </a:cubicBezTo>
                <a:cubicBezTo>
                  <a:pt x="3032253" y="1447729"/>
                  <a:pt x="3062455" y="1475769"/>
                  <a:pt x="3062455" y="1512435"/>
                </a:cubicBezTo>
                <a:cubicBezTo>
                  <a:pt x="3062455" y="1549102"/>
                  <a:pt x="3034415" y="1577142"/>
                  <a:pt x="2997749" y="1577142"/>
                </a:cubicBezTo>
                <a:close/>
                <a:moveTo>
                  <a:pt x="744666" y="1592229"/>
                </a:moveTo>
                <a:cubicBezTo>
                  <a:pt x="672473" y="1592858"/>
                  <a:pt x="613470" y="1534478"/>
                  <a:pt x="613470" y="1462292"/>
                </a:cubicBezTo>
                <a:cubicBezTo>
                  <a:pt x="613470" y="1390099"/>
                  <a:pt x="671851" y="1331725"/>
                  <a:pt x="743407" y="1331096"/>
                </a:cubicBezTo>
                <a:cubicBezTo>
                  <a:pt x="815599" y="1330467"/>
                  <a:pt x="873974" y="1388847"/>
                  <a:pt x="874603" y="1461033"/>
                </a:cubicBezTo>
                <a:cubicBezTo>
                  <a:pt x="874603" y="1533219"/>
                  <a:pt x="816852" y="1591600"/>
                  <a:pt x="744666" y="1592229"/>
                </a:cubicBezTo>
                <a:close/>
                <a:moveTo>
                  <a:pt x="1170441" y="1619012"/>
                </a:moveTo>
                <a:cubicBezTo>
                  <a:pt x="1102646" y="1619012"/>
                  <a:pt x="1047404" y="1564398"/>
                  <a:pt x="1047404" y="1496601"/>
                </a:cubicBezTo>
                <a:cubicBezTo>
                  <a:pt x="1046775" y="1428804"/>
                  <a:pt x="1102017" y="1373561"/>
                  <a:pt x="1169812" y="1373561"/>
                </a:cubicBezTo>
                <a:cubicBezTo>
                  <a:pt x="1237607" y="1373561"/>
                  <a:pt x="1292849" y="1428175"/>
                  <a:pt x="1292849" y="1495972"/>
                </a:cubicBezTo>
                <a:cubicBezTo>
                  <a:pt x="1292849" y="1563769"/>
                  <a:pt x="1238237" y="1619012"/>
                  <a:pt x="1170441" y="1619012"/>
                </a:cubicBezTo>
                <a:close/>
                <a:moveTo>
                  <a:pt x="3370208" y="1643930"/>
                </a:moveTo>
                <a:cubicBezTo>
                  <a:pt x="3333216" y="1643930"/>
                  <a:pt x="3303638" y="1614352"/>
                  <a:pt x="3303638" y="1577399"/>
                </a:cubicBezTo>
                <a:cubicBezTo>
                  <a:pt x="3303638" y="1540408"/>
                  <a:pt x="3329510" y="1510831"/>
                  <a:pt x="3366501" y="1510831"/>
                </a:cubicBezTo>
                <a:cubicBezTo>
                  <a:pt x="3403492" y="1510831"/>
                  <a:pt x="3433071" y="1540408"/>
                  <a:pt x="3433071" y="1577399"/>
                </a:cubicBezTo>
                <a:cubicBezTo>
                  <a:pt x="3433071" y="1614352"/>
                  <a:pt x="3407162" y="1643930"/>
                  <a:pt x="3370208" y="1643930"/>
                </a:cubicBezTo>
                <a:close/>
                <a:moveTo>
                  <a:pt x="1578253" y="1648332"/>
                </a:moveTo>
                <a:cubicBezTo>
                  <a:pt x="1520500" y="1648332"/>
                  <a:pt x="1472791" y="1601252"/>
                  <a:pt x="1472791" y="1543499"/>
                </a:cubicBezTo>
                <a:cubicBezTo>
                  <a:pt x="1472791" y="1485747"/>
                  <a:pt x="1519871" y="1438667"/>
                  <a:pt x="1577623" y="1438038"/>
                </a:cubicBezTo>
                <a:cubicBezTo>
                  <a:pt x="1636005" y="1438038"/>
                  <a:pt x="1683085" y="1485118"/>
                  <a:pt x="1683085" y="1542870"/>
                </a:cubicBezTo>
                <a:cubicBezTo>
                  <a:pt x="1683085" y="1600623"/>
                  <a:pt x="1636005" y="1648332"/>
                  <a:pt x="1578253" y="1648332"/>
                </a:cubicBezTo>
                <a:close/>
                <a:moveTo>
                  <a:pt x="1972296" y="1691662"/>
                </a:moveTo>
                <a:cubicBezTo>
                  <a:pt x="1920193" y="1691662"/>
                  <a:pt x="1878134" y="1650233"/>
                  <a:pt x="1878134" y="1598131"/>
                </a:cubicBezTo>
                <a:cubicBezTo>
                  <a:pt x="1878134" y="1546659"/>
                  <a:pt x="1920193" y="1503972"/>
                  <a:pt x="1971666" y="1503972"/>
                </a:cubicBezTo>
                <a:cubicBezTo>
                  <a:pt x="2023145" y="1503972"/>
                  <a:pt x="2065828" y="1545401"/>
                  <a:pt x="2065828" y="1597502"/>
                </a:cubicBezTo>
                <a:cubicBezTo>
                  <a:pt x="2066457" y="1649603"/>
                  <a:pt x="2024398" y="1691662"/>
                  <a:pt x="1972296" y="1691662"/>
                </a:cubicBezTo>
                <a:close/>
                <a:moveTo>
                  <a:pt x="38554" y="1713067"/>
                </a:moveTo>
                <a:cubicBezTo>
                  <a:pt x="29731" y="1713067"/>
                  <a:pt x="21277" y="1711275"/>
                  <a:pt x="13558" y="1708024"/>
                </a:cubicBezTo>
                <a:lnTo>
                  <a:pt x="0" y="1698937"/>
                </a:lnTo>
                <a:lnTo>
                  <a:pt x="0" y="1597187"/>
                </a:lnTo>
                <a:lnTo>
                  <a:pt x="13143" y="1588414"/>
                </a:lnTo>
                <a:cubicBezTo>
                  <a:pt x="20954" y="1585198"/>
                  <a:pt x="29547" y="1583498"/>
                  <a:pt x="38554" y="1583682"/>
                </a:cubicBezTo>
                <a:cubicBezTo>
                  <a:pt x="73837" y="1583682"/>
                  <a:pt x="103246" y="1613085"/>
                  <a:pt x="103246" y="1648375"/>
                </a:cubicBezTo>
                <a:cubicBezTo>
                  <a:pt x="103246" y="1683657"/>
                  <a:pt x="74574" y="1713067"/>
                  <a:pt x="38554" y="1713067"/>
                </a:cubicBezTo>
                <a:close/>
                <a:moveTo>
                  <a:pt x="2355155" y="1743920"/>
                </a:moveTo>
                <a:cubicBezTo>
                  <a:pt x="2307446" y="1743920"/>
                  <a:pt x="2268528" y="1705631"/>
                  <a:pt x="2268528" y="1657922"/>
                </a:cubicBezTo>
                <a:cubicBezTo>
                  <a:pt x="2268528" y="1610214"/>
                  <a:pt x="2306817" y="1571296"/>
                  <a:pt x="2354525" y="1571296"/>
                </a:cubicBezTo>
                <a:cubicBezTo>
                  <a:pt x="2402234" y="1571296"/>
                  <a:pt x="2441152" y="1609585"/>
                  <a:pt x="2441152" y="1657293"/>
                </a:cubicBezTo>
                <a:cubicBezTo>
                  <a:pt x="2441152" y="1705002"/>
                  <a:pt x="2402863" y="1743920"/>
                  <a:pt x="2355155" y="1743920"/>
                </a:cubicBezTo>
                <a:close/>
                <a:moveTo>
                  <a:pt x="489035" y="1761875"/>
                </a:moveTo>
                <a:cubicBezTo>
                  <a:pt x="435053" y="1762504"/>
                  <a:pt x="390484" y="1718564"/>
                  <a:pt x="390484" y="1663952"/>
                </a:cubicBezTo>
                <a:cubicBezTo>
                  <a:pt x="390484" y="1609963"/>
                  <a:pt x="434424" y="1565394"/>
                  <a:pt x="488412" y="1565394"/>
                </a:cubicBezTo>
                <a:cubicBezTo>
                  <a:pt x="542394" y="1564765"/>
                  <a:pt x="586963" y="1608711"/>
                  <a:pt x="586963" y="1663323"/>
                </a:cubicBezTo>
                <a:cubicBezTo>
                  <a:pt x="587592" y="1717305"/>
                  <a:pt x="543652" y="1761875"/>
                  <a:pt x="489035" y="1761875"/>
                </a:cubicBezTo>
                <a:close/>
                <a:moveTo>
                  <a:pt x="2728879" y="1786342"/>
                </a:moveTo>
                <a:cubicBezTo>
                  <a:pt x="2693094" y="1786342"/>
                  <a:pt x="2663594" y="1756837"/>
                  <a:pt x="2663594" y="1721058"/>
                </a:cubicBezTo>
                <a:cubicBezTo>
                  <a:pt x="2662965" y="1684650"/>
                  <a:pt x="2692471" y="1655774"/>
                  <a:pt x="2728879" y="1655774"/>
                </a:cubicBezTo>
                <a:cubicBezTo>
                  <a:pt x="2764659" y="1655774"/>
                  <a:pt x="2794164" y="1685279"/>
                  <a:pt x="2794164" y="1721058"/>
                </a:cubicBezTo>
                <a:cubicBezTo>
                  <a:pt x="2794164" y="1756837"/>
                  <a:pt x="2764659" y="1786342"/>
                  <a:pt x="2728879" y="1786342"/>
                </a:cubicBezTo>
                <a:close/>
                <a:moveTo>
                  <a:pt x="914154" y="1824465"/>
                </a:moveTo>
                <a:cubicBezTo>
                  <a:pt x="845101" y="1825094"/>
                  <a:pt x="788608" y="1769224"/>
                  <a:pt x="788608" y="1700177"/>
                </a:cubicBezTo>
                <a:cubicBezTo>
                  <a:pt x="788608" y="1631754"/>
                  <a:pt x="844478" y="1575261"/>
                  <a:pt x="912901" y="1574632"/>
                </a:cubicBezTo>
                <a:cubicBezTo>
                  <a:pt x="981948" y="1574003"/>
                  <a:pt x="1038447" y="1629873"/>
                  <a:pt x="1038447" y="1698919"/>
                </a:cubicBezTo>
                <a:cubicBezTo>
                  <a:pt x="1039070" y="1767972"/>
                  <a:pt x="983206" y="1824465"/>
                  <a:pt x="914154" y="1824465"/>
                </a:cubicBezTo>
                <a:close/>
                <a:moveTo>
                  <a:pt x="3095388" y="1852431"/>
                </a:moveTo>
                <a:cubicBezTo>
                  <a:pt x="3059697" y="1852431"/>
                  <a:pt x="3030692" y="1823426"/>
                  <a:pt x="3030692" y="1787735"/>
                </a:cubicBezTo>
                <a:cubicBezTo>
                  <a:pt x="3030692" y="1752043"/>
                  <a:pt x="3059697" y="1723039"/>
                  <a:pt x="3095388" y="1723039"/>
                </a:cubicBezTo>
                <a:cubicBezTo>
                  <a:pt x="3131090" y="1723039"/>
                  <a:pt x="3160084" y="1752043"/>
                  <a:pt x="3160084" y="1787735"/>
                </a:cubicBezTo>
                <a:cubicBezTo>
                  <a:pt x="3160084" y="1823426"/>
                  <a:pt x="3131090" y="1852431"/>
                  <a:pt x="3095388" y="1852431"/>
                </a:cubicBezTo>
                <a:close/>
                <a:moveTo>
                  <a:pt x="1318847" y="1869515"/>
                </a:moveTo>
                <a:cubicBezTo>
                  <a:pt x="1251683" y="1870144"/>
                  <a:pt x="1197072" y="1815533"/>
                  <a:pt x="1197072" y="1748362"/>
                </a:cubicBezTo>
                <a:cubicBezTo>
                  <a:pt x="1197072" y="1681197"/>
                  <a:pt x="1251683" y="1626586"/>
                  <a:pt x="1317595" y="1625957"/>
                </a:cubicBezTo>
                <a:cubicBezTo>
                  <a:pt x="1384759" y="1625328"/>
                  <a:pt x="1440000" y="1679939"/>
                  <a:pt x="1440000" y="1747110"/>
                </a:cubicBezTo>
                <a:cubicBezTo>
                  <a:pt x="1440629" y="1814903"/>
                  <a:pt x="1386018" y="1869515"/>
                  <a:pt x="1318847" y="1869515"/>
                </a:cubicBezTo>
                <a:close/>
                <a:moveTo>
                  <a:pt x="1709452" y="1910274"/>
                </a:moveTo>
                <a:cubicBezTo>
                  <a:pt x="1650447" y="1910274"/>
                  <a:pt x="1602737" y="1862564"/>
                  <a:pt x="1602737" y="1804182"/>
                </a:cubicBezTo>
                <a:cubicBezTo>
                  <a:pt x="1602737" y="1745177"/>
                  <a:pt x="1650447" y="1697467"/>
                  <a:pt x="1708829" y="1697467"/>
                </a:cubicBezTo>
                <a:cubicBezTo>
                  <a:pt x="1767834" y="1697467"/>
                  <a:pt x="1815544" y="1745177"/>
                  <a:pt x="1815544" y="1803559"/>
                </a:cubicBezTo>
                <a:cubicBezTo>
                  <a:pt x="1815544" y="1862564"/>
                  <a:pt x="1767834" y="1910274"/>
                  <a:pt x="1709452" y="1910274"/>
                </a:cubicBezTo>
                <a:close/>
                <a:moveTo>
                  <a:pt x="3455893" y="1920652"/>
                </a:moveTo>
                <a:cubicBezTo>
                  <a:pt x="3418904" y="1920652"/>
                  <a:pt x="3389327" y="1891075"/>
                  <a:pt x="3389327" y="1854085"/>
                </a:cubicBezTo>
                <a:cubicBezTo>
                  <a:pt x="3389327" y="1820801"/>
                  <a:pt x="3418904" y="1791224"/>
                  <a:pt x="3455893" y="1791224"/>
                </a:cubicBezTo>
                <a:cubicBezTo>
                  <a:pt x="3492845" y="1791224"/>
                  <a:pt x="3522422" y="1817095"/>
                  <a:pt x="3522422" y="1854085"/>
                </a:cubicBezTo>
                <a:cubicBezTo>
                  <a:pt x="3522422" y="1891075"/>
                  <a:pt x="3492845" y="1920652"/>
                  <a:pt x="3455893" y="1920652"/>
                </a:cubicBezTo>
                <a:close/>
                <a:moveTo>
                  <a:pt x="233853" y="1930447"/>
                </a:moveTo>
                <a:cubicBezTo>
                  <a:pt x="198559" y="1930447"/>
                  <a:pt x="169153" y="1901778"/>
                  <a:pt x="169153" y="1865753"/>
                </a:cubicBezTo>
                <a:cubicBezTo>
                  <a:pt x="169153" y="1829722"/>
                  <a:pt x="197829" y="1800316"/>
                  <a:pt x="233853" y="1800316"/>
                </a:cubicBezTo>
                <a:cubicBezTo>
                  <a:pt x="269139" y="1800316"/>
                  <a:pt x="298552" y="1828992"/>
                  <a:pt x="298552" y="1865016"/>
                </a:cubicBezTo>
                <a:cubicBezTo>
                  <a:pt x="298552" y="1901041"/>
                  <a:pt x="269876" y="1930447"/>
                  <a:pt x="233853" y="1930447"/>
                </a:cubicBezTo>
                <a:close/>
                <a:moveTo>
                  <a:pt x="2088014" y="1959666"/>
                </a:moveTo>
                <a:cubicBezTo>
                  <a:pt x="2036541" y="1960289"/>
                  <a:pt x="1993852" y="1918231"/>
                  <a:pt x="1993852" y="1866130"/>
                </a:cubicBezTo>
                <a:cubicBezTo>
                  <a:pt x="1993852" y="1814030"/>
                  <a:pt x="2035282" y="1771972"/>
                  <a:pt x="2087384" y="1771972"/>
                </a:cubicBezTo>
                <a:cubicBezTo>
                  <a:pt x="2138863" y="1771343"/>
                  <a:pt x="2181546" y="1813401"/>
                  <a:pt x="2181546" y="1865501"/>
                </a:cubicBezTo>
                <a:cubicBezTo>
                  <a:pt x="2182175" y="1916979"/>
                  <a:pt x="2140116" y="1959666"/>
                  <a:pt x="2088014" y="1959666"/>
                </a:cubicBezTo>
                <a:close/>
                <a:moveTo>
                  <a:pt x="657239" y="2010230"/>
                </a:moveTo>
                <a:cubicBezTo>
                  <a:pt x="597600" y="2010230"/>
                  <a:pt x="548639" y="1961898"/>
                  <a:pt x="548639" y="1902259"/>
                </a:cubicBezTo>
                <a:cubicBezTo>
                  <a:pt x="548639" y="1842004"/>
                  <a:pt x="596977" y="1793666"/>
                  <a:pt x="656610" y="1793666"/>
                </a:cubicBezTo>
                <a:cubicBezTo>
                  <a:pt x="716242" y="1793666"/>
                  <a:pt x="765203" y="1842004"/>
                  <a:pt x="765203" y="1901636"/>
                </a:cubicBezTo>
                <a:cubicBezTo>
                  <a:pt x="765203" y="1961269"/>
                  <a:pt x="716871" y="2010230"/>
                  <a:pt x="657239" y="2010230"/>
                </a:cubicBezTo>
                <a:close/>
                <a:moveTo>
                  <a:pt x="2457967" y="2028725"/>
                </a:moveTo>
                <a:cubicBezTo>
                  <a:pt x="2403978" y="2029354"/>
                  <a:pt x="2360037" y="1986035"/>
                  <a:pt x="2360037" y="1932050"/>
                </a:cubicBezTo>
                <a:cubicBezTo>
                  <a:pt x="2360037" y="1878688"/>
                  <a:pt x="2403348" y="1834746"/>
                  <a:pt x="2457338" y="1834117"/>
                </a:cubicBezTo>
                <a:cubicBezTo>
                  <a:pt x="2511321" y="1833488"/>
                  <a:pt x="2555262" y="1876807"/>
                  <a:pt x="2555262" y="1930792"/>
                </a:cubicBezTo>
                <a:cubicBezTo>
                  <a:pt x="2555262" y="1984783"/>
                  <a:pt x="2511951" y="2028725"/>
                  <a:pt x="2457967" y="2028725"/>
                </a:cubicBezTo>
                <a:close/>
                <a:moveTo>
                  <a:pt x="2820177" y="2081922"/>
                </a:moveTo>
                <a:cubicBezTo>
                  <a:pt x="2774355" y="2081922"/>
                  <a:pt x="2736689" y="2044885"/>
                  <a:pt x="2736689" y="1999057"/>
                </a:cubicBezTo>
                <a:cubicBezTo>
                  <a:pt x="2736689" y="1953236"/>
                  <a:pt x="2773726" y="1915570"/>
                  <a:pt x="2819547" y="1915570"/>
                </a:cubicBezTo>
                <a:cubicBezTo>
                  <a:pt x="2865375" y="1915570"/>
                  <a:pt x="2903035" y="1952607"/>
                  <a:pt x="2903035" y="1998428"/>
                </a:cubicBezTo>
                <a:cubicBezTo>
                  <a:pt x="2903035" y="2044256"/>
                  <a:pt x="2866004" y="2081922"/>
                  <a:pt x="2820177" y="2081922"/>
                </a:cubicBezTo>
                <a:close/>
                <a:moveTo>
                  <a:pt x="1059555" y="2087461"/>
                </a:moveTo>
                <a:cubicBezTo>
                  <a:pt x="984851" y="2088084"/>
                  <a:pt x="923965" y="2027827"/>
                  <a:pt x="923965" y="1953123"/>
                </a:cubicBezTo>
                <a:cubicBezTo>
                  <a:pt x="923336" y="1878425"/>
                  <a:pt x="983599" y="1817533"/>
                  <a:pt x="1058297" y="1817533"/>
                </a:cubicBezTo>
                <a:cubicBezTo>
                  <a:pt x="1133001" y="1816904"/>
                  <a:pt x="1193893" y="1877167"/>
                  <a:pt x="1193893" y="1951865"/>
                </a:cubicBezTo>
                <a:cubicBezTo>
                  <a:pt x="1194516" y="2026569"/>
                  <a:pt x="1134253" y="2087461"/>
                  <a:pt x="1059555" y="2087461"/>
                </a:cubicBezTo>
                <a:close/>
                <a:moveTo>
                  <a:pt x="0" y="2128682"/>
                </a:moveTo>
                <a:lnTo>
                  <a:pt x="0" y="2006448"/>
                </a:lnTo>
                <a:lnTo>
                  <a:pt x="3811" y="2007227"/>
                </a:lnTo>
                <a:cubicBezTo>
                  <a:pt x="26990" y="2017119"/>
                  <a:pt x="43459" y="2040224"/>
                  <a:pt x="43459" y="2066803"/>
                </a:cubicBezTo>
                <a:cubicBezTo>
                  <a:pt x="43459" y="2094530"/>
                  <a:pt x="26990" y="2117931"/>
                  <a:pt x="3811" y="2127898"/>
                </a:cubicBezTo>
                <a:close/>
                <a:moveTo>
                  <a:pt x="3176435" y="2133296"/>
                </a:moveTo>
                <a:cubicBezTo>
                  <a:pt x="3141151" y="2133296"/>
                  <a:pt x="3111354" y="2104283"/>
                  <a:pt x="3111354" y="2068211"/>
                </a:cubicBezTo>
                <a:cubicBezTo>
                  <a:pt x="3111354" y="2032140"/>
                  <a:pt x="3140365" y="2003127"/>
                  <a:pt x="3175649" y="2003127"/>
                </a:cubicBezTo>
                <a:cubicBezTo>
                  <a:pt x="3211719" y="2003127"/>
                  <a:pt x="3240730" y="2032140"/>
                  <a:pt x="3240730" y="2068211"/>
                </a:cubicBezTo>
                <a:cubicBezTo>
                  <a:pt x="3241516" y="2103497"/>
                  <a:pt x="3212505" y="2133296"/>
                  <a:pt x="3176435" y="2133296"/>
                </a:cubicBezTo>
                <a:close/>
                <a:moveTo>
                  <a:pt x="1444896" y="2143982"/>
                </a:moveTo>
                <a:cubicBezTo>
                  <a:pt x="1372081" y="2143982"/>
                  <a:pt x="1311819" y="2084972"/>
                  <a:pt x="1311819" y="2011528"/>
                </a:cubicBezTo>
                <a:cubicBezTo>
                  <a:pt x="1311819" y="1938713"/>
                  <a:pt x="1370822" y="1879080"/>
                  <a:pt x="1444267" y="1878451"/>
                </a:cubicBezTo>
                <a:cubicBezTo>
                  <a:pt x="1517711" y="1878451"/>
                  <a:pt x="1577350" y="1937454"/>
                  <a:pt x="1577350" y="2010899"/>
                </a:cubicBezTo>
                <a:cubicBezTo>
                  <a:pt x="1577350" y="2084343"/>
                  <a:pt x="1518341" y="2143982"/>
                  <a:pt x="1444896" y="2143982"/>
                </a:cubicBezTo>
                <a:close/>
                <a:moveTo>
                  <a:pt x="400419" y="2176057"/>
                </a:moveTo>
                <a:cubicBezTo>
                  <a:pt x="361499" y="2176057"/>
                  <a:pt x="329482" y="2144669"/>
                  <a:pt x="329482" y="2105743"/>
                </a:cubicBezTo>
                <a:cubicBezTo>
                  <a:pt x="328859" y="2066824"/>
                  <a:pt x="360870" y="2034807"/>
                  <a:pt x="399796" y="2034807"/>
                </a:cubicBezTo>
                <a:cubicBezTo>
                  <a:pt x="438715" y="2034184"/>
                  <a:pt x="470732" y="2066194"/>
                  <a:pt x="470732" y="2105120"/>
                </a:cubicBezTo>
                <a:cubicBezTo>
                  <a:pt x="471355" y="2144040"/>
                  <a:pt x="439345" y="2176057"/>
                  <a:pt x="400419" y="2176057"/>
                </a:cubicBezTo>
                <a:close/>
                <a:moveTo>
                  <a:pt x="1818721" y="2193212"/>
                </a:moveTo>
                <a:cubicBezTo>
                  <a:pt x="1753437" y="2193212"/>
                  <a:pt x="1700077" y="2140481"/>
                  <a:pt x="1700077" y="2075197"/>
                </a:cubicBezTo>
                <a:cubicBezTo>
                  <a:pt x="1700077" y="2009914"/>
                  <a:pt x="1752808" y="1957183"/>
                  <a:pt x="1818091" y="1956554"/>
                </a:cubicBezTo>
                <a:cubicBezTo>
                  <a:pt x="1883375" y="1956554"/>
                  <a:pt x="1936106" y="2009284"/>
                  <a:pt x="1936735" y="2074568"/>
                </a:cubicBezTo>
                <a:cubicBezTo>
                  <a:pt x="1936735" y="2139852"/>
                  <a:pt x="1884005" y="2193212"/>
                  <a:pt x="1818721" y="2193212"/>
                </a:cubicBezTo>
                <a:close/>
                <a:moveTo>
                  <a:pt x="3527730" y="2203544"/>
                </a:moveTo>
                <a:cubicBezTo>
                  <a:pt x="3492882" y="2203544"/>
                  <a:pt x="3463022" y="2173685"/>
                  <a:pt x="3463022" y="2138863"/>
                </a:cubicBezTo>
                <a:cubicBezTo>
                  <a:pt x="3463022" y="2101521"/>
                  <a:pt x="3492882" y="2071663"/>
                  <a:pt x="3525236" y="2074157"/>
                </a:cubicBezTo>
                <a:cubicBezTo>
                  <a:pt x="3562554" y="2074157"/>
                  <a:pt x="3592414" y="2101521"/>
                  <a:pt x="3592414" y="2138863"/>
                </a:cubicBezTo>
                <a:cubicBezTo>
                  <a:pt x="3592414" y="2173685"/>
                  <a:pt x="3565049" y="2203544"/>
                  <a:pt x="3527730" y="2203544"/>
                </a:cubicBezTo>
                <a:close/>
                <a:moveTo>
                  <a:pt x="2183507" y="2245449"/>
                </a:moveTo>
                <a:cubicBezTo>
                  <a:pt x="2126385" y="2245449"/>
                  <a:pt x="2079306" y="2198993"/>
                  <a:pt x="2079306" y="2141871"/>
                </a:cubicBezTo>
                <a:cubicBezTo>
                  <a:pt x="2079306" y="2084120"/>
                  <a:pt x="2125756" y="2037670"/>
                  <a:pt x="2182884" y="2037670"/>
                </a:cubicBezTo>
                <a:cubicBezTo>
                  <a:pt x="2240006" y="2037670"/>
                  <a:pt x="2287085" y="2083491"/>
                  <a:pt x="2287085" y="2141242"/>
                </a:cubicBezTo>
                <a:cubicBezTo>
                  <a:pt x="2287085" y="2198370"/>
                  <a:pt x="2240629" y="2245449"/>
                  <a:pt x="2183507" y="2245449"/>
                </a:cubicBezTo>
                <a:close/>
                <a:moveTo>
                  <a:pt x="797472" y="2266190"/>
                </a:moveTo>
                <a:cubicBezTo>
                  <a:pt x="737840" y="2266190"/>
                  <a:pt x="689508" y="2217858"/>
                  <a:pt x="688879" y="2158219"/>
                </a:cubicBezTo>
                <a:cubicBezTo>
                  <a:pt x="688879" y="2097958"/>
                  <a:pt x="737217" y="2048997"/>
                  <a:pt x="796849" y="2049626"/>
                </a:cubicBezTo>
                <a:cubicBezTo>
                  <a:pt x="856482" y="2049626"/>
                  <a:pt x="905443" y="2097335"/>
                  <a:pt x="905443" y="2157596"/>
                </a:cubicBezTo>
                <a:cubicBezTo>
                  <a:pt x="906072" y="2217229"/>
                  <a:pt x="857111" y="2266190"/>
                  <a:pt x="797472" y="2266190"/>
                </a:cubicBezTo>
                <a:close/>
                <a:moveTo>
                  <a:pt x="2541517" y="2307910"/>
                </a:moveTo>
                <a:cubicBezTo>
                  <a:pt x="2487529" y="2307910"/>
                  <a:pt x="2443590" y="2264594"/>
                  <a:pt x="2443590" y="2210612"/>
                </a:cubicBezTo>
                <a:cubicBezTo>
                  <a:pt x="2443590" y="2156630"/>
                  <a:pt x="2486900" y="2113314"/>
                  <a:pt x="2540888" y="2113314"/>
                </a:cubicBezTo>
                <a:cubicBezTo>
                  <a:pt x="2594247" y="2112685"/>
                  <a:pt x="2638186" y="2156001"/>
                  <a:pt x="2638186" y="2209983"/>
                </a:cubicBezTo>
                <a:cubicBezTo>
                  <a:pt x="2638809" y="2263971"/>
                  <a:pt x="2594870" y="2307910"/>
                  <a:pt x="2541517" y="2307910"/>
                </a:cubicBezTo>
                <a:close/>
                <a:moveTo>
                  <a:pt x="1178716" y="2345391"/>
                </a:moveTo>
                <a:cubicBezTo>
                  <a:pt x="1109039" y="2345391"/>
                  <a:pt x="1052545" y="2289520"/>
                  <a:pt x="1051916" y="2219837"/>
                </a:cubicBezTo>
                <a:cubicBezTo>
                  <a:pt x="1051287" y="2150160"/>
                  <a:pt x="1107781" y="2093666"/>
                  <a:pt x="1178093" y="2093037"/>
                </a:cubicBezTo>
                <a:cubicBezTo>
                  <a:pt x="1247141" y="2092408"/>
                  <a:pt x="1304270" y="2148902"/>
                  <a:pt x="1304270" y="2218585"/>
                </a:cubicBezTo>
                <a:cubicBezTo>
                  <a:pt x="1304270" y="2288262"/>
                  <a:pt x="1248399" y="2345391"/>
                  <a:pt x="1178716" y="2345391"/>
                </a:cubicBezTo>
                <a:close/>
                <a:moveTo>
                  <a:pt x="2892874" y="2351999"/>
                </a:moveTo>
                <a:cubicBezTo>
                  <a:pt x="2853954" y="2351999"/>
                  <a:pt x="2821938" y="2320611"/>
                  <a:pt x="2821938" y="2281685"/>
                </a:cubicBezTo>
                <a:cubicBezTo>
                  <a:pt x="2821938" y="2242136"/>
                  <a:pt x="2853325" y="2210126"/>
                  <a:pt x="2892244" y="2210749"/>
                </a:cubicBezTo>
                <a:cubicBezTo>
                  <a:pt x="2931164" y="2210749"/>
                  <a:pt x="2963180" y="2242136"/>
                  <a:pt x="2963180" y="2281062"/>
                </a:cubicBezTo>
                <a:cubicBezTo>
                  <a:pt x="2963180" y="2319982"/>
                  <a:pt x="2931793" y="2351999"/>
                  <a:pt x="2892874" y="2351999"/>
                </a:cubicBezTo>
                <a:close/>
                <a:moveTo>
                  <a:pt x="142242" y="2373807"/>
                </a:moveTo>
                <a:cubicBezTo>
                  <a:pt x="105273" y="2373807"/>
                  <a:pt x="77523" y="2346103"/>
                  <a:pt x="77523" y="2309134"/>
                </a:cubicBezTo>
                <a:cubicBezTo>
                  <a:pt x="77523" y="2272165"/>
                  <a:pt x="105273" y="2244415"/>
                  <a:pt x="142242" y="2244415"/>
                </a:cubicBezTo>
                <a:cubicBezTo>
                  <a:pt x="179211" y="2244415"/>
                  <a:pt x="206915" y="2272165"/>
                  <a:pt x="206915" y="2309134"/>
                </a:cubicBezTo>
                <a:cubicBezTo>
                  <a:pt x="206915" y="2346103"/>
                  <a:pt x="179211" y="2373807"/>
                  <a:pt x="142242" y="2373807"/>
                </a:cubicBezTo>
                <a:close/>
                <a:moveTo>
                  <a:pt x="3239341" y="2417946"/>
                </a:moveTo>
                <a:cubicBezTo>
                  <a:pt x="3204206" y="2417946"/>
                  <a:pt x="3175444" y="2389199"/>
                  <a:pt x="3175444" y="2354046"/>
                </a:cubicBezTo>
                <a:cubicBezTo>
                  <a:pt x="3175444" y="2317291"/>
                  <a:pt x="3204206" y="2288544"/>
                  <a:pt x="3239341" y="2288544"/>
                </a:cubicBezTo>
                <a:cubicBezTo>
                  <a:pt x="3276094" y="2286943"/>
                  <a:pt x="3304856" y="2317291"/>
                  <a:pt x="3304856" y="2352444"/>
                </a:cubicBezTo>
                <a:cubicBezTo>
                  <a:pt x="3304856" y="2389199"/>
                  <a:pt x="3276094" y="2417946"/>
                  <a:pt x="3239341" y="2417946"/>
                </a:cubicBezTo>
                <a:close/>
                <a:moveTo>
                  <a:pt x="1546948" y="2425634"/>
                </a:moveTo>
                <a:cubicBezTo>
                  <a:pt x="1469112" y="2425634"/>
                  <a:pt x="1405710" y="2363484"/>
                  <a:pt x="1405710" y="2285648"/>
                </a:cubicBezTo>
                <a:cubicBezTo>
                  <a:pt x="1405081" y="2208435"/>
                  <a:pt x="1467853" y="2145039"/>
                  <a:pt x="1546319" y="2144410"/>
                </a:cubicBezTo>
                <a:cubicBezTo>
                  <a:pt x="1623533" y="2144410"/>
                  <a:pt x="1686928" y="2207182"/>
                  <a:pt x="1686928" y="2284396"/>
                </a:cubicBezTo>
                <a:cubicBezTo>
                  <a:pt x="1686928" y="2362232"/>
                  <a:pt x="1624785" y="2425634"/>
                  <a:pt x="1546948" y="2425634"/>
                </a:cubicBezTo>
                <a:close/>
                <a:moveTo>
                  <a:pt x="534410" y="2430227"/>
                </a:moveTo>
                <a:cubicBezTo>
                  <a:pt x="498648" y="2431281"/>
                  <a:pt x="469201" y="2401833"/>
                  <a:pt x="469201" y="2366070"/>
                </a:cubicBezTo>
                <a:cubicBezTo>
                  <a:pt x="469201" y="2330307"/>
                  <a:pt x="498648" y="2300859"/>
                  <a:pt x="533356" y="2299805"/>
                </a:cubicBezTo>
                <a:cubicBezTo>
                  <a:pt x="569119" y="2299805"/>
                  <a:pt x="598576" y="2329253"/>
                  <a:pt x="598576" y="2365016"/>
                </a:cubicBezTo>
                <a:cubicBezTo>
                  <a:pt x="599620" y="2400779"/>
                  <a:pt x="570173" y="2430227"/>
                  <a:pt x="534410" y="2430227"/>
                </a:cubicBezTo>
                <a:close/>
                <a:moveTo>
                  <a:pt x="1905614" y="2467574"/>
                </a:moveTo>
                <a:cubicBezTo>
                  <a:pt x="1842841" y="2467574"/>
                  <a:pt x="1791369" y="2416725"/>
                  <a:pt x="1791369" y="2353953"/>
                </a:cubicBezTo>
                <a:cubicBezTo>
                  <a:pt x="1791369" y="2291180"/>
                  <a:pt x="1842218" y="2240338"/>
                  <a:pt x="1904991" y="2239709"/>
                </a:cubicBezTo>
                <a:cubicBezTo>
                  <a:pt x="1967764" y="2239709"/>
                  <a:pt x="2019236" y="2290557"/>
                  <a:pt x="2019236" y="2353330"/>
                </a:cubicBezTo>
                <a:cubicBezTo>
                  <a:pt x="2019236" y="2416102"/>
                  <a:pt x="1968387" y="2467574"/>
                  <a:pt x="1905614" y="2467574"/>
                </a:cubicBezTo>
                <a:close/>
                <a:moveTo>
                  <a:pt x="3584069" y="2490261"/>
                </a:moveTo>
                <a:cubicBezTo>
                  <a:pt x="3547350" y="2490261"/>
                  <a:pt x="3516710" y="2459615"/>
                  <a:pt x="3516710" y="2422889"/>
                </a:cubicBezTo>
                <a:cubicBezTo>
                  <a:pt x="3516710" y="2386102"/>
                  <a:pt x="3541210" y="2355457"/>
                  <a:pt x="3584069" y="2361598"/>
                </a:cubicBezTo>
                <a:cubicBezTo>
                  <a:pt x="3620849" y="2355457"/>
                  <a:pt x="3651489" y="2386102"/>
                  <a:pt x="3651489" y="2422889"/>
                </a:cubicBezTo>
                <a:cubicBezTo>
                  <a:pt x="3651489" y="2459615"/>
                  <a:pt x="3620849" y="2490261"/>
                  <a:pt x="3584069" y="2490261"/>
                </a:cubicBezTo>
                <a:close/>
                <a:moveTo>
                  <a:pt x="908031" y="2511858"/>
                </a:moveTo>
                <a:cubicBezTo>
                  <a:pt x="861582" y="2512487"/>
                  <a:pt x="823917" y="2474822"/>
                  <a:pt x="823917" y="2428372"/>
                </a:cubicBezTo>
                <a:cubicBezTo>
                  <a:pt x="823917" y="2381294"/>
                  <a:pt x="861582" y="2343629"/>
                  <a:pt x="907402" y="2344258"/>
                </a:cubicBezTo>
                <a:cubicBezTo>
                  <a:pt x="953852" y="2343629"/>
                  <a:pt x="991517" y="2381294"/>
                  <a:pt x="991517" y="2427743"/>
                </a:cubicBezTo>
                <a:cubicBezTo>
                  <a:pt x="992146" y="2473569"/>
                  <a:pt x="954481" y="2511858"/>
                  <a:pt x="908031" y="2511858"/>
                </a:cubicBezTo>
                <a:close/>
                <a:moveTo>
                  <a:pt x="2257925" y="2532041"/>
                </a:moveTo>
                <a:cubicBezTo>
                  <a:pt x="2198293" y="2532041"/>
                  <a:pt x="2149332" y="2483709"/>
                  <a:pt x="2149332" y="2424070"/>
                </a:cubicBezTo>
                <a:cubicBezTo>
                  <a:pt x="2149332" y="2363815"/>
                  <a:pt x="2197670" y="2314848"/>
                  <a:pt x="2257303" y="2315477"/>
                </a:cubicBezTo>
                <a:cubicBezTo>
                  <a:pt x="2316935" y="2315477"/>
                  <a:pt x="2365896" y="2363815"/>
                  <a:pt x="2365896" y="2423447"/>
                </a:cubicBezTo>
                <a:cubicBezTo>
                  <a:pt x="2365896" y="2483080"/>
                  <a:pt x="2317564" y="2532041"/>
                  <a:pt x="2257925" y="2532041"/>
                </a:cubicBezTo>
                <a:close/>
                <a:moveTo>
                  <a:pt x="2605089" y="2593836"/>
                </a:moveTo>
                <a:cubicBezTo>
                  <a:pt x="2551101" y="2594465"/>
                  <a:pt x="2506532" y="2550525"/>
                  <a:pt x="2506532" y="2495907"/>
                </a:cubicBezTo>
                <a:cubicBezTo>
                  <a:pt x="2505903" y="2441295"/>
                  <a:pt x="2549849" y="2396726"/>
                  <a:pt x="2603831" y="2397355"/>
                </a:cubicBezTo>
                <a:cubicBezTo>
                  <a:pt x="2658442" y="2396726"/>
                  <a:pt x="2702382" y="2440672"/>
                  <a:pt x="2703011" y="2495284"/>
                </a:cubicBezTo>
                <a:cubicBezTo>
                  <a:pt x="2703011" y="2549266"/>
                  <a:pt x="2659071" y="2593836"/>
                  <a:pt x="2605089" y="2593836"/>
                </a:cubicBezTo>
                <a:close/>
                <a:moveTo>
                  <a:pt x="1270771" y="2636852"/>
                </a:moveTo>
                <a:cubicBezTo>
                  <a:pt x="1192929" y="2636852"/>
                  <a:pt x="1130156" y="2574702"/>
                  <a:pt x="1129533" y="2496866"/>
                </a:cubicBezTo>
                <a:cubicBezTo>
                  <a:pt x="1128904" y="2419659"/>
                  <a:pt x="1191677" y="2356257"/>
                  <a:pt x="1269513" y="2355628"/>
                </a:cubicBezTo>
                <a:cubicBezTo>
                  <a:pt x="1347356" y="2355628"/>
                  <a:pt x="1410128" y="2417771"/>
                  <a:pt x="1410751" y="2495614"/>
                </a:cubicBezTo>
                <a:cubicBezTo>
                  <a:pt x="1410751" y="2573450"/>
                  <a:pt x="1348608" y="2636852"/>
                  <a:pt x="1270771" y="2636852"/>
                </a:cubicBezTo>
                <a:close/>
                <a:moveTo>
                  <a:pt x="277313" y="2646417"/>
                </a:moveTo>
                <a:cubicBezTo>
                  <a:pt x="221885" y="2646417"/>
                  <a:pt x="203348" y="2609490"/>
                  <a:pt x="203348" y="2572380"/>
                </a:cubicBezTo>
                <a:cubicBezTo>
                  <a:pt x="203348" y="2535454"/>
                  <a:pt x="221885" y="2498344"/>
                  <a:pt x="277313" y="2498344"/>
                </a:cubicBezTo>
                <a:cubicBezTo>
                  <a:pt x="295850" y="2498344"/>
                  <a:pt x="332740" y="2535454"/>
                  <a:pt x="332740" y="2572380"/>
                </a:cubicBezTo>
                <a:cubicBezTo>
                  <a:pt x="332740" y="2609490"/>
                  <a:pt x="314387" y="2646417"/>
                  <a:pt x="277313" y="2646417"/>
                </a:cubicBezTo>
                <a:close/>
                <a:moveTo>
                  <a:pt x="2947403" y="2651462"/>
                </a:moveTo>
                <a:cubicBezTo>
                  <a:pt x="2902213" y="2651462"/>
                  <a:pt x="2864549" y="2614433"/>
                  <a:pt x="2864549" y="2568607"/>
                </a:cubicBezTo>
                <a:cubicBezTo>
                  <a:pt x="2864549" y="2522788"/>
                  <a:pt x="2901584" y="2485124"/>
                  <a:pt x="2946780" y="2485124"/>
                </a:cubicBezTo>
                <a:cubicBezTo>
                  <a:pt x="2992599" y="2485124"/>
                  <a:pt x="3030263" y="2522159"/>
                  <a:pt x="3030263" y="2567978"/>
                </a:cubicBezTo>
                <a:cubicBezTo>
                  <a:pt x="3030263" y="2613803"/>
                  <a:pt x="2993228" y="2651462"/>
                  <a:pt x="2947403" y="2651462"/>
                </a:cubicBezTo>
                <a:close/>
                <a:moveTo>
                  <a:pt x="633913" y="2703910"/>
                </a:moveTo>
                <a:cubicBezTo>
                  <a:pt x="598135" y="2703910"/>
                  <a:pt x="568630" y="2674405"/>
                  <a:pt x="568630" y="2638626"/>
                </a:cubicBezTo>
                <a:cubicBezTo>
                  <a:pt x="568630" y="2602218"/>
                  <a:pt x="597506" y="2573342"/>
                  <a:pt x="633913" y="2573342"/>
                </a:cubicBezTo>
                <a:cubicBezTo>
                  <a:pt x="669692" y="2573342"/>
                  <a:pt x="699197" y="2602847"/>
                  <a:pt x="699197" y="2638626"/>
                </a:cubicBezTo>
                <a:cubicBezTo>
                  <a:pt x="699197" y="2674405"/>
                  <a:pt x="669692" y="2703910"/>
                  <a:pt x="633913" y="2703910"/>
                </a:cubicBezTo>
                <a:close/>
                <a:moveTo>
                  <a:pt x="3287637" y="2706134"/>
                </a:moveTo>
                <a:cubicBezTo>
                  <a:pt x="3252019" y="2706134"/>
                  <a:pt x="3222340" y="2677645"/>
                  <a:pt x="3222340" y="2642027"/>
                </a:cubicBezTo>
                <a:cubicBezTo>
                  <a:pt x="3222340" y="2605219"/>
                  <a:pt x="3250829" y="2576730"/>
                  <a:pt x="3286447" y="2576730"/>
                </a:cubicBezTo>
                <a:cubicBezTo>
                  <a:pt x="3322064" y="2576730"/>
                  <a:pt x="3351744" y="2605219"/>
                  <a:pt x="3351744" y="2640837"/>
                </a:cubicBezTo>
                <a:cubicBezTo>
                  <a:pt x="3351744" y="2676455"/>
                  <a:pt x="3323254" y="2706134"/>
                  <a:pt x="3287637" y="2706134"/>
                </a:cubicBezTo>
                <a:close/>
                <a:moveTo>
                  <a:pt x="1623513" y="2706144"/>
                </a:moveTo>
                <a:cubicBezTo>
                  <a:pt x="1546303" y="2706773"/>
                  <a:pt x="1483529" y="2644628"/>
                  <a:pt x="1483529" y="2567419"/>
                </a:cubicBezTo>
                <a:cubicBezTo>
                  <a:pt x="1482900" y="2490834"/>
                  <a:pt x="1545045" y="2428060"/>
                  <a:pt x="1622260" y="2427431"/>
                </a:cubicBezTo>
                <a:cubicBezTo>
                  <a:pt x="1699470" y="2427431"/>
                  <a:pt x="1762244" y="2488946"/>
                  <a:pt x="1762244" y="2566161"/>
                </a:cubicBezTo>
                <a:cubicBezTo>
                  <a:pt x="1762873" y="2643370"/>
                  <a:pt x="1700728" y="2706144"/>
                  <a:pt x="1623513" y="2706144"/>
                </a:cubicBezTo>
                <a:close/>
                <a:moveTo>
                  <a:pt x="1969815" y="2759158"/>
                </a:moveTo>
                <a:cubicBezTo>
                  <a:pt x="1903274" y="2759787"/>
                  <a:pt x="1848663" y="2705799"/>
                  <a:pt x="1848663" y="2639263"/>
                </a:cubicBezTo>
                <a:cubicBezTo>
                  <a:pt x="1848663" y="2572721"/>
                  <a:pt x="1902645" y="2518738"/>
                  <a:pt x="1968557" y="2518109"/>
                </a:cubicBezTo>
                <a:cubicBezTo>
                  <a:pt x="2035098" y="2517480"/>
                  <a:pt x="2089709" y="2571468"/>
                  <a:pt x="2089709" y="2638004"/>
                </a:cubicBezTo>
                <a:cubicBezTo>
                  <a:pt x="2090338" y="2704547"/>
                  <a:pt x="2036350" y="2759158"/>
                  <a:pt x="1969815" y="2759158"/>
                </a:cubicBezTo>
                <a:close/>
                <a:moveTo>
                  <a:pt x="3623650" y="2779468"/>
                </a:moveTo>
                <a:cubicBezTo>
                  <a:pt x="3587248" y="2779468"/>
                  <a:pt x="3558954" y="2751174"/>
                  <a:pt x="3558954" y="2714772"/>
                </a:cubicBezTo>
                <a:cubicBezTo>
                  <a:pt x="3558954" y="2678371"/>
                  <a:pt x="3587248" y="2650076"/>
                  <a:pt x="3623650" y="2650076"/>
                </a:cubicBezTo>
                <a:cubicBezTo>
                  <a:pt x="3660052" y="2650076"/>
                  <a:pt x="3688346" y="2678371"/>
                  <a:pt x="3688346" y="2714772"/>
                </a:cubicBezTo>
                <a:cubicBezTo>
                  <a:pt x="3688346" y="2751174"/>
                  <a:pt x="3660052" y="2779468"/>
                  <a:pt x="3623650" y="2779468"/>
                </a:cubicBezTo>
                <a:close/>
                <a:moveTo>
                  <a:pt x="2311272" y="2825045"/>
                </a:moveTo>
                <a:cubicBezTo>
                  <a:pt x="2248499" y="2825045"/>
                  <a:pt x="2197027" y="2774196"/>
                  <a:pt x="2197027" y="2711423"/>
                </a:cubicBezTo>
                <a:cubicBezTo>
                  <a:pt x="2197027" y="2648650"/>
                  <a:pt x="2247876" y="2597178"/>
                  <a:pt x="2310649" y="2597178"/>
                </a:cubicBezTo>
                <a:cubicBezTo>
                  <a:pt x="2373422" y="2597178"/>
                  <a:pt x="2424894" y="2648027"/>
                  <a:pt x="2424894" y="2710800"/>
                </a:cubicBezTo>
                <a:cubicBezTo>
                  <a:pt x="2424894" y="2773573"/>
                  <a:pt x="2374045" y="2825045"/>
                  <a:pt x="2311272" y="2825045"/>
                </a:cubicBezTo>
                <a:close/>
                <a:moveTo>
                  <a:pt x="988573" y="2825307"/>
                </a:moveTo>
                <a:cubicBezTo>
                  <a:pt x="923919" y="2825936"/>
                  <a:pt x="871818" y="2773835"/>
                  <a:pt x="871818" y="2709804"/>
                </a:cubicBezTo>
                <a:cubicBezTo>
                  <a:pt x="871189" y="2645779"/>
                  <a:pt x="923290" y="2593678"/>
                  <a:pt x="987321" y="2593049"/>
                </a:cubicBezTo>
                <a:cubicBezTo>
                  <a:pt x="1051975" y="2592420"/>
                  <a:pt x="1104076" y="2644521"/>
                  <a:pt x="1104076" y="2708552"/>
                </a:cubicBezTo>
                <a:cubicBezTo>
                  <a:pt x="1104705" y="2772577"/>
                  <a:pt x="1052604" y="2825307"/>
                  <a:pt x="988573" y="2825307"/>
                </a:cubicBezTo>
                <a:close/>
                <a:moveTo>
                  <a:pt x="0" y="2845772"/>
                </a:moveTo>
                <a:lnTo>
                  <a:pt x="0" y="2721356"/>
                </a:lnTo>
                <a:lnTo>
                  <a:pt x="23444" y="2717609"/>
                </a:lnTo>
                <a:cubicBezTo>
                  <a:pt x="48507" y="2721785"/>
                  <a:pt x="68498" y="2748532"/>
                  <a:pt x="68498" y="2775179"/>
                </a:cubicBezTo>
                <a:cubicBezTo>
                  <a:pt x="68498" y="2801959"/>
                  <a:pt x="48507" y="2828639"/>
                  <a:pt x="23444" y="2840306"/>
                </a:cubicBezTo>
                <a:close/>
                <a:moveTo>
                  <a:pt x="2649495" y="2891271"/>
                </a:moveTo>
                <a:cubicBezTo>
                  <a:pt x="2589863" y="2891900"/>
                  <a:pt x="2541526" y="2844191"/>
                  <a:pt x="2541526" y="2784557"/>
                </a:cubicBezTo>
                <a:cubicBezTo>
                  <a:pt x="2541526" y="2724924"/>
                  <a:pt x="2589234" y="2676585"/>
                  <a:pt x="2648237" y="2677214"/>
                </a:cubicBezTo>
                <a:cubicBezTo>
                  <a:pt x="2707869" y="2676585"/>
                  <a:pt x="2756206" y="2724924"/>
                  <a:pt x="2756206" y="2783928"/>
                </a:cubicBezTo>
                <a:cubicBezTo>
                  <a:pt x="2756206" y="2842939"/>
                  <a:pt x="2708498" y="2891271"/>
                  <a:pt x="2649495" y="2891271"/>
                </a:cubicBezTo>
                <a:close/>
                <a:moveTo>
                  <a:pt x="352573" y="2917466"/>
                </a:moveTo>
                <a:cubicBezTo>
                  <a:pt x="317276" y="2917466"/>
                  <a:pt x="287875" y="2890014"/>
                  <a:pt x="287875" y="2852775"/>
                </a:cubicBezTo>
                <a:cubicBezTo>
                  <a:pt x="287875" y="2817483"/>
                  <a:pt x="317276" y="2788085"/>
                  <a:pt x="350608" y="2786120"/>
                </a:cubicBezTo>
                <a:cubicBezTo>
                  <a:pt x="387870" y="2786120"/>
                  <a:pt x="417271" y="2815518"/>
                  <a:pt x="417271" y="2850810"/>
                </a:cubicBezTo>
                <a:cubicBezTo>
                  <a:pt x="417271" y="2888068"/>
                  <a:pt x="389835" y="2917466"/>
                  <a:pt x="352573" y="2917466"/>
                </a:cubicBezTo>
                <a:close/>
                <a:moveTo>
                  <a:pt x="1334437" y="2924768"/>
                </a:moveTo>
                <a:cubicBezTo>
                  <a:pt x="1254718" y="2925397"/>
                  <a:pt x="1190063" y="2861366"/>
                  <a:pt x="1190063" y="2781647"/>
                </a:cubicBezTo>
                <a:cubicBezTo>
                  <a:pt x="1189434" y="2701922"/>
                  <a:pt x="1254089" y="2637890"/>
                  <a:pt x="1333184" y="2637267"/>
                </a:cubicBezTo>
                <a:cubicBezTo>
                  <a:pt x="1412909" y="2636638"/>
                  <a:pt x="1477564" y="2700664"/>
                  <a:pt x="1477564" y="2780389"/>
                </a:cubicBezTo>
                <a:cubicBezTo>
                  <a:pt x="1478193" y="2860113"/>
                  <a:pt x="1414162" y="2924768"/>
                  <a:pt x="1334437" y="2924768"/>
                </a:cubicBezTo>
                <a:close/>
                <a:moveTo>
                  <a:pt x="2983970" y="2941403"/>
                </a:moveTo>
                <a:cubicBezTo>
                  <a:pt x="2938780" y="2941403"/>
                  <a:pt x="2901116" y="2904374"/>
                  <a:pt x="2901116" y="2858549"/>
                </a:cubicBezTo>
                <a:cubicBezTo>
                  <a:pt x="2901116" y="2812730"/>
                  <a:pt x="2937522" y="2775694"/>
                  <a:pt x="2983347" y="2775065"/>
                </a:cubicBezTo>
                <a:cubicBezTo>
                  <a:pt x="3029166" y="2775065"/>
                  <a:pt x="3066830" y="2812100"/>
                  <a:pt x="3066830" y="2857920"/>
                </a:cubicBezTo>
                <a:cubicBezTo>
                  <a:pt x="3066830" y="2903745"/>
                  <a:pt x="3029795" y="2941403"/>
                  <a:pt x="2983970" y="2941403"/>
                </a:cubicBezTo>
                <a:close/>
                <a:moveTo>
                  <a:pt x="697583" y="2988118"/>
                </a:moveTo>
                <a:cubicBezTo>
                  <a:pt x="662435" y="2988118"/>
                  <a:pt x="632883" y="2959366"/>
                  <a:pt x="632883" y="2923425"/>
                </a:cubicBezTo>
                <a:cubicBezTo>
                  <a:pt x="632883" y="2887475"/>
                  <a:pt x="661634" y="2857922"/>
                  <a:pt x="697583" y="2858723"/>
                </a:cubicBezTo>
                <a:cubicBezTo>
                  <a:pt x="733524" y="2858723"/>
                  <a:pt x="762275" y="2887475"/>
                  <a:pt x="762275" y="2923425"/>
                </a:cubicBezTo>
                <a:cubicBezTo>
                  <a:pt x="762275" y="2958566"/>
                  <a:pt x="733524" y="2988118"/>
                  <a:pt x="697583" y="2988118"/>
                </a:cubicBezTo>
                <a:close/>
                <a:moveTo>
                  <a:pt x="1674708" y="2993502"/>
                </a:moveTo>
                <a:cubicBezTo>
                  <a:pt x="1597498" y="2994131"/>
                  <a:pt x="1535347" y="2931986"/>
                  <a:pt x="1534724" y="2854771"/>
                </a:cubicBezTo>
                <a:cubicBezTo>
                  <a:pt x="1534095" y="2777562"/>
                  <a:pt x="1596240" y="2715417"/>
                  <a:pt x="1673455" y="2714787"/>
                </a:cubicBezTo>
                <a:cubicBezTo>
                  <a:pt x="1750665" y="2714158"/>
                  <a:pt x="1812816" y="2776303"/>
                  <a:pt x="1813439" y="2853519"/>
                </a:cubicBezTo>
                <a:cubicBezTo>
                  <a:pt x="1814068" y="2930728"/>
                  <a:pt x="1751923" y="2993502"/>
                  <a:pt x="1674708" y="2993502"/>
                </a:cubicBezTo>
                <a:close/>
                <a:moveTo>
                  <a:pt x="3316804" y="2997210"/>
                </a:moveTo>
                <a:cubicBezTo>
                  <a:pt x="3281043" y="2997210"/>
                  <a:pt x="3251597" y="2967765"/>
                  <a:pt x="3251597" y="2932006"/>
                </a:cubicBezTo>
                <a:cubicBezTo>
                  <a:pt x="3251597" y="2896246"/>
                  <a:pt x="3281043" y="2867855"/>
                  <a:pt x="3315750" y="2866801"/>
                </a:cubicBezTo>
                <a:cubicBezTo>
                  <a:pt x="3351512" y="2866801"/>
                  <a:pt x="3380958" y="2896246"/>
                  <a:pt x="3380958" y="2932006"/>
                </a:cubicBezTo>
                <a:cubicBezTo>
                  <a:pt x="3382012" y="2967765"/>
                  <a:pt x="3352566" y="2997210"/>
                  <a:pt x="3316804" y="2997210"/>
                </a:cubicBezTo>
                <a:close/>
                <a:moveTo>
                  <a:pt x="2010151" y="3054611"/>
                </a:moveTo>
                <a:cubicBezTo>
                  <a:pt x="1940474" y="3054611"/>
                  <a:pt x="1883351" y="2998111"/>
                  <a:pt x="1882722" y="2927806"/>
                </a:cubicBezTo>
                <a:cubicBezTo>
                  <a:pt x="1882722" y="2857500"/>
                  <a:pt x="1939216" y="2800377"/>
                  <a:pt x="2009528" y="2800377"/>
                </a:cubicBezTo>
                <a:cubicBezTo>
                  <a:pt x="2079833" y="2800377"/>
                  <a:pt x="2136956" y="2856871"/>
                  <a:pt x="2136956" y="2927183"/>
                </a:cubicBezTo>
                <a:cubicBezTo>
                  <a:pt x="2136956" y="2997488"/>
                  <a:pt x="2080456" y="3054611"/>
                  <a:pt x="2010151" y="3054611"/>
                </a:cubicBezTo>
                <a:close/>
                <a:moveTo>
                  <a:pt x="3646879" y="3070693"/>
                </a:moveTo>
                <a:cubicBezTo>
                  <a:pt x="3610477" y="3070693"/>
                  <a:pt x="3582183" y="3042399"/>
                  <a:pt x="3582183" y="3005997"/>
                </a:cubicBezTo>
                <a:cubicBezTo>
                  <a:pt x="3582183" y="2969596"/>
                  <a:pt x="3610477" y="2941301"/>
                  <a:pt x="3646879" y="2941301"/>
                </a:cubicBezTo>
                <a:cubicBezTo>
                  <a:pt x="3683281" y="2941301"/>
                  <a:pt x="3711575" y="2969596"/>
                  <a:pt x="3711575" y="3005997"/>
                </a:cubicBezTo>
                <a:cubicBezTo>
                  <a:pt x="3711575" y="3042399"/>
                  <a:pt x="3683281" y="3070693"/>
                  <a:pt x="3646879" y="3070693"/>
                </a:cubicBezTo>
                <a:close/>
                <a:moveTo>
                  <a:pt x="1035794" y="3104210"/>
                </a:moveTo>
                <a:cubicBezTo>
                  <a:pt x="976790" y="3104839"/>
                  <a:pt x="928452" y="3056500"/>
                  <a:pt x="928452" y="2997494"/>
                </a:cubicBezTo>
                <a:cubicBezTo>
                  <a:pt x="928452" y="2938489"/>
                  <a:pt x="976161" y="2890149"/>
                  <a:pt x="1034542" y="2890149"/>
                </a:cubicBezTo>
                <a:cubicBezTo>
                  <a:pt x="1094175" y="2889520"/>
                  <a:pt x="1142507" y="2937860"/>
                  <a:pt x="1142507" y="2996865"/>
                </a:cubicBezTo>
                <a:cubicBezTo>
                  <a:pt x="1143136" y="3055877"/>
                  <a:pt x="1094798" y="3104210"/>
                  <a:pt x="1035794" y="3104210"/>
                </a:cubicBezTo>
                <a:close/>
                <a:moveTo>
                  <a:pt x="2343103" y="3121058"/>
                </a:moveTo>
                <a:cubicBezTo>
                  <a:pt x="2277189" y="3121058"/>
                  <a:pt x="2223206" y="3067712"/>
                  <a:pt x="2223206" y="3001798"/>
                </a:cubicBezTo>
                <a:cubicBezTo>
                  <a:pt x="2223206" y="2935884"/>
                  <a:pt x="2276566" y="2882530"/>
                  <a:pt x="2342474" y="2881901"/>
                </a:cubicBezTo>
                <a:cubicBezTo>
                  <a:pt x="2408388" y="2881901"/>
                  <a:pt x="2462377" y="2935261"/>
                  <a:pt x="2462377" y="3001175"/>
                </a:cubicBezTo>
                <a:cubicBezTo>
                  <a:pt x="2462377" y="3067083"/>
                  <a:pt x="2409017" y="3121058"/>
                  <a:pt x="2343103" y="3121058"/>
                </a:cubicBezTo>
                <a:close/>
                <a:moveTo>
                  <a:pt x="72292" y="3142886"/>
                </a:moveTo>
                <a:cubicBezTo>
                  <a:pt x="43715" y="3142886"/>
                  <a:pt x="15139" y="3121454"/>
                  <a:pt x="2637" y="3094653"/>
                </a:cubicBezTo>
                <a:lnTo>
                  <a:pt x="0" y="3083381"/>
                </a:lnTo>
                <a:lnTo>
                  <a:pt x="0" y="3048404"/>
                </a:lnTo>
                <a:lnTo>
                  <a:pt x="2041" y="3038877"/>
                </a:lnTo>
                <a:cubicBezTo>
                  <a:pt x="12757" y="3012229"/>
                  <a:pt x="34190" y="2990783"/>
                  <a:pt x="34190" y="2990783"/>
                </a:cubicBezTo>
                <a:cubicBezTo>
                  <a:pt x="72292" y="2990783"/>
                  <a:pt x="110017" y="3028909"/>
                  <a:pt x="110017" y="3066658"/>
                </a:cubicBezTo>
                <a:cubicBezTo>
                  <a:pt x="148119" y="3104784"/>
                  <a:pt x="110017" y="3142886"/>
                  <a:pt x="72292" y="3142886"/>
                </a:cubicBezTo>
                <a:close/>
                <a:moveTo>
                  <a:pt x="2673484" y="3189399"/>
                </a:moveTo>
                <a:cubicBezTo>
                  <a:pt x="2610711" y="3189399"/>
                  <a:pt x="2559239" y="3138551"/>
                  <a:pt x="2559239" y="3075791"/>
                </a:cubicBezTo>
                <a:cubicBezTo>
                  <a:pt x="2558610" y="3013019"/>
                  <a:pt x="2610082" y="2961547"/>
                  <a:pt x="2672861" y="2961547"/>
                </a:cubicBezTo>
                <a:cubicBezTo>
                  <a:pt x="2735634" y="2961547"/>
                  <a:pt x="2786477" y="3012396"/>
                  <a:pt x="2787106" y="3075168"/>
                </a:cubicBezTo>
                <a:cubicBezTo>
                  <a:pt x="2787106" y="3137929"/>
                  <a:pt x="2736257" y="3189399"/>
                  <a:pt x="2673484" y="3189399"/>
                </a:cubicBezTo>
                <a:close/>
                <a:moveTo>
                  <a:pt x="395180" y="3204915"/>
                </a:moveTo>
                <a:cubicBezTo>
                  <a:pt x="361296" y="3204915"/>
                  <a:pt x="330469" y="3177181"/>
                  <a:pt x="330469" y="3140213"/>
                </a:cubicBezTo>
                <a:cubicBezTo>
                  <a:pt x="330469" y="3103257"/>
                  <a:pt x="361296" y="3075519"/>
                  <a:pt x="395180" y="3075519"/>
                </a:cubicBezTo>
                <a:cubicBezTo>
                  <a:pt x="432154" y="3075519"/>
                  <a:pt x="459892" y="3103257"/>
                  <a:pt x="459892" y="3140213"/>
                </a:cubicBezTo>
                <a:cubicBezTo>
                  <a:pt x="459892" y="3177181"/>
                  <a:pt x="432154" y="3204915"/>
                  <a:pt x="395180" y="3204915"/>
                </a:cubicBezTo>
                <a:close/>
                <a:moveTo>
                  <a:pt x="1369184" y="3216661"/>
                </a:moveTo>
                <a:cubicBezTo>
                  <a:pt x="1288839" y="3216661"/>
                  <a:pt x="1222928" y="3151377"/>
                  <a:pt x="1222928" y="3071054"/>
                </a:cubicBezTo>
                <a:cubicBezTo>
                  <a:pt x="1222928" y="2990708"/>
                  <a:pt x="1288210" y="2924797"/>
                  <a:pt x="1368555" y="2924797"/>
                </a:cubicBezTo>
                <a:cubicBezTo>
                  <a:pt x="1448906" y="2924797"/>
                  <a:pt x="1514811" y="2989450"/>
                  <a:pt x="1514811" y="3070425"/>
                </a:cubicBezTo>
                <a:cubicBezTo>
                  <a:pt x="1514811" y="3150753"/>
                  <a:pt x="1450159" y="3216661"/>
                  <a:pt x="1369184" y="3216661"/>
                </a:cubicBezTo>
                <a:close/>
                <a:moveTo>
                  <a:pt x="3001708" y="3240171"/>
                </a:moveTo>
                <a:cubicBezTo>
                  <a:pt x="2951489" y="3240171"/>
                  <a:pt x="2910689" y="3199994"/>
                  <a:pt x="2910689" y="3149775"/>
                </a:cubicBezTo>
                <a:cubicBezTo>
                  <a:pt x="2910689" y="3099563"/>
                  <a:pt x="2950866" y="3058763"/>
                  <a:pt x="3001079" y="3058763"/>
                </a:cubicBezTo>
                <a:cubicBezTo>
                  <a:pt x="3051298" y="3058763"/>
                  <a:pt x="3092104" y="3098940"/>
                  <a:pt x="3092104" y="3149152"/>
                </a:cubicBezTo>
                <a:cubicBezTo>
                  <a:pt x="3092104" y="3199365"/>
                  <a:pt x="3051927" y="3240171"/>
                  <a:pt x="3001708" y="3240171"/>
                </a:cubicBezTo>
                <a:close/>
                <a:moveTo>
                  <a:pt x="725348" y="3278863"/>
                </a:moveTo>
                <a:cubicBezTo>
                  <a:pt x="689399" y="3278863"/>
                  <a:pt x="659746" y="3250122"/>
                  <a:pt x="659746" y="3214185"/>
                </a:cubicBezTo>
                <a:cubicBezTo>
                  <a:pt x="659746" y="3178238"/>
                  <a:pt x="688498" y="3149489"/>
                  <a:pt x="724447" y="3149489"/>
                </a:cubicBezTo>
                <a:cubicBezTo>
                  <a:pt x="760387" y="3149489"/>
                  <a:pt x="790040" y="3178238"/>
                  <a:pt x="790040" y="3214185"/>
                </a:cubicBezTo>
                <a:cubicBezTo>
                  <a:pt x="790040" y="3249221"/>
                  <a:pt x="761288" y="3278863"/>
                  <a:pt x="725348" y="3278863"/>
                </a:cubicBezTo>
                <a:close/>
                <a:moveTo>
                  <a:pt x="3328550" y="3288358"/>
                </a:moveTo>
                <a:cubicBezTo>
                  <a:pt x="3292957" y="3288358"/>
                  <a:pt x="3263849" y="3259259"/>
                  <a:pt x="3263849" y="3223676"/>
                </a:cubicBezTo>
                <a:cubicBezTo>
                  <a:pt x="3263849" y="3188094"/>
                  <a:pt x="3292957" y="3158975"/>
                  <a:pt x="3328550" y="3158975"/>
                </a:cubicBezTo>
                <a:cubicBezTo>
                  <a:pt x="3364133" y="3158975"/>
                  <a:pt x="3393241" y="3188094"/>
                  <a:pt x="3393241" y="3223676"/>
                </a:cubicBezTo>
                <a:cubicBezTo>
                  <a:pt x="3393241" y="3259259"/>
                  <a:pt x="3364133" y="3288358"/>
                  <a:pt x="3328550" y="3288358"/>
                </a:cubicBezTo>
                <a:close/>
                <a:moveTo>
                  <a:pt x="2026923" y="3351864"/>
                </a:moveTo>
                <a:cubicBezTo>
                  <a:pt x="1954108" y="3351864"/>
                  <a:pt x="1894475" y="3292855"/>
                  <a:pt x="1893846" y="3219449"/>
                </a:cubicBezTo>
                <a:cubicBezTo>
                  <a:pt x="1893846" y="3146636"/>
                  <a:pt x="1952849" y="3087023"/>
                  <a:pt x="2026294" y="3086394"/>
                </a:cubicBezTo>
                <a:cubicBezTo>
                  <a:pt x="2099115" y="3086394"/>
                  <a:pt x="2159377" y="3145377"/>
                  <a:pt x="2159377" y="3218819"/>
                </a:cubicBezTo>
                <a:cubicBezTo>
                  <a:pt x="2159377" y="3292228"/>
                  <a:pt x="2100368" y="3351864"/>
                  <a:pt x="2026923" y="3351864"/>
                </a:cubicBezTo>
                <a:close/>
                <a:moveTo>
                  <a:pt x="3654191" y="3362788"/>
                </a:moveTo>
                <a:cubicBezTo>
                  <a:pt x="3617789" y="3362788"/>
                  <a:pt x="3589495" y="3334494"/>
                  <a:pt x="3589495" y="3298092"/>
                </a:cubicBezTo>
                <a:cubicBezTo>
                  <a:pt x="3589495" y="3265744"/>
                  <a:pt x="3617789" y="3233396"/>
                  <a:pt x="3654191" y="3233396"/>
                </a:cubicBezTo>
                <a:cubicBezTo>
                  <a:pt x="3690593" y="3233396"/>
                  <a:pt x="3718887" y="3261691"/>
                  <a:pt x="3718887" y="3298092"/>
                </a:cubicBezTo>
                <a:cubicBezTo>
                  <a:pt x="3718887" y="3334494"/>
                  <a:pt x="3690593" y="3362788"/>
                  <a:pt x="3654191" y="3362788"/>
                </a:cubicBezTo>
                <a:close/>
                <a:moveTo>
                  <a:pt x="1051281" y="3392217"/>
                </a:moveTo>
                <a:cubicBezTo>
                  <a:pt x="994159" y="3392843"/>
                  <a:pt x="947080" y="3346393"/>
                  <a:pt x="947080" y="3288654"/>
                </a:cubicBezTo>
                <a:cubicBezTo>
                  <a:pt x="947080" y="3230940"/>
                  <a:pt x="993530" y="3184495"/>
                  <a:pt x="1050652" y="3184495"/>
                </a:cubicBezTo>
                <a:cubicBezTo>
                  <a:pt x="1107780" y="3184495"/>
                  <a:pt x="1154859" y="3230318"/>
                  <a:pt x="1154859" y="3288026"/>
                </a:cubicBezTo>
                <a:cubicBezTo>
                  <a:pt x="1154859" y="3345148"/>
                  <a:pt x="1108403" y="3392217"/>
                  <a:pt x="1051281" y="3392217"/>
                </a:cubicBezTo>
                <a:close/>
                <a:moveTo>
                  <a:pt x="2353099" y="3417066"/>
                </a:moveTo>
                <a:cubicBezTo>
                  <a:pt x="2284675" y="3417066"/>
                  <a:pt x="2228804" y="3361827"/>
                  <a:pt x="2228804" y="3293408"/>
                </a:cubicBezTo>
                <a:cubicBezTo>
                  <a:pt x="2228804" y="3225018"/>
                  <a:pt x="2284046" y="3169149"/>
                  <a:pt x="2351841" y="3169149"/>
                </a:cubicBezTo>
                <a:cubicBezTo>
                  <a:pt x="2420265" y="3169149"/>
                  <a:pt x="2476130" y="3224388"/>
                  <a:pt x="2476130" y="3292781"/>
                </a:cubicBezTo>
                <a:cubicBezTo>
                  <a:pt x="2476759" y="3361204"/>
                  <a:pt x="2421517" y="3417066"/>
                  <a:pt x="2353099" y="3417066"/>
                </a:cubicBezTo>
                <a:close/>
                <a:moveTo>
                  <a:pt x="2677885" y="3484158"/>
                </a:moveTo>
                <a:cubicBezTo>
                  <a:pt x="2612600" y="3484158"/>
                  <a:pt x="2559868" y="3432063"/>
                  <a:pt x="2559868" y="3367413"/>
                </a:cubicBezTo>
                <a:cubicBezTo>
                  <a:pt x="2559239" y="3302131"/>
                  <a:pt x="2611970" y="3249427"/>
                  <a:pt x="2677255" y="3250056"/>
                </a:cubicBezTo>
                <a:cubicBezTo>
                  <a:pt x="2741911" y="3249427"/>
                  <a:pt x="2794643" y="3302131"/>
                  <a:pt x="2794643" y="3366783"/>
                </a:cubicBezTo>
                <a:cubicBezTo>
                  <a:pt x="2795272" y="3431439"/>
                  <a:pt x="2742541" y="3484158"/>
                  <a:pt x="2677885" y="3484158"/>
                </a:cubicBezTo>
                <a:close/>
                <a:moveTo>
                  <a:pt x="394316" y="3496489"/>
                </a:moveTo>
                <a:cubicBezTo>
                  <a:pt x="358356" y="3496489"/>
                  <a:pt x="329602" y="3467728"/>
                  <a:pt x="329602" y="3431820"/>
                </a:cubicBezTo>
                <a:cubicBezTo>
                  <a:pt x="329602" y="3395858"/>
                  <a:pt x="358356" y="3367113"/>
                  <a:pt x="394316" y="3367113"/>
                </a:cubicBezTo>
                <a:cubicBezTo>
                  <a:pt x="430240" y="3367113"/>
                  <a:pt x="458994" y="3395858"/>
                  <a:pt x="458994" y="3431820"/>
                </a:cubicBezTo>
                <a:cubicBezTo>
                  <a:pt x="458994" y="3467728"/>
                  <a:pt x="430240" y="3496489"/>
                  <a:pt x="394316" y="3496489"/>
                </a:cubicBezTo>
                <a:close/>
                <a:moveTo>
                  <a:pt x="1375639" y="3508269"/>
                </a:moveTo>
                <a:cubicBezTo>
                  <a:pt x="1295290" y="3508269"/>
                  <a:pt x="1229376" y="3442981"/>
                  <a:pt x="1229376" y="3362645"/>
                </a:cubicBezTo>
                <a:cubicBezTo>
                  <a:pt x="1228747" y="3281688"/>
                  <a:pt x="1294032" y="3216432"/>
                  <a:pt x="1374380" y="3216432"/>
                </a:cubicBezTo>
                <a:cubicBezTo>
                  <a:pt x="1455364" y="3216432"/>
                  <a:pt x="1520649" y="3281688"/>
                  <a:pt x="1521272" y="3362017"/>
                </a:cubicBezTo>
                <a:cubicBezTo>
                  <a:pt x="1521272" y="3442363"/>
                  <a:pt x="1455987" y="3507638"/>
                  <a:pt x="1375639" y="3508269"/>
                </a:cubicBezTo>
                <a:close/>
                <a:moveTo>
                  <a:pt x="3000847" y="3532223"/>
                </a:moveTo>
                <a:cubicBezTo>
                  <a:pt x="2950628" y="3532223"/>
                  <a:pt x="2909828" y="3492047"/>
                  <a:pt x="2909828" y="3441837"/>
                </a:cubicBezTo>
                <a:cubicBezTo>
                  <a:pt x="2909828" y="3391622"/>
                  <a:pt x="2950005" y="3350824"/>
                  <a:pt x="3000224" y="3350824"/>
                </a:cubicBezTo>
                <a:cubicBezTo>
                  <a:pt x="3050437" y="3350824"/>
                  <a:pt x="3091243" y="3390996"/>
                  <a:pt x="3091243" y="3441215"/>
                </a:cubicBezTo>
                <a:cubicBezTo>
                  <a:pt x="3091243" y="3491420"/>
                  <a:pt x="3051066" y="3532223"/>
                  <a:pt x="3000847" y="3532223"/>
                </a:cubicBezTo>
                <a:close/>
                <a:moveTo>
                  <a:pt x="714591" y="3570467"/>
                </a:moveTo>
                <a:cubicBezTo>
                  <a:pt x="678642" y="3570467"/>
                  <a:pt x="648989" y="3541716"/>
                  <a:pt x="648989" y="3505777"/>
                </a:cubicBezTo>
                <a:cubicBezTo>
                  <a:pt x="648989" y="3469831"/>
                  <a:pt x="678642" y="3441087"/>
                  <a:pt x="714591" y="3441087"/>
                </a:cubicBezTo>
                <a:cubicBezTo>
                  <a:pt x="749630" y="3441087"/>
                  <a:pt x="779283" y="3469831"/>
                  <a:pt x="779283" y="3505777"/>
                </a:cubicBezTo>
                <a:cubicBezTo>
                  <a:pt x="779283" y="3540817"/>
                  <a:pt x="750531" y="3570467"/>
                  <a:pt x="714591" y="3570467"/>
                </a:cubicBezTo>
                <a:close/>
                <a:moveTo>
                  <a:pt x="3322958" y="3580434"/>
                </a:moveTo>
                <a:cubicBezTo>
                  <a:pt x="3287376" y="3580434"/>
                  <a:pt x="3258257" y="3551325"/>
                  <a:pt x="3258257" y="3515742"/>
                </a:cubicBezTo>
                <a:cubicBezTo>
                  <a:pt x="3258257" y="3480151"/>
                  <a:pt x="3287376" y="3451046"/>
                  <a:pt x="3322958" y="3451046"/>
                </a:cubicBezTo>
                <a:cubicBezTo>
                  <a:pt x="3358541" y="3451046"/>
                  <a:pt x="3387649" y="3480151"/>
                  <a:pt x="3387649" y="3515742"/>
                </a:cubicBezTo>
                <a:cubicBezTo>
                  <a:pt x="3387649" y="3551325"/>
                  <a:pt x="3358541" y="3580434"/>
                  <a:pt x="3322958" y="3580434"/>
                </a:cubicBezTo>
                <a:close/>
                <a:moveTo>
                  <a:pt x="2020040" y="3643497"/>
                </a:moveTo>
                <a:cubicBezTo>
                  <a:pt x="1947225" y="3643497"/>
                  <a:pt x="1886963" y="3584489"/>
                  <a:pt x="1886963" y="3511048"/>
                </a:cubicBezTo>
                <a:cubicBezTo>
                  <a:pt x="1886334" y="3437616"/>
                  <a:pt x="1945967" y="3377990"/>
                  <a:pt x="2019411" y="3377990"/>
                </a:cubicBezTo>
                <a:cubicBezTo>
                  <a:pt x="2092226" y="3377990"/>
                  <a:pt x="2152488" y="3436988"/>
                  <a:pt x="2152488" y="3510419"/>
                </a:cubicBezTo>
                <a:cubicBezTo>
                  <a:pt x="2152488" y="3583859"/>
                  <a:pt x="2093485" y="3643497"/>
                  <a:pt x="2020040" y="3643497"/>
                </a:cubicBezTo>
                <a:close/>
                <a:moveTo>
                  <a:pt x="3644749" y="3654438"/>
                </a:moveTo>
                <a:cubicBezTo>
                  <a:pt x="3607780" y="3654438"/>
                  <a:pt x="3580030" y="3626735"/>
                  <a:pt x="3580030" y="3589766"/>
                </a:cubicBezTo>
                <a:cubicBezTo>
                  <a:pt x="3580030" y="3552796"/>
                  <a:pt x="3607780" y="3525047"/>
                  <a:pt x="3644749" y="3525047"/>
                </a:cubicBezTo>
                <a:cubicBezTo>
                  <a:pt x="3681718" y="3525047"/>
                  <a:pt x="3709422" y="3552796"/>
                  <a:pt x="3709422" y="3589766"/>
                </a:cubicBezTo>
                <a:cubicBezTo>
                  <a:pt x="3709422" y="3626735"/>
                  <a:pt x="3681718" y="3654438"/>
                  <a:pt x="3644749" y="3654438"/>
                </a:cubicBezTo>
                <a:close/>
                <a:moveTo>
                  <a:pt x="1034172" y="3687006"/>
                </a:moveTo>
                <a:cubicBezTo>
                  <a:pt x="974540" y="3687643"/>
                  <a:pt x="926203" y="3639302"/>
                  <a:pt x="926203" y="3580296"/>
                </a:cubicBezTo>
                <a:cubicBezTo>
                  <a:pt x="926203" y="3521294"/>
                  <a:pt x="973911" y="3472953"/>
                  <a:pt x="1033543" y="3472953"/>
                </a:cubicBezTo>
                <a:cubicBezTo>
                  <a:pt x="1092552" y="3472327"/>
                  <a:pt x="1140883" y="3520663"/>
                  <a:pt x="1140883" y="3579662"/>
                </a:cubicBezTo>
                <a:cubicBezTo>
                  <a:pt x="1141512" y="3638671"/>
                  <a:pt x="1093175" y="3687006"/>
                  <a:pt x="1034172" y="3687006"/>
                </a:cubicBezTo>
                <a:close/>
                <a:moveTo>
                  <a:pt x="32953" y="3711701"/>
                </a:moveTo>
                <a:cubicBezTo>
                  <a:pt x="24906" y="3711701"/>
                  <a:pt x="16839" y="3709670"/>
                  <a:pt x="9265" y="3706116"/>
                </a:cubicBezTo>
                <a:lnTo>
                  <a:pt x="0" y="3699536"/>
                </a:lnTo>
                <a:lnTo>
                  <a:pt x="0" y="3607217"/>
                </a:lnTo>
                <a:lnTo>
                  <a:pt x="9265" y="3601332"/>
                </a:lnTo>
                <a:cubicBezTo>
                  <a:pt x="16839" y="3596260"/>
                  <a:pt x="24906" y="3590167"/>
                  <a:pt x="32953" y="3582043"/>
                </a:cubicBezTo>
                <a:cubicBezTo>
                  <a:pt x="65462" y="3582043"/>
                  <a:pt x="97971" y="3614539"/>
                  <a:pt x="97971" y="3646713"/>
                </a:cubicBezTo>
                <a:cubicBezTo>
                  <a:pt x="97971" y="3679208"/>
                  <a:pt x="65462" y="3711701"/>
                  <a:pt x="32953" y="3711701"/>
                </a:cubicBezTo>
                <a:close/>
                <a:moveTo>
                  <a:pt x="2341049" y="3714268"/>
                </a:moveTo>
                <a:cubicBezTo>
                  <a:pt x="2269492" y="3714895"/>
                  <a:pt x="2211111" y="3657145"/>
                  <a:pt x="2211111" y="3585578"/>
                </a:cubicBezTo>
                <a:cubicBezTo>
                  <a:pt x="2211111" y="3514022"/>
                  <a:pt x="2268863" y="3455647"/>
                  <a:pt x="2339797" y="3455647"/>
                </a:cubicBezTo>
                <a:cubicBezTo>
                  <a:pt x="2411360" y="3455015"/>
                  <a:pt x="2469735" y="3512764"/>
                  <a:pt x="2469735" y="3584331"/>
                </a:cubicBezTo>
                <a:cubicBezTo>
                  <a:pt x="2470364" y="3655886"/>
                  <a:pt x="2412612" y="3714268"/>
                  <a:pt x="2341049" y="3714268"/>
                </a:cubicBezTo>
                <a:close/>
                <a:moveTo>
                  <a:pt x="2661441" y="3778326"/>
                </a:moveTo>
                <a:cubicBezTo>
                  <a:pt x="2595527" y="3778326"/>
                  <a:pt x="2541544" y="3724966"/>
                  <a:pt x="2541544" y="3659051"/>
                </a:cubicBezTo>
                <a:cubicBezTo>
                  <a:pt x="2540915" y="3593139"/>
                  <a:pt x="2594275" y="3539155"/>
                  <a:pt x="2660812" y="3539155"/>
                </a:cubicBezTo>
                <a:cubicBezTo>
                  <a:pt x="2726726" y="3539155"/>
                  <a:pt x="2780715" y="3592517"/>
                  <a:pt x="2780715" y="3658422"/>
                </a:cubicBezTo>
                <a:cubicBezTo>
                  <a:pt x="2780715" y="3724341"/>
                  <a:pt x="2727355" y="3778326"/>
                  <a:pt x="2661441" y="3778326"/>
                </a:cubicBezTo>
                <a:close/>
                <a:moveTo>
                  <a:pt x="351445" y="3785371"/>
                </a:moveTo>
                <a:cubicBezTo>
                  <a:pt x="314956" y="3785371"/>
                  <a:pt x="285086" y="3758828"/>
                  <a:pt x="285086" y="3722311"/>
                </a:cubicBezTo>
                <a:cubicBezTo>
                  <a:pt x="285086" y="3689147"/>
                  <a:pt x="314956" y="3659278"/>
                  <a:pt x="348119" y="3655949"/>
                </a:cubicBezTo>
                <a:cubicBezTo>
                  <a:pt x="384641" y="3655949"/>
                  <a:pt x="414511" y="3682495"/>
                  <a:pt x="414511" y="3718986"/>
                </a:cubicBezTo>
                <a:cubicBezTo>
                  <a:pt x="414511" y="3755505"/>
                  <a:pt x="387967" y="3785371"/>
                  <a:pt x="351445" y="3785371"/>
                </a:cubicBezTo>
                <a:close/>
                <a:moveTo>
                  <a:pt x="2981063" y="3821052"/>
                </a:moveTo>
                <a:cubicBezTo>
                  <a:pt x="2932103" y="3821052"/>
                  <a:pt x="2891927" y="3781502"/>
                  <a:pt x="2891927" y="3732534"/>
                </a:cubicBezTo>
                <a:cubicBezTo>
                  <a:pt x="2891927" y="3683572"/>
                  <a:pt x="2931474" y="3643394"/>
                  <a:pt x="2980433" y="3644024"/>
                </a:cubicBezTo>
                <a:cubicBezTo>
                  <a:pt x="3029399" y="3643394"/>
                  <a:pt x="3069569" y="3682943"/>
                  <a:pt x="3069569" y="3731912"/>
                </a:cubicBezTo>
                <a:cubicBezTo>
                  <a:pt x="3069569" y="3780871"/>
                  <a:pt x="3030022" y="3821052"/>
                  <a:pt x="2981063" y="3821052"/>
                </a:cubicBezTo>
                <a:close/>
                <a:moveTo>
                  <a:pt x="667240" y="3858914"/>
                </a:moveTo>
                <a:cubicBezTo>
                  <a:pt x="631347" y="3858914"/>
                  <a:pt x="602125" y="3830525"/>
                  <a:pt x="602125" y="3794628"/>
                </a:cubicBezTo>
                <a:cubicBezTo>
                  <a:pt x="601288" y="3759568"/>
                  <a:pt x="630511" y="3730356"/>
                  <a:pt x="666412" y="3729515"/>
                </a:cubicBezTo>
                <a:cubicBezTo>
                  <a:pt x="702304" y="3729515"/>
                  <a:pt x="731527" y="3757902"/>
                  <a:pt x="731527" y="3793801"/>
                </a:cubicBezTo>
                <a:cubicBezTo>
                  <a:pt x="731527" y="3829693"/>
                  <a:pt x="703141" y="3858914"/>
                  <a:pt x="667240" y="3858914"/>
                </a:cubicBezTo>
                <a:close/>
                <a:moveTo>
                  <a:pt x="3300526" y="3871463"/>
                </a:moveTo>
                <a:cubicBezTo>
                  <a:pt x="3264907" y="3871463"/>
                  <a:pt x="3235226" y="3842971"/>
                  <a:pt x="3235226" y="3807355"/>
                </a:cubicBezTo>
                <a:cubicBezTo>
                  <a:pt x="3235226" y="3770547"/>
                  <a:pt x="3264907" y="3742059"/>
                  <a:pt x="3299336" y="3742059"/>
                </a:cubicBezTo>
                <a:cubicBezTo>
                  <a:pt x="3334955" y="3742059"/>
                  <a:pt x="3364635" y="3770547"/>
                  <a:pt x="3364635" y="3806165"/>
                </a:cubicBezTo>
                <a:cubicBezTo>
                  <a:pt x="3365825" y="3841781"/>
                  <a:pt x="3336145" y="3871463"/>
                  <a:pt x="3300526" y="3871463"/>
                </a:cubicBezTo>
                <a:close/>
                <a:moveTo>
                  <a:pt x="1989072" y="3937534"/>
                </a:moveTo>
                <a:cubicBezTo>
                  <a:pt x="1914368" y="3937534"/>
                  <a:pt x="1852852" y="3877271"/>
                  <a:pt x="1852852" y="3801945"/>
                </a:cubicBezTo>
                <a:cubicBezTo>
                  <a:pt x="1852852" y="3726621"/>
                  <a:pt x="1913115" y="3665729"/>
                  <a:pt x="1987820" y="3665102"/>
                </a:cubicBezTo>
                <a:cubicBezTo>
                  <a:pt x="2063147" y="3665102"/>
                  <a:pt x="2124040" y="3725368"/>
                  <a:pt x="2124663" y="3800690"/>
                </a:cubicBezTo>
                <a:cubicBezTo>
                  <a:pt x="2124663" y="3876016"/>
                  <a:pt x="2064400" y="3937534"/>
                  <a:pt x="1989072" y="3937534"/>
                </a:cubicBezTo>
                <a:close/>
                <a:moveTo>
                  <a:pt x="3619348" y="3945237"/>
                </a:moveTo>
                <a:cubicBezTo>
                  <a:pt x="3582946" y="3945237"/>
                  <a:pt x="3554652" y="3916942"/>
                  <a:pt x="3554652" y="3880541"/>
                </a:cubicBezTo>
                <a:cubicBezTo>
                  <a:pt x="3554652" y="3844140"/>
                  <a:pt x="3582946" y="3815845"/>
                  <a:pt x="3619348" y="3815845"/>
                </a:cubicBezTo>
                <a:cubicBezTo>
                  <a:pt x="3655750" y="3815845"/>
                  <a:pt x="3684044" y="3844140"/>
                  <a:pt x="3684044" y="3880541"/>
                </a:cubicBezTo>
                <a:cubicBezTo>
                  <a:pt x="3684044" y="3916942"/>
                  <a:pt x="3655750" y="3945237"/>
                  <a:pt x="3619348" y="3945237"/>
                </a:cubicBezTo>
                <a:close/>
                <a:moveTo>
                  <a:pt x="983648" y="3983681"/>
                </a:moveTo>
                <a:cubicBezTo>
                  <a:pt x="919616" y="3984312"/>
                  <a:pt x="867515" y="3932212"/>
                  <a:pt x="867515" y="3868184"/>
                </a:cubicBezTo>
                <a:cubicBezTo>
                  <a:pt x="867515" y="3804156"/>
                  <a:pt x="918987" y="3752057"/>
                  <a:pt x="983019" y="3751429"/>
                </a:cubicBezTo>
                <a:cubicBezTo>
                  <a:pt x="1047044" y="3750801"/>
                  <a:pt x="1099775" y="3802900"/>
                  <a:pt x="1099775" y="3866931"/>
                </a:cubicBezTo>
                <a:cubicBezTo>
                  <a:pt x="1099775" y="3931582"/>
                  <a:pt x="1047674" y="3983681"/>
                  <a:pt x="983648" y="3983681"/>
                </a:cubicBezTo>
                <a:close/>
                <a:moveTo>
                  <a:pt x="2307502" y="4008599"/>
                </a:moveTo>
                <a:cubicBezTo>
                  <a:pt x="2233434" y="4009221"/>
                  <a:pt x="2173171" y="3949589"/>
                  <a:pt x="2173171" y="3875517"/>
                </a:cubicBezTo>
                <a:cubicBezTo>
                  <a:pt x="2172542" y="3801448"/>
                  <a:pt x="2232804" y="3741186"/>
                  <a:pt x="2306249" y="3741186"/>
                </a:cubicBezTo>
                <a:cubicBezTo>
                  <a:pt x="2380324" y="3740558"/>
                  <a:pt x="2440586" y="3800191"/>
                  <a:pt x="2440586" y="3874266"/>
                </a:cubicBezTo>
                <a:cubicBezTo>
                  <a:pt x="2441209" y="3948339"/>
                  <a:pt x="2381576" y="4008599"/>
                  <a:pt x="2307502" y="4008599"/>
                </a:cubicBezTo>
                <a:close/>
                <a:moveTo>
                  <a:pt x="269481" y="4070013"/>
                </a:moveTo>
                <a:cubicBezTo>
                  <a:pt x="216098" y="4070013"/>
                  <a:pt x="198245" y="4034475"/>
                  <a:pt x="198245" y="3998760"/>
                </a:cubicBezTo>
                <a:cubicBezTo>
                  <a:pt x="198245" y="3963220"/>
                  <a:pt x="216098" y="3927506"/>
                  <a:pt x="269481" y="3927506"/>
                </a:cubicBezTo>
                <a:cubicBezTo>
                  <a:pt x="305188" y="3927506"/>
                  <a:pt x="322864" y="3963220"/>
                  <a:pt x="322864" y="3998760"/>
                </a:cubicBezTo>
                <a:cubicBezTo>
                  <a:pt x="340718" y="4034475"/>
                  <a:pt x="305188" y="4070013"/>
                  <a:pt x="269481" y="4070013"/>
                </a:cubicBezTo>
                <a:close/>
                <a:moveTo>
                  <a:pt x="2624870" y="4071398"/>
                </a:moveTo>
                <a:cubicBezTo>
                  <a:pt x="2557073" y="4071398"/>
                  <a:pt x="2501830" y="4016783"/>
                  <a:pt x="2501830" y="3948989"/>
                </a:cubicBezTo>
                <a:cubicBezTo>
                  <a:pt x="2501830" y="3881191"/>
                  <a:pt x="2556444" y="3825947"/>
                  <a:pt x="2624241" y="3825947"/>
                </a:cubicBezTo>
                <a:cubicBezTo>
                  <a:pt x="2692038" y="3825947"/>
                  <a:pt x="2747281" y="3880564"/>
                  <a:pt x="2747281" y="3948360"/>
                </a:cubicBezTo>
                <a:cubicBezTo>
                  <a:pt x="2747281" y="4016153"/>
                  <a:pt x="2692667" y="4071398"/>
                  <a:pt x="2624870" y="4071398"/>
                </a:cubicBezTo>
                <a:close/>
                <a:moveTo>
                  <a:pt x="1301316" y="4091771"/>
                </a:moveTo>
                <a:cubicBezTo>
                  <a:pt x="1217828" y="4091771"/>
                  <a:pt x="1150034" y="4024607"/>
                  <a:pt x="1150034" y="3941739"/>
                </a:cubicBezTo>
                <a:cubicBezTo>
                  <a:pt x="1150034" y="3879600"/>
                  <a:pt x="1187814" y="3825927"/>
                  <a:pt x="1241926" y="3802712"/>
                </a:cubicBezTo>
                <a:lnTo>
                  <a:pt x="1297741" y="3791076"/>
                </a:lnTo>
                <a:lnTo>
                  <a:pt x="1295263" y="3790590"/>
                </a:lnTo>
                <a:cubicBezTo>
                  <a:pt x="1241947" y="3768316"/>
                  <a:pt x="1204167" y="3715588"/>
                  <a:pt x="1204167" y="3654382"/>
                </a:cubicBezTo>
                <a:cubicBezTo>
                  <a:pt x="1204167" y="3572777"/>
                  <a:pt x="1270078" y="3505615"/>
                  <a:pt x="1351683" y="3505615"/>
                </a:cubicBezTo>
                <a:cubicBezTo>
                  <a:pt x="1433281" y="3504984"/>
                  <a:pt x="1500451" y="3571519"/>
                  <a:pt x="1500451" y="3653123"/>
                </a:cubicBezTo>
                <a:cubicBezTo>
                  <a:pt x="1500923" y="3714802"/>
                  <a:pt x="1463611" y="3767652"/>
                  <a:pt x="1410499" y="3790219"/>
                </a:cubicBezTo>
                <a:lnTo>
                  <a:pt x="1355143" y="3801455"/>
                </a:lnTo>
                <a:lnTo>
                  <a:pt x="1359098" y="3802252"/>
                </a:lnTo>
                <a:cubicBezTo>
                  <a:pt x="1412976" y="3825023"/>
                  <a:pt x="1450874" y="3878345"/>
                  <a:pt x="1451346" y="3940489"/>
                </a:cubicBezTo>
                <a:cubicBezTo>
                  <a:pt x="1451346" y="4023975"/>
                  <a:pt x="1384181" y="4091771"/>
                  <a:pt x="1301316" y="4091771"/>
                </a:cubicBezTo>
                <a:close/>
                <a:moveTo>
                  <a:pt x="2942346" y="4111701"/>
                </a:moveTo>
                <a:cubicBezTo>
                  <a:pt x="2892753" y="4112332"/>
                  <a:pt x="2852574" y="4072153"/>
                  <a:pt x="2852574" y="4022561"/>
                </a:cubicBezTo>
                <a:cubicBezTo>
                  <a:pt x="2852574" y="3972969"/>
                  <a:pt x="2892753" y="3932792"/>
                  <a:pt x="2941716" y="3932792"/>
                </a:cubicBezTo>
                <a:cubicBezTo>
                  <a:pt x="2990680" y="3932161"/>
                  <a:pt x="3031488" y="3972340"/>
                  <a:pt x="3031488" y="4021932"/>
                </a:cubicBezTo>
                <a:cubicBezTo>
                  <a:pt x="3032111" y="4071524"/>
                  <a:pt x="2991938" y="4111701"/>
                  <a:pt x="2942346" y="4111701"/>
                </a:cubicBezTo>
                <a:close/>
                <a:moveTo>
                  <a:pt x="582729" y="4137895"/>
                </a:moveTo>
                <a:cubicBezTo>
                  <a:pt x="548224" y="4137895"/>
                  <a:pt x="518022" y="4109856"/>
                  <a:pt x="518022" y="4073191"/>
                </a:cubicBezTo>
                <a:cubicBezTo>
                  <a:pt x="518022" y="4036522"/>
                  <a:pt x="546062" y="4008481"/>
                  <a:pt x="582729" y="4008481"/>
                </a:cubicBezTo>
                <a:cubicBezTo>
                  <a:pt x="619395" y="4008481"/>
                  <a:pt x="647435" y="4038684"/>
                  <a:pt x="647435" y="4073191"/>
                </a:cubicBezTo>
                <a:cubicBezTo>
                  <a:pt x="647435" y="4109856"/>
                  <a:pt x="617233" y="4137895"/>
                  <a:pt x="582729" y="4137895"/>
                </a:cubicBezTo>
                <a:close/>
                <a:moveTo>
                  <a:pt x="3259720" y="4160741"/>
                </a:moveTo>
                <a:cubicBezTo>
                  <a:pt x="3224029" y="4160741"/>
                  <a:pt x="3195024" y="4131736"/>
                  <a:pt x="3195024" y="4096046"/>
                </a:cubicBezTo>
                <a:cubicBezTo>
                  <a:pt x="3195024" y="4060354"/>
                  <a:pt x="3224029" y="4031350"/>
                  <a:pt x="3259720" y="4031350"/>
                </a:cubicBezTo>
                <a:cubicBezTo>
                  <a:pt x="3295411" y="4031350"/>
                  <a:pt x="3324416" y="4060354"/>
                  <a:pt x="3324416" y="4096046"/>
                </a:cubicBezTo>
                <a:cubicBezTo>
                  <a:pt x="3324416" y="4131736"/>
                  <a:pt x="3295411" y="4160741"/>
                  <a:pt x="3259720" y="4160741"/>
                </a:cubicBezTo>
                <a:close/>
                <a:moveTo>
                  <a:pt x="901912" y="4212852"/>
                </a:moveTo>
                <a:cubicBezTo>
                  <a:pt x="866502" y="4212852"/>
                  <a:pt x="837216" y="4184247"/>
                  <a:pt x="837216" y="4148152"/>
                </a:cubicBezTo>
                <a:cubicBezTo>
                  <a:pt x="837216" y="4112738"/>
                  <a:pt x="865820" y="4083460"/>
                  <a:pt x="901229" y="4082776"/>
                </a:cubicBezTo>
                <a:cubicBezTo>
                  <a:pt x="937329" y="4082776"/>
                  <a:pt x="966615" y="4111381"/>
                  <a:pt x="966615" y="4147473"/>
                </a:cubicBezTo>
                <a:cubicBezTo>
                  <a:pt x="966615" y="4183571"/>
                  <a:pt x="938011" y="4212852"/>
                  <a:pt x="901912" y="4212852"/>
                </a:cubicBezTo>
                <a:close/>
                <a:moveTo>
                  <a:pt x="1934868" y="4226874"/>
                </a:moveTo>
                <a:cubicBezTo>
                  <a:pt x="1858283" y="4227503"/>
                  <a:pt x="1796139" y="4165985"/>
                  <a:pt x="1796139" y="4089399"/>
                </a:cubicBezTo>
                <a:cubicBezTo>
                  <a:pt x="1796139" y="4012812"/>
                  <a:pt x="1857660" y="3950666"/>
                  <a:pt x="1934239" y="3950039"/>
                </a:cubicBezTo>
                <a:cubicBezTo>
                  <a:pt x="2010824" y="3950039"/>
                  <a:pt x="2072345" y="4011560"/>
                  <a:pt x="2072968" y="4088141"/>
                </a:cubicBezTo>
                <a:cubicBezTo>
                  <a:pt x="2072968" y="4164728"/>
                  <a:pt x="2011453" y="4226874"/>
                  <a:pt x="1934868" y="4226874"/>
                </a:cubicBezTo>
                <a:close/>
                <a:moveTo>
                  <a:pt x="3577620" y="4234315"/>
                </a:moveTo>
                <a:cubicBezTo>
                  <a:pt x="3541218" y="4234315"/>
                  <a:pt x="3512924" y="4206020"/>
                  <a:pt x="3512924" y="4169618"/>
                </a:cubicBezTo>
                <a:cubicBezTo>
                  <a:pt x="3512924" y="4133217"/>
                  <a:pt x="3541218" y="4104922"/>
                  <a:pt x="3577620" y="4104922"/>
                </a:cubicBezTo>
                <a:cubicBezTo>
                  <a:pt x="3614022" y="4104922"/>
                  <a:pt x="3642316" y="4133217"/>
                  <a:pt x="3642316" y="4169618"/>
                </a:cubicBezTo>
                <a:cubicBezTo>
                  <a:pt x="3642316" y="4206020"/>
                  <a:pt x="3614022" y="4234315"/>
                  <a:pt x="3577620" y="4234315"/>
                </a:cubicBezTo>
                <a:close/>
                <a:moveTo>
                  <a:pt x="2252011" y="4295104"/>
                </a:moveTo>
                <a:cubicBezTo>
                  <a:pt x="2177935" y="4295104"/>
                  <a:pt x="2117672" y="4235461"/>
                  <a:pt x="2117672" y="4161391"/>
                </a:cubicBezTo>
                <a:cubicBezTo>
                  <a:pt x="2117672" y="4087315"/>
                  <a:pt x="2177306" y="4027679"/>
                  <a:pt x="2250752" y="4027679"/>
                </a:cubicBezTo>
                <a:cubicBezTo>
                  <a:pt x="2324828" y="4027054"/>
                  <a:pt x="2385091" y="4086687"/>
                  <a:pt x="2385091" y="4160762"/>
                </a:cubicBezTo>
                <a:cubicBezTo>
                  <a:pt x="2385720" y="4234840"/>
                  <a:pt x="2326086" y="4295104"/>
                  <a:pt x="2252011" y="4295104"/>
                </a:cubicBezTo>
                <a:close/>
                <a:moveTo>
                  <a:pt x="134905" y="4326202"/>
                </a:moveTo>
                <a:cubicBezTo>
                  <a:pt x="97179" y="4326202"/>
                  <a:pt x="70209" y="4299222"/>
                  <a:pt x="70209" y="4261484"/>
                </a:cubicBezTo>
                <a:cubicBezTo>
                  <a:pt x="70209" y="4223749"/>
                  <a:pt x="102584" y="4191367"/>
                  <a:pt x="134905" y="4196772"/>
                </a:cubicBezTo>
                <a:cubicBezTo>
                  <a:pt x="167280" y="4196772"/>
                  <a:pt x="199601" y="4223749"/>
                  <a:pt x="199601" y="4261484"/>
                </a:cubicBezTo>
                <a:cubicBezTo>
                  <a:pt x="199601" y="4299222"/>
                  <a:pt x="172631" y="4326202"/>
                  <a:pt x="134905" y="4326202"/>
                </a:cubicBezTo>
                <a:close/>
                <a:moveTo>
                  <a:pt x="2569045" y="4351519"/>
                </a:moveTo>
                <a:cubicBezTo>
                  <a:pt x="2504391" y="4352147"/>
                  <a:pt x="2452290" y="4300049"/>
                  <a:pt x="2452290" y="4236016"/>
                </a:cubicBezTo>
                <a:cubicBezTo>
                  <a:pt x="2452290" y="4171991"/>
                  <a:pt x="2503762" y="4119892"/>
                  <a:pt x="2567793" y="4119263"/>
                </a:cubicBezTo>
                <a:cubicBezTo>
                  <a:pt x="2632447" y="4118632"/>
                  <a:pt x="2684548" y="4170735"/>
                  <a:pt x="2684548" y="4234767"/>
                </a:cubicBezTo>
                <a:cubicBezTo>
                  <a:pt x="2685177" y="4299419"/>
                  <a:pt x="2633076" y="4351519"/>
                  <a:pt x="2569045" y="4351519"/>
                </a:cubicBezTo>
                <a:close/>
                <a:moveTo>
                  <a:pt x="1221305" y="4352597"/>
                </a:moveTo>
                <a:cubicBezTo>
                  <a:pt x="1149113" y="4353225"/>
                  <a:pt x="1090109" y="4294847"/>
                  <a:pt x="1090109" y="4222657"/>
                </a:cubicBezTo>
                <a:cubicBezTo>
                  <a:pt x="1089480" y="4151095"/>
                  <a:pt x="1147860" y="4092090"/>
                  <a:pt x="1220046" y="4091461"/>
                </a:cubicBezTo>
                <a:cubicBezTo>
                  <a:pt x="1292239" y="4090835"/>
                  <a:pt x="1351242" y="4149210"/>
                  <a:pt x="1351242" y="4221400"/>
                </a:cubicBezTo>
                <a:cubicBezTo>
                  <a:pt x="1351242" y="4293591"/>
                  <a:pt x="1293491" y="4352597"/>
                  <a:pt x="1221305" y="4352597"/>
                </a:cubicBezTo>
                <a:close/>
                <a:moveTo>
                  <a:pt x="2885557" y="4393807"/>
                </a:moveTo>
                <a:cubicBezTo>
                  <a:pt x="2838475" y="4393807"/>
                  <a:pt x="2800184" y="4356139"/>
                  <a:pt x="2800184" y="4309057"/>
                </a:cubicBezTo>
                <a:cubicBezTo>
                  <a:pt x="2800184" y="4261974"/>
                  <a:pt x="2838475" y="4223683"/>
                  <a:pt x="2884934" y="4223683"/>
                </a:cubicBezTo>
                <a:cubicBezTo>
                  <a:pt x="2932016" y="4223683"/>
                  <a:pt x="2970307" y="4261353"/>
                  <a:pt x="2970307" y="4308432"/>
                </a:cubicBezTo>
                <a:cubicBezTo>
                  <a:pt x="2970936" y="4355516"/>
                  <a:pt x="2932639" y="4393807"/>
                  <a:pt x="2885557" y="4393807"/>
                </a:cubicBezTo>
                <a:close/>
                <a:moveTo>
                  <a:pt x="463566" y="4404587"/>
                </a:moveTo>
                <a:cubicBezTo>
                  <a:pt x="427984" y="4404587"/>
                  <a:pt x="398865" y="4375482"/>
                  <a:pt x="398865" y="4339897"/>
                </a:cubicBezTo>
                <a:cubicBezTo>
                  <a:pt x="398865" y="4304316"/>
                  <a:pt x="427984" y="4275194"/>
                  <a:pt x="463566" y="4275194"/>
                </a:cubicBezTo>
                <a:cubicBezTo>
                  <a:pt x="499149" y="4275194"/>
                  <a:pt x="528257" y="4304316"/>
                  <a:pt x="528257" y="4339897"/>
                </a:cubicBezTo>
                <a:cubicBezTo>
                  <a:pt x="528257" y="4375482"/>
                  <a:pt x="499149" y="4404587"/>
                  <a:pt x="463566" y="4404587"/>
                </a:cubicBezTo>
                <a:close/>
                <a:moveTo>
                  <a:pt x="3202505" y="4447238"/>
                </a:moveTo>
                <a:cubicBezTo>
                  <a:pt x="3166814" y="4447238"/>
                  <a:pt x="3137809" y="4418233"/>
                  <a:pt x="3137809" y="4382541"/>
                </a:cubicBezTo>
                <a:cubicBezTo>
                  <a:pt x="3137809" y="4347966"/>
                  <a:pt x="3166814" y="4317845"/>
                  <a:pt x="3201387" y="4317845"/>
                </a:cubicBezTo>
                <a:cubicBezTo>
                  <a:pt x="3238196" y="4317845"/>
                  <a:pt x="3267201" y="4346850"/>
                  <a:pt x="3267201" y="4382541"/>
                </a:cubicBezTo>
                <a:cubicBezTo>
                  <a:pt x="3267201" y="4418233"/>
                  <a:pt x="3238196" y="4447238"/>
                  <a:pt x="3202505" y="4447238"/>
                </a:cubicBezTo>
                <a:close/>
                <a:moveTo>
                  <a:pt x="789734" y="4500275"/>
                </a:moveTo>
                <a:cubicBezTo>
                  <a:pt x="743914" y="4500275"/>
                  <a:pt x="706249" y="4463241"/>
                  <a:pt x="706249" y="4417418"/>
                </a:cubicBezTo>
                <a:cubicBezTo>
                  <a:pt x="705620" y="4371599"/>
                  <a:pt x="742656" y="4334565"/>
                  <a:pt x="789111" y="4333937"/>
                </a:cubicBezTo>
                <a:cubicBezTo>
                  <a:pt x="834930" y="4333937"/>
                  <a:pt x="872595" y="4370973"/>
                  <a:pt x="872595" y="4416792"/>
                </a:cubicBezTo>
                <a:cubicBezTo>
                  <a:pt x="872595" y="4462613"/>
                  <a:pt x="835560" y="4500275"/>
                  <a:pt x="789734" y="4500275"/>
                </a:cubicBezTo>
                <a:close/>
                <a:moveTo>
                  <a:pt x="3519114" y="4520419"/>
                </a:moveTo>
                <a:cubicBezTo>
                  <a:pt x="3483423" y="4520419"/>
                  <a:pt x="3454418" y="4491413"/>
                  <a:pt x="3454418" y="4455718"/>
                </a:cubicBezTo>
                <a:cubicBezTo>
                  <a:pt x="3454418" y="4420025"/>
                  <a:pt x="3483423" y="4389899"/>
                  <a:pt x="3519114" y="4391018"/>
                </a:cubicBezTo>
                <a:cubicBezTo>
                  <a:pt x="3554805" y="4391018"/>
                  <a:pt x="3583810" y="4420025"/>
                  <a:pt x="3583810" y="4455718"/>
                </a:cubicBezTo>
                <a:cubicBezTo>
                  <a:pt x="3583810" y="4491413"/>
                  <a:pt x="3554805" y="4520419"/>
                  <a:pt x="3519114" y="4520419"/>
                </a:cubicBezTo>
                <a:close/>
                <a:moveTo>
                  <a:pt x="0" y="4559202"/>
                </a:moveTo>
                <a:lnTo>
                  <a:pt x="0" y="4444276"/>
                </a:lnTo>
                <a:lnTo>
                  <a:pt x="16192" y="4454676"/>
                </a:lnTo>
                <a:cubicBezTo>
                  <a:pt x="28196" y="4466431"/>
                  <a:pt x="35547" y="4483085"/>
                  <a:pt x="35547" y="4501705"/>
                </a:cubicBezTo>
                <a:cubicBezTo>
                  <a:pt x="36529" y="4519342"/>
                  <a:pt x="29669" y="4535508"/>
                  <a:pt x="17910" y="4547264"/>
                </a:cubicBezTo>
                <a:close/>
                <a:moveTo>
                  <a:pt x="2175337" y="4584925"/>
                </a:moveTo>
                <a:cubicBezTo>
                  <a:pt x="2097494" y="4584925"/>
                  <a:pt x="2034092" y="4522151"/>
                  <a:pt x="2033469" y="4443687"/>
                </a:cubicBezTo>
                <a:cubicBezTo>
                  <a:pt x="2032840" y="4365849"/>
                  <a:pt x="2096242" y="4301820"/>
                  <a:pt x="2174708" y="4301820"/>
                </a:cubicBezTo>
                <a:cubicBezTo>
                  <a:pt x="2252545" y="4301820"/>
                  <a:pt x="2315947" y="4364592"/>
                  <a:pt x="2316576" y="4443056"/>
                </a:cubicBezTo>
                <a:cubicBezTo>
                  <a:pt x="2316576" y="4520893"/>
                  <a:pt x="2253803" y="4584925"/>
                  <a:pt x="2175337" y="4584925"/>
                </a:cubicBezTo>
                <a:close/>
                <a:moveTo>
                  <a:pt x="1113226" y="4638768"/>
                </a:moveTo>
                <a:cubicBezTo>
                  <a:pt x="1032881" y="4638768"/>
                  <a:pt x="966970" y="4574108"/>
                  <a:pt x="966970" y="4493127"/>
                </a:cubicBezTo>
                <a:cubicBezTo>
                  <a:pt x="966970" y="4412158"/>
                  <a:pt x="1031622" y="4346877"/>
                  <a:pt x="1112597" y="4346877"/>
                </a:cubicBezTo>
                <a:cubicBezTo>
                  <a:pt x="1192948" y="4346877"/>
                  <a:pt x="1258859" y="4411527"/>
                  <a:pt x="1258859" y="4492502"/>
                </a:cubicBezTo>
                <a:cubicBezTo>
                  <a:pt x="1258859" y="4572857"/>
                  <a:pt x="1193571" y="4638137"/>
                  <a:pt x="1113226" y="4638768"/>
                </a:cubicBezTo>
                <a:close/>
                <a:moveTo>
                  <a:pt x="2493340" y="4642500"/>
                </a:moveTo>
                <a:cubicBezTo>
                  <a:pt x="2424293" y="4643130"/>
                  <a:pt x="2367794" y="4587267"/>
                  <a:pt x="2367794" y="4518213"/>
                </a:cubicBezTo>
                <a:cubicBezTo>
                  <a:pt x="2367794" y="4449790"/>
                  <a:pt x="2423035" y="4393297"/>
                  <a:pt x="2492087" y="4392669"/>
                </a:cubicBezTo>
                <a:cubicBezTo>
                  <a:pt x="2561134" y="4392038"/>
                  <a:pt x="2617633" y="4447909"/>
                  <a:pt x="2617633" y="4516956"/>
                </a:cubicBezTo>
                <a:cubicBezTo>
                  <a:pt x="2618256" y="4586008"/>
                  <a:pt x="2562392" y="4642500"/>
                  <a:pt x="2493340" y="4642500"/>
                </a:cubicBezTo>
                <a:close/>
                <a:moveTo>
                  <a:pt x="311808" y="4653247"/>
                </a:moveTo>
                <a:cubicBezTo>
                  <a:pt x="275658" y="4653247"/>
                  <a:pt x="246482" y="4624073"/>
                  <a:pt x="246482" y="4588549"/>
                </a:cubicBezTo>
                <a:cubicBezTo>
                  <a:pt x="246482" y="4552401"/>
                  <a:pt x="275022" y="4523220"/>
                  <a:pt x="311808" y="4523857"/>
                </a:cubicBezTo>
                <a:cubicBezTo>
                  <a:pt x="347329" y="4523857"/>
                  <a:pt x="376504" y="4553032"/>
                  <a:pt x="376504" y="4588549"/>
                </a:cubicBezTo>
                <a:cubicBezTo>
                  <a:pt x="376504" y="4624073"/>
                  <a:pt x="347329" y="4653247"/>
                  <a:pt x="311808" y="4653247"/>
                </a:cubicBezTo>
                <a:close/>
                <a:moveTo>
                  <a:pt x="2810807" y="4688467"/>
                </a:moveTo>
                <a:cubicBezTo>
                  <a:pt x="2756819" y="4689097"/>
                  <a:pt x="2712880" y="4645149"/>
                  <a:pt x="2712880" y="4591796"/>
                </a:cubicBezTo>
                <a:cubicBezTo>
                  <a:pt x="2712880" y="4537806"/>
                  <a:pt x="2756190" y="4494495"/>
                  <a:pt x="2809549" y="4493865"/>
                </a:cubicBezTo>
                <a:cubicBezTo>
                  <a:pt x="2863531" y="4493237"/>
                  <a:pt x="2907476" y="4536555"/>
                  <a:pt x="2907476" y="4590537"/>
                </a:cubicBezTo>
                <a:cubicBezTo>
                  <a:pt x="2908099" y="4644526"/>
                  <a:pt x="2864789" y="4688467"/>
                  <a:pt x="2810807" y="4688467"/>
                </a:cubicBezTo>
                <a:close/>
                <a:moveTo>
                  <a:pt x="3128182" y="4731178"/>
                </a:moveTo>
                <a:cubicBezTo>
                  <a:pt x="3091774" y="4731807"/>
                  <a:pt x="3061639" y="4701678"/>
                  <a:pt x="3061639" y="4665269"/>
                </a:cubicBezTo>
                <a:cubicBezTo>
                  <a:pt x="3061639" y="4628858"/>
                  <a:pt x="3091145" y="4598723"/>
                  <a:pt x="3127553" y="4598723"/>
                </a:cubicBezTo>
                <a:cubicBezTo>
                  <a:pt x="3163961" y="4598723"/>
                  <a:pt x="3194090" y="4628229"/>
                  <a:pt x="3194090" y="4664640"/>
                </a:cubicBezTo>
                <a:cubicBezTo>
                  <a:pt x="3194090" y="4701048"/>
                  <a:pt x="3164591" y="4731178"/>
                  <a:pt x="3128182" y="4731178"/>
                </a:cubicBezTo>
                <a:close/>
                <a:moveTo>
                  <a:pt x="647351" y="4776926"/>
                </a:moveTo>
                <a:cubicBezTo>
                  <a:pt x="589598" y="4776926"/>
                  <a:pt x="541889" y="4729843"/>
                  <a:pt x="541889" y="4672094"/>
                </a:cubicBezTo>
                <a:cubicBezTo>
                  <a:pt x="541889" y="4613715"/>
                  <a:pt x="588969" y="4566636"/>
                  <a:pt x="646721" y="4566636"/>
                </a:cubicBezTo>
                <a:cubicBezTo>
                  <a:pt x="704474" y="4566636"/>
                  <a:pt x="752183" y="4613715"/>
                  <a:pt x="752183" y="4671464"/>
                </a:cubicBezTo>
                <a:cubicBezTo>
                  <a:pt x="752183" y="4729216"/>
                  <a:pt x="705726" y="4776926"/>
                  <a:pt x="647351" y="4776926"/>
                </a:cubicBezTo>
                <a:close/>
                <a:moveTo>
                  <a:pt x="3445555" y="4803030"/>
                </a:moveTo>
                <a:cubicBezTo>
                  <a:pt x="3410266" y="4803030"/>
                  <a:pt x="3380859" y="4773622"/>
                  <a:pt x="3380859" y="4738319"/>
                </a:cubicBezTo>
                <a:cubicBezTo>
                  <a:pt x="3380859" y="4703030"/>
                  <a:pt x="3408792" y="4673622"/>
                  <a:pt x="3445555" y="4673622"/>
                </a:cubicBezTo>
                <a:cubicBezTo>
                  <a:pt x="3480858" y="4673622"/>
                  <a:pt x="3510266" y="4703030"/>
                  <a:pt x="3510266" y="4738319"/>
                </a:cubicBezTo>
                <a:cubicBezTo>
                  <a:pt x="3510266" y="4773622"/>
                  <a:pt x="3480858" y="4803030"/>
                  <a:pt x="3445555" y="4803030"/>
                </a:cubicBezTo>
                <a:close/>
                <a:moveTo>
                  <a:pt x="2078214" y="4859519"/>
                </a:moveTo>
                <a:cubicBezTo>
                  <a:pt x="2000377" y="4859519"/>
                  <a:pt x="1937603" y="4796748"/>
                  <a:pt x="1936974" y="4719531"/>
                </a:cubicBezTo>
                <a:cubicBezTo>
                  <a:pt x="1936974" y="4642323"/>
                  <a:pt x="1999118" y="4578919"/>
                  <a:pt x="2076962" y="4578292"/>
                </a:cubicBezTo>
                <a:cubicBezTo>
                  <a:pt x="2154800" y="4578292"/>
                  <a:pt x="2218202" y="4640437"/>
                  <a:pt x="2218202" y="4718279"/>
                </a:cubicBezTo>
                <a:cubicBezTo>
                  <a:pt x="2218202" y="4796115"/>
                  <a:pt x="2155429" y="4858890"/>
                  <a:pt x="2078214" y="4859519"/>
                </a:cubicBezTo>
                <a:close/>
                <a:moveTo>
                  <a:pt x="129027" y="4881022"/>
                </a:moveTo>
                <a:cubicBezTo>
                  <a:pt x="92967" y="4881022"/>
                  <a:pt x="63980" y="4852743"/>
                  <a:pt x="63980" y="4816687"/>
                </a:cubicBezTo>
                <a:cubicBezTo>
                  <a:pt x="63271" y="4780626"/>
                  <a:pt x="92258" y="4751635"/>
                  <a:pt x="128318" y="4751635"/>
                </a:cubicBezTo>
                <a:cubicBezTo>
                  <a:pt x="164378" y="4750931"/>
                  <a:pt x="193365" y="4779915"/>
                  <a:pt x="193365" y="4815977"/>
                </a:cubicBezTo>
                <a:cubicBezTo>
                  <a:pt x="193365" y="4852033"/>
                  <a:pt x="164378" y="4881022"/>
                  <a:pt x="129027" y="4881022"/>
                </a:cubicBezTo>
                <a:close/>
                <a:moveTo>
                  <a:pt x="979540" y="4898167"/>
                </a:moveTo>
                <a:cubicBezTo>
                  <a:pt x="898564" y="4898167"/>
                  <a:pt x="832652" y="4832877"/>
                  <a:pt x="832652" y="4752532"/>
                </a:cubicBezTo>
                <a:cubicBezTo>
                  <a:pt x="832652" y="4671561"/>
                  <a:pt x="897306" y="4606278"/>
                  <a:pt x="978911" y="4606278"/>
                </a:cubicBezTo>
                <a:cubicBezTo>
                  <a:pt x="1059257" y="4606278"/>
                  <a:pt x="1125169" y="4670929"/>
                  <a:pt x="1125169" y="4751905"/>
                </a:cubicBezTo>
                <a:cubicBezTo>
                  <a:pt x="1125169" y="4832257"/>
                  <a:pt x="1060515" y="4897538"/>
                  <a:pt x="979540" y="4898167"/>
                </a:cubicBezTo>
                <a:close/>
                <a:moveTo>
                  <a:pt x="2398269" y="4917831"/>
                </a:moveTo>
                <a:cubicBezTo>
                  <a:pt x="2329215" y="4917831"/>
                  <a:pt x="2272721" y="4861958"/>
                  <a:pt x="2272721" y="4792906"/>
                </a:cubicBezTo>
                <a:cubicBezTo>
                  <a:pt x="2272721" y="4723858"/>
                  <a:pt x="2327963" y="4667356"/>
                  <a:pt x="2397016" y="4667987"/>
                </a:cubicBezTo>
                <a:cubicBezTo>
                  <a:pt x="2466064" y="4667356"/>
                  <a:pt x="2522564" y="4723227"/>
                  <a:pt x="2522564" y="4792277"/>
                </a:cubicBezTo>
                <a:cubicBezTo>
                  <a:pt x="2523187" y="4861331"/>
                  <a:pt x="2467322" y="4917831"/>
                  <a:pt x="2398269" y="4917831"/>
                </a:cubicBezTo>
                <a:close/>
                <a:moveTo>
                  <a:pt x="2717263" y="4933051"/>
                </a:moveTo>
                <a:cubicBezTo>
                  <a:pt x="2681484" y="4933051"/>
                  <a:pt x="2651979" y="4903547"/>
                  <a:pt x="2651979" y="4867765"/>
                </a:cubicBezTo>
                <a:cubicBezTo>
                  <a:pt x="2651979" y="4831986"/>
                  <a:pt x="2680855" y="4802481"/>
                  <a:pt x="2717263" y="4802481"/>
                </a:cubicBezTo>
                <a:cubicBezTo>
                  <a:pt x="2753041" y="4802481"/>
                  <a:pt x="2782546" y="4831986"/>
                  <a:pt x="2782546" y="4867765"/>
                </a:cubicBezTo>
                <a:cubicBezTo>
                  <a:pt x="2782546" y="4903547"/>
                  <a:pt x="2753041" y="4933051"/>
                  <a:pt x="2717263" y="4933051"/>
                </a:cubicBezTo>
                <a:close/>
                <a:moveTo>
                  <a:pt x="3036454" y="5006903"/>
                </a:moveTo>
                <a:cubicBezTo>
                  <a:pt x="3000763" y="5006903"/>
                  <a:pt x="2971758" y="4977897"/>
                  <a:pt x="2971758" y="4942206"/>
                </a:cubicBezTo>
                <a:cubicBezTo>
                  <a:pt x="2971758" y="4906515"/>
                  <a:pt x="3000763" y="4877509"/>
                  <a:pt x="3036454" y="4877509"/>
                </a:cubicBezTo>
                <a:cubicBezTo>
                  <a:pt x="3072145" y="4877509"/>
                  <a:pt x="3101150" y="4906515"/>
                  <a:pt x="3101150" y="4942206"/>
                </a:cubicBezTo>
                <a:cubicBezTo>
                  <a:pt x="3101150" y="4977897"/>
                  <a:pt x="3072145" y="5006903"/>
                  <a:pt x="3036454" y="5006903"/>
                </a:cubicBezTo>
                <a:close/>
                <a:moveTo>
                  <a:pt x="477852" y="5009977"/>
                </a:moveTo>
                <a:cubicBezTo>
                  <a:pt x="421988" y="5009977"/>
                  <a:pt x="376790" y="4965408"/>
                  <a:pt x="376790" y="4909537"/>
                </a:cubicBezTo>
                <a:cubicBezTo>
                  <a:pt x="376161" y="4853680"/>
                  <a:pt x="421359" y="4808481"/>
                  <a:pt x="477229" y="4808481"/>
                </a:cubicBezTo>
                <a:cubicBezTo>
                  <a:pt x="533093" y="4808481"/>
                  <a:pt x="578291" y="4853680"/>
                  <a:pt x="578291" y="4908915"/>
                </a:cubicBezTo>
                <a:cubicBezTo>
                  <a:pt x="578291" y="4964778"/>
                  <a:pt x="533093" y="5009977"/>
                  <a:pt x="477852" y="5009977"/>
                </a:cubicBezTo>
                <a:close/>
                <a:moveTo>
                  <a:pt x="3355644" y="5080943"/>
                </a:moveTo>
                <a:cubicBezTo>
                  <a:pt x="3319094" y="5080943"/>
                  <a:pt x="3290948" y="5052797"/>
                  <a:pt x="3290948" y="5016218"/>
                </a:cubicBezTo>
                <a:cubicBezTo>
                  <a:pt x="3290948" y="4979667"/>
                  <a:pt x="3321886" y="4951522"/>
                  <a:pt x="3355644" y="4951522"/>
                </a:cubicBezTo>
                <a:cubicBezTo>
                  <a:pt x="3392222" y="4951522"/>
                  <a:pt x="3420368" y="4979667"/>
                  <a:pt x="3420368" y="5016218"/>
                </a:cubicBezTo>
                <a:cubicBezTo>
                  <a:pt x="3420368" y="5052797"/>
                  <a:pt x="3389430" y="5080943"/>
                  <a:pt x="3355644" y="5080943"/>
                </a:cubicBezTo>
                <a:close/>
                <a:moveTo>
                  <a:pt x="1960248" y="5110963"/>
                </a:moveTo>
                <a:cubicBezTo>
                  <a:pt x="1891202" y="5111593"/>
                  <a:pt x="1834703" y="5055728"/>
                  <a:pt x="1834703" y="4986675"/>
                </a:cubicBezTo>
                <a:cubicBezTo>
                  <a:pt x="1834703" y="4917621"/>
                  <a:pt x="1890573" y="4861124"/>
                  <a:pt x="1959619" y="4861124"/>
                </a:cubicBezTo>
                <a:cubicBezTo>
                  <a:pt x="2028671" y="4860495"/>
                  <a:pt x="2085164" y="4916369"/>
                  <a:pt x="2085164" y="4985415"/>
                </a:cubicBezTo>
                <a:cubicBezTo>
                  <a:pt x="2085164" y="5054468"/>
                  <a:pt x="2029300" y="5110963"/>
                  <a:pt x="1960248" y="5110963"/>
                </a:cubicBezTo>
                <a:close/>
                <a:moveTo>
                  <a:pt x="819946" y="5130916"/>
                </a:moveTo>
                <a:cubicBezTo>
                  <a:pt x="745871" y="5131539"/>
                  <a:pt x="685609" y="5071904"/>
                  <a:pt x="685609" y="4997831"/>
                </a:cubicBezTo>
                <a:cubicBezTo>
                  <a:pt x="685609" y="4923762"/>
                  <a:pt x="745242" y="4863499"/>
                  <a:pt x="818687" y="4863499"/>
                </a:cubicBezTo>
                <a:cubicBezTo>
                  <a:pt x="892762" y="4862868"/>
                  <a:pt x="952395" y="4922503"/>
                  <a:pt x="953024" y="4996578"/>
                </a:cubicBezTo>
                <a:cubicBezTo>
                  <a:pt x="953653" y="5070653"/>
                  <a:pt x="894014" y="5130916"/>
                  <a:pt x="819946" y="5130916"/>
                </a:cubicBezTo>
                <a:close/>
                <a:moveTo>
                  <a:pt x="2284172" y="5161907"/>
                </a:moveTo>
                <a:cubicBezTo>
                  <a:pt x="2228932" y="5161907"/>
                  <a:pt x="2184363" y="5117967"/>
                  <a:pt x="2184363" y="5062725"/>
                </a:cubicBezTo>
                <a:cubicBezTo>
                  <a:pt x="2183734" y="5008115"/>
                  <a:pt x="2228302" y="4963545"/>
                  <a:pt x="2283543" y="4962916"/>
                </a:cubicBezTo>
                <a:cubicBezTo>
                  <a:pt x="2338783" y="4962916"/>
                  <a:pt x="2383351" y="5006856"/>
                  <a:pt x="2383351" y="5062097"/>
                </a:cubicBezTo>
                <a:cubicBezTo>
                  <a:pt x="2383351" y="5116708"/>
                  <a:pt x="2338783" y="5161907"/>
                  <a:pt x="2284172" y="5161907"/>
                </a:cubicBezTo>
                <a:close/>
                <a:moveTo>
                  <a:pt x="2606705" y="5203204"/>
                </a:moveTo>
                <a:cubicBezTo>
                  <a:pt x="2570927" y="5203204"/>
                  <a:pt x="2541422" y="5173698"/>
                  <a:pt x="2541422" y="5137920"/>
                </a:cubicBezTo>
                <a:cubicBezTo>
                  <a:pt x="2541422" y="5102140"/>
                  <a:pt x="2570298" y="5072634"/>
                  <a:pt x="2606705" y="5072634"/>
                </a:cubicBezTo>
                <a:cubicBezTo>
                  <a:pt x="2642484" y="5072634"/>
                  <a:pt x="2671989" y="5102140"/>
                  <a:pt x="2671989" y="5137920"/>
                </a:cubicBezTo>
                <a:cubicBezTo>
                  <a:pt x="2671989" y="5173698"/>
                  <a:pt x="2642484" y="5203204"/>
                  <a:pt x="2606705" y="5203204"/>
                </a:cubicBezTo>
                <a:close/>
                <a:moveTo>
                  <a:pt x="282554" y="5227222"/>
                </a:moveTo>
                <a:cubicBezTo>
                  <a:pt x="226690" y="5227222"/>
                  <a:pt x="181492" y="5182653"/>
                  <a:pt x="181492" y="5126781"/>
                </a:cubicBezTo>
                <a:cubicBezTo>
                  <a:pt x="180863" y="5071546"/>
                  <a:pt x="226061" y="5026347"/>
                  <a:pt x="281931" y="5025719"/>
                </a:cubicBezTo>
                <a:cubicBezTo>
                  <a:pt x="337795" y="5025719"/>
                  <a:pt x="382993" y="5070916"/>
                  <a:pt x="382993" y="5126157"/>
                </a:cubicBezTo>
                <a:cubicBezTo>
                  <a:pt x="382993" y="5182022"/>
                  <a:pt x="337795" y="5227222"/>
                  <a:pt x="282554" y="5227222"/>
                </a:cubicBezTo>
                <a:close/>
                <a:moveTo>
                  <a:pt x="2928920" y="5278373"/>
                </a:moveTo>
                <a:cubicBezTo>
                  <a:pt x="2894415" y="5278373"/>
                  <a:pt x="2864213" y="5250333"/>
                  <a:pt x="2864213" y="5213666"/>
                </a:cubicBezTo>
                <a:cubicBezTo>
                  <a:pt x="2864213" y="5179162"/>
                  <a:pt x="2894415" y="5148959"/>
                  <a:pt x="2928920" y="5148959"/>
                </a:cubicBezTo>
                <a:cubicBezTo>
                  <a:pt x="2965586" y="5148959"/>
                  <a:pt x="2993626" y="5176999"/>
                  <a:pt x="2993626" y="5213666"/>
                </a:cubicBezTo>
                <a:cubicBezTo>
                  <a:pt x="2993626" y="5250333"/>
                  <a:pt x="2965586" y="5278373"/>
                  <a:pt x="2928920" y="5278373"/>
                </a:cubicBezTo>
                <a:close/>
                <a:moveTo>
                  <a:pt x="3250679" y="5353672"/>
                </a:moveTo>
                <a:cubicBezTo>
                  <a:pt x="3212149" y="5353672"/>
                  <a:pt x="3179998" y="5327960"/>
                  <a:pt x="3179998" y="5289358"/>
                </a:cubicBezTo>
                <a:cubicBezTo>
                  <a:pt x="3179998" y="5250822"/>
                  <a:pt x="3212149" y="5225110"/>
                  <a:pt x="3250679" y="5225110"/>
                </a:cubicBezTo>
                <a:cubicBezTo>
                  <a:pt x="3289273" y="5218665"/>
                  <a:pt x="3321424" y="5250822"/>
                  <a:pt x="3321424" y="5289358"/>
                </a:cubicBezTo>
                <a:cubicBezTo>
                  <a:pt x="3321424" y="5321515"/>
                  <a:pt x="3289273" y="5353672"/>
                  <a:pt x="3250679" y="5353672"/>
                </a:cubicBezTo>
                <a:close/>
                <a:moveTo>
                  <a:pt x="637118" y="5377314"/>
                </a:moveTo>
                <a:cubicBezTo>
                  <a:pt x="553001" y="5377944"/>
                  <a:pt x="483949" y="5309521"/>
                  <a:pt x="483949" y="5225403"/>
                </a:cubicBezTo>
                <a:cubicBezTo>
                  <a:pt x="483949" y="5141285"/>
                  <a:pt x="551743" y="5072239"/>
                  <a:pt x="635859" y="5072239"/>
                </a:cubicBezTo>
                <a:cubicBezTo>
                  <a:pt x="719976" y="5071609"/>
                  <a:pt x="789028" y="5140032"/>
                  <a:pt x="789028" y="5224152"/>
                </a:cubicBezTo>
                <a:cubicBezTo>
                  <a:pt x="789651" y="5308269"/>
                  <a:pt x="721228" y="5377314"/>
                  <a:pt x="637118" y="5377314"/>
                </a:cubicBezTo>
                <a:close/>
                <a:moveTo>
                  <a:pt x="1822594" y="5385068"/>
                </a:moveTo>
                <a:cubicBezTo>
                  <a:pt x="1744751" y="5385068"/>
                  <a:pt x="1680726" y="5322295"/>
                  <a:pt x="1680726" y="5243827"/>
                </a:cubicBezTo>
                <a:cubicBezTo>
                  <a:pt x="1680726" y="5165989"/>
                  <a:pt x="1743499" y="5101958"/>
                  <a:pt x="1821965" y="5101958"/>
                </a:cubicBezTo>
                <a:cubicBezTo>
                  <a:pt x="1899802" y="5101958"/>
                  <a:pt x="1963833" y="5164731"/>
                  <a:pt x="1963833" y="5243198"/>
                </a:cubicBezTo>
                <a:cubicBezTo>
                  <a:pt x="1963833" y="5321038"/>
                  <a:pt x="1900431" y="5385068"/>
                  <a:pt x="1822594" y="5385068"/>
                </a:cubicBezTo>
                <a:close/>
                <a:moveTo>
                  <a:pt x="64027" y="5415148"/>
                </a:moveTo>
                <a:cubicBezTo>
                  <a:pt x="51000" y="5415148"/>
                  <a:pt x="38523" y="5412519"/>
                  <a:pt x="27135" y="5407753"/>
                </a:cubicBezTo>
                <a:lnTo>
                  <a:pt x="0" y="5389675"/>
                </a:lnTo>
                <a:lnTo>
                  <a:pt x="0" y="5250177"/>
                </a:lnTo>
                <a:lnTo>
                  <a:pt x="26253" y="5232443"/>
                </a:lnTo>
                <a:cubicBezTo>
                  <a:pt x="37660" y="5227617"/>
                  <a:pt x="50215" y="5224949"/>
                  <a:pt x="63398" y="5224949"/>
                </a:cubicBezTo>
                <a:cubicBezTo>
                  <a:pt x="116129" y="5224949"/>
                  <a:pt x="158810" y="5267005"/>
                  <a:pt x="158810" y="5319739"/>
                </a:cubicBezTo>
                <a:cubicBezTo>
                  <a:pt x="158810" y="5372467"/>
                  <a:pt x="116758" y="5415148"/>
                  <a:pt x="64027" y="5415148"/>
                </a:cubicBezTo>
                <a:close/>
                <a:moveTo>
                  <a:pt x="2151676" y="5430955"/>
                </a:moveTo>
                <a:cubicBezTo>
                  <a:pt x="2092044" y="5430955"/>
                  <a:pt x="2043083" y="5383253"/>
                  <a:pt x="2043083" y="5322992"/>
                </a:cubicBezTo>
                <a:cubicBezTo>
                  <a:pt x="2043083" y="5263352"/>
                  <a:pt x="2091421" y="5214390"/>
                  <a:pt x="2151054" y="5214390"/>
                </a:cubicBezTo>
                <a:cubicBezTo>
                  <a:pt x="2210686" y="5214390"/>
                  <a:pt x="2259647" y="5262097"/>
                  <a:pt x="2259647" y="5322361"/>
                </a:cubicBezTo>
                <a:cubicBezTo>
                  <a:pt x="2259647" y="5381993"/>
                  <a:pt x="2211315" y="5430955"/>
                  <a:pt x="2151676" y="5430955"/>
                </a:cubicBezTo>
                <a:close/>
                <a:moveTo>
                  <a:pt x="2479474" y="5482904"/>
                </a:moveTo>
                <a:cubicBezTo>
                  <a:pt x="2434275" y="5482904"/>
                  <a:pt x="2397238" y="5446495"/>
                  <a:pt x="2397238" y="5401304"/>
                </a:cubicBezTo>
                <a:cubicBezTo>
                  <a:pt x="2397238" y="5356734"/>
                  <a:pt x="2433646" y="5319697"/>
                  <a:pt x="2478845" y="5319068"/>
                </a:cubicBezTo>
                <a:cubicBezTo>
                  <a:pt x="2524038" y="5319068"/>
                  <a:pt x="2561075" y="5355476"/>
                  <a:pt x="2561075" y="5400674"/>
                </a:cubicBezTo>
                <a:cubicBezTo>
                  <a:pt x="2561075" y="5445874"/>
                  <a:pt x="2524667" y="5482904"/>
                  <a:pt x="2479474" y="5482904"/>
                </a:cubicBezTo>
                <a:close/>
                <a:moveTo>
                  <a:pt x="2805452" y="5542928"/>
                </a:moveTo>
                <a:cubicBezTo>
                  <a:pt x="2769922" y="5542928"/>
                  <a:pt x="2740750" y="5513743"/>
                  <a:pt x="2740750" y="5478225"/>
                </a:cubicBezTo>
                <a:cubicBezTo>
                  <a:pt x="2740750" y="5442707"/>
                  <a:pt x="2768663" y="5413523"/>
                  <a:pt x="2805452" y="5413523"/>
                </a:cubicBezTo>
                <a:cubicBezTo>
                  <a:pt x="2840970" y="5413523"/>
                  <a:pt x="2870155" y="5442707"/>
                  <a:pt x="2870155" y="5478225"/>
                </a:cubicBezTo>
                <a:cubicBezTo>
                  <a:pt x="2870155" y="5513743"/>
                  <a:pt x="2840970" y="5542928"/>
                  <a:pt x="2805452" y="5542928"/>
                </a:cubicBezTo>
                <a:close/>
                <a:moveTo>
                  <a:pt x="432254" y="5561139"/>
                </a:moveTo>
                <a:cubicBezTo>
                  <a:pt x="361320" y="5561139"/>
                  <a:pt x="303568" y="5504015"/>
                  <a:pt x="303568" y="5433082"/>
                </a:cubicBezTo>
                <a:cubicBezTo>
                  <a:pt x="303568" y="5362149"/>
                  <a:pt x="360691" y="5304397"/>
                  <a:pt x="431625" y="5304397"/>
                </a:cubicBezTo>
                <a:cubicBezTo>
                  <a:pt x="502559" y="5304397"/>
                  <a:pt x="560311" y="5361519"/>
                  <a:pt x="560311" y="5432453"/>
                </a:cubicBezTo>
                <a:cubicBezTo>
                  <a:pt x="560311" y="5503388"/>
                  <a:pt x="503189" y="5561139"/>
                  <a:pt x="432254" y="5561139"/>
                </a:cubicBezTo>
                <a:close/>
                <a:moveTo>
                  <a:pt x="1666966" y="5607507"/>
                </a:moveTo>
                <a:cubicBezTo>
                  <a:pt x="1601681" y="5608129"/>
                  <a:pt x="1548950" y="5555400"/>
                  <a:pt x="1548950" y="5490746"/>
                </a:cubicBezTo>
                <a:cubicBezTo>
                  <a:pt x="1548321" y="5426094"/>
                  <a:pt x="1601052" y="5373364"/>
                  <a:pt x="1666337" y="5373364"/>
                </a:cubicBezTo>
                <a:cubicBezTo>
                  <a:pt x="1730992" y="5372734"/>
                  <a:pt x="1783723" y="5425464"/>
                  <a:pt x="1783723" y="5490116"/>
                </a:cubicBezTo>
                <a:cubicBezTo>
                  <a:pt x="1783723" y="5554775"/>
                  <a:pt x="1731621" y="5607507"/>
                  <a:pt x="1666966" y="5607507"/>
                </a:cubicBezTo>
                <a:close/>
                <a:moveTo>
                  <a:pt x="3130114" y="5619540"/>
                </a:moveTo>
                <a:cubicBezTo>
                  <a:pt x="3096147" y="5619540"/>
                  <a:pt x="3065553" y="5592320"/>
                  <a:pt x="3065553" y="5554945"/>
                </a:cubicBezTo>
                <a:cubicBezTo>
                  <a:pt x="3065553" y="5517572"/>
                  <a:pt x="3096147" y="5486978"/>
                  <a:pt x="3126741" y="5490385"/>
                </a:cubicBezTo>
                <a:cubicBezTo>
                  <a:pt x="3164115" y="5490385"/>
                  <a:pt x="3194709" y="5517572"/>
                  <a:pt x="3194709" y="5554945"/>
                </a:cubicBezTo>
                <a:cubicBezTo>
                  <a:pt x="3198116" y="5588947"/>
                  <a:pt x="3167522" y="5619540"/>
                  <a:pt x="3130114" y="5619540"/>
                </a:cubicBezTo>
                <a:close/>
                <a:moveTo>
                  <a:pt x="2001975" y="5659784"/>
                </a:moveTo>
                <a:cubicBezTo>
                  <a:pt x="1954266" y="5659784"/>
                  <a:pt x="1915348" y="5621495"/>
                  <a:pt x="1915348" y="5573786"/>
                </a:cubicBezTo>
                <a:cubicBezTo>
                  <a:pt x="1915348" y="5526707"/>
                  <a:pt x="1953637" y="5487787"/>
                  <a:pt x="2001345" y="5487159"/>
                </a:cubicBezTo>
                <a:cubicBezTo>
                  <a:pt x="2049054" y="5487159"/>
                  <a:pt x="2087972" y="5525448"/>
                  <a:pt x="2087972" y="5573156"/>
                </a:cubicBezTo>
                <a:cubicBezTo>
                  <a:pt x="2087972" y="5620866"/>
                  <a:pt x="2049683" y="5659784"/>
                  <a:pt x="2001975" y="5659784"/>
                </a:cubicBezTo>
                <a:close/>
                <a:moveTo>
                  <a:pt x="2335375" y="5719486"/>
                </a:moveTo>
                <a:cubicBezTo>
                  <a:pt x="2299321" y="5719486"/>
                  <a:pt x="2270353" y="5690517"/>
                  <a:pt x="2270353" y="5655108"/>
                </a:cubicBezTo>
                <a:cubicBezTo>
                  <a:pt x="2270353" y="5619699"/>
                  <a:pt x="2298676" y="5590731"/>
                  <a:pt x="2334730" y="5590086"/>
                </a:cubicBezTo>
                <a:cubicBezTo>
                  <a:pt x="2370783" y="5590086"/>
                  <a:pt x="2399751" y="5619055"/>
                  <a:pt x="2399751" y="5654463"/>
                </a:cubicBezTo>
                <a:cubicBezTo>
                  <a:pt x="2399751" y="5690517"/>
                  <a:pt x="2370783" y="5719486"/>
                  <a:pt x="2335375" y="5719486"/>
                </a:cubicBezTo>
                <a:close/>
                <a:moveTo>
                  <a:pt x="208233" y="5751408"/>
                </a:moveTo>
                <a:cubicBezTo>
                  <a:pt x="135418" y="5751408"/>
                  <a:pt x="76415" y="5693027"/>
                  <a:pt x="75786" y="5620212"/>
                </a:cubicBezTo>
                <a:cubicBezTo>
                  <a:pt x="75786" y="5548018"/>
                  <a:pt x="134789" y="5489015"/>
                  <a:pt x="207610" y="5488386"/>
                </a:cubicBezTo>
                <a:cubicBezTo>
                  <a:pt x="279796" y="5488386"/>
                  <a:pt x="339428" y="5546767"/>
                  <a:pt x="339428" y="5619583"/>
                </a:cubicBezTo>
                <a:cubicBezTo>
                  <a:pt x="339428" y="5691770"/>
                  <a:pt x="281054" y="5751408"/>
                  <a:pt x="208233" y="5751408"/>
                </a:cubicBezTo>
                <a:close/>
                <a:moveTo>
                  <a:pt x="2666078" y="5799312"/>
                </a:moveTo>
                <a:cubicBezTo>
                  <a:pt x="2630548" y="5799312"/>
                  <a:pt x="2601376" y="5770126"/>
                  <a:pt x="2601376" y="5734609"/>
                </a:cubicBezTo>
                <a:cubicBezTo>
                  <a:pt x="2601376" y="5699092"/>
                  <a:pt x="2629289" y="5669907"/>
                  <a:pt x="2666078" y="5669907"/>
                </a:cubicBezTo>
                <a:cubicBezTo>
                  <a:pt x="2701596" y="5669907"/>
                  <a:pt x="2730768" y="5699092"/>
                  <a:pt x="2730768" y="5734609"/>
                </a:cubicBezTo>
                <a:cubicBezTo>
                  <a:pt x="2730768" y="5770126"/>
                  <a:pt x="2701596" y="5799312"/>
                  <a:pt x="2666078" y="5799312"/>
                </a:cubicBezTo>
                <a:close/>
                <a:moveTo>
                  <a:pt x="1492315" y="5868417"/>
                </a:moveTo>
                <a:cubicBezTo>
                  <a:pt x="1413219" y="5869048"/>
                  <a:pt x="1348565" y="5805015"/>
                  <a:pt x="1347936" y="5725296"/>
                </a:cubicBezTo>
                <a:cubicBezTo>
                  <a:pt x="1347936" y="5645569"/>
                  <a:pt x="1411961" y="5581535"/>
                  <a:pt x="1491056" y="5580914"/>
                </a:cubicBezTo>
                <a:cubicBezTo>
                  <a:pt x="1570152" y="5580285"/>
                  <a:pt x="1634806" y="5644310"/>
                  <a:pt x="1635435" y="5724037"/>
                </a:cubicBezTo>
                <a:cubicBezTo>
                  <a:pt x="1636064" y="5803134"/>
                  <a:pt x="1571410" y="5868417"/>
                  <a:pt x="1492315" y="5868417"/>
                </a:cubicBezTo>
                <a:close/>
                <a:moveTo>
                  <a:pt x="2995160" y="5878794"/>
                </a:moveTo>
                <a:cubicBezTo>
                  <a:pt x="2962839" y="5878794"/>
                  <a:pt x="2930464" y="5851871"/>
                  <a:pt x="2930464" y="5814081"/>
                </a:cubicBezTo>
                <a:cubicBezTo>
                  <a:pt x="2930464" y="5776345"/>
                  <a:pt x="2962839" y="5743961"/>
                  <a:pt x="2995160" y="5749367"/>
                </a:cubicBezTo>
                <a:cubicBezTo>
                  <a:pt x="3032886" y="5749367"/>
                  <a:pt x="3059856" y="5776345"/>
                  <a:pt x="3059856" y="5814081"/>
                </a:cubicBezTo>
                <a:cubicBezTo>
                  <a:pt x="3059856" y="5851871"/>
                  <a:pt x="3032886" y="5878794"/>
                  <a:pt x="2995160" y="5878794"/>
                </a:cubicBezTo>
                <a:close/>
                <a:moveTo>
                  <a:pt x="580240" y="5882856"/>
                </a:moveTo>
                <a:cubicBezTo>
                  <a:pt x="499891" y="5882856"/>
                  <a:pt x="433977" y="5817571"/>
                  <a:pt x="433977" y="5737224"/>
                </a:cubicBezTo>
                <a:cubicBezTo>
                  <a:pt x="433348" y="5656245"/>
                  <a:pt x="498633" y="5590961"/>
                  <a:pt x="579611" y="5590961"/>
                </a:cubicBezTo>
                <a:cubicBezTo>
                  <a:pt x="599699" y="5590961"/>
                  <a:pt x="618885" y="5595040"/>
                  <a:pt x="636364" y="5602418"/>
                </a:cubicBezTo>
                <a:lnTo>
                  <a:pt x="669550" y="5624700"/>
                </a:lnTo>
                <a:lnTo>
                  <a:pt x="650469" y="5596632"/>
                </a:lnTo>
                <a:cubicBezTo>
                  <a:pt x="642584" y="5578251"/>
                  <a:pt x="638150" y="5558047"/>
                  <a:pt x="637993" y="5536861"/>
                </a:cubicBezTo>
                <a:cubicBezTo>
                  <a:pt x="637364" y="5452118"/>
                  <a:pt x="706417" y="5383066"/>
                  <a:pt x="791157" y="5382443"/>
                </a:cubicBezTo>
                <a:lnTo>
                  <a:pt x="829413" y="5389916"/>
                </a:lnTo>
                <a:lnTo>
                  <a:pt x="825795" y="5384597"/>
                </a:lnTo>
                <a:cubicBezTo>
                  <a:pt x="816978" y="5363998"/>
                  <a:pt x="812034" y="5341321"/>
                  <a:pt x="811877" y="5317465"/>
                </a:cubicBezTo>
                <a:cubicBezTo>
                  <a:pt x="811877" y="5222052"/>
                  <a:pt x="889086" y="5144212"/>
                  <a:pt x="983876" y="5144212"/>
                </a:cubicBezTo>
                <a:lnTo>
                  <a:pt x="1003968" y="5148148"/>
                </a:lnTo>
                <a:lnTo>
                  <a:pt x="1003242" y="5147081"/>
                </a:lnTo>
                <a:cubicBezTo>
                  <a:pt x="994738" y="5127162"/>
                  <a:pt x="990030" y="5105231"/>
                  <a:pt x="990030" y="5082165"/>
                </a:cubicBezTo>
                <a:cubicBezTo>
                  <a:pt x="989401" y="4989884"/>
                  <a:pt x="1064098" y="4915179"/>
                  <a:pt x="1156377" y="4914558"/>
                </a:cubicBezTo>
                <a:lnTo>
                  <a:pt x="1157320" y="4914741"/>
                </a:lnTo>
                <a:lnTo>
                  <a:pt x="1147184" y="4899835"/>
                </a:lnTo>
                <a:cubicBezTo>
                  <a:pt x="1138240" y="4878953"/>
                  <a:pt x="1133219" y="4855960"/>
                  <a:pt x="1133063" y="4831793"/>
                </a:cubicBezTo>
                <a:cubicBezTo>
                  <a:pt x="1132591" y="4759290"/>
                  <a:pt x="1176257" y="4697030"/>
                  <a:pt x="1238901" y="4670426"/>
                </a:cubicBezTo>
                <a:lnTo>
                  <a:pt x="1302861" y="4657482"/>
                </a:lnTo>
                <a:lnTo>
                  <a:pt x="1285895" y="4632557"/>
                </a:lnTo>
                <a:cubicBezTo>
                  <a:pt x="1277577" y="4613167"/>
                  <a:pt x="1272908" y="4591824"/>
                  <a:pt x="1272751" y="4569384"/>
                </a:cubicBezTo>
                <a:cubicBezTo>
                  <a:pt x="1272751" y="4502059"/>
                  <a:pt x="1313356" y="4444268"/>
                  <a:pt x="1371528" y="4419318"/>
                </a:cubicBezTo>
                <a:lnTo>
                  <a:pt x="1433163" y="4406496"/>
                </a:lnTo>
                <a:lnTo>
                  <a:pt x="1430650" y="4404815"/>
                </a:lnTo>
                <a:cubicBezTo>
                  <a:pt x="1402638" y="4377039"/>
                  <a:pt x="1385219" y="4338595"/>
                  <a:pt x="1385219" y="4296224"/>
                </a:cubicBezTo>
                <a:cubicBezTo>
                  <a:pt x="1384590" y="4210846"/>
                  <a:pt x="1453642" y="4141802"/>
                  <a:pt x="1538381" y="4141802"/>
                </a:cubicBezTo>
                <a:lnTo>
                  <a:pt x="1544525" y="4143007"/>
                </a:lnTo>
                <a:lnTo>
                  <a:pt x="1511406" y="4120864"/>
                </a:lnTo>
                <a:cubicBezTo>
                  <a:pt x="1484021" y="4093713"/>
                  <a:pt x="1467073" y="4056207"/>
                  <a:pt x="1467073" y="4014775"/>
                </a:cubicBezTo>
                <a:cubicBezTo>
                  <a:pt x="1467073" y="3952631"/>
                  <a:pt x="1504503" y="3898963"/>
                  <a:pt x="1558705" y="3876012"/>
                </a:cubicBezTo>
                <a:lnTo>
                  <a:pt x="1607131" y="3866259"/>
                </a:lnTo>
                <a:lnTo>
                  <a:pt x="1562279" y="3836312"/>
                </a:lnTo>
                <a:cubicBezTo>
                  <a:pt x="1534268" y="3808613"/>
                  <a:pt x="1516849" y="3770324"/>
                  <a:pt x="1516849" y="3727962"/>
                </a:cubicBezTo>
                <a:cubicBezTo>
                  <a:pt x="1516849" y="3663922"/>
                  <a:pt x="1555336" y="3609076"/>
                  <a:pt x="1610332" y="3585656"/>
                </a:cubicBezTo>
                <a:lnTo>
                  <a:pt x="1647563" y="3578094"/>
                </a:lnTo>
                <a:lnTo>
                  <a:pt x="1639313" y="3576431"/>
                </a:lnTo>
                <a:cubicBezTo>
                  <a:pt x="1584849" y="3553451"/>
                  <a:pt x="1546361" y="3499662"/>
                  <a:pt x="1546361" y="3437058"/>
                </a:cubicBezTo>
                <a:cubicBezTo>
                  <a:pt x="1546361" y="3374450"/>
                  <a:pt x="1584141" y="3320666"/>
                  <a:pt x="1638517" y="3297425"/>
                </a:cubicBezTo>
                <a:lnTo>
                  <a:pt x="1680874" y="3288643"/>
                </a:lnTo>
                <a:lnTo>
                  <a:pt x="1642437" y="3281111"/>
                </a:lnTo>
                <a:cubicBezTo>
                  <a:pt x="1589709" y="3259067"/>
                  <a:pt x="1552518" y="3206813"/>
                  <a:pt x="1552046" y="3146080"/>
                </a:cubicBezTo>
                <a:cubicBezTo>
                  <a:pt x="1551417" y="3065122"/>
                  <a:pt x="1617330" y="2998585"/>
                  <a:pt x="1698937" y="2997956"/>
                </a:cubicBezTo>
                <a:cubicBezTo>
                  <a:pt x="1779915" y="2997956"/>
                  <a:pt x="1846451" y="3063870"/>
                  <a:pt x="1846451" y="3144829"/>
                </a:cubicBezTo>
                <a:cubicBezTo>
                  <a:pt x="1846451" y="3205556"/>
                  <a:pt x="1809375" y="3258167"/>
                  <a:pt x="1756674" y="3280650"/>
                </a:cubicBezTo>
                <a:lnTo>
                  <a:pt x="1716184" y="3288913"/>
                </a:lnTo>
                <a:lnTo>
                  <a:pt x="1756509" y="3297061"/>
                </a:lnTo>
                <a:cubicBezTo>
                  <a:pt x="1810826" y="3320040"/>
                  <a:pt x="1849078" y="3373821"/>
                  <a:pt x="1849550" y="3436433"/>
                </a:cubicBezTo>
                <a:cubicBezTo>
                  <a:pt x="1849550" y="3499037"/>
                  <a:pt x="1811416" y="3553178"/>
                  <a:pt x="1757129" y="3576332"/>
                </a:cubicBezTo>
                <a:lnTo>
                  <a:pt x="1721353" y="3583624"/>
                </a:lnTo>
                <a:lnTo>
                  <a:pt x="1729804" y="3585283"/>
                </a:lnTo>
                <a:cubicBezTo>
                  <a:pt x="1785003" y="3608410"/>
                  <a:pt x="1823963" y="3663140"/>
                  <a:pt x="1824435" y="3726698"/>
                </a:cubicBezTo>
                <a:cubicBezTo>
                  <a:pt x="1824435" y="3790253"/>
                  <a:pt x="1785948" y="3844983"/>
                  <a:pt x="1730952" y="3868639"/>
                </a:cubicBezTo>
                <a:lnTo>
                  <a:pt x="1680961" y="3879090"/>
                </a:lnTo>
                <a:lnTo>
                  <a:pt x="1724131" y="3908063"/>
                </a:lnTo>
                <a:cubicBezTo>
                  <a:pt x="1751436" y="3935213"/>
                  <a:pt x="1768385" y="3972718"/>
                  <a:pt x="1768385" y="4014150"/>
                </a:cubicBezTo>
                <a:cubicBezTo>
                  <a:pt x="1768385" y="4097011"/>
                  <a:pt x="1701220" y="4164807"/>
                  <a:pt x="1618355" y="4164807"/>
                </a:cubicBezTo>
                <a:lnTo>
                  <a:pt x="1613709" y="4163874"/>
                </a:lnTo>
                <a:lnTo>
                  <a:pt x="1647370" y="4186372"/>
                </a:lnTo>
                <a:cubicBezTo>
                  <a:pt x="1675382" y="4214147"/>
                  <a:pt x="1692801" y="4252596"/>
                  <a:pt x="1692801" y="4294968"/>
                </a:cubicBezTo>
                <a:cubicBezTo>
                  <a:pt x="1693273" y="4358527"/>
                  <a:pt x="1654549" y="4413249"/>
                  <a:pt x="1599408" y="4436910"/>
                </a:cubicBezTo>
                <a:lnTo>
                  <a:pt x="1543097" y="4448660"/>
                </a:lnTo>
                <a:lnTo>
                  <a:pt x="1549971" y="4453252"/>
                </a:lnTo>
                <a:cubicBezTo>
                  <a:pt x="1579553" y="4482597"/>
                  <a:pt x="1597914" y="4523246"/>
                  <a:pt x="1597914" y="4568131"/>
                </a:cubicBezTo>
                <a:cubicBezTo>
                  <a:pt x="1598386" y="4635451"/>
                  <a:pt x="1557542" y="4693596"/>
                  <a:pt x="1499223" y="4718461"/>
                </a:cubicBezTo>
                <a:lnTo>
                  <a:pt x="1445826" y="4729330"/>
                </a:lnTo>
                <a:lnTo>
                  <a:pt x="1468306" y="4762495"/>
                </a:lnTo>
                <a:cubicBezTo>
                  <a:pt x="1477173" y="4783375"/>
                  <a:pt x="1482077" y="4806366"/>
                  <a:pt x="1482077" y="4830536"/>
                </a:cubicBezTo>
                <a:cubicBezTo>
                  <a:pt x="1482706" y="4926583"/>
                  <a:pt x="1404869" y="5005674"/>
                  <a:pt x="1308199" y="5005674"/>
                </a:cubicBezTo>
                <a:lnTo>
                  <a:pt x="1302861" y="5004626"/>
                </a:lnTo>
                <a:lnTo>
                  <a:pt x="1310505" y="5015893"/>
                </a:lnTo>
                <a:cubicBezTo>
                  <a:pt x="1319038" y="5035864"/>
                  <a:pt x="1323825" y="5057835"/>
                  <a:pt x="1323982" y="5080903"/>
                </a:cubicBezTo>
                <a:cubicBezTo>
                  <a:pt x="1324611" y="5173185"/>
                  <a:pt x="1249908" y="5247884"/>
                  <a:pt x="1157635" y="5248512"/>
                </a:cubicBezTo>
                <a:lnTo>
                  <a:pt x="1140879" y="5245163"/>
                </a:lnTo>
                <a:lnTo>
                  <a:pt x="1143480" y="5248995"/>
                </a:lnTo>
                <a:cubicBezTo>
                  <a:pt x="1152268" y="5269642"/>
                  <a:pt x="1157133" y="5292358"/>
                  <a:pt x="1157133" y="5316214"/>
                </a:cubicBezTo>
                <a:cubicBezTo>
                  <a:pt x="1157133" y="5411633"/>
                  <a:pt x="1080547" y="5489471"/>
                  <a:pt x="985134" y="5489471"/>
                </a:cubicBezTo>
                <a:lnTo>
                  <a:pt x="934152" y="5479265"/>
                </a:lnTo>
                <a:lnTo>
                  <a:pt x="945579" y="5535604"/>
                </a:lnTo>
                <a:cubicBezTo>
                  <a:pt x="946208" y="5620350"/>
                  <a:pt x="877155" y="5690026"/>
                  <a:pt x="792415" y="5690026"/>
                </a:cubicBezTo>
                <a:cubicBezTo>
                  <a:pt x="771228" y="5690183"/>
                  <a:pt x="751023" y="5685984"/>
                  <a:pt x="732623" y="5678276"/>
                </a:cubicBezTo>
                <a:lnTo>
                  <a:pt x="696944" y="5654361"/>
                </a:lnTo>
                <a:lnTo>
                  <a:pt x="714319" y="5679942"/>
                </a:lnTo>
                <a:cubicBezTo>
                  <a:pt x="721754" y="5697361"/>
                  <a:pt x="725873" y="5716508"/>
                  <a:pt x="725873" y="5736595"/>
                </a:cubicBezTo>
                <a:cubicBezTo>
                  <a:pt x="725873" y="5816949"/>
                  <a:pt x="660588" y="5882856"/>
                  <a:pt x="580240" y="5882856"/>
                </a:cubicBezTo>
                <a:close/>
                <a:moveTo>
                  <a:pt x="1835066" y="5906921"/>
                </a:moveTo>
                <a:cubicBezTo>
                  <a:pt x="1783593" y="5907548"/>
                  <a:pt x="1740904" y="5865490"/>
                  <a:pt x="1740904" y="5813388"/>
                </a:cubicBezTo>
                <a:cubicBezTo>
                  <a:pt x="1740904" y="5761286"/>
                  <a:pt x="1782963" y="5719226"/>
                  <a:pt x="1834436" y="5719226"/>
                </a:cubicBezTo>
                <a:cubicBezTo>
                  <a:pt x="1885915" y="5719226"/>
                  <a:pt x="1928598" y="5760656"/>
                  <a:pt x="1928598" y="5812758"/>
                </a:cubicBezTo>
                <a:cubicBezTo>
                  <a:pt x="1929227" y="5864237"/>
                  <a:pt x="1887168" y="5906921"/>
                  <a:pt x="1835066" y="5906921"/>
                </a:cubicBezTo>
                <a:close/>
                <a:moveTo>
                  <a:pt x="0" y="5908550"/>
                </a:moveTo>
                <a:lnTo>
                  <a:pt x="0" y="5658693"/>
                </a:lnTo>
                <a:lnTo>
                  <a:pt x="16628" y="5662012"/>
                </a:lnTo>
                <a:cubicBezTo>
                  <a:pt x="64118" y="5681844"/>
                  <a:pt x="97661" y="5728336"/>
                  <a:pt x="97661" y="5782949"/>
                </a:cubicBezTo>
                <a:cubicBezTo>
                  <a:pt x="97661" y="5837559"/>
                  <a:pt x="64826" y="5884755"/>
                  <a:pt x="17686" y="5904940"/>
                </a:cubicBezTo>
                <a:close/>
                <a:moveTo>
                  <a:pt x="2174916" y="5963402"/>
                </a:moveTo>
                <a:cubicBezTo>
                  <a:pt x="2139507" y="5963402"/>
                  <a:pt x="2109894" y="5934432"/>
                  <a:pt x="2109894" y="5899023"/>
                </a:cubicBezTo>
                <a:cubicBezTo>
                  <a:pt x="2109894" y="5862969"/>
                  <a:pt x="2138862" y="5834002"/>
                  <a:pt x="2174271" y="5834002"/>
                </a:cubicBezTo>
                <a:cubicBezTo>
                  <a:pt x="2210324" y="5834002"/>
                  <a:pt x="2239292" y="5862969"/>
                  <a:pt x="2239292" y="5898379"/>
                </a:cubicBezTo>
                <a:cubicBezTo>
                  <a:pt x="2239292" y="5934432"/>
                  <a:pt x="2210963" y="5963402"/>
                  <a:pt x="2174916" y="5963402"/>
                </a:cubicBezTo>
                <a:close/>
                <a:moveTo>
                  <a:pt x="944170" y="5981628"/>
                </a:moveTo>
                <a:cubicBezTo>
                  <a:pt x="868844" y="5981628"/>
                  <a:pt x="806700" y="5920735"/>
                  <a:pt x="806700" y="5844773"/>
                </a:cubicBezTo>
                <a:cubicBezTo>
                  <a:pt x="806071" y="5768818"/>
                  <a:pt x="866962" y="5707303"/>
                  <a:pt x="943541" y="5707303"/>
                </a:cubicBezTo>
                <a:cubicBezTo>
                  <a:pt x="962374" y="5707303"/>
                  <a:pt x="980383" y="5711109"/>
                  <a:pt x="996802" y="5718003"/>
                </a:cubicBezTo>
                <a:lnTo>
                  <a:pt x="1032709" y="5742017"/>
                </a:lnTo>
                <a:lnTo>
                  <a:pt x="1000297" y="5694280"/>
                </a:lnTo>
                <a:cubicBezTo>
                  <a:pt x="992265" y="5675517"/>
                  <a:pt x="987754" y="5654878"/>
                  <a:pt x="987598" y="5633221"/>
                </a:cubicBezTo>
                <a:cubicBezTo>
                  <a:pt x="986969" y="5545970"/>
                  <a:pt x="1057274" y="5475666"/>
                  <a:pt x="1143900" y="5475666"/>
                </a:cubicBezTo>
                <a:lnTo>
                  <a:pt x="1182349" y="5483194"/>
                </a:lnTo>
                <a:lnTo>
                  <a:pt x="1173854" y="5470670"/>
                </a:lnTo>
                <a:cubicBezTo>
                  <a:pt x="1165321" y="5450701"/>
                  <a:pt x="1160536" y="5428734"/>
                  <a:pt x="1160380" y="5405666"/>
                </a:cubicBezTo>
                <a:cubicBezTo>
                  <a:pt x="1159751" y="5313388"/>
                  <a:pt x="1234448" y="5238060"/>
                  <a:pt x="1326727" y="5238060"/>
                </a:cubicBezTo>
                <a:lnTo>
                  <a:pt x="1346608" y="5241952"/>
                </a:lnTo>
                <a:lnTo>
                  <a:pt x="1337756" y="5228905"/>
                </a:lnTo>
                <a:cubicBezTo>
                  <a:pt x="1329223" y="5208936"/>
                  <a:pt x="1324438" y="5186963"/>
                  <a:pt x="1324282" y="5163893"/>
                </a:cubicBezTo>
                <a:cubicBezTo>
                  <a:pt x="1323653" y="5071614"/>
                  <a:pt x="1398350" y="4996287"/>
                  <a:pt x="1490629" y="4996287"/>
                </a:cubicBezTo>
                <a:lnTo>
                  <a:pt x="1513231" y="5000811"/>
                </a:lnTo>
                <a:lnTo>
                  <a:pt x="1492209" y="4969814"/>
                </a:lnTo>
                <a:cubicBezTo>
                  <a:pt x="1484343" y="4951335"/>
                  <a:pt x="1479988" y="4931011"/>
                  <a:pt x="1479988" y="4909668"/>
                </a:cubicBezTo>
                <a:cubicBezTo>
                  <a:pt x="1479359" y="4824288"/>
                  <a:pt x="1548411" y="4754613"/>
                  <a:pt x="1633780" y="4753981"/>
                </a:cubicBezTo>
                <a:lnTo>
                  <a:pt x="1653737" y="4757973"/>
                </a:lnTo>
                <a:lnTo>
                  <a:pt x="1647662" y="4753897"/>
                </a:lnTo>
                <a:cubicBezTo>
                  <a:pt x="1619572" y="4725964"/>
                  <a:pt x="1602153" y="4687357"/>
                  <a:pt x="1602153" y="4644671"/>
                </a:cubicBezTo>
                <a:cubicBezTo>
                  <a:pt x="1601524" y="4559294"/>
                  <a:pt x="1670576" y="4489615"/>
                  <a:pt x="1756574" y="4488988"/>
                </a:cubicBezTo>
                <a:lnTo>
                  <a:pt x="1778451" y="4493388"/>
                </a:lnTo>
                <a:lnTo>
                  <a:pt x="1751682" y="4475444"/>
                </a:lnTo>
                <a:cubicBezTo>
                  <a:pt x="1724611" y="4448533"/>
                  <a:pt x="1707819" y="4411336"/>
                  <a:pt x="1707505" y="4370218"/>
                </a:cubicBezTo>
                <a:cubicBezTo>
                  <a:pt x="1707505" y="4287359"/>
                  <a:pt x="1774048" y="4220815"/>
                  <a:pt x="1856277" y="4220194"/>
                </a:cubicBezTo>
                <a:cubicBezTo>
                  <a:pt x="1939142" y="4219565"/>
                  <a:pt x="2006308" y="4286730"/>
                  <a:pt x="2006308" y="4368965"/>
                </a:cubicBezTo>
                <a:cubicBezTo>
                  <a:pt x="2006937" y="4451825"/>
                  <a:pt x="1939765" y="4518996"/>
                  <a:pt x="1857536" y="4518996"/>
                </a:cubicBezTo>
                <a:lnTo>
                  <a:pt x="1837487" y="4514981"/>
                </a:lnTo>
                <a:lnTo>
                  <a:pt x="1866112" y="4534185"/>
                </a:lnTo>
                <a:cubicBezTo>
                  <a:pt x="1894204" y="4562122"/>
                  <a:pt x="1911624" y="4600729"/>
                  <a:pt x="1911624" y="4643414"/>
                </a:cubicBezTo>
                <a:cubicBezTo>
                  <a:pt x="1911624" y="4729411"/>
                  <a:pt x="1842572" y="4799095"/>
                  <a:pt x="1757197" y="4799095"/>
                </a:cubicBezTo>
                <a:lnTo>
                  <a:pt x="1737947" y="4795224"/>
                </a:lnTo>
                <a:lnTo>
                  <a:pt x="1743869" y="4799182"/>
                </a:lnTo>
                <a:cubicBezTo>
                  <a:pt x="1772039" y="4827115"/>
                  <a:pt x="1789459" y="4865719"/>
                  <a:pt x="1789459" y="4908411"/>
                </a:cubicBezTo>
                <a:cubicBezTo>
                  <a:pt x="1789459" y="4994411"/>
                  <a:pt x="1720407" y="5064095"/>
                  <a:pt x="1635032" y="5064095"/>
                </a:cubicBezTo>
                <a:lnTo>
                  <a:pt x="1619800" y="5061030"/>
                </a:lnTo>
                <a:lnTo>
                  <a:pt x="1644757" y="5097714"/>
                </a:lnTo>
                <a:cubicBezTo>
                  <a:pt x="1653290" y="5117635"/>
                  <a:pt x="1658077" y="5139565"/>
                  <a:pt x="1658234" y="5162634"/>
                </a:cubicBezTo>
                <a:cubicBezTo>
                  <a:pt x="1658863" y="5254915"/>
                  <a:pt x="1584160" y="5329619"/>
                  <a:pt x="1491887" y="5330242"/>
                </a:cubicBezTo>
                <a:lnTo>
                  <a:pt x="1472297" y="5326403"/>
                </a:lnTo>
                <a:lnTo>
                  <a:pt x="1481120" y="5339398"/>
                </a:lnTo>
                <a:cubicBezTo>
                  <a:pt x="1489624" y="5359367"/>
                  <a:pt x="1494332" y="5381337"/>
                  <a:pt x="1494332" y="5404407"/>
                </a:cubicBezTo>
                <a:cubicBezTo>
                  <a:pt x="1494961" y="5496683"/>
                  <a:pt x="1420258" y="5572010"/>
                  <a:pt x="1327985" y="5572010"/>
                </a:cubicBezTo>
                <a:lnTo>
                  <a:pt x="1283896" y="5563367"/>
                </a:lnTo>
                <a:lnTo>
                  <a:pt x="1289024" y="5570914"/>
                </a:lnTo>
                <a:cubicBezTo>
                  <a:pt x="1297028" y="5589675"/>
                  <a:pt x="1301461" y="5610314"/>
                  <a:pt x="1301461" y="5631968"/>
                </a:cubicBezTo>
                <a:cubicBezTo>
                  <a:pt x="1302090" y="5718597"/>
                  <a:pt x="1231779" y="5789530"/>
                  <a:pt x="1145153" y="5789530"/>
                </a:cubicBezTo>
                <a:cubicBezTo>
                  <a:pt x="1123496" y="5789690"/>
                  <a:pt x="1102860" y="5785413"/>
                  <a:pt x="1084077" y="5777556"/>
                </a:cubicBezTo>
                <a:lnTo>
                  <a:pt x="1041960" y="5749347"/>
                </a:lnTo>
                <a:lnTo>
                  <a:pt x="1070129" y="5790723"/>
                </a:lnTo>
                <a:cubicBezTo>
                  <a:pt x="1077132" y="5807112"/>
                  <a:pt x="1081016" y="5825160"/>
                  <a:pt x="1081016" y="5844149"/>
                </a:cubicBezTo>
                <a:cubicBezTo>
                  <a:pt x="1081016" y="5919477"/>
                  <a:pt x="1020125" y="5981628"/>
                  <a:pt x="944170" y="5981628"/>
                </a:cubicBezTo>
                <a:close/>
                <a:moveTo>
                  <a:pt x="2511644" y="6047089"/>
                </a:moveTo>
                <a:cubicBezTo>
                  <a:pt x="2475915" y="6047089"/>
                  <a:pt x="2446943" y="6018117"/>
                  <a:pt x="2446943" y="5982389"/>
                </a:cubicBezTo>
                <a:cubicBezTo>
                  <a:pt x="2446943" y="5946660"/>
                  <a:pt x="2475915" y="5917688"/>
                  <a:pt x="2511644" y="5917688"/>
                </a:cubicBezTo>
                <a:cubicBezTo>
                  <a:pt x="2547373" y="5917688"/>
                  <a:pt x="2576345" y="5946660"/>
                  <a:pt x="2576345" y="5982389"/>
                </a:cubicBezTo>
                <a:cubicBezTo>
                  <a:pt x="2576345" y="6018117"/>
                  <a:pt x="2547373" y="6047089"/>
                  <a:pt x="2511644" y="6047089"/>
                </a:cubicBezTo>
                <a:close/>
                <a:moveTo>
                  <a:pt x="351481" y="6062421"/>
                </a:moveTo>
                <a:cubicBezTo>
                  <a:pt x="271756" y="6063051"/>
                  <a:pt x="207102" y="5999019"/>
                  <a:pt x="207102" y="5919290"/>
                </a:cubicBezTo>
                <a:cubicBezTo>
                  <a:pt x="207102" y="5840192"/>
                  <a:pt x="271133" y="5775533"/>
                  <a:pt x="350222" y="5774911"/>
                </a:cubicBezTo>
                <a:cubicBezTo>
                  <a:pt x="429947" y="5774281"/>
                  <a:pt x="493972" y="5838311"/>
                  <a:pt x="494601" y="5918032"/>
                </a:cubicBezTo>
                <a:cubicBezTo>
                  <a:pt x="495230" y="5997137"/>
                  <a:pt x="431199" y="6062421"/>
                  <a:pt x="351481" y="6062421"/>
                </a:cubicBezTo>
                <a:close/>
                <a:moveTo>
                  <a:pt x="1301312" y="6067134"/>
                </a:moveTo>
                <a:cubicBezTo>
                  <a:pt x="1234148" y="6067764"/>
                  <a:pt x="1178907" y="6013146"/>
                  <a:pt x="1178907" y="5945983"/>
                </a:cubicBezTo>
                <a:cubicBezTo>
                  <a:pt x="1178907" y="5878811"/>
                  <a:pt x="1232889" y="5824199"/>
                  <a:pt x="1300689" y="5823570"/>
                </a:cubicBezTo>
                <a:cubicBezTo>
                  <a:pt x="1367224" y="5822942"/>
                  <a:pt x="1422465" y="5877553"/>
                  <a:pt x="1422465" y="5944724"/>
                </a:cubicBezTo>
                <a:cubicBezTo>
                  <a:pt x="1422465" y="6011894"/>
                  <a:pt x="1368483" y="6067134"/>
                  <a:pt x="1301312" y="6067134"/>
                </a:cubicBezTo>
                <a:close/>
                <a:moveTo>
                  <a:pt x="2846317" y="6129704"/>
                </a:moveTo>
                <a:cubicBezTo>
                  <a:pt x="2809936" y="6129704"/>
                  <a:pt x="2781621" y="6099363"/>
                  <a:pt x="2781621" y="6064988"/>
                </a:cubicBezTo>
                <a:cubicBezTo>
                  <a:pt x="2781621" y="6030614"/>
                  <a:pt x="2809936" y="6000292"/>
                  <a:pt x="2846317" y="6000292"/>
                </a:cubicBezTo>
                <a:cubicBezTo>
                  <a:pt x="2882719" y="6000292"/>
                  <a:pt x="2911033" y="6028607"/>
                  <a:pt x="2911033" y="6064988"/>
                </a:cubicBezTo>
                <a:cubicBezTo>
                  <a:pt x="2911033" y="6101390"/>
                  <a:pt x="2880692" y="6129704"/>
                  <a:pt x="2846317" y="6129704"/>
                </a:cubicBezTo>
                <a:close/>
                <a:moveTo>
                  <a:pt x="1652239" y="6134497"/>
                </a:moveTo>
                <a:cubicBezTo>
                  <a:pt x="1600767" y="6134497"/>
                  <a:pt x="1558079" y="6093068"/>
                  <a:pt x="1558079" y="6040967"/>
                </a:cubicBezTo>
                <a:cubicBezTo>
                  <a:pt x="1558079" y="5988866"/>
                  <a:pt x="1600137" y="5946808"/>
                  <a:pt x="1651609" y="5946808"/>
                </a:cubicBezTo>
                <a:cubicBezTo>
                  <a:pt x="1703711" y="5946808"/>
                  <a:pt x="1745769" y="5988237"/>
                  <a:pt x="1745769" y="6040337"/>
                </a:cubicBezTo>
                <a:cubicBezTo>
                  <a:pt x="1745769" y="6091816"/>
                  <a:pt x="1704340" y="6134497"/>
                  <a:pt x="1652239" y="6134497"/>
                </a:cubicBezTo>
                <a:close/>
                <a:moveTo>
                  <a:pt x="727026" y="6180171"/>
                </a:moveTo>
                <a:cubicBezTo>
                  <a:pt x="649184" y="6180171"/>
                  <a:pt x="585788" y="6118022"/>
                  <a:pt x="585788" y="6040185"/>
                </a:cubicBezTo>
                <a:cubicBezTo>
                  <a:pt x="585159" y="5962350"/>
                  <a:pt x="647931" y="5899570"/>
                  <a:pt x="726397" y="5898939"/>
                </a:cubicBezTo>
                <a:cubicBezTo>
                  <a:pt x="803611" y="5898939"/>
                  <a:pt x="866383" y="5961091"/>
                  <a:pt x="867006" y="6038933"/>
                </a:cubicBezTo>
                <a:cubicBezTo>
                  <a:pt x="867006" y="6116769"/>
                  <a:pt x="804863" y="6180171"/>
                  <a:pt x="727026" y="6180171"/>
                </a:cubicBezTo>
                <a:close/>
                <a:moveTo>
                  <a:pt x="1999598" y="6197703"/>
                </a:moveTo>
                <a:cubicBezTo>
                  <a:pt x="1963837" y="6197703"/>
                  <a:pt x="1934391" y="6169313"/>
                  <a:pt x="1934391" y="6133553"/>
                </a:cubicBezTo>
                <a:cubicBezTo>
                  <a:pt x="1934391" y="6097793"/>
                  <a:pt x="1963837" y="6068349"/>
                  <a:pt x="1998544" y="6067295"/>
                </a:cubicBezTo>
                <a:cubicBezTo>
                  <a:pt x="2034306" y="6067295"/>
                  <a:pt x="2063752" y="6096739"/>
                  <a:pt x="2063752" y="6132499"/>
                </a:cubicBezTo>
                <a:cubicBezTo>
                  <a:pt x="2064806" y="6168258"/>
                  <a:pt x="2035360" y="6197703"/>
                  <a:pt x="1999598" y="6197703"/>
                </a:cubicBezTo>
                <a:close/>
                <a:moveTo>
                  <a:pt x="3178847" y="6210654"/>
                </a:moveTo>
                <a:cubicBezTo>
                  <a:pt x="3141865" y="6210654"/>
                  <a:pt x="3114151" y="6182848"/>
                  <a:pt x="3114151" y="6145866"/>
                </a:cubicBezTo>
                <a:cubicBezTo>
                  <a:pt x="3114151" y="6108884"/>
                  <a:pt x="3141865" y="6081170"/>
                  <a:pt x="3178847" y="6081170"/>
                </a:cubicBezTo>
                <a:cubicBezTo>
                  <a:pt x="3215829" y="6081170"/>
                  <a:pt x="3243635" y="6108884"/>
                  <a:pt x="3243635" y="6145866"/>
                </a:cubicBezTo>
                <a:cubicBezTo>
                  <a:pt x="3243635" y="6182848"/>
                  <a:pt x="3215829" y="6210654"/>
                  <a:pt x="3178847" y="6210654"/>
                </a:cubicBezTo>
                <a:close/>
                <a:moveTo>
                  <a:pt x="107572" y="6223995"/>
                </a:moveTo>
                <a:cubicBezTo>
                  <a:pt x="67084" y="6223995"/>
                  <a:pt x="30519" y="6207673"/>
                  <a:pt x="3998" y="6181309"/>
                </a:cubicBezTo>
                <a:lnTo>
                  <a:pt x="0" y="6175430"/>
                </a:lnTo>
                <a:lnTo>
                  <a:pt x="0" y="5979658"/>
                </a:lnTo>
                <a:lnTo>
                  <a:pt x="3211" y="5974866"/>
                </a:lnTo>
                <a:cubicBezTo>
                  <a:pt x="29576" y="5948421"/>
                  <a:pt x="66140" y="5932099"/>
                  <a:pt x="106943" y="5932099"/>
                </a:cubicBezTo>
                <a:cubicBezTo>
                  <a:pt x="187289" y="5932099"/>
                  <a:pt x="253201" y="5997389"/>
                  <a:pt x="253201" y="6077734"/>
                </a:cubicBezTo>
                <a:cubicBezTo>
                  <a:pt x="253201" y="6158085"/>
                  <a:pt x="187918" y="6223995"/>
                  <a:pt x="107572" y="6223995"/>
                </a:cubicBezTo>
                <a:close/>
                <a:moveTo>
                  <a:pt x="1093967" y="6270351"/>
                </a:moveTo>
                <a:cubicBezTo>
                  <a:pt x="1028055" y="6270351"/>
                  <a:pt x="974073" y="6216991"/>
                  <a:pt x="974073" y="6151078"/>
                </a:cubicBezTo>
                <a:cubicBezTo>
                  <a:pt x="974073" y="6085164"/>
                  <a:pt x="1026803" y="6031181"/>
                  <a:pt x="1092714" y="6031181"/>
                </a:cubicBezTo>
                <a:cubicBezTo>
                  <a:pt x="1158626" y="6031181"/>
                  <a:pt x="1212608" y="6084542"/>
                  <a:pt x="1212608" y="6150448"/>
                </a:cubicBezTo>
                <a:cubicBezTo>
                  <a:pt x="1213237" y="6216362"/>
                  <a:pt x="1159878" y="6270351"/>
                  <a:pt x="1093967" y="6270351"/>
                </a:cubicBezTo>
                <a:close/>
                <a:moveTo>
                  <a:pt x="2342587" y="6285418"/>
                </a:moveTo>
                <a:cubicBezTo>
                  <a:pt x="2308082" y="6285418"/>
                  <a:pt x="2277880" y="6257378"/>
                  <a:pt x="2277880" y="6220712"/>
                </a:cubicBezTo>
                <a:cubicBezTo>
                  <a:pt x="2277880" y="6184045"/>
                  <a:pt x="2305920" y="6156005"/>
                  <a:pt x="2342587" y="6156005"/>
                </a:cubicBezTo>
                <a:cubicBezTo>
                  <a:pt x="2379253" y="6156005"/>
                  <a:pt x="2407293" y="6186207"/>
                  <a:pt x="2407293" y="6220712"/>
                </a:cubicBezTo>
                <a:cubicBezTo>
                  <a:pt x="2407293" y="6257378"/>
                  <a:pt x="2379253" y="6285418"/>
                  <a:pt x="2342587" y="6285418"/>
                </a:cubicBezTo>
                <a:close/>
                <a:moveTo>
                  <a:pt x="493774" y="6344519"/>
                </a:moveTo>
                <a:cubicBezTo>
                  <a:pt x="422840" y="6344519"/>
                  <a:pt x="365088" y="6287397"/>
                  <a:pt x="365088" y="6216463"/>
                </a:cubicBezTo>
                <a:cubicBezTo>
                  <a:pt x="365088" y="6145529"/>
                  <a:pt x="422211" y="6088406"/>
                  <a:pt x="493145" y="6087778"/>
                </a:cubicBezTo>
                <a:cubicBezTo>
                  <a:pt x="564079" y="6087778"/>
                  <a:pt x="621831" y="6144900"/>
                  <a:pt x="621831" y="6215834"/>
                </a:cubicBezTo>
                <a:cubicBezTo>
                  <a:pt x="621831" y="6286768"/>
                  <a:pt x="564709" y="6344519"/>
                  <a:pt x="493774" y="6344519"/>
                </a:cubicBezTo>
                <a:close/>
                <a:moveTo>
                  <a:pt x="1454361" y="6357516"/>
                </a:moveTo>
                <a:cubicBezTo>
                  <a:pt x="1397861" y="6358138"/>
                  <a:pt x="1351410" y="6312318"/>
                  <a:pt x="1351410" y="6255196"/>
                </a:cubicBezTo>
                <a:cubicBezTo>
                  <a:pt x="1350781" y="6198074"/>
                  <a:pt x="1396609" y="6151618"/>
                  <a:pt x="1453731" y="6152247"/>
                </a:cubicBezTo>
                <a:cubicBezTo>
                  <a:pt x="1510225" y="6152247"/>
                  <a:pt x="1556682" y="6198074"/>
                  <a:pt x="1556682" y="6254566"/>
                </a:cubicBezTo>
                <a:cubicBezTo>
                  <a:pt x="1557305" y="6311059"/>
                  <a:pt x="1510854" y="6357516"/>
                  <a:pt x="1454361" y="6357516"/>
                </a:cubicBezTo>
                <a:close/>
                <a:moveTo>
                  <a:pt x="2682869" y="6371877"/>
                </a:moveTo>
                <a:cubicBezTo>
                  <a:pt x="2645900" y="6371877"/>
                  <a:pt x="2618150" y="6344173"/>
                  <a:pt x="2618150" y="6307204"/>
                </a:cubicBezTo>
                <a:cubicBezTo>
                  <a:pt x="2618150" y="6270235"/>
                  <a:pt x="2650487" y="6242485"/>
                  <a:pt x="2682869" y="6242485"/>
                </a:cubicBezTo>
                <a:cubicBezTo>
                  <a:pt x="2719838" y="6242485"/>
                  <a:pt x="2747542" y="6270235"/>
                  <a:pt x="2747542" y="6307204"/>
                </a:cubicBezTo>
                <a:cubicBezTo>
                  <a:pt x="2747542" y="6344173"/>
                  <a:pt x="2719838" y="6371877"/>
                  <a:pt x="2682869" y="6371877"/>
                </a:cubicBezTo>
                <a:close/>
                <a:moveTo>
                  <a:pt x="1809156" y="6428951"/>
                </a:moveTo>
                <a:cubicBezTo>
                  <a:pt x="1767728" y="6428951"/>
                  <a:pt x="1733831" y="6395055"/>
                  <a:pt x="1733831" y="6353626"/>
                </a:cubicBezTo>
                <a:cubicBezTo>
                  <a:pt x="1733831" y="6312193"/>
                  <a:pt x="1767098" y="6278296"/>
                  <a:pt x="1809156" y="6278296"/>
                </a:cubicBezTo>
                <a:cubicBezTo>
                  <a:pt x="1850584" y="6277672"/>
                  <a:pt x="1884481" y="6311569"/>
                  <a:pt x="1884481" y="6352998"/>
                </a:cubicBezTo>
                <a:cubicBezTo>
                  <a:pt x="1884481" y="6395055"/>
                  <a:pt x="1850584" y="6428951"/>
                  <a:pt x="1809156" y="6428951"/>
                </a:cubicBezTo>
                <a:close/>
                <a:moveTo>
                  <a:pt x="871999" y="6465599"/>
                </a:moveTo>
                <a:cubicBezTo>
                  <a:pt x="802952" y="6466229"/>
                  <a:pt x="746453" y="6410365"/>
                  <a:pt x="746453" y="6341313"/>
                </a:cubicBezTo>
                <a:cubicBezTo>
                  <a:pt x="746453" y="6272261"/>
                  <a:pt x="801694" y="6215769"/>
                  <a:pt x="870746" y="6215769"/>
                </a:cubicBezTo>
                <a:cubicBezTo>
                  <a:pt x="939793" y="6215139"/>
                  <a:pt x="996292" y="6271009"/>
                  <a:pt x="996292" y="6340055"/>
                </a:cubicBezTo>
                <a:cubicBezTo>
                  <a:pt x="996915" y="6409107"/>
                  <a:pt x="941051" y="6464976"/>
                  <a:pt x="871999" y="6465599"/>
                </a:cubicBezTo>
                <a:close/>
                <a:moveTo>
                  <a:pt x="247710" y="6508631"/>
                </a:moveTo>
                <a:cubicBezTo>
                  <a:pt x="173007" y="6508631"/>
                  <a:pt x="112115" y="6448369"/>
                  <a:pt x="111492" y="6373043"/>
                </a:cubicBezTo>
                <a:cubicBezTo>
                  <a:pt x="110863" y="6297717"/>
                  <a:pt x="171755" y="6236197"/>
                  <a:pt x="247081" y="6236826"/>
                </a:cubicBezTo>
                <a:cubicBezTo>
                  <a:pt x="321778" y="6236826"/>
                  <a:pt x="383299" y="6297088"/>
                  <a:pt x="383299" y="6372414"/>
                </a:cubicBezTo>
                <a:cubicBezTo>
                  <a:pt x="383299" y="6447110"/>
                  <a:pt x="323037" y="6508631"/>
                  <a:pt x="247710" y="6508631"/>
                </a:cubicBezTo>
                <a:close/>
                <a:moveTo>
                  <a:pt x="2160210" y="6513179"/>
                </a:moveTo>
                <a:cubicBezTo>
                  <a:pt x="2123442" y="6513179"/>
                  <a:pt x="2094838" y="6484576"/>
                  <a:pt x="2094838" y="6449159"/>
                </a:cubicBezTo>
                <a:cubicBezTo>
                  <a:pt x="2094838" y="6412391"/>
                  <a:pt x="2124807" y="6383788"/>
                  <a:pt x="2158858" y="6383788"/>
                </a:cubicBezTo>
                <a:cubicBezTo>
                  <a:pt x="2195626" y="6383788"/>
                  <a:pt x="2224230" y="6412391"/>
                  <a:pt x="2224230" y="6447807"/>
                </a:cubicBezTo>
                <a:cubicBezTo>
                  <a:pt x="2224230" y="6484576"/>
                  <a:pt x="2195626" y="6513179"/>
                  <a:pt x="2160210" y="6513179"/>
                </a:cubicBezTo>
                <a:close/>
                <a:moveTo>
                  <a:pt x="1241852" y="6541647"/>
                </a:moveTo>
                <a:cubicBezTo>
                  <a:pt x="1194143" y="6541647"/>
                  <a:pt x="1155225" y="6503359"/>
                  <a:pt x="1155225" y="6455651"/>
                </a:cubicBezTo>
                <a:cubicBezTo>
                  <a:pt x="1155225" y="6407942"/>
                  <a:pt x="1193514" y="6369024"/>
                  <a:pt x="1241222" y="6369024"/>
                </a:cubicBezTo>
                <a:cubicBezTo>
                  <a:pt x="1288931" y="6369024"/>
                  <a:pt x="1327849" y="6407313"/>
                  <a:pt x="1327849" y="6455022"/>
                </a:cubicBezTo>
                <a:cubicBezTo>
                  <a:pt x="1327849" y="6502730"/>
                  <a:pt x="1289560" y="6541647"/>
                  <a:pt x="1241852" y="6541647"/>
                </a:cubicBezTo>
                <a:close/>
                <a:moveTo>
                  <a:pt x="2506494" y="6604865"/>
                </a:moveTo>
                <a:cubicBezTo>
                  <a:pt x="2470534" y="6608468"/>
                  <a:pt x="2441780" y="6579718"/>
                  <a:pt x="2441780" y="6543763"/>
                </a:cubicBezTo>
                <a:cubicBezTo>
                  <a:pt x="2445383" y="6507843"/>
                  <a:pt x="2470534" y="6482696"/>
                  <a:pt x="2506494" y="6475490"/>
                </a:cubicBezTo>
                <a:cubicBezTo>
                  <a:pt x="2542418" y="6475490"/>
                  <a:pt x="2571172" y="6504240"/>
                  <a:pt x="2571172" y="6540196"/>
                </a:cubicBezTo>
                <a:cubicBezTo>
                  <a:pt x="2571172" y="6576115"/>
                  <a:pt x="2542418" y="6604865"/>
                  <a:pt x="2506494" y="6604865"/>
                </a:cubicBezTo>
                <a:close/>
                <a:moveTo>
                  <a:pt x="636161" y="6620104"/>
                </a:moveTo>
                <a:cubicBezTo>
                  <a:pt x="577151" y="6620104"/>
                  <a:pt x="528818" y="6571767"/>
                  <a:pt x="528818" y="6512764"/>
                </a:cubicBezTo>
                <a:cubicBezTo>
                  <a:pt x="528189" y="6453133"/>
                  <a:pt x="575898" y="6404796"/>
                  <a:pt x="635532" y="6405425"/>
                </a:cubicBezTo>
                <a:cubicBezTo>
                  <a:pt x="694542" y="6404796"/>
                  <a:pt x="742875" y="6453133"/>
                  <a:pt x="742875" y="6512135"/>
                </a:cubicBezTo>
                <a:cubicBezTo>
                  <a:pt x="743504" y="6571767"/>
                  <a:pt x="695795" y="6619475"/>
                  <a:pt x="636161" y="6620104"/>
                </a:cubicBezTo>
                <a:close/>
                <a:moveTo>
                  <a:pt x="0" y="6625003"/>
                </a:moveTo>
                <a:lnTo>
                  <a:pt x="0" y="6394664"/>
                </a:lnTo>
                <a:lnTo>
                  <a:pt x="34326" y="6401495"/>
                </a:lnTo>
                <a:cubicBezTo>
                  <a:pt x="76698" y="6419179"/>
                  <a:pt x="106355" y="6460609"/>
                  <a:pt x="106355" y="6509100"/>
                </a:cubicBezTo>
                <a:cubicBezTo>
                  <a:pt x="106827" y="6558067"/>
                  <a:pt x="77284" y="6599967"/>
                  <a:pt x="35208" y="6617856"/>
                </a:cubicBezTo>
                <a:close/>
                <a:moveTo>
                  <a:pt x="1605782" y="6627599"/>
                </a:moveTo>
                <a:cubicBezTo>
                  <a:pt x="1569804" y="6627599"/>
                  <a:pt x="1540767" y="6598564"/>
                  <a:pt x="1540767" y="6563214"/>
                </a:cubicBezTo>
                <a:cubicBezTo>
                  <a:pt x="1540134" y="6527237"/>
                  <a:pt x="1569171" y="6498202"/>
                  <a:pt x="1605149" y="6498202"/>
                </a:cubicBezTo>
                <a:cubicBezTo>
                  <a:pt x="1641134" y="6498202"/>
                  <a:pt x="1670171" y="6527237"/>
                  <a:pt x="1670171" y="6562587"/>
                </a:cubicBezTo>
                <a:cubicBezTo>
                  <a:pt x="1670171" y="6598564"/>
                  <a:pt x="1641134" y="6627599"/>
                  <a:pt x="1605782" y="6627599"/>
                </a:cubicBezTo>
                <a:close/>
                <a:moveTo>
                  <a:pt x="1964034" y="6729553"/>
                </a:moveTo>
                <a:cubicBezTo>
                  <a:pt x="1927278" y="6730905"/>
                  <a:pt x="1898683" y="6700958"/>
                  <a:pt x="1898683" y="6665550"/>
                </a:cubicBezTo>
                <a:cubicBezTo>
                  <a:pt x="1898683" y="6630143"/>
                  <a:pt x="1928642" y="6600183"/>
                  <a:pt x="1962683" y="6600183"/>
                </a:cubicBezTo>
                <a:cubicBezTo>
                  <a:pt x="1999440" y="6598831"/>
                  <a:pt x="2028034" y="6628778"/>
                  <a:pt x="2028034" y="6664185"/>
                </a:cubicBezTo>
                <a:cubicBezTo>
                  <a:pt x="2029399" y="6700958"/>
                  <a:pt x="1999440" y="6729553"/>
                  <a:pt x="1964034" y="6729553"/>
                </a:cubicBezTo>
                <a:close/>
                <a:moveTo>
                  <a:pt x="1016008" y="6740237"/>
                </a:moveTo>
                <a:cubicBezTo>
                  <a:pt x="961397" y="6740237"/>
                  <a:pt x="916199" y="6696297"/>
                  <a:pt x="916199" y="6641058"/>
                </a:cubicBezTo>
                <a:cubicBezTo>
                  <a:pt x="916199" y="6586447"/>
                  <a:pt x="960767" y="6541879"/>
                  <a:pt x="1015378" y="6541249"/>
                </a:cubicBezTo>
                <a:cubicBezTo>
                  <a:pt x="1070619" y="6541249"/>
                  <a:pt x="1115187" y="6585189"/>
                  <a:pt x="1115187" y="6640428"/>
                </a:cubicBezTo>
                <a:cubicBezTo>
                  <a:pt x="1115187" y="6695669"/>
                  <a:pt x="1071248" y="6740237"/>
                  <a:pt x="1016008" y="6740237"/>
                </a:cubicBezTo>
                <a:close/>
                <a:moveTo>
                  <a:pt x="388474" y="6779360"/>
                </a:moveTo>
                <a:cubicBezTo>
                  <a:pt x="326330" y="6779983"/>
                  <a:pt x="276110" y="6729769"/>
                  <a:pt x="276110" y="6668248"/>
                </a:cubicBezTo>
                <a:cubicBezTo>
                  <a:pt x="276110" y="6606104"/>
                  <a:pt x="325701" y="6555884"/>
                  <a:pt x="387221" y="6555884"/>
                </a:cubicBezTo>
                <a:cubicBezTo>
                  <a:pt x="449365" y="6555254"/>
                  <a:pt x="499585" y="6605475"/>
                  <a:pt x="499585" y="6666996"/>
                </a:cubicBezTo>
                <a:cubicBezTo>
                  <a:pt x="500214" y="6729139"/>
                  <a:pt x="449995" y="6779360"/>
                  <a:pt x="388474" y="6779360"/>
                </a:cubicBezTo>
                <a:close/>
                <a:moveTo>
                  <a:pt x="2317645" y="6827001"/>
                </a:moveTo>
                <a:cubicBezTo>
                  <a:pt x="2281685" y="6827001"/>
                  <a:pt x="2252931" y="6798247"/>
                  <a:pt x="2252931" y="6762323"/>
                </a:cubicBezTo>
                <a:cubicBezTo>
                  <a:pt x="2252931" y="6726363"/>
                  <a:pt x="2281685" y="6701213"/>
                  <a:pt x="2317645" y="6697609"/>
                </a:cubicBezTo>
                <a:cubicBezTo>
                  <a:pt x="2353569" y="6697609"/>
                  <a:pt x="2382323" y="6726363"/>
                  <a:pt x="2382323" y="6762323"/>
                </a:cubicBezTo>
                <a:cubicBezTo>
                  <a:pt x="2382323" y="6798247"/>
                  <a:pt x="2353569" y="6827001"/>
                  <a:pt x="2317645" y="6827001"/>
                </a:cubicBezTo>
                <a:close/>
                <a:moveTo>
                  <a:pt x="1388540" y="6844934"/>
                </a:moveTo>
                <a:cubicBezTo>
                  <a:pt x="1340831" y="6844934"/>
                  <a:pt x="1301913" y="6806646"/>
                  <a:pt x="1301913" y="6758937"/>
                </a:cubicBezTo>
                <a:cubicBezTo>
                  <a:pt x="1301913" y="6711229"/>
                  <a:pt x="1340202" y="6672940"/>
                  <a:pt x="1387910" y="6672311"/>
                </a:cubicBezTo>
                <a:cubicBezTo>
                  <a:pt x="1435619" y="6672311"/>
                  <a:pt x="1474537" y="6710600"/>
                  <a:pt x="1474537" y="6758308"/>
                </a:cubicBezTo>
                <a:cubicBezTo>
                  <a:pt x="1474537" y="6806016"/>
                  <a:pt x="1436248" y="6844934"/>
                  <a:pt x="1388540" y="6844934"/>
                </a:cubicBezTo>
                <a:close/>
                <a:moveTo>
                  <a:pt x="778121" y="6891725"/>
                </a:moveTo>
                <a:cubicBezTo>
                  <a:pt x="732922" y="6891725"/>
                  <a:pt x="695885" y="6855317"/>
                  <a:pt x="695885" y="6810125"/>
                </a:cubicBezTo>
                <a:cubicBezTo>
                  <a:pt x="695885" y="6764926"/>
                  <a:pt x="732293" y="6728517"/>
                  <a:pt x="777492" y="6727888"/>
                </a:cubicBezTo>
                <a:cubicBezTo>
                  <a:pt x="822685" y="6727888"/>
                  <a:pt x="859722" y="6764297"/>
                  <a:pt x="859722" y="6809495"/>
                </a:cubicBezTo>
                <a:cubicBezTo>
                  <a:pt x="859722" y="6854694"/>
                  <a:pt x="823314" y="6891725"/>
                  <a:pt x="778121" y="6891725"/>
                </a:cubicBezTo>
                <a:close/>
                <a:moveTo>
                  <a:pt x="129309" y="6896031"/>
                </a:moveTo>
                <a:cubicBezTo>
                  <a:pt x="78466" y="6896031"/>
                  <a:pt x="36408" y="6854602"/>
                  <a:pt x="36408" y="6803129"/>
                </a:cubicBezTo>
                <a:cubicBezTo>
                  <a:pt x="36408" y="6752279"/>
                  <a:pt x="77837" y="6710220"/>
                  <a:pt x="128686" y="6710220"/>
                </a:cubicBezTo>
                <a:cubicBezTo>
                  <a:pt x="180157" y="6709591"/>
                  <a:pt x="221586" y="6751027"/>
                  <a:pt x="222215" y="6802500"/>
                </a:cubicBezTo>
                <a:cubicBezTo>
                  <a:pt x="222215" y="6853972"/>
                  <a:pt x="180786" y="6895402"/>
                  <a:pt x="129309" y="6896031"/>
                </a:cubicBezTo>
                <a:close/>
                <a:moveTo>
                  <a:pt x="1754959" y="6933471"/>
                </a:moveTo>
                <a:cubicBezTo>
                  <a:pt x="1718973" y="6933471"/>
                  <a:pt x="1689840" y="6904337"/>
                  <a:pt x="1689840" y="6868349"/>
                </a:cubicBezTo>
                <a:cubicBezTo>
                  <a:pt x="1689840" y="6833221"/>
                  <a:pt x="1718114" y="6803228"/>
                  <a:pt x="1754959" y="6804087"/>
                </a:cubicBezTo>
                <a:cubicBezTo>
                  <a:pt x="1790945" y="6803228"/>
                  <a:pt x="1820077" y="6832362"/>
                  <a:pt x="1820077" y="6868349"/>
                </a:cubicBezTo>
                <a:cubicBezTo>
                  <a:pt x="1820077" y="6904337"/>
                  <a:pt x="1790945" y="6933471"/>
                  <a:pt x="1754959" y="6933471"/>
                </a:cubicBezTo>
                <a:close/>
                <a:moveTo>
                  <a:pt x="608501" y="6994525"/>
                </a:moveTo>
                <a:lnTo>
                  <a:pt x="448954" y="6994525"/>
                </a:lnTo>
                <a:lnTo>
                  <a:pt x="442420" y="6962396"/>
                </a:lnTo>
                <a:cubicBezTo>
                  <a:pt x="441791" y="6914688"/>
                  <a:pt x="480716" y="6875770"/>
                  <a:pt x="528419" y="6875770"/>
                </a:cubicBezTo>
                <a:cubicBezTo>
                  <a:pt x="576129" y="6875770"/>
                  <a:pt x="615048" y="6914059"/>
                  <a:pt x="615048" y="6961768"/>
                </a:cubicBezTo>
                <a:close/>
                <a:moveTo>
                  <a:pt x="1208063" y="6994525"/>
                </a:moveTo>
                <a:lnTo>
                  <a:pt x="1110791" y="6994525"/>
                </a:lnTo>
                <a:lnTo>
                  <a:pt x="1106799" y="6991851"/>
                </a:lnTo>
                <a:cubicBezTo>
                  <a:pt x="1093303" y="6978434"/>
                  <a:pt x="1084986" y="6959916"/>
                  <a:pt x="1084986" y="6939515"/>
                </a:cubicBezTo>
                <a:cubicBezTo>
                  <a:pt x="1084986" y="6898708"/>
                  <a:pt x="1118254" y="6865439"/>
                  <a:pt x="1159689" y="6865439"/>
                </a:cubicBezTo>
                <a:cubicBezTo>
                  <a:pt x="1200489" y="6865439"/>
                  <a:pt x="1233757" y="6898708"/>
                  <a:pt x="1233757" y="6939515"/>
                </a:cubicBezTo>
                <a:cubicBezTo>
                  <a:pt x="1233757" y="6959916"/>
                  <a:pt x="1225440" y="6978434"/>
                  <a:pt x="1212023" y="6991851"/>
                </a:cubicBezTo>
                <a:close/>
                <a:moveTo>
                  <a:pt x="2176182" y="6994525"/>
                </a:moveTo>
                <a:lnTo>
                  <a:pt x="2055562" y="6994525"/>
                </a:lnTo>
                <a:lnTo>
                  <a:pt x="2051176" y="6973520"/>
                </a:lnTo>
                <a:cubicBezTo>
                  <a:pt x="2051176" y="6936799"/>
                  <a:pt x="2080904" y="6908824"/>
                  <a:pt x="2115872" y="6908824"/>
                </a:cubicBezTo>
                <a:cubicBezTo>
                  <a:pt x="2150840" y="6908824"/>
                  <a:pt x="2180568" y="6936799"/>
                  <a:pt x="2180568" y="6973520"/>
                </a:cubicBezTo>
                <a:close/>
              </a:path>
            </a:pathLst>
          </a:custGeom>
          <a:gradFill flip="none" rotWithShape="1">
            <a:gsLst>
              <a:gs pos="0">
                <a:schemeClr val="accent3"/>
              </a:gs>
              <a:gs pos="100000">
                <a:schemeClr val="accent2">
                  <a:lumMod val="0"/>
                </a:schemeClr>
              </a:gs>
            </a:gsLst>
            <a:path path="circle">
              <a:fillToRect l="100000" t="100000"/>
            </a:path>
            <a:tileRect r="-100000" b="-100000"/>
          </a:gradFill>
          <a:ln w="10076" cap="flat">
            <a:noFill/>
            <a:prstDash val="solid"/>
            <a:miter/>
          </a:ln>
        </p:spPr>
        <p:txBody>
          <a:bodyPr wrap="square" rtlCol="0" anchor="ctr">
            <a:noAutofit/>
          </a:bodyPr>
          <a:lstStyle/>
          <a:p>
            <a:endParaRPr lang="en-US" sz="1765"/>
          </a:p>
        </p:txBody>
      </p:sp>
    </p:spTree>
    <p:extLst>
      <p:ext uri="{BB962C8B-B14F-4D97-AF65-F5344CB8AC3E}">
        <p14:creationId xmlns:p14="http://schemas.microsoft.com/office/powerpoint/2010/main" val="3761686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165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TT_chart_layout_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5E7597-848B-4E3D-A48B-BCA9B6C86C95}"/>
              </a:ext>
            </a:extLst>
          </p:cNvPr>
          <p:cNvGraphicFramePr>
            <a:graphicFrameLocks noChangeAspect="1"/>
          </p:cNvGraphicFramePr>
          <p:nvPr userDrawn="1">
            <p:custDataLst>
              <p:tags r:id="rId1"/>
            </p:custDataLst>
            <p:extLst>
              <p:ext uri="{D42A27DB-BD31-4B8C-83A1-F6EECF244321}">
                <p14:modId xmlns:p14="http://schemas.microsoft.com/office/powerpoint/2010/main" val="346309461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3" name="Object 2" hidden="1">
                        <a:extLst>
                          <a:ext uri="{FF2B5EF4-FFF2-40B4-BE49-F238E27FC236}">
                            <a16:creationId xmlns:a16="http://schemas.microsoft.com/office/drawing/2014/main" id="{D35E7597-848B-4E3D-A48B-BCA9B6C86C9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8E0DF0-C459-415B-9BFD-D558345175A9}"/>
              </a:ext>
            </a:extLst>
          </p:cNvPr>
          <p:cNvSpPr/>
          <p:nvPr userDrawn="1">
            <p:custDataLst>
              <p:tags r:id="rId2"/>
            </p:custDataLst>
          </p:nvPr>
        </p:nvSpPr>
        <p:spPr>
          <a:xfrm>
            <a:off x="0" y="0"/>
            <a:ext cx="211667" cy="211667"/>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fontAlgn="auto">
              <a:lnSpc>
                <a:spcPct val="110000"/>
              </a:lnSpc>
              <a:spcBef>
                <a:spcPts val="267"/>
              </a:spcBef>
              <a:spcAft>
                <a:spcPts val="267"/>
              </a:spcAft>
            </a:pP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2"/>
          </p:nvPr>
        </p:nvSpPr>
        <p:spPr>
          <a:xfrm>
            <a:off x="395819" y="1211425"/>
            <a:ext cx="11377101" cy="392480"/>
          </a:xfrm>
          <a:prstGeom prst="rect">
            <a:avLst/>
          </a:prstGeom>
        </p:spPr>
        <p:txBody>
          <a:bodyPr/>
          <a:lstStyle>
            <a:lvl1pPr algn="ctr" rtl="0">
              <a:defRPr sz="1867" i="0">
                <a:solidFill>
                  <a:schemeClr val="tx1"/>
                </a:solidFill>
                <a:latin typeface="Arial" panose="020B0604020202020204" pitchFamily="34" charset="0"/>
                <a:cs typeface="Arial" panose="020B0604020202020204" pitchFamily="34" charset="0"/>
              </a:defRPr>
            </a:lvl1pPr>
            <a:lvl2pPr marL="120648" indent="0" algn="ctr">
              <a:buNone/>
              <a:defRPr sz="1867"/>
            </a:lvl2pPr>
          </a:lstStyle>
          <a:p>
            <a:pPr lvl="0"/>
            <a:r>
              <a:rPr lang="en-US"/>
              <a:t>Click to edit Master text styles</a:t>
            </a:r>
          </a:p>
        </p:txBody>
      </p:sp>
      <p:sp>
        <p:nvSpPr>
          <p:cNvPr id="6" name="Chart Placeholder 5"/>
          <p:cNvSpPr>
            <a:spLocks noGrp="1"/>
          </p:cNvSpPr>
          <p:nvPr>
            <p:ph type="chart" sz="quarter" idx="11"/>
          </p:nvPr>
        </p:nvSpPr>
        <p:spPr>
          <a:xfrm>
            <a:off x="396694" y="1683603"/>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rtl="0">
              <a:defRPr lang="en-ZA" i="0" dirty="0">
                <a:solidFill>
                  <a:schemeClr val="tx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US"/>
              <a:t>Click icon to add chart</a:t>
            </a:r>
          </a:p>
        </p:txBody>
      </p:sp>
      <p:sp>
        <p:nvSpPr>
          <p:cNvPr id="5" name="Title 1"/>
          <p:cNvSpPr>
            <a:spLocks noGrp="1"/>
          </p:cNvSpPr>
          <p:nvPr>
            <p:ph type="title"/>
          </p:nvPr>
        </p:nvSpPr>
        <p:spPr>
          <a:xfrm>
            <a:off x="396693" y="169334"/>
            <a:ext cx="9558508" cy="447217"/>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lick to edit Master title style</a:t>
            </a:r>
          </a:p>
        </p:txBody>
      </p:sp>
      <p:pic>
        <p:nvPicPr>
          <p:cNvPr id="8" name="Picture 7">
            <a:extLst>
              <a:ext uri="{FF2B5EF4-FFF2-40B4-BE49-F238E27FC236}">
                <a16:creationId xmlns:a16="http://schemas.microsoft.com/office/drawing/2014/main" id="{7BD62B93-C8CF-6946-9BCE-593B9275E42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191922967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gradFill>
          <a:gsLst>
            <a:gs pos="0">
              <a:schemeClr val="accent2">
                <a:lumMod val="50000"/>
              </a:schemeClr>
            </a:gs>
            <a:gs pos="42000">
              <a:srgbClr val="0F4E86"/>
            </a:gs>
            <a:gs pos="100000">
              <a:schemeClr val="accent2">
                <a:lumMod val="75000"/>
              </a:schemeClr>
            </a:gs>
          </a:gsLst>
          <a:lin ang="10800000" scaled="1"/>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p:ph type="title" hasCustomPrompt="1"/>
          </p:nvPr>
        </p:nvSpPr>
        <p:spPr>
          <a:xfrm>
            <a:off x="572716" y="2828979"/>
            <a:ext cx="5557835" cy="788036"/>
          </a:xfrm>
          <a:noFill/>
        </p:spPr>
        <p:txBody>
          <a:bodyPr lIns="0" tIns="91440" rIns="0" bIns="91440" anchor="b" anchorCtr="0"/>
          <a:lstStyle>
            <a:lvl1pPr>
              <a:defRPr sz="3921" b="1" spc="-99" baseline="0">
                <a:solidFill>
                  <a:schemeClr val="accent3"/>
                </a:solidFill>
              </a:defRPr>
            </a:lvl1pPr>
          </a:lstStyle>
          <a:p>
            <a:r>
              <a:rPr lang="en-US"/>
              <a:t>Presentation title</a:t>
            </a:r>
          </a:p>
        </p:txBody>
      </p:sp>
      <p:sp>
        <p:nvSpPr>
          <p:cNvPr id="16" name="Text Placeholder 4">
            <a:extLst>
              <a:ext uri="{FF2B5EF4-FFF2-40B4-BE49-F238E27FC236}">
                <a16:creationId xmlns:a16="http://schemas.microsoft.com/office/drawing/2014/main" id="{744383EB-BE88-497D-A24B-D7A9C21794EE}"/>
              </a:ext>
            </a:extLst>
          </p:cNvPr>
          <p:cNvSpPr>
            <a:spLocks noGrp="1"/>
          </p:cNvSpPr>
          <p:nvPr>
            <p:ph type="body" sz="quarter" idx="12" hasCustomPrompt="1"/>
          </p:nvPr>
        </p:nvSpPr>
        <p:spPr>
          <a:xfrm>
            <a:off x="572716" y="3916790"/>
            <a:ext cx="5557835"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userDrawn="1"/>
        </p:nvPicPr>
        <p:blipFill>
          <a:blip r:embed="rId2"/>
          <a:stretch>
            <a:fillRect/>
          </a:stretch>
        </p:blipFill>
        <p:spPr bwMode="black">
          <a:xfrm>
            <a:off x="572717" y="574356"/>
            <a:ext cx="1339387" cy="286897"/>
          </a:xfrm>
          <a:prstGeom prst="rect">
            <a:avLst/>
          </a:prstGeom>
        </p:spPr>
      </p:pic>
      <p:grpSp>
        <p:nvGrpSpPr>
          <p:cNvPr id="2" name="Group 1">
            <a:extLst>
              <a:ext uri="{FF2B5EF4-FFF2-40B4-BE49-F238E27FC236}">
                <a16:creationId xmlns:a16="http://schemas.microsoft.com/office/drawing/2014/main" id="{8560C3DD-9D06-454D-AEB9-E2E97E102A28}"/>
              </a:ext>
              <a:ext uri="{C183D7F6-B498-43B3-948B-1728B52AA6E4}">
                <adec:decorative xmlns:adec="http://schemas.microsoft.com/office/drawing/2017/decorative" val="1"/>
              </a:ext>
            </a:extLst>
          </p:cNvPr>
          <p:cNvGrpSpPr/>
          <p:nvPr userDrawn="1"/>
        </p:nvGrpSpPr>
        <p:grpSpPr>
          <a:xfrm>
            <a:off x="5890629" y="-37116"/>
            <a:ext cx="6301372" cy="6879067"/>
            <a:chOff x="6008747" y="-37854"/>
            <a:chExt cx="6427728" cy="7016010"/>
          </a:xfrm>
        </p:grpSpPr>
        <p:pic>
          <p:nvPicPr>
            <p:cNvPr id="107" name="Picture 106">
              <a:extLst>
                <a:ext uri="{FF2B5EF4-FFF2-40B4-BE49-F238E27FC236}">
                  <a16:creationId xmlns:a16="http://schemas.microsoft.com/office/drawing/2014/main" id="{863E9115-9B04-4D5E-9293-4748BA4D3AF1}"/>
                </a:ext>
                <a:ext uri="{C183D7F6-B498-43B3-948B-1728B52AA6E4}">
                  <adec:decorative xmlns:adec="http://schemas.microsoft.com/office/drawing/2017/decorative" val="1"/>
                </a:ext>
              </a:extLst>
            </p:cNvPr>
            <p:cNvPicPr>
              <a:picLocks noChangeAspect="1"/>
            </p:cNvPicPr>
            <p:nvPr userDrawn="1"/>
          </p:nvPicPr>
          <p:blipFill rotWithShape="1">
            <a:blip r:embed="rId3">
              <a:alphaModFix amt="19000"/>
            </a:blip>
            <a:srcRect r="8486"/>
            <a:stretch/>
          </p:blipFill>
          <p:spPr>
            <a:xfrm>
              <a:off x="6008747" y="-37854"/>
              <a:ext cx="6427728" cy="7016010"/>
            </a:xfrm>
            <a:prstGeom prst="rect">
              <a:avLst/>
            </a:prstGeom>
          </p:spPr>
        </p:pic>
        <p:grpSp>
          <p:nvGrpSpPr>
            <p:cNvPr id="68" name="Group 67">
              <a:extLst>
                <a:ext uri="{FF2B5EF4-FFF2-40B4-BE49-F238E27FC236}">
                  <a16:creationId xmlns:a16="http://schemas.microsoft.com/office/drawing/2014/main" id="{22612AD0-C6FD-414B-95BF-74EDAA717CE8}"/>
                </a:ext>
                <a:ext uri="{C183D7F6-B498-43B3-948B-1728B52AA6E4}">
                  <adec:decorative xmlns:adec="http://schemas.microsoft.com/office/drawing/2017/decorative" val="1"/>
                </a:ext>
              </a:extLst>
            </p:cNvPr>
            <p:cNvGrpSpPr/>
            <p:nvPr userDrawn="1"/>
          </p:nvGrpSpPr>
          <p:grpSpPr>
            <a:xfrm>
              <a:off x="6642181" y="600985"/>
              <a:ext cx="5794294" cy="5792555"/>
              <a:chOff x="5791201" y="469000"/>
              <a:chExt cx="6059254" cy="6057435"/>
            </a:xfrm>
          </p:grpSpPr>
          <p:sp>
            <p:nvSpPr>
              <p:cNvPr id="10" name="Graphic 5">
                <a:extLst>
                  <a:ext uri="{FF2B5EF4-FFF2-40B4-BE49-F238E27FC236}">
                    <a16:creationId xmlns:a16="http://schemas.microsoft.com/office/drawing/2014/main" id="{D1F3EA73-F732-4CB9-AD76-BCD9588CDFB7}"/>
                  </a:ext>
                </a:extLst>
              </p:cNvPr>
              <p:cNvSpPr/>
              <p:nvPr/>
            </p:nvSpPr>
            <p:spPr>
              <a:xfrm>
                <a:off x="5793020" y="469000"/>
                <a:ext cx="6057435" cy="6057435"/>
              </a:xfrm>
              <a:custGeom>
                <a:avLst/>
                <a:gdLst>
                  <a:gd name="connsiteX0" fmla="*/ 6057437 w 6057436"/>
                  <a:gd name="connsiteY0" fmla="*/ 3028718 h 6057435"/>
                  <a:gd name="connsiteX1" fmla="*/ 3028718 w 6057436"/>
                  <a:gd name="connsiteY1" fmla="*/ 6057435 h 6057435"/>
                  <a:gd name="connsiteX2" fmla="*/ 0 w 6057436"/>
                  <a:gd name="connsiteY2" fmla="*/ 3028718 h 6057435"/>
                  <a:gd name="connsiteX3" fmla="*/ 3028718 w 6057436"/>
                  <a:gd name="connsiteY3" fmla="*/ 0 h 6057435"/>
                  <a:gd name="connsiteX4" fmla="*/ 6057437 w 6057436"/>
                  <a:gd name="connsiteY4" fmla="*/ 3028718 h 6057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7436" h="6057435">
                    <a:moveTo>
                      <a:pt x="6057437" y="3028718"/>
                    </a:moveTo>
                    <a:cubicBezTo>
                      <a:pt x="6057437" y="4701432"/>
                      <a:pt x="4701433" y="6057435"/>
                      <a:pt x="3028718" y="6057435"/>
                    </a:cubicBezTo>
                    <a:cubicBezTo>
                      <a:pt x="1356003" y="6057435"/>
                      <a:pt x="0" y="4701432"/>
                      <a:pt x="0" y="3028718"/>
                    </a:cubicBezTo>
                    <a:cubicBezTo>
                      <a:pt x="0" y="1356003"/>
                      <a:pt x="1356003" y="0"/>
                      <a:pt x="3028718" y="0"/>
                    </a:cubicBezTo>
                    <a:cubicBezTo>
                      <a:pt x="4701433" y="0"/>
                      <a:pt x="6057437" y="1356003"/>
                      <a:pt x="6057437" y="3028718"/>
                    </a:cubicBezTo>
                    <a:close/>
                  </a:path>
                </a:pathLst>
              </a:custGeom>
              <a:gradFill>
                <a:gsLst>
                  <a:gs pos="0">
                    <a:schemeClr val="accent3">
                      <a:alpha val="37000"/>
                    </a:schemeClr>
                  </a:gs>
                  <a:gs pos="71000">
                    <a:schemeClr val="accent1">
                      <a:lumMod val="75000"/>
                      <a:alpha val="0"/>
                    </a:schemeClr>
                  </a:gs>
                </a:gsLst>
                <a:lin ang="0" scaled="1"/>
              </a:gradFill>
              <a:ln w="4545" cap="flat">
                <a:noFill/>
                <a:prstDash val="solid"/>
                <a:miter/>
              </a:ln>
            </p:spPr>
            <p:txBody>
              <a:bodyPr rtlCol="0" anchor="ctr"/>
              <a:lstStyle/>
              <a:p>
                <a:endParaRPr lang="en-US" sz="1765"/>
              </a:p>
            </p:txBody>
          </p:sp>
          <p:grpSp>
            <p:nvGrpSpPr>
              <p:cNvPr id="11" name="Graphic 5">
                <a:extLst>
                  <a:ext uri="{FF2B5EF4-FFF2-40B4-BE49-F238E27FC236}">
                    <a16:creationId xmlns:a16="http://schemas.microsoft.com/office/drawing/2014/main" id="{6870A12A-B81D-4F62-A3AB-A735A5D276E3}"/>
                  </a:ext>
                </a:extLst>
              </p:cNvPr>
              <p:cNvGrpSpPr/>
              <p:nvPr/>
            </p:nvGrpSpPr>
            <p:grpSpPr>
              <a:xfrm>
                <a:off x="5791201" y="691285"/>
                <a:ext cx="5997587" cy="5668276"/>
                <a:chOff x="5791201" y="691285"/>
                <a:chExt cx="5997587" cy="5668276"/>
              </a:xfrm>
              <a:gradFill flip="none" rotWithShape="1">
                <a:gsLst>
                  <a:gs pos="0">
                    <a:schemeClr val="bg1"/>
                  </a:gs>
                  <a:gs pos="88000">
                    <a:schemeClr val="accent2">
                      <a:alpha val="0"/>
                    </a:schemeClr>
                  </a:gs>
                </a:gsLst>
                <a:lin ang="0" scaled="1"/>
                <a:tileRect/>
              </a:gradFill>
            </p:grpSpPr>
            <p:sp>
              <p:nvSpPr>
                <p:cNvPr id="12" name="Graphic 5">
                  <a:extLst>
                    <a:ext uri="{FF2B5EF4-FFF2-40B4-BE49-F238E27FC236}">
                      <a16:creationId xmlns:a16="http://schemas.microsoft.com/office/drawing/2014/main" id="{5CC9596A-B8CB-45A5-AACF-5B87C3334F65}"/>
                    </a:ext>
                  </a:extLst>
                </p:cNvPr>
                <p:cNvSpPr/>
                <p:nvPr/>
              </p:nvSpPr>
              <p:spPr>
                <a:xfrm>
                  <a:off x="7275322" y="741137"/>
                  <a:ext cx="4405748" cy="5344652"/>
                </a:xfrm>
                <a:custGeom>
                  <a:avLst/>
                  <a:gdLst>
                    <a:gd name="connsiteX0" fmla="*/ 2329853 w 4405748"/>
                    <a:gd name="connsiteY0" fmla="*/ 3752815 h 5344652"/>
                    <a:gd name="connsiteX1" fmla="*/ 2321669 w 4405748"/>
                    <a:gd name="connsiteY1" fmla="*/ 3760090 h 5344652"/>
                    <a:gd name="connsiteX2" fmla="*/ 2192990 w 4405748"/>
                    <a:gd name="connsiteY2" fmla="*/ 3644143 h 5344652"/>
                    <a:gd name="connsiteX3" fmla="*/ 2159343 w 4405748"/>
                    <a:gd name="connsiteY3" fmla="*/ 3583214 h 5344652"/>
                    <a:gd name="connsiteX4" fmla="*/ 2119330 w 4405748"/>
                    <a:gd name="connsiteY4" fmla="*/ 3532743 h 5344652"/>
                    <a:gd name="connsiteX5" fmla="*/ 2082500 w 4405748"/>
                    <a:gd name="connsiteY5" fmla="*/ 3406793 h 5344652"/>
                    <a:gd name="connsiteX6" fmla="*/ 2024754 w 4405748"/>
                    <a:gd name="connsiteY6" fmla="*/ 3326312 h 5344652"/>
                    <a:gd name="connsiteX7" fmla="*/ 1956095 w 4405748"/>
                    <a:gd name="connsiteY7" fmla="*/ 3171261 h 5344652"/>
                    <a:gd name="connsiteX8" fmla="*/ 2052035 w 4405748"/>
                    <a:gd name="connsiteY8" fmla="*/ 3296757 h 5344652"/>
                    <a:gd name="connsiteX9" fmla="*/ 2074770 w 4405748"/>
                    <a:gd name="connsiteY9" fmla="*/ 3328586 h 5344652"/>
                    <a:gd name="connsiteX10" fmla="*/ 2118875 w 4405748"/>
                    <a:gd name="connsiteY10" fmla="*/ 3360869 h 5344652"/>
                    <a:gd name="connsiteX11" fmla="*/ 2145702 w 4405748"/>
                    <a:gd name="connsiteY11" fmla="*/ 3439531 h 5344652"/>
                    <a:gd name="connsiteX12" fmla="*/ 2166618 w 4405748"/>
                    <a:gd name="connsiteY12" fmla="*/ 3471359 h 5344652"/>
                    <a:gd name="connsiteX13" fmla="*/ 2303027 w 4405748"/>
                    <a:gd name="connsiteY13" fmla="*/ 3628229 h 5344652"/>
                    <a:gd name="connsiteX14" fmla="*/ 2308483 w 4405748"/>
                    <a:gd name="connsiteY14" fmla="*/ 3702344 h 5344652"/>
                    <a:gd name="connsiteX15" fmla="*/ 2330763 w 4405748"/>
                    <a:gd name="connsiteY15" fmla="*/ 3751451 h 5344652"/>
                    <a:gd name="connsiteX16" fmla="*/ 2329853 w 4405748"/>
                    <a:gd name="connsiteY16" fmla="*/ 3752815 h 5344652"/>
                    <a:gd name="connsiteX17" fmla="*/ 2753174 w 4405748"/>
                    <a:gd name="connsiteY17" fmla="*/ 3134886 h 5344652"/>
                    <a:gd name="connsiteX18" fmla="*/ 2640864 w 4405748"/>
                    <a:gd name="connsiteY18" fmla="*/ 3228098 h 5344652"/>
                    <a:gd name="connsiteX19" fmla="*/ 2640409 w 4405748"/>
                    <a:gd name="connsiteY19" fmla="*/ 3154892 h 5344652"/>
                    <a:gd name="connsiteX20" fmla="*/ 2618584 w 4405748"/>
                    <a:gd name="connsiteY20" fmla="*/ 3149891 h 5344652"/>
                    <a:gd name="connsiteX21" fmla="*/ 2585846 w 4405748"/>
                    <a:gd name="connsiteY21" fmla="*/ 3157620 h 5344652"/>
                    <a:gd name="connsiteX22" fmla="*/ 2494907 w 4405748"/>
                    <a:gd name="connsiteY22" fmla="*/ 3070319 h 5344652"/>
                    <a:gd name="connsiteX23" fmla="*/ 2488087 w 4405748"/>
                    <a:gd name="connsiteY23" fmla="*/ 3025304 h 5344652"/>
                    <a:gd name="connsiteX24" fmla="*/ 2541741 w 4405748"/>
                    <a:gd name="connsiteY24" fmla="*/ 3040764 h 5344652"/>
                    <a:gd name="connsiteX25" fmla="*/ 2634498 w 4405748"/>
                    <a:gd name="connsiteY25" fmla="*/ 3107604 h 5344652"/>
                    <a:gd name="connsiteX26" fmla="*/ 2648139 w 4405748"/>
                    <a:gd name="connsiteY26" fmla="*/ 3107604 h 5344652"/>
                    <a:gd name="connsiteX27" fmla="*/ 2671329 w 4405748"/>
                    <a:gd name="connsiteY27" fmla="*/ 3126247 h 5344652"/>
                    <a:gd name="connsiteX28" fmla="*/ 2744989 w 4405748"/>
                    <a:gd name="connsiteY28" fmla="*/ 3125792 h 5344652"/>
                    <a:gd name="connsiteX29" fmla="*/ 2754992 w 4405748"/>
                    <a:gd name="connsiteY29" fmla="*/ 3123518 h 5344652"/>
                    <a:gd name="connsiteX30" fmla="*/ 2753174 w 4405748"/>
                    <a:gd name="connsiteY30" fmla="*/ 3134886 h 5344652"/>
                    <a:gd name="connsiteX31" fmla="*/ 1931996 w 4405748"/>
                    <a:gd name="connsiteY31" fmla="*/ 2851611 h 5344652"/>
                    <a:gd name="connsiteX32" fmla="*/ 1866065 w 4405748"/>
                    <a:gd name="connsiteY32" fmla="*/ 2998932 h 5344652"/>
                    <a:gd name="connsiteX33" fmla="*/ 1772398 w 4405748"/>
                    <a:gd name="connsiteY33" fmla="*/ 2974833 h 5344652"/>
                    <a:gd name="connsiteX34" fmla="*/ 1679640 w 4405748"/>
                    <a:gd name="connsiteY34" fmla="*/ 3011664 h 5344652"/>
                    <a:gd name="connsiteX35" fmla="*/ 1483213 w 4405748"/>
                    <a:gd name="connsiteY35" fmla="*/ 2950280 h 5344652"/>
                    <a:gd name="connsiteX36" fmla="*/ 1363628 w 4405748"/>
                    <a:gd name="connsiteY36" fmla="*/ 2999841 h 5344652"/>
                    <a:gd name="connsiteX37" fmla="*/ 1227675 w 4405748"/>
                    <a:gd name="connsiteY37" fmla="*/ 2996659 h 5344652"/>
                    <a:gd name="connsiteX38" fmla="*/ 1187207 w 4405748"/>
                    <a:gd name="connsiteY38" fmla="*/ 2952099 h 5344652"/>
                    <a:gd name="connsiteX39" fmla="*/ 1083991 w 4405748"/>
                    <a:gd name="connsiteY39" fmla="*/ 2919361 h 5344652"/>
                    <a:gd name="connsiteX40" fmla="*/ 1046251 w 4405748"/>
                    <a:gd name="connsiteY40" fmla="*/ 2772494 h 5344652"/>
                    <a:gd name="connsiteX41" fmla="*/ 1043978 w 4405748"/>
                    <a:gd name="connsiteY41" fmla="*/ 2752033 h 5344652"/>
                    <a:gd name="connsiteX42" fmla="*/ 983049 w 4405748"/>
                    <a:gd name="connsiteY42" fmla="*/ 2732027 h 5344652"/>
                    <a:gd name="connsiteX43" fmla="*/ 715689 w 4405748"/>
                    <a:gd name="connsiteY43" fmla="*/ 2741121 h 5344652"/>
                    <a:gd name="connsiteX44" fmla="*/ 607926 w 4405748"/>
                    <a:gd name="connsiteY44" fmla="*/ 2787045 h 5344652"/>
                    <a:gd name="connsiteX45" fmla="*/ 506984 w 4405748"/>
                    <a:gd name="connsiteY45" fmla="*/ 2775223 h 5344652"/>
                    <a:gd name="connsiteX46" fmla="*/ 540631 w 4405748"/>
                    <a:gd name="connsiteY46" fmla="*/ 2762491 h 5344652"/>
                    <a:gd name="connsiteX47" fmla="*/ 620203 w 4405748"/>
                    <a:gd name="connsiteY47" fmla="*/ 2740666 h 5344652"/>
                    <a:gd name="connsiteX48" fmla="*/ 733422 w 4405748"/>
                    <a:gd name="connsiteY48" fmla="*/ 2640633 h 5344652"/>
                    <a:gd name="connsiteX49" fmla="*/ 681132 w 4405748"/>
                    <a:gd name="connsiteY49" fmla="*/ 2624719 h 5344652"/>
                    <a:gd name="connsiteX50" fmla="*/ 699774 w 4405748"/>
                    <a:gd name="connsiteY50" fmla="*/ 2596983 h 5344652"/>
                    <a:gd name="connsiteX51" fmla="*/ 802081 w 4405748"/>
                    <a:gd name="connsiteY51" fmla="*/ 2529233 h 5344652"/>
                    <a:gd name="connsiteX52" fmla="*/ 822542 w 4405748"/>
                    <a:gd name="connsiteY52" fmla="*/ 2462393 h 5344652"/>
                    <a:gd name="connsiteX53" fmla="*/ 912571 w 4405748"/>
                    <a:gd name="connsiteY53" fmla="*/ 2486037 h 5344652"/>
                    <a:gd name="connsiteX54" fmla="*/ 990779 w 4405748"/>
                    <a:gd name="connsiteY54" fmla="*/ 2434202 h 5344652"/>
                    <a:gd name="connsiteX55" fmla="*/ 1016242 w 4405748"/>
                    <a:gd name="connsiteY55" fmla="*/ 2462848 h 5344652"/>
                    <a:gd name="connsiteX56" fmla="*/ 1081718 w 4405748"/>
                    <a:gd name="connsiteY56" fmla="*/ 2552877 h 5344652"/>
                    <a:gd name="connsiteX57" fmla="*/ 1189935 w 4405748"/>
                    <a:gd name="connsiteY57" fmla="*/ 2635632 h 5344652"/>
                    <a:gd name="connsiteX58" fmla="*/ 1206759 w 4405748"/>
                    <a:gd name="connsiteY58" fmla="*/ 2658821 h 5344652"/>
                    <a:gd name="connsiteX59" fmla="*/ 1140373 w 4405748"/>
                    <a:gd name="connsiteY59" fmla="*/ 2691104 h 5344652"/>
                    <a:gd name="connsiteX60" fmla="*/ 1174930 w 4405748"/>
                    <a:gd name="connsiteY60" fmla="*/ 2784771 h 5344652"/>
                    <a:gd name="connsiteX61" fmla="*/ 1258139 w 4405748"/>
                    <a:gd name="connsiteY61" fmla="*/ 2705655 h 5344652"/>
                    <a:gd name="connsiteX62" fmla="*/ 1308155 w 4405748"/>
                    <a:gd name="connsiteY62" fmla="*/ 2619263 h 5344652"/>
                    <a:gd name="connsiteX63" fmla="*/ 1226765 w 4405748"/>
                    <a:gd name="connsiteY63" fmla="*/ 2543783 h 5344652"/>
                    <a:gd name="connsiteX64" fmla="*/ 1107181 w 4405748"/>
                    <a:gd name="connsiteY64" fmla="*/ 2384640 h 5344652"/>
                    <a:gd name="connsiteX65" fmla="*/ 1114001 w 4405748"/>
                    <a:gd name="connsiteY65" fmla="*/ 2368271 h 5344652"/>
                    <a:gd name="connsiteX66" fmla="*/ 1153559 w 4405748"/>
                    <a:gd name="connsiteY66" fmla="*/ 2411467 h 5344652"/>
                    <a:gd name="connsiteX67" fmla="*/ 1312702 w 4405748"/>
                    <a:gd name="connsiteY67" fmla="*/ 2538327 h 5344652"/>
                    <a:gd name="connsiteX68" fmla="*/ 1354534 w 4405748"/>
                    <a:gd name="connsiteY68" fmla="*/ 2660185 h 5344652"/>
                    <a:gd name="connsiteX69" fmla="*/ 1436379 w 4405748"/>
                    <a:gd name="connsiteY69" fmla="*/ 2794774 h 5344652"/>
                    <a:gd name="connsiteX70" fmla="*/ 1540959 w 4405748"/>
                    <a:gd name="connsiteY70" fmla="*/ 2689740 h 5344652"/>
                    <a:gd name="connsiteX71" fmla="*/ 1496399 w 4405748"/>
                    <a:gd name="connsiteY71" fmla="*/ 2634722 h 5344652"/>
                    <a:gd name="connsiteX72" fmla="*/ 1523680 w 4405748"/>
                    <a:gd name="connsiteY72" fmla="*/ 2600620 h 5344652"/>
                    <a:gd name="connsiteX73" fmla="*/ 1614165 w 4405748"/>
                    <a:gd name="connsiteY73" fmla="*/ 2805232 h 5344652"/>
                    <a:gd name="connsiteX74" fmla="*/ 1496853 w 4405748"/>
                    <a:gd name="connsiteY74" fmla="*/ 2818419 h 5344652"/>
                    <a:gd name="connsiteX75" fmla="*/ 1596886 w 4405748"/>
                    <a:gd name="connsiteY75" fmla="*/ 2865252 h 5344652"/>
                    <a:gd name="connsiteX76" fmla="*/ 1717380 w 4405748"/>
                    <a:gd name="connsiteY76" fmla="*/ 2806142 h 5344652"/>
                    <a:gd name="connsiteX77" fmla="*/ 1840602 w 4405748"/>
                    <a:gd name="connsiteY77" fmla="*/ 2795229 h 5344652"/>
                    <a:gd name="connsiteX78" fmla="*/ 1821051 w 4405748"/>
                    <a:gd name="connsiteY78" fmla="*/ 2852066 h 5344652"/>
                    <a:gd name="connsiteX79" fmla="*/ 1914263 w 4405748"/>
                    <a:gd name="connsiteY79" fmla="*/ 2777041 h 5344652"/>
                    <a:gd name="connsiteX80" fmla="*/ 1931996 w 4405748"/>
                    <a:gd name="connsiteY80" fmla="*/ 2851611 h 5344652"/>
                    <a:gd name="connsiteX81" fmla="*/ 2079771 w 4405748"/>
                    <a:gd name="connsiteY81" fmla="*/ 2501042 h 5344652"/>
                    <a:gd name="connsiteX82" fmla="*/ 2007020 w 4405748"/>
                    <a:gd name="connsiteY82" fmla="*/ 2516956 h 5344652"/>
                    <a:gd name="connsiteX83" fmla="*/ 2004292 w 4405748"/>
                    <a:gd name="connsiteY83" fmla="*/ 2527869 h 5344652"/>
                    <a:gd name="connsiteX84" fmla="*/ 1934269 w 4405748"/>
                    <a:gd name="connsiteY84" fmla="*/ 2507863 h 5344652"/>
                    <a:gd name="connsiteX85" fmla="*/ 1872886 w 4405748"/>
                    <a:gd name="connsiteY85" fmla="*/ 2486492 h 5344652"/>
                    <a:gd name="connsiteX86" fmla="*/ 1811957 w 4405748"/>
                    <a:gd name="connsiteY86" fmla="*/ 2500587 h 5344652"/>
                    <a:gd name="connsiteX87" fmla="*/ 1681459 w 4405748"/>
                    <a:gd name="connsiteY87" fmla="*/ 2552423 h 5344652"/>
                    <a:gd name="connsiteX88" fmla="*/ 1633716 w 4405748"/>
                    <a:gd name="connsiteY88" fmla="*/ 2494222 h 5344652"/>
                    <a:gd name="connsiteX89" fmla="*/ 1709196 w 4405748"/>
                    <a:gd name="connsiteY89" fmla="*/ 2305978 h 5344652"/>
                    <a:gd name="connsiteX90" fmla="*/ 1756939 w 4405748"/>
                    <a:gd name="connsiteY90" fmla="*/ 2355540 h 5344652"/>
                    <a:gd name="connsiteX91" fmla="*/ 1806500 w 4405748"/>
                    <a:gd name="connsiteY91" fmla="*/ 2406920 h 5344652"/>
                    <a:gd name="connsiteX92" fmla="*/ 1896075 w 4405748"/>
                    <a:gd name="connsiteY92" fmla="*/ 2371454 h 5344652"/>
                    <a:gd name="connsiteX93" fmla="*/ 2023389 w 4405748"/>
                    <a:gd name="connsiteY93" fmla="*/ 2430565 h 5344652"/>
                    <a:gd name="connsiteX94" fmla="*/ 2079771 w 4405748"/>
                    <a:gd name="connsiteY94" fmla="*/ 2501042 h 5344652"/>
                    <a:gd name="connsiteX95" fmla="*/ 1908352 w 4405748"/>
                    <a:gd name="connsiteY95" fmla="*/ 2286426 h 5344652"/>
                    <a:gd name="connsiteX96" fmla="*/ 1874704 w 4405748"/>
                    <a:gd name="connsiteY96" fmla="*/ 2317346 h 5344652"/>
                    <a:gd name="connsiteX97" fmla="*/ 1845149 w 4405748"/>
                    <a:gd name="connsiteY97" fmla="*/ 2305978 h 5344652"/>
                    <a:gd name="connsiteX98" fmla="*/ 1859245 w 4405748"/>
                    <a:gd name="connsiteY98" fmla="*/ 2278697 h 5344652"/>
                    <a:gd name="connsiteX99" fmla="*/ 1903350 w 4405748"/>
                    <a:gd name="connsiteY99" fmla="*/ 2260963 h 5344652"/>
                    <a:gd name="connsiteX100" fmla="*/ 1908352 w 4405748"/>
                    <a:gd name="connsiteY100" fmla="*/ 2286426 h 5344652"/>
                    <a:gd name="connsiteX101" fmla="*/ 1122640 w 4405748"/>
                    <a:gd name="connsiteY101" fmla="*/ 1801268 h 5344652"/>
                    <a:gd name="connsiteX102" fmla="*/ 1110818 w 4405748"/>
                    <a:gd name="connsiteY102" fmla="*/ 1819001 h 5344652"/>
                    <a:gd name="connsiteX103" fmla="*/ 1097632 w 4405748"/>
                    <a:gd name="connsiteY103" fmla="*/ 1806724 h 5344652"/>
                    <a:gd name="connsiteX104" fmla="*/ 1087629 w 4405748"/>
                    <a:gd name="connsiteY104" fmla="*/ 1767620 h 5344652"/>
                    <a:gd name="connsiteX105" fmla="*/ 1099451 w 4405748"/>
                    <a:gd name="connsiteY105" fmla="*/ 1726698 h 5344652"/>
                    <a:gd name="connsiteX106" fmla="*/ 1122640 w 4405748"/>
                    <a:gd name="connsiteY106" fmla="*/ 1801268 h 5344652"/>
                    <a:gd name="connsiteX107" fmla="*/ 1421374 w 4405748"/>
                    <a:gd name="connsiteY107" fmla="*/ 1642125 h 5344652"/>
                    <a:gd name="connsiteX108" fmla="*/ 1375905 w 4405748"/>
                    <a:gd name="connsiteY108" fmla="*/ 1688049 h 5344652"/>
                    <a:gd name="connsiteX109" fmla="*/ 1372267 w 4405748"/>
                    <a:gd name="connsiteY109" fmla="*/ 1698507 h 5344652"/>
                    <a:gd name="connsiteX110" fmla="*/ 1354534 w 4405748"/>
                    <a:gd name="connsiteY110" fmla="*/ 1763983 h 5344652"/>
                    <a:gd name="connsiteX111" fmla="*/ 1338165 w 4405748"/>
                    <a:gd name="connsiteY111" fmla="*/ 1795357 h 5344652"/>
                    <a:gd name="connsiteX112" fmla="*/ 1341348 w 4405748"/>
                    <a:gd name="connsiteY112" fmla="*/ 1819910 h 5344652"/>
                    <a:gd name="connsiteX113" fmla="*/ 1326798 w 4405748"/>
                    <a:gd name="connsiteY113" fmla="*/ 1881749 h 5344652"/>
                    <a:gd name="connsiteX114" fmla="*/ 1324979 w 4405748"/>
                    <a:gd name="connsiteY114" fmla="*/ 1882203 h 5344652"/>
                    <a:gd name="connsiteX115" fmla="*/ 1278146 w 4405748"/>
                    <a:gd name="connsiteY115" fmla="*/ 1875383 h 5344652"/>
                    <a:gd name="connsiteX116" fmla="*/ 1196301 w 4405748"/>
                    <a:gd name="connsiteY116" fmla="*/ 1911758 h 5344652"/>
                    <a:gd name="connsiteX117" fmla="*/ 1177203 w 4405748"/>
                    <a:gd name="connsiteY117" fmla="*/ 1925399 h 5344652"/>
                    <a:gd name="connsiteX118" fmla="*/ 1158561 w 4405748"/>
                    <a:gd name="connsiteY118" fmla="*/ 1898118 h 5344652"/>
                    <a:gd name="connsiteX119" fmla="*/ 1302699 w 4405748"/>
                    <a:gd name="connsiteY119" fmla="*/ 1781716 h 5344652"/>
                    <a:gd name="connsiteX120" fmla="*/ 1318613 w 4405748"/>
                    <a:gd name="connsiteY120" fmla="*/ 1718059 h 5344652"/>
                    <a:gd name="connsiteX121" fmla="*/ 1272235 w 4405748"/>
                    <a:gd name="connsiteY121" fmla="*/ 1758527 h 5344652"/>
                    <a:gd name="connsiteX122" fmla="*/ 1268142 w 4405748"/>
                    <a:gd name="connsiteY122" fmla="*/ 1710329 h 5344652"/>
                    <a:gd name="connsiteX123" fmla="*/ 1277691 w 4405748"/>
                    <a:gd name="connsiteY123" fmla="*/ 1698507 h 5344652"/>
                    <a:gd name="connsiteX124" fmla="*/ 1355444 w 4405748"/>
                    <a:gd name="connsiteY124" fmla="*/ 1612570 h 5344652"/>
                    <a:gd name="connsiteX125" fmla="*/ 1369994 w 4405748"/>
                    <a:gd name="connsiteY125" fmla="*/ 1632121 h 5344652"/>
                    <a:gd name="connsiteX126" fmla="*/ 1376814 w 4405748"/>
                    <a:gd name="connsiteY126" fmla="*/ 1632121 h 5344652"/>
                    <a:gd name="connsiteX127" fmla="*/ 1383635 w 4405748"/>
                    <a:gd name="connsiteY127" fmla="*/ 1632121 h 5344652"/>
                    <a:gd name="connsiteX128" fmla="*/ 1390000 w 4405748"/>
                    <a:gd name="connsiteY128" fmla="*/ 1632121 h 5344652"/>
                    <a:gd name="connsiteX129" fmla="*/ 1396366 w 4405748"/>
                    <a:gd name="connsiteY129" fmla="*/ 1632121 h 5344652"/>
                    <a:gd name="connsiteX130" fmla="*/ 1402732 w 4405748"/>
                    <a:gd name="connsiteY130" fmla="*/ 1632121 h 5344652"/>
                    <a:gd name="connsiteX131" fmla="*/ 1409097 w 4405748"/>
                    <a:gd name="connsiteY131" fmla="*/ 1632121 h 5344652"/>
                    <a:gd name="connsiteX132" fmla="*/ 1415008 w 4405748"/>
                    <a:gd name="connsiteY132" fmla="*/ 1632121 h 5344652"/>
                    <a:gd name="connsiteX133" fmla="*/ 1420920 w 4405748"/>
                    <a:gd name="connsiteY133" fmla="*/ 1632121 h 5344652"/>
                    <a:gd name="connsiteX134" fmla="*/ 1421374 w 4405748"/>
                    <a:gd name="connsiteY134" fmla="*/ 1642125 h 5344652"/>
                    <a:gd name="connsiteX135" fmla="*/ 1543687 w 4405748"/>
                    <a:gd name="connsiteY135" fmla="*/ 1608023 h 5344652"/>
                    <a:gd name="connsiteX136" fmla="*/ 1533684 w 4405748"/>
                    <a:gd name="connsiteY136" fmla="*/ 1621664 h 5344652"/>
                    <a:gd name="connsiteX137" fmla="*/ 1501400 w 4405748"/>
                    <a:gd name="connsiteY137" fmla="*/ 1623028 h 5344652"/>
                    <a:gd name="connsiteX138" fmla="*/ 1466389 w 4405748"/>
                    <a:gd name="connsiteY138" fmla="*/ 1622573 h 5344652"/>
                    <a:gd name="connsiteX139" fmla="*/ 1465025 w 4405748"/>
                    <a:gd name="connsiteY139" fmla="*/ 1607568 h 5344652"/>
                    <a:gd name="connsiteX140" fmla="*/ 1534593 w 4405748"/>
                    <a:gd name="connsiteY140" fmla="*/ 1590744 h 5344652"/>
                    <a:gd name="connsiteX141" fmla="*/ 1543687 w 4405748"/>
                    <a:gd name="connsiteY141" fmla="*/ 1608023 h 5344652"/>
                    <a:gd name="connsiteX142" fmla="*/ 1424102 w 4405748"/>
                    <a:gd name="connsiteY142" fmla="*/ 1340663 h 5344652"/>
                    <a:gd name="connsiteX143" fmla="*/ 1378633 w 4405748"/>
                    <a:gd name="connsiteY143" fmla="*/ 1417961 h 5344652"/>
                    <a:gd name="connsiteX144" fmla="*/ 1351351 w 4405748"/>
                    <a:gd name="connsiteY144" fmla="*/ 1464794 h 5344652"/>
                    <a:gd name="connsiteX145" fmla="*/ 1353625 w 4405748"/>
                    <a:gd name="connsiteY145" fmla="*/ 1533908 h 5344652"/>
                    <a:gd name="connsiteX146" fmla="*/ 1358626 w 4405748"/>
                    <a:gd name="connsiteY146" fmla="*/ 1538000 h 5344652"/>
                    <a:gd name="connsiteX147" fmla="*/ 1322251 w 4405748"/>
                    <a:gd name="connsiteY147" fmla="*/ 1595291 h 5344652"/>
                    <a:gd name="connsiteX148" fmla="*/ 1313612 w 4405748"/>
                    <a:gd name="connsiteY148" fmla="*/ 1458428 h 5344652"/>
                    <a:gd name="connsiteX149" fmla="*/ 1369539 w 4405748"/>
                    <a:gd name="connsiteY149" fmla="*/ 1370218 h 5344652"/>
                    <a:gd name="connsiteX150" fmla="*/ 1415463 w 4405748"/>
                    <a:gd name="connsiteY150" fmla="*/ 1323839 h 5344652"/>
                    <a:gd name="connsiteX151" fmla="*/ 1426831 w 4405748"/>
                    <a:gd name="connsiteY151" fmla="*/ 1333387 h 5344652"/>
                    <a:gd name="connsiteX152" fmla="*/ 1424102 w 4405748"/>
                    <a:gd name="connsiteY152" fmla="*/ 1340663 h 5344652"/>
                    <a:gd name="connsiteX153" fmla="*/ 1775126 w 4405748"/>
                    <a:gd name="connsiteY153" fmla="*/ 1301559 h 5344652"/>
                    <a:gd name="connsiteX154" fmla="*/ 1769670 w 4405748"/>
                    <a:gd name="connsiteY154" fmla="*/ 1315200 h 5344652"/>
                    <a:gd name="connsiteX155" fmla="*/ 1748299 w 4405748"/>
                    <a:gd name="connsiteY155" fmla="*/ 1314745 h 5344652"/>
                    <a:gd name="connsiteX156" fmla="*/ 1704194 w 4405748"/>
                    <a:gd name="connsiteY156" fmla="*/ 1311107 h 5344652"/>
                    <a:gd name="connsiteX157" fmla="*/ 1716925 w 4405748"/>
                    <a:gd name="connsiteY157" fmla="*/ 1338844 h 5344652"/>
                    <a:gd name="connsiteX158" fmla="*/ 1730112 w 4405748"/>
                    <a:gd name="connsiteY158" fmla="*/ 1368854 h 5344652"/>
                    <a:gd name="connsiteX159" fmla="*/ 1688280 w 4405748"/>
                    <a:gd name="connsiteY159" fmla="*/ 1345664 h 5344652"/>
                    <a:gd name="connsiteX160" fmla="*/ 1659179 w 4405748"/>
                    <a:gd name="connsiteY160" fmla="*/ 1270640 h 5344652"/>
                    <a:gd name="connsiteX161" fmla="*/ 1760121 w 4405748"/>
                    <a:gd name="connsiteY161" fmla="*/ 1278824 h 5344652"/>
                    <a:gd name="connsiteX162" fmla="*/ 1775126 w 4405748"/>
                    <a:gd name="connsiteY162" fmla="*/ 1301559 h 5344652"/>
                    <a:gd name="connsiteX163" fmla="*/ 2403514 w 4405748"/>
                    <a:gd name="connsiteY163" fmla="*/ 1016011 h 5344652"/>
                    <a:gd name="connsiteX164" fmla="*/ 2398512 w 4405748"/>
                    <a:gd name="connsiteY164" fmla="*/ 1068301 h 5344652"/>
                    <a:gd name="connsiteX165" fmla="*/ 2389418 w 4405748"/>
                    <a:gd name="connsiteY165" fmla="*/ 1063754 h 5344652"/>
                    <a:gd name="connsiteX166" fmla="*/ 2385781 w 4405748"/>
                    <a:gd name="connsiteY166" fmla="*/ 983273 h 5344652"/>
                    <a:gd name="connsiteX167" fmla="*/ 2403514 w 4405748"/>
                    <a:gd name="connsiteY167" fmla="*/ 1016011 h 5344652"/>
                    <a:gd name="connsiteX168" fmla="*/ 3255611 w 4405748"/>
                    <a:gd name="connsiteY168" fmla="*/ 404447 h 5344652"/>
                    <a:gd name="connsiteX169" fmla="*/ 3288349 w 4405748"/>
                    <a:gd name="connsiteY169" fmla="*/ 433548 h 5344652"/>
                    <a:gd name="connsiteX170" fmla="*/ 3241060 w 4405748"/>
                    <a:gd name="connsiteY170" fmla="*/ 398991 h 5344652"/>
                    <a:gd name="connsiteX171" fmla="*/ 3255611 w 4405748"/>
                    <a:gd name="connsiteY171" fmla="*/ 404447 h 5344652"/>
                    <a:gd name="connsiteX172" fmla="*/ 2649049 w 4405748"/>
                    <a:gd name="connsiteY172" fmla="*/ 96165 h 5344652"/>
                    <a:gd name="connsiteX173" fmla="*/ 2651322 w 4405748"/>
                    <a:gd name="connsiteY173" fmla="*/ 98893 h 5344652"/>
                    <a:gd name="connsiteX174" fmla="*/ 2625405 w 4405748"/>
                    <a:gd name="connsiteY174" fmla="*/ 92982 h 5344652"/>
                    <a:gd name="connsiteX175" fmla="*/ 2587665 w 4405748"/>
                    <a:gd name="connsiteY175" fmla="*/ 77977 h 5344652"/>
                    <a:gd name="connsiteX176" fmla="*/ 2629497 w 4405748"/>
                    <a:gd name="connsiteY176" fmla="*/ 87980 h 5344652"/>
                    <a:gd name="connsiteX177" fmla="*/ 2649049 w 4405748"/>
                    <a:gd name="connsiteY177" fmla="*/ 96165 h 5344652"/>
                    <a:gd name="connsiteX178" fmla="*/ 2799552 w 4405748"/>
                    <a:gd name="connsiteY178" fmla="*/ 70247 h 5344652"/>
                    <a:gd name="connsiteX179" fmla="*/ 2495362 w 4405748"/>
                    <a:gd name="connsiteY179" fmla="*/ 9773 h 5344652"/>
                    <a:gd name="connsiteX180" fmla="*/ 2554017 w 4405748"/>
                    <a:gd name="connsiteY180" fmla="*/ 66155 h 5344652"/>
                    <a:gd name="connsiteX181" fmla="*/ 2556291 w 4405748"/>
                    <a:gd name="connsiteY181" fmla="*/ 69792 h 5344652"/>
                    <a:gd name="connsiteX182" fmla="*/ 2556291 w 4405748"/>
                    <a:gd name="connsiteY182" fmla="*/ 69792 h 5344652"/>
                    <a:gd name="connsiteX183" fmla="*/ 2556291 w 4405748"/>
                    <a:gd name="connsiteY183" fmla="*/ 69792 h 5344652"/>
                    <a:gd name="connsiteX184" fmla="*/ 2556291 w 4405748"/>
                    <a:gd name="connsiteY184" fmla="*/ 69792 h 5344652"/>
                    <a:gd name="connsiteX185" fmla="*/ 2556291 w 4405748"/>
                    <a:gd name="connsiteY185" fmla="*/ 69792 h 5344652"/>
                    <a:gd name="connsiteX186" fmla="*/ 2556291 w 4405748"/>
                    <a:gd name="connsiteY186" fmla="*/ 69792 h 5344652"/>
                    <a:gd name="connsiteX187" fmla="*/ 2556291 w 4405748"/>
                    <a:gd name="connsiteY187" fmla="*/ 69792 h 5344652"/>
                    <a:gd name="connsiteX188" fmla="*/ 2556291 w 4405748"/>
                    <a:gd name="connsiteY188" fmla="*/ 69792 h 5344652"/>
                    <a:gd name="connsiteX189" fmla="*/ 2556291 w 4405748"/>
                    <a:gd name="connsiteY189" fmla="*/ 69792 h 5344652"/>
                    <a:gd name="connsiteX190" fmla="*/ 2556291 w 4405748"/>
                    <a:gd name="connsiteY190" fmla="*/ 69792 h 5344652"/>
                    <a:gd name="connsiteX191" fmla="*/ 2556291 w 4405748"/>
                    <a:gd name="connsiteY191" fmla="*/ 69792 h 5344652"/>
                    <a:gd name="connsiteX192" fmla="*/ 2556291 w 4405748"/>
                    <a:gd name="connsiteY192" fmla="*/ 69792 h 5344652"/>
                    <a:gd name="connsiteX193" fmla="*/ 2556291 w 4405748"/>
                    <a:gd name="connsiteY193" fmla="*/ 69792 h 5344652"/>
                    <a:gd name="connsiteX194" fmla="*/ 2556291 w 4405748"/>
                    <a:gd name="connsiteY194" fmla="*/ 69792 h 5344652"/>
                    <a:gd name="connsiteX195" fmla="*/ 2556291 w 4405748"/>
                    <a:gd name="connsiteY195" fmla="*/ 69792 h 5344652"/>
                    <a:gd name="connsiteX196" fmla="*/ 2556291 w 4405748"/>
                    <a:gd name="connsiteY196" fmla="*/ 69792 h 5344652"/>
                    <a:gd name="connsiteX197" fmla="*/ 2651777 w 4405748"/>
                    <a:gd name="connsiteY197" fmla="*/ 129812 h 5344652"/>
                    <a:gd name="connsiteX198" fmla="*/ 2588574 w 4405748"/>
                    <a:gd name="connsiteY198" fmla="*/ 123901 h 5344652"/>
                    <a:gd name="connsiteX199" fmla="*/ 2625405 w 4405748"/>
                    <a:gd name="connsiteY199" fmla="*/ 168006 h 5344652"/>
                    <a:gd name="connsiteX200" fmla="*/ 2572660 w 4405748"/>
                    <a:gd name="connsiteY200" fmla="*/ 170280 h 5344652"/>
                    <a:gd name="connsiteX201" fmla="*/ 2655869 w 4405748"/>
                    <a:gd name="connsiteY201" fmla="*/ 283953 h 5344652"/>
                    <a:gd name="connsiteX202" fmla="*/ 2657688 w 4405748"/>
                    <a:gd name="connsiteY202" fmla="*/ 338517 h 5344652"/>
                    <a:gd name="connsiteX203" fmla="*/ 2705885 w 4405748"/>
                    <a:gd name="connsiteY203" fmla="*/ 368072 h 5344652"/>
                    <a:gd name="connsiteX204" fmla="*/ 2518551 w 4405748"/>
                    <a:gd name="connsiteY204" fmla="*/ 313054 h 5344652"/>
                    <a:gd name="connsiteX205" fmla="*/ 2553108 w 4405748"/>
                    <a:gd name="connsiteY205" fmla="*/ 363979 h 5344652"/>
                    <a:gd name="connsiteX206" fmla="*/ 2518551 w 4405748"/>
                    <a:gd name="connsiteY206" fmla="*/ 404902 h 5344652"/>
                    <a:gd name="connsiteX207" fmla="*/ 2309392 w 4405748"/>
                    <a:gd name="connsiteY207" fmla="*/ 308507 h 5344652"/>
                    <a:gd name="connsiteX208" fmla="*/ 2304845 w 4405748"/>
                    <a:gd name="connsiteY208" fmla="*/ 334879 h 5344652"/>
                    <a:gd name="connsiteX209" fmla="*/ 2064312 w 4405748"/>
                    <a:gd name="connsiteY209" fmla="*/ 244850 h 5344652"/>
                    <a:gd name="connsiteX210" fmla="*/ 2087956 w 4405748"/>
                    <a:gd name="connsiteY210" fmla="*/ 322602 h 5344652"/>
                    <a:gd name="connsiteX211" fmla="*/ 2171620 w 4405748"/>
                    <a:gd name="connsiteY211" fmla="*/ 315327 h 5344652"/>
                    <a:gd name="connsiteX212" fmla="*/ 2158434 w 4405748"/>
                    <a:gd name="connsiteY212" fmla="*/ 280316 h 5344652"/>
                    <a:gd name="connsiteX213" fmla="*/ 2271652 w 4405748"/>
                    <a:gd name="connsiteY213" fmla="*/ 360797 h 5344652"/>
                    <a:gd name="connsiteX214" fmla="*/ 2244825 w 4405748"/>
                    <a:gd name="connsiteY214" fmla="*/ 365344 h 5344652"/>
                    <a:gd name="connsiteX215" fmla="*/ 2298025 w 4405748"/>
                    <a:gd name="connsiteY215" fmla="*/ 618154 h 5344652"/>
                    <a:gd name="connsiteX216" fmla="*/ 2270288 w 4405748"/>
                    <a:gd name="connsiteY216" fmla="*/ 618154 h 5344652"/>
                    <a:gd name="connsiteX217" fmla="*/ 2235732 w 4405748"/>
                    <a:gd name="connsiteY217" fmla="*/ 569956 h 5344652"/>
                    <a:gd name="connsiteX218" fmla="*/ 2223455 w 4405748"/>
                    <a:gd name="connsiteY218" fmla="*/ 594509 h 5344652"/>
                    <a:gd name="connsiteX219" fmla="*/ 2270288 w 4405748"/>
                    <a:gd name="connsiteY219" fmla="*/ 724097 h 5344652"/>
                    <a:gd name="connsiteX220" fmla="*/ 2238460 w 4405748"/>
                    <a:gd name="connsiteY220" fmla="*/ 725461 h 5344652"/>
                    <a:gd name="connsiteX221" fmla="*/ 2220727 w 4405748"/>
                    <a:gd name="connsiteY221" fmla="*/ 675445 h 5344652"/>
                    <a:gd name="connsiteX222" fmla="*/ 2202084 w 4405748"/>
                    <a:gd name="connsiteY222" fmla="*/ 727280 h 5344652"/>
                    <a:gd name="connsiteX223" fmla="*/ 2238460 w 4405748"/>
                    <a:gd name="connsiteY223" fmla="*/ 775478 h 5344652"/>
                    <a:gd name="connsiteX224" fmla="*/ 2156160 w 4405748"/>
                    <a:gd name="connsiteY224" fmla="*/ 715913 h 5344652"/>
                    <a:gd name="connsiteX225" fmla="*/ 2130243 w 4405748"/>
                    <a:gd name="connsiteY225" fmla="*/ 727735 h 5344652"/>
                    <a:gd name="connsiteX226" fmla="*/ 2161616 w 4405748"/>
                    <a:gd name="connsiteY226" fmla="*/ 821857 h 5344652"/>
                    <a:gd name="connsiteX227" fmla="*/ 2248463 w 4405748"/>
                    <a:gd name="connsiteY227" fmla="*/ 990093 h 5344652"/>
                    <a:gd name="connsiteX228" fmla="*/ 1969281 w 4405748"/>
                    <a:gd name="connsiteY228" fmla="*/ 897790 h 5344652"/>
                    <a:gd name="connsiteX229" fmla="*/ 2018388 w 4405748"/>
                    <a:gd name="connsiteY229" fmla="*/ 664532 h 5344652"/>
                    <a:gd name="connsiteX230" fmla="*/ 2002019 w 4405748"/>
                    <a:gd name="connsiteY230" fmla="*/ 575412 h 5344652"/>
                    <a:gd name="connsiteX231" fmla="*/ 2089320 w 4405748"/>
                    <a:gd name="connsiteY231" fmla="*/ 998733 h 5344652"/>
                    <a:gd name="connsiteX232" fmla="*/ 1994289 w 4405748"/>
                    <a:gd name="connsiteY232" fmla="*/ 1027833 h 5344652"/>
                    <a:gd name="connsiteX233" fmla="*/ 1896984 w 4405748"/>
                    <a:gd name="connsiteY233" fmla="*/ 1173790 h 5344652"/>
                    <a:gd name="connsiteX234" fmla="*/ 1870157 w 4405748"/>
                    <a:gd name="connsiteY234" fmla="*/ 1174699 h 5344652"/>
                    <a:gd name="connsiteX235" fmla="*/ 1908806 w 4405748"/>
                    <a:gd name="connsiteY235" fmla="*/ 1056933 h 5344652"/>
                    <a:gd name="connsiteX236" fmla="*/ 1879251 w 4405748"/>
                    <a:gd name="connsiteY236" fmla="*/ 1049658 h 5344652"/>
                    <a:gd name="connsiteX237" fmla="*/ 1845149 w 4405748"/>
                    <a:gd name="connsiteY237" fmla="*/ 1091945 h 5344652"/>
                    <a:gd name="connsiteX238" fmla="*/ 1792405 w 4405748"/>
                    <a:gd name="connsiteY238" fmla="*/ 1101948 h 5344652"/>
                    <a:gd name="connsiteX239" fmla="*/ 1830144 w 4405748"/>
                    <a:gd name="connsiteY239" fmla="*/ 1208347 h 5344652"/>
                    <a:gd name="connsiteX240" fmla="*/ 1803317 w 4405748"/>
                    <a:gd name="connsiteY240" fmla="*/ 1216076 h 5344652"/>
                    <a:gd name="connsiteX241" fmla="*/ 1511858 w 4405748"/>
                    <a:gd name="connsiteY241" fmla="*/ 1031016 h 5344652"/>
                    <a:gd name="connsiteX242" fmla="*/ 1509130 w 4405748"/>
                    <a:gd name="connsiteY242" fmla="*/ 1031016 h 5344652"/>
                    <a:gd name="connsiteX243" fmla="*/ 1509130 w 4405748"/>
                    <a:gd name="connsiteY243" fmla="*/ 1031016 h 5344652"/>
                    <a:gd name="connsiteX244" fmla="*/ 1509130 w 4405748"/>
                    <a:gd name="connsiteY244" fmla="*/ 1031016 h 5344652"/>
                    <a:gd name="connsiteX245" fmla="*/ 1509130 w 4405748"/>
                    <a:gd name="connsiteY245" fmla="*/ 1031016 h 5344652"/>
                    <a:gd name="connsiteX246" fmla="*/ 1509130 w 4405748"/>
                    <a:gd name="connsiteY246" fmla="*/ 1031016 h 5344652"/>
                    <a:gd name="connsiteX247" fmla="*/ 1509130 w 4405748"/>
                    <a:gd name="connsiteY247" fmla="*/ 1031016 h 5344652"/>
                    <a:gd name="connsiteX248" fmla="*/ 1509130 w 4405748"/>
                    <a:gd name="connsiteY248" fmla="*/ 1031016 h 5344652"/>
                    <a:gd name="connsiteX249" fmla="*/ 1509130 w 4405748"/>
                    <a:gd name="connsiteY249" fmla="*/ 1031016 h 5344652"/>
                    <a:gd name="connsiteX250" fmla="*/ 1162653 w 4405748"/>
                    <a:gd name="connsiteY250" fmla="*/ 1199707 h 5344652"/>
                    <a:gd name="connsiteX251" fmla="*/ 1192208 w 4405748"/>
                    <a:gd name="connsiteY251" fmla="*/ 1206528 h 5344652"/>
                    <a:gd name="connsiteX252" fmla="*/ 1205394 w 4405748"/>
                    <a:gd name="connsiteY252" fmla="*/ 1232900 h 5344652"/>
                    <a:gd name="connsiteX253" fmla="*/ 964861 w 4405748"/>
                    <a:gd name="connsiteY253" fmla="*/ 1495259 h 5344652"/>
                    <a:gd name="connsiteX254" fmla="*/ 1040340 w 4405748"/>
                    <a:gd name="connsiteY254" fmla="*/ 1739429 h 5344652"/>
                    <a:gd name="connsiteX255" fmla="*/ 993052 w 4405748"/>
                    <a:gd name="connsiteY255" fmla="*/ 1927673 h 5344652"/>
                    <a:gd name="connsiteX256" fmla="*/ 796624 w 4405748"/>
                    <a:gd name="connsiteY256" fmla="*/ 2057715 h 5344652"/>
                    <a:gd name="connsiteX257" fmla="*/ 763886 w 4405748"/>
                    <a:gd name="connsiteY257" fmla="*/ 1720332 h 5344652"/>
                    <a:gd name="connsiteX258" fmla="*/ 741606 w 4405748"/>
                    <a:gd name="connsiteY258" fmla="*/ 1696233 h 5344652"/>
                    <a:gd name="connsiteX259" fmla="*/ 752519 w 4405748"/>
                    <a:gd name="connsiteY259" fmla="*/ 1642580 h 5344652"/>
                    <a:gd name="connsiteX260" fmla="*/ 637027 w 4405748"/>
                    <a:gd name="connsiteY260" fmla="*/ 1653492 h 5344652"/>
                    <a:gd name="connsiteX261" fmla="*/ 595195 w 4405748"/>
                    <a:gd name="connsiteY261" fmla="*/ 1729426 h 5344652"/>
                    <a:gd name="connsiteX262" fmla="*/ 618384 w 4405748"/>
                    <a:gd name="connsiteY262" fmla="*/ 1743522 h 5344652"/>
                    <a:gd name="connsiteX263" fmla="*/ 616565 w 4405748"/>
                    <a:gd name="connsiteY263" fmla="*/ 1811271 h 5344652"/>
                    <a:gd name="connsiteX264" fmla="*/ 589738 w 4405748"/>
                    <a:gd name="connsiteY264" fmla="*/ 1814454 h 5344652"/>
                    <a:gd name="connsiteX265" fmla="*/ 584282 w 4405748"/>
                    <a:gd name="connsiteY265" fmla="*/ 1813545 h 5344652"/>
                    <a:gd name="connsiteX266" fmla="*/ 583827 w 4405748"/>
                    <a:gd name="connsiteY266" fmla="*/ 1813545 h 5344652"/>
                    <a:gd name="connsiteX267" fmla="*/ 583373 w 4405748"/>
                    <a:gd name="connsiteY267" fmla="*/ 1813545 h 5344652"/>
                    <a:gd name="connsiteX268" fmla="*/ 582918 w 4405748"/>
                    <a:gd name="connsiteY268" fmla="*/ 1813545 h 5344652"/>
                    <a:gd name="connsiteX269" fmla="*/ 582463 w 4405748"/>
                    <a:gd name="connsiteY269" fmla="*/ 1813545 h 5344652"/>
                    <a:gd name="connsiteX270" fmla="*/ 582009 w 4405748"/>
                    <a:gd name="connsiteY270" fmla="*/ 1813545 h 5344652"/>
                    <a:gd name="connsiteX271" fmla="*/ 581554 w 4405748"/>
                    <a:gd name="connsiteY271" fmla="*/ 1813545 h 5344652"/>
                    <a:gd name="connsiteX272" fmla="*/ 581099 w 4405748"/>
                    <a:gd name="connsiteY272" fmla="*/ 1813545 h 5344652"/>
                    <a:gd name="connsiteX273" fmla="*/ 436506 w 4405748"/>
                    <a:gd name="connsiteY273" fmla="*/ 1977689 h 5344652"/>
                    <a:gd name="connsiteX274" fmla="*/ 441963 w 4405748"/>
                    <a:gd name="connsiteY274" fmla="*/ 2008154 h 5344652"/>
                    <a:gd name="connsiteX275" fmla="*/ 648849 w 4405748"/>
                    <a:gd name="connsiteY275" fmla="*/ 1884022 h 5344652"/>
                    <a:gd name="connsiteX276" fmla="*/ 656578 w 4405748"/>
                    <a:gd name="connsiteY276" fmla="*/ 1910849 h 5344652"/>
                    <a:gd name="connsiteX277" fmla="*/ 597468 w 4405748"/>
                    <a:gd name="connsiteY277" fmla="*/ 2043620 h 5344652"/>
                    <a:gd name="connsiteX278" fmla="*/ 549271 w 4405748"/>
                    <a:gd name="connsiteY278" fmla="*/ 2076358 h 5344652"/>
                    <a:gd name="connsiteX279" fmla="*/ 549725 w 4405748"/>
                    <a:gd name="connsiteY279" fmla="*/ 2105003 h 5344652"/>
                    <a:gd name="connsiteX280" fmla="*/ 766160 w 4405748"/>
                    <a:gd name="connsiteY280" fmla="*/ 2085906 h 5344652"/>
                    <a:gd name="connsiteX281" fmla="*/ 720690 w 4405748"/>
                    <a:gd name="connsiteY281" fmla="*/ 2127738 h 5344652"/>
                    <a:gd name="connsiteX282" fmla="*/ 692499 w 4405748"/>
                    <a:gd name="connsiteY282" fmla="*/ 2116826 h 5344652"/>
                    <a:gd name="connsiteX283" fmla="*/ 584282 w 4405748"/>
                    <a:gd name="connsiteY283" fmla="*/ 2172753 h 5344652"/>
                    <a:gd name="connsiteX284" fmla="*/ 660216 w 4405748"/>
                    <a:gd name="connsiteY284" fmla="*/ 2376910 h 5344652"/>
                    <a:gd name="connsiteX285" fmla="*/ 478793 w 4405748"/>
                    <a:gd name="connsiteY285" fmla="*/ 2386004 h 5344652"/>
                    <a:gd name="connsiteX286" fmla="*/ 375123 w 4405748"/>
                    <a:gd name="connsiteY286" fmla="*/ 2723387 h 5344652"/>
                    <a:gd name="connsiteX287" fmla="*/ 442872 w 4405748"/>
                    <a:gd name="connsiteY287" fmla="*/ 2759308 h 5344652"/>
                    <a:gd name="connsiteX288" fmla="*/ 183242 w 4405748"/>
                    <a:gd name="connsiteY288" fmla="*/ 3076230 h 5344652"/>
                    <a:gd name="connsiteX289" fmla="*/ 167328 w 4405748"/>
                    <a:gd name="connsiteY289" fmla="*/ 3021212 h 5344652"/>
                    <a:gd name="connsiteX290" fmla="*/ 115038 w 4405748"/>
                    <a:gd name="connsiteY290" fmla="*/ 3067591 h 5344652"/>
                    <a:gd name="connsiteX291" fmla="*/ 152777 w 4405748"/>
                    <a:gd name="connsiteY291" fmla="*/ 3104421 h 5344652"/>
                    <a:gd name="connsiteX292" fmla="*/ 0 w 4405748"/>
                    <a:gd name="connsiteY292" fmla="*/ 3363142 h 5344652"/>
                    <a:gd name="connsiteX293" fmla="*/ 1819 w 4405748"/>
                    <a:gd name="connsiteY293" fmla="*/ 3621863 h 5344652"/>
                    <a:gd name="connsiteX294" fmla="*/ 451057 w 4405748"/>
                    <a:gd name="connsiteY294" fmla="*/ 4088379 h 5344652"/>
                    <a:gd name="connsiteX295" fmla="*/ 1018970 w 4405748"/>
                    <a:gd name="connsiteY295" fmla="*/ 4207055 h 5344652"/>
                    <a:gd name="connsiteX296" fmla="*/ 975774 w 4405748"/>
                    <a:gd name="connsiteY296" fmla="*/ 4333005 h 5344652"/>
                    <a:gd name="connsiteX297" fmla="*/ 1153105 w 4405748"/>
                    <a:gd name="connsiteY297" fmla="*/ 4558533 h 5344652"/>
                    <a:gd name="connsiteX298" fmla="*/ 1134462 w 4405748"/>
                    <a:gd name="connsiteY298" fmla="*/ 4882730 h 5344652"/>
                    <a:gd name="connsiteX299" fmla="*/ 1343622 w 4405748"/>
                    <a:gd name="connsiteY299" fmla="*/ 5256489 h 5344652"/>
                    <a:gd name="connsiteX300" fmla="*/ 1751482 w 4405748"/>
                    <a:gd name="connsiteY300" fmla="*/ 5233754 h 5344652"/>
                    <a:gd name="connsiteX301" fmla="*/ 1948820 w 4405748"/>
                    <a:gd name="connsiteY301" fmla="*/ 5045056 h 5344652"/>
                    <a:gd name="connsiteX302" fmla="*/ 1973373 w 4405748"/>
                    <a:gd name="connsiteY302" fmla="*/ 4935475 h 5344652"/>
                    <a:gd name="connsiteX303" fmla="*/ 2174803 w 4405748"/>
                    <a:gd name="connsiteY303" fmla="*/ 4804977 h 5344652"/>
                    <a:gd name="connsiteX304" fmla="*/ 2183897 w 4405748"/>
                    <a:gd name="connsiteY304" fmla="*/ 4612642 h 5344652"/>
                    <a:gd name="connsiteX305" fmla="*/ 2326670 w 4405748"/>
                    <a:gd name="connsiteY305" fmla="*/ 4297084 h 5344652"/>
                    <a:gd name="connsiteX306" fmla="*/ 2660871 w 4405748"/>
                    <a:gd name="connsiteY306" fmla="*/ 3774186 h 5344652"/>
                    <a:gd name="connsiteX307" fmla="*/ 2354861 w 4405748"/>
                    <a:gd name="connsiteY307" fmla="*/ 3807378 h 5344652"/>
                    <a:gd name="connsiteX308" fmla="*/ 2910498 w 4405748"/>
                    <a:gd name="connsiteY308" fmla="*/ 3216731 h 5344652"/>
                    <a:gd name="connsiteX309" fmla="*/ 2829562 w 4405748"/>
                    <a:gd name="connsiteY309" fmla="*/ 3196269 h 5344652"/>
                    <a:gd name="connsiteX310" fmla="*/ 2820923 w 4405748"/>
                    <a:gd name="connsiteY310" fmla="*/ 3165805 h 5344652"/>
                    <a:gd name="connsiteX311" fmla="*/ 3143301 w 4405748"/>
                    <a:gd name="connsiteY311" fmla="*/ 3115788 h 5344652"/>
                    <a:gd name="connsiteX312" fmla="*/ 3398840 w 4405748"/>
                    <a:gd name="connsiteY312" fmla="*/ 3260836 h 5344652"/>
                    <a:gd name="connsiteX313" fmla="*/ 3576170 w 4405748"/>
                    <a:gd name="connsiteY313" fmla="*/ 3782370 h 5344652"/>
                    <a:gd name="connsiteX314" fmla="*/ 3630279 w 4405748"/>
                    <a:gd name="connsiteY314" fmla="*/ 3709619 h 5344652"/>
                    <a:gd name="connsiteX315" fmla="*/ 3648012 w 4405748"/>
                    <a:gd name="connsiteY315" fmla="*/ 3824657 h 5344652"/>
                    <a:gd name="connsiteX316" fmla="*/ 3674839 w 4405748"/>
                    <a:gd name="connsiteY316" fmla="*/ 3826930 h 5344652"/>
                    <a:gd name="connsiteX317" fmla="*/ 3700302 w 4405748"/>
                    <a:gd name="connsiteY317" fmla="*/ 3675972 h 5344652"/>
                    <a:gd name="connsiteX318" fmla="*/ 3919464 w 4405748"/>
                    <a:gd name="connsiteY318" fmla="*/ 3048949 h 5344652"/>
                    <a:gd name="connsiteX319" fmla="*/ 4014041 w 4405748"/>
                    <a:gd name="connsiteY319" fmla="*/ 3244012 h 5344652"/>
                    <a:gd name="connsiteX320" fmla="*/ 4040413 w 4405748"/>
                    <a:gd name="connsiteY320" fmla="*/ 3252197 h 5344652"/>
                    <a:gd name="connsiteX321" fmla="*/ 4070423 w 4405748"/>
                    <a:gd name="connsiteY321" fmla="*/ 3207182 h 5344652"/>
                    <a:gd name="connsiteX322" fmla="*/ 4117711 w 4405748"/>
                    <a:gd name="connsiteY322" fmla="*/ 3778733 h 5344652"/>
                    <a:gd name="connsiteX323" fmla="*/ 4073151 w 4405748"/>
                    <a:gd name="connsiteY323" fmla="*/ 3690977 h 5344652"/>
                    <a:gd name="connsiteX324" fmla="*/ 4046324 w 4405748"/>
                    <a:gd name="connsiteY324" fmla="*/ 3683247 h 5344652"/>
                    <a:gd name="connsiteX325" fmla="*/ 4022225 w 4405748"/>
                    <a:gd name="connsiteY325" fmla="*/ 3881494 h 5344652"/>
                    <a:gd name="connsiteX326" fmla="*/ 4050871 w 4405748"/>
                    <a:gd name="connsiteY326" fmla="*/ 3865579 h 5344652"/>
                    <a:gd name="connsiteX327" fmla="*/ 4038140 w 4405748"/>
                    <a:gd name="connsiteY327" fmla="*/ 4007898 h 5344652"/>
                    <a:gd name="connsiteX328" fmla="*/ 4075879 w 4405748"/>
                    <a:gd name="connsiteY328" fmla="*/ 4152491 h 5344652"/>
                    <a:gd name="connsiteX329" fmla="*/ 4157269 w 4405748"/>
                    <a:gd name="connsiteY329" fmla="*/ 4170224 h 5344652"/>
                    <a:gd name="connsiteX330" fmla="*/ 4203194 w 4405748"/>
                    <a:gd name="connsiteY330" fmla="*/ 4137941 h 5344652"/>
                    <a:gd name="connsiteX331" fmla="*/ 4195918 w 4405748"/>
                    <a:gd name="connsiteY331" fmla="*/ 4167041 h 5344652"/>
                    <a:gd name="connsiteX332" fmla="*/ 4272307 w 4405748"/>
                    <a:gd name="connsiteY332" fmla="*/ 4053823 h 5344652"/>
                    <a:gd name="connsiteX333" fmla="*/ 4212288 w 4405748"/>
                    <a:gd name="connsiteY333" fmla="*/ 4170679 h 5344652"/>
                    <a:gd name="connsiteX334" fmla="*/ 4315503 w 4405748"/>
                    <a:gd name="connsiteY334" fmla="*/ 3976525 h 5344652"/>
                    <a:gd name="connsiteX335" fmla="*/ 4210923 w 4405748"/>
                    <a:gd name="connsiteY335" fmla="*/ 4101566 h 5344652"/>
                    <a:gd name="connsiteX336" fmla="*/ 4213197 w 4405748"/>
                    <a:gd name="connsiteY336" fmla="*/ 4048366 h 5344652"/>
                    <a:gd name="connsiteX337" fmla="*/ 4144538 w 4405748"/>
                    <a:gd name="connsiteY337" fmla="*/ 4091107 h 5344652"/>
                    <a:gd name="connsiteX338" fmla="*/ 4119985 w 4405748"/>
                    <a:gd name="connsiteY338" fmla="*/ 4075193 h 5344652"/>
                    <a:gd name="connsiteX339" fmla="*/ 4149085 w 4405748"/>
                    <a:gd name="connsiteY339" fmla="*/ 3976070 h 5344652"/>
                    <a:gd name="connsiteX340" fmla="*/ 4176821 w 4405748"/>
                    <a:gd name="connsiteY340" fmla="*/ 3967885 h 5344652"/>
                    <a:gd name="connsiteX341" fmla="*/ 4180004 w 4405748"/>
                    <a:gd name="connsiteY341" fmla="*/ 3911958 h 5344652"/>
                    <a:gd name="connsiteX342" fmla="*/ 4154087 w 4405748"/>
                    <a:gd name="connsiteY342" fmla="*/ 3904228 h 5344652"/>
                    <a:gd name="connsiteX343" fmla="*/ 4150449 w 4405748"/>
                    <a:gd name="connsiteY343" fmla="*/ 3329040 h 5344652"/>
                    <a:gd name="connsiteX344" fmla="*/ 4219108 w 4405748"/>
                    <a:gd name="connsiteY344" fmla="*/ 3481363 h 5344652"/>
                    <a:gd name="connsiteX345" fmla="*/ 4260485 w 4405748"/>
                    <a:gd name="connsiteY345" fmla="*/ 2862979 h 5344652"/>
                    <a:gd name="connsiteX346" fmla="*/ 4289131 w 4405748"/>
                    <a:gd name="connsiteY346" fmla="*/ 2865252 h 5344652"/>
                    <a:gd name="connsiteX347" fmla="*/ 4286403 w 4405748"/>
                    <a:gd name="connsiteY347" fmla="*/ 2989838 h 5344652"/>
                    <a:gd name="connsiteX348" fmla="*/ 4314594 w 4405748"/>
                    <a:gd name="connsiteY348" fmla="*/ 2990293 h 5344652"/>
                    <a:gd name="connsiteX349" fmla="*/ 4368248 w 4405748"/>
                    <a:gd name="connsiteY349" fmla="*/ 2360087 h 5344652"/>
                    <a:gd name="connsiteX350" fmla="*/ 4186824 w 4405748"/>
                    <a:gd name="connsiteY350" fmla="*/ 1910394 h 5344652"/>
                    <a:gd name="connsiteX351" fmla="*/ 4146357 w 4405748"/>
                    <a:gd name="connsiteY351" fmla="*/ 1945860 h 5344652"/>
                    <a:gd name="connsiteX352" fmla="*/ 4120439 w 4405748"/>
                    <a:gd name="connsiteY352" fmla="*/ 1928582 h 5344652"/>
                    <a:gd name="connsiteX353" fmla="*/ 4101342 w 4405748"/>
                    <a:gd name="connsiteY353" fmla="*/ 1808088 h 5344652"/>
                    <a:gd name="connsiteX354" fmla="*/ 4144993 w 4405748"/>
                    <a:gd name="connsiteY354" fmla="*/ 1887205 h 5344652"/>
                    <a:gd name="connsiteX355" fmla="*/ 4154087 w 4405748"/>
                    <a:gd name="connsiteY355" fmla="*/ 1832187 h 5344652"/>
                    <a:gd name="connsiteX356" fmla="*/ 4309592 w 4405748"/>
                    <a:gd name="connsiteY356" fmla="*/ 2041346 h 5344652"/>
                    <a:gd name="connsiteX357" fmla="*/ 4128169 w 4405748"/>
                    <a:gd name="connsiteY357" fmla="*/ 1584379 h 5344652"/>
                    <a:gd name="connsiteX358" fmla="*/ 4143628 w 4405748"/>
                    <a:gd name="connsiteY358" fmla="*/ 1560735 h 5344652"/>
                    <a:gd name="connsiteX359" fmla="*/ 3830799 w 4405748"/>
                    <a:gd name="connsiteY359" fmla="*/ 1061026 h 5344652"/>
                    <a:gd name="connsiteX360" fmla="*/ 4117256 w 4405748"/>
                    <a:gd name="connsiteY360" fmla="*/ 1390679 h 5344652"/>
                    <a:gd name="connsiteX361" fmla="*/ 4395984 w 4405748"/>
                    <a:gd name="connsiteY361" fmla="*/ 2136377 h 5344652"/>
                    <a:gd name="connsiteX362" fmla="*/ 4036321 w 4405748"/>
                    <a:gd name="connsiteY362" fmla="*/ 1164696 h 5344652"/>
                    <a:gd name="connsiteX363" fmla="*/ 4106798 w 4405748"/>
                    <a:gd name="connsiteY363" fmla="*/ 1326112 h 5344652"/>
                    <a:gd name="connsiteX364" fmla="*/ 4051780 w 4405748"/>
                    <a:gd name="connsiteY364" fmla="*/ 1290192 h 5344652"/>
                    <a:gd name="connsiteX365" fmla="*/ 3683478 w 4405748"/>
                    <a:gd name="connsiteY365" fmla="*/ 903701 h 5344652"/>
                    <a:gd name="connsiteX366" fmla="*/ 3734859 w 4405748"/>
                    <a:gd name="connsiteY366" fmla="*/ 970087 h 5344652"/>
                    <a:gd name="connsiteX367" fmla="*/ 3709851 w 4405748"/>
                    <a:gd name="connsiteY367" fmla="*/ 957355 h 5344652"/>
                    <a:gd name="connsiteX368" fmla="*/ 3688480 w 4405748"/>
                    <a:gd name="connsiteY368" fmla="*/ 975998 h 5344652"/>
                    <a:gd name="connsiteX369" fmla="*/ 3652559 w 4405748"/>
                    <a:gd name="connsiteY369" fmla="*/ 934166 h 5344652"/>
                    <a:gd name="connsiteX370" fmla="*/ 3652559 w 4405748"/>
                    <a:gd name="connsiteY370" fmla="*/ 960993 h 5344652"/>
                    <a:gd name="connsiteX371" fmla="*/ 3450220 w 4405748"/>
                    <a:gd name="connsiteY371" fmla="*/ 719096 h 5344652"/>
                    <a:gd name="connsiteX372" fmla="*/ 3432032 w 4405748"/>
                    <a:gd name="connsiteY372" fmla="*/ 638160 h 5344652"/>
                    <a:gd name="connsiteX373" fmla="*/ 3458859 w 4405748"/>
                    <a:gd name="connsiteY373" fmla="*/ 643616 h 5344652"/>
                    <a:gd name="connsiteX374" fmla="*/ 3245153 w 4405748"/>
                    <a:gd name="connsiteY374" fmla="*/ 436276 h 5344652"/>
                    <a:gd name="connsiteX375" fmla="*/ 3905824 w 4405748"/>
                    <a:gd name="connsiteY375" fmla="*/ 987820 h 5344652"/>
                    <a:gd name="connsiteX376" fmla="*/ 3906278 w 4405748"/>
                    <a:gd name="connsiteY376" fmla="*/ 985546 h 5344652"/>
                    <a:gd name="connsiteX377" fmla="*/ 3906733 w 4405748"/>
                    <a:gd name="connsiteY377" fmla="*/ 983728 h 5344652"/>
                    <a:gd name="connsiteX378" fmla="*/ 3907187 w 4405748"/>
                    <a:gd name="connsiteY378" fmla="*/ 981909 h 5344652"/>
                    <a:gd name="connsiteX379" fmla="*/ 3907643 w 4405748"/>
                    <a:gd name="connsiteY379" fmla="*/ 980090 h 5344652"/>
                    <a:gd name="connsiteX380" fmla="*/ 3908097 w 4405748"/>
                    <a:gd name="connsiteY380" fmla="*/ 978726 h 5344652"/>
                    <a:gd name="connsiteX381" fmla="*/ 3908552 w 4405748"/>
                    <a:gd name="connsiteY381" fmla="*/ 977362 h 5344652"/>
                    <a:gd name="connsiteX382" fmla="*/ 3908552 w 4405748"/>
                    <a:gd name="connsiteY382" fmla="*/ 975998 h 5344652"/>
                    <a:gd name="connsiteX383" fmla="*/ 3908552 w 4405748"/>
                    <a:gd name="connsiteY383" fmla="*/ 975088 h 5344652"/>
                    <a:gd name="connsiteX384" fmla="*/ 3339729 w 4405748"/>
                    <a:gd name="connsiteY384" fmla="*/ 454918 h 5344652"/>
                    <a:gd name="connsiteX385" fmla="*/ 2795915 w 4405748"/>
                    <a:gd name="connsiteY385" fmla="*/ 99347 h 5344652"/>
                    <a:gd name="connsiteX386" fmla="*/ 2821833 w 4405748"/>
                    <a:gd name="connsiteY386" fmla="*/ 92527 h 5344652"/>
                    <a:gd name="connsiteX387" fmla="*/ 2799552 w 4405748"/>
                    <a:gd name="connsiteY387" fmla="*/ 70247 h 534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4405748" h="5344652">
                      <a:moveTo>
                        <a:pt x="2329853" y="3752815"/>
                      </a:moveTo>
                      <a:cubicBezTo>
                        <a:pt x="2327125" y="3755089"/>
                        <a:pt x="2324397" y="3757817"/>
                        <a:pt x="2321669" y="3760090"/>
                      </a:cubicBezTo>
                      <a:cubicBezTo>
                        <a:pt x="2252101" y="3717804"/>
                        <a:pt x="2193445" y="3644598"/>
                        <a:pt x="2192990" y="3644143"/>
                      </a:cubicBezTo>
                      <a:cubicBezTo>
                        <a:pt x="2177531" y="3619135"/>
                        <a:pt x="2159343" y="3583669"/>
                        <a:pt x="2159343" y="3583214"/>
                      </a:cubicBezTo>
                      <a:cubicBezTo>
                        <a:pt x="2149340" y="3563662"/>
                        <a:pt x="2131152" y="3550931"/>
                        <a:pt x="2119330" y="3532743"/>
                      </a:cubicBezTo>
                      <a:cubicBezTo>
                        <a:pt x="2093867" y="3494549"/>
                        <a:pt x="2098414" y="3447715"/>
                        <a:pt x="2082500" y="3406793"/>
                      </a:cubicBezTo>
                      <a:cubicBezTo>
                        <a:pt x="2081590" y="3404519"/>
                        <a:pt x="2081590" y="3404065"/>
                        <a:pt x="2024754" y="3326312"/>
                      </a:cubicBezTo>
                      <a:cubicBezTo>
                        <a:pt x="1936543" y="3205818"/>
                        <a:pt x="1936543" y="3205818"/>
                        <a:pt x="1956095" y="3171261"/>
                      </a:cubicBezTo>
                      <a:cubicBezTo>
                        <a:pt x="1987923" y="3213093"/>
                        <a:pt x="2020207" y="3254925"/>
                        <a:pt x="2052035" y="3296757"/>
                      </a:cubicBezTo>
                      <a:cubicBezTo>
                        <a:pt x="2059765" y="3307215"/>
                        <a:pt x="2065221" y="3319492"/>
                        <a:pt x="2074770" y="3328586"/>
                      </a:cubicBezTo>
                      <a:cubicBezTo>
                        <a:pt x="2087956" y="3341317"/>
                        <a:pt x="2108417" y="3344500"/>
                        <a:pt x="2118875" y="3360869"/>
                      </a:cubicBezTo>
                      <a:cubicBezTo>
                        <a:pt x="2119330" y="3361323"/>
                        <a:pt x="2119330" y="3361323"/>
                        <a:pt x="2145702" y="3439531"/>
                      </a:cubicBezTo>
                      <a:cubicBezTo>
                        <a:pt x="2154341" y="3464539"/>
                        <a:pt x="2162526" y="3469086"/>
                        <a:pt x="2166618" y="3471359"/>
                      </a:cubicBezTo>
                      <a:cubicBezTo>
                        <a:pt x="2204358" y="3492730"/>
                        <a:pt x="2221636" y="3502278"/>
                        <a:pt x="2303027" y="3628229"/>
                      </a:cubicBezTo>
                      <a:cubicBezTo>
                        <a:pt x="2318486" y="3651873"/>
                        <a:pt x="2296206" y="3678245"/>
                        <a:pt x="2308483" y="3702344"/>
                      </a:cubicBezTo>
                      <a:cubicBezTo>
                        <a:pt x="2311211" y="3707800"/>
                        <a:pt x="2311211" y="3707800"/>
                        <a:pt x="2330763" y="3751451"/>
                      </a:cubicBezTo>
                      <a:cubicBezTo>
                        <a:pt x="2330763" y="3751906"/>
                        <a:pt x="2330308" y="3752360"/>
                        <a:pt x="2329853" y="3752815"/>
                      </a:cubicBezTo>
                      <a:moveTo>
                        <a:pt x="2753174" y="3134886"/>
                      </a:moveTo>
                      <a:cubicBezTo>
                        <a:pt x="2742716" y="3181719"/>
                        <a:pt x="2714525" y="3236282"/>
                        <a:pt x="2640864" y="3228098"/>
                      </a:cubicBezTo>
                      <a:cubicBezTo>
                        <a:pt x="2649049" y="3189449"/>
                        <a:pt x="2651777" y="3169443"/>
                        <a:pt x="2640409" y="3154892"/>
                      </a:cubicBezTo>
                      <a:cubicBezTo>
                        <a:pt x="2635862" y="3148981"/>
                        <a:pt x="2624041" y="3149891"/>
                        <a:pt x="2618584" y="3149891"/>
                      </a:cubicBezTo>
                      <a:cubicBezTo>
                        <a:pt x="2607217" y="3150345"/>
                        <a:pt x="2597213" y="3156256"/>
                        <a:pt x="2585846" y="3157620"/>
                      </a:cubicBezTo>
                      <a:cubicBezTo>
                        <a:pt x="2569023" y="3158530"/>
                        <a:pt x="2538558" y="3129429"/>
                        <a:pt x="2494907" y="3070319"/>
                      </a:cubicBezTo>
                      <a:cubicBezTo>
                        <a:pt x="2481266" y="3052131"/>
                        <a:pt x="2479448" y="3037126"/>
                        <a:pt x="2488087" y="3025304"/>
                      </a:cubicBezTo>
                      <a:cubicBezTo>
                        <a:pt x="2494907" y="3016211"/>
                        <a:pt x="2518097" y="2991202"/>
                        <a:pt x="2541741" y="3040764"/>
                      </a:cubicBezTo>
                      <a:cubicBezTo>
                        <a:pt x="2562657" y="3085779"/>
                        <a:pt x="2584937" y="3110787"/>
                        <a:pt x="2634498" y="3107604"/>
                      </a:cubicBezTo>
                      <a:cubicBezTo>
                        <a:pt x="2646775" y="3106695"/>
                        <a:pt x="2646775" y="3106695"/>
                        <a:pt x="2648139" y="3107604"/>
                      </a:cubicBezTo>
                      <a:cubicBezTo>
                        <a:pt x="2657233" y="3112151"/>
                        <a:pt x="2662235" y="3121700"/>
                        <a:pt x="2671329" y="3126247"/>
                      </a:cubicBezTo>
                      <a:cubicBezTo>
                        <a:pt x="2694064" y="3136705"/>
                        <a:pt x="2721345" y="3130794"/>
                        <a:pt x="2744989" y="3125792"/>
                      </a:cubicBezTo>
                      <a:cubicBezTo>
                        <a:pt x="2748172" y="3125337"/>
                        <a:pt x="2752264" y="3124428"/>
                        <a:pt x="2754992" y="3123518"/>
                      </a:cubicBezTo>
                      <a:cubicBezTo>
                        <a:pt x="2754992" y="3127156"/>
                        <a:pt x="2754083" y="3131703"/>
                        <a:pt x="2753174" y="3134886"/>
                      </a:cubicBezTo>
                      <a:moveTo>
                        <a:pt x="1931996" y="2851611"/>
                      </a:moveTo>
                      <a:cubicBezTo>
                        <a:pt x="1906533" y="2990748"/>
                        <a:pt x="1876978" y="2996659"/>
                        <a:pt x="1866065" y="2998932"/>
                      </a:cubicBezTo>
                      <a:cubicBezTo>
                        <a:pt x="1831054" y="3006207"/>
                        <a:pt x="1807864" y="2967104"/>
                        <a:pt x="1772398" y="2974833"/>
                      </a:cubicBezTo>
                      <a:cubicBezTo>
                        <a:pt x="1739660" y="2982109"/>
                        <a:pt x="1717380" y="3016665"/>
                        <a:pt x="1679640" y="3011664"/>
                      </a:cubicBezTo>
                      <a:cubicBezTo>
                        <a:pt x="1597796" y="3001206"/>
                        <a:pt x="1549598" y="2979835"/>
                        <a:pt x="1483213" y="2950280"/>
                      </a:cubicBezTo>
                      <a:cubicBezTo>
                        <a:pt x="1482303" y="2949825"/>
                        <a:pt x="1390000" y="2913450"/>
                        <a:pt x="1363628" y="2999841"/>
                      </a:cubicBezTo>
                      <a:cubicBezTo>
                        <a:pt x="1328617" y="3113515"/>
                        <a:pt x="1228584" y="2998023"/>
                        <a:pt x="1227675" y="2996659"/>
                      </a:cubicBezTo>
                      <a:cubicBezTo>
                        <a:pt x="1206759" y="2962557"/>
                        <a:pt x="1206759" y="2962557"/>
                        <a:pt x="1187207" y="2952099"/>
                      </a:cubicBezTo>
                      <a:cubicBezTo>
                        <a:pt x="1154924" y="2934820"/>
                        <a:pt x="1116275" y="2936184"/>
                        <a:pt x="1083991" y="2919361"/>
                      </a:cubicBezTo>
                      <a:cubicBezTo>
                        <a:pt x="1065349" y="2909812"/>
                        <a:pt x="1052162" y="2902992"/>
                        <a:pt x="1046251" y="2772494"/>
                      </a:cubicBezTo>
                      <a:cubicBezTo>
                        <a:pt x="1045797" y="2766129"/>
                        <a:pt x="1045342" y="2757944"/>
                        <a:pt x="1043978" y="2752033"/>
                      </a:cubicBezTo>
                      <a:cubicBezTo>
                        <a:pt x="1043523" y="2752033"/>
                        <a:pt x="1008512" y="2732936"/>
                        <a:pt x="983049" y="2732027"/>
                      </a:cubicBezTo>
                      <a:lnTo>
                        <a:pt x="715689" y="2741121"/>
                      </a:lnTo>
                      <a:cubicBezTo>
                        <a:pt x="662035" y="2745213"/>
                        <a:pt x="636117" y="2765674"/>
                        <a:pt x="607926" y="2787045"/>
                      </a:cubicBezTo>
                      <a:cubicBezTo>
                        <a:pt x="592921" y="2798867"/>
                        <a:pt x="539267" y="2794774"/>
                        <a:pt x="506984" y="2775223"/>
                      </a:cubicBezTo>
                      <a:cubicBezTo>
                        <a:pt x="514714" y="2766583"/>
                        <a:pt x="515623" y="2765674"/>
                        <a:pt x="540631" y="2762491"/>
                      </a:cubicBezTo>
                      <a:cubicBezTo>
                        <a:pt x="560638" y="2759763"/>
                        <a:pt x="597923" y="2754761"/>
                        <a:pt x="620203" y="2740666"/>
                      </a:cubicBezTo>
                      <a:cubicBezTo>
                        <a:pt x="663399" y="2713384"/>
                        <a:pt x="690681" y="2668370"/>
                        <a:pt x="733422" y="2640633"/>
                      </a:cubicBezTo>
                      <a:cubicBezTo>
                        <a:pt x="710232" y="2633813"/>
                        <a:pt x="702957" y="2631539"/>
                        <a:pt x="681132" y="2624719"/>
                      </a:cubicBezTo>
                      <a:cubicBezTo>
                        <a:pt x="687498" y="2615625"/>
                        <a:pt x="692499" y="2605167"/>
                        <a:pt x="699774" y="2596983"/>
                      </a:cubicBezTo>
                      <a:cubicBezTo>
                        <a:pt x="727511" y="2565154"/>
                        <a:pt x="773890" y="2560607"/>
                        <a:pt x="802081" y="2529233"/>
                      </a:cubicBezTo>
                      <a:cubicBezTo>
                        <a:pt x="819359" y="2510136"/>
                        <a:pt x="796170" y="2478762"/>
                        <a:pt x="822542" y="2462393"/>
                      </a:cubicBezTo>
                      <a:cubicBezTo>
                        <a:pt x="859827" y="2439204"/>
                        <a:pt x="877105" y="2499223"/>
                        <a:pt x="912571" y="2486037"/>
                      </a:cubicBezTo>
                      <a:cubicBezTo>
                        <a:pt x="942581" y="2474670"/>
                        <a:pt x="951675" y="2431929"/>
                        <a:pt x="990779" y="2434202"/>
                      </a:cubicBezTo>
                      <a:cubicBezTo>
                        <a:pt x="1003510" y="2435112"/>
                        <a:pt x="1012149" y="2452844"/>
                        <a:pt x="1016242" y="2462848"/>
                      </a:cubicBezTo>
                      <a:cubicBezTo>
                        <a:pt x="1030792" y="2499678"/>
                        <a:pt x="1043978" y="2522867"/>
                        <a:pt x="1081718" y="2552877"/>
                      </a:cubicBezTo>
                      <a:cubicBezTo>
                        <a:pt x="1117184" y="2581523"/>
                        <a:pt x="1158106" y="2602439"/>
                        <a:pt x="1189935" y="2635632"/>
                      </a:cubicBezTo>
                      <a:cubicBezTo>
                        <a:pt x="1194937" y="2640633"/>
                        <a:pt x="1204940" y="2651546"/>
                        <a:pt x="1206759" y="2658821"/>
                      </a:cubicBezTo>
                      <a:cubicBezTo>
                        <a:pt x="1212215" y="2687921"/>
                        <a:pt x="1180386" y="2689285"/>
                        <a:pt x="1140373" y="2691104"/>
                      </a:cubicBezTo>
                      <a:cubicBezTo>
                        <a:pt x="991688" y="2697470"/>
                        <a:pt x="1170383" y="2783862"/>
                        <a:pt x="1174930" y="2784771"/>
                      </a:cubicBezTo>
                      <a:cubicBezTo>
                        <a:pt x="1188116" y="2783407"/>
                        <a:pt x="1188116" y="2783407"/>
                        <a:pt x="1258139" y="2705655"/>
                      </a:cubicBezTo>
                      <a:cubicBezTo>
                        <a:pt x="1280874" y="2680192"/>
                        <a:pt x="1285875" y="2644725"/>
                        <a:pt x="1308155" y="2619263"/>
                      </a:cubicBezTo>
                      <a:cubicBezTo>
                        <a:pt x="1302699" y="2590162"/>
                        <a:pt x="1267688" y="2568337"/>
                        <a:pt x="1226765" y="2543783"/>
                      </a:cubicBezTo>
                      <a:cubicBezTo>
                        <a:pt x="1182660" y="2516956"/>
                        <a:pt x="1171292" y="2496950"/>
                        <a:pt x="1107181" y="2384640"/>
                      </a:cubicBezTo>
                      <a:cubicBezTo>
                        <a:pt x="1108999" y="2379639"/>
                        <a:pt x="1111728" y="2372818"/>
                        <a:pt x="1114001" y="2368271"/>
                      </a:cubicBezTo>
                      <a:cubicBezTo>
                        <a:pt x="1130370" y="2373273"/>
                        <a:pt x="1153559" y="2411013"/>
                        <a:pt x="1153559" y="2411467"/>
                      </a:cubicBezTo>
                      <a:cubicBezTo>
                        <a:pt x="1189026" y="2476034"/>
                        <a:pt x="1265414" y="2488765"/>
                        <a:pt x="1312702" y="2538327"/>
                      </a:cubicBezTo>
                      <a:cubicBezTo>
                        <a:pt x="1345440" y="2572429"/>
                        <a:pt x="1327707" y="2623810"/>
                        <a:pt x="1354534" y="2660185"/>
                      </a:cubicBezTo>
                      <a:cubicBezTo>
                        <a:pt x="1385908" y="2702472"/>
                        <a:pt x="1390000" y="2761127"/>
                        <a:pt x="1436379" y="2794774"/>
                      </a:cubicBezTo>
                      <a:cubicBezTo>
                        <a:pt x="1485941" y="2830241"/>
                        <a:pt x="1541868" y="2692014"/>
                        <a:pt x="1540959" y="2689740"/>
                      </a:cubicBezTo>
                      <a:cubicBezTo>
                        <a:pt x="1533229" y="2665641"/>
                        <a:pt x="1501400" y="2661094"/>
                        <a:pt x="1496399" y="2634722"/>
                      </a:cubicBezTo>
                      <a:cubicBezTo>
                        <a:pt x="1495489" y="2629721"/>
                        <a:pt x="1495489" y="2629721"/>
                        <a:pt x="1523680" y="2600620"/>
                      </a:cubicBezTo>
                      <a:cubicBezTo>
                        <a:pt x="1550962" y="2632903"/>
                        <a:pt x="1589157" y="2694287"/>
                        <a:pt x="1614165" y="2805232"/>
                      </a:cubicBezTo>
                      <a:cubicBezTo>
                        <a:pt x="1575061" y="2811143"/>
                        <a:pt x="1535957" y="2813417"/>
                        <a:pt x="1496853" y="2818419"/>
                      </a:cubicBezTo>
                      <a:cubicBezTo>
                        <a:pt x="1474574" y="2867980"/>
                        <a:pt x="1560056" y="2879347"/>
                        <a:pt x="1596886" y="2865252"/>
                      </a:cubicBezTo>
                      <a:cubicBezTo>
                        <a:pt x="1638718" y="2849338"/>
                        <a:pt x="1673730" y="2818873"/>
                        <a:pt x="1717380" y="2806142"/>
                      </a:cubicBezTo>
                      <a:cubicBezTo>
                        <a:pt x="1805591" y="2780679"/>
                        <a:pt x="1805591" y="2780679"/>
                        <a:pt x="1840602" y="2795229"/>
                      </a:cubicBezTo>
                      <a:cubicBezTo>
                        <a:pt x="1828780" y="2814781"/>
                        <a:pt x="1828780" y="2814781"/>
                        <a:pt x="1821051" y="2852066"/>
                      </a:cubicBezTo>
                      <a:cubicBezTo>
                        <a:pt x="1871976" y="2892079"/>
                        <a:pt x="1891528" y="2838880"/>
                        <a:pt x="1914263" y="2777041"/>
                      </a:cubicBezTo>
                      <a:cubicBezTo>
                        <a:pt x="1924721" y="2799321"/>
                        <a:pt x="1936998" y="2824330"/>
                        <a:pt x="1931996" y="2851611"/>
                      </a:cubicBezTo>
                      <a:moveTo>
                        <a:pt x="2079771" y="2501042"/>
                      </a:moveTo>
                      <a:cubicBezTo>
                        <a:pt x="2077953" y="2512410"/>
                        <a:pt x="2077953" y="2512410"/>
                        <a:pt x="2007020" y="2516956"/>
                      </a:cubicBezTo>
                      <a:cubicBezTo>
                        <a:pt x="2006111" y="2520594"/>
                        <a:pt x="2005202" y="2524231"/>
                        <a:pt x="2004292" y="2527869"/>
                      </a:cubicBezTo>
                      <a:cubicBezTo>
                        <a:pt x="1981103" y="2521049"/>
                        <a:pt x="1957459" y="2515138"/>
                        <a:pt x="1934269" y="2507863"/>
                      </a:cubicBezTo>
                      <a:cubicBezTo>
                        <a:pt x="1913353" y="2501497"/>
                        <a:pt x="1894711" y="2489675"/>
                        <a:pt x="1872886" y="2486492"/>
                      </a:cubicBezTo>
                      <a:cubicBezTo>
                        <a:pt x="1851515" y="2483309"/>
                        <a:pt x="1832418" y="2491039"/>
                        <a:pt x="1811957" y="2500587"/>
                      </a:cubicBezTo>
                      <a:cubicBezTo>
                        <a:pt x="1730112" y="2538327"/>
                        <a:pt x="1696010" y="2551513"/>
                        <a:pt x="1681459" y="2552423"/>
                      </a:cubicBezTo>
                      <a:cubicBezTo>
                        <a:pt x="1643720" y="2546966"/>
                        <a:pt x="1633716" y="2494676"/>
                        <a:pt x="1633716" y="2494222"/>
                      </a:cubicBezTo>
                      <a:cubicBezTo>
                        <a:pt x="1636899" y="2465576"/>
                        <a:pt x="1693736" y="2319165"/>
                        <a:pt x="1709196" y="2305978"/>
                      </a:cubicBezTo>
                      <a:cubicBezTo>
                        <a:pt x="1726474" y="2290973"/>
                        <a:pt x="1737841" y="2315527"/>
                        <a:pt x="1756939" y="2355540"/>
                      </a:cubicBezTo>
                      <a:cubicBezTo>
                        <a:pt x="1781037" y="2406466"/>
                        <a:pt x="1781492" y="2407375"/>
                        <a:pt x="1806500" y="2406920"/>
                      </a:cubicBezTo>
                      <a:cubicBezTo>
                        <a:pt x="1841057" y="2406466"/>
                        <a:pt x="1855153" y="2355085"/>
                        <a:pt x="1896075" y="2371454"/>
                      </a:cubicBezTo>
                      <a:cubicBezTo>
                        <a:pt x="1939726" y="2388733"/>
                        <a:pt x="1980648" y="2411467"/>
                        <a:pt x="2023389" y="2430565"/>
                      </a:cubicBezTo>
                      <a:cubicBezTo>
                        <a:pt x="2030664" y="2432838"/>
                        <a:pt x="2082954" y="2476489"/>
                        <a:pt x="2079771" y="2501042"/>
                      </a:cubicBezTo>
                      <a:moveTo>
                        <a:pt x="1908352" y="2286426"/>
                      </a:moveTo>
                      <a:cubicBezTo>
                        <a:pt x="1907442" y="2314618"/>
                        <a:pt x="1874704" y="2317346"/>
                        <a:pt x="1874704" y="2317346"/>
                      </a:cubicBezTo>
                      <a:cubicBezTo>
                        <a:pt x="1858335" y="2315982"/>
                        <a:pt x="1846059" y="2307797"/>
                        <a:pt x="1845149" y="2305978"/>
                      </a:cubicBezTo>
                      <a:cubicBezTo>
                        <a:pt x="1846059" y="2300067"/>
                        <a:pt x="1848332" y="2287336"/>
                        <a:pt x="1859245" y="2278697"/>
                      </a:cubicBezTo>
                      <a:cubicBezTo>
                        <a:pt x="1872431" y="2268693"/>
                        <a:pt x="1888345" y="2267329"/>
                        <a:pt x="1903350" y="2260963"/>
                      </a:cubicBezTo>
                      <a:cubicBezTo>
                        <a:pt x="1904714" y="2266420"/>
                        <a:pt x="1908352" y="2276423"/>
                        <a:pt x="1908352" y="2286426"/>
                      </a:cubicBezTo>
                      <a:moveTo>
                        <a:pt x="1122640" y="1801268"/>
                      </a:moveTo>
                      <a:cubicBezTo>
                        <a:pt x="1119912" y="1808088"/>
                        <a:pt x="1114456" y="1813090"/>
                        <a:pt x="1110818" y="1819001"/>
                      </a:cubicBezTo>
                      <a:cubicBezTo>
                        <a:pt x="1098087" y="1807633"/>
                        <a:pt x="1098087" y="1807633"/>
                        <a:pt x="1097632" y="1806724"/>
                      </a:cubicBezTo>
                      <a:cubicBezTo>
                        <a:pt x="1097632" y="1806724"/>
                        <a:pt x="1088993" y="1776714"/>
                        <a:pt x="1087629" y="1767620"/>
                      </a:cubicBezTo>
                      <a:cubicBezTo>
                        <a:pt x="1085355" y="1750342"/>
                        <a:pt x="1092176" y="1737611"/>
                        <a:pt x="1099451" y="1726698"/>
                      </a:cubicBezTo>
                      <a:cubicBezTo>
                        <a:pt x="1124004" y="1797176"/>
                        <a:pt x="1124004" y="1797176"/>
                        <a:pt x="1122640" y="1801268"/>
                      </a:cubicBezTo>
                      <a:moveTo>
                        <a:pt x="1421374" y="1642125"/>
                      </a:moveTo>
                      <a:cubicBezTo>
                        <a:pt x="1402277" y="1651219"/>
                        <a:pt x="1390000" y="1657130"/>
                        <a:pt x="1375905" y="1688049"/>
                      </a:cubicBezTo>
                      <a:cubicBezTo>
                        <a:pt x="1374541" y="1691232"/>
                        <a:pt x="1373177" y="1695324"/>
                        <a:pt x="1372267" y="1698507"/>
                      </a:cubicBezTo>
                      <a:cubicBezTo>
                        <a:pt x="1364537" y="1719878"/>
                        <a:pt x="1361809" y="1742612"/>
                        <a:pt x="1354534" y="1763983"/>
                      </a:cubicBezTo>
                      <a:cubicBezTo>
                        <a:pt x="1350442" y="1775350"/>
                        <a:pt x="1341348" y="1783535"/>
                        <a:pt x="1338165" y="1795357"/>
                      </a:cubicBezTo>
                      <a:cubicBezTo>
                        <a:pt x="1336346" y="1801722"/>
                        <a:pt x="1336801" y="1811726"/>
                        <a:pt x="1341348" y="1819910"/>
                      </a:cubicBezTo>
                      <a:cubicBezTo>
                        <a:pt x="1362264" y="1859014"/>
                        <a:pt x="1326798" y="1881749"/>
                        <a:pt x="1326798" y="1881749"/>
                      </a:cubicBezTo>
                      <a:cubicBezTo>
                        <a:pt x="1326343" y="1881749"/>
                        <a:pt x="1325434" y="1882203"/>
                        <a:pt x="1324979" y="1882203"/>
                      </a:cubicBezTo>
                      <a:cubicBezTo>
                        <a:pt x="1308155" y="1887205"/>
                        <a:pt x="1294060" y="1875383"/>
                        <a:pt x="1278146" y="1875383"/>
                      </a:cubicBezTo>
                      <a:cubicBezTo>
                        <a:pt x="1273144" y="1875383"/>
                        <a:pt x="1227675" y="1876292"/>
                        <a:pt x="1196301" y="1911758"/>
                      </a:cubicBezTo>
                      <a:cubicBezTo>
                        <a:pt x="1185843" y="1923580"/>
                        <a:pt x="1182205" y="1924490"/>
                        <a:pt x="1177203" y="1925399"/>
                      </a:cubicBezTo>
                      <a:cubicBezTo>
                        <a:pt x="1170383" y="1925854"/>
                        <a:pt x="1155833" y="1911304"/>
                        <a:pt x="1158561" y="1898118"/>
                      </a:cubicBezTo>
                      <a:cubicBezTo>
                        <a:pt x="1160380" y="1888114"/>
                        <a:pt x="1160380" y="1888114"/>
                        <a:pt x="1302699" y="1781716"/>
                      </a:cubicBezTo>
                      <a:cubicBezTo>
                        <a:pt x="1323160" y="1766711"/>
                        <a:pt x="1323160" y="1766711"/>
                        <a:pt x="1318613" y="1718059"/>
                      </a:cubicBezTo>
                      <a:cubicBezTo>
                        <a:pt x="1284966" y="1732154"/>
                        <a:pt x="1284966" y="1732154"/>
                        <a:pt x="1272235" y="1758527"/>
                      </a:cubicBezTo>
                      <a:cubicBezTo>
                        <a:pt x="1262231" y="1737611"/>
                        <a:pt x="1259048" y="1726698"/>
                        <a:pt x="1268142" y="1710329"/>
                      </a:cubicBezTo>
                      <a:cubicBezTo>
                        <a:pt x="1270416" y="1706237"/>
                        <a:pt x="1274963" y="1701690"/>
                        <a:pt x="1277691" y="1698507"/>
                      </a:cubicBezTo>
                      <a:cubicBezTo>
                        <a:pt x="1292241" y="1683502"/>
                        <a:pt x="1354989" y="1613479"/>
                        <a:pt x="1355444" y="1612570"/>
                      </a:cubicBezTo>
                      <a:cubicBezTo>
                        <a:pt x="1360445" y="1618935"/>
                        <a:pt x="1364992" y="1625756"/>
                        <a:pt x="1369994" y="1632121"/>
                      </a:cubicBezTo>
                      <a:cubicBezTo>
                        <a:pt x="1372267" y="1632121"/>
                        <a:pt x="1374541" y="1632121"/>
                        <a:pt x="1376814" y="1632121"/>
                      </a:cubicBezTo>
                      <a:cubicBezTo>
                        <a:pt x="1379088" y="1632121"/>
                        <a:pt x="1381361" y="1632121"/>
                        <a:pt x="1383635" y="1632121"/>
                      </a:cubicBezTo>
                      <a:cubicBezTo>
                        <a:pt x="1385908" y="1632121"/>
                        <a:pt x="1388182" y="1632121"/>
                        <a:pt x="1390000" y="1632121"/>
                      </a:cubicBezTo>
                      <a:cubicBezTo>
                        <a:pt x="1392274" y="1632121"/>
                        <a:pt x="1394093" y="1632121"/>
                        <a:pt x="1396366" y="1632121"/>
                      </a:cubicBezTo>
                      <a:cubicBezTo>
                        <a:pt x="1398640" y="1632121"/>
                        <a:pt x="1400458" y="1632121"/>
                        <a:pt x="1402732" y="1632121"/>
                      </a:cubicBezTo>
                      <a:cubicBezTo>
                        <a:pt x="1405005" y="1632121"/>
                        <a:pt x="1406824" y="1632121"/>
                        <a:pt x="1409097" y="1632121"/>
                      </a:cubicBezTo>
                      <a:cubicBezTo>
                        <a:pt x="1410916" y="1632121"/>
                        <a:pt x="1413190" y="1632121"/>
                        <a:pt x="1415008" y="1632121"/>
                      </a:cubicBezTo>
                      <a:cubicBezTo>
                        <a:pt x="1416827" y="1632121"/>
                        <a:pt x="1419101" y="1632121"/>
                        <a:pt x="1420920" y="1632121"/>
                      </a:cubicBezTo>
                      <a:cubicBezTo>
                        <a:pt x="1421829" y="1635759"/>
                        <a:pt x="1421829" y="1638942"/>
                        <a:pt x="1421374" y="1642125"/>
                      </a:cubicBezTo>
                      <a:moveTo>
                        <a:pt x="1543687" y="1608023"/>
                      </a:moveTo>
                      <a:cubicBezTo>
                        <a:pt x="1540959" y="1615753"/>
                        <a:pt x="1535957" y="1621209"/>
                        <a:pt x="1533684" y="1621664"/>
                      </a:cubicBezTo>
                      <a:cubicBezTo>
                        <a:pt x="1529591" y="1623028"/>
                        <a:pt x="1504129" y="1623028"/>
                        <a:pt x="1501400" y="1623028"/>
                      </a:cubicBezTo>
                      <a:cubicBezTo>
                        <a:pt x="1489578" y="1623028"/>
                        <a:pt x="1478211" y="1622573"/>
                        <a:pt x="1466389" y="1622573"/>
                      </a:cubicBezTo>
                      <a:cubicBezTo>
                        <a:pt x="1465934" y="1617571"/>
                        <a:pt x="1465480" y="1612570"/>
                        <a:pt x="1465025" y="1607568"/>
                      </a:cubicBezTo>
                      <a:cubicBezTo>
                        <a:pt x="1532320" y="1590744"/>
                        <a:pt x="1532320" y="1590744"/>
                        <a:pt x="1534593" y="1590744"/>
                      </a:cubicBezTo>
                      <a:cubicBezTo>
                        <a:pt x="1535957" y="1591199"/>
                        <a:pt x="1546870" y="1599384"/>
                        <a:pt x="1543687" y="1608023"/>
                      </a:cubicBezTo>
                      <a:moveTo>
                        <a:pt x="1424102" y="1340663"/>
                      </a:moveTo>
                      <a:cubicBezTo>
                        <a:pt x="1406824" y="1378857"/>
                        <a:pt x="1396821" y="1392952"/>
                        <a:pt x="1378633" y="1417961"/>
                      </a:cubicBezTo>
                      <a:cubicBezTo>
                        <a:pt x="1362264" y="1440695"/>
                        <a:pt x="1358172" y="1447061"/>
                        <a:pt x="1351351" y="1464794"/>
                      </a:cubicBezTo>
                      <a:cubicBezTo>
                        <a:pt x="1342712" y="1487983"/>
                        <a:pt x="1353170" y="1511173"/>
                        <a:pt x="1353625" y="1533908"/>
                      </a:cubicBezTo>
                      <a:cubicBezTo>
                        <a:pt x="1355444" y="1535272"/>
                        <a:pt x="1357262" y="1536636"/>
                        <a:pt x="1358626" y="1538000"/>
                      </a:cubicBezTo>
                      <a:cubicBezTo>
                        <a:pt x="1330435" y="1595291"/>
                        <a:pt x="1330435" y="1595291"/>
                        <a:pt x="1322251" y="1595291"/>
                      </a:cubicBezTo>
                      <a:cubicBezTo>
                        <a:pt x="1264505" y="1579832"/>
                        <a:pt x="1259048" y="1490257"/>
                        <a:pt x="1313612" y="1458428"/>
                      </a:cubicBezTo>
                      <a:cubicBezTo>
                        <a:pt x="1337710" y="1444333"/>
                        <a:pt x="1360445" y="1431147"/>
                        <a:pt x="1369539" y="1370218"/>
                      </a:cubicBezTo>
                      <a:cubicBezTo>
                        <a:pt x="1370448" y="1364761"/>
                        <a:pt x="1371358" y="1359305"/>
                        <a:pt x="1415463" y="1323839"/>
                      </a:cubicBezTo>
                      <a:cubicBezTo>
                        <a:pt x="1420010" y="1324748"/>
                        <a:pt x="1426831" y="1333387"/>
                        <a:pt x="1426831" y="1333387"/>
                      </a:cubicBezTo>
                      <a:cubicBezTo>
                        <a:pt x="1425921" y="1335661"/>
                        <a:pt x="1425012" y="1338389"/>
                        <a:pt x="1424102" y="1340663"/>
                      </a:cubicBezTo>
                      <a:moveTo>
                        <a:pt x="1775126" y="1301559"/>
                      </a:moveTo>
                      <a:cubicBezTo>
                        <a:pt x="1775126" y="1312926"/>
                        <a:pt x="1771034" y="1314745"/>
                        <a:pt x="1769670" y="1315200"/>
                      </a:cubicBezTo>
                      <a:cubicBezTo>
                        <a:pt x="1767396" y="1316564"/>
                        <a:pt x="1751028" y="1317473"/>
                        <a:pt x="1748299" y="1314745"/>
                      </a:cubicBezTo>
                      <a:cubicBezTo>
                        <a:pt x="1711015" y="1278369"/>
                        <a:pt x="1704194" y="1310653"/>
                        <a:pt x="1704194" y="1311107"/>
                      </a:cubicBezTo>
                      <a:cubicBezTo>
                        <a:pt x="1704194" y="1316109"/>
                        <a:pt x="1710105" y="1326112"/>
                        <a:pt x="1716925" y="1338844"/>
                      </a:cubicBezTo>
                      <a:cubicBezTo>
                        <a:pt x="1722382" y="1348847"/>
                        <a:pt x="1722382" y="1348847"/>
                        <a:pt x="1730112" y="1368854"/>
                      </a:cubicBezTo>
                      <a:cubicBezTo>
                        <a:pt x="1713288" y="1366580"/>
                        <a:pt x="1699647" y="1362033"/>
                        <a:pt x="1688280" y="1345664"/>
                      </a:cubicBezTo>
                      <a:cubicBezTo>
                        <a:pt x="1671911" y="1323384"/>
                        <a:pt x="1673275" y="1293829"/>
                        <a:pt x="1659179" y="1270640"/>
                      </a:cubicBezTo>
                      <a:cubicBezTo>
                        <a:pt x="1757848" y="1278369"/>
                        <a:pt x="1757848" y="1278369"/>
                        <a:pt x="1760121" y="1278824"/>
                      </a:cubicBezTo>
                      <a:cubicBezTo>
                        <a:pt x="1760121" y="1279279"/>
                        <a:pt x="1775581" y="1285645"/>
                        <a:pt x="1775126" y="1301559"/>
                      </a:cubicBezTo>
                      <a:moveTo>
                        <a:pt x="2403514" y="1016011"/>
                      </a:moveTo>
                      <a:cubicBezTo>
                        <a:pt x="2407606" y="1026924"/>
                        <a:pt x="2415336" y="1053751"/>
                        <a:pt x="2398512" y="1068301"/>
                      </a:cubicBezTo>
                      <a:cubicBezTo>
                        <a:pt x="2395329" y="1066937"/>
                        <a:pt x="2392601" y="1065573"/>
                        <a:pt x="2389418" y="1063754"/>
                      </a:cubicBezTo>
                      <a:cubicBezTo>
                        <a:pt x="2388509" y="1036927"/>
                        <a:pt x="2387600" y="1011919"/>
                        <a:pt x="2385781" y="983273"/>
                      </a:cubicBezTo>
                      <a:cubicBezTo>
                        <a:pt x="2389873" y="989184"/>
                        <a:pt x="2398057" y="1000551"/>
                        <a:pt x="2403514" y="1016011"/>
                      </a:cubicBezTo>
                      <a:moveTo>
                        <a:pt x="3255611" y="404447"/>
                      </a:moveTo>
                      <a:cubicBezTo>
                        <a:pt x="3271525" y="418543"/>
                        <a:pt x="3283347" y="429001"/>
                        <a:pt x="3288349" y="433548"/>
                      </a:cubicBezTo>
                      <a:cubicBezTo>
                        <a:pt x="3245153" y="408994"/>
                        <a:pt x="3241515" y="400355"/>
                        <a:pt x="3241060" y="398991"/>
                      </a:cubicBezTo>
                      <a:cubicBezTo>
                        <a:pt x="3241060" y="398536"/>
                        <a:pt x="3250609" y="399900"/>
                        <a:pt x="3255611" y="404447"/>
                      </a:cubicBezTo>
                      <a:moveTo>
                        <a:pt x="2649049" y="96165"/>
                      </a:moveTo>
                      <a:cubicBezTo>
                        <a:pt x="2649958" y="97074"/>
                        <a:pt x="2651322" y="97529"/>
                        <a:pt x="2651322" y="98893"/>
                      </a:cubicBezTo>
                      <a:cubicBezTo>
                        <a:pt x="2650868" y="98893"/>
                        <a:pt x="2639955" y="97983"/>
                        <a:pt x="2625405" y="92982"/>
                      </a:cubicBezTo>
                      <a:cubicBezTo>
                        <a:pt x="2613128" y="88890"/>
                        <a:pt x="2596759" y="81614"/>
                        <a:pt x="2587665" y="77977"/>
                      </a:cubicBezTo>
                      <a:cubicBezTo>
                        <a:pt x="2625859" y="87071"/>
                        <a:pt x="2625859" y="87071"/>
                        <a:pt x="2629497" y="87980"/>
                      </a:cubicBezTo>
                      <a:cubicBezTo>
                        <a:pt x="2629497" y="87980"/>
                        <a:pt x="2648139" y="95255"/>
                        <a:pt x="2649049" y="96165"/>
                      </a:cubicBezTo>
                      <a:moveTo>
                        <a:pt x="2799552" y="70247"/>
                      </a:moveTo>
                      <a:cubicBezTo>
                        <a:pt x="2634044" y="-685"/>
                        <a:pt x="2596304" y="-11598"/>
                        <a:pt x="2495362" y="9773"/>
                      </a:cubicBezTo>
                      <a:cubicBezTo>
                        <a:pt x="2512640" y="31143"/>
                        <a:pt x="2536739" y="44784"/>
                        <a:pt x="2554017" y="66155"/>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651322" y="129812"/>
                        <a:pt x="2651322" y="129812"/>
                        <a:pt x="2651777" y="129812"/>
                      </a:cubicBezTo>
                      <a:cubicBezTo>
                        <a:pt x="2632680" y="129357"/>
                        <a:pt x="2607217" y="127539"/>
                        <a:pt x="2588574" y="123901"/>
                      </a:cubicBezTo>
                      <a:cubicBezTo>
                        <a:pt x="2597213" y="138906"/>
                        <a:pt x="2612673" y="156639"/>
                        <a:pt x="2625405" y="168006"/>
                      </a:cubicBezTo>
                      <a:cubicBezTo>
                        <a:pt x="2609945" y="172099"/>
                        <a:pt x="2588120" y="173008"/>
                        <a:pt x="2572660" y="170280"/>
                      </a:cubicBezTo>
                      <a:cubicBezTo>
                        <a:pt x="2563566" y="231209"/>
                        <a:pt x="2563111" y="234846"/>
                        <a:pt x="2655869" y="283953"/>
                      </a:cubicBezTo>
                      <a:cubicBezTo>
                        <a:pt x="2657688" y="300322"/>
                        <a:pt x="2658597" y="322148"/>
                        <a:pt x="2657688" y="338517"/>
                      </a:cubicBezTo>
                      <a:cubicBezTo>
                        <a:pt x="2672238" y="347156"/>
                        <a:pt x="2691790" y="359433"/>
                        <a:pt x="2705885" y="368072"/>
                      </a:cubicBezTo>
                      <a:cubicBezTo>
                        <a:pt x="2642683" y="352612"/>
                        <a:pt x="2595849" y="280316"/>
                        <a:pt x="2518551" y="313054"/>
                      </a:cubicBezTo>
                      <a:cubicBezTo>
                        <a:pt x="2527191" y="329423"/>
                        <a:pt x="2540832" y="350339"/>
                        <a:pt x="2553108" y="363979"/>
                      </a:cubicBezTo>
                      <a:cubicBezTo>
                        <a:pt x="2539013" y="371709"/>
                        <a:pt x="2524008" y="389897"/>
                        <a:pt x="2518551" y="404902"/>
                      </a:cubicBezTo>
                      <a:cubicBezTo>
                        <a:pt x="2344858" y="300777"/>
                        <a:pt x="2309392" y="308507"/>
                        <a:pt x="2309392" y="308507"/>
                      </a:cubicBezTo>
                      <a:cubicBezTo>
                        <a:pt x="2308028" y="316237"/>
                        <a:pt x="2306209" y="327149"/>
                        <a:pt x="2304845" y="334879"/>
                      </a:cubicBezTo>
                      <a:cubicBezTo>
                        <a:pt x="2096595" y="249851"/>
                        <a:pt x="2096595" y="249851"/>
                        <a:pt x="2064312" y="244850"/>
                      </a:cubicBezTo>
                      <a:cubicBezTo>
                        <a:pt x="2061129" y="277588"/>
                        <a:pt x="2061129" y="277588"/>
                        <a:pt x="2087956" y="322602"/>
                      </a:cubicBezTo>
                      <a:cubicBezTo>
                        <a:pt x="2117966" y="325330"/>
                        <a:pt x="2117966" y="325330"/>
                        <a:pt x="2171620" y="315327"/>
                      </a:cubicBezTo>
                      <a:cubicBezTo>
                        <a:pt x="2167527" y="304869"/>
                        <a:pt x="2162071" y="290774"/>
                        <a:pt x="2158434" y="280316"/>
                      </a:cubicBezTo>
                      <a:cubicBezTo>
                        <a:pt x="2209359" y="315782"/>
                        <a:pt x="2271652" y="360342"/>
                        <a:pt x="2271652" y="360797"/>
                      </a:cubicBezTo>
                      <a:cubicBezTo>
                        <a:pt x="2263468" y="362161"/>
                        <a:pt x="2253010" y="363979"/>
                        <a:pt x="2244825" y="365344"/>
                      </a:cubicBezTo>
                      <a:cubicBezTo>
                        <a:pt x="2259376" y="450371"/>
                        <a:pt x="2288021" y="532216"/>
                        <a:pt x="2298025" y="618154"/>
                      </a:cubicBezTo>
                      <a:cubicBezTo>
                        <a:pt x="2289840" y="618154"/>
                        <a:pt x="2278927" y="618154"/>
                        <a:pt x="2270288" y="618154"/>
                      </a:cubicBezTo>
                      <a:cubicBezTo>
                        <a:pt x="2260285" y="603603"/>
                        <a:pt x="2246190" y="584051"/>
                        <a:pt x="2235732" y="569956"/>
                      </a:cubicBezTo>
                      <a:cubicBezTo>
                        <a:pt x="2232094" y="577231"/>
                        <a:pt x="2227093" y="587234"/>
                        <a:pt x="2223455" y="594509"/>
                      </a:cubicBezTo>
                      <a:cubicBezTo>
                        <a:pt x="2249372" y="626338"/>
                        <a:pt x="2249372" y="626338"/>
                        <a:pt x="2270288" y="724097"/>
                      </a:cubicBezTo>
                      <a:cubicBezTo>
                        <a:pt x="2260740" y="724552"/>
                        <a:pt x="2248008" y="725007"/>
                        <a:pt x="2238460" y="725461"/>
                      </a:cubicBezTo>
                      <a:cubicBezTo>
                        <a:pt x="2238460" y="709547"/>
                        <a:pt x="2230730" y="687722"/>
                        <a:pt x="2220727" y="675445"/>
                      </a:cubicBezTo>
                      <a:cubicBezTo>
                        <a:pt x="2213906" y="690450"/>
                        <a:pt x="2206176" y="711366"/>
                        <a:pt x="2202084" y="727280"/>
                      </a:cubicBezTo>
                      <a:cubicBezTo>
                        <a:pt x="2214361" y="740921"/>
                        <a:pt x="2228911" y="760018"/>
                        <a:pt x="2238460" y="775478"/>
                      </a:cubicBezTo>
                      <a:cubicBezTo>
                        <a:pt x="2206631" y="760473"/>
                        <a:pt x="2206631" y="760473"/>
                        <a:pt x="2156160" y="715913"/>
                      </a:cubicBezTo>
                      <a:cubicBezTo>
                        <a:pt x="2148430" y="719550"/>
                        <a:pt x="2137972" y="724097"/>
                        <a:pt x="2130243" y="727735"/>
                      </a:cubicBezTo>
                      <a:cubicBezTo>
                        <a:pt x="2134335" y="765929"/>
                        <a:pt x="2136154" y="781389"/>
                        <a:pt x="2161616" y="821857"/>
                      </a:cubicBezTo>
                      <a:cubicBezTo>
                        <a:pt x="2150704" y="853685"/>
                        <a:pt x="2150704" y="853685"/>
                        <a:pt x="2248463" y="990093"/>
                      </a:cubicBezTo>
                      <a:cubicBezTo>
                        <a:pt x="2157979" y="951899"/>
                        <a:pt x="2039758" y="997369"/>
                        <a:pt x="1969281" y="897790"/>
                      </a:cubicBezTo>
                      <a:cubicBezTo>
                        <a:pt x="1953366" y="875056"/>
                        <a:pt x="1978829" y="710911"/>
                        <a:pt x="2018388" y="664532"/>
                      </a:cubicBezTo>
                      <a:cubicBezTo>
                        <a:pt x="2070678" y="603603"/>
                        <a:pt x="2029300" y="586780"/>
                        <a:pt x="2002019" y="575412"/>
                      </a:cubicBezTo>
                      <a:cubicBezTo>
                        <a:pt x="1853334" y="741830"/>
                        <a:pt x="1748299" y="950080"/>
                        <a:pt x="2089320" y="998733"/>
                      </a:cubicBezTo>
                      <a:cubicBezTo>
                        <a:pt x="2071587" y="1036927"/>
                        <a:pt x="2071587" y="1036927"/>
                        <a:pt x="1994289" y="1027833"/>
                      </a:cubicBezTo>
                      <a:cubicBezTo>
                        <a:pt x="1914263" y="1127411"/>
                        <a:pt x="1914263" y="1127411"/>
                        <a:pt x="1896984" y="1173790"/>
                      </a:cubicBezTo>
                      <a:cubicBezTo>
                        <a:pt x="1888800" y="1173790"/>
                        <a:pt x="1877887" y="1174245"/>
                        <a:pt x="1870157" y="1174699"/>
                      </a:cubicBezTo>
                      <a:cubicBezTo>
                        <a:pt x="1914717" y="1080123"/>
                        <a:pt x="1914717" y="1080123"/>
                        <a:pt x="1908806" y="1056933"/>
                      </a:cubicBezTo>
                      <a:cubicBezTo>
                        <a:pt x="1900167" y="1054660"/>
                        <a:pt x="1888345" y="1051477"/>
                        <a:pt x="1879251" y="1049658"/>
                      </a:cubicBezTo>
                      <a:cubicBezTo>
                        <a:pt x="1867884" y="1061026"/>
                        <a:pt x="1853788" y="1078304"/>
                        <a:pt x="1845149" y="1091945"/>
                      </a:cubicBezTo>
                      <a:cubicBezTo>
                        <a:pt x="1829235" y="1094673"/>
                        <a:pt x="1807864" y="1098765"/>
                        <a:pt x="1792405" y="1101948"/>
                      </a:cubicBezTo>
                      <a:cubicBezTo>
                        <a:pt x="1792405" y="1134231"/>
                        <a:pt x="1792405" y="1134231"/>
                        <a:pt x="1830144" y="1208347"/>
                      </a:cubicBezTo>
                      <a:cubicBezTo>
                        <a:pt x="1821960" y="1210620"/>
                        <a:pt x="1811502" y="1213803"/>
                        <a:pt x="1803317" y="1216076"/>
                      </a:cubicBezTo>
                      <a:cubicBezTo>
                        <a:pt x="1739206" y="1102403"/>
                        <a:pt x="1598705" y="1109223"/>
                        <a:pt x="1511858"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358172" y="1026014"/>
                        <a:pt x="1342257" y="1025559"/>
                        <a:pt x="1162653" y="1199707"/>
                      </a:cubicBezTo>
                      <a:cubicBezTo>
                        <a:pt x="1171747" y="1201526"/>
                        <a:pt x="1183569" y="1204254"/>
                        <a:pt x="1192208" y="1206528"/>
                      </a:cubicBezTo>
                      <a:cubicBezTo>
                        <a:pt x="1196301" y="1214258"/>
                        <a:pt x="1201302" y="1225170"/>
                        <a:pt x="1205394" y="1232900"/>
                      </a:cubicBezTo>
                      <a:cubicBezTo>
                        <a:pt x="1150831" y="1343845"/>
                        <a:pt x="1005329" y="1371582"/>
                        <a:pt x="964861" y="1495259"/>
                      </a:cubicBezTo>
                      <a:cubicBezTo>
                        <a:pt x="891655" y="1719878"/>
                        <a:pt x="981230" y="1731700"/>
                        <a:pt x="1040340" y="1739429"/>
                      </a:cubicBezTo>
                      <a:cubicBezTo>
                        <a:pt x="990324" y="1793538"/>
                        <a:pt x="1013513" y="1866289"/>
                        <a:pt x="993052" y="1927673"/>
                      </a:cubicBezTo>
                      <a:cubicBezTo>
                        <a:pt x="916209" y="1953590"/>
                        <a:pt x="872558" y="2029524"/>
                        <a:pt x="796624" y="2057715"/>
                      </a:cubicBezTo>
                      <a:cubicBezTo>
                        <a:pt x="812993" y="1942678"/>
                        <a:pt x="744789" y="1835825"/>
                        <a:pt x="763886" y="1720332"/>
                      </a:cubicBezTo>
                      <a:cubicBezTo>
                        <a:pt x="757066" y="1713057"/>
                        <a:pt x="748427" y="1703508"/>
                        <a:pt x="741606" y="1696233"/>
                      </a:cubicBezTo>
                      <a:cubicBezTo>
                        <a:pt x="742970" y="1679864"/>
                        <a:pt x="747517" y="1658494"/>
                        <a:pt x="752519" y="1642580"/>
                      </a:cubicBezTo>
                      <a:cubicBezTo>
                        <a:pt x="713870" y="1644853"/>
                        <a:pt x="676130" y="1656675"/>
                        <a:pt x="637027" y="1653492"/>
                      </a:cubicBezTo>
                      <a:cubicBezTo>
                        <a:pt x="597014" y="1690777"/>
                        <a:pt x="596559" y="1695324"/>
                        <a:pt x="595195" y="1729426"/>
                      </a:cubicBezTo>
                      <a:cubicBezTo>
                        <a:pt x="602015" y="1733518"/>
                        <a:pt x="611564" y="1739429"/>
                        <a:pt x="618384" y="1743522"/>
                      </a:cubicBezTo>
                      <a:cubicBezTo>
                        <a:pt x="617929" y="1763983"/>
                        <a:pt x="617020" y="1790810"/>
                        <a:pt x="616565" y="1811271"/>
                      </a:cubicBezTo>
                      <a:cubicBezTo>
                        <a:pt x="608381" y="1812180"/>
                        <a:pt x="597468" y="1813545"/>
                        <a:pt x="589738" y="1814454"/>
                      </a:cubicBezTo>
                      <a:cubicBezTo>
                        <a:pt x="584282" y="1813545"/>
                        <a:pt x="584282" y="1813545"/>
                        <a:pt x="584282" y="1813545"/>
                      </a:cubicBezTo>
                      <a:cubicBezTo>
                        <a:pt x="584282" y="1813545"/>
                        <a:pt x="584282" y="1813545"/>
                        <a:pt x="583827" y="1813545"/>
                      </a:cubicBezTo>
                      <a:cubicBezTo>
                        <a:pt x="583827" y="1813545"/>
                        <a:pt x="583827" y="1813545"/>
                        <a:pt x="583373" y="1813545"/>
                      </a:cubicBezTo>
                      <a:cubicBezTo>
                        <a:pt x="583373" y="1813545"/>
                        <a:pt x="583373" y="1813545"/>
                        <a:pt x="582918" y="1813545"/>
                      </a:cubicBezTo>
                      <a:cubicBezTo>
                        <a:pt x="582918" y="1813545"/>
                        <a:pt x="582918" y="1813545"/>
                        <a:pt x="582463" y="1813545"/>
                      </a:cubicBezTo>
                      <a:cubicBezTo>
                        <a:pt x="582463" y="1813545"/>
                        <a:pt x="582463" y="1813545"/>
                        <a:pt x="582009" y="1813545"/>
                      </a:cubicBezTo>
                      <a:cubicBezTo>
                        <a:pt x="582009" y="1813545"/>
                        <a:pt x="582009" y="1813545"/>
                        <a:pt x="581554" y="1813545"/>
                      </a:cubicBezTo>
                      <a:cubicBezTo>
                        <a:pt x="581554" y="1813545"/>
                        <a:pt x="581554" y="1813545"/>
                        <a:pt x="581099" y="1813545"/>
                      </a:cubicBezTo>
                      <a:cubicBezTo>
                        <a:pt x="549271" y="1816273"/>
                        <a:pt x="549271" y="1816273"/>
                        <a:pt x="436506" y="1977689"/>
                      </a:cubicBezTo>
                      <a:cubicBezTo>
                        <a:pt x="438325" y="1986783"/>
                        <a:pt x="440599" y="1999060"/>
                        <a:pt x="441963" y="2008154"/>
                      </a:cubicBezTo>
                      <a:cubicBezTo>
                        <a:pt x="551089" y="2039982"/>
                        <a:pt x="572460" y="1912668"/>
                        <a:pt x="648849" y="1884022"/>
                      </a:cubicBezTo>
                      <a:cubicBezTo>
                        <a:pt x="651122" y="1892207"/>
                        <a:pt x="654305" y="1902664"/>
                        <a:pt x="656578" y="1910849"/>
                      </a:cubicBezTo>
                      <a:cubicBezTo>
                        <a:pt x="632480" y="1929946"/>
                        <a:pt x="582463" y="1969959"/>
                        <a:pt x="597468" y="2043620"/>
                      </a:cubicBezTo>
                      <a:cubicBezTo>
                        <a:pt x="584282" y="2055442"/>
                        <a:pt x="564730" y="2068628"/>
                        <a:pt x="549271" y="2076358"/>
                      </a:cubicBezTo>
                      <a:cubicBezTo>
                        <a:pt x="549271" y="2084997"/>
                        <a:pt x="549725" y="2096364"/>
                        <a:pt x="549725" y="2105003"/>
                      </a:cubicBezTo>
                      <a:cubicBezTo>
                        <a:pt x="624750" y="2132285"/>
                        <a:pt x="693409" y="2086816"/>
                        <a:pt x="766160" y="2085906"/>
                      </a:cubicBezTo>
                      <a:cubicBezTo>
                        <a:pt x="756157" y="2101366"/>
                        <a:pt x="736605" y="2118190"/>
                        <a:pt x="720690" y="2127738"/>
                      </a:cubicBezTo>
                      <a:cubicBezTo>
                        <a:pt x="712051" y="2124555"/>
                        <a:pt x="700684" y="2120008"/>
                        <a:pt x="692499" y="2116826"/>
                      </a:cubicBezTo>
                      <a:cubicBezTo>
                        <a:pt x="657943" y="2138651"/>
                        <a:pt x="612928" y="2140015"/>
                        <a:pt x="584282" y="2172753"/>
                      </a:cubicBezTo>
                      <a:cubicBezTo>
                        <a:pt x="600651" y="2244140"/>
                        <a:pt x="705686" y="2285062"/>
                        <a:pt x="660216" y="2376910"/>
                      </a:cubicBezTo>
                      <a:cubicBezTo>
                        <a:pt x="635208" y="2427382"/>
                        <a:pt x="632025" y="2433747"/>
                        <a:pt x="478793" y="2386004"/>
                      </a:cubicBezTo>
                      <a:cubicBezTo>
                        <a:pt x="378760" y="2354631"/>
                        <a:pt x="328289" y="2641088"/>
                        <a:pt x="375123" y="2723387"/>
                      </a:cubicBezTo>
                      <a:cubicBezTo>
                        <a:pt x="425594" y="2732027"/>
                        <a:pt x="425594" y="2732027"/>
                        <a:pt x="442872" y="2759308"/>
                      </a:cubicBezTo>
                      <a:cubicBezTo>
                        <a:pt x="442418" y="2762036"/>
                        <a:pt x="273726" y="3060316"/>
                        <a:pt x="183242" y="3076230"/>
                      </a:cubicBezTo>
                      <a:cubicBezTo>
                        <a:pt x="175057" y="3061225"/>
                        <a:pt x="167782" y="3038490"/>
                        <a:pt x="167328" y="3021212"/>
                      </a:cubicBezTo>
                      <a:cubicBezTo>
                        <a:pt x="150049" y="3033034"/>
                        <a:pt x="129133" y="3051677"/>
                        <a:pt x="115038" y="3067591"/>
                      </a:cubicBezTo>
                      <a:cubicBezTo>
                        <a:pt x="128679" y="3075321"/>
                        <a:pt x="144593" y="3090780"/>
                        <a:pt x="152777" y="3104421"/>
                      </a:cubicBezTo>
                      <a:cubicBezTo>
                        <a:pt x="1364" y="3358595"/>
                        <a:pt x="1364" y="3358595"/>
                        <a:pt x="0" y="3363142"/>
                      </a:cubicBezTo>
                      <a:cubicBezTo>
                        <a:pt x="17733" y="3398608"/>
                        <a:pt x="71387" y="3506371"/>
                        <a:pt x="1819" y="3621863"/>
                      </a:cubicBezTo>
                      <a:cubicBezTo>
                        <a:pt x="3183" y="3626865"/>
                        <a:pt x="207341" y="4128847"/>
                        <a:pt x="451057" y="4088379"/>
                      </a:cubicBezTo>
                      <a:cubicBezTo>
                        <a:pt x="762068" y="4036999"/>
                        <a:pt x="953039" y="4077012"/>
                        <a:pt x="1018970" y="4207055"/>
                      </a:cubicBezTo>
                      <a:cubicBezTo>
                        <a:pt x="994416" y="4274804"/>
                        <a:pt x="974864" y="4328458"/>
                        <a:pt x="975774" y="4333005"/>
                      </a:cubicBezTo>
                      <a:cubicBezTo>
                        <a:pt x="993962" y="4440313"/>
                        <a:pt x="1124459" y="4459410"/>
                        <a:pt x="1153105" y="4558533"/>
                      </a:cubicBezTo>
                      <a:cubicBezTo>
                        <a:pt x="1184933" y="4669024"/>
                        <a:pt x="1100360" y="4772694"/>
                        <a:pt x="1134462" y="4882730"/>
                      </a:cubicBezTo>
                      <a:cubicBezTo>
                        <a:pt x="1134917" y="4884549"/>
                        <a:pt x="1189935" y="5059151"/>
                        <a:pt x="1343622" y="5256489"/>
                      </a:cubicBezTo>
                      <a:cubicBezTo>
                        <a:pt x="1331345" y="5344244"/>
                        <a:pt x="1514132" y="5409721"/>
                        <a:pt x="1751482" y="5233754"/>
                      </a:cubicBezTo>
                      <a:cubicBezTo>
                        <a:pt x="1892892" y="5128720"/>
                        <a:pt x="1948365" y="5045511"/>
                        <a:pt x="1948820" y="5045056"/>
                      </a:cubicBezTo>
                      <a:cubicBezTo>
                        <a:pt x="1965188" y="5010499"/>
                        <a:pt x="1943818" y="4966848"/>
                        <a:pt x="1973373" y="4935475"/>
                      </a:cubicBezTo>
                      <a:cubicBezTo>
                        <a:pt x="2029755" y="4875455"/>
                        <a:pt x="2127969" y="4880002"/>
                        <a:pt x="2174803" y="4804977"/>
                      </a:cubicBezTo>
                      <a:cubicBezTo>
                        <a:pt x="2175257" y="4804068"/>
                        <a:pt x="2226638" y="4691758"/>
                        <a:pt x="2183897" y="4612642"/>
                      </a:cubicBezTo>
                      <a:cubicBezTo>
                        <a:pt x="2163890" y="4575811"/>
                        <a:pt x="2137972" y="4471232"/>
                        <a:pt x="2326670" y="4297084"/>
                      </a:cubicBezTo>
                      <a:cubicBezTo>
                        <a:pt x="2468080" y="4166132"/>
                        <a:pt x="2731803" y="3922416"/>
                        <a:pt x="2660871" y="3774186"/>
                      </a:cubicBezTo>
                      <a:cubicBezTo>
                        <a:pt x="2556746" y="3766001"/>
                        <a:pt x="2374413" y="3951062"/>
                        <a:pt x="2354861" y="3807378"/>
                      </a:cubicBezTo>
                      <a:cubicBezTo>
                        <a:pt x="2564476" y="3697797"/>
                        <a:pt x="3202411" y="3364506"/>
                        <a:pt x="2910498" y="3216731"/>
                      </a:cubicBezTo>
                      <a:cubicBezTo>
                        <a:pt x="2885035" y="3203999"/>
                        <a:pt x="2855025" y="3209456"/>
                        <a:pt x="2829562" y="3196269"/>
                      </a:cubicBezTo>
                      <a:cubicBezTo>
                        <a:pt x="2826834" y="3187175"/>
                        <a:pt x="2823651" y="3174899"/>
                        <a:pt x="2820923" y="3165805"/>
                      </a:cubicBezTo>
                      <a:lnTo>
                        <a:pt x="3143301" y="3115788"/>
                      </a:lnTo>
                      <a:cubicBezTo>
                        <a:pt x="3233331" y="3155802"/>
                        <a:pt x="3289713" y="3254925"/>
                        <a:pt x="3398840" y="3260836"/>
                      </a:cubicBezTo>
                      <a:cubicBezTo>
                        <a:pt x="3392928" y="3399063"/>
                        <a:pt x="3574351" y="3779642"/>
                        <a:pt x="3576170" y="3782370"/>
                      </a:cubicBezTo>
                      <a:cubicBezTo>
                        <a:pt x="3594813" y="3766911"/>
                        <a:pt x="3594813" y="3766911"/>
                        <a:pt x="3630279" y="3709619"/>
                      </a:cubicBezTo>
                      <a:cubicBezTo>
                        <a:pt x="3647103" y="3746449"/>
                        <a:pt x="3633007" y="3787827"/>
                        <a:pt x="3648012" y="3824657"/>
                      </a:cubicBezTo>
                      <a:cubicBezTo>
                        <a:pt x="3656196" y="3825111"/>
                        <a:pt x="3666655" y="3826021"/>
                        <a:pt x="3674839" y="3826930"/>
                      </a:cubicBezTo>
                      <a:cubicBezTo>
                        <a:pt x="3752137" y="3751451"/>
                        <a:pt x="3700757" y="3676881"/>
                        <a:pt x="3700302" y="3675972"/>
                      </a:cubicBezTo>
                      <a:cubicBezTo>
                        <a:pt x="3611636" y="3565936"/>
                        <a:pt x="3750773" y="3049858"/>
                        <a:pt x="3919464" y="3048949"/>
                      </a:cubicBezTo>
                      <a:cubicBezTo>
                        <a:pt x="4005856" y="3165805"/>
                        <a:pt x="4006311" y="3171716"/>
                        <a:pt x="4014041" y="3244012"/>
                      </a:cubicBezTo>
                      <a:cubicBezTo>
                        <a:pt x="4021771" y="3246286"/>
                        <a:pt x="4032228" y="3249469"/>
                        <a:pt x="4040413" y="3252197"/>
                      </a:cubicBezTo>
                      <a:cubicBezTo>
                        <a:pt x="4051326" y="3239920"/>
                        <a:pt x="4063148" y="3221732"/>
                        <a:pt x="4070423" y="3207182"/>
                      </a:cubicBezTo>
                      <a:cubicBezTo>
                        <a:pt x="4105889" y="3437257"/>
                        <a:pt x="4125441" y="3563662"/>
                        <a:pt x="4117711" y="3778733"/>
                      </a:cubicBezTo>
                      <a:cubicBezTo>
                        <a:pt x="4094976" y="3746449"/>
                        <a:pt x="4094976" y="3746449"/>
                        <a:pt x="4073151" y="3690977"/>
                      </a:cubicBezTo>
                      <a:cubicBezTo>
                        <a:pt x="4064967" y="3688703"/>
                        <a:pt x="4054508" y="3685520"/>
                        <a:pt x="4046324" y="3683247"/>
                      </a:cubicBezTo>
                      <a:cubicBezTo>
                        <a:pt x="3968571" y="3736446"/>
                        <a:pt x="4049052" y="3817836"/>
                        <a:pt x="4022225" y="3881494"/>
                      </a:cubicBezTo>
                      <a:cubicBezTo>
                        <a:pt x="4030865" y="3876492"/>
                        <a:pt x="4042232" y="3870126"/>
                        <a:pt x="4050871" y="3865579"/>
                      </a:cubicBezTo>
                      <a:cubicBezTo>
                        <a:pt x="4067240" y="3923325"/>
                        <a:pt x="4067240" y="3923325"/>
                        <a:pt x="4038140" y="4007898"/>
                      </a:cubicBezTo>
                      <a:cubicBezTo>
                        <a:pt x="4052690" y="4020630"/>
                        <a:pt x="4079517" y="4044274"/>
                        <a:pt x="4075879" y="4152491"/>
                      </a:cubicBezTo>
                      <a:cubicBezTo>
                        <a:pt x="4077698" y="4152946"/>
                        <a:pt x="4077698" y="4152946"/>
                        <a:pt x="4157269" y="4170224"/>
                      </a:cubicBezTo>
                      <a:cubicBezTo>
                        <a:pt x="4170455" y="4159766"/>
                        <a:pt x="4188643" y="4146580"/>
                        <a:pt x="4203194" y="4137941"/>
                      </a:cubicBezTo>
                      <a:cubicBezTo>
                        <a:pt x="4200920" y="4146580"/>
                        <a:pt x="4198192" y="4158402"/>
                        <a:pt x="4195918" y="4167041"/>
                      </a:cubicBezTo>
                      <a:cubicBezTo>
                        <a:pt x="4210923" y="4152491"/>
                        <a:pt x="4210923" y="4152491"/>
                        <a:pt x="4272307" y="4053823"/>
                      </a:cubicBezTo>
                      <a:cubicBezTo>
                        <a:pt x="4270943" y="4057005"/>
                        <a:pt x="4270943" y="4057005"/>
                        <a:pt x="4212288" y="4170679"/>
                      </a:cubicBezTo>
                      <a:cubicBezTo>
                        <a:pt x="4271398" y="4085196"/>
                        <a:pt x="4295951" y="4024722"/>
                        <a:pt x="4315503" y="3976525"/>
                      </a:cubicBezTo>
                      <a:cubicBezTo>
                        <a:pt x="4290950" y="4022449"/>
                        <a:pt x="4253210" y="4081104"/>
                        <a:pt x="4210923" y="4101566"/>
                      </a:cubicBezTo>
                      <a:cubicBezTo>
                        <a:pt x="4206377" y="4086106"/>
                        <a:pt x="4207286" y="4062917"/>
                        <a:pt x="4213197" y="4048366"/>
                      </a:cubicBezTo>
                      <a:cubicBezTo>
                        <a:pt x="4205467" y="4055641"/>
                        <a:pt x="4205467" y="4055641"/>
                        <a:pt x="4144538" y="4091107"/>
                      </a:cubicBezTo>
                      <a:cubicBezTo>
                        <a:pt x="4137263" y="4086106"/>
                        <a:pt x="4127260" y="4079740"/>
                        <a:pt x="4119985" y="4075193"/>
                      </a:cubicBezTo>
                      <a:cubicBezTo>
                        <a:pt x="4131806" y="4024722"/>
                        <a:pt x="4131806" y="4024722"/>
                        <a:pt x="4149085" y="3976070"/>
                      </a:cubicBezTo>
                      <a:cubicBezTo>
                        <a:pt x="4157269" y="3973796"/>
                        <a:pt x="4168637" y="3970613"/>
                        <a:pt x="4176821" y="3967885"/>
                      </a:cubicBezTo>
                      <a:cubicBezTo>
                        <a:pt x="4184096" y="3952881"/>
                        <a:pt x="4185461" y="3927872"/>
                        <a:pt x="4180004" y="3911958"/>
                      </a:cubicBezTo>
                      <a:cubicBezTo>
                        <a:pt x="4172274" y="3909685"/>
                        <a:pt x="4161816" y="3906502"/>
                        <a:pt x="4154087" y="3904228"/>
                      </a:cubicBezTo>
                      <a:cubicBezTo>
                        <a:pt x="4173639" y="3712347"/>
                        <a:pt x="4122713" y="3520921"/>
                        <a:pt x="4150449" y="3329040"/>
                      </a:cubicBezTo>
                      <a:cubicBezTo>
                        <a:pt x="4215016" y="3395425"/>
                        <a:pt x="4215470" y="3410430"/>
                        <a:pt x="4219108" y="3481363"/>
                      </a:cubicBezTo>
                      <a:cubicBezTo>
                        <a:pt x="4479193" y="3347682"/>
                        <a:pt x="4201830" y="3066227"/>
                        <a:pt x="4260485" y="2862979"/>
                      </a:cubicBezTo>
                      <a:cubicBezTo>
                        <a:pt x="4269125" y="2863888"/>
                        <a:pt x="4280492" y="2864798"/>
                        <a:pt x="4289131" y="2865252"/>
                      </a:cubicBezTo>
                      <a:cubicBezTo>
                        <a:pt x="4290040" y="2907084"/>
                        <a:pt x="4276400" y="2948006"/>
                        <a:pt x="4286403" y="2989838"/>
                      </a:cubicBezTo>
                      <a:cubicBezTo>
                        <a:pt x="4295042" y="2989838"/>
                        <a:pt x="4306409" y="2990293"/>
                        <a:pt x="4314594" y="2990293"/>
                      </a:cubicBezTo>
                      <a:cubicBezTo>
                        <a:pt x="4393256" y="2612897"/>
                        <a:pt x="4393256" y="2571520"/>
                        <a:pt x="4368248" y="2360087"/>
                      </a:cubicBezTo>
                      <a:cubicBezTo>
                        <a:pt x="4364155" y="2327349"/>
                        <a:pt x="4188643" y="1912213"/>
                        <a:pt x="4186824" y="1910394"/>
                      </a:cubicBezTo>
                      <a:cubicBezTo>
                        <a:pt x="4175912" y="1922216"/>
                        <a:pt x="4159543" y="1936767"/>
                        <a:pt x="4146357" y="1945860"/>
                      </a:cubicBezTo>
                      <a:cubicBezTo>
                        <a:pt x="4138627" y="1940859"/>
                        <a:pt x="4128169" y="1934038"/>
                        <a:pt x="4120439" y="1928582"/>
                      </a:cubicBezTo>
                      <a:cubicBezTo>
                        <a:pt x="4120439" y="1904029"/>
                        <a:pt x="4120439" y="1904029"/>
                        <a:pt x="4101342" y="1808088"/>
                      </a:cubicBezTo>
                      <a:cubicBezTo>
                        <a:pt x="4118166" y="1833096"/>
                        <a:pt x="4130443" y="1860833"/>
                        <a:pt x="4144993" y="1887205"/>
                      </a:cubicBezTo>
                      <a:cubicBezTo>
                        <a:pt x="4150904" y="1871291"/>
                        <a:pt x="4154541" y="1848556"/>
                        <a:pt x="4154087" y="1832187"/>
                      </a:cubicBezTo>
                      <a:cubicBezTo>
                        <a:pt x="4240933" y="1875838"/>
                        <a:pt x="4251391" y="1976325"/>
                        <a:pt x="4309592" y="2041346"/>
                      </a:cubicBezTo>
                      <a:cubicBezTo>
                        <a:pt x="4335964" y="1854467"/>
                        <a:pt x="4172729" y="1743067"/>
                        <a:pt x="4128169" y="1584379"/>
                      </a:cubicBezTo>
                      <a:cubicBezTo>
                        <a:pt x="4132716" y="1577104"/>
                        <a:pt x="4139081" y="1568010"/>
                        <a:pt x="4143628" y="1560735"/>
                      </a:cubicBezTo>
                      <a:cubicBezTo>
                        <a:pt x="4100432" y="1434329"/>
                        <a:pt x="4100432" y="1434329"/>
                        <a:pt x="3830799" y="1061026"/>
                      </a:cubicBezTo>
                      <a:cubicBezTo>
                        <a:pt x="3883089" y="1097401"/>
                        <a:pt x="4116347" y="1388406"/>
                        <a:pt x="4117256" y="1390679"/>
                      </a:cubicBezTo>
                      <a:cubicBezTo>
                        <a:pt x="4241843" y="1627575"/>
                        <a:pt x="4272307" y="1899482"/>
                        <a:pt x="4395984" y="2136377"/>
                      </a:cubicBezTo>
                      <a:cubicBezTo>
                        <a:pt x="4473282" y="1813999"/>
                        <a:pt x="4067240" y="1198343"/>
                        <a:pt x="4036321" y="1164696"/>
                      </a:cubicBezTo>
                      <a:cubicBezTo>
                        <a:pt x="4097250" y="1287463"/>
                        <a:pt x="4097704" y="1290192"/>
                        <a:pt x="4106798" y="1326112"/>
                      </a:cubicBezTo>
                      <a:cubicBezTo>
                        <a:pt x="4089520" y="1316564"/>
                        <a:pt x="4067695" y="1302468"/>
                        <a:pt x="4051780" y="1290192"/>
                      </a:cubicBezTo>
                      <a:cubicBezTo>
                        <a:pt x="4055418" y="1216986"/>
                        <a:pt x="3687116" y="905975"/>
                        <a:pt x="3683478" y="903701"/>
                      </a:cubicBezTo>
                      <a:cubicBezTo>
                        <a:pt x="3692117" y="924163"/>
                        <a:pt x="3692117" y="924163"/>
                        <a:pt x="3734859" y="970087"/>
                      </a:cubicBezTo>
                      <a:cubicBezTo>
                        <a:pt x="3727129" y="965994"/>
                        <a:pt x="3717126" y="960993"/>
                        <a:pt x="3709851" y="957355"/>
                      </a:cubicBezTo>
                      <a:cubicBezTo>
                        <a:pt x="3703485" y="962812"/>
                        <a:pt x="3694845" y="970087"/>
                        <a:pt x="3688480" y="975998"/>
                      </a:cubicBezTo>
                      <a:cubicBezTo>
                        <a:pt x="3678022" y="963266"/>
                        <a:pt x="3663471" y="946443"/>
                        <a:pt x="3652559" y="934166"/>
                      </a:cubicBezTo>
                      <a:cubicBezTo>
                        <a:pt x="3652559" y="942350"/>
                        <a:pt x="3652559" y="952808"/>
                        <a:pt x="3652559" y="960993"/>
                      </a:cubicBezTo>
                      <a:cubicBezTo>
                        <a:pt x="3586628" y="888242"/>
                        <a:pt x="3450675" y="720005"/>
                        <a:pt x="3450220" y="719096"/>
                      </a:cubicBezTo>
                      <a:cubicBezTo>
                        <a:pt x="3463861" y="686358"/>
                        <a:pt x="3465679" y="682265"/>
                        <a:pt x="3432032" y="638160"/>
                      </a:cubicBezTo>
                      <a:cubicBezTo>
                        <a:pt x="3440217" y="639979"/>
                        <a:pt x="3450675" y="642252"/>
                        <a:pt x="3458859" y="643616"/>
                      </a:cubicBezTo>
                      <a:cubicBezTo>
                        <a:pt x="3451584" y="617244"/>
                        <a:pt x="3451584" y="617244"/>
                        <a:pt x="3245153" y="436276"/>
                      </a:cubicBezTo>
                      <a:cubicBezTo>
                        <a:pt x="3372013" y="486292"/>
                        <a:pt x="3804427" y="846865"/>
                        <a:pt x="3905824" y="987820"/>
                      </a:cubicBezTo>
                      <a:cubicBezTo>
                        <a:pt x="3905824" y="986910"/>
                        <a:pt x="3906278" y="986456"/>
                        <a:pt x="3906278" y="985546"/>
                      </a:cubicBezTo>
                      <a:cubicBezTo>
                        <a:pt x="3906278" y="985092"/>
                        <a:pt x="3906733" y="984182"/>
                        <a:pt x="3906733" y="983728"/>
                      </a:cubicBezTo>
                      <a:cubicBezTo>
                        <a:pt x="3906733" y="983273"/>
                        <a:pt x="3907187" y="982364"/>
                        <a:pt x="3907187" y="981909"/>
                      </a:cubicBezTo>
                      <a:cubicBezTo>
                        <a:pt x="3907187" y="981454"/>
                        <a:pt x="3907643" y="980999"/>
                        <a:pt x="3907643" y="980090"/>
                      </a:cubicBezTo>
                      <a:cubicBezTo>
                        <a:pt x="3907643" y="979635"/>
                        <a:pt x="3907643" y="979181"/>
                        <a:pt x="3908097" y="978726"/>
                      </a:cubicBezTo>
                      <a:cubicBezTo>
                        <a:pt x="3908097" y="978271"/>
                        <a:pt x="3908097" y="977817"/>
                        <a:pt x="3908552" y="977362"/>
                      </a:cubicBezTo>
                      <a:cubicBezTo>
                        <a:pt x="3908552" y="976907"/>
                        <a:pt x="3908552" y="976453"/>
                        <a:pt x="3908552" y="975998"/>
                      </a:cubicBezTo>
                      <a:cubicBezTo>
                        <a:pt x="3908552" y="975543"/>
                        <a:pt x="3908552" y="975543"/>
                        <a:pt x="3908552" y="975088"/>
                      </a:cubicBezTo>
                      <a:cubicBezTo>
                        <a:pt x="3705304" y="692269"/>
                        <a:pt x="3390200" y="461284"/>
                        <a:pt x="3339729" y="454918"/>
                      </a:cubicBezTo>
                      <a:cubicBezTo>
                        <a:pt x="3244244" y="320784"/>
                        <a:pt x="3140118" y="269403"/>
                        <a:pt x="2795915" y="99347"/>
                      </a:cubicBezTo>
                      <a:cubicBezTo>
                        <a:pt x="2803645" y="97074"/>
                        <a:pt x="2814103" y="94346"/>
                        <a:pt x="2821833" y="92527"/>
                      </a:cubicBezTo>
                      <a:cubicBezTo>
                        <a:pt x="2815922" y="82978"/>
                        <a:pt x="2807282" y="74794"/>
                        <a:pt x="2799552" y="70247"/>
                      </a:cubicBezTo>
                    </a:path>
                  </a:pathLst>
                </a:custGeom>
                <a:grpFill/>
                <a:ln w="4545" cap="flat">
                  <a:noFill/>
                  <a:prstDash val="solid"/>
                  <a:miter/>
                </a:ln>
              </p:spPr>
              <p:txBody>
                <a:bodyPr rtlCol="0" anchor="ctr"/>
                <a:lstStyle/>
                <a:p>
                  <a:endParaRPr lang="en-US" sz="1765"/>
                </a:p>
              </p:txBody>
            </p:sp>
            <p:sp>
              <p:nvSpPr>
                <p:cNvPr id="13" name="Graphic 5">
                  <a:extLst>
                    <a:ext uri="{FF2B5EF4-FFF2-40B4-BE49-F238E27FC236}">
                      <a16:creationId xmlns:a16="http://schemas.microsoft.com/office/drawing/2014/main" id="{8D21A566-814D-42DB-BDA7-383E55105EA9}"/>
                    </a:ext>
                  </a:extLst>
                </p:cNvPr>
                <p:cNvSpPr/>
                <p:nvPr/>
              </p:nvSpPr>
              <p:spPr>
                <a:xfrm>
                  <a:off x="5791201" y="691285"/>
                  <a:ext cx="2510821" cy="5458208"/>
                </a:xfrm>
                <a:custGeom>
                  <a:avLst/>
                  <a:gdLst>
                    <a:gd name="connsiteX0" fmla="*/ 2031119 w 2510821"/>
                    <a:gd name="connsiteY0" fmla="*/ 1039490 h 5458208"/>
                    <a:gd name="connsiteX1" fmla="*/ 2010658 w 2510821"/>
                    <a:gd name="connsiteY1" fmla="*/ 1054495 h 5458208"/>
                    <a:gd name="connsiteX2" fmla="*/ 2006566 w 2510821"/>
                    <a:gd name="connsiteY2" fmla="*/ 1050858 h 5458208"/>
                    <a:gd name="connsiteX3" fmla="*/ 2001564 w 2510821"/>
                    <a:gd name="connsiteY3" fmla="*/ 1040400 h 5458208"/>
                    <a:gd name="connsiteX4" fmla="*/ 2028846 w 2510821"/>
                    <a:gd name="connsiteY4" fmla="*/ 1018574 h 5458208"/>
                    <a:gd name="connsiteX5" fmla="*/ 2032029 w 2510821"/>
                    <a:gd name="connsiteY5" fmla="*/ 1034943 h 5458208"/>
                    <a:gd name="connsiteX6" fmla="*/ 2031119 w 2510821"/>
                    <a:gd name="connsiteY6" fmla="*/ 1039490 h 5458208"/>
                    <a:gd name="connsiteX7" fmla="*/ 1345895 w 2510821"/>
                    <a:gd name="connsiteY7" fmla="*/ 854430 h 5458208"/>
                    <a:gd name="connsiteX8" fmla="*/ 1205849 w 2510821"/>
                    <a:gd name="connsiteY8" fmla="*/ 913085 h 5458208"/>
                    <a:gd name="connsiteX9" fmla="*/ 1118548 w 2510821"/>
                    <a:gd name="connsiteY9" fmla="*/ 984927 h 5458208"/>
                    <a:gd name="connsiteX10" fmla="*/ 1092176 w 2510821"/>
                    <a:gd name="connsiteY10" fmla="*/ 981744 h 5458208"/>
                    <a:gd name="connsiteX11" fmla="*/ 1088083 w 2510821"/>
                    <a:gd name="connsiteY11" fmla="*/ 997204 h 5458208"/>
                    <a:gd name="connsiteX12" fmla="*/ 915300 w 2510821"/>
                    <a:gd name="connsiteY12" fmla="*/ 1155892 h 5458208"/>
                    <a:gd name="connsiteX13" fmla="*/ 881652 w 2510821"/>
                    <a:gd name="connsiteY13" fmla="*/ 1178172 h 5458208"/>
                    <a:gd name="connsiteX14" fmla="*/ 860281 w 2510821"/>
                    <a:gd name="connsiteY14" fmla="*/ 1243193 h 5458208"/>
                    <a:gd name="connsiteX15" fmla="*/ 755702 w 2510821"/>
                    <a:gd name="connsiteY15" fmla="*/ 1336406 h 5458208"/>
                    <a:gd name="connsiteX16" fmla="*/ 709778 w 2510821"/>
                    <a:gd name="connsiteY16" fmla="*/ 1366416 h 5458208"/>
                    <a:gd name="connsiteX17" fmla="*/ 645211 w 2510821"/>
                    <a:gd name="connsiteY17" fmla="*/ 1448260 h 5458208"/>
                    <a:gd name="connsiteX18" fmla="*/ 641574 w 2510821"/>
                    <a:gd name="connsiteY18" fmla="*/ 1451898 h 5458208"/>
                    <a:gd name="connsiteX19" fmla="*/ 625205 w 2510821"/>
                    <a:gd name="connsiteY19" fmla="*/ 1451898 h 5458208"/>
                    <a:gd name="connsiteX20" fmla="*/ 636572 w 2510821"/>
                    <a:gd name="connsiteY20" fmla="*/ 1431891 h 5458208"/>
                    <a:gd name="connsiteX21" fmla="*/ 732058 w 2510821"/>
                    <a:gd name="connsiteY21" fmla="*/ 1291391 h 5458208"/>
                    <a:gd name="connsiteX22" fmla="*/ 734331 w 2510821"/>
                    <a:gd name="connsiteY22" fmla="*/ 1220913 h 5458208"/>
                    <a:gd name="connsiteX23" fmla="*/ 767524 w 2510821"/>
                    <a:gd name="connsiteY23" fmla="*/ 1133612 h 5458208"/>
                    <a:gd name="connsiteX24" fmla="*/ 769797 w 2510821"/>
                    <a:gd name="connsiteY24" fmla="*/ 1122699 h 5458208"/>
                    <a:gd name="connsiteX25" fmla="*/ 778437 w 2510821"/>
                    <a:gd name="connsiteY25" fmla="*/ 1081777 h 5458208"/>
                    <a:gd name="connsiteX26" fmla="*/ 788440 w 2510821"/>
                    <a:gd name="connsiteY26" fmla="*/ 1066317 h 5458208"/>
                    <a:gd name="connsiteX27" fmla="*/ 887563 w 2510821"/>
                    <a:gd name="connsiteY27" fmla="*/ 947642 h 5458208"/>
                    <a:gd name="connsiteX28" fmla="*/ 1059892 w 2510821"/>
                    <a:gd name="connsiteY28" fmla="*/ 860341 h 5458208"/>
                    <a:gd name="connsiteX29" fmla="*/ 1068986 w 2510821"/>
                    <a:gd name="connsiteY29" fmla="*/ 868980 h 5458208"/>
                    <a:gd name="connsiteX30" fmla="*/ 1163108 w 2510821"/>
                    <a:gd name="connsiteY30" fmla="*/ 813962 h 5458208"/>
                    <a:gd name="connsiteX31" fmla="*/ 1142647 w 2510821"/>
                    <a:gd name="connsiteY31" fmla="*/ 833059 h 5458208"/>
                    <a:gd name="connsiteX32" fmla="*/ 1044887 w 2510821"/>
                    <a:gd name="connsiteY32" fmla="*/ 946278 h 5458208"/>
                    <a:gd name="connsiteX33" fmla="*/ 999418 w 2510821"/>
                    <a:gd name="connsiteY33" fmla="*/ 1006298 h 5458208"/>
                    <a:gd name="connsiteX34" fmla="*/ 1056255 w 2510821"/>
                    <a:gd name="connsiteY34" fmla="*/ 941276 h 5458208"/>
                    <a:gd name="connsiteX35" fmla="*/ 1086265 w 2510821"/>
                    <a:gd name="connsiteY35" fmla="*/ 925817 h 5458208"/>
                    <a:gd name="connsiteX36" fmla="*/ 1081718 w 2510821"/>
                    <a:gd name="connsiteY36" fmla="*/ 969922 h 5458208"/>
                    <a:gd name="connsiteX37" fmla="*/ 1156742 w 2510821"/>
                    <a:gd name="connsiteY37" fmla="*/ 876710 h 5458208"/>
                    <a:gd name="connsiteX38" fmla="*/ 1189480 w 2510821"/>
                    <a:gd name="connsiteY38" fmla="*/ 813507 h 5458208"/>
                    <a:gd name="connsiteX39" fmla="*/ 1180841 w 2510821"/>
                    <a:gd name="connsiteY39" fmla="*/ 853521 h 5458208"/>
                    <a:gd name="connsiteX40" fmla="*/ 1231312 w 2510821"/>
                    <a:gd name="connsiteY40" fmla="*/ 819873 h 5458208"/>
                    <a:gd name="connsiteX41" fmla="*/ 1398185 w 2510821"/>
                    <a:gd name="connsiteY41" fmla="*/ 689831 h 5458208"/>
                    <a:gd name="connsiteX42" fmla="*/ 1402732 w 2510821"/>
                    <a:gd name="connsiteY42" fmla="*/ 690285 h 5458208"/>
                    <a:gd name="connsiteX43" fmla="*/ 1359081 w 2510821"/>
                    <a:gd name="connsiteY43" fmla="*/ 760763 h 5458208"/>
                    <a:gd name="connsiteX44" fmla="*/ 1401822 w 2510821"/>
                    <a:gd name="connsiteY44" fmla="*/ 736209 h 5458208"/>
                    <a:gd name="connsiteX45" fmla="*/ 1314976 w 2510821"/>
                    <a:gd name="connsiteY45" fmla="*/ 812143 h 5458208"/>
                    <a:gd name="connsiteX46" fmla="*/ 1366811 w 2510821"/>
                    <a:gd name="connsiteY46" fmla="*/ 828512 h 5458208"/>
                    <a:gd name="connsiteX47" fmla="*/ 1345895 w 2510821"/>
                    <a:gd name="connsiteY47" fmla="*/ 854430 h 5458208"/>
                    <a:gd name="connsiteX48" fmla="*/ 1336801 w 2510821"/>
                    <a:gd name="connsiteY48" fmla="*/ 601620 h 5458208"/>
                    <a:gd name="connsiteX49" fmla="*/ 1309974 w 2510821"/>
                    <a:gd name="connsiteY49" fmla="*/ 618444 h 5458208"/>
                    <a:gd name="connsiteX50" fmla="*/ 1283147 w 2510821"/>
                    <a:gd name="connsiteY50" fmla="*/ 625719 h 5458208"/>
                    <a:gd name="connsiteX51" fmla="*/ 1303608 w 2510821"/>
                    <a:gd name="connsiteY51" fmla="*/ 607076 h 5458208"/>
                    <a:gd name="connsiteX52" fmla="*/ 1322251 w 2510821"/>
                    <a:gd name="connsiteY52" fmla="*/ 600711 h 5458208"/>
                    <a:gd name="connsiteX53" fmla="*/ 1369084 w 2510821"/>
                    <a:gd name="connsiteY53" fmla="*/ 568882 h 5458208"/>
                    <a:gd name="connsiteX54" fmla="*/ 1336801 w 2510821"/>
                    <a:gd name="connsiteY54" fmla="*/ 601620 h 5458208"/>
                    <a:gd name="connsiteX55" fmla="*/ 1310883 w 2510821"/>
                    <a:gd name="connsiteY55" fmla="*/ 578431 h 5458208"/>
                    <a:gd name="connsiteX56" fmla="*/ 1280874 w 2510821"/>
                    <a:gd name="connsiteY56" fmla="*/ 592526 h 5458208"/>
                    <a:gd name="connsiteX57" fmla="*/ 1343621 w 2510821"/>
                    <a:gd name="connsiteY57" fmla="*/ 503861 h 5458208"/>
                    <a:gd name="connsiteX58" fmla="*/ 1322706 w 2510821"/>
                    <a:gd name="connsiteY58" fmla="*/ 534325 h 5458208"/>
                    <a:gd name="connsiteX59" fmla="*/ 1322706 w 2510821"/>
                    <a:gd name="connsiteY59" fmla="*/ 542510 h 5458208"/>
                    <a:gd name="connsiteX60" fmla="*/ 1331345 w 2510821"/>
                    <a:gd name="connsiteY60" fmla="*/ 555696 h 5458208"/>
                    <a:gd name="connsiteX61" fmla="*/ 1310883 w 2510821"/>
                    <a:gd name="connsiteY61" fmla="*/ 578431 h 5458208"/>
                    <a:gd name="connsiteX62" fmla="*/ 1329526 w 2510821"/>
                    <a:gd name="connsiteY62" fmla="*/ 491584 h 5458208"/>
                    <a:gd name="connsiteX63" fmla="*/ 1299516 w 2510821"/>
                    <a:gd name="connsiteY63" fmla="*/ 504770 h 5458208"/>
                    <a:gd name="connsiteX64" fmla="*/ 1299516 w 2510821"/>
                    <a:gd name="connsiteY64" fmla="*/ 504770 h 5458208"/>
                    <a:gd name="connsiteX65" fmla="*/ 1324070 w 2510821"/>
                    <a:gd name="connsiteY65" fmla="*/ 478853 h 5458208"/>
                    <a:gd name="connsiteX66" fmla="*/ 1340893 w 2510821"/>
                    <a:gd name="connsiteY66" fmla="*/ 482490 h 5458208"/>
                    <a:gd name="connsiteX67" fmla="*/ 1329526 w 2510821"/>
                    <a:gd name="connsiteY67" fmla="*/ 491584 h 5458208"/>
                    <a:gd name="connsiteX68" fmla="*/ 1662817 w 2510821"/>
                    <a:gd name="connsiteY68" fmla="*/ 433383 h 5458208"/>
                    <a:gd name="connsiteX69" fmla="*/ 1653723 w 2510821"/>
                    <a:gd name="connsiteY69" fmla="*/ 438385 h 5458208"/>
                    <a:gd name="connsiteX70" fmla="*/ 1662817 w 2510821"/>
                    <a:gd name="connsiteY70" fmla="*/ 407920 h 5458208"/>
                    <a:gd name="connsiteX71" fmla="*/ 1701011 w 2510821"/>
                    <a:gd name="connsiteY71" fmla="*/ 393370 h 5458208"/>
                    <a:gd name="connsiteX72" fmla="*/ 1666000 w 2510821"/>
                    <a:gd name="connsiteY72" fmla="*/ 430655 h 5458208"/>
                    <a:gd name="connsiteX73" fmla="*/ 1662817 w 2510821"/>
                    <a:gd name="connsiteY73" fmla="*/ 433383 h 5458208"/>
                    <a:gd name="connsiteX74" fmla="*/ 1763304 w 2510821"/>
                    <a:gd name="connsiteY74" fmla="*/ 469304 h 5458208"/>
                    <a:gd name="connsiteX75" fmla="*/ 1757393 w 2510821"/>
                    <a:gd name="connsiteY75" fmla="*/ 467485 h 5458208"/>
                    <a:gd name="connsiteX76" fmla="*/ 1764214 w 2510821"/>
                    <a:gd name="connsiteY76" fmla="*/ 455663 h 5458208"/>
                    <a:gd name="connsiteX77" fmla="*/ 1771034 w 2510821"/>
                    <a:gd name="connsiteY77" fmla="*/ 423835 h 5458208"/>
                    <a:gd name="connsiteX78" fmla="*/ 1758303 w 2510821"/>
                    <a:gd name="connsiteY78" fmla="*/ 422925 h 5458208"/>
                    <a:gd name="connsiteX79" fmla="*/ 1754665 w 2510821"/>
                    <a:gd name="connsiteY79" fmla="*/ 417014 h 5458208"/>
                    <a:gd name="connsiteX80" fmla="*/ 1756029 w 2510821"/>
                    <a:gd name="connsiteY80" fmla="*/ 398372 h 5458208"/>
                    <a:gd name="connsiteX81" fmla="*/ 1742843 w 2510821"/>
                    <a:gd name="connsiteY81" fmla="*/ 404737 h 5458208"/>
                    <a:gd name="connsiteX82" fmla="*/ 1791495 w 2510821"/>
                    <a:gd name="connsiteY82" fmla="*/ 364724 h 5458208"/>
                    <a:gd name="connsiteX83" fmla="*/ 1793769 w 2510821"/>
                    <a:gd name="connsiteY83" fmla="*/ 372909 h 5458208"/>
                    <a:gd name="connsiteX84" fmla="*/ 1791950 w 2510821"/>
                    <a:gd name="connsiteY84" fmla="*/ 382457 h 5458208"/>
                    <a:gd name="connsiteX85" fmla="*/ 1789677 w 2510821"/>
                    <a:gd name="connsiteY85" fmla="*/ 402464 h 5458208"/>
                    <a:gd name="connsiteX86" fmla="*/ 1797861 w 2510821"/>
                    <a:gd name="connsiteY86" fmla="*/ 411103 h 5458208"/>
                    <a:gd name="connsiteX87" fmla="*/ 1796497 w 2510821"/>
                    <a:gd name="connsiteY87" fmla="*/ 424744 h 5458208"/>
                    <a:gd name="connsiteX88" fmla="*/ 1763759 w 2510821"/>
                    <a:gd name="connsiteY88" fmla="*/ 470213 h 5458208"/>
                    <a:gd name="connsiteX89" fmla="*/ 1763304 w 2510821"/>
                    <a:gd name="connsiteY89" fmla="*/ 469304 h 5458208"/>
                    <a:gd name="connsiteX90" fmla="*/ 2045215 w 2510821"/>
                    <a:gd name="connsiteY90" fmla="*/ 262873 h 5458208"/>
                    <a:gd name="connsiteX91" fmla="*/ 2022025 w 2510821"/>
                    <a:gd name="connsiteY91" fmla="*/ 269693 h 5458208"/>
                    <a:gd name="connsiteX92" fmla="*/ 2033393 w 2510821"/>
                    <a:gd name="connsiteY92" fmla="*/ 256962 h 5458208"/>
                    <a:gd name="connsiteX93" fmla="*/ 2036121 w 2510821"/>
                    <a:gd name="connsiteY93" fmla="*/ 255598 h 5458208"/>
                    <a:gd name="connsiteX94" fmla="*/ 2043851 w 2510821"/>
                    <a:gd name="connsiteY94" fmla="*/ 251960 h 5458208"/>
                    <a:gd name="connsiteX95" fmla="*/ 2044305 w 2510821"/>
                    <a:gd name="connsiteY95" fmla="*/ 252415 h 5458208"/>
                    <a:gd name="connsiteX96" fmla="*/ 2044760 w 2510821"/>
                    <a:gd name="connsiteY96" fmla="*/ 252870 h 5458208"/>
                    <a:gd name="connsiteX97" fmla="*/ 2045215 w 2510821"/>
                    <a:gd name="connsiteY97" fmla="*/ 253324 h 5458208"/>
                    <a:gd name="connsiteX98" fmla="*/ 2045669 w 2510821"/>
                    <a:gd name="connsiteY98" fmla="*/ 253779 h 5458208"/>
                    <a:gd name="connsiteX99" fmla="*/ 2046124 w 2510821"/>
                    <a:gd name="connsiteY99" fmla="*/ 254234 h 5458208"/>
                    <a:gd name="connsiteX100" fmla="*/ 2046579 w 2510821"/>
                    <a:gd name="connsiteY100" fmla="*/ 254688 h 5458208"/>
                    <a:gd name="connsiteX101" fmla="*/ 2047034 w 2510821"/>
                    <a:gd name="connsiteY101" fmla="*/ 255143 h 5458208"/>
                    <a:gd name="connsiteX102" fmla="*/ 2047488 w 2510821"/>
                    <a:gd name="connsiteY102" fmla="*/ 255598 h 5458208"/>
                    <a:gd name="connsiteX103" fmla="*/ 2047943 w 2510821"/>
                    <a:gd name="connsiteY103" fmla="*/ 256052 h 5458208"/>
                    <a:gd name="connsiteX104" fmla="*/ 2048398 w 2510821"/>
                    <a:gd name="connsiteY104" fmla="*/ 256507 h 5458208"/>
                    <a:gd name="connsiteX105" fmla="*/ 2048852 w 2510821"/>
                    <a:gd name="connsiteY105" fmla="*/ 256962 h 5458208"/>
                    <a:gd name="connsiteX106" fmla="*/ 2049307 w 2510821"/>
                    <a:gd name="connsiteY106" fmla="*/ 257416 h 5458208"/>
                    <a:gd name="connsiteX107" fmla="*/ 2049762 w 2510821"/>
                    <a:gd name="connsiteY107" fmla="*/ 257871 h 5458208"/>
                    <a:gd name="connsiteX108" fmla="*/ 2050216 w 2510821"/>
                    <a:gd name="connsiteY108" fmla="*/ 258326 h 5458208"/>
                    <a:gd name="connsiteX109" fmla="*/ 2050671 w 2510821"/>
                    <a:gd name="connsiteY109" fmla="*/ 258781 h 5458208"/>
                    <a:gd name="connsiteX110" fmla="*/ 2051126 w 2510821"/>
                    <a:gd name="connsiteY110" fmla="*/ 259235 h 5458208"/>
                    <a:gd name="connsiteX111" fmla="*/ 2045215 w 2510821"/>
                    <a:gd name="connsiteY111" fmla="*/ 262873 h 5458208"/>
                    <a:gd name="connsiteX112" fmla="*/ 2026572 w 2510821"/>
                    <a:gd name="connsiteY112" fmla="*/ 298339 h 5458208"/>
                    <a:gd name="connsiteX113" fmla="*/ 2018842 w 2510821"/>
                    <a:gd name="connsiteY113" fmla="*/ 301977 h 5458208"/>
                    <a:gd name="connsiteX114" fmla="*/ 2051580 w 2510821"/>
                    <a:gd name="connsiteY114" fmla="*/ 264237 h 5458208"/>
                    <a:gd name="connsiteX115" fmla="*/ 2067495 w 2510821"/>
                    <a:gd name="connsiteY115" fmla="*/ 260599 h 5458208"/>
                    <a:gd name="connsiteX116" fmla="*/ 2026572 w 2510821"/>
                    <a:gd name="connsiteY116" fmla="*/ 298339 h 5458208"/>
                    <a:gd name="connsiteX117" fmla="*/ 2502637 w 2510821"/>
                    <a:gd name="connsiteY117" fmla="*/ 549785 h 5458208"/>
                    <a:gd name="connsiteX118" fmla="*/ 2510822 w 2510821"/>
                    <a:gd name="connsiteY118" fmla="*/ 519775 h 5458208"/>
                    <a:gd name="connsiteX119" fmla="*/ 2450802 w 2510821"/>
                    <a:gd name="connsiteY119" fmla="*/ 508862 h 5458208"/>
                    <a:gd name="connsiteX120" fmla="*/ 2452166 w 2510821"/>
                    <a:gd name="connsiteY120" fmla="*/ 506134 h 5458208"/>
                    <a:gd name="connsiteX121" fmla="*/ 2453985 w 2510821"/>
                    <a:gd name="connsiteY121" fmla="*/ 503406 h 5458208"/>
                    <a:gd name="connsiteX122" fmla="*/ 2455804 w 2510821"/>
                    <a:gd name="connsiteY122" fmla="*/ 500223 h 5458208"/>
                    <a:gd name="connsiteX123" fmla="*/ 2458077 w 2510821"/>
                    <a:gd name="connsiteY123" fmla="*/ 496586 h 5458208"/>
                    <a:gd name="connsiteX124" fmla="*/ 2460350 w 2510821"/>
                    <a:gd name="connsiteY124" fmla="*/ 492948 h 5458208"/>
                    <a:gd name="connsiteX125" fmla="*/ 2463079 w 2510821"/>
                    <a:gd name="connsiteY125" fmla="*/ 488856 h 5458208"/>
                    <a:gd name="connsiteX126" fmla="*/ 2465807 w 2510821"/>
                    <a:gd name="connsiteY126" fmla="*/ 484309 h 5458208"/>
                    <a:gd name="connsiteX127" fmla="*/ 2468990 w 2510821"/>
                    <a:gd name="connsiteY127" fmla="*/ 479307 h 5458208"/>
                    <a:gd name="connsiteX128" fmla="*/ 2442618 w 2510821"/>
                    <a:gd name="connsiteY128" fmla="*/ 490675 h 5458208"/>
                    <a:gd name="connsiteX129" fmla="*/ 2451257 w 2510821"/>
                    <a:gd name="connsiteY129" fmla="*/ 401554 h 5458208"/>
                    <a:gd name="connsiteX130" fmla="*/ 2318486 w 2510821"/>
                    <a:gd name="connsiteY130" fmla="*/ 355630 h 5458208"/>
                    <a:gd name="connsiteX131" fmla="*/ 2262559 w 2510821"/>
                    <a:gd name="connsiteY131" fmla="*/ 377456 h 5458208"/>
                    <a:gd name="connsiteX132" fmla="*/ 2246644 w 2510821"/>
                    <a:gd name="connsiteY132" fmla="*/ 352902 h 5458208"/>
                    <a:gd name="connsiteX133" fmla="*/ 2218453 w 2510821"/>
                    <a:gd name="connsiteY133" fmla="*/ 363360 h 5458208"/>
                    <a:gd name="connsiteX134" fmla="*/ 2199811 w 2510821"/>
                    <a:gd name="connsiteY134" fmla="*/ 342899 h 5458208"/>
                    <a:gd name="connsiteX135" fmla="*/ 2221636 w 2510821"/>
                    <a:gd name="connsiteY135" fmla="*/ 229225 h 5458208"/>
                    <a:gd name="connsiteX136" fmla="*/ 2192536 w 2510821"/>
                    <a:gd name="connsiteY136" fmla="*/ 224678 h 5458208"/>
                    <a:gd name="connsiteX137" fmla="*/ 2184806 w 2510821"/>
                    <a:gd name="connsiteY137" fmla="*/ 191486 h 5458208"/>
                    <a:gd name="connsiteX138" fmla="*/ 2073406 w 2510821"/>
                    <a:gd name="connsiteY138" fmla="*/ 231044 h 5458208"/>
                    <a:gd name="connsiteX139" fmla="*/ 2142519 w 2510821"/>
                    <a:gd name="connsiteY139" fmla="*/ 174662 h 5458208"/>
                    <a:gd name="connsiteX140" fmla="*/ 1922902 w 2510821"/>
                    <a:gd name="connsiteY140" fmla="*/ 288336 h 5458208"/>
                    <a:gd name="connsiteX141" fmla="*/ 1948365 w 2510821"/>
                    <a:gd name="connsiteY141" fmla="*/ 300612 h 5458208"/>
                    <a:gd name="connsiteX142" fmla="*/ 1855152 w 2510821"/>
                    <a:gd name="connsiteY142" fmla="*/ 337443 h 5458208"/>
                    <a:gd name="connsiteX143" fmla="*/ 1859245 w 2510821"/>
                    <a:gd name="connsiteY143" fmla="*/ 303795 h 5458208"/>
                    <a:gd name="connsiteX144" fmla="*/ 2046579 w 2510821"/>
                    <a:gd name="connsiteY144" fmla="*/ 167842 h 5458208"/>
                    <a:gd name="connsiteX145" fmla="*/ 1909261 w 2510821"/>
                    <a:gd name="connsiteY145" fmla="*/ 235136 h 5458208"/>
                    <a:gd name="connsiteX146" fmla="*/ 1908352 w 2510821"/>
                    <a:gd name="connsiteY146" fmla="*/ 264692 h 5458208"/>
                    <a:gd name="connsiteX147" fmla="*/ 1723291 w 2510821"/>
                    <a:gd name="connsiteY147" fmla="*/ 381093 h 5458208"/>
                    <a:gd name="connsiteX148" fmla="*/ 1845604 w 2510821"/>
                    <a:gd name="connsiteY148" fmla="*/ 269239 h 5458208"/>
                    <a:gd name="connsiteX149" fmla="*/ 1863792 w 2510821"/>
                    <a:gd name="connsiteY149" fmla="*/ 248323 h 5458208"/>
                    <a:gd name="connsiteX150" fmla="*/ 1795588 w 2510821"/>
                    <a:gd name="connsiteY150" fmla="*/ 279696 h 5458208"/>
                    <a:gd name="connsiteX151" fmla="*/ 1891983 w 2510821"/>
                    <a:gd name="connsiteY151" fmla="*/ 210583 h 5458208"/>
                    <a:gd name="connsiteX152" fmla="*/ 1833327 w 2510821"/>
                    <a:gd name="connsiteY152" fmla="*/ 226497 h 5458208"/>
                    <a:gd name="connsiteX153" fmla="*/ 1966098 w 2510821"/>
                    <a:gd name="connsiteY153" fmla="*/ 154656 h 5458208"/>
                    <a:gd name="connsiteX154" fmla="*/ 1941544 w 2510821"/>
                    <a:gd name="connsiteY154" fmla="*/ 173298 h 5458208"/>
                    <a:gd name="connsiteX155" fmla="*/ 2048398 w 2510821"/>
                    <a:gd name="connsiteY155" fmla="*/ 136013 h 5458208"/>
                    <a:gd name="connsiteX156" fmla="*/ 2019297 w 2510821"/>
                    <a:gd name="connsiteY156" fmla="*/ 140105 h 5458208"/>
                    <a:gd name="connsiteX157" fmla="*/ 1998836 w 2510821"/>
                    <a:gd name="connsiteY157" fmla="*/ 121918 h 5458208"/>
                    <a:gd name="connsiteX158" fmla="*/ 1708741 w 2510821"/>
                    <a:gd name="connsiteY158" fmla="*/ 271057 h 5458208"/>
                    <a:gd name="connsiteX159" fmla="*/ 1722382 w 2510821"/>
                    <a:gd name="connsiteY159" fmla="*/ 295156 h 5458208"/>
                    <a:gd name="connsiteX160" fmla="*/ 1750118 w 2510821"/>
                    <a:gd name="connsiteY160" fmla="*/ 287881 h 5458208"/>
                    <a:gd name="connsiteX161" fmla="*/ 1728293 w 2510821"/>
                    <a:gd name="connsiteY161" fmla="*/ 306523 h 5458208"/>
                    <a:gd name="connsiteX162" fmla="*/ 1755120 w 2510821"/>
                    <a:gd name="connsiteY162" fmla="*/ 299703 h 5458208"/>
                    <a:gd name="connsiteX163" fmla="*/ 1523226 w 2510821"/>
                    <a:gd name="connsiteY163" fmla="*/ 476124 h 5458208"/>
                    <a:gd name="connsiteX164" fmla="*/ 1660998 w 2510821"/>
                    <a:gd name="connsiteY164" fmla="*/ 371090 h 5458208"/>
                    <a:gd name="connsiteX165" fmla="*/ 1433651 w 2510821"/>
                    <a:gd name="connsiteY165" fmla="*/ 491584 h 5458208"/>
                    <a:gd name="connsiteX166" fmla="*/ 1493671 w 2510821"/>
                    <a:gd name="connsiteY166" fmla="*/ 476124 h 5458208"/>
                    <a:gd name="connsiteX167" fmla="*/ 1374995 w 2510821"/>
                    <a:gd name="connsiteY167" fmla="*/ 536599 h 5458208"/>
                    <a:gd name="connsiteX168" fmla="*/ 1667818 w 2510821"/>
                    <a:gd name="connsiteY168" fmla="*/ 332896 h 5458208"/>
                    <a:gd name="connsiteX169" fmla="*/ 1580517 w 2510821"/>
                    <a:gd name="connsiteY169" fmla="*/ 352448 h 5458208"/>
                    <a:gd name="connsiteX170" fmla="*/ 1771034 w 2510821"/>
                    <a:gd name="connsiteY170" fmla="*/ 204672 h 5458208"/>
                    <a:gd name="connsiteX171" fmla="*/ 1818322 w 2510821"/>
                    <a:gd name="connsiteY171" fmla="*/ 168296 h 5458208"/>
                    <a:gd name="connsiteX172" fmla="*/ 1415009 w 2510821"/>
                    <a:gd name="connsiteY172" fmla="*/ 387459 h 5458208"/>
                    <a:gd name="connsiteX173" fmla="*/ 1587792 w 2510821"/>
                    <a:gd name="connsiteY173" fmla="*/ 247868 h 5458208"/>
                    <a:gd name="connsiteX174" fmla="*/ 1977920 w 2510821"/>
                    <a:gd name="connsiteY174" fmla="*/ 3697 h 5458208"/>
                    <a:gd name="connsiteX175" fmla="*/ 1797861 w 2510821"/>
                    <a:gd name="connsiteY175" fmla="*/ 48257 h 5458208"/>
                    <a:gd name="connsiteX176" fmla="*/ 1823324 w 2510821"/>
                    <a:gd name="connsiteY176" fmla="*/ 35071 h 5458208"/>
                    <a:gd name="connsiteX177" fmla="*/ 1390910 w 2510821"/>
                    <a:gd name="connsiteY177" fmla="*/ 259690 h 5458208"/>
                    <a:gd name="connsiteX178" fmla="*/ 1242679 w 2510821"/>
                    <a:gd name="connsiteY178" fmla="*/ 361541 h 5458208"/>
                    <a:gd name="connsiteX179" fmla="*/ 1242679 w 2510821"/>
                    <a:gd name="connsiteY179" fmla="*/ 361541 h 5458208"/>
                    <a:gd name="connsiteX180" fmla="*/ 1220399 w 2510821"/>
                    <a:gd name="connsiteY180" fmla="*/ 377910 h 5458208"/>
                    <a:gd name="connsiteX181" fmla="*/ 1244498 w 2510821"/>
                    <a:gd name="connsiteY181" fmla="*/ 360632 h 5458208"/>
                    <a:gd name="connsiteX182" fmla="*/ 828453 w 2510821"/>
                    <a:gd name="connsiteY182" fmla="*/ 726661 h 5458208"/>
                    <a:gd name="connsiteX183" fmla="*/ 847095 w 2510821"/>
                    <a:gd name="connsiteY183" fmla="*/ 706654 h 5458208"/>
                    <a:gd name="connsiteX184" fmla="*/ 776618 w 2510821"/>
                    <a:gd name="connsiteY184" fmla="*/ 782588 h 5458208"/>
                    <a:gd name="connsiteX185" fmla="*/ 780255 w 2510821"/>
                    <a:gd name="connsiteY185" fmla="*/ 778496 h 5458208"/>
                    <a:gd name="connsiteX186" fmla="*/ 800262 w 2510821"/>
                    <a:gd name="connsiteY186" fmla="*/ 756671 h 5458208"/>
                    <a:gd name="connsiteX187" fmla="*/ 643392 w 2510821"/>
                    <a:gd name="connsiteY187" fmla="*/ 940822 h 5458208"/>
                    <a:gd name="connsiteX188" fmla="*/ 371030 w 2510821"/>
                    <a:gd name="connsiteY188" fmla="*/ 1353684 h 5458208"/>
                    <a:gd name="connsiteX189" fmla="*/ 169601 w 2510821"/>
                    <a:gd name="connsiteY189" fmla="*/ 1806105 h 5458208"/>
                    <a:gd name="connsiteX190" fmla="*/ 44105 w 2510821"/>
                    <a:gd name="connsiteY190" fmla="*/ 2291263 h 5458208"/>
                    <a:gd name="connsiteX191" fmla="*/ 0 w 2510821"/>
                    <a:gd name="connsiteY191" fmla="*/ 2801430 h 5458208"/>
                    <a:gd name="connsiteX192" fmla="*/ 0 w 2510821"/>
                    <a:gd name="connsiteY192" fmla="*/ 2843717 h 5458208"/>
                    <a:gd name="connsiteX193" fmla="*/ 0 w 2510821"/>
                    <a:gd name="connsiteY193" fmla="*/ 2844172 h 5458208"/>
                    <a:gd name="connsiteX194" fmla="*/ 79117 w 2510821"/>
                    <a:gd name="connsiteY194" fmla="*/ 3397080 h 5458208"/>
                    <a:gd name="connsiteX195" fmla="*/ 80481 w 2510821"/>
                    <a:gd name="connsiteY195" fmla="*/ 3337060 h 5458208"/>
                    <a:gd name="connsiteX196" fmla="*/ 1535048 w 2510821"/>
                    <a:gd name="connsiteY196" fmla="*/ 5441385 h 5458208"/>
                    <a:gd name="connsiteX197" fmla="*/ 1564603 w 2510821"/>
                    <a:gd name="connsiteY197" fmla="*/ 5458209 h 5458208"/>
                    <a:gd name="connsiteX198" fmla="*/ 1561875 w 2510821"/>
                    <a:gd name="connsiteY198" fmla="*/ 5456844 h 5458208"/>
                    <a:gd name="connsiteX199" fmla="*/ 1273599 w 2510821"/>
                    <a:gd name="connsiteY199" fmla="*/ 5265418 h 5458208"/>
                    <a:gd name="connsiteX200" fmla="*/ 1298607 w 2510821"/>
                    <a:gd name="connsiteY200" fmla="*/ 5279514 h 5458208"/>
                    <a:gd name="connsiteX201" fmla="*/ 1179022 w 2510821"/>
                    <a:gd name="connsiteY201" fmla="*/ 5151290 h 5458208"/>
                    <a:gd name="connsiteX202" fmla="*/ 1056255 w 2510821"/>
                    <a:gd name="connsiteY202" fmla="*/ 4905755 h 5458208"/>
                    <a:gd name="connsiteX203" fmla="*/ 1063985 w 2510821"/>
                    <a:gd name="connsiteY203" fmla="*/ 4876655 h 5458208"/>
                    <a:gd name="connsiteX204" fmla="*/ 1124004 w 2510821"/>
                    <a:gd name="connsiteY204" fmla="*/ 4864833 h 5458208"/>
                    <a:gd name="connsiteX205" fmla="*/ 1128096 w 2510821"/>
                    <a:gd name="connsiteY205" fmla="*/ 4837096 h 5458208"/>
                    <a:gd name="connsiteX206" fmla="*/ 1040340 w 2510821"/>
                    <a:gd name="connsiteY206" fmla="*/ 4584286 h 5458208"/>
                    <a:gd name="connsiteX207" fmla="*/ 1079444 w 2510821"/>
                    <a:gd name="connsiteY207" fmla="*/ 4418778 h 5458208"/>
                    <a:gd name="connsiteX208" fmla="*/ 1036248 w 2510821"/>
                    <a:gd name="connsiteY208" fmla="*/ 4313288 h 5458208"/>
                    <a:gd name="connsiteX209" fmla="*/ 694318 w 2510821"/>
                    <a:gd name="connsiteY209" fmla="*/ 4062297 h 5458208"/>
                    <a:gd name="connsiteX210" fmla="*/ 427867 w 2510821"/>
                    <a:gd name="connsiteY210" fmla="*/ 3709000 h 5458208"/>
                    <a:gd name="connsiteX211" fmla="*/ 330563 w 2510821"/>
                    <a:gd name="connsiteY211" fmla="*/ 3454371 h 5458208"/>
                    <a:gd name="connsiteX212" fmla="*/ 148685 w 2510821"/>
                    <a:gd name="connsiteY212" fmla="*/ 3248395 h 5458208"/>
                    <a:gd name="connsiteX213" fmla="*/ 101397 w 2510821"/>
                    <a:gd name="connsiteY213" fmla="*/ 3336151 h 5458208"/>
                    <a:gd name="connsiteX214" fmla="*/ 28646 w 2510821"/>
                    <a:gd name="connsiteY214" fmla="*/ 2658656 h 5458208"/>
                    <a:gd name="connsiteX215" fmla="*/ 7730 w 2510821"/>
                    <a:gd name="connsiteY215" fmla="*/ 2711856 h 5458208"/>
                    <a:gd name="connsiteX216" fmla="*/ 62748 w 2510821"/>
                    <a:gd name="connsiteY216" fmla="*/ 2252160 h 5458208"/>
                    <a:gd name="connsiteX217" fmla="*/ 67749 w 2510821"/>
                    <a:gd name="connsiteY217" fmla="*/ 2309906 h 5458208"/>
                    <a:gd name="connsiteX218" fmla="*/ 95031 w 2510821"/>
                    <a:gd name="connsiteY218" fmla="*/ 2306723 h 5458208"/>
                    <a:gd name="connsiteX219" fmla="*/ 80936 w 2510821"/>
                    <a:gd name="connsiteY219" fmla="*/ 2627737 h 5458208"/>
                    <a:gd name="connsiteX220" fmla="*/ 113219 w 2510821"/>
                    <a:gd name="connsiteY220" fmla="*/ 2529068 h 5458208"/>
                    <a:gd name="connsiteX221" fmla="*/ 303281 w 2510821"/>
                    <a:gd name="connsiteY221" fmla="*/ 2144397 h 5458208"/>
                    <a:gd name="connsiteX222" fmla="*/ 533356 w 2510821"/>
                    <a:gd name="connsiteY222" fmla="*/ 1949333 h 5458208"/>
                    <a:gd name="connsiteX223" fmla="*/ 542905 w 2510821"/>
                    <a:gd name="connsiteY223" fmla="*/ 2005715 h 5458208"/>
                    <a:gd name="connsiteX224" fmla="*/ 728420 w 2510821"/>
                    <a:gd name="connsiteY224" fmla="*/ 1900226 h 5458208"/>
                    <a:gd name="connsiteX225" fmla="*/ 670219 w 2510821"/>
                    <a:gd name="connsiteY225" fmla="*/ 1842935 h 5458208"/>
                    <a:gd name="connsiteX226" fmla="*/ 718872 w 2510821"/>
                    <a:gd name="connsiteY226" fmla="*/ 1711528 h 5458208"/>
                    <a:gd name="connsiteX227" fmla="*/ 740242 w 2510821"/>
                    <a:gd name="connsiteY227" fmla="*/ 1817472 h 5458208"/>
                    <a:gd name="connsiteX228" fmla="*/ 865738 w 2510821"/>
                    <a:gd name="connsiteY228" fmla="*/ 1750632 h 5458208"/>
                    <a:gd name="connsiteX229" fmla="*/ 758885 w 2510821"/>
                    <a:gd name="connsiteY229" fmla="*/ 1894770 h 5458208"/>
                    <a:gd name="connsiteX230" fmla="*/ 871194 w 2510821"/>
                    <a:gd name="connsiteY230" fmla="*/ 1974342 h 5458208"/>
                    <a:gd name="connsiteX231" fmla="*/ 900295 w 2510821"/>
                    <a:gd name="connsiteY231" fmla="*/ 1854302 h 5458208"/>
                    <a:gd name="connsiteX232" fmla="*/ 879379 w 2510821"/>
                    <a:gd name="connsiteY232" fmla="*/ 1833841 h 5458208"/>
                    <a:gd name="connsiteX233" fmla="*/ 1105362 w 2510821"/>
                    <a:gd name="connsiteY233" fmla="*/ 1258198 h 5458208"/>
                    <a:gd name="connsiteX234" fmla="*/ 1021698 w 2510821"/>
                    <a:gd name="connsiteY234" fmla="*/ 1296847 h 5458208"/>
                    <a:gd name="connsiteX235" fmla="*/ 996690 w 2510821"/>
                    <a:gd name="connsiteY235" fmla="*/ 1284571 h 5458208"/>
                    <a:gd name="connsiteX236" fmla="*/ 1025790 w 2510821"/>
                    <a:gd name="connsiteY236" fmla="*/ 1236828 h 5458208"/>
                    <a:gd name="connsiteX237" fmla="*/ 1053527 w 2510821"/>
                    <a:gd name="connsiteY237" fmla="*/ 1241375 h 5458208"/>
                    <a:gd name="connsiteX238" fmla="*/ 1108999 w 2510821"/>
                    <a:gd name="connsiteY238" fmla="*/ 1050403 h 5458208"/>
                    <a:gd name="connsiteX239" fmla="*/ 1085355 w 2510821"/>
                    <a:gd name="connsiteY239" fmla="*/ 1035853 h 5458208"/>
                    <a:gd name="connsiteX240" fmla="*/ 1152650 w 2510821"/>
                    <a:gd name="connsiteY240" fmla="*/ 985382 h 5458208"/>
                    <a:gd name="connsiteX241" fmla="*/ 1110818 w 2510821"/>
                    <a:gd name="connsiteY241" fmla="*/ 1187266 h 5458208"/>
                    <a:gd name="connsiteX242" fmla="*/ 1295879 w 2510821"/>
                    <a:gd name="connsiteY242" fmla="*/ 994021 h 5458208"/>
                    <a:gd name="connsiteX243" fmla="*/ 1285875 w 2510821"/>
                    <a:gd name="connsiteY243" fmla="*/ 1053586 h 5458208"/>
                    <a:gd name="connsiteX244" fmla="*/ 1419101 w 2510821"/>
                    <a:gd name="connsiteY244" fmla="*/ 979471 h 5458208"/>
                    <a:gd name="connsiteX245" fmla="*/ 1649176 w 2510821"/>
                    <a:gd name="connsiteY245" fmla="*/ 556605 h 5458208"/>
                    <a:gd name="connsiteX246" fmla="*/ 1645084 w 2510821"/>
                    <a:gd name="connsiteY246" fmla="*/ 477034 h 5458208"/>
                    <a:gd name="connsiteX247" fmla="*/ 1415918 w 2510821"/>
                    <a:gd name="connsiteY247" fmla="*/ 602529 h 5458208"/>
                    <a:gd name="connsiteX248" fmla="*/ 1305882 w 2510821"/>
                    <a:gd name="connsiteY248" fmla="*/ 704835 h 5458208"/>
                    <a:gd name="connsiteX249" fmla="*/ 1657815 w 2510821"/>
                    <a:gd name="connsiteY249" fmla="*/ 447024 h 5458208"/>
                    <a:gd name="connsiteX250" fmla="*/ 1665545 w 2510821"/>
                    <a:gd name="connsiteY250" fmla="*/ 504315 h 5458208"/>
                    <a:gd name="connsiteX251" fmla="*/ 1829235 w 2510821"/>
                    <a:gd name="connsiteY251" fmla="*/ 441568 h 5458208"/>
                    <a:gd name="connsiteX252" fmla="*/ 2160707 w 2510821"/>
                    <a:gd name="connsiteY252" fmla="*/ 336988 h 5458208"/>
                    <a:gd name="connsiteX253" fmla="*/ 1800134 w 2510821"/>
                    <a:gd name="connsiteY253" fmla="*/ 558424 h 5458208"/>
                    <a:gd name="connsiteX254" fmla="*/ 1826961 w 2510821"/>
                    <a:gd name="connsiteY254" fmla="*/ 565699 h 5458208"/>
                    <a:gd name="connsiteX255" fmla="*/ 1842421 w 2510821"/>
                    <a:gd name="connsiteY255" fmla="*/ 594345 h 5458208"/>
                    <a:gd name="connsiteX256" fmla="*/ 1565058 w 2510821"/>
                    <a:gd name="connsiteY256" fmla="*/ 946278 h 5458208"/>
                    <a:gd name="connsiteX257" fmla="*/ 1591885 w 2510821"/>
                    <a:gd name="connsiteY257" fmla="*/ 954008 h 5458208"/>
                    <a:gd name="connsiteX258" fmla="*/ 1326798 w 2510821"/>
                    <a:gd name="connsiteY258" fmla="*/ 1386422 h 5458208"/>
                    <a:gd name="connsiteX259" fmla="*/ 1356808 w 2510821"/>
                    <a:gd name="connsiteY259" fmla="*/ 1469631 h 5458208"/>
                    <a:gd name="connsiteX260" fmla="*/ 1387727 w 2510821"/>
                    <a:gd name="connsiteY260" fmla="*/ 1474633 h 5458208"/>
                    <a:gd name="connsiteX261" fmla="*/ 1822869 w 2510821"/>
                    <a:gd name="connsiteY261" fmla="*/ 1163167 h 5458208"/>
                    <a:gd name="connsiteX262" fmla="*/ 2258466 w 2510821"/>
                    <a:gd name="connsiteY262" fmla="*/ 811689 h 5458208"/>
                    <a:gd name="connsiteX263" fmla="*/ 2502637 w 2510821"/>
                    <a:gd name="connsiteY263" fmla="*/ 549785 h 545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2510821" h="5458208">
                      <a:moveTo>
                        <a:pt x="2031119" y="1039490"/>
                      </a:moveTo>
                      <a:cubicBezTo>
                        <a:pt x="2028846" y="1042673"/>
                        <a:pt x="2016569" y="1055405"/>
                        <a:pt x="2010658" y="1054495"/>
                      </a:cubicBezTo>
                      <a:cubicBezTo>
                        <a:pt x="2009294" y="1054041"/>
                        <a:pt x="2008385" y="1053586"/>
                        <a:pt x="2006566" y="1050858"/>
                      </a:cubicBezTo>
                      <a:cubicBezTo>
                        <a:pt x="2004292" y="1047675"/>
                        <a:pt x="2003383" y="1044037"/>
                        <a:pt x="2001564" y="1040400"/>
                      </a:cubicBezTo>
                      <a:cubicBezTo>
                        <a:pt x="2010658" y="1033125"/>
                        <a:pt x="2019752" y="1025850"/>
                        <a:pt x="2028846" y="1018574"/>
                      </a:cubicBezTo>
                      <a:cubicBezTo>
                        <a:pt x="2029755" y="1024031"/>
                        <a:pt x="2031119" y="1029487"/>
                        <a:pt x="2032029" y="1034943"/>
                      </a:cubicBezTo>
                      <a:cubicBezTo>
                        <a:pt x="2032029" y="1036762"/>
                        <a:pt x="2032029" y="1038126"/>
                        <a:pt x="2031119" y="1039490"/>
                      </a:cubicBezTo>
                      <a:moveTo>
                        <a:pt x="1345895" y="854430"/>
                      </a:moveTo>
                      <a:cubicBezTo>
                        <a:pt x="1344986" y="855339"/>
                        <a:pt x="1251319" y="933547"/>
                        <a:pt x="1205849" y="913085"/>
                      </a:cubicBezTo>
                      <a:cubicBezTo>
                        <a:pt x="1170383" y="897171"/>
                        <a:pt x="1134007" y="958555"/>
                        <a:pt x="1118548" y="984927"/>
                      </a:cubicBezTo>
                      <a:cubicBezTo>
                        <a:pt x="1109909" y="984018"/>
                        <a:pt x="1100815" y="983108"/>
                        <a:pt x="1092176" y="981744"/>
                      </a:cubicBezTo>
                      <a:cubicBezTo>
                        <a:pt x="1090811" y="986746"/>
                        <a:pt x="1089447" y="992202"/>
                        <a:pt x="1088083" y="997204"/>
                      </a:cubicBezTo>
                      <a:cubicBezTo>
                        <a:pt x="1087629" y="998113"/>
                        <a:pt x="977593" y="1128156"/>
                        <a:pt x="915300" y="1155892"/>
                      </a:cubicBezTo>
                      <a:cubicBezTo>
                        <a:pt x="892565" y="1165895"/>
                        <a:pt x="888018" y="1168169"/>
                        <a:pt x="881652" y="1178172"/>
                      </a:cubicBezTo>
                      <a:cubicBezTo>
                        <a:pt x="868921" y="1198179"/>
                        <a:pt x="871649" y="1223187"/>
                        <a:pt x="860281" y="1243193"/>
                      </a:cubicBezTo>
                      <a:cubicBezTo>
                        <a:pt x="857099" y="1248195"/>
                        <a:pt x="787985" y="1338225"/>
                        <a:pt x="755702" y="1336406"/>
                      </a:cubicBezTo>
                      <a:cubicBezTo>
                        <a:pt x="729784" y="1334587"/>
                        <a:pt x="729784" y="1334587"/>
                        <a:pt x="709778" y="1366416"/>
                      </a:cubicBezTo>
                      <a:cubicBezTo>
                        <a:pt x="702048" y="1378692"/>
                        <a:pt x="645666" y="1447806"/>
                        <a:pt x="645211" y="1448260"/>
                      </a:cubicBezTo>
                      <a:cubicBezTo>
                        <a:pt x="644302" y="1449170"/>
                        <a:pt x="642483" y="1450989"/>
                        <a:pt x="641574" y="1451898"/>
                      </a:cubicBezTo>
                      <a:cubicBezTo>
                        <a:pt x="636572" y="1456900"/>
                        <a:pt x="629297" y="1461447"/>
                        <a:pt x="625205" y="1451898"/>
                      </a:cubicBezTo>
                      <a:cubicBezTo>
                        <a:pt x="622931" y="1446896"/>
                        <a:pt x="621112" y="1442804"/>
                        <a:pt x="636572" y="1431891"/>
                      </a:cubicBezTo>
                      <a:cubicBezTo>
                        <a:pt x="668855" y="1409611"/>
                        <a:pt x="731148" y="1292755"/>
                        <a:pt x="732058" y="1291391"/>
                      </a:cubicBezTo>
                      <a:cubicBezTo>
                        <a:pt x="742516" y="1268202"/>
                        <a:pt x="728875" y="1244103"/>
                        <a:pt x="734331" y="1220913"/>
                      </a:cubicBezTo>
                      <a:cubicBezTo>
                        <a:pt x="741606" y="1190449"/>
                        <a:pt x="760703" y="1164077"/>
                        <a:pt x="767524" y="1133612"/>
                      </a:cubicBezTo>
                      <a:cubicBezTo>
                        <a:pt x="768433" y="1130429"/>
                        <a:pt x="769343" y="1125882"/>
                        <a:pt x="769797" y="1122699"/>
                      </a:cubicBezTo>
                      <a:cubicBezTo>
                        <a:pt x="771161" y="1115879"/>
                        <a:pt x="778437" y="1081777"/>
                        <a:pt x="778437" y="1081777"/>
                      </a:cubicBezTo>
                      <a:cubicBezTo>
                        <a:pt x="779346" y="1079503"/>
                        <a:pt x="780710" y="1076775"/>
                        <a:pt x="788440" y="1066317"/>
                      </a:cubicBezTo>
                      <a:cubicBezTo>
                        <a:pt x="860736" y="967649"/>
                        <a:pt x="874377" y="957645"/>
                        <a:pt x="887563" y="947642"/>
                      </a:cubicBezTo>
                      <a:cubicBezTo>
                        <a:pt x="950766" y="899445"/>
                        <a:pt x="1059438" y="860341"/>
                        <a:pt x="1059892" y="860341"/>
                      </a:cubicBezTo>
                      <a:cubicBezTo>
                        <a:pt x="1063985" y="862160"/>
                        <a:pt x="1066258" y="866252"/>
                        <a:pt x="1068986" y="868980"/>
                      </a:cubicBezTo>
                      <a:cubicBezTo>
                        <a:pt x="1077171" y="864888"/>
                        <a:pt x="1077171" y="864888"/>
                        <a:pt x="1163108" y="813962"/>
                      </a:cubicBezTo>
                      <a:cubicBezTo>
                        <a:pt x="1159925" y="821692"/>
                        <a:pt x="1159925" y="821692"/>
                        <a:pt x="1142647" y="833059"/>
                      </a:cubicBezTo>
                      <a:cubicBezTo>
                        <a:pt x="1108090" y="855794"/>
                        <a:pt x="1017151" y="916723"/>
                        <a:pt x="1044887" y="946278"/>
                      </a:cubicBezTo>
                      <a:cubicBezTo>
                        <a:pt x="998963" y="1004479"/>
                        <a:pt x="998963" y="1004479"/>
                        <a:pt x="999418" y="1006298"/>
                      </a:cubicBezTo>
                      <a:cubicBezTo>
                        <a:pt x="999873" y="1006298"/>
                        <a:pt x="1059892" y="1010845"/>
                        <a:pt x="1056255" y="941276"/>
                      </a:cubicBezTo>
                      <a:cubicBezTo>
                        <a:pt x="1078989" y="923998"/>
                        <a:pt x="1080808" y="924453"/>
                        <a:pt x="1086265" y="925817"/>
                      </a:cubicBezTo>
                      <a:cubicBezTo>
                        <a:pt x="1086719" y="940822"/>
                        <a:pt x="1074443" y="954463"/>
                        <a:pt x="1081718" y="969922"/>
                      </a:cubicBezTo>
                      <a:cubicBezTo>
                        <a:pt x="1113546" y="973560"/>
                        <a:pt x="1153559" y="887623"/>
                        <a:pt x="1156742" y="876710"/>
                      </a:cubicBezTo>
                      <a:cubicBezTo>
                        <a:pt x="1162199" y="857158"/>
                        <a:pt x="1173566" y="823056"/>
                        <a:pt x="1189480" y="813507"/>
                      </a:cubicBezTo>
                      <a:cubicBezTo>
                        <a:pt x="1189480" y="818964"/>
                        <a:pt x="1189480" y="818964"/>
                        <a:pt x="1180841" y="853521"/>
                      </a:cubicBezTo>
                      <a:cubicBezTo>
                        <a:pt x="1201757" y="831695"/>
                        <a:pt x="1211305" y="823965"/>
                        <a:pt x="1231312" y="819873"/>
                      </a:cubicBezTo>
                      <a:cubicBezTo>
                        <a:pt x="1297243" y="805323"/>
                        <a:pt x="1397275" y="690740"/>
                        <a:pt x="1398185" y="689831"/>
                      </a:cubicBezTo>
                      <a:cubicBezTo>
                        <a:pt x="1399549" y="689831"/>
                        <a:pt x="1401368" y="689831"/>
                        <a:pt x="1402732" y="690285"/>
                      </a:cubicBezTo>
                      <a:cubicBezTo>
                        <a:pt x="1398640" y="720295"/>
                        <a:pt x="1373177" y="737119"/>
                        <a:pt x="1359081" y="760763"/>
                      </a:cubicBezTo>
                      <a:cubicBezTo>
                        <a:pt x="1392274" y="741666"/>
                        <a:pt x="1395457" y="739847"/>
                        <a:pt x="1401822" y="736209"/>
                      </a:cubicBezTo>
                      <a:cubicBezTo>
                        <a:pt x="1390455" y="781679"/>
                        <a:pt x="1343167" y="785771"/>
                        <a:pt x="1314976" y="812143"/>
                      </a:cubicBezTo>
                      <a:cubicBezTo>
                        <a:pt x="1238132" y="883985"/>
                        <a:pt x="1328162" y="844881"/>
                        <a:pt x="1366811" y="828512"/>
                      </a:cubicBezTo>
                      <a:cubicBezTo>
                        <a:pt x="1363173" y="833969"/>
                        <a:pt x="1357717" y="843972"/>
                        <a:pt x="1345895" y="854430"/>
                      </a:cubicBezTo>
                      <a:moveTo>
                        <a:pt x="1336801" y="601620"/>
                      </a:moveTo>
                      <a:cubicBezTo>
                        <a:pt x="1329981" y="606622"/>
                        <a:pt x="1319977" y="613897"/>
                        <a:pt x="1309974" y="618444"/>
                      </a:cubicBezTo>
                      <a:cubicBezTo>
                        <a:pt x="1301335" y="622081"/>
                        <a:pt x="1292241" y="622991"/>
                        <a:pt x="1283147" y="625719"/>
                      </a:cubicBezTo>
                      <a:cubicBezTo>
                        <a:pt x="1290877" y="618898"/>
                        <a:pt x="1294515" y="615261"/>
                        <a:pt x="1303608" y="607076"/>
                      </a:cubicBezTo>
                      <a:cubicBezTo>
                        <a:pt x="1306791" y="607531"/>
                        <a:pt x="1310883" y="607531"/>
                        <a:pt x="1322251" y="600711"/>
                      </a:cubicBezTo>
                      <a:cubicBezTo>
                        <a:pt x="1338620" y="591162"/>
                        <a:pt x="1353625" y="579340"/>
                        <a:pt x="1369084" y="568882"/>
                      </a:cubicBezTo>
                      <a:cubicBezTo>
                        <a:pt x="1364992" y="574793"/>
                        <a:pt x="1354989" y="587524"/>
                        <a:pt x="1336801" y="601620"/>
                      </a:cubicBezTo>
                      <a:moveTo>
                        <a:pt x="1310883" y="578431"/>
                      </a:moveTo>
                      <a:cubicBezTo>
                        <a:pt x="1310883" y="578431"/>
                        <a:pt x="1286330" y="592981"/>
                        <a:pt x="1280874" y="592526"/>
                      </a:cubicBezTo>
                      <a:cubicBezTo>
                        <a:pt x="1287239" y="551604"/>
                        <a:pt x="1319523" y="522503"/>
                        <a:pt x="1343621" y="503861"/>
                      </a:cubicBezTo>
                      <a:cubicBezTo>
                        <a:pt x="1336346" y="512045"/>
                        <a:pt x="1324979" y="524777"/>
                        <a:pt x="1322706" y="534325"/>
                      </a:cubicBezTo>
                      <a:cubicBezTo>
                        <a:pt x="1321342" y="539327"/>
                        <a:pt x="1322706" y="542510"/>
                        <a:pt x="1322706" y="542510"/>
                      </a:cubicBezTo>
                      <a:cubicBezTo>
                        <a:pt x="1324524" y="547511"/>
                        <a:pt x="1328617" y="551149"/>
                        <a:pt x="1331345" y="555696"/>
                      </a:cubicBezTo>
                      <a:cubicBezTo>
                        <a:pt x="1329071" y="560697"/>
                        <a:pt x="1313612" y="576612"/>
                        <a:pt x="1310883" y="578431"/>
                      </a:cubicBezTo>
                      <a:moveTo>
                        <a:pt x="1329526" y="491584"/>
                      </a:moveTo>
                      <a:cubicBezTo>
                        <a:pt x="1300880" y="504770"/>
                        <a:pt x="1300880" y="504770"/>
                        <a:pt x="1299516" y="504770"/>
                      </a:cubicBezTo>
                      <a:cubicBezTo>
                        <a:pt x="1299516" y="504770"/>
                        <a:pt x="1299516" y="504770"/>
                        <a:pt x="1299516" y="504770"/>
                      </a:cubicBezTo>
                      <a:cubicBezTo>
                        <a:pt x="1299516" y="503861"/>
                        <a:pt x="1299516" y="503861"/>
                        <a:pt x="1324070" y="478853"/>
                      </a:cubicBezTo>
                      <a:cubicBezTo>
                        <a:pt x="1330435" y="480217"/>
                        <a:pt x="1334073" y="481126"/>
                        <a:pt x="1340893" y="482490"/>
                      </a:cubicBezTo>
                      <a:cubicBezTo>
                        <a:pt x="1331345" y="490675"/>
                        <a:pt x="1331345" y="490675"/>
                        <a:pt x="1329526" y="491584"/>
                      </a:cubicBezTo>
                      <a:moveTo>
                        <a:pt x="1662817" y="433383"/>
                      </a:moveTo>
                      <a:cubicBezTo>
                        <a:pt x="1659634" y="435202"/>
                        <a:pt x="1656906" y="436566"/>
                        <a:pt x="1653723" y="438385"/>
                      </a:cubicBezTo>
                      <a:cubicBezTo>
                        <a:pt x="1657361" y="424289"/>
                        <a:pt x="1660089" y="415650"/>
                        <a:pt x="1662817" y="407920"/>
                      </a:cubicBezTo>
                      <a:cubicBezTo>
                        <a:pt x="1675548" y="402919"/>
                        <a:pt x="1688280" y="398372"/>
                        <a:pt x="1701011" y="393370"/>
                      </a:cubicBezTo>
                      <a:cubicBezTo>
                        <a:pt x="1696010" y="398372"/>
                        <a:pt x="1681459" y="413377"/>
                        <a:pt x="1666000" y="430655"/>
                      </a:cubicBezTo>
                      <a:cubicBezTo>
                        <a:pt x="1665090" y="431564"/>
                        <a:pt x="1663726" y="432928"/>
                        <a:pt x="1662817" y="433383"/>
                      </a:cubicBezTo>
                      <a:moveTo>
                        <a:pt x="1763304" y="469304"/>
                      </a:moveTo>
                      <a:cubicBezTo>
                        <a:pt x="1757393" y="467940"/>
                        <a:pt x="1757393" y="467940"/>
                        <a:pt x="1757393" y="467485"/>
                      </a:cubicBezTo>
                      <a:cubicBezTo>
                        <a:pt x="1756939" y="465212"/>
                        <a:pt x="1759667" y="461574"/>
                        <a:pt x="1764214" y="455663"/>
                      </a:cubicBezTo>
                      <a:cubicBezTo>
                        <a:pt x="1773762" y="442932"/>
                        <a:pt x="1783311" y="427472"/>
                        <a:pt x="1771034" y="423835"/>
                      </a:cubicBezTo>
                      <a:cubicBezTo>
                        <a:pt x="1766942" y="422470"/>
                        <a:pt x="1762395" y="424289"/>
                        <a:pt x="1758303" y="422925"/>
                      </a:cubicBezTo>
                      <a:cubicBezTo>
                        <a:pt x="1756939" y="422470"/>
                        <a:pt x="1755120" y="421106"/>
                        <a:pt x="1754665" y="417014"/>
                      </a:cubicBezTo>
                      <a:cubicBezTo>
                        <a:pt x="1754210" y="412922"/>
                        <a:pt x="1754210" y="412922"/>
                        <a:pt x="1756029" y="398372"/>
                      </a:cubicBezTo>
                      <a:cubicBezTo>
                        <a:pt x="1752392" y="400190"/>
                        <a:pt x="1751482" y="400645"/>
                        <a:pt x="1742843" y="404737"/>
                      </a:cubicBezTo>
                      <a:cubicBezTo>
                        <a:pt x="1767851" y="379275"/>
                        <a:pt x="1767851" y="379275"/>
                        <a:pt x="1791495" y="364724"/>
                      </a:cubicBezTo>
                      <a:cubicBezTo>
                        <a:pt x="1793769" y="371999"/>
                        <a:pt x="1793769" y="371999"/>
                        <a:pt x="1793769" y="372909"/>
                      </a:cubicBezTo>
                      <a:cubicBezTo>
                        <a:pt x="1793769" y="372909"/>
                        <a:pt x="1793769" y="375182"/>
                        <a:pt x="1791950" y="382457"/>
                      </a:cubicBezTo>
                      <a:cubicBezTo>
                        <a:pt x="1789222" y="391551"/>
                        <a:pt x="1787403" y="398372"/>
                        <a:pt x="1789677" y="402464"/>
                      </a:cubicBezTo>
                      <a:cubicBezTo>
                        <a:pt x="1791950" y="405647"/>
                        <a:pt x="1796497" y="406556"/>
                        <a:pt x="1797861" y="411103"/>
                      </a:cubicBezTo>
                      <a:cubicBezTo>
                        <a:pt x="1799225" y="415195"/>
                        <a:pt x="1797406" y="421106"/>
                        <a:pt x="1796497" y="424744"/>
                      </a:cubicBezTo>
                      <a:cubicBezTo>
                        <a:pt x="1790131" y="448388"/>
                        <a:pt x="1780128" y="456573"/>
                        <a:pt x="1763759" y="470213"/>
                      </a:cubicBezTo>
                      <a:cubicBezTo>
                        <a:pt x="1763759" y="469759"/>
                        <a:pt x="1763759" y="469304"/>
                        <a:pt x="1763304" y="469304"/>
                      </a:cubicBezTo>
                      <a:moveTo>
                        <a:pt x="2045215" y="262873"/>
                      </a:moveTo>
                      <a:cubicBezTo>
                        <a:pt x="2023389" y="270603"/>
                        <a:pt x="2023389" y="270603"/>
                        <a:pt x="2022025" y="269693"/>
                      </a:cubicBezTo>
                      <a:cubicBezTo>
                        <a:pt x="2020661" y="268329"/>
                        <a:pt x="2032938" y="256962"/>
                        <a:pt x="2033393" y="256962"/>
                      </a:cubicBezTo>
                      <a:cubicBezTo>
                        <a:pt x="2034302" y="256507"/>
                        <a:pt x="2035211" y="256052"/>
                        <a:pt x="2036121" y="255598"/>
                      </a:cubicBezTo>
                      <a:cubicBezTo>
                        <a:pt x="2038849" y="254234"/>
                        <a:pt x="2041577" y="253324"/>
                        <a:pt x="2043851" y="251960"/>
                      </a:cubicBezTo>
                      <a:cubicBezTo>
                        <a:pt x="2043851" y="251960"/>
                        <a:pt x="2044305" y="251960"/>
                        <a:pt x="2044305" y="252415"/>
                      </a:cubicBezTo>
                      <a:cubicBezTo>
                        <a:pt x="2044305" y="252415"/>
                        <a:pt x="2044760" y="252415"/>
                        <a:pt x="2044760" y="252870"/>
                      </a:cubicBezTo>
                      <a:cubicBezTo>
                        <a:pt x="2044760" y="252870"/>
                        <a:pt x="2045215" y="252870"/>
                        <a:pt x="2045215" y="253324"/>
                      </a:cubicBezTo>
                      <a:cubicBezTo>
                        <a:pt x="2045215" y="253324"/>
                        <a:pt x="2045669" y="253324"/>
                        <a:pt x="2045669" y="253779"/>
                      </a:cubicBezTo>
                      <a:cubicBezTo>
                        <a:pt x="2045669" y="253779"/>
                        <a:pt x="2046124" y="253779"/>
                        <a:pt x="2046124" y="254234"/>
                      </a:cubicBezTo>
                      <a:cubicBezTo>
                        <a:pt x="2046124" y="254234"/>
                        <a:pt x="2046579" y="254234"/>
                        <a:pt x="2046579" y="254688"/>
                      </a:cubicBezTo>
                      <a:cubicBezTo>
                        <a:pt x="2046579" y="254688"/>
                        <a:pt x="2047034" y="254688"/>
                        <a:pt x="2047034" y="255143"/>
                      </a:cubicBezTo>
                      <a:cubicBezTo>
                        <a:pt x="2047034" y="255143"/>
                        <a:pt x="2047488" y="255143"/>
                        <a:pt x="2047488" y="255598"/>
                      </a:cubicBezTo>
                      <a:cubicBezTo>
                        <a:pt x="2047488" y="255598"/>
                        <a:pt x="2047943" y="255598"/>
                        <a:pt x="2047943" y="256052"/>
                      </a:cubicBezTo>
                      <a:cubicBezTo>
                        <a:pt x="2047943" y="256507"/>
                        <a:pt x="2048398" y="256052"/>
                        <a:pt x="2048398" y="256507"/>
                      </a:cubicBezTo>
                      <a:cubicBezTo>
                        <a:pt x="2048398" y="256507"/>
                        <a:pt x="2048852" y="256507"/>
                        <a:pt x="2048852" y="256962"/>
                      </a:cubicBezTo>
                      <a:cubicBezTo>
                        <a:pt x="2048852" y="256962"/>
                        <a:pt x="2049307" y="256962"/>
                        <a:pt x="2049307" y="257416"/>
                      </a:cubicBezTo>
                      <a:cubicBezTo>
                        <a:pt x="2049307" y="257416"/>
                        <a:pt x="2049762" y="257416"/>
                        <a:pt x="2049762" y="257871"/>
                      </a:cubicBezTo>
                      <a:cubicBezTo>
                        <a:pt x="2049762" y="257871"/>
                        <a:pt x="2050216" y="257871"/>
                        <a:pt x="2050216" y="258326"/>
                      </a:cubicBezTo>
                      <a:cubicBezTo>
                        <a:pt x="2050216" y="258326"/>
                        <a:pt x="2050671" y="258326"/>
                        <a:pt x="2050671" y="258781"/>
                      </a:cubicBezTo>
                      <a:cubicBezTo>
                        <a:pt x="2050671" y="259235"/>
                        <a:pt x="2051126" y="258781"/>
                        <a:pt x="2051126" y="259235"/>
                      </a:cubicBezTo>
                      <a:cubicBezTo>
                        <a:pt x="2047034" y="262418"/>
                        <a:pt x="2047034" y="262418"/>
                        <a:pt x="2045215" y="262873"/>
                      </a:cubicBezTo>
                      <a:moveTo>
                        <a:pt x="2026572" y="298339"/>
                      </a:moveTo>
                      <a:cubicBezTo>
                        <a:pt x="2023844" y="299703"/>
                        <a:pt x="2021571" y="300612"/>
                        <a:pt x="2018842" y="301977"/>
                      </a:cubicBezTo>
                      <a:cubicBezTo>
                        <a:pt x="2037485" y="279242"/>
                        <a:pt x="2051580" y="264237"/>
                        <a:pt x="2051580" y="264237"/>
                      </a:cubicBezTo>
                      <a:cubicBezTo>
                        <a:pt x="2051580" y="264237"/>
                        <a:pt x="2067495" y="257416"/>
                        <a:pt x="2067495" y="260599"/>
                      </a:cubicBezTo>
                      <a:cubicBezTo>
                        <a:pt x="2067495" y="263782"/>
                        <a:pt x="2031574" y="296065"/>
                        <a:pt x="2026572" y="298339"/>
                      </a:cubicBezTo>
                      <a:moveTo>
                        <a:pt x="2502637" y="549785"/>
                      </a:moveTo>
                      <a:cubicBezTo>
                        <a:pt x="2504911" y="540691"/>
                        <a:pt x="2508093" y="528869"/>
                        <a:pt x="2510822" y="519775"/>
                      </a:cubicBezTo>
                      <a:cubicBezTo>
                        <a:pt x="2493998" y="513409"/>
                        <a:pt x="2469444" y="509317"/>
                        <a:pt x="2450802" y="508862"/>
                      </a:cubicBezTo>
                      <a:cubicBezTo>
                        <a:pt x="2451257" y="507953"/>
                        <a:pt x="2451711" y="507044"/>
                        <a:pt x="2452166" y="506134"/>
                      </a:cubicBezTo>
                      <a:cubicBezTo>
                        <a:pt x="2452621" y="505225"/>
                        <a:pt x="2453530" y="504315"/>
                        <a:pt x="2453985" y="503406"/>
                      </a:cubicBezTo>
                      <a:cubicBezTo>
                        <a:pt x="2454439" y="502497"/>
                        <a:pt x="2455349" y="501133"/>
                        <a:pt x="2455804" y="500223"/>
                      </a:cubicBezTo>
                      <a:cubicBezTo>
                        <a:pt x="2456713" y="498859"/>
                        <a:pt x="2457168" y="497950"/>
                        <a:pt x="2458077" y="496586"/>
                      </a:cubicBezTo>
                      <a:cubicBezTo>
                        <a:pt x="2458986" y="495222"/>
                        <a:pt x="2459896" y="493857"/>
                        <a:pt x="2460350" y="492948"/>
                      </a:cubicBezTo>
                      <a:cubicBezTo>
                        <a:pt x="2461260" y="491584"/>
                        <a:pt x="2462169" y="490220"/>
                        <a:pt x="2463079" y="488856"/>
                      </a:cubicBezTo>
                      <a:cubicBezTo>
                        <a:pt x="2463988" y="487492"/>
                        <a:pt x="2464897" y="485673"/>
                        <a:pt x="2465807" y="484309"/>
                      </a:cubicBezTo>
                      <a:cubicBezTo>
                        <a:pt x="2466716" y="482490"/>
                        <a:pt x="2468080" y="481126"/>
                        <a:pt x="2468990" y="479307"/>
                      </a:cubicBezTo>
                      <a:cubicBezTo>
                        <a:pt x="2461260" y="482490"/>
                        <a:pt x="2450802" y="487037"/>
                        <a:pt x="2442618" y="490675"/>
                      </a:cubicBezTo>
                      <a:cubicBezTo>
                        <a:pt x="2438980" y="473396"/>
                        <a:pt x="2438980" y="473396"/>
                        <a:pt x="2451257" y="401554"/>
                      </a:cubicBezTo>
                      <a:cubicBezTo>
                        <a:pt x="2414426" y="364724"/>
                        <a:pt x="2360773" y="376546"/>
                        <a:pt x="2318486" y="355630"/>
                      </a:cubicBezTo>
                      <a:cubicBezTo>
                        <a:pt x="2301662" y="361996"/>
                        <a:pt x="2279382" y="371090"/>
                        <a:pt x="2262559" y="377456"/>
                      </a:cubicBezTo>
                      <a:cubicBezTo>
                        <a:pt x="2257557" y="370181"/>
                        <a:pt x="2251191" y="360177"/>
                        <a:pt x="2246644" y="352902"/>
                      </a:cubicBezTo>
                      <a:cubicBezTo>
                        <a:pt x="2238005" y="356085"/>
                        <a:pt x="2226638" y="360177"/>
                        <a:pt x="2218453" y="363360"/>
                      </a:cubicBezTo>
                      <a:cubicBezTo>
                        <a:pt x="2212997" y="357449"/>
                        <a:pt x="2205267" y="349265"/>
                        <a:pt x="2199811" y="342899"/>
                      </a:cubicBezTo>
                      <a:cubicBezTo>
                        <a:pt x="2202994" y="313799"/>
                        <a:pt x="2205722" y="292883"/>
                        <a:pt x="2221636" y="229225"/>
                      </a:cubicBezTo>
                      <a:cubicBezTo>
                        <a:pt x="2212997" y="227861"/>
                        <a:pt x="2201175" y="226043"/>
                        <a:pt x="2192536" y="224678"/>
                      </a:cubicBezTo>
                      <a:cubicBezTo>
                        <a:pt x="2191172" y="214675"/>
                        <a:pt x="2192081" y="198761"/>
                        <a:pt x="2184806" y="191486"/>
                      </a:cubicBezTo>
                      <a:cubicBezTo>
                        <a:pt x="2141155" y="186029"/>
                        <a:pt x="2138427" y="187848"/>
                        <a:pt x="2073406" y="231044"/>
                      </a:cubicBezTo>
                      <a:cubicBezTo>
                        <a:pt x="2076134" y="227861"/>
                        <a:pt x="2076134" y="227861"/>
                        <a:pt x="2142519" y="174662"/>
                      </a:cubicBezTo>
                      <a:cubicBezTo>
                        <a:pt x="2087501" y="184211"/>
                        <a:pt x="2025208" y="195123"/>
                        <a:pt x="1922902" y="288336"/>
                      </a:cubicBezTo>
                      <a:cubicBezTo>
                        <a:pt x="1930632" y="291973"/>
                        <a:pt x="1940635" y="296975"/>
                        <a:pt x="1948365" y="300612"/>
                      </a:cubicBezTo>
                      <a:cubicBezTo>
                        <a:pt x="1917900" y="314708"/>
                        <a:pt x="1912444" y="316981"/>
                        <a:pt x="1855152" y="337443"/>
                      </a:cubicBezTo>
                      <a:cubicBezTo>
                        <a:pt x="1856517" y="327439"/>
                        <a:pt x="1858335" y="313799"/>
                        <a:pt x="1859245" y="303795"/>
                      </a:cubicBezTo>
                      <a:cubicBezTo>
                        <a:pt x="1908352" y="298794"/>
                        <a:pt x="1981557" y="229225"/>
                        <a:pt x="2046579" y="167842"/>
                      </a:cubicBezTo>
                      <a:cubicBezTo>
                        <a:pt x="2040213" y="169206"/>
                        <a:pt x="2040213" y="169206"/>
                        <a:pt x="1909261" y="235136"/>
                      </a:cubicBezTo>
                      <a:cubicBezTo>
                        <a:pt x="1908806" y="244230"/>
                        <a:pt x="1908352" y="256052"/>
                        <a:pt x="1908352" y="264692"/>
                      </a:cubicBezTo>
                      <a:cubicBezTo>
                        <a:pt x="1855152" y="307888"/>
                        <a:pt x="1724655" y="380184"/>
                        <a:pt x="1723291" y="381093"/>
                      </a:cubicBezTo>
                      <a:cubicBezTo>
                        <a:pt x="1761485" y="341080"/>
                        <a:pt x="1817868" y="320619"/>
                        <a:pt x="1845604" y="269239"/>
                      </a:cubicBezTo>
                      <a:cubicBezTo>
                        <a:pt x="1851060" y="262873"/>
                        <a:pt x="1858335" y="254688"/>
                        <a:pt x="1863792" y="248323"/>
                      </a:cubicBezTo>
                      <a:cubicBezTo>
                        <a:pt x="1842421" y="255143"/>
                        <a:pt x="1815139" y="268329"/>
                        <a:pt x="1795588" y="279696"/>
                      </a:cubicBezTo>
                      <a:cubicBezTo>
                        <a:pt x="1825143" y="247868"/>
                        <a:pt x="1825143" y="247868"/>
                        <a:pt x="1891983" y="210583"/>
                      </a:cubicBezTo>
                      <a:cubicBezTo>
                        <a:pt x="1873795" y="211492"/>
                        <a:pt x="1849242" y="217858"/>
                        <a:pt x="1833327" y="226497"/>
                      </a:cubicBezTo>
                      <a:cubicBezTo>
                        <a:pt x="1901077" y="171479"/>
                        <a:pt x="1920174" y="166478"/>
                        <a:pt x="1966098" y="154656"/>
                      </a:cubicBezTo>
                      <a:cubicBezTo>
                        <a:pt x="1958823" y="160112"/>
                        <a:pt x="1948820" y="167387"/>
                        <a:pt x="1941544" y="173298"/>
                      </a:cubicBezTo>
                      <a:cubicBezTo>
                        <a:pt x="1987469" y="178300"/>
                        <a:pt x="2024753" y="156020"/>
                        <a:pt x="2048398" y="136013"/>
                      </a:cubicBezTo>
                      <a:cubicBezTo>
                        <a:pt x="2039758" y="137377"/>
                        <a:pt x="2027936" y="138741"/>
                        <a:pt x="2019297" y="140105"/>
                      </a:cubicBezTo>
                      <a:cubicBezTo>
                        <a:pt x="2012931" y="134649"/>
                        <a:pt x="2004747" y="127374"/>
                        <a:pt x="1998836" y="121918"/>
                      </a:cubicBezTo>
                      <a:cubicBezTo>
                        <a:pt x="1932451" y="134194"/>
                        <a:pt x="1850606" y="150563"/>
                        <a:pt x="1708741" y="271057"/>
                      </a:cubicBezTo>
                      <a:cubicBezTo>
                        <a:pt x="1712833" y="278332"/>
                        <a:pt x="1718290" y="287881"/>
                        <a:pt x="1722382" y="295156"/>
                      </a:cubicBezTo>
                      <a:cubicBezTo>
                        <a:pt x="1730566" y="292883"/>
                        <a:pt x="1741934" y="290154"/>
                        <a:pt x="1750118" y="287881"/>
                      </a:cubicBezTo>
                      <a:cubicBezTo>
                        <a:pt x="1743752" y="293337"/>
                        <a:pt x="1734659" y="301067"/>
                        <a:pt x="1728293" y="306523"/>
                      </a:cubicBezTo>
                      <a:cubicBezTo>
                        <a:pt x="1736477" y="304705"/>
                        <a:pt x="1746935" y="301977"/>
                        <a:pt x="1755120" y="299703"/>
                      </a:cubicBezTo>
                      <a:cubicBezTo>
                        <a:pt x="1716471" y="352448"/>
                        <a:pt x="1525044" y="474760"/>
                        <a:pt x="1523226" y="476124"/>
                      </a:cubicBezTo>
                      <a:cubicBezTo>
                        <a:pt x="1561420" y="431110"/>
                        <a:pt x="1627351" y="422016"/>
                        <a:pt x="1660998" y="371090"/>
                      </a:cubicBezTo>
                      <a:cubicBezTo>
                        <a:pt x="1622349" y="374728"/>
                        <a:pt x="1622349" y="374728"/>
                        <a:pt x="1433651" y="491584"/>
                      </a:cubicBezTo>
                      <a:cubicBezTo>
                        <a:pt x="1451839" y="488401"/>
                        <a:pt x="1475938" y="482490"/>
                        <a:pt x="1493671" y="476124"/>
                      </a:cubicBezTo>
                      <a:cubicBezTo>
                        <a:pt x="1414099" y="535235"/>
                        <a:pt x="1414099" y="535235"/>
                        <a:pt x="1374995" y="536599"/>
                      </a:cubicBezTo>
                      <a:cubicBezTo>
                        <a:pt x="1379542" y="531597"/>
                        <a:pt x="1379542" y="531597"/>
                        <a:pt x="1667818" y="332896"/>
                      </a:cubicBezTo>
                      <a:cubicBezTo>
                        <a:pt x="1616438" y="334260"/>
                        <a:pt x="1616438" y="334260"/>
                        <a:pt x="1580517" y="352448"/>
                      </a:cubicBezTo>
                      <a:cubicBezTo>
                        <a:pt x="1648721" y="308797"/>
                        <a:pt x="1770579" y="205127"/>
                        <a:pt x="1771034" y="204672"/>
                      </a:cubicBezTo>
                      <a:cubicBezTo>
                        <a:pt x="1786039" y="195123"/>
                        <a:pt x="1805591" y="180573"/>
                        <a:pt x="1818322" y="168296"/>
                      </a:cubicBezTo>
                      <a:cubicBezTo>
                        <a:pt x="1671911" y="208764"/>
                        <a:pt x="1671911" y="208764"/>
                        <a:pt x="1415009" y="387459"/>
                      </a:cubicBezTo>
                      <a:cubicBezTo>
                        <a:pt x="1415918" y="386550"/>
                        <a:pt x="1521862" y="284243"/>
                        <a:pt x="1587792" y="247868"/>
                      </a:cubicBezTo>
                      <a:cubicBezTo>
                        <a:pt x="1590975" y="234682"/>
                        <a:pt x="1590975" y="234682"/>
                        <a:pt x="1977920" y="3697"/>
                      </a:cubicBezTo>
                      <a:cubicBezTo>
                        <a:pt x="1926540" y="-4033"/>
                        <a:pt x="1926540" y="-4033"/>
                        <a:pt x="1797861" y="48257"/>
                      </a:cubicBezTo>
                      <a:cubicBezTo>
                        <a:pt x="1805591" y="44165"/>
                        <a:pt x="1816049" y="39163"/>
                        <a:pt x="1823324" y="35071"/>
                      </a:cubicBezTo>
                      <a:cubicBezTo>
                        <a:pt x="1761031" y="52349"/>
                        <a:pt x="1615074" y="120554"/>
                        <a:pt x="1390910" y="259690"/>
                      </a:cubicBezTo>
                      <a:lnTo>
                        <a:pt x="1242679" y="361541"/>
                      </a:lnTo>
                      <a:lnTo>
                        <a:pt x="1242679" y="361541"/>
                      </a:lnTo>
                      <a:cubicBezTo>
                        <a:pt x="1235859" y="366543"/>
                        <a:pt x="1226765" y="372909"/>
                        <a:pt x="1220399" y="377910"/>
                      </a:cubicBezTo>
                      <a:cubicBezTo>
                        <a:pt x="1227674" y="372909"/>
                        <a:pt x="1237223" y="365634"/>
                        <a:pt x="1244498" y="360632"/>
                      </a:cubicBezTo>
                      <a:cubicBezTo>
                        <a:pt x="1138554" y="439749"/>
                        <a:pt x="980321" y="567518"/>
                        <a:pt x="828453" y="726661"/>
                      </a:cubicBezTo>
                      <a:cubicBezTo>
                        <a:pt x="833909" y="720750"/>
                        <a:pt x="841639" y="712565"/>
                        <a:pt x="847095" y="706654"/>
                      </a:cubicBezTo>
                      <a:cubicBezTo>
                        <a:pt x="825725" y="729389"/>
                        <a:pt x="797534" y="759854"/>
                        <a:pt x="776618" y="782588"/>
                      </a:cubicBezTo>
                      <a:lnTo>
                        <a:pt x="780255" y="778496"/>
                      </a:lnTo>
                      <a:cubicBezTo>
                        <a:pt x="786166" y="772130"/>
                        <a:pt x="794351" y="763036"/>
                        <a:pt x="800262" y="756671"/>
                      </a:cubicBezTo>
                      <a:cubicBezTo>
                        <a:pt x="727966" y="836697"/>
                        <a:pt x="715234" y="852611"/>
                        <a:pt x="643392" y="940822"/>
                      </a:cubicBezTo>
                      <a:cubicBezTo>
                        <a:pt x="470154" y="1179991"/>
                        <a:pt x="459696" y="1194086"/>
                        <a:pt x="371030" y="1353684"/>
                      </a:cubicBezTo>
                      <a:cubicBezTo>
                        <a:pt x="234622" y="1626955"/>
                        <a:pt x="229166" y="1637868"/>
                        <a:pt x="169601" y="1806105"/>
                      </a:cubicBezTo>
                      <a:cubicBezTo>
                        <a:pt x="78662" y="2103475"/>
                        <a:pt x="75025" y="2115297"/>
                        <a:pt x="44105" y="2291263"/>
                      </a:cubicBezTo>
                      <a:cubicBezTo>
                        <a:pt x="2728" y="2606366"/>
                        <a:pt x="909" y="2619098"/>
                        <a:pt x="0" y="2801430"/>
                      </a:cubicBezTo>
                      <a:lnTo>
                        <a:pt x="0" y="2843717"/>
                      </a:lnTo>
                      <a:lnTo>
                        <a:pt x="0" y="2844172"/>
                      </a:lnTo>
                      <a:cubicBezTo>
                        <a:pt x="2273" y="2984672"/>
                        <a:pt x="18188" y="3194286"/>
                        <a:pt x="79117" y="3397080"/>
                      </a:cubicBezTo>
                      <a:cubicBezTo>
                        <a:pt x="80481" y="3378892"/>
                        <a:pt x="81390" y="3354793"/>
                        <a:pt x="80481" y="3337060"/>
                      </a:cubicBezTo>
                      <a:cubicBezTo>
                        <a:pt x="177785" y="3771748"/>
                        <a:pt x="405133" y="4790263"/>
                        <a:pt x="1535048" y="5441385"/>
                      </a:cubicBezTo>
                      <a:lnTo>
                        <a:pt x="1564603" y="5458209"/>
                      </a:lnTo>
                      <a:lnTo>
                        <a:pt x="1561875" y="5456844"/>
                      </a:lnTo>
                      <a:cubicBezTo>
                        <a:pt x="1446382" y="5390004"/>
                        <a:pt x="1446382" y="5390004"/>
                        <a:pt x="1273599" y="5265418"/>
                      </a:cubicBezTo>
                      <a:cubicBezTo>
                        <a:pt x="1280874" y="5269510"/>
                        <a:pt x="1290877" y="5275421"/>
                        <a:pt x="1298607" y="5279514"/>
                      </a:cubicBezTo>
                      <a:cubicBezTo>
                        <a:pt x="1255411" y="5239955"/>
                        <a:pt x="1226765" y="5187210"/>
                        <a:pt x="1179022" y="5151290"/>
                      </a:cubicBezTo>
                      <a:cubicBezTo>
                        <a:pt x="1182660" y="5119916"/>
                        <a:pt x="1185388" y="5097181"/>
                        <a:pt x="1056255" y="4905755"/>
                      </a:cubicBezTo>
                      <a:cubicBezTo>
                        <a:pt x="1058528" y="4897116"/>
                        <a:pt x="1061711" y="4885294"/>
                        <a:pt x="1063985" y="4876655"/>
                      </a:cubicBezTo>
                      <a:cubicBezTo>
                        <a:pt x="1081263" y="4870289"/>
                        <a:pt x="1105816" y="4865287"/>
                        <a:pt x="1124004" y="4864833"/>
                      </a:cubicBezTo>
                      <a:cubicBezTo>
                        <a:pt x="1125368" y="4856648"/>
                        <a:pt x="1129006" y="4845735"/>
                        <a:pt x="1128096" y="4837096"/>
                      </a:cubicBezTo>
                      <a:cubicBezTo>
                        <a:pt x="1119003" y="4745702"/>
                        <a:pt x="1051253" y="4674770"/>
                        <a:pt x="1040340" y="4584286"/>
                      </a:cubicBezTo>
                      <a:cubicBezTo>
                        <a:pt x="1033520" y="4524267"/>
                        <a:pt x="1088993" y="4479252"/>
                        <a:pt x="1079444" y="4418778"/>
                      </a:cubicBezTo>
                      <a:cubicBezTo>
                        <a:pt x="1079444" y="4418323"/>
                        <a:pt x="1068986" y="4367852"/>
                        <a:pt x="1036248" y="4313288"/>
                      </a:cubicBezTo>
                      <a:cubicBezTo>
                        <a:pt x="957131" y="4181882"/>
                        <a:pt x="806628" y="4148689"/>
                        <a:pt x="694318" y="4062297"/>
                      </a:cubicBezTo>
                      <a:cubicBezTo>
                        <a:pt x="572915" y="3969085"/>
                        <a:pt x="631116" y="3740374"/>
                        <a:pt x="427867" y="3709000"/>
                      </a:cubicBezTo>
                      <a:cubicBezTo>
                        <a:pt x="328744" y="3551676"/>
                        <a:pt x="329199" y="3540763"/>
                        <a:pt x="330563" y="3454371"/>
                      </a:cubicBezTo>
                      <a:cubicBezTo>
                        <a:pt x="294187" y="3446641"/>
                        <a:pt x="173693" y="3408902"/>
                        <a:pt x="148685" y="3248395"/>
                      </a:cubicBezTo>
                      <a:cubicBezTo>
                        <a:pt x="114583" y="3273858"/>
                        <a:pt x="105489" y="3286589"/>
                        <a:pt x="101397" y="3336151"/>
                      </a:cubicBezTo>
                      <a:cubicBezTo>
                        <a:pt x="43196" y="3234754"/>
                        <a:pt x="43196" y="3234754"/>
                        <a:pt x="28646" y="2658656"/>
                      </a:cubicBezTo>
                      <a:cubicBezTo>
                        <a:pt x="18642" y="2672752"/>
                        <a:pt x="9094" y="2694577"/>
                        <a:pt x="7730" y="2711856"/>
                      </a:cubicBezTo>
                      <a:cubicBezTo>
                        <a:pt x="-5456" y="2626373"/>
                        <a:pt x="30465" y="2325365"/>
                        <a:pt x="62748" y="2252160"/>
                      </a:cubicBezTo>
                      <a:cubicBezTo>
                        <a:pt x="67295" y="2268984"/>
                        <a:pt x="69114" y="2292627"/>
                        <a:pt x="67749" y="2309906"/>
                      </a:cubicBezTo>
                      <a:cubicBezTo>
                        <a:pt x="75934" y="2308997"/>
                        <a:pt x="86847" y="2307633"/>
                        <a:pt x="95031" y="2306723"/>
                      </a:cubicBezTo>
                      <a:cubicBezTo>
                        <a:pt x="109127" y="2414486"/>
                        <a:pt x="80936" y="2520429"/>
                        <a:pt x="80936" y="2627737"/>
                      </a:cubicBezTo>
                      <a:cubicBezTo>
                        <a:pt x="105034" y="2587269"/>
                        <a:pt x="105034" y="2587269"/>
                        <a:pt x="113219" y="2529068"/>
                      </a:cubicBezTo>
                      <a:cubicBezTo>
                        <a:pt x="131407" y="2402209"/>
                        <a:pt x="131407" y="2402209"/>
                        <a:pt x="303281" y="2144397"/>
                      </a:cubicBezTo>
                      <a:cubicBezTo>
                        <a:pt x="341021" y="2087560"/>
                        <a:pt x="411498" y="1982071"/>
                        <a:pt x="533356" y="1949333"/>
                      </a:cubicBezTo>
                      <a:cubicBezTo>
                        <a:pt x="542450" y="1963884"/>
                        <a:pt x="546088" y="1988892"/>
                        <a:pt x="542905" y="2005715"/>
                      </a:cubicBezTo>
                      <a:cubicBezTo>
                        <a:pt x="684315" y="1994803"/>
                        <a:pt x="705685" y="1974796"/>
                        <a:pt x="728420" y="1900226"/>
                      </a:cubicBezTo>
                      <a:cubicBezTo>
                        <a:pt x="681132" y="1883858"/>
                        <a:pt x="679313" y="1877946"/>
                        <a:pt x="670219" y="1842935"/>
                      </a:cubicBezTo>
                      <a:cubicBezTo>
                        <a:pt x="706595" y="1785189"/>
                        <a:pt x="706595" y="1785189"/>
                        <a:pt x="718872" y="1711528"/>
                      </a:cubicBezTo>
                      <a:cubicBezTo>
                        <a:pt x="743880" y="1743357"/>
                        <a:pt x="732058" y="1782461"/>
                        <a:pt x="740242" y="1817472"/>
                      </a:cubicBezTo>
                      <a:cubicBezTo>
                        <a:pt x="844367" y="1756543"/>
                        <a:pt x="844367" y="1756543"/>
                        <a:pt x="865738" y="1750632"/>
                      </a:cubicBezTo>
                      <a:cubicBezTo>
                        <a:pt x="844822" y="1809288"/>
                        <a:pt x="768888" y="1827475"/>
                        <a:pt x="758885" y="1894770"/>
                      </a:cubicBezTo>
                      <a:cubicBezTo>
                        <a:pt x="797988" y="1918869"/>
                        <a:pt x="811174" y="1979798"/>
                        <a:pt x="871194" y="1974342"/>
                      </a:cubicBezTo>
                      <a:cubicBezTo>
                        <a:pt x="891201" y="1932510"/>
                        <a:pt x="892565" y="1923871"/>
                        <a:pt x="900295" y="1854302"/>
                      </a:cubicBezTo>
                      <a:cubicBezTo>
                        <a:pt x="893929" y="1847937"/>
                        <a:pt x="885290" y="1839752"/>
                        <a:pt x="879379" y="1833841"/>
                      </a:cubicBezTo>
                      <a:cubicBezTo>
                        <a:pt x="947583" y="1639232"/>
                        <a:pt x="1064439" y="1463720"/>
                        <a:pt x="1105362" y="1258198"/>
                      </a:cubicBezTo>
                      <a:cubicBezTo>
                        <a:pt x="1079444" y="1259562"/>
                        <a:pt x="1079444" y="1259562"/>
                        <a:pt x="1021698" y="1296847"/>
                      </a:cubicBezTo>
                      <a:cubicBezTo>
                        <a:pt x="1014423" y="1293210"/>
                        <a:pt x="1004420" y="1288208"/>
                        <a:pt x="996690" y="1284571"/>
                      </a:cubicBezTo>
                      <a:cubicBezTo>
                        <a:pt x="1001691" y="1268656"/>
                        <a:pt x="1014423" y="1249104"/>
                        <a:pt x="1025790" y="1236828"/>
                      </a:cubicBezTo>
                      <a:cubicBezTo>
                        <a:pt x="1033975" y="1238192"/>
                        <a:pt x="1044887" y="1240011"/>
                        <a:pt x="1053527" y="1241375"/>
                      </a:cubicBezTo>
                      <a:cubicBezTo>
                        <a:pt x="1095813" y="1184538"/>
                        <a:pt x="1087629" y="1113151"/>
                        <a:pt x="1108999" y="1050403"/>
                      </a:cubicBezTo>
                      <a:cubicBezTo>
                        <a:pt x="1101724" y="1045856"/>
                        <a:pt x="1092630" y="1040400"/>
                        <a:pt x="1085355" y="1035853"/>
                      </a:cubicBezTo>
                      <a:cubicBezTo>
                        <a:pt x="1114001" y="994021"/>
                        <a:pt x="1116274" y="993566"/>
                        <a:pt x="1152650" y="985382"/>
                      </a:cubicBezTo>
                      <a:cubicBezTo>
                        <a:pt x="1162653" y="1057678"/>
                        <a:pt x="1113546" y="1117698"/>
                        <a:pt x="1110818" y="1187266"/>
                      </a:cubicBezTo>
                      <a:cubicBezTo>
                        <a:pt x="1198119" y="1173625"/>
                        <a:pt x="1248136" y="1082232"/>
                        <a:pt x="1295879" y="994021"/>
                      </a:cubicBezTo>
                      <a:cubicBezTo>
                        <a:pt x="1296788" y="1012209"/>
                        <a:pt x="1292696" y="1036762"/>
                        <a:pt x="1285875" y="1053586"/>
                      </a:cubicBezTo>
                      <a:cubicBezTo>
                        <a:pt x="1356353" y="1060861"/>
                        <a:pt x="1416373" y="982654"/>
                        <a:pt x="1419101" y="979471"/>
                      </a:cubicBezTo>
                      <a:cubicBezTo>
                        <a:pt x="1418646" y="978561"/>
                        <a:pt x="1419101" y="848974"/>
                        <a:pt x="1649176" y="556605"/>
                      </a:cubicBezTo>
                      <a:cubicBezTo>
                        <a:pt x="1632807" y="502042"/>
                        <a:pt x="1632807" y="502042"/>
                        <a:pt x="1645084" y="477034"/>
                      </a:cubicBezTo>
                      <a:cubicBezTo>
                        <a:pt x="1554145" y="489765"/>
                        <a:pt x="1503219" y="527050"/>
                        <a:pt x="1415918" y="602529"/>
                      </a:cubicBezTo>
                      <a:cubicBezTo>
                        <a:pt x="1414099" y="640269"/>
                        <a:pt x="1413644" y="645271"/>
                        <a:pt x="1305882" y="704835"/>
                      </a:cubicBezTo>
                      <a:cubicBezTo>
                        <a:pt x="1421829" y="570246"/>
                        <a:pt x="1421829" y="570246"/>
                        <a:pt x="1657815" y="447024"/>
                      </a:cubicBezTo>
                      <a:cubicBezTo>
                        <a:pt x="1660543" y="464302"/>
                        <a:pt x="1663726" y="487037"/>
                        <a:pt x="1665545" y="504315"/>
                      </a:cubicBezTo>
                      <a:cubicBezTo>
                        <a:pt x="1716016" y="520684"/>
                        <a:pt x="1796952" y="465666"/>
                        <a:pt x="1829235" y="441568"/>
                      </a:cubicBezTo>
                      <a:cubicBezTo>
                        <a:pt x="1835601" y="436566"/>
                        <a:pt x="2158888" y="336988"/>
                        <a:pt x="2160707" y="336988"/>
                      </a:cubicBezTo>
                      <a:cubicBezTo>
                        <a:pt x="1811047" y="531142"/>
                        <a:pt x="1811047" y="531142"/>
                        <a:pt x="1800134" y="558424"/>
                      </a:cubicBezTo>
                      <a:cubicBezTo>
                        <a:pt x="1808319" y="560697"/>
                        <a:pt x="1819232" y="563880"/>
                        <a:pt x="1826961" y="565699"/>
                      </a:cubicBezTo>
                      <a:cubicBezTo>
                        <a:pt x="1831508" y="574338"/>
                        <a:pt x="1837874" y="585706"/>
                        <a:pt x="1842421" y="594345"/>
                      </a:cubicBezTo>
                      <a:cubicBezTo>
                        <a:pt x="1770579" y="727570"/>
                        <a:pt x="1618257" y="797593"/>
                        <a:pt x="1565058" y="946278"/>
                      </a:cubicBezTo>
                      <a:cubicBezTo>
                        <a:pt x="1573242" y="948552"/>
                        <a:pt x="1584155" y="951734"/>
                        <a:pt x="1591885" y="954008"/>
                      </a:cubicBezTo>
                      <a:cubicBezTo>
                        <a:pt x="1328162" y="1379602"/>
                        <a:pt x="1328162" y="1379602"/>
                        <a:pt x="1326798" y="1386422"/>
                      </a:cubicBezTo>
                      <a:cubicBezTo>
                        <a:pt x="1352261" y="1410976"/>
                        <a:pt x="1352261" y="1410976"/>
                        <a:pt x="1356808" y="1469631"/>
                      </a:cubicBezTo>
                      <a:cubicBezTo>
                        <a:pt x="1365901" y="1470995"/>
                        <a:pt x="1378633" y="1473269"/>
                        <a:pt x="1387727" y="1474633"/>
                      </a:cubicBezTo>
                      <a:cubicBezTo>
                        <a:pt x="1605525" y="1270930"/>
                        <a:pt x="1605525" y="1270930"/>
                        <a:pt x="1822869" y="1163167"/>
                      </a:cubicBezTo>
                      <a:cubicBezTo>
                        <a:pt x="2240733" y="955827"/>
                        <a:pt x="2240733" y="955827"/>
                        <a:pt x="2258466" y="811689"/>
                      </a:cubicBezTo>
                      <a:cubicBezTo>
                        <a:pt x="2373049" y="755307"/>
                        <a:pt x="2385781" y="604348"/>
                        <a:pt x="2502637" y="549785"/>
                      </a:cubicBezTo>
                    </a:path>
                  </a:pathLst>
                </a:custGeom>
                <a:grpFill/>
                <a:ln w="4545" cap="flat">
                  <a:noFill/>
                  <a:prstDash val="solid"/>
                  <a:miter/>
                </a:ln>
              </p:spPr>
              <p:txBody>
                <a:bodyPr rtlCol="0" anchor="ctr"/>
                <a:lstStyle/>
                <a:p>
                  <a:endParaRPr lang="en-US" sz="1765"/>
                </a:p>
              </p:txBody>
            </p:sp>
            <p:sp>
              <p:nvSpPr>
                <p:cNvPr id="14" name="Graphic 5">
                  <a:extLst>
                    <a:ext uri="{FF2B5EF4-FFF2-40B4-BE49-F238E27FC236}">
                      <a16:creationId xmlns:a16="http://schemas.microsoft.com/office/drawing/2014/main" id="{3860135D-5C77-4483-8DF0-FEB7B2804AA1}"/>
                    </a:ext>
                  </a:extLst>
                </p:cNvPr>
                <p:cNvSpPr/>
                <p:nvPr/>
              </p:nvSpPr>
              <p:spPr>
                <a:xfrm>
                  <a:off x="10700079" y="4846340"/>
                  <a:ext cx="833909" cy="1021697"/>
                </a:xfrm>
                <a:custGeom>
                  <a:avLst/>
                  <a:gdLst>
                    <a:gd name="connsiteX0" fmla="*/ 764341 w 833909"/>
                    <a:gd name="connsiteY0" fmla="*/ 131861 h 1021697"/>
                    <a:gd name="connsiteX1" fmla="*/ 487887 w 833909"/>
                    <a:gd name="connsiteY1" fmla="*/ 541996 h 1021697"/>
                    <a:gd name="connsiteX2" fmla="*/ 144138 w 833909"/>
                    <a:gd name="connsiteY2" fmla="*/ 905751 h 1021697"/>
                    <a:gd name="connsiteX3" fmla="*/ 72751 w 833909"/>
                    <a:gd name="connsiteY3" fmla="*/ 967589 h 1021697"/>
                    <a:gd name="connsiteX4" fmla="*/ 0 w 833909"/>
                    <a:gd name="connsiteY4" fmla="*/ 1021698 h 1021697"/>
                    <a:gd name="connsiteX5" fmla="*/ 75479 w 833909"/>
                    <a:gd name="connsiteY5" fmla="*/ 951675 h 1021697"/>
                    <a:gd name="connsiteX6" fmla="*/ 163690 w 833909"/>
                    <a:gd name="connsiteY6" fmla="*/ 868466 h 1021697"/>
                    <a:gd name="connsiteX7" fmla="*/ 350115 w 833909"/>
                    <a:gd name="connsiteY7" fmla="*/ 658852 h 1021697"/>
                    <a:gd name="connsiteX8" fmla="*/ 567913 w 833909"/>
                    <a:gd name="connsiteY8" fmla="*/ 420137 h 1021697"/>
                    <a:gd name="connsiteX9" fmla="*/ 760249 w 833909"/>
                    <a:gd name="connsiteY9" fmla="*/ 134135 h 1021697"/>
                    <a:gd name="connsiteX10" fmla="*/ 734786 w 833909"/>
                    <a:gd name="connsiteY10" fmla="*/ 182787 h 1021697"/>
                    <a:gd name="connsiteX11" fmla="*/ 833909 w 833909"/>
                    <a:gd name="connsiteY11" fmla="*/ 0 h 1021697"/>
                    <a:gd name="connsiteX12" fmla="*/ 764341 w 833909"/>
                    <a:gd name="connsiteY12" fmla="*/ 131861 h 102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3909" h="1021697">
                      <a:moveTo>
                        <a:pt x="764341" y="131861"/>
                      </a:moveTo>
                      <a:cubicBezTo>
                        <a:pt x="607017" y="389218"/>
                        <a:pt x="600651" y="399221"/>
                        <a:pt x="487887" y="541996"/>
                      </a:cubicBezTo>
                      <a:cubicBezTo>
                        <a:pt x="301917" y="757521"/>
                        <a:pt x="286912" y="775253"/>
                        <a:pt x="144138" y="905751"/>
                      </a:cubicBezTo>
                      <a:lnTo>
                        <a:pt x="72751" y="967589"/>
                      </a:lnTo>
                      <a:cubicBezTo>
                        <a:pt x="62748" y="975774"/>
                        <a:pt x="0" y="1021698"/>
                        <a:pt x="0" y="1021698"/>
                      </a:cubicBezTo>
                      <a:cubicBezTo>
                        <a:pt x="2728" y="1013513"/>
                        <a:pt x="2728" y="1013513"/>
                        <a:pt x="75479" y="951675"/>
                      </a:cubicBezTo>
                      <a:cubicBezTo>
                        <a:pt x="85483" y="943490"/>
                        <a:pt x="85483" y="943490"/>
                        <a:pt x="163690" y="868466"/>
                      </a:cubicBezTo>
                      <a:cubicBezTo>
                        <a:pt x="198702" y="835273"/>
                        <a:pt x="238714" y="789349"/>
                        <a:pt x="350115" y="658852"/>
                      </a:cubicBezTo>
                      <a:cubicBezTo>
                        <a:pt x="420138" y="577007"/>
                        <a:pt x="501073" y="505165"/>
                        <a:pt x="567913" y="420137"/>
                      </a:cubicBezTo>
                      <a:cubicBezTo>
                        <a:pt x="616565" y="357844"/>
                        <a:pt x="616565" y="357844"/>
                        <a:pt x="760249" y="134135"/>
                      </a:cubicBezTo>
                      <a:cubicBezTo>
                        <a:pt x="757976" y="140955"/>
                        <a:pt x="757976" y="140955"/>
                        <a:pt x="734786" y="182787"/>
                      </a:cubicBezTo>
                      <a:cubicBezTo>
                        <a:pt x="749791" y="157779"/>
                        <a:pt x="788895" y="90029"/>
                        <a:pt x="833909" y="0"/>
                      </a:cubicBezTo>
                      <a:lnTo>
                        <a:pt x="764341" y="131861"/>
                      </a:lnTo>
                    </a:path>
                  </a:pathLst>
                </a:custGeom>
                <a:grpFill/>
                <a:ln w="4545" cap="flat">
                  <a:noFill/>
                  <a:prstDash val="solid"/>
                  <a:miter/>
                </a:ln>
              </p:spPr>
              <p:txBody>
                <a:bodyPr rtlCol="0" anchor="ctr"/>
                <a:lstStyle/>
                <a:p>
                  <a:endParaRPr lang="en-US" sz="1765"/>
                </a:p>
              </p:txBody>
            </p:sp>
            <p:sp>
              <p:nvSpPr>
                <p:cNvPr id="17" name="Graphic 5">
                  <a:extLst>
                    <a:ext uri="{FF2B5EF4-FFF2-40B4-BE49-F238E27FC236}">
                      <a16:creationId xmlns:a16="http://schemas.microsoft.com/office/drawing/2014/main" id="{FC18CC14-80C2-4484-BA0F-3DB737F15471}"/>
                    </a:ext>
                  </a:extLst>
                </p:cNvPr>
                <p:cNvSpPr/>
                <p:nvPr/>
              </p:nvSpPr>
              <p:spPr>
                <a:xfrm>
                  <a:off x="11486612" y="3540458"/>
                  <a:ext cx="302176" cy="1152195"/>
                </a:xfrm>
                <a:custGeom>
                  <a:avLst/>
                  <a:gdLst>
                    <a:gd name="connsiteX0" fmla="*/ 285637 w 302176"/>
                    <a:gd name="connsiteY0" fmla="*/ 406951 h 1152195"/>
                    <a:gd name="connsiteX1" fmla="*/ 274269 w 302176"/>
                    <a:gd name="connsiteY1" fmla="*/ 451511 h 1152195"/>
                    <a:gd name="connsiteX2" fmla="*/ 272905 w 302176"/>
                    <a:gd name="connsiteY2" fmla="*/ 439234 h 1152195"/>
                    <a:gd name="connsiteX3" fmla="*/ 272450 w 302176"/>
                    <a:gd name="connsiteY3" fmla="*/ 437416 h 1152195"/>
                    <a:gd name="connsiteX4" fmla="*/ 273360 w 302176"/>
                    <a:gd name="connsiteY4" fmla="*/ 434233 h 1152195"/>
                    <a:gd name="connsiteX5" fmla="*/ 284727 w 302176"/>
                    <a:gd name="connsiteY5" fmla="*/ 389673 h 1152195"/>
                    <a:gd name="connsiteX6" fmla="*/ 285637 w 302176"/>
                    <a:gd name="connsiteY6" fmla="*/ 406951 h 1152195"/>
                    <a:gd name="connsiteX7" fmla="*/ 292912 w 302176"/>
                    <a:gd name="connsiteY7" fmla="*/ 472882 h 1152195"/>
                    <a:gd name="connsiteX8" fmla="*/ 285182 w 302176"/>
                    <a:gd name="connsiteY8" fmla="*/ 176876 h 1152195"/>
                    <a:gd name="connsiteX9" fmla="*/ 273360 w 302176"/>
                    <a:gd name="connsiteY9" fmla="*/ 185970 h 1152195"/>
                    <a:gd name="connsiteX10" fmla="*/ 267449 w 302176"/>
                    <a:gd name="connsiteY10" fmla="*/ 125041 h 1152195"/>
                    <a:gd name="connsiteX11" fmla="*/ 254717 w 302176"/>
                    <a:gd name="connsiteY11" fmla="*/ 0 h 1152195"/>
                    <a:gd name="connsiteX12" fmla="*/ 248807 w 302176"/>
                    <a:gd name="connsiteY12" fmla="*/ 2273 h 1152195"/>
                    <a:gd name="connsiteX13" fmla="*/ 252898 w 302176"/>
                    <a:gd name="connsiteY13" fmla="*/ 322833 h 1152195"/>
                    <a:gd name="connsiteX14" fmla="*/ 258810 w 302176"/>
                    <a:gd name="connsiteY14" fmla="*/ 321469 h 1152195"/>
                    <a:gd name="connsiteX15" fmla="*/ 213795 w 302176"/>
                    <a:gd name="connsiteY15" fmla="*/ 663853 h 1152195"/>
                    <a:gd name="connsiteX16" fmla="*/ 197426 w 302176"/>
                    <a:gd name="connsiteY16" fmla="*/ 598832 h 1152195"/>
                    <a:gd name="connsiteX17" fmla="*/ 191060 w 302176"/>
                    <a:gd name="connsiteY17" fmla="*/ 598377 h 1152195"/>
                    <a:gd name="connsiteX18" fmla="*/ 108760 w 302176"/>
                    <a:gd name="connsiteY18" fmla="*/ 828453 h 1152195"/>
                    <a:gd name="connsiteX19" fmla="*/ 29644 w 302176"/>
                    <a:gd name="connsiteY19" fmla="*/ 963952 h 1152195"/>
                    <a:gd name="connsiteX20" fmla="*/ 25551 w 302176"/>
                    <a:gd name="connsiteY20" fmla="*/ 975319 h 1152195"/>
                    <a:gd name="connsiteX21" fmla="*/ 88 w 302176"/>
                    <a:gd name="connsiteY21" fmla="*/ 1139009 h 1152195"/>
                    <a:gd name="connsiteX22" fmla="*/ 31917 w 302176"/>
                    <a:gd name="connsiteY22" fmla="*/ 1132188 h 1152195"/>
                    <a:gd name="connsiteX23" fmla="*/ 40102 w 302176"/>
                    <a:gd name="connsiteY23" fmla="*/ 1149922 h 1152195"/>
                    <a:gd name="connsiteX24" fmla="*/ 46468 w 302176"/>
                    <a:gd name="connsiteY24" fmla="*/ 1152195 h 1152195"/>
                    <a:gd name="connsiteX25" fmla="*/ 164233 w 302176"/>
                    <a:gd name="connsiteY25" fmla="*/ 876650 h 1152195"/>
                    <a:gd name="connsiteX26" fmla="*/ 206974 w 302176"/>
                    <a:gd name="connsiteY26" fmla="*/ 689771 h 1152195"/>
                    <a:gd name="connsiteX27" fmla="*/ 260174 w 302176"/>
                    <a:gd name="connsiteY27" fmla="*/ 531992 h 1152195"/>
                    <a:gd name="connsiteX28" fmla="*/ 264266 w 302176"/>
                    <a:gd name="connsiteY28" fmla="*/ 592012 h 1152195"/>
                    <a:gd name="connsiteX29" fmla="*/ 269722 w 302176"/>
                    <a:gd name="connsiteY29" fmla="*/ 589738 h 1152195"/>
                    <a:gd name="connsiteX30" fmla="*/ 292912 w 302176"/>
                    <a:gd name="connsiteY30" fmla="*/ 472882 h 115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2176" h="1152195">
                      <a:moveTo>
                        <a:pt x="285637" y="406951"/>
                      </a:moveTo>
                      <a:cubicBezTo>
                        <a:pt x="284727" y="411498"/>
                        <a:pt x="281090" y="426503"/>
                        <a:pt x="274269" y="451511"/>
                      </a:cubicBezTo>
                      <a:cubicBezTo>
                        <a:pt x="273815" y="447419"/>
                        <a:pt x="273360" y="443327"/>
                        <a:pt x="272905" y="439234"/>
                      </a:cubicBezTo>
                      <a:cubicBezTo>
                        <a:pt x="272905" y="438780"/>
                        <a:pt x="272450" y="437870"/>
                        <a:pt x="272450" y="437416"/>
                      </a:cubicBezTo>
                      <a:cubicBezTo>
                        <a:pt x="272450" y="436506"/>
                        <a:pt x="272905" y="435142"/>
                        <a:pt x="273360" y="434233"/>
                      </a:cubicBezTo>
                      <a:cubicBezTo>
                        <a:pt x="276088" y="424684"/>
                        <a:pt x="280180" y="409225"/>
                        <a:pt x="284727" y="389673"/>
                      </a:cubicBezTo>
                      <a:cubicBezTo>
                        <a:pt x="286091" y="405587"/>
                        <a:pt x="286091" y="405587"/>
                        <a:pt x="285637" y="406951"/>
                      </a:cubicBezTo>
                      <a:moveTo>
                        <a:pt x="292912" y="472882"/>
                      </a:moveTo>
                      <a:cubicBezTo>
                        <a:pt x="293366" y="470608"/>
                        <a:pt x="317920" y="245989"/>
                        <a:pt x="285182" y="176876"/>
                      </a:cubicBezTo>
                      <a:cubicBezTo>
                        <a:pt x="281090" y="178695"/>
                        <a:pt x="276543" y="182787"/>
                        <a:pt x="273360" y="185970"/>
                      </a:cubicBezTo>
                      <a:cubicBezTo>
                        <a:pt x="267449" y="180514"/>
                        <a:pt x="265175" y="178695"/>
                        <a:pt x="267449" y="125041"/>
                      </a:cubicBezTo>
                      <a:cubicBezTo>
                        <a:pt x="267903" y="108672"/>
                        <a:pt x="270632" y="24554"/>
                        <a:pt x="254717" y="0"/>
                      </a:cubicBezTo>
                      <a:cubicBezTo>
                        <a:pt x="252898" y="455"/>
                        <a:pt x="250625" y="1364"/>
                        <a:pt x="248807" y="2273"/>
                      </a:cubicBezTo>
                      <a:cubicBezTo>
                        <a:pt x="214249" y="77753"/>
                        <a:pt x="251989" y="321014"/>
                        <a:pt x="252898" y="322833"/>
                      </a:cubicBezTo>
                      <a:cubicBezTo>
                        <a:pt x="254717" y="322378"/>
                        <a:pt x="256991" y="321923"/>
                        <a:pt x="258810" y="321469"/>
                      </a:cubicBezTo>
                      <a:cubicBezTo>
                        <a:pt x="296549" y="386035"/>
                        <a:pt x="218796" y="653850"/>
                        <a:pt x="213795" y="663853"/>
                      </a:cubicBezTo>
                      <a:cubicBezTo>
                        <a:pt x="197426" y="644756"/>
                        <a:pt x="203337" y="620203"/>
                        <a:pt x="197426" y="598832"/>
                      </a:cubicBezTo>
                      <a:cubicBezTo>
                        <a:pt x="195607" y="598832"/>
                        <a:pt x="192879" y="598377"/>
                        <a:pt x="191060" y="598377"/>
                      </a:cubicBezTo>
                      <a:cubicBezTo>
                        <a:pt x="150138" y="670219"/>
                        <a:pt x="142408" y="753883"/>
                        <a:pt x="108760" y="828453"/>
                      </a:cubicBezTo>
                      <a:cubicBezTo>
                        <a:pt x="87390" y="876650"/>
                        <a:pt x="51015" y="915754"/>
                        <a:pt x="29644" y="963952"/>
                      </a:cubicBezTo>
                      <a:cubicBezTo>
                        <a:pt x="28280" y="967135"/>
                        <a:pt x="26916" y="972136"/>
                        <a:pt x="25551" y="975319"/>
                      </a:cubicBezTo>
                      <a:cubicBezTo>
                        <a:pt x="25097" y="976228"/>
                        <a:pt x="-1730" y="1124459"/>
                        <a:pt x="88" y="1139009"/>
                      </a:cubicBezTo>
                      <a:cubicBezTo>
                        <a:pt x="10547" y="1142646"/>
                        <a:pt x="10547" y="1142646"/>
                        <a:pt x="31917" y="1132188"/>
                      </a:cubicBezTo>
                      <a:cubicBezTo>
                        <a:pt x="39192" y="1136735"/>
                        <a:pt x="39192" y="1136735"/>
                        <a:pt x="40102" y="1149922"/>
                      </a:cubicBezTo>
                      <a:cubicBezTo>
                        <a:pt x="41921" y="1150376"/>
                        <a:pt x="44649" y="1151286"/>
                        <a:pt x="46468" y="1152195"/>
                      </a:cubicBezTo>
                      <a:cubicBezTo>
                        <a:pt x="62836" y="1133098"/>
                        <a:pt x="163324" y="878924"/>
                        <a:pt x="164233" y="876650"/>
                      </a:cubicBezTo>
                      <a:cubicBezTo>
                        <a:pt x="185149" y="815721"/>
                        <a:pt x="173782" y="747972"/>
                        <a:pt x="206974" y="689771"/>
                      </a:cubicBezTo>
                      <a:cubicBezTo>
                        <a:pt x="218342" y="670219"/>
                        <a:pt x="236984" y="637481"/>
                        <a:pt x="260174" y="531992"/>
                      </a:cubicBezTo>
                      <a:cubicBezTo>
                        <a:pt x="258810" y="578826"/>
                        <a:pt x="259719" y="581099"/>
                        <a:pt x="264266" y="592012"/>
                      </a:cubicBezTo>
                      <a:cubicBezTo>
                        <a:pt x="266085" y="591557"/>
                        <a:pt x="268358" y="590648"/>
                        <a:pt x="269722" y="589738"/>
                      </a:cubicBezTo>
                      <a:cubicBezTo>
                        <a:pt x="283818" y="526536"/>
                        <a:pt x="288365" y="505165"/>
                        <a:pt x="292912" y="472882"/>
                      </a:cubicBezTo>
                    </a:path>
                  </a:pathLst>
                </a:custGeom>
                <a:grpFill/>
                <a:ln w="4545" cap="flat">
                  <a:noFill/>
                  <a:prstDash val="solid"/>
                  <a:miter/>
                </a:ln>
              </p:spPr>
              <p:txBody>
                <a:bodyPr rtlCol="0" anchor="ctr"/>
                <a:lstStyle/>
                <a:p>
                  <a:endParaRPr lang="en-US" sz="1765"/>
                </a:p>
              </p:txBody>
            </p:sp>
            <p:sp>
              <p:nvSpPr>
                <p:cNvPr id="18" name="Graphic 5">
                  <a:extLst>
                    <a:ext uri="{FF2B5EF4-FFF2-40B4-BE49-F238E27FC236}">
                      <a16:creationId xmlns:a16="http://schemas.microsoft.com/office/drawing/2014/main" id="{FB6C6467-B901-4589-8E41-C7DBAFAD1049}"/>
                    </a:ext>
                  </a:extLst>
                </p:cNvPr>
                <p:cNvSpPr/>
                <p:nvPr/>
              </p:nvSpPr>
              <p:spPr>
                <a:xfrm>
                  <a:off x="11670851" y="4314348"/>
                  <a:ext cx="68204" cy="212796"/>
                </a:xfrm>
                <a:custGeom>
                  <a:avLst/>
                  <a:gdLst>
                    <a:gd name="connsiteX0" fmla="*/ 0 w 68204"/>
                    <a:gd name="connsiteY0" fmla="*/ 212797 h 212796"/>
                    <a:gd name="connsiteX1" fmla="*/ 37740 w 68204"/>
                    <a:gd name="connsiteY1" fmla="*/ 95031 h 212796"/>
                    <a:gd name="connsiteX2" fmla="*/ 62748 w 68204"/>
                    <a:gd name="connsiteY2" fmla="*/ 7730 h 212796"/>
                    <a:gd name="connsiteX3" fmla="*/ 61838 w 68204"/>
                    <a:gd name="connsiteY3" fmla="*/ 15914 h 212796"/>
                    <a:gd name="connsiteX4" fmla="*/ 68204 w 68204"/>
                    <a:gd name="connsiteY4" fmla="*/ 0 h 212796"/>
                    <a:gd name="connsiteX5" fmla="*/ 67295 w 68204"/>
                    <a:gd name="connsiteY5" fmla="*/ 4092 h 212796"/>
                    <a:gd name="connsiteX6" fmla="*/ 0 w 68204"/>
                    <a:gd name="connsiteY6" fmla="*/ 212797 h 212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4" h="212796">
                      <a:moveTo>
                        <a:pt x="0" y="212797"/>
                      </a:moveTo>
                      <a:cubicBezTo>
                        <a:pt x="14551" y="172784"/>
                        <a:pt x="35466" y="109581"/>
                        <a:pt x="37740" y="95031"/>
                      </a:cubicBezTo>
                      <a:cubicBezTo>
                        <a:pt x="39104" y="85028"/>
                        <a:pt x="55473" y="25008"/>
                        <a:pt x="62748" y="7730"/>
                      </a:cubicBezTo>
                      <a:cubicBezTo>
                        <a:pt x="62293" y="10458"/>
                        <a:pt x="61838" y="13186"/>
                        <a:pt x="61838" y="15914"/>
                      </a:cubicBezTo>
                      <a:cubicBezTo>
                        <a:pt x="63203" y="15005"/>
                        <a:pt x="63203" y="15005"/>
                        <a:pt x="68204" y="0"/>
                      </a:cubicBezTo>
                      <a:cubicBezTo>
                        <a:pt x="67750" y="1364"/>
                        <a:pt x="67295" y="2728"/>
                        <a:pt x="67295" y="4092"/>
                      </a:cubicBezTo>
                      <a:lnTo>
                        <a:pt x="0" y="212797"/>
                      </a:lnTo>
                    </a:path>
                  </a:pathLst>
                </a:custGeom>
                <a:grpFill/>
                <a:ln w="4545" cap="flat">
                  <a:noFill/>
                  <a:prstDash val="solid"/>
                  <a:miter/>
                </a:ln>
              </p:spPr>
              <p:txBody>
                <a:bodyPr rtlCol="0" anchor="ctr"/>
                <a:lstStyle/>
                <a:p>
                  <a:endParaRPr lang="en-US" sz="1765"/>
                </a:p>
              </p:txBody>
            </p:sp>
            <p:sp>
              <p:nvSpPr>
                <p:cNvPr id="19" name="Graphic 5">
                  <a:extLst>
                    <a:ext uri="{FF2B5EF4-FFF2-40B4-BE49-F238E27FC236}">
                      <a16:creationId xmlns:a16="http://schemas.microsoft.com/office/drawing/2014/main" id="{6D3FF92C-31FB-498E-9CAD-73ECED1D8038}"/>
                    </a:ext>
                  </a:extLst>
                </p:cNvPr>
                <p:cNvSpPr/>
                <p:nvPr/>
              </p:nvSpPr>
              <p:spPr>
                <a:xfrm>
                  <a:off x="9458460" y="5392394"/>
                  <a:ext cx="353090" cy="439968"/>
                </a:xfrm>
                <a:custGeom>
                  <a:avLst/>
                  <a:gdLst>
                    <a:gd name="connsiteX0" fmla="*/ 351783 w 353090"/>
                    <a:gd name="connsiteY0" fmla="*/ 110979 h 439968"/>
                    <a:gd name="connsiteX1" fmla="*/ 345872 w 353090"/>
                    <a:gd name="connsiteY1" fmla="*/ 122346 h 439968"/>
                    <a:gd name="connsiteX2" fmla="*/ 306314 w 353090"/>
                    <a:gd name="connsiteY2" fmla="*/ 163724 h 439968"/>
                    <a:gd name="connsiteX3" fmla="*/ 250386 w 353090"/>
                    <a:gd name="connsiteY3" fmla="*/ 253753 h 439968"/>
                    <a:gd name="connsiteX4" fmla="*/ 128983 w 353090"/>
                    <a:gd name="connsiteY4" fmla="*/ 409259 h 439968"/>
                    <a:gd name="connsiteX5" fmla="*/ 5761 w 353090"/>
                    <a:gd name="connsiteY5" fmla="*/ 416989 h 439968"/>
                    <a:gd name="connsiteX6" fmla="*/ 8944 w 353090"/>
                    <a:gd name="connsiteY6" fmla="*/ 346056 h 439968"/>
                    <a:gd name="connsiteX7" fmla="*/ 63962 w 353090"/>
                    <a:gd name="connsiteY7" fmla="*/ 262393 h 439968"/>
                    <a:gd name="connsiteX8" fmla="*/ 80785 w 353090"/>
                    <a:gd name="connsiteY8" fmla="*/ 183276 h 439968"/>
                    <a:gd name="connsiteX9" fmla="*/ 96245 w 353090"/>
                    <a:gd name="connsiteY9" fmla="*/ 168271 h 439968"/>
                    <a:gd name="connsiteX10" fmla="*/ 227197 w 353090"/>
                    <a:gd name="connsiteY10" fmla="*/ 87790 h 439968"/>
                    <a:gd name="connsiteX11" fmla="*/ 290400 w 353090"/>
                    <a:gd name="connsiteY11" fmla="*/ 12311 h 439968"/>
                    <a:gd name="connsiteX12" fmla="*/ 309951 w 353090"/>
                    <a:gd name="connsiteY12" fmla="*/ 34 h 439968"/>
                    <a:gd name="connsiteX13" fmla="*/ 351783 w 353090"/>
                    <a:gd name="connsiteY13" fmla="*/ 110979 h 43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3090" h="439968">
                      <a:moveTo>
                        <a:pt x="351783" y="110979"/>
                      </a:moveTo>
                      <a:cubicBezTo>
                        <a:pt x="351783" y="110979"/>
                        <a:pt x="349964" y="116436"/>
                        <a:pt x="345872" y="122346"/>
                      </a:cubicBezTo>
                      <a:cubicBezTo>
                        <a:pt x="334960" y="137806"/>
                        <a:pt x="316317" y="146900"/>
                        <a:pt x="306314" y="163724"/>
                      </a:cubicBezTo>
                      <a:cubicBezTo>
                        <a:pt x="258571" y="242840"/>
                        <a:pt x="258571" y="242840"/>
                        <a:pt x="250386" y="253753"/>
                      </a:cubicBezTo>
                      <a:lnTo>
                        <a:pt x="128983" y="409259"/>
                      </a:lnTo>
                      <a:cubicBezTo>
                        <a:pt x="102156" y="432903"/>
                        <a:pt x="27586" y="460639"/>
                        <a:pt x="5761" y="416989"/>
                      </a:cubicBezTo>
                      <a:cubicBezTo>
                        <a:pt x="-6061" y="393345"/>
                        <a:pt x="3033" y="364699"/>
                        <a:pt x="8944" y="346056"/>
                      </a:cubicBezTo>
                      <a:cubicBezTo>
                        <a:pt x="19402" y="313318"/>
                        <a:pt x="54868" y="296495"/>
                        <a:pt x="63962" y="262393"/>
                      </a:cubicBezTo>
                      <a:cubicBezTo>
                        <a:pt x="71237" y="236475"/>
                        <a:pt x="63052" y="206920"/>
                        <a:pt x="80785" y="183276"/>
                      </a:cubicBezTo>
                      <a:cubicBezTo>
                        <a:pt x="84423" y="177819"/>
                        <a:pt x="91243" y="172363"/>
                        <a:pt x="96245" y="168271"/>
                      </a:cubicBezTo>
                      <a:cubicBezTo>
                        <a:pt x="136713" y="135987"/>
                        <a:pt x="187638" y="120983"/>
                        <a:pt x="227197" y="87790"/>
                      </a:cubicBezTo>
                      <a:cubicBezTo>
                        <a:pt x="269938" y="51869"/>
                        <a:pt x="278577" y="40047"/>
                        <a:pt x="290400" y="12311"/>
                      </a:cubicBezTo>
                      <a:cubicBezTo>
                        <a:pt x="294037" y="3671"/>
                        <a:pt x="301767" y="1398"/>
                        <a:pt x="309951" y="34"/>
                      </a:cubicBezTo>
                      <a:cubicBezTo>
                        <a:pt x="363605" y="-2239"/>
                        <a:pt x="352238" y="109615"/>
                        <a:pt x="351783" y="110979"/>
                      </a:cubicBezTo>
                    </a:path>
                  </a:pathLst>
                </a:custGeom>
                <a:grpFill/>
                <a:ln w="4545" cap="flat">
                  <a:noFill/>
                  <a:prstDash val="solid"/>
                  <a:miter/>
                </a:ln>
              </p:spPr>
              <p:txBody>
                <a:bodyPr rtlCol="0" anchor="ctr"/>
                <a:lstStyle/>
                <a:p>
                  <a:endParaRPr lang="en-US" sz="1765"/>
                </a:p>
              </p:txBody>
            </p:sp>
            <p:sp>
              <p:nvSpPr>
                <p:cNvPr id="20" name="Graphic 5">
                  <a:extLst>
                    <a:ext uri="{FF2B5EF4-FFF2-40B4-BE49-F238E27FC236}">
                      <a16:creationId xmlns:a16="http://schemas.microsoft.com/office/drawing/2014/main" id="{5B2F18A7-E1E6-48B3-B4AC-6DEF02054497}"/>
                    </a:ext>
                  </a:extLst>
                </p:cNvPr>
                <p:cNvSpPr/>
                <p:nvPr/>
              </p:nvSpPr>
              <p:spPr>
                <a:xfrm>
                  <a:off x="11557620" y="4218862"/>
                  <a:ext cx="195076" cy="497435"/>
                </a:xfrm>
                <a:custGeom>
                  <a:avLst/>
                  <a:gdLst>
                    <a:gd name="connsiteX0" fmla="*/ 113231 w 195076"/>
                    <a:gd name="connsiteY0" fmla="*/ 211887 h 497435"/>
                    <a:gd name="connsiteX1" fmla="*/ 96408 w 195076"/>
                    <a:gd name="connsiteY1" fmla="*/ 244171 h 497435"/>
                    <a:gd name="connsiteX2" fmla="*/ 95953 w 195076"/>
                    <a:gd name="connsiteY2" fmla="*/ 244625 h 497435"/>
                    <a:gd name="connsiteX3" fmla="*/ 100045 w 195076"/>
                    <a:gd name="connsiteY3" fmla="*/ 222800 h 497435"/>
                    <a:gd name="connsiteX4" fmla="*/ 110503 w 195076"/>
                    <a:gd name="connsiteY4" fmla="*/ 205976 h 497435"/>
                    <a:gd name="connsiteX5" fmla="*/ 117778 w 195076"/>
                    <a:gd name="connsiteY5" fmla="*/ 194154 h 497435"/>
                    <a:gd name="connsiteX6" fmla="*/ 113231 w 195076"/>
                    <a:gd name="connsiteY6" fmla="*/ 211887 h 497435"/>
                    <a:gd name="connsiteX7" fmla="*/ 130055 w 195076"/>
                    <a:gd name="connsiteY7" fmla="*/ 257357 h 497435"/>
                    <a:gd name="connsiteX8" fmla="*/ 145970 w 195076"/>
                    <a:gd name="connsiteY8" fmla="*/ 202339 h 497435"/>
                    <a:gd name="connsiteX9" fmla="*/ 133238 w 195076"/>
                    <a:gd name="connsiteY9" fmla="*/ 228257 h 497435"/>
                    <a:gd name="connsiteX10" fmla="*/ 195076 w 195076"/>
                    <a:gd name="connsiteY10" fmla="*/ 0 h 497435"/>
                    <a:gd name="connsiteX11" fmla="*/ 193257 w 195076"/>
                    <a:gd name="connsiteY11" fmla="*/ 1364 h 497435"/>
                    <a:gd name="connsiteX12" fmla="*/ 150061 w 195076"/>
                    <a:gd name="connsiteY12" fmla="*/ 160052 h 497435"/>
                    <a:gd name="connsiteX13" fmla="*/ 117324 w 195076"/>
                    <a:gd name="connsiteY13" fmla="*/ 230985 h 497435"/>
                    <a:gd name="connsiteX14" fmla="*/ 120506 w 195076"/>
                    <a:gd name="connsiteY14" fmla="*/ 203703 h 497435"/>
                    <a:gd name="connsiteX15" fmla="*/ 170523 w 195076"/>
                    <a:gd name="connsiteY15" fmla="*/ 47743 h 497435"/>
                    <a:gd name="connsiteX16" fmla="*/ 130055 w 195076"/>
                    <a:gd name="connsiteY16" fmla="*/ 138682 h 497435"/>
                    <a:gd name="connsiteX17" fmla="*/ 100955 w 195076"/>
                    <a:gd name="connsiteY17" fmla="*/ 188698 h 497435"/>
                    <a:gd name="connsiteX18" fmla="*/ 12 w 195076"/>
                    <a:gd name="connsiteY18" fmla="*/ 497435 h 497435"/>
                    <a:gd name="connsiteX19" fmla="*/ 30477 w 195076"/>
                    <a:gd name="connsiteY19" fmla="*/ 439234 h 497435"/>
                    <a:gd name="connsiteX20" fmla="*/ 28658 w 195076"/>
                    <a:gd name="connsiteY20" fmla="*/ 457422 h 497435"/>
                    <a:gd name="connsiteX21" fmla="*/ 31386 w 195076"/>
                    <a:gd name="connsiteY21" fmla="*/ 458332 h 497435"/>
                    <a:gd name="connsiteX22" fmla="*/ 65943 w 195076"/>
                    <a:gd name="connsiteY22" fmla="*/ 384217 h 497435"/>
                    <a:gd name="connsiteX23" fmla="*/ 93680 w 195076"/>
                    <a:gd name="connsiteY23" fmla="*/ 279182 h 497435"/>
                    <a:gd name="connsiteX24" fmla="*/ 100045 w 195076"/>
                    <a:gd name="connsiteY24" fmla="*/ 272362 h 497435"/>
                    <a:gd name="connsiteX25" fmla="*/ 100045 w 195076"/>
                    <a:gd name="connsiteY25" fmla="*/ 281456 h 497435"/>
                    <a:gd name="connsiteX26" fmla="*/ 102774 w 195076"/>
                    <a:gd name="connsiteY26" fmla="*/ 281910 h 497435"/>
                    <a:gd name="connsiteX27" fmla="*/ 129600 w 195076"/>
                    <a:gd name="connsiteY27" fmla="*/ 235986 h 497435"/>
                    <a:gd name="connsiteX28" fmla="*/ 94589 w 195076"/>
                    <a:gd name="connsiteY28" fmla="*/ 329198 h 497435"/>
                    <a:gd name="connsiteX29" fmla="*/ 120052 w 195076"/>
                    <a:gd name="connsiteY29" fmla="*/ 278727 h 497435"/>
                    <a:gd name="connsiteX30" fmla="*/ 120052 w 195076"/>
                    <a:gd name="connsiteY30" fmla="*/ 283729 h 497435"/>
                    <a:gd name="connsiteX31" fmla="*/ 130055 w 195076"/>
                    <a:gd name="connsiteY31" fmla="*/ 257357 h 4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5076" h="497435">
                      <a:moveTo>
                        <a:pt x="113231" y="211887"/>
                      </a:moveTo>
                      <a:cubicBezTo>
                        <a:pt x="98681" y="240988"/>
                        <a:pt x="96862" y="243716"/>
                        <a:pt x="96408" y="244171"/>
                      </a:cubicBezTo>
                      <a:cubicBezTo>
                        <a:pt x="96408" y="244171"/>
                        <a:pt x="95953" y="244171"/>
                        <a:pt x="95953" y="244625"/>
                      </a:cubicBezTo>
                      <a:cubicBezTo>
                        <a:pt x="93225" y="243261"/>
                        <a:pt x="97772" y="228711"/>
                        <a:pt x="100045" y="222800"/>
                      </a:cubicBezTo>
                      <a:cubicBezTo>
                        <a:pt x="100500" y="221891"/>
                        <a:pt x="100955" y="220981"/>
                        <a:pt x="110503" y="205976"/>
                      </a:cubicBezTo>
                      <a:cubicBezTo>
                        <a:pt x="112777" y="201884"/>
                        <a:pt x="115505" y="198247"/>
                        <a:pt x="117778" y="194154"/>
                      </a:cubicBezTo>
                      <a:cubicBezTo>
                        <a:pt x="114141" y="209614"/>
                        <a:pt x="114141" y="209614"/>
                        <a:pt x="113231" y="211887"/>
                      </a:cubicBezTo>
                      <a:moveTo>
                        <a:pt x="130055" y="257357"/>
                      </a:moveTo>
                      <a:cubicBezTo>
                        <a:pt x="139149" y="230075"/>
                        <a:pt x="141423" y="221436"/>
                        <a:pt x="145970" y="202339"/>
                      </a:cubicBezTo>
                      <a:cubicBezTo>
                        <a:pt x="141423" y="211887"/>
                        <a:pt x="138694" y="218253"/>
                        <a:pt x="133238" y="228257"/>
                      </a:cubicBezTo>
                      <a:cubicBezTo>
                        <a:pt x="190529" y="49107"/>
                        <a:pt x="194622" y="6820"/>
                        <a:pt x="195076" y="0"/>
                      </a:cubicBezTo>
                      <a:cubicBezTo>
                        <a:pt x="194622" y="455"/>
                        <a:pt x="193713" y="909"/>
                        <a:pt x="193257" y="1364"/>
                      </a:cubicBezTo>
                      <a:cubicBezTo>
                        <a:pt x="186892" y="16369"/>
                        <a:pt x="160974" y="100942"/>
                        <a:pt x="150061" y="160052"/>
                      </a:cubicBezTo>
                      <a:cubicBezTo>
                        <a:pt x="140968" y="208704"/>
                        <a:pt x="124144" y="228711"/>
                        <a:pt x="117324" y="230985"/>
                      </a:cubicBezTo>
                      <a:cubicBezTo>
                        <a:pt x="113686" y="218253"/>
                        <a:pt x="117324" y="210069"/>
                        <a:pt x="120506" y="203703"/>
                      </a:cubicBezTo>
                      <a:cubicBezTo>
                        <a:pt x="139604" y="163235"/>
                        <a:pt x="160974" y="117766"/>
                        <a:pt x="170523" y="47743"/>
                      </a:cubicBezTo>
                      <a:cubicBezTo>
                        <a:pt x="134147" y="138227"/>
                        <a:pt x="134147" y="138227"/>
                        <a:pt x="130055" y="138682"/>
                      </a:cubicBezTo>
                      <a:cubicBezTo>
                        <a:pt x="125508" y="138682"/>
                        <a:pt x="119597" y="139136"/>
                        <a:pt x="100955" y="188698"/>
                      </a:cubicBezTo>
                      <a:cubicBezTo>
                        <a:pt x="48665" y="326925"/>
                        <a:pt x="-897" y="496071"/>
                        <a:pt x="12" y="497435"/>
                      </a:cubicBezTo>
                      <a:cubicBezTo>
                        <a:pt x="5924" y="495162"/>
                        <a:pt x="5924" y="495162"/>
                        <a:pt x="30477" y="439234"/>
                      </a:cubicBezTo>
                      <a:cubicBezTo>
                        <a:pt x="28658" y="454239"/>
                        <a:pt x="28658" y="454239"/>
                        <a:pt x="28658" y="457422"/>
                      </a:cubicBezTo>
                      <a:cubicBezTo>
                        <a:pt x="29567" y="457877"/>
                        <a:pt x="30477" y="457877"/>
                        <a:pt x="31386" y="458332"/>
                      </a:cubicBezTo>
                      <a:cubicBezTo>
                        <a:pt x="46846" y="446964"/>
                        <a:pt x="63670" y="390582"/>
                        <a:pt x="65943" y="384217"/>
                      </a:cubicBezTo>
                      <a:cubicBezTo>
                        <a:pt x="75947" y="349660"/>
                        <a:pt x="80948" y="313284"/>
                        <a:pt x="93680" y="279182"/>
                      </a:cubicBezTo>
                      <a:cubicBezTo>
                        <a:pt x="95044" y="275545"/>
                        <a:pt x="95044" y="275545"/>
                        <a:pt x="100045" y="272362"/>
                      </a:cubicBezTo>
                      <a:cubicBezTo>
                        <a:pt x="100045" y="275090"/>
                        <a:pt x="100045" y="278727"/>
                        <a:pt x="100045" y="281456"/>
                      </a:cubicBezTo>
                      <a:cubicBezTo>
                        <a:pt x="100955" y="281456"/>
                        <a:pt x="101864" y="281456"/>
                        <a:pt x="102774" y="281910"/>
                      </a:cubicBezTo>
                      <a:cubicBezTo>
                        <a:pt x="107775" y="275545"/>
                        <a:pt x="127327" y="240078"/>
                        <a:pt x="129600" y="235986"/>
                      </a:cubicBezTo>
                      <a:cubicBezTo>
                        <a:pt x="120052" y="267815"/>
                        <a:pt x="101864" y="296461"/>
                        <a:pt x="94589" y="329198"/>
                      </a:cubicBezTo>
                      <a:cubicBezTo>
                        <a:pt x="110049" y="316012"/>
                        <a:pt x="110958" y="295551"/>
                        <a:pt x="120052" y="278727"/>
                      </a:cubicBezTo>
                      <a:cubicBezTo>
                        <a:pt x="120506" y="280091"/>
                        <a:pt x="120052" y="282365"/>
                        <a:pt x="120052" y="283729"/>
                      </a:cubicBezTo>
                      <a:cubicBezTo>
                        <a:pt x="123235" y="278727"/>
                        <a:pt x="124599" y="274635"/>
                        <a:pt x="130055" y="257357"/>
                      </a:cubicBezTo>
                    </a:path>
                  </a:pathLst>
                </a:custGeom>
                <a:grpFill/>
                <a:ln w="4545" cap="flat">
                  <a:noFill/>
                  <a:prstDash val="solid"/>
                  <a:miter/>
                </a:ln>
              </p:spPr>
              <p:txBody>
                <a:bodyPr rtlCol="0" anchor="ctr"/>
                <a:lstStyle/>
                <a:p>
                  <a:endParaRPr lang="en-US" sz="1765"/>
                </a:p>
              </p:txBody>
            </p:sp>
            <p:sp>
              <p:nvSpPr>
                <p:cNvPr id="21" name="Graphic 5">
                  <a:extLst>
                    <a:ext uri="{FF2B5EF4-FFF2-40B4-BE49-F238E27FC236}">
                      <a16:creationId xmlns:a16="http://schemas.microsoft.com/office/drawing/2014/main" id="{A3F6887B-1ACE-4232-B101-C5D0AAF54519}"/>
                    </a:ext>
                  </a:extLst>
                </p:cNvPr>
                <p:cNvSpPr/>
                <p:nvPr/>
              </p:nvSpPr>
              <p:spPr>
                <a:xfrm>
                  <a:off x="8505374" y="1256075"/>
                  <a:ext cx="229877" cy="241554"/>
                </a:xfrm>
                <a:custGeom>
                  <a:avLst/>
                  <a:gdLst>
                    <a:gd name="connsiteX0" fmla="*/ 229517 w 229877"/>
                    <a:gd name="connsiteY0" fmla="*/ 65021 h 241554"/>
                    <a:gd name="connsiteX1" fmla="*/ 150854 w 229877"/>
                    <a:gd name="connsiteY1" fmla="*/ 115492 h 241554"/>
                    <a:gd name="connsiteX2" fmla="*/ 185866 w 229877"/>
                    <a:gd name="connsiteY2" fmla="*/ 182332 h 241554"/>
                    <a:gd name="connsiteX3" fmla="*/ 139487 w 229877"/>
                    <a:gd name="connsiteY3" fmla="*/ 208250 h 241554"/>
                    <a:gd name="connsiteX4" fmla="*/ 124937 w 229877"/>
                    <a:gd name="connsiteY4" fmla="*/ 155051 h 241554"/>
                    <a:gd name="connsiteX5" fmla="*/ 119026 w 229877"/>
                    <a:gd name="connsiteY5" fmla="*/ 154596 h 241554"/>
                    <a:gd name="connsiteX6" fmla="*/ 61280 w 229877"/>
                    <a:gd name="connsiteY6" fmla="*/ 241443 h 241554"/>
                    <a:gd name="connsiteX7" fmla="*/ 6716 w 229877"/>
                    <a:gd name="connsiteY7" fmla="*/ 178240 h 241554"/>
                    <a:gd name="connsiteX8" fmla="*/ 5807 w 229877"/>
                    <a:gd name="connsiteY8" fmla="*/ 150049 h 241554"/>
                    <a:gd name="connsiteX9" fmla="*/ 4898 w 229877"/>
                    <a:gd name="connsiteY9" fmla="*/ 105489 h 241554"/>
                    <a:gd name="connsiteX10" fmla="*/ 51276 w 229877"/>
                    <a:gd name="connsiteY10" fmla="*/ 72751 h 241554"/>
                    <a:gd name="connsiteX11" fmla="*/ 145853 w 229877"/>
                    <a:gd name="connsiteY11" fmla="*/ 0 h 241554"/>
                    <a:gd name="connsiteX12" fmla="*/ 173589 w 229877"/>
                    <a:gd name="connsiteY12" fmla="*/ 31829 h 241554"/>
                    <a:gd name="connsiteX13" fmla="*/ 206782 w 229877"/>
                    <a:gd name="connsiteY13" fmla="*/ 28646 h 241554"/>
                    <a:gd name="connsiteX14" fmla="*/ 229517 w 229877"/>
                    <a:gd name="connsiteY14" fmla="*/ 65021 h 24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9877" h="241554">
                      <a:moveTo>
                        <a:pt x="229517" y="65021"/>
                      </a:moveTo>
                      <a:cubicBezTo>
                        <a:pt x="222696" y="89575"/>
                        <a:pt x="222696" y="89575"/>
                        <a:pt x="150854" y="115492"/>
                      </a:cubicBezTo>
                      <a:cubicBezTo>
                        <a:pt x="187230" y="172784"/>
                        <a:pt x="187230" y="172784"/>
                        <a:pt x="185866" y="182332"/>
                      </a:cubicBezTo>
                      <a:cubicBezTo>
                        <a:pt x="184502" y="193700"/>
                        <a:pt x="152219" y="211887"/>
                        <a:pt x="139487" y="208250"/>
                      </a:cubicBezTo>
                      <a:cubicBezTo>
                        <a:pt x="129938" y="205522"/>
                        <a:pt x="129938" y="205522"/>
                        <a:pt x="124937" y="155051"/>
                      </a:cubicBezTo>
                      <a:cubicBezTo>
                        <a:pt x="123118" y="155051"/>
                        <a:pt x="120845" y="154596"/>
                        <a:pt x="119026" y="154596"/>
                      </a:cubicBezTo>
                      <a:cubicBezTo>
                        <a:pt x="68555" y="240078"/>
                        <a:pt x="68555" y="240078"/>
                        <a:pt x="61280" y="241443"/>
                      </a:cubicBezTo>
                      <a:cubicBezTo>
                        <a:pt x="45365" y="244625"/>
                        <a:pt x="6716" y="178695"/>
                        <a:pt x="6716" y="178240"/>
                      </a:cubicBezTo>
                      <a:cubicBezTo>
                        <a:pt x="3988" y="169146"/>
                        <a:pt x="8990" y="159598"/>
                        <a:pt x="5807" y="150049"/>
                      </a:cubicBezTo>
                      <a:cubicBezTo>
                        <a:pt x="-559" y="131407"/>
                        <a:pt x="-2832" y="123677"/>
                        <a:pt x="4898" y="105489"/>
                      </a:cubicBezTo>
                      <a:cubicBezTo>
                        <a:pt x="7171" y="100033"/>
                        <a:pt x="28087" y="65021"/>
                        <a:pt x="51276" y="72751"/>
                      </a:cubicBezTo>
                      <a:cubicBezTo>
                        <a:pt x="83105" y="82754"/>
                        <a:pt x="101293" y="58656"/>
                        <a:pt x="145853" y="0"/>
                      </a:cubicBezTo>
                      <a:cubicBezTo>
                        <a:pt x="150854" y="39558"/>
                        <a:pt x="153583" y="38649"/>
                        <a:pt x="173589" y="31829"/>
                      </a:cubicBezTo>
                      <a:cubicBezTo>
                        <a:pt x="188139" y="27282"/>
                        <a:pt x="198597" y="23644"/>
                        <a:pt x="206782" y="28646"/>
                      </a:cubicBezTo>
                      <a:cubicBezTo>
                        <a:pt x="208146" y="29555"/>
                        <a:pt x="233154" y="52744"/>
                        <a:pt x="229517" y="65021"/>
                      </a:cubicBezTo>
                    </a:path>
                  </a:pathLst>
                </a:custGeom>
                <a:grpFill/>
                <a:ln w="4545" cap="flat">
                  <a:noFill/>
                  <a:prstDash val="solid"/>
                  <a:miter/>
                </a:ln>
              </p:spPr>
              <p:txBody>
                <a:bodyPr rtlCol="0" anchor="ctr"/>
                <a:lstStyle/>
                <a:p>
                  <a:endParaRPr lang="en-US" sz="1765"/>
                </a:p>
              </p:txBody>
            </p:sp>
            <p:sp>
              <p:nvSpPr>
                <p:cNvPr id="22" name="Graphic 5">
                  <a:extLst>
                    <a:ext uri="{FF2B5EF4-FFF2-40B4-BE49-F238E27FC236}">
                      <a16:creationId xmlns:a16="http://schemas.microsoft.com/office/drawing/2014/main" id="{9F234599-3B20-4ED7-B458-35FA102470DC}"/>
                    </a:ext>
                  </a:extLst>
                </p:cNvPr>
                <p:cNvSpPr/>
                <p:nvPr/>
              </p:nvSpPr>
              <p:spPr>
                <a:xfrm>
                  <a:off x="7653584" y="1945822"/>
                  <a:ext cx="233150" cy="210363"/>
                </a:xfrm>
                <a:custGeom>
                  <a:avLst/>
                  <a:gdLst>
                    <a:gd name="connsiteX0" fmla="*/ 221480 w 233150"/>
                    <a:gd name="connsiteY0" fmla="*/ 130976 h 210363"/>
                    <a:gd name="connsiteX1" fmla="*/ 177829 w 233150"/>
                    <a:gd name="connsiteY1" fmla="*/ 179173 h 210363"/>
                    <a:gd name="connsiteX2" fmla="*/ 69612 w 233150"/>
                    <a:gd name="connsiteY2" fmla="*/ 210093 h 210363"/>
                    <a:gd name="connsiteX3" fmla="*/ 50515 w 233150"/>
                    <a:gd name="connsiteY3" fmla="*/ 204636 h 210363"/>
                    <a:gd name="connsiteX4" fmla="*/ 21414 w 233150"/>
                    <a:gd name="connsiteY4" fmla="*/ 171444 h 210363"/>
                    <a:gd name="connsiteX5" fmla="*/ 5045 w 233150"/>
                    <a:gd name="connsiteY5" fmla="*/ 159167 h 210363"/>
                    <a:gd name="connsiteX6" fmla="*/ 44 w 233150"/>
                    <a:gd name="connsiteY6" fmla="*/ 64136 h 210363"/>
                    <a:gd name="connsiteX7" fmla="*/ 81434 w 233150"/>
                    <a:gd name="connsiteY7" fmla="*/ 24 h 210363"/>
                    <a:gd name="connsiteX8" fmla="*/ 89618 w 233150"/>
                    <a:gd name="connsiteY8" fmla="*/ 17757 h 210363"/>
                    <a:gd name="connsiteX9" fmla="*/ 94165 w 233150"/>
                    <a:gd name="connsiteY9" fmla="*/ 26396 h 210363"/>
                    <a:gd name="connsiteX10" fmla="*/ 192834 w 233150"/>
                    <a:gd name="connsiteY10" fmla="*/ 22304 h 210363"/>
                    <a:gd name="connsiteX11" fmla="*/ 219661 w 233150"/>
                    <a:gd name="connsiteY11" fmla="*/ 18212 h 210363"/>
                    <a:gd name="connsiteX12" fmla="*/ 221480 w 233150"/>
                    <a:gd name="connsiteY12" fmla="*/ 130976 h 21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150" h="210363">
                      <a:moveTo>
                        <a:pt x="221480" y="130976"/>
                      </a:moveTo>
                      <a:cubicBezTo>
                        <a:pt x="206930" y="162804"/>
                        <a:pt x="182376" y="176900"/>
                        <a:pt x="177829" y="179173"/>
                      </a:cubicBezTo>
                      <a:cubicBezTo>
                        <a:pt x="155095" y="190995"/>
                        <a:pt x="70067" y="210093"/>
                        <a:pt x="69612" y="210093"/>
                      </a:cubicBezTo>
                      <a:cubicBezTo>
                        <a:pt x="59154" y="211457"/>
                        <a:pt x="53698" y="207364"/>
                        <a:pt x="50515" y="204636"/>
                      </a:cubicBezTo>
                      <a:cubicBezTo>
                        <a:pt x="38693" y="195542"/>
                        <a:pt x="33236" y="180537"/>
                        <a:pt x="21414" y="171444"/>
                      </a:cubicBezTo>
                      <a:cubicBezTo>
                        <a:pt x="15958" y="166897"/>
                        <a:pt x="8228" y="165987"/>
                        <a:pt x="5045" y="159167"/>
                      </a:cubicBezTo>
                      <a:cubicBezTo>
                        <a:pt x="2772" y="154620"/>
                        <a:pt x="-411" y="64590"/>
                        <a:pt x="44" y="64136"/>
                      </a:cubicBezTo>
                      <a:cubicBezTo>
                        <a:pt x="32327" y="-3159"/>
                        <a:pt x="80979" y="24"/>
                        <a:pt x="81434" y="24"/>
                      </a:cubicBezTo>
                      <a:cubicBezTo>
                        <a:pt x="88254" y="2752"/>
                        <a:pt x="89164" y="11846"/>
                        <a:pt x="89618" y="17757"/>
                      </a:cubicBezTo>
                      <a:cubicBezTo>
                        <a:pt x="90073" y="22758"/>
                        <a:pt x="92347" y="25941"/>
                        <a:pt x="94165" y="26396"/>
                      </a:cubicBezTo>
                      <a:cubicBezTo>
                        <a:pt x="94620" y="26396"/>
                        <a:pt x="154185" y="30488"/>
                        <a:pt x="192834" y="22304"/>
                      </a:cubicBezTo>
                      <a:cubicBezTo>
                        <a:pt x="203747" y="20030"/>
                        <a:pt x="214659" y="17757"/>
                        <a:pt x="219661" y="18212"/>
                      </a:cubicBezTo>
                      <a:cubicBezTo>
                        <a:pt x="246033" y="23213"/>
                        <a:pt x="226481" y="120063"/>
                        <a:pt x="221480" y="130976"/>
                      </a:cubicBezTo>
                    </a:path>
                  </a:pathLst>
                </a:custGeom>
                <a:grpFill/>
                <a:ln w="4545" cap="flat">
                  <a:noFill/>
                  <a:prstDash val="solid"/>
                  <a:miter/>
                </a:ln>
              </p:spPr>
              <p:txBody>
                <a:bodyPr rtlCol="0" anchor="ctr"/>
                <a:lstStyle/>
                <a:p>
                  <a:endParaRPr lang="en-US" sz="1765"/>
                </a:p>
              </p:txBody>
            </p:sp>
            <p:sp>
              <p:nvSpPr>
                <p:cNvPr id="23" name="Graphic 5">
                  <a:extLst>
                    <a:ext uri="{FF2B5EF4-FFF2-40B4-BE49-F238E27FC236}">
                      <a16:creationId xmlns:a16="http://schemas.microsoft.com/office/drawing/2014/main" id="{C97CB246-10FD-4783-B26A-910D07A5936F}"/>
                    </a:ext>
                  </a:extLst>
                </p:cNvPr>
                <p:cNvSpPr/>
                <p:nvPr/>
              </p:nvSpPr>
              <p:spPr>
                <a:xfrm>
                  <a:off x="5833462" y="3351922"/>
                  <a:ext cx="151562" cy="399968"/>
                </a:xfrm>
                <a:custGeom>
                  <a:avLst/>
                  <a:gdLst>
                    <a:gd name="connsiteX0" fmla="*/ 150529 w 151562"/>
                    <a:gd name="connsiteY0" fmla="*/ 396331 h 399968"/>
                    <a:gd name="connsiteX1" fmla="*/ 140071 w 151562"/>
                    <a:gd name="connsiteY1" fmla="*/ 399969 h 399968"/>
                    <a:gd name="connsiteX2" fmla="*/ 123247 w 151562"/>
                    <a:gd name="connsiteY2" fmla="*/ 380872 h 399968"/>
                    <a:gd name="connsiteX3" fmla="*/ 106878 w 151562"/>
                    <a:gd name="connsiteY3" fmla="*/ 395422 h 399968"/>
                    <a:gd name="connsiteX4" fmla="*/ 88690 w 151562"/>
                    <a:gd name="connsiteY4" fmla="*/ 372687 h 399968"/>
                    <a:gd name="connsiteX5" fmla="*/ 74140 w 151562"/>
                    <a:gd name="connsiteY5" fmla="*/ 349498 h 399968"/>
                    <a:gd name="connsiteX6" fmla="*/ 78232 w 151562"/>
                    <a:gd name="connsiteY6" fmla="*/ 302664 h 399968"/>
                    <a:gd name="connsiteX7" fmla="*/ 85962 w 151562"/>
                    <a:gd name="connsiteY7" fmla="*/ 267198 h 399968"/>
                    <a:gd name="connsiteX8" fmla="*/ 43676 w 151562"/>
                    <a:gd name="connsiteY8" fmla="*/ 198539 h 399968"/>
                    <a:gd name="connsiteX9" fmla="*/ 17303 w 151562"/>
                    <a:gd name="connsiteY9" fmla="*/ 78955 h 399968"/>
                    <a:gd name="connsiteX10" fmla="*/ 9574 w 151562"/>
                    <a:gd name="connsiteY10" fmla="*/ 90777 h 399968"/>
                    <a:gd name="connsiteX11" fmla="*/ 16849 w 151562"/>
                    <a:gd name="connsiteY11" fmla="*/ 293 h 399968"/>
                    <a:gd name="connsiteX12" fmla="*/ 26852 w 151562"/>
                    <a:gd name="connsiteY12" fmla="*/ 8477 h 399968"/>
                    <a:gd name="connsiteX13" fmla="*/ 55498 w 151562"/>
                    <a:gd name="connsiteY13" fmla="*/ 126698 h 399968"/>
                    <a:gd name="connsiteX14" fmla="*/ 82779 w 151562"/>
                    <a:gd name="connsiteY14" fmla="*/ 219455 h 399968"/>
                    <a:gd name="connsiteX15" fmla="*/ 107333 w 151562"/>
                    <a:gd name="connsiteY15" fmla="*/ 163528 h 399968"/>
                    <a:gd name="connsiteX16" fmla="*/ 109152 w 151562"/>
                    <a:gd name="connsiteY16" fmla="*/ 163528 h 399968"/>
                    <a:gd name="connsiteX17" fmla="*/ 108697 w 151562"/>
                    <a:gd name="connsiteY17" fmla="*/ 201267 h 399968"/>
                    <a:gd name="connsiteX18" fmla="*/ 99603 w 151562"/>
                    <a:gd name="connsiteY18" fmla="*/ 190810 h 399968"/>
                    <a:gd name="connsiteX19" fmla="*/ 114608 w 151562"/>
                    <a:gd name="connsiteY19" fmla="*/ 269472 h 399968"/>
                    <a:gd name="connsiteX20" fmla="*/ 126885 w 151562"/>
                    <a:gd name="connsiteY20" fmla="*/ 285841 h 399968"/>
                    <a:gd name="connsiteX21" fmla="*/ 151438 w 151562"/>
                    <a:gd name="connsiteY21" fmla="*/ 395877 h 399968"/>
                    <a:gd name="connsiteX22" fmla="*/ 150529 w 151562"/>
                    <a:gd name="connsiteY22" fmla="*/ 396331 h 39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1562" h="399968">
                      <a:moveTo>
                        <a:pt x="150529" y="396331"/>
                      </a:moveTo>
                      <a:cubicBezTo>
                        <a:pt x="146891" y="397241"/>
                        <a:pt x="144163" y="399969"/>
                        <a:pt x="140071" y="399969"/>
                      </a:cubicBezTo>
                      <a:cubicBezTo>
                        <a:pt x="127794" y="399514"/>
                        <a:pt x="131886" y="384509"/>
                        <a:pt x="123247" y="380872"/>
                      </a:cubicBezTo>
                      <a:cubicBezTo>
                        <a:pt x="113699" y="376780"/>
                        <a:pt x="116427" y="399514"/>
                        <a:pt x="106878" y="395422"/>
                      </a:cubicBezTo>
                      <a:cubicBezTo>
                        <a:pt x="101422" y="376325"/>
                        <a:pt x="98694" y="373142"/>
                        <a:pt x="88690" y="372687"/>
                      </a:cubicBezTo>
                      <a:cubicBezTo>
                        <a:pt x="84598" y="372687"/>
                        <a:pt x="77778" y="372233"/>
                        <a:pt x="74140" y="349498"/>
                      </a:cubicBezTo>
                      <a:cubicBezTo>
                        <a:pt x="66865" y="305847"/>
                        <a:pt x="74140" y="303574"/>
                        <a:pt x="78232" y="302664"/>
                      </a:cubicBezTo>
                      <a:cubicBezTo>
                        <a:pt x="86417" y="300391"/>
                        <a:pt x="86417" y="300391"/>
                        <a:pt x="85962" y="267198"/>
                      </a:cubicBezTo>
                      <a:cubicBezTo>
                        <a:pt x="50496" y="234915"/>
                        <a:pt x="50496" y="234915"/>
                        <a:pt x="43676" y="198539"/>
                      </a:cubicBezTo>
                      <a:cubicBezTo>
                        <a:pt x="22305" y="83502"/>
                        <a:pt x="22305" y="83502"/>
                        <a:pt x="17303" y="78955"/>
                      </a:cubicBezTo>
                      <a:cubicBezTo>
                        <a:pt x="12757" y="81683"/>
                        <a:pt x="14121" y="88049"/>
                        <a:pt x="9574" y="90777"/>
                      </a:cubicBezTo>
                      <a:cubicBezTo>
                        <a:pt x="4572" y="79864"/>
                        <a:pt x="-12706" y="-5618"/>
                        <a:pt x="16849" y="293"/>
                      </a:cubicBezTo>
                      <a:cubicBezTo>
                        <a:pt x="20941" y="1202"/>
                        <a:pt x="24124" y="5294"/>
                        <a:pt x="26852" y="8477"/>
                      </a:cubicBezTo>
                      <a:cubicBezTo>
                        <a:pt x="28671" y="11660"/>
                        <a:pt x="28671" y="11660"/>
                        <a:pt x="55498" y="126698"/>
                      </a:cubicBezTo>
                      <a:cubicBezTo>
                        <a:pt x="70503" y="190810"/>
                        <a:pt x="75050" y="202177"/>
                        <a:pt x="82779" y="219455"/>
                      </a:cubicBezTo>
                      <a:cubicBezTo>
                        <a:pt x="81870" y="204905"/>
                        <a:pt x="81415" y="200358"/>
                        <a:pt x="107333" y="163528"/>
                      </a:cubicBezTo>
                      <a:cubicBezTo>
                        <a:pt x="107788" y="163528"/>
                        <a:pt x="108697" y="163528"/>
                        <a:pt x="109152" y="163528"/>
                      </a:cubicBezTo>
                      <a:cubicBezTo>
                        <a:pt x="119610" y="176259"/>
                        <a:pt x="119155" y="203996"/>
                        <a:pt x="108697" y="201267"/>
                      </a:cubicBezTo>
                      <a:cubicBezTo>
                        <a:pt x="106424" y="200813"/>
                        <a:pt x="106424" y="200813"/>
                        <a:pt x="99603" y="190810"/>
                      </a:cubicBezTo>
                      <a:cubicBezTo>
                        <a:pt x="94147" y="252648"/>
                        <a:pt x="95966" y="264015"/>
                        <a:pt x="114608" y="269472"/>
                      </a:cubicBezTo>
                      <a:cubicBezTo>
                        <a:pt x="120974" y="271290"/>
                        <a:pt x="124157" y="275837"/>
                        <a:pt x="126885" y="285841"/>
                      </a:cubicBezTo>
                      <a:cubicBezTo>
                        <a:pt x="143708" y="349498"/>
                        <a:pt x="143708" y="349498"/>
                        <a:pt x="151438" y="395877"/>
                      </a:cubicBezTo>
                      <a:cubicBezTo>
                        <a:pt x="151893" y="395877"/>
                        <a:pt x="150984" y="396331"/>
                        <a:pt x="150529" y="396331"/>
                      </a:cubicBezTo>
                    </a:path>
                  </a:pathLst>
                </a:custGeom>
                <a:grpFill/>
                <a:ln w="4545" cap="flat">
                  <a:noFill/>
                  <a:prstDash val="solid"/>
                  <a:miter/>
                </a:ln>
              </p:spPr>
              <p:txBody>
                <a:bodyPr rtlCol="0" anchor="ctr"/>
                <a:lstStyle/>
                <a:p>
                  <a:endParaRPr lang="en-US" sz="1765"/>
                </a:p>
              </p:txBody>
            </p:sp>
            <p:sp>
              <p:nvSpPr>
                <p:cNvPr id="24" name="Graphic 5">
                  <a:extLst>
                    <a:ext uri="{FF2B5EF4-FFF2-40B4-BE49-F238E27FC236}">
                      <a16:creationId xmlns:a16="http://schemas.microsoft.com/office/drawing/2014/main" id="{BAE29FE7-BBD0-4299-B71D-DE9C111F186D}"/>
                    </a:ext>
                  </a:extLst>
                </p:cNvPr>
                <p:cNvSpPr/>
                <p:nvPr/>
              </p:nvSpPr>
              <p:spPr>
                <a:xfrm>
                  <a:off x="9586533" y="808201"/>
                  <a:ext cx="165053" cy="128079"/>
                </a:xfrm>
                <a:custGeom>
                  <a:avLst/>
                  <a:gdLst>
                    <a:gd name="connsiteX0" fmla="*/ 42741 w 165053"/>
                    <a:gd name="connsiteY0" fmla="*/ 7275 h 128079"/>
                    <a:gd name="connsiteX1" fmla="*/ 95940 w 165053"/>
                    <a:gd name="connsiteY1" fmla="*/ 44560 h 128079"/>
                    <a:gd name="connsiteX2" fmla="*/ 63202 w 165053"/>
                    <a:gd name="connsiteY2" fmla="*/ 41377 h 128079"/>
                    <a:gd name="connsiteX3" fmla="*/ 100942 w 165053"/>
                    <a:gd name="connsiteY3" fmla="*/ 69114 h 128079"/>
                    <a:gd name="connsiteX4" fmla="*/ 133225 w 165053"/>
                    <a:gd name="connsiteY4" fmla="*/ 100033 h 128079"/>
                    <a:gd name="connsiteX5" fmla="*/ 162326 w 165053"/>
                    <a:gd name="connsiteY5" fmla="*/ 122767 h 128079"/>
                    <a:gd name="connsiteX6" fmla="*/ 165054 w 165053"/>
                    <a:gd name="connsiteY6" fmla="*/ 127769 h 128079"/>
                    <a:gd name="connsiteX7" fmla="*/ 80026 w 165053"/>
                    <a:gd name="connsiteY7" fmla="*/ 106398 h 128079"/>
                    <a:gd name="connsiteX8" fmla="*/ 24099 w 165053"/>
                    <a:gd name="connsiteY8" fmla="*/ 65476 h 128079"/>
                    <a:gd name="connsiteX9" fmla="*/ 4092 w 165053"/>
                    <a:gd name="connsiteY9" fmla="*/ 34102 h 128079"/>
                    <a:gd name="connsiteX10" fmla="*/ 7730 w 165053"/>
                    <a:gd name="connsiteY10" fmla="*/ 33193 h 128079"/>
                    <a:gd name="connsiteX11" fmla="*/ 8184 w 165053"/>
                    <a:gd name="connsiteY11" fmla="*/ 32283 h 128079"/>
                    <a:gd name="connsiteX12" fmla="*/ 0 w 165053"/>
                    <a:gd name="connsiteY12" fmla="*/ 22735 h 128079"/>
                    <a:gd name="connsiteX13" fmla="*/ 909 w 165053"/>
                    <a:gd name="connsiteY13" fmla="*/ 21371 h 128079"/>
                    <a:gd name="connsiteX14" fmla="*/ 28646 w 165053"/>
                    <a:gd name="connsiteY14" fmla="*/ 28191 h 128079"/>
                    <a:gd name="connsiteX15" fmla="*/ 31829 w 165053"/>
                    <a:gd name="connsiteY15" fmla="*/ 28191 h 128079"/>
                    <a:gd name="connsiteX16" fmla="*/ 22280 w 165053"/>
                    <a:gd name="connsiteY16" fmla="*/ 19552 h 128079"/>
                    <a:gd name="connsiteX17" fmla="*/ 16369 w 165053"/>
                    <a:gd name="connsiteY17" fmla="*/ 11822 h 128079"/>
                    <a:gd name="connsiteX18" fmla="*/ 20006 w 165053"/>
                    <a:gd name="connsiteY18" fmla="*/ 5911 h 128079"/>
                    <a:gd name="connsiteX19" fmla="*/ 18642 w 165053"/>
                    <a:gd name="connsiteY19" fmla="*/ 0 h 128079"/>
                    <a:gd name="connsiteX20" fmla="*/ 42741 w 165053"/>
                    <a:gd name="connsiteY20" fmla="*/ 7275 h 12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5053" h="128079">
                      <a:moveTo>
                        <a:pt x="42741" y="7275"/>
                      </a:moveTo>
                      <a:cubicBezTo>
                        <a:pt x="75479" y="25463"/>
                        <a:pt x="94576" y="37285"/>
                        <a:pt x="95940" y="44560"/>
                      </a:cubicBezTo>
                      <a:cubicBezTo>
                        <a:pt x="93212" y="47743"/>
                        <a:pt x="92757" y="47743"/>
                        <a:pt x="63202" y="41377"/>
                      </a:cubicBezTo>
                      <a:cubicBezTo>
                        <a:pt x="83209" y="55473"/>
                        <a:pt x="93212" y="62748"/>
                        <a:pt x="100942" y="69114"/>
                      </a:cubicBezTo>
                      <a:cubicBezTo>
                        <a:pt x="112310" y="78662"/>
                        <a:pt x="121858" y="90029"/>
                        <a:pt x="133225" y="100033"/>
                      </a:cubicBezTo>
                      <a:cubicBezTo>
                        <a:pt x="142319" y="108217"/>
                        <a:pt x="153232" y="114583"/>
                        <a:pt x="162326" y="122767"/>
                      </a:cubicBezTo>
                      <a:cubicBezTo>
                        <a:pt x="165054" y="125496"/>
                        <a:pt x="165054" y="126405"/>
                        <a:pt x="165054" y="127769"/>
                      </a:cubicBezTo>
                      <a:cubicBezTo>
                        <a:pt x="159598" y="130952"/>
                        <a:pt x="83664" y="108672"/>
                        <a:pt x="80026" y="106398"/>
                      </a:cubicBezTo>
                      <a:lnTo>
                        <a:pt x="24099" y="65476"/>
                      </a:lnTo>
                      <a:cubicBezTo>
                        <a:pt x="24099" y="65476"/>
                        <a:pt x="3637" y="35921"/>
                        <a:pt x="4092" y="34102"/>
                      </a:cubicBezTo>
                      <a:cubicBezTo>
                        <a:pt x="5456" y="33647"/>
                        <a:pt x="6820" y="33647"/>
                        <a:pt x="7730" y="33193"/>
                      </a:cubicBezTo>
                      <a:cubicBezTo>
                        <a:pt x="7730" y="32738"/>
                        <a:pt x="8184" y="32738"/>
                        <a:pt x="8184" y="32283"/>
                      </a:cubicBezTo>
                      <a:cubicBezTo>
                        <a:pt x="5456" y="29100"/>
                        <a:pt x="1364" y="27282"/>
                        <a:pt x="0" y="22735"/>
                      </a:cubicBezTo>
                      <a:cubicBezTo>
                        <a:pt x="0" y="22280"/>
                        <a:pt x="455" y="21825"/>
                        <a:pt x="909" y="21371"/>
                      </a:cubicBezTo>
                      <a:cubicBezTo>
                        <a:pt x="4547" y="20461"/>
                        <a:pt x="11367" y="21825"/>
                        <a:pt x="28646" y="28191"/>
                      </a:cubicBezTo>
                      <a:cubicBezTo>
                        <a:pt x="30465" y="28646"/>
                        <a:pt x="30465" y="28646"/>
                        <a:pt x="31829" y="28191"/>
                      </a:cubicBezTo>
                      <a:cubicBezTo>
                        <a:pt x="31829" y="26827"/>
                        <a:pt x="31829" y="26827"/>
                        <a:pt x="22280" y="19552"/>
                      </a:cubicBezTo>
                      <a:cubicBezTo>
                        <a:pt x="20006" y="17733"/>
                        <a:pt x="16824" y="14550"/>
                        <a:pt x="16369" y="11822"/>
                      </a:cubicBezTo>
                      <a:cubicBezTo>
                        <a:pt x="15914" y="8639"/>
                        <a:pt x="19552" y="8185"/>
                        <a:pt x="20006" y="5911"/>
                      </a:cubicBezTo>
                      <a:cubicBezTo>
                        <a:pt x="20461" y="3638"/>
                        <a:pt x="19097" y="1819"/>
                        <a:pt x="18642" y="0"/>
                      </a:cubicBezTo>
                      <a:cubicBezTo>
                        <a:pt x="18188" y="909"/>
                        <a:pt x="35012" y="3183"/>
                        <a:pt x="42741" y="7275"/>
                      </a:cubicBezTo>
                    </a:path>
                  </a:pathLst>
                </a:custGeom>
                <a:grpFill/>
                <a:ln w="4545" cap="flat">
                  <a:noFill/>
                  <a:prstDash val="solid"/>
                  <a:miter/>
                </a:ln>
              </p:spPr>
              <p:txBody>
                <a:bodyPr rtlCol="0" anchor="ctr"/>
                <a:lstStyle/>
                <a:p>
                  <a:endParaRPr lang="en-US" sz="1765"/>
                </a:p>
              </p:txBody>
            </p:sp>
            <p:sp>
              <p:nvSpPr>
                <p:cNvPr id="25" name="Graphic 5">
                  <a:extLst>
                    <a:ext uri="{FF2B5EF4-FFF2-40B4-BE49-F238E27FC236}">
                      <a16:creationId xmlns:a16="http://schemas.microsoft.com/office/drawing/2014/main" id="{517012A8-4F72-44EE-8F2A-71CF988A382F}"/>
                    </a:ext>
                  </a:extLst>
                </p:cNvPr>
                <p:cNvSpPr/>
                <p:nvPr/>
              </p:nvSpPr>
              <p:spPr>
                <a:xfrm>
                  <a:off x="8957845" y="1115575"/>
                  <a:ext cx="195006" cy="160035"/>
                </a:xfrm>
                <a:custGeom>
                  <a:avLst/>
                  <a:gdLst>
                    <a:gd name="connsiteX0" fmla="*/ 194910 w 195006"/>
                    <a:gd name="connsiteY0" fmla="*/ 49107 h 160035"/>
                    <a:gd name="connsiteX1" fmla="*/ 166719 w 195006"/>
                    <a:gd name="connsiteY1" fmla="*/ 99578 h 160035"/>
                    <a:gd name="connsiteX2" fmla="*/ 152624 w 195006"/>
                    <a:gd name="connsiteY2" fmla="*/ 97759 h 160035"/>
                    <a:gd name="connsiteX3" fmla="*/ 123068 w 195006"/>
                    <a:gd name="connsiteY3" fmla="*/ 128678 h 160035"/>
                    <a:gd name="connsiteX4" fmla="*/ 101698 w 195006"/>
                    <a:gd name="connsiteY4" fmla="*/ 136408 h 160035"/>
                    <a:gd name="connsiteX5" fmla="*/ 68960 w 195006"/>
                    <a:gd name="connsiteY5" fmla="*/ 148685 h 160035"/>
                    <a:gd name="connsiteX6" fmla="*/ 9395 w 195006"/>
                    <a:gd name="connsiteY6" fmla="*/ 151413 h 160035"/>
                    <a:gd name="connsiteX7" fmla="*/ 12123 w 195006"/>
                    <a:gd name="connsiteY7" fmla="*/ 96850 h 160035"/>
                    <a:gd name="connsiteX8" fmla="*/ 34858 w 195006"/>
                    <a:gd name="connsiteY8" fmla="*/ 90484 h 160035"/>
                    <a:gd name="connsiteX9" fmla="*/ 42133 w 195006"/>
                    <a:gd name="connsiteY9" fmla="*/ 91848 h 160035"/>
                    <a:gd name="connsiteX10" fmla="*/ 55774 w 195006"/>
                    <a:gd name="connsiteY10" fmla="*/ 119130 h 160035"/>
                    <a:gd name="connsiteX11" fmla="*/ 65777 w 195006"/>
                    <a:gd name="connsiteY11" fmla="*/ 128224 h 160035"/>
                    <a:gd name="connsiteX12" fmla="*/ 79418 w 195006"/>
                    <a:gd name="connsiteY12" fmla="*/ 28646 h 160035"/>
                    <a:gd name="connsiteX13" fmla="*/ 100334 w 195006"/>
                    <a:gd name="connsiteY13" fmla="*/ 33647 h 160035"/>
                    <a:gd name="connsiteX14" fmla="*/ 108973 w 195006"/>
                    <a:gd name="connsiteY14" fmla="*/ 61838 h 160035"/>
                    <a:gd name="connsiteX15" fmla="*/ 120340 w 195006"/>
                    <a:gd name="connsiteY15" fmla="*/ 82754 h 160035"/>
                    <a:gd name="connsiteX16" fmla="*/ 127161 w 195006"/>
                    <a:gd name="connsiteY16" fmla="*/ 70023 h 160035"/>
                    <a:gd name="connsiteX17" fmla="*/ 126706 w 195006"/>
                    <a:gd name="connsiteY17" fmla="*/ 36376 h 160035"/>
                    <a:gd name="connsiteX18" fmla="*/ 153078 w 195006"/>
                    <a:gd name="connsiteY18" fmla="*/ 54109 h 160035"/>
                    <a:gd name="connsiteX19" fmla="*/ 159444 w 195006"/>
                    <a:gd name="connsiteY19" fmla="*/ 33647 h 160035"/>
                    <a:gd name="connsiteX20" fmla="*/ 129889 w 195006"/>
                    <a:gd name="connsiteY20" fmla="*/ 25463 h 160035"/>
                    <a:gd name="connsiteX21" fmla="*/ 133981 w 195006"/>
                    <a:gd name="connsiteY21" fmla="*/ 0 h 160035"/>
                    <a:gd name="connsiteX22" fmla="*/ 140347 w 195006"/>
                    <a:gd name="connsiteY22" fmla="*/ 2728 h 160035"/>
                    <a:gd name="connsiteX23" fmla="*/ 160353 w 195006"/>
                    <a:gd name="connsiteY23" fmla="*/ 19097 h 160035"/>
                    <a:gd name="connsiteX24" fmla="*/ 185816 w 195006"/>
                    <a:gd name="connsiteY24" fmla="*/ 32283 h 160035"/>
                    <a:gd name="connsiteX25" fmla="*/ 194910 w 195006"/>
                    <a:gd name="connsiteY25" fmla="*/ 49107 h 16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5006" h="160035">
                      <a:moveTo>
                        <a:pt x="194910" y="49107"/>
                      </a:moveTo>
                      <a:cubicBezTo>
                        <a:pt x="195365" y="55927"/>
                        <a:pt x="195365" y="79571"/>
                        <a:pt x="166719" y="99578"/>
                      </a:cubicBezTo>
                      <a:cubicBezTo>
                        <a:pt x="163081" y="98214"/>
                        <a:pt x="157171" y="95486"/>
                        <a:pt x="152624" y="97759"/>
                      </a:cubicBezTo>
                      <a:cubicBezTo>
                        <a:pt x="138983" y="104580"/>
                        <a:pt x="135800" y="120949"/>
                        <a:pt x="123068" y="128678"/>
                      </a:cubicBezTo>
                      <a:cubicBezTo>
                        <a:pt x="113520" y="134590"/>
                        <a:pt x="106245" y="135954"/>
                        <a:pt x="101698" y="136408"/>
                      </a:cubicBezTo>
                      <a:cubicBezTo>
                        <a:pt x="89421" y="138227"/>
                        <a:pt x="83965" y="140955"/>
                        <a:pt x="68960" y="148685"/>
                      </a:cubicBezTo>
                      <a:cubicBezTo>
                        <a:pt x="57138" y="155051"/>
                        <a:pt x="28947" y="169146"/>
                        <a:pt x="9395" y="151413"/>
                      </a:cubicBezTo>
                      <a:cubicBezTo>
                        <a:pt x="-1063" y="141865"/>
                        <a:pt x="-6065" y="104580"/>
                        <a:pt x="12123" y="96850"/>
                      </a:cubicBezTo>
                      <a:lnTo>
                        <a:pt x="34858" y="90484"/>
                      </a:lnTo>
                      <a:cubicBezTo>
                        <a:pt x="38041" y="90029"/>
                        <a:pt x="40769" y="91394"/>
                        <a:pt x="42133" y="91848"/>
                      </a:cubicBezTo>
                      <a:cubicBezTo>
                        <a:pt x="49863" y="95486"/>
                        <a:pt x="53955" y="110945"/>
                        <a:pt x="55774" y="119130"/>
                      </a:cubicBezTo>
                      <a:cubicBezTo>
                        <a:pt x="57138" y="124586"/>
                        <a:pt x="60775" y="125950"/>
                        <a:pt x="65777" y="128224"/>
                      </a:cubicBezTo>
                      <a:cubicBezTo>
                        <a:pt x="73507" y="95486"/>
                        <a:pt x="67596" y="60929"/>
                        <a:pt x="79418" y="28646"/>
                      </a:cubicBezTo>
                      <a:cubicBezTo>
                        <a:pt x="79872" y="26827"/>
                        <a:pt x="90785" y="19097"/>
                        <a:pt x="100334" y="33647"/>
                      </a:cubicBezTo>
                      <a:cubicBezTo>
                        <a:pt x="108518" y="45924"/>
                        <a:pt x="108518" y="45924"/>
                        <a:pt x="108973" y="61838"/>
                      </a:cubicBezTo>
                      <a:cubicBezTo>
                        <a:pt x="109428" y="66385"/>
                        <a:pt x="109428" y="66385"/>
                        <a:pt x="120340" y="82754"/>
                      </a:cubicBezTo>
                      <a:cubicBezTo>
                        <a:pt x="127161" y="72296"/>
                        <a:pt x="127161" y="72296"/>
                        <a:pt x="127161" y="70023"/>
                      </a:cubicBezTo>
                      <a:cubicBezTo>
                        <a:pt x="126251" y="36830"/>
                        <a:pt x="126251" y="36830"/>
                        <a:pt x="126706" y="36376"/>
                      </a:cubicBezTo>
                      <a:cubicBezTo>
                        <a:pt x="129434" y="34102"/>
                        <a:pt x="135345" y="39104"/>
                        <a:pt x="153078" y="54109"/>
                      </a:cubicBezTo>
                      <a:cubicBezTo>
                        <a:pt x="155352" y="47288"/>
                        <a:pt x="156716" y="42287"/>
                        <a:pt x="159444" y="33647"/>
                      </a:cubicBezTo>
                      <a:cubicBezTo>
                        <a:pt x="149441" y="30919"/>
                        <a:pt x="139892" y="28191"/>
                        <a:pt x="129889" y="25463"/>
                      </a:cubicBezTo>
                      <a:cubicBezTo>
                        <a:pt x="128525" y="6366"/>
                        <a:pt x="128979" y="1364"/>
                        <a:pt x="133981" y="0"/>
                      </a:cubicBezTo>
                      <a:cubicBezTo>
                        <a:pt x="135800" y="0"/>
                        <a:pt x="136709" y="0"/>
                        <a:pt x="140347" y="2728"/>
                      </a:cubicBezTo>
                      <a:cubicBezTo>
                        <a:pt x="147622" y="7275"/>
                        <a:pt x="153533" y="14096"/>
                        <a:pt x="160353" y="19097"/>
                      </a:cubicBezTo>
                      <a:cubicBezTo>
                        <a:pt x="168083" y="24554"/>
                        <a:pt x="178086" y="26372"/>
                        <a:pt x="185816" y="32283"/>
                      </a:cubicBezTo>
                      <a:cubicBezTo>
                        <a:pt x="194001" y="38194"/>
                        <a:pt x="194455" y="45469"/>
                        <a:pt x="194910" y="49107"/>
                      </a:cubicBezTo>
                    </a:path>
                  </a:pathLst>
                </a:custGeom>
                <a:grpFill/>
                <a:ln w="4545" cap="flat">
                  <a:noFill/>
                  <a:prstDash val="solid"/>
                  <a:miter/>
                </a:ln>
              </p:spPr>
              <p:txBody>
                <a:bodyPr rtlCol="0" anchor="ctr"/>
                <a:lstStyle/>
                <a:p>
                  <a:endParaRPr lang="en-US" sz="1765"/>
                </a:p>
              </p:txBody>
            </p:sp>
            <p:sp>
              <p:nvSpPr>
                <p:cNvPr id="26" name="Graphic 5">
                  <a:extLst>
                    <a:ext uri="{FF2B5EF4-FFF2-40B4-BE49-F238E27FC236}">
                      <a16:creationId xmlns:a16="http://schemas.microsoft.com/office/drawing/2014/main" id="{3A643E94-08A4-4A9D-92D4-60DEF424CE02}"/>
                    </a:ext>
                  </a:extLst>
                </p:cNvPr>
                <p:cNvSpPr/>
                <p:nvPr/>
              </p:nvSpPr>
              <p:spPr>
                <a:xfrm>
                  <a:off x="5889869" y="3245222"/>
                  <a:ext cx="38779" cy="233397"/>
                </a:xfrm>
                <a:custGeom>
                  <a:avLst/>
                  <a:gdLst>
                    <a:gd name="connsiteX0" fmla="*/ 34103 w 38779"/>
                    <a:gd name="connsiteY0" fmla="*/ 229760 h 233397"/>
                    <a:gd name="connsiteX1" fmla="*/ 30920 w 38779"/>
                    <a:gd name="connsiteY1" fmla="*/ 233398 h 233397"/>
                    <a:gd name="connsiteX2" fmla="*/ 23190 w 38779"/>
                    <a:gd name="connsiteY2" fmla="*/ 176106 h 233397"/>
                    <a:gd name="connsiteX3" fmla="*/ 17279 w 38779"/>
                    <a:gd name="connsiteY3" fmla="*/ 148370 h 233397"/>
                    <a:gd name="connsiteX4" fmla="*/ 6366 w 38779"/>
                    <a:gd name="connsiteY4" fmla="*/ 164284 h 233397"/>
                    <a:gd name="connsiteX5" fmla="*/ 8185 w 38779"/>
                    <a:gd name="connsiteY5" fmla="*/ 73345 h 233397"/>
                    <a:gd name="connsiteX6" fmla="*/ 20462 w 38779"/>
                    <a:gd name="connsiteY6" fmla="*/ 119724 h 233397"/>
                    <a:gd name="connsiteX7" fmla="*/ 12277 w 38779"/>
                    <a:gd name="connsiteY7" fmla="*/ 35606 h 233397"/>
                    <a:gd name="connsiteX8" fmla="*/ 33193 w 38779"/>
                    <a:gd name="connsiteY8" fmla="*/ 1049 h 233397"/>
                    <a:gd name="connsiteX9" fmla="*/ 38650 w 38779"/>
                    <a:gd name="connsiteY9" fmla="*/ 20146 h 233397"/>
                    <a:gd name="connsiteX10" fmla="*/ 38195 w 38779"/>
                    <a:gd name="connsiteY10" fmla="*/ 116087 h 233397"/>
                    <a:gd name="connsiteX11" fmla="*/ 34103 w 38779"/>
                    <a:gd name="connsiteY11" fmla="*/ 229760 h 233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79" h="233397">
                      <a:moveTo>
                        <a:pt x="34103" y="229760"/>
                      </a:moveTo>
                      <a:cubicBezTo>
                        <a:pt x="33193" y="231124"/>
                        <a:pt x="31829" y="232034"/>
                        <a:pt x="30920" y="233398"/>
                      </a:cubicBezTo>
                      <a:cubicBezTo>
                        <a:pt x="26828" y="216574"/>
                        <a:pt x="23645" y="183381"/>
                        <a:pt x="23190" y="176106"/>
                      </a:cubicBezTo>
                      <a:cubicBezTo>
                        <a:pt x="21371" y="152462"/>
                        <a:pt x="20007" y="149279"/>
                        <a:pt x="17279" y="148370"/>
                      </a:cubicBezTo>
                      <a:cubicBezTo>
                        <a:pt x="11368" y="152007"/>
                        <a:pt x="11823" y="160192"/>
                        <a:pt x="6366" y="164284"/>
                      </a:cubicBezTo>
                      <a:cubicBezTo>
                        <a:pt x="-5001" y="159737"/>
                        <a:pt x="910" y="81075"/>
                        <a:pt x="8185" y="73345"/>
                      </a:cubicBezTo>
                      <a:cubicBezTo>
                        <a:pt x="11823" y="74709"/>
                        <a:pt x="11823" y="74709"/>
                        <a:pt x="20462" y="119724"/>
                      </a:cubicBezTo>
                      <a:cubicBezTo>
                        <a:pt x="32739" y="72891"/>
                        <a:pt x="31374" y="59705"/>
                        <a:pt x="12277" y="35606"/>
                      </a:cubicBezTo>
                      <a:cubicBezTo>
                        <a:pt x="19552" y="6505"/>
                        <a:pt x="25918" y="-3498"/>
                        <a:pt x="33193" y="1049"/>
                      </a:cubicBezTo>
                      <a:cubicBezTo>
                        <a:pt x="35467" y="4232"/>
                        <a:pt x="38650" y="10143"/>
                        <a:pt x="38650" y="20146"/>
                      </a:cubicBezTo>
                      <a:cubicBezTo>
                        <a:pt x="38650" y="51975"/>
                        <a:pt x="35467" y="84258"/>
                        <a:pt x="38195" y="116087"/>
                      </a:cubicBezTo>
                      <a:cubicBezTo>
                        <a:pt x="40468" y="144278"/>
                        <a:pt x="35467" y="228396"/>
                        <a:pt x="34103" y="229760"/>
                      </a:cubicBezTo>
                    </a:path>
                  </a:pathLst>
                </a:custGeom>
                <a:grpFill/>
                <a:ln w="4545" cap="flat">
                  <a:noFill/>
                  <a:prstDash val="solid"/>
                  <a:miter/>
                </a:ln>
              </p:spPr>
              <p:txBody>
                <a:bodyPr rtlCol="0" anchor="ctr"/>
                <a:lstStyle/>
                <a:p>
                  <a:endParaRPr lang="en-US" sz="1765"/>
                </a:p>
              </p:txBody>
            </p:sp>
            <p:sp>
              <p:nvSpPr>
                <p:cNvPr id="27" name="Graphic 5">
                  <a:extLst>
                    <a:ext uri="{FF2B5EF4-FFF2-40B4-BE49-F238E27FC236}">
                      <a16:creationId xmlns:a16="http://schemas.microsoft.com/office/drawing/2014/main" id="{AEE30512-5E3F-4711-AA5A-AC5FCF638536}"/>
                    </a:ext>
                  </a:extLst>
                </p:cNvPr>
                <p:cNvSpPr/>
                <p:nvPr/>
              </p:nvSpPr>
              <p:spPr>
                <a:xfrm>
                  <a:off x="11667700" y="3226829"/>
                  <a:ext cx="37687" cy="188588"/>
                </a:xfrm>
                <a:custGeom>
                  <a:avLst/>
                  <a:gdLst>
                    <a:gd name="connsiteX0" fmla="*/ 33161 w 37687"/>
                    <a:gd name="connsiteY0" fmla="*/ 90375 h 188588"/>
                    <a:gd name="connsiteX1" fmla="*/ 32252 w 37687"/>
                    <a:gd name="connsiteY1" fmla="*/ 188589 h 188588"/>
                    <a:gd name="connsiteX2" fmla="*/ 6334 w 37687"/>
                    <a:gd name="connsiteY2" fmla="*/ 127205 h 188588"/>
                    <a:gd name="connsiteX3" fmla="*/ 6789 w 37687"/>
                    <a:gd name="connsiteY3" fmla="*/ 800 h 188588"/>
                    <a:gd name="connsiteX4" fmla="*/ 30433 w 37687"/>
                    <a:gd name="connsiteY4" fmla="*/ 79917 h 188588"/>
                    <a:gd name="connsiteX5" fmla="*/ 31342 w 37687"/>
                    <a:gd name="connsiteY5" fmla="*/ 79462 h 188588"/>
                    <a:gd name="connsiteX6" fmla="*/ 33161 w 37687"/>
                    <a:gd name="connsiteY6" fmla="*/ 90375 h 18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87" h="188588">
                      <a:moveTo>
                        <a:pt x="33161" y="90375"/>
                      </a:moveTo>
                      <a:cubicBezTo>
                        <a:pt x="39981" y="171765"/>
                        <a:pt x="38617" y="186315"/>
                        <a:pt x="32252" y="188589"/>
                      </a:cubicBezTo>
                      <a:cubicBezTo>
                        <a:pt x="26796" y="185861"/>
                        <a:pt x="9062" y="145393"/>
                        <a:pt x="6334" y="127205"/>
                      </a:cubicBezTo>
                      <a:cubicBezTo>
                        <a:pt x="6334" y="126295"/>
                        <a:pt x="-8216" y="17169"/>
                        <a:pt x="6789" y="800"/>
                      </a:cubicBezTo>
                      <a:cubicBezTo>
                        <a:pt x="18156" y="-7839"/>
                        <a:pt x="27250" y="55818"/>
                        <a:pt x="30433" y="79917"/>
                      </a:cubicBezTo>
                      <a:cubicBezTo>
                        <a:pt x="30887" y="79917"/>
                        <a:pt x="31342" y="79917"/>
                        <a:pt x="31342" y="79462"/>
                      </a:cubicBezTo>
                      <a:cubicBezTo>
                        <a:pt x="32252" y="82645"/>
                        <a:pt x="32706" y="86737"/>
                        <a:pt x="33161" y="90375"/>
                      </a:cubicBezTo>
                    </a:path>
                  </a:pathLst>
                </a:custGeom>
                <a:grpFill/>
                <a:ln w="4545" cap="flat">
                  <a:noFill/>
                  <a:prstDash val="solid"/>
                  <a:miter/>
                </a:ln>
              </p:spPr>
              <p:txBody>
                <a:bodyPr rtlCol="0" anchor="ctr"/>
                <a:lstStyle/>
                <a:p>
                  <a:endParaRPr lang="en-US" sz="1765"/>
                </a:p>
              </p:txBody>
            </p:sp>
            <p:sp>
              <p:nvSpPr>
                <p:cNvPr id="28" name="Graphic 5">
                  <a:extLst>
                    <a:ext uri="{FF2B5EF4-FFF2-40B4-BE49-F238E27FC236}">
                      <a16:creationId xmlns:a16="http://schemas.microsoft.com/office/drawing/2014/main" id="{47F6CD3E-C289-4CC8-8EFB-47622EEF5975}"/>
                    </a:ext>
                  </a:extLst>
                </p:cNvPr>
                <p:cNvSpPr/>
                <p:nvPr/>
              </p:nvSpPr>
              <p:spPr>
                <a:xfrm>
                  <a:off x="9739678" y="909639"/>
                  <a:ext cx="86024" cy="48156"/>
                </a:xfrm>
                <a:custGeom>
                  <a:avLst/>
                  <a:gdLst>
                    <a:gd name="connsiteX0" fmla="*/ 68292 w 86024"/>
                    <a:gd name="connsiteY0" fmla="*/ 19511 h 48156"/>
                    <a:gd name="connsiteX1" fmla="*/ 86025 w 86024"/>
                    <a:gd name="connsiteY1" fmla="*/ 35425 h 48156"/>
                    <a:gd name="connsiteX2" fmla="*/ 76931 w 86024"/>
                    <a:gd name="connsiteY2" fmla="*/ 31333 h 48156"/>
                    <a:gd name="connsiteX3" fmla="*/ 75567 w 86024"/>
                    <a:gd name="connsiteY3" fmla="*/ 36335 h 48156"/>
                    <a:gd name="connsiteX4" fmla="*/ 78295 w 86024"/>
                    <a:gd name="connsiteY4" fmla="*/ 41336 h 48156"/>
                    <a:gd name="connsiteX5" fmla="*/ 81478 w 86024"/>
                    <a:gd name="connsiteY5" fmla="*/ 48157 h 48156"/>
                    <a:gd name="connsiteX6" fmla="*/ 13729 w 86024"/>
                    <a:gd name="connsiteY6" fmla="*/ 18602 h 48156"/>
                    <a:gd name="connsiteX7" fmla="*/ 88 w 86024"/>
                    <a:gd name="connsiteY7" fmla="*/ 3142 h 48156"/>
                    <a:gd name="connsiteX8" fmla="*/ 1906 w 86024"/>
                    <a:gd name="connsiteY8" fmla="*/ 2233 h 48156"/>
                    <a:gd name="connsiteX9" fmla="*/ 68292 w 86024"/>
                    <a:gd name="connsiteY9" fmla="*/ 19511 h 4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024" h="48156">
                      <a:moveTo>
                        <a:pt x="68292" y="19511"/>
                      </a:moveTo>
                      <a:cubicBezTo>
                        <a:pt x="70110" y="20875"/>
                        <a:pt x="70110" y="20875"/>
                        <a:pt x="86025" y="35425"/>
                      </a:cubicBezTo>
                      <a:cubicBezTo>
                        <a:pt x="82842" y="34061"/>
                        <a:pt x="80114" y="32697"/>
                        <a:pt x="76931" y="31333"/>
                      </a:cubicBezTo>
                      <a:cubicBezTo>
                        <a:pt x="75567" y="35425"/>
                        <a:pt x="75567" y="35425"/>
                        <a:pt x="75567" y="36335"/>
                      </a:cubicBezTo>
                      <a:cubicBezTo>
                        <a:pt x="76021" y="37244"/>
                        <a:pt x="76476" y="38153"/>
                        <a:pt x="78295" y="41336"/>
                      </a:cubicBezTo>
                      <a:cubicBezTo>
                        <a:pt x="81478" y="46338"/>
                        <a:pt x="81933" y="47247"/>
                        <a:pt x="81478" y="48157"/>
                      </a:cubicBezTo>
                      <a:cubicBezTo>
                        <a:pt x="78750" y="48157"/>
                        <a:pt x="14183" y="19056"/>
                        <a:pt x="13729" y="18602"/>
                      </a:cubicBezTo>
                      <a:cubicBezTo>
                        <a:pt x="13729" y="18602"/>
                        <a:pt x="-1277" y="4961"/>
                        <a:pt x="88" y="3142"/>
                      </a:cubicBezTo>
                      <a:cubicBezTo>
                        <a:pt x="88" y="3142"/>
                        <a:pt x="542" y="2687"/>
                        <a:pt x="1906" y="2233"/>
                      </a:cubicBezTo>
                      <a:cubicBezTo>
                        <a:pt x="24641" y="-7771"/>
                        <a:pt x="67837" y="19056"/>
                        <a:pt x="68292" y="19511"/>
                      </a:cubicBezTo>
                    </a:path>
                  </a:pathLst>
                </a:custGeom>
                <a:grpFill/>
                <a:ln w="4545" cap="flat">
                  <a:noFill/>
                  <a:prstDash val="solid"/>
                  <a:miter/>
                </a:ln>
              </p:spPr>
              <p:txBody>
                <a:bodyPr rtlCol="0" anchor="ctr"/>
                <a:lstStyle/>
                <a:p>
                  <a:endParaRPr lang="en-US" sz="1765"/>
                </a:p>
              </p:txBody>
            </p:sp>
            <p:sp>
              <p:nvSpPr>
                <p:cNvPr id="29" name="Graphic 5">
                  <a:extLst>
                    <a:ext uri="{FF2B5EF4-FFF2-40B4-BE49-F238E27FC236}">
                      <a16:creationId xmlns:a16="http://schemas.microsoft.com/office/drawing/2014/main" id="{5A8E4C7E-9CBF-4164-B3C8-924D9DF97464}"/>
                    </a:ext>
                  </a:extLst>
                </p:cNvPr>
                <p:cNvSpPr/>
                <p:nvPr/>
              </p:nvSpPr>
              <p:spPr>
                <a:xfrm>
                  <a:off x="11685402" y="3886935"/>
                  <a:ext cx="47306" cy="200974"/>
                </a:xfrm>
                <a:custGeom>
                  <a:avLst/>
                  <a:gdLst>
                    <a:gd name="connsiteX0" fmla="*/ 45924 w 47306"/>
                    <a:gd name="connsiteY0" fmla="*/ 58655 h 200974"/>
                    <a:gd name="connsiteX1" fmla="*/ 17733 w 47306"/>
                    <a:gd name="connsiteY1" fmla="*/ 175057 h 200974"/>
                    <a:gd name="connsiteX2" fmla="*/ 0 w 47306"/>
                    <a:gd name="connsiteY2" fmla="*/ 200975 h 200974"/>
                    <a:gd name="connsiteX3" fmla="*/ 23189 w 47306"/>
                    <a:gd name="connsiteY3" fmla="*/ 103670 h 200974"/>
                    <a:gd name="connsiteX4" fmla="*/ 41832 w 47306"/>
                    <a:gd name="connsiteY4" fmla="*/ 0 h 200974"/>
                    <a:gd name="connsiteX5" fmla="*/ 45924 w 47306"/>
                    <a:gd name="connsiteY5" fmla="*/ 58655 h 20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06" h="200974">
                      <a:moveTo>
                        <a:pt x="45924" y="58655"/>
                      </a:moveTo>
                      <a:cubicBezTo>
                        <a:pt x="41832" y="96395"/>
                        <a:pt x="18188" y="174148"/>
                        <a:pt x="17733" y="175057"/>
                      </a:cubicBezTo>
                      <a:cubicBezTo>
                        <a:pt x="14095" y="186425"/>
                        <a:pt x="14095" y="186425"/>
                        <a:pt x="0" y="200975"/>
                      </a:cubicBezTo>
                      <a:cubicBezTo>
                        <a:pt x="2728" y="186879"/>
                        <a:pt x="2728" y="186879"/>
                        <a:pt x="23189" y="103670"/>
                      </a:cubicBezTo>
                      <a:cubicBezTo>
                        <a:pt x="31373" y="69568"/>
                        <a:pt x="35011" y="34557"/>
                        <a:pt x="41832" y="0"/>
                      </a:cubicBezTo>
                      <a:cubicBezTo>
                        <a:pt x="48197" y="36376"/>
                        <a:pt x="48197" y="36376"/>
                        <a:pt x="45924" y="58655"/>
                      </a:cubicBezTo>
                    </a:path>
                  </a:pathLst>
                </a:custGeom>
                <a:grpFill/>
                <a:ln w="4545" cap="flat">
                  <a:noFill/>
                  <a:prstDash val="solid"/>
                  <a:miter/>
                </a:ln>
              </p:spPr>
              <p:txBody>
                <a:bodyPr rtlCol="0" anchor="ctr"/>
                <a:lstStyle/>
                <a:p>
                  <a:endParaRPr lang="en-US" sz="1765"/>
                </a:p>
              </p:txBody>
            </p:sp>
            <p:sp>
              <p:nvSpPr>
                <p:cNvPr id="30" name="Graphic 5">
                  <a:extLst>
                    <a:ext uri="{FF2B5EF4-FFF2-40B4-BE49-F238E27FC236}">
                      <a16:creationId xmlns:a16="http://schemas.microsoft.com/office/drawing/2014/main" id="{2D394444-EFE1-4FBB-B544-C7E1F992F622}"/>
                    </a:ext>
                  </a:extLst>
                </p:cNvPr>
                <p:cNvSpPr/>
                <p:nvPr/>
              </p:nvSpPr>
              <p:spPr>
                <a:xfrm>
                  <a:off x="9643825" y="711778"/>
                  <a:ext cx="84573" cy="33675"/>
                </a:xfrm>
                <a:custGeom>
                  <a:avLst/>
                  <a:gdLst>
                    <a:gd name="connsiteX0" fmla="*/ 15914 w 84573"/>
                    <a:gd name="connsiteY0" fmla="*/ 2302 h 33675"/>
                    <a:gd name="connsiteX1" fmla="*/ 84573 w 84573"/>
                    <a:gd name="connsiteY1" fmla="*/ 33676 h 33675"/>
                    <a:gd name="connsiteX2" fmla="*/ 1364 w 84573"/>
                    <a:gd name="connsiteY2" fmla="*/ 7758 h 33675"/>
                    <a:gd name="connsiteX3" fmla="*/ 0 w 84573"/>
                    <a:gd name="connsiteY3" fmla="*/ 28 h 33675"/>
                    <a:gd name="connsiteX4" fmla="*/ 15914 w 84573"/>
                    <a:gd name="connsiteY4" fmla="*/ 2302 h 33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73" h="33675">
                      <a:moveTo>
                        <a:pt x="15914" y="2302"/>
                      </a:moveTo>
                      <a:cubicBezTo>
                        <a:pt x="38194" y="9577"/>
                        <a:pt x="42287" y="10941"/>
                        <a:pt x="84573" y="33676"/>
                      </a:cubicBezTo>
                      <a:cubicBezTo>
                        <a:pt x="50926" y="25491"/>
                        <a:pt x="4547" y="13669"/>
                        <a:pt x="1364" y="7758"/>
                      </a:cubicBezTo>
                      <a:cubicBezTo>
                        <a:pt x="3637" y="5030"/>
                        <a:pt x="0" y="2757"/>
                        <a:pt x="0" y="28"/>
                      </a:cubicBezTo>
                      <a:cubicBezTo>
                        <a:pt x="0" y="28"/>
                        <a:pt x="8184" y="-426"/>
                        <a:pt x="15914" y="2302"/>
                      </a:cubicBezTo>
                    </a:path>
                  </a:pathLst>
                </a:custGeom>
                <a:grpFill/>
                <a:ln w="4545" cap="flat">
                  <a:noFill/>
                  <a:prstDash val="solid"/>
                  <a:miter/>
                </a:ln>
              </p:spPr>
              <p:txBody>
                <a:bodyPr rtlCol="0" anchor="ctr"/>
                <a:lstStyle/>
                <a:p>
                  <a:endParaRPr lang="en-US" sz="1765"/>
                </a:p>
              </p:txBody>
            </p:sp>
            <p:sp>
              <p:nvSpPr>
                <p:cNvPr id="31" name="Graphic 5">
                  <a:extLst>
                    <a:ext uri="{FF2B5EF4-FFF2-40B4-BE49-F238E27FC236}">
                      <a16:creationId xmlns:a16="http://schemas.microsoft.com/office/drawing/2014/main" id="{5C0C63FD-B9E5-4F32-9D0E-482890FEE317}"/>
                    </a:ext>
                  </a:extLst>
                </p:cNvPr>
                <p:cNvSpPr/>
                <p:nvPr/>
              </p:nvSpPr>
              <p:spPr>
                <a:xfrm>
                  <a:off x="7498577" y="731813"/>
                  <a:ext cx="86391" cy="40467"/>
                </a:xfrm>
                <a:custGeom>
                  <a:avLst/>
                  <a:gdLst>
                    <a:gd name="connsiteX0" fmla="*/ 0 w 86391"/>
                    <a:gd name="connsiteY0" fmla="*/ 40468 h 40467"/>
                    <a:gd name="connsiteX1" fmla="*/ 0 w 86391"/>
                    <a:gd name="connsiteY1" fmla="*/ 40468 h 40467"/>
                    <a:gd name="connsiteX2" fmla="*/ 81390 w 86391"/>
                    <a:gd name="connsiteY2" fmla="*/ 2273 h 40467"/>
                    <a:gd name="connsiteX3" fmla="*/ 86392 w 86391"/>
                    <a:gd name="connsiteY3" fmla="*/ 0 h 40467"/>
                    <a:gd name="connsiteX4" fmla="*/ 85482 w 86391"/>
                    <a:gd name="connsiteY4" fmla="*/ 455 h 40467"/>
                    <a:gd name="connsiteX5" fmla="*/ 0 w 86391"/>
                    <a:gd name="connsiteY5" fmla="*/ 40468 h 40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391" h="40467">
                      <a:moveTo>
                        <a:pt x="0" y="40468"/>
                      </a:moveTo>
                      <a:lnTo>
                        <a:pt x="0" y="40468"/>
                      </a:lnTo>
                      <a:lnTo>
                        <a:pt x="81390" y="2273"/>
                      </a:lnTo>
                      <a:cubicBezTo>
                        <a:pt x="83209" y="1364"/>
                        <a:pt x="84573" y="909"/>
                        <a:pt x="86392" y="0"/>
                      </a:cubicBezTo>
                      <a:cubicBezTo>
                        <a:pt x="85937" y="0"/>
                        <a:pt x="85937" y="455"/>
                        <a:pt x="85482" y="455"/>
                      </a:cubicBezTo>
                      <a:cubicBezTo>
                        <a:pt x="36830" y="22280"/>
                        <a:pt x="7730" y="36376"/>
                        <a:pt x="0" y="40468"/>
                      </a:cubicBezTo>
                    </a:path>
                  </a:pathLst>
                </a:custGeom>
                <a:grpFill/>
                <a:ln w="4545" cap="flat">
                  <a:noFill/>
                  <a:prstDash val="solid"/>
                  <a:miter/>
                </a:ln>
              </p:spPr>
              <p:txBody>
                <a:bodyPr rtlCol="0" anchor="ctr"/>
                <a:lstStyle/>
                <a:p>
                  <a:endParaRPr lang="en-US" sz="1765"/>
                </a:p>
              </p:txBody>
            </p:sp>
            <p:sp>
              <p:nvSpPr>
                <p:cNvPr id="32" name="Graphic 5">
                  <a:extLst>
                    <a:ext uri="{FF2B5EF4-FFF2-40B4-BE49-F238E27FC236}">
                      <a16:creationId xmlns:a16="http://schemas.microsoft.com/office/drawing/2014/main" id="{F2C047C2-0C1D-4238-87B3-2FAEEA0ACC9D}"/>
                    </a:ext>
                  </a:extLst>
                </p:cNvPr>
                <p:cNvSpPr/>
                <p:nvPr/>
              </p:nvSpPr>
              <p:spPr>
                <a:xfrm>
                  <a:off x="7500396" y="6223154"/>
                  <a:ext cx="58200" cy="27281"/>
                </a:xfrm>
                <a:custGeom>
                  <a:avLst/>
                  <a:gdLst>
                    <a:gd name="connsiteX0" fmla="*/ 43651 w 58200"/>
                    <a:gd name="connsiteY0" fmla="*/ 19552 h 27281"/>
                    <a:gd name="connsiteX1" fmla="*/ 58201 w 58200"/>
                    <a:gd name="connsiteY1" fmla="*/ 27282 h 27281"/>
                    <a:gd name="connsiteX2" fmla="*/ 45015 w 58200"/>
                    <a:gd name="connsiteY2" fmla="*/ 21826 h 27281"/>
                    <a:gd name="connsiteX3" fmla="*/ 0 w 58200"/>
                    <a:gd name="connsiteY3" fmla="*/ 0 h 27281"/>
                    <a:gd name="connsiteX4" fmla="*/ 9094 w 58200"/>
                    <a:gd name="connsiteY4" fmla="*/ 3183 h 27281"/>
                    <a:gd name="connsiteX5" fmla="*/ 43651 w 58200"/>
                    <a:gd name="connsiteY5" fmla="*/ 19552 h 2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00" h="27281">
                      <a:moveTo>
                        <a:pt x="43651" y="19552"/>
                      </a:moveTo>
                      <a:cubicBezTo>
                        <a:pt x="48652" y="22280"/>
                        <a:pt x="53654" y="24554"/>
                        <a:pt x="58201" y="27282"/>
                      </a:cubicBezTo>
                      <a:cubicBezTo>
                        <a:pt x="57292" y="27282"/>
                        <a:pt x="49107" y="23644"/>
                        <a:pt x="45015" y="21826"/>
                      </a:cubicBezTo>
                      <a:cubicBezTo>
                        <a:pt x="31374" y="16369"/>
                        <a:pt x="3638" y="2273"/>
                        <a:pt x="0" y="0"/>
                      </a:cubicBezTo>
                      <a:cubicBezTo>
                        <a:pt x="455" y="0"/>
                        <a:pt x="909" y="0"/>
                        <a:pt x="9094" y="3183"/>
                      </a:cubicBezTo>
                      <a:cubicBezTo>
                        <a:pt x="12277" y="4547"/>
                        <a:pt x="38194" y="16823"/>
                        <a:pt x="43651" y="19552"/>
                      </a:cubicBezTo>
                    </a:path>
                  </a:pathLst>
                </a:custGeom>
                <a:grpFill/>
                <a:ln w="4545" cap="flat">
                  <a:noFill/>
                  <a:prstDash val="solid"/>
                  <a:miter/>
                </a:ln>
              </p:spPr>
              <p:txBody>
                <a:bodyPr rtlCol="0" anchor="ctr"/>
                <a:lstStyle/>
                <a:p>
                  <a:endParaRPr lang="en-US" sz="1765"/>
                </a:p>
              </p:txBody>
            </p:sp>
            <p:sp>
              <p:nvSpPr>
                <p:cNvPr id="33" name="Graphic 5">
                  <a:extLst>
                    <a:ext uri="{FF2B5EF4-FFF2-40B4-BE49-F238E27FC236}">
                      <a16:creationId xmlns:a16="http://schemas.microsoft.com/office/drawing/2014/main" id="{8A6C0142-CC44-4C6E-AC74-ACCEA84F018E}"/>
                    </a:ext>
                  </a:extLst>
                </p:cNvPr>
                <p:cNvSpPr/>
                <p:nvPr/>
              </p:nvSpPr>
              <p:spPr>
                <a:xfrm>
                  <a:off x="5862133" y="3607617"/>
                  <a:ext cx="27081" cy="93348"/>
                </a:xfrm>
                <a:custGeom>
                  <a:avLst/>
                  <a:gdLst>
                    <a:gd name="connsiteX0" fmla="*/ 26827 w 27081"/>
                    <a:gd name="connsiteY0" fmla="*/ 58337 h 93348"/>
                    <a:gd name="connsiteX1" fmla="*/ 16369 w 27081"/>
                    <a:gd name="connsiteY1" fmla="*/ 93348 h 93348"/>
                    <a:gd name="connsiteX2" fmla="*/ 0 w 27081"/>
                    <a:gd name="connsiteY2" fmla="*/ 10594 h 93348"/>
                    <a:gd name="connsiteX3" fmla="*/ 9094 w 27081"/>
                    <a:gd name="connsiteY3" fmla="*/ 591 h 93348"/>
                    <a:gd name="connsiteX4" fmla="*/ 13186 w 27081"/>
                    <a:gd name="connsiteY4" fmla="*/ 1045 h 93348"/>
                    <a:gd name="connsiteX5" fmla="*/ 26827 w 27081"/>
                    <a:gd name="connsiteY5" fmla="*/ 58337 h 9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1" h="93348">
                      <a:moveTo>
                        <a:pt x="26827" y="58337"/>
                      </a:moveTo>
                      <a:cubicBezTo>
                        <a:pt x="21371" y="74706"/>
                        <a:pt x="17733" y="87437"/>
                        <a:pt x="16369" y="93348"/>
                      </a:cubicBezTo>
                      <a:cubicBezTo>
                        <a:pt x="10003" y="63793"/>
                        <a:pt x="5002" y="40149"/>
                        <a:pt x="0" y="10594"/>
                      </a:cubicBezTo>
                      <a:cubicBezTo>
                        <a:pt x="3638" y="7411"/>
                        <a:pt x="5456" y="3319"/>
                        <a:pt x="9094" y="591"/>
                      </a:cubicBezTo>
                      <a:cubicBezTo>
                        <a:pt x="10913" y="-774"/>
                        <a:pt x="12277" y="591"/>
                        <a:pt x="13186" y="1045"/>
                      </a:cubicBezTo>
                      <a:cubicBezTo>
                        <a:pt x="15460" y="4228"/>
                        <a:pt x="29100" y="51062"/>
                        <a:pt x="26827" y="58337"/>
                      </a:cubicBezTo>
                    </a:path>
                  </a:pathLst>
                </a:custGeom>
                <a:grpFill/>
                <a:ln w="4545" cap="flat">
                  <a:noFill/>
                  <a:prstDash val="solid"/>
                  <a:miter/>
                </a:ln>
              </p:spPr>
              <p:txBody>
                <a:bodyPr rtlCol="0" anchor="ctr"/>
                <a:lstStyle/>
                <a:p>
                  <a:endParaRPr lang="en-US" sz="1765"/>
                </a:p>
              </p:txBody>
            </p:sp>
            <p:sp>
              <p:nvSpPr>
                <p:cNvPr id="34" name="Graphic 5">
                  <a:extLst>
                    <a:ext uri="{FF2B5EF4-FFF2-40B4-BE49-F238E27FC236}">
                      <a16:creationId xmlns:a16="http://schemas.microsoft.com/office/drawing/2014/main" id="{29DF0A34-F424-48BE-A6DE-010376E42B9E}"/>
                    </a:ext>
                  </a:extLst>
                </p:cNvPr>
                <p:cNvSpPr/>
                <p:nvPr/>
              </p:nvSpPr>
              <p:spPr>
                <a:xfrm>
                  <a:off x="5996153" y="3739494"/>
                  <a:ext cx="53768" cy="93788"/>
                </a:xfrm>
                <a:custGeom>
                  <a:avLst/>
                  <a:gdLst>
                    <a:gd name="connsiteX0" fmla="*/ 50131 w 53768"/>
                    <a:gd name="connsiteY0" fmla="*/ 91969 h 93788"/>
                    <a:gd name="connsiteX1" fmla="*/ 5571 w 53768"/>
                    <a:gd name="connsiteY1" fmla="*/ 55139 h 93788"/>
                    <a:gd name="connsiteX2" fmla="*/ 11027 w 53768"/>
                    <a:gd name="connsiteY2" fmla="*/ 121 h 93788"/>
                    <a:gd name="connsiteX3" fmla="*/ 16029 w 53768"/>
                    <a:gd name="connsiteY3" fmla="*/ 1485 h 93788"/>
                    <a:gd name="connsiteX4" fmla="*/ 53769 w 53768"/>
                    <a:gd name="connsiteY4" fmla="*/ 93788 h 93788"/>
                    <a:gd name="connsiteX5" fmla="*/ 50131 w 53768"/>
                    <a:gd name="connsiteY5" fmla="*/ 91969 h 9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68" h="93788">
                      <a:moveTo>
                        <a:pt x="50131" y="91969"/>
                      </a:moveTo>
                      <a:cubicBezTo>
                        <a:pt x="11937" y="68325"/>
                        <a:pt x="9663" y="65597"/>
                        <a:pt x="5571" y="55139"/>
                      </a:cubicBezTo>
                      <a:cubicBezTo>
                        <a:pt x="-9434" y="19673"/>
                        <a:pt x="10573" y="121"/>
                        <a:pt x="11027" y="121"/>
                      </a:cubicBezTo>
                      <a:cubicBezTo>
                        <a:pt x="12846" y="-334"/>
                        <a:pt x="14665" y="576"/>
                        <a:pt x="16029" y="1485"/>
                      </a:cubicBezTo>
                      <a:cubicBezTo>
                        <a:pt x="31034" y="14217"/>
                        <a:pt x="49676" y="61050"/>
                        <a:pt x="53769" y="93788"/>
                      </a:cubicBezTo>
                      <a:cubicBezTo>
                        <a:pt x="52405" y="93333"/>
                        <a:pt x="51041" y="92424"/>
                        <a:pt x="50131" y="91969"/>
                      </a:cubicBezTo>
                    </a:path>
                  </a:pathLst>
                </a:custGeom>
                <a:grpFill/>
                <a:ln w="4545" cap="flat">
                  <a:noFill/>
                  <a:prstDash val="solid"/>
                  <a:miter/>
                </a:ln>
              </p:spPr>
              <p:txBody>
                <a:bodyPr rtlCol="0" anchor="ctr"/>
                <a:lstStyle/>
                <a:p>
                  <a:endParaRPr lang="en-US" sz="1765"/>
                </a:p>
              </p:txBody>
            </p:sp>
            <p:sp>
              <p:nvSpPr>
                <p:cNvPr id="35" name="Graphic 5">
                  <a:extLst>
                    <a:ext uri="{FF2B5EF4-FFF2-40B4-BE49-F238E27FC236}">
                      <a16:creationId xmlns:a16="http://schemas.microsoft.com/office/drawing/2014/main" id="{2BA6E328-C2D8-461B-9D66-5F97241A8578}"/>
                    </a:ext>
                  </a:extLst>
                </p:cNvPr>
                <p:cNvSpPr/>
                <p:nvPr/>
              </p:nvSpPr>
              <p:spPr>
                <a:xfrm>
                  <a:off x="11244908" y="4098747"/>
                  <a:ext cx="31149" cy="138757"/>
                </a:xfrm>
                <a:custGeom>
                  <a:avLst/>
                  <a:gdLst>
                    <a:gd name="connsiteX0" fmla="*/ 29905 w 31149"/>
                    <a:gd name="connsiteY0" fmla="*/ 60095 h 138757"/>
                    <a:gd name="connsiteX1" fmla="*/ 6715 w 31149"/>
                    <a:gd name="connsiteY1" fmla="*/ 138757 h 138757"/>
                    <a:gd name="connsiteX2" fmla="*/ 804 w 31149"/>
                    <a:gd name="connsiteY2" fmla="*/ 63733 h 138757"/>
                    <a:gd name="connsiteX3" fmla="*/ 14445 w 31149"/>
                    <a:gd name="connsiteY3" fmla="*/ 75 h 138757"/>
                    <a:gd name="connsiteX4" fmla="*/ 29905 w 31149"/>
                    <a:gd name="connsiteY4" fmla="*/ 60095 h 138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49" h="138757">
                      <a:moveTo>
                        <a:pt x="29905" y="60095"/>
                      </a:moveTo>
                      <a:cubicBezTo>
                        <a:pt x="26267" y="92378"/>
                        <a:pt x="13536" y="122843"/>
                        <a:pt x="6715" y="138757"/>
                      </a:cubicBezTo>
                      <a:cubicBezTo>
                        <a:pt x="1259" y="120115"/>
                        <a:pt x="-1469" y="103291"/>
                        <a:pt x="804" y="63733"/>
                      </a:cubicBezTo>
                      <a:cubicBezTo>
                        <a:pt x="3987" y="6896"/>
                        <a:pt x="3987" y="6896"/>
                        <a:pt x="14445" y="75"/>
                      </a:cubicBezTo>
                      <a:cubicBezTo>
                        <a:pt x="29450" y="-1743"/>
                        <a:pt x="33542" y="29631"/>
                        <a:pt x="29905" y="60095"/>
                      </a:cubicBezTo>
                    </a:path>
                  </a:pathLst>
                </a:custGeom>
                <a:grpFill/>
                <a:ln w="4545" cap="flat">
                  <a:noFill/>
                  <a:prstDash val="solid"/>
                  <a:miter/>
                </a:ln>
              </p:spPr>
              <p:txBody>
                <a:bodyPr rtlCol="0" anchor="ctr"/>
                <a:lstStyle/>
                <a:p>
                  <a:endParaRPr lang="en-US" sz="1765"/>
                </a:p>
              </p:txBody>
            </p:sp>
            <p:sp>
              <p:nvSpPr>
                <p:cNvPr id="36" name="Graphic 5">
                  <a:extLst>
                    <a:ext uri="{FF2B5EF4-FFF2-40B4-BE49-F238E27FC236}">
                      <a16:creationId xmlns:a16="http://schemas.microsoft.com/office/drawing/2014/main" id="{6C24A65F-28CB-4794-BCC4-F3DFCADEC3FD}"/>
                    </a:ext>
                  </a:extLst>
                </p:cNvPr>
                <p:cNvSpPr/>
                <p:nvPr/>
              </p:nvSpPr>
              <p:spPr>
                <a:xfrm>
                  <a:off x="7815954" y="6334213"/>
                  <a:ext cx="62747" cy="25349"/>
                </a:xfrm>
                <a:custGeom>
                  <a:avLst/>
                  <a:gdLst>
                    <a:gd name="connsiteX0" fmla="*/ 60020 w 62747"/>
                    <a:gd name="connsiteY0" fmla="*/ 22166 h 25349"/>
                    <a:gd name="connsiteX1" fmla="*/ 62748 w 62747"/>
                    <a:gd name="connsiteY1" fmla="*/ 23985 h 25349"/>
                    <a:gd name="connsiteX2" fmla="*/ 62748 w 62747"/>
                    <a:gd name="connsiteY2" fmla="*/ 24440 h 25349"/>
                    <a:gd name="connsiteX3" fmla="*/ 59565 w 62747"/>
                    <a:gd name="connsiteY3" fmla="*/ 25349 h 25349"/>
                    <a:gd name="connsiteX4" fmla="*/ 0 w 62747"/>
                    <a:gd name="connsiteY4" fmla="*/ 341 h 25349"/>
                    <a:gd name="connsiteX5" fmla="*/ 2273 w 62747"/>
                    <a:gd name="connsiteY5" fmla="*/ 341 h 25349"/>
                    <a:gd name="connsiteX6" fmla="*/ 60020 w 62747"/>
                    <a:gd name="connsiteY6" fmla="*/ 22166 h 2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47" h="25349">
                      <a:moveTo>
                        <a:pt x="60020" y="22166"/>
                      </a:moveTo>
                      <a:cubicBezTo>
                        <a:pt x="62293" y="23076"/>
                        <a:pt x="62293" y="23530"/>
                        <a:pt x="62748" y="23985"/>
                      </a:cubicBezTo>
                      <a:cubicBezTo>
                        <a:pt x="62748" y="23985"/>
                        <a:pt x="62748" y="24440"/>
                        <a:pt x="62748" y="24440"/>
                      </a:cubicBezTo>
                      <a:cubicBezTo>
                        <a:pt x="61838" y="24895"/>
                        <a:pt x="60474" y="24895"/>
                        <a:pt x="59565" y="25349"/>
                      </a:cubicBezTo>
                      <a:cubicBezTo>
                        <a:pt x="31829" y="15801"/>
                        <a:pt x="0" y="4433"/>
                        <a:pt x="0" y="341"/>
                      </a:cubicBezTo>
                      <a:cubicBezTo>
                        <a:pt x="455" y="-114"/>
                        <a:pt x="909" y="-114"/>
                        <a:pt x="2273" y="341"/>
                      </a:cubicBezTo>
                      <a:cubicBezTo>
                        <a:pt x="2728" y="796"/>
                        <a:pt x="39104" y="11254"/>
                        <a:pt x="60020" y="22166"/>
                      </a:cubicBezTo>
                    </a:path>
                  </a:pathLst>
                </a:custGeom>
                <a:grpFill/>
                <a:ln w="4545" cap="flat">
                  <a:noFill/>
                  <a:prstDash val="solid"/>
                  <a:miter/>
                </a:ln>
              </p:spPr>
              <p:txBody>
                <a:bodyPr rtlCol="0" anchor="ctr"/>
                <a:lstStyle/>
                <a:p>
                  <a:endParaRPr lang="en-US" sz="1765"/>
                </a:p>
              </p:txBody>
            </p:sp>
            <p:sp>
              <p:nvSpPr>
                <p:cNvPr id="37" name="Graphic 5">
                  <a:extLst>
                    <a:ext uri="{FF2B5EF4-FFF2-40B4-BE49-F238E27FC236}">
                      <a16:creationId xmlns:a16="http://schemas.microsoft.com/office/drawing/2014/main" id="{3424D9D6-D6DC-4640-A427-9B5E4748E763}"/>
                    </a:ext>
                  </a:extLst>
                </p:cNvPr>
                <p:cNvSpPr/>
                <p:nvPr/>
              </p:nvSpPr>
              <p:spPr>
                <a:xfrm>
                  <a:off x="11730985" y="4136562"/>
                  <a:ext cx="29744" cy="108217"/>
                </a:xfrm>
                <a:custGeom>
                  <a:avLst/>
                  <a:gdLst>
                    <a:gd name="connsiteX0" fmla="*/ 26713 w 29744"/>
                    <a:gd name="connsiteY0" fmla="*/ 24099 h 108217"/>
                    <a:gd name="connsiteX1" fmla="*/ 1250 w 29744"/>
                    <a:gd name="connsiteY1" fmla="*/ 108217 h 108217"/>
                    <a:gd name="connsiteX2" fmla="*/ 2160 w 29744"/>
                    <a:gd name="connsiteY2" fmla="*/ 86847 h 108217"/>
                    <a:gd name="connsiteX3" fmla="*/ 29442 w 29744"/>
                    <a:gd name="connsiteY3" fmla="*/ 0 h 108217"/>
                    <a:gd name="connsiteX4" fmla="*/ 26713 w 29744"/>
                    <a:gd name="connsiteY4" fmla="*/ 24099 h 108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44" h="108217">
                      <a:moveTo>
                        <a:pt x="26713" y="24099"/>
                      </a:moveTo>
                      <a:cubicBezTo>
                        <a:pt x="20348" y="55473"/>
                        <a:pt x="14891" y="69568"/>
                        <a:pt x="1250" y="108217"/>
                      </a:cubicBezTo>
                      <a:cubicBezTo>
                        <a:pt x="-114" y="103216"/>
                        <a:pt x="-1023" y="98669"/>
                        <a:pt x="2160" y="86847"/>
                      </a:cubicBezTo>
                      <a:cubicBezTo>
                        <a:pt x="4888" y="77298"/>
                        <a:pt x="25349" y="7730"/>
                        <a:pt x="29442" y="0"/>
                      </a:cubicBezTo>
                      <a:cubicBezTo>
                        <a:pt x="29896" y="0"/>
                        <a:pt x="30351" y="6366"/>
                        <a:pt x="26713" y="24099"/>
                      </a:cubicBezTo>
                    </a:path>
                  </a:pathLst>
                </a:custGeom>
                <a:grpFill/>
                <a:ln w="4545" cap="flat">
                  <a:noFill/>
                  <a:prstDash val="solid"/>
                  <a:miter/>
                </a:ln>
              </p:spPr>
              <p:txBody>
                <a:bodyPr rtlCol="0" anchor="ctr"/>
                <a:lstStyle/>
                <a:p>
                  <a:endParaRPr lang="en-US" sz="1765"/>
                </a:p>
              </p:txBody>
            </p:sp>
            <p:sp>
              <p:nvSpPr>
                <p:cNvPr id="38" name="Graphic 5">
                  <a:extLst>
                    <a:ext uri="{FF2B5EF4-FFF2-40B4-BE49-F238E27FC236}">
                      <a16:creationId xmlns:a16="http://schemas.microsoft.com/office/drawing/2014/main" id="{9C0CE9BD-40A8-4BC3-A844-2C22A2A34AC2}"/>
                    </a:ext>
                  </a:extLst>
                </p:cNvPr>
                <p:cNvSpPr/>
                <p:nvPr/>
              </p:nvSpPr>
              <p:spPr>
                <a:xfrm>
                  <a:off x="10648699" y="4637635"/>
                  <a:ext cx="36893" cy="152322"/>
                </a:xfrm>
                <a:custGeom>
                  <a:avLst/>
                  <a:gdLst>
                    <a:gd name="connsiteX0" fmla="*/ 35011 w 36893"/>
                    <a:gd name="connsiteY0" fmla="*/ 117311 h 152322"/>
                    <a:gd name="connsiteX1" fmla="*/ 24553 w 36893"/>
                    <a:gd name="connsiteY1" fmla="*/ 152323 h 152322"/>
                    <a:gd name="connsiteX2" fmla="*/ 0 w 36893"/>
                    <a:gd name="connsiteY2" fmla="*/ 88211 h 152322"/>
                    <a:gd name="connsiteX3" fmla="*/ 0 w 36893"/>
                    <a:gd name="connsiteY3" fmla="*/ 84573 h 152322"/>
                    <a:gd name="connsiteX4" fmla="*/ 12277 w 36893"/>
                    <a:gd name="connsiteY4" fmla="*/ 46379 h 152322"/>
                    <a:gd name="connsiteX5" fmla="*/ 6820 w 36893"/>
                    <a:gd name="connsiteY5" fmla="*/ 21825 h 152322"/>
                    <a:gd name="connsiteX6" fmla="*/ 6365 w 36893"/>
                    <a:gd name="connsiteY6" fmla="*/ 20461 h 152322"/>
                    <a:gd name="connsiteX7" fmla="*/ 15459 w 36893"/>
                    <a:gd name="connsiteY7" fmla="*/ 0 h 152322"/>
                    <a:gd name="connsiteX8" fmla="*/ 29555 w 36893"/>
                    <a:gd name="connsiteY8" fmla="*/ 6366 h 152322"/>
                    <a:gd name="connsiteX9" fmla="*/ 35011 w 36893"/>
                    <a:gd name="connsiteY9" fmla="*/ 117311 h 15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93" h="152322">
                      <a:moveTo>
                        <a:pt x="35011" y="117311"/>
                      </a:moveTo>
                      <a:cubicBezTo>
                        <a:pt x="32283" y="133680"/>
                        <a:pt x="27282" y="145048"/>
                        <a:pt x="24553" y="152323"/>
                      </a:cubicBezTo>
                      <a:cubicBezTo>
                        <a:pt x="455" y="98214"/>
                        <a:pt x="455" y="98214"/>
                        <a:pt x="0" y="88211"/>
                      </a:cubicBezTo>
                      <a:cubicBezTo>
                        <a:pt x="0" y="87301"/>
                        <a:pt x="0" y="85937"/>
                        <a:pt x="0" y="84573"/>
                      </a:cubicBezTo>
                      <a:cubicBezTo>
                        <a:pt x="1364" y="70932"/>
                        <a:pt x="10912" y="60020"/>
                        <a:pt x="12277" y="46379"/>
                      </a:cubicBezTo>
                      <a:cubicBezTo>
                        <a:pt x="13186" y="36830"/>
                        <a:pt x="9548" y="27737"/>
                        <a:pt x="6820" y="21825"/>
                      </a:cubicBezTo>
                      <a:cubicBezTo>
                        <a:pt x="6820" y="21371"/>
                        <a:pt x="6365" y="20916"/>
                        <a:pt x="6365" y="20461"/>
                      </a:cubicBezTo>
                      <a:cubicBezTo>
                        <a:pt x="6365" y="19552"/>
                        <a:pt x="6365" y="19552"/>
                        <a:pt x="15459" y="0"/>
                      </a:cubicBezTo>
                      <a:cubicBezTo>
                        <a:pt x="29100" y="4547"/>
                        <a:pt x="29100" y="4547"/>
                        <a:pt x="29555" y="6366"/>
                      </a:cubicBezTo>
                      <a:cubicBezTo>
                        <a:pt x="29555" y="6820"/>
                        <a:pt x="41377" y="81845"/>
                        <a:pt x="35011" y="117311"/>
                      </a:cubicBezTo>
                    </a:path>
                  </a:pathLst>
                </a:custGeom>
                <a:grpFill/>
                <a:ln w="4545" cap="flat">
                  <a:noFill/>
                  <a:prstDash val="solid"/>
                  <a:miter/>
                </a:ln>
              </p:spPr>
              <p:txBody>
                <a:bodyPr rtlCol="0" anchor="ctr"/>
                <a:lstStyle/>
                <a:p>
                  <a:endParaRPr lang="en-US" sz="1765"/>
                </a:p>
              </p:txBody>
            </p:sp>
            <p:sp>
              <p:nvSpPr>
                <p:cNvPr id="39" name="Graphic 5">
                  <a:extLst>
                    <a:ext uri="{FF2B5EF4-FFF2-40B4-BE49-F238E27FC236}">
                      <a16:creationId xmlns:a16="http://schemas.microsoft.com/office/drawing/2014/main" id="{1FB0F641-064F-4040-8F1F-8006A8B87012}"/>
                    </a:ext>
                  </a:extLst>
                </p:cNvPr>
                <p:cNvSpPr/>
                <p:nvPr/>
              </p:nvSpPr>
              <p:spPr>
                <a:xfrm>
                  <a:off x="11681764" y="2930714"/>
                  <a:ext cx="31815" cy="96394"/>
                </a:xfrm>
                <a:custGeom>
                  <a:avLst/>
                  <a:gdLst>
                    <a:gd name="connsiteX0" fmla="*/ 30919 w 31815"/>
                    <a:gd name="connsiteY0" fmla="*/ 60474 h 96394"/>
                    <a:gd name="connsiteX1" fmla="*/ 29555 w 31815"/>
                    <a:gd name="connsiteY1" fmla="*/ 96395 h 96394"/>
                    <a:gd name="connsiteX2" fmla="*/ 0 w 31815"/>
                    <a:gd name="connsiteY2" fmla="*/ 0 h 96394"/>
                    <a:gd name="connsiteX3" fmla="*/ 30919 w 31815"/>
                    <a:gd name="connsiteY3" fmla="*/ 60474 h 96394"/>
                  </a:gdLst>
                  <a:ahLst/>
                  <a:cxnLst>
                    <a:cxn ang="0">
                      <a:pos x="connsiteX0" y="connsiteY0"/>
                    </a:cxn>
                    <a:cxn ang="0">
                      <a:pos x="connsiteX1" y="connsiteY1"/>
                    </a:cxn>
                    <a:cxn ang="0">
                      <a:pos x="connsiteX2" y="connsiteY2"/>
                    </a:cxn>
                    <a:cxn ang="0">
                      <a:pos x="connsiteX3" y="connsiteY3"/>
                    </a:cxn>
                  </a:cxnLst>
                  <a:rect l="l" t="t" r="r" b="b"/>
                  <a:pathLst>
                    <a:path w="31815" h="96394">
                      <a:moveTo>
                        <a:pt x="30919" y="60474"/>
                      </a:moveTo>
                      <a:cubicBezTo>
                        <a:pt x="32283" y="67295"/>
                        <a:pt x="32283" y="67295"/>
                        <a:pt x="29555" y="96395"/>
                      </a:cubicBezTo>
                      <a:cubicBezTo>
                        <a:pt x="6366" y="44105"/>
                        <a:pt x="6366" y="44105"/>
                        <a:pt x="0" y="0"/>
                      </a:cubicBezTo>
                      <a:cubicBezTo>
                        <a:pt x="21826" y="18188"/>
                        <a:pt x="30464" y="58655"/>
                        <a:pt x="30919" y="60474"/>
                      </a:cubicBezTo>
                    </a:path>
                  </a:pathLst>
                </a:custGeom>
                <a:grpFill/>
                <a:ln w="4545" cap="flat">
                  <a:noFill/>
                  <a:prstDash val="solid"/>
                  <a:miter/>
                </a:ln>
              </p:spPr>
              <p:txBody>
                <a:bodyPr rtlCol="0" anchor="ctr"/>
                <a:lstStyle/>
                <a:p>
                  <a:endParaRPr lang="en-US" sz="1765"/>
                </a:p>
              </p:txBody>
            </p:sp>
            <p:sp>
              <p:nvSpPr>
                <p:cNvPr id="40" name="Graphic 5">
                  <a:extLst>
                    <a:ext uri="{FF2B5EF4-FFF2-40B4-BE49-F238E27FC236}">
                      <a16:creationId xmlns:a16="http://schemas.microsoft.com/office/drawing/2014/main" id="{19DCE8B3-46A8-464B-A9B7-942AF98A6360}"/>
                    </a:ext>
                  </a:extLst>
                </p:cNvPr>
                <p:cNvSpPr/>
                <p:nvPr/>
              </p:nvSpPr>
              <p:spPr>
                <a:xfrm>
                  <a:off x="7281688" y="3766740"/>
                  <a:ext cx="97759" cy="75180"/>
                </a:xfrm>
                <a:custGeom>
                  <a:avLst/>
                  <a:gdLst>
                    <a:gd name="connsiteX0" fmla="*/ 97759 w 97759"/>
                    <a:gd name="connsiteY0" fmla="*/ 55629 h 75180"/>
                    <a:gd name="connsiteX1" fmla="*/ 81390 w 97759"/>
                    <a:gd name="connsiteY1" fmla="*/ 75181 h 75180"/>
                    <a:gd name="connsiteX2" fmla="*/ 5911 w 97759"/>
                    <a:gd name="connsiteY2" fmla="*/ 22891 h 75180"/>
                    <a:gd name="connsiteX3" fmla="*/ 0 w 97759"/>
                    <a:gd name="connsiteY3" fmla="*/ 5158 h 75180"/>
                    <a:gd name="connsiteX4" fmla="*/ 40468 w 97759"/>
                    <a:gd name="connsiteY4" fmla="*/ 1066 h 75180"/>
                    <a:gd name="connsiteX5" fmla="*/ 97759 w 97759"/>
                    <a:gd name="connsiteY5" fmla="*/ 55629 h 75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59" h="75180">
                      <a:moveTo>
                        <a:pt x="97759" y="55629"/>
                      </a:moveTo>
                      <a:cubicBezTo>
                        <a:pt x="96850" y="59266"/>
                        <a:pt x="87756" y="72907"/>
                        <a:pt x="81390" y="75181"/>
                      </a:cubicBezTo>
                      <a:cubicBezTo>
                        <a:pt x="42287" y="51991"/>
                        <a:pt x="6366" y="22891"/>
                        <a:pt x="5911" y="22891"/>
                      </a:cubicBezTo>
                      <a:cubicBezTo>
                        <a:pt x="4547" y="21527"/>
                        <a:pt x="4547" y="21527"/>
                        <a:pt x="0" y="5158"/>
                      </a:cubicBezTo>
                      <a:cubicBezTo>
                        <a:pt x="15460" y="156"/>
                        <a:pt x="25463" y="-1208"/>
                        <a:pt x="40468" y="1066"/>
                      </a:cubicBezTo>
                      <a:cubicBezTo>
                        <a:pt x="91394" y="11069"/>
                        <a:pt x="97759" y="55174"/>
                        <a:pt x="97759" y="55629"/>
                      </a:cubicBezTo>
                    </a:path>
                  </a:pathLst>
                </a:custGeom>
                <a:grpFill/>
                <a:ln w="4545" cap="flat">
                  <a:noFill/>
                  <a:prstDash val="solid"/>
                  <a:miter/>
                </a:ln>
              </p:spPr>
              <p:txBody>
                <a:bodyPr rtlCol="0" anchor="ctr"/>
                <a:lstStyle/>
                <a:p>
                  <a:endParaRPr lang="en-US" sz="1765"/>
                </a:p>
              </p:txBody>
            </p:sp>
            <p:sp>
              <p:nvSpPr>
                <p:cNvPr id="41" name="Graphic 5">
                  <a:extLst>
                    <a:ext uri="{FF2B5EF4-FFF2-40B4-BE49-F238E27FC236}">
                      <a16:creationId xmlns:a16="http://schemas.microsoft.com/office/drawing/2014/main" id="{83E34634-4E05-41DD-881D-7847C0932FC3}"/>
                    </a:ext>
                  </a:extLst>
                </p:cNvPr>
                <p:cNvSpPr/>
                <p:nvPr/>
              </p:nvSpPr>
              <p:spPr>
                <a:xfrm>
                  <a:off x="11600374" y="4641728"/>
                  <a:ext cx="26372" cy="62747"/>
                </a:xfrm>
                <a:custGeom>
                  <a:avLst/>
                  <a:gdLst>
                    <a:gd name="connsiteX0" fmla="*/ 3183 w 26372"/>
                    <a:gd name="connsiteY0" fmla="*/ 55473 h 62747"/>
                    <a:gd name="connsiteX1" fmla="*/ 0 w 26372"/>
                    <a:gd name="connsiteY1" fmla="*/ 62748 h 62747"/>
                    <a:gd name="connsiteX2" fmla="*/ 26372 w 26372"/>
                    <a:gd name="connsiteY2" fmla="*/ 455 h 62747"/>
                    <a:gd name="connsiteX3" fmla="*/ 26372 w 26372"/>
                    <a:gd name="connsiteY3" fmla="*/ 0 h 62747"/>
                    <a:gd name="connsiteX4" fmla="*/ 25008 w 26372"/>
                    <a:gd name="connsiteY4" fmla="*/ 3637 h 62747"/>
                    <a:gd name="connsiteX5" fmla="*/ 3183 w 26372"/>
                    <a:gd name="connsiteY5" fmla="*/ 55473 h 6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72" h="62747">
                      <a:moveTo>
                        <a:pt x="3183" y="55473"/>
                      </a:moveTo>
                      <a:cubicBezTo>
                        <a:pt x="2273" y="57746"/>
                        <a:pt x="1364" y="60020"/>
                        <a:pt x="0" y="62748"/>
                      </a:cubicBezTo>
                      <a:cubicBezTo>
                        <a:pt x="9094" y="41832"/>
                        <a:pt x="17279" y="20916"/>
                        <a:pt x="26372" y="455"/>
                      </a:cubicBezTo>
                      <a:cubicBezTo>
                        <a:pt x="26372" y="455"/>
                        <a:pt x="26372" y="0"/>
                        <a:pt x="26372" y="0"/>
                      </a:cubicBezTo>
                      <a:cubicBezTo>
                        <a:pt x="25918" y="1364"/>
                        <a:pt x="25463" y="2273"/>
                        <a:pt x="25008" y="3637"/>
                      </a:cubicBezTo>
                      <a:lnTo>
                        <a:pt x="3183" y="55473"/>
                      </a:lnTo>
                    </a:path>
                  </a:pathLst>
                </a:custGeom>
                <a:grpFill/>
                <a:ln w="4545" cap="flat">
                  <a:noFill/>
                  <a:prstDash val="solid"/>
                  <a:miter/>
                </a:ln>
              </p:spPr>
              <p:txBody>
                <a:bodyPr rtlCol="0" anchor="ctr"/>
                <a:lstStyle/>
                <a:p>
                  <a:endParaRPr lang="en-US" sz="1765"/>
                </a:p>
              </p:txBody>
            </p:sp>
            <p:sp>
              <p:nvSpPr>
                <p:cNvPr id="42" name="Graphic 5">
                  <a:extLst>
                    <a:ext uri="{FF2B5EF4-FFF2-40B4-BE49-F238E27FC236}">
                      <a16:creationId xmlns:a16="http://schemas.microsoft.com/office/drawing/2014/main" id="{89B74214-1A0E-4E97-9C8E-CFA21E3EEEF7}"/>
                    </a:ext>
                  </a:extLst>
                </p:cNvPr>
                <p:cNvSpPr/>
                <p:nvPr/>
              </p:nvSpPr>
              <p:spPr>
                <a:xfrm>
                  <a:off x="8722159" y="1336101"/>
                  <a:ext cx="40922" cy="54178"/>
                </a:xfrm>
                <a:custGeom>
                  <a:avLst/>
                  <a:gdLst>
                    <a:gd name="connsiteX0" fmla="*/ 39104 w 40922"/>
                    <a:gd name="connsiteY0" fmla="*/ 30010 h 54178"/>
                    <a:gd name="connsiteX1" fmla="*/ 13186 w 40922"/>
                    <a:gd name="connsiteY1" fmla="*/ 54109 h 54178"/>
                    <a:gd name="connsiteX2" fmla="*/ 8639 w 40922"/>
                    <a:gd name="connsiteY2" fmla="*/ 50471 h 54178"/>
                    <a:gd name="connsiteX3" fmla="*/ 0 w 40922"/>
                    <a:gd name="connsiteY3" fmla="*/ 38194 h 54178"/>
                    <a:gd name="connsiteX4" fmla="*/ 26827 w 40922"/>
                    <a:gd name="connsiteY4" fmla="*/ 0 h 54178"/>
                    <a:gd name="connsiteX5" fmla="*/ 40922 w 40922"/>
                    <a:gd name="connsiteY5" fmla="*/ 28191 h 54178"/>
                    <a:gd name="connsiteX6" fmla="*/ 39104 w 40922"/>
                    <a:gd name="connsiteY6" fmla="*/ 30010 h 5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22" h="54178">
                      <a:moveTo>
                        <a:pt x="39104" y="30010"/>
                      </a:moveTo>
                      <a:cubicBezTo>
                        <a:pt x="20916" y="49107"/>
                        <a:pt x="16369" y="53199"/>
                        <a:pt x="13186" y="54109"/>
                      </a:cubicBezTo>
                      <a:cubicBezTo>
                        <a:pt x="11822" y="54563"/>
                        <a:pt x="10458" y="52745"/>
                        <a:pt x="8639" y="50471"/>
                      </a:cubicBezTo>
                      <a:cubicBezTo>
                        <a:pt x="5456" y="46834"/>
                        <a:pt x="3183" y="42287"/>
                        <a:pt x="0" y="38194"/>
                      </a:cubicBezTo>
                      <a:cubicBezTo>
                        <a:pt x="10913" y="22735"/>
                        <a:pt x="18188" y="12731"/>
                        <a:pt x="26827" y="0"/>
                      </a:cubicBezTo>
                      <a:cubicBezTo>
                        <a:pt x="32283" y="10458"/>
                        <a:pt x="35466" y="17278"/>
                        <a:pt x="40922" y="28191"/>
                      </a:cubicBezTo>
                      <a:cubicBezTo>
                        <a:pt x="40013" y="28646"/>
                        <a:pt x="39558" y="29555"/>
                        <a:pt x="39104" y="30010"/>
                      </a:cubicBezTo>
                    </a:path>
                  </a:pathLst>
                </a:custGeom>
                <a:grpFill/>
                <a:ln w="4545" cap="flat">
                  <a:noFill/>
                  <a:prstDash val="solid"/>
                  <a:miter/>
                </a:ln>
              </p:spPr>
              <p:txBody>
                <a:bodyPr rtlCol="0" anchor="ctr"/>
                <a:lstStyle/>
                <a:p>
                  <a:endParaRPr lang="en-US" sz="1765"/>
                </a:p>
              </p:txBody>
            </p:sp>
            <p:sp>
              <p:nvSpPr>
                <p:cNvPr id="43" name="Graphic 5">
                  <a:extLst>
                    <a:ext uri="{FF2B5EF4-FFF2-40B4-BE49-F238E27FC236}">
                      <a16:creationId xmlns:a16="http://schemas.microsoft.com/office/drawing/2014/main" id="{197EFD1C-403C-46ED-95CE-04A6428188BA}"/>
                    </a:ext>
                  </a:extLst>
                </p:cNvPr>
                <p:cNvSpPr/>
                <p:nvPr/>
              </p:nvSpPr>
              <p:spPr>
                <a:xfrm>
                  <a:off x="7675453" y="888672"/>
                  <a:ext cx="68211" cy="38658"/>
                </a:xfrm>
                <a:custGeom>
                  <a:avLst/>
                  <a:gdLst>
                    <a:gd name="connsiteX0" fmla="*/ 35921 w 68211"/>
                    <a:gd name="connsiteY0" fmla="*/ 22290 h 38658"/>
                    <a:gd name="connsiteX1" fmla="*/ 0 w 68211"/>
                    <a:gd name="connsiteY1" fmla="*/ 38659 h 38658"/>
                    <a:gd name="connsiteX2" fmla="*/ 68204 w 68211"/>
                    <a:gd name="connsiteY2" fmla="*/ 10 h 38658"/>
                    <a:gd name="connsiteX3" fmla="*/ 35921 w 68211"/>
                    <a:gd name="connsiteY3" fmla="*/ 22290 h 38658"/>
                  </a:gdLst>
                  <a:ahLst/>
                  <a:cxnLst>
                    <a:cxn ang="0">
                      <a:pos x="connsiteX0" y="connsiteY0"/>
                    </a:cxn>
                    <a:cxn ang="0">
                      <a:pos x="connsiteX1" y="connsiteY1"/>
                    </a:cxn>
                    <a:cxn ang="0">
                      <a:pos x="connsiteX2" y="connsiteY2"/>
                    </a:cxn>
                    <a:cxn ang="0">
                      <a:pos x="connsiteX3" y="connsiteY3"/>
                    </a:cxn>
                  </a:cxnLst>
                  <a:rect l="l" t="t" r="r" b="b"/>
                  <a:pathLst>
                    <a:path w="68211" h="38658">
                      <a:moveTo>
                        <a:pt x="35921" y="22290"/>
                      </a:moveTo>
                      <a:cubicBezTo>
                        <a:pt x="22280" y="29110"/>
                        <a:pt x="7275" y="35476"/>
                        <a:pt x="0" y="38659"/>
                      </a:cubicBezTo>
                      <a:cubicBezTo>
                        <a:pt x="13641" y="15015"/>
                        <a:pt x="66385" y="-445"/>
                        <a:pt x="68204" y="10"/>
                      </a:cubicBezTo>
                      <a:cubicBezTo>
                        <a:pt x="68204" y="10"/>
                        <a:pt x="69568" y="5466"/>
                        <a:pt x="35921" y="22290"/>
                      </a:cubicBezTo>
                    </a:path>
                  </a:pathLst>
                </a:custGeom>
                <a:grpFill/>
                <a:ln w="4545" cap="flat">
                  <a:noFill/>
                  <a:prstDash val="solid"/>
                  <a:miter/>
                </a:ln>
              </p:spPr>
              <p:txBody>
                <a:bodyPr rtlCol="0" anchor="ctr"/>
                <a:lstStyle/>
                <a:p>
                  <a:endParaRPr lang="en-US" sz="1765"/>
                </a:p>
              </p:txBody>
            </p:sp>
            <p:sp>
              <p:nvSpPr>
                <p:cNvPr id="44" name="Graphic 5">
                  <a:extLst>
                    <a:ext uri="{FF2B5EF4-FFF2-40B4-BE49-F238E27FC236}">
                      <a16:creationId xmlns:a16="http://schemas.microsoft.com/office/drawing/2014/main" id="{C2CBE546-0B52-4F94-BCCF-41DBD0D686BC}"/>
                    </a:ext>
                  </a:extLst>
                </p:cNvPr>
                <p:cNvSpPr/>
                <p:nvPr/>
              </p:nvSpPr>
              <p:spPr>
                <a:xfrm>
                  <a:off x="8763537" y="1275172"/>
                  <a:ext cx="39558" cy="45924"/>
                </a:xfrm>
                <a:custGeom>
                  <a:avLst/>
                  <a:gdLst>
                    <a:gd name="connsiteX0" fmla="*/ 39558 w 39558"/>
                    <a:gd name="connsiteY0" fmla="*/ 15914 h 45924"/>
                    <a:gd name="connsiteX1" fmla="*/ 39104 w 39558"/>
                    <a:gd name="connsiteY1" fmla="*/ 24553 h 45924"/>
                    <a:gd name="connsiteX2" fmla="*/ 7275 w 39558"/>
                    <a:gd name="connsiteY2" fmla="*/ 45924 h 45924"/>
                    <a:gd name="connsiteX3" fmla="*/ 0 w 39558"/>
                    <a:gd name="connsiteY3" fmla="*/ 32738 h 45924"/>
                    <a:gd name="connsiteX4" fmla="*/ 25008 w 39558"/>
                    <a:gd name="connsiteY4" fmla="*/ 0 h 45924"/>
                    <a:gd name="connsiteX5" fmla="*/ 25008 w 39558"/>
                    <a:gd name="connsiteY5" fmla="*/ 0 h 45924"/>
                    <a:gd name="connsiteX6" fmla="*/ 29555 w 39558"/>
                    <a:gd name="connsiteY6" fmla="*/ 3638 h 45924"/>
                    <a:gd name="connsiteX7" fmla="*/ 39558 w 39558"/>
                    <a:gd name="connsiteY7" fmla="*/ 15914 h 4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8" h="45924">
                      <a:moveTo>
                        <a:pt x="39558" y="15914"/>
                      </a:moveTo>
                      <a:cubicBezTo>
                        <a:pt x="39558" y="18642"/>
                        <a:pt x="39558" y="21371"/>
                        <a:pt x="39104" y="24553"/>
                      </a:cubicBezTo>
                      <a:cubicBezTo>
                        <a:pt x="17733" y="39558"/>
                        <a:pt x="15914" y="40922"/>
                        <a:pt x="7275" y="45924"/>
                      </a:cubicBezTo>
                      <a:cubicBezTo>
                        <a:pt x="3637" y="44105"/>
                        <a:pt x="0" y="32738"/>
                        <a:pt x="0" y="32738"/>
                      </a:cubicBezTo>
                      <a:cubicBezTo>
                        <a:pt x="1819" y="28191"/>
                        <a:pt x="22280" y="455"/>
                        <a:pt x="25008" y="0"/>
                      </a:cubicBezTo>
                      <a:cubicBezTo>
                        <a:pt x="25008" y="0"/>
                        <a:pt x="25008" y="0"/>
                        <a:pt x="25008" y="0"/>
                      </a:cubicBezTo>
                      <a:cubicBezTo>
                        <a:pt x="25918" y="455"/>
                        <a:pt x="27282" y="909"/>
                        <a:pt x="29555" y="3638"/>
                      </a:cubicBezTo>
                      <a:cubicBezTo>
                        <a:pt x="39558" y="14095"/>
                        <a:pt x="39558" y="14095"/>
                        <a:pt x="39558" y="15914"/>
                      </a:cubicBezTo>
                    </a:path>
                  </a:pathLst>
                </a:custGeom>
                <a:grpFill/>
                <a:ln w="4545" cap="flat">
                  <a:noFill/>
                  <a:prstDash val="solid"/>
                  <a:miter/>
                </a:ln>
              </p:spPr>
              <p:txBody>
                <a:bodyPr rtlCol="0" anchor="ctr"/>
                <a:lstStyle/>
                <a:p>
                  <a:endParaRPr lang="en-US" sz="1765"/>
                </a:p>
              </p:txBody>
            </p:sp>
            <p:sp>
              <p:nvSpPr>
                <p:cNvPr id="46" name="Graphic 5">
                  <a:extLst>
                    <a:ext uri="{FF2B5EF4-FFF2-40B4-BE49-F238E27FC236}">
                      <a16:creationId xmlns:a16="http://schemas.microsoft.com/office/drawing/2014/main" id="{04AC01D1-174B-4ED9-B13B-703F623E3DE8}"/>
                    </a:ext>
                  </a:extLst>
                </p:cNvPr>
                <p:cNvSpPr/>
                <p:nvPr/>
              </p:nvSpPr>
              <p:spPr>
                <a:xfrm>
                  <a:off x="11712980" y="3068486"/>
                  <a:ext cx="15390" cy="82299"/>
                </a:xfrm>
                <a:custGeom>
                  <a:avLst/>
                  <a:gdLst>
                    <a:gd name="connsiteX0" fmla="*/ 11526 w 15390"/>
                    <a:gd name="connsiteY0" fmla="*/ 4092 h 82299"/>
                    <a:gd name="connsiteX1" fmla="*/ 14254 w 15390"/>
                    <a:gd name="connsiteY1" fmla="*/ 82300 h 82299"/>
                    <a:gd name="connsiteX2" fmla="*/ 2432 w 15390"/>
                    <a:gd name="connsiteY2" fmla="*/ 45924 h 82299"/>
                    <a:gd name="connsiteX3" fmla="*/ 3341 w 15390"/>
                    <a:gd name="connsiteY3" fmla="*/ 7730 h 82299"/>
                    <a:gd name="connsiteX4" fmla="*/ 11071 w 15390"/>
                    <a:gd name="connsiteY4" fmla="*/ 0 h 82299"/>
                    <a:gd name="connsiteX5" fmla="*/ 11526 w 15390"/>
                    <a:gd name="connsiteY5" fmla="*/ 4092 h 8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90" h="82299">
                      <a:moveTo>
                        <a:pt x="11526" y="4092"/>
                      </a:moveTo>
                      <a:cubicBezTo>
                        <a:pt x="16073" y="50471"/>
                        <a:pt x="16073" y="50471"/>
                        <a:pt x="14254" y="82300"/>
                      </a:cubicBezTo>
                      <a:cubicBezTo>
                        <a:pt x="4705" y="61384"/>
                        <a:pt x="4705" y="61384"/>
                        <a:pt x="2432" y="45924"/>
                      </a:cubicBezTo>
                      <a:cubicBezTo>
                        <a:pt x="-2115" y="15459"/>
                        <a:pt x="613" y="11822"/>
                        <a:pt x="3341" y="7730"/>
                      </a:cubicBezTo>
                      <a:cubicBezTo>
                        <a:pt x="5615" y="5002"/>
                        <a:pt x="8798" y="2728"/>
                        <a:pt x="11071" y="0"/>
                      </a:cubicBezTo>
                      <a:cubicBezTo>
                        <a:pt x="11071" y="1364"/>
                        <a:pt x="11071" y="2728"/>
                        <a:pt x="11526" y="4092"/>
                      </a:cubicBezTo>
                    </a:path>
                  </a:pathLst>
                </a:custGeom>
                <a:grpFill/>
                <a:ln w="4545" cap="flat">
                  <a:noFill/>
                  <a:prstDash val="solid"/>
                  <a:miter/>
                </a:ln>
              </p:spPr>
              <p:txBody>
                <a:bodyPr rtlCol="0" anchor="ctr"/>
                <a:lstStyle/>
                <a:p>
                  <a:endParaRPr lang="en-US" sz="1765"/>
                </a:p>
              </p:txBody>
            </p:sp>
            <p:sp>
              <p:nvSpPr>
                <p:cNvPr id="48" name="Graphic 5">
                  <a:extLst>
                    <a:ext uri="{FF2B5EF4-FFF2-40B4-BE49-F238E27FC236}">
                      <a16:creationId xmlns:a16="http://schemas.microsoft.com/office/drawing/2014/main" id="{17814F43-7919-4EB3-9B42-2798DB6D3D72}"/>
                    </a:ext>
                  </a:extLst>
                </p:cNvPr>
                <p:cNvSpPr/>
                <p:nvPr/>
              </p:nvSpPr>
              <p:spPr>
                <a:xfrm>
                  <a:off x="9966203" y="4459395"/>
                  <a:ext cx="88665" cy="61908"/>
                </a:xfrm>
                <a:custGeom>
                  <a:avLst/>
                  <a:gdLst>
                    <a:gd name="connsiteX0" fmla="*/ 84118 w 88665"/>
                    <a:gd name="connsiteY0" fmla="*/ 22735 h 61908"/>
                    <a:gd name="connsiteX1" fmla="*/ 29100 w 88665"/>
                    <a:gd name="connsiteY1" fmla="*/ 61839 h 61908"/>
                    <a:gd name="connsiteX2" fmla="*/ 20916 w 88665"/>
                    <a:gd name="connsiteY2" fmla="*/ 57746 h 61908"/>
                    <a:gd name="connsiteX3" fmla="*/ 0 w 88665"/>
                    <a:gd name="connsiteY3" fmla="*/ 35012 h 61908"/>
                    <a:gd name="connsiteX4" fmla="*/ 29100 w 88665"/>
                    <a:gd name="connsiteY4" fmla="*/ 8639 h 61908"/>
                    <a:gd name="connsiteX5" fmla="*/ 45469 w 88665"/>
                    <a:gd name="connsiteY5" fmla="*/ 0 h 61908"/>
                    <a:gd name="connsiteX6" fmla="*/ 55927 w 88665"/>
                    <a:gd name="connsiteY6" fmla="*/ 2273 h 61908"/>
                    <a:gd name="connsiteX7" fmla="*/ 88665 w 88665"/>
                    <a:gd name="connsiteY7" fmla="*/ 19097 h 61908"/>
                    <a:gd name="connsiteX8" fmla="*/ 84118 w 88665"/>
                    <a:gd name="connsiteY8" fmla="*/ 22735 h 6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65" h="61908">
                      <a:moveTo>
                        <a:pt x="84118" y="22735"/>
                      </a:moveTo>
                      <a:cubicBezTo>
                        <a:pt x="36376" y="60929"/>
                        <a:pt x="36376" y="60929"/>
                        <a:pt x="29100" y="61839"/>
                      </a:cubicBezTo>
                      <a:cubicBezTo>
                        <a:pt x="26827" y="62293"/>
                        <a:pt x="23644" y="60475"/>
                        <a:pt x="20916" y="57746"/>
                      </a:cubicBezTo>
                      <a:cubicBezTo>
                        <a:pt x="13186" y="50926"/>
                        <a:pt x="7275" y="42287"/>
                        <a:pt x="0" y="35012"/>
                      </a:cubicBezTo>
                      <a:cubicBezTo>
                        <a:pt x="10003" y="26372"/>
                        <a:pt x="18642" y="16824"/>
                        <a:pt x="29100" y="8639"/>
                      </a:cubicBezTo>
                      <a:cubicBezTo>
                        <a:pt x="39104" y="909"/>
                        <a:pt x="45015" y="0"/>
                        <a:pt x="45469" y="0"/>
                      </a:cubicBezTo>
                      <a:cubicBezTo>
                        <a:pt x="47288" y="0"/>
                        <a:pt x="50471" y="0"/>
                        <a:pt x="55927" y="2273"/>
                      </a:cubicBezTo>
                      <a:cubicBezTo>
                        <a:pt x="67295" y="7275"/>
                        <a:pt x="77753" y="14096"/>
                        <a:pt x="88665" y="19097"/>
                      </a:cubicBezTo>
                      <a:cubicBezTo>
                        <a:pt x="87301" y="20007"/>
                        <a:pt x="85482" y="21371"/>
                        <a:pt x="84118" y="22735"/>
                      </a:cubicBezTo>
                    </a:path>
                  </a:pathLst>
                </a:custGeom>
                <a:grpFill/>
                <a:ln w="4545" cap="flat">
                  <a:noFill/>
                  <a:prstDash val="solid"/>
                  <a:miter/>
                </a:ln>
              </p:spPr>
              <p:txBody>
                <a:bodyPr rtlCol="0" anchor="ctr"/>
                <a:lstStyle/>
                <a:p>
                  <a:endParaRPr lang="en-US" sz="1765"/>
                </a:p>
              </p:txBody>
            </p:sp>
            <p:sp>
              <p:nvSpPr>
                <p:cNvPr id="49" name="Graphic 5">
                  <a:extLst>
                    <a:ext uri="{FF2B5EF4-FFF2-40B4-BE49-F238E27FC236}">
                      <a16:creationId xmlns:a16="http://schemas.microsoft.com/office/drawing/2014/main" id="{66E662E5-7ABE-4B84-AC85-DD4F18ADF913}"/>
                    </a:ext>
                  </a:extLst>
                </p:cNvPr>
                <p:cNvSpPr/>
                <p:nvPr/>
              </p:nvSpPr>
              <p:spPr>
                <a:xfrm>
                  <a:off x="6081295" y="4007429"/>
                  <a:ext cx="28645" cy="89497"/>
                </a:xfrm>
                <a:custGeom>
                  <a:avLst/>
                  <a:gdLst>
                    <a:gd name="connsiteX0" fmla="*/ 28646 w 28645"/>
                    <a:gd name="connsiteY0" fmla="*/ 51835 h 89497"/>
                    <a:gd name="connsiteX1" fmla="*/ 3183 w 28645"/>
                    <a:gd name="connsiteY1" fmla="*/ 84118 h 89497"/>
                    <a:gd name="connsiteX2" fmla="*/ 0 w 28645"/>
                    <a:gd name="connsiteY2" fmla="*/ 80481 h 89497"/>
                    <a:gd name="connsiteX3" fmla="*/ 20007 w 28645"/>
                    <a:gd name="connsiteY3" fmla="*/ 0 h 89497"/>
                    <a:gd name="connsiteX4" fmla="*/ 28646 w 28645"/>
                    <a:gd name="connsiteY4" fmla="*/ 51835 h 89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45" h="89497">
                      <a:moveTo>
                        <a:pt x="28646" y="51835"/>
                      </a:moveTo>
                      <a:cubicBezTo>
                        <a:pt x="28646" y="52290"/>
                        <a:pt x="26827" y="106398"/>
                        <a:pt x="3183" y="84118"/>
                      </a:cubicBezTo>
                      <a:cubicBezTo>
                        <a:pt x="1819" y="82754"/>
                        <a:pt x="909" y="81390"/>
                        <a:pt x="0" y="80481"/>
                      </a:cubicBezTo>
                      <a:cubicBezTo>
                        <a:pt x="6366" y="52290"/>
                        <a:pt x="12731" y="27736"/>
                        <a:pt x="20007" y="0"/>
                      </a:cubicBezTo>
                      <a:cubicBezTo>
                        <a:pt x="22735" y="17278"/>
                        <a:pt x="28191" y="34102"/>
                        <a:pt x="28646" y="51835"/>
                      </a:cubicBezTo>
                    </a:path>
                  </a:pathLst>
                </a:custGeom>
                <a:grpFill/>
                <a:ln w="4545" cap="flat">
                  <a:noFill/>
                  <a:prstDash val="solid"/>
                  <a:miter/>
                </a:ln>
              </p:spPr>
              <p:txBody>
                <a:bodyPr rtlCol="0" anchor="ctr"/>
                <a:lstStyle/>
                <a:p>
                  <a:endParaRPr lang="en-US" sz="1765"/>
                </a:p>
              </p:txBody>
            </p:sp>
            <p:sp>
              <p:nvSpPr>
                <p:cNvPr id="53" name="Graphic 5">
                  <a:extLst>
                    <a:ext uri="{FF2B5EF4-FFF2-40B4-BE49-F238E27FC236}">
                      <a16:creationId xmlns:a16="http://schemas.microsoft.com/office/drawing/2014/main" id="{BC245CA2-A1FB-4C1F-A4A8-C96711C7F2F6}"/>
                    </a:ext>
                  </a:extLst>
                </p:cNvPr>
                <p:cNvSpPr/>
                <p:nvPr/>
              </p:nvSpPr>
              <p:spPr>
                <a:xfrm>
                  <a:off x="8158146" y="4958650"/>
                  <a:ext cx="57484" cy="81937"/>
                </a:xfrm>
                <a:custGeom>
                  <a:avLst/>
                  <a:gdLst>
                    <a:gd name="connsiteX0" fmla="*/ 57484 w 57484"/>
                    <a:gd name="connsiteY0" fmla="*/ 30919 h 81937"/>
                    <a:gd name="connsiteX1" fmla="*/ 24292 w 57484"/>
                    <a:gd name="connsiteY1" fmla="*/ 81845 h 81937"/>
                    <a:gd name="connsiteX2" fmla="*/ 2921 w 57484"/>
                    <a:gd name="connsiteY2" fmla="*/ 70932 h 81937"/>
                    <a:gd name="connsiteX3" fmla="*/ 2921 w 57484"/>
                    <a:gd name="connsiteY3" fmla="*/ 50016 h 81937"/>
                    <a:gd name="connsiteX4" fmla="*/ 52937 w 57484"/>
                    <a:gd name="connsiteY4" fmla="*/ 0 h 81937"/>
                    <a:gd name="connsiteX5" fmla="*/ 57484 w 57484"/>
                    <a:gd name="connsiteY5" fmla="*/ 22735 h 81937"/>
                    <a:gd name="connsiteX6" fmla="*/ 57484 w 57484"/>
                    <a:gd name="connsiteY6" fmla="*/ 30919 h 8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84" h="81937">
                      <a:moveTo>
                        <a:pt x="57484" y="30919"/>
                      </a:moveTo>
                      <a:cubicBezTo>
                        <a:pt x="55211" y="44560"/>
                        <a:pt x="26565" y="80026"/>
                        <a:pt x="24292" y="81845"/>
                      </a:cubicBezTo>
                      <a:cubicBezTo>
                        <a:pt x="22927" y="82754"/>
                        <a:pt x="7013" y="76843"/>
                        <a:pt x="2921" y="70932"/>
                      </a:cubicBezTo>
                      <a:cubicBezTo>
                        <a:pt x="-262" y="66840"/>
                        <a:pt x="-1626" y="55927"/>
                        <a:pt x="2921" y="50016"/>
                      </a:cubicBezTo>
                      <a:cubicBezTo>
                        <a:pt x="5194" y="46833"/>
                        <a:pt x="5194" y="46833"/>
                        <a:pt x="52937" y="0"/>
                      </a:cubicBezTo>
                      <a:cubicBezTo>
                        <a:pt x="54301" y="7730"/>
                        <a:pt x="56575" y="15459"/>
                        <a:pt x="57484" y="22735"/>
                      </a:cubicBezTo>
                      <a:cubicBezTo>
                        <a:pt x="57484" y="25463"/>
                        <a:pt x="57484" y="28646"/>
                        <a:pt x="57484" y="30919"/>
                      </a:cubicBezTo>
                    </a:path>
                  </a:pathLst>
                </a:custGeom>
                <a:grpFill/>
                <a:ln w="4545" cap="flat">
                  <a:noFill/>
                  <a:prstDash val="solid"/>
                  <a:miter/>
                </a:ln>
              </p:spPr>
              <p:txBody>
                <a:bodyPr rtlCol="0" anchor="ctr"/>
                <a:lstStyle/>
                <a:p>
                  <a:endParaRPr lang="en-US" sz="1765"/>
                </a:p>
              </p:txBody>
            </p:sp>
            <p:sp>
              <p:nvSpPr>
                <p:cNvPr id="54" name="Graphic 5">
                  <a:extLst>
                    <a:ext uri="{FF2B5EF4-FFF2-40B4-BE49-F238E27FC236}">
                      <a16:creationId xmlns:a16="http://schemas.microsoft.com/office/drawing/2014/main" id="{90DBD03F-AB98-4278-80AC-9983D14049CC}"/>
                    </a:ext>
                  </a:extLst>
                </p:cNvPr>
                <p:cNvSpPr/>
                <p:nvPr/>
              </p:nvSpPr>
              <p:spPr>
                <a:xfrm>
                  <a:off x="9837525" y="5668427"/>
                  <a:ext cx="60474" cy="40922"/>
                </a:xfrm>
                <a:custGeom>
                  <a:avLst/>
                  <a:gdLst>
                    <a:gd name="connsiteX0" fmla="*/ 56837 w 60474"/>
                    <a:gd name="connsiteY0" fmla="*/ 21826 h 40922"/>
                    <a:gd name="connsiteX1" fmla="*/ 30464 w 60474"/>
                    <a:gd name="connsiteY1" fmla="*/ 37740 h 40922"/>
                    <a:gd name="connsiteX2" fmla="*/ 21370 w 60474"/>
                    <a:gd name="connsiteY2" fmla="*/ 40922 h 40922"/>
                    <a:gd name="connsiteX3" fmla="*/ 13186 w 60474"/>
                    <a:gd name="connsiteY3" fmla="*/ 37740 h 40922"/>
                    <a:gd name="connsiteX4" fmla="*/ 0 w 60474"/>
                    <a:gd name="connsiteY4" fmla="*/ 24099 h 40922"/>
                    <a:gd name="connsiteX5" fmla="*/ 24099 w 60474"/>
                    <a:gd name="connsiteY5" fmla="*/ 5002 h 40922"/>
                    <a:gd name="connsiteX6" fmla="*/ 35466 w 60474"/>
                    <a:gd name="connsiteY6" fmla="*/ 0 h 40922"/>
                    <a:gd name="connsiteX7" fmla="*/ 42287 w 60474"/>
                    <a:gd name="connsiteY7" fmla="*/ 2273 h 40922"/>
                    <a:gd name="connsiteX8" fmla="*/ 60474 w 60474"/>
                    <a:gd name="connsiteY8" fmla="*/ 20007 h 40922"/>
                    <a:gd name="connsiteX9" fmla="*/ 56837 w 60474"/>
                    <a:gd name="connsiteY9" fmla="*/ 21826 h 4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474" h="40922">
                      <a:moveTo>
                        <a:pt x="56837" y="21826"/>
                      </a:moveTo>
                      <a:cubicBezTo>
                        <a:pt x="47743" y="26827"/>
                        <a:pt x="39558" y="33193"/>
                        <a:pt x="30464" y="37740"/>
                      </a:cubicBezTo>
                      <a:cubicBezTo>
                        <a:pt x="25463" y="40468"/>
                        <a:pt x="22735" y="40922"/>
                        <a:pt x="21370" y="40922"/>
                      </a:cubicBezTo>
                      <a:cubicBezTo>
                        <a:pt x="19552" y="40922"/>
                        <a:pt x="15914" y="40013"/>
                        <a:pt x="13186" y="37740"/>
                      </a:cubicBezTo>
                      <a:cubicBezTo>
                        <a:pt x="8184" y="33647"/>
                        <a:pt x="5002" y="28646"/>
                        <a:pt x="0" y="24099"/>
                      </a:cubicBezTo>
                      <a:cubicBezTo>
                        <a:pt x="8184" y="17733"/>
                        <a:pt x="15459" y="10458"/>
                        <a:pt x="24099" y="5002"/>
                      </a:cubicBezTo>
                      <a:cubicBezTo>
                        <a:pt x="28191" y="2273"/>
                        <a:pt x="32283" y="0"/>
                        <a:pt x="35466" y="0"/>
                      </a:cubicBezTo>
                      <a:cubicBezTo>
                        <a:pt x="36830" y="0"/>
                        <a:pt x="39558" y="0"/>
                        <a:pt x="42287" y="2273"/>
                      </a:cubicBezTo>
                      <a:cubicBezTo>
                        <a:pt x="49107" y="7730"/>
                        <a:pt x="54108" y="14550"/>
                        <a:pt x="60474" y="20007"/>
                      </a:cubicBezTo>
                      <a:cubicBezTo>
                        <a:pt x="59110" y="20461"/>
                        <a:pt x="57746" y="21370"/>
                        <a:pt x="56837" y="21826"/>
                      </a:cubicBezTo>
                    </a:path>
                  </a:pathLst>
                </a:custGeom>
                <a:grpFill/>
                <a:ln w="4545" cap="flat">
                  <a:noFill/>
                  <a:prstDash val="solid"/>
                  <a:miter/>
                </a:ln>
              </p:spPr>
              <p:txBody>
                <a:bodyPr rtlCol="0" anchor="ctr"/>
                <a:lstStyle/>
                <a:p>
                  <a:endParaRPr lang="en-US" sz="1765"/>
                </a:p>
              </p:txBody>
            </p:sp>
            <p:sp>
              <p:nvSpPr>
                <p:cNvPr id="55" name="Graphic 5">
                  <a:extLst>
                    <a:ext uri="{FF2B5EF4-FFF2-40B4-BE49-F238E27FC236}">
                      <a16:creationId xmlns:a16="http://schemas.microsoft.com/office/drawing/2014/main" id="{DA0BCA30-E0F8-45A9-B6F2-7A55FB9D61D4}"/>
                    </a:ext>
                  </a:extLst>
                </p:cNvPr>
                <p:cNvSpPr/>
                <p:nvPr/>
              </p:nvSpPr>
              <p:spPr>
                <a:xfrm>
                  <a:off x="11513414" y="4380733"/>
                  <a:ext cx="25121" cy="70023"/>
                </a:xfrm>
                <a:custGeom>
                  <a:avLst/>
                  <a:gdLst>
                    <a:gd name="connsiteX0" fmla="*/ 23303 w 25121"/>
                    <a:gd name="connsiteY0" fmla="*/ 30010 h 70023"/>
                    <a:gd name="connsiteX1" fmla="*/ 2842 w 25121"/>
                    <a:gd name="connsiteY1" fmla="*/ 70023 h 70023"/>
                    <a:gd name="connsiteX2" fmla="*/ 114 w 25121"/>
                    <a:gd name="connsiteY2" fmla="*/ 50926 h 70023"/>
                    <a:gd name="connsiteX3" fmla="*/ 568 w 25121"/>
                    <a:gd name="connsiteY3" fmla="*/ 40922 h 70023"/>
                    <a:gd name="connsiteX4" fmla="*/ 16028 w 25121"/>
                    <a:gd name="connsiteY4" fmla="*/ 0 h 70023"/>
                    <a:gd name="connsiteX5" fmla="*/ 25122 w 25121"/>
                    <a:gd name="connsiteY5" fmla="*/ 26372 h 70023"/>
                    <a:gd name="connsiteX6" fmla="*/ 23303 w 25121"/>
                    <a:gd name="connsiteY6" fmla="*/ 30010 h 7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21" h="70023">
                      <a:moveTo>
                        <a:pt x="23303" y="30010"/>
                      </a:moveTo>
                      <a:cubicBezTo>
                        <a:pt x="15119" y="45924"/>
                        <a:pt x="7843" y="60020"/>
                        <a:pt x="2842" y="70023"/>
                      </a:cubicBezTo>
                      <a:cubicBezTo>
                        <a:pt x="1933" y="63657"/>
                        <a:pt x="568" y="57292"/>
                        <a:pt x="114" y="50926"/>
                      </a:cubicBezTo>
                      <a:cubicBezTo>
                        <a:pt x="114" y="50016"/>
                        <a:pt x="-341" y="45924"/>
                        <a:pt x="568" y="40922"/>
                      </a:cubicBezTo>
                      <a:cubicBezTo>
                        <a:pt x="1023" y="38194"/>
                        <a:pt x="1023" y="38194"/>
                        <a:pt x="16028" y="0"/>
                      </a:cubicBezTo>
                      <a:cubicBezTo>
                        <a:pt x="20120" y="10913"/>
                        <a:pt x="22394" y="18188"/>
                        <a:pt x="25122" y="26372"/>
                      </a:cubicBezTo>
                      <a:cubicBezTo>
                        <a:pt x="24667" y="27282"/>
                        <a:pt x="24213" y="29101"/>
                        <a:pt x="23303" y="30010"/>
                      </a:cubicBezTo>
                    </a:path>
                  </a:pathLst>
                </a:custGeom>
                <a:grpFill/>
                <a:ln w="4545" cap="flat">
                  <a:noFill/>
                  <a:prstDash val="solid"/>
                  <a:miter/>
                </a:ln>
              </p:spPr>
              <p:txBody>
                <a:bodyPr rtlCol="0" anchor="ctr"/>
                <a:lstStyle/>
                <a:p>
                  <a:endParaRPr lang="en-US" sz="1765"/>
                </a:p>
              </p:txBody>
            </p:sp>
            <p:sp>
              <p:nvSpPr>
                <p:cNvPr id="56" name="Graphic 5">
                  <a:extLst>
                    <a:ext uri="{FF2B5EF4-FFF2-40B4-BE49-F238E27FC236}">
                      <a16:creationId xmlns:a16="http://schemas.microsoft.com/office/drawing/2014/main" id="{3B846325-DC87-49F1-9EDE-FDBAE12A2979}"/>
                    </a:ext>
                  </a:extLst>
                </p:cNvPr>
                <p:cNvSpPr/>
                <p:nvPr/>
              </p:nvSpPr>
              <p:spPr>
                <a:xfrm>
                  <a:off x="9746586" y="947493"/>
                  <a:ext cx="51834" cy="27018"/>
                </a:xfrm>
                <a:custGeom>
                  <a:avLst/>
                  <a:gdLst>
                    <a:gd name="connsiteX0" fmla="*/ 39104 w 51834"/>
                    <a:gd name="connsiteY0" fmla="*/ 14395 h 27018"/>
                    <a:gd name="connsiteX1" fmla="*/ 51835 w 51834"/>
                    <a:gd name="connsiteY1" fmla="*/ 26217 h 27018"/>
                    <a:gd name="connsiteX2" fmla="*/ 0 w 51834"/>
                    <a:gd name="connsiteY2" fmla="*/ 5301 h 27018"/>
                    <a:gd name="connsiteX3" fmla="*/ 2728 w 51834"/>
                    <a:gd name="connsiteY3" fmla="*/ 299 h 27018"/>
                    <a:gd name="connsiteX4" fmla="*/ 39104 w 51834"/>
                    <a:gd name="connsiteY4" fmla="*/ 14395 h 27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34" h="27018">
                      <a:moveTo>
                        <a:pt x="39104" y="14395"/>
                      </a:moveTo>
                      <a:cubicBezTo>
                        <a:pt x="41377" y="16214"/>
                        <a:pt x="51380" y="23489"/>
                        <a:pt x="51835" y="26217"/>
                      </a:cubicBezTo>
                      <a:cubicBezTo>
                        <a:pt x="45015" y="30309"/>
                        <a:pt x="21825" y="18032"/>
                        <a:pt x="0" y="5301"/>
                      </a:cubicBezTo>
                      <a:cubicBezTo>
                        <a:pt x="455" y="2573"/>
                        <a:pt x="909" y="1209"/>
                        <a:pt x="2728" y="299"/>
                      </a:cubicBezTo>
                      <a:cubicBezTo>
                        <a:pt x="11367" y="-2429"/>
                        <a:pt x="39104" y="14395"/>
                        <a:pt x="39104" y="14395"/>
                      </a:cubicBezTo>
                    </a:path>
                  </a:pathLst>
                </a:custGeom>
                <a:grpFill/>
                <a:ln w="4545" cap="flat">
                  <a:noFill/>
                  <a:prstDash val="solid"/>
                  <a:miter/>
                </a:ln>
              </p:spPr>
              <p:txBody>
                <a:bodyPr rtlCol="0" anchor="ctr"/>
                <a:lstStyle/>
                <a:p>
                  <a:endParaRPr lang="en-US" sz="1765"/>
                </a:p>
              </p:txBody>
            </p:sp>
            <p:sp>
              <p:nvSpPr>
                <p:cNvPr id="57" name="Graphic 5">
                  <a:extLst>
                    <a:ext uri="{FF2B5EF4-FFF2-40B4-BE49-F238E27FC236}">
                      <a16:creationId xmlns:a16="http://schemas.microsoft.com/office/drawing/2014/main" id="{D6D0C346-F020-4C43-B999-5E85305FF76F}"/>
                    </a:ext>
                  </a:extLst>
                </p:cNvPr>
                <p:cNvSpPr/>
                <p:nvPr/>
              </p:nvSpPr>
              <p:spPr>
                <a:xfrm>
                  <a:off x="7825048" y="862765"/>
                  <a:ext cx="55927" cy="27308"/>
                </a:xfrm>
                <a:custGeom>
                  <a:avLst/>
                  <a:gdLst>
                    <a:gd name="connsiteX0" fmla="*/ 26827 w 55927"/>
                    <a:gd name="connsiteY0" fmla="*/ 18642 h 27308"/>
                    <a:gd name="connsiteX1" fmla="*/ 0 w 55927"/>
                    <a:gd name="connsiteY1" fmla="*/ 27282 h 27308"/>
                    <a:gd name="connsiteX2" fmla="*/ 19097 w 55927"/>
                    <a:gd name="connsiteY2" fmla="*/ 11367 h 27308"/>
                    <a:gd name="connsiteX3" fmla="*/ 33193 w 55927"/>
                    <a:gd name="connsiteY3" fmla="*/ 6820 h 27308"/>
                    <a:gd name="connsiteX4" fmla="*/ 55927 w 55927"/>
                    <a:gd name="connsiteY4" fmla="*/ 0 h 27308"/>
                    <a:gd name="connsiteX5" fmla="*/ 26827 w 55927"/>
                    <a:gd name="connsiteY5" fmla="*/ 18642 h 27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27" h="27308">
                      <a:moveTo>
                        <a:pt x="26827" y="18642"/>
                      </a:moveTo>
                      <a:cubicBezTo>
                        <a:pt x="19552" y="22280"/>
                        <a:pt x="2728" y="27736"/>
                        <a:pt x="0" y="27282"/>
                      </a:cubicBezTo>
                      <a:cubicBezTo>
                        <a:pt x="0" y="25008"/>
                        <a:pt x="19097" y="11367"/>
                        <a:pt x="19097" y="11367"/>
                      </a:cubicBezTo>
                      <a:cubicBezTo>
                        <a:pt x="23644" y="9094"/>
                        <a:pt x="28646" y="8639"/>
                        <a:pt x="33193" y="6820"/>
                      </a:cubicBezTo>
                      <a:cubicBezTo>
                        <a:pt x="40922" y="4547"/>
                        <a:pt x="48198" y="2273"/>
                        <a:pt x="55927" y="0"/>
                      </a:cubicBezTo>
                      <a:cubicBezTo>
                        <a:pt x="29555" y="17278"/>
                        <a:pt x="29555" y="17278"/>
                        <a:pt x="26827" y="18642"/>
                      </a:cubicBezTo>
                    </a:path>
                  </a:pathLst>
                </a:custGeom>
                <a:grpFill/>
                <a:ln w="4545" cap="flat">
                  <a:noFill/>
                  <a:prstDash val="solid"/>
                  <a:miter/>
                </a:ln>
              </p:spPr>
              <p:txBody>
                <a:bodyPr rtlCol="0" anchor="ctr"/>
                <a:lstStyle/>
                <a:p>
                  <a:endParaRPr lang="en-US" sz="1765"/>
                </a:p>
              </p:txBody>
            </p:sp>
            <p:sp>
              <p:nvSpPr>
                <p:cNvPr id="58" name="Graphic 5">
                  <a:extLst>
                    <a:ext uri="{FF2B5EF4-FFF2-40B4-BE49-F238E27FC236}">
                      <a16:creationId xmlns:a16="http://schemas.microsoft.com/office/drawing/2014/main" id="{A6BE615D-36FC-432C-9302-AA8A5D411757}"/>
                    </a:ext>
                  </a:extLst>
                </p:cNvPr>
                <p:cNvSpPr/>
                <p:nvPr/>
              </p:nvSpPr>
              <p:spPr>
                <a:xfrm>
                  <a:off x="10019402" y="5110719"/>
                  <a:ext cx="71386" cy="42538"/>
                </a:xfrm>
                <a:custGeom>
                  <a:avLst/>
                  <a:gdLst>
                    <a:gd name="connsiteX0" fmla="*/ 68204 w 71386"/>
                    <a:gd name="connsiteY0" fmla="*/ 13894 h 42538"/>
                    <a:gd name="connsiteX1" fmla="*/ 31829 w 71386"/>
                    <a:gd name="connsiteY1" fmla="*/ 42539 h 42538"/>
                    <a:gd name="connsiteX2" fmla="*/ 0 w 71386"/>
                    <a:gd name="connsiteY2" fmla="*/ 17531 h 42538"/>
                    <a:gd name="connsiteX3" fmla="*/ 29555 w 71386"/>
                    <a:gd name="connsiteY3" fmla="*/ 253 h 42538"/>
                    <a:gd name="connsiteX4" fmla="*/ 29555 w 71386"/>
                    <a:gd name="connsiteY4" fmla="*/ 253 h 42538"/>
                    <a:gd name="connsiteX5" fmla="*/ 29555 w 71386"/>
                    <a:gd name="connsiteY5" fmla="*/ 253 h 42538"/>
                    <a:gd name="connsiteX6" fmla="*/ 29555 w 71386"/>
                    <a:gd name="connsiteY6" fmla="*/ 253 h 42538"/>
                    <a:gd name="connsiteX7" fmla="*/ 29555 w 71386"/>
                    <a:gd name="connsiteY7" fmla="*/ 253 h 42538"/>
                    <a:gd name="connsiteX8" fmla="*/ 29555 w 71386"/>
                    <a:gd name="connsiteY8" fmla="*/ 253 h 42538"/>
                    <a:gd name="connsiteX9" fmla="*/ 29555 w 71386"/>
                    <a:gd name="connsiteY9" fmla="*/ 253 h 42538"/>
                    <a:gd name="connsiteX10" fmla="*/ 29555 w 71386"/>
                    <a:gd name="connsiteY10" fmla="*/ 253 h 42538"/>
                    <a:gd name="connsiteX11" fmla="*/ 29555 w 71386"/>
                    <a:gd name="connsiteY11" fmla="*/ 253 h 42538"/>
                    <a:gd name="connsiteX12" fmla="*/ 42741 w 71386"/>
                    <a:gd name="connsiteY12" fmla="*/ 1617 h 42538"/>
                    <a:gd name="connsiteX13" fmla="*/ 71387 w 71386"/>
                    <a:gd name="connsiteY13" fmla="*/ 10711 h 42538"/>
                    <a:gd name="connsiteX14" fmla="*/ 68204 w 71386"/>
                    <a:gd name="connsiteY14" fmla="*/ 13894 h 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386" h="42538">
                      <a:moveTo>
                        <a:pt x="68204" y="13894"/>
                      </a:moveTo>
                      <a:cubicBezTo>
                        <a:pt x="33193" y="42539"/>
                        <a:pt x="33193" y="42539"/>
                        <a:pt x="31829" y="42539"/>
                      </a:cubicBezTo>
                      <a:cubicBezTo>
                        <a:pt x="27736" y="42539"/>
                        <a:pt x="27736" y="42539"/>
                        <a:pt x="0" y="17531"/>
                      </a:cubicBezTo>
                      <a:cubicBezTo>
                        <a:pt x="25463" y="1162"/>
                        <a:pt x="25463" y="1162"/>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33193" y="-202"/>
                        <a:pt x="35921" y="-202"/>
                        <a:pt x="42741" y="1617"/>
                      </a:cubicBezTo>
                      <a:cubicBezTo>
                        <a:pt x="52290" y="3890"/>
                        <a:pt x="61838" y="7982"/>
                        <a:pt x="71387" y="10711"/>
                      </a:cubicBezTo>
                      <a:cubicBezTo>
                        <a:pt x="70478" y="12075"/>
                        <a:pt x="69113" y="12984"/>
                        <a:pt x="68204" y="13894"/>
                      </a:cubicBezTo>
                    </a:path>
                  </a:pathLst>
                </a:custGeom>
                <a:grpFill/>
                <a:ln w="4545" cap="flat">
                  <a:noFill/>
                  <a:prstDash val="solid"/>
                  <a:miter/>
                </a:ln>
              </p:spPr>
              <p:txBody>
                <a:bodyPr rtlCol="0" anchor="ctr"/>
                <a:lstStyle/>
                <a:p>
                  <a:endParaRPr lang="en-US" sz="1765"/>
                </a:p>
              </p:txBody>
            </p:sp>
            <p:sp>
              <p:nvSpPr>
                <p:cNvPr id="59" name="Graphic 5">
                  <a:extLst>
                    <a:ext uri="{FF2B5EF4-FFF2-40B4-BE49-F238E27FC236}">
                      <a16:creationId xmlns:a16="http://schemas.microsoft.com/office/drawing/2014/main" id="{E85E12EC-BBE8-45AF-A411-84DFE896EBEF}"/>
                    </a:ext>
                  </a:extLst>
                </p:cNvPr>
                <p:cNvSpPr/>
                <p:nvPr/>
              </p:nvSpPr>
              <p:spPr>
                <a:xfrm>
                  <a:off x="9924781" y="5636144"/>
                  <a:ext cx="55972" cy="38649"/>
                </a:xfrm>
                <a:custGeom>
                  <a:avLst/>
                  <a:gdLst>
                    <a:gd name="connsiteX0" fmla="*/ 52334 w 55972"/>
                    <a:gd name="connsiteY0" fmla="*/ 17733 h 38649"/>
                    <a:gd name="connsiteX1" fmla="*/ 13685 w 55972"/>
                    <a:gd name="connsiteY1" fmla="*/ 38649 h 38649"/>
                    <a:gd name="connsiteX2" fmla="*/ 13685 w 55972"/>
                    <a:gd name="connsiteY2" fmla="*/ 38649 h 38649"/>
                    <a:gd name="connsiteX3" fmla="*/ 13685 w 55972"/>
                    <a:gd name="connsiteY3" fmla="*/ 38649 h 38649"/>
                    <a:gd name="connsiteX4" fmla="*/ 13685 w 55972"/>
                    <a:gd name="connsiteY4" fmla="*/ 38649 h 38649"/>
                    <a:gd name="connsiteX5" fmla="*/ 13685 w 55972"/>
                    <a:gd name="connsiteY5" fmla="*/ 38649 h 38649"/>
                    <a:gd name="connsiteX6" fmla="*/ 13685 w 55972"/>
                    <a:gd name="connsiteY6" fmla="*/ 38649 h 38649"/>
                    <a:gd name="connsiteX7" fmla="*/ 13685 w 55972"/>
                    <a:gd name="connsiteY7" fmla="*/ 38649 h 38649"/>
                    <a:gd name="connsiteX8" fmla="*/ 13685 w 55972"/>
                    <a:gd name="connsiteY8" fmla="*/ 38649 h 38649"/>
                    <a:gd name="connsiteX9" fmla="*/ 13685 w 55972"/>
                    <a:gd name="connsiteY9" fmla="*/ 38649 h 38649"/>
                    <a:gd name="connsiteX10" fmla="*/ 499 w 55972"/>
                    <a:gd name="connsiteY10" fmla="*/ 27282 h 38649"/>
                    <a:gd name="connsiteX11" fmla="*/ 6410 w 55972"/>
                    <a:gd name="connsiteY11" fmla="*/ 15914 h 38649"/>
                    <a:gd name="connsiteX12" fmla="*/ 32328 w 55972"/>
                    <a:gd name="connsiteY12" fmla="*/ 0 h 38649"/>
                    <a:gd name="connsiteX13" fmla="*/ 38694 w 55972"/>
                    <a:gd name="connsiteY13" fmla="*/ 1819 h 38649"/>
                    <a:gd name="connsiteX14" fmla="*/ 55972 w 55972"/>
                    <a:gd name="connsiteY14" fmla="*/ 15914 h 38649"/>
                    <a:gd name="connsiteX15" fmla="*/ 52334 w 55972"/>
                    <a:gd name="connsiteY15" fmla="*/ 17733 h 38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972" h="38649">
                      <a:moveTo>
                        <a:pt x="52334" y="17733"/>
                      </a:moveTo>
                      <a:cubicBezTo>
                        <a:pt x="19142" y="37285"/>
                        <a:pt x="19142" y="37285"/>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6410" y="38649"/>
                        <a:pt x="1409" y="30010"/>
                        <a:pt x="499" y="27282"/>
                      </a:cubicBezTo>
                      <a:cubicBezTo>
                        <a:pt x="-410" y="24554"/>
                        <a:pt x="-865" y="23189"/>
                        <a:pt x="6410" y="15914"/>
                      </a:cubicBezTo>
                      <a:cubicBezTo>
                        <a:pt x="15959" y="6366"/>
                        <a:pt x="27326" y="455"/>
                        <a:pt x="32328" y="0"/>
                      </a:cubicBezTo>
                      <a:cubicBezTo>
                        <a:pt x="33237" y="0"/>
                        <a:pt x="35965" y="0"/>
                        <a:pt x="38694" y="1819"/>
                      </a:cubicBezTo>
                      <a:cubicBezTo>
                        <a:pt x="45059" y="5911"/>
                        <a:pt x="50061" y="11367"/>
                        <a:pt x="55972" y="15914"/>
                      </a:cubicBezTo>
                      <a:cubicBezTo>
                        <a:pt x="55063" y="16369"/>
                        <a:pt x="53699" y="17278"/>
                        <a:pt x="52334" y="17733"/>
                      </a:cubicBezTo>
                    </a:path>
                  </a:pathLst>
                </a:custGeom>
                <a:grpFill/>
                <a:ln w="4545" cap="flat">
                  <a:noFill/>
                  <a:prstDash val="solid"/>
                  <a:miter/>
                </a:ln>
              </p:spPr>
              <p:txBody>
                <a:bodyPr rtlCol="0" anchor="ctr"/>
                <a:lstStyle/>
                <a:p>
                  <a:endParaRPr lang="en-US" sz="1765"/>
                </a:p>
              </p:txBody>
            </p:sp>
            <p:sp>
              <p:nvSpPr>
                <p:cNvPr id="60" name="Graphic 5">
                  <a:extLst>
                    <a:ext uri="{FF2B5EF4-FFF2-40B4-BE49-F238E27FC236}">
                      <a16:creationId xmlns:a16="http://schemas.microsoft.com/office/drawing/2014/main" id="{5F79085A-9222-4029-BE28-8293EA3581DA}"/>
                    </a:ext>
                  </a:extLst>
                </p:cNvPr>
                <p:cNvSpPr/>
                <p:nvPr/>
              </p:nvSpPr>
              <p:spPr>
                <a:xfrm>
                  <a:off x="11596143" y="2792032"/>
                  <a:ext cx="17164" cy="48090"/>
                </a:xfrm>
                <a:custGeom>
                  <a:avLst/>
                  <a:gdLst>
                    <a:gd name="connsiteX0" fmla="*/ 16963 w 17164"/>
                    <a:gd name="connsiteY0" fmla="*/ 14550 h 48090"/>
                    <a:gd name="connsiteX1" fmla="*/ 9688 w 17164"/>
                    <a:gd name="connsiteY1" fmla="*/ 45470 h 48090"/>
                    <a:gd name="connsiteX2" fmla="*/ 594 w 17164"/>
                    <a:gd name="connsiteY2" fmla="*/ 34102 h 48090"/>
                    <a:gd name="connsiteX3" fmla="*/ 1503 w 17164"/>
                    <a:gd name="connsiteY3" fmla="*/ 455 h 48090"/>
                    <a:gd name="connsiteX4" fmla="*/ 4231 w 17164"/>
                    <a:gd name="connsiteY4" fmla="*/ 909 h 48090"/>
                    <a:gd name="connsiteX5" fmla="*/ 16963 w 17164"/>
                    <a:gd name="connsiteY5" fmla="*/ 10913 h 48090"/>
                    <a:gd name="connsiteX6" fmla="*/ 16963 w 17164"/>
                    <a:gd name="connsiteY6" fmla="*/ 14550 h 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64" h="48090">
                      <a:moveTo>
                        <a:pt x="16963" y="14550"/>
                      </a:moveTo>
                      <a:cubicBezTo>
                        <a:pt x="14689" y="50926"/>
                        <a:pt x="14689" y="50926"/>
                        <a:pt x="9688" y="45470"/>
                      </a:cubicBezTo>
                      <a:cubicBezTo>
                        <a:pt x="8778" y="44560"/>
                        <a:pt x="594" y="34102"/>
                        <a:pt x="594" y="34102"/>
                      </a:cubicBezTo>
                      <a:cubicBezTo>
                        <a:pt x="594" y="33647"/>
                        <a:pt x="-1225" y="4092"/>
                        <a:pt x="1503" y="455"/>
                      </a:cubicBezTo>
                      <a:cubicBezTo>
                        <a:pt x="1958" y="0"/>
                        <a:pt x="2412" y="-455"/>
                        <a:pt x="4231" y="909"/>
                      </a:cubicBezTo>
                      <a:cubicBezTo>
                        <a:pt x="8778" y="4092"/>
                        <a:pt x="12416" y="7730"/>
                        <a:pt x="16963" y="10913"/>
                      </a:cubicBezTo>
                      <a:cubicBezTo>
                        <a:pt x="17417" y="12277"/>
                        <a:pt x="16963" y="13641"/>
                        <a:pt x="16963" y="14550"/>
                      </a:cubicBezTo>
                    </a:path>
                  </a:pathLst>
                </a:custGeom>
                <a:grpFill/>
                <a:ln w="4545" cap="flat">
                  <a:noFill/>
                  <a:prstDash val="solid"/>
                  <a:miter/>
                </a:ln>
              </p:spPr>
              <p:txBody>
                <a:bodyPr rtlCol="0" anchor="ctr"/>
                <a:lstStyle/>
                <a:p>
                  <a:endParaRPr lang="en-US" sz="1765"/>
                </a:p>
              </p:txBody>
            </p:sp>
            <p:sp>
              <p:nvSpPr>
                <p:cNvPr id="61" name="Graphic 5">
                  <a:extLst>
                    <a:ext uri="{FF2B5EF4-FFF2-40B4-BE49-F238E27FC236}">
                      <a16:creationId xmlns:a16="http://schemas.microsoft.com/office/drawing/2014/main" id="{98C578BE-CB1C-42B3-8AC7-4E8FFF6FC62C}"/>
                    </a:ext>
                  </a:extLst>
                </p:cNvPr>
                <p:cNvSpPr/>
                <p:nvPr/>
              </p:nvSpPr>
              <p:spPr>
                <a:xfrm>
                  <a:off x="10681891" y="4410743"/>
                  <a:ext cx="31218" cy="68658"/>
                </a:xfrm>
                <a:custGeom>
                  <a:avLst/>
                  <a:gdLst>
                    <a:gd name="connsiteX0" fmla="*/ 30919 w 31218"/>
                    <a:gd name="connsiteY0" fmla="*/ 27736 h 68658"/>
                    <a:gd name="connsiteX1" fmla="*/ 10458 w 31218"/>
                    <a:gd name="connsiteY1" fmla="*/ 68204 h 68658"/>
                    <a:gd name="connsiteX2" fmla="*/ 0 w 31218"/>
                    <a:gd name="connsiteY2" fmla="*/ 68659 h 68658"/>
                    <a:gd name="connsiteX3" fmla="*/ 1364 w 31218"/>
                    <a:gd name="connsiteY3" fmla="*/ 39104 h 68658"/>
                    <a:gd name="connsiteX4" fmla="*/ 4547 w 31218"/>
                    <a:gd name="connsiteY4" fmla="*/ 24099 h 68658"/>
                    <a:gd name="connsiteX5" fmla="*/ 10004 w 31218"/>
                    <a:gd name="connsiteY5" fmla="*/ 15914 h 68658"/>
                    <a:gd name="connsiteX6" fmla="*/ 25008 w 31218"/>
                    <a:gd name="connsiteY6" fmla="*/ 0 h 68658"/>
                    <a:gd name="connsiteX7" fmla="*/ 30465 w 31218"/>
                    <a:gd name="connsiteY7" fmla="*/ 18642 h 68658"/>
                    <a:gd name="connsiteX8" fmla="*/ 30919 w 31218"/>
                    <a:gd name="connsiteY8" fmla="*/ 27736 h 68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8" h="68658">
                      <a:moveTo>
                        <a:pt x="30919" y="27736"/>
                      </a:moveTo>
                      <a:cubicBezTo>
                        <a:pt x="30010" y="33647"/>
                        <a:pt x="30010" y="33647"/>
                        <a:pt x="10458" y="68204"/>
                      </a:cubicBezTo>
                      <a:cubicBezTo>
                        <a:pt x="6820" y="68204"/>
                        <a:pt x="3638" y="68204"/>
                        <a:pt x="0" y="68659"/>
                      </a:cubicBezTo>
                      <a:cubicBezTo>
                        <a:pt x="455" y="58655"/>
                        <a:pt x="455" y="48652"/>
                        <a:pt x="1364" y="39104"/>
                      </a:cubicBezTo>
                      <a:cubicBezTo>
                        <a:pt x="1819" y="33647"/>
                        <a:pt x="3183" y="28646"/>
                        <a:pt x="4547" y="24099"/>
                      </a:cubicBezTo>
                      <a:cubicBezTo>
                        <a:pt x="4547" y="24099"/>
                        <a:pt x="5911" y="20461"/>
                        <a:pt x="10004" y="15914"/>
                      </a:cubicBezTo>
                      <a:cubicBezTo>
                        <a:pt x="14551" y="10458"/>
                        <a:pt x="20461" y="5456"/>
                        <a:pt x="25008" y="0"/>
                      </a:cubicBezTo>
                      <a:cubicBezTo>
                        <a:pt x="26372" y="6366"/>
                        <a:pt x="29101" y="12277"/>
                        <a:pt x="30465" y="18642"/>
                      </a:cubicBezTo>
                      <a:cubicBezTo>
                        <a:pt x="31374" y="22735"/>
                        <a:pt x="31374" y="25463"/>
                        <a:pt x="30919" y="27736"/>
                      </a:cubicBezTo>
                    </a:path>
                  </a:pathLst>
                </a:custGeom>
                <a:grpFill/>
                <a:ln w="4545" cap="flat">
                  <a:noFill/>
                  <a:prstDash val="solid"/>
                  <a:miter/>
                </a:ln>
              </p:spPr>
              <p:txBody>
                <a:bodyPr rtlCol="0" anchor="ctr"/>
                <a:lstStyle/>
                <a:p>
                  <a:endParaRPr lang="en-US" sz="1765"/>
                </a:p>
              </p:txBody>
            </p:sp>
            <p:sp>
              <p:nvSpPr>
                <p:cNvPr id="62" name="Graphic 5">
                  <a:extLst>
                    <a:ext uri="{FF2B5EF4-FFF2-40B4-BE49-F238E27FC236}">
                      <a16:creationId xmlns:a16="http://schemas.microsoft.com/office/drawing/2014/main" id="{90A0803D-A808-4659-8B55-6C69AABE1A8E}"/>
                    </a:ext>
                  </a:extLst>
                </p:cNvPr>
                <p:cNvSpPr/>
                <p:nvPr/>
              </p:nvSpPr>
              <p:spPr>
                <a:xfrm>
                  <a:off x="11300174" y="4669919"/>
                  <a:ext cx="20395" cy="52554"/>
                </a:xfrm>
                <a:custGeom>
                  <a:avLst/>
                  <a:gdLst>
                    <a:gd name="connsiteX0" fmla="*/ 19654 w 20395"/>
                    <a:gd name="connsiteY0" fmla="*/ 39104 h 52554"/>
                    <a:gd name="connsiteX1" fmla="*/ 17835 w 20395"/>
                    <a:gd name="connsiteY1" fmla="*/ 41832 h 52554"/>
                    <a:gd name="connsiteX2" fmla="*/ 13742 w 20395"/>
                    <a:gd name="connsiteY2" fmla="*/ 48652 h 52554"/>
                    <a:gd name="connsiteX3" fmla="*/ 102 w 20395"/>
                    <a:gd name="connsiteY3" fmla="*/ 51835 h 52554"/>
                    <a:gd name="connsiteX4" fmla="*/ 6013 w 20395"/>
                    <a:gd name="connsiteY4" fmla="*/ 9094 h 52554"/>
                    <a:gd name="connsiteX5" fmla="*/ 10560 w 20395"/>
                    <a:gd name="connsiteY5" fmla="*/ 4547 h 52554"/>
                    <a:gd name="connsiteX6" fmla="*/ 15107 w 20395"/>
                    <a:gd name="connsiteY6" fmla="*/ 0 h 52554"/>
                    <a:gd name="connsiteX7" fmla="*/ 19654 w 20395"/>
                    <a:gd name="connsiteY7" fmla="*/ 39104 h 5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95" h="52554">
                      <a:moveTo>
                        <a:pt x="19654" y="39104"/>
                      </a:moveTo>
                      <a:cubicBezTo>
                        <a:pt x="19199" y="40013"/>
                        <a:pt x="18744" y="40922"/>
                        <a:pt x="17835" y="41832"/>
                      </a:cubicBezTo>
                      <a:cubicBezTo>
                        <a:pt x="16470" y="44105"/>
                        <a:pt x="16470" y="47288"/>
                        <a:pt x="13742" y="48652"/>
                      </a:cubicBezTo>
                      <a:cubicBezTo>
                        <a:pt x="13742" y="48652"/>
                        <a:pt x="1011" y="54563"/>
                        <a:pt x="102" y="51835"/>
                      </a:cubicBezTo>
                      <a:cubicBezTo>
                        <a:pt x="-808" y="49107"/>
                        <a:pt x="4649" y="13641"/>
                        <a:pt x="6013" y="9094"/>
                      </a:cubicBezTo>
                      <a:cubicBezTo>
                        <a:pt x="6922" y="6820"/>
                        <a:pt x="9195" y="5911"/>
                        <a:pt x="10560" y="4547"/>
                      </a:cubicBezTo>
                      <a:cubicBezTo>
                        <a:pt x="11014" y="4092"/>
                        <a:pt x="14197" y="909"/>
                        <a:pt x="15107" y="0"/>
                      </a:cubicBezTo>
                      <a:cubicBezTo>
                        <a:pt x="21017" y="37285"/>
                        <a:pt x="21017" y="37285"/>
                        <a:pt x="19654" y="39104"/>
                      </a:cubicBezTo>
                    </a:path>
                  </a:pathLst>
                </a:custGeom>
                <a:grpFill/>
                <a:ln w="4545" cap="flat">
                  <a:noFill/>
                  <a:prstDash val="solid"/>
                  <a:miter/>
                </a:ln>
              </p:spPr>
              <p:txBody>
                <a:bodyPr rtlCol="0" anchor="ctr"/>
                <a:lstStyle/>
                <a:p>
                  <a:endParaRPr lang="en-US" sz="1765"/>
                </a:p>
              </p:txBody>
            </p:sp>
            <p:sp>
              <p:nvSpPr>
                <p:cNvPr id="63" name="Graphic 5">
                  <a:extLst>
                    <a:ext uri="{FF2B5EF4-FFF2-40B4-BE49-F238E27FC236}">
                      <a16:creationId xmlns:a16="http://schemas.microsoft.com/office/drawing/2014/main" id="{851BC390-CF18-40BA-8947-15AB67E77779}"/>
                    </a:ext>
                  </a:extLst>
                </p:cNvPr>
                <p:cNvSpPr/>
                <p:nvPr/>
              </p:nvSpPr>
              <p:spPr>
                <a:xfrm>
                  <a:off x="6083453" y="3923766"/>
                  <a:ext cx="15120" cy="75024"/>
                </a:xfrm>
                <a:custGeom>
                  <a:avLst/>
                  <a:gdLst>
                    <a:gd name="connsiteX0" fmla="*/ 15121 w 15120"/>
                    <a:gd name="connsiteY0" fmla="*/ 2273 h 75024"/>
                    <a:gd name="connsiteX1" fmla="*/ 15121 w 15120"/>
                    <a:gd name="connsiteY1" fmla="*/ 4547 h 75024"/>
                    <a:gd name="connsiteX2" fmla="*/ 15121 w 15120"/>
                    <a:gd name="connsiteY2" fmla="*/ 6820 h 75024"/>
                    <a:gd name="connsiteX3" fmla="*/ 15121 w 15120"/>
                    <a:gd name="connsiteY3" fmla="*/ 9094 h 75024"/>
                    <a:gd name="connsiteX4" fmla="*/ 15121 w 15120"/>
                    <a:gd name="connsiteY4" fmla="*/ 11367 h 75024"/>
                    <a:gd name="connsiteX5" fmla="*/ 15121 w 15120"/>
                    <a:gd name="connsiteY5" fmla="*/ 13641 h 75024"/>
                    <a:gd name="connsiteX6" fmla="*/ 15121 w 15120"/>
                    <a:gd name="connsiteY6" fmla="*/ 15914 h 75024"/>
                    <a:gd name="connsiteX7" fmla="*/ 15121 w 15120"/>
                    <a:gd name="connsiteY7" fmla="*/ 18188 h 75024"/>
                    <a:gd name="connsiteX8" fmla="*/ 15121 w 15120"/>
                    <a:gd name="connsiteY8" fmla="*/ 20461 h 75024"/>
                    <a:gd name="connsiteX9" fmla="*/ 15121 w 15120"/>
                    <a:gd name="connsiteY9" fmla="*/ 22735 h 75024"/>
                    <a:gd name="connsiteX10" fmla="*/ 15121 w 15120"/>
                    <a:gd name="connsiteY10" fmla="*/ 25008 h 75024"/>
                    <a:gd name="connsiteX11" fmla="*/ 15121 w 15120"/>
                    <a:gd name="connsiteY11" fmla="*/ 27282 h 75024"/>
                    <a:gd name="connsiteX12" fmla="*/ 15121 w 15120"/>
                    <a:gd name="connsiteY12" fmla="*/ 29555 h 75024"/>
                    <a:gd name="connsiteX13" fmla="*/ 15121 w 15120"/>
                    <a:gd name="connsiteY13" fmla="*/ 31829 h 75024"/>
                    <a:gd name="connsiteX14" fmla="*/ 15121 w 15120"/>
                    <a:gd name="connsiteY14" fmla="*/ 34102 h 75024"/>
                    <a:gd name="connsiteX15" fmla="*/ 15121 w 15120"/>
                    <a:gd name="connsiteY15" fmla="*/ 36376 h 75024"/>
                    <a:gd name="connsiteX16" fmla="*/ 15121 w 15120"/>
                    <a:gd name="connsiteY16" fmla="*/ 38649 h 75024"/>
                    <a:gd name="connsiteX17" fmla="*/ 15121 w 15120"/>
                    <a:gd name="connsiteY17" fmla="*/ 40922 h 75024"/>
                    <a:gd name="connsiteX18" fmla="*/ 15121 w 15120"/>
                    <a:gd name="connsiteY18" fmla="*/ 43196 h 75024"/>
                    <a:gd name="connsiteX19" fmla="*/ 15121 w 15120"/>
                    <a:gd name="connsiteY19" fmla="*/ 45469 h 75024"/>
                    <a:gd name="connsiteX20" fmla="*/ 15121 w 15120"/>
                    <a:gd name="connsiteY20" fmla="*/ 47743 h 75024"/>
                    <a:gd name="connsiteX21" fmla="*/ 15121 w 15120"/>
                    <a:gd name="connsiteY21" fmla="*/ 50016 h 75024"/>
                    <a:gd name="connsiteX22" fmla="*/ 15121 w 15120"/>
                    <a:gd name="connsiteY22" fmla="*/ 52290 h 75024"/>
                    <a:gd name="connsiteX23" fmla="*/ 15121 w 15120"/>
                    <a:gd name="connsiteY23" fmla="*/ 54563 h 75024"/>
                    <a:gd name="connsiteX24" fmla="*/ 15121 w 15120"/>
                    <a:gd name="connsiteY24" fmla="*/ 56837 h 75024"/>
                    <a:gd name="connsiteX25" fmla="*/ 15121 w 15120"/>
                    <a:gd name="connsiteY25" fmla="*/ 59110 h 75024"/>
                    <a:gd name="connsiteX26" fmla="*/ 15121 w 15120"/>
                    <a:gd name="connsiteY26" fmla="*/ 61384 h 75024"/>
                    <a:gd name="connsiteX27" fmla="*/ 15121 w 15120"/>
                    <a:gd name="connsiteY27" fmla="*/ 64112 h 75024"/>
                    <a:gd name="connsiteX28" fmla="*/ 15121 w 15120"/>
                    <a:gd name="connsiteY28" fmla="*/ 66840 h 75024"/>
                    <a:gd name="connsiteX29" fmla="*/ 15121 w 15120"/>
                    <a:gd name="connsiteY29" fmla="*/ 69568 h 75024"/>
                    <a:gd name="connsiteX30" fmla="*/ 15121 w 15120"/>
                    <a:gd name="connsiteY30" fmla="*/ 72296 h 75024"/>
                    <a:gd name="connsiteX31" fmla="*/ 15121 w 15120"/>
                    <a:gd name="connsiteY31" fmla="*/ 75025 h 75024"/>
                    <a:gd name="connsiteX32" fmla="*/ 12847 w 15120"/>
                    <a:gd name="connsiteY32" fmla="*/ 0 h 75024"/>
                    <a:gd name="connsiteX33" fmla="*/ 15121 w 15120"/>
                    <a:gd name="connsiteY33" fmla="*/ 2273 h 7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120" h="75024">
                      <a:moveTo>
                        <a:pt x="15121" y="2273"/>
                      </a:moveTo>
                      <a:cubicBezTo>
                        <a:pt x="15121" y="3183"/>
                        <a:pt x="15121" y="3637"/>
                        <a:pt x="15121" y="4547"/>
                      </a:cubicBezTo>
                      <a:cubicBezTo>
                        <a:pt x="15121" y="5456"/>
                        <a:pt x="15121" y="5911"/>
                        <a:pt x="15121" y="6820"/>
                      </a:cubicBezTo>
                      <a:cubicBezTo>
                        <a:pt x="15121" y="7730"/>
                        <a:pt x="15121" y="8184"/>
                        <a:pt x="15121" y="9094"/>
                      </a:cubicBezTo>
                      <a:cubicBezTo>
                        <a:pt x="15121" y="10003"/>
                        <a:pt x="15121" y="10458"/>
                        <a:pt x="15121" y="11367"/>
                      </a:cubicBezTo>
                      <a:cubicBezTo>
                        <a:pt x="15121" y="12277"/>
                        <a:pt x="15121" y="12731"/>
                        <a:pt x="15121" y="13641"/>
                      </a:cubicBezTo>
                      <a:cubicBezTo>
                        <a:pt x="15121" y="14550"/>
                        <a:pt x="15121" y="15005"/>
                        <a:pt x="15121" y="15914"/>
                      </a:cubicBezTo>
                      <a:cubicBezTo>
                        <a:pt x="15121" y="16824"/>
                        <a:pt x="15121" y="17278"/>
                        <a:pt x="15121" y="18188"/>
                      </a:cubicBezTo>
                      <a:cubicBezTo>
                        <a:pt x="15121" y="19097"/>
                        <a:pt x="15121" y="19552"/>
                        <a:pt x="15121" y="20461"/>
                      </a:cubicBezTo>
                      <a:cubicBezTo>
                        <a:pt x="15121" y="21371"/>
                        <a:pt x="15121" y="21825"/>
                        <a:pt x="15121" y="22735"/>
                      </a:cubicBezTo>
                      <a:cubicBezTo>
                        <a:pt x="15121" y="23644"/>
                        <a:pt x="15121" y="24099"/>
                        <a:pt x="15121" y="25008"/>
                      </a:cubicBezTo>
                      <a:cubicBezTo>
                        <a:pt x="15121" y="25918"/>
                        <a:pt x="15121" y="26372"/>
                        <a:pt x="15121" y="27282"/>
                      </a:cubicBezTo>
                      <a:cubicBezTo>
                        <a:pt x="15121" y="28191"/>
                        <a:pt x="15121" y="28646"/>
                        <a:pt x="15121" y="29555"/>
                      </a:cubicBezTo>
                      <a:cubicBezTo>
                        <a:pt x="15121" y="30465"/>
                        <a:pt x="15121" y="30919"/>
                        <a:pt x="15121" y="31829"/>
                      </a:cubicBezTo>
                      <a:cubicBezTo>
                        <a:pt x="15121" y="32738"/>
                        <a:pt x="15121" y="33193"/>
                        <a:pt x="15121" y="34102"/>
                      </a:cubicBezTo>
                      <a:cubicBezTo>
                        <a:pt x="15121" y="35012"/>
                        <a:pt x="15121" y="35466"/>
                        <a:pt x="15121" y="36376"/>
                      </a:cubicBezTo>
                      <a:cubicBezTo>
                        <a:pt x="15121" y="37285"/>
                        <a:pt x="15121" y="37740"/>
                        <a:pt x="15121" y="38649"/>
                      </a:cubicBezTo>
                      <a:cubicBezTo>
                        <a:pt x="15121" y="39558"/>
                        <a:pt x="15121" y="40013"/>
                        <a:pt x="15121" y="40922"/>
                      </a:cubicBezTo>
                      <a:cubicBezTo>
                        <a:pt x="15121" y="41832"/>
                        <a:pt x="15121" y="42287"/>
                        <a:pt x="15121" y="43196"/>
                      </a:cubicBezTo>
                      <a:cubicBezTo>
                        <a:pt x="15121" y="44105"/>
                        <a:pt x="15121" y="44560"/>
                        <a:pt x="15121" y="45469"/>
                      </a:cubicBezTo>
                      <a:cubicBezTo>
                        <a:pt x="15121" y="46379"/>
                        <a:pt x="15121" y="46833"/>
                        <a:pt x="15121" y="47743"/>
                      </a:cubicBezTo>
                      <a:cubicBezTo>
                        <a:pt x="15121" y="48652"/>
                        <a:pt x="15121" y="49107"/>
                        <a:pt x="15121" y="50016"/>
                      </a:cubicBezTo>
                      <a:cubicBezTo>
                        <a:pt x="15121" y="50926"/>
                        <a:pt x="15121" y="51380"/>
                        <a:pt x="15121" y="52290"/>
                      </a:cubicBezTo>
                      <a:cubicBezTo>
                        <a:pt x="15121" y="53199"/>
                        <a:pt x="15121" y="53654"/>
                        <a:pt x="15121" y="54563"/>
                      </a:cubicBezTo>
                      <a:cubicBezTo>
                        <a:pt x="15121" y="55473"/>
                        <a:pt x="15121" y="56382"/>
                        <a:pt x="15121" y="56837"/>
                      </a:cubicBezTo>
                      <a:cubicBezTo>
                        <a:pt x="15121" y="57746"/>
                        <a:pt x="15121" y="58656"/>
                        <a:pt x="15121" y="59110"/>
                      </a:cubicBezTo>
                      <a:cubicBezTo>
                        <a:pt x="15121" y="60020"/>
                        <a:pt x="15121" y="60929"/>
                        <a:pt x="15121" y="61384"/>
                      </a:cubicBezTo>
                      <a:cubicBezTo>
                        <a:pt x="15121" y="62293"/>
                        <a:pt x="15121" y="63203"/>
                        <a:pt x="15121" y="64112"/>
                      </a:cubicBezTo>
                      <a:cubicBezTo>
                        <a:pt x="15121" y="65021"/>
                        <a:pt x="15121" y="65931"/>
                        <a:pt x="15121" y="66840"/>
                      </a:cubicBezTo>
                      <a:cubicBezTo>
                        <a:pt x="15121" y="67750"/>
                        <a:pt x="15121" y="68659"/>
                        <a:pt x="15121" y="69568"/>
                      </a:cubicBezTo>
                      <a:cubicBezTo>
                        <a:pt x="15121" y="70478"/>
                        <a:pt x="15121" y="71387"/>
                        <a:pt x="15121" y="72296"/>
                      </a:cubicBezTo>
                      <a:cubicBezTo>
                        <a:pt x="15121" y="73206"/>
                        <a:pt x="15121" y="74115"/>
                        <a:pt x="15121" y="75025"/>
                      </a:cubicBezTo>
                      <a:cubicBezTo>
                        <a:pt x="-5341" y="28191"/>
                        <a:pt x="-3976" y="21825"/>
                        <a:pt x="12847" y="0"/>
                      </a:cubicBezTo>
                      <a:cubicBezTo>
                        <a:pt x="15121" y="455"/>
                        <a:pt x="15121" y="1364"/>
                        <a:pt x="15121" y="2273"/>
                      </a:cubicBezTo>
                    </a:path>
                  </a:pathLst>
                </a:custGeom>
                <a:grpFill/>
                <a:ln w="4545" cap="flat">
                  <a:noFill/>
                  <a:prstDash val="solid"/>
                  <a:miter/>
                </a:ln>
              </p:spPr>
              <p:txBody>
                <a:bodyPr rtlCol="0" anchor="ctr"/>
                <a:lstStyle/>
                <a:p>
                  <a:endParaRPr lang="en-US" sz="1765"/>
                </a:p>
              </p:txBody>
            </p:sp>
            <p:sp>
              <p:nvSpPr>
                <p:cNvPr id="64" name="Graphic 5">
                  <a:extLst>
                    <a:ext uri="{FF2B5EF4-FFF2-40B4-BE49-F238E27FC236}">
                      <a16:creationId xmlns:a16="http://schemas.microsoft.com/office/drawing/2014/main" id="{6885A387-55F8-4F3E-9DB6-FC8E0D9F1D7C}"/>
                    </a:ext>
                  </a:extLst>
                </p:cNvPr>
                <p:cNvSpPr/>
                <p:nvPr/>
              </p:nvSpPr>
              <p:spPr>
                <a:xfrm>
                  <a:off x="8209544" y="3223537"/>
                  <a:ext cx="79059" cy="203652"/>
                </a:xfrm>
                <a:custGeom>
                  <a:avLst/>
                  <a:gdLst>
                    <a:gd name="connsiteX0" fmla="*/ 78382 w 79059"/>
                    <a:gd name="connsiteY0" fmla="*/ 171420 h 203652"/>
                    <a:gd name="connsiteX1" fmla="*/ 1994 w 79059"/>
                    <a:gd name="connsiteY1" fmla="*/ 190972 h 203652"/>
                    <a:gd name="connsiteX2" fmla="*/ 1084 w 79059"/>
                    <a:gd name="connsiteY2" fmla="*/ 170056 h 203652"/>
                    <a:gd name="connsiteX3" fmla="*/ 27912 w 79059"/>
                    <a:gd name="connsiteY3" fmla="*/ 70478 h 203652"/>
                    <a:gd name="connsiteX4" fmla="*/ 32004 w 79059"/>
                    <a:gd name="connsiteY4" fmla="*/ 12277 h 203652"/>
                    <a:gd name="connsiteX5" fmla="*/ 53829 w 79059"/>
                    <a:gd name="connsiteY5" fmla="*/ 0 h 203652"/>
                    <a:gd name="connsiteX6" fmla="*/ 74290 w 79059"/>
                    <a:gd name="connsiteY6" fmla="*/ 34102 h 203652"/>
                    <a:gd name="connsiteX7" fmla="*/ 78382 w 79059"/>
                    <a:gd name="connsiteY7" fmla="*/ 171420 h 20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59" h="203652">
                      <a:moveTo>
                        <a:pt x="78382" y="171420"/>
                      </a:moveTo>
                      <a:cubicBezTo>
                        <a:pt x="71562" y="216435"/>
                        <a:pt x="9724" y="205522"/>
                        <a:pt x="1994" y="190972"/>
                      </a:cubicBezTo>
                      <a:cubicBezTo>
                        <a:pt x="-1189" y="184606"/>
                        <a:pt x="175" y="175057"/>
                        <a:pt x="1084" y="170056"/>
                      </a:cubicBezTo>
                      <a:cubicBezTo>
                        <a:pt x="6996" y="135954"/>
                        <a:pt x="27002" y="105944"/>
                        <a:pt x="27912" y="70478"/>
                      </a:cubicBezTo>
                      <a:cubicBezTo>
                        <a:pt x="28366" y="42741"/>
                        <a:pt x="28821" y="25008"/>
                        <a:pt x="32004" y="12277"/>
                      </a:cubicBezTo>
                      <a:cubicBezTo>
                        <a:pt x="33368" y="7275"/>
                        <a:pt x="35187" y="455"/>
                        <a:pt x="53829" y="0"/>
                      </a:cubicBezTo>
                      <a:cubicBezTo>
                        <a:pt x="63378" y="909"/>
                        <a:pt x="74290" y="34102"/>
                        <a:pt x="74290" y="34102"/>
                      </a:cubicBezTo>
                      <a:cubicBezTo>
                        <a:pt x="74745" y="35012"/>
                        <a:pt x="81111" y="152777"/>
                        <a:pt x="78382" y="171420"/>
                      </a:cubicBezTo>
                    </a:path>
                  </a:pathLst>
                </a:custGeom>
                <a:grpFill/>
                <a:ln w="4545" cap="flat">
                  <a:noFill/>
                  <a:prstDash val="solid"/>
                  <a:miter/>
                </a:ln>
              </p:spPr>
              <p:txBody>
                <a:bodyPr rtlCol="0" anchor="ctr"/>
                <a:lstStyle/>
                <a:p>
                  <a:endParaRPr lang="en-US" sz="1765"/>
                </a:p>
              </p:txBody>
            </p:sp>
            <p:sp>
              <p:nvSpPr>
                <p:cNvPr id="65" name="Graphic 5">
                  <a:extLst>
                    <a:ext uri="{FF2B5EF4-FFF2-40B4-BE49-F238E27FC236}">
                      <a16:creationId xmlns:a16="http://schemas.microsoft.com/office/drawing/2014/main" id="{24636CFD-A650-455A-8F82-BF1C1C6C6B8B}"/>
                    </a:ext>
                  </a:extLst>
                </p:cNvPr>
                <p:cNvSpPr/>
                <p:nvPr/>
              </p:nvSpPr>
              <p:spPr>
                <a:xfrm>
                  <a:off x="8020057" y="3338455"/>
                  <a:ext cx="70531" cy="69232"/>
                </a:xfrm>
                <a:custGeom>
                  <a:avLst/>
                  <a:gdLst>
                    <a:gd name="connsiteX0" fmla="*/ 68713 w 70531"/>
                    <a:gd name="connsiteY0" fmla="*/ 32402 h 69232"/>
                    <a:gd name="connsiteX1" fmla="*/ 32338 w 70531"/>
                    <a:gd name="connsiteY1" fmla="*/ 69232 h 69232"/>
                    <a:gd name="connsiteX2" fmla="*/ 5965 w 70531"/>
                    <a:gd name="connsiteY2" fmla="*/ 38313 h 69232"/>
                    <a:gd name="connsiteX3" fmla="*/ 54 w 70531"/>
                    <a:gd name="connsiteY3" fmla="*/ 26036 h 69232"/>
                    <a:gd name="connsiteX4" fmla="*/ 28245 w 70531"/>
                    <a:gd name="connsiteY4" fmla="*/ 119 h 69232"/>
                    <a:gd name="connsiteX5" fmla="*/ 50525 w 70531"/>
                    <a:gd name="connsiteY5" fmla="*/ 5575 h 69232"/>
                    <a:gd name="connsiteX6" fmla="*/ 70532 w 70531"/>
                    <a:gd name="connsiteY6" fmla="*/ 30129 h 69232"/>
                    <a:gd name="connsiteX7" fmla="*/ 68713 w 70531"/>
                    <a:gd name="connsiteY7" fmla="*/ 32402 h 6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531" h="69232">
                      <a:moveTo>
                        <a:pt x="68713" y="32402"/>
                      </a:moveTo>
                      <a:cubicBezTo>
                        <a:pt x="55527" y="46043"/>
                        <a:pt x="38249" y="63776"/>
                        <a:pt x="32338" y="69232"/>
                      </a:cubicBezTo>
                      <a:cubicBezTo>
                        <a:pt x="24153" y="58320"/>
                        <a:pt x="14150" y="49226"/>
                        <a:pt x="5965" y="38313"/>
                      </a:cubicBezTo>
                      <a:cubicBezTo>
                        <a:pt x="509" y="31038"/>
                        <a:pt x="54" y="26946"/>
                        <a:pt x="54" y="26036"/>
                      </a:cubicBezTo>
                      <a:cubicBezTo>
                        <a:pt x="-400" y="17852"/>
                        <a:pt x="1418" y="-1700"/>
                        <a:pt x="28245" y="119"/>
                      </a:cubicBezTo>
                      <a:cubicBezTo>
                        <a:pt x="34611" y="574"/>
                        <a:pt x="45978" y="2392"/>
                        <a:pt x="50525" y="5575"/>
                      </a:cubicBezTo>
                      <a:cubicBezTo>
                        <a:pt x="59619" y="11941"/>
                        <a:pt x="63712" y="21944"/>
                        <a:pt x="70532" y="30129"/>
                      </a:cubicBezTo>
                      <a:cubicBezTo>
                        <a:pt x="70077" y="31038"/>
                        <a:pt x="69168" y="31947"/>
                        <a:pt x="68713" y="32402"/>
                      </a:cubicBezTo>
                    </a:path>
                  </a:pathLst>
                </a:custGeom>
                <a:grpFill/>
                <a:ln w="4545" cap="flat">
                  <a:noFill/>
                  <a:prstDash val="solid"/>
                  <a:miter/>
                </a:ln>
              </p:spPr>
              <p:txBody>
                <a:bodyPr rtlCol="0" anchor="ctr"/>
                <a:lstStyle/>
                <a:p>
                  <a:endParaRPr lang="en-US" sz="1765"/>
                </a:p>
              </p:txBody>
            </p:sp>
            <p:sp>
              <p:nvSpPr>
                <p:cNvPr id="66" name="Graphic 5">
                  <a:extLst>
                    <a:ext uri="{FF2B5EF4-FFF2-40B4-BE49-F238E27FC236}">
                      <a16:creationId xmlns:a16="http://schemas.microsoft.com/office/drawing/2014/main" id="{422CE619-463E-4E71-9CA9-D77161787828}"/>
                    </a:ext>
                  </a:extLst>
                </p:cNvPr>
                <p:cNvSpPr/>
                <p:nvPr/>
              </p:nvSpPr>
              <p:spPr>
                <a:xfrm>
                  <a:off x="6554898" y="1935364"/>
                  <a:ext cx="50190" cy="62884"/>
                </a:xfrm>
                <a:custGeom>
                  <a:avLst/>
                  <a:gdLst>
                    <a:gd name="connsiteX0" fmla="*/ 40202 w 50190"/>
                    <a:gd name="connsiteY0" fmla="*/ 43675 h 62884"/>
                    <a:gd name="connsiteX1" fmla="*/ 189 w 50190"/>
                    <a:gd name="connsiteY1" fmla="*/ 62772 h 62884"/>
                    <a:gd name="connsiteX2" fmla="*/ 7919 w 50190"/>
                    <a:gd name="connsiteY2" fmla="*/ 31853 h 62884"/>
                    <a:gd name="connsiteX3" fmla="*/ 49751 w 50190"/>
                    <a:gd name="connsiteY3" fmla="*/ 24 h 62884"/>
                    <a:gd name="connsiteX4" fmla="*/ 47932 w 50190"/>
                    <a:gd name="connsiteY4" fmla="*/ 17302 h 62884"/>
                    <a:gd name="connsiteX5" fmla="*/ 43840 w 50190"/>
                    <a:gd name="connsiteY5" fmla="*/ 41401 h 62884"/>
                    <a:gd name="connsiteX6" fmla="*/ 40202 w 50190"/>
                    <a:gd name="connsiteY6" fmla="*/ 43675 h 6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90" h="62884">
                      <a:moveTo>
                        <a:pt x="40202" y="43675"/>
                      </a:moveTo>
                      <a:cubicBezTo>
                        <a:pt x="2463" y="63227"/>
                        <a:pt x="2463" y="63227"/>
                        <a:pt x="189" y="62772"/>
                      </a:cubicBezTo>
                      <a:cubicBezTo>
                        <a:pt x="-1175" y="56861"/>
                        <a:pt x="5191" y="35490"/>
                        <a:pt x="7919" y="31853"/>
                      </a:cubicBezTo>
                      <a:cubicBezTo>
                        <a:pt x="14285" y="24123"/>
                        <a:pt x="46113" y="-885"/>
                        <a:pt x="49751" y="24"/>
                      </a:cubicBezTo>
                      <a:cubicBezTo>
                        <a:pt x="50660" y="1388"/>
                        <a:pt x="50206" y="4571"/>
                        <a:pt x="47932" y="17302"/>
                      </a:cubicBezTo>
                      <a:cubicBezTo>
                        <a:pt x="45659" y="30489"/>
                        <a:pt x="44749" y="34126"/>
                        <a:pt x="43840" y="41401"/>
                      </a:cubicBezTo>
                      <a:cubicBezTo>
                        <a:pt x="42930" y="42311"/>
                        <a:pt x="41112" y="42765"/>
                        <a:pt x="40202" y="43675"/>
                      </a:cubicBezTo>
                    </a:path>
                  </a:pathLst>
                </a:custGeom>
                <a:grpFill/>
                <a:ln w="4545" cap="flat">
                  <a:noFill/>
                  <a:prstDash val="solid"/>
                  <a:miter/>
                </a:ln>
              </p:spPr>
              <p:txBody>
                <a:bodyPr rtlCol="0" anchor="ctr"/>
                <a:lstStyle/>
                <a:p>
                  <a:endParaRPr lang="en-US" sz="1765"/>
                </a:p>
              </p:txBody>
            </p:sp>
            <p:sp>
              <p:nvSpPr>
                <p:cNvPr id="67" name="Graphic 5">
                  <a:extLst>
                    <a:ext uri="{FF2B5EF4-FFF2-40B4-BE49-F238E27FC236}">
                      <a16:creationId xmlns:a16="http://schemas.microsoft.com/office/drawing/2014/main" id="{18897CF4-B0A5-4834-9B25-429B8F8CBA0B}"/>
                    </a:ext>
                  </a:extLst>
                </p:cNvPr>
                <p:cNvSpPr/>
                <p:nvPr/>
              </p:nvSpPr>
              <p:spPr>
                <a:xfrm>
                  <a:off x="6786981" y="1692581"/>
                  <a:ext cx="59110" cy="63657"/>
                </a:xfrm>
                <a:custGeom>
                  <a:avLst/>
                  <a:gdLst>
                    <a:gd name="connsiteX0" fmla="*/ 43651 w 59110"/>
                    <a:gd name="connsiteY0" fmla="*/ 37285 h 63657"/>
                    <a:gd name="connsiteX1" fmla="*/ 0 w 59110"/>
                    <a:gd name="connsiteY1" fmla="*/ 63657 h 63657"/>
                    <a:gd name="connsiteX2" fmla="*/ 13641 w 59110"/>
                    <a:gd name="connsiteY2" fmla="*/ 30464 h 63657"/>
                    <a:gd name="connsiteX3" fmla="*/ 59110 w 59110"/>
                    <a:gd name="connsiteY3" fmla="*/ 0 h 63657"/>
                    <a:gd name="connsiteX4" fmla="*/ 47743 w 59110"/>
                    <a:gd name="connsiteY4" fmla="*/ 35011 h 63657"/>
                    <a:gd name="connsiteX5" fmla="*/ 43651 w 59110"/>
                    <a:gd name="connsiteY5" fmla="*/ 37285 h 6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10" h="63657">
                      <a:moveTo>
                        <a:pt x="43651" y="37285"/>
                      </a:moveTo>
                      <a:cubicBezTo>
                        <a:pt x="25918" y="48198"/>
                        <a:pt x="9094" y="58201"/>
                        <a:pt x="0" y="63657"/>
                      </a:cubicBezTo>
                      <a:cubicBezTo>
                        <a:pt x="12277" y="31829"/>
                        <a:pt x="12277" y="31829"/>
                        <a:pt x="13641" y="30464"/>
                      </a:cubicBezTo>
                      <a:cubicBezTo>
                        <a:pt x="18188" y="25463"/>
                        <a:pt x="18188" y="25463"/>
                        <a:pt x="59110" y="0"/>
                      </a:cubicBezTo>
                      <a:cubicBezTo>
                        <a:pt x="55018" y="11822"/>
                        <a:pt x="52290" y="23644"/>
                        <a:pt x="47743" y="35011"/>
                      </a:cubicBezTo>
                      <a:cubicBezTo>
                        <a:pt x="46834" y="36376"/>
                        <a:pt x="44560" y="36376"/>
                        <a:pt x="43651" y="37285"/>
                      </a:cubicBezTo>
                    </a:path>
                  </a:pathLst>
                </a:custGeom>
                <a:grpFill/>
                <a:ln w="4545" cap="flat">
                  <a:noFill/>
                  <a:prstDash val="solid"/>
                  <a:miter/>
                </a:ln>
              </p:spPr>
              <p:txBody>
                <a:bodyPr rtlCol="0" anchor="ctr"/>
                <a:lstStyle/>
                <a:p>
                  <a:endParaRPr lang="en-US" sz="1765"/>
                </a:p>
              </p:txBody>
            </p:sp>
          </p:grpSp>
        </p:grpSp>
        <p:grpSp>
          <p:nvGrpSpPr>
            <p:cNvPr id="104" name="Group 103">
              <a:extLst>
                <a:ext uri="{FF2B5EF4-FFF2-40B4-BE49-F238E27FC236}">
                  <a16:creationId xmlns:a16="http://schemas.microsoft.com/office/drawing/2014/main" id="{9B315A1C-7AE2-4078-AC77-AEB8BF37A2D5}"/>
                </a:ext>
                <a:ext uri="{C183D7F6-B498-43B3-948B-1728B52AA6E4}">
                  <adec:decorative xmlns:adec="http://schemas.microsoft.com/office/drawing/2017/decorative" val="1"/>
                </a:ext>
              </a:extLst>
            </p:cNvPr>
            <p:cNvGrpSpPr/>
            <p:nvPr userDrawn="1"/>
          </p:nvGrpSpPr>
          <p:grpSpPr>
            <a:xfrm>
              <a:off x="7303377" y="1229119"/>
              <a:ext cx="5100849" cy="4662730"/>
              <a:chOff x="7303377" y="1229119"/>
              <a:chExt cx="5100849" cy="4662730"/>
            </a:xfrm>
          </p:grpSpPr>
          <p:sp>
            <p:nvSpPr>
              <p:cNvPr id="81" name="Graphic 69">
                <a:extLst>
                  <a:ext uri="{FF2B5EF4-FFF2-40B4-BE49-F238E27FC236}">
                    <a16:creationId xmlns:a16="http://schemas.microsoft.com/office/drawing/2014/main" id="{B5427AB9-C6F4-43FB-912F-0E4DCAE653D0}"/>
                  </a:ext>
                </a:extLst>
              </p:cNvPr>
              <p:cNvSpPr/>
              <p:nvPr userDrawn="1"/>
            </p:nvSpPr>
            <p:spPr>
              <a:xfrm>
                <a:off x="7555904" y="1754598"/>
                <a:ext cx="3489278" cy="822271"/>
              </a:xfrm>
              <a:custGeom>
                <a:avLst/>
                <a:gdLst>
                  <a:gd name="connsiteX0" fmla="*/ 0 w 3350302"/>
                  <a:gd name="connsiteY0" fmla="*/ 796640 h 796639"/>
                  <a:gd name="connsiteX1" fmla="*/ 3350302 w 3350302"/>
                  <a:gd name="connsiteY1" fmla="*/ 240317 h 796639"/>
                </a:gdLst>
                <a:ahLst/>
                <a:cxnLst>
                  <a:cxn ang="0">
                    <a:pos x="connsiteX0" y="connsiteY0"/>
                  </a:cxn>
                  <a:cxn ang="0">
                    <a:pos x="connsiteX1" y="connsiteY1"/>
                  </a:cxn>
                </a:cxnLst>
                <a:rect l="l" t="t" r="r" b="b"/>
                <a:pathLst>
                  <a:path w="3350302" h="796639">
                    <a:moveTo>
                      <a:pt x="0" y="796640"/>
                    </a:moveTo>
                    <a:cubicBezTo>
                      <a:pt x="0" y="796640"/>
                      <a:pt x="1410631" y="-529584"/>
                      <a:pt x="3350302" y="240317"/>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82" name="Graphic 69">
                <a:extLst>
                  <a:ext uri="{FF2B5EF4-FFF2-40B4-BE49-F238E27FC236}">
                    <a16:creationId xmlns:a16="http://schemas.microsoft.com/office/drawing/2014/main" id="{B5427AB9-C6F4-43FB-912F-0E4DCAE653D0}"/>
                  </a:ext>
                </a:extLst>
              </p:cNvPr>
              <p:cNvSpPr/>
              <p:nvPr userDrawn="1"/>
            </p:nvSpPr>
            <p:spPr>
              <a:xfrm>
                <a:off x="7497943" y="1445186"/>
                <a:ext cx="1097126" cy="1101412"/>
              </a:xfrm>
              <a:custGeom>
                <a:avLst/>
                <a:gdLst>
                  <a:gd name="connsiteX0" fmla="*/ 0 w 1017154"/>
                  <a:gd name="connsiteY0" fmla="*/ 948521 h 948520"/>
                  <a:gd name="connsiteX1" fmla="*/ 1017155 w 1017154"/>
                  <a:gd name="connsiteY1" fmla="*/ 0 h 948520"/>
                </a:gdLst>
                <a:ahLst/>
                <a:cxnLst>
                  <a:cxn ang="0">
                    <a:pos x="connsiteX0" y="connsiteY0"/>
                  </a:cxn>
                  <a:cxn ang="0">
                    <a:pos x="connsiteX1" y="connsiteY1"/>
                  </a:cxn>
                </a:cxnLst>
                <a:rect l="l" t="t" r="r" b="b"/>
                <a:pathLst>
                  <a:path w="1017154" h="948520">
                    <a:moveTo>
                      <a:pt x="0" y="948521"/>
                    </a:moveTo>
                    <a:cubicBezTo>
                      <a:pt x="0" y="948521"/>
                      <a:pt x="257912" y="178620"/>
                      <a:pt x="1017155" y="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83" name="Graphic 69">
                <a:extLst>
                  <a:ext uri="{FF2B5EF4-FFF2-40B4-BE49-F238E27FC236}">
                    <a16:creationId xmlns:a16="http://schemas.microsoft.com/office/drawing/2014/main" id="{B5427AB9-C6F4-43FB-912F-0E4DCAE653D0}"/>
                  </a:ext>
                </a:extLst>
              </p:cNvPr>
              <p:cNvSpPr/>
              <p:nvPr userDrawn="1"/>
            </p:nvSpPr>
            <p:spPr>
              <a:xfrm>
                <a:off x="7303377" y="3478277"/>
                <a:ext cx="2737706" cy="414236"/>
              </a:xfrm>
              <a:custGeom>
                <a:avLst/>
                <a:gdLst>
                  <a:gd name="connsiteX0" fmla="*/ 0 w 2710423"/>
                  <a:gd name="connsiteY0" fmla="*/ 323077 h 487629"/>
                  <a:gd name="connsiteX1" fmla="*/ 2710424 w 2710423"/>
                  <a:gd name="connsiteY1" fmla="*/ 487630 h 487629"/>
                </a:gdLst>
                <a:ahLst/>
                <a:cxnLst>
                  <a:cxn ang="0">
                    <a:pos x="connsiteX0" y="connsiteY0"/>
                  </a:cxn>
                  <a:cxn ang="0">
                    <a:pos x="connsiteX1" y="connsiteY1"/>
                  </a:cxn>
                </a:cxnLst>
                <a:rect l="l" t="t" r="r" b="b"/>
                <a:pathLst>
                  <a:path w="2710423" h="487629">
                    <a:moveTo>
                      <a:pt x="0" y="323077"/>
                    </a:moveTo>
                    <a:cubicBezTo>
                      <a:pt x="0" y="323077"/>
                      <a:pt x="1195349" y="-503521"/>
                      <a:pt x="2710424" y="48763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84" name="Graphic 69">
                <a:extLst>
                  <a:ext uri="{FF2B5EF4-FFF2-40B4-BE49-F238E27FC236}">
                    <a16:creationId xmlns:a16="http://schemas.microsoft.com/office/drawing/2014/main" id="{B5427AB9-C6F4-43FB-912F-0E4DCAE653D0}"/>
                  </a:ext>
                </a:extLst>
              </p:cNvPr>
              <p:cNvSpPr/>
              <p:nvPr userDrawn="1"/>
            </p:nvSpPr>
            <p:spPr>
              <a:xfrm>
                <a:off x="7667625" y="2756062"/>
                <a:ext cx="1392539" cy="2277901"/>
              </a:xfrm>
              <a:custGeom>
                <a:avLst/>
                <a:gdLst>
                  <a:gd name="connsiteX0" fmla="*/ 34014 w 977845"/>
                  <a:gd name="connsiteY0" fmla="*/ 2138754 h 2138754"/>
                  <a:gd name="connsiteX1" fmla="*/ 977845 w 977845"/>
                  <a:gd name="connsiteY1" fmla="*/ 0 h 2138754"/>
                </a:gdLst>
                <a:ahLst/>
                <a:cxnLst>
                  <a:cxn ang="0">
                    <a:pos x="connsiteX0" y="connsiteY0"/>
                  </a:cxn>
                  <a:cxn ang="0">
                    <a:pos x="connsiteX1" y="connsiteY1"/>
                  </a:cxn>
                </a:cxnLst>
                <a:rect l="l" t="t" r="r" b="b"/>
                <a:pathLst>
                  <a:path w="977845" h="2138754">
                    <a:moveTo>
                      <a:pt x="34014" y="2138754"/>
                    </a:moveTo>
                    <a:cubicBezTo>
                      <a:pt x="34014" y="2138754"/>
                      <a:pt x="-276333" y="561439"/>
                      <a:pt x="977845" y="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85" name="Graphic 69">
                <a:extLst>
                  <a:ext uri="{FF2B5EF4-FFF2-40B4-BE49-F238E27FC236}">
                    <a16:creationId xmlns:a16="http://schemas.microsoft.com/office/drawing/2014/main" id="{B5427AB9-C6F4-43FB-912F-0E4DCAE653D0}"/>
                  </a:ext>
                </a:extLst>
              </p:cNvPr>
              <p:cNvSpPr/>
              <p:nvPr userDrawn="1"/>
            </p:nvSpPr>
            <p:spPr>
              <a:xfrm>
                <a:off x="7458124" y="2658866"/>
                <a:ext cx="2412439" cy="3016508"/>
              </a:xfrm>
              <a:custGeom>
                <a:avLst/>
                <a:gdLst>
                  <a:gd name="connsiteX0" fmla="*/ 0 w 2412439"/>
                  <a:gd name="connsiteY0" fmla="*/ 0 h 3016508"/>
                  <a:gd name="connsiteX1" fmla="*/ 2412439 w 2412439"/>
                  <a:gd name="connsiteY1" fmla="*/ 3016509 h 3016508"/>
                </a:gdLst>
                <a:ahLst/>
                <a:cxnLst>
                  <a:cxn ang="0">
                    <a:pos x="connsiteX0" y="connsiteY0"/>
                  </a:cxn>
                  <a:cxn ang="0">
                    <a:pos x="connsiteX1" y="connsiteY1"/>
                  </a:cxn>
                </a:cxnLst>
                <a:rect l="l" t="t" r="r" b="b"/>
                <a:pathLst>
                  <a:path w="2412439" h="3016508">
                    <a:moveTo>
                      <a:pt x="0" y="0"/>
                    </a:moveTo>
                    <a:cubicBezTo>
                      <a:pt x="0" y="0"/>
                      <a:pt x="2170726" y="613448"/>
                      <a:pt x="2412439" y="3016509"/>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86" name="Graphic 69">
                <a:extLst>
                  <a:ext uri="{FF2B5EF4-FFF2-40B4-BE49-F238E27FC236}">
                    <a16:creationId xmlns:a16="http://schemas.microsoft.com/office/drawing/2014/main" id="{B5427AB9-C6F4-43FB-912F-0E4DCAE653D0}"/>
                  </a:ext>
                </a:extLst>
              </p:cNvPr>
              <p:cNvSpPr/>
              <p:nvPr userDrawn="1"/>
            </p:nvSpPr>
            <p:spPr>
              <a:xfrm>
                <a:off x="7796378" y="3971829"/>
                <a:ext cx="2237886" cy="1129241"/>
              </a:xfrm>
              <a:custGeom>
                <a:avLst/>
                <a:gdLst>
                  <a:gd name="connsiteX0" fmla="*/ 0 w 1826274"/>
                  <a:gd name="connsiteY0" fmla="*/ 884620 h 884619"/>
                  <a:gd name="connsiteX1" fmla="*/ 1826275 w 1826274"/>
                  <a:gd name="connsiteY1" fmla="*/ 20933 h 884619"/>
                </a:gdLst>
                <a:ahLst/>
                <a:cxnLst>
                  <a:cxn ang="0">
                    <a:pos x="connsiteX0" y="connsiteY0"/>
                  </a:cxn>
                  <a:cxn ang="0">
                    <a:pos x="connsiteX1" y="connsiteY1"/>
                  </a:cxn>
                </a:cxnLst>
                <a:rect l="l" t="t" r="r" b="b"/>
                <a:pathLst>
                  <a:path w="1826274" h="884619">
                    <a:moveTo>
                      <a:pt x="0" y="884620"/>
                    </a:moveTo>
                    <a:cubicBezTo>
                      <a:pt x="0" y="884620"/>
                      <a:pt x="579770" y="-159393"/>
                      <a:pt x="1826275" y="2093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87" name="Graphic 69">
                <a:extLst>
                  <a:ext uri="{FF2B5EF4-FFF2-40B4-BE49-F238E27FC236}">
                    <a16:creationId xmlns:a16="http://schemas.microsoft.com/office/drawing/2014/main" id="{B5427AB9-C6F4-43FB-912F-0E4DCAE653D0}"/>
                  </a:ext>
                </a:extLst>
              </p:cNvPr>
              <p:cNvSpPr/>
              <p:nvPr userDrawn="1"/>
            </p:nvSpPr>
            <p:spPr>
              <a:xfrm rot="2304853" flipV="1">
                <a:off x="7842504" y="4995718"/>
                <a:ext cx="1977903" cy="896131"/>
              </a:xfrm>
              <a:custGeom>
                <a:avLst/>
                <a:gdLst>
                  <a:gd name="connsiteX0" fmla="*/ 0 w 1691563"/>
                  <a:gd name="connsiteY0" fmla="*/ 25106 h 818878"/>
                  <a:gd name="connsiteX1" fmla="*/ 1691564 w 1691563"/>
                  <a:gd name="connsiteY1" fmla="*/ 818879 h 818878"/>
                </a:gdLst>
                <a:ahLst/>
                <a:cxnLst>
                  <a:cxn ang="0">
                    <a:pos x="connsiteX0" y="connsiteY0"/>
                  </a:cxn>
                  <a:cxn ang="0">
                    <a:pos x="connsiteX1" y="connsiteY1"/>
                  </a:cxn>
                </a:cxnLst>
                <a:rect l="l" t="t" r="r" b="b"/>
                <a:pathLst>
                  <a:path w="1691563" h="818878">
                    <a:moveTo>
                      <a:pt x="0" y="25106"/>
                    </a:moveTo>
                    <a:cubicBezTo>
                      <a:pt x="0" y="25106"/>
                      <a:pt x="793347" y="-219591"/>
                      <a:pt x="1691564" y="818879"/>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88" name="Graphic 69">
                <a:extLst>
                  <a:ext uri="{FF2B5EF4-FFF2-40B4-BE49-F238E27FC236}">
                    <a16:creationId xmlns:a16="http://schemas.microsoft.com/office/drawing/2014/main" id="{B5427AB9-C6F4-43FB-912F-0E4DCAE653D0}"/>
                  </a:ext>
                </a:extLst>
              </p:cNvPr>
              <p:cNvSpPr/>
              <p:nvPr userDrawn="1"/>
            </p:nvSpPr>
            <p:spPr>
              <a:xfrm>
                <a:off x="7796377" y="4422578"/>
                <a:ext cx="3476717" cy="736166"/>
              </a:xfrm>
              <a:custGeom>
                <a:avLst/>
                <a:gdLst>
                  <a:gd name="connsiteX0" fmla="*/ 0 w 3003718"/>
                  <a:gd name="connsiteY0" fmla="*/ 510606 h 510605"/>
                  <a:gd name="connsiteX1" fmla="*/ 3003719 w 3003718"/>
                  <a:gd name="connsiteY1" fmla="*/ 215179 h 510605"/>
                </a:gdLst>
                <a:ahLst/>
                <a:cxnLst>
                  <a:cxn ang="0">
                    <a:pos x="connsiteX0" y="connsiteY0"/>
                  </a:cxn>
                  <a:cxn ang="0">
                    <a:pos x="connsiteX1" y="connsiteY1"/>
                  </a:cxn>
                </a:cxnLst>
                <a:rect l="l" t="t" r="r" b="b"/>
                <a:pathLst>
                  <a:path w="3003718" h="510605">
                    <a:moveTo>
                      <a:pt x="0" y="510606"/>
                    </a:moveTo>
                    <a:cubicBezTo>
                      <a:pt x="0" y="510606"/>
                      <a:pt x="1148030" y="-404237"/>
                      <a:pt x="3003719" y="215179"/>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89" name="Graphic 69">
                <a:extLst>
                  <a:ext uri="{FF2B5EF4-FFF2-40B4-BE49-F238E27FC236}">
                    <a16:creationId xmlns:a16="http://schemas.microsoft.com/office/drawing/2014/main" id="{B5427AB9-C6F4-43FB-912F-0E4DCAE653D0}"/>
                  </a:ext>
                </a:extLst>
              </p:cNvPr>
              <p:cNvSpPr/>
              <p:nvPr userDrawn="1"/>
            </p:nvSpPr>
            <p:spPr>
              <a:xfrm>
                <a:off x="9053513" y="2652712"/>
                <a:ext cx="2793383" cy="884759"/>
              </a:xfrm>
              <a:custGeom>
                <a:avLst/>
                <a:gdLst>
                  <a:gd name="connsiteX0" fmla="*/ 2797816 w 2797815"/>
                  <a:gd name="connsiteY0" fmla="*/ 935437 h 935436"/>
                  <a:gd name="connsiteX1" fmla="*/ 0 w 2797815"/>
                  <a:gd name="connsiteY1" fmla="*/ 56830 h 935436"/>
                </a:gdLst>
                <a:ahLst/>
                <a:cxnLst>
                  <a:cxn ang="0">
                    <a:pos x="connsiteX0" y="connsiteY0"/>
                  </a:cxn>
                  <a:cxn ang="0">
                    <a:pos x="connsiteX1" y="connsiteY1"/>
                  </a:cxn>
                </a:cxnLst>
                <a:rect l="l" t="t" r="r" b="b"/>
                <a:pathLst>
                  <a:path w="2797815" h="935436">
                    <a:moveTo>
                      <a:pt x="2797816" y="935437"/>
                    </a:moveTo>
                    <a:cubicBezTo>
                      <a:pt x="2797816" y="935437"/>
                      <a:pt x="1813912" y="-272275"/>
                      <a:pt x="0" y="5683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90" name="Graphic 69">
                <a:extLst>
                  <a:ext uri="{FF2B5EF4-FFF2-40B4-BE49-F238E27FC236}">
                    <a16:creationId xmlns:a16="http://schemas.microsoft.com/office/drawing/2014/main" id="{B5427AB9-C6F4-43FB-912F-0E4DCAE653D0}"/>
                  </a:ext>
                </a:extLst>
              </p:cNvPr>
              <p:cNvSpPr/>
              <p:nvPr userDrawn="1"/>
            </p:nvSpPr>
            <p:spPr>
              <a:xfrm>
                <a:off x="10096929" y="2078716"/>
                <a:ext cx="1023281" cy="1835490"/>
              </a:xfrm>
              <a:custGeom>
                <a:avLst/>
                <a:gdLst>
                  <a:gd name="connsiteX0" fmla="*/ 1123163 w 1123162"/>
                  <a:gd name="connsiteY0" fmla="*/ 0 h 1955018"/>
                  <a:gd name="connsiteX1" fmla="*/ 6680 w 1123162"/>
                  <a:gd name="connsiteY1" fmla="*/ 1955018 h 1955018"/>
                </a:gdLst>
                <a:ahLst/>
                <a:cxnLst>
                  <a:cxn ang="0">
                    <a:pos x="connsiteX0" y="connsiteY0"/>
                  </a:cxn>
                  <a:cxn ang="0">
                    <a:pos x="connsiteX1" y="connsiteY1"/>
                  </a:cxn>
                </a:cxnLst>
                <a:rect l="l" t="t" r="r" b="b"/>
                <a:pathLst>
                  <a:path w="1123162" h="1955018">
                    <a:moveTo>
                      <a:pt x="1123163" y="0"/>
                    </a:moveTo>
                    <a:cubicBezTo>
                      <a:pt x="1123163" y="0"/>
                      <a:pt x="-100748" y="477458"/>
                      <a:pt x="6680" y="1955018"/>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91" name="Graphic 69">
                <a:extLst>
                  <a:ext uri="{FF2B5EF4-FFF2-40B4-BE49-F238E27FC236}">
                    <a16:creationId xmlns:a16="http://schemas.microsoft.com/office/drawing/2014/main" id="{B5427AB9-C6F4-43FB-912F-0E4DCAE653D0}"/>
                  </a:ext>
                </a:extLst>
              </p:cNvPr>
              <p:cNvSpPr/>
              <p:nvPr userDrawn="1"/>
            </p:nvSpPr>
            <p:spPr>
              <a:xfrm>
                <a:off x="10991611" y="1985310"/>
                <a:ext cx="309192" cy="2575713"/>
              </a:xfrm>
              <a:custGeom>
                <a:avLst/>
                <a:gdLst>
                  <a:gd name="connsiteX0" fmla="*/ 309193 w 309192"/>
                  <a:gd name="connsiteY0" fmla="*/ 2575713 h 2575713"/>
                  <a:gd name="connsiteX1" fmla="*/ 179598 w 309192"/>
                  <a:gd name="connsiteY1" fmla="*/ 0 h 2575713"/>
                </a:gdLst>
                <a:ahLst/>
                <a:cxnLst>
                  <a:cxn ang="0">
                    <a:pos x="connsiteX0" y="connsiteY0"/>
                  </a:cxn>
                  <a:cxn ang="0">
                    <a:pos x="connsiteX1" y="connsiteY1"/>
                  </a:cxn>
                </a:cxnLst>
                <a:rect l="l" t="t" r="r" b="b"/>
                <a:pathLst>
                  <a:path w="309192" h="2575713">
                    <a:moveTo>
                      <a:pt x="309193" y="2575713"/>
                    </a:moveTo>
                    <a:cubicBezTo>
                      <a:pt x="309193" y="2575713"/>
                      <a:pt x="-289760" y="1227748"/>
                      <a:pt x="179598" y="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92" name="Graphic 69">
                <a:extLst>
                  <a:ext uri="{FF2B5EF4-FFF2-40B4-BE49-F238E27FC236}">
                    <a16:creationId xmlns:a16="http://schemas.microsoft.com/office/drawing/2014/main" id="{B5427AB9-C6F4-43FB-912F-0E4DCAE653D0}"/>
                  </a:ext>
                </a:extLst>
              </p:cNvPr>
              <p:cNvSpPr/>
              <p:nvPr userDrawn="1"/>
            </p:nvSpPr>
            <p:spPr>
              <a:xfrm>
                <a:off x="8650916" y="1377830"/>
                <a:ext cx="462327" cy="1417452"/>
              </a:xfrm>
              <a:custGeom>
                <a:avLst/>
                <a:gdLst>
                  <a:gd name="connsiteX0" fmla="*/ 0 w 462327"/>
                  <a:gd name="connsiteY0" fmla="*/ 0 h 1417452"/>
                  <a:gd name="connsiteX1" fmla="*/ 428433 w 462327"/>
                  <a:gd name="connsiteY1" fmla="*/ 1417452 h 1417452"/>
                </a:gdLst>
                <a:ahLst/>
                <a:cxnLst>
                  <a:cxn ang="0">
                    <a:pos x="connsiteX0" y="connsiteY0"/>
                  </a:cxn>
                  <a:cxn ang="0">
                    <a:pos x="connsiteX1" y="connsiteY1"/>
                  </a:cxn>
                </a:cxnLst>
                <a:rect l="l" t="t" r="r" b="b"/>
                <a:pathLst>
                  <a:path w="462327" h="1417452">
                    <a:moveTo>
                      <a:pt x="0" y="0"/>
                    </a:moveTo>
                    <a:cubicBezTo>
                      <a:pt x="0" y="0"/>
                      <a:pt x="610463" y="542255"/>
                      <a:pt x="428433" y="1417452"/>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93" name="Graphic 69">
                <a:extLst>
                  <a:ext uri="{FF2B5EF4-FFF2-40B4-BE49-F238E27FC236}">
                    <a16:creationId xmlns:a16="http://schemas.microsoft.com/office/drawing/2014/main" id="{B5427AB9-C6F4-43FB-912F-0E4DCAE653D0}"/>
                  </a:ext>
                </a:extLst>
              </p:cNvPr>
              <p:cNvSpPr/>
              <p:nvPr userDrawn="1"/>
            </p:nvSpPr>
            <p:spPr>
              <a:xfrm>
                <a:off x="8727650" y="1229119"/>
                <a:ext cx="2392560" cy="740271"/>
              </a:xfrm>
              <a:custGeom>
                <a:avLst/>
                <a:gdLst>
                  <a:gd name="connsiteX0" fmla="*/ 2518588 w 2518588"/>
                  <a:gd name="connsiteY0" fmla="*/ 674767 h 674766"/>
                  <a:gd name="connsiteX1" fmla="*/ 0 w 2518588"/>
                  <a:gd name="connsiteY1" fmla="*/ 86897 h 674766"/>
                </a:gdLst>
                <a:ahLst/>
                <a:cxnLst>
                  <a:cxn ang="0">
                    <a:pos x="connsiteX0" y="connsiteY0"/>
                  </a:cxn>
                  <a:cxn ang="0">
                    <a:pos x="connsiteX1" y="connsiteY1"/>
                  </a:cxn>
                </a:cxnLst>
                <a:rect l="l" t="t" r="r" b="b"/>
                <a:pathLst>
                  <a:path w="2518588" h="674766">
                    <a:moveTo>
                      <a:pt x="2518588" y="674767"/>
                    </a:moveTo>
                    <a:cubicBezTo>
                      <a:pt x="2518588" y="674767"/>
                      <a:pt x="1645523" y="-288674"/>
                      <a:pt x="0" y="86897"/>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95" name="Graphic 69">
                <a:extLst>
                  <a:ext uri="{FF2B5EF4-FFF2-40B4-BE49-F238E27FC236}">
                    <a16:creationId xmlns:a16="http://schemas.microsoft.com/office/drawing/2014/main" id="{B5427AB9-C6F4-43FB-912F-0E4DCAE653D0}"/>
                  </a:ext>
                </a:extLst>
              </p:cNvPr>
              <p:cNvSpPr/>
              <p:nvPr userDrawn="1"/>
            </p:nvSpPr>
            <p:spPr>
              <a:xfrm>
                <a:off x="9977688" y="4693422"/>
                <a:ext cx="1313860" cy="924808"/>
              </a:xfrm>
              <a:custGeom>
                <a:avLst/>
                <a:gdLst>
                  <a:gd name="connsiteX0" fmla="*/ 1313861 w 1313860"/>
                  <a:gd name="connsiteY0" fmla="*/ 1013 h 924808"/>
                  <a:gd name="connsiteX1" fmla="*/ 0 w 1313860"/>
                  <a:gd name="connsiteY1" fmla="*/ 924808 h 924808"/>
                </a:gdLst>
                <a:ahLst/>
                <a:cxnLst>
                  <a:cxn ang="0">
                    <a:pos x="connsiteX0" y="connsiteY0"/>
                  </a:cxn>
                  <a:cxn ang="0">
                    <a:pos x="connsiteX1" y="connsiteY1"/>
                  </a:cxn>
                </a:cxnLst>
                <a:rect l="l" t="t" r="r" b="b"/>
                <a:pathLst>
                  <a:path w="1313860" h="924808">
                    <a:moveTo>
                      <a:pt x="1313861" y="1013"/>
                    </a:moveTo>
                    <a:cubicBezTo>
                      <a:pt x="1313861" y="1013"/>
                      <a:pt x="416923" y="-67621"/>
                      <a:pt x="0" y="924808"/>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96" name="Graphic 69">
                <a:extLst>
                  <a:ext uri="{FF2B5EF4-FFF2-40B4-BE49-F238E27FC236}">
                    <a16:creationId xmlns:a16="http://schemas.microsoft.com/office/drawing/2014/main" id="{B5427AB9-C6F4-43FB-912F-0E4DCAE653D0}"/>
                  </a:ext>
                </a:extLst>
              </p:cNvPr>
              <p:cNvSpPr/>
              <p:nvPr userDrawn="1"/>
            </p:nvSpPr>
            <p:spPr>
              <a:xfrm>
                <a:off x="10111849" y="3409950"/>
                <a:ext cx="1718201" cy="504256"/>
              </a:xfrm>
              <a:custGeom>
                <a:avLst/>
                <a:gdLst>
                  <a:gd name="connsiteX0" fmla="*/ 1842901 w 1842900"/>
                  <a:gd name="connsiteY0" fmla="*/ 77169 h 510717"/>
                  <a:gd name="connsiteX1" fmla="*/ 0 w 1842900"/>
                  <a:gd name="connsiteY1" fmla="*/ 510717 h 510717"/>
                </a:gdLst>
                <a:ahLst/>
                <a:cxnLst>
                  <a:cxn ang="0">
                    <a:pos x="connsiteX0" y="connsiteY0"/>
                  </a:cxn>
                  <a:cxn ang="0">
                    <a:pos x="connsiteX1" y="connsiteY1"/>
                  </a:cxn>
                </a:cxnLst>
                <a:rect l="l" t="t" r="r" b="b"/>
                <a:pathLst>
                  <a:path w="1842900" h="510717">
                    <a:moveTo>
                      <a:pt x="1842901" y="77169"/>
                    </a:moveTo>
                    <a:cubicBezTo>
                      <a:pt x="1842901" y="77169"/>
                      <a:pt x="784394" y="-270693"/>
                      <a:pt x="0" y="510717"/>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97" name="Graphic 69">
                <a:extLst>
                  <a:ext uri="{FF2B5EF4-FFF2-40B4-BE49-F238E27FC236}">
                    <a16:creationId xmlns:a16="http://schemas.microsoft.com/office/drawing/2014/main" id="{B5427AB9-C6F4-43FB-912F-0E4DCAE653D0}"/>
                  </a:ext>
                </a:extLst>
              </p:cNvPr>
              <p:cNvSpPr/>
              <p:nvPr userDrawn="1"/>
            </p:nvSpPr>
            <p:spPr>
              <a:xfrm>
                <a:off x="9082088" y="2059407"/>
                <a:ext cx="2009402" cy="650455"/>
              </a:xfrm>
              <a:custGeom>
                <a:avLst/>
                <a:gdLst>
                  <a:gd name="connsiteX0" fmla="*/ 2094418 w 2094418"/>
                  <a:gd name="connsiteY0" fmla="*/ 23154 h 762360"/>
                  <a:gd name="connsiteX1" fmla="*/ 0 w 2094418"/>
                  <a:gd name="connsiteY1" fmla="*/ 762360 h 762360"/>
                </a:gdLst>
                <a:ahLst/>
                <a:cxnLst>
                  <a:cxn ang="0">
                    <a:pos x="connsiteX0" y="connsiteY0"/>
                  </a:cxn>
                  <a:cxn ang="0">
                    <a:pos x="connsiteX1" y="connsiteY1"/>
                  </a:cxn>
                </a:cxnLst>
                <a:rect l="l" t="t" r="r" b="b"/>
                <a:pathLst>
                  <a:path w="2094418" h="762360">
                    <a:moveTo>
                      <a:pt x="2094418" y="23154"/>
                    </a:moveTo>
                    <a:cubicBezTo>
                      <a:pt x="2094418" y="23154"/>
                      <a:pt x="752848" y="-203639"/>
                      <a:pt x="0" y="76236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98" name="Graphic 69">
                <a:extLst>
                  <a:ext uri="{FF2B5EF4-FFF2-40B4-BE49-F238E27FC236}">
                    <a16:creationId xmlns:a16="http://schemas.microsoft.com/office/drawing/2014/main" id="{B5427AB9-C6F4-43FB-912F-0E4DCAE653D0}"/>
                  </a:ext>
                </a:extLst>
              </p:cNvPr>
              <p:cNvSpPr/>
              <p:nvPr userDrawn="1"/>
            </p:nvSpPr>
            <p:spPr>
              <a:xfrm>
                <a:off x="7494491" y="2696942"/>
                <a:ext cx="301886" cy="2364606"/>
              </a:xfrm>
              <a:custGeom>
                <a:avLst/>
                <a:gdLst>
                  <a:gd name="connsiteX0" fmla="*/ 0 w 610833"/>
                  <a:gd name="connsiteY0" fmla="*/ 0 h 2113176"/>
                  <a:gd name="connsiteX1" fmla="*/ 576786 w 610833"/>
                  <a:gd name="connsiteY1" fmla="*/ 2113176 h 2113176"/>
                </a:gdLst>
                <a:ahLst/>
                <a:cxnLst>
                  <a:cxn ang="0">
                    <a:pos x="connsiteX0" y="connsiteY0"/>
                  </a:cxn>
                  <a:cxn ang="0">
                    <a:pos x="connsiteX1" y="connsiteY1"/>
                  </a:cxn>
                </a:cxnLst>
                <a:rect l="l" t="t" r="r" b="b"/>
                <a:pathLst>
                  <a:path w="610833" h="2113176">
                    <a:moveTo>
                      <a:pt x="0" y="0"/>
                    </a:moveTo>
                    <a:cubicBezTo>
                      <a:pt x="0" y="0"/>
                      <a:pt x="780984" y="809546"/>
                      <a:pt x="576786" y="2113176"/>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99" name="Graphic 69">
                <a:extLst>
                  <a:ext uri="{FF2B5EF4-FFF2-40B4-BE49-F238E27FC236}">
                    <a16:creationId xmlns:a16="http://schemas.microsoft.com/office/drawing/2014/main" id="{B5427AB9-C6F4-43FB-912F-0E4DCAE653D0}"/>
                  </a:ext>
                </a:extLst>
              </p:cNvPr>
              <p:cNvSpPr/>
              <p:nvPr userDrawn="1"/>
            </p:nvSpPr>
            <p:spPr>
              <a:xfrm rot="21141784">
                <a:off x="7540304" y="2460402"/>
                <a:ext cx="1453566" cy="351292"/>
              </a:xfrm>
              <a:custGeom>
                <a:avLst/>
                <a:gdLst>
                  <a:gd name="connsiteX0" fmla="*/ 0 w 1803680"/>
                  <a:gd name="connsiteY0" fmla="*/ 126168 h 422020"/>
                  <a:gd name="connsiteX1" fmla="*/ 1803681 w 1803680"/>
                  <a:gd name="connsiteY1" fmla="*/ 422021 h 422020"/>
                </a:gdLst>
                <a:ahLst/>
                <a:cxnLst>
                  <a:cxn ang="0">
                    <a:pos x="connsiteX0" y="connsiteY0"/>
                  </a:cxn>
                  <a:cxn ang="0">
                    <a:pos x="connsiteX1" y="connsiteY1"/>
                  </a:cxn>
                </a:cxnLst>
                <a:rect l="l" t="t" r="r" b="b"/>
                <a:pathLst>
                  <a:path w="1803680" h="422020">
                    <a:moveTo>
                      <a:pt x="0" y="126168"/>
                    </a:moveTo>
                    <a:cubicBezTo>
                      <a:pt x="0" y="126168"/>
                      <a:pt x="907596" y="-303118"/>
                      <a:pt x="1803681" y="422021"/>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100" name="Graphic 69">
                <a:extLst>
                  <a:ext uri="{FF2B5EF4-FFF2-40B4-BE49-F238E27FC236}">
                    <a16:creationId xmlns:a16="http://schemas.microsoft.com/office/drawing/2014/main" id="{B5427AB9-C6F4-43FB-912F-0E4DCAE653D0}"/>
                  </a:ext>
                </a:extLst>
              </p:cNvPr>
              <p:cNvSpPr/>
              <p:nvPr userDrawn="1"/>
            </p:nvSpPr>
            <p:spPr>
              <a:xfrm>
                <a:off x="9146278" y="2795283"/>
                <a:ext cx="950651" cy="1258015"/>
              </a:xfrm>
              <a:custGeom>
                <a:avLst/>
                <a:gdLst>
                  <a:gd name="connsiteX0" fmla="*/ 950652 w 950651"/>
                  <a:gd name="connsiteY0" fmla="*/ 1258015 h 1258015"/>
                  <a:gd name="connsiteX1" fmla="*/ 0 w 950651"/>
                  <a:gd name="connsiteY1" fmla="*/ 0 h 1258015"/>
                </a:gdLst>
                <a:ahLst/>
                <a:cxnLst>
                  <a:cxn ang="0">
                    <a:pos x="connsiteX0" y="connsiteY0"/>
                  </a:cxn>
                  <a:cxn ang="0">
                    <a:pos x="connsiteX1" y="connsiteY1"/>
                  </a:cxn>
                </a:cxnLst>
                <a:rect l="l" t="t" r="r" b="b"/>
                <a:pathLst>
                  <a:path w="950651" h="1258015">
                    <a:moveTo>
                      <a:pt x="950652" y="1258015"/>
                    </a:moveTo>
                    <a:cubicBezTo>
                      <a:pt x="950652" y="1258015"/>
                      <a:pt x="888838" y="365767"/>
                      <a:pt x="0" y="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101" name="Graphic 69">
                <a:extLst>
                  <a:ext uri="{FF2B5EF4-FFF2-40B4-BE49-F238E27FC236}">
                    <a16:creationId xmlns:a16="http://schemas.microsoft.com/office/drawing/2014/main" id="{E856DD25-21CF-41AE-A045-1CED26CEF7D8}"/>
                  </a:ext>
                </a:extLst>
              </p:cNvPr>
              <p:cNvSpPr/>
              <p:nvPr userDrawn="1"/>
            </p:nvSpPr>
            <p:spPr>
              <a:xfrm rot="4945521">
                <a:off x="10828105" y="2528331"/>
                <a:ext cx="1417166" cy="458632"/>
              </a:xfrm>
              <a:custGeom>
                <a:avLst/>
                <a:gdLst>
                  <a:gd name="connsiteX0" fmla="*/ 0 w 1826274"/>
                  <a:gd name="connsiteY0" fmla="*/ 884620 h 884619"/>
                  <a:gd name="connsiteX1" fmla="*/ 1826275 w 1826274"/>
                  <a:gd name="connsiteY1" fmla="*/ 20933 h 884619"/>
                </a:gdLst>
                <a:ahLst/>
                <a:cxnLst>
                  <a:cxn ang="0">
                    <a:pos x="connsiteX0" y="connsiteY0"/>
                  </a:cxn>
                  <a:cxn ang="0">
                    <a:pos x="connsiteX1" y="connsiteY1"/>
                  </a:cxn>
                </a:cxnLst>
                <a:rect l="l" t="t" r="r" b="b"/>
                <a:pathLst>
                  <a:path w="1826274" h="884619">
                    <a:moveTo>
                      <a:pt x="0" y="884620"/>
                    </a:moveTo>
                    <a:cubicBezTo>
                      <a:pt x="0" y="884620"/>
                      <a:pt x="579770" y="-159393"/>
                      <a:pt x="1826275" y="2093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102" name="Graphic 69">
                <a:extLst>
                  <a:ext uri="{FF2B5EF4-FFF2-40B4-BE49-F238E27FC236}">
                    <a16:creationId xmlns:a16="http://schemas.microsoft.com/office/drawing/2014/main" id="{6ED57FE3-C523-47A0-9DB6-06111059C1E5}"/>
                  </a:ext>
                </a:extLst>
              </p:cNvPr>
              <p:cNvSpPr/>
              <p:nvPr userDrawn="1"/>
            </p:nvSpPr>
            <p:spPr>
              <a:xfrm rot="7773019">
                <a:off x="11050985" y="4001531"/>
                <a:ext cx="1024602" cy="196409"/>
              </a:xfrm>
              <a:custGeom>
                <a:avLst/>
                <a:gdLst>
                  <a:gd name="connsiteX0" fmla="*/ 0 w 1826274"/>
                  <a:gd name="connsiteY0" fmla="*/ 884620 h 884619"/>
                  <a:gd name="connsiteX1" fmla="*/ 1826275 w 1826274"/>
                  <a:gd name="connsiteY1" fmla="*/ 20933 h 884619"/>
                </a:gdLst>
                <a:ahLst/>
                <a:cxnLst>
                  <a:cxn ang="0">
                    <a:pos x="connsiteX0" y="connsiteY0"/>
                  </a:cxn>
                  <a:cxn ang="0">
                    <a:pos x="connsiteX1" y="connsiteY1"/>
                  </a:cxn>
                </a:cxnLst>
                <a:rect l="l" t="t" r="r" b="b"/>
                <a:pathLst>
                  <a:path w="1826274" h="884619">
                    <a:moveTo>
                      <a:pt x="0" y="884620"/>
                    </a:moveTo>
                    <a:cubicBezTo>
                      <a:pt x="0" y="884620"/>
                      <a:pt x="579770" y="-159393"/>
                      <a:pt x="1826275" y="2093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103" name="Graphic 69">
                <a:extLst>
                  <a:ext uri="{FF2B5EF4-FFF2-40B4-BE49-F238E27FC236}">
                    <a16:creationId xmlns:a16="http://schemas.microsoft.com/office/drawing/2014/main" id="{3B1559E0-D84E-47F1-94D5-C906EF714C1B}"/>
                  </a:ext>
                </a:extLst>
              </p:cNvPr>
              <p:cNvSpPr/>
              <p:nvPr userDrawn="1"/>
            </p:nvSpPr>
            <p:spPr>
              <a:xfrm rot="15353771" flipV="1">
                <a:off x="9211936" y="4589023"/>
                <a:ext cx="1534145" cy="550626"/>
              </a:xfrm>
              <a:custGeom>
                <a:avLst/>
                <a:gdLst>
                  <a:gd name="connsiteX0" fmla="*/ 1313861 w 1313860"/>
                  <a:gd name="connsiteY0" fmla="*/ 1013 h 924808"/>
                  <a:gd name="connsiteX1" fmla="*/ 0 w 1313860"/>
                  <a:gd name="connsiteY1" fmla="*/ 924808 h 924808"/>
                </a:gdLst>
                <a:ahLst/>
                <a:cxnLst>
                  <a:cxn ang="0">
                    <a:pos x="connsiteX0" y="connsiteY0"/>
                  </a:cxn>
                  <a:cxn ang="0">
                    <a:pos x="connsiteX1" y="connsiteY1"/>
                  </a:cxn>
                </a:cxnLst>
                <a:rect l="l" t="t" r="r" b="b"/>
                <a:pathLst>
                  <a:path w="1313860" h="924808">
                    <a:moveTo>
                      <a:pt x="1313861" y="1013"/>
                    </a:moveTo>
                    <a:cubicBezTo>
                      <a:pt x="1313861" y="1013"/>
                      <a:pt x="416923" y="-67621"/>
                      <a:pt x="0" y="924808"/>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105" name="Graphic 69">
                <a:extLst>
                  <a:ext uri="{FF2B5EF4-FFF2-40B4-BE49-F238E27FC236}">
                    <a16:creationId xmlns:a16="http://schemas.microsoft.com/office/drawing/2014/main" id="{7B375B16-8137-4F43-AD8F-E8959FA0697D}"/>
                  </a:ext>
                </a:extLst>
              </p:cNvPr>
              <p:cNvSpPr/>
              <p:nvPr userDrawn="1"/>
            </p:nvSpPr>
            <p:spPr>
              <a:xfrm rot="19192609" flipH="1">
                <a:off x="8812819" y="2905818"/>
                <a:ext cx="1217722" cy="2675481"/>
              </a:xfrm>
              <a:custGeom>
                <a:avLst/>
                <a:gdLst>
                  <a:gd name="connsiteX0" fmla="*/ 0 w 2412439"/>
                  <a:gd name="connsiteY0" fmla="*/ 0 h 3016508"/>
                  <a:gd name="connsiteX1" fmla="*/ 2412439 w 2412439"/>
                  <a:gd name="connsiteY1" fmla="*/ 3016509 h 3016508"/>
                  <a:gd name="connsiteX0" fmla="*/ 0 w 1649598"/>
                  <a:gd name="connsiteY0" fmla="*/ 0 h 2885634"/>
                  <a:gd name="connsiteX1" fmla="*/ 1649598 w 1649598"/>
                  <a:gd name="connsiteY1" fmla="*/ 2885634 h 2885634"/>
                  <a:gd name="connsiteX0" fmla="*/ 0 w 1686818"/>
                  <a:gd name="connsiteY0" fmla="*/ 0 h 2885634"/>
                  <a:gd name="connsiteX1" fmla="*/ 1649598 w 1686818"/>
                  <a:gd name="connsiteY1" fmla="*/ 2885634 h 2885634"/>
                </a:gdLst>
                <a:ahLst/>
                <a:cxnLst>
                  <a:cxn ang="0">
                    <a:pos x="connsiteX0" y="connsiteY0"/>
                  </a:cxn>
                  <a:cxn ang="0">
                    <a:pos x="connsiteX1" y="connsiteY1"/>
                  </a:cxn>
                </a:cxnLst>
                <a:rect l="l" t="t" r="r" b="b"/>
                <a:pathLst>
                  <a:path w="1686818" h="2885634">
                    <a:moveTo>
                      <a:pt x="0" y="0"/>
                    </a:moveTo>
                    <a:cubicBezTo>
                      <a:pt x="0" y="0"/>
                      <a:pt x="1980174" y="899705"/>
                      <a:pt x="1649598" y="2885634"/>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106" name="Graphic 69">
                <a:extLst>
                  <a:ext uri="{FF2B5EF4-FFF2-40B4-BE49-F238E27FC236}">
                    <a16:creationId xmlns:a16="http://schemas.microsoft.com/office/drawing/2014/main" id="{7E3DDF96-A4CD-430E-81F6-CBEFAC1C80CD}"/>
                  </a:ext>
                </a:extLst>
              </p:cNvPr>
              <p:cNvSpPr/>
              <p:nvPr userDrawn="1"/>
            </p:nvSpPr>
            <p:spPr>
              <a:xfrm rot="19202501" flipV="1">
                <a:off x="9660408" y="4450794"/>
                <a:ext cx="2743818" cy="738069"/>
              </a:xfrm>
              <a:custGeom>
                <a:avLst/>
                <a:gdLst>
                  <a:gd name="connsiteX0" fmla="*/ 1313861 w 1313860"/>
                  <a:gd name="connsiteY0" fmla="*/ 1013 h 924808"/>
                  <a:gd name="connsiteX1" fmla="*/ 0 w 1313860"/>
                  <a:gd name="connsiteY1" fmla="*/ 924808 h 924808"/>
                  <a:gd name="connsiteX0" fmla="*/ 1611255 w 1611255"/>
                  <a:gd name="connsiteY0" fmla="*/ 1188995 h 1188994"/>
                  <a:gd name="connsiteX1" fmla="*/ 0 w 1611255"/>
                  <a:gd name="connsiteY1" fmla="*/ 287690 h 1188994"/>
                  <a:gd name="connsiteX0" fmla="*/ 1611255 w 1611255"/>
                  <a:gd name="connsiteY0" fmla="*/ 1600967 h 1600966"/>
                  <a:gd name="connsiteX1" fmla="*/ 0 w 1611255"/>
                  <a:gd name="connsiteY1" fmla="*/ 699662 h 1600966"/>
                  <a:gd name="connsiteX0" fmla="*/ 1611255 w 1611255"/>
                  <a:gd name="connsiteY0" fmla="*/ 1600967 h 1600966"/>
                  <a:gd name="connsiteX1" fmla="*/ 0 w 1611255"/>
                  <a:gd name="connsiteY1" fmla="*/ 699662 h 1600966"/>
                  <a:gd name="connsiteX0" fmla="*/ 1611255 w 1611255"/>
                  <a:gd name="connsiteY0" fmla="*/ 1837508 h 1837507"/>
                  <a:gd name="connsiteX1" fmla="*/ 0 w 1611255"/>
                  <a:gd name="connsiteY1" fmla="*/ 936203 h 1837507"/>
                </a:gdLst>
                <a:ahLst/>
                <a:cxnLst>
                  <a:cxn ang="0">
                    <a:pos x="connsiteX0" y="connsiteY0"/>
                  </a:cxn>
                  <a:cxn ang="0">
                    <a:pos x="connsiteX1" y="connsiteY1"/>
                  </a:cxn>
                </a:cxnLst>
                <a:rect l="l" t="t" r="r" b="b"/>
                <a:pathLst>
                  <a:path w="1611255" h="1837507">
                    <a:moveTo>
                      <a:pt x="1611255" y="1837508"/>
                    </a:moveTo>
                    <a:cubicBezTo>
                      <a:pt x="1611255" y="1837508"/>
                      <a:pt x="972495" y="-1607153"/>
                      <a:pt x="0" y="93620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grpSp>
        <p:sp>
          <p:nvSpPr>
            <p:cNvPr id="94"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rot="873320">
              <a:off x="7110637" y="3940592"/>
              <a:ext cx="697355" cy="1028010"/>
            </a:xfrm>
            <a:custGeom>
              <a:avLst/>
              <a:gdLst>
                <a:gd name="connsiteX0" fmla="*/ 0 w 915695"/>
                <a:gd name="connsiteY0" fmla="*/ 0 h 1147603"/>
                <a:gd name="connsiteX1" fmla="*/ 915695 w 915695"/>
                <a:gd name="connsiteY1" fmla="*/ 1147603 h 1147603"/>
              </a:gdLst>
              <a:ahLst/>
              <a:cxnLst>
                <a:cxn ang="0">
                  <a:pos x="connsiteX0" y="connsiteY0"/>
                </a:cxn>
                <a:cxn ang="0">
                  <a:pos x="connsiteX1" y="connsiteY1"/>
                </a:cxn>
              </a:cxnLst>
              <a:rect l="l" t="t" r="r" b="b"/>
              <a:pathLst>
                <a:path w="915695" h="1147603">
                  <a:moveTo>
                    <a:pt x="0" y="0"/>
                  </a:moveTo>
                  <a:cubicBezTo>
                    <a:pt x="0" y="0"/>
                    <a:pt x="166258" y="909301"/>
                    <a:pt x="915695" y="114760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endParaRPr lang="en-US" sz="1765"/>
            </a:p>
          </p:txBody>
        </p:sp>
        <p:sp>
          <p:nvSpPr>
            <p:cNvPr id="72"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7098838" y="2264196"/>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73"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8705141" y="2351588"/>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74"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8295892" y="1022807"/>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79"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7354492" y="4761887"/>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80"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6878014" y="3446756"/>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75"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10816185" y="1663111"/>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77"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10891214" y="4280175"/>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76"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11491873" y="3182449"/>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71"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9697144" y="3605340"/>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78"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9544528" y="5354029"/>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endParaRPr lang="en-US" sz="1765"/>
            </a:p>
          </p:txBody>
        </p:sp>
        <p:sp>
          <p:nvSpPr>
            <p:cNvPr id="118" name="Oval 117">
              <a:extLst>
                <a:ext uri="{FF2B5EF4-FFF2-40B4-BE49-F238E27FC236}">
                  <a16:creationId xmlns:a16="http://schemas.microsoft.com/office/drawing/2014/main" id="{EAB08600-10C9-4A62-85BF-4B560D4D0156}"/>
                </a:ext>
                <a:ext uri="{C183D7F6-B498-43B3-948B-1728B52AA6E4}">
                  <adec:decorative xmlns:adec="http://schemas.microsoft.com/office/drawing/2017/decorative" val="1"/>
                </a:ext>
              </a:extLst>
            </p:cNvPr>
            <p:cNvSpPr/>
            <p:nvPr userDrawn="1"/>
          </p:nvSpPr>
          <p:spPr bwMode="auto">
            <a:xfrm>
              <a:off x="8154283" y="4810787"/>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19" name="Oval 118">
              <a:extLst>
                <a:ext uri="{FF2B5EF4-FFF2-40B4-BE49-F238E27FC236}">
                  <a16:creationId xmlns:a16="http://schemas.microsoft.com/office/drawing/2014/main" id="{9782719C-3E30-4BAC-BA09-E5E1A4565DD6}"/>
                </a:ext>
                <a:ext uri="{C183D7F6-B498-43B3-948B-1728B52AA6E4}">
                  <adec:decorative xmlns:adec="http://schemas.microsoft.com/office/drawing/2017/decorative" val="1"/>
                </a:ext>
              </a:extLst>
            </p:cNvPr>
            <p:cNvSpPr/>
            <p:nvPr userDrawn="1"/>
          </p:nvSpPr>
          <p:spPr bwMode="auto">
            <a:xfrm>
              <a:off x="9240133" y="396782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0" name="Oval 119">
              <a:extLst>
                <a:ext uri="{FF2B5EF4-FFF2-40B4-BE49-F238E27FC236}">
                  <a16:creationId xmlns:a16="http://schemas.microsoft.com/office/drawing/2014/main" id="{92569A0C-333A-438E-88E8-468FAAF17A42}"/>
                </a:ext>
                <a:ext uri="{C183D7F6-B498-43B3-948B-1728B52AA6E4}">
                  <adec:decorative xmlns:adec="http://schemas.microsoft.com/office/drawing/2017/decorative" val="1"/>
                </a:ext>
              </a:extLst>
            </p:cNvPr>
            <p:cNvSpPr/>
            <p:nvPr userDrawn="1"/>
          </p:nvSpPr>
          <p:spPr bwMode="auto">
            <a:xfrm>
              <a:off x="7930445" y="349157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1" name="Oval 120">
              <a:extLst>
                <a:ext uri="{FF2B5EF4-FFF2-40B4-BE49-F238E27FC236}">
                  <a16:creationId xmlns:a16="http://schemas.microsoft.com/office/drawing/2014/main" id="{6B209840-4F08-4228-80A1-5444E97F1648}"/>
                </a:ext>
                <a:ext uri="{C183D7F6-B498-43B3-948B-1728B52AA6E4}">
                  <adec:decorative xmlns:adec="http://schemas.microsoft.com/office/drawing/2017/decorative" val="1"/>
                </a:ext>
              </a:extLst>
            </p:cNvPr>
            <p:cNvSpPr/>
            <p:nvPr userDrawn="1"/>
          </p:nvSpPr>
          <p:spPr bwMode="auto">
            <a:xfrm>
              <a:off x="10330745" y="2686712"/>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2" name="Oval 121">
              <a:extLst>
                <a:ext uri="{FF2B5EF4-FFF2-40B4-BE49-F238E27FC236}">
                  <a16:creationId xmlns:a16="http://schemas.microsoft.com/office/drawing/2014/main" id="{06713A23-5EED-4F03-ACE8-E1D51BF65B43}"/>
                </a:ext>
                <a:ext uri="{C183D7F6-B498-43B3-948B-1728B52AA6E4}">
                  <adec:decorative xmlns:adec="http://schemas.microsoft.com/office/drawing/2017/decorative" val="1"/>
                </a:ext>
              </a:extLst>
            </p:cNvPr>
            <p:cNvSpPr/>
            <p:nvPr userDrawn="1"/>
          </p:nvSpPr>
          <p:spPr bwMode="auto">
            <a:xfrm>
              <a:off x="8924679" y="180565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3" name="Oval 122">
              <a:extLst>
                <a:ext uri="{FF2B5EF4-FFF2-40B4-BE49-F238E27FC236}">
                  <a16:creationId xmlns:a16="http://schemas.microsoft.com/office/drawing/2014/main" id="{D9554277-4CF9-4B22-ABD5-2ECCA8010989}"/>
                </a:ext>
                <a:ext uri="{C183D7F6-B498-43B3-948B-1728B52AA6E4}">
                  <adec:decorative xmlns:adec="http://schemas.microsoft.com/office/drawing/2017/decorative" val="1"/>
                </a:ext>
              </a:extLst>
            </p:cNvPr>
            <p:cNvSpPr/>
            <p:nvPr userDrawn="1"/>
          </p:nvSpPr>
          <p:spPr bwMode="auto">
            <a:xfrm>
              <a:off x="10966362" y="338299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4" name="Oval 123">
              <a:extLst>
                <a:ext uri="{FF2B5EF4-FFF2-40B4-BE49-F238E27FC236}">
                  <a16:creationId xmlns:a16="http://schemas.microsoft.com/office/drawing/2014/main" id="{89A0A48C-7573-45D6-8D3E-4BA56EC4C4E8}"/>
                </a:ext>
                <a:ext uri="{C183D7F6-B498-43B3-948B-1728B52AA6E4}">
                  <adec:decorative xmlns:adec="http://schemas.microsoft.com/office/drawing/2017/decorative" val="1"/>
                </a:ext>
              </a:extLst>
            </p:cNvPr>
            <p:cNvSpPr/>
            <p:nvPr userDrawn="1"/>
          </p:nvSpPr>
          <p:spPr bwMode="auto">
            <a:xfrm>
              <a:off x="11768844" y="311629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5" name="Oval 124">
              <a:extLst>
                <a:ext uri="{FF2B5EF4-FFF2-40B4-BE49-F238E27FC236}">
                  <a16:creationId xmlns:a16="http://schemas.microsoft.com/office/drawing/2014/main" id="{E2637F92-35A9-468F-A6E5-9DBA37418E31}"/>
                </a:ext>
                <a:ext uri="{C183D7F6-B498-43B3-948B-1728B52AA6E4}">
                  <adec:decorative xmlns:adec="http://schemas.microsoft.com/office/drawing/2017/decorative" val="1"/>
                </a:ext>
              </a:extLst>
            </p:cNvPr>
            <p:cNvSpPr/>
            <p:nvPr userDrawn="1"/>
          </p:nvSpPr>
          <p:spPr bwMode="auto">
            <a:xfrm>
              <a:off x="7811383" y="186597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6" name="Oval 125">
              <a:extLst>
                <a:ext uri="{FF2B5EF4-FFF2-40B4-BE49-F238E27FC236}">
                  <a16:creationId xmlns:a16="http://schemas.microsoft.com/office/drawing/2014/main" id="{E68EBD0C-E2DE-4EE1-8D6C-B4CCA77F252B}"/>
                </a:ext>
                <a:ext uri="{C183D7F6-B498-43B3-948B-1728B52AA6E4}">
                  <adec:decorative xmlns:adec="http://schemas.microsoft.com/office/drawing/2017/decorative" val="1"/>
                </a:ext>
              </a:extLst>
            </p:cNvPr>
            <p:cNvSpPr/>
            <p:nvPr userDrawn="1"/>
          </p:nvSpPr>
          <p:spPr bwMode="auto">
            <a:xfrm>
              <a:off x="7200195" y="417737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7" name="Oval 126">
              <a:extLst>
                <a:ext uri="{FF2B5EF4-FFF2-40B4-BE49-F238E27FC236}">
                  <a16:creationId xmlns:a16="http://schemas.microsoft.com/office/drawing/2014/main" id="{F124B98D-35A2-43E2-A008-9B1FE68210D1}"/>
                </a:ext>
                <a:ext uri="{C183D7F6-B498-43B3-948B-1728B52AA6E4}">
                  <adec:decorative xmlns:adec="http://schemas.microsoft.com/office/drawing/2017/decorative" val="1"/>
                </a:ext>
              </a:extLst>
            </p:cNvPr>
            <p:cNvSpPr/>
            <p:nvPr userDrawn="1"/>
          </p:nvSpPr>
          <p:spPr bwMode="auto">
            <a:xfrm>
              <a:off x="10622845" y="154212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8" name="Oval 127">
              <a:extLst>
                <a:ext uri="{FF2B5EF4-FFF2-40B4-BE49-F238E27FC236}">
                  <a16:creationId xmlns:a16="http://schemas.microsoft.com/office/drawing/2014/main" id="{23F94DB4-F638-4B8E-A983-632965C2E84F}"/>
                </a:ext>
                <a:ext uri="{C183D7F6-B498-43B3-948B-1728B52AA6E4}">
                  <adec:decorative xmlns:adec="http://schemas.microsoft.com/office/drawing/2017/decorative" val="1"/>
                </a:ext>
              </a:extLst>
            </p:cNvPr>
            <p:cNvSpPr/>
            <p:nvPr userDrawn="1"/>
          </p:nvSpPr>
          <p:spPr bwMode="auto">
            <a:xfrm>
              <a:off x="10083712" y="438629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9" name="Oval 128">
              <a:extLst>
                <a:ext uri="{FF2B5EF4-FFF2-40B4-BE49-F238E27FC236}">
                  <a16:creationId xmlns:a16="http://schemas.microsoft.com/office/drawing/2014/main" id="{CF824780-6C42-4928-83B2-44FC5E1CF544}"/>
                </a:ext>
                <a:ext uri="{C183D7F6-B498-43B3-948B-1728B52AA6E4}">
                  <adec:decorative xmlns:adec="http://schemas.microsoft.com/office/drawing/2017/decorative" val="1"/>
                </a:ext>
              </a:extLst>
            </p:cNvPr>
            <p:cNvSpPr/>
            <p:nvPr userDrawn="1"/>
          </p:nvSpPr>
          <p:spPr bwMode="auto">
            <a:xfrm>
              <a:off x="9309012" y="570074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30" name="Oval 129">
              <a:extLst>
                <a:ext uri="{FF2B5EF4-FFF2-40B4-BE49-F238E27FC236}">
                  <a16:creationId xmlns:a16="http://schemas.microsoft.com/office/drawing/2014/main" id="{952927CF-1DA5-4879-A669-F86356142C24}"/>
                </a:ext>
                <a:ext uri="{C183D7F6-B498-43B3-948B-1728B52AA6E4}">
                  <adec:decorative xmlns:adec="http://schemas.microsoft.com/office/drawing/2017/decorative" val="1"/>
                </a:ext>
              </a:extLst>
            </p:cNvPr>
            <p:cNvSpPr/>
            <p:nvPr userDrawn="1"/>
          </p:nvSpPr>
          <p:spPr bwMode="auto">
            <a:xfrm>
              <a:off x="11214012" y="505304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grpSp>
          <p:nvGrpSpPr>
            <p:cNvPr id="131" name="Graphic 120">
              <a:extLst>
                <a:ext uri="{FF2B5EF4-FFF2-40B4-BE49-F238E27FC236}">
                  <a16:creationId xmlns:a16="http://schemas.microsoft.com/office/drawing/2014/main" id="{4C6FC48B-24CF-45B8-985C-CF3E18E227A6}"/>
                </a:ext>
                <a:ext uri="{C183D7F6-B498-43B3-948B-1728B52AA6E4}">
                  <adec:decorative xmlns:adec="http://schemas.microsoft.com/office/drawing/2017/decorative" val="1"/>
                </a:ext>
              </a:extLst>
            </p:cNvPr>
            <p:cNvGrpSpPr/>
            <p:nvPr userDrawn="1"/>
          </p:nvGrpSpPr>
          <p:grpSpPr>
            <a:xfrm>
              <a:off x="11675933" y="3374447"/>
              <a:ext cx="340715" cy="329817"/>
              <a:chOff x="6058654" y="3344980"/>
              <a:chExt cx="318325" cy="308140"/>
            </a:xfrm>
          </p:grpSpPr>
          <p:sp>
            <p:nvSpPr>
              <p:cNvPr id="132" name="Freeform: Shape 131">
                <a:extLst>
                  <a:ext uri="{FF2B5EF4-FFF2-40B4-BE49-F238E27FC236}">
                    <a16:creationId xmlns:a16="http://schemas.microsoft.com/office/drawing/2014/main" id="{8136EED6-A7AD-4DFB-8505-EFD1DA73A3C3}"/>
                  </a:ext>
                </a:extLst>
              </p:cNvPr>
              <p:cNvSpPr/>
              <p:nvPr/>
            </p:nvSpPr>
            <p:spPr>
              <a:xfrm>
                <a:off x="6267914" y="3540536"/>
                <a:ext cx="72392" cy="72390"/>
              </a:xfrm>
              <a:custGeom>
                <a:avLst/>
                <a:gdLst>
                  <a:gd name="connsiteX0" fmla="*/ 72390 w 72390"/>
                  <a:gd name="connsiteY0" fmla="*/ 36195 h 72390"/>
                  <a:gd name="connsiteX1" fmla="*/ 36195 w 72390"/>
                  <a:gd name="connsiteY1" fmla="*/ 72390 h 72390"/>
                  <a:gd name="connsiteX2" fmla="*/ 0 w 72390"/>
                  <a:gd name="connsiteY2" fmla="*/ 36195 h 72390"/>
                  <a:gd name="connsiteX3" fmla="*/ 36195 w 72390"/>
                  <a:gd name="connsiteY3" fmla="*/ 0 h 72390"/>
                  <a:gd name="connsiteX4" fmla="*/ 72390 w 72390"/>
                  <a:gd name="connsiteY4" fmla="*/ 36195 h 72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 h="72390">
                    <a:moveTo>
                      <a:pt x="72390" y="36195"/>
                    </a:moveTo>
                    <a:cubicBezTo>
                      <a:pt x="72390" y="56185"/>
                      <a:pt x="56185" y="72390"/>
                      <a:pt x="36195" y="72390"/>
                    </a:cubicBezTo>
                    <a:cubicBezTo>
                      <a:pt x="16205" y="72390"/>
                      <a:pt x="0" y="56185"/>
                      <a:pt x="0" y="36195"/>
                    </a:cubicBezTo>
                    <a:cubicBezTo>
                      <a:pt x="0" y="16205"/>
                      <a:pt x="16205" y="0"/>
                      <a:pt x="36195" y="0"/>
                    </a:cubicBezTo>
                    <a:cubicBezTo>
                      <a:pt x="56185" y="0"/>
                      <a:pt x="72390" y="16205"/>
                      <a:pt x="72390" y="36195"/>
                    </a:cubicBezTo>
                    <a:close/>
                  </a:path>
                </a:pathLst>
              </a:custGeom>
              <a:noFill/>
              <a:ln w="12700" cap="flat">
                <a:solidFill>
                  <a:schemeClr val="bg1"/>
                </a:solidFill>
                <a:prstDash val="solid"/>
                <a:miter/>
              </a:ln>
            </p:spPr>
            <p:txBody>
              <a:bodyPr rtlCol="0" anchor="ctr"/>
              <a:lstStyle/>
              <a:p>
                <a:endParaRPr lang="en-US" sz="1765"/>
              </a:p>
            </p:txBody>
          </p:sp>
          <p:sp>
            <p:nvSpPr>
              <p:cNvPr id="134" name="Freeform: Shape 133">
                <a:extLst>
                  <a:ext uri="{FF2B5EF4-FFF2-40B4-BE49-F238E27FC236}">
                    <a16:creationId xmlns:a16="http://schemas.microsoft.com/office/drawing/2014/main" id="{7491852A-AE20-457C-A091-C9DC2758FC38}"/>
                  </a:ext>
                </a:extLst>
              </p:cNvPr>
              <p:cNvSpPr/>
              <p:nvPr/>
            </p:nvSpPr>
            <p:spPr>
              <a:xfrm>
                <a:off x="6231244" y="3500338"/>
                <a:ext cx="145735" cy="152782"/>
              </a:xfrm>
              <a:custGeom>
                <a:avLst/>
                <a:gdLst>
                  <a:gd name="connsiteX0" fmla="*/ 136398 w 145732"/>
                  <a:gd name="connsiteY0" fmla="*/ 76391 h 152781"/>
                  <a:gd name="connsiteX1" fmla="*/ 133350 w 145732"/>
                  <a:gd name="connsiteY1" fmla="*/ 56864 h 152781"/>
                  <a:gd name="connsiteX2" fmla="*/ 145733 w 145732"/>
                  <a:gd name="connsiteY2" fmla="*/ 49721 h 152781"/>
                  <a:gd name="connsiteX3" fmla="*/ 132398 w 145732"/>
                  <a:gd name="connsiteY3" fmla="*/ 26670 h 152781"/>
                  <a:gd name="connsiteX4" fmla="*/ 119920 w 145732"/>
                  <a:gd name="connsiteY4" fmla="*/ 33814 h 152781"/>
                  <a:gd name="connsiteX5" fmla="*/ 86201 w 145732"/>
                  <a:gd name="connsiteY5" fmla="*/ 14288 h 152781"/>
                  <a:gd name="connsiteX6" fmla="*/ 86201 w 145732"/>
                  <a:gd name="connsiteY6" fmla="*/ 0 h 152781"/>
                  <a:gd name="connsiteX7" fmla="*/ 59531 w 145732"/>
                  <a:gd name="connsiteY7" fmla="*/ 0 h 152781"/>
                  <a:gd name="connsiteX8" fmla="*/ 59531 w 145732"/>
                  <a:gd name="connsiteY8" fmla="*/ 14288 h 152781"/>
                  <a:gd name="connsiteX9" fmla="*/ 25813 w 145732"/>
                  <a:gd name="connsiteY9" fmla="*/ 33814 h 152781"/>
                  <a:gd name="connsiteX10" fmla="*/ 13335 w 145732"/>
                  <a:gd name="connsiteY10" fmla="*/ 26670 h 152781"/>
                  <a:gd name="connsiteX11" fmla="*/ 0 w 145732"/>
                  <a:gd name="connsiteY11" fmla="*/ 49721 h 152781"/>
                  <a:gd name="connsiteX12" fmla="*/ 12382 w 145732"/>
                  <a:gd name="connsiteY12" fmla="*/ 56864 h 152781"/>
                  <a:gd name="connsiteX13" fmla="*/ 9334 w 145732"/>
                  <a:gd name="connsiteY13" fmla="*/ 76391 h 152781"/>
                  <a:gd name="connsiteX14" fmla="*/ 12382 w 145732"/>
                  <a:gd name="connsiteY14" fmla="*/ 95917 h 152781"/>
                  <a:gd name="connsiteX15" fmla="*/ 0 w 145732"/>
                  <a:gd name="connsiteY15" fmla="*/ 103061 h 152781"/>
                  <a:gd name="connsiteX16" fmla="*/ 13335 w 145732"/>
                  <a:gd name="connsiteY16" fmla="*/ 126111 h 152781"/>
                  <a:gd name="connsiteX17" fmla="*/ 25813 w 145732"/>
                  <a:gd name="connsiteY17" fmla="*/ 118967 h 152781"/>
                  <a:gd name="connsiteX18" fmla="*/ 59531 w 145732"/>
                  <a:gd name="connsiteY18" fmla="*/ 138494 h 152781"/>
                  <a:gd name="connsiteX19" fmla="*/ 59531 w 145732"/>
                  <a:gd name="connsiteY19" fmla="*/ 152781 h 152781"/>
                  <a:gd name="connsiteX20" fmla="*/ 86201 w 145732"/>
                  <a:gd name="connsiteY20" fmla="*/ 152781 h 152781"/>
                  <a:gd name="connsiteX21" fmla="*/ 86201 w 145732"/>
                  <a:gd name="connsiteY21" fmla="*/ 138494 h 152781"/>
                  <a:gd name="connsiteX22" fmla="*/ 119920 w 145732"/>
                  <a:gd name="connsiteY22" fmla="*/ 118967 h 152781"/>
                  <a:gd name="connsiteX23" fmla="*/ 132398 w 145732"/>
                  <a:gd name="connsiteY23" fmla="*/ 126111 h 152781"/>
                  <a:gd name="connsiteX24" fmla="*/ 145733 w 145732"/>
                  <a:gd name="connsiteY24" fmla="*/ 103061 h 152781"/>
                  <a:gd name="connsiteX25" fmla="*/ 133350 w 145732"/>
                  <a:gd name="connsiteY25" fmla="*/ 95917 h 152781"/>
                  <a:gd name="connsiteX26" fmla="*/ 136398 w 145732"/>
                  <a:gd name="connsiteY26" fmla="*/ 76391 h 15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732" h="152781">
                    <a:moveTo>
                      <a:pt x="136398" y="76391"/>
                    </a:moveTo>
                    <a:cubicBezTo>
                      <a:pt x="136398" y="69628"/>
                      <a:pt x="135255" y="63056"/>
                      <a:pt x="133350" y="56864"/>
                    </a:cubicBezTo>
                    <a:lnTo>
                      <a:pt x="145733" y="49721"/>
                    </a:lnTo>
                    <a:lnTo>
                      <a:pt x="132398" y="26670"/>
                    </a:lnTo>
                    <a:lnTo>
                      <a:pt x="119920" y="33814"/>
                    </a:lnTo>
                    <a:cubicBezTo>
                      <a:pt x="111157" y="24098"/>
                      <a:pt x="99441" y="17145"/>
                      <a:pt x="86201" y="14288"/>
                    </a:cubicBezTo>
                    <a:lnTo>
                      <a:pt x="86201" y="0"/>
                    </a:lnTo>
                    <a:lnTo>
                      <a:pt x="59531" y="0"/>
                    </a:lnTo>
                    <a:lnTo>
                      <a:pt x="59531" y="14288"/>
                    </a:lnTo>
                    <a:cubicBezTo>
                      <a:pt x="46291" y="17145"/>
                      <a:pt x="34576" y="24098"/>
                      <a:pt x="25813" y="33814"/>
                    </a:cubicBezTo>
                    <a:lnTo>
                      <a:pt x="13335" y="26670"/>
                    </a:lnTo>
                    <a:lnTo>
                      <a:pt x="0" y="49721"/>
                    </a:lnTo>
                    <a:lnTo>
                      <a:pt x="12382" y="56864"/>
                    </a:lnTo>
                    <a:cubicBezTo>
                      <a:pt x="10382" y="63056"/>
                      <a:pt x="9334" y="69533"/>
                      <a:pt x="9334" y="76391"/>
                    </a:cubicBezTo>
                    <a:cubicBezTo>
                      <a:pt x="9334" y="83153"/>
                      <a:pt x="10478" y="89726"/>
                      <a:pt x="12382" y="95917"/>
                    </a:cubicBezTo>
                    <a:lnTo>
                      <a:pt x="0" y="103061"/>
                    </a:lnTo>
                    <a:lnTo>
                      <a:pt x="13335" y="126111"/>
                    </a:lnTo>
                    <a:lnTo>
                      <a:pt x="25813" y="118967"/>
                    </a:lnTo>
                    <a:cubicBezTo>
                      <a:pt x="34576" y="128683"/>
                      <a:pt x="46291" y="135636"/>
                      <a:pt x="59531" y="138494"/>
                    </a:cubicBezTo>
                    <a:lnTo>
                      <a:pt x="59531" y="152781"/>
                    </a:lnTo>
                    <a:lnTo>
                      <a:pt x="86201" y="152781"/>
                    </a:lnTo>
                    <a:lnTo>
                      <a:pt x="86201" y="138494"/>
                    </a:lnTo>
                    <a:cubicBezTo>
                      <a:pt x="99441" y="135636"/>
                      <a:pt x="111157" y="128683"/>
                      <a:pt x="119920" y="118967"/>
                    </a:cubicBezTo>
                    <a:lnTo>
                      <a:pt x="132398" y="126111"/>
                    </a:lnTo>
                    <a:lnTo>
                      <a:pt x="145733" y="103061"/>
                    </a:lnTo>
                    <a:lnTo>
                      <a:pt x="133350" y="95917"/>
                    </a:lnTo>
                    <a:cubicBezTo>
                      <a:pt x="135350" y="89726"/>
                      <a:pt x="136398" y="83153"/>
                      <a:pt x="136398" y="76391"/>
                    </a:cubicBezTo>
                    <a:close/>
                  </a:path>
                </a:pathLst>
              </a:custGeom>
              <a:noFill/>
              <a:ln w="12700" cap="flat">
                <a:solidFill>
                  <a:schemeClr val="bg1"/>
                </a:solidFill>
                <a:prstDash val="solid"/>
                <a:miter/>
              </a:ln>
            </p:spPr>
            <p:txBody>
              <a:bodyPr rtlCol="0" anchor="ctr"/>
              <a:lstStyle/>
              <a:p>
                <a:endParaRPr lang="en-US" sz="1765"/>
              </a:p>
            </p:txBody>
          </p:sp>
          <p:sp>
            <p:nvSpPr>
              <p:cNvPr id="135" name="Freeform: Shape 134">
                <a:extLst>
                  <a:ext uri="{FF2B5EF4-FFF2-40B4-BE49-F238E27FC236}">
                    <a16:creationId xmlns:a16="http://schemas.microsoft.com/office/drawing/2014/main" id="{9E627A7C-4096-41D3-AC56-4E6333C2E703}"/>
                  </a:ext>
                </a:extLst>
              </p:cNvPr>
              <p:cNvSpPr/>
              <p:nvPr/>
            </p:nvSpPr>
            <p:spPr>
              <a:xfrm>
                <a:off x="6058654" y="3348794"/>
                <a:ext cx="306808" cy="188977"/>
              </a:xfrm>
              <a:custGeom>
                <a:avLst/>
                <a:gdLst>
                  <a:gd name="connsiteX0" fmla="*/ 0 w 306800"/>
                  <a:gd name="connsiteY0" fmla="*/ 188976 h 188975"/>
                  <a:gd name="connsiteX1" fmla="*/ 150114 w 306800"/>
                  <a:gd name="connsiteY1" fmla="*/ 38767 h 188975"/>
                  <a:gd name="connsiteX2" fmla="*/ 209074 w 306800"/>
                  <a:gd name="connsiteY2" fmla="*/ 97727 h 188975"/>
                  <a:gd name="connsiteX3" fmla="*/ 306800 w 306800"/>
                  <a:gd name="connsiteY3" fmla="*/ 0 h 188975"/>
                </a:gdLst>
                <a:ahLst/>
                <a:cxnLst>
                  <a:cxn ang="0">
                    <a:pos x="connsiteX0" y="connsiteY0"/>
                  </a:cxn>
                  <a:cxn ang="0">
                    <a:pos x="connsiteX1" y="connsiteY1"/>
                  </a:cxn>
                  <a:cxn ang="0">
                    <a:pos x="connsiteX2" y="connsiteY2"/>
                  </a:cxn>
                  <a:cxn ang="0">
                    <a:pos x="connsiteX3" y="connsiteY3"/>
                  </a:cxn>
                </a:cxnLst>
                <a:rect l="l" t="t" r="r" b="b"/>
                <a:pathLst>
                  <a:path w="306800" h="188975">
                    <a:moveTo>
                      <a:pt x="0" y="188976"/>
                    </a:moveTo>
                    <a:lnTo>
                      <a:pt x="150114" y="38767"/>
                    </a:lnTo>
                    <a:lnTo>
                      <a:pt x="209074" y="97727"/>
                    </a:lnTo>
                    <a:lnTo>
                      <a:pt x="306800" y="0"/>
                    </a:lnTo>
                  </a:path>
                </a:pathLst>
              </a:custGeom>
              <a:noFill/>
              <a:ln w="12700" cap="flat">
                <a:solidFill>
                  <a:schemeClr val="bg1"/>
                </a:solidFill>
                <a:prstDash val="solid"/>
                <a:miter/>
              </a:ln>
            </p:spPr>
            <p:txBody>
              <a:bodyPr rtlCol="0" anchor="ctr"/>
              <a:lstStyle/>
              <a:p>
                <a:endParaRPr lang="en-US" sz="1765"/>
              </a:p>
            </p:txBody>
          </p:sp>
          <p:sp>
            <p:nvSpPr>
              <p:cNvPr id="136" name="Freeform: Shape 135">
                <a:extLst>
                  <a:ext uri="{FF2B5EF4-FFF2-40B4-BE49-F238E27FC236}">
                    <a16:creationId xmlns:a16="http://schemas.microsoft.com/office/drawing/2014/main" id="{64D04EE6-376B-42D0-A15D-4CA771155EAA}"/>
                  </a:ext>
                </a:extLst>
              </p:cNvPr>
              <p:cNvSpPr/>
              <p:nvPr/>
            </p:nvSpPr>
            <p:spPr>
              <a:xfrm>
                <a:off x="6304117" y="3344980"/>
                <a:ext cx="66295" cy="66865"/>
              </a:xfrm>
              <a:custGeom>
                <a:avLst/>
                <a:gdLst>
                  <a:gd name="connsiteX0" fmla="*/ 0 w 66293"/>
                  <a:gd name="connsiteY0" fmla="*/ 0 h 66865"/>
                  <a:gd name="connsiteX1" fmla="*/ 66294 w 66293"/>
                  <a:gd name="connsiteY1" fmla="*/ 0 h 66865"/>
                  <a:gd name="connsiteX2" fmla="*/ 66294 w 66293"/>
                  <a:gd name="connsiteY2" fmla="*/ 66866 h 66865"/>
                </a:gdLst>
                <a:ahLst/>
                <a:cxnLst>
                  <a:cxn ang="0">
                    <a:pos x="connsiteX0" y="connsiteY0"/>
                  </a:cxn>
                  <a:cxn ang="0">
                    <a:pos x="connsiteX1" y="connsiteY1"/>
                  </a:cxn>
                  <a:cxn ang="0">
                    <a:pos x="connsiteX2" y="connsiteY2"/>
                  </a:cxn>
                </a:cxnLst>
                <a:rect l="l" t="t" r="r" b="b"/>
                <a:pathLst>
                  <a:path w="66293" h="66865">
                    <a:moveTo>
                      <a:pt x="0" y="0"/>
                    </a:moveTo>
                    <a:lnTo>
                      <a:pt x="66294" y="0"/>
                    </a:lnTo>
                    <a:lnTo>
                      <a:pt x="66294" y="66866"/>
                    </a:lnTo>
                  </a:path>
                </a:pathLst>
              </a:custGeom>
              <a:noFill/>
              <a:ln w="12700" cap="flat">
                <a:solidFill>
                  <a:schemeClr val="bg1"/>
                </a:solidFill>
                <a:prstDash val="solid"/>
                <a:miter/>
              </a:ln>
            </p:spPr>
            <p:txBody>
              <a:bodyPr rtlCol="0" anchor="ctr"/>
              <a:lstStyle/>
              <a:p>
                <a:endParaRPr lang="en-US" sz="1765"/>
              </a:p>
            </p:txBody>
          </p:sp>
          <p:sp>
            <p:nvSpPr>
              <p:cNvPr id="137" name="Freeform: Shape 136">
                <a:extLst>
                  <a:ext uri="{FF2B5EF4-FFF2-40B4-BE49-F238E27FC236}">
                    <a16:creationId xmlns:a16="http://schemas.microsoft.com/office/drawing/2014/main" id="{3E998438-77C4-4F44-8F82-01ABE30255F3}"/>
                  </a:ext>
                </a:extLst>
              </p:cNvPr>
              <p:cNvSpPr/>
              <p:nvPr/>
            </p:nvSpPr>
            <p:spPr>
              <a:xfrm>
                <a:off x="6064549" y="3584250"/>
                <a:ext cx="9525" cy="41911"/>
              </a:xfrm>
              <a:custGeom>
                <a:avLst/>
                <a:gdLst>
                  <a:gd name="connsiteX0" fmla="*/ 0 w 9525"/>
                  <a:gd name="connsiteY0" fmla="*/ 0 h 41910"/>
                  <a:gd name="connsiteX1" fmla="*/ 0 w 9525"/>
                  <a:gd name="connsiteY1" fmla="*/ 41910 h 41910"/>
                </a:gdLst>
                <a:ahLst/>
                <a:cxnLst>
                  <a:cxn ang="0">
                    <a:pos x="connsiteX0" y="connsiteY0"/>
                  </a:cxn>
                  <a:cxn ang="0">
                    <a:pos x="connsiteX1" y="connsiteY1"/>
                  </a:cxn>
                </a:cxnLst>
                <a:rect l="l" t="t" r="r" b="b"/>
                <a:pathLst>
                  <a:path w="9525" h="41910">
                    <a:moveTo>
                      <a:pt x="0" y="0"/>
                    </a:moveTo>
                    <a:lnTo>
                      <a:pt x="0" y="41910"/>
                    </a:lnTo>
                  </a:path>
                </a:pathLst>
              </a:custGeom>
              <a:noFill/>
              <a:ln w="12700" cap="flat">
                <a:solidFill>
                  <a:schemeClr val="bg1"/>
                </a:solidFill>
                <a:prstDash val="solid"/>
                <a:miter/>
              </a:ln>
            </p:spPr>
            <p:txBody>
              <a:bodyPr rtlCol="0" anchor="ctr"/>
              <a:lstStyle/>
              <a:p>
                <a:endParaRPr lang="en-US" sz="1765"/>
              </a:p>
            </p:txBody>
          </p:sp>
          <p:sp>
            <p:nvSpPr>
              <p:cNvPr id="138" name="Freeform: Shape 137">
                <a:extLst>
                  <a:ext uri="{FF2B5EF4-FFF2-40B4-BE49-F238E27FC236}">
                    <a16:creationId xmlns:a16="http://schemas.microsoft.com/office/drawing/2014/main" id="{EE08429B-29FC-4932-984F-890C0CDFC061}"/>
                  </a:ext>
                </a:extLst>
              </p:cNvPr>
              <p:cNvSpPr/>
              <p:nvPr/>
            </p:nvSpPr>
            <p:spPr>
              <a:xfrm>
                <a:off x="6104562" y="3542245"/>
                <a:ext cx="9525" cy="83916"/>
              </a:xfrm>
              <a:custGeom>
                <a:avLst/>
                <a:gdLst>
                  <a:gd name="connsiteX0" fmla="*/ 0 w 9525"/>
                  <a:gd name="connsiteY0" fmla="*/ 0 h 83915"/>
                  <a:gd name="connsiteX1" fmla="*/ 0 w 9525"/>
                  <a:gd name="connsiteY1" fmla="*/ 83915 h 83915"/>
                </a:gdLst>
                <a:ahLst/>
                <a:cxnLst>
                  <a:cxn ang="0">
                    <a:pos x="connsiteX0" y="connsiteY0"/>
                  </a:cxn>
                  <a:cxn ang="0">
                    <a:pos x="connsiteX1" y="connsiteY1"/>
                  </a:cxn>
                </a:cxnLst>
                <a:rect l="l" t="t" r="r" b="b"/>
                <a:pathLst>
                  <a:path w="9525" h="83915">
                    <a:moveTo>
                      <a:pt x="0" y="0"/>
                    </a:moveTo>
                    <a:lnTo>
                      <a:pt x="0" y="83915"/>
                    </a:lnTo>
                  </a:path>
                </a:pathLst>
              </a:custGeom>
              <a:noFill/>
              <a:ln w="12700" cap="flat">
                <a:solidFill>
                  <a:schemeClr val="bg1"/>
                </a:solidFill>
                <a:prstDash val="solid"/>
                <a:miter/>
              </a:ln>
            </p:spPr>
            <p:txBody>
              <a:bodyPr rtlCol="0" anchor="ctr"/>
              <a:lstStyle/>
              <a:p>
                <a:endParaRPr lang="en-US" sz="1765"/>
              </a:p>
            </p:txBody>
          </p:sp>
          <p:sp>
            <p:nvSpPr>
              <p:cNvPr id="139" name="Freeform: Shape 138">
                <a:extLst>
                  <a:ext uri="{FF2B5EF4-FFF2-40B4-BE49-F238E27FC236}">
                    <a16:creationId xmlns:a16="http://schemas.microsoft.com/office/drawing/2014/main" id="{FFEDDB9F-F769-44E4-B074-8E84766354C4}"/>
                  </a:ext>
                </a:extLst>
              </p:cNvPr>
              <p:cNvSpPr/>
              <p:nvPr/>
            </p:nvSpPr>
            <p:spPr>
              <a:xfrm>
                <a:off x="6149343" y="3500620"/>
                <a:ext cx="9525" cy="125540"/>
              </a:xfrm>
              <a:custGeom>
                <a:avLst/>
                <a:gdLst>
                  <a:gd name="connsiteX0" fmla="*/ 0 w 9525"/>
                  <a:gd name="connsiteY0" fmla="*/ 0 h 125539"/>
                  <a:gd name="connsiteX1" fmla="*/ 0 w 9525"/>
                  <a:gd name="connsiteY1" fmla="*/ 125540 h 125539"/>
                </a:gdLst>
                <a:ahLst/>
                <a:cxnLst>
                  <a:cxn ang="0">
                    <a:pos x="connsiteX0" y="connsiteY0"/>
                  </a:cxn>
                  <a:cxn ang="0">
                    <a:pos x="connsiteX1" y="connsiteY1"/>
                  </a:cxn>
                </a:cxnLst>
                <a:rect l="l" t="t" r="r" b="b"/>
                <a:pathLst>
                  <a:path w="9525" h="125539">
                    <a:moveTo>
                      <a:pt x="0" y="0"/>
                    </a:moveTo>
                    <a:lnTo>
                      <a:pt x="0" y="125540"/>
                    </a:lnTo>
                  </a:path>
                </a:pathLst>
              </a:custGeom>
              <a:noFill/>
              <a:ln w="12700" cap="flat">
                <a:solidFill>
                  <a:schemeClr val="bg1"/>
                </a:solidFill>
                <a:prstDash val="solid"/>
                <a:miter/>
              </a:ln>
            </p:spPr>
            <p:txBody>
              <a:bodyPr rtlCol="0" anchor="ctr"/>
              <a:lstStyle/>
              <a:p>
                <a:endParaRPr lang="en-US" sz="1765"/>
              </a:p>
            </p:txBody>
          </p:sp>
          <p:sp>
            <p:nvSpPr>
              <p:cNvPr id="140" name="Freeform: Shape 139">
                <a:extLst>
                  <a:ext uri="{FF2B5EF4-FFF2-40B4-BE49-F238E27FC236}">
                    <a16:creationId xmlns:a16="http://schemas.microsoft.com/office/drawing/2014/main" id="{3B30A2F5-CAE7-421A-BB4F-D6BE89E92806}"/>
                  </a:ext>
                </a:extLst>
              </p:cNvPr>
              <p:cNvSpPr/>
              <p:nvPr/>
            </p:nvSpPr>
            <p:spPr>
              <a:xfrm>
                <a:off x="6186858" y="3462907"/>
                <a:ext cx="9525" cy="163259"/>
              </a:xfrm>
              <a:custGeom>
                <a:avLst/>
                <a:gdLst>
                  <a:gd name="connsiteX0" fmla="*/ 0 w 9525"/>
                  <a:gd name="connsiteY0" fmla="*/ 0 h 163258"/>
                  <a:gd name="connsiteX1" fmla="*/ 0 w 9525"/>
                  <a:gd name="connsiteY1" fmla="*/ 163259 h 163258"/>
                </a:gdLst>
                <a:ahLst/>
                <a:cxnLst>
                  <a:cxn ang="0">
                    <a:pos x="connsiteX0" y="connsiteY0"/>
                  </a:cxn>
                  <a:cxn ang="0">
                    <a:pos x="connsiteX1" y="connsiteY1"/>
                  </a:cxn>
                </a:cxnLst>
                <a:rect l="l" t="t" r="r" b="b"/>
                <a:pathLst>
                  <a:path w="9525" h="163258">
                    <a:moveTo>
                      <a:pt x="0" y="0"/>
                    </a:moveTo>
                    <a:lnTo>
                      <a:pt x="0" y="163259"/>
                    </a:lnTo>
                  </a:path>
                </a:pathLst>
              </a:custGeom>
              <a:noFill/>
              <a:ln w="12700" cap="flat">
                <a:solidFill>
                  <a:schemeClr val="bg1"/>
                </a:solidFill>
                <a:prstDash val="solid"/>
                <a:miter/>
              </a:ln>
            </p:spPr>
            <p:txBody>
              <a:bodyPr rtlCol="0" anchor="ctr"/>
              <a:lstStyle/>
              <a:p>
                <a:endParaRPr lang="en-US" sz="1765"/>
              </a:p>
            </p:txBody>
          </p:sp>
          <p:sp>
            <p:nvSpPr>
              <p:cNvPr id="141" name="Freeform: Shape 140">
                <a:extLst>
                  <a:ext uri="{FF2B5EF4-FFF2-40B4-BE49-F238E27FC236}">
                    <a16:creationId xmlns:a16="http://schemas.microsoft.com/office/drawing/2014/main" id="{2D6CA579-FB96-4F68-BFA7-7EAA6FDE3106}"/>
                  </a:ext>
                </a:extLst>
              </p:cNvPr>
              <p:cNvSpPr/>
              <p:nvPr/>
            </p:nvSpPr>
            <p:spPr>
              <a:xfrm>
                <a:off x="6224952" y="3457558"/>
                <a:ext cx="9525" cy="37052"/>
              </a:xfrm>
              <a:custGeom>
                <a:avLst/>
                <a:gdLst>
                  <a:gd name="connsiteX0" fmla="*/ 0 w 9525"/>
                  <a:gd name="connsiteY0" fmla="*/ 0 h 37052"/>
                  <a:gd name="connsiteX1" fmla="*/ 0 w 9525"/>
                  <a:gd name="connsiteY1" fmla="*/ 37052 h 37052"/>
                </a:gdLst>
                <a:ahLst/>
                <a:cxnLst>
                  <a:cxn ang="0">
                    <a:pos x="connsiteX0" y="connsiteY0"/>
                  </a:cxn>
                  <a:cxn ang="0">
                    <a:pos x="connsiteX1" y="connsiteY1"/>
                  </a:cxn>
                </a:cxnLst>
                <a:rect l="l" t="t" r="r" b="b"/>
                <a:pathLst>
                  <a:path w="9525" h="37052">
                    <a:moveTo>
                      <a:pt x="0" y="0"/>
                    </a:moveTo>
                    <a:lnTo>
                      <a:pt x="0" y="37052"/>
                    </a:lnTo>
                  </a:path>
                </a:pathLst>
              </a:custGeom>
              <a:noFill/>
              <a:ln w="12700" cap="flat">
                <a:solidFill>
                  <a:schemeClr val="bg1"/>
                </a:solidFill>
                <a:prstDash val="solid"/>
                <a:miter/>
              </a:ln>
            </p:spPr>
            <p:txBody>
              <a:bodyPr rtlCol="0" anchor="ctr"/>
              <a:lstStyle/>
              <a:p>
                <a:endParaRPr lang="en-US" sz="1765"/>
              </a:p>
            </p:txBody>
          </p:sp>
          <p:sp>
            <p:nvSpPr>
              <p:cNvPr id="142" name="Freeform: Shape 141">
                <a:extLst>
                  <a:ext uri="{FF2B5EF4-FFF2-40B4-BE49-F238E27FC236}">
                    <a16:creationId xmlns:a16="http://schemas.microsoft.com/office/drawing/2014/main" id="{393C619E-948A-4C10-8C70-2DC8426FE129}"/>
                  </a:ext>
                </a:extLst>
              </p:cNvPr>
              <p:cNvSpPr/>
              <p:nvPr/>
            </p:nvSpPr>
            <p:spPr>
              <a:xfrm>
                <a:off x="6267933" y="3470971"/>
                <a:ext cx="9525" cy="23621"/>
              </a:xfrm>
              <a:custGeom>
                <a:avLst/>
                <a:gdLst>
                  <a:gd name="connsiteX0" fmla="*/ 0 w 9525"/>
                  <a:gd name="connsiteY0" fmla="*/ 0 h 23621"/>
                  <a:gd name="connsiteX1" fmla="*/ 0 w 9525"/>
                  <a:gd name="connsiteY1" fmla="*/ 23622 h 23621"/>
                </a:gdLst>
                <a:ahLst/>
                <a:cxnLst>
                  <a:cxn ang="0">
                    <a:pos x="connsiteX0" y="connsiteY0"/>
                  </a:cxn>
                  <a:cxn ang="0">
                    <a:pos x="connsiteX1" y="connsiteY1"/>
                  </a:cxn>
                </a:cxnLst>
                <a:rect l="l" t="t" r="r" b="b"/>
                <a:pathLst>
                  <a:path w="9525" h="23621">
                    <a:moveTo>
                      <a:pt x="0" y="0"/>
                    </a:moveTo>
                    <a:lnTo>
                      <a:pt x="0" y="23622"/>
                    </a:lnTo>
                  </a:path>
                </a:pathLst>
              </a:custGeom>
              <a:noFill/>
              <a:ln w="12700" cap="flat">
                <a:solidFill>
                  <a:schemeClr val="bg1"/>
                </a:solidFill>
                <a:prstDash val="solid"/>
                <a:miter/>
              </a:ln>
            </p:spPr>
            <p:txBody>
              <a:bodyPr rtlCol="0" anchor="ctr"/>
              <a:lstStyle/>
              <a:p>
                <a:endParaRPr lang="en-US" sz="1765"/>
              </a:p>
            </p:txBody>
          </p:sp>
          <p:sp>
            <p:nvSpPr>
              <p:cNvPr id="143" name="Freeform: Shape 142">
                <a:extLst>
                  <a:ext uri="{FF2B5EF4-FFF2-40B4-BE49-F238E27FC236}">
                    <a16:creationId xmlns:a16="http://schemas.microsoft.com/office/drawing/2014/main" id="{14C1452F-C8D3-42F5-9E7C-4221313CC5A1}"/>
                  </a:ext>
                </a:extLst>
              </p:cNvPr>
              <p:cNvSpPr/>
              <p:nvPr/>
            </p:nvSpPr>
            <p:spPr>
              <a:xfrm>
                <a:off x="6311037" y="3457541"/>
                <a:ext cx="9525" cy="18954"/>
              </a:xfrm>
              <a:custGeom>
                <a:avLst/>
                <a:gdLst>
                  <a:gd name="connsiteX0" fmla="*/ 0 w 9525"/>
                  <a:gd name="connsiteY0" fmla="*/ 0 h 18954"/>
                  <a:gd name="connsiteX1" fmla="*/ 0 w 9525"/>
                  <a:gd name="connsiteY1" fmla="*/ 18955 h 18954"/>
                </a:gdLst>
                <a:ahLst/>
                <a:cxnLst>
                  <a:cxn ang="0">
                    <a:pos x="connsiteX0" y="connsiteY0"/>
                  </a:cxn>
                  <a:cxn ang="0">
                    <a:pos x="connsiteX1" y="connsiteY1"/>
                  </a:cxn>
                </a:cxnLst>
                <a:rect l="l" t="t" r="r" b="b"/>
                <a:pathLst>
                  <a:path w="9525" h="18954">
                    <a:moveTo>
                      <a:pt x="0" y="0"/>
                    </a:moveTo>
                    <a:lnTo>
                      <a:pt x="0" y="18955"/>
                    </a:lnTo>
                  </a:path>
                </a:pathLst>
              </a:custGeom>
              <a:noFill/>
              <a:ln w="12700" cap="flat">
                <a:solidFill>
                  <a:schemeClr val="bg1"/>
                </a:solidFill>
                <a:prstDash val="solid"/>
                <a:miter/>
              </a:ln>
            </p:spPr>
            <p:txBody>
              <a:bodyPr rtlCol="0" anchor="ctr"/>
              <a:lstStyle/>
              <a:p>
                <a:endParaRPr lang="en-US" sz="1765"/>
              </a:p>
            </p:txBody>
          </p:sp>
          <p:sp>
            <p:nvSpPr>
              <p:cNvPr id="144" name="Freeform: Shape 143">
                <a:extLst>
                  <a:ext uri="{FF2B5EF4-FFF2-40B4-BE49-F238E27FC236}">
                    <a16:creationId xmlns:a16="http://schemas.microsoft.com/office/drawing/2014/main" id="{9C2F269B-4089-4873-AC5E-9F11CC2F6A2E}"/>
                  </a:ext>
                </a:extLst>
              </p:cNvPr>
              <p:cNvSpPr/>
              <p:nvPr/>
            </p:nvSpPr>
            <p:spPr>
              <a:xfrm>
                <a:off x="6349014" y="3437920"/>
                <a:ext cx="9525" cy="45624"/>
              </a:xfrm>
              <a:custGeom>
                <a:avLst/>
                <a:gdLst>
                  <a:gd name="connsiteX0" fmla="*/ 0 w 9525"/>
                  <a:gd name="connsiteY0" fmla="*/ 0 h 45624"/>
                  <a:gd name="connsiteX1" fmla="*/ 0 w 9525"/>
                  <a:gd name="connsiteY1" fmla="*/ 45625 h 45624"/>
                </a:gdLst>
                <a:ahLst/>
                <a:cxnLst>
                  <a:cxn ang="0">
                    <a:pos x="connsiteX0" y="connsiteY0"/>
                  </a:cxn>
                  <a:cxn ang="0">
                    <a:pos x="connsiteX1" y="connsiteY1"/>
                  </a:cxn>
                </a:cxnLst>
                <a:rect l="l" t="t" r="r" b="b"/>
                <a:pathLst>
                  <a:path w="9525" h="45624">
                    <a:moveTo>
                      <a:pt x="0" y="0"/>
                    </a:moveTo>
                    <a:lnTo>
                      <a:pt x="0" y="45625"/>
                    </a:lnTo>
                  </a:path>
                </a:pathLst>
              </a:custGeom>
              <a:noFill/>
              <a:ln w="12700" cap="flat">
                <a:solidFill>
                  <a:schemeClr val="bg1"/>
                </a:solidFill>
                <a:prstDash val="solid"/>
                <a:miter/>
              </a:ln>
            </p:spPr>
            <p:txBody>
              <a:bodyPr rtlCol="0" anchor="ctr"/>
              <a:lstStyle/>
              <a:p>
                <a:endParaRPr lang="en-US" sz="1765"/>
              </a:p>
            </p:txBody>
          </p:sp>
        </p:grpSp>
        <p:grpSp>
          <p:nvGrpSpPr>
            <p:cNvPr id="145" name="Graphic 42">
              <a:extLst>
                <a:ext uri="{FF2B5EF4-FFF2-40B4-BE49-F238E27FC236}">
                  <a16:creationId xmlns:a16="http://schemas.microsoft.com/office/drawing/2014/main" id="{A7E4B1A7-D273-4B20-94DC-5E9C7B9370A3}"/>
                </a:ext>
                <a:ext uri="{C183D7F6-B498-43B3-948B-1728B52AA6E4}">
                  <adec:decorative xmlns:adec="http://schemas.microsoft.com/office/drawing/2017/decorative" val="1"/>
                </a:ext>
              </a:extLst>
            </p:cNvPr>
            <p:cNvGrpSpPr/>
            <p:nvPr userDrawn="1"/>
          </p:nvGrpSpPr>
          <p:grpSpPr>
            <a:xfrm>
              <a:off x="8530634" y="1238250"/>
              <a:ext cx="240565" cy="279162"/>
              <a:chOff x="5565959" y="2740119"/>
              <a:chExt cx="1303815" cy="1512998"/>
            </a:xfrm>
            <a:noFill/>
          </p:grpSpPr>
          <p:sp>
            <p:nvSpPr>
              <p:cNvPr id="146" name="Freeform: Shape 145">
                <a:extLst>
                  <a:ext uri="{FF2B5EF4-FFF2-40B4-BE49-F238E27FC236}">
                    <a16:creationId xmlns:a16="http://schemas.microsoft.com/office/drawing/2014/main" id="{8157ACFB-2481-4523-A7A1-8622ED672B63}"/>
                  </a:ext>
                </a:extLst>
              </p:cNvPr>
              <p:cNvSpPr/>
              <p:nvPr/>
            </p:nvSpPr>
            <p:spPr>
              <a:xfrm>
                <a:off x="5950234" y="3351395"/>
                <a:ext cx="919540" cy="901722"/>
              </a:xfrm>
              <a:custGeom>
                <a:avLst/>
                <a:gdLst>
                  <a:gd name="connsiteX0" fmla="*/ 799780 w 919538"/>
                  <a:gd name="connsiteY0" fmla="*/ 751179 h 901721"/>
                  <a:gd name="connsiteX1" fmla="*/ 771586 w 919538"/>
                  <a:gd name="connsiteY1" fmla="*/ 117766 h 901721"/>
                  <a:gd name="connsiteX2" fmla="*/ 121981 w 919538"/>
                  <a:gd name="connsiteY2" fmla="*/ 145579 h 901721"/>
                  <a:gd name="connsiteX3" fmla="*/ 150175 w 919538"/>
                  <a:gd name="connsiteY3" fmla="*/ 784612 h 901721"/>
                  <a:gd name="connsiteX4" fmla="*/ 799780 w 919538"/>
                  <a:gd name="connsiteY4" fmla="*/ 751179 h 901721"/>
                  <a:gd name="connsiteX5" fmla="*/ 799780 w 919538"/>
                  <a:gd name="connsiteY5" fmla="*/ 751179 h 901721"/>
                  <a:gd name="connsiteX6" fmla="*/ 799780 w 919538"/>
                  <a:gd name="connsiteY6" fmla="*/ 751179 h 901721"/>
                  <a:gd name="connsiteX7" fmla="*/ 799780 w 919538"/>
                  <a:gd name="connsiteY7" fmla="*/ 751179 h 90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538" h="901721">
                    <a:moveTo>
                      <a:pt x="799780" y="751179"/>
                    </a:moveTo>
                    <a:cubicBezTo>
                      <a:pt x="969230" y="567823"/>
                      <a:pt x="957991" y="284454"/>
                      <a:pt x="771586" y="117766"/>
                    </a:cubicBezTo>
                    <a:cubicBezTo>
                      <a:pt x="585182" y="-48921"/>
                      <a:pt x="291431" y="-37777"/>
                      <a:pt x="121981" y="145579"/>
                    </a:cubicBezTo>
                    <a:cubicBezTo>
                      <a:pt x="-53088" y="328936"/>
                      <a:pt x="-36229" y="617924"/>
                      <a:pt x="150175" y="784612"/>
                    </a:cubicBezTo>
                    <a:cubicBezTo>
                      <a:pt x="336580" y="951204"/>
                      <a:pt x="624616" y="940060"/>
                      <a:pt x="799780" y="751179"/>
                    </a:cubicBezTo>
                    <a:lnTo>
                      <a:pt x="799780" y="751179"/>
                    </a:lnTo>
                    <a:lnTo>
                      <a:pt x="799780" y="751179"/>
                    </a:lnTo>
                    <a:lnTo>
                      <a:pt x="799780" y="751179"/>
                    </a:lnTo>
                    <a:close/>
                  </a:path>
                </a:pathLst>
              </a:custGeom>
              <a:noFill/>
              <a:ln w="12700" cap="sq">
                <a:solidFill>
                  <a:schemeClr val="bg1"/>
                </a:solidFill>
                <a:prstDash val="solid"/>
                <a:miter/>
              </a:ln>
            </p:spPr>
            <p:txBody>
              <a:bodyPr rtlCol="0" anchor="ctr"/>
              <a:lstStyle/>
              <a:p>
                <a:endParaRPr lang="en-IN" sz="1765"/>
              </a:p>
            </p:txBody>
          </p:sp>
          <p:sp>
            <p:nvSpPr>
              <p:cNvPr id="147" name="Freeform: Shape 146">
                <a:extLst>
                  <a:ext uri="{FF2B5EF4-FFF2-40B4-BE49-F238E27FC236}">
                    <a16:creationId xmlns:a16="http://schemas.microsoft.com/office/drawing/2014/main" id="{39B5D865-DDA2-4FDD-90B6-879967602EB2}"/>
                  </a:ext>
                </a:extLst>
              </p:cNvPr>
              <p:cNvSpPr/>
              <p:nvPr/>
            </p:nvSpPr>
            <p:spPr>
              <a:xfrm>
                <a:off x="5565959" y="2740119"/>
                <a:ext cx="991168" cy="1393985"/>
              </a:xfrm>
              <a:custGeom>
                <a:avLst/>
                <a:gdLst>
                  <a:gd name="connsiteX0" fmla="*/ 405479 w 991171"/>
                  <a:gd name="connsiteY0" fmla="*/ 1393984 h 1393983"/>
                  <a:gd name="connsiteX1" fmla="*/ 0 w 991171"/>
                  <a:gd name="connsiteY1" fmla="*/ 1393984 h 1393983"/>
                  <a:gd name="connsiteX2" fmla="*/ 0 w 991171"/>
                  <a:gd name="connsiteY2" fmla="*/ 0 h 1393983"/>
                  <a:gd name="connsiteX3" fmla="*/ 991172 w 991171"/>
                  <a:gd name="connsiteY3" fmla="*/ 762 h 1393983"/>
                  <a:gd name="connsiteX4" fmla="*/ 991172 w 991171"/>
                  <a:gd name="connsiteY4" fmla="*/ 533114 h 139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71" h="1393983">
                    <a:moveTo>
                      <a:pt x="405479" y="1393984"/>
                    </a:moveTo>
                    <a:cubicBezTo>
                      <a:pt x="0" y="1393984"/>
                      <a:pt x="0" y="1393984"/>
                      <a:pt x="0" y="1393984"/>
                    </a:cubicBezTo>
                    <a:lnTo>
                      <a:pt x="0" y="0"/>
                    </a:lnTo>
                    <a:lnTo>
                      <a:pt x="991172" y="762"/>
                    </a:lnTo>
                    <a:cubicBezTo>
                      <a:pt x="991172" y="533114"/>
                      <a:pt x="991172" y="533114"/>
                      <a:pt x="991172" y="533114"/>
                    </a:cubicBezTo>
                  </a:path>
                </a:pathLst>
              </a:custGeom>
              <a:noFill/>
              <a:ln w="12700" cap="sq">
                <a:solidFill>
                  <a:schemeClr val="bg1"/>
                </a:solidFill>
                <a:prstDash val="solid"/>
                <a:miter/>
              </a:ln>
            </p:spPr>
            <p:txBody>
              <a:bodyPr rtlCol="0" anchor="ctr"/>
              <a:lstStyle/>
              <a:p>
                <a:endParaRPr lang="en-IN" sz="1765"/>
              </a:p>
            </p:txBody>
          </p:sp>
          <p:sp>
            <p:nvSpPr>
              <p:cNvPr id="148" name="Freeform: Shape 147">
                <a:extLst>
                  <a:ext uri="{FF2B5EF4-FFF2-40B4-BE49-F238E27FC236}">
                    <a16:creationId xmlns:a16="http://schemas.microsoft.com/office/drawing/2014/main" id="{8C509A40-B683-447A-97B0-5CA5BCB8AF9C}"/>
                  </a:ext>
                </a:extLst>
              </p:cNvPr>
              <p:cNvSpPr/>
              <p:nvPr/>
            </p:nvSpPr>
            <p:spPr>
              <a:xfrm>
                <a:off x="6143748" y="3674712"/>
                <a:ext cx="518729" cy="323659"/>
              </a:xfrm>
              <a:custGeom>
                <a:avLst/>
                <a:gdLst>
                  <a:gd name="connsiteX0" fmla="*/ 0 w 518731"/>
                  <a:gd name="connsiteY0" fmla="*/ 145828 h 323659"/>
                  <a:gd name="connsiteX1" fmla="*/ 150304 w 518731"/>
                  <a:gd name="connsiteY1" fmla="*/ 323660 h 323659"/>
                  <a:gd name="connsiteX2" fmla="*/ 518732 w 518731"/>
                  <a:gd name="connsiteY2" fmla="*/ 0 h 323659"/>
                </a:gdLst>
                <a:ahLst/>
                <a:cxnLst>
                  <a:cxn ang="0">
                    <a:pos x="connsiteX0" y="connsiteY0"/>
                  </a:cxn>
                  <a:cxn ang="0">
                    <a:pos x="connsiteX1" y="connsiteY1"/>
                  </a:cxn>
                  <a:cxn ang="0">
                    <a:pos x="connsiteX2" y="connsiteY2"/>
                  </a:cxn>
                </a:cxnLst>
                <a:rect l="l" t="t" r="r" b="b"/>
                <a:pathLst>
                  <a:path w="518731" h="323659">
                    <a:moveTo>
                      <a:pt x="0" y="145828"/>
                    </a:moveTo>
                    <a:lnTo>
                      <a:pt x="150304" y="323660"/>
                    </a:lnTo>
                    <a:lnTo>
                      <a:pt x="518732" y="0"/>
                    </a:lnTo>
                  </a:path>
                </a:pathLst>
              </a:custGeom>
              <a:noFill/>
              <a:ln w="12700" cap="sq">
                <a:solidFill>
                  <a:schemeClr val="bg1"/>
                </a:solidFill>
                <a:prstDash val="solid"/>
                <a:miter/>
              </a:ln>
            </p:spPr>
            <p:txBody>
              <a:bodyPr rtlCol="0" anchor="ctr"/>
              <a:lstStyle/>
              <a:p>
                <a:endParaRPr lang="en-IN" sz="1765"/>
              </a:p>
            </p:txBody>
          </p:sp>
          <p:sp>
            <p:nvSpPr>
              <p:cNvPr id="149" name="Freeform: Shape 148">
                <a:extLst>
                  <a:ext uri="{FF2B5EF4-FFF2-40B4-BE49-F238E27FC236}">
                    <a16:creationId xmlns:a16="http://schemas.microsoft.com/office/drawing/2014/main" id="{FD9EC5EA-DBE3-49BF-8C9C-BA226BA26B15}"/>
                  </a:ext>
                </a:extLst>
              </p:cNvPr>
              <p:cNvSpPr/>
              <p:nvPr/>
            </p:nvSpPr>
            <p:spPr>
              <a:xfrm>
                <a:off x="5641690" y="2844515"/>
                <a:ext cx="811339" cy="1101186"/>
              </a:xfrm>
              <a:custGeom>
                <a:avLst/>
                <a:gdLst>
                  <a:gd name="connsiteX0" fmla="*/ 166402 w 811339"/>
                  <a:gd name="connsiteY0" fmla="*/ 0 h 1101185"/>
                  <a:gd name="connsiteX1" fmla="*/ 645033 w 811339"/>
                  <a:gd name="connsiteY1" fmla="*/ 0 h 1101185"/>
                  <a:gd name="connsiteX2" fmla="*/ 0 w 811339"/>
                  <a:gd name="connsiteY2" fmla="*/ 183547 h 1101185"/>
                  <a:gd name="connsiteX3" fmla="*/ 811340 w 811339"/>
                  <a:gd name="connsiteY3" fmla="*/ 183547 h 1101185"/>
                  <a:gd name="connsiteX4" fmla="*/ 0 w 811339"/>
                  <a:gd name="connsiteY4" fmla="*/ 367093 h 1101185"/>
                  <a:gd name="connsiteX5" fmla="*/ 811340 w 811339"/>
                  <a:gd name="connsiteY5" fmla="*/ 367093 h 1101185"/>
                  <a:gd name="connsiteX6" fmla="*/ 0 w 811339"/>
                  <a:gd name="connsiteY6" fmla="*/ 550640 h 1101185"/>
                  <a:gd name="connsiteX7" fmla="*/ 459581 w 811339"/>
                  <a:gd name="connsiteY7" fmla="*/ 550640 h 1101185"/>
                  <a:gd name="connsiteX8" fmla="*/ 0 w 811339"/>
                  <a:gd name="connsiteY8" fmla="*/ 734187 h 1101185"/>
                  <a:gd name="connsiteX9" fmla="*/ 316135 w 811339"/>
                  <a:gd name="connsiteY9" fmla="*/ 734187 h 1101185"/>
                  <a:gd name="connsiteX10" fmla="*/ 0 w 811339"/>
                  <a:gd name="connsiteY10" fmla="*/ 917639 h 1101185"/>
                  <a:gd name="connsiteX11" fmla="*/ 275177 w 811339"/>
                  <a:gd name="connsiteY11" fmla="*/ 917639 h 1101185"/>
                  <a:gd name="connsiteX12" fmla="*/ 0 w 811339"/>
                  <a:gd name="connsiteY12" fmla="*/ 1101185 h 1101185"/>
                  <a:gd name="connsiteX13" fmla="*/ 275177 w 811339"/>
                  <a:gd name="connsiteY13" fmla="*/ 1101185 h 110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1339" h="1101185">
                    <a:moveTo>
                      <a:pt x="166402" y="0"/>
                    </a:moveTo>
                    <a:lnTo>
                      <a:pt x="645033" y="0"/>
                    </a:lnTo>
                    <a:moveTo>
                      <a:pt x="0" y="183547"/>
                    </a:moveTo>
                    <a:lnTo>
                      <a:pt x="811340" y="183547"/>
                    </a:lnTo>
                    <a:moveTo>
                      <a:pt x="0" y="367093"/>
                    </a:moveTo>
                    <a:lnTo>
                      <a:pt x="811340" y="367093"/>
                    </a:lnTo>
                    <a:moveTo>
                      <a:pt x="0" y="550640"/>
                    </a:moveTo>
                    <a:lnTo>
                      <a:pt x="459581" y="550640"/>
                    </a:lnTo>
                    <a:moveTo>
                      <a:pt x="0" y="734187"/>
                    </a:moveTo>
                    <a:lnTo>
                      <a:pt x="316135" y="734187"/>
                    </a:lnTo>
                    <a:moveTo>
                      <a:pt x="0" y="917639"/>
                    </a:moveTo>
                    <a:lnTo>
                      <a:pt x="275177" y="917639"/>
                    </a:lnTo>
                    <a:moveTo>
                      <a:pt x="0" y="1101185"/>
                    </a:moveTo>
                    <a:lnTo>
                      <a:pt x="275177" y="1101185"/>
                    </a:lnTo>
                  </a:path>
                </a:pathLst>
              </a:custGeom>
              <a:noFill/>
              <a:ln w="12700" cap="sq">
                <a:solidFill>
                  <a:schemeClr val="bg1"/>
                </a:solidFill>
                <a:prstDash val="solid"/>
                <a:miter/>
              </a:ln>
            </p:spPr>
            <p:txBody>
              <a:bodyPr rtlCol="0" anchor="ctr"/>
              <a:lstStyle/>
              <a:p>
                <a:endParaRPr lang="en-IN" sz="1765"/>
              </a:p>
            </p:txBody>
          </p:sp>
        </p:grpSp>
        <p:grpSp>
          <p:nvGrpSpPr>
            <p:cNvPr id="150" name="Graphic 81">
              <a:extLst>
                <a:ext uri="{FF2B5EF4-FFF2-40B4-BE49-F238E27FC236}">
                  <a16:creationId xmlns:a16="http://schemas.microsoft.com/office/drawing/2014/main" id="{D44DDFC0-D26E-491C-BA2D-DE20E3118700}"/>
                </a:ext>
                <a:ext uri="{C183D7F6-B498-43B3-948B-1728B52AA6E4}">
                  <adec:decorative xmlns:adec="http://schemas.microsoft.com/office/drawing/2017/decorative" val="1"/>
                </a:ext>
              </a:extLst>
            </p:cNvPr>
            <p:cNvGrpSpPr/>
            <p:nvPr userDrawn="1"/>
          </p:nvGrpSpPr>
          <p:grpSpPr>
            <a:xfrm>
              <a:off x="7284425" y="2439931"/>
              <a:ext cx="338866" cy="358582"/>
              <a:chOff x="5889651" y="3149733"/>
              <a:chExt cx="661104" cy="699567"/>
            </a:xfrm>
          </p:grpSpPr>
          <p:sp>
            <p:nvSpPr>
              <p:cNvPr id="151" name="Freeform: Shape 150">
                <a:extLst>
                  <a:ext uri="{FF2B5EF4-FFF2-40B4-BE49-F238E27FC236}">
                    <a16:creationId xmlns:a16="http://schemas.microsoft.com/office/drawing/2014/main" id="{8280FA72-07F6-406E-9A3F-C6FCFF48A230}"/>
                  </a:ext>
                </a:extLst>
              </p:cNvPr>
              <p:cNvSpPr/>
              <p:nvPr/>
            </p:nvSpPr>
            <p:spPr>
              <a:xfrm>
                <a:off x="6079373" y="3227317"/>
                <a:ext cx="283464" cy="49339"/>
              </a:xfrm>
              <a:custGeom>
                <a:avLst/>
                <a:gdLst>
                  <a:gd name="connsiteX0" fmla="*/ 0 w 283464"/>
                  <a:gd name="connsiteY0" fmla="*/ 23622 h 49339"/>
                  <a:gd name="connsiteX1" fmla="*/ 117443 w 283464"/>
                  <a:gd name="connsiteY1" fmla="*/ 0 h 49339"/>
                  <a:gd name="connsiteX2" fmla="*/ 283464 w 283464"/>
                  <a:gd name="connsiteY2" fmla="*/ 49340 h 49339"/>
                </a:gdLst>
                <a:ahLst/>
                <a:cxnLst>
                  <a:cxn ang="0">
                    <a:pos x="connsiteX0" y="connsiteY0"/>
                  </a:cxn>
                  <a:cxn ang="0">
                    <a:pos x="connsiteX1" y="connsiteY1"/>
                  </a:cxn>
                  <a:cxn ang="0">
                    <a:pos x="connsiteX2" y="connsiteY2"/>
                  </a:cxn>
                </a:cxnLst>
                <a:rect l="l" t="t" r="r" b="b"/>
                <a:pathLst>
                  <a:path w="283464" h="49339">
                    <a:moveTo>
                      <a:pt x="0" y="23622"/>
                    </a:moveTo>
                    <a:cubicBezTo>
                      <a:pt x="36100" y="8477"/>
                      <a:pt x="75819" y="0"/>
                      <a:pt x="117443" y="0"/>
                    </a:cubicBezTo>
                    <a:cubicBezTo>
                      <a:pt x="178689" y="0"/>
                      <a:pt x="235649" y="18098"/>
                      <a:pt x="283464" y="4934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52" name="Freeform: Shape 151">
                <a:extLst>
                  <a:ext uri="{FF2B5EF4-FFF2-40B4-BE49-F238E27FC236}">
                    <a16:creationId xmlns:a16="http://schemas.microsoft.com/office/drawing/2014/main" id="{B543CD48-BD26-46BA-8E19-EA914468DC8D}"/>
                  </a:ext>
                </a:extLst>
              </p:cNvPr>
              <p:cNvSpPr/>
              <p:nvPr/>
            </p:nvSpPr>
            <p:spPr>
              <a:xfrm>
                <a:off x="5889731" y="3345048"/>
                <a:ext cx="614268" cy="504252"/>
              </a:xfrm>
              <a:custGeom>
                <a:avLst/>
                <a:gdLst>
                  <a:gd name="connsiteX0" fmla="*/ 575596 w 614267"/>
                  <a:gd name="connsiteY0" fmla="*/ 42481 h 504253"/>
                  <a:gd name="connsiteX1" fmla="*/ 614267 w 614267"/>
                  <a:gd name="connsiteY1" fmla="*/ 194215 h 504253"/>
                  <a:gd name="connsiteX2" fmla="*/ 307181 w 614267"/>
                  <a:gd name="connsiteY2" fmla="*/ 504254 h 504253"/>
                  <a:gd name="connsiteX3" fmla="*/ 0 w 614267"/>
                  <a:gd name="connsiteY3" fmla="*/ 194215 h 504253"/>
                  <a:gd name="connsiteX4" fmla="*/ 0 w 614267"/>
                  <a:gd name="connsiteY4" fmla="*/ 194215 h 504253"/>
                  <a:gd name="connsiteX5" fmla="*/ 66580 w 614267"/>
                  <a:gd name="connsiteY5" fmla="*/ 0 h 5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267" h="504253">
                    <a:moveTo>
                      <a:pt x="575596" y="42481"/>
                    </a:moveTo>
                    <a:cubicBezTo>
                      <a:pt x="600266" y="87440"/>
                      <a:pt x="614267" y="139160"/>
                      <a:pt x="614267" y="194215"/>
                    </a:cubicBezTo>
                    <a:cubicBezTo>
                      <a:pt x="614267" y="364141"/>
                      <a:pt x="477393" y="504254"/>
                      <a:pt x="307181" y="504254"/>
                    </a:cubicBezTo>
                    <a:cubicBezTo>
                      <a:pt x="136970" y="504254"/>
                      <a:pt x="0" y="364141"/>
                      <a:pt x="0" y="194215"/>
                    </a:cubicBezTo>
                    <a:lnTo>
                      <a:pt x="0" y="194215"/>
                    </a:lnTo>
                    <a:cubicBezTo>
                      <a:pt x="0" y="121348"/>
                      <a:pt x="24098" y="54102"/>
                      <a:pt x="6658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53" name="Freeform: Shape 152">
                <a:extLst>
                  <a:ext uri="{FF2B5EF4-FFF2-40B4-BE49-F238E27FC236}">
                    <a16:creationId xmlns:a16="http://schemas.microsoft.com/office/drawing/2014/main" id="{76598F76-1134-42BF-8DC3-596350797841}"/>
                  </a:ext>
                </a:extLst>
              </p:cNvPr>
              <p:cNvSpPr/>
              <p:nvPr/>
            </p:nvSpPr>
            <p:spPr>
              <a:xfrm>
                <a:off x="5948977" y="3354383"/>
                <a:ext cx="60102" cy="9524"/>
              </a:xfrm>
              <a:custGeom>
                <a:avLst/>
                <a:gdLst>
                  <a:gd name="connsiteX0" fmla="*/ 60103 w 60102"/>
                  <a:gd name="connsiteY0" fmla="*/ 0 h 9525"/>
                  <a:gd name="connsiteX1" fmla="*/ 0 w 60102"/>
                  <a:gd name="connsiteY1" fmla="*/ 0 h 9525"/>
                </a:gdLst>
                <a:ahLst/>
                <a:cxnLst>
                  <a:cxn ang="0">
                    <a:pos x="connsiteX0" y="connsiteY0"/>
                  </a:cxn>
                  <a:cxn ang="0">
                    <a:pos x="connsiteX1" y="connsiteY1"/>
                  </a:cxn>
                </a:cxnLst>
                <a:rect l="l" t="t" r="r" b="b"/>
                <a:pathLst>
                  <a:path w="60102" h="9525">
                    <a:moveTo>
                      <a:pt x="60103" y="0"/>
                    </a:moveTo>
                    <a:cubicBezTo>
                      <a:pt x="0" y="0"/>
                      <a:pt x="0" y="0"/>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54" name="Freeform: Shape 153">
                <a:extLst>
                  <a:ext uri="{FF2B5EF4-FFF2-40B4-BE49-F238E27FC236}">
                    <a16:creationId xmlns:a16="http://schemas.microsoft.com/office/drawing/2014/main" id="{F0D8F9A8-F91D-45CB-8B9C-D197B43DF5AD}"/>
                  </a:ext>
                </a:extLst>
              </p:cNvPr>
              <p:cNvSpPr/>
              <p:nvPr/>
            </p:nvSpPr>
            <p:spPr>
              <a:xfrm>
                <a:off x="5928687" y="3315041"/>
                <a:ext cx="229266" cy="498729"/>
              </a:xfrm>
              <a:custGeom>
                <a:avLst/>
                <a:gdLst>
                  <a:gd name="connsiteX0" fmla="*/ 125730 w 229266"/>
                  <a:gd name="connsiteY0" fmla="*/ 498729 h 498729"/>
                  <a:gd name="connsiteX1" fmla="*/ 149828 w 229266"/>
                  <a:gd name="connsiteY1" fmla="*/ 470726 h 498729"/>
                  <a:gd name="connsiteX2" fmla="*/ 142399 w 229266"/>
                  <a:gd name="connsiteY2" fmla="*/ 420338 h 498729"/>
                  <a:gd name="connsiteX3" fmla="*/ 94298 w 229266"/>
                  <a:gd name="connsiteY3" fmla="*/ 388620 h 498729"/>
                  <a:gd name="connsiteX4" fmla="*/ 31433 w 229266"/>
                  <a:gd name="connsiteY4" fmla="*/ 388620 h 498729"/>
                  <a:gd name="connsiteX5" fmla="*/ 0 w 229266"/>
                  <a:gd name="connsiteY5" fmla="*/ 317659 h 498729"/>
                  <a:gd name="connsiteX6" fmla="*/ 31433 w 229266"/>
                  <a:gd name="connsiteY6" fmla="*/ 226124 h 498729"/>
                  <a:gd name="connsiteX7" fmla="*/ 68390 w 229266"/>
                  <a:gd name="connsiteY7" fmla="*/ 224218 h 498729"/>
                  <a:gd name="connsiteX8" fmla="*/ 109061 w 229266"/>
                  <a:gd name="connsiteY8" fmla="*/ 272796 h 498729"/>
                  <a:gd name="connsiteX9" fmla="*/ 149733 w 229266"/>
                  <a:gd name="connsiteY9" fmla="*/ 252222 h 498729"/>
                  <a:gd name="connsiteX10" fmla="*/ 133064 w 229266"/>
                  <a:gd name="connsiteY10" fmla="*/ 203644 h 498729"/>
                  <a:gd name="connsiteX11" fmla="*/ 147828 w 229266"/>
                  <a:gd name="connsiteY11" fmla="*/ 143828 h 498729"/>
                  <a:gd name="connsiteX12" fmla="*/ 229267 w 229266"/>
                  <a:gd name="connsiteY12" fmla="*/ 61627 h 498729"/>
                  <a:gd name="connsiteX13" fmla="*/ 181166 w 229266"/>
                  <a:gd name="connsiteY13" fmla="*/ 0 h 498729"/>
                  <a:gd name="connsiteX14" fmla="*/ 153067 w 229266"/>
                  <a:gd name="connsiteY14" fmla="*/ 33147 h 498729"/>
                  <a:gd name="connsiteX15" fmla="*/ 147923 w 229266"/>
                  <a:gd name="connsiteY15" fmla="*/ 39338 h 49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9266" h="498729">
                    <a:moveTo>
                      <a:pt x="125730" y="498729"/>
                    </a:moveTo>
                    <a:cubicBezTo>
                      <a:pt x="149828" y="470726"/>
                      <a:pt x="149828" y="470726"/>
                      <a:pt x="149828" y="470726"/>
                    </a:cubicBezTo>
                    <a:cubicBezTo>
                      <a:pt x="142399" y="420338"/>
                      <a:pt x="142399" y="420338"/>
                      <a:pt x="142399" y="420338"/>
                    </a:cubicBezTo>
                    <a:cubicBezTo>
                      <a:pt x="94298" y="388620"/>
                      <a:pt x="94298" y="388620"/>
                      <a:pt x="94298" y="388620"/>
                    </a:cubicBezTo>
                    <a:cubicBezTo>
                      <a:pt x="31433" y="388620"/>
                      <a:pt x="31433" y="388620"/>
                      <a:pt x="31433" y="388620"/>
                    </a:cubicBezTo>
                    <a:cubicBezTo>
                      <a:pt x="0" y="317659"/>
                      <a:pt x="0" y="317659"/>
                      <a:pt x="0" y="317659"/>
                    </a:cubicBezTo>
                    <a:cubicBezTo>
                      <a:pt x="31433" y="226124"/>
                      <a:pt x="31433" y="226124"/>
                      <a:pt x="31433" y="226124"/>
                    </a:cubicBezTo>
                    <a:cubicBezTo>
                      <a:pt x="68390" y="224218"/>
                      <a:pt x="68390" y="224218"/>
                      <a:pt x="68390" y="224218"/>
                    </a:cubicBezTo>
                    <a:cubicBezTo>
                      <a:pt x="109061" y="272796"/>
                      <a:pt x="109061" y="272796"/>
                      <a:pt x="109061" y="272796"/>
                    </a:cubicBezTo>
                    <a:cubicBezTo>
                      <a:pt x="149733" y="252222"/>
                      <a:pt x="149733" y="252222"/>
                      <a:pt x="149733" y="252222"/>
                    </a:cubicBezTo>
                    <a:cubicBezTo>
                      <a:pt x="133064" y="203644"/>
                      <a:pt x="133064" y="203644"/>
                      <a:pt x="133064" y="203644"/>
                    </a:cubicBezTo>
                    <a:cubicBezTo>
                      <a:pt x="147828" y="143828"/>
                      <a:pt x="147828" y="143828"/>
                      <a:pt x="147828" y="143828"/>
                    </a:cubicBezTo>
                    <a:cubicBezTo>
                      <a:pt x="229267" y="61627"/>
                      <a:pt x="229267" y="61627"/>
                      <a:pt x="229267" y="61627"/>
                    </a:cubicBezTo>
                    <a:cubicBezTo>
                      <a:pt x="181166" y="0"/>
                      <a:pt x="181166" y="0"/>
                      <a:pt x="181166" y="0"/>
                    </a:cubicBezTo>
                    <a:cubicBezTo>
                      <a:pt x="165830" y="18097"/>
                      <a:pt x="157544" y="27813"/>
                      <a:pt x="153067" y="33147"/>
                    </a:cubicBezTo>
                    <a:cubicBezTo>
                      <a:pt x="147923" y="39338"/>
                      <a:pt x="147923" y="39338"/>
                      <a:pt x="147923" y="3933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55" name="Freeform: Shape 154">
                <a:extLst>
                  <a:ext uri="{FF2B5EF4-FFF2-40B4-BE49-F238E27FC236}">
                    <a16:creationId xmlns:a16="http://schemas.microsoft.com/office/drawing/2014/main" id="{6B0D5C9D-BC74-4848-BACA-0C73ADFDAFFA}"/>
                  </a:ext>
                </a:extLst>
              </p:cNvPr>
              <p:cNvSpPr/>
              <p:nvPr/>
            </p:nvSpPr>
            <p:spPr>
              <a:xfrm>
                <a:off x="6187578" y="3272179"/>
                <a:ext cx="316421" cy="495012"/>
              </a:xfrm>
              <a:custGeom>
                <a:avLst/>
                <a:gdLst>
                  <a:gd name="connsiteX0" fmla="*/ 166592 w 316420"/>
                  <a:gd name="connsiteY0" fmla="*/ 0 h 495014"/>
                  <a:gd name="connsiteX1" fmla="*/ 48196 w 316420"/>
                  <a:gd name="connsiteY1" fmla="*/ 59817 h 495014"/>
                  <a:gd name="connsiteX2" fmla="*/ 74105 w 316420"/>
                  <a:gd name="connsiteY2" fmla="*/ 127063 h 495014"/>
                  <a:gd name="connsiteX3" fmla="*/ 136969 w 316420"/>
                  <a:gd name="connsiteY3" fmla="*/ 127063 h 495014"/>
                  <a:gd name="connsiteX4" fmla="*/ 107347 w 316420"/>
                  <a:gd name="connsiteY4" fmla="*/ 170021 h 495014"/>
                  <a:gd name="connsiteX5" fmla="*/ 48101 w 316420"/>
                  <a:gd name="connsiteY5" fmla="*/ 198025 h 495014"/>
                  <a:gd name="connsiteX6" fmla="*/ 0 w 316420"/>
                  <a:gd name="connsiteY6" fmla="*/ 268986 h 495014"/>
                  <a:gd name="connsiteX7" fmla="*/ 14764 w 316420"/>
                  <a:gd name="connsiteY7" fmla="*/ 336232 h 495014"/>
                  <a:gd name="connsiteX8" fmla="*/ 83249 w 316420"/>
                  <a:gd name="connsiteY8" fmla="*/ 375476 h 495014"/>
                  <a:gd name="connsiteX9" fmla="*/ 105442 w 316420"/>
                  <a:gd name="connsiteY9" fmla="*/ 351187 h 495014"/>
                  <a:gd name="connsiteX10" fmla="*/ 125825 w 316420"/>
                  <a:gd name="connsiteY10" fmla="*/ 411004 h 495014"/>
                  <a:gd name="connsiteX11" fmla="*/ 103632 w 316420"/>
                  <a:gd name="connsiteY11" fmla="*/ 495014 h 495014"/>
                  <a:gd name="connsiteX12" fmla="*/ 155448 w 316420"/>
                  <a:gd name="connsiteY12" fmla="*/ 470726 h 495014"/>
                  <a:gd name="connsiteX13" fmla="*/ 181356 w 316420"/>
                  <a:gd name="connsiteY13" fmla="*/ 433388 h 495014"/>
                  <a:gd name="connsiteX14" fmla="*/ 181356 w 316420"/>
                  <a:gd name="connsiteY14" fmla="*/ 268986 h 495014"/>
                  <a:gd name="connsiteX15" fmla="*/ 144399 w 316420"/>
                  <a:gd name="connsiteY15" fmla="*/ 211074 h 495014"/>
                  <a:gd name="connsiteX16" fmla="*/ 181356 w 316420"/>
                  <a:gd name="connsiteY16" fmla="*/ 186785 h 495014"/>
                  <a:gd name="connsiteX17" fmla="*/ 227648 w 316420"/>
                  <a:gd name="connsiteY17" fmla="*/ 211074 h 495014"/>
                  <a:gd name="connsiteX18" fmla="*/ 268319 w 316420"/>
                  <a:gd name="connsiteY18" fmla="*/ 272701 h 495014"/>
                  <a:gd name="connsiteX19" fmla="*/ 268319 w 316420"/>
                  <a:gd name="connsiteY19" fmla="*/ 302609 h 495014"/>
                  <a:gd name="connsiteX20" fmla="*/ 316421 w 316420"/>
                  <a:gd name="connsiteY20" fmla="*/ 293180 h 49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6420" h="495014">
                    <a:moveTo>
                      <a:pt x="166592" y="0"/>
                    </a:moveTo>
                    <a:cubicBezTo>
                      <a:pt x="48196" y="59817"/>
                      <a:pt x="48196" y="59817"/>
                      <a:pt x="48196" y="59817"/>
                    </a:cubicBezTo>
                    <a:cubicBezTo>
                      <a:pt x="74105" y="127063"/>
                      <a:pt x="74105" y="127063"/>
                      <a:pt x="74105" y="127063"/>
                    </a:cubicBezTo>
                    <a:cubicBezTo>
                      <a:pt x="136969" y="127063"/>
                      <a:pt x="136969" y="127063"/>
                      <a:pt x="136969" y="127063"/>
                    </a:cubicBezTo>
                    <a:cubicBezTo>
                      <a:pt x="107347" y="170021"/>
                      <a:pt x="107347" y="170021"/>
                      <a:pt x="107347" y="170021"/>
                    </a:cubicBezTo>
                    <a:cubicBezTo>
                      <a:pt x="48101" y="198025"/>
                      <a:pt x="48101" y="198025"/>
                      <a:pt x="48101" y="198025"/>
                    </a:cubicBezTo>
                    <a:cubicBezTo>
                      <a:pt x="0" y="268986"/>
                      <a:pt x="0" y="268986"/>
                      <a:pt x="0" y="268986"/>
                    </a:cubicBezTo>
                    <a:cubicBezTo>
                      <a:pt x="14764" y="336232"/>
                      <a:pt x="14764" y="336232"/>
                      <a:pt x="14764" y="336232"/>
                    </a:cubicBezTo>
                    <a:cubicBezTo>
                      <a:pt x="83249" y="375476"/>
                      <a:pt x="83249" y="375476"/>
                      <a:pt x="83249" y="375476"/>
                    </a:cubicBezTo>
                    <a:cubicBezTo>
                      <a:pt x="105442" y="351187"/>
                      <a:pt x="105442" y="351187"/>
                      <a:pt x="105442" y="351187"/>
                    </a:cubicBezTo>
                    <a:cubicBezTo>
                      <a:pt x="125825" y="411004"/>
                      <a:pt x="125825" y="411004"/>
                      <a:pt x="125825" y="411004"/>
                    </a:cubicBezTo>
                    <a:cubicBezTo>
                      <a:pt x="103632" y="495014"/>
                      <a:pt x="103632" y="495014"/>
                      <a:pt x="103632" y="495014"/>
                    </a:cubicBezTo>
                    <a:cubicBezTo>
                      <a:pt x="155448" y="470726"/>
                      <a:pt x="155448" y="470726"/>
                      <a:pt x="155448" y="470726"/>
                    </a:cubicBezTo>
                    <a:cubicBezTo>
                      <a:pt x="181356" y="433388"/>
                      <a:pt x="181356" y="433388"/>
                      <a:pt x="181356" y="433388"/>
                    </a:cubicBezTo>
                    <a:cubicBezTo>
                      <a:pt x="181356" y="268986"/>
                      <a:pt x="181356" y="268986"/>
                      <a:pt x="181356" y="268986"/>
                    </a:cubicBezTo>
                    <a:cubicBezTo>
                      <a:pt x="144399" y="211074"/>
                      <a:pt x="144399" y="211074"/>
                      <a:pt x="144399" y="211074"/>
                    </a:cubicBezTo>
                    <a:cubicBezTo>
                      <a:pt x="181356" y="186785"/>
                      <a:pt x="181356" y="186785"/>
                      <a:pt x="181356" y="186785"/>
                    </a:cubicBezTo>
                    <a:cubicBezTo>
                      <a:pt x="227648" y="211074"/>
                      <a:pt x="227648" y="211074"/>
                      <a:pt x="227648" y="211074"/>
                    </a:cubicBezTo>
                    <a:cubicBezTo>
                      <a:pt x="268319" y="272701"/>
                      <a:pt x="268319" y="272701"/>
                      <a:pt x="268319" y="272701"/>
                    </a:cubicBezTo>
                    <a:cubicBezTo>
                      <a:pt x="268319" y="302609"/>
                      <a:pt x="268319" y="302609"/>
                      <a:pt x="268319" y="302609"/>
                    </a:cubicBezTo>
                    <a:cubicBezTo>
                      <a:pt x="316421" y="293180"/>
                      <a:pt x="316421" y="293180"/>
                      <a:pt x="316421" y="29318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56" name="Freeform: Shape 155">
                <a:extLst>
                  <a:ext uri="{FF2B5EF4-FFF2-40B4-BE49-F238E27FC236}">
                    <a16:creationId xmlns:a16="http://schemas.microsoft.com/office/drawing/2014/main" id="{84612C3E-1080-4513-9BC6-483C1DB8804B}"/>
                  </a:ext>
                </a:extLst>
              </p:cNvPr>
              <p:cNvSpPr/>
              <p:nvPr/>
            </p:nvSpPr>
            <p:spPr>
              <a:xfrm>
                <a:off x="6378712" y="3177389"/>
                <a:ext cx="172043" cy="262429"/>
              </a:xfrm>
              <a:custGeom>
                <a:avLst/>
                <a:gdLst>
                  <a:gd name="connsiteX0" fmla="*/ 143761 w 172042"/>
                  <a:gd name="connsiteY0" fmla="*/ 148987 h 262430"/>
                  <a:gd name="connsiteX1" fmla="*/ 11078 w 172042"/>
                  <a:gd name="connsiteY1" fmla="*/ 262430 h 262430"/>
                  <a:gd name="connsiteX2" fmla="*/ 219 w 172042"/>
                  <a:gd name="connsiteY2" fmla="*/ 88218 h 262430"/>
                  <a:gd name="connsiteX3" fmla="*/ 5744 w 172042"/>
                  <a:gd name="connsiteY3" fmla="*/ 52975 h 262430"/>
                  <a:gd name="connsiteX4" fmla="*/ 119282 w 172042"/>
                  <a:gd name="connsiteY4" fmla="*/ 6874 h 262430"/>
                  <a:gd name="connsiteX5" fmla="*/ 165097 w 172042"/>
                  <a:gd name="connsiteY5" fmla="*/ 120508 h 262430"/>
                  <a:gd name="connsiteX6" fmla="*/ 143761 w 172042"/>
                  <a:gd name="connsiteY6" fmla="*/ 148987 h 262430"/>
                  <a:gd name="connsiteX7" fmla="*/ 143761 w 172042"/>
                  <a:gd name="connsiteY7" fmla="*/ 148987 h 262430"/>
                  <a:gd name="connsiteX8" fmla="*/ 104232 w 172042"/>
                  <a:gd name="connsiteY8" fmla="*/ 42688 h 262430"/>
                  <a:gd name="connsiteX9" fmla="*/ 41367 w 172042"/>
                  <a:gd name="connsiteY9" fmla="*/ 68215 h 262430"/>
                  <a:gd name="connsiteX10" fmla="*/ 66704 w 172042"/>
                  <a:gd name="connsiteY10" fmla="*/ 131080 h 262430"/>
                  <a:gd name="connsiteX11" fmla="*/ 129569 w 172042"/>
                  <a:gd name="connsiteY11" fmla="*/ 105553 h 262430"/>
                  <a:gd name="connsiteX12" fmla="*/ 104232 w 172042"/>
                  <a:gd name="connsiteY12" fmla="*/ 42688 h 262430"/>
                  <a:gd name="connsiteX13" fmla="*/ 104232 w 172042"/>
                  <a:gd name="connsiteY13" fmla="*/ 42688 h 26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042" h="262430">
                    <a:moveTo>
                      <a:pt x="143761" y="148987"/>
                    </a:moveTo>
                    <a:cubicBezTo>
                      <a:pt x="11078" y="262430"/>
                      <a:pt x="11078" y="262430"/>
                      <a:pt x="11078" y="262430"/>
                    </a:cubicBezTo>
                    <a:cubicBezTo>
                      <a:pt x="219" y="88218"/>
                      <a:pt x="219" y="88218"/>
                      <a:pt x="219" y="88218"/>
                    </a:cubicBezTo>
                    <a:cubicBezTo>
                      <a:pt x="-638" y="76216"/>
                      <a:pt x="981" y="64310"/>
                      <a:pt x="5744" y="52975"/>
                    </a:cubicBezTo>
                    <a:cubicBezTo>
                      <a:pt x="24413" y="8875"/>
                      <a:pt x="75276" y="-11795"/>
                      <a:pt x="119282" y="6874"/>
                    </a:cubicBezTo>
                    <a:cubicBezTo>
                      <a:pt x="163287" y="25543"/>
                      <a:pt x="183861" y="76407"/>
                      <a:pt x="165097" y="120508"/>
                    </a:cubicBezTo>
                    <a:cubicBezTo>
                      <a:pt x="160430" y="131747"/>
                      <a:pt x="153000" y="141272"/>
                      <a:pt x="143761" y="148987"/>
                    </a:cubicBezTo>
                    <a:lnTo>
                      <a:pt x="143761" y="148987"/>
                    </a:lnTo>
                    <a:close/>
                    <a:moveTo>
                      <a:pt x="104232" y="42688"/>
                    </a:moveTo>
                    <a:cubicBezTo>
                      <a:pt x="79848" y="32401"/>
                      <a:pt x="51749" y="43831"/>
                      <a:pt x="41367" y="68215"/>
                    </a:cubicBezTo>
                    <a:cubicBezTo>
                      <a:pt x="30985" y="92599"/>
                      <a:pt x="42415" y="120793"/>
                      <a:pt x="66704" y="131080"/>
                    </a:cubicBezTo>
                    <a:cubicBezTo>
                      <a:pt x="91088" y="141367"/>
                      <a:pt x="119186" y="129937"/>
                      <a:pt x="129569" y="105553"/>
                    </a:cubicBezTo>
                    <a:cubicBezTo>
                      <a:pt x="139951" y="81169"/>
                      <a:pt x="128521" y="53071"/>
                      <a:pt x="104232" y="42688"/>
                    </a:cubicBezTo>
                    <a:lnTo>
                      <a:pt x="104232" y="4268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57" name="Freeform: Shape 156">
                <a:extLst>
                  <a:ext uri="{FF2B5EF4-FFF2-40B4-BE49-F238E27FC236}">
                    <a16:creationId xmlns:a16="http://schemas.microsoft.com/office/drawing/2014/main" id="{FCC637CC-7B72-4DFD-A74E-DD2F1C9232EE}"/>
                  </a:ext>
                </a:extLst>
              </p:cNvPr>
              <p:cNvSpPr/>
              <p:nvPr/>
            </p:nvSpPr>
            <p:spPr>
              <a:xfrm>
                <a:off x="5889651" y="3149733"/>
                <a:ext cx="193421" cy="244849"/>
              </a:xfrm>
              <a:custGeom>
                <a:avLst/>
                <a:gdLst>
                  <a:gd name="connsiteX0" fmla="*/ 170657 w 193421"/>
                  <a:gd name="connsiteY0" fmla="*/ 71781 h 244849"/>
                  <a:gd name="connsiteX1" fmla="*/ 193422 w 193421"/>
                  <a:gd name="connsiteY1" fmla="*/ 244850 h 244849"/>
                  <a:gd name="connsiteX2" fmla="*/ 41498 w 193421"/>
                  <a:gd name="connsiteY2" fmla="*/ 159030 h 244849"/>
                  <a:gd name="connsiteX3" fmla="*/ 14923 w 193421"/>
                  <a:gd name="connsiteY3" fmla="*/ 135122 h 244849"/>
                  <a:gd name="connsiteX4" fmla="*/ 38164 w 193421"/>
                  <a:gd name="connsiteY4" fmla="*/ 14821 h 244849"/>
                  <a:gd name="connsiteX5" fmla="*/ 158465 w 193421"/>
                  <a:gd name="connsiteY5" fmla="*/ 38253 h 244849"/>
                  <a:gd name="connsiteX6" fmla="*/ 170657 w 193421"/>
                  <a:gd name="connsiteY6" fmla="*/ 71781 h 244849"/>
                  <a:gd name="connsiteX7" fmla="*/ 170657 w 193421"/>
                  <a:gd name="connsiteY7" fmla="*/ 71781 h 244849"/>
                  <a:gd name="connsiteX8" fmla="*/ 59976 w 193421"/>
                  <a:gd name="connsiteY8" fmla="*/ 47111 h 244849"/>
                  <a:gd name="connsiteX9" fmla="*/ 47118 w 193421"/>
                  <a:gd name="connsiteY9" fmla="*/ 113691 h 244849"/>
                  <a:gd name="connsiteX10" fmla="*/ 113697 w 193421"/>
                  <a:gd name="connsiteY10" fmla="*/ 126645 h 244849"/>
                  <a:gd name="connsiteX11" fmla="*/ 126556 w 193421"/>
                  <a:gd name="connsiteY11" fmla="*/ 60065 h 244849"/>
                  <a:gd name="connsiteX12" fmla="*/ 59976 w 193421"/>
                  <a:gd name="connsiteY12" fmla="*/ 47111 h 244849"/>
                  <a:gd name="connsiteX13" fmla="*/ 59976 w 193421"/>
                  <a:gd name="connsiteY13" fmla="*/ 47111 h 24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3421" h="244849">
                    <a:moveTo>
                      <a:pt x="170657" y="71781"/>
                    </a:moveTo>
                    <a:cubicBezTo>
                      <a:pt x="193422" y="244850"/>
                      <a:pt x="193422" y="244850"/>
                      <a:pt x="193422" y="244850"/>
                    </a:cubicBezTo>
                    <a:cubicBezTo>
                      <a:pt x="41498" y="159030"/>
                      <a:pt x="41498" y="159030"/>
                      <a:pt x="41498" y="159030"/>
                    </a:cubicBezTo>
                    <a:cubicBezTo>
                      <a:pt x="31020" y="153219"/>
                      <a:pt x="21876" y="145314"/>
                      <a:pt x="14923" y="135122"/>
                    </a:cubicBezTo>
                    <a:cubicBezTo>
                      <a:pt x="-11937" y="95403"/>
                      <a:pt x="-1555" y="41586"/>
                      <a:pt x="38164" y="14821"/>
                    </a:cubicBezTo>
                    <a:cubicBezTo>
                      <a:pt x="77883" y="-11944"/>
                      <a:pt x="131604" y="-1467"/>
                      <a:pt x="158465" y="38253"/>
                    </a:cubicBezTo>
                    <a:cubicBezTo>
                      <a:pt x="165323" y="48444"/>
                      <a:pt x="169228" y="59874"/>
                      <a:pt x="170657" y="71781"/>
                    </a:cubicBezTo>
                    <a:lnTo>
                      <a:pt x="170657" y="71781"/>
                    </a:lnTo>
                    <a:close/>
                    <a:moveTo>
                      <a:pt x="59976" y="47111"/>
                    </a:moveTo>
                    <a:cubicBezTo>
                      <a:pt x="38069" y="61875"/>
                      <a:pt x="32259" y="91688"/>
                      <a:pt x="47118" y="113691"/>
                    </a:cubicBezTo>
                    <a:cubicBezTo>
                      <a:pt x="61977" y="135693"/>
                      <a:pt x="91790" y="141504"/>
                      <a:pt x="113697" y="126645"/>
                    </a:cubicBezTo>
                    <a:cubicBezTo>
                      <a:pt x="135605" y="111786"/>
                      <a:pt x="141415" y="82068"/>
                      <a:pt x="126556" y="60065"/>
                    </a:cubicBezTo>
                    <a:cubicBezTo>
                      <a:pt x="111697" y="38062"/>
                      <a:pt x="81979" y="32347"/>
                      <a:pt x="59976" y="47111"/>
                    </a:cubicBezTo>
                    <a:lnTo>
                      <a:pt x="59976" y="4711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grpSp>
        <p:grpSp>
          <p:nvGrpSpPr>
            <p:cNvPr id="158" name="Group 157">
              <a:extLst>
                <a:ext uri="{FF2B5EF4-FFF2-40B4-BE49-F238E27FC236}">
                  <a16:creationId xmlns:a16="http://schemas.microsoft.com/office/drawing/2014/main" id="{2B4DDB4C-2651-4415-BA1D-48FBC44FCA74}"/>
                </a:ext>
                <a:ext uri="{C183D7F6-B498-43B3-948B-1728B52AA6E4}">
                  <adec:decorative xmlns:adec="http://schemas.microsoft.com/office/drawing/2017/decorative" val="1"/>
                </a:ext>
              </a:extLst>
            </p:cNvPr>
            <p:cNvGrpSpPr/>
            <p:nvPr userDrawn="1"/>
          </p:nvGrpSpPr>
          <p:grpSpPr>
            <a:xfrm>
              <a:off x="7538225" y="4957066"/>
              <a:ext cx="342601" cy="319712"/>
              <a:chOff x="4367801" y="4961565"/>
              <a:chExt cx="341939" cy="319097"/>
            </a:xfrm>
          </p:grpSpPr>
          <p:sp>
            <p:nvSpPr>
              <p:cNvPr id="159" name="Freeform: Shape 158">
                <a:extLst>
                  <a:ext uri="{FF2B5EF4-FFF2-40B4-BE49-F238E27FC236}">
                    <a16:creationId xmlns:a16="http://schemas.microsoft.com/office/drawing/2014/main" id="{FB797EC1-5F7A-48A9-832C-5FEE9CD6D0A6}"/>
                  </a:ext>
                </a:extLst>
              </p:cNvPr>
              <p:cNvSpPr/>
              <p:nvPr/>
            </p:nvSpPr>
            <p:spPr>
              <a:xfrm>
                <a:off x="4490666" y="4961565"/>
                <a:ext cx="219074" cy="228600"/>
              </a:xfrm>
              <a:custGeom>
                <a:avLst/>
                <a:gdLst>
                  <a:gd name="connsiteX0" fmla="*/ 74976 w 219075"/>
                  <a:gd name="connsiteY0" fmla="*/ 205468 h 228600"/>
                  <a:gd name="connsiteX1" fmla="*/ 114028 w 219075"/>
                  <a:gd name="connsiteY1" fmla="*/ 213088 h 228600"/>
                  <a:gd name="connsiteX2" fmla="*/ 166416 w 219075"/>
                  <a:gd name="connsiteY2" fmla="*/ 199753 h 228600"/>
                  <a:gd name="connsiteX3" fmla="*/ 220708 w 219075"/>
                  <a:gd name="connsiteY3" fmla="*/ 230233 h 228600"/>
                  <a:gd name="connsiteX4" fmla="*/ 196896 w 219075"/>
                  <a:gd name="connsiteY4" fmla="*/ 174036 h 228600"/>
                  <a:gd name="connsiteX5" fmla="*/ 220708 w 219075"/>
                  <a:gd name="connsiteY5" fmla="*/ 110218 h 228600"/>
                  <a:gd name="connsiteX6" fmla="*/ 114028 w 219075"/>
                  <a:gd name="connsiteY6" fmla="*/ 7348 h 228600"/>
                  <a:gd name="connsiteX7" fmla="*/ 7348 w 219075"/>
                  <a:gd name="connsiteY7" fmla="*/ 11021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228600">
                    <a:moveTo>
                      <a:pt x="74976" y="205468"/>
                    </a:moveTo>
                    <a:cubicBezTo>
                      <a:pt x="87358" y="210231"/>
                      <a:pt x="100693" y="213088"/>
                      <a:pt x="114028" y="213088"/>
                    </a:cubicBezTo>
                    <a:cubicBezTo>
                      <a:pt x="133078" y="213088"/>
                      <a:pt x="151176" y="208326"/>
                      <a:pt x="166416" y="199753"/>
                    </a:cubicBezTo>
                    <a:cubicBezTo>
                      <a:pt x="174036" y="208326"/>
                      <a:pt x="191181" y="222613"/>
                      <a:pt x="220708" y="230233"/>
                    </a:cubicBezTo>
                    <a:cubicBezTo>
                      <a:pt x="213088" y="218803"/>
                      <a:pt x="199753" y="198801"/>
                      <a:pt x="196896" y="174036"/>
                    </a:cubicBezTo>
                    <a:cubicBezTo>
                      <a:pt x="211183" y="156891"/>
                      <a:pt x="220708" y="134031"/>
                      <a:pt x="220708" y="110218"/>
                    </a:cubicBezTo>
                    <a:cubicBezTo>
                      <a:pt x="220708" y="54021"/>
                      <a:pt x="173083" y="7348"/>
                      <a:pt x="114028" y="7348"/>
                    </a:cubicBezTo>
                    <a:cubicBezTo>
                      <a:pt x="54973" y="7348"/>
                      <a:pt x="7348" y="53068"/>
                      <a:pt x="7348" y="11021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160" name="Freeform: Shape 159">
                <a:extLst>
                  <a:ext uri="{FF2B5EF4-FFF2-40B4-BE49-F238E27FC236}">
                    <a16:creationId xmlns:a16="http://schemas.microsoft.com/office/drawing/2014/main" id="{A7A33425-2A3C-4347-AEBA-F0EFC2167D0A}"/>
                  </a:ext>
                </a:extLst>
              </p:cNvPr>
              <p:cNvSpPr/>
              <p:nvPr/>
            </p:nvSpPr>
            <p:spPr>
              <a:xfrm>
                <a:off x="4367801" y="5061587"/>
                <a:ext cx="200025" cy="219075"/>
              </a:xfrm>
              <a:custGeom>
                <a:avLst/>
                <a:gdLst>
                  <a:gd name="connsiteX0" fmla="*/ 102598 w 200025"/>
                  <a:gd name="connsiteY0" fmla="*/ 7348 h 219075"/>
                  <a:gd name="connsiteX1" fmla="*/ 7348 w 200025"/>
                  <a:gd name="connsiteY1" fmla="*/ 98788 h 219075"/>
                  <a:gd name="connsiteX2" fmla="*/ 34018 w 200025"/>
                  <a:gd name="connsiteY2" fmla="*/ 162606 h 219075"/>
                  <a:gd name="connsiteX3" fmla="*/ 11158 w 200025"/>
                  <a:gd name="connsiteY3" fmla="*/ 213088 h 219075"/>
                  <a:gd name="connsiteX4" fmla="*/ 64498 w 200025"/>
                  <a:gd name="connsiteY4" fmla="*/ 182608 h 219075"/>
                  <a:gd name="connsiteX5" fmla="*/ 101646 w 200025"/>
                  <a:gd name="connsiteY5" fmla="*/ 190228 h 219075"/>
                  <a:gd name="connsiteX6" fmla="*/ 196896 w 200025"/>
                  <a:gd name="connsiteY6" fmla="*/ 98788 h 219075"/>
                  <a:gd name="connsiteX7" fmla="*/ 102598 w 200025"/>
                  <a:gd name="connsiteY7" fmla="*/ 734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19075">
                    <a:moveTo>
                      <a:pt x="102598" y="7348"/>
                    </a:moveTo>
                    <a:cubicBezTo>
                      <a:pt x="50211" y="7348"/>
                      <a:pt x="7348" y="48306"/>
                      <a:pt x="7348" y="98788"/>
                    </a:cubicBezTo>
                    <a:cubicBezTo>
                      <a:pt x="7348" y="123553"/>
                      <a:pt x="17826" y="145461"/>
                      <a:pt x="34018" y="162606"/>
                    </a:cubicBezTo>
                    <a:cubicBezTo>
                      <a:pt x="32113" y="185466"/>
                      <a:pt x="18778" y="201658"/>
                      <a:pt x="11158" y="213088"/>
                    </a:cubicBezTo>
                    <a:cubicBezTo>
                      <a:pt x="39733" y="205468"/>
                      <a:pt x="56878" y="191181"/>
                      <a:pt x="64498" y="182608"/>
                    </a:cubicBezTo>
                    <a:cubicBezTo>
                      <a:pt x="75928" y="187371"/>
                      <a:pt x="88311" y="190228"/>
                      <a:pt x="101646" y="190228"/>
                    </a:cubicBezTo>
                    <a:cubicBezTo>
                      <a:pt x="154033" y="190228"/>
                      <a:pt x="196896" y="149271"/>
                      <a:pt x="196896" y="98788"/>
                    </a:cubicBezTo>
                    <a:cubicBezTo>
                      <a:pt x="197848" y="48306"/>
                      <a:pt x="154986" y="7348"/>
                      <a:pt x="102598" y="7348"/>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grpSp>
        <p:grpSp>
          <p:nvGrpSpPr>
            <p:cNvPr id="161" name="Group 160">
              <a:extLst>
                <a:ext uri="{FF2B5EF4-FFF2-40B4-BE49-F238E27FC236}">
                  <a16:creationId xmlns:a16="http://schemas.microsoft.com/office/drawing/2014/main" id="{22A12464-EDEE-48B0-BC05-BF9642C7CE55}"/>
                </a:ext>
                <a:ext uri="{C183D7F6-B498-43B3-948B-1728B52AA6E4}">
                  <adec:decorative xmlns:adec="http://schemas.microsoft.com/office/drawing/2017/decorative" val="1"/>
                </a:ext>
              </a:extLst>
            </p:cNvPr>
            <p:cNvGrpSpPr/>
            <p:nvPr userDrawn="1"/>
          </p:nvGrpSpPr>
          <p:grpSpPr>
            <a:xfrm>
              <a:off x="9713171" y="5583545"/>
              <a:ext cx="372767" cy="251017"/>
              <a:chOff x="8303412" y="3006302"/>
              <a:chExt cx="686165" cy="462057"/>
            </a:xfrm>
          </p:grpSpPr>
          <p:grpSp>
            <p:nvGrpSpPr>
              <p:cNvPr id="162" name="Graphic 460">
                <a:extLst>
                  <a:ext uri="{FF2B5EF4-FFF2-40B4-BE49-F238E27FC236}">
                    <a16:creationId xmlns:a16="http://schemas.microsoft.com/office/drawing/2014/main" id="{029D9668-4720-4FA3-8285-564F31DD5A8F}"/>
                  </a:ext>
                </a:extLst>
              </p:cNvPr>
              <p:cNvGrpSpPr/>
              <p:nvPr/>
            </p:nvGrpSpPr>
            <p:grpSpPr>
              <a:xfrm>
                <a:off x="8303412" y="3006302"/>
                <a:ext cx="686165" cy="462057"/>
                <a:chOff x="5876630" y="3267709"/>
                <a:chExt cx="686166" cy="462057"/>
              </a:xfrm>
            </p:grpSpPr>
            <p:sp>
              <p:nvSpPr>
                <p:cNvPr id="176" name="Freeform: Shape 175">
                  <a:extLst>
                    <a:ext uri="{FF2B5EF4-FFF2-40B4-BE49-F238E27FC236}">
                      <a16:creationId xmlns:a16="http://schemas.microsoft.com/office/drawing/2014/main" id="{9D776177-07BD-4137-B5B6-96169DE71CFD}"/>
                    </a:ext>
                  </a:extLst>
                </p:cNvPr>
                <p:cNvSpPr/>
                <p:nvPr/>
              </p:nvSpPr>
              <p:spPr>
                <a:xfrm>
                  <a:off x="5876630" y="3267709"/>
                  <a:ext cx="686166" cy="462057"/>
                </a:xfrm>
                <a:custGeom>
                  <a:avLst/>
                  <a:gdLst>
                    <a:gd name="connsiteX0" fmla="*/ 0 w 462057"/>
                    <a:gd name="connsiteY0" fmla="*/ 0 h 462057"/>
                    <a:gd name="connsiteX1" fmla="*/ 462058 w 462057"/>
                    <a:gd name="connsiteY1" fmla="*/ 0 h 462057"/>
                    <a:gd name="connsiteX2" fmla="*/ 462058 w 462057"/>
                    <a:gd name="connsiteY2" fmla="*/ 462058 h 462057"/>
                    <a:gd name="connsiteX3" fmla="*/ 0 w 462057"/>
                    <a:gd name="connsiteY3" fmla="*/ 462058 h 462057"/>
                  </a:gdLst>
                  <a:ahLst/>
                  <a:cxnLst>
                    <a:cxn ang="0">
                      <a:pos x="connsiteX0" y="connsiteY0"/>
                    </a:cxn>
                    <a:cxn ang="0">
                      <a:pos x="connsiteX1" y="connsiteY1"/>
                    </a:cxn>
                    <a:cxn ang="0">
                      <a:pos x="connsiteX2" y="connsiteY2"/>
                    </a:cxn>
                    <a:cxn ang="0">
                      <a:pos x="connsiteX3" y="connsiteY3"/>
                    </a:cxn>
                  </a:cxnLst>
                  <a:rect l="l" t="t" r="r" b="b"/>
                  <a:pathLst>
                    <a:path w="462057" h="462057">
                      <a:moveTo>
                        <a:pt x="0" y="0"/>
                      </a:moveTo>
                      <a:lnTo>
                        <a:pt x="462058" y="0"/>
                      </a:lnTo>
                      <a:lnTo>
                        <a:pt x="462058" y="462058"/>
                      </a:lnTo>
                      <a:lnTo>
                        <a:pt x="0" y="46205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77" name="Freeform: Shape 176">
                  <a:extLst>
                    <a:ext uri="{FF2B5EF4-FFF2-40B4-BE49-F238E27FC236}">
                      <a16:creationId xmlns:a16="http://schemas.microsoft.com/office/drawing/2014/main" id="{A487CA75-BD6D-4897-8CF0-7C54C23E0F15}"/>
                    </a:ext>
                  </a:extLst>
                </p:cNvPr>
                <p:cNvSpPr/>
                <p:nvPr/>
              </p:nvSpPr>
              <p:spPr>
                <a:xfrm>
                  <a:off x="5876630" y="3352196"/>
                  <a:ext cx="686166" cy="9525"/>
                </a:xfrm>
                <a:custGeom>
                  <a:avLst/>
                  <a:gdLst>
                    <a:gd name="connsiteX0" fmla="*/ 0 w 462057"/>
                    <a:gd name="connsiteY0" fmla="*/ 0 h 9525"/>
                    <a:gd name="connsiteX1" fmla="*/ 462058 w 462057"/>
                    <a:gd name="connsiteY1" fmla="*/ 0 h 9525"/>
                  </a:gdLst>
                  <a:ahLst/>
                  <a:cxnLst>
                    <a:cxn ang="0">
                      <a:pos x="connsiteX0" y="connsiteY0"/>
                    </a:cxn>
                    <a:cxn ang="0">
                      <a:pos x="connsiteX1" y="connsiteY1"/>
                    </a:cxn>
                  </a:cxnLst>
                  <a:rect l="l" t="t" r="r" b="b"/>
                  <a:pathLst>
                    <a:path w="462057" h="9525">
                      <a:moveTo>
                        <a:pt x="0" y="0"/>
                      </a:moveTo>
                      <a:lnTo>
                        <a:pt x="46205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78" name="Freeform: Shape 177">
                  <a:extLst>
                    <a:ext uri="{FF2B5EF4-FFF2-40B4-BE49-F238E27FC236}">
                      <a16:creationId xmlns:a16="http://schemas.microsoft.com/office/drawing/2014/main" id="{07930C7A-DD48-4C1F-B491-8CD9FC5243FF}"/>
                    </a:ext>
                  </a:extLst>
                </p:cNvPr>
                <p:cNvSpPr/>
                <p:nvPr/>
              </p:nvSpPr>
              <p:spPr>
                <a:xfrm>
                  <a:off x="6381314" y="3295046"/>
                  <a:ext cx="24193" cy="24193"/>
                </a:xfrm>
                <a:custGeom>
                  <a:avLst/>
                  <a:gdLst>
                    <a:gd name="connsiteX0" fmla="*/ 24194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4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4" y="12097"/>
                      </a:moveTo>
                      <a:cubicBezTo>
                        <a:pt x="24194" y="18778"/>
                        <a:pt x="18778" y="24194"/>
                        <a:pt x="12097" y="24194"/>
                      </a:cubicBezTo>
                      <a:cubicBezTo>
                        <a:pt x="5416" y="24194"/>
                        <a:pt x="0" y="18778"/>
                        <a:pt x="0" y="12097"/>
                      </a:cubicBezTo>
                      <a:cubicBezTo>
                        <a:pt x="0" y="5416"/>
                        <a:pt x="5416" y="0"/>
                        <a:pt x="12097" y="0"/>
                      </a:cubicBezTo>
                      <a:cubicBezTo>
                        <a:pt x="18778" y="0"/>
                        <a:pt x="24194" y="5416"/>
                        <a:pt x="24194"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79" name="Freeform: Shape 178">
                  <a:extLst>
                    <a:ext uri="{FF2B5EF4-FFF2-40B4-BE49-F238E27FC236}">
                      <a16:creationId xmlns:a16="http://schemas.microsoft.com/office/drawing/2014/main" id="{0C1CEB49-D23F-45C9-B496-1D47D18B1B0E}"/>
                    </a:ext>
                  </a:extLst>
                </p:cNvPr>
                <p:cNvSpPr/>
                <p:nvPr/>
              </p:nvSpPr>
              <p:spPr>
                <a:xfrm>
                  <a:off x="642989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80" name="Freeform: Shape 179">
                  <a:extLst>
                    <a:ext uri="{FF2B5EF4-FFF2-40B4-BE49-F238E27FC236}">
                      <a16:creationId xmlns:a16="http://schemas.microsoft.com/office/drawing/2014/main" id="{312A21C8-1463-478E-830B-449F76303C19}"/>
                    </a:ext>
                  </a:extLst>
                </p:cNvPr>
                <p:cNvSpPr/>
                <p:nvPr/>
              </p:nvSpPr>
              <p:spPr>
                <a:xfrm>
                  <a:off x="648504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grpSp>
          <p:grpSp>
            <p:nvGrpSpPr>
              <p:cNvPr id="163" name="Graphic 584">
                <a:extLst>
                  <a:ext uri="{FF2B5EF4-FFF2-40B4-BE49-F238E27FC236}">
                    <a16:creationId xmlns:a16="http://schemas.microsoft.com/office/drawing/2014/main" id="{4B883D9B-79EA-401C-B729-5554D5AA9E9C}"/>
                  </a:ext>
                </a:extLst>
              </p:cNvPr>
              <p:cNvGrpSpPr/>
              <p:nvPr/>
            </p:nvGrpSpPr>
            <p:grpSpPr>
              <a:xfrm>
                <a:off x="8404338" y="3140788"/>
                <a:ext cx="472756" cy="280074"/>
                <a:chOff x="6089078" y="3382390"/>
                <a:chExt cx="254031" cy="150495"/>
              </a:xfrm>
            </p:grpSpPr>
            <p:sp>
              <p:nvSpPr>
                <p:cNvPr id="164" name="Freeform: Shape 163">
                  <a:extLst>
                    <a:ext uri="{FF2B5EF4-FFF2-40B4-BE49-F238E27FC236}">
                      <a16:creationId xmlns:a16="http://schemas.microsoft.com/office/drawing/2014/main" id="{63EA1AFA-E1A1-463B-91ED-DFF4F95DC49F}"/>
                    </a:ext>
                  </a:extLst>
                </p:cNvPr>
                <p:cNvSpPr/>
                <p:nvPr/>
              </p:nvSpPr>
              <p:spPr>
                <a:xfrm>
                  <a:off x="6089078" y="3522121"/>
                  <a:ext cx="125634" cy="9525"/>
                </a:xfrm>
                <a:custGeom>
                  <a:avLst/>
                  <a:gdLst>
                    <a:gd name="connsiteX0" fmla="*/ 125635 w 125634"/>
                    <a:gd name="connsiteY0" fmla="*/ 0 h 9525"/>
                    <a:gd name="connsiteX1" fmla="*/ 0 w 125634"/>
                    <a:gd name="connsiteY1" fmla="*/ 0 h 9525"/>
                  </a:gdLst>
                  <a:ahLst/>
                  <a:cxnLst>
                    <a:cxn ang="0">
                      <a:pos x="connsiteX0" y="connsiteY0"/>
                    </a:cxn>
                    <a:cxn ang="0">
                      <a:pos x="connsiteX1" y="connsiteY1"/>
                    </a:cxn>
                  </a:cxnLst>
                  <a:rect l="l" t="t" r="r" b="b"/>
                  <a:pathLst>
                    <a:path w="125634" h="9525">
                      <a:moveTo>
                        <a:pt x="125635" y="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65" name="Freeform: Shape 164">
                  <a:extLst>
                    <a:ext uri="{FF2B5EF4-FFF2-40B4-BE49-F238E27FC236}">
                      <a16:creationId xmlns:a16="http://schemas.microsoft.com/office/drawing/2014/main" id="{BF90386F-567E-445E-A345-7CB02E4FAF31}"/>
                    </a:ext>
                  </a:extLst>
                </p:cNvPr>
                <p:cNvSpPr/>
                <p:nvPr/>
              </p:nvSpPr>
              <p:spPr>
                <a:xfrm>
                  <a:off x="6103937" y="3459637"/>
                  <a:ext cx="9525" cy="62483"/>
                </a:xfrm>
                <a:custGeom>
                  <a:avLst/>
                  <a:gdLst>
                    <a:gd name="connsiteX0" fmla="*/ 0 w 9525"/>
                    <a:gd name="connsiteY0" fmla="*/ 62484 h 62483"/>
                    <a:gd name="connsiteX1" fmla="*/ 0 w 9525"/>
                    <a:gd name="connsiteY1" fmla="*/ 0 h 62483"/>
                  </a:gdLst>
                  <a:ahLst/>
                  <a:cxnLst>
                    <a:cxn ang="0">
                      <a:pos x="connsiteX0" y="connsiteY0"/>
                    </a:cxn>
                    <a:cxn ang="0">
                      <a:pos x="connsiteX1" y="connsiteY1"/>
                    </a:cxn>
                  </a:cxnLst>
                  <a:rect l="l" t="t" r="r" b="b"/>
                  <a:pathLst>
                    <a:path w="9525" h="62483">
                      <a:moveTo>
                        <a:pt x="0" y="62484"/>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66" name="Freeform: Shape 165">
                  <a:extLst>
                    <a:ext uri="{FF2B5EF4-FFF2-40B4-BE49-F238E27FC236}">
                      <a16:creationId xmlns:a16="http://schemas.microsoft.com/office/drawing/2014/main" id="{F9C661A1-7323-4E5E-A74D-F42BE302431C}"/>
                    </a:ext>
                  </a:extLst>
                </p:cNvPr>
                <p:cNvSpPr/>
                <p:nvPr/>
              </p:nvSpPr>
              <p:spPr>
                <a:xfrm>
                  <a:off x="6133750" y="3480402"/>
                  <a:ext cx="9525" cy="41719"/>
                </a:xfrm>
                <a:custGeom>
                  <a:avLst/>
                  <a:gdLst>
                    <a:gd name="connsiteX0" fmla="*/ 0 w 9525"/>
                    <a:gd name="connsiteY0" fmla="*/ 41720 h 41719"/>
                    <a:gd name="connsiteX1" fmla="*/ 0 w 9525"/>
                    <a:gd name="connsiteY1" fmla="*/ 0 h 41719"/>
                  </a:gdLst>
                  <a:ahLst/>
                  <a:cxnLst>
                    <a:cxn ang="0">
                      <a:pos x="connsiteX0" y="connsiteY0"/>
                    </a:cxn>
                    <a:cxn ang="0">
                      <a:pos x="connsiteX1" y="connsiteY1"/>
                    </a:cxn>
                  </a:cxnLst>
                  <a:rect l="l" t="t" r="r" b="b"/>
                  <a:pathLst>
                    <a:path w="9525" h="41719">
                      <a:moveTo>
                        <a:pt x="0" y="4172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67" name="Freeform: Shape 166">
                  <a:extLst>
                    <a:ext uri="{FF2B5EF4-FFF2-40B4-BE49-F238E27FC236}">
                      <a16:creationId xmlns:a16="http://schemas.microsoft.com/office/drawing/2014/main" id="{23EE9EAA-515A-459A-A9EB-AEEE83E639DC}"/>
                    </a:ext>
                  </a:extLst>
                </p:cNvPr>
                <p:cNvSpPr/>
                <p:nvPr/>
              </p:nvSpPr>
              <p:spPr>
                <a:xfrm>
                  <a:off x="6163468" y="3475163"/>
                  <a:ext cx="9525" cy="46958"/>
                </a:xfrm>
                <a:custGeom>
                  <a:avLst/>
                  <a:gdLst>
                    <a:gd name="connsiteX0" fmla="*/ 0 w 9525"/>
                    <a:gd name="connsiteY0" fmla="*/ 46958 h 46958"/>
                    <a:gd name="connsiteX1" fmla="*/ 0 w 9525"/>
                    <a:gd name="connsiteY1" fmla="*/ 0 h 46958"/>
                  </a:gdLst>
                  <a:ahLst/>
                  <a:cxnLst>
                    <a:cxn ang="0">
                      <a:pos x="connsiteX0" y="connsiteY0"/>
                    </a:cxn>
                    <a:cxn ang="0">
                      <a:pos x="connsiteX1" y="connsiteY1"/>
                    </a:cxn>
                  </a:cxnLst>
                  <a:rect l="l" t="t" r="r" b="b"/>
                  <a:pathLst>
                    <a:path w="9525" h="46958">
                      <a:moveTo>
                        <a:pt x="0" y="46958"/>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68" name="Freeform: Shape 167">
                  <a:extLst>
                    <a:ext uri="{FF2B5EF4-FFF2-40B4-BE49-F238E27FC236}">
                      <a16:creationId xmlns:a16="http://schemas.microsoft.com/office/drawing/2014/main" id="{2408A385-20E9-43B2-ADAC-14789981F8E5}"/>
                    </a:ext>
                  </a:extLst>
                </p:cNvPr>
                <p:cNvSpPr/>
                <p:nvPr/>
              </p:nvSpPr>
              <p:spPr>
                <a:xfrm>
                  <a:off x="6193281" y="3500119"/>
                  <a:ext cx="9525" cy="22002"/>
                </a:xfrm>
                <a:custGeom>
                  <a:avLst/>
                  <a:gdLst>
                    <a:gd name="connsiteX0" fmla="*/ 0 w 9525"/>
                    <a:gd name="connsiteY0" fmla="*/ 22003 h 22002"/>
                    <a:gd name="connsiteX1" fmla="*/ 0 w 9525"/>
                    <a:gd name="connsiteY1" fmla="*/ 0 h 22002"/>
                  </a:gdLst>
                  <a:ahLst/>
                  <a:cxnLst>
                    <a:cxn ang="0">
                      <a:pos x="connsiteX0" y="connsiteY0"/>
                    </a:cxn>
                    <a:cxn ang="0">
                      <a:pos x="connsiteX1" y="connsiteY1"/>
                    </a:cxn>
                  </a:cxnLst>
                  <a:rect l="l" t="t" r="r" b="b"/>
                  <a:pathLst>
                    <a:path w="9525" h="22002">
                      <a:moveTo>
                        <a:pt x="0" y="22003"/>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69" name="Freeform: Shape 168">
                  <a:extLst>
                    <a:ext uri="{FF2B5EF4-FFF2-40B4-BE49-F238E27FC236}">
                      <a16:creationId xmlns:a16="http://schemas.microsoft.com/office/drawing/2014/main" id="{4A7F658C-1DB2-4C80-9026-322CD12098C7}"/>
                    </a:ext>
                  </a:extLst>
                </p:cNvPr>
                <p:cNvSpPr/>
                <p:nvPr/>
              </p:nvSpPr>
              <p:spPr>
                <a:xfrm>
                  <a:off x="6100412" y="3390581"/>
                  <a:ext cx="92868"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70" name="Freeform: Shape 169">
                  <a:extLst>
                    <a:ext uri="{FF2B5EF4-FFF2-40B4-BE49-F238E27FC236}">
                      <a16:creationId xmlns:a16="http://schemas.microsoft.com/office/drawing/2014/main" id="{E94AD005-8ABA-4FCE-8C32-E232E0755949}"/>
                    </a:ext>
                  </a:extLst>
                </p:cNvPr>
                <p:cNvSpPr/>
                <p:nvPr/>
              </p:nvSpPr>
              <p:spPr>
                <a:xfrm>
                  <a:off x="6100412" y="3415060"/>
                  <a:ext cx="92868"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71" name="Freeform: Shape 170">
                  <a:extLst>
                    <a:ext uri="{FF2B5EF4-FFF2-40B4-BE49-F238E27FC236}">
                      <a16:creationId xmlns:a16="http://schemas.microsoft.com/office/drawing/2014/main" id="{09ADBCD9-42CD-42D3-A8B9-D2445749A66F}"/>
                    </a:ext>
                  </a:extLst>
                </p:cNvPr>
                <p:cNvSpPr/>
                <p:nvPr/>
              </p:nvSpPr>
              <p:spPr>
                <a:xfrm>
                  <a:off x="6260528" y="3498880"/>
                  <a:ext cx="82581"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72" name="Freeform: Shape 171">
                  <a:extLst>
                    <a:ext uri="{FF2B5EF4-FFF2-40B4-BE49-F238E27FC236}">
                      <a16:creationId xmlns:a16="http://schemas.microsoft.com/office/drawing/2014/main" id="{0C8B62CD-8F37-4B00-A72D-ED3BC8BC265F}"/>
                    </a:ext>
                  </a:extLst>
                </p:cNvPr>
                <p:cNvSpPr/>
                <p:nvPr/>
              </p:nvSpPr>
              <p:spPr>
                <a:xfrm>
                  <a:off x="6260528" y="3523360"/>
                  <a:ext cx="82581"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73" name="Freeform: Shape 172">
                  <a:extLst>
                    <a:ext uri="{FF2B5EF4-FFF2-40B4-BE49-F238E27FC236}">
                      <a16:creationId xmlns:a16="http://schemas.microsoft.com/office/drawing/2014/main" id="{3593EE3F-089C-49C3-802C-2773A364976C}"/>
                    </a:ext>
                  </a:extLst>
                </p:cNvPr>
                <p:cNvSpPr/>
                <p:nvPr/>
              </p:nvSpPr>
              <p:spPr>
                <a:xfrm>
                  <a:off x="6264814" y="3382390"/>
                  <a:ext cx="70294" cy="70294"/>
                </a:xfrm>
                <a:custGeom>
                  <a:avLst/>
                  <a:gdLst>
                    <a:gd name="connsiteX0" fmla="*/ 70295 w 70294"/>
                    <a:gd name="connsiteY0" fmla="*/ 35147 h 70294"/>
                    <a:gd name="connsiteX1" fmla="*/ 35147 w 70294"/>
                    <a:gd name="connsiteY1" fmla="*/ 70295 h 70294"/>
                    <a:gd name="connsiteX2" fmla="*/ 0 w 70294"/>
                    <a:gd name="connsiteY2" fmla="*/ 35147 h 70294"/>
                    <a:gd name="connsiteX3" fmla="*/ 35147 w 70294"/>
                    <a:gd name="connsiteY3" fmla="*/ 0 h 70294"/>
                    <a:gd name="connsiteX4" fmla="*/ 70295 w 70294"/>
                    <a:gd name="connsiteY4" fmla="*/ 35147 h 7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4" h="70294">
                      <a:moveTo>
                        <a:pt x="70295" y="35147"/>
                      </a:moveTo>
                      <a:cubicBezTo>
                        <a:pt x="70295" y="54559"/>
                        <a:pt x="54559" y="70295"/>
                        <a:pt x="35147" y="70295"/>
                      </a:cubicBezTo>
                      <a:cubicBezTo>
                        <a:pt x="15736" y="70295"/>
                        <a:pt x="0" y="54559"/>
                        <a:pt x="0" y="35147"/>
                      </a:cubicBezTo>
                      <a:cubicBezTo>
                        <a:pt x="0" y="15736"/>
                        <a:pt x="15736" y="0"/>
                        <a:pt x="35147" y="0"/>
                      </a:cubicBezTo>
                      <a:cubicBezTo>
                        <a:pt x="54559" y="0"/>
                        <a:pt x="70295" y="15736"/>
                        <a:pt x="70295" y="3514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74" name="Freeform: Shape 173">
                  <a:extLst>
                    <a:ext uri="{FF2B5EF4-FFF2-40B4-BE49-F238E27FC236}">
                      <a16:creationId xmlns:a16="http://schemas.microsoft.com/office/drawing/2014/main" id="{19FAEED4-E808-47DE-9DF1-D9C685BFA91C}"/>
                    </a:ext>
                  </a:extLst>
                </p:cNvPr>
                <p:cNvSpPr/>
                <p:nvPr/>
              </p:nvSpPr>
              <p:spPr>
                <a:xfrm>
                  <a:off x="6303009" y="3390581"/>
                  <a:ext cx="17049" cy="25717"/>
                </a:xfrm>
                <a:custGeom>
                  <a:avLst/>
                  <a:gdLst>
                    <a:gd name="connsiteX0" fmla="*/ 17050 w 17049"/>
                    <a:gd name="connsiteY0" fmla="*/ 0 h 25717"/>
                    <a:gd name="connsiteX1" fmla="*/ 0 w 17049"/>
                    <a:gd name="connsiteY1" fmla="*/ 25718 h 25717"/>
                  </a:gdLst>
                  <a:ahLst/>
                  <a:cxnLst>
                    <a:cxn ang="0">
                      <a:pos x="connsiteX0" y="connsiteY0"/>
                    </a:cxn>
                    <a:cxn ang="0">
                      <a:pos x="connsiteX1" y="connsiteY1"/>
                    </a:cxn>
                  </a:cxnLst>
                  <a:rect l="l" t="t" r="r" b="b"/>
                  <a:pathLst>
                    <a:path w="17049" h="25717">
                      <a:moveTo>
                        <a:pt x="17050" y="0"/>
                      </a:moveTo>
                      <a:lnTo>
                        <a:pt x="0" y="25718"/>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75" name="Freeform: Shape 174">
                  <a:extLst>
                    <a:ext uri="{FF2B5EF4-FFF2-40B4-BE49-F238E27FC236}">
                      <a16:creationId xmlns:a16="http://schemas.microsoft.com/office/drawing/2014/main" id="{DC5D1976-61E6-41B0-8FB8-DE278C697C3C}"/>
                    </a:ext>
                  </a:extLst>
                </p:cNvPr>
                <p:cNvSpPr/>
                <p:nvPr/>
              </p:nvSpPr>
              <p:spPr>
                <a:xfrm>
                  <a:off x="6291674" y="3384866"/>
                  <a:ext cx="33623" cy="53911"/>
                </a:xfrm>
                <a:custGeom>
                  <a:avLst/>
                  <a:gdLst>
                    <a:gd name="connsiteX0" fmla="*/ 0 w 33623"/>
                    <a:gd name="connsiteY0" fmla="*/ 0 h 53911"/>
                    <a:gd name="connsiteX1" fmla="*/ 8287 w 33623"/>
                    <a:gd name="connsiteY1" fmla="*/ 32671 h 53911"/>
                    <a:gd name="connsiteX2" fmla="*/ 33623 w 33623"/>
                    <a:gd name="connsiteY2" fmla="*/ 53911 h 53911"/>
                  </a:gdLst>
                  <a:ahLst/>
                  <a:cxnLst>
                    <a:cxn ang="0">
                      <a:pos x="connsiteX0" y="connsiteY0"/>
                    </a:cxn>
                    <a:cxn ang="0">
                      <a:pos x="connsiteX1" y="connsiteY1"/>
                    </a:cxn>
                    <a:cxn ang="0">
                      <a:pos x="connsiteX2" y="connsiteY2"/>
                    </a:cxn>
                  </a:cxnLst>
                  <a:rect l="l" t="t" r="r" b="b"/>
                  <a:pathLst>
                    <a:path w="33623" h="53911">
                      <a:moveTo>
                        <a:pt x="0" y="0"/>
                      </a:moveTo>
                      <a:lnTo>
                        <a:pt x="8287" y="32671"/>
                      </a:lnTo>
                      <a:lnTo>
                        <a:pt x="33623" y="53911"/>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grpSp>
        </p:grpSp>
        <p:grpSp>
          <p:nvGrpSpPr>
            <p:cNvPr id="181" name="Graphic 103">
              <a:extLst>
                <a:ext uri="{FF2B5EF4-FFF2-40B4-BE49-F238E27FC236}">
                  <a16:creationId xmlns:a16="http://schemas.microsoft.com/office/drawing/2014/main" id="{DFBADF01-D6D4-45D6-B54B-83D23D644A91}"/>
                </a:ext>
                <a:ext uri="{C183D7F6-B498-43B3-948B-1728B52AA6E4}">
                  <adec:decorative xmlns:adec="http://schemas.microsoft.com/office/drawing/2017/decorative" val="1"/>
                </a:ext>
              </a:extLst>
            </p:cNvPr>
            <p:cNvGrpSpPr/>
            <p:nvPr userDrawn="1"/>
          </p:nvGrpSpPr>
          <p:grpSpPr>
            <a:xfrm>
              <a:off x="11007072" y="1876278"/>
              <a:ext cx="331204" cy="284526"/>
              <a:chOff x="5470631" y="5738145"/>
              <a:chExt cx="456734" cy="392365"/>
            </a:xfrm>
          </p:grpSpPr>
          <p:sp>
            <p:nvSpPr>
              <p:cNvPr id="182" name="Freeform: Shape 181">
                <a:extLst>
                  <a:ext uri="{FF2B5EF4-FFF2-40B4-BE49-F238E27FC236}">
                    <a16:creationId xmlns:a16="http://schemas.microsoft.com/office/drawing/2014/main" id="{7DA42495-6F21-4099-876C-A9C46F4FD607}"/>
                  </a:ext>
                </a:extLst>
              </p:cNvPr>
              <p:cNvSpPr/>
              <p:nvPr/>
            </p:nvSpPr>
            <p:spPr>
              <a:xfrm>
                <a:off x="5628424" y="5738145"/>
                <a:ext cx="298941" cy="298940"/>
              </a:xfrm>
              <a:custGeom>
                <a:avLst/>
                <a:gdLst>
                  <a:gd name="connsiteX0" fmla="*/ 298941 w 298941"/>
                  <a:gd name="connsiteY0" fmla="*/ 149471 h 298941"/>
                  <a:gd name="connsiteX1" fmla="*/ 149471 w 298941"/>
                  <a:gd name="connsiteY1" fmla="*/ 298941 h 298941"/>
                  <a:gd name="connsiteX2" fmla="*/ 0 w 298941"/>
                  <a:gd name="connsiteY2" fmla="*/ 149471 h 298941"/>
                  <a:gd name="connsiteX3" fmla="*/ 149471 w 298941"/>
                  <a:gd name="connsiteY3" fmla="*/ 0 h 298941"/>
                  <a:gd name="connsiteX4" fmla="*/ 298941 w 298941"/>
                  <a:gd name="connsiteY4" fmla="*/ 149471 h 29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41" h="298941">
                    <a:moveTo>
                      <a:pt x="298941" y="149471"/>
                    </a:moveTo>
                    <a:cubicBezTo>
                      <a:pt x="298941" y="232021"/>
                      <a:pt x="232021" y="298941"/>
                      <a:pt x="149471" y="298941"/>
                    </a:cubicBezTo>
                    <a:cubicBezTo>
                      <a:pt x="66920" y="298941"/>
                      <a:pt x="0" y="232021"/>
                      <a:pt x="0" y="149471"/>
                    </a:cubicBezTo>
                    <a:cubicBezTo>
                      <a:pt x="0" y="66920"/>
                      <a:pt x="66920" y="0"/>
                      <a:pt x="149471" y="0"/>
                    </a:cubicBezTo>
                    <a:cubicBezTo>
                      <a:pt x="232021" y="0"/>
                      <a:pt x="298941" y="66920"/>
                      <a:pt x="298941" y="149471"/>
                    </a:cubicBezTo>
                    <a:close/>
                  </a:path>
                </a:pathLst>
              </a:custGeom>
              <a:noFill/>
              <a:ln w="12700" cap="flat">
                <a:solidFill>
                  <a:schemeClr val="bg1"/>
                </a:solidFill>
                <a:prstDash val="solid"/>
                <a:miter/>
              </a:ln>
            </p:spPr>
            <p:txBody>
              <a:bodyPr rtlCol="0" anchor="ctr"/>
              <a:lstStyle/>
              <a:p>
                <a:endParaRPr lang="en-US" sz="1765"/>
              </a:p>
            </p:txBody>
          </p:sp>
          <p:sp>
            <p:nvSpPr>
              <p:cNvPr id="183" name="Freeform: Shape 182">
                <a:extLst>
                  <a:ext uri="{FF2B5EF4-FFF2-40B4-BE49-F238E27FC236}">
                    <a16:creationId xmlns:a16="http://schemas.microsoft.com/office/drawing/2014/main" id="{80C762CE-BF2C-471B-8FE0-862F1042365F}"/>
                  </a:ext>
                </a:extLst>
              </p:cNvPr>
              <p:cNvSpPr/>
              <p:nvPr/>
            </p:nvSpPr>
            <p:spPr>
              <a:xfrm>
                <a:off x="5771897" y="5800333"/>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84" name="Freeform: Shape 183">
                <a:extLst>
                  <a:ext uri="{FF2B5EF4-FFF2-40B4-BE49-F238E27FC236}">
                    <a16:creationId xmlns:a16="http://schemas.microsoft.com/office/drawing/2014/main" id="{600DFF85-F663-42F0-9809-53FBB1655AB1}"/>
                  </a:ext>
                </a:extLst>
              </p:cNvPr>
              <p:cNvSpPr/>
              <p:nvPr/>
            </p:nvSpPr>
            <p:spPr>
              <a:xfrm>
                <a:off x="5680085" y="5886392"/>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85" name="Freeform: Shape 184">
                <a:extLst>
                  <a:ext uri="{FF2B5EF4-FFF2-40B4-BE49-F238E27FC236}">
                    <a16:creationId xmlns:a16="http://schemas.microsoft.com/office/drawing/2014/main" id="{59758EDC-4C73-4EFA-BC90-9438B3E57931}"/>
                  </a:ext>
                </a:extLst>
              </p:cNvPr>
              <p:cNvSpPr/>
              <p:nvPr/>
            </p:nvSpPr>
            <p:spPr>
              <a:xfrm>
                <a:off x="5550200" y="5818580"/>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86" name="Freeform: Shape 185">
                <a:extLst>
                  <a:ext uri="{FF2B5EF4-FFF2-40B4-BE49-F238E27FC236}">
                    <a16:creationId xmlns:a16="http://schemas.microsoft.com/office/drawing/2014/main" id="{3638198F-3D19-4F8E-BD13-700221166515}"/>
                  </a:ext>
                </a:extLst>
              </p:cNvPr>
              <p:cNvSpPr/>
              <p:nvPr/>
            </p:nvSpPr>
            <p:spPr>
              <a:xfrm>
                <a:off x="5470631" y="5923368"/>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87" name="Freeform: Shape 186">
                <a:extLst>
                  <a:ext uri="{FF2B5EF4-FFF2-40B4-BE49-F238E27FC236}">
                    <a16:creationId xmlns:a16="http://schemas.microsoft.com/office/drawing/2014/main" id="{81EB7C2E-3997-4EE5-8577-CD9F3EB1B280}"/>
                  </a:ext>
                </a:extLst>
              </p:cNvPr>
              <p:cNvSpPr/>
              <p:nvPr/>
            </p:nvSpPr>
            <p:spPr>
              <a:xfrm>
                <a:off x="5867255" y="5923368"/>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188" name="Freeform: Shape 187">
                <a:extLst>
                  <a:ext uri="{FF2B5EF4-FFF2-40B4-BE49-F238E27FC236}">
                    <a16:creationId xmlns:a16="http://schemas.microsoft.com/office/drawing/2014/main" id="{1DC636C2-AD83-45AC-8B56-67A4104CA611}"/>
                  </a:ext>
                </a:extLst>
              </p:cNvPr>
              <p:cNvSpPr/>
              <p:nvPr/>
            </p:nvSpPr>
            <p:spPr>
              <a:xfrm>
                <a:off x="5565254" y="6001115"/>
                <a:ext cx="115437" cy="129395"/>
              </a:xfrm>
              <a:custGeom>
                <a:avLst/>
                <a:gdLst>
                  <a:gd name="connsiteX0" fmla="*/ 115439 w 115438"/>
                  <a:gd name="connsiteY0" fmla="*/ 0 h 129394"/>
                  <a:gd name="connsiteX1" fmla="*/ 0 w 115438"/>
                  <a:gd name="connsiteY1" fmla="*/ 129394 h 129394"/>
                </a:gdLst>
                <a:ahLst/>
                <a:cxnLst>
                  <a:cxn ang="0">
                    <a:pos x="connsiteX0" y="connsiteY0"/>
                  </a:cxn>
                  <a:cxn ang="0">
                    <a:pos x="connsiteX1" y="connsiteY1"/>
                  </a:cxn>
                </a:cxnLst>
                <a:rect l="l" t="t" r="r" b="b"/>
                <a:pathLst>
                  <a:path w="115438" h="129394">
                    <a:moveTo>
                      <a:pt x="115439" y="0"/>
                    </a:moveTo>
                    <a:lnTo>
                      <a:pt x="0" y="129394"/>
                    </a:lnTo>
                  </a:path>
                </a:pathLst>
              </a:custGeom>
              <a:noFill/>
              <a:ln w="12700" cap="flat">
                <a:solidFill>
                  <a:schemeClr val="bg1"/>
                </a:solidFill>
                <a:prstDash val="solid"/>
                <a:miter/>
              </a:ln>
            </p:spPr>
            <p:txBody>
              <a:bodyPr rtlCol="0" anchor="ctr"/>
              <a:lstStyle/>
              <a:p>
                <a:endParaRPr lang="en-US" sz="1765"/>
              </a:p>
            </p:txBody>
          </p:sp>
          <p:sp>
            <p:nvSpPr>
              <p:cNvPr id="189" name="Freeform: Shape 188">
                <a:extLst>
                  <a:ext uri="{FF2B5EF4-FFF2-40B4-BE49-F238E27FC236}">
                    <a16:creationId xmlns:a16="http://schemas.microsoft.com/office/drawing/2014/main" id="{BB9477B1-E6A3-4424-92EC-4E488F48162B}"/>
                  </a:ext>
                </a:extLst>
              </p:cNvPr>
              <p:cNvSpPr/>
              <p:nvPr/>
            </p:nvSpPr>
            <p:spPr>
              <a:xfrm>
                <a:off x="5498418" y="5851403"/>
                <a:ext cx="59616" cy="76632"/>
              </a:xfrm>
              <a:custGeom>
                <a:avLst/>
                <a:gdLst>
                  <a:gd name="connsiteX0" fmla="*/ 0 w 59616"/>
                  <a:gd name="connsiteY0" fmla="*/ 76633 h 76632"/>
                  <a:gd name="connsiteX1" fmla="*/ 59617 w 59616"/>
                  <a:gd name="connsiteY1" fmla="*/ 0 h 76632"/>
                </a:gdLst>
                <a:ahLst/>
                <a:cxnLst>
                  <a:cxn ang="0">
                    <a:pos x="connsiteX0" y="connsiteY0"/>
                  </a:cxn>
                  <a:cxn ang="0">
                    <a:pos x="connsiteX1" y="connsiteY1"/>
                  </a:cxn>
                </a:cxnLst>
                <a:rect l="l" t="t" r="r" b="b"/>
                <a:pathLst>
                  <a:path w="59616" h="76632">
                    <a:moveTo>
                      <a:pt x="0" y="76633"/>
                    </a:moveTo>
                    <a:lnTo>
                      <a:pt x="59617" y="0"/>
                    </a:lnTo>
                  </a:path>
                </a:pathLst>
              </a:custGeom>
              <a:noFill/>
              <a:ln w="12700" cap="flat">
                <a:solidFill>
                  <a:schemeClr val="bg1"/>
                </a:solidFill>
                <a:prstDash val="solid"/>
                <a:miter/>
              </a:ln>
            </p:spPr>
            <p:txBody>
              <a:bodyPr rtlCol="0" anchor="ctr"/>
              <a:lstStyle/>
              <a:p>
                <a:endParaRPr lang="en-US" sz="1765"/>
              </a:p>
            </p:txBody>
          </p:sp>
          <p:sp>
            <p:nvSpPr>
              <p:cNvPr id="190" name="Freeform: Shape 189">
                <a:extLst>
                  <a:ext uri="{FF2B5EF4-FFF2-40B4-BE49-F238E27FC236}">
                    <a16:creationId xmlns:a16="http://schemas.microsoft.com/office/drawing/2014/main" id="{A38C2DAA-6D6F-4611-9107-F3C4EC03AC06}"/>
                  </a:ext>
                </a:extLst>
              </p:cNvPr>
              <p:cNvSpPr/>
              <p:nvPr/>
            </p:nvSpPr>
            <p:spPr>
              <a:xfrm>
                <a:off x="5583016" y="5845282"/>
                <a:ext cx="97076" cy="53863"/>
              </a:xfrm>
              <a:custGeom>
                <a:avLst/>
                <a:gdLst>
                  <a:gd name="connsiteX0" fmla="*/ 0 w 97076"/>
                  <a:gd name="connsiteY0" fmla="*/ 0 h 53863"/>
                  <a:gd name="connsiteX1" fmla="*/ 97076 w 97076"/>
                  <a:gd name="connsiteY1" fmla="*/ 53863 h 53863"/>
                </a:gdLst>
                <a:ahLst/>
                <a:cxnLst>
                  <a:cxn ang="0">
                    <a:pos x="connsiteX0" y="connsiteY0"/>
                  </a:cxn>
                  <a:cxn ang="0">
                    <a:pos x="connsiteX1" y="connsiteY1"/>
                  </a:cxn>
                </a:cxnLst>
                <a:rect l="l" t="t" r="r" b="b"/>
                <a:pathLst>
                  <a:path w="97076" h="53863">
                    <a:moveTo>
                      <a:pt x="0" y="0"/>
                    </a:moveTo>
                    <a:lnTo>
                      <a:pt x="97076" y="53863"/>
                    </a:lnTo>
                  </a:path>
                </a:pathLst>
              </a:custGeom>
              <a:noFill/>
              <a:ln w="12700" cap="flat">
                <a:solidFill>
                  <a:schemeClr val="bg1"/>
                </a:solidFill>
                <a:prstDash val="solid"/>
                <a:miter/>
              </a:ln>
            </p:spPr>
            <p:txBody>
              <a:bodyPr rtlCol="0" anchor="ctr"/>
              <a:lstStyle/>
              <a:p>
                <a:endParaRPr lang="en-US" sz="1765"/>
              </a:p>
            </p:txBody>
          </p:sp>
          <p:sp>
            <p:nvSpPr>
              <p:cNvPr id="191" name="Freeform: Shape 190">
                <a:extLst>
                  <a:ext uri="{FF2B5EF4-FFF2-40B4-BE49-F238E27FC236}">
                    <a16:creationId xmlns:a16="http://schemas.microsoft.com/office/drawing/2014/main" id="{5214BB00-2426-4E25-8A1D-0D86F832B201}"/>
                  </a:ext>
                </a:extLst>
              </p:cNvPr>
              <p:cNvSpPr/>
              <p:nvPr/>
            </p:nvSpPr>
            <p:spPr>
              <a:xfrm>
                <a:off x="5709096" y="5825221"/>
                <a:ext cx="62799" cy="67207"/>
              </a:xfrm>
              <a:custGeom>
                <a:avLst/>
                <a:gdLst>
                  <a:gd name="connsiteX0" fmla="*/ 62800 w 62799"/>
                  <a:gd name="connsiteY0" fmla="*/ 0 h 67206"/>
                  <a:gd name="connsiteX1" fmla="*/ 0 w 62799"/>
                  <a:gd name="connsiteY1" fmla="*/ 67207 h 67206"/>
                </a:gdLst>
                <a:ahLst/>
                <a:cxnLst>
                  <a:cxn ang="0">
                    <a:pos x="connsiteX0" y="connsiteY0"/>
                  </a:cxn>
                  <a:cxn ang="0">
                    <a:pos x="connsiteX1" y="connsiteY1"/>
                  </a:cxn>
                </a:cxnLst>
                <a:rect l="l" t="t" r="r" b="b"/>
                <a:pathLst>
                  <a:path w="62799" h="67206">
                    <a:moveTo>
                      <a:pt x="62800" y="0"/>
                    </a:moveTo>
                    <a:lnTo>
                      <a:pt x="0" y="67207"/>
                    </a:lnTo>
                  </a:path>
                </a:pathLst>
              </a:custGeom>
              <a:noFill/>
              <a:ln w="12700" cap="flat">
                <a:solidFill>
                  <a:schemeClr val="bg1"/>
                </a:solidFill>
                <a:prstDash val="solid"/>
                <a:miter/>
              </a:ln>
            </p:spPr>
            <p:txBody>
              <a:bodyPr rtlCol="0" anchor="ctr"/>
              <a:lstStyle/>
              <a:p>
                <a:endParaRPr lang="en-US" sz="1765"/>
              </a:p>
            </p:txBody>
          </p:sp>
          <p:sp>
            <p:nvSpPr>
              <p:cNvPr id="192" name="Freeform: Shape 191">
                <a:extLst>
                  <a:ext uri="{FF2B5EF4-FFF2-40B4-BE49-F238E27FC236}">
                    <a16:creationId xmlns:a16="http://schemas.microsoft.com/office/drawing/2014/main" id="{E4067F56-A9BD-4407-A768-9B7CF9649A13}"/>
                  </a:ext>
                </a:extLst>
              </p:cNvPr>
              <p:cNvSpPr/>
              <p:nvPr/>
            </p:nvSpPr>
            <p:spPr>
              <a:xfrm>
                <a:off x="5798965" y="5829122"/>
                <a:ext cx="75163" cy="94383"/>
              </a:xfrm>
              <a:custGeom>
                <a:avLst/>
                <a:gdLst>
                  <a:gd name="connsiteX0" fmla="*/ 75164 w 75163"/>
                  <a:gd name="connsiteY0" fmla="*/ 94383 h 94383"/>
                  <a:gd name="connsiteX1" fmla="*/ 0 w 75163"/>
                  <a:gd name="connsiteY1" fmla="*/ 0 h 94383"/>
                </a:gdLst>
                <a:ahLst/>
                <a:cxnLst>
                  <a:cxn ang="0">
                    <a:pos x="connsiteX0" y="connsiteY0"/>
                  </a:cxn>
                  <a:cxn ang="0">
                    <a:pos x="connsiteX1" y="connsiteY1"/>
                  </a:cxn>
                </a:cxnLst>
                <a:rect l="l" t="t" r="r" b="b"/>
                <a:pathLst>
                  <a:path w="75163" h="94383">
                    <a:moveTo>
                      <a:pt x="75164" y="94383"/>
                    </a:moveTo>
                    <a:lnTo>
                      <a:pt x="0" y="0"/>
                    </a:lnTo>
                  </a:path>
                </a:pathLst>
              </a:custGeom>
              <a:noFill/>
              <a:ln w="12700" cap="flat">
                <a:solidFill>
                  <a:schemeClr val="bg1"/>
                </a:solidFill>
                <a:prstDash val="solid"/>
                <a:miter/>
              </a:ln>
            </p:spPr>
            <p:txBody>
              <a:bodyPr rtlCol="0" anchor="ctr"/>
              <a:lstStyle/>
              <a:p>
                <a:endParaRPr lang="en-US" sz="1765"/>
              </a:p>
            </p:txBody>
          </p:sp>
        </p:grpSp>
        <p:grpSp>
          <p:nvGrpSpPr>
            <p:cNvPr id="193" name="Group 192">
              <a:extLst>
                <a:ext uri="{FF2B5EF4-FFF2-40B4-BE49-F238E27FC236}">
                  <a16:creationId xmlns:a16="http://schemas.microsoft.com/office/drawing/2014/main" id="{FD888BA4-2FA8-4B50-AE0C-6777F2459522}"/>
                </a:ext>
                <a:ext uri="{C183D7F6-B498-43B3-948B-1728B52AA6E4}">
                  <adec:decorative xmlns:adec="http://schemas.microsoft.com/office/drawing/2017/decorative" val="1"/>
                </a:ext>
              </a:extLst>
            </p:cNvPr>
            <p:cNvGrpSpPr/>
            <p:nvPr userDrawn="1"/>
          </p:nvGrpSpPr>
          <p:grpSpPr>
            <a:xfrm>
              <a:off x="7094604" y="3661746"/>
              <a:ext cx="276872" cy="280067"/>
              <a:chOff x="2551095" y="4928951"/>
              <a:chExt cx="493504" cy="499200"/>
            </a:xfrm>
          </p:grpSpPr>
          <p:sp>
            <p:nvSpPr>
              <p:cNvPr id="194" name="Freeform: Shape 193">
                <a:extLst>
                  <a:ext uri="{FF2B5EF4-FFF2-40B4-BE49-F238E27FC236}">
                    <a16:creationId xmlns:a16="http://schemas.microsoft.com/office/drawing/2014/main" id="{D3AE47C5-1C1A-44B0-88DB-87A6880961B7}"/>
                  </a:ext>
                </a:extLst>
              </p:cNvPr>
              <p:cNvSpPr/>
              <p:nvPr/>
            </p:nvSpPr>
            <p:spPr>
              <a:xfrm>
                <a:off x="2551095" y="4985565"/>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12700" cap="flat">
                <a:solidFill>
                  <a:schemeClr val="bg1"/>
                </a:solidFill>
                <a:prstDash val="solid"/>
                <a:miter/>
              </a:ln>
            </p:spPr>
            <p:txBody>
              <a:bodyPr rtlCol="0" anchor="ctr"/>
              <a:lstStyle/>
              <a:p>
                <a:endParaRPr lang="en-US" sz="1765"/>
              </a:p>
            </p:txBody>
          </p:sp>
          <p:sp>
            <p:nvSpPr>
              <p:cNvPr id="195" name="Freeform: Shape 194">
                <a:extLst>
                  <a:ext uri="{FF2B5EF4-FFF2-40B4-BE49-F238E27FC236}">
                    <a16:creationId xmlns:a16="http://schemas.microsoft.com/office/drawing/2014/main" id="{241D1535-8C83-4200-BE62-10502B3AE6F0}"/>
                  </a:ext>
                </a:extLst>
              </p:cNvPr>
              <p:cNvSpPr/>
              <p:nvPr/>
            </p:nvSpPr>
            <p:spPr>
              <a:xfrm>
                <a:off x="2731430" y="4928951"/>
                <a:ext cx="313169" cy="316991"/>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12700" cap="flat">
                <a:solidFill>
                  <a:schemeClr val="bg1"/>
                </a:solidFill>
                <a:prstDash val="solid"/>
                <a:miter/>
              </a:ln>
            </p:spPr>
            <p:txBody>
              <a:bodyPr rtlCol="0" anchor="ctr"/>
              <a:lstStyle/>
              <a:p>
                <a:endParaRPr lang="en-US" sz="1765"/>
              </a:p>
            </p:txBody>
          </p:sp>
        </p:grpSp>
        <p:sp>
          <p:nvSpPr>
            <p:cNvPr id="196" name="Freeform: Shape 195">
              <a:extLst>
                <a:ext uri="{FF2B5EF4-FFF2-40B4-BE49-F238E27FC236}">
                  <a16:creationId xmlns:a16="http://schemas.microsoft.com/office/drawing/2014/main" id="{7BC0B53E-8681-47A1-8B01-FC0A374D5CDB}"/>
                </a:ext>
                <a:ext uri="{C183D7F6-B498-43B3-948B-1728B52AA6E4}">
                  <adec:decorative xmlns:adec="http://schemas.microsoft.com/office/drawing/2017/decorative" val="1"/>
                </a:ext>
              </a:extLst>
            </p:cNvPr>
            <p:cNvSpPr/>
            <p:nvPr userDrawn="1"/>
          </p:nvSpPr>
          <p:spPr>
            <a:xfrm>
              <a:off x="9891091" y="3796609"/>
              <a:ext cx="322154" cy="327510"/>
            </a:xfrm>
            <a:custGeom>
              <a:avLst/>
              <a:gdLst>
                <a:gd name="connsiteX0" fmla="*/ 443865 w 458152"/>
                <a:gd name="connsiteY0" fmla="*/ 194310 h 465772"/>
                <a:gd name="connsiteX1" fmla="*/ 458153 w 458152"/>
                <a:gd name="connsiteY1" fmla="*/ 210502 h 465772"/>
                <a:gd name="connsiteX2" fmla="*/ 458153 w 458152"/>
                <a:gd name="connsiteY2" fmla="*/ 232410 h 465772"/>
                <a:gd name="connsiteX3" fmla="*/ 458153 w 458152"/>
                <a:gd name="connsiteY3" fmla="*/ 254318 h 465772"/>
                <a:gd name="connsiteX4" fmla="*/ 443865 w 458152"/>
                <a:gd name="connsiteY4" fmla="*/ 270510 h 465772"/>
                <a:gd name="connsiteX5" fmla="*/ 401003 w 458152"/>
                <a:gd name="connsiteY5" fmla="*/ 278130 h 465772"/>
                <a:gd name="connsiteX6" fmla="*/ 381953 w 458152"/>
                <a:gd name="connsiteY6" fmla="*/ 324803 h 465772"/>
                <a:gd name="connsiteX7" fmla="*/ 407670 w 458152"/>
                <a:gd name="connsiteY7" fmla="*/ 360998 h 465772"/>
                <a:gd name="connsiteX8" fmla="*/ 405765 w 458152"/>
                <a:gd name="connsiteY8" fmla="*/ 382905 h 465772"/>
                <a:gd name="connsiteX9" fmla="*/ 391478 w 458152"/>
                <a:gd name="connsiteY9" fmla="*/ 398145 h 465772"/>
                <a:gd name="connsiteX10" fmla="*/ 377190 w 458152"/>
                <a:gd name="connsiteY10" fmla="*/ 413385 h 465772"/>
                <a:gd name="connsiteX11" fmla="*/ 356235 w 458152"/>
                <a:gd name="connsiteY11" fmla="*/ 415290 h 465772"/>
                <a:gd name="connsiteX12" fmla="*/ 320993 w 458152"/>
                <a:gd name="connsiteY12" fmla="*/ 389573 h 465772"/>
                <a:gd name="connsiteX13" fmla="*/ 276225 w 458152"/>
                <a:gd name="connsiteY13" fmla="*/ 408623 h 465772"/>
                <a:gd name="connsiteX14" fmla="*/ 268605 w 458152"/>
                <a:gd name="connsiteY14" fmla="*/ 451485 h 465772"/>
                <a:gd name="connsiteX15" fmla="*/ 252413 w 458152"/>
                <a:gd name="connsiteY15" fmla="*/ 465773 h 465772"/>
                <a:gd name="connsiteX16" fmla="*/ 230505 w 458152"/>
                <a:gd name="connsiteY16" fmla="*/ 465773 h 465772"/>
                <a:gd name="connsiteX17" fmla="*/ 209550 w 458152"/>
                <a:gd name="connsiteY17" fmla="*/ 465773 h 465772"/>
                <a:gd name="connsiteX18" fmla="*/ 193357 w 458152"/>
                <a:gd name="connsiteY18" fmla="*/ 451485 h 465772"/>
                <a:gd name="connsiteX19" fmla="*/ 185738 w 458152"/>
                <a:gd name="connsiteY19" fmla="*/ 408623 h 465772"/>
                <a:gd name="connsiteX20" fmla="*/ 140018 w 458152"/>
                <a:gd name="connsiteY20" fmla="*/ 389573 h 465772"/>
                <a:gd name="connsiteX21" fmla="*/ 104775 w 458152"/>
                <a:gd name="connsiteY21" fmla="*/ 415290 h 465772"/>
                <a:gd name="connsiteX22" fmla="*/ 83820 w 458152"/>
                <a:gd name="connsiteY22" fmla="*/ 413385 h 465772"/>
                <a:gd name="connsiteX23" fmla="*/ 69532 w 458152"/>
                <a:gd name="connsiteY23" fmla="*/ 398145 h 465772"/>
                <a:gd name="connsiteX24" fmla="*/ 55245 w 458152"/>
                <a:gd name="connsiteY24" fmla="*/ 382905 h 465772"/>
                <a:gd name="connsiteX25" fmla="*/ 52388 w 458152"/>
                <a:gd name="connsiteY25" fmla="*/ 362903 h 465772"/>
                <a:gd name="connsiteX26" fmla="*/ 77153 w 458152"/>
                <a:gd name="connsiteY26" fmla="*/ 326708 h 465772"/>
                <a:gd name="connsiteX27" fmla="*/ 57150 w 458152"/>
                <a:gd name="connsiteY27" fmla="*/ 280035 h 465772"/>
                <a:gd name="connsiteX28" fmla="*/ 14288 w 458152"/>
                <a:gd name="connsiteY28" fmla="*/ 272415 h 465772"/>
                <a:gd name="connsiteX29" fmla="*/ 0 w 458152"/>
                <a:gd name="connsiteY29" fmla="*/ 256223 h 465772"/>
                <a:gd name="connsiteX30" fmla="*/ 0 w 458152"/>
                <a:gd name="connsiteY30" fmla="*/ 234315 h 465772"/>
                <a:gd name="connsiteX31" fmla="*/ 0 w 458152"/>
                <a:gd name="connsiteY31" fmla="*/ 212408 h 465772"/>
                <a:gd name="connsiteX32" fmla="*/ 14288 w 458152"/>
                <a:gd name="connsiteY32" fmla="*/ 196215 h 465772"/>
                <a:gd name="connsiteX33" fmla="*/ 57150 w 458152"/>
                <a:gd name="connsiteY33" fmla="*/ 189548 h 465772"/>
                <a:gd name="connsiteX34" fmla="*/ 76200 w 458152"/>
                <a:gd name="connsiteY34" fmla="*/ 142875 h 465772"/>
                <a:gd name="connsiteX35" fmla="*/ 51435 w 458152"/>
                <a:gd name="connsiteY35" fmla="*/ 106680 h 465772"/>
                <a:gd name="connsiteX36" fmla="*/ 53340 w 458152"/>
                <a:gd name="connsiteY36" fmla="*/ 84773 h 465772"/>
                <a:gd name="connsiteX37" fmla="*/ 67628 w 458152"/>
                <a:gd name="connsiteY37" fmla="*/ 69532 h 465772"/>
                <a:gd name="connsiteX38" fmla="*/ 81915 w 458152"/>
                <a:gd name="connsiteY38" fmla="*/ 54293 h 465772"/>
                <a:gd name="connsiteX39" fmla="*/ 102870 w 458152"/>
                <a:gd name="connsiteY39" fmla="*/ 52388 h 465772"/>
                <a:gd name="connsiteX40" fmla="*/ 138113 w 458152"/>
                <a:gd name="connsiteY40" fmla="*/ 77152 h 465772"/>
                <a:gd name="connsiteX41" fmla="*/ 184785 w 458152"/>
                <a:gd name="connsiteY41" fmla="*/ 57150 h 465772"/>
                <a:gd name="connsiteX42" fmla="*/ 192405 w 458152"/>
                <a:gd name="connsiteY42" fmla="*/ 14288 h 465772"/>
                <a:gd name="connsiteX43" fmla="*/ 208598 w 458152"/>
                <a:gd name="connsiteY43" fmla="*/ 0 h 465772"/>
                <a:gd name="connsiteX44" fmla="*/ 229553 w 458152"/>
                <a:gd name="connsiteY44" fmla="*/ 0 h 465772"/>
                <a:gd name="connsiteX45" fmla="*/ 250507 w 458152"/>
                <a:gd name="connsiteY45" fmla="*/ 0 h 465772"/>
                <a:gd name="connsiteX46" fmla="*/ 266700 w 458152"/>
                <a:gd name="connsiteY46" fmla="*/ 14288 h 465772"/>
                <a:gd name="connsiteX47" fmla="*/ 274320 w 458152"/>
                <a:gd name="connsiteY47" fmla="*/ 58103 h 465772"/>
                <a:gd name="connsiteX48" fmla="*/ 320040 w 458152"/>
                <a:gd name="connsiteY48" fmla="*/ 77152 h 465772"/>
                <a:gd name="connsiteX49" fmla="*/ 355282 w 458152"/>
                <a:gd name="connsiteY49" fmla="*/ 51435 h 465772"/>
                <a:gd name="connsiteX50" fmla="*/ 376238 w 458152"/>
                <a:gd name="connsiteY50" fmla="*/ 53340 h 465772"/>
                <a:gd name="connsiteX51" fmla="*/ 390525 w 458152"/>
                <a:gd name="connsiteY51" fmla="*/ 68580 h 465772"/>
                <a:gd name="connsiteX52" fmla="*/ 406718 w 458152"/>
                <a:gd name="connsiteY52" fmla="*/ 83820 h 465772"/>
                <a:gd name="connsiteX53" fmla="*/ 408623 w 458152"/>
                <a:gd name="connsiteY53" fmla="*/ 105727 h 465772"/>
                <a:gd name="connsiteX54" fmla="*/ 382905 w 458152"/>
                <a:gd name="connsiteY54" fmla="*/ 141923 h 465772"/>
                <a:gd name="connsiteX55" fmla="*/ 401955 w 458152"/>
                <a:gd name="connsiteY55" fmla="*/ 188595 h 465772"/>
                <a:gd name="connsiteX56" fmla="*/ 443865 w 458152"/>
                <a:gd name="connsiteY56" fmla="*/ 194310 h 465772"/>
                <a:gd name="connsiteX57" fmla="*/ 443865 w 458152"/>
                <a:gd name="connsiteY57" fmla="*/ 194310 h 465772"/>
                <a:gd name="connsiteX58" fmla="*/ 112395 w 458152"/>
                <a:gd name="connsiteY58" fmla="*/ 272415 h 465772"/>
                <a:gd name="connsiteX59" fmla="*/ 232410 w 458152"/>
                <a:gd name="connsiteY59" fmla="*/ 360045 h 465772"/>
                <a:gd name="connsiteX60" fmla="*/ 355282 w 458152"/>
                <a:gd name="connsiteY60" fmla="*/ 263843 h 465772"/>
                <a:gd name="connsiteX61" fmla="*/ 112395 w 458152"/>
                <a:gd name="connsiteY61" fmla="*/ 196215 h 465772"/>
                <a:gd name="connsiteX62" fmla="*/ 233363 w 458152"/>
                <a:gd name="connsiteY62" fmla="*/ 106680 h 465772"/>
                <a:gd name="connsiteX63" fmla="*/ 351473 w 458152"/>
                <a:gd name="connsiteY63" fmla="*/ 188595 h 465772"/>
                <a:gd name="connsiteX64" fmla="*/ 346710 w 458152"/>
                <a:gd name="connsiteY64" fmla="*/ 188595 h 465772"/>
                <a:gd name="connsiteX65" fmla="*/ 292418 w 458152"/>
                <a:gd name="connsiteY65" fmla="*/ 188595 h 465772"/>
                <a:gd name="connsiteX66" fmla="*/ 350520 w 458152"/>
                <a:gd name="connsiteY66" fmla="*/ 129540 h 465772"/>
                <a:gd name="connsiteX67" fmla="*/ 350520 w 458152"/>
                <a:gd name="connsiteY67" fmla="*/ 188595 h 465772"/>
                <a:gd name="connsiteX68" fmla="*/ 343853 w 458152"/>
                <a:gd name="connsiteY68" fmla="*/ 188595 h 465772"/>
                <a:gd name="connsiteX69" fmla="*/ 119063 w 458152"/>
                <a:gd name="connsiteY69" fmla="*/ 272415 h 465772"/>
                <a:gd name="connsiteX70" fmla="*/ 170498 w 458152"/>
                <a:gd name="connsiteY70" fmla="*/ 272415 h 465772"/>
                <a:gd name="connsiteX71" fmla="*/ 112395 w 458152"/>
                <a:gd name="connsiteY71" fmla="*/ 331470 h 465772"/>
                <a:gd name="connsiteX72" fmla="*/ 112395 w 458152"/>
                <a:gd name="connsiteY72" fmla="*/ 272415 h 465772"/>
                <a:gd name="connsiteX73" fmla="*/ 119063 w 458152"/>
                <a:gd name="connsiteY73" fmla="*/ 272415 h 46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58152" h="465772">
                  <a:moveTo>
                    <a:pt x="443865" y="194310"/>
                  </a:moveTo>
                  <a:cubicBezTo>
                    <a:pt x="452438" y="196215"/>
                    <a:pt x="458153" y="202883"/>
                    <a:pt x="458153" y="210502"/>
                  </a:cubicBezTo>
                  <a:lnTo>
                    <a:pt x="458153" y="232410"/>
                  </a:lnTo>
                  <a:lnTo>
                    <a:pt x="458153" y="254318"/>
                  </a:lnTo>
                  <a:cubicBezTo>
                    <a:pt x="458153" y="262890"/>
                    <a:pt x="452438" y="269558"/>
                    <a:pt x="443865" y="270510"/>
                  </a:cubicBezTo>
                  <a:lnTo>
                    <a:pt x="401003" y="278130"/>
                  </a:lnTo>
                  <a:cubicBezTo>
                    <a:pt x="397193" y="294323"/>
                    <a:pt x="390525" y="309563"/>
                    <a:pt x="381953" y="324803"/>
                  </a:cubicBezTo>
                  <a:lnTo>
                    <a:pt x="407670" y="360998"/>
                  </a:lnTo>
                  <a:cubicBezTo>
                    <a:pt x="412432" y="367665"/>
                    <a:pt x="411480" y="377190"/>
                    <a:pt x="405765" y="382905"/>
                  </a:cubicBezTo>
                  <a:lnTo>
                    <a:pt x="391478" y="398145"/>
                  </a:lnTo>
                  <a:lnTo>
                    <a:pt x="377190" y="413385"/>
                  </a:lnTo>
                  <a:cubicBezTo>
                    <a:pt x="371475" y="419100"/>
                    <a:pt x="362903" y="420053"/>
                    <a:pt x="356235" y="415290"/>
                  </a:cubicBezTo>
                  <a:lnTo>
                    <a:pt x="320993" y="389573"/>
                  </a:lnTo>
                  <a:cubicBezTo>
                    <a:pt x="306705" y="398145"/>
                    <a:pt x="291465" y="404813"/>
                    <a:pt x="276225" y="408623"/>
                  </a:cubicBezTo>
                  <a:lnTo>
                    <a:pt x="268605" y="451485"/>
                  </a:lnTo>
                  <a:cubicBezTo>
                    <a:pt x="266700" y="460058"/>
                    <a:pt x="260032" y="465773"/>
                    <a:pt x="252413" y="465773"/>
                  </a:cubicBezTo>
                  <a:lnTo>
                    <a:pt x="230505" y="465773"/>
                  </a:lnTo>
                  <a:lnTo>
                    <a:pt x="209550" y="465773"/>
                  </a:lnTo>
                  <a:cubicBezTo>
                    <a:pt x="200978" y="465773"/>
                    <a:pt x="195263" y="460058"/>
                    <a:pt x="193357" y="451485"/>
                  </a:cubicBezTo>
                  <a:lnTo>
                    <a:pt x="185738" y="408623"/>
                  </a:lnTo>
                  <a:cubicBezTo>
                    <a:pt x="170498" y="404813"/>
                    <a:pt x="154305" y="398145"/>
                    <a:pt x="140018" y="389573"/>
                  </a:cubicBezTo>
                  <a:lnTo>
                    <a:pt x="104775" y="415290"/>
                  </a:lnTo>
                  <a:cubicBezTo>
                    <a:pt x="98107" y="420053"/>
                    <a:pt x="89535" y="419100"/>
                    <a:pt x="83820" y="413385"/>
                  </a:cubicBezTo>
                  <a:lnTo>
                    <a:pt x="69532" y="398145"/>
                  </a:lnTo>
                  <a:lnTo>
                    <a:pt x="55245" y="382905"/>
                  </a:lnTo>
                  <a:cubicBezTo>
                    <a:pt x="49530" y="377190"/>
                    <a:pt x="48578" y="367665"/>
                    <a:pt x="52388" y="362903"/>
                  </a:cubicBezTo>
                  <a:lnTo>
                    <a:pt x="77153" y="326708"/>
                  </a:lnTo>
                  <a:cubicBezTo>
                    <a:pt x="68580" y="311468"/>
                    <a:pt x="61913" y="296228"/>
                    <a:pt x="57150" y="280035"/>
                  </a:cubicBezTo>
                  <a:lnTo>
                    <a:pt x="14288" y="272415"/>
                  </a:lnTo>
                  <a:cubicBezTo>
                    <a:pt x="5715" y="270510"/>
                    <a:pt x="0" y="263843"/>
                    <a:pt x="0" y="256223"/>
                  </a:cubicBezTo>
                  <a:lnTo>
                    <a:pt x="0" y="234315"/>
                  </a:lnTo>
                  <a:lnTo>
                    <a:pt x="0" y="212408"/>
                  </a:lnTo>
                  <a:cubicBezTo>
                    <a:pt x="0" y="203835"/>
                    <a:pt x="5715" y="197168"/>
                    <a:pt x="14288" y="196215"/>
                  </a:cubicBezTo>
                  <a:lnTo>
                    <a:pt x="57150" y="189548"/>
                  </a:lnTo>
                  <a:cubicBezTo>
                    <a:pt x="60960" y="173355"/>
                    <a:pt x="67628" y="158115"/>
                    <a:pt x="76200" y="142875"/>
                  </a:cubicBezTo>
                  <a:lnTo>
                    <a:pt x="51435" y="106680"/>
                  </a:lnTo>
                  <a:cubicBezTo>
                    <a:pt x="46673" y="100013"/>
                    <a:pt x="47625" y="90488"/>
                    <a:pt x="53340" y="84773"/>
                  </a:cubicBezTo>
                  <a:lnTo>
                    <a:pt x="67628" y="69532"/>
                  </a:lnTo>
                  <a:lnTo>
                    <a:pt x="81915" y="54293"/>
                  </a:lnTo>
                  <a:cubicBezTo>
                    <a:pt x="87630" y="48578"/>
                    <a:pt x="96203" y="47625"/>
                    <a:pt x="102870" y="52388"/>
                  </a:cubicBezTo>
                  <a:lnTo>
                    <a:pt x="138113" y="77152"/>
                  </a:lnTo>
                  <a:cubicBezTo>
                    <a:pt x="152400" y="67628"/>
                    <a:pt x="168593" y="60960"/>
                    <a:pt x="184785" y="57150"/>
                  </a:cubicBezTo>
                  <a:lnTo>
                    <a:pt x="192405" y="14288"/>
                  </a:lnTo>
                  <a:cubicBezTo>
                    <a:pt x="194310" y="5715"/>
                    <a:pt x="200978" y="0"/>
                    <a:pt x="208598" y="0"/>
                  </a:cubicBezTo>
                  <a:lnTo>
                    <a:pt x="229553" y="0"/>
                  </a:lnTo>
                  <a:lnTo>
                    <a:pt x="250507" y="0"/>
                  </a:lnTo>
                  <a:cubicBezTo>
                    <a:pt x="259080" y="0"/>
                    <a:pt x="264795" y="5715"/>
                    <a:pt x="266700" y="14288"/>
                  </a:cubicBezTo>
                  <a:lnTo>
                    <a:pt x="274320" y="58103"/>
                  </a:lnTo>
                  <a:cubicBezTo>
                    <a:pt x="289560" y="61913"/>
                    <a:pt x="305753" y="68580"/>
                    <a:pt x="320040" y="77152"/>
                  </a:cubicBezTo>
                  <a:lnTo>
                    <a:pt x="355282" y="51435"/>
                  </a:lnTo>
                  <a:cubicBezTo>
                    <a:pt x="361950" y="47625"/>
                    <a:pt x="370523" y="47625"/>
                    <a:pt x="376238" y="53340"/>
                  </a:cubicBezTo>
                  <a:lnTo>
                    <a:pt x="390525" y="68580"/>
                  </a:lnTo>
                  <a:lnTo>
                    <a:pt x="406718" y="83820"/>
                  </a:lnTo>
                  <a:cubicBezTo>
                    <a:pt x="412432" y="89535"/>
                    <a:pt x="413385" y="99060"/>
                    <a:pt x="408623" y="105727"/>
                  </a:cubicBezTo>
                  <a:lnTo>
                    <a:pt x="382905" y="141923"/>
                  </a:lnTo>
                  <a:cubicBezTo>
                    <a:pt x="391478" y="157163"/>
                    <a:pt x="397193" y="171450"/>
                    <a:pt x="401955" y="188595"/>
                  </a:cubicBezTo>
                  <a:lnTo>
                    <a:pt x="443865" y="194310"/>
                  </a:lnTo>
                  <a:lnTo>
                    <a:pt x="443865" y="194310"/>
                  </a:lnTo>
                  <a:close/>
                  <a:moveTo>
                    <a:pt x="112395" y="272415"/>
                  </a:moveTo>
                  <a:cubicBezTo>
                    <a:pt x="128588" y="322898"/>
                    <a:pt x="177165" y="360045"/>
                    <a:pt x="232410" y="360045"/>
                  </a:cubicBezTo>
                  <a:cubicBezTo>
                    <a:pt x="291465" y="360045"/>
                    <a:pt x="341948" y="319088"/>
                    <a:pt x="355282" y="263843"/>
                  </a:cubicBezTo>
                  <a:moveTo>
                    <a:pt x="112395" y="196215"/>
                  </a:moveTo>
                  <a:cubicBezTo>
                    <a:pt x="127635" y="144780"/>
                    <a:pt x="177165" y="106680"/>
                    <a:pt x="233363" y="106680"/>
                  </a:cubicBezTo>
                  <a:cubicBezTo>
                    <a:pt x="287655" y="106680"/>
                    <a:pt x="333375" y="140018"/>
                    <a:pt x="351473" y="188595"/>
                  </a:cubicBezTo>
                  <a:moveTo>
                    <a:pt x="346710" y="188595"/>
                  </a:moveTo>
                  <a:cubicBezTo>
                    <a:pt x="292418" y="188595"/>
                    <a:pt x="292418" y="188595"/>
                    <a:pt x="292418" y="188595"/>
                  </a:cubicBezTo>
                  <a:moveTo>
                    <a:pt x="350520" y="129540"/>
                  </a:moveTo>
                  <a:cubicBezTo>
                    <a:pt x="350520" y="129540"/>
                    <a:pt x="350520" y="129540"/>
                    <a:pt x="350520" y="188595"/>
                  </a:cubicBezTo>
                  <a:cubicBezTo>
                    <a:pt x="350520" y="188595"/>
                    <a:pt x="350520" y="188595"/>
                    <a:pt x="343853" y="188595"/>
                  </a:cubicBezTo>
                  <a:moveTo>
                    <a:pt x="119063" y="272415"/>
                  </a:moveTo>
                  <a:cubicBezTo>
                    <a:pt x="170498" y="272415"/>
                    <a:pt x="170498" y="272415"/>
                    <a:pt x="170498" y="272415"/>
                  </a:cubicBezTo>
                  <a:moveTo>
                    <a:pt x="112395" y="331470"/>
                  </a:moveTo>
                  <a:cubicBezTo>
                    <a:pt x="112395" y="331470"/>
                    <a:pt x="112395" y="331470"/>
                    <a:pt x="112395" y="272415"/>
                  </a:cubicBezTo>
                  <a:cubicBezTo>
                    <a:pt x="112395" y="272415"/>
                    <a:pt x="112395" y="272415"/>
                    <a:pt x="119063" y="272415"/>
                  </a:cubicBezTo>
                </a:path>
              </a:pathLst>
            </a:custGeom>
            <a:noFill/>
            <a:ln w="12700" cap="flat">
              <a:solidFill>
                <a:schemeClr val="bg1"/>
              </a:solidFill>
              <a:prstDash val="solid"/>
              <a:miter/>
            </a:ln>
          </p:spPr>
          <p:txBody>
            <a:bodyPr rtlCol="0" anchor="ctr"/>
            <a:lstStyle/>
            <a:p>
              <a:endParaRPr lang="en-US" sz="1765"/>
            </a:p>
          </p:txBody>
        </p:sp>
        <p:sp>
          <p:nvSpPr>
            <p:cNvPr id="197" name="Graphic 1">
              <a:extLst>
                <a:ext uri="{FF2B5EF4-FFF2-40B4-BE49-F238E27FC236}">
                  <a16:creationId xmlns:a16="http://schemas.microsoft.com/office/drawing/2014/main" id="{01669FB0-37FF-4F1E-B2BA-6DD3400FCD23}"/>
                </a:ext>
                <a:ext uri="{C183D7F6-B498-43B3-948B-1728B52AA6E4}">
                  <adec:decorative xmlns:adec="http://schemas.microsoft.com/office/drawing/2017/decorative" val="1"/>
                </a:ext>
              </a:extLst>
            </p:cNvPr>
            <p:cNvSpPr/>
            <p:nvPr userDrawn="1"/>
          </p:nvSpPr>
          <p:spPr>
            <a:xfrm>
              <a:off x="8905894" y="2543142"/>
              <a:ext cx="308543" cy="326940"/>
            </a:xfrm>
            <a:custGeom>
              <a:avLst/>
              <a:gdLst>
                <a:gd name="connsiteX0" fmla="*/ 414877 w 498415"/>
                <a:gd name="connsiteY0" fmla="*/ 471497 h 528133"/>
                <a:gd name="connsiteX1" fmla="*/ 395055 w 498415"/>
                <a:gd name="connsiteY1" fmla="*/ 479993 h 528133"/>
                <a:gd name="connsiteX2" fmla="*/ 386559 w 498415"/>
                <a:gd name="connsiteY2" fmla="*/ 499816 h 528133"/>
                <a:gd name="connsiteX3" fmla="*/ 395055 w 498415"/>
                <a:gd name="connsiteY3" fmla="*/ 519638 h 528133"/>
                <a:gd name="connsiteX4" fmla="*/ 414877 w 498415"/>
                <a:gd name="connsiteY4" fmla="*/ 528134 h 528133"/>
                <a:gd name="connsiteX5" fmla="*/ 246384 w 498415"/>
                <a:gd name="connsiteY5" fmla="*/ 526718 h 528133"/>
                <a:gd name="connsiteX6" fmla="*/ 226561 w 498415"/>
                <a:gd name="connsiteY6" fmla="*/ 518222 h 528133"/>
                <a:gd name="connsiteX7" fmla="*/ 218066 w 498415"/>
                <a:gd name="connsiteY7" fmla="*/ 498400 h 528133"/>
                <a:gd name="connsiteX8" fmla="*/ 226561 w 498415"/>
                <a:gd name="connsiteY8" fmla="*/ 478577 h 528133"/>
                <a:gd name="connsiteX9" fmla="*/ 246384 w 498415"/>
                <a:gd name="connsiteY9" fmla="*/ 470081 h 528133"/>
                <a:gd name="connsiteX10" fmla="*/ 414877 w 498415"/>
                <a:gd name="connsiteY10" fmla="*/ 470081 h 528133"/>
                <a:gd name="connsiteX11" fmla="*/ 470098 w 498415"/>
                <a:gd name="connsiteY11" fmla="*/ 249200 h 528133"/>
                <a:gd name="connsiteX12" fmla="*/ 283198 w 498415"/>
                <a:gd name="connsiteY12" fmla="*/ 249200 h 528133"/>
                <a:gd name="connsiteX13" fmla="*/ 254880 w 498415"/>
                <a:gd name="connsiteY13" fmla="*/ 277518 h 528133"/>
                <a:gd name="connsiteX14" fmla="*/ 254880 w 498415"/>
                <a:gd name="connsiteY14" fmla="*/ 471497 h 528133"/>
                <a:gd name="connsiteX15" fmla="*/ 441780 w 498415"/>
                <a:gd name="connsiteY15" fmla="*/ 304420 h 528133"/>
                <a:gd name="connsiteX16" fmla="*/ 470098 w 498415"/>
                <a:gd name="connsiteY16" fmla="*/ 304420 h 528133"/>
                <a:gd name="connsiteX17" fmla="*/ 498416 w 498415"/>
                <a:gd name="connsiteY17" fmla="*/ 276102 h 528133"/>
                <a:gd name="connsiteX18" fmla="*/ 470098 w 498415"/>
                <a:gd name="connsiteY18" fmla="*/ 247784 h 528133"/>
                <a:gd name="connsiteX19" fmla="*/ 441780 w 498415"/>
                <a:gd name="connsiteY19" fmla="*/ 276102 h 528133"/>
                <a:gd name="connsiteX20" fmla="*/ 441780 w 498415"/>
                <a:gd name="connsiteY20" fmla="*/ 423356 h 528133"/>
                <a:gd name="connsiteX21" fmla="*/ 441780 w 498415"/>
                <a:gd name="connsiteY21" fmla="*/ 424772 h 528133"/>
                <a:gd name="connsiteX22" fmla="*/ 441780 w 498415"/>
                <a:gd name="connsiteY22" fmla="*/ 498400 h 528133"/>
                <a:gd name="connsiteX23" fmla="*/ 246384 w 498415"/>
                <a:gd name="connsiteY23" fmla="*/ 526718 h 528133"/>
                <a:gd name="connsiteX24" fmla="*/ 414877 w 498415"/>
                <a:gd name="connsiteY24" fmla="*/ 526718 h 528133"/>
                <a:gd name="connsiteX25" fmla="*/ 443195 w 498415"/>
                <a:gd name="connsiteY25" fmla="*/ 498400 h 528133"/>
                <a:gd name="connsiteX26" fmla="*/ 283198 w 498415"/>
                <a:gd name="connsiteY26" fmla="*/ 304420 h 528133"/>
                <a:gd name="connsiteX27" fmla="*/ 413461 w 498415"/>
                <a:gd name="connsiteY27" fmla="*/ 304420 h 528133"/>
                <a:gd name="connsiteX28" fmla="*/ 283198 w 498415"/>
                <a:gd name="connsiteY28" fmla="*/ 341234 h 528133"/>
                <a:gd name="connsiteX29" fmla="*/ 413461 w 498415"/>
                <a:gd name="connsiteY29" fmla="*/ 341234 h 528133"/>
                <a:gd name="connsiteX30" fmla="*/ 283198 w 498415"/>
                <a:gd name="connsiteY30" fmla="*/ 378047 h 528133"/>
                <a:gd name="connsiteX31" fmla="*/ 413461 w 498415"/>
                <a:gd name="connsiteY31" fmla="*/ 378047 h 528133"/>
                <a:gd name="connsiteX32" fmla="*/ 283198 w 498415"/>
                <a:gd name="connsiteY32" fmla="*/ 416277 h 528133"/>
                <a:gd name="connsiteX33" fmla="*/ 413461 w 498415"/>
                <a:gd name="connsiteY33" fmla="*/ 416277 h 528133"/>
                <a:gd name="connsiteX34" fmla="*/ 205323 w 498415"/>
                <a:gd name="connsiteY34" fmla="*/ 416277 h 528133"/>
                <a:gd name="connsiteX35" fmla="*/ 16 w 498415"/>
                <a:gd name="connsiteY35" fmla="*/ 209554 h 528133"/>
                <a:gd name="connsiteX36" fmla="*/ 16 w 498415"/>
                <a:gd name="connsiteY36" fmla="*/ 209554 h 528133"/>
                <a:gd name="connsiteX37" fmla="*/ 16 w 498415"/>
                <a:gd name="connsiteY37" fmla="*/ 209554 h 528133"/>
                <a:gd name="connsiteX38" fmla="*/ 16 w 498415"/>
                <a:gd name="connsiteY38" fmla="*/ 209554 h 528133"/>
                <a:gd name="connsiteX39" fmla="*/ 205323 w 498415"/>
                <a:gd name="connsiteY39" fmla="*/ 0 h 528133"/>
                <a:gd name="connsiteX40" fmla="*/ 409214 w 498415"/>
                <a:gd name="connsiteY40" fmla="*/ 208138 h 528133"/>
                <a:gd name="connsiteX41" fmla="*/ 310100 w 498415"/>
                <a:gd name="connsiteY41" fmla="*/ 208138 h 528133"/>
                <a:gd name="connsiteX42" fmla="*/ 205323 w 498415"/>
                <a:gd name="connsiteY42" fmla="*/ 0 h 528133"/>
                <a:gd name="connsiteX43" fmla="*/ 100546 w 498415"/>
                <a:gd name="connsiteY43" fmla="*/ 208138 h 528133"/>
                <a:gd name="connsiteX44" fmla="*/ 205323 w 498415"/>
                <a:gd name="connsiteY44" fmla="*/ 414861 h 528133"/>
                <a:gd name="connsiteX45" fmla="*/ 205323 w 498415"/>
                <a:gd name="connsiteY45" fmla="*/ 414861 h 528133"/>
                <a:gd name="connsiteX46" fmla="*/ 205323 w 498415"/>
                <a:gd name="connsiteY46" fmla="*/ 414861 h 528133"/>
                <a:gd name="connsiteX47" fmla="*/ 205323 w 498415"/>
                <a:gd name="connsiteY47" fmla="*/ 414861 h 528133"/>
                <a:gd name="connsiteX48" fmla="*/ 8512 w 498415"/>
                <a:gd name="connsiteY48" fmla="*/ 144423 h 528133"/>
                <a:gd name="connsiteX49" fmla="*/ 399302 w 498415"/>
                <a:gd name="connsiteY49" fmla="*/ 144423 h 528133"/>
                <a:gd name="connsiteX50" fmla="*/ 8512 w 498415"/>
                <a:gd name="connsiteY50" fmla="*/ 281766 h 528133"/>
                <a:gd name="connsiteX51" fmla="*/ 205323 w 498415"/>
                <a:gd name="connsiteY51" fmla="*/ 281766 h 52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8415" h="528133">
                  <a:moveTo>
                    <a:pt x="414877" y="471497"/>
                  </a:moveTo>
                  <a:cubicBezTo>
                    <a:pt x="407798" y="471497"/>
                    <a:pt x="400718" y="474329"/>
                    <a:pt x="395055" y="479993"/>
                  </a:cubicBezTo>
                  <a:cubicBezTo>
                    <a:pt x="389391" y="485656"/>
                    <a:pt x="386559" y="491320"/>
                    <a:pt x="386559" y="499816"/>
                  </a:cubicBezTo>
                  <a:cubicBezTo>
                    <a:pt x="386559" y="506895"/>
                    <a:pt x="389391" y="513975"/>
                    <a:pt x="395055" y="519638"/>
                  </a:cubicBezTo>
                  <a:cubicBezTo>
                    <a:pt x="400718" y="525302"/>
                    <a:pt x="407798" y="528134"/>
                    <a:pt x="414877" y="528134"/>
                  </a:cubicBezTo>
                  <a:moveTo>
                    <a:pt x="246384" y="526718"/>
                  </a:moveTo>
                  <a:cubicBezTo>
                    <a:pt x="237889" y="526718"/>
                    <a:pt x="232225" y="523886"/>
                    <a:pt x="226561" y="518222"/>
                  </a:cubicBezTo>
                  <a:cubicBezTo>
                    <a:pt x="220898" y="512559"/>
                    <a:pt x="218066" y="506895"/>
                    <a:pt x="218066" y="498400"/>
                  </a:cubicBezTo>
                  <a:cubicBezTo>
                    <a:pt x="218066" y="491320"/>
                    <a:pt x="220898" y="484240"/>
                    <a:pt x="226561" y="478577"/>
                  </a:cubicBezTo>
                  <a:cubicBezTo>
                    <a:pt x="232225" y="472913"/>
                    <a:pt x="239305" y="470081"/>
                    <a:pt x="246384" y="470081"/>
                  </a:cubicBezTo>
                  <a:cubicBezTo>
                    <a:pt x="414877" y="470081"/>
                    <a:pt x="414877" y="470081"/>
                    <a:pt x="414877" y="470081"/>
                  </a:cubicBezTo>
                  <a:moveTo>
                    <a:pt x="470098" y="249200"/>
                  </a:moveTo>
                  <a:cubicBezTo>
                    <a:pt x="283198" y="249200"/>
                    <a:pt x="283198" y="249200"/>
                    <a:pt x="283198" y="249200"/>
                  </a:cubicBezTo>
                  <a:cubicBezTo>
                    <a:pt x="267623" y="249200"/>
                    <a:pt x="254880" y="261943"/>
                    <a:pt x="254880" y="277518"/>
                  </a:cubicBezTo>
                  <a:cubicBezTo>
                    <a:pt x="254880" y="471497"/>
                    <a:pt x="254880" y="471497"/>
                    <a:pt x="254880" y="471497"/>
                  </a:cubicBezTo>
                  <a:moveTo>
                    <a:pt x="441780" y="304420"/>
                  </a:moveTo>
                  <a:cubicBezTo>
                    <a:pt x="470098" y="304420"/>
                    <a:pt x="470098" y="304420"/>
                    <a:pt x="470098" y="304420"/>
                  </a:cubicBezTo>
                  <a:cubicBezTo>
                    <a:pt x="485673" y="304420"/>
                    <a:pt x="498416" y="291677"/>
                    <a:pt x="498416" y="276102"/>
                  </a:cubicBezTo>
                  <a:cubicBezTo>
                    <a:pt x="498416" y="260527"/>
                    <a:pt x="485673" y="247784"/>
                    <a:pt x="470098" y="247784"/>
                  </a:cubicBezTo>
                  <a:cubicBezTo>
                    <a:pt x="454523" y="247784"/>
                    <a:pt x="441780" y="260527"/>
                    <a:pt x="441780" y="276102"/>
                  </a:cubicBezTo>
                  <a:cubicBezTo>
                    <a:pt x="441780" y="423356"/>
                    <a:pt x="441780" y="423356"/>
                    <a:pt x="441780" y="423356"/>
                  </a:cubicBezTo>
                  <a:moveTo>
                    <a:pt x="441780" y="424772"/>
                  </a:moveTo>
                  <a:cubicBezTo>
                    <a:pt x="441780" y="498400"/>
                    <a:pt x="441780" y="498400"/>
                    <a:pt x="441780" y="498400"/>
                  </a:cubicBezTo>
                  <a:moveTo>
                    <a:pt x="246384" y="526718"/>
                  </a:moveTo>
                  <a:cubicBezTo>
                    <a:pt x="414877" y="526718"/>
                    <a:pt x="414877" y="526718"/>
                    <a:pt x="414877" y="526718"/>
                  </a:cubicBezTo>
                  <a:cubicBezTo>
                    <a:pt x="430452" y="526718"/>
                    <a:pt x="443195" y="513975"/>
                    <a:pt x="443195" y="498400"/>
                  </a:cubicBezTo>
                  <a:moveTo>
                    <a:pt x="283198" y="304420"/>
                  </a:moveTo>
                  <a:cubicBezTo>
                    <a:pt x="413461" y="304420"/>
                    <a:pt x="413461" y="304420"/>
                    <a:pt x="413461" y="304420"/>
                  </a:cubicBezTo>
                  <a:moveTo>
                    <a:pt x="283198" y="341234"/>
                  </a:moveTo>
                  <a:cubicBezTo>
                    <a:pt x="413461" y="341234"/>
                    <a:pt x="413461" y="341234"/>
                    <a:pt x="413461" y="341234"/>
                  </a:cubicBezTo>
                  <a:moveTo>
                    <a:pt x="283198" y="378047"/>
                  </a:moveTo>
                  <a:cubicBezTo>
                    <a:pt x="413461" y="378047"/>
                    <a:pt x="413461" y="378047"/>
                    <a:pt x="413461" y="378047"/>
                  </a:cubicBezTo>
                  <a:moveTo>
                    <a:pt x="283198" y="416277"/>
                  </a:moveTo>
                  <a:cubicBezTo>
                    <a:pt x="413461" y="416277"/>
                    <a:pt x="413461" y="416277"/>
                    <a:pt x="413461" y="416277"/>
                  </a:cubicBezTo>
                  <a:moveTo>
                    <a:pt x="205323" y="416277"/>
                  </a:moveTo>
                  <a:cubicBezTo>
                    <a:pt x="92050" y="416277"/>
                    <a:pt x="16" y="322827"/>
                    <a:pt x="16" y="209554"/>
                  </a:cubicBezTo>
                  <a:lnTo>
                    <a:pt x="16" y="209554"/>
                  </a:lnTo>
                  <a:lnTo>
                    <a:pt x="16" y="209554"/>
                  </a:lnTo>
                  <a:lnTo>
                    <a:pt x="16" y="209554"/>
                  </a:lnTo>
                  <a:cubicBezTo>
                    <a:pt x="-1400" y="93450"/>
                    <a:pt x="90634" y="0"/>
                    <a:pt x="205323" y="0"/>
                  </a:cubicBezTo>
                  <a:cubicBezTo>
                    <a:pt x="318596" y="0"/>
                    <a:pt x="409214" y="93450"/>
                    <a:pt x="409214" y="208138"/>
                  </a:cubicBezTo>
                  <a:moveTo>
                    <a:pt x="310100" y="208138"/>
                  </a:moveTo>
                  <a:cubicBezTo>
                    <a:pt x="310100" y="93450"/>
                    <a:pt x="263375" y="0"/>
                    <a:pt x="205323" y="0"/>
                  </a:cubicBezTo>
                  <a:cubicBezTo>
                    <a:pt x="147271" y="0"/>
                    <a:pt x="100546" y="93450"/>
                    <a:pt x="100546" y="208138"/>
                  </a:cubicBezTo>
                  <a:cubicBezTo>
                    <a:pt x="100546" y="321411"/>
                    <a:pt x="147271" y="414861"/>
                    <a:pt x="205323" y="414861"/>
                  </a:cubicBezTo>
                  <a:lnTo>
                    <a:pt x="205323" y="414861"/>
                  </a:lnTo>
                  <a:lnTo>
                    <a:pt x="205323" y="414861"/>
                  </a:lnTo>
                  <a:lnTo>
                    <a:pt x="205323" y="414861"/>
                  </a:lnTo>
                  <a:moveTo>
                    <a:pt x="8512" y="144423"/>
                  </a:moveTo>
                  <a:cubicBezTo>
                    <a:pt x="399302" y="144423"/>
                    <a:pt x="399302" y="144423"/>
                    <a:pt x="399302" y="144423"/>
                  </a:cubicBezTo>
                  <a:moveTo>
                    <a:pt x="8512" y="281766"/>
                  </a:moveTo>
                  <a:lnTo>
                    <a:pt x="205323" y="281766"/>
                  </a:lnTo>
                </a:path>
              </a:pathLst>
            </a:custGeom>
            <a:noFill/>
            <a:ln w="12700" cap="flat">
              <a:solidFill>
                <a:schemeClr val="bg1"/>
              </a:solidFill>
              <a:prstDash val="solid"/>
              <a:miter/>
            </a:ln>
          </p:spPr>
          <p:txBody>
            <a:bodyPr rtlCol="0" anchor="ctr"/>
            <a:lstStyle/>
            <a:p>
              <a:endParaRPr lang="en-US" sz="1765"/>
            </a:p>
          </p:txBody>
        </p:sp>
        <p:sp>
          <p:nvSpPr>
            <p:cNvPr id="198" name="Freeform: Shape 197">
              <a:extLst>
                <a:ext uri="{FF2B5EF4-FFF2-40B4-BE49-F238E27FC236}">
                  <a16:creationId xmlns:a16="http://schemas.microsoft.com/office/drawing/2014/main" id="{162BD651-5CD8-426D-8769-650ADDE66809}"/>
                </a:ext>
                <a:ext uri="{C183D7F6-B498-43B3-948B-1728B52AA6E4}">
                  <adec:decorative xmlns:adec="http://schemas.microsoft.com/office/drawing/2017/decorative" val="1"/>
                </a:ext>
              </a:extLst>
            </p:cNvPr>
            <p:cNvSpPr/>
            <p:nvPr userDrawn="1"/>
          </p:nvSpPr>
          <p:spPr>
            <a:xfrm>
              <a:off x="11082968" y="4444688"/>
              <a:ext cx="326540" cy="381023"/>
            </a:xfrm>
            <a:custGeom>
              <a:avLst/>
              <a:gdLst>
                <a:gd name="connsiteX0" fmla="*/ 410247 w 431562"/>
                <a:gd name="connsiteY0" fmla="*/ 342796 h 503568"/>
                <a:gd name="connsiteX1" fmla="*/ 410247 w 431562"/>
                <a:gd name="connsiteY1" fmla="*/ 160772 h 503568"/>
                <a:gd name="connsiteX2" fmla="*/ 237463 w 431562"/>
                <a:gd name="connsiteY2" fmla="*/ 466610 h 503568"/>
                <a:gd name="connsiteX3" fmla="*/ 396387 w 431562"/>
                <a:gd name="connsiteY3" fmla="*/ 378832 h 503568"/>
                <a:gd name="connsiteX4" fmla="*/ 43427 w 431562"/>
                <a:gd name="connsiteY4" fmla="*/ 378832 h 503568"/>
                <a:gd name="connsiteX5" fmla="*/ 202351 w 431562"/>
                <a:gd name="connsiteY5" fmla="*/ 466610 h 503568"/>
                <a:gd name="connsiteX6" fmla="*/ 21251 w 431562"/>
                <a:gd name="connsiteY6" fmla="*/ 160772 h 503568"/>
                <a:gd name="connsiteX7" fmla="*/ 21251 w 431562"/>
                <a:gd name="connsiteY7" fmla="*/ 342796 h 503568"/>
                <a:gd name="connsiteX8" fmla="*/ 201427 w 431562"/>
                <a:gd name="connsiteY8" fmla="*/ 36035 h 503568"/>
                <a:gd name="connsiteX9" fmla="*/ 42503 w 431562"/>
                <a:gd name="connsiteY9" fmla="*/ 123813 h 503568"/>
                <a:gd name="connsiteX10" fmla="*/ 216211 w 431562"/>
                <a:gd name="connsiteY10" fmla="*/ 0 h 503568"/>
                <a:gd name="connsiteX11" fmla="*/ 194959 w 431562"/>
                <a:gd name="connsiteY11" fmla="*/ 22175 h 503568"/>
                <a:gd name="connsiteX12" fmla="*/ 196808 w 431562"/>
                <a:gd name="connsiteY12" fmla="*/ 31415 h 503568"/>
                <a:gd name="connsiteX13" fmla="*/ 216211 w 431562"/>
                <a:gd name="connsiteY13" fmla="*/ 43427 h 503568"/>
                <a:gd name="connsiteX14" fmla="*/ 235615 w 431562"/>
                <a:gd name="connsiteY14" fmla="*/ 31415 h 503568"/>
                <a:gd name="connsiteX15" fmla="*/ 238387 w 431562"/>
                <a:gd name="connsiteY15" fmla="*/ 21251 h 503568"/>
                <a:gd name="connsiteX16" fmla="*/ 216211 w 431562"/>
                <a:gd name="connsiteY16" fmla="*/ 0 h 503568"/>
                <a:gd name="connsiteX17" fmla="*/ 216211 w 431562"/>
                <a:gd name="connsiteY17" fmla="*/ 0 h 503568"/>
                <a:gd name="connsiteX18" fmla="*/ 216211 w 431562"/>
                <a:gd name="connsiteY18" fmla="*/ 459218 h 503568"/>
                <a:gd name="connsiteX19" fmla="*/ 197731 w 431562"/>
                <a:gd name="connsiteY19" fmla="*/ 470306 h 503568"/>
                <a:gd name="connsiteX20" fmla="*/ 194959 w 431562"/>
                <a:gd name="connsiteY20" fmla="*/ 481393 h 503568"/>
                <a:gd name="connsiteX21" fmla="*/ 216211 w 431562"/>
                <a:gd name="connsiteY21" fmla="*/ 503569 h 503568"/>
                <a:gd name="connsiteX22" fmla="*/ 237463 w 431562"/>
                <a:gd name="connsiteY22" fmla="*/ 481393 h 503568"/>
                <a:gd name="connsiteX23" fmla="*/ 234690 w 431562"/>
                <a:gd name="connsiteY23" fmla="*/ 470306 h 503568"/>
                <a:gd name="connsiteX24" fmla="*/ 216211 w 431562"/>
                <a:gd name="connsiteY24" fmla="*/ 459218 h 503568"/>
                <a:gd name="connsiteX25" fmla="*/ 216211 w 431562"/>
                <a:gd name="connsiteY25" fmla="*/ 459218 h 503568"/>
                <a:gd name="connsiteX26" fmla="*/ 22175 w 431562"/>
                <a:gd name="connsiteY26" fmla="*/ 342796 h 503568"/>
                <a:gd name="connsiteX27" fmla="*/ 22175 w 431562"/>
                <a:gd name="connsiteY27" fmla="*/ 342796 h 503568"/>
                <a:gd name="connsiteX28" fmla="*/ 0 w 431562"/>
                <a:gd name="connsiteY28" fmla="*/ 364972 h 503568"/>
                <a:gd name="connsiteX29" fmla="*/ 21251 w 431562"/>
                <a:gd name="connsiteY29" fmla="*/ 387147 h 503568"/>
                <a:gd name="connsiteX30" fmla="*/ 39731 w 431562"/>
                <a:gd name="connsiteY30" fmla="*/ 376060 h 503568"/>
                <a:gd name="connsiteX31" fmla="*/ 42503 w 431562"/>
                <a:gd name="connsiteY31" fmla="*/ 364972 h 503568"/>
                <a:gd name="connsiteX32" fmla="*/ 22175 w 431562"/>
                <a:gd name="connsiteY32" fmla="*/ 342796 h 503568"/>
                <a:gd name="connsiteX33" fmla="*/ 22175 w 431562"/>
                <a:gd name="connsiteY33" fmla="*/ 342796 h 503568"/>
                <a:gd name="connsiteX34" fmla="*/ 21251 w 431562"/>
                <a:gd name="connsiteY34" fmla="*/ 116421 h 503568"/>
                <a:gd name="connsiteX35" fmla="*/ 0 w 431562"/>
                <a:gd name="connsiteY35" fmla="*/ 138597 h 503568"/>
                <a:gd name="connsiteX36" fmla="*/ 21251 w 431562"/>
                <a:gd name="connsiteY36" fmla="*/ 160772 h 503568"/>
                <a:gd name="connsiteX37" fmla="*/ 21251 w 431562"/>
                <a:gd name="connsiteY37" fmla="*/ 160772 h 503568"/>
                <a:gd name="connsiteX38" fmla="*/ 42503 w 431562"/>
                <a:gd name="connsiteY38" fmla="*/ 138597 h 503568"/>
                <a:gd name="connsiteX39" fmla="*/ 39731 w 431562"/>
                <a:gd name="connsiteY39" fmla="*/ 128433 h 503568"/>
                <a:gd name="connsiteX40" fmla="*/ 21251 w 431562"/>
                <a:gd name="connsiteY40" fmla="*/ 116421 h 503568"/>
                <a:gd name="connsiteX41" fmla="*/ 21251 w 431562"/>
                <a:gd name="connsiteY41" fmla="*/ 116421 h 503568"/>
                <a:gd name="connsiteX42" fmla="*/ 411171 w 431562"/>
                <a:gd name="connsiteY42" fmla="*/ 342796 h 503568"/>
                <a:gd name="connsiteX43" fmla="*/ 411171 w 431562"/>
                <a:gd name="connsiteY43" fmla="*/ 342796 h 503568"/>
                <a:gd name="connsiteX44" fmla="*/ 388995 w 431562"/>
                <a:gd name="connsiteY44" fmla="*/ 364972 h 503568"/>
                <a:gd name="connsiteX45" fmla="*/ 391767 w 431562"/>
                <a:gd name="connsiteY45" fmla="*/ 376060 h 503568"/>
                <a:gd name="connsiteX46" fmla="*/ 410247 w 431562"/>
                <a:gd name="connsiteY46" fmla="*/ 387147 h 503568"/>
                <a:gd name="connsiteX47" fmla="*/ 431499 w 431562"/>
                <a:gd name="connsiteY47" fmla="*/ 364972 h 503568"/>
                <a:gd name="connsiteX48" fmla="*/ 411171 w 431562"/>
                <a:gd name="connsiteY48" fmla="*/ 342796 h 503568"/>
                <a:gd name="connsiteX49" fmla="*/ 411171 w 431562"/>
                <a:gd name="connsiteY49" fmla="*/ 342796 h 503568"/>
                <a:gd name="connsiteX50" fmla="*/ 410247 w 431562"/>
                <a:gd name="connsiteY50" fmla="*/ 160772 h 503568"/>
                <a:gd name="connsiteX51" fmla="*/ 410247 w 431562"/>
                <a:gd name="connsiteY51" fmla="*/ 160772 h 503568"/>
                <a:gd name="connsiteX52" fmla="*/ 431499 w 431562"/>
                <a:gd name="connsiteY52" fmla="*/ 138597 h 503568"/>
                <a:gd name="connsiteX53" fmla="*/ 410247 w 431562"/>
                <a:gd name="connsiteY53" fmla="*/ 116421 h 503568"/>
                <a:gd name="connsiteX54" fmla="*/ 391767 w 431562"/>
                <a:gd name="connsiteY54" fmla="*/ 127509 h 503568"/>
                <a:gd name="connsiteX55" fmla="*/ 388995 w 431562"/>
                <a:gd name="connsiteY55" fmla="*/ 138597 h 503568"/>
                <a:gd name="connsiteX56" fmla="*/ 410247 w 431562"/>
                <a:gd name="connsiteY56" fmla="*/ 160772 h 503568"/>
                <a:gd name="connsiteX57" fmla="*/ 410247 w 431562"/>
                <a:gd name="connsiteY57" fmla="*/ 160772 h 503568"/>
                <a:gd name="connsiteX58" fmla="*/ 104410 w 431562"/>
                <a:gd name="connsiteY58" fmla="*/ 180176 h 503568"/>
                <a:gd name="connsiteX59" fmla="*/ 104410 w 431562"/>
                <a:gd name="connsiteY59" fmla="*/ 352036 h 503568"/>
                <a:gd name="connsiteX60" fmla="*/ 326165 w 431562"/>
                <a:gd name="connsiteY60" fmla="*/ 352036 h 503568"/>
                <a:gd name="connsiteX61" fmla="*/ 129357 w 431562"/>
                <a:gd name="connsiteY61" fmla="*/ 352036 h 503568"/>
                <a:gd name="connsiteX62" fmla="*/ 162620 w 431562"/>
                <a:gd name="connsiteY62" fmla="*/ 276270 h 503568"/>
                <a:gd name="connsiteX63" fmla="*/ 223603 w 431562"/>
                <a:gd name="connsiteY63" fmla="*/ 300293 h 503568"/>
                <a:gd name="connsiteX64" fmla="*/ 312305 w 431562"/>
                <a:gd name="connsiteY64" fmla="*/ 170936 h 50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31562" h="503568">
                  <a:moveTo>
                    <a:pt x="410247" y="342796"/>
                  </a:moveTo>
                  <a:lnTo>
                    <a:pt x="410247" y="160772"/>
                  </a:lnTo>
                  <a:moveTo>
                    <a:pt x="237463" y="466610"/>
                  </a:moveTo>
                  <a:lnTo>
                    <a:pt x="396387" y="378832"/>
                  </a:lnTo>
                  <a:moveTo>
                    <a:pt x="43427" y="378832"/>
                  </a:moveTo>
                  <a:lnTo>
                    <a:pt x="202351" y="466610"/>
                  </a:lnTo>
                  <a:moveTo>
                    <a:pt x="21251" y="160772"/>
                  </a:moveTo>
                  <a:lnTo>
                    <a:pt x="21251" y="342796"/>
                  </a:lnTo>
                  <a:moveTo>
                    <a:pt x="201427" y="36035"/>
                  </a:moveTo>
                  <a:lnTo>
                    <a:pt x="42503" y="123813"/>
                  </a:lnTo>
                  <a:moveTo>
                    <a:pt x="216211" y="0"/>
                  </a:moveTo>
                  <a:cubicBezTo>
                    <a:pt x="204199" y="0"/>
                    <a:pt x="194959" y="10164"/>
                    <a:pt x="194959" y="22175"/>
                  </a:cubicBezTo>
                  <a:cubicBezTo>
                    <a:pt x="194959" y="25871"/>
                    <a:pt x="195884" y="28643"/>
                    <a:pt x="196808" y="31415"/>
                  </a:cubicBezTo>
                  <a:cubicBezTo>
                    <a:pt x="200504" y="38807"/>
                    <a:pt x="207895" y="43427"/>
                    <a:pt x="216211" y="43427"/>
                  </a:cubicBezTo>
                  <a:cubicBezTo>
                    <a:pt x="224527" y="43427"/>
                    <a:pt x="231919" y="38807"/>
                    <a:pt x="235615" y="31415"/>
                  </a:cubicBezTo>
                  <a:cubicBezTo>
                    <a:pt x="237463" y="28643"/>
                    <a:pt x="238387" y="24947"/>
                    <a:pt x="238387" y="21251"/>
                  </a:cubicBezTo>
                  <a:cubicBezTo>
                    <a:pt x="237463" y="10164"/>
                    <a:pt x="228223" y="0"/>
                    <a:pt x="216211" y="0"/>
                  </a:cubicBezTo>
                  <a:lnTo>
                    <a:pt x="216211" y="0"/>
                  </a:lnTo>
                  <a:close/>
                  <a:moveTo>
                    <a:pt x="216211" y="459218"/>
                  </a:moveTo>
                  <a:cubicBezTo>
                    <a:pt x="207895" y="459218"/>
                    <a:pt x="201427" y="463838"/>
                    <a:pt x="197731" y="470306"/>
                  </a:cubicBezTo>
                  <a:cubicBezTo>
                    <a:pt x="195884" y="473077"/>
                    <a:pt x="194959" y="476774"/>
                    <a:pt x="194959" y="481393"/>
                  </a:cubicBezTo>
                  <a:cubicBezTo>
                    <a:pt x="194959" y="493405"/>
                    <a:pt x="204199" y="503569"/>
                    <a:pt x="216211" y="503569"/>
                  </a:cubicBezTo>
                  <a:cubicBezTo>
                    <a:pt x="228223" y="503569"/>
                    <a:pt x="237463" y="493405"/>
                    <a:pt x="237463" y="481393"/>
                  </a:cubicBezTo>
                  <a:cubicBezTo>
                    <a:pt x="237463" y="477697"/>
                    <a:pt x="236539" y="474001"/>
                    <a:pt x="234690" y="470306"/>
                  </a:cubicBezTo>
                  <a:cubicBezTo>
                    <a:pt x="230995" y="463838"/>
                    <a:pt x="224527" y="459218"/>
                    <a:pt x="216211" y="459218"/>
                  </a:cubicBezTo>
                  <a:lnTo>
                    <a:pt x="216211" y="459218"/>
                  </a:lnTo>
                  <a:close/>
                  <a:moveTo>
                    <a:pt x="22175" y="342796"/>
                  </a:moveTo>
                  <a:cubicBezTo>
                    <a:pt x="22175" y="342796"/>
                    <a:pt x="22175" y="342796"/>
                    <a:pt x="22175" y="342796"/>
                  </a:cubicBezTo>
                  <a:cubicBezTo>
                    <a:pt x="10164" y="342796"/>
                    <a:pt x="0" y="352960"/>
                    <a:pt x="0" y="364972"/>
                  </a:cubicBezTo>
                  <a:cubicBezTo>
                    <a:pt x="0" y="376984"/>
                    <a:pt x="9240" y="387147"/>
                    <a:pt x="21251" y="387147"/>
                  </a:cubicBezTo>
                  <a:cubicBezTo>
                    <a:pt x="29567" y="387147"/>
                    <a:pt x="36035" y="382527"/>
                    <a:pt x="39731" y="376060"/>
                  </a:cubicBezTo>
                  <a:cubicBezTo>
                    <a:pt x="41579" y="373288"/>
                    <a:pt x="42503" y="369592"/>
                    <a:pt x="42503" y="364972"/>
                  </a:cubicBezTo>
                  <a:cubicBezTo>
                    <a:pt x="43427" y="352960"/>
                    <a:pt x="33263" y="342796"/>
                    <a:pt x="22175" y="342796"/>
                  </a:cubicBezTo>
                  <a:lnTo>
                    <a:pt x="22175" y="342796"/>
                  </a:lnTo>
                  <a:close/>
                  <a:moveTo>
                    <a:pt x="21251" y="116421"/>
                  </a:moveTo>
                  <a:cubicBezTo>
                    <a:pt x="9240" y="116421"/>
                    <a:pt x="0" y="126585"/>
                    <a:pt x="0" y="138597"/>
                  </a:cubicBezTo>
                  <a:cubicBezTo>
                    <a:pt x="0" y="150609"/>
                    <a:pt x="10164" y="160772"/>
                    <a:pt x="21251" y="160772"/>
                  </a:cubicBezTo>
                  <a:cubicBezTo>
                    <a:pt x="21251" y="160772"/>
                    <a:pt x="21251" y="160772"/>
                    <a:pt x="21251" y="160772"/>
                  </a:cubicBezTo>
                  <a:cubicBezTo>
                    <a:pt x="33263" y="160772"/>
                    <a:pt x="42503" y="150609"/>
                    <a:pt x="42503" y="138597"/>
                  </a:cubicBezTo>
                  <a:cubicBezTo>
                    <a:pt x="42503" y="134901"/>
                    <a:pt x="41579" y="131205"/>
                    <a:pt x="39731" y="128433"/>
                  </a:cubicBezTo>
                  <a:cubicBezTo>
                    <a:pt x="36959" y="121041"/>
                    <a:pt x="29567" y="116421"/>
                    <a:pt x="21251" y="116421"/>
                  </a:cubicBezTo>
                  <a:lnTo>
                    <a:pt x="21251" y="116421"/>
                  </a:lnTo>
                  <a:close/>
                  <a:moveTo>
                    <a:pt x="411171" y="342796"/>
                  </a:moveTo>
                  <a:cubicBezTo>
                    <a:pt x="411171" y="342796"/>
                    <a:pt x="411171" y="342796"/>
                    <a:pt x="411171" y="342796"/>
                  </a:cubicBezTo>
                  <a:cubicBezTo>
                    <a:pt x="399159" y="342796"/>
                    <a:pt x="388995" y="352960"/>
                    <a:pt x="388995" y="364972"/>
                  </a:cubicBezTo>
                  <a:cubicBezTo>
                    <a:pt x="388995" y="368668"/>
                    <a:pt x="389919" y="372364"/>
                    <a:pt x="391767" y="376060"/>
                  </a:cubicBezTo>
                  <a:cubicBezTo>
                    <a:pt x="395463" y="382527"/>
                    <a:pt x="401931" y="387147"/>
                    <a:pt x="410247" y="387147"/>
                  </a:cubicBezTo>
                  <a:cubicBezTo>
                    <a:pt x="422259" y="387147"/>
                    <a:pt x="431499" y="376984"/>
                    <a:pt x="431499" y="364972"/>
                  </a:cubicBezTo>
                  <a:cubicBezTo>
                    <a:pt x="432422" y="352960"/>
                    <a:pt x="423183" y="342796"/>
                    <a:pt x="411171" y="342796"/>
                  </a:cubicBezTo>
                  <a:lnTo>
                    <a:pt x="411171" y="342796"/>
                  </a:lnTo>
                  <a:close/>
                  <a:moveTo>
                    <a:pt x="410247" y="160772"/>
                  </a:moveTo>
                  <a:cubicBezTo>
                    <a:pt x="411171" y="160772"/>
                    <a:pt x="411171" y="160772"/>
                    <a:pt x="410247" y="160772"/>
                  </a:cubicBezTo>
                  <a:cubicBezTo>
                    <a:pt x="422259" y="160772"/>
                    <a:pt x="431499" y="150609"/>
                    <a:pt x="431499" y="138597"/>
                  </a:cubicBezTo>
                  <a:cubicBezTo>
                    <a:pt x="431499" y="126585"/>
                    <a:pt x="421334" y="116421"/>
                    <a:pt x="410247" y="116421"/>
                  </a:cubicBezTo>
                  <a:cubicBezTo>
                    <a:pt x="401931" y="116421"/>
                    <a:pt x="395463" y="121041"/>
                    <a:pt x="391767" y="127509"/>
                  </a:cubicBezTo>
                  <a:cubicBezTo>
                    <a:pt x="389919" y="130281"/>
                    <a:pt x="388995" y="133977"/>
                    <a:pt x="388995" y="138597"/>
                  </a:cubicBezTo>
                  <a:cubicBezTo>
                    <a:pt x="388995" y="150609"/>
                    <a:pt x="399159" y="160772"/>
                    <a:pt x="410247" y="160772"/>
                  </a:cubicBezTo>
                  <a:lnTo>
                    <a:pt x="410247" y="160772"/>
                  </a:lnTo>
                  <a:close/>
                  <a:moveTo>
                    <a:pt x="104410" y="180176"/>
                  </a:moveTo>
                  <a:lnTo>
                    <a:pt x="104410" y="352036"/>
                  </a:lnTo>
                  <a:lnTo>
                    <a:pt x="326165" y="352036"/>
                  </a:lnTo>
                  <a:moveTo>
                    <a:pt x="129357" y="352036"/>
                  </a:moveTo>
                  <a:lnTo>
                    <a:pt x="162620" y="276270"/>
                  </a:lnTo>
                  <a:lnTo>
                    <a:pt x="223603" y="300293"/>
                  </a:lnTo>
                  <a:lnTo>
                    <a:pt x="312305" y="170936"/>
                  </a:lnTo>
                </a:path>
              </a:pathLst>
            </a:custGeom>
            <a:noFill/>
            <a:ln w="12700" cap="flat">
              <a:solidFill>
                <a:schemeClr val="bg1"/>
              </a:solidFill>
              <a:prstDash val="solid"/>
              <a:miter/>
            </a:ln>
          </p:spPr>
          <p:txBody>
            <a:bodyPr rtlCol="0" anchor="ctr"/>
            <a:lstStyle/>
            <a:p>
              <a:endParaRPr lang="en-US" sz="1765"/>
            </a:p>
          </p:txBody>
        </p:sp>
      </p:grpSp>
      <p:sp>
        <p:nvSpPr>
          <p:cNvPr id="6" name="Rectangle 5">
            <a:extLst>
              <a:ext uri="{FF2B5EF4-FFF2-40B4-BE49-F238E27FC236}">
                <a16:creationId xmlns:a16="http://schemas.microsoft.com/office/drawing/2014/main" id="{F37B7145-1DB2-2348-13F2-E78F1A117CF9}"/>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bg1"/>
                </a:solidFill>
                <a:latin typeface="+mn-lt"/>
              </a:rPr>
              <a:t>Microsoft Confidential</a:t>
            </a:r>
          </a:p>
        </p:txBody>
      </p:sp>
      <p:sp>
        <p:nvSpPr>
          <p:cNvPr id="7" name="TextBox 6">
            <a:extLst>
              <a:ext uri="{FF2B5EF4-FFF2-40B4-BE49-F238E27FC236}">
                <a16:creationId xmlns:a16="http://schemas.microsoft.com/office/drawing/2014/main" id="{E5D4739C-2B72-C29C-7CBF-B3437A2AA10B}"/>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bg1"/>
                </a:solidFill>
                <a:latin typeface="+mj-lt"/>
              </a:rPr>
              <a:t>Modern Work Enablement</a:t>
            </a:r>
          </a:p>
        </p:txBody>
      </p:sp>
    </p:spTree>
    <p:extLst>
      <p:ext uri="{BB962C8B-B14F-4D97-AF65-F5344CB8AC3E}">
        <p14:creationId xmlns:p14="http://schemas.microsoft.com/office/powerpoint/2010/main" val="25756907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1652">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p:ph type="title" hasCustomPrompt="1"/>
          </p:nvPr>
        </p:nvSpPr>
        <p:spPr>
          <a:xfrm>
            <a:off x="572717" y="2889253"/>
            <a:ext cx="3810180" cy="727763"/>
          </a:xfrm>
          <a:noFill/>
        </p:spPr>
        <p:txBody>
          <a:bodyPr lIns="0" tIns="91440" rIns="0" bIns="91440" anchor="b" anchorCtr="0"/>
          <a:lstStyle>
            <a:lvl1pPr>
              <a:defRPr sz="3529" b="1" spc="-99" baseline="0">
                <a:solidFill>
                  <a:schemeClr val="accent3"/>
                </a:solidFill>
              </a:defRPr>
            </a:lvl1pPr>
          </a:lstStyle>
          <a:p>
            <a:r>
              <a:rPr lang="en-US"/>
              <a:t>Presentation title</a:t>
            </a:r>
          </a:p>
        </p:txBody>
      </p:sp>
      <p:sp>
        <p:nvSpPr>
          <p:cNvPr id="16" name="Text Placeholder 4">
            <a:extLst>
              <a:ext uri="{FF2B5EF4-FFF2-40B4-BE49-F238E27FC236}">
                <a16:creationId xmlns:a16="http://schemas.microsoft.com/office/drawing/2014/main" id="{744383EB-BE88-497D-A24B-D7A9C21794EE}"/>
              </a:ext>
            </a:extLst>
          </p:cNvPr>
          <p:cNvSpPr>
            <a:spLocks noGrp="1"/>
          </p:cNvSpPr>
          <p:nvPr>
            <p:ph type="body" sz="quarter" idx="12" hasCustomPrompt="1"/>
          </p:nvPr>
        </p:nvSpPr>
        <p:spPr>
          <a:xfrm>
            <a:off x="572716" y="3916790"/>
            <a:ext cx="3827949"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p:nvPicPr>
        <p:blipFill>
          <a:blip r:embed="rId2"/>
          <a:stretch>
            <a:fillRect/>
          </a:stretch>
        </p:blipFill>
        <p:spPr bwMode="black">
          <a:xfrm>
            <a:off x="572717" y="574356"/>
            <a:ext cx="1339387" cy="286897"/>
          </a:xfrm>
          <a:prstGeom prst="rect">
            <a:avLst/>
          </a:prstGeom>
        </p:spPr>
      </p:pic>
      <p:grpSp>
        <p:nvGrpSpPr>
          <p:cNvPr id="2" name="Group 1">
            <a:extLst>
              <a:ext uri="{FF2B5EF4-FFF2-40B4-BE49-F238E27FC236}">
                <a16:creationId xmlns:a16="http://schemas.microsoft.com/office/drawing/2014/main" id="{94A06704-FB3E-4A89-9B7A-969E6682768A}"/>
              </a:ext>
              <a:ext uri="{C183D7F6-B498-43B3-948B-1728B52AA6E4}">
                <adec:decorative xmlns:adec="http://schemas.microsoft.com/office/drawing/2017/decorative" val="1"/>
              </a:ext>
            </a:extLst>
          </p:cNvPr>
          <p:cNvGrpSpPr/>
          <p:nvPr userDrawn="1"/>
        </p:nvGrpSpPr>
        <p:grpSpPr>
          <a:xfrm>
            <a:off x="4070307" y="1"/>
            <a:ext cx="8121695" cy="6858000"/>
            <a:chOff x="4151925" y="1"/>
            <a:chExt cx="8284551" cy="6994525"/>
          </a:xfrm>
        </p:grpSpPr>
        <p:sp>
          <p:nvSpPr>
            <p:cNvPr id="1164" name="Freeform: Shape 1163">
              <a:extLst>
                <a:ext uri="{FF2B5EF4-FFF2-40B4-BE49-F238E27FC236}">
                  <a16:creationId xmlns:a16="http://schemas.microsoft.com/office/drawing/2014/main" id="{5EA46812-E7FF-4DEB-AEF6-A898128F39AD}"/>
                </a:ext>
                <a:ext uri="{C183D7F6-B498-43B3-948B-1728B52AA6E4}">
                  <adec:decorative xmlns:adec="http://schemas.microsoft.com/office/drawing/2017/decorative" val="1"/>
                </a:ext>
              </a:extLst>
            </p:cNvPr>
            <p:cNvSpPr/>
            <p:nvPr userDrawn="1"/>
          </p:nvSpPr>
          <p:spPr>
            <a:xfrm flipH="1" flipV="1">
              <a:off x="4151925" y="1"/>
              <a:ext cx="2626806" cy="3905171"/>
            </a:xfrm>
            <a:custGeom>
              <a:avLst/>
              <a:gdLst>
                <a:gd name="connsiteX0" fmla="*/ 1200667 w 2626806"/>
                <a:gd name="connsiteY0" fmla="*/ 3105 h 3905171"/>
                <a:gd name="connsiteX1" fmla="*/ 1199844 w 2626806"/>
                <a:gd name="connsiteY1" fmla="*/ 361 h 3905171"/>
                <a:gd name="connsiteX2" fmla="*/ 1200667 w 2626806"/>
                <a:gd name="connsiteY2" fmla="*/ 909 h 3905171"/>
                <a:gd name="connsiteX3" fmla="*/ 1200667 w 2626806"/>
                <a:gd name="connsiteY3" fmla="*/ 3105 h 3905171"/>
                <a:gd name="connsiteX4" fmla="*/ 1126038 w 2626806"/>
                <a:gd name="connsiteY4" fmla="*/ 115049 h 3905171"/>
                <a:gd name="connsiteX5" fmla="*/ 1121648 w 2626806"/>
                <a:gd name="connsiteY5" fmla="*/ 110659 h 3905171"/>
                <a:gd name="connsiteX6" fmla="*/ 1126038 w 2626806"/>
                <a:gd name="connsiteY6" fmla="*/ 106269 h 3905171"/>
                <a:gd name="connsiteX7" fmla="*/ 1130428 w 2626806"/>
                <a:gd name="connsiteY7" fmla="*/ 110659 h 3905171"/>
                <a:gd name="connsiteX8" fmla="*/ 1126038 w 2626806"/>
                <a:gd name="connsiteY8" fmla="*/ 115049 h 3905171"/>
                <a:gd name="connsiteX9" fmla="*/ 924097 w 2626806"/>
                <a:gd name="connsiteY9" fmla="*/ 167725 h 3905171"/>
                <a:gd name="connsiteX10" fmla="*/ 917512 w 2626806"/>
                <a:gd name="connsiteY10" fmla="*/ 161140 h 3905171"/>
                <a:gd name="connsiteX11" fmla="*/ 924097 w 2626806"/>
                <a:gd name="connsiteY11" fmla="*/ 154555 h 3905171"/>
                <a:gd name="connsiteX12" fmla="*/ 930682 w 2626806"/>
                <a:gd name="connsiteY12" fmla="*/ 161140 h 3905171"/>
                <a:gd name="connsiteX13" fmla="*/ 924097 w 2626806"/>
                <a:gd name="connsiteY13" fmla="*/ 167725 h 3905171"/>
                <a:gd name="connsiteX14" fmla="*/ 1259933 w 2626806"/>
                <a:gd name="connsiteY14" fmla="*/ 178707 h 3905171"/>
                <a:gd name="connsiteX15" fmla="*/ 1257738 w 2626806"/>
                <a:gd name="connsiteY15" fmla="*/ 176512 h 3905171"/>
                <a:gd name="connsiteX16" fmla="*/ 1259933 w 2626806"/>
                <a:gd name="connsiteY16" fmla="*/ 174318 h 3905171"/>
                <a:gd name="connsiteX17" fmla="*/ 1262128 w 2626806"/>
                <a:gd name="connsiteY17" fmla="*/ 176512 h 3905171"/>
                <a:gd name="connsiteX18" fmla="*/ 1259933 w 2626806"/>
                <a:gd name="connsiteY18" fmla="*/ 178707 h 3905171"/>
                <a:gd name="connsiteX19" fmla="*/ 1057992 w 2626806"/>
                <a:gd name="connsiteY19" fmla="*/ 229189 h 3905171"/>
                <a:gd name="connsiteX20" fmla="*/ 1053602 w 2626806"/>
                <a:gd name="connsiteY20" fmla="*/ 224799 h 3905171"/>
                <a:gd name="connsiteX21" fmla="*/ 1057992 w 2626806"/>
                <a:gd name="connsiteY21" fmla="*/ 220409 h 3905171"/>
                <a:gd name="connsiteX22" fmla="*/ 1062382 w 2626806"/>
                <a:gd name="connsiteY22" fmla="*/ 224799 h 3905171"/>
                <a:gd name="connsiteX23" fmla="*/ 1057992 w 2626806"/>
                <a:gd name="connsiteY23" fmla="*/ 229189 h 3905171"/>
                <a:gd name="connsiteX24" fmla="*/ 862637 w 2626806"/>
                <a:gd name="connsiteY24" fmla="*/ 284060 h 3905171"/>
                <a:gd name="connsiteX25" fmla="*/ 856052 w 2626806"/>
                <a:gd name="connsiteY25" fmla="*/ 277476 h 3905171"/>
                <a:gd name="connsiteX26" fmla="*/ 862637 w 2626806"/>
                <a:gd name="connsiteY26" fmla="*/ 270890 h 3905171"/>
                <a:gd name="connsiteX27" fmla="*/ 869222 w 2626806"/>
                <a:gd name="connsiteY27" fmla="*/ 277476 h 3905171"/>
                <a:gd name="connsiteX28" fmla="*/ 862637 w 2626806"/>
                <a:gd name="connsiteY28" fmla="*/ 284060 h 3905171"/>
                <a:gd name="connsiteX29" fmla="*/ 676061 w 2626806"/>
                <a:gd name="connsiteY29" fmla="*/ 338932 h 3905171"/>
                <a:gd name="connsiteX30" fmla="*/ 671671 w 2626806"/>
                <a:gd name="connsiteY30" fmla="*/ 334542 h 3905171"/>
                <a:gd name="connsiteX31" fmla="*/ 676061 w 2626806"/>
                <a:gd name="connsiteY31" fmla="*/ 330153 h 3905171"/>
                <a:gd name="connsiteX32" fmla="*/ 680451 w 2626806"/>
                <a:gd name="connsiteY32" fmla="*/ 334542 h 3905171"/>
                <a:gd name="connsiteX33" fmla="*/ 676061 w 2626806"/>
                <a:gd name="connsiteY33" fmla="*/ 338932 h 3905171"/>
                <a:gd name="connsiteX34" fmla="*/ 996532 w 2626806"/>
                <a:gd name="connsiteY34" fmla="*/ 352109 h 3905171"/>
                <a:gd name="connsiteX35" fmla="*/ 987752 w 2626806"/>
                <a:gd name="connsiteY35" fmla="*/ 343329 h 3905171"/>
                <a:gd name="connsiteX36" fmla="*/ 996532 w 2626806"/>
                <a:gd name="connsiteY36" fmla="*/ 334548 h 3905171"/>
                <a:gd name="connsiteX37" fmla="*/ 1005312 w 2626806"/>
                <a:gd name="connsiteY37" fmla="*/ 343329 h 3905171"/>
                <a:gd name="connsiteX38" fmla="*/ 996532 w 2626806"/>
                <a:gd name="connsiteY38" fmla="*/ 352109 h 3905171"/>
                <a:gd name="connsiteX39" fmla="*/ 807762 w 2626806"/>
                <a:gd name="connsiteY39" fmla="*/ 404785 h 3905171"/>
                <a:gd name="connsiteX40" fmla="*/ 803372 w 2626806"/>
                <a:gd name="connsiteY40" fmla="*/ 400395 h 3905171"/>
                <a:gd name="connsiteX41" fmla="*/ 807762 w 2626806"/>
                <a:gd name="connsiteY41" fmla="*/ 396005 h 3905171"/>
                <a:gd name="connsiteX42" fmla="*/ 812152 w 2626806"/>
                <a:gd name="connsiteY42" fmla="*/ 400395 h 3905171"/>
                <a:gd name="connsiteX43" fmla="*/ 807762 w 2626806"/>
                <a:gd name="connsiteY43" fmla="*/ 404785 h 3905171"/>
                <a:gd name="connsiteX44" fmla="*/ 1130428 w 2626806"/>
                <a:gd name="connsiteY44" fmla="*/ 409182 h 3905171"/>
                <a:gd name="connsiteX45" fmla="*/ 1128232 w 2626806"/>
                <a:gd name="connsiteY45" fmla="*/ 406987 h 3905171"/>
                <a:gd name="connsiteX46" fmla="*/ 1130428 w 2626806"/>
                <a:gd name="connsiteY46" fmla="*/ 404792 h 3905171"/>
                <a:gd name="connsiteX47" fmla="*/ 1132623 w 2626806"/>
                <a:gd name="connsiteY47" fmla="*/ 406987 h 3905171"/>
                <a:gd name="connsiteX48" fmla="*/ 1130428 w 2626806"/>
                <a:gd name="connsiteY48" fmla="*/ 409182 h 3905171"/>
                <a:gd name="connsiteX49" fmla="*/ 627771 w 2626806"/>
                <a:gd name="connsiteY49" fmla="*/ 466241 h 3905171"/>
                <a:gd name="connsiteX50" fmla="*/ 621186 w 2626806"/>
                <a:gd name="connsiteY50" fmla="*/ 459656 h 3905171"/>
                <a:gd name="connsiteX51" fmla="*/ 627771 w 2626806"/>
                <a:gd name="connsiteY51" fmla="*/ 453072 h 3905171"/>
                <a:gd name="connsiteX52" fmla="*/ 634356 w 2626806"/>
                <a:gd name="connsiteY52" fmla="*/ 459656 h 3905171"/>
                <a:gd name="connsiteX53" fmla="*/ 627771 w 2626806"/>
                <a:gd name="connsiteY53" fmla="*/ 466241 h 3905171"/>
                <a:gd name="connsiteX54" fmla="*/ 941657 w 2626806"/>
                <a:gd name="connsiteY54" fmla="*/ 470639 h 3905171"/>
                <a:gd name="connsiteX55" fmla="*/ 935072 w 2626806"/>
                <a:gd name="connsiteY55" fmla="*/ 464053 h 3905171"/>
                <a:gd name="connsiteX56" fmla="*/ 941657 w 2626806"/>
                <a:gd name="connsiteY56" fmla="*/ 457468 h 3905171"/>
                <a:gd name="connsiteX57" fmla="*/ 948242 w 2626806"/>
                <a:gd name="connsiteY57" fmla="*/ 464053 h 3905171"/>
                <a:gd name="connsiteX58" fmla="*/ 941657 w 2626806"/>
                <a:gd name="connsiteY58" fmla="*/ 470639 h 3905171"/>
                <a:gd name="connsiteX59" fmla="*/ 761667 w 2626806"/>
                <a:gd name="connsiteY59" fmla="*/ 529905 h 3905171"/>
                <a:gd name="connsiteX60" fmla="*/ 755082 w 2626806"/>
                <a:gd name="connsiteY60" fmla="*/ 523320 h 3905171"/>
                <a:gd name="connsiteX61" fmla="*/ 761667 w 2626806"/>
                <a:gd name="connsiteY61" fmla="*/ 516734 h 3905171"/>
                <a:gd name="connsiteX62" fmla="*/ 768252 w 2626806"/>
                <a:gd name="connsiteY62" fmla="*/ 523320 h 3905171"/>
                <a:gd name="connsiteX63" fmla="*/ 761667 w 2626806"/>
                <a:gd name="connsiteY63" fmla="*/ 529905 h 3905171"/>
                <a:gd name="connsiteX64" fmla="*/ 586066 w 2626806"/>
                <a:gd name="connsiteY64" fmla="*/ 593557 h 3905171"/>
                <a:gd name="connsiteX65" fmla="*/ 579481 w 2626806"/>
                <a:gd name="connsiteY65" fmla="*/ 586972 h 3905171"/>
                <a:gd name="connsiteX66" fmla="*/ 586066 w 2626806"/>
                <a:gd name="connsiteY66" fmla="*/ 580387 h 3905171"/>
                <a:gd name="connsiteX67" fmla="*/ 592651 w 2626806"/>
                <a:gd name="connsiteY67" fmla="*/ 586972 h 3905171"/>
                <a:gd name="connsiteX68" fmla="*/ 586066 w 2626806"/>
                <a:gd name="connsiteY68" fmla="*/ 593557 h 3905171"/>
                <a:gd name="connsiteX69" fmla="*/ 895563 w 2626806"/>
                <a:gd name="connsiteY69" fmla="*/ 593563 h 3905171"/>
                <a:gd name="connsiteX70" fmla="*/ 891173 w 2626806"/>
                <a:gd name="connsiteY70" fmla="*/ 589174 h 3905171"/>
                <a:gd name="connsiteX71" fmla="*/ 895563 w 2626806"/>
                <a:gd name="connsiteY71" fmla="*/ 584784 h 3905171"/>
                <a:gd name="connsiteX72" fmla="*/ 899953 w 2626806"/>
                <a:gd name="connsiteY72" fmla="*/ 589174 h 3905171"/>
                <a:gd name="connsiteX73" fmla="*/ 895563 w 2626806"/>
                <a:gd name="connsiteY73" fmla="*/ 593563 h 3905171"/>
                <a:gd name="connsiteX74" fmla="*/ 1029457 w 2626806"/>
                <a:gd name="connsiteY74" fmla="*/ 657221 h 3905171"/>
                <a:gd name="connsiteX75" fmla="*/ 1025067 w 2626806"/>
                <a:gd name="connsiteY75" fmla="*/ 652833 h 3905171"/>
                <a:gd name="connsiteX76" fmla="*/ 1029457 w 2626806"/>
                <a:gd name="connsiteY76" fmla="*/ 648443 h 3905171"/>
                <a:gd name="connsiteX77" fmla="*/ 1033847 w 2626806"/>
                <a:gd name="connsiteY77" fmla="*/ 652833 h 3905171"/>
                <a:gd name="connsiteX78" fmla="*/ 1029457 w 2626806"/>
                <a:gd name="connsiteY78" fmla="*/ 657221 h 3905171"/>
                <a:gd name="connsiteX79" fmla="*/ 719962 w 2626806"/>
                <a:gd name="connsiteY79" fmla="*/ 661605 h 3905171"/>
                <a:gd name="connsiteX80" fmla="*/ 708987 w 2626806"/>
                <a:gd name="connsiteY80" fmla="*/ 650631 h 3905171"/>
                <a:gd name="connsiteX81" fmla="*/ 719962 w 2626806"/>
                <a:gd name="connsiteY81" fmla="*/ 639656 h 3905171"/>
                <a:gd name="connsiteX82" fmla="*/ 730936 w 2626806"/>
                <a:gd name="connsiteY82" fmla="*/ 650631 h 3905171"/>
                <a:gd name="connsiteX83" fmla="*/ 719962 w 2626806"/>
                <a:gd name="connsiteY83" fmla="*/ 661605 h 3905171"/>
                <a:gd name="connsiteX84" fmla="*/ 550946 w 2626806"/>
                <a:gd name="connsiteY84" fmla="*/ 720866 h 3905171"/>
                <a:gd name="connsiteX85" fmla="*/ 544361 w 2626806"/>
                <a:gd name="connsiteY85" fmla="*/ 714282 h 3905171"/>
                <a:gd name="connsiteX86" fmla="*/ 550946 w 2626806"/>
                <a:gd name="connsiteY86" fmla="*/ 707697 h 3905171"/>
                <a:gd name="connsiteX87" fmla="*/ 557531 w 2626806"/>
                <a:gd name="connsiteY87" fmla="*/ 714282 h 3905171"/>
                <a:gd name="connsiteX88" fmla="*/ 550946 w 2626806"/>
                <a:gd name="connsiteY88" fmla="*/ 720866 h 3905171"/>
                <a:gd name="connsiteX89" fmla="*/ 856052 w 2626806"/>
                <a:gd name="connsiteY89" fmla="*/ 723070 h 3905171"/>
                <a:gd name="connsiteX90" fmla="*/ 849467 w 2626806"/>
                <a:gd name="connsiteY90" fmla="*/ 716484 h 3905171"/>
                <a:gd name="connsiteX91" fmla="*/ 856052 w 2626806"/>
                <a:gd name="connsiteY91" fmla="*/ 709900 h 3905171"/>
                <a:gd name="connsiteX92" fmla="*/ 862637 w 2626806"/>
                <a:gd name="connsiteY92" fmla="*/ 716484 h 3905171"/>
                <a:gd name="connsiteX93" fmla="*/ 856052 w 2626806"/>
                <a:gd name="connsiteY93" fmla="*/ 723070 h 3905171"/>
                <a:gd name="connsiteX94" fmla="*/ 384126 w 2626806"/>
                <a:gd name="connsiteY94" fmla="*/ 782321 h 3905171"/>
                <a:gd name="connsiteX95" fmla="*/ 379736 w 2626806"/>
                <a:gd name="connsiteY95" fmla="*/ 777931 h 3905171"/>
                <a:gd name="connsiteX96" fmla="*/ 384126 w 2626806"/>
                <a:gd name="connsiteY96" fmla="*/ 773541 h 3905171"/>
                <a:gd name="connsiteX97" fmla="*/ 388516 w 2626806"/>
                <a:gd name="connsiteY97" fmla="*/ 777931 h 3905171"/>
                <a:gd name="connsiteX98" fmla="*/ 384126 w 2626806"/>
                <a:gd name="connsiteY98" fmla="*/ 782321 h 3905171"/>
                <a:gd name="connsiteX99" fmla="*/ 992142 w 2626806"/>
                <a:gd name="connsiteY99" fmla="*/ 784532 h 3905171"/>
                <a:gd name="connsiteX100" fmla="*/ 989947 w 2626806"/>
                <a:gd name="connsiteY100" fmla="*/ 782337 h 3905171"/>
                <a:gd name="connsiteX101" fmla="*/ 992142 w 2626806"/>
                <a:gd name="connsiteY101" fmla="*/ 780142 h 3905171"/>
                <a:gd name="connsiteX102" fmla="*/ 994337 w 2626806"/>
                <a:gd name="connsiteY102" fmla="*/ 782337 h 3905171"/>
                <a:gd name="connsiteX103" fmla="*/ 992142 w 2626806"/>
                <a:gd name="connsiteY103" fmla="*/ 784532 h 3905171"/>
                <a:gd name="connsiteX104" fmla="*/ 687037 w 2626806"/>
                <a:gd name="connsiteY104" fmla="*/ 788915 h 3905171"/>
                <a:gd name="connsiteX105" fmla="*/ 678257 w 2626806"/>
                <a:gd name="connsiteY105" fmla="*/ 780135 h 3905171"/>
                <a:gd name="connsiteX106" fmla="*/ 687037 w 2626806"/>
                <a:gd name="connsiteY106" fmla="*/ 771355 h 3905171"/>
                <a:gd name="connsiteX107" fmla="*/ 695817 w 2626806"/>
                <a:gd name="connsiteY107" fmla="*/ 780135 h 3905171"/>
                <a:gd name="connsiteX108" fmla="*/ 687037 w 2626806"/>
                <a:gd name="connsiteY108" fmla="*/ 788915 h 3905171"/>
                <a:gd name="connsiteX109" fmla="*/ 1128232 w 2626806"/>
                <a:gd name="connsiteY109" fmla="*/ 848193 h 3905171"/>
                <a:gd name="connsiteX110" fmla="*/ 1126038 w 2626806"/>
                <a:gd name="connsiteY110" fmla="*/ 845997 h 3905171"/>
                <a:gd name="connsiteX111" fmla="*/ 1128232 w 2626806"/>
                <a:gd name="connsiteY111" fmla="*/ 843803 h 3905171"/>
                <a:gd name="connsiteX112" fmla="*/ 1130428 w 2626806"/>
                <a:gd name="connsiteY112" fmla="*/ 845997 h 3905171"/>
                <a:gd name="connsiteX113" fmla="*/ 1128232 w 2626806"/>
                <a:gd name="connsiteY113" fmla="*/ 848193 h 3905171"/>
                <a:gd name="connsiteX114" fmla="*/ 825322 w 2626806"/>
                <a:gd name="connsiteY114" fmla="*/ 852574 h 3905171"/>
                <a:gd name="connsiteX115" fmla="*/ 818737 w 2626806"/>
                <a:gd name="connsiteY115" fmla="*/ 845989 h 3905171"/>
                <a:gd name="connsiteX116" fmla="*/ 825322 w 2626806"/>
                <a:gd name="connsiteY116" fmla="*/ 839403 h 3905171"/>
                <a:gd name="connsiteX117" fmla="*/ 831907 w 2626806"/>
                <a:gd name="connsiteY117" fmla="*/ 845989 h 3905171"/>
                <a:gd name="connsiteX118" fmla="*/ 825322 w 2626806"/>
                <a:gd name="connsiteY118" fmla="*/ 852574 h 3905171"/>
                <a:gd name="connsiteX119" fmla="*/ 522412 w 2626806"/>
                <a:gd name="connsiteY119" fmla="*/ 854761 h 3905171"/>
                <a:gd name="connsiteX120" fmla="*/ 511437 w 2626806"/>
                <a:gd name="connsiteY120" fmla="*/ 843786 h 3905171"/>
                <a:gd name="connsiteX121" fmla="*/ 522412 w 2626806"/>
                <a:gd name="connsiteY121" fmla="*/ 832812 h 3905171"/>
                <a:gd name="connsiteX122" fmla="*/ 533386 w 2626806"/>
                <a:gd name="connsiteY122" fmla="*/ 843786 h 3905171"/>
                <a:gd name="connsiteX123" fmla="*/ 522412 w 2626806"/>
                <a:gd name="connsiteY123" fmla="*/ 854761 h 3905171"/>
                <a:gd name="connsiteX124" fmla="*/ 963607 w 2626806"/>
                <a:gd name="connsiteY124" fmla="*/ 914039 h 3905171"/>
                <a:gd name="connsiteX125" fmla="*/ 959217 w 2626806"/>
                <a:gd name="connsiteY125" fmla="*/ 909650 h 3905171"/>
                <a:gd name="connsiteX126" fmla="*/ 963607 w 2626806"/>
                <a:gd name="connsiteY126" fmla="*/ 905260 h 3905171"/>
                <a:gd name="connsiteX127" fmla="*/ 967997 w 2626806"/>
                <a:gd name="connsiteY127" fmla="*/ 909650 h 3905171"/>
                <a:gd name="connsiteX128" fmla="*/ 963607 w 2626806"/>
                <a:gd name="connsiteY128" fmla="*/ 914039 h 3905171"/>
                <a:gd name="connsiteX129" fmla="*/ 362176 w 2626806"/>
                <a:gd name="connsiteY129" fmla="*/ 918413 h 3905171"/>
                <a:gd name="connsiteX130" fmla="*/ 353396 w 2626806"/>
                <a:gd name="connsiteY130" fmla="*/ 909633 h 3905171"/>
                <a:gd name="connsiteX131" fmla="*/ 362176 w 2626806"/>
                <a:gd name="connsiteY131" fmla="*/ 900853 h 3905171"/>
                <a:gd name="connsiteX132" fmla="*/ 370956 w 2626806"/>
                <a:gd name="connsiteY132" fmla="*/ 909633 h 3905171"/>
                <a:gd name="connsiteX133" fmla="*/ 362176 w 2626806"/>
                <a:gd name="connsiteY133" fmla="*/ 918413 h 3905171"/>
                <a:gd name="connsiteX134" fmla="*/ 662892 w 2626806"/>
                <a:gd name="connsiteY134" fmla="*/ 922812 h 3905171"/>
                <a:gd name="connsiteX135" fmla="*/ 649722 w 2626806"/>
                <a:gd name="connsiteY135" fmla="*/ 909641 h 3905171"/>
                <a:gd name="connsiteX136" fmla="*/ 662892 w 2626806"/>
                <a:gd name="connsiteY136" fmla="*/ 896470 h 3905171"/>
                <a:gd name="connsiteX137" fmla="*/ 676061 w 2626806"/>
                <a:gd name="connsiteY137" fmla="*/ 909641 h 3905171"/>
                <a:gd name="connsiteX138" fmla="*/ 662892 w 2626806"/>
                <a:gd name="connsiteY138" fmla="*/ 922812 h 3905171"/>
                <a:gd name="connsiteX139" fmla="*/ 801177 w 2626806"/>
                <a:gd name="connsiteY139" fmla="*/ 982080 h 3905171"/>
                <a:gd name="connsiteX140" fmla="*/ 792397 w 2626806"/>
                <a:gd name="connsiteY140" fmla="*/ 973300 h 3905171"/>
                <a:gd name="connsiteX141" fmla="*/ 801177 w 2626806"/>
                <a:gd name="connsiteY141" fmla="*/ 964521 h 3905171"/>
                <a:gd name="connsiteX142" fmla="*/ 809957 w 2626806"/>
                <a:gd name="connsiteY142" fmla="*/ 973300 h 3905171"/>
                <a:gd name="connsiteX143" fmla="*/ 801177 w 2626806"/>
                <a:gd name="connsiteY143" fmla="*/ 982080 h 3905171"/>
                <a:gd name="connsiteX144" fmla="*/ 502657 w 2626806"/>
                <a:gd name="connsiteY144" fmla="*/ 990852 h 3905171"/>
                <a:gd name="connsiteX145" fmla="*/ 487291 w 2626806"/>
                <a:gd name="connsiteY145" fmla="*/ 975487 h 3905171"/>
                <a:gd name="connsiteX146" fmla="*/ 502657 w 2626806"/>
                <a:gd name="connsiteY146" fmla="*/ 960123 h 3905171"/>
                <a:gd name="connsiteX147" fmla="*/ 518022 w 2626806"/>
                <a:gd name="connsiteY147" fmla="*/ 975487 h 3905171"/>
                <a:gd name="connsiteX148" fmla="*/ 502657 w 2626806"/>
                <a:gd name="connsiteY148" fmla="*/ 990852 h 3905171"/>
                <a:gd name="connsiteX149" fmla="*/ 941657 w 2626806"/>
                <a:gd name="connsiteY149" fmla="*/ 1047934 h 3905171"/>
                <a:gd name="connsiteX150" fmla="*/ 935072 w 2626806"/>
                <a:gd name="connsiteY150" fmla="*/ 1041349 h 3905171"/>
                <a:gd name="connsiteX151" fmla="*/ 941657 w 2626806"/>
                <a:gd name="connsiteY151" fmla="*/ 1034764 h 3905171"/>
                <a:gd name="connsiteX152" fmla="*/ 948242 w 2626806"/>
                <a:gd name="connsiteY152" fmla="*/ 1041349 h 3905171"/>
                <a:gd name="connsiteX153" fmla="*/ 941657 w 2626806"/>
                <a:gd name="connsiteY153" fmla="*/ 1047934 h 3905171"/>
                <a:gd name="connsiteX154" fmla="*/ 344616 w 2626806"/>
                <a:gd name="connsiteY154" fmla="*/ 1052308 h 3905171"/>
                <a:gd name="connsiteX155" fmla="*/ 333641 w 2626806"/>
                <a:gd name="connsiteY155" fmla="*/ 1041333 h 3905171"/>
                <a:gd name="connsiteX156" fmla="*/ 344616 w 2626806"/>
                <a:gd name="connsiteY156" fmla="*/ 1030358 h 3905171"/>
                <a:gd name="connsiteX157" fmla="*/ 355591 w 2626806"/>
                <a:gd name="connsiteY157" fmla="*/ 1041333 h 3905171"/>
                <a:gd name="connsiteX158" fmla="*/ 344616 w 2626806"/>
                <a:gd name="connsiteY158" fmla="*/ 1052308 h 3905171"/>
                <a:gd name="connsiteX159" fmla="*/ 643136 w 2626806"/>
                <a:gd name="connsiteY159" fmla="*/ 1052315 h 3905171"/>
                <a:gd name="connsiteX160" fmla="*/ 629966 w 2626806"/>
                <a:gd name="connsiteY160" fmla="*/ 1041339 h 3905171"/>
                <a:gd name="connsiteX161" fmla="*/ 643136 w 2626806"/>
                <a:gd name="connsiteY161" fmla="*/ 1028170 h 3905171"/>
                <a:gd name="connsiteX162" fmla="*/ 656306 w 2626806"/>
                <a:gd name="connsiteY162" fmla="*/ 1039145 h 3905171"/>
                <a:gd name="connsiteX163" fmla="*/ 643136 w 2626806"/>
                <a:gd name="connsiteY163" fmla="*/ 1052315 h 3905171"/>
                <a:gd name="connsiteX164" fmla="*/ 190966 w 2626806"/>
                <a:gd name="connsiteY164" fmla="*/ 1111568 h 3905171"/>
                <a:gd name="connsiteX165" fmla="*/ 186576 w 2626806"/>
                <a:gd name="connsiteY165" fmla="*/ 1107179 h 3905171"/>
                <a:gd name="connsiteX166" fmla="*/ 190966 w 2626806"/>
                <a:gd name="connsiteY166" fmla="*/ 1102790 h 3905171"/>
                <a:gd name="connsiteX167" fmla="*/ 195356 w 2626806"/>
                <a:gd name="connsiteY167" fmla="*/ 1107179 h 3905171"/>
                <a:gd name="connsiteX168" fmla="*/ 190966 w 2626806"/>
                <a:gd name="connsiteY168" fmla="*/ 1111568 h 3905171"/>
                <a:gd name="connsiteX169" fmla="*/ 1082137 w 2626806"/>
                <a:gd name="connsiteY169" fmla="*/ 1111597 h 3905171"/>
                <a:gd name="connsiteX170" fmla="*/ 1077747 w 2626806"/>
                <a:gd name="connsiteY170" fmla="*/ 1107205 h 3905171"/>
                <a:gd name="connsiteX171" fmla="*/ 1082137 w 2626806"/>
                <a:gd name="connsiteY171" fmla="*/ 1102815 h 3905171"/>
                <a:gd name="connsiteX172" fmla="*/ 1086527 w 2626806"/>
                <a:gd name="connsiteY172" fmla="*/ 1107205 h 3905171"/>
                <a:gd name="connsiteX173" fmla="*/ 1082137 w 2626806"/>
                <a:gd name="connsiteY173" fmla="*/ 1111597 h 3905171"/>
                <a:gd name="connsiteX174" fmla="*/ 785812 w 2626806"/>
                <a:gd name="connsiteY174" fmla="*/ 1113780 h 3905171"/>
                <a:gd name="connsiteX175" fmla="*/ 779227 w 2626806"/>
                <a:gd name="connsiteY175" fmla="*/ 1107195 h 3905171"/>
                <a:gd name="connsiteX176" fmla="*/ 785812 w 2626806"/>
                <a:gd name="connsiteY176" fmla="*/ 1100611 h 3905171"/>
                <a:gd name="connsiteX177" fmla="*/ 792397 w 2626806"/>
                <a:gd name="connsiteY177" fmla="*/ 1107195 h 3905171"/>
                <a:gd name="connsiteX178" fmla="*/ 785812 w 2626806"/>
                <a:gd name="connsiteY178" fmla="*/ 1113780 h 3905171"/>
                <a:gd name="connsiteX179" fmla="*/ 487291 w 2626806"/>
                <a:gd name="connsiteY179" fmla="*/ 1118161 h 3905171"/>
                <a:gd name="connsiteX180" fmla="*/ 476316 w 2626806"/>
                <a:gd name="connsiteY180" fmla="*/ 1107187 h 3905171"/>
                <a:gd name="connsiteX181" fmla="*/ 487291 w 2626806"/>
                <a:gd name="connsiteY181" fmla="*/ 1096211 h 3905171"/>
                <a:gd name="connsiteX182" fmla="*/ 498267 w 2626806"/>
                <a:gd name="connsiteY182" fmla="*/ 1107187 h 3905171"/>
                <a:gd name="connsiteX183" fmla="*/ 487291 w 2626806"/>
                <a:gd name="connsiteY183" fmla="*/ 1118161 h 3905171"/>
                <a:gd name="connsiteX184" fmla="*/ 928488 w 2626806"/>
                <a:gd name="connsiteY184" fmla="*/ 1179636 h 3905171"/>
                <a:gd name="connsiteX185" fmla="*/ 921902 w 2626806"/>
                <a:gd name="connsiteY185" fmla="*/ 1173050 h 3905171"/>
                <a:gd name="connsiteX186" fmla="*/ 928488 w 2626806"/>
                <a:gd name="connsiteY186" fmla="*/ 1166466 h 3905171"/>
                <a:gd name="connsiteX187" fmla="*/ 935072 w 2626806"/>
                <a:gd name="connsiteY187" fmla="*/ 1173050 h 3905171"/>
                <a:gd name="connsiteX188" fmla="*/ 928488 w 2626806"/>
                <a:gd name="connsiteY188" fmla="*/ 1179636 h 3905171"/>
                <a:gd name="connsiteX189" fmla="*/ 335836 w 2626806"/>
                <a:gd name="connsiteY189" fmla="*/ 1184007 h 3905171"/>
                <a:gd name="connsiteX190" fmla="*/ 324861 w 2626806"/>
                <a:gd name="connsiteY190" fmla="*/ 1173034 h 3905171"/>
                <a:gd name="connsiteX191" fmla="*/ 335836 w 2626806"/>
                <a:gd name="connsiteY191" fmla="*/ 1162058 h 3905171"/>
                <a:gd name="connsiteX192" fmla="*/ 346811 w 2626806"/>
                <a:gd name="connsiteY192" fmla="*/ 1173034 h 3905171"/>
                <a:gd name="connsiteX193" fmla="*/ 335836 w 2626806"/>
                <a:gd name="connsiteY193" fmla="*/ 1184007 h 3905171"/>
                <a:gd name="connsiteX194" fmla="*/ 632161 w 2626806"/>
                <a:gd name="connsiteY194" fmla="*/ 1186210 h 3905171"/>
                <a:gd name="connsiteX195" fmla="*/ 618991 w 2626806"/>
                <a:gd name="connsiteY195" fmla="*/ 1173040 h 3905171"/>
                <a:gd name="connsiteX196" fmla="*/ 632161 w 2626806"/>
                <a:gd name="connsiteY196" fmla="*/ 1159871 h 3905171"/>
                <a:gd name="connsiteX197" fmla="*/ 645332 w 2626806"/>
                <a:gd name="connsiteY197" fmla="*/ 1173040 h 3905171"/>
                <a:gd name="connsiteX198" fmla="*/ 632161 w 2626806"/>
                <a:gd name="connsiteY198" fmla="*/ 1186210 h 3905171"/>
                <a:gd name="connsiteX199" fmla="*/ 1073357 w 2626806"/>
                <a:gd name="connsiteY199" fmla="*/ 1243268 h 3905171"/>
                <a:gd name="connsiteX200" fmla="*/ 1068967 w 2626806"/>
                <a:gd name="connsiteY200" fmla="*/ 1238878 h 3905171"/>
                <a:gd name="connsiteX201" fmla="*/ 1073357 w 2626806"/>
                <a:gd name="connsiteY201" fmla="*/ 1234489 h 3905171"/>
                <a:gd name="connsiteX202" fmla="*/ 1077747 w 2626806"/>
                <a:gd name="connsiteY202" fmla="*/ 1238878 h 3905171"/>
                <a:gd name="connsiteX203" fmla="*/ 1073357 w 2626806"/>
                <a:gd name="connsiteY203" fmla="*/ 1243268 h 3905171"/>
                <a:gd name="connsiteX204" fmla="*/ 184380 w 2626806"/>
                <a:gd name="connsiteY204" fmla="*/ 1247655 h 3905171"/>
                <a:gd name="connsiteX205" fmla="*/ 175600 w 2626806"/>
                <a:gd name="connsiteY205" fmla="*/ 1238875 h 3905171"/>
                <a:gd name="connsiteX206" fmla="*/ 184380 w 2626806"/>
                <a:gd name="connsiteY206" fmla="*/ 1230096 h 3905171"/>
                <a:gd name="connsiteX207" fmla="*/ 193160 w 2626806"/>
                <a:gd name="connsiteY207" fmla="*/ 1238875 h 3905171"/>
                <a:gd name="connsiteX208" fmla="*/ 184380 w 2626806"/>
                <a:gd name="connsiteY208" fmla="*/ 1247655 h 3905171"/>
                <a:gd name="connsiteX209" fmla="*/ 777032 w 2626806"/>
                <a:gd name="connsiteY209" fmla="*/ 1249851 h 3905171"/>
                <a:gd name="connsiteX210" fmla="*/ 768252 w 2626806"/>
                <a:gd name="connsiteY210" fmla="*/ 1241072 h 3905171"/>
                <a:gd name="connsiteX211" fmla="*/ 777032 w 2626806"/>
                <a:gd name="connsiteY211" fmla="*/ 1232294 h 3905171"/>
                <a:gd name="connsiteX212" fmla="*/ 785812 w 2626806"/>
                <a:gd name="connsiteY212" fmla="*/ 1241072 h 3905171"/>
                <a:gd name="connsiteX213" fmla="*/ 777032 w 2626806"/>
                <a:gd name="connsiteY213" fmla="*/ 1249851 h 3905171"/>
                <a:gd name="connsiteX214" fmla="*/ 480706 w 2626806"/>
                <a:gd name="connsiteY214" fmla="*/ 1252047 h 3905171"/>
                <a:gd name="connsiteX215" fmla="*/ 467536 w 2626806"/>
                <a:gd name="connsiteY215" fmla="*/ 1238878 h 3905171"/>
                <a:gd name="connsiteX216" fmla="*/ 480706 w 2626806"/>
                <a:gd name="connsiteY216" fmla="*/ 1225707 h 3905171"/>
                <a:gd name="connsiteX217" fmla="*/ 493877 w 2626806"/>
                <a:gd name="connsiteY217" fmla="*/ 1238878 h 3905171"/>
                <a:gd name="connsiteX218" fmla="*/ 480706 w 2626806"/>
                <a:gd name="connsiteY218" fmla="*/ 1252047 h 3905171"/>
                <a:gd name="connsiteX219" fmla="*/ 1220423 w 2626806"/>
                <a:gd name="connsiteY219" fmla="*/ 1309118 h 3905171"/>
                <a:gd name="connsiteX220" fmla="*/ 1218228 w 2626806"/>
                <a:gd name="connsiteY220" fmla="*/ 1306923 h 3905171"/>
                <a:gd name="connsiteX221" fmla="*/ 1220423 w 2626806"/>
                <a:gd name="connsiteY221" fmla="*/ 1304729 h 3905171"/>
                <a:gd name="connsiteX222" fmla="*/ 1222618 w 2626806"/>
                <a:gd name="connsiteY222" fmla="*/ 1306923 h 3905171"/>
                <a:gd name="connsiteX223" fmla="*/ 1220423 w 2626806"/>
                <a:gd name="connsiteY223" fmla="*/ 1309118 h 3905171"/>
                <a:gd name="connsiteX224" fmla="*/ 924097 w 2626806"/>
                <a:gd name="connsiteY224" fmla="*/ 1313508 h 3905171"/>
                <a:gd name="connsiteX225" fmla="*/ 917512 w 2626806"/>
                <a:gd name="connsiteY225" fmla="*/ 1306923 h 3905171"/>
                <a:gd name="connsiteX226" fmla="*/ 924097 w 2626806"/>
                <a:gd name="connsiteY226" fmla="*/ 1300336 h 3905171"/>
                <a:gd name="connsiteX227" fmla="*/ 930682 w 2626806"/>
                <a:gd name="connsiteY227" fmla="*/ 1306923 h 3905171"/>
                <a:gd name="connsiteX228" fmla="*/ 924097 w 2626806"/>
                <a:gd name="connsiteY228" fmla="*/ 1313508 h 3905171"/>
                <a:gd name="connsiteX229" fmla="*/ 331446 w 2626806"/>
                <a:gd name="connsiteY229" fmla="*/ 1317896 h 3905171"/>
                <a:gd name="connsiteX230" fmla="*/ 320471 w 2626806"/>
                <a:gd name="connsiteY230" fmla="*/ 1306921 h 3905171"/>
                <a:gd name="connsiteX231" fmla="*/ 331446 w 2626806"/>
                <a:gd name="connsiteY231" fmla="*/ 1295947 h 3905171"/>
                <a:gd name="connsiteX232" fmla="*/ 342421 w 2626806"/>
                <a:gd name="connsiteY232" fmla="*/ 1306921 h 3905171"/>
                <a:gd name="connsiteX233" fmla="*/ 331446 w 2626806"/>
                <a:gd name="connsiteY233" fmla="*/ 1317896 h 3905171"/>
                <a:gd name="connsiteX234" fmla="*/ 627771 w 2626806"/>
                <a:gd name="connsiteY234" fmla="*/ 1322289 h 3905171"/>
                <a:gd name="connsiteX235" fmla="*/ 612407 w 2626806"/>
                <a:gd name="connsiteY235" fmla="*/ 1306923 h 3905171"/>
                <a:gd name="connsiteX236" fmla="*/ 627771 w 2626806"/>
                <a:gd name="connsiteY236" fmla="*/ 1291557 h 3905171"/>
                <a:gd name="connsiteX237" fmla="*/ 643136 w 2626806"/>
                <a:gd name="connsiteY237" fmla="*/ 1306923 h 3905171"/>
                <a:gd name="connsiteX238" fmla="*/ 627771 w 2626806"/>
                <a:gd name="connsiteY238" fmla="*/ 1322289 h 3905171"/>
                <a:gd name="connsiteX239" fmla="*/ 1073357 w 2626806"/>
                <a:gd name="connsiteY239" fmla="*/ 1374967 h 3905171"/>
                <a:gd name="connsiteX240" fmla="*/ 1071162 w 2626806"/>
                <a:gd name="connsiteY240" fmla="*/ 1372772 h 3905171"/>
                <a:gd name="connsiteX241" fmla="*/ 1073357 w 2626806"/>
                <a:gd name="connsiteY241" fmla="*/ 1370577 h 3905171"/>
                <a:gd name="connsiteX242" fmla="*/ 1075553 w 2626806"/>
                <a:gd name="connsiteY242" fmla="*/ 1372772 h 3905171"/>
                <a:gd name="connsiteX243" fmla="*/ 1073357 w 2626806"/>
                <a:gd name="connsiteY243" fmla="*/ 1374967 h 3905171"/>
                <a:gd name="connsiteX244" fmla="*/ 184380 w 2626806"/>
                <a:gd name="connsiteY244" fmla="*/ 1383745 h 3905171"/>
                <a:gd name="connsiteX245" fmla="*/ 173405 w 2626806"/>
                <a:gd name="connsiteY245" fmla="*/ 1372769 h 3905171"/>
                <a:gd name="connsiteX246" fmla="*/ 184380 w 2626806"/>
                <a:gd name="connsiteY246" fmla="*/ 1361794 h 3905171"/>
                <a:gd name="connsiteX247" fmla="*/ 195356 w 2626806"/>
                <a:gd name="connsiteY247" fmla="*/ 1372769 h 3905171"/>
                <a:gd name="connsiteX248" fmla="*/ 184380 w 2626806"/>
                <a:gd name="connsiteY248" fmla="*/ 1383745 h 3905171"/>
                <a:gd name="connsiteX249" fmla="*/ 777032 w 2626806"/>
                <a:gd name="connsiteY249" fmla="*/ 1383748 h 3905171"/>
                <a:gd name="connsiteX250" fmla="*/ 766057 w 2626806"/>
                <a:gd name="connsiteY250" fmla="*/ 1372772 h 3905171"/>
                <a:gd name="connsiteX251" fmla="*/ 777032 w 2626806"/>
                <a:gd name="connsiteY251" fmla="*/ 1361796 h 3905171"/>
                <a:gd name="connsiteX252" fmla="*/ 788007 w 2626806"/>
                <a:gd name="connsiteY252" fmla="*/ 1372772 h 3905171"/>
                <a:gd name="connsiteX253" fmla="*/ 777032 w 2626806"/>
                <a:gd name="connsiteY253" fmla="*/ 1383748 h 3905171"/>
                <a:gd name="connsiteX254" fmla="*/ 480706 w 2626806"/>
                <a:gd name="connsiteY254" fmla="*/ 1385943 h 3905171"/>
                <a:gd name="connsiteX255" fmla="*/ 467536 w 2626806"/>
                <a:gd name="connsiteY255" fmla="*/ 1372772 h 3905171"/>
                <a:gd name="connsiteX256" fmla="*/ 480706 w 2626806"/>
                <a:gd name="connsiteY256" fmla="*/ 1359601 h 3905171"/>
                <a:gd name="connsiteX257" fmla="*/ 493877 w 2626806"/>
                <a:gd name="connsiteY257" fmla="*/ 1372772 h 3905171"/>
                <a:gd name="connsiteX258" fmla="*/ 480706 w 2626806"/>
                <a:gd name="connsiteY258" fmla="*/ 1385943 h 3905171"/>
                <a:gd name="connsiteX259" fmla="*/ 1224813 w 2626806"/>
                <a:gd name="connsiteY259" fmla="*/ 1443018 h 3905171"/>
                <a:gd name="connsiteX260" fmla="*/ 1220423 w 2626806"/>
                <a:gd name="connsiteY260" fmla="*/ 1438627 h 3905171"/>
                <a:gd name="connsiteX261" fmla="*/ 1224813 w 2626806"/>
                <a:gd name="connsiteY261" fmla="*/ 1434235 h 3905171"/>
                <a:gd name="connsiteX262" fmla="*/ 1229203 w 2626806"/>
                <a:gd name="connsiteY262" fmla="*/ 1438627 h 3905171"/>
                <a:gd name="connsiteX263" fmla="*/ 1224813 w 2626806"/>
                <a:gd name="connsiteY263" fmla="*/ 1443018 h 3905171"/>
                <a:gd name="connsiteX264" fmla="*/ 928488 w 2626806"/>
                <a:gd name="connsiteY264" fmla="*/ 1447408 h 3905171"/>
                <a:gd name="connsiteX265" fmla="*/ 919708 w 2626806"/>
                <a:gd name="connsiteY265" fmla="*/ 1438627 h 3905171"/>
                <a:gd name="connsiteX266" fmla="*/ 928488 w 2626806"/>
                <a:gd name="connsiteY266" fmla="*/ 1429847 h 3905171"/>
                <a:gd name="connsiteX267" fmla="*/ 937268 w 2626806"/>
                <a:gd name="connsiteY267" fmla="*/ 1438627 h 3905171"/>
                <a:gd name="connsiteX268" fmla="*/ 928488 w 2626806"/>
                <a:gd name="connsiteY268" fmla="*/ 1447408 h 3905171"/>
                <a:gd name="connsiteX269" fmla="*/ 335836 w 2626806"/>
                <a:gd name="connsiteY269" fmla="*/ 1449601 h 3905171"/>
                <a:gd name="connsiteX270" fmla="*/ 324861 w 2626806"/>
                <a:gd name="connsiteY270" fmla="*/ 1438625 h 3905171"/>
                <a:gd name="connsiteX271" fmla="*/ 335836 w 2626806"/>
                <a:gd name="connsiteY271" fmla="*/ 1427650 h 3905171"/>
                <a:gd name="connsiteX272" fmla="*/ 346811 w 2626806"/>
                <a:gd name="connsiteY272" fmla="*/ 1438625 h 3905171"/>
                <a:gd name="connsiteX273" fmla="*/ 335836 w 2626806"/>
                <a:gd name="connsiteY273" fmla="*/ 1449601 h 3905171"/>
                <a:gd name="connsiteX274" fmla="*/ 632161 w 2626806"/>
                <a:gd name="connsiteY274" fmla="*/ 1453993 h 3905171"/>
                <a:gd name="connsiteX275" fmla="*/ 616797 w 2626806"/>
                <a:gd name="connsiteY275" fmla="*/ 1438627 h 3905171"/>
                <a:gd name="connsiteX276" fmla="*/ 632161 w 2626806"/>
                <a:gd name="connsiteY276" fmla="*/ 1423261 h 3905171"/>
                <a:gd name="connsiteX277" fmla="*/ 647526 w 2626806"/>
                <a:gd name="connsiteY277" fmla="*/ 1438627 h 3905171"/>
                <a:gd name="connsiteX278" fmla="*/ 632161 w 2626806"/>
                <a:gd name="connsiteY278" fmla="*/ 1453993 h 3905171"/>
                <a:gd name="connsiteX279" fmla="*/ 1380658 w 2626806"/>
                <a:gd name="connsiteY279" fmla="*/ 1508871 h 3905171"/>
                <a:gd name="connsiteX280" fmla="*/ 1378462 w 2626806"/>
                <a:gd name="connsiteY280" fmla="*/ 1506674 h 3905171"/>
                <a:gd name="connsiteX281" fmla="*/ 1380658 w 2626806"/>
                <a:gd name="connsiteY281" fmla="*/ 1504479 h 3905171"/>
                <a:gd name="connsiteX282" fmla="*/ 1382853 w 2626806"/>
                <a:gd name="connsiteY282" fmla="*/ 1506674 h 3905171"/>
                <a:gd name="connsiteX283" fmla="*/ 1380658 w 2626806"/>
                <a:gd name="connsiteY283" fmla="*/ 1508871 h 3905171"/>
                <a:gd name="connsiteX284" fmla="*/ 1082137 w 2626806"/>
                <a:gd name="connsiteY284" fmla="*/ 1511065 h 3905171"/>
                <a:gd name="connsiteX285" fmla="*/ 1077747 w 2626806"/>
                <a:gd name="connsiteY285" fmla="*/ 1506674 h 3905171"/>
                <a:gd name="connsiteX286" fmla="*/ 1082137 w 2626806"/>
                <a:gd name="connsiteY286" fmla="*/ 1502284 h 3905171"/>
                <a:gd name="connsiteX287" fmla="*/ 1086527 w 2626806"/>
                <a:gd name="connsiteY287" fmla="*/ 1506674 h 3905171"/>
                <a:gd name="connsiteX288" fmla="*/ 1082137 w 2626806"/>
                <a:gd name="connsiteY288" fmla="*/ 1511065 h 3905171"/>
                <a:gd name="connsiteX289" fmla="*/ 785812 w 2626806"/>
                <a:gd name="connsiteY289" fmla="*/ 1515453 h 3905171"/>
                <a:gd name="connsiteX290" fmla="*/ 774837 w 2626806"/>
                <a:gd name="connsiteY290" fmla="*/ 1504479 h 3905171"/>
                <a:gd name="connsiteX291" fmla="*/ 785812 w 2626806"/>
                <a:gd name="connsiteY291" fmla="*/ 1493504 h 3905171"/>
                <a:gd name="connsiteX292" fmla="*/ 796787 w 2626806"/>
                <a:gd name="connsiteY292" fmla="*/ 1504479 h 3905171"/>
                <a:gd name="connsiteX293" fmla="*/ 785812 w 2626806"/>
                <a:gd name="connsiteY293" fmla="*/ 1515453 h 3905171"/>
                <a:gd name="connsiteX294" fmla="*/ 487291 w 2626806"/>
                <a:gd name="connsiteY294" fmla="*/ 1519845 h 3905171"/>
                <a:gd name="connsiteX295" fmla="*/ 474122 w 2626806"/>
                <a:gd name="connsiteY295" fmla="*/ 1506673 h 3905171"/>
                <a:gd name="connsiteX296" fmla="*/ 487291 w 2626806"/>
                <a:gd name="connsiteY296" fmla="*/ 1493504 h 3905171"/>
                <a:gd name="connsiteX297" fmla="*/ 500461 w 2626806"/>
                <a:gd name="connsiteY297" fmla="*/ 1506673 h 3905171"/>
                <a:gd name="connsiteX298" fmla="*/ 487291 w 2626806"/>
                <a:gd name="connsiteY298" fmla="*/ 1519845 h 3905171"/>
                <a:gd name="connsiteX299" fmla="*/ 190966 w 2626806"/>
                <a:gd name="connsiteY299" fmla="*/ 1522037 h 3905171"/>
                <a:gd name="connsiteX300" fmla="*/ 175600 w 2626806"/>
                <a:gd name="connsiteY300" fmla="*/ 1506672 h 3905171"/>
                <a:gd name="connsiteX301" fmla="*/ 190966 w 2626806"/>
                <a:gd name="connsiteY301" fmla="*/ 1491306 h 3905171"/>
                <a:gd name="connsiteX302" fmla="*/ 206330 w 2626806"/>
                <a:gd name="connsiteY302" fmla="*/ 1506672 h 3905171"/>
                <a:gd name="connsiteX303" fmla="*/ 190966 w 2626806"/>
                <a:gd name="connsiteY303" fmla="*/ 1522037 h 3905171"/>
                <a:gd name="connsiteX304" fmla="*/ 48291 w 2626806"/>
                <a:gd name="connsiteY304" fmla="*/ 1574711 h 3905171"/>
                <a:gd name="connsiteX305" fmla="*/ 46095 w 2626806"/>
                <a:gd name="connsiteY305" fmla="*/ 1572515 h 3905171"/>
                <a:gd name="connsiteX306" fmla="*/ 48291 w 2626806"/>
                <a:gd name="connsiteY306" fmla="*/ 1570320 h 3905171"/>
                <a:gd name="connsiteX307" fmla="*/ 50485 w 2626806"/>
                <a:gd name="connsiteY307" fmla="*/ 1572515 h 3905171"/>
                <a:gd name="connsiteX308" fmla="*/ 48291 w 2626806"/>
                <a:gd name="connsiteY308" fmla="*/ 1574711 h 3905171"/>
                <a:gd name="connsiteX309" fmla="*/ 1240178 w 2626806"/>
                <a:gd name="connsiteY309" fmla="*/ 1574718 h 3905171"/>
                <a:gd name="connsiteX310" fmla="*/ 1235788 w 2626806"/>
                <a:gd name="connsiteY310" fmla="*/ 1570330 h 3905171"/>
                <a:gd name="connsiteX311" fmla="*/ 1240178 w 2626806"/>
                <a:gd name="connsiteY311" fmla="*/ 1565939 h 3905171"/>
                <a:gd name="connsiteX312" fmla="*/ 1244568 w 2626806"/>
                <a:gd name="connsiteY312" fmla="*/ 1570330 h 3905171"/>
                <a:gd name="connsiteX313" fmla="*/ 1240178 w 2626806"/>
                <a:gd name="connsiteY313" fmla="*/ 1574718 h 3905171"/>
                <a:gd name="connsiteX314" fmla="*/ 941658 w 2626806"/>
                <a:gd name="connsiteY314" fmla="*/ 1581301 h 3905171"/>
                <a:gd name="connsiteX315" fmla="*/ 930682 w 2626806"/>
                <a:gd name="connsiteY315" fmla="*/ 1570330 h 3905171"/>
                <a:gd name="connsiteX316" fmla="*/ 941658 w 2626806"/>
                <a:gd name="connsiteY316" fmla="*/ 1559352 h 3905171"/>
                <a:gd name="connsiteX317" fmla="*/ 952633 w 2626806"/>
                <a:gd name="connsiteY317" fmla="*/ 1570330 h 3905171"/>
                <a:gd name="connsiteX318" fmla="*/ 941658 w 2626806"/>
                <a:gd name="connsiteY318" fmla="*/ 1581301 h 3905171"/>
                <a:gd name="connsiteX319" fmla="*/ 344616 w 2626806"/>
                <a:gd name="connsiteY319" fmla="*/ 1583497 h 3905171"/>
                <a:gd name="connsiteX320" fmla="*/ 331446 w 2626806"/>
                <a:gd name="connsiteY320" fmla="*/ 1570326 h 3905171"/>
                <a:gd name="connsiteX321" fmla="*/ 344616 w 2626806"/>
                <a:gd name="connsiteY321" fmla="*/ 1557157 h 3905171"/>
                <a:gd name="connsiteX322" fmla="*/ 357786 w 2626806"/>
                <a:gd name="connsiteY322" fmla="*/ 1570326 h 3905171"/>
                <a:gd name="connsiteX323" fmla="*/ 344616 w 2626806"/>
                <a:gd name="connsiteY323" fmla="*/ 1583497 h 3905171"/>
                <a:gd name="connsiteX324" fmla="*/ 643136 w 2626806"/>
                <a:gd name="connsiteY324" fmla="*/ 1587890 h 3905171"/>
                <a:gd name="connsiteX325" fmla="*/ 627771 w 2626806"/>
                <a:gd name="connsiteY325" fmla="*/ 1572522 h 3905171"/>
                <a:gd name="connsiteX326" fmla="*/ 643136 w 2626806"/>
                <a:gd name="connsiteY326" fmla="*/ 1557159 h 3905171"/>
                <a:gd name="connsiteX327" fmla="*/ 658502 w 2626806"/>
                <a:gd name="connsiteY327" fmla="*/ 1572522 h 3905171"/>
                <a:gd name="connsiteX328" fmla="*/ 643136 w 2626806"/>
                <a:gd name="connsiteY328" fmla="*/ 1587890 h 3905171"/>
                <a:gd name="connsiteX329" fmla="*/ 1402608 w 2626806"/>
                <a:gd name="connsiteY329" fmla="*/ 1640569 h 3905171"/>
                <a:gd name="connsiteX330" fmla="*/ 1398218 w 2626806"/>
                <a:gd name="connsiteY330" fmla="*/ 1636179 h 3905171"/>
                <a:gd name="connsiteX331" fmla="*/ 1402608 w 2626806"/>
                <a:gd name="connsiteY331" fmla="*/ 1631790 h 3905171"/>
                <a:gd name="connsiteX332" fmla="*/ 1406998 w 2626806"/>
                <a:gd name="connsiteY332" fmla="*/ 1636179 h 3905171"/>
                <a:gd name="connsiteX333" fmla="*/ 1402608 w 2626806"/>
                <a:gd name="connsiteY333" fmla="*/ 1640569 h 3905171"/>
                <a:gd name="connsiteX334" fmla="*/ 1101892 w 2626806"/>
                <a:gd name="connsiteY334" fmla="*/ 1642767 h 3905171"/>
                <a:gd name="connsiteX335" fmla="*/ 1095307 w 2626806"/>
                <a:gd name="connsiteY335" fmla="*/ 1636179 h 3905171"/>
                <a:gd name="connsiteX336" fmla="*/ 1101892 w 2626806"/>
                <a:gd name="connsiteY336" fmla="*/ 1629595 h 3905171"/>
                <a:gd name="connsiteX337" fmla="*/ 1108478 w 2626806"/>
                <a:gd name="connsiteY337" fmla="*/ 1636179 h 3905171"/>
                <a:gd name="connsiteX338" fmla="*/ 1101892 w 2626806"/>
                <a:gd name="connsiteY338" fmla="*/ 1642767 h 3905171"/>
                <a:gd name="connsiteX339" fmla="*/ 801177 w 2626806"/>
                <a:gd name="connsiteY339" fmla="*/ 1647154 h 3905171"/>
                <a:gd name="connsiteX340" fmla="*/ 790202 w 2626806"/>
                <a:gd name="connsiteY340" fmla="*/ 1636179 h 3905171"/>
                <a:gd name="connsiteX341" fmla="*/ 801177 w 2626806"/>
                <a:gd name="connsiteY341" fmla="*/ 1625205 h 3905171"/>
                <a:gd name="connsiteX342" fmla="*/ 812152 w 2626806"/>
                <a:gd name="connsiteY342" fmla="*/ 1636179 h 3905171"/>
                <a:gd name="connsiteX343" fmla="*/ 801177 w 2626806"/>
                <a:gd name="connsiteY343" fmla="*/ 1647154 h 3905171"/>
                <a:gd name="connsiteX344" fmla="*/ 204135 w 2626806"/>
                <a:gd name="connsiteY344" fmla="*/ 1653735 h 3905171"/>
                <a:gd name="connsiteX345" fmla="*/ 188770 w 2626806"/>
                <a:gd name="connsiteY345" fmla="*/ 1638372 h 3905171"/>
                <a:gd name="connsiteX346" fmla="*/ 204135 w 2626806"/>
                <a:gd name="connsiteY346" fmla="*/ 1623006 h 3905171"/>
                <a:gd name="connsiteX347" fmla="*/ 219501 w 2626806"/>
                <a:gd name="connsiteY347" fmla="*/ 1638372 h 3905171"/>
                <a:gd name="connsiteX348" fmla="*/ 204135 w 2626806"/>
                <a:gd name="connsiteY348" fmla="*/ 1653735 h 3905171"/>
                <a:gd name="connsiteX349" fmla="*/ 502657 w 2626806"/>
                <a:gd name="connsiteY349" fmla="*/ 1653740 h 3905171"/>
                <a:gd name="connsiteX350" fmla="*/ 485096 w 2626806"/>
                <a:gd name="connsiteY350" fmla="*/ 1638375 h 3905171"/>
                <a:gd name="connsiteX351" fmla="*/ 502657 w 2626806"/>
                <a:gd name="connsiteY351" fmla="*/ 1620814 h 3905171"/>
                <a:gd name="connsiteX352" fmla="*/ 520217 w 2626806"/>
                <a:gd name="connsiteY352" fmla="*/ 1636179 h 3905171"/>
                <a:gd name="connsiteX353" fmla="*/ 502657 w 2626806"/>
                <a:gd name="connsiteY353" fmla="*/ 1653740 h 3905171"/>
                <a:gd name="connsiteX354" fmla="*/ 1264323 w 2626806"/>
                <a:gd name="connsiteY354" fmla="*/ 1706417 h 3905171"/>
                <a:gd name="connsiteX355" fmla="*/ 1259933 w 2626806"/>
                <a:gd name="connsiteY355" fmla="*/ 1702029 h 3905171"/>
                <a:gd name="connsiteX356" fmla="*/ 1264323 w 2626806"/>
                <a:gd name="connsiteY356" fmla="*/ 1697638 h 3905171"/>
                <a:gd name="connsiteX357" fmla="*/ 1268713 w 2626806"/>
                <a:gd name="connsiteY357" fmla="*/ 1702029 h 3905171"/>
                <a:gd name="connsiteX358" fmla="*/ 1264323 w 2626806"/>
                <a:gd name="connsiteY358" fmla="*/ 1706417 h 3905171"/>
                <a:gd name="connsiteX359" fmla="*/ 63656 w 2626806"/>
                <a:gd name="connsiteY359" fmla="*/ 1708606 h 3905171"/>
                <a:gd name="connsiteX360" fmla="*/ 59265 w 2626806"/>
                <a:gd name="connsiteY360" fmla="*/ 1704216 h 3905171"/>
                <a:gd name="connsiteX361" fmla="*/ 63656 w 2626806"/>
                <a:gd name="connsiteY361" fmla="*/ 1699826 h 3905171"/>
                <a:gd name="connsiteX362" fmla="*/ 68046 w 2626806"/>
                <a:gd name="connsiteY362" fmla="*/ 1704216 h 3905171"/>
                <a:gd name="connsiteX363" fmla="*/ 63656 w 2626806"/>
                <a:gd name="connsiteY363" fmla="*/ 1708606 h 3905171"/>
                <a:gd name="connsiteX364" fmla="*/ 963607 w 2626806"/>
                <a:gd name="connsiteY364" fmla="*/ 1710809 h 3905171"/>
                <a:gd name="connsiteX365" fmla="*/ 954827 w 2626806"/>
                <a:gd name="connsiteY365" fmla="*/ 1702029 h 3905171"/>
                <a:gd name="connsiteX366" fmla="*/ 963607 w 2626806"/>
                <a:gd name="connsiteY366" fmla="*/ 1693250 h 3905171"/>
                <a:gd name="connsiteX367" fmla="*/ 972387 w 2626806"/>
                <a:gd name="connsiteY367" fmla="*/ 1702029 h 3905171"/>
                <a:gd name="connsiteX368" fmla="*/ 963607 w 2626806"/>
                <a:gd name="connsiteY368" fmla="*/ 1710809 h 3905171"/>
                <a:gd name="connsiteX369" fmla="*/ 362176 w 2626806"/>
                <a:gd name="connsiteY369" fmla="*/ 1715196 h 3905171"/>
                <a:gd name="connsiteX370" fmla="*/ 351201 w 2626806"/>
                <a:gd name="connsiteY370" fmla="*/ 1704223 h 3905171"/>
                <a:gd name="connsiteX371" fmla="*/ 362176 w 2626806"/>
                <a:gd name="connsiteY371" fmla="*/ 1693247 h 3905171"/>
                <a:gd name="connsiteX372" fmla="*/ 373151 w 2626806"/>
                <a:gd name="connsiteY372" fmla="*/ 1704223 h 3905171"/>
                <a:gd name="connsiteX373" fmla="*/ 362176 w 2626806"/>
                <a:gd name="connsiteY373" fmla="*/ 1715196 h 3905171"/>
                <a:gd name="connsiteX374" fmla="*/ 662892 w 2626806"/>
                <a:gd name="connsiteY374" fmla="*/ 1719588 h 3905171"/>
                <a:gd name="connsiteX375" fmla="*/ 647526 w 2626806"/>
                <a:gd name="connsiteY375" fmla="*/ 1704223 h 3905171"/>
                <a:gd name="connsiteX376" fmla="*/ 662892 w 2626806"/>
                <a:gd name="connsiteY376" fmla="*/ 1688860 h 3905171"/>
                <a:gd name="connsiteX377" fmla="*/ 678257 w 2626806"/>
                <a:gd name="connsiteY377" fmla="*/ 1704223 h 3905171"/>
                <a:gd name="connsiteX378" fmla="*/ 662892 w 2626806"/>
                <a:gd name="connsiteY378" fmla="*/ 1719588 h 3905171"/>
                <a:gd name="connsiteX379" fmla="*/ 1435533 w 2626806"/>
                <a:gd name="connsiteY379" fmla="*/ 1767878 h 3905171"/>
                <a:gd name="connsiteX380" fmla="*/ 1431143 w 2626806"/>
                <a:gd name="connsiteY380" fmla="*/ 1763487 h 3905171"/>
                <a:gd name="connsiteX381" fmla="*/ 1435533 w 2626806"/>
                <a:gd name="connsiteY381" fmla="*/ 1759098 h 3905171"/>
                <a:gd name="connsiteX382" fmla="*/ 1439923 w 2626806"/>
                <a:gd name="connsiteY382" fmla="*/ 1763487 h 3905171"/>
                <a:gd name="connsiteX383" fmla="*/ 1435533 w 2626806"/>
                <a:gd name="connsiteY383" fmla="*/ 1767878 h 3905171"/>
                <a:gd name="connsiteX384" fmla="*/ 1128232 w 2626806"/>
                <a:gd name="connsiteY384" fmla="*/ 1772266 h 3905171"/>
                <a:gd name="connsiteX385" fmla="*/ 1121648 w 2626806"/>
                <a:gd name="connsiteY385" fmla="*/ 1765682 h 3905171"/>
                <a:gd name="connsiteX386" fmla="*/ 1128232 w 2626806"/>
                <a:gd name="connsiteY386" fmla="*/ 1759098 h 3905171"/>
                <a:gd name="connsiteX387" fmla="*/ 1134817 w 2626806"/>
                <a:gd name="connsiteY387" fmla="*/ 1765682 h 3905171"/>
                <a:gd name="connsiteX388" fmla="*/ 1128232 w 2626806"/>
                <a:gd name="connsiteY388" fmla="*/ 1772266 h 3905171"/>
                <a:gd name="connsiteX389" fmla="*/ 825322 w 2626806"/>
                <a:gd name="connsiteY389" fmla="*/ 1778852 h 3905171"/>
                <a:gd name="connsiteX390" fmla="*/ 814347 w 2626806"/>
                <a:gd name="connsiteY390" fmla="*/ 1767878 h 3905171"/>
                <a:gd name="connsiteX391" fmla="*/ 825322 w 2626806"/>
                <a:gd name="connsiteY391" fmla="*/ 1756902 h 3905171"/>
                <a:gd name="connsiteX392" fmla="*/ 836297 w 2626806"/>
                <a:gd name="connsiteY392" fmla="*/ 1767878 h 3905171"/>
                <a:gd name="connsiteX393" fmla="*/ 825322 w 2626806"/>
                <a:gd name="connsiteY393" fmla="*/ 1778852 h 3905171"/>
                <a:gd name="connsiteX394" fmla="*/ 522412 w 2626806"/>
                <a:gd name="connsiteY394" fmla="*/ 1781047 h 3905171"/>
                <a:gd name="connsiteX395" fmla="*/ 509241 w 2626806"/>
                <a:gd name="connsiteY395" fmla="*/ 1767878 h 3905171"/>
                <a:gd name="connsiteX396" fmla="*/ 522412 w 2626806"/>
                <a:gd name="connsiteY396" fmla="*/ 1754706 h 3905171"/>
                <a:gd name="connsiteX397" fmla="*/ 535582 w 2626806"/>
                <a:gd name="connsiteY397" fmla="*/ 1767878 h 3905171"/>
                <a:gd name="connsiteX398" fmla="*/ 522412 w 2626806"/>
                <a:gd name="connsiteY398" fmla="*/ 1781047 h 3905171"/>
                <a:gd name="connsiteX399" fmla="*/ 221695 w 2626806"/>
                <a:gd name="connsiteY399" fmla="*/ 1785434 h 3905171"/>
                <a:gd name="connsiteX400" fmla="*/ 204135 w 2626806"/>
                <a:gd name="connsiteY400" fmla="*/ 1767874 h 3905171"/>
                <a:gd name="connsiteX401" fmla="*/ 221695 w 2626806"/>
                <a:gd name="connsiteY401" fmla="*/ 1750314 h 3905171"/>
                <a:gd name="connsiteX402" fmla="*/ 239255 w 2626806"/>
                <a:gd name="connsiteY402" fmla="*/ 1767874 h 3905171"/>
                <a:gd name="connsiteX403" fmla="*/ 221695 w 2626806"/>
                <a:gd name="connsiteY403" fmla="*/ 1785434 h 3905171"/>
                <a:gd name="connsiteX404" fmla="*/ 1611134 w 2626806"/>
                <a:gd name="connsiteY404" fmla="*/ 1829335 h 3905171"/>
                <a:gd name="connsiteX405" fmla="*/ 1608939 w 2626806"/>
                <a:gd name="connsiteY405" fmla="*/ 1827141 h 3905171"/>
                <a:gd name="connsiteX406" fmla="*/ 1611134 w 2626806"/>
                <a:gd name="connsiteY406" fmla="*/ 1824945 h 3905171"/>
                <a:gd name="connsiteX407" fmla="*/ 1613329 w 2626806"/>
                <a:gd name="connsiteY407" fmla="*/ 1827141 h 3905171"/>
                <a:gd name="connsiteX408" fmla="*/ 1611134 w 2626806"/>
                <a:gd name="connsiteY408" fmla="*/ 1829335 h 3905171"/>
                <a:gd name="connsiteX409" fmla="*/ 1299443 w 2626806"/>
                <a:gd name="connsiteY409" fmla="*/ 1833728 h 3905171"/>
                <a:gd name="connsiteX410" fmla="*/ 1295053 w 2626806"/>
                <a:gd name="connsiteY410" fmla="*/ 1829335 h 3905171"/>
                <a:gd name="connsiteX411" fmla="*/ 1299443 w 2626806"/>
                <a:gd name="connsiteY411" fmla="*/ 1824945 h 3905171"/>
                <a:gd name="connsiteX412" fmla="*/ 1303833 w 2626806"/>
                <a:gd name="connsiteY412" fmla="*/ 1829335 h 3905171"/>
                <a:gd name="connsiteX413" fmla="*/ 1299443 w 2626806"/>
                <a:gd name="connsiteY413" fmla="*/ 1833728 h 3905171"/>
                <a:gd name="connsiteX414" fmla="*/ 83410 w 2626806"/>
                <a:gd name="connsiteY414" fmla="*/ 1840308 h 3905171"/>
                <a:gd name="connsiteX415" fmla="*/ 76826 w 2626806"/>
                <a:gd name="connsiteY415" fmla="*/ 1833722 h 3905171"/>
                <a:gd name="connsiteX416" fmla="*/ 83410 w 2626806"/>
                <a:gd name="connsiteY416" fmla="*/ 1827136 h 3905171"/>
                <a:gd name="connsiteX417" fmla="*/ 89996 w 2626806"/>
                <a:gd name="connsiteY417" fmla="*/ 1833722 h 3905171"/>
                <a:gd name="connsiteX418" fmla="*/ 83410 w 2626806"/>
                <a:gd name="connsiteY418" fmla="*/ 1840308 h 3905171"/>
                <a:gd name="connsiteX419" fmla="*/ 992142 w 2626806"/>
                <a:gd name="connsiteY419" fmla="*/ 1840312 h 3905171"/>
                <a:gd name="connsiteX420" fmla="*/ 983362 w 2626806"/>
                <a:gd name="connsiteY420" fmla="*/ 1831531 h 3905171"/>
                <a:gd name="connsiteX421" fmla="*/ 992142 w 2626806"/>
                <a:gd name="connsiteY421" fmla="*/ 1822751 h 3905171"/>
                <a:gd name="connsiteX422" fmla="*/ 1000922 w 2626806"/>
                <a:gd name="connsiteY422" fmla="*/ 1831531 h 3905171"/>
                <a:gd name="connsiteX423" fmla="*/ 992142 w 2626806"/>
                <a:gd name="connsiteY423" fmla="*/ 1840312 h 3905171"/>
                <a:gd name="connsiteX424" fmla="*/ 384126 w 2626806"/>
                <a:gd name="connsiteY424" fmla="*/ 1849091 h 3905171"/>
                <a:gd name="connsiteX425" fmla="*/ 368761 w 2626806"/>
                <a:gd name="connsiteY425" fmla="*/ 1833725 h 3905171"/>
                <a:gd name="connsiteX426" fmla="*/ 384126 w 2626806"/>
                <a:gd name="connsiteY426" fmla="*/ 1818360 h 3905171"/>
                <a:gd name="connsiteX427" fmla="*/ 399491 w 2626806"/>
                <a:gd name="connsiteY427" fmla="*/ 1833725 h 3905171"/>
                <a:gd name="connsiteX428" fmla="*/ 384126 w 2626806"/>
                <a:gd name="connsiteY428" fmla="*/ 1849091 h 3905171"/>
                <a:gd name="connsiteX429" fmla="*/ 687037 w 2626806"/>
                <a:gd name="connsiteY429" fmla="*/ 1851287 h 3905171"/>
                <a:gd name="connsiteX430" fmla="*/ 669476 w 2626806"/>
                <a:gd name="connsiteY430" fmla="*/ 1833728 h 3905171"/>
                <a:gd name="connsiteX431" fmla="*/ 687037 w 2626806"/>
                <a:gd name="connsiteY431" fmla="*/ 1816165 h 3905171"/>
                <a:gd name="connsiteX432" fmla="*/ 704597 w 2626806"/>
                <a:gd name="connsiteY432" fmla="*/ 1833728 h 3905171"/>
                <a:gd name="connsiteX433" fmla="*/ 687037 w 2626806"/>
                <a:gd name="connsiteY433" fmla="*/ 1851287 h 3905171"/>
                <a:gd name="connsiteX434" fmla="*/ 1477238 w 2626806"/>
                <a:gd name="connsiteY434" fmla="*/ 1895184 h 3905171"/>
                <a:gd name="connsiteX435" fmla="*/ 1472848 w 2626806"/>
                <a:gd name="connsiteY435" fmla="*/ 1890793 h 3905171"/>
                <a:gd name="connsiteX436" fmla="*/ 1477238 w 2626806"/>
                <a:gd name="connsiteY436" fmla="*/ 1886403 h 3905171"/>
                <a:gd name="connsiteX437" fmla="*/ 1481628 w 2626806"/>
                <a:gd name="connsiteY437" fmla="*/ 1890793 h 3905171"/>
                <a:gd name="connsiteX438" fmla="*/ 1477238 w 2626806"/>
                <a:gd name="connsiteY438" fmla="*/ 1895184 h 3905171"/>
                <a:gd name="connsiteX439" fmla="*/ 1165548 w 2626806"/>
                <a:gd name="connsiteY439" fmla="*/ 1899573 h 3905171"/>
                <a:gd name="connsiteX440" fmla="*/ 1158963 w 2626806"/>
                <a:gd name="connsiteY440" fmla="*/ 1892988 h 3905171"/>
                <a:gd name="connsiteX441" fmla="*/ 1165548 w 2626806"/>
                <a:gd name="connsiteY441" fmla="*/ 1886403 h 3905171"/>
                <a:gd name="connsiteX442" fmla="*/ 1172133 w 2626806"/>
                <a:gd name="connsiteY442" fmla="*/ 1892988 h 3905171"/>
                <a:gd name="connsiteX443" fmla="*/ 1165548 w 2626806"/>
                <a:gd name="connsiteY443" fmla="*/ 1899573 h 3905171"/>
                <a:gd name="connsiteX444" fmla="*/ 550947 w 2626806"/>
                <a:gd name="connsiteY444" fmla="*/ 1910549 h 3905171"/>
                <a:gd name="connsiteX445" fmla="*/ 537776 w 2626806"/>
                <a:gd name="connsiteY445" fmla="*/ 1897379 h 3905171"/>
                <a:gd name="connsiteX446" fmla="*/ 550947 w 2626806"/>
                <a:gd name="connsiteY446" fmla="*/ 1884210 h 3905171"/>
                <a:gd name="connsiteX447" fmla="*/ 564117 w 2626806"/>
                <a:gd name="connsiteY447" fmla="*/ 1897379 h 3905171"/>
                <a:gd name="connsiteX448" fmla="*/ 550947 w 2626806"/>
                <a:gd name="connsiteY448" fmla="*/ 1910549 h 3905171"/>
                <a:gd name="connsiteX449" fmla="*/ 856052 w 2626806"/>
                <a:gd name="connsiteY449" fmla="*/ 1912745 h 3905171"/>
                <a:gd name="connsiteX450" fmla="*/ 840687 w 2626806"/>
                <a:gd name="connsiteY450" fmla="*/ 1897379 h 3905171"/>
                <a:gd name="connsiteX451" fmla="*/ 856052 w 2626806"/>
                <a:gd name="connsiteY451" fmla="*/ 1882014 h 3905171"/>
                <a:gd name="connsiteX452" fmla="*/ 871417 w 2626806"/>
                <a:gd name="connsiteY452" fmla="*/ 1897379 h 3905171"/>
                <a:gd name="connsiteX453" fmla="*/ 856052 w 2626806"/>
                <a:gd name="connsiteY453" fmla="*/ 1912745 h 3905171"/>
                <a:gd name="connsiteX454" fmla="*/ 248036 w 2626806"/>
                <a:gd name="connsiteY454" fmla="*/ 1917135 h 3905171"/>
                <a:gd name="connsiteX455" fmla="*/ 230475 w 2626806"/>
                <a:gd name="connsiteY455" fmla="*/ 1899573 h 3905171"/>
                <a:gd name="connsiteX456" fmla="*/ 248036 w 2626806"/>
                <a:gd name="connsiteY456" fmla="*/ 1882013 h 3905171"/>
                <a:gd name="connsiteX457" fmla="*/ 265596 w 2626806"/>
                <a:gd name="connsiteY457" fmla="*/ 1899573 h 3905171"/>
                <a:gd name="connsiteX458" fmla="*/ 248036 w 2626806"/>
                <a:gd name="connsiteY458" fmla="*/ 1917135 h 3905171"/>
                <a:gd name="connsiteX459" fmla="*/ 1343343 w 2626806"/>
                <a:gd name="connsiteY459" fmla="*/ 1958840 h 3905171"/>
                <a:gd name="connsiteX460" fmla="*/ 1338953 w 2626806"/>
                <a:gd name="connsiteY460" fmla="*/ 1954449 h 3905171"/>
                <a:gd name="connsiteX461" fmla="*/ 1343343 w 2626806"/>
                <a:gd name="connsiteY461" fmla="*/ 1950060 h 3905171"/>
                <a:gd name="connsiteX462" fmla="*/ 1347733 w 2626806"/>
                <a:gd name="connsiteY462" fmla="*/ 1954449 h 3905171"/>
                <a:gd name="connsiteX463" fmla="*/ 1343343 w 2626806"/>
                <a:gd name="connsiteY463" fmla="*/ 1958840 h 3905171"/>
                <a:gd name="connsiteX464" fmla="*/ 1029457 w 2626806"/>
                <a:gd name="connsiteY464" fmla="*/ 1972010 h 3905171"/>
                <a:gd name="connsiteX465" fmla="*/ 1016287 w 2626806"/>
                <a:gd name="connsiteY465" fmla="*/ 1958840 h 3905171"/>
                <a:gd name="connsiteX466" fmla="*/ 1029457 w 2626806"/>
                <a:gd name="connsiteY466" fmla="*/ 1945670 h 3905171"/>
                <a:gd name="connsiteX467" fmla="*/ 1042627 w 2626806"/>
                <a:gd name="connsiteY467" fmla="*/ 1958840 h 3905171"/>
                <a:gd name="connsiteX468" fmla="*/ 1029457 w 2626806"/>
                <a:gd name="connsiteY468" fmla="*/ 1972010 h 3905171"/>
                <a:gd name="connsiteX469" fmla="*/ 109751 w 2626806"/>
                <a:gd name="connsiteY469" fmla="*/ 1974202 h 3905171"/>
                <a:gd name="connsiteX470" fmla="*/ 100971 w 2626806"/>
                <a:gd name="connsiteY470" fmla="*/ 1965424 h 3905171"/>
                <a:gd name="connsiteX471" fmla="*/ 109751 w 2626806"/>
                <a:gd name="connsiteY471" fmla="*/ 1956642 h 3905171"/>
                <a:gd name="connsiteX472" fmla="*/ 118531 w 2626806"/>
                <a:gd name="connsiteY472" fmla="*/ 1965424 h 3905171"/>
                <a:gd name="connsiteX473" fmla="*/ 109751 w 2626806"/>
                <a:gd name="connsiteY473" fmla="*/ 1974202 h 3905171"/>
                <a:gd name="connsiteX474" fmla="*/ 414856 w 2626806"/>
                <a:gd name="connsiteY474" fmla="*/ 1980788 h 3905171"/>
                <a:gd name="connsiteX475" fmla="*/ 397296 w 2626806"/>
                <a:gd name="connsiteY475" fmla="*/ 1963228 h 3905171"/>
                <a:gd name="connsiteX476" fmla="*/ 414856 w 2626806"/>
                <a:gd name="connsiteY476" fmla="*/ 1945670 h 3905171"/>
                <a:gd name="connsiteX477" fmla="*/ 432416 w 2626806"/>
                <a:gd name="connsiteY477" fmla="*/ 1963228 h 3905171"/>
                <a:gd name="connsiteX478" fmla="*/ 414856 w 2626806"/>
                <a:gd name="connsiteY478" fmla="*/ 1980788 h 3905171"/>
                <a:gd name="connsiteX479" fmla="*/ 719962 w 2626806"/>
                <a:gd name="connsiteY479" fmla="*/ 1985177 h 3905171"/>
                <a:gd name="connsiteX480" fmla="*/ 695817 w 2626806"/>
                <a:gd name="connsiteY480" fmla="*/ 1961036 h 3905171"/>
                <a:gd name="connsiteX481" fmla="*/ 719962 w 2626806"/>
                <a:gd name="connsiteY481" fmla="*/ 1936888 h 3905171"/>
                <a:gd name="connsiteX482" fmla="*/ 744107 w 2626806"/>
                <a:gd name="connsiteY482" fmla="*/ 1961036 h 3905171"/>
                <a:gd name="connsiteX483" fmla="*/ 719962 w 2626806"/>
                <a:gd name="connsiteY483" fmla="*/ 1985177 h 3905171"/>
                <a:gd name="connsiteX484" fmla="*/ 1529919 w 2626806"/>
                <a:gd name="connsiteY484" fmla="*/ 2018101 h 3905171"/>
                <a:gd name="connsiteX485" fmla="*/ 1525528 w 2626806"/>
                <a:gd name="connsiteY485" fmla="*/ 2013711 h 3905171"/>
                <a:gd name="connsiteX486" fmla="*/ 1529919 w 2626806"/>
                <a:gd name="connsiteY486" fmla="*/ 2009323 h 3905171"/>
                <a:gd name="connsiteX487" fmla="*/ 1534309 w 2626806"/>
                <a:gd name="connsiteY487" fmla="*/ 2013711 h 3905171"/>
                <a:gd name="connsiteX488" fmla="*/ 1529919 w 2626806"/>
                <a:gd name="connsiteY488" fmla="*/ 2018101 h 3905171"/>
                <a:gd name="connsiteX489" fmla="*/ 1209448 w 2626806"/>
                <a:gd name="connsiteY489" fmla="*/ 2024688 h 3905171"/>
                <a:gd name="connsiteX490" fmla="*/ 1205058 w 2626806"/>
                <a:gd name="connsiteY490" fmla="*/ 2020297 h 3905171"/>
                <a:gd name="connsiteX491" fmla="*/ 1209448 w 2626806"/>
                <a:gd name="connsiteY491" fmla="*/ 2015906 h 3905171"/>
                <a:gd name="connsiteX492" fmla="*/ 1213838 w 2626806"/>
                <a:gd name="connsiteY492" fmla="*/ 2020297 h 3905171"/>
                <a:gd name="connsiteX493" fmla="*/ 1209448 w 2626806"/>
                <a:gd name="connsiteY493" fmla="*/ 2024688 h 3905171"/>
                <a:gd name="connsiteX494" fmla="*/ 895563 w 2626806"/>
                <a:gd name="connsiteY494" fmla="*/ 2037856 h 3905171"/>
                <a:gd name="connsiteX495" fmla="*/ 882393 w 2626806"/>
                <a:gd name="connsiteY495" fmla="*/ 2024688 h 3905171"/>
                <a:gd name="connsiteX496" fmla="*/ 895563 w 2626806"/>
                <a:gd name="connsiteY496" fmla="*/ 2011516 h 3905171"/>
                <a:gd name="connsiteX497" fmla="*/ 908732 w 2626806"/>
                <a:gd name="connsiteY497" fmla="*/ 2024688 h 3905171"/>
                <a:gd name="connsiteX498" fmla="*/ 895563 w 2626806"/>
                <a:gd name="connsiteY498" fmla="*/ 2037856 h 3905171"/>
                <a:gd name="connsiteX499" fmla="*/ 586066 w 2626806"/>
                <a:gd name="connsiteY499" fmla="*/ 2042247 h 3905171"/>
                <a:gd name="connsiteX500" fmla="*/ 570701 w 2626806"/>
                <a:gd name="connsiteY500" fmla="*/ 2026880 h 3905171"/>
                <a:gd name="connsiteX501" fmla="*/ 586066 w 2626806"/>
                <a:gd name="connsiteY501" fmla="*/ 2011516 h 3905171"/>
                <a:gd name="connsiteX502" fmla="*/ 601431 w 2626806"/>
                <a:gd name="connsiteY502" fmla="*/ 2026880 h 3905171"/>
                <a:gd name="connsiteX503" fmla="*/ 586066 w 2626806"/>
                <a:gd name="connsiteY503" fmla="*/ 2042247 h 3905171"/>
                <a:gd name="connsiteX504" fmla="*/ 278766 w 2626806"/>
                <a:gd name="connsiteY504" fmla="*/ 2046634 h 3905171"/>
                <a:gd name="connsiteX505" fmla="*/ 259010 w 2626806"/>
                <a:gd name="connsiteY505" fmla="*/ 2026880 h 3905171"/>
                <a:gd name="connsiteX506" fmla="*/ 278766 w 2626806"/>
                <a:gd name="connsiteY506" fmla="*/ 2007125 h 3905171"/>
                <a:gd name="connsiteX507" fmla="*/ 298521 w 2626806"/>
                <a:gd name="connsiteY507" fmla="*/ 2026880 h 3905171"/>
                <a:gd name="connsiteX508" fmla="*/ 278766 w 2626806"/>
                <a:gd name="connsiteY508" fmla="*/ 2046634 h 3905171"/>
                <a:gd name="connsiteX509" fmla="*/ 1725273 w 2626806"/>
                <a:gd name="connsiteY509" fmla="*/ 2068584 h 3905171"/>
                <a:gd name="connsiteX510" fmla="*/ 1720883 w 2626806"/>
                <a:gd name="connsiteY510" fmla="*/ 2064194 h 3905171"/>
                <a:gd name="connsiteX511" fmla="*/ 1725273 w 2626806"/>
                <a:gd name="connsiteY511" fmla="*/ 2059803 h 3905171"/>
                <a:gd name="connsiteX512" fmla="*/ 1729663 w 2626806"/>
                <a:gd name="connsiteY512" fmla="*/ 2064194 h 3905171"/>
                <a:gd name="connsiteX513" fmla="*/ 1725273 w 2626806"/>
                <a:gd name="connsiteY513" fmla="*/ 2068584 h 3905171"/>
                <a:gd name="connsiteX514" fmla="*/ 1396023 w 2626806"/>
                <a:gd name="connsiteY514" fmla="*/ 2081753 h 3905171"/>
                <a:gd name="connsiteX515" fmla="*/ 1391633 w 2626806"/>
                <a:gd name="connsiteY515" fmla="*/ 2077362 h 3905171"/>
                <a:gd name="connsiteX516" fmla="*/ 1396023 w 2626806"/>
                <a:gd name="connsiteY516" fmla="*/ 2072974 h 3905171"/>
                <a:gd name="connsiteX517" fmla="*/ 1400413 w 2626806"/>
                <a:gd name="connsiteY517" fmla="*/ 2077362 h 3905171"/>
                <a:gd name="connsiteX518" fmla="*/ 1396023 w 2626806"/>
                <a:gd name="connsiteY518" fmla="*/ 2081753 h 3905171"/>
                <a:gd name="connsiteX519" fmla="*/ 1075553 w 2626806"/>
                <a:gd name="connsiteY519" fmla="*/ 2097117 h 3905171"/>
                <a:gd name="connsiteX520" fmla="*/ 1062382 w 2626806"/>
                <a:gd name="connsiteY520" fmla="*/ 2083948 h 3905171"/>
                <a:gd name="connsiteX521" fmla="*/ 1075553 w 2626806"/>
                <a:gd name="connsiteY521" fmla="*/ 2070780 h 3905171"/>
                <a:gd name="connsiteX522" fmla="*/ 1088722 w 2626806"/>
                <a:gd name="connsiteY522" fmla="*/ 2083948 h 3905171"/>
                <a:gd name="connsiteX523" fmla="*/ 1075553 w 2626806"/>
                <a:gd name="connsiteY523" fmla="*/ 2097117 h 3905171"/>
                <a:gd name="connsiteX524" fmla="*/ 142676 w 2626806"/>
                <a:gd name="connsiteY524" fmla="*/ 2099312 h 3905171"/>
                <a:gd name="connsiteX525" fmla="*/ 136091 w 2626806"/>
                <a:gd name="connsiteY525" fmla="*/ 2092727 h 3905171"/>
                <a:gd name="connsiteX526" fmla="*/ 142676 w 2626806"/>
                <a:gd name="connsiteY526" fmla="*/ 2086143 h 3905171"/>
                <a:gd name="connsiteX527" fmla="*/ 149261 w 2626806"/>
                <a:gd name="connsiteY527" fmla="*/ 2092727 h 3905171"/>
                <a:gd name="connsiteX528" fmla="*/ 142676 w 2626806"/>
                <a:gd name="connsiteY528" fmla="*/ 2099312 h 3905171"/>
                <a:gd name="connsiteX529" fmla="*/ 449976 w 2626806"/>
                <a:gd name="connsiteY529" fmla="*/ 2110286 h 3905171"/>
                <a:gd name="connsiteX530" fmla="*/ 430221 w 2626806"/>
                <a:gd name="connsiteY530" fmla="*/ 2090534 h 3905171"/>
                <a:gd name="connsiteX531" fmla="*/ 449976 w 2626806"/>
                <a:gd name="connsiteY531" fmla="*/ 2070780 h 3905171"/>
                <a:gd name="connsiteX532" fmla="*/ 469732 w 2626806"/>
                <a:gd name="connsiteY532" fmla="*/ 2090534 h 3905171"/>
                <a:gd name="connsiteX533" fmla="*/ 449976 w 2626806"/>
                <a:gd name="connsiteY533" fmla="*/ 2110286 h 3905171"/>
                <a:gd name="connsiteX534" fmla="*/ 761667 w 2626806"/>
                <a:gd name="connsiteY534" fmla="*/ 2110286 h 3905171"/>
                <a:gd name="connsiteX535" fmla="*/ 739717 w 2626806"/>
                <a:gd name="connsiteY535" fmla="*/ 2088339 h 3905171"/>
                <a:gd name="connsiteX536" fmla="*/ 761667 w 2626806"/>
                <a:gd name="connsiteY536" fmla="*/ 2066389 h 3905171"/>
                <a:gd name="connsiteX537" fmla="*/ 783617 w 2626806"/>
                <a:gd name="connsiteY537" fmla="*/ 2088339 h 3905171"/>
                <a:gd name="connsiteX538" fmla="*/ 761667 w 2626806"/>
                <a:gd name="connsiteY538" fmla="*/ 2110286 h 3905171"/>
                <a:gd name="connsiteX539" fmla="*/ 1591378 w 2626806"/>
                <a:gd name="connsiteY539" fmla="*/ 2136627 h 3905171"/>
                <a:gd name="connsiteX540" fmla="*/ 1584794 w 2626806"/>
                <a:gd name="connsiteY540" fmla="*/ 2130041 h 3905171"/>
                <a:gd name="connsiteX541" fmla="*/ 1591378 w 2626806"/>
                <a:gd name="connsiteY541" fmla="*/ 2123457 h 3905171"/>
                <a:gd name="connsiteX542" fmla="*/ 1597964 w 2626806"/>
                <a:gd name="connsiteY542" fmla="*/ 2130041 h 3905171"/>
                <a:gd name="connsiteX543" fmla="*/ 1591378 w 2626806"/>
                <a:gd name="connsiteY543" fmla="*/ 2136627 h 3905171"/>
                <a:gd name="connsiteX544" fmla="*/ 1262128 w 2626806"/>
                <a:gd name="connsiteY544" fmla="*/ 2147601 h 3905171"/>
                <a:gd name="connsiteX545" fmla="*/ 1255543 w 2626806"/>
                <a:gd name="connsiteY545" fmla="*/ 2141017 h 3905171"/>
                <a:gd name="connsiteX546" fmla="*/ 1262128 w 2626806"/>
                <a:gd name="connsiteY546" fmla="*/ 2134430 h 3905171"/>
                <a:gd name="connsiteX547" fmla="*/ 1268713 w 2626806"/>
                <a:gd name="connsiteY547" fmla="*/ 2141017 h 3905171"/>
                <a:gd name="connsiteX548" fmla="*/ 1262128 w 2626806"/>
                <a:gd name="connsiteY548" fmla="*/ 2147601 h 3905171"/>
                <a:gd name="connsiteX549" fmla="*/ 6586 w 2626806"/>
                <a:gd name="connsiteY549" fmla="*/ 2165160 h 3905171"/>
                <a:gd name="connsiteX550" fmla="*/ 0 w 2626806"/>
                <a:gd name="connsiteY550" fmla="*/ 2158574 h 3905171"/>
                <a:gd name="connsiteX551" fmla="*/ 6586 w 2626806"/>
                <a:gd name="connsiteY551" fmla="*/ 2151990 h 3905171"/>
                <a:gd name="connsiteX552" fmla="*/ 13170 w 2626806"/>
                <a:gd name="connsiteY552" fmla="*/ 2158574 h 3905171"/>
                <a:gd name="connsiteX553" fmla="*/ 6586 w 2626806"/>
                <a:gd name="connsiteY553" fmla="*/ 2165160 h 3905171"/>
                <a:gd name="connsiteX554" fmla="*/ 941658 w 2626806"/>
                <a:gd name="connsiteY554" fmla="*/ 2165160 h 3905171"/>
                <a:gd name="connsiteX555" fmla="*/ 926292 w 2626806"/>
                <a:gd name="connsiteY555" fmla="*/ 2149796 h 3905171"/>
                <a:gd name="connsiteX556" fmla="*/ 941658 w 2626806"/>
                <a:gd name="connsiteY556" fmla="*/ 2134430 h 3905171"/>
                <a:gd name="connsiteX557" fmla="*/ 957023 w 2626806"/>
                <a:gd name="connsiteY557" fmla="*/ 2149796 h 3905171"/>
                <a:gd name="connsiteX558" fmla="*/ 941658 w 2626806"/>
                <a:gd name="connsiteY558" fmla="*/ 2165160 h 3905171"/>
                <a:gd name="connsiteX559" fmla="*/ 627771 w 2626806"/>
                <a:gd name="connsiteY559" fmla="*/ 2171744 h 3905171"/>
                <a:gd name="connsiteX560" fmla="*/ 608016 w 2626806"/>
                <a:gd name="connsiteY560" fmla="*/ 2151990 h 3905171"/>
                <a:gd name="connsiteX561" fmla="*/ 627771 w 2626806"/>
                <a:gd name="connsiteY561" fmla="*/ 2132235 h 3905171"/>
                <a:gd name="connsiteX562" fmla="*/ 647526 w 2626806"/>
                <a:gd name="connsiteY562" fmla="*/ 2151990 h 3905171"/>
                <a:gd name="connsiteX563" fmla="*/ 627771 w 2626806"/>
                <a:gd name="connsiteY563" fmla="*/ 2171744 h 3905171"/>
                <a:gd name="connsiteX564" fmla="*/ 316081 w 2626806"/>
                <a:gd name="connsiteY564" fmla="*/ 2173938 h 3905171"/>
                <a:gd name="connsiteX565" fmla="*/ 298521 w 2626806"/>
                <a:gd name="connsiteY565" fmla="*/ 2156380 h 3905171"/>
                <a:gd name="connsiteX566" fmla="*/ 316081 w 2626806"/>
                <a:gd name="connsiteY566" fmla="*/ 2138821 h 3905171"/>
                <a:gd name="connsiteX567" fmla="*/ 333641 w 2626806"/>
                <a:gd name="connsiteY567" fmla="*/ 2156380 h 3905171"/>
                <a:gd name="connsiteX568" fmla="*/ 316081 w 2626806"/>
                <a:gd name="connsiteY568" fmla="*/ 2173938 h 3905171"/>
                <a:gd name="connsiteX569" fmla="*/ 1799903 w 2626806"/>
                <a:gd name="connsiteY569" fmla="*/ 2178330 h 3905171"/>
                <a:gd name="connsiteX570" fmla="*/ 1798257 w 2626806"/>
                <a:gd name="connsiteY570" fmla="*/ 2175586 h 3905171"/>
                <a:gd name="connsiteX571" fmla="*/ 1799903 w 2626806"/>
                <a:gd name="connsiteY571" fmla="*/ 2176135 h 3905171"/>
                <a:gd name="connsiteX572" fmla="*/ 1799903 w 2626806"/>
                <a:gd name="connsiteY572" fmla="*/ 2177507 h 3905171"/>
                <a:gd name="connsiteX573" fmla="*/ 1457483 w 2626806"/>
                <a:gd name="connsiteY573" fmla="*/ 2200279 h 3905171"/>
                <a:gd name="connsiteX574" fmla="*/ 1453093 w 2626806"/>
                <a:gd name="connsiteY574" fmla="*/ 2195891 h 3905171"/>
                <a:gd name="connsiteX575" fmla="*/ 1457483 w 2626806"/>
                <a:gd name="connsiteY575" fmla="*/ 2191500 h 3905171"/>
                <a:gd name="connsiteX576" fmla="*/ 1461873 w 2626806"/>
                <a:gd name="connsiteY576" fmla="*/ 2195891 h 3905171"/>
                <a:gd name="connsiteX577" fmla="*/ 1457483 w 2626806"/>
                <a:gd name="connsiteY577" fmla="*/ 2200279 h 3905171"/>
                <a:gd name="connsiteX578" fmla="*/ 1130428 w 2626806"/>
                <a:gd name="connsiteY578" fmla="*/ 2217839 h 3905171"/>
                <a:gd name="connsiteX579" fmla="*/ 1117258 w 2626806"/>
                <a:gd name="connsiteY579" fmla="*/ 2204671 h 3905171"/>
                <a:gd name="connsiteX580" fmla="*/ 1130428 w 2626806"/>
                <a:gd name="connsiteY580" fmla="*/ 2191500 h 3905171"/>
                <a:gd name="connsiteX581" fmla="*/ 1143597 w 2626806"/>
                <a:gd name="connsiteY581" fmla="*/ 2204671 h 3905171"/>
                <a:gd name="connsiteX582" fmla="*/ 1130428 w 2626806"/>
                <a:gd name="connsiteY582" fmla="*/ 2217839 h 3905171"/>
                <a:gd name="connsiteX583" fmla="*/ 493877 w 2626806"/>
                <a:gd name="connsiteY583" fmla="*/ 2237594 h 3905171"/>
                <a:gd name="connsiteX584" fmla="*/ 474122 w 2626806"/>
                <a:gd name="connsiteY584" fmla="*/ 2217839 h 3905171"/>
                <a:gd name="connsiteX585" fmla="*/ 493877 w 2626806"/>
                <a:gd name="connsiteY585" fmla="*/ 2198085 h 3905171"/>
                <a:gd name="connsiteX586" fmla="*/ 513631 w 2626806"/>
                <a:gd name="connsiteY586" fmla="*/ 2217839 h 3905171"/>
                <a:gd name="connsiteX587" fmla="*/ 493877 w 2626806"/>
                <a:gd name="connsiteY587" fmla="*/ 2237594 h 3905171"/>
                <a:gd name="connsiteX588" fmla="*/ 807762 w 2626806"/>
                <a:gd name="connsiteY588" fmla="*/ 2239789 h 3905171"/>
                <a:gd name="connsiteX589" fmla="*/ 781422 w 2626806"/>
                <a:gd name="connsiteY589" fmla="*/ 2213449 h 3905171"/>
                <a:gd name="connsiteX590" fmla="*/ 807762 w 2626806"/>
                <a:gd name="connsiteY590" fmla="*/ 2187110 h 3905171"/>
                <a:gd name="connsiteX591" fmla="*/ 834102 w 2626806"/>
                <a:gd name="connsiteY591" fmla="*/ 2213449 h 3905171"/>
                <a:gd name="connsiteX592" fmla="*/ 807762 w 2626806"/>
                <a:gd name="connsiteY592" fmla="*/ 2239789 h 3905171"/>
                <a:gd name="connsiteX593" fmla="*/ 179991 w 2626806"/>
                <a:gd name="connsiteY593" fmla="*/ 2246374 h 3905171"/>
                <a:gd name="connsiteX594" fmla="*/ 155846 w 2626806"/>
                <a:gd name="connsiteY594" fmla="*/ 2222229 h 3905171"/>
                <a:gd name="connsiteX595" fmla="*/ 179991 w 2626806"/>
                <a:gd name="connsiteY595" fmla="*/ 2198085 h 3905171"/>
                <a:gd name="connsiteX596" fmla="*/ 204136 w 2626806"/>
                <a:gd name="connsiteY596" fmla="*/ 2222229 h 3905171"/>
                <a:gd name="connsiteX597" fmla="*/ 179991 w 2626806"/>
                <a:gd name="connsiteY597" fmla="*/ 2246374 h 3905171"/>
                <a:gd name="connsiteX598" fmla="*/ 1663814 w 2626806"/>
                <a:gd name="connsiteY598" fmla="*/ 2246374 h 3905171"/>
                <a:gd name="connsiteX599" fmla="*/ 1659424 w 2626806"/>
                <a:gd name="connsiteY599" fmla="*/ 2241984 h 3905171"/>
                <a:gd name="connsiteX600" fmla="*/ 1663814 w 2626806"/>
                <a:gd name="connsiteY600" fmla="*/ 2237594 h 3905171"/>
                <a:gd name="connsiteX601" fmla="*/ 1668204 w 2626806"/>
                <a:gd name="connsiteY601" fmla="*/ 2241984 h 3905171"/>
                <a:gd name="connsiteX602" fmla="*/ 1663814 w 2626806"/>
                <a:gd name="connsiteY602" fmla="*/ 2246374 h 3905171"/>
                <a:gd name="connsiteX603" fmla="*/ 1325783 w 2626806"/>
                <a:gd name="connsiteY603" fmla="*/ 2270519 h 3905171"/>
                <a:gd name="connsiteX604" fmla="*/ 1314808 w 2626806"/>
                <a:gd name="connsiteY604" fmla="*/ 2259544 h 3905171"/>
                <a:gd name="connsiteX605" fmla="*/ 1325783 w 2626806"/>
                <a:gd name="connsiteY605" fmla="*/ 2248569 h 3905171"/>
                <a:gd name="connsiteX606" fmla="*/ 1336759 w 2626806"/>
                <a:gd name="connsiteY606" fmla="*/ 2259544 h 3905171"/>
                <a:gd name="connsiteX607" fmla="*/ 1325783 w 2626806"/>
                <a:gd name="connsiteY607" fmla="*/ 2270519 h 3905171"/>
                <a:gd name="connsiteX608" fmla="*/ 1881119 w 2626806"/>
                <a:gd name="connsiteY608" fmla="*/ 2283689 h 3905171"/>
                <a:gd name="connsiteX609" fmla="*/ 1876729 w 2626806"/>
                <a:gd name="connsiteY609" fmla="*/ 2279299 h 3905171"/>
                <a:gd name="connsiteX610" fmla="*/ 1881119 w 2626806"/>
                <a:gd name="connsiteY610" fmla="*/ 2274909 h 3905171"/>
                <a:gd name="connsiteX611" fmla="*/ 1885509 w 2626806"/>
                <a:gd name="connsiteY611" fmla="*/ 2279299 h 3905171"/>
                <a:gd name="connsiteX612" fmla="*/ 1881119 w 2626806"/>
                <a:gd name="connsiteY612" fmla="*/ 2283689 h 3905171"/>
                <a:gd name="connsiteX613" fmla="*/ 46095 w 2626806"/>
                <a:gd name="connsiteY613" fmla="*/ 2288078 h 3905171"/>
                <a:gd name="connsiteX614" fmla="*/ 43901 w 2626806"/>
                <a:gd name="connsiteY614" fmla="*/ 2285884 h 3905171"/>
                <a:gd name="connsiteX615" fmla="*/ 46095 w 2626806"/>
                <a:gd name="connsiteY615" fmla="*/ 2283688 h 3905171"/>
                <a:gd name="connsiteX616" fmla="*/ 48291 w 2626806"/>
                <a:gd name="connsiteY616" fmla="*/ 2285884 h 3905171"/>
                <a:gd name="connsiteX617" fmla="*/ 46095 w 2626806"/>
                <a:gd name="connsiteY617" fmla="*/ 2288078 h 3905171"/>
                <a:gd name="connsiteX618" fmla="*/ 996532 w 2626806"/>
                <a:gd name="connsiteY618" fmla="*/ 2288079 h 3905171"/>
                <a:gd name="connsiteX619" fmla="*/ 976777 w 2626806"/>
                <a:gd name="connsiteY619" fmla="*/ 2268324 h 3905171"/>
                <a:gd name="connsiteX620" fmla="*/ 996532 w 2626806"/>
                <a:gd name="connsiteY620" fmla="*/ 2248569 h 3905171"/>
                <a:gd name="connsiteX621" fmla="*/ 1016287 w 2626806"/>
                <a:gd name="connsiteY621" fmla="*/ 2268324 h 3905171"/>
                <a:gd name="connsiteX622" fmla="*/ 996532 w 2626806"/>
                <a:gd name="connsiteY622" fmla="*/ 2288079 h 3905171"/>
                <a:gd name="connsiteX623" fmla="*/ 359981 w 2626806"/>
                <a:gd name="connsiteY623" fmla="*/ 2301248 h 3905171"/>
                <a:gd name="connsiteX624" fmla="*/ 340226 w 2626806"/>
                <a:gd name="connsiteY624" fmla="*/ 2281493 h 3905171"/>
                <a:gd name="connsiteX625" fmla="*/ 359981 w 2626806"/>
                <a:gd name="connsiteY625" fmla="*/ 2261738 h 3905171"/>
                <a:gd name="connsiteX626" fmla="*/ 379736 w 2626806"/>
                <a:gd name="connsiteY626" fmla="*/ 2281493 h 3905171"/>
                <a:gd name="connsiteX627" fmla="*/ 359981 w 2626806"/>
                <a:gd name="connsiteY627" fmla="*/ 2301248 h 3905171"/>
                <a:gd name="connsiteX628" fmla="*/ 676061 w 2626806"/>
                <a:gd name="connsiteY628" fmla="*/ 2301249 h 3905171"/>
                <a:gd name="connsiteX629" fmla="*/ 651916 w 2626806"/>
                <a:gd name="connsiteY629" fmla="*/ 2277104 h 3905171"/>
                <a:gd name="connsiteX630" fmla="*/ 676061 w 2626806"/>
                <a:gd name="connsiteY630" fmla="*/ 2252959 h 3905171"/>
                <a:gd name="connsiteX631" fmla="*/ 700207 w 2626806"/>
                <a:gd name="connsiteY631" fmla="*/ 2277104 h 3905171"/>
                <a:gd name="connsiteX632" fmla="*/ 676061 w 2626806"/>
                <a:gd name="connsiteY632" fmla="*/ 2301249 h 3905171"/>
                <a:gd name="connsiteX633" fmla="*/ 1529919 w 2626806"/>
                <a:gd name="connsiteY633" fmla="*/ 2312223 h 3905171"/>
                <a:gd name="connsiteX634" fmla="*/ 1523333 w 2626806"/>
                <a:gd name="connsiteY634" fmla="*/ 2305638 h 3905171"/>
                <a:gd name="connsiteX635" fmla="*/ 1529919 w 2626806"/>
                <a:gd name="connsiteY635" fmla="*/ 2299053 h 3905171"/>
                <a:gd name="connsiteX636" fmla="*/ 1536503 w 2626806"/>
                <a:gd name="connsiteY636" fmla="*/ 2305638 h 3905171"/>
                <a:gd name="connsiteX637" fmla="*/ 1529919 w 2626806"/>
                <a:gd name="connsiteY637" fmla="*/ 2312223 h 3905171"/>
                <a:gd name="connsiteX638" fmla="*/ 1191888 w 2626806"/>
                <a:gd name="connsiteY638" fmla="*/ 2334173 h 3905171"/>
                <a:gd name="connsiteX639" fmla="*/ 1180912 w 2626806"/>
                <a:gd name="connsiteY639" fmla="*/ 2323199 h 3905171"/>
                <a:gd name="connsiteX640" fmla="*/ 1191888 w 2626806"/>
                <a:gd name="connsiteY640" fmla="*/ 2312223 h 3905171"/>
                <a:gd name="connsiteX641" fmla="*/ 1202863 w 2626806"/>
                <a:gd name="connsiteY641" fmla="*/ 2323199 h 3905171"/>
                <a:gd name="connsiteX642" fmla="*/ 1191888 w 2626806"/>
                <a:gd name="connsiteY642" fmla="*/ 2334173 h 3905171"/>
                <a:gd name="connsiteX643" fmla="*/ 1745028 w 2626806"/>
                <a:gd name="connsiteY643" fmla="*/ 2351734 h 3905171"/>
                <a:gd name="connsiteX644" fmla="*/ 1740639 w 2626806"/>
                <a:gd name="connsiteY644" fmla="*/ 2347344 h 3905171"/>
                <a:gd name="connsiteX645" fmla="*/ 1745028 w 2626806"/>
                <a:gd name="connsiteY645" fmla="*/ 2342953 h 3905171"/>
                <a:gd name="connsiteX646" fmla="*/ 1749418 w 2626806"/>
                <a:gd name="connsiteY646" fmla="*/ 2347344 h 3905171"/>
                <a:gd name="connsiteX647" fmla="*/ 1745028 w 2626806"/>
                <a:gd name="connsiteY647" fmla="*/ 2351734 h 3905171"/>
                <a:gd name="connsiteX648" fmla="*/ 542166 w 2626806"/>
                <a:gd name="connsiteY648" fmla="*/ 2360514 h 3905171"/>
                <a:gd name="connsiteX649" fmla="*/ 522412 w 2626806"/>
                <a:gd name="connsiteY649" fmla="*/ 2340758 h 3905171"/>
                <a:gd name="connsiteX650" fmla="*/ 542166 w 2626806"/>
                <a:gd name="connsiteY650" fmla="*/ 2321003 h 3905171"/>
                <a:gd name="connsiteX651" fmla="*/ 561922 w 2626806"/>
                <a:gd name="connsiteY651" fmla="*/ 2340758 h 3905171"/>
                <a:gd name="connsiteX652" fmla="*/ 542166 w 2626806"/>
                <a:gd name="connsiteY652" fmla="*/ 2360514 h 3905171"/>
                <a:gd name="connsiteX653" fmla="*/ 862637 w 2626806"/>
                <a:gd name="connsiteY653" fmla="*/ 2360514 h 3905171"/>
                <a:gd name="connsiteX654" fmla="*/ 836297 w 2626806"/>
                <a:gd name="connsiteY654" fmla="*/ 2334174 h 3905171"/>
                <a:gd name="connsiteX655" fmla="*/ 862637 w 2626806"/>
                <a:gd name="connsiteY655" fmla="*/ 2307834 h 3905171"/>
                <a:gd name="connsiteX656" fmla="*/ 888977 w 2626806"/>
                <a:gd name="connsiteY656" fmla="*/ 2334174 h 3905171"/>
                <a:gd name="connsiteX657" fmla="*/ 862637 w 2626806"/>
                <a:gd name="connsiteY657" fmla="*/ 2360514 h 3905171"/>
                <a:gd name="connsiteX658" fmla="*/ 223891 w 2626806"/>
                <a:gd name="connsiteY658" fmla="*/ 2371488 h 3905171"/>
                <a:gd name="connsiteX659" fmla="*/ 199745 w 2626806"/>
                <a:gd name="connsiteY659" fmla="*/ 2347344 h 3905171"/>
                <a:gd name="connsiteX660" fmla="*/ 223891 w 2626806"/>
                <a:gd name="connsiteY660" fmla="*/ 2323199 h 3905171"/>
                <a:gd name="connsiteX661" fmla="*/ 248036 w 2626806"/>
                <a:gd name="connsiteY661" fmla="*/ 2347344 h 3905171"/>
                <a:gd name="connsiteX662" fmla="*/ 223891 w 2626806"/>
                <a:gd name="connsiteY662" fmla="*/ 2371488 h 3905171"/>
                <a:gd name="connsiteX663" fmla="*/ 1393828 w 2626806"/>
                <a:gd name="connsiteY663" fmla="*/ 2380269 h 3905171"/>
                <a:gd name="connsiteX664" fmla="*/ 1385048 w 2626806"/>
                <a:gd name="connsiteY664" fmla="*/ 2371488 h 3905171"/>
                <a:gd name="connsiteX665" fmla="*/ 1393828 w 2626806"/>
                <a:gd name="connsiteY665" fmla="*/ 2362708 h 3905171"/>
                <a:gd name="connsiteX666" fmla="*/ 1402608 w 2626806"/>
                <a:gd name="connsiteY666" fmla="*/ 2371488 h 3905171"/>
                <a:gd name="connsiteX667" fmla="*/ 1393828 w 2626806"/>
                <a:gd name="connsiteY667" fmla="*/ 2380269 h 3905171"/>
                <a:gd name="connsiteX668" fmla="*/ 1973310 w 2626806"/>
                <a:gd name="connsiteY668" fmla="*/ 2380269 h 3905171"/>
                <a:gd name="connsiteX669" fmla="*/ 1968920 w 2626806"/>
                <a:gd name="connsiteY669" fmla="*/ 2375879 h 3905171"/>
                <a:gd name="connsiteX670" fmla="*/ 1973310 w 2626806"/>
                <a:gd name="connsiteY670" fmla="*/ 2371488 h 3905171"/>
                <a:gd name="connsiteX671" fmla="*/ 1977700 w 2626806"/>
                <a:gd name="connsiteY671" fmla="*/ 2375879 h 3905171"/>
                <a:gd name="connsiteX672" fmla="*/ 1973310 w 2626806"/>
                <a:gd name="connsiteY672" fmla="*/ 2380269 h 3905171"/>
                <a:gd name="connsiteX673" fmla="*/ 1057992 w 2626806"/>
                <a:gd name="connsiteY673" fmla="*/ 2410999 h 3905171"/>
                <a:gd name="connsiteX674" fmla="*/ 1036042 w 2626806"/>
                <a:gd name="connsiteY674" fmla="*/ 2389049 h 3905171"/>
                <a:gd name="connsiteX675" fmla="*/ 1057992 w 2626806"/>
                <a:gd name="connsiteY675" fmla="*/ 2367098 h 3905171"/>
                <a:gd name="connsiteX676" fmla="*/ 1079943 w 2626806"/>
                <a:gd name="connsiteY676" fmla="*/ 2389049 h 3905171"/>
                <a:gd name="connsiteX677" fmla="*/ 1057992 w 2626806"/>
                <a:gd name="connsiteY677" fmla="*/ 2410999 h 3905171"/>
                <a:gd name="connsiteX678" fmla="*/ 728742 w 2626806"/>
                <a:gd name="connsiteY678" fmla="*/ 2419779 h 3905171"/>
                <a:gd name="connsiteX679" fmla="*/ 706792 w 2626806"/>
                <a:gd name="connsiteY679" fmla="*/ 2397829 h 3905171"/>
                <a:gd name="connsiteX680" fmla="*/ 728742 w 2626806"/>
                <a:gd name="connsiteY680" fmla="*/ 2375879 h 3905171"/>
                <a:gd name="connsiteX681" fmla="*/ 750692 w 2626806"/>
                <a:gd name="connsiteY681" fmla="*/ 2397829 h 3905171"/>
                <a:gd name="connsiteX682" fmla="*/ 728742 w 2626806"/>
                <a:gd name="connsiteY682" fmla="*/ 2419779 h 3905171"/>
                <a:gd name="connsiteX683" fmla="*/ 1608939 w 2626806"/>
                <a:gd name="connsiteY683" fmla="*/ 2419779 h 3905171"/>
                <a:gd name="connsiteX684" fmla="*/ 1604549 w 2626806"/>
                <a:gd name="connsiteY684" fmla="*/ 2415389 h 3905171"/>
                <a:gd name="connsiteX685" fmla="*/ 1608939 w 2626806"/>
                <a:gd name="connsiteY685" fmla="*/ 2410999 h 3905171"/>
                <a:gd name="connsiteX686" fmla="*/ 1613329 w 2626806"/>
                <a:gd name="connsiteY686" fmla="*/ 2415389 h 3905171"/>
                <a:gd name="connsiteX687" fmla="*/ 1608939 w 2626806"/>
                <a:gd name="connsiteY687" fmla="*/ 2419779 h 3905171"/>
                <a:gd name="connsiteX688" fmla="*/ 408271 w 2626806"/>
                <a:gd name="connsiteY688" fmla="*/ 2426364 h 3905171"/>
                <a:gd name="connsiteX689" fmla="*/ 388516 w 2626806"/>
                <a:gd name="connsiteY689" fmla="*/ 2406609 h 3905171"/>
                <a:gd name="connsiteX690" fmla="*/ 408271 w 2626806"/>
                <a:gd name="connsiteY690" fmla="*/ 2386853 h 3905171"/>
                <a:gd name="connsiteX691" fmla="*/ 428027 w 2626806"/>
                <a:gd name="connsiteY691" fmla="*/ 2406609 h 3905171"/>
                <a:gd name="connsiteX692" fmla="*/ 408271 w 2626806"/>
                <a:gd name="connsiteY692" fmla="*/ 2426364 h 3905171"/>
                <a:gd name="connsiteX693" fmla="*/ 1259933 w 2626806"/>
                <a:gd name="connsiteY693" fmla="*/ 2450509 h 3905171"/>
                <a:gd name="connsiteX694" fmla="*/ 1246763 w 2626806"/>
                <a:gd name="connsiteY694" fmla="*/ 2437339 h 3905171"/>
                <a:gd name="connsiteX695" fmla="*/ 1259933 w 2626806"/>
                <a:gd name="connsiteY695" fmla="*/ 2424169 h 3905171"/>
                <a:gd name="connsiteX696" fmla="*/ 1273103 w 2626806"/>
                <a:gd name="connsiteY696" fmla="*/ 2437339 h 3905171"/>
                <a:gd name="connsiteX697" fmla="*/ 1259933 w 2626806"/>
                <a:gd name="connsiteY697" fmla="*/ 2450509 h 3905171"/>
                <a:gd name="connsiteX698" fmla="*/ 1832829 w 2626806"/>
                <a:gd name="connsiteY698" fmla="*/ 2452704 h 3905171"/>
                <a:gd name="connsiteX699" fmla="*/ 1826244 w 2626806"/>
                <a:gd name="connsiteY699" fmla="*/ 2446119 h 3905171"/>
                <a:gd name="connsiteX700" fmla="*/ 1832829 w 2626806"/>
                <a:gd name="connsiteY700" fmla="*/ 2439534 h 3905171"/>
                <a:gd name="connsiteX701" fmla="*/ 1839414 w 2626806"/>
                <a:gd name="connsiteY701" fmla="*/ 2446119 h 3905171"/>
                <a:gd name="connsiteX702" fmla="*/ 1832829 w 2626806"/>
                <a:gd name="connsiteY702" fmla="*/ 2452704 h 3905171"/>
                <a:gd name="connsiteX703" fmla="*/ 2074279 w 2626806"/>
                <a:gd name="connsiteY703" fmla="*/ 2465874 h 3905171"/>
                <a:gd name="connsiteX704" fmla="*/ 2073456 w 2626806"/>
                <a:gd name="connsiteY704" fmla="*/ 2463130 h 3905171"/>
                <a:gd name="connsiteX705" fmla="*/ 2074279 w 2626806"/>
                <a:gd name="connsiteY705" fmla="*/ 2463679 h 3905171"/>
                <a:gd name="connsiteX706" fmla="*/ 2074279 w 2626806"/>
                <a:gd name="connsiteY706" fmla="*/ 2465874 h 3905171"/>
                <a:gd name="connsiteX707" fmla="*/ 924097 w 2626806"/>
                <a:gd name="connsiteY707" fmla="*/ 2476849 h 3905171"/>
                <a:gd name="connsiteX708" fmla="*/ 899953 w 2626806"/>
                <a:gd name="connsiteY708" fmla="*/ 2452704 h 3905171"/>
                <a:gd name="connsiteX709" fmla="*/ 924097 w 2626806"/>
                <a:gd name="connsiteY709" fmla="*/ 2428558 h 3905171"/>
                <a:gd name="connsiteX710" fmla="*/ 948242 w 2626806"/>
                <a:gd name="connsiteY710" fmla="*/ 2452704 h 3905171"/>
                <a:gd name="connsiteX711" fmla="*/ 924097 w 2626806"/>
                <a:gd name="connsiteY711" fmla="*/ 2476849 h 3905171"/>
                <a:gd name="connsiteX712" fmla="*/ 597041 w 2626806"/>
                <a:gd name="connsiteY712" fmla="*/ 2485629 h 3905171"/>
                <a:gd name="connsiteX713" fmla="*/ 575091 w 2626806"/>
                <a:gd name="connsiteY713" fmla="*/ 2463679 h 3905171"/>
                <a:gd name="connsiteX714" fmla="*/ 597041 w 2626806"/>
                <a:gd name="connsiteY714" fmla="*/ 2441729 h 3905171"/>
                <a:gd name="connsiteX715" fmla="*/ 618991 w 2626806"/>
                <a:gd name="connsiteY715" fmla="*/ 2463679 h 3905171"/>
                <a:gd name="connsiteX716" fmla="*/ 597041 w 2626806"/>
                <a:gd name="connsiteY716" fmla="*/ 2485629 h 3905171"/>
                <a:gd name="connsiteX717" fmla="*/ 1472848 w 2626806"/>
                <a:gd name="connsiteY717" fmla="*/ 2490019 h 3905171"/>
                <a:gd name="connsiteX718" fmla="*/ 1464068 w 2626806"/>
                <a:gd name="connsiteY718" fmla="*/ 2481239 h 3905171"/>
                <a:gd name="connsiteX719" fmla="*/ 1472848 w 2626806"/>
                <a:gd name="connsiteY719" fmla="*/ 2472459 h 3905171"/>
                <a:gd name="connsiteX720" fmla="*/ 1481628 w 2626806"/>
                <a:gd name="connsiteY720" fmla="*/ 2481239 h 3905171"/>
                <a:gd name="connsiteX721" fmla="*/ 1472848 w 2626806"/>
                <a:gd name="connsiteY721" fmla="*/ 2490019 h 3905171"/>
                <a:gd name="connsiteX722" fmla="*/ 274376 w 2626806"/>
                <a:gd name="connsiteY722" fmla="*/ 2494409 h 3905171"/>
                <a:gd name="connsiteX723" fmla="*/ 250230 w 2626806"/>
                <a:gd name="connsiteY723" fmla="*/ 2470264 h 3905171"/>
                <a:gd name="connsiteX724" fmla="*/ 274376 w 2626806"/>
                <a:gd name="connsiteY724" fmla="*/ 2446119 h 3905171"/>
                <a:gd name="connsiteX725" fmla="*/ 298521 w 2626806"/>
                <a:gd name="connsiteY725" fmla="*/ 2470264 h 3905171"/>
                <a:gd name="connsiteX726" fmla="*/ 274376 w 2626806"/>
                <a:gd name="connsiteY726" fmla="*/ 2494409 h 3905171"/>
                <a:gd name="connsiteX727" fmla="*/ 1126038 w 2626806"/>
                <a:gd name="connsiteY727" fmla="*/ 2522944 h 3905171"/>
                <a:gd name="connsiteX728" fmla="*/ 1104088 w 2626806"/>
                <a:gd name="connsiteY728" fmla="*/ 2500994 h 3905171"/>
                <a:gd name="connsiteX729" fmla="*/ 1126038 w 2626806"/>
                <a:gd name="connsiteY729" fmla="*/ 2479044 h 3905171"/>
                <a:gd name="connsiteX730" fmla="*/ 1147987 w 2626806"/>
                <a:gd name="connsiteY730" fmla="*/ 2500994 h 3905171"/>
                <a:gd name="connsiteX731" fmla="*/ 1126038 w 2626806"/>
                <a:gd name="connsiteY731" fmla="*/ 2522944 h 3905171"/>
                <a:gd name="connsiteX732" fmla="*/ 1694544 w 2626806"/>
                <a:gd name="connsiteY732" fmla="*/ 2522944 h 3905171"/>
                <a:gd name="connsiteX733" fmla="*/ 1685764 w 2626806"/>
                <a:gd name="connsiteY733" fmla="*/ 2514164 h 3905171"/>
                <a:gd name="connsiteX734" fmla="*/ 1694544 w 2626806"/>
                <a:gd name="connsiteY734" fmla="*/ 2505384 h 3905171"/>
                <a:gd name="connsiteX735" fmla="*/ 1703324 w 2626806"/>
                <a:gd name="connsiteY735" fmla="*/ 2514164 h 3905171"/>
                <a:gd name="connsiteX736" fmla="*/ 1694544 w 2626806"/>
                <a:gd name="connsiteY736" fmla="*/ 2522944 h 3905171"/>
                <a:gd name="connsiteX737" fmla="*/ 1931604 w 2626806"/>
                <a:gd name="connsiteY737" fmla="*/ 2542699 h 3905171"/>
                <a:gd name="connsiteX738" fmla="*/ 1925019 w 2626806"/>
                <a:gd name="connsiteY738" fmla="*/ 2536114 h 3905171"/>
                <a:gd name="connsiteX739" fmla="*/ 1931604 w 2626806"/>
                <a:gd name="connsiteY739" fmla="*/ 2529529 h 3905171"/>
                <a:gd name="connsiteX740" fmla="*/ 1938189 w 2626806"/>
                <a:gd name="connsiteY740" fmla="*/ 2536114 h 3905171"/>
                <a:gd name="connsiteX741" fmla="*/ 1931604 w 2626806"/>
                <a:gd name="connsiteY741" fmla="*/ 2542699 h 3905171"/>
                <a:gd name="connsiteX742" fmla="*/ 2181835 w 2626806"/>
                <a:gd name="connsiteY742" fmla="*/ 2544894 h 3905171"/>
                <a:gd name="connsiteX743" fmla="*/ 2179639 w 2626806"/>
                <a:gd name="connsiteY743" fmla="*/ 2542699 h 3905171"/>
                <a:gd name="connsiteX744" fmla="*/ 2181835 w 2626806"/>
                <a:gd name="connsiteY744" fmla="*/ 2540504 h 3905171"/>
                <a:gd name="connsiteX745" fmla="*/ 2184030 w 2626806"/>
                <a:gd name="connsiteY745" fmla="*/ 2542699 h 3905171"/>
                <a:gd name="connsiteX746" fmla="*/ 2181835 w 2626806"/>
                <a:gd name="connsiteY746" fmla="*/ 2544894 h 3905171"/>
                <a:gd name="connsiteX747" fmla="*/ 790202 w 2626806"/>
                <a:gd name="connsiteY747" fmla="*/ 2549284 h 3905171"/>
                <a:gd name="connsiteX748" fmla="*/ 757277 w 2626806"/>
                <a:gd name="connsiteY748" fmla="*/ 2516359 h 3905171"/>
                <a:gd name="connsiteX749" fmla="*/ 790202 w 2626806"/>
                <a:gd name="connsiteY749" fmla="*/ 2483434 h 3905171"/>
                <a:gd name="connsiteX750" fmla="*/ 823127 w 2626806"/>
                <a:gd name="connsiteY750" fmla="*/ 2516359 h 3905171"/>
                <a:gd name="connsiteX751" fmla="*/ 790202 w 2626806"/>
                <a:gd name="connsiteY751" fmla="*/ 2549284 h 3905171"/>
                <a:gd name="connsiteX752" fmla="*/ 463146 w 2626806"/>
                <a:gd name="connsiteY752" fmla="*/ 2553674 h 3905171"/>
                <a:gd name="connsiteX753" fmla="*/ 436806 w 2626806"/>
                <a:gd name="connsiteY753" fmla="*/ 2527334 h 3905171"/>
                <a:gd name="connsiteX754" fmla="*/ 463146 w 2626806"/>
                <a:gd name="connsiteY754" fmla="*/ 2500994 h 3905171"/>
                <a:gd name="connsiteX755" fmla="*/ 489487 w 2626806"/>
                <a:gd name="connsiteY755" fmla="*/ 2527334 h 3905171"/>
                <a:gd name="connsiteX756" fmla="*/ 463146 w 2626806"/>
                <a:gd name="connsiteY756" fmla="*/ 2553674 h 3905171"/>
                <a:gd name="connsiteX757" fmla="*/ 1336757 w 2626806"/>
                <a:gd name="connsiteY757" fmla="*/ 2562454 h 3905171"/>
                <a:gd name="connsiteX758" fmla="*/ 1321393 w 2626806"/>
                <a:gd name="connsiteY758" fmla="*/ 2547089 h 3905171"/>
                <a:gd name="connsiteX759" fmla="*/ 1336757 w 2626806"/>
                <a:gd name="connsiteY759" fmla="*/ 2531724 h 3905171"/>
                <a:gd name="connsiteX760" fmla="*/ 1352123 w 2626806"/>
                <a:gd name="connsiteY760" fmla="*/ 2547089 h 3905171"/>
                <a:gd name="connsiteX761" fmla="*/ 1336757 w 2626806"/>
                <a:gd name="connsiteY761" fmla="*/ 2562454 h 3905171"/>
                <a:gd name="connsiteX762" fmla="*/ 1556258 w 2626806"/>
                <a:gd name="connsiteY762" fmla="*/ 2593185 h 3905171"/>
                <a:gd name="connsiteX763" fmla="*/ 1545283 w 2626806"/>
                <a:gd name="connsiteY763" fmla="*/ 2582209 h 3905171"/>
                <a:gd name="connsiteX764" fmla="*/ 1556258 w 2626806"/>
                <a:gd name="connsiteY764" fmla="*/ 2571234 h 3905171"/>
                <a:gd name="connsiteX765" fmla="*/ 1567234 w 2626806"/>
                <a:gd name="connsiteY765" fmla="*/ 2582209 h 3905171"/>
                <a:gd name="connsiteX766" fmla="*/ 1556258 w 2626806"/>
                <a:gd name="connsiteY766" fmla="*/ 2593185 h 3905171"/>
                <a:gd name="connsiteX767" fmla="*/ 992142 w 2626806"/>
                <a:gd name="connsiteY767" fmla="*/ 2601965 h 3905171"/>
                <a:gd name="connsiteX768" fmla="*/ 957022 w 2626806"/>
                <a:gd name="connsiteY768" fmla="*/ 2566844 h 3905171"/>
                <a:gd name="connsiteX769" fmla="*/ 992142 w 2626806"/>
                <a:gd name="connsiteY769" fmla="*/ 2531724 h 3905171"/>
                <a:gd name="connsiteX770" fmla="*/ 1027262 w 2626806"/>
                <a:gd name="connsiteY770" fmla="*/ 2566844 h 3905171"/>
                <a:gd name="connsiteX771" fmla="*/ 992142 w 2626806"/>
                <a:gd name="connsiteY771" fmla="*/ 2601965 h 3905171"/>
                <a:gd name="connsiteX772" fmla="*/ 656306 w 2626806"/>
                <a:gd name="connsiteY772" fmla="*/ 2617330 h 3905171"/>
                <a:gd name="connsiteX773" fmla="*/ 618991 w 2626806"/>
                <a:gd name="connsiteY773" fmla="*/ 2580014 h 3905171"/>
                <a:gd name="connsiteX774" fmla="*/ 656306 w 2626806"/>
                <a:gd name="connsiteY774" fmla="*/ 2542699 h 3905171"/>
                <a:gd name="connsiteX775" fmla="*/ 693621 w 2626806"/>
                <a:gd name="connsiteY775" fmla="*/ 2580014 h 3905171"/>
                <a:gd name="connsiteX776" fmla="*/ 656306 w 2626806"/>
                <a:gd name="connsiteY776" fmla="*/ 2617330 h 3905171"/>
                <a:gd name="connsiteX777" fmla="*/ 1788929 w 2626806"/>
                <a:gd name="connsiteY777" fmla="*/ 2617330 h 3905171"/>
                <a:gd name="connsiteX778" fmla="*/ 1780149 w 2626806"/>
                <a:gd name="connsiteY778" fmla="*/ 2608549 h 3905171"/>
                <a:gd name="connsiteX779" fmla="*/ 1788929 w 2626806"/>
                <a:gd name="connsiteY779" fmla="*/ 2599769 h 3905171"/>
                <a:gd name="connsiteX780" fmla="*/ 1797709 w 2626806"/>
                <a:gd name="connsiteY780" fmla="*/ 2608549 h 3905171"/>
                <a:gd name="connsiteX781" fmla="*/ 1788929 w 2626806"/>
                <a:gd name="connsiteY781" fmla="*/ 2617330 h 3905171"/>
                <a:gd name="connsiteX782" fmla="*/ 329251 w 2626806"/>
                <a:gd name="connsiteY782" fmla="*/ 2619524 h 3905171"/>
                <a:gd name="connsiteX783" fmla="*/ 300715 w 2626806"/>
                <a:gd name="connsiteY783" fmla="*/ 2590989 h 3905171"/>
                <a:gd name="connsiteX784" fmla="*/ 329251 w 2626806"/>
                <a:gd name="connsiteY784" fmla="*/ 2562454 h 3905171"/>
                <a:gd name="connsiteX785" fmla="*/ 357786 w 2626806"/>
                <a:gd name="connsiteY785" fmla="*/ 2590989 h 3905171"/>
                <a:gd name="connsiteX786" fmla="*/ 329251 w 2626806"/>
                <a:gd name="connsiteY786" fmla="*/ 2619524 h 3905171"/>
                <a:gd name="connsiteX787" fmla="*/ 2034770 w 2626806"/>
                <a:gd name="connsiteY787" fmla="*/ 2626110 h 3905171"/>
                <a:gd name="connsiteX788" fmla="*/ 2028184 w 2626806"/>
                <a:gd name="connsiteY788" fmla="*/ 2619524 h 3905171"/>
                <a:gd name="connsiteX789" fmla="*/ 2034770 w 2626806"/>
                <a:gd name="connsiteY789" fmla="*/ 2612940 h 3905171"/>
                <a:gd name="connsiteX790" fmla="*/ 2041355 w 2626806"/>
                <a:gd name="connsiteY790" fmla="*/ 2619524 h 3905171"/>
                <a:gd name="connsiteX791" fmla="*/ 2034770 w 2626806"/>
                <a:gd name="connsiteY791" fmla="*/ 2626110 h 3905171"/>
                <a:gd name="connsiteX792" fmla="*/ 1200668 w 2626806"/>
                <a:gd name="connsiteY792" fmla="*/ 2632694 h 3905171"/>
                <a:gd name="connsiteX793" fmla="*/ 1178718 w 2626806"/>
                <a:gd name="connsiteY793" fmla="*/ 2610745 h 3905171"/>
                <a:gd name="connsiteX794" fmla="*/ 1200668 w 2626806"/>
                <a:gd name="connsiteY794" fmla="*/ 2588795 h 3905171"/>
                <a:gd name="connsiteX795" fmla="*/ 1222618 w 2626806"/>
                <a:gd name="connsiteY795" fmla="*/ 2610745 h 3905171"/>
                <a:gd name="connsiteX796" fmla="*/ 1200668 w 2626806"/>
                <a:gd name="connsiteY796" fmla="*/ 2632694 h 3905171"/>
                <a:gd name="connsiteX797" fmla="*/ 858247 w 2626806"/>
                <a:gd name="connsiteY797" fmla="*/ 2663425 h 3905171"/>
                <a:gd name="connsiteX798" fmla="*/ 825322 w 2626806"/>
                <a:gd name="connsiteY798" fmla="*/ 2630500 h 3905171"/>
                <a:gd name="connsiteX799" fmla="*/ 858247 w 2626806"/>
                <a:gd name="connsiteY799" fmla="*/ 2597575 h 3905171"/>
                <a:gd name="connsiteX800" fmla="*/ 891173 w 2626806"/>
                <a:gd name="connsiteY800" fmla="*/ 2630500 h 3905171"/>
                <a:gd name="connsiteX801" fmla="*/ 858247 w 2626806"/>
                <a:gd name="connsiteY801" fmla="*/ 2663425 h 3905171"/>
                <a:gd name="connsiteX802" fmla="*/ 1417973 w 2626806"/>
                <a:gd name="connsiteY802" fmla="*/ 2665619 h 3905171"/>
                <a:gd name="connsiteX803" fmla="*/ 1402608 w 2626806"/>
                <a:gd name="connsiteY803" fmla="*/ 2650254 h 3905171"/>
                <a:gd name="connsiteX804" fmla="*/ 1417973 w 2626806"/>
                <a:gd name="connsiteY804" fmla="*/ 2634889 h 3905171"/>
                <a:gd name="connsiteX805" fmla="*/ 1433338 w 2626806"/>
                <a:gd name="connsiteY805" fmla="*/ 2650254 h 3905171"/>
                <a:gd name="connsiteX806" fmla="*/ 1417973 w 2626806"/>
                <a:gd name="connsiteY806" fmla="*/ 2665619 h 3905171"/>
                <a:gd name="connsiteX807" fmla="*/ 2414506 w 2626806"/>
                <a:gd name="connsiteY807" fmla="*/ 2670010 h 3905171"/>
                <a:gd name="connsiteX808" fmla="*/ 2412311 w 2626806"/>
                <a:gd name="connsiteY808" fmla="*/ 2667815 h 3905171"/>
                <a:gd name="connsiteX809" fmla="*/ 2414506 w 2626806"/>
                <a:gd name="connsiteY809" fmla="*/ 2665619 h 3905171"/>
                <a:gd name="connsiteX810" fmla="*/ 2416700 w 2626806"/>
                <a:gd name="connsiteY810" fmla="*/ 2667815 h 3905171"/>
                <a:gd name="connsiteX811" fmla="*/ 2414506 w 2626806"/>
                <a:gd name="connsiteY811" fmla="*/ 2670010 h 3905171"/>
                <a:gd name="connsiteX812" fmla="*/ 522412 w 2626806"/>
                <a:gd name="connsiteY812" fmla="*/ 2672205 h 3905171"/>
                <a:gd name="connsiteX813" fmla="*/ 496071 w 2626806"/>
                <a:gd name="connsiteY813" fmla="*/ 2645865 h 3905171"/>
                <a:gd name="connsiteX814" fmla="*/ 522412 w 2626806"/>
                <a:gd name="connsiteY814" fmla="*/ 2619524 h 3905171"/>
                <a:gd name="connsiteX815" fmla="*/ 548752 w 2626806"/>
                <a:gd name="connsiteY815" fmla="*/ 2645865 h 3905171"/>
                <a:gd name="connsiteX816" fmla="*/ 522412 w 2626806"/>
                <a:gd name="connsiteY816" fmla="*/ 2672205 h 3905171"/>
                <a:gd name="connsiteX817" fmla="*/ 195356 w 2626806"/>
                <a:gd name="connsiteY817" fmla="*/ 2674399 h 3905171"/>
                <a:gd name="connsiteX818" fmla="*/ 175600 w 2626806"/>
                <a:gd name="connsiteY818" fmla="*/ 2654644 h 3905171"/>
                <a:gd name="connsiteX819" fmla="*/ 195356 w 2626806"/>
                <a:gd name="connsiteY819" fmla="*/ 2634889 h 3905171"/>
                <a:gd name="connsiteX820" fmla="*/ 215111 w 2626806"/>
                <a:gd name="connsiteY820" fmla="*/ 2654644 h 3905171"/>
                <a:gd name="connsiteX821" fmla="*/ 195356 w 2626806"/>
                <a:gd name="connsiteY821" fmla="*/ 2674399 h 3905171"/>
                <a:gd name="connsiteX822" fmla="*/ 1648449 w 2626806"/>
                <a:gd name="connsiteY822" fmla="*/ 2691960 h 3905171"/>
                <a:gd name="connsiteX823" fmla="*/ 1635279 w 2626806"/>
                <a:gd name="connsiteY823" fmla="*/ 2678790 h 3905171"/>
                <a:gd name="connsiteX824" fmla="*/ 1648449 w 2626806"/>
                <a:gd name="connsiteY824" fmla="*/ 2665619 h 3905171"/>
                <a:gd name="connsiteX825" fmla="*/ 1661619 w 2626806"/>
                <a:gd name="connsiteY825" fmla="*/ 2678790 h 3905171"/>
                <a:gd name="connsiteX826" fmla="*/ 1648449 w 2626806"/>
                <a:gd name="connsiteY826" fmla="*/ 2691960 h 3905171"/>
                <a:gd name="connsiteX827" fmla="*/ 2144518 w 2626806"/>
                <a:gd name="connsiteY827" fmla="*/ 2700740 h 3905171"/>
                <a:gd name="connsiteX828" fmla="*/ 2137934 w 2626806"/>
                <a:gd name="connsiteY828" fmla="*/ 2694155 h 3905171"/>
                <a:gd name="connsiteX829" fmla="*/ 2144518 w 2626806"/>
                <a:gd name="connsiteY829" fmla="*/ 2687570 h 3905171"/>
                <a:gd name="connsiteX830" fmla="*/ 2151104 w 2626806"/>
                <a:gd name="connsiteY830" fmla="*/ 2694155 h 3905171"/>
                <a:gd name="connsiteX831" fmla="*/ 2144518 w 2626806"/>
                <a:gd name="connsiteY831" fmla="*/ 2700740 h 3905171"/>
                <a:gd name="connsiteX832" fmla="*/ 1889899 w 2626806"/>
                <a:gd name="connsiteY832" fmla="*/ 2705129 h 3905171"/>
                <a:gd name="connsiteX833" fmla="*/ 1878924 w 2626806"/>
                <a:gd name="connsiteY833" fmla="*/ 2694154 h 3905171"/>
                <a:gd name="connsiteX834" fmla="*/ 1889899 w 2626806"/>
                <a:gd name="connsiteY834" fmla="*/ 2683179 h 3905171"/>
                <a:gd name="connsiteX835" fmla="*/ 1900874 w 2626806"/>
                <a:gd name="connsiteY835" fmla="*/ 2694154 h 3905171"/>
                <a:gd name="connsiteX836" fmla="*/ 1889899 w 2626806"/>
                <a:gd name="connsiteY836" fmla="*/ 2705129 h 3905171"/>
                <a:gd name="connsiteX837" fmla="*/ 1064577 w 2626806"/>
                <a:gd name="connsiteY837" fmla="*/ 2711715 h 3905171"/>
                <a:gd name="connsiteX838" fmla="*/ 1029457 w 2626806"/>
                <a:gd name="connsiteY838" fmla="*/ 2676595 h 3905171"/>
                <a:gd name="connsiteX839" fmla="*/ 1064577 w 2626806"/>
                <a:gd name="connsiteY839" fmla="*/ 2641475 h 3905171"/>
                <a:gd name="connsiteX840" fmla="*/ 1099698 w 2626806"/>
                <a:gd name="connsiteY840" fmla="*/ 2676595 h 3905171"/>
                <a:gd name="connsiteX841" fmla="*/ 1064577 w 2626806"/>
                <a:gd name="connsiteY841" fmla="*/ 2711715 h 3905171"/>
                <a:gd name="connsiteX842" fmla="*/ 2539620 w 2626806"/>
                <a:gd name="connsiteY842" fmla="*/ 2716105 h 3905171"/>
                <a:gd name="connsiteX843" fmla="*/ 2538797 w 2626806"/>
                <a:gd name="connsiteY843" fmla="*/ 2713362 h 3905171"/>
                <a:gd name="connsiteX844" fmla="*/ 2539620 w 2626806"/>
                <a:gd name="connsiteY844" fmla="*/ 2713910 h 3905171"/>
                <a:gd name="connsiteX845" fmla="*/ 2539620 w 2626806"/>
                <a:gd name="connsiteY845" fmla="*/ 2716105 h 3905171"/>
                <a:gd name="connsiteX846" fmla="*/ 722156 w 2626806"/>
                <a:gd name="connsiteY846" fmla="*/ 2733665 h 3905171"/>
                <a:gd name="connsiteX847" fmla="*/ 682647 w 2626806"/>
                <a:gd name="connsiteY847" fmla="*/ 2694155 h 3905171"/>
                <a:gd name="connsiteX848" fmla="*/ 722156 w 2626806"/>
                <a:gd name="connsiteY848" fmla="*/ 2654645 h 3905171"/>
                <a:gd name="connsiteX849" fmla="*/ 761667 w 2626806"/>
                <a:gd name="connsiteY849" fmla="*/ 2694155 h 3905171"/>
                <a:gd name="connsiteX850" fmla="*/ 722156 w 2626806"/>
                <a:gd name="connsiteY850" fmla="*/ 2733665 h 3905171"/>
                <a:gd name="connsiteX851" fmla="*/ 390711 w 2626806"/>
                <a:gd name="connsiteY851" fmla="*/ 2740250 h 3905171"/>
                <a:gd name="connsiteX852" fmla="*/ 359981 w 2626806"/>
                <a:gd name="connsiteY852" fmla="*/ 2709519 h 3905171"/>
                <a:gd name="connsiteX853" fmla="*/ 390711 w 2626806"/>
                <a:gd name="connsiteY853" fmla="*/ 2678789 h 3905171"/>
                <a:gd name="connsiteX854" fmla="*/ 421441 w 2626806"/>
                <a:gd name="connsiteY854" fmla="*/ 2709519 h 3905171"/>
                <a:gd name="connsiteX855" fmla="*/ 390711 w 2626806"/>
                <a:gd name="connsiteY855" fmla="*/ 2740250 h 3905171"/>
                <a:gd name="connsiteX856" fmla="*/ 1281883 w 2626806"/>
                <a:gd name="connsiteY856" fmla="*/ 2742444 h 3905171"/>
                <a:gd name="connsiteX857" fmla="*/ 1255543 w 2626806"/>
                <a:gd name="connsiteY857" fmla="*/ 2716104 h 3905171"/>
                <a:gd name="connsiteX858" fmla="*/ 1281883 w 2626806"/>
                <a:gd name="connsiteY858" fmla="*/ 2689764 h 3905171"/>
                <a:gd name="connsiteX859" fmla="*/ 1308223 w 2626806"/>
                <a:gd name="connsiteY859" fmla="*/ 2716104 h 3905171"/>
                <a:gd name="connsiteX860" fmla="*/ 1281883 w 2626806"/>
                <a:gd name="connsiteY860" fmla="*/ 2742444 h 3905171"/>
                <a:gd name="connsiteX861" fmla="*/ 2260855 w 2626806"/>
                <a:gd name="connsiteY861" fmla="*/ 2764395 h 3905171"/>
                <a:gd name="connsiteX862" fmla="*/ 2256465 w 2626806"/>
                <a:gd name="connsiteY862" fmla="*/ 2760004 h 3905171"/>
                <a:gd name="connsiteX863" fmla="*/ 2260855 w 2626806"/>
                <a:gd name="connsiteY863" fmla="*/ 2755614 h 3905171"/>
                <a:gd name="connsiteX864" fmla="*/ 2265245 w 2626806"/>
                <a:gd name="connsiteY864" fmla="*/ 2760004 h 3905171"/>
                <a:gd name="connsiteX865" fmla="*/ 2260855 w 2626806"/>
                <a:gd name="connsiteY865" fmla="*/ 2764395 h 3905171"/>
                <a:gd name="connsiteX866" fmla="*/ 1507968 w 2626806"/>
                <a:gd name="connsiteY866" fmla="*/ 2766589 h 3905171"/>
                <a:gd name="connsiteX867" fmla="*/ 1488214 w 2626806"/>
                <a:gd name="connsiteY867" fmla="*/ 2746834 h 3905171"/>
                <a:gd name="connsiteX868" fmla="*/ 1507968 w 2626806"/>
                <a:gd name="connsiteY868" fmla="*/ 2727079 h 3905171"/>
                <a:gd name="connsiteX869" fmla="*/ 1527723 w 2626806"/>
                <a:gd name="connsiteY869" fmla="*/ 2746834 h 3905171"/>
                <a:gd name="connsiteX870" fmla="*/ 1507968 w 2626806"/>
                <a:gd name="connsiteY870" fmla="*/ 2766589 h 3905171"/>
                <a:gd name="connsiteX871" fmla="*/ 930682 w 2626806"/>
                <a:gd name="connsiteY871" fmla="*/ 2777565 h 3905171"/>
                <a:gd name="connsiteX872" fmla="*/ 893367 w 2626806"/>
                <a:gd name="connsiteY872" fmla="*/ 2740250 h 3905171"/>
                <a:gd name="connsiteX873" fmla="*/ 930682 w 2626806"/>
                <a:gd name="connsiteY873" fmla="*/ 2702934 h 3905171"/>
                <a:gd name="connsiteX874" fmla="*/ 967997 w 2626806"/>
                <a:gd name="connsiteY874" fmla="*/ 2740250 h 3905171"/>
                <a:gd name="connsiteX875" fmla="*/ 930682 w 2626806"/>
                <a:gd name="connsiteY875" fmla="*/ 2777565 h 3905171"/>
                <a:gd name="connsiteX876" fmla="*/ 256816 w 2626806"/>
                <a:gd name="connsiteY876" fmla="*/ 2781955 h 3905171"/>
                <a:gd name="connsiteX877" fmla="*/ 248036 w 2626806"/>
                <a:gd name="connsiteY877" fmla="*/ 2773175 h 3905171"/>
                <a:gd name="connsiteX878" fmla="*/ 256816 w 2626806"/>
                <a:gd name="connsiteY878" fmla="*/ 2764395 h 3905171"/>
                <a:gd name="connsiteX879" fmla="*/ 265596 w 2626806"/>
                <a:gd name="connsiteY879" fmla="*/ 2773175 h 3905171"/>
                <a:gd name="connsiteX880" fmla="*/ 256816 w 2626806"/>
                <a:gd name="connsiteY880" fmla="*/ 2781955 h 3905171"/>
                <a:gd name="connsiteX881" fmla="*/ 1745028 w 2626806"/>
                <a:gd name="connsiteY881" fmla="*/ 2781955 h 3905171"/>
                <a:gd name="connsiteX882" fmla="*/ 1731859 w 2626806"/>
                <a:gd name="connsiteY882" fmla="*/ 2768785 h 3905171"/>
                <a:gd name="connsiteX883" fmla="*/ 1745028 w 2626806"/>
                <a:gd name="connsiteY883" fmla="*/ 2755614 h 3905171"/>
                <a:gd name="connsiteX884" fmla="*/ 1758198 w 2626806"/>
                <a:gd name="connsiteY884" fmla="*/ 2768785 h 3905171"/>
                <a:gd name="connsiteX885" fmla="*/ 1745028 w 2626806"/>
                <a:gd name="connsiteY885" fmla="*/ 2781955 h 3905171"/>
                <a:gd name="connsiteX886" fmla="*/ 1995259 w 2626806"/>
                <a:gd name="connsiteY886" fmla="*/ 2781955 h 3905171"/>
                <a:gd name="connsiteX887" fmla="*/ 1986479 w 2626806"/>
                <a:gd name="connsiteY887" fmla="*/ 2773175 h 3905171"/>
                <a:gd name="connsiteX888" fmla="*/ 1995259 w 2626806"/>
                <a:gd name="connsiteY888" fmla="*/ 2764395 h 3905171"/>
                <a:gd name="connsiteX889" fmla="*/ 2004039 w 2626806"/>
                <a:gd name="connsiteY889" fmla="*/ 2773175 h 3905171"/>
                <a:gd name="connsiteX890" fmla="*/ 1995259 w 2626806"/>
                <a:gd name="connsiteY890" fmla="*/ 2781955 h 3905171"/>
                <a:gd name="connsiteX891" fmla="*/ 588261 w 2626806"/>
                <a:gd name="connsiteY891" fmla="*/ 2795125 h 3905171"/>
                <a:gd name="connsiteX892" fmla="*/ 555336 w 2626806"/>
                <a:gd name="connsiteY892" fmla="*/ 2762199 h 3905171"/>
                <a:gd name="connsiteX893" fmla="*/ 588261 w 2626806"/>
                <a:gd name="connsiteY893" fmla="*/ 2729274 h 3905171"/>
                <a:gd name="connsiteX894" fmla="*/ 621186 w 2626806"/>
                <a:gd name="connsiteY894" fmla="*/ 2762199 h 3905171"/>
                <a:gd name="connsiteX895" fmla="*/ 588261 w 2626806"/>
                <a:gd name="connsiteY895" fmla="*/ 2795125 h 3905171"/>
                <a:gd name="connsiteX896" fmla="*/ 1145793 w 2626806"/>
                <a:gd name="connsiteY896" fmla="*/ 2817074 h 3905171"/>
                <a:gd name="connsiteX897" fmla="*/ 1110672 w 2626806"/>
                <a:gd name="connsiteY897" fmla="*/ 2781955 h 3905171"/>
                <a:gd name="connsiteX898" fmla="*/ 1145793 w 2626806"/>
                <a:gd name="connsiteY898" fmla="*/ 2746834 h 3905171"/>
                <a:gd name="connsiteX899" fmla="*/ 1180912 w 2626806"/>
                <a:gd name="connsiteY899" fmla="*/ 2781955 h 3905171"/>
                <a:gd name="connsiteX900" fmla="*/ 1145793 w 2626806"/>
                <a:gd name="connsiteY900" fmla="*/ 2817074 h 3905171"/>
                <a:gd name="connsiteX901" fmla="*/ 2381579 w 2626806"/>
                <a:gd name="connsiteY901" fmla="*/ 2823660 h 3905171"/>
                <a:gd name="connsiteX902" fmla="*/ 2372799 w 2626806"/>
                <a:gd name="connsiteY902" fmla="*/ 2814880 h 3905171"/>
                <a:gd name="connsiteX903" fmla="*/ 2381579 w 2626806"/>
                <a:gd name="connsiteY903" fmla="*/ 2806100 h 3905171"/>
                <a:gd name="connsiteX904" fmla="*/ 2390360 w 2626806"/>
                <a:gd name="connsiteY904" fmla="*/ 2814880 h 3905171"/>
                <a:gd name="connsiteX905" fmla="*/ 2381579 w 2626806"/>
                <a:gd name="connsiteY905" fmla="*/ 2823660 h 3905171"/>
                <a:gd name="connsiteX906" fmla="*/ 794592 w 2626806"/>
                <a:gd name="connsiteY906" fmla="*/ 2852195 h 3905171"/>
                <a:gd name="connsiteX907" fmla="*/ 748497 w 2626806"/>
                <a:gd name="connsiteY907" fmla="*/ 2806100 h 3905171"/>
                <a:gd name="connsiteX908" fmla="*/ 794592 w 2626806"/>
                <a:gd name="connsiteY908" fmla="*/ 2760004 h 3905171"/>
                <a:gd name="connsiteX909" fmla="*/ 840687 w 2626806"/>
                <a:gd name="connsiteY909" fmla="*/ 2806100 h 3905171"/>
                <a:gd name="connsiteX910" fmla="*/ 794592 w 2626806"/>
                <a:gd name="connsiteY910" fmla="*/ 2852195 h 3905171"/>
                <a:gd name="connsiteX911" fmla="*/ 1369682 w 2626806"/>
                <a:gd name="connsiteY911" fmla="*/ 2852195 h 3905171"/>
                <a:gd name="connsiteX912" fmla="*/ 1332367 w 2626806"/>
                <a:gd name="connsiteY912" fmla="*/ 2814880 h 3905171"/>
                <a:gd name="connsiteX913" fmla="*/ 1369682 w 2626806"/>
                <a:gd name="connsiteY913" fmla="*/ 2777565 h 3905171"/>
                <a:gd name="connsiteX914" fmla="*/ 1406998 w 2626806"/>
                <a:gd name="connsiteY914" fmla="*/ 2814880 h 3905171"/>
                <a:gd name="connsiteX915" fmla="*/ 1369682 w 2626806"/>
                <a:gd name="connsiteY915" fmla="*/ 2852195 h 3905171"/>
                <a:gd name="connsiteX916" fmla="*/ 2109399 w 2626806"/>
                <a:gd name="connsiteY916" fmla="*/ 2856585 h 3905171"/>
                <a:gd name="connsiteX917" fmla="*/ 2096230 w 2626806"/>
                <a:gd name="connsiteY917" fmla="*/ 2843415 h 3905171"/>
                <a:gd name="connsiteX918" fmla="*/ 2109399 w 2626806"/>
                <a:gd name="connsiteY918" fmla="*/ 2830245 h 3905171"/>
                <a:gd name="connsiteX919" fmla="*/ 2122570 w 2626806"/>
                <a:gd name="connsiteY919" fmla="*/ 2843415 h 3905171"/>
                <a:gd name="connsiteX920" fmla="*/ 2109399 w 2626806"/>
                <a:gd name="connsiteY920" fmla="*/ 2856585 h 3905171"/>
                <a:gd name="connsiteX921" fmla="*/ 454366 w 2626806"/>
                <a:gd name="connsiteY921" fmla="*/ 2858780 h 3905171"/>
                <a:gd name="connsiteX922" fmla="*/ 419246 w 2626806"/>
                <a:gd name="connsiteY922" fmla="*/ 2823660 h 3905171"/>
                <a:gd name="connsiteX923" fmla="*/ 454366 w 2626806"/>
                <a:gd name="connsiteY923" fmla="*/ 2788539 h 3905171"/>
                <a:gd name="connsiteX924" fmla="*/ 489487 w 2626806"/>
                <a:gd name="connsiteY924" fmla="*/ 2823660 h 3905171"/>
                <a:gd name="connsiteX925" fmla="*/ 454366 w 2626806"/>
                <a:gd name="connsiteY925" fmla="*/ 2858780 h 3905171"/>
                <a:gd name="connsiteX926" fmla="*/ 2506696 w 2626806"/>
                <a:gd name="connsiteY926" fmla="*/ 2867560 h 3905171"/>
                <a:gd name="connsiteX927" fmla="*/ 2497916 w 2626806"/>
                <a:gd name="connsiteY927" fmla="*/ 2858780 h 3905171"/>
                <a:gd name="connsiteX928" fmla="*/ 2506696 w 2626806"/>
                <a:gd name="connsiteY928" fmla="*/ 2849999 h 3905171"/>
                <a:gd name="connsiteX929" fmla="*/ 2515476 w 2626806"/>
                <a:gd name="connsiteY929" fmla="*/ 2858780 h 3905171"/>
                <a:gd name="connsiteX930" fmla="*/ 2506696 w 2626806"/>
                <a:gd name="connsiteY930" fmla="*/ 2867560 h 3905171"/>
                <a:gd name="connsiteX931" fmla="*/ 1604549 w 2626806"/>
                <a:gd name="connsiteY931" fmla="*/ 2869755 h 3905171"/>
                <a:gd name="connsiteX932" fmla="*/ 1576014 w 2626806"/>
                <a:gd name="connsiteY932" fmla="*/ 2841220 h 3905171"/>
                <a:gd name="connsiteX933" fmla="*/ 1604549 w 2626806"/>
                <a:gd name="connsiteY933" fmla="*/ 2812684 h 3905171"/>
                <a:gd name="connsiteX934" fmla="*/ 1633084 w 2626806"/>
                <a:gd name="connsiteY934" fmla="*/ 2841220 h 3905171"/>
                <a:gd name="connsiteX935" fmla="*/ 1604549 w 2626806"/>
                <a:gd name="connsiteY935" fmla="*/ 2869755 h 3905171"/>
                <a:gd name="connsiteX936" fmla="*/ 1850389 w 2626806"/>
                <a:gd name="connsiteY936" fmla="*/ 2874144 h 3905171"/>
                <a:gd name="connsiteX937" fmla="*/ 1826244 w 2626806"/>
                <a:gd name="connsiteY937" fmla="*/ 2849999 h 3905171"/>
                <a:gd name="connsiteX938" fmla="*/ 1850389 w 2626806"/>
                <a:gd name="connsiteY938" fmla="*/ 2825855 h 3905171"/>
                <a:gd name="connsiteX939" fmla="*/ 1874534 w 2626806"/>
                <a:gd name="connsiteY939" fmla="*/ 2849999 h 3905171"/>
                <a:gd name="connsiteX940" fmla="*/ 1850389 w 2626806"/>
                <a:gd name="connsiteY940" fmla="*/ 2874144 h 3905171"/>
                <a:gd name="connsiteX941" fmla="*/ 1009702 w 2626806"/>
                <a:gd name="connsiteY941" fmla="*/ 2891704 h 3905171"/>
                <a:gd name="connsiteX942" fmla="*/ 967997 w 2626806"/>
                <a:gd name="connsiteY942" fmla="*/ 2849999 h 3905171"/>
                <a:gd name="connsiteX943" fmla="*/ 1009702 w 2626806"/>
                <a:gd name="connsiteY943" fmla="*/ 2808294 h 3905171"/>
                <a:gd name="connsiteX944" fmla="*/ 1051407 w 2626806"/>
                <a:gd name="connsiteY944" fmla="*/ 2849999 h 3905171"/>
                <a:gd name="connsiteX945" fmla="*/ 1009702 w 2626806"/>
                <a:gd name="connsiteY945" fmla="*/ 2891704 h 3905171"/>
                <a:gd name="connsiteX946" fmla="*/ 2225735 w 2626806"/>
                <a:gd name="connsiteY946" fmla="*/ 2915850 h 3905171"/>
                <a:gd name="connsiteX947" fmla="*/ 2216954 w 2626806"/>
                <a:gd name="connsiteY947" fmla="*/ 2907069 h 3905171"/>
                <a:gd name="connsiteX948" fmla="*/ 2225735 w 2626806"/>
                <a:gd name="connsiteY948" fmla="*/ 2898290 h 3905171"/>
                <a:gd name="connsiteX949" fmla="*/ 2234515 w 2626806"/>
                <a:gd name="connsiteY949" fmla="*/ 2907069 h 3905171"/>
                <a:gd name="connsiteX950" fmla="*/ 2225735 w 2626806"/>
                <a:gd name="connsiteY950" fmla="*/ 2915850 h 3905171"/>
                <a:gd name="connsiteX951" fmla="*/ 320471 w 2626806"/>
                <a:gd name="connsiteY951" fmla="*/ 2918045 h 3905171"/>
                <a:gd name="connsiteX952" fmla="*/ 291936 w 2626806"/>
                <a:gd name="connsiteY952" fmla="*/ 2889510 h 3905171"/>
                <a:gd name="connsiteX953" fmla="*/ 320471 w 2626806"/>
                <a:gd name="connsiteY953" fmla="*/ 2860975 h 3905171"/>
                <a:gd name="connsiteX954" fmla="*/ 349006 w 2626806"/>
                <a:gd name="connsiteY954" fmla="*/ 2889510 h 3905171"/>
                <a:gd name="connsiteX955" fmla="*/ 320471 w 2626806"/>
                <a:gd name="connsiteY955" fmla="*/ 2918045 h 3905171"/>
                <a:gd name="connsiteX956" fmla="*/ 660696 w 2626806"/>
                <a:gd name="connsiteY956" fmla="*/ 2918045 h 3905171"/>
                <a:gd name="connsiteX957" fmla="*/ 614601 w 2626806"/>
                <a:gd name="connsiteY957" fmla="*/ 2871950 h 3905171"/>
                <a:gd name="connsiteX958" fmla="*/ 660696 w 2626806"/>
                <a:gd name="connsiteY958" fmla="*/ 2825855 h 3905171"/>
                <a:gd name="connsiteX959" fmla="*/ 706792 w 2626806"/>
                <a:gd name="connsiteY959" fmla="*/ 2871950 h 3905171"/>
                <a:gd name="connsiteX960" fmla="*/ 660696 w 2626806"/>
                <a:gd name="connsiteY960" fmla="*/ 2918045 h 3905171"/>
                <a:gd name="connsiteX961" fmla="*/ 1231398 w 2626806"/>
                <a:gd name="connsiteY961" fmla="*/ 2924630 h 3905171"/>
                <a:gd name="connsiteX962" fmla="*/ 1189693 w 2626806"/>
                <a:gd name="connsiteY962" fmla="*/ 2882925 h 3905171"/>
                <a:gd name="connsiteX963" fmla="*/ 1231398 w 2626806"/>
                <a:gd name="connsiteY963" fmla="*/ 2841220 h 3905171"/>
                <a:gd name="connsiteX964" fmla="*/ 1273103 w 2626806"/>
                <a:gd name="connsiteY964" fmla="*/ 2882925 h 3905171"/>
                <a:gd name="connsiteX965" fmla="*/ 1231398 w 2626806"/>
                <a:gd name="connsiteY965" fmla="*/ 2924630 h 3905171"/>
                <a:gd name="connsiteX966" fmla="*/ 1960140 w 2626806"/>
                <a:gd name="connsiteY966" fmla="*/ 2946580 h 3905171"/>
                <a:gd name="connsiteX967" fmla="*/ 1940384 w 2626806"/>
                <a:gd name="connsiteY967" fmla="*/ 2926825 h 3905171"/>
                <a:gd name="connsiteX968" fmla="*/ 1960140 w 2626806"/>
                <a:gd name="connsiteY968" fmla="*/ 2907069 h 3905171"/>
                <a:gd name="connsiteX969" fmla="*/ 1979894 w 2626806"/>
                <a:gd name="connsiteY969" fmla="*/ 2926825 h 3905171"/>
                <a:gd name="connsiteX970" fmla="*/ 1960140 w 2626806"/>
                <a:gd name="connsiteY970" fmla="*/ 2946580 h 3905171"/>
                <a:gd name="connsiteX971" fmla="*/ 1461873 w 2626806"/>
                <a:gd name="connsiteY971" fmla="*/ 2948775 h 3905171"/>
                <a:gd name="connsiteX972" fmla="*/ 1424558 w 2626806"/>
                <a:gd name="connsiteY972" fmla="*/ 2911460 h 3905171"/>
                <a:gd name="connsiteX973" fmla="*/ 1461873 w 2626806"/>
                <a:gd name="connsiteY973" fmla="*/ 2874144 h 3905171"/>
                <a:gd name="connsiteX974" fmla="*/ 1499188 w 2626806"/>
                <a:gd name="connsiteY974" fmla="*/ 2911460 h 3905171"/>
                <a:gd name="connsiteX975" fmla="*/ 1461873 w 2626806"/>
                <a:gd name="connsiteY975" fmla="*/ 2948775 h 3905171"/>
                <a:gd name="connsiteX976" fmla="*/ 1705519 w 2626806"/>
                <a:gd name="connsiteY976" fmla="*/ 2953165 h 3905171"/>
                <a:gd name="connsiteX977" fmla="*/ 1679178 w 2626806"/>
                <a:gd name="connsiteY977" fmla="*/ 2926825 h 3905171"/>
                <a:gd name="connsiteX978" fmla="*/ 1705519 w 2626806"/>
                <a:gd name="connsiteY978" fmla="*/ 2900485 h 3905171"/>
                <a:gd name="connsiteX979" fmla="*/ 1731859 w 2626806"/>
                <a:gd name="connsiteY979" fmla="*/ 2926825 h 3905171"/>
                <a:gd name="connsiteX980" fmla="*/ 1705519 w 2626806"/>
                <a:gd name="connsiteY980" fmla="*/ 2953165 h 3905171"/>
                <a:gd name="connsiteX981" fmla="*/ 873612 w 2626806"/>
                <a:gd name="connsiteY981" fmla="*/ 2961945 h 3905171"/>
                <a:gd name="connsiteX982" fmla="*/ 827517 w 2626806"/>
                <a:gd name="connsiteY982" fmla="*/ 2915850 h 3905171"/>
                <a:gd name="connsiteX983" fmla="*/ 873612 w 2626806"/>
                <a:gd name="connsiteY983" fmla="*/ 2869755 h 3905171"/>
                <a:gd name="connsiteX984" fmla="*/ 919708 w 2626806"/>
                <a:gd name="connsiteY984" fmla="*/ 2915850 h 3905171"/>
                <a:gd name="connsiteX985" fmla="*/ 873612 w 2626806"/>
                <a:gd name="connsiteY985" fmla="*/ 2961945 h 3905171"/>
                <a:gd name="connsiteX986" fmla="*/ 526802 w 2626806"/>
                <a:gd name="connsiteY986" fmla="*/ 2972920 h 3905171"/>
                <a:gd name="connsiteX987" fmla="*/ 491681 w 2626806"/>
                <a:gd name="connsiteY987" fmla="*/ 2937800 h 3905171"/>
                <a:gd name="connsiteX988" fmla="*/ 526802 w 2626806"/>
                <a:gd name="connsiteY988" fmla="*/ 2902680 h 3905171"/>
                <a:gd name="connsiteX989" fmla="*/ 561922 w 2626806"/>
                <a:gd name="connsiteY989" fmla="*/ 2937800 h 3905171"/>
                <a:gd name="connsiteX990" fmla="*/ 526802 w 2626806"/>
                <a:gd name="connsiteY990" fmla="*/ 2972920 h 3905171"/>
                <a:gd name="connsiteX991" fmla="*/ 2348655 w 2626806"/>
                <a:gd name="connsiteY991" fmla="*/ 2972920 h 3905171"/>
                <a:gd name="connsiteX992" fmla="*/ 2335485 w 2626806"/>
                <a:gd name="connsiteY992" fmla="*/ 2959750 h 3905171"/>
                <a:gd name="connsiteX993" fmla="*/ 2348655 w 2626806"/>
                <a:gd name="connsiteY993" fmla="*/ 2946580 h 3905171"/>
                <a:gd name="connsiteX994" fmla="*/ 2361825 w 2626806"/>
                <a:gd name="connsiteY994" fmla="*/ 2959750 h 3905171"/>
                <a:gd name="connsiteX995" fmla="*/ 2348655 w 2626806"/>
                <a:gd name="connsiteY995" fmla="*/ 2972920 h 3905171"/>
                <a:gd name="connsiteX996" fmla="*/ 1093112 w 2626806"/>
                <a:gd name="connsiteY996" fmla="*/ 2990480 h 3905171"/>
                <a:gd name="connsiteX997" fmla="*/ 1055797 w 2626806"/>
                <a:gd name="connsiteY997" fmla="*/ 2953165 h 3905171"/>
                <a:gd name="connsiteX998" fmla="*/ 1093112 w 2626806"/>
                <a:gd name="connsiteY998" fmla="*/ 2915850 h 3905171"/>
                <a:gd name="connsiteX999" fmla="*/ 1130428 w 2626806"/>
                <a:gd name="connsiteY999" fmla="*/ 2953165 h 3905171"/>
                <a:gd name="connsiteX1000" fmla="*/ 1093112 w 2626806"/>
                <a:gd name="connsiteY1000" fmla="*/ 2990480 h 3905171"/>
                <a:gd name="connsiteX1001" fmla="*/ 2074279 w 2626806"/>
                <a:gd name="connsiteY1001" fmla="*/ 3012430 h 3905171"/>
                <a:gd name="connsiteX1002" fmla="*/ 2056718 w 2626806"/>
                <a:gd name="connsiteY1002" fmla="*/ 2994870 h 3905171"/>
                <a:gd name="connsiteX1003" fmla="*/ 2074279 w 2626806"/>
                <a:gd name="connsiteY1003" fmla="*/ 2977311 h 3905171"/>
                <a:gd name="connsiteX1004" fmla="*/ 2091839 w 2626806"/>
                <a:gd name="connsiteY1004" fmla="*/ 2994870 h 3905171"/>
                <a:gd name="connsiteX1005" fmla="*/ 2074279 w 2626806"/>
                <a:gd name="connsiteY1005" fmla="*/ 3012430 h 3905171"/>
                <a:gd name="connsiteX1006" fmla="*/ 2473770 w 2626806"/>
                <a:gd name="connsiteY1006" fmla="*/ 3016820 h 3905171"/>
                <a:gd name="connsiteX1007" fmla="*/ 2460600 w 2626806"/>
                <a:gd name="connsiteY1007" fmla="*/ 3003649 h 3905171"/>
                <a:gd name="connsiteX1008" fmla="*/ 2473770 w 2626806"/>
                <a:gd name="connsiteY1008" fmla="*/ 2990480 h 3905171"/>
                <a:gd name="connsiteX1009" fmla="*/ 2486940 w 2626806"/>
                <a:gd name="connsiteY1009" fmla="*/ 3003649 h 3905171"/>
                <a:gd name="connsiteX1010" fmla="*/ 2473770 w 2626806"/>
                <a:gd name="connsiteY1010" fmla="*/ 3016820 h 3905171"/>
                <a:gd name="connsiteX1011" fmla="*/ 390711 w 2626806"/>
                <a:gd name="connsiteY1011" fmla="*/ 3021210 h 3905171"/>
                <a:gd name="connsiteX1012" fmla="*/ 370956 w 2626806"/>
                <a:gd name="connsiteY1012" fmla="*/ 3001455 h 3905171"/>
                <a:gd name="connsiteX1013" fmla="*/ 390711 w 2626806"/>
                <a:gd name="connsiteY1013" fmla="*/ 2981700 h 3905171"/>
                <a:gd name="connsiteX1014" fmla="*/ 410466 w 2626806"/>
                <a:gd name="connsiteY1014" fmla="*/ 3001455 h 3905171"/>
                <a:gd name="connsiteX1015" fmla="*/ 390711 w 2626806"/>
                <a:gd name="connsiteY1015" fmla="*/ 3021210 h 3905171"/>
                <a:gd name="connsiteX1016" fmla="*/ 1321393 w 2626806"/>
                <a:gd name="connsiteY1016" fmla="*/ 3023405 h 3905171"/>
                <a:gd name="connsiteX1017" fmla="*/ 1279688 w 2626806"/>
                <a:gd name="connsiteY1017" fmla="*/ 2981700 h 3905171"/>
                <a:gd name="connsiteX1018" fmla="*/ 1321393 w 2626806"/>
                <a:gd name="connsiteY1018" fmla="*/ 2939995 h 3905171"/>
                <a:gd name="connsiteX1019" fmla="*/ 1363099 w 2626806"/>
                <a:gd name="connsiteY1019" fmla="*/ 2981700 h 3905171"/>
                <a:gd name="connsiteX1020" fmla="*/ 1321393 w 2626806"/>
                <a:gd name="connsiteY1020" fmla="*/ 3023405 h 3905171"/>
                <a:gd name="connsiteX1021" fmla="*/ 737522 w 2626806"/>
                <a:gd name="connsiteY1021" fmla="*/ 3029990 h 3905171"/>
                <a:gd name="connsiteX1022" fmla="*/ 689232 w 2626806"/>
                <a:gd name="connsiteY1022" fmla="*/ 2981700 h 3905171"/>
                <a:gd name="connsiteX1023" fmla="*/ 737522 w 2626806"/>
                <a:gd name="connsiteY1023" fmla="*/ 2933410 h 3905171"/>
                <a:gd name="connsiteX1024" fmla="*/ 785812 w 2626806"/>
                <a:gd name="connsiteY1024" fmla="*/ 2981700 h 3905171"/>
                <a:gd name="connsiteX1025" fmla="*/ 737522 w 2626806"/>
                <a:gd name="connsiteY1025" fmla="*/ 3029990 h 3905171"/>
                <a:gd name="connsiteX1026" fmla="*/ 1810879 w 2626806"/>
                <a:gd name="connsiteY1026" fmla="*/ 3036575 h 3905171"/>
                <a:gd name="connsiteX1027" fmla="*/ 1780149 w 2626806"/>
                <a:gd name="connsiteY1027" fmla="*/ 3005846 h 3905171"/>
                <a:gd name="connsiteX1028" fmla="*/ 1810879 w 2626806"/>
                <a:gd name="connsiteY1028" fmla="*/ 2975115 h 3905171"/>
                <a:gd name="connsiteX1029" fmla="*/ 1841609 w 2626806"/>
                <a:gd name="connsiteY1029" fmla="*/ 3005846 h 3905171"/>
                <a:gd name="connsiteX1030" fmla="*/ 1810879 w 2626806"/>
                <a:gd name="connsiteY1030" fmla="*/ 3036575 h 3905171"/>
                <a:gd name="connsiteX1031" fmla="*/ 1560648 w 2626806"/>
                <a:gd name="connsiteY1031" fmla="*/ 3040965 h 3905171"/>
                <a:gd name="connsiteX1032" fmla="*/ 1521139 w 2626806"/>
                <a:gd name="connsiteY1032" fmla="*/ 3001455 h 3905171"/>
                <a:gd name="connsiteX1033" fmla="*/ 1560648 w 2626806"/>
                <a:gd name="connsiteY1033" fmla="*/ 2961945 h 3905171"/>
                <a:gd name="connsiteX1034" fmla="*/ 1600159 w 2626806"/>
                <a:gd name="connsiteY1034" fmla="*/ 3001455 h 3905171"/>
                <a:gd name="connsiteX1035" fmla="*/ 1560648 w 2626806"/>
                <a:gd name="connsiteY1035" fmla="*/ 3040965 h 3905171"/>
                <a:gd name="connsiteX1036" fmla="*/ 2601080 w 2626806"/>
                <a:gd name="connsiteY1036" fmla="*/ 3047550 h 3905171"/>
                <a:gd name="connsiteX1037" fmla="*/ 2592300 w 2626806"/>
                <a:gd name="connsiteY1037" fmla="*/ 3038769 h 3905171"/>
                <a:gd name="connsiteX1038" fmla="*/ 2601080 w 2626806"/>
                <a:gd name="connsiteY1038" fmla="*/ 3029990 h 3905171"/>
                <a:gd name="connsiteX1039" fmla="*/ 2609860 w 2626806"/>
                <a:gd name="connsiteY1039" fmla="*/ 3038769 h 3905171"/>
                <a:gd name="connsiteX1040" fmla="*/ 2601080 w 2626806"/>
                <a:gd name="connsiteY1040" fmla="*/ 3047550 h 3905171"/>
                <a:gd name="connsiteX1041" fmla="*/ 954827 w 2626806"/>
                <a:gd name="connsiteY1041" fmla="*/ 3062915 h 3905171"/>
                <a:gd name="connsiteX1042" fmla="*/ 910927 w 2626806"/>
                <a:gd name="connsiteY1042" fmla="*/ 3019016 h 3905171"/>
                <a:gd name="connsiteX1043" fmla="*/ 954827 w 2626806"/>
                <a:gd name="connsiteY1043" fmla="*/ 2975115 h 3905171"/>
                <a:gd name="connsiteX1044" fmla="*/ 998728 w 2626806"/>
                <a:gd name="connsiteY1044" fmla="*/ 3019016 h 3905171"/>
                <a:gd name="connsiteX1045" fmla="*/ 954827 w 2626806"/>
                <a:gd name="connsiteY1045" fmla="*/ 3062915 h 3905171"/>
                <a:gd name="connsiteX1046" fmla="*/ 2192810 w 2626806"/>
                <a:gd name="connsiteY1046" fmla="*/ 3071696 h 3905171"/>
                <a:gd name="connsiteX1047" fmla="*/ 2175250 w 2626806"/>
                <a:gd name="connsiteY1047" fmla="*/ 3054135 h 3905171"/>
                <a:gd name="connsiteX1048" fmla="*/ 2192810 w 2626806"/>
                <a:gd name="connsiteY1048" fmla="*/ 3036575 h 3905171"/>
                <a:gd name="connsiteX1049" fmla="*/ 2210370 w 2626806"/>
                <a:gd name="connsiteY1049" fmla="*/ 3054135 h 3905171"/>
                <a:gd name="connsiteX1050" fmla="*/ 2192810 w 2626806"/>
                <a:gd name="connsiteY1050" fmla="*/ 3071696 h 3905171"/>
                <a:gd name="connsiteX1051" fmla="*/ 1183108 w 2626806"/>
                <a:gd name="connsiteY1051" fmla="*/ 3093646 h 3905171"/>
                <a:gd name="connsiteX1052" fmla="*/ 1141403 w 2626806"/>
                <a:gd name="connsiteY1052" fmla="*/ 3051941 h 3905171"/>
                <a:gd name="connsiteX1053" fmla="*/ 1183108 w 2626806"/>
                <a:gd name="connsiteY1053" fmla="*/ 3010236 h 3905171"/>
                <a:gd name="connsiteX1054" fmla="*/ 1224813 w 2626806"/>
                <a:gd name="connsiteY1054" fmla="*/ 3051941 h 3905171"/>
                <a:gd name="connsiteX1055" fmla="*/ 1183108 w 2626806"/>
                <a:gd name="connsiteY1055" fmla="*/ 3093646 h 3905171"/>
                <a:gd name="connsiteX1056" fmla="*/ 601432 w 2626806"/>
                <a:gd name="connsiteY1056" fmla="*/ 3095840 h 3905171"/>
                <a:gd name="connsiteX1057" fmla="*/ 553142 w 2626806"/>
                <a:gd name="connsiteY1057" fmla="*/ 3047551 h 3905171"/>
                <a:gd name="connsiteX1058" fmla="*/ 601432 w 2626806"/>
                <a:gd name="connsiteY1058" fmla="*/ 2999260 h 3905171"/>
                <a:gd name="connsiteX1059" fmla="*/ 649722 w 2626806"/>
                <a:gd name="connsiteY1059" fmla="*/ 3047551 h 3905171"/>
                <a:gd name="connsiteX1060" fmla="*/ 601432 w 2626806"/>
                <a:gd name="connsiteY1060" fmla="*/ 3095840 h 3905171"/>
                <a:gd name="connsiteX1061" fmla="*/ 1922824 w 2626806"/>
                <a:gd name="connsiteY1061" fmla="*/ 3109010 h 3905171"/>
                <a:gd name="connsiteX1062" fmla="*/ 1894289 w 2626806"/>
                <a:gd name="connsiteY1062" fmla="*/ 3080475 h 3905171"/>
                <a:gd name="connsiteX1063" fmla="*/ 1922824 w 2626806"/>
                <a:gd name="connsiteY1063" fmla="*/ 3051940 h 3905171"/>
                <a:gd name="connsiteX1064" fmla="*/ 1951360 w 2626806"/>
                <a:gd name="connsiteY1064" fmla="*/ 3080475 h 3905171"/>
                <a:gd name="connsiteX1065" fmla="*/ 1922824 w 2626806"/>
                <a:gd name="connsiteY1065" fmla="*/ 3109010 h 3905171"/>
                <a:gd name="connsiteX1066" fmla="*/ 1417973 w 2626806"/>
                <a:gd name="connsiteY1066" fmla="*/ 3113401 h 3905171"/>
                <a:gd name="connsiteX1067" fmla="*/ 1376268 w 2626806"/>
                <a:gd name="connsiteY1067" fmla="*/ 3071696 h 3905171"/>
                <a:gd name="connsiteX1068" fmla="*/ 1417973 w 2626806"/>
                <a:gd name="connsiteY1068" fmla="*/ 3029990 h 3905171"/>
                <a:gd name="connsiteX1069" fmla="*/ 1459678 w 2626806"/>
                <a:gd name="connsiteY1069" fmla="*/ 3071696 h 3905171"/>
                <a:gd name="connsiteX1070" fmla="*/ 1417973 w 2626806"/>
                <a:gd name="connsiteY1070" fmla="*/ 3113401 h 3905171"/>
                <a:gd name="connsiteX1071" fmla="*/ 1666009 w 2626806"/>
                <a:gd name="connsiteY1071" fmla="*/ 3115596 h 3905171"/>
                <a:gd name="connsiteX1072" fmla="*/ 1633084 w 2626806"/>
                <a:gd name="connsiteY1072" fmla="*/ 3082670 h 3905171"/>
                <a:gd name="connsiteX1073" fmla="*/ 1666009 w 2626806"/>
                <a:gd name="connsiteY1073" fmla="*/ 3049745 h 3905171"/>
                <a:gd name="connsiteX1074" fmla="*/ 1698934 w 2626806"/>
                <a:gd name="connsiteY1074" fmla="*/ 3082670 h 3905171"/>
                <a:gd name="connsiteX1075" fmla="*/ 1666009 w 2626806"/>
                <a:gd name="connsiteY1075" fmla="*/ 3115596 h 3905171"/>
                <a:gd name="connsiteX1076" fmla="*/ 2313535 w 2626806"/>
                <a:gd name="connsiteY1076" fmla="*/ 3126571 h 3905171"/>
                <a:gd name="connsiteX1077" fmla="*/ 2291585 w 2626806"/>
                <a:gd name="connsiteY1077" fmla="*/ 3104621 h 3905171"/>
                <a:gd name="connsiteX1078" fmla="*/ 2313535 w 2626806"/>
                <a:gd name="connsiteY1078" fmla="*/ 3082670 h 3905171"/>
                <a:gd name="connsiteX1079" fmla="*/ 2335485 w 2626806"/>
                <a:gd name="connsiteY1079" fmla="*/ 3104621 h 3905171"/>
                <a:gd name="connsiteX1080" fmla="*/ 2313535 w 2626806"/>
                <a:gd name="connsiteY1080" fmla="*/ 3126571 h 3905171"/>
                <a:gd name="connsiteX1081" fmla="*/ 818737 w 2626806"/>
                <a:gd name="connsiteY1081" fmla="*/ 3133156 h 3905171"/>
                <a:gd name="connsiteX1082" fmla="*/ 770447 w 2626806"/>
                <a:gd name="connsiteY1082" fmla="*/ 3084866 h 3905171"/>
                <a:gd name="connsiteX1083" fmla="*/ 818737 w 2626806"/>
                <a:gd name="connsiteY1083" fmla="*/ 3036575 h 3905171"/>
                <a:gd name="connsiteX1084" fmla="*/ 867027 w 2626806"/>
                <a:gd name="connsiteY1084" fmla="*/ 3084866 h 3905171"/>
                <a:gd name="connsiteX1085" fmla="*/ 818737 w 2626806"/>
                <a:gd name="connsiteY1085" fmla="*/ 3133156 h 3905171"/>
                <a:gd name="connsiteX1086" fmla="*/ 465342 w 2626806"/>
                <a:gd name="connsiteY1086" fmla="*/ 3150716 h 3905171"/>
                <a:gd name="connsiteX1087" fmla="*/ 425831 w 2626806"/>
                <a:gd name="connsiteY1087" fmla="*/ 3111206 h 3905171"/>
                <a:gd name="connsiteX1088" fmla="*/ 465342 w 2626806"/>
                <a:gd name="connsiteY1088" fmla="*/ 3071696 h 3905171"/>
                <a:gd name="connsiteX1089" fmla="*/ 504851 w 2626806"/>
                <a:gd name="connsiteY1089" fmla="*/ 3111206 h 3905171"/>
                <a:gd name="connsiteX1090" fmla="*/ 465342 w 2626806"/>
                <a:gd name="connsiteY1090" fmla="*/ 3150716 h 3905171"/>
                <a:gd name="connsiteX1091" fmla="*/ 1042627 w 2626806"/>
                <a:gd name="connsiteY1091" fmla="*/ 3161690 h 3905171"/>
                <a:gd name="connsiteX1092" fmla="*/ 1000922 w 2626806"/>
                <a:gd name="connsiteY1092" fmla="*/ 3119985 h 3905171"/>
                <a:gd name="connsiteX1093" fmla="*/ 1042627 w 2626806"/>
                <a:gd name="connsiteY1093" fmla="*/ 3078280 h 3905171"/>
                <a:gd name="connsiteX1094" fmla="*/ 1084333 w 2626806"/>
                <a:gd name="connsiteY1094" fmla="*/ 3119985 h 3905171"/>
                <a:gd name="connsiteX1095" fmla="*/ 1042627 w 2626806"/>
                <a:gd name="connsiteY1095" fmla="*/ 3161690 h 3905171"/>
                <a:gd name="connsiteX1096" fmla="*/ 2440845 w 2626806"/>
                <a:gd name="connsiteY1096" fmla="*/ 3166081 h 3905171"/>
                <a:gd name="connsiteX1097" fmla="*/ 2423286 w 2626806"/>
                <a:gd name="connsiteY1097" fmla="*/ 3148520 h 3905171"/>
                <a:gd name="connsiteX1098" fmla="*/ 2440845 w 2626806"/>
                <a:gd name="connsiteY1098" fmla="*/ 3130960 h 3905171"/>
                <a:gd name="connsiteX1099" fmla="*/ 2458405 w 2626806"/>
                <a:gd name="connsiteY1099" fmla="*/ 3148520 h 3905171"/>
                <a:gd name="connsiteX1100" fmla="*/ 2440845 w 2626806"/>
                <a:gd name="connsiteY1100" fmla="*/ 3166081 h 3905171"/>
                <a:gd name="connsiteX1101" fmla="*/ 2039159 w 2626806"/>
                <a:gd name="connsiteY1101" fmla="*/ 3177055 h 3905171"/>
                <a:gd name="connsiteX1102" fmla="*/ 2006235 w 2626806"/>
                <a:gd name="connsiteY1102" fmla="*/ 3144130 h 3905171"/>
                <a:gd name="connsiteX1103" fmla="*/ 2039159 w 2626806"/>
                <a:gd name="connsiteY1103" fmla="*/ 3111205 h 3905171"/>
                <a:gd name="connsiteX1104" fmla="*/ 2072084 w 2626806"/>
                <a:gd name="connsiteY1104" fmla="*/ 3144130 h 3905171"/>
                <a:gd name="connsiteX1105" fmla="*/ 2039159 w 2626806"/>
                <a:gd name="connsiteY1105" fmla="*/ 3177055 h 3905171"/>
                <a:gd name="connsiteX1106" fmla="*/ 331446 w 2626806"/>
                <a:gd name="connsiteY1106" fmla="*/ 3181445 h 3905171"/>
                <a:gd name="connsiteX1107" fmla="*/ 327056 w 2626806"/>
                <a:gd name="connsiteY1107" fmla="*/ 3177055 h 3905171"/>
                <a:gd name="connsiteX1108" fmla="*/ 331446 w 2626806"/>
                <a:gd name="connsiteY1108" fmla="*/ 3172665 h 3905171"/>
                <a:gd name="connsiteX1109" fmla="*/ 335836 w 2626806"/>
                <a:gd name="connsiteY1109" fmla="*/ 3177055 h 3905171"/>
                <a:gd name="connsiteX1110" fmla="*/ 331446 w 2626806"/>
                <a:gd name="connsiteY1110" fmla="*/ 3181445 h 3905171"/>
                <a:gd name="connsiteX1111" fmla="*/ 1277493 w 2626806"/>
                <a:gd name="connsiteY1111" fmla="*/ 3185835 h 3905171"/>
                <a:gd name="connsiteX1112" fmla="*/ 1235788 w 2626806"/>
                <a:gd name="connsiteY1112" fmla="*/ 3144130 h 3905171"/>
                <a:gd name="connsiteX1113" fmla="*/ 1277493 w 2626806"/>
                <a:gd name="connsiteY1113" fmla="*/ 3102425 h 3905171"/>
                <a:gd name="connsiteX1114" fmla="*/ 1319198 w 2626806"/>
                <a:gd name="connsiteY1114" fmla="*/ 3144130 h 3905171"/>
                <a:gd name="connsiteX1115" fmla="*/ 1277493 w 2626806"/>
                <a:gd name="connsiteY1115" fmla="*/ 3185835 h 3905171"/>
                <a:gd name="connsiteX1116" fmla="*/ 2568156 w 2626806"/>
                <a:gd name="connsiteY1116" fmla="*/ 3192420 h 3905171"/>
                <a:gd name="connsiteX1117" fmla="*/ 2557181 w 2626806"/>
                <a:gd name="connsiteY1117" fmla="*/ 3181445 h 3905171"/>
                <a:gd name="connsiteX1118" fmla="*/ 2568156 w 2626806"/>
                <a:gd name="connsiteY1118" fmla="*/ 3170470 h 3905171"/>
                <a:gd name="connsiteX1119" fmla="*/ 2579131 w 2626806"/>
                <a:gd name="connsiteY1119" fmla="*/ 3181445 h 3905171"/>
                <a:gd name="connsiteX1120" fmla="*/ 2568156 w 2626806"/>
                <a:gd name="connsiteY1120" fmla="*/ 3192420 h 3905171"/>
                <a:gd name="connsiteX1121" fmla="*/ 1521139 w 2626806"/>
                <a:gd name="connsiteY1121" fmla="*/ 3196810 h 3905171"/>
                <a:gd name="connsiteX1122" fmla="*/ 1481628 w 2626806"/>
                <a:gd name="connsiteY1122" fmla="*/ 3157300 h 3905171"/>
                <a:gd name="connsiteX1123" fmla="*/ 1521139 w 2626806"/>
                <a:gd name="connsiteY1123" fmla="*/ 3117790 h 3905171"/>
                <a:gd name="connsiteX1124" fmla="*/ 1560648 w 2626806"/>
                <a:gd name="connsiteY1124" fmla="*/ 3157300 h 3905171"/>
                <a:gd name="connsiteX1125" fmla="*/ 1521139 w 2626806"/>
                <a:gd name="connsiteY1125" fmla="*/ 3196810 h 3905171"/>
                <a:gd name="connsiteX1126" fmla="*/ 1773564 w 2626806"/>
                <a:gd name="connsiteY1126" fmla="*/ 3196810 h 3905171"/>
                <a:gd name="connsiteX1127" fmla="*/ 1736249 w 2626806"/>
                <a:gd name="connsiteY1127" fmla="*/ 3159495 h 3905171"/>
                <a:gd name="connsiteX1128" fmla="*/ 1773564 w 2626806"/>
                <a:gd name="connsiteY1128" fmla="*/ 3122180 h 3905171"/>
                <a:gd name="connsiteX1129" fmla="*/ 1810879 w 2626806"/>
                <a:gd name="connsiteY1129" fmla="*/ 3159495 h 3905171"/>
                <a:gd name="connsiteX1130" fmla="*/ 1773564 w 2626806"/>
                <a:gd name="connsiteY1130" fmla="*/ 3196810 h 3905171"/>
                <a:gd name="connsiteX1131" fmla="*/ 682647 w 2626806"/>
                <a:gd name="connsiteY1131" fmla="*/ 3201201 h 3905171"/>
                <a:gd name="connsiteX1132" fmla="*/ 634356 w 2626806"/>
                <a:gd name="connsiteY1132" fmla="*/ 3152911 h 3905171"/>
                <a:gd name="connsiteX1133" fmla="*/ 682647 w 2626806"/>
                <a:gd name="connsiteY1133" fmla="*/ 3104621 h 3905171"/>
                <a:gd name="connsiteX1134" fmla="*/ 730936 w 2626806"/>
                <a:gd name="connsiteY1134" fmla="*/ 3152911 h 3905171"/>
                <a:gd name="connsiteX1135" fmla="*/ 682647 w 2626806"/>
                <a:gd name="connsiteY1135" fmla="*/ 3201201 h 3905171"/>
                <a:gd name="connsiteX1136" fmla="*/ 2157690 w 2626806"/>
                <a:gd name="connsiteY1136" fmla="*/ 3225345 h 3905171"/>
                <a:gd name="connsiteX1137" fmla="*/ 2133544 w 2626806"/>
                <a:gd name="connsiteY1137" fmla="*/ 3201200 h 3905171"/>
                <a:gd name="connsiteX1138" fmla="*/ 2157690 w 2626806"/>
                <a:gd name="connsiteY1138" fmla="*/ 3177055 h 3905171"/>
                <a:gd name="connsiteX1139" fmla="*/ 2181835 w 2626806"/>
                <a:gd name="connsiteY1139" fmla="*/ 3201200 h 3905171"/>
                <a:gd name="connsiteX1140" fmla="*/ 2157690 w 2626806"/>
                <a:gd name="connsiteY1140" fmla="*/ 3225345 h 3905171"/>
                <a:gd name="connsiteX1141" fmla="*/ 904342 w 2626806"/>
                <a:gd name="connsiteY1141" fmla="*/ 3231931 h 3905171"/>
                <a:gd name="connsiteX1142" fmla="*/ 858247 w 2626806"/>
                <a:gd name="connsiteY1142" fmla="*/ 3185835 h 3905171"/>
                <a:gd name="connsiteX1143" fmla="*/ 904342 w 2626806"/>
                <a:gd name="connsiteY1143" fmla="*/ 3139740 h 3905171"/>
                <a:gd name="connsiteX1144" fmla="*/ 950437 w 2626806"/>
                <a:gd name="connsiteY1144" fmla="*/ 3185835 h 3905171"/>
                <a:gd name="connsiteX1145" fmla="*/ 904342 w 2626806"/>
                <a:gd name="connsiteY1145" fmla="*/ 3231931 h 3905171"/>
                <a:gd name="connsiteX1146" fmla="*/ 1137013 w 2626806"/>
                <a:gd name="connsiteY1146" fmla="*/ 3256076 h 3905171"/>
                <a:gd name="connsiteX1147" fmla="*/ 1095307 w 2626806"/>
                <a:gd name="connsiteY1147" fmla="*/ 3214370 h 3905171"/>
                <a:gd name="connsiteX1148" fmla="*/ 1137013 w 2626806"/>
                <a:gd name="connsiteY1148" fmla="*/ 3172665 h 3905171"/>
                <a:gd name="connsiteX1149" fmla="*/ 1178718 w 2626806"/>
                <a:gd name="connsiteY1149" fmla="*/ 3214370 h 3905171"/>
                <a:gd name="connsiteX1150" fmla="*/ 1137013 w 2626806"/>
                <a:gd name="connsiteY1150" fmla="*/ 3256076 h 3905171"/>
                <a:gd name="connsiteX1151" fmla="*/ 546556 w 2626806"/>
                <a:gd name="connsiteY1151" fmla="*/ 3258270 h 3905171"/>
                <a:gd name="connsiteX1152" fmla="*/ 507047 w 2626806"/>
                <a:gd name="connsiteY1152" fmla="*/ 3218760 h 3905171"/>
                <a:gd name="connsiteX1153" fmla="*/ 546556 w 2626806"/>
                <a:gd name="connsiteY1153" fmla="*/ 3179250 h 3905171"/>
                <a:gd name="connsiteX1154" fmla="*/ 586067 w 2626806"/>
                <a:gd name="connsiteY1154" fmla="*/ 3218760 h 3905171"/>
                <a:gd name="connsiteX1155" fmla="*/ 546556 w 2626806"/>
                <a:gd name="connsiteY1155" fmla="*/ 3258270 h 3905171"/>
                <a:gd name="connsiteX1156" fmla="*/ 1887704 w 2626806"/>
                <a:gd name="connsiteY1156" fmla="*/ 3264856 h 3905171"/>
                <a:gd name="connsiteX1157" fmla="*/ 1852584 w 2626806"/>
                <a:gd name="connsiteY1157" fmla="*/ 3229735 h 3905171"/>
                <a:gd name="connsiteX1158" fmla="*/ 1887704 w 2626806"/>
                <a:gd name="connsiteY1158" fmla="*/ 3194615 h 3905171"/>
                <a:gd name="connsiteX1159" fmla="*/ 1922824 w 2626806"/>
                <a:gd name="connsiteY1159" fmla="*/ 3229735 h 3905171"/>
                <a:gd name="connsiteX1160" fmla="*/ 1887704 w 2626806"/>
                <a:gd name="connsiteY1160" fmla="*/ 3264856 h 3905171"/>
                <a:gd name="connsiteX1161" fmla="*/ 1376268 w 2626806"/>
                <a:gd name="connsiteY1161" fmla="*/ 3271440 h 3905171"/>
                <a:gd name="connsiteX1162" fmla="*/ 1336757 w 2626806"/>
                <a:gd name="connsiteY1162" fmla="*/ 3231931 h 3905171"/>
                <a:gd name="connsiteX1163" fmla="*/ 1376268 w 2626806"/>
                <a:gd name="connsiteY1163" fmla="*/ 3192420 h 3905171"/>
                <a:gd name="connsiteX1164" fmla="*/ 1415778 w 2626806"/>
                <a:gd name="connsiteY1164" fmla="*/ 3231931 h 3905171"/>
                <a:gd name="connsiteX1165" fmla="*/ 1376268 w 2626806"/>
                <a:gd name="connsiteY1165" fmla="*/ 3271440 h 3905171"/>
                <a:gd name="connsiteX1166" fmla="*/ 1626499 w 2626806"/>
                <a:gd name="connsiteY1166" fmla="*/ 3273635 h 3905171"/>
                <a:gd name="connsiteX1167" fmla="*/ 1589184 w 2626806"/>
                <a:gd name="connsiteY1167" fmla="*/ 3236321 h 3905171"/>
                <a:gd name="connsiteX1168" fmla="*/ 1626499 w 2626806"/>
                <a:gd name="connsiteY1168" fmla="*/ 3199006 h 3905171"/>
                <a:gd name="connsiteX1169" fmla="*/ 1663814 w 2626806"/>
                <a:gd name="connsiteY1169" fmla="*/ 3236321 h 3905171"/>
                <a:gd name="connsiteX1170" fmla="*/ 1626499 w 2626806"/>
                <a:gd name="connsiteY1170" fmla="*/ 3273635 h 3905171"/>
                <a:gd name="connsiteX1171" fmla="*/ 2280611 w 2626806"/>
                <a:gd name="connsiteY1171" fmla="*/ 3280220 h 3905171"/>
                <a:gd name="connsiteX1172" fmla="*/ 2252075 w 2626806"/>
                <a:gd name="connsiteY1172" fmla="*/ 3251686 h 3905171"/>
                <a:gd name="connsiteX1173" fmla="*/ 2280611 w 2626806"/>
                <a:gd name="connsiteY1173" fmla="*/ 3223151 h 3905171"/>
                <a:gd name="connsiteX1174" fmla="*/ 2309145 w 2626806"/>
                <a:gd name="connsiteY1174" fmla="*/ 3251686 h 3905171"/>
                <a:gd name="connsiteX1175" fmla="*/ 2280611 w 2626806"/>
                <a:gd name="connsiteY1175" fmla="*/ 3280220 h 3905171"/>
                <a:gd name="connsiteX1176" fmla="*/ 768252 w 2626806"/>
                <a:gd name="connsiteY1176" fmla="*/ 3302171 h 3905171"/>
                <a:gd name="connsiteX1177" fmla="*/ 719962 w 2626806"/>
                <a:gd name="connsiteY1177" fmla="*/ 3253880 h 3905171"/>
                <a:gd name="connsiteX1178" fmla="*/ 768252 w 2626806"/>
                <a:gd name="connsiteY1178" fmla="*/ 3205590 h 3905171"/>
                <a:gd name="connsiteX1179" fmla="*/ 816542 w 2626806"/>
                <a:gd name="connsiteY1179" fmla="*/ 3253880 h 3905171"/>
                <a:gd name="connsiteX1180" fmla="*/ 768252 w 2626806"/>
                <a:gd name="connsiteY1180" fmla="*/ 3302171 h 3905171"/>
                <a:gd name="connsiteX1181" fmla="*/ 2407920 w 2626806"/>
                <a:gd name="connsiteY1181" fmla="*/ 3317536 h 3905171"/>
                <a:gd name="connsiteX1182" fmla="*/ 2383775 w 2626806"/>
                <a:gd name="connsiteY1182" fmla="*/ 3293391 h 3905171"/>
                <a:gd name="connsiteX1183" fmla="*/ 2407920 w 2626806"/>
                <a:gd name="connsiteY1183" fmla="*/ 3269246 h 3905171"/>
                <a:gd name="connsiteX1184" fmla="*/ 2432066 w 2626806"/>
                <a:gd name="connsiteY1184" fmla="*/ 3293391 h 3905171"/>
                <a:gd name="connsiteX1185" fmla="*/ 2407920 w 2626806"/>
                <a:gd name="connsiteY1185" fmla="*/ 3317536 h 3905171"/>
                <a:gd name="connsiteX1186" fmla="*/ 996532 w 2626806"/>
                <a:gd name="connsiteY1186" fmla="*/ 3330706 h 3905171"/>
                <a:gd name="connsiteX1187" fmla="*/ 948242 w 2626806"/>
                <a:gd name="connsiteY1187" fmla="*/ 3282415 h 3905171"/>
                <a:gd name="connsiteX1188" fmla="*/ 996532 w 2626806"/>
                <a:gd name="connsiteY1188" fmla="*/ 3234125 h 3905171"/>
                <a:gd name="connsiteX1189" fmla="*/ 1044822 w 2626806"/>
                <a:gd name="connsiteY1189" fmla="*/ 3282415 h 3905171"/>
                <a:gd name="connsiteX1190" fmla="*/ 996532 w 2626806"/>
                <a:gd name="connsiteY1190" fmla="*/ 3330706 h 3905171"/>
                <a:gd name="connsiteX1191" fmla="*/ 2004039 w 2626806"/>
                <a:gd name="connsiteY1191" fmla="*/ 3330706 h 3905171"/>
                <a:gd name="connsiteX1192" fmla="*/ 1964530 w 2626806"/>
                <a:gd name="connsiteY1192" fmla="*/ 3291195 h 3905171"/>
                <a:gd name="connsiteX1193" fmla="*/ 2004039 w 2626806"/>
                <a:gd name="connsiteY1193" fmla="*/ 3251686 h 3905171"/>
                <a:gd name="connsiteX1194" fmla="*/ 2043550 w 2626806"/>
                <a:gd name="connsiteY1194" fmla="*/ 3291195 h 3905171"/>
                <a:gd name="connsiteX1195" fmla="*/ 2004039 w 2626806"/>
                <a:gd name="connsiteY1195" fmla="*/ 3330706 h 3905171"/>
                <a:gd name="connsiteX1196" fmla="*/ 2535230 w 2626806"/>
                <a:gd name="connsiteY1196" fmla="*/ 3346071 h 3905171"/>
                <a:gd name="connsiteX1197" fmla="*/ 2515476 w 2626806"/>
                <a:gd name="connsiteY1197" fmla="*/ 3326316 h 3905171"/>
                <a:gd name="connsiteX1198" fmla="*/ 2535230 w 2626806"/>
                <a:gd name="connsiteY1198" fmla="*/ 3306561 h 3905171"/>
                <a:gd name="connsiteX1199" fmla="*/ 2554985 w 2626806"/>
                <a:gd name="connsiteY1199" fmla="*/ 3326316 h 3905171"/>
                <a:gd name="connsiteX1200" fmla="*/ 2535230 w 2626806"/>
                <a:gd name="connsiteY1200" fmla="*/ 3346071 h 3905171"/>
                <a:gd name="connsiteX1201" fmla="*/ 1233593 w 2626806"/>
                <a:gd name="connsiteY1201" fmla="*/ 3350461 h 3905171"/>
                <a:gd name="connsiteX1202" fmla="*/ 1187498 w 2626806"/>
                <a:gd name="connsiteY1202" fmla="*/ 3304365 h 3905171"/>
                <a:gd name="connsiteX1203" fmla="*/ 1233593 w 2626806"/>
                <a:gd name="connsiteY1203" fmla="*/ 3258270 h 3905171"/>
                <a:gd name="connsiteX1204" fmla="*/ 1279688 w 2626806"/>
                <a:gd name="connsiteY1204" fmla="*/ 3304365 h 3905171"/>
                <a:gd name="connsiteX1205" fmla="*/ 1233593 w 2626806"/>
                <a:gd name="connsiteY1205" fmla="*/ 3350461 h 3905171"/>
                <a:gd name="connsiteX1206" fmla="*/ 1736249 w 2626806"/>
                <a:gd name="connsiteY1206" fmla="*/ 3352655 h 3905171"/>
                <a:gd name="connsiteX1207" fmla="*/ 1694544 w 2626806"/>
                <a:gd name="connsiteY1207" fmla="*/ 3310951 h 3905171"/>
                <a:gd name="connsiteX1208" fmla="*/ 1736249 w 2626806"/>
                <a:gd name="connsiteY1208" fmla="*/ 3269246 h 3905171"/>
                <a:gd name="connsiteX1209" fmla="*/ 1777954 w 2626806"/>
                <a:gd name="connsiteY1209" fmla="*/ 3310951 h 3905171"/>
                <a:gd name="connsiteX1210" fmla="*/ 1736249 w 2626806"/>
                <a:gd name="connsiteY1210" fmla="*/ 3352655 h 3905171"/>
                <a:gd name="connsiteX1211" fmla="*/ 1479433 w 2626806"/>
                <a:gd name="connsiteY1211" fmla="*/ 3359241 h 3905171"/>
                <a:gd name="connsiteX1212" fmla="*/ 1435533 w 2626806"/>
                <a:gd name="connsiteY1212" fmla="*/ 3315341 h 3905171"/>
                <a:gd name="connsiteX1213" fmla="*/ 1479433 w 2626806"/>
                <a:gd name="connsiteY1213" fmla="*/ 3271440 h 3905171"/>
                <a:gd name="connsiteX1214" fmla="*/ 1523333 w 2626806"/>
                <a:gd name="connsiteY1214" fmla="*/ 3315341 h 3905171"/>
                <a:gd name="connsiteX1215" fmla="*/ 1479433 w 2626806"/>
                <a:gd name="connsiteY1215" fmla="*/ 3359241 h 3905171"/>
                <a:gd name="connsiteX1216" fmla="*/ 629966 w 2626806"/>
                <a:gd name="connsiteY1216" fmla="*/ 3370215 h 3905171"/>
                <a:gd name="connsiteX1217" fmla="*/ 581676 w 2626806"/>
                <a:gd name="connsiteY1217" fmla="*/ 3321926 h 3905171"/>
                <a:gd name="connsiteX1218" fmla="*/ 629966 w 2626806"/>
                <a:gd name="connsiteY1218" fmla="*/ 3273635 h 3905171"/>
                <a:gd name="connsiteX1219" fmla="*/ 678257 w 2626806"/>
                <a:gd name="connsiteY1219" fmla="*/ 3321926 h 3905171"/>
                <a:gd name="connsiteX1220" fmla="*/ 629966 w 2626806"/>
                <a:gd name="connsiteY1220" fmla="*/ 3370215 h 3905171"/>
                <a:gd name="connsiteX1221" fmla="*/ 2124766 w 2626806"/>
                <a:gd name="connsiteY1221" fmla="*/ 3381191 h 3905171"/>
                <a:gd name="connsiteX1222" fmla="*/ 2091840 w 2626806"/>
                <a:gd name="connsiteY1222" fmla="*/ 3348266 h 3905171"/>
                <a:gd name="connsiteX1223" fmla="*/ 2124766 w 2626806"/>
                <a:gd name="connsiteY1223" fmla="*/ 3315341 h 3905171"/>
                <a:gd name="connsiteX1224" fmla="*/ 2157690 w 2626806"/>
                <a:gd name="connsiteY1224" fmla="*/ 3348266 h 3905171"/>
                <a:gd name="connsiteX1225" fmla="*/ 2124766 w 2626806"/>
                <a:gd name="connsiteY1225" fmla="*/ 3381191 h 3905171"/>
                <a:gd name="connsiteX1226" fmla="*/ 856052 w 2626806"/>
                <a:gd name="connsiteY1226" fmla="*/ 3400945 h 3905171"/>
                <a:gd name="connsiteX1227" fmla="*/ 807762 w 2626806"/>
                <a:gd name="connsiteY1227" fmla="*/ 3352656 h 3905171"/>
                <a:gd name="connsiteX1228" fmla="*/ 856052 w 2626806"/>
                <a:gd name="connsiteY1228" fmla="*/ 3304365 h 3905171"/>
                <a:gd name="connsiteX1229" fmla="*/ 904342 w 2626806"/>
                <a:gd name="connsiteY1229" fmla="*/ 3352656 h 3905171"/>
                <a:gd name="connsiteX1230" fmla="*/ 856052 w 2626806"/>
                <a:gd name="connsiteY1230" fmla="*/ 3400945 h 3905171"/>
                <a:gd name="connsiteX1231" fmla="*/ 491681 w 2626806"/>
                <a:gd name="connsiteY1231" fmla="*/ 3405336 h 3905171"/>
                <a:gd name="connsiteX1232" fmla="*/ 474122 w 2626806"/>
                <a:gd name="connsiteY1232" fmla="*/ 3387776 h 3905171"/>
                <a:gd name="connsiteX1233" fmla="*/ 491681 w 2626806"/>
                <a:gd name="connsiteY1233" fmla="*/ 3370215 h 3905171"/>
                <a:gd name="connsiteX1234" fmla="*/ 509241 w 2626806"/>
                <a:gd name="connsiteY1234" fmla="*/ 3387776 h 3905171"/>
                <a:gd name="connsiteX1235" fmla="*/ 491681 w 2626806"/>
                <a:gd name="connsiteY1235" fmla="*/ 3405336 h 3905171"/>
                <a:gd name="connsiteX1236" fmla="*/ 1850389 w 2626806"/>
                <a:gd name="connsiteY1236" fmla="*/ 3418506 h 3905171"/>
                <a:gd name="connsiteX1237" fmla="*/ 1810879 w 2626806"/>
                <a:gd name="connsiteY1237" fmla="*/ 3378996 h 3905171"/>
                <a:gd name="connsiteX1238" fmla="*/ 1850389 w 2626806"/>
                <a:gd name="connsiteY1238" fmla="*/ 3339486 h 3905171"/>
                <a:gd name="connsiteX1239" fmla="*/ 1887704 w 2626806"/>
                <a:gd name="connsiteY1239" fmla="*/ 3378996 h 3905171"/>
                <a:gd name="connsiteX1240" fmla="*/ 1850389 w 2626806"/>
                <a:gd name="connsiteY1240" fmla="*/ 3418506 h 3905171"/>
                <a:gd name="connsiteX1241" fmla="*/ 1090917 w 2626806"/>
                <a:gd name="connsiteY1241" fmla="*/ 3422896 h 3905171"/>
                <a:gd name="connsiteX1242" fmla="*/ 1044822 w 2626806"/>
                <a:gd name="connsiteY1242" fmla="*/ 3376801 h 3905171"/>
                <a:gd name="connsiteX1243" fmla="*/ 1090917 w 2626806"/>
                <a:gd name="connsiteY1243" fmla="*/ 3330706 h 3905171"/>
                <a:gd name="connsiteX1244" fmla="*/ 1137013 w 2626806"/>
                <a:gd name="connsiteY1244" fmla="*/ 3376801 h 3905171"/>
                <a:gd name="connsiteX1245" fmla="*/ 1090917 w 2626806"/>
                <a:gd name="connsiteY1245" fmla="*/ 3422896 h 3905171"/>
                <a:gd name="connsiteX1246" fmla="*/ 2247685 w 2626806"/>
                <a:gd name="connsiteY1246" fmla="*/ 3431676 h 3905171"/>
                <a:gd name="connsiteX1247" fmla="*/ 2212564 w 2626806"/>
                <a:gd name="connsiteY1247" fmla="*/ 3396556 h 3905171"/>
                <a:gd name="connsiteX1248" fmla="*/ 2247685 w 2626806"/>
                <a:gd name="connsiteY1248" fmla="*/ 3361436 h 3905171"/>
                <a:gd name="connsiteX1249" fmla="*/ 2282805 w 2626806"/>
                <a:gd name="connsiteY1249" fmla="*/ 3396556 h 3905171"/>
                <a:gd name="connsiteX1250" fmla="*/ 2247685 w 2626806"/>
                <a:gd name="connsiteY1250" fmla="*/ 3431676 h 3905171"/>
                <a:gd name="connsiteX1251" fmla="*/ 1334563 w 2626806"/>
                <a:gd name="connsiteY1251" fmla="*/ 3433871 h 3905171"/>
                <a:gd name="connsiteX1252" fmla="*/ 1290663 w 2626806"/>
                <a:gd name="connsiteY1252" fmla="*/ 3389971 h 3905171"/>
                <a:gd name="connsiteX1253" fmla="*/ 1334563 w 2626806"/>
                <a:gd name="connsiteY1253" fmla="*/ 3346071 h 3905171"/>
                <a:gd name="connsiteX1254" fmla="*/ 1378464 w 2626806"/>
                <a:gd name="connsiteY1254" fmla="*/ 3389971 h 3905171"/>
                <a:gd name="connsiteX1255" fmla="*/ 1334563 w 2626806"/>
                <a:gd name="connsiteY1255" fmla="*/ 3433871 h 3905171"/>
                <a:gd name="connsiteX1256" fmla="*/ 1589184 w 2626806"/>
                <a:gd name="connsiteY1256" fmla="*/ 3436066 h 3905171"/>
                <a:gd name="connsiteX1257" fmla="*/ 1545283 w 2626806"/>
                <a:gd name="connsiteY1257" fmla="*/ 3392166 h 3905171"/>
                <a:gd name="connsiteX1258" fmla="*/ 1589184 w 2626806"/>
                <a:gd name="connsiteY1258" fmla="*/ 3348266 h 3905171"/>
                <a:gd name="connsiteX1259" fmla="*/ 1633084 w 2626806"/>
                <a:gd name="connsiteY1259" fmla="*/ 3392166 h 3905171"/>
                <a:gd name="connsiteX1260" fmla="*/ 1589184 w 2626806"/>
                <a:gd name="connsiteY1260" fmla="*/ 3436066 h 3905171"/>
                <a:gd name="connsiteX1261" fmla="*/ 717766 w 2626806"/>
                <a:gd name="connsiteY1261" fmla="*/ 3460211 h 3905171"/>
                <a:gd name="connsiteX1262" fmla="*/ 678257 w 2626806"/>
                <a:gd name="connsiteY1262" fmla="*/ 3420701 h 3905171"/>
                <a:gd name="connsiteX1263" fmla="*/ 717766 w 2626806"/>
                <a:gd name="connsiteY1263" fmla="*/ 3381191 h 3905171"/>
                <a:gd name="connsiteX1264" fmla="*/ 757277 w 2626806"/>
                <a:gd name="connsiteY1264" fmla="*/ 3420701 h 3905171"/>
                <a:gd name="connsiteX1265" fmla="*/ 717766 w 2626806"/>
                <a:gd name="connsiteY1265" fmla="*/ 3460211 h 3905171"/>
                <a:gd name="connsiteX1266" fmla="*/ 2374995 w 2626806"/>
                <a:gd name="connsiteY1266" fmla="*/ 3468991 h 3905171"/>
                <a:gd name="connsiteX1267" fmla="*/ 2344265 w 2626806"/>
                <a:gd name="connsiteY1267" fmla="*/ 3438260 h 3905171"/>
                <a:gd name="connsiteX1268" fmla="*/ 2374995 w 2626806"/>
                <a:gd name="connsiteY1268" fmla="*/ 3407531 h 3905171"/>
                <a:gd name="connsiteX1269" fmla="*/ 2405726 w 2626806"/>
                <a:gd name="connsiteY1269" fmla="*/ 3438260 h 3905171"/>
                <a:gd name="connsiteX1270" fmla="*/ 2374995 w 2626806"/>
                <a:gd name="connsiteY1270" fmla="*/ 3468991 h 3905171"/>
                <a:gd name="connsiteX1271" fmla="*/ 1968920 w 2626806"/>
                <a:gd name="connsiteY1271" fmla="*/ 3477771 h 3905171"/>
                <a:gd name="connsiteX1272" fmla="*/ 1929409 w 2626806"/>
                <a:gd name="connsiteY1272" fmla="*/ 3438261 h 3905171"/>
                <a:gd name="connsiteX1273" fmla="*/ 1968920 w 2626806"/>
                <a:gd name="connsiteY1273" fmla="*/ 3398751 h 3905171"/>
                <a:gd name="connsiteX1274" fmla="*/ 2008430 w 2626806"/>
                <a:gd name="connsiteY1274" fmla="*/ 3438261 h 3905171"/>
                <a:gd name="connsiteX1275" fmla="*/ 1968920 w 2626806"/>
                <a:gd name="connsiteY1275" fmla="*/ 3477771 h 3905171"/>
                <a:gd name="connsiteX1276" fmla="*/ 579481 w 2626806"/>
                <a:gd name="connsiteY1276" fmla="*/ 3493135 h 3905171"/>
                <a:gd name="connsiteX1277" fmla="*/ 575091 w 2626806"/>
                <a:gd name="connsiteY1277" fmla="*/ 3488745 h 3905171"/>
                <a:gd name="connsiteX1278" fmla="*/ 579481 w 2626806"/>
                <a:gd name="connsiteY1278" fmla="*/ 3484355 h 3905171"/>
                <a:gd name="connsiteX1279" fmla="*/ 583871 w 2626806"/>
                <a:gd name="connsiteY1279" fmla="*/ 3488745 h 3905171"/>
                <a:gd name="connsiteX1280" fmla="*/ 579481 w 2626806"/>
                <a:gd name="connsiteY1280" fmla="*/ 3493135 h 3905171"/>
                <a:gd name="connsiteX1281" fmla="*/ 950437 w 2626806"/>
                <a:gd name="connsiteY1281" fmla="*/ 3497526 h 3905171"/>
                <a:gd name="connsiteX1282" fmla="*/ 899953 w 2626806"/>
                <a:gd name="connsiteY1282" fmla="*/ 3447040 h 3905171"/>
                <a:gd name="connsiteX1283" fmla="*/ 950437 w 2626806"/>
                <a:gd name="connsiteY1283" fmla="*/ 3396555 h 3905171"/>
                <a:gd name="connsiteX1284" fmla="*/ 1000922 w 2626806"/>
                <a:gd name="connsiteY1284" fmla="*/ 3447040 h 3905171"/>
                <a:gd name="connsiteX1285" fmla="*/ 950437 w 2626806"/>
                <a:gd name="connsiteY1285" fmla="*/ 3497526 h 3905171"/>
                <a:gd name="connsiteX1286" fmla="*/ 2502304 w 2626806"/>
                <a:gd name="connsiteY1286" fmla="*/ 3501916 h 3905171"/>
                <a:gd name="connsiteX1287" fmla="*/ 2471576 w 2626806"/>
                <a:gd name="connsiteY1287" fmla="*/ 3471185 h 3905171"/>
                <a:gd name="connsiteX1288" fmla="*/ 2502304 w 2626806"/>
                <a:gd name="connsiteY1288" fmla="*/ 3440456 h 3905171"/>
                <a:gd name="connsiteX1289" fmla="*/ 2533036 w 2626806"/>
                <a:gd name="connsiteY1289" fmla="*/ 3471185 h 3905171"/>
                <a:gd name="connsiteX1290" fmla="*/ 2502304 w 2626806"/>
                <a:gd name="connsiteY1290" fmla="*/ 3501916 h 3905171"/>
                <a:gd name="connsiteX1291" fmla="*/ 1191888 w 2626806"/>
                <a:gd name="connsiteY1291" fmla="*/ 3510696 h 3905171"/>
                <a:gd name="connsiteX1292" fmla="*/ 1145793 w 2626806"/>
                <a:gd name="connsiteY1292" fmla="*/ 3464600 h 3905171"/>
                <a:gd name="connsiteX1293" fmla="*/ 1191888 w 2626806"/>
                <a:gd name="connsiteY1293" fmla="*/ 3418505 h 3905171"/>
                <a:gd name="connsiteX1294" fmla="*/ 1237983 w 2626806"/>
                <a:gd name="connsiteY1294" fmla="*/ 3464600 h 3905171"/>
                <a:gd name="connsiteX1295" fmla="*/ 1191888 w 2626806"/>
                <a:gd name="connsiteY1295" fmla="*/ 3510696 h 3905171"/>
                <a:gd name="connsiteX1296" fmla="*/ 1701129 w 2626806"/>
                <a:gd name="connsiteY1296" fmla="*/ 3510696 h 3905171"/>
                <a:gd name="connsiteX1297" fmla="*/ 1652839 w 2626806"/>
                <a:gd name="connsiteY1297" fmla="*/ 3462405 h 3905171"/>
                <a:gd name="connsiteX1298" fmla="*/ 1701129 w 2626806"/>
                <a:gd name="connsiteY1298" fmla="*/ 3414115 h 3905171"/>
                <a:gd name="connsiteX1299" fmla="*/ 1749419 w 2626806"/>
                <a:gd name="connsiteY1299" fmla="*/ 3462405 h 3905171"/>
                <a:gd name="connsiteX1300" fmla="*/ 1701129 w 2626806"/>
                <a:gd name="connsiteY1300" fmla="*/ 3510696 h 3905171"/>
                <a:gd name="connsiteX1301" fmla="*/ 1442118 w 2626806"/>
                <a:gd name="connsiteY1301" fmla="*/ 3515086 h 3905171"/>
                <a:gd name="connsiteX1302" fmla="*/ 1396023 w 2626806"/>
                <a:gd name="connsiteY1302" fmla="*/ 3468991 h 3905171"/>
                <a:gd name="connsiteX1303" fmla="*/ 1442118 w 2626806"/>
                <a:gd name="connsiteY1303" fmla="*/ 3422896 h 3905171"/>
                <a:gd name="connsiteX1304" fmla="*/ 1488214 w 2626806"/>
                <a:gd name="connsiteY1304" fmla="*/ 3468991 h 3905171"/>
                <a:gd name="connsiteX1305" fmla="*/ 1442118 w 2626806"/>
                <a:gd name="connsiteY1305" fmla="*/ 3515086 h 3905171"/>
                <a:gd name="connsiteX1306" fmla="*/ 2626806 w 2626806"/>
                <a:gd name="connsiteY1306" fmla="*/ 3521105 h 3905171"/>
                <a:gd name="connsiteX1307" fmla="*/ 2613976 w 2626806"/>
                <a:gd name="connsiteY1307" fmla="*/ 3516184 h 3905171"/>
                <a:gd name="connsiteX1308" fmla="*/ 2605470 w 2626806"/>
                <a:gd name="connsiteY1308" fmla="*/ 3495331 h 3905171"/>
                <a:gd name="connsiteX1309" fmla="*/ 2613976 w 2626806"/>
                <a:gd name="connsiteY1309" fmla="*/ 3475302 h 3905171"/>
                <a:gd name="connsiteX1310" fmla="*/ 2626806 w 2626806"/>
                <a:gd name="connsiteY1310" fmla="*/ 3469853 h 3905171"/>
                <a:gd name="connsiteX1311" fmla="*/ 2089644 w 2626806"/>
                <a:gd name="connsiteY1311" fmla="*/ 3530452 h 3905171"/>
                <a:gd name="connsiteX1312" fmla="*/ 2054524 w 2626806"/>
                <a:gd name="connsiteY1312" fmla="*/ 3495331 h 3905171"/>
                <a:gd name="connsiteX1313" fmla="*/ 2089644 w 2626806"/>
                <a:gd name="connsiteY1313" fmla="*/ 3460211 h 3905171"/>
                <a:gd name="connsiteX1314" fmla="*/ 2124764 w 2626806"/>
                <a:gd name="connsiteY1314" fmla="*/ 3495331 h 3905171"/>
                <a:gd name="connsiteX1315" fmla="*/ 2089644 w 2626806"/>
                <a:gd name="connsiteY1315" fmla="*/ 3530452 h 3905171"/>
                <a:gd name="connsiteX1316" fmla="*/ 809957 w 2626806"/>
                <a:gd name="connsiteY1316" fmla="*/ 3565571 h 3905171"/>
                <a:gd name="connsiteX1317" fmla="*/ 759472 w 2626806"/>
                <a:gd name="connsiteY1317" fmla="*/ 3515086 h 3905171"/>
                <a:gd name="connsiteX1318" fmla="*/ 809957 w 2626806"/>
                <a:gd name="connsiteY1318" fmla="*/ 3464600 h 3905171"/>
                <a:gd name="connsiteX1319" fmla="*/ 860442 w 2626806"/>
                <a:gd name="connsiteY1319" fmla="*/ 3515086 h 3905171"/>
                <a:gd name="connsiteX1320" fmla="*/ 809957 w 2626806"/>
                <a:gd name="connsiteY1320" fmla="*/ 3565571 h 3905171"/>
                <a:gd name="connsiteX1321" fmla="*/ 1815269 w 2626806"/>
                <a:gd name="connsiteY1321" fmla="*/ 3569961 h 3905171"/>
                <a:gd name="connsiteX1322" fmla="*/ 1773564 w 2626806"/>
                <a:gd name="connsiteY1322" fmla="*/ 3528256 h 3905171"/>
                <a:gd name="connsiteX1323" fmla="*/ 1815269 w 2626806"/>
                <a:gd name="connsiteY1323" fmla="*/ 3486551 h 3905171"/>
                <a:gd name="connsiteX1324" fmla="*/ 1856974 w 2626806"/>
                <a:gd name="connsiteY1324" fmla="*/ 3528256 h 3905171"/>
                <a:gd name="connsiteX1325" fmla="*/ 1815269 w 2626806"/>
                <a:gd name="connsiteY1325" fmla="*/ 3569961 h 3905171"/>
                <a:gd name="connsiteX1326" fmla="*/ 2214759 w 2626806"/>
                <a:gd name="connsiteY1326" fmla="*/ 3578741 h 3905171"/>
                <a:gd name="connsiteX1327" fmla="*/ 2179639 w 2626806"/>
                <a:gd name="connsiteY1327" fmla="*/ 3543621 h 3905171"/>
                <a:gd name="connsiteX1328" fmla="*/ 2214759 w 2626806"/>
                <a:gd name="connsiteY1328" fmla="*/ 3508500 h 3905171"/>
                <a:gd name="connsiteX1329" fmla="*/ 2249879 w 2626806"/>
                <a:gd name="connsiteY1329" fmla="*/ 3543621 h 3905171"/>
                <a:gd name="connsiteX1330" fmla="*/ 2214759 w 2626806"/>
                <a:gd name="connsiteY1330" fmla="*/ 3578741 h 3905171"/>
                <a:gd name="connsiteX1331" fmla="*/ 1049212 w 2626806"/>
                <a:gd name="connsiteY1331" fmla="*/ 3585327 h 3905171"/>
                <a:gd name="connsiteX1332" fmla="*/ 1000922 w 2626806"/>
                <a:gd name="connsiteY1332" fmla="*/ 3537036 h 3905171"/>
                <a:gd name="connsiteX1333" fmla="*/ 1049212 w 2626806"/>
                <a:gd name="connsiteY1333" fmla="*/ 3488746 h 3905171"/>
                <a:gd name="connsiteX1334" fmla="*/ 1097502 w 2626806"/>
                <a:gd name="connsiteY1334" fmla="*/ 3537036 h 3905171"/>
                <a:gd name="connsiteX1335" fmla="*/ 1049212 w 2626806"/>
                <a:gd name="connsiteY1335" fmla="*/ 3585327 h 3905171"/>
                <a:gd name="connsiteX1336" fmla="*/ 1295053 w 2626806"/>
                <a:gd name="connsiteY1336" fmla="*/ 3594106 h 3905171"/>
                <a:gd name="connsiteX1337" fmla="*/ 1246763 w 2626806"/>
                <a:gd name="connsiteY1337" fmla="*/ 3545816 h 3905171"/>
                <a:gd name="connsiteX1338" fmla="*/ 1295053 w 2626806"/>
                <a:gd name="connsiteY1338" fmla="*/ 3497526 h 3905171"/>
                <a:gd name="connsiteX1339" fmla="*/ 1343343 w 2626806"/>
                <a:gd name="connsiteY1339" fmla="*/ 3545816 h 3905171"/>
                <a:gd name="connsiteX1340" fmla="*/ 1295053 w 2626806"/>
                <a:gd name="connsiteY1340" fmla="*/ 3594106 h 3905171"/>
                <a:gd name="connsiteX1341" fmla="*/ 1551869 w 2626806"/>
                <a:gd name="connsiteY1341" fmla="*/ 3594106 h 3905171"/>
                <a:gd name="connsiteX1342" fmla="*/ 1503578 w 2626806"/>
                <a:gd name="connsiteY1342" fmla="*/ 3545816 h 3905171"/>
                <a:gd name="connsiteX1343" fmla="*/ 1551869 w 2626806"/>
                <a:gd name="connsiteY1343" fmla="*/ 3497526 h 3905171"/>
                <a:gd name="connsiteX1344" fmla="*/ 1600159 w 2626806"/>
                <a:gd name="connsiteY1344" fmla="*/ 3545816 h 3905171"/>
                <a:gd name="connsiteX1345" fmla="*/ 1551869 w 2626806"/>
                <a:gd name="connsiteY1345" fmla="*/ 3594106 h 3905171"/>
                <a:gd name="connsiteX1346" fmla="*/ 671671 w 2626806"/>
                <a:gd name="connsiteY1346" fmla="*/ 3596301 h 3905171"/>
                <a:gd name="connsiteX1347" fmla="*/ 660696 w 2626806"/>
                <a:gd name="connsiteY1347" fmla="*/ 3585326 h 3905171"/>
                <a:gd name="connsiteX1348" fmla="*/ 671671 w 2626806"/>
                <a:gd name="connsiteY1348" fmla="*/ 3574351 h 3905171"/>
                <a:gd name="connsiteX1349" fmla="*/ 682647 w 2626806"/>
                <a:gd name="connsiteY1349" fmla="*/ 3585326 h 3905171"/>
                <a:gd name="connsiteX1350" fmla="*/ 671671 w 2626806"/>
                <a:gd name="connsiteY1350" fmla="*/ 3596301 h 3905171"/>
                <a:gd name="connsiteX1351" fmla="*/ 2342071 w 2626806"/>
                <a:gd name="connsiteY1351" fmla="*/ 3618251 h 3905171"/>
                <a:gd name="connsiteX1352" fmla="*/ 2304755 w 2626806"/>
                <a:gd name="connsiteY1352" fmla="*/ 3580936 h 3905171"/>
                <a:gd name="connsiteX1353" fmla="*/ 2342071 w 2626806"/>
                <a:gd name="connsiteY1353" fmla="*/ 3543621 h 3905171"/>
                <a:gd name="connsiteX1354" fmla="*/ 2379385 w 2626806"/>
                <a:gd name="connsiteY1354" fmla="*/ 3580936 h 3905171"/>
                <a:gd name="connsiteX1355" fmla="*/ 2342071 w 2626806"/>
                <a:gd name="connsiteY1355" fmla="*/ 3618251 h 3905171"/>
                <a:gd name="connsiteX1356" fmla="*/ 1935994 w 2626806"/>
                <a:gd name="connsiteY1356" fmla="*/ 3629226 h 3905171"/>
                <a:gd name="connsiteX1357" fmla="*/ 1894289 w 2626806"/>
                <a:gd name="connsiteY1357" fmla="*/ 3587521 h 3905171"/>
                <a:gd name="connsiteX1358" fmla="*/ 1935994 w 2626806"/>
                <a:gd name="connsiteY1358" fmla="*/ 3545816 h 3905171"/>
                <a:gd name="connsiteX1359" fmla="*/ 1977700 w 2626806"/>
                <a:gd name="connsiteY1359" fmla="*/ 3587521 h 3905171"/>
                <a:gd name="connsiteX1360" fmla="*/ 1935994 w 2626806"/>
                <a:gd name="connsiteY1360" fmla="*/ 3629226 h 3905171"/>
                <a:gd name="connsiteX1361" fmla="*/ 2469380 w 2626806"/>
                <a:gd name="connsiteY1361" fmla="*/ 3651176 h 3905171"/>
                <a:gd name="connsiteX1362" fmla="*/ 2434260 w 2626806"/>
                <a:gd name="connsiteY1362" fmla="*/ 3616056 h 3905171"/>
                <a:gd name="connsiteX1363" fmla="*/ 2469380 w 2626806"/>
                <a:gd name="connsiteY1363" fmla="*/ 3580936 h 3905171"/>
                <a:gd name="connsiteX1364" fmla="*/ 2504500 w 2626806"/>
                <a:gd name="connsiteY1364" fmla="*/ 3616056 h 3905171"/>
                <a:gd name="connsiteX1365" fmla="*/ 2469380 w 2626806"/>
                <a:gd name="connsiteY1365" fmla="*/ 3651176 h 3905171"/>
                <a:gd name="connsiteX1366" fmla="*/ 906537 w 2626806"/>
                <a:gd name="connsiteY1366" fmla="*/ 3655566 h 3905171"/>
                <a:gd name="connsiteX1367" fmla="*/ 858247 w 2626806"/>
                <a:gd name="connsiteY1367" fmla="*/ 3607276 h 3905171"/>
                <a:gd name="connsiteX1368" fmla="*/ 906537 w 2626806"/>
                <a:gd name="connsiteY1368" fmla="*/ 3558986 h 3905171"/>
                <a:gd name="connsiteX1369" fmla="*/ 954827 w 2626806"/>
                <a:gd name="connsiteY1369" fmla="*/ 3607276 h 3905171"/>
                <a:gd name="connsiteX1370" fmla="*/ 906537 w 2626806"/>
                <a:gd name="connsiteY1370" fmla="*/ 3655566 h 3905171"/>
                <a:gd name="connsiteX1371" fmla="*/ 1663814 w 2626806"/>
                <a:gd name="connsiteY1371" fmla="*/ 3662151 h 3905171"/>
                <a:gd name="connsiteX1372" fmla="*/ 1615523 w 2626806"/>
                <a:gd name="connsiteY1372" fmla="*/ 3613861 h 3905171"/>
                <a:gd name="connsiteX1373" fmla="*/ 1663814 w 2626806"/>
                <a:gd name="connsiteY1373" fmla="*/ 3565571 h 3905171"/>
                <a:gd name="connsiteX1374" fmla="*/ 1712104 w 2626806"/>
                <a:gd name="connsiteY1374" fmla="*/ 3613861 h 3905171"/>
                <a:gd name="connsiteX1375" fmla="*/ 1663814 w 2626806"/>
                <a:gd name="connsiteY1375" fmla="*/ 3662151 h 3905171"/>
                <a:gd name="connsiteX1376" fmla="*/ 1150183 w 2626806"/>
                <a:gd name="connsiteY1376" fmla="*/ 3670931 h 3905171"/>
                <a:gd name="connsiteX1377" fmla="*/ 1101892 w 2626806"/>
                <a:gd name="connsiteY1377" fmla="*/ 3622641 h 3905171"/>
                <a:gd name="connsiteX1378" fmla="*/ 1150183 w 2626806"/>
                <a:gd name="connsiteY1378" fmla="*/ 3574351 h 3905171"/>
                <a:gd name="connsiteX1379" fmla="*/ 1198473 w 2626806"/>
                <a:gd name="connsiteY1379" fmla="*/ 3622641 h 3905171"/>
                <a:gd name="connsiteX1380" fmla="*/ 1150183 w 2626806"/>
                <a:gd name="connsiteY1380" fmla="*/ 3670931 h 3905171"/>
                <a:gd name="connsiteX1381" fmla="*/ 1402608 w 2626806"/>
                <a:gd name="connsiteY1381" fmla="*/ 3670931 h 3905171"/>
                <a:gd name="connsiteX1382" fmla="*/ 1354318 w 2626806"/>
                <a:gd name="connsiteY1382" fmla="*/ 3622641 h 3905171"/>
                <a:gd name="connsiteX1383" fmla="*/ 1402608 w 2626806"/>
                <a:gd name="connsiteY1383" fmla="*/ 3574351 h 3905171"/>
                <a:gd name="connsiteX1384" fmla="*/ 1450898 w 2626806"/>
                <a:gd name="connsiteY1384" fmla="*/ 3622641 h 3905171"/>
                <a:gd name="connsiteX1385" fmla="*/ 1402608 w 2626806"/>
                <a:gd name="connsiteY1385" fmla="*/ 3670931 h 3905171"/>
                <a:gd name="connsiteX1386" fmla="*/ 2601080 w 2626806"/>
                <a:gd name="connsiteY1386" fmla="*/ 3679711 h 3905171"/>
                <a:gd name="connsiteX1387" fmla="*/ 2561570 w 2626806"/>
                <a:gd name="connsiteY1387" fmla="*/ 3640201 h 3905171"/>
                <a:gd name="connsiteX1388" fmla="*/ 2601080 w 2626806"/>
                <a:gd name="connsiteY1388" fmla="*/ 3600691 h 3905171"/>
                <a:gd name="connsiteX1389" fmla="*/ 2616514 w 2626806"/>
                <a:gd name="connsiteY1389" fmla="*/ 3603778 h 3905171"/>
                <a:gd name="connsiteX1390" fmla="*/ 2626806 w 2626806"/>
                <a:gd name="connsiteY1390" fmla="*/ 3610695 h 3905171"/>
                <a:gd name="connsiteX1391" fmla="*/ 2626806 w 2626806"/>
                <a:gd name="connsiteY1391" fmla="*/ 3669707 h 3905171"/>
                <a:gd name="connsiteX1392" fmla="*/ 2616514 w 2626806"/>
                <a:gd name="connsiteY1392" fmla="*/ 3676625 h 3905171"/>
                <a:gd name="connsiteX1393" fmla="*/ 2601080 w 2626806"/>
                <a:gd name="connsiteY1393" fmla="*/ 3679711 h 3905171"/>
                <a:gd name="connsiteX1394" fmla="*/ 2056720 w 2626806"/>
                <a:gd name="connsiteY1394" fmla="*/ 3681905 h 3905171"/>
                <a:gd name="connsiteX1395" fmla="*/ 2015015 w 2626806"/>
                <a:gd name="connsiteY1395" fmla="*/ 3640201 h 3905171"/>
                <a:gd name="connsiteX1396" fmla="*/ 2056720 w 2626806"/>
                <a:gd name="connsiteY1396" fmla="*/ 3598496 h 3905171"/>
                <a:gd name="connsiteX1397" fmla="*/ 2098425 w 2626806"/>
                <a:gd name="connsiteY1397" fmla="*/ 3640201 h 3905171"/>
                <a:gd name="connsiteX1398" fmla="*/ 2056720 w 2626806"/>
                <a:gd name="connsiteY1398" fmla="*/ 3681905 h 3905171"/>
                <a:gd name="connsiteX1399" fmla="*/ 766057 w 2626806"/>
                <a:gd name="connsiteY1399" fmla="*/ 3721416 h 3905171"/>
                <a:gd name="connsiteX1400" fmla="*/ 722156 w 2626806"/>
                <a:gd name="connsiteY1400" fmla="*/ 3677516 h 3905171"/>
                <a:gd name="connsiteX1401" fmla="*/ 766057 w 2626806"/>
                <a:gd name="connsiteY1401" fmla="*/ 3633616 h 3905171"/>
                <a:gd name="connsiteX1402" fmla="*/ 809957 w 2626806"/>
                <a:gd name="connsiteY1402" fmla="*/ 3677516 h 3905171"/>
                <a:gd name="connsiteX1403" fmla="*/ 766057 w 2626806"/>
                <a:gd name="connsiteY1403" fmla="*/ 3721416 h 3905171"/>
                <a:gd name="connsiteX1404" fmla="*/ 1782344 w 2626806"/>
                <a:gd name="connsiteY1404" fmla="*/ 3723612 h 3905171"/>
                <a:gd name="connsiteX1405" fmla="*/ 1736249 w 2626806"/>
                <a:gd name="connsiteY1405" fmla="*/ 3677516 h 3905171"/>
                <a:gd name="connsiteX1406" fmla="*/ 1782344 w 2626806"/>
                <a:gd name="connsiteY1406" fmla="*/ 3631421 h 3905171"/>
                <a:gd name="connsiteX1407" fmla="*/ 1828439 w 2626806"/>
                <a:gd name="connsiteY1407" fmla="*/ 3677516 h 3905171"/>
                <a:gd name="connsiteX1408" fmla="*/ 1782344 w 2626806"/>
                <a:gd name="connsiteY1408" fmla="*/ 3723612 h 3905171"/>
                <a:gd name="connsiteX1409" fmla="*/ 2181835 w 2626806"/>
                <a:gd name="connsiteY1409" fmla="*/ 3730196 h 3905171"/>
                <a:gd name="connsiteX1410" fmla="*/ 2137934 w 2626806"/>
                <a:gd name="connsiteY1410" fmla="*/ 3686297 h 3905171"/>
                <a:gd name="connsiteX1411" fmla="*/ 2181835 w 2626806"/>
                <a:gd name="connsiteY1411" fmla="*/ 3642396 h 3905171"/>
                <a:gd name="connsiteX1412" fmla="*/ 2225735 w 2626806"/>
                <a:gd name="connsiteY1412" fmla="*/ 3686297 h 3905171"/>
                <a:gd name="connsiteX1413" fmla="*/ 2181835 w 2626806"/>
                <a:gd name="connsiteY1413" fmla="*/ 3730196 h 3905171"/>
                <a:gd name="connsiteX1414" fmla="*/ 1007507 w 2626806"/>
                <a:gd name="connsiteY1414" fmla="*/ 3738977 h 3905171"/>
                <a:gd name="connsiteX1415" fmla="*/ 963607 w 2626806"/>
                <a:gd name="connsiteY1415" fmla="*/ 3695076 h 3905171"/>
                <a:gd name="connsiteX1416" fmla="*/ 1007507 w 2626806"/>
                <a:gd name="connsiteY1416" fmla="*/ 3651176 h 3905171"/>
                <a:gd name="connsiteX1417" fmla="*/ 1051407 w 2626806"/>
                <a:gd name="connsiteY1417" fmla="*/ 3695076 h 3905171"/>
                <a:gd name="connsiteX1418" fmla="*/ 1007507 w 2626806"/>
                <a:gd name="connsiteY1418" fmla="*/ 3738977 h 3905171"/>
                <a:gd name="connsiteX1419" fmla="*/ 1514553 w 2626806"/>
                <a:gd name="connsiteY1419" fmla="*/ 3743367 h 3905171"/>
                <a:gd name="connsiteX1420" fmla="*/ 1468458 w 2626806"/>
                <a:gd name="connsiteY1420" fmla="*/ 3697271 h 3905171"/>
                <a:gd name="connsiteX1421" fmla="*/ 1514553 w 2626806"/>
                <a:gd name="connsiteY1421" fmla="*/ 3651176 h 3905171"/>
                <a:gd name="connsiteX1422" fmla="*/ 1560648 w 2626806"/>
                <a:gd name="connsiteY1422" fmla="*/ 3697271 h 3905171"/>
                <a:gd name="connsiteX1423" fmla="*/ 1514553 w 2626806"/>
                <a:gd name="connsiteY1423" fmla="*/ 3743367 h 3905171"/>
                <a:gd name="connsiteX1424" fmla="*/ 1257738 w 2626806"/>
                <a:gd name="connsiteY1424" fmla="*/ 3749951 h 3905171"/>
                <a:gd name="connsiteX1425" fmla="*/ 1209448 w 2626806"/>
                <a:gd name="connsiteY1425" fmla="*/ 3701661 h 3905171"/>
                <a:gd name="connsiteX1426" fmla="*/ 1257738 w 2626806"/>
                <a:gd name="connsiteY1426" fmla="*/ 3653371 h 3905171"/>
                <a:gd name="connsiteX1427" fmla="*/ 1306028 w 2626806"/>
                <a:gd name="connsiteY1427" fmla="*/ 3701661 h 3905171"/>
                <a:gd name="connsiteX1428" fmla="*/ 1257738 w 2626806"/>
                <a:gd name="connsiteY1428" fmla="*/ 3749951 h 3905171"/>
                <a:gd name="connsiteX1429" fmla="*/ 2309145 w 2626806"/>
                <a:gd name="connsiteY1429" fmla="*/ 3771902 h 3905171"/>
                <a:gd name="connsiteX1430" fmla="*/ 2263051 w 2626806"/>
                <a:gd name="connsiteY1430" fmla="*/ 3725806 h 3905171"/>
                <a:gd name="connsiteX1431" fmla="*/ 2309145 w 2626806"/>
                <a:gd name="connsiteY1431" fmla="*/ 3679711 h 3905171"/>
                <a:gd name="connsiteX1432" fmla="*/ 2355239 w 2626806"/>
                <a:gd name="connsiteY1432" fmla="*/ 3725806 h 3905171"/>
                <a:gd name="connsiteX1433" fmla="*/ 2309145 w 2626806"/>
                <a:gd name="connsiteY1433" fmla="*/ 3771902 h 3905171"/>
                <a:gd name="connsiteX1434" fmla="*/ 1900874 w 2626806"/>
                <a:gd name="connsiteY1434" fmla="*/ 3782876 h 3905171"/>
                <a:gd name="connsiteX1435" fmla="*/ 1852584 w 2626806"/>
                <a:gd name="connsiteY1435" fmla="*/ 3734586 h 3905171"/>
                <a:gd name="connsiteX1436" fmla="*/ 1900874 w 2626806"/>
                <a:gd name="connsiteY1436" fmla="*/ 3686297 h 3905171"/>
                <a:gd name="connsiteX1437" fmla="*/ 1949164 w 2626806"/>
                <a:gd name="connsiteY1437" fmla="*/ 3734586 h 3905171"/>
                <a:gd name="connsiteX1438" fmla="*/ 1900874 w 2626806"/>
                <a:gd name="connsiteY1438" fmla="*/ 3782876 h 3905171"/>
                <a:gd name="connsiteX1439" fmla="*/ 864832 w 2626806"/>
                <a:gd name="connsiteY1439" fmla="*/ 3798242 h 3905171"/>
                <a:gd name="connsiteX1440" fmla="*/ 834102 w 2626806"/>
                <a:gd name="connsiteY1440" fmla="*/ 3767511 h 3905171"/>
                <a:gd name="connsiteX1441" fmla="*/ 864832 w 2626806"/>
                <a:gd name="connsiteY1441" fmla="*/ 3736781 h 3905171"/>
                <a:gd name="connsiteX1442" fmla="*/ 895563 w 2626806"/>
                <a:gd name="connsiteY1442" fmla="*/ 3767511 h 3905171"/>
                <a:gd name="connsiteX1443" fmla="*/ 864832 w 2626806"/>
                <a:gd name="connsiteY1443" fmla="*/ 3798242 h 3905171"/>
                <a:gd name="connsiteX1444" fmla="*/ 2436456 w 2626806"/>
                <a:gd name="connsiteY1444" fmla="*/ 3800437 h 3905171"/>
                <a:gd name="connsiteX1445" fmla="*/ 2394751 w 2626806"/>
                <a:gd name="connsiteY1445" fmla="*/ 3758731 h 3905171"/>
                <a:gd name="connsiteX1446" fmla="*/ 2436456 w 2626806"/>
                <a:gd name="connsiteY1446" fmla="*/ 3717026 h 3905171"/>
                <a:gd name="connsiteX1447" fmla="*/ 2478160 w 2626806"/>
                <a:gd name="connsiteY1447" fmla="*/ 3758731 h 3905171"/>
                <a:gd name="connsiteX1448" fmla="*/ 2436456 w 2626806"/>
                <a:gd name="connsiteY1448" fmla="*/ 3800437 h 3905171"/>
                <a:gd name="connsiteX1449" fmla="*/ 1628694 w 2626806"/>
                <a:gd name="connsiteY1449" fmla="*/ 3811412 h 3905171"/>
                <a:gd name="connsiteX1450" fmla="*/ 1580404 w 2626806"/>
                <a:gd name="connsiteY1450" fmla="*/ 3763121 h 3905171"/>
                <a:gd name="connsiteX1451" fmla="*/ 1628694 w 2626806"/>
                <a:gd name="connsiteY1451" fmla="*/ 3714832 h 3905171"/>
                <a:gd name="connsiteX1452" fmla="*/ 1676984 w 2626806"/>
                <a:gd name="connsiteY1452" fmla="*/ 3763121 h 3905171"/>
                <a:gd name="connsiteX1453" fmla="*/ 1628694 w 2626806"/>
                <a:gd name="connsiteY1453" fmla="*/ 3811412 h 3905171"/>
                <a:gd name="connsiteX1454" fmla="*/ 2568156 w 2626806"/>
                <a:gd name="connsiteY1454" fmla="*/ 3822387 h 3905171"/>
                <a:gd name="connsiteX1455" fmla="*/ 2530840 w 2626806"/>
                <a:gd name="connsiteY1455" fmla="*/ 3785072 h 3905171"/>
                <a:gd name="connsiteX1456" fmla="*/ 2568156 w 2626806"/>
                <a:gd name="connsiteY1456" fmla="*/ 3747757 h 3905171"/>
                <a:gd name="connsiteX1457" fmla="*/ 2605470 w 2626806"/>
                <a:gd name="connsiteY1457" fmla="*/ 3785072 h 3905171"/>
                <a:gd name="connsiteX1458" fmla="*/ 2568156 w 2626806"/>
                <a:gd name="connsiteY1458" fmla="*/ 3822387 h 3905171"/>
                <a:gd name="connsiteX1459" fmla="*/ 1365293 w 2626806"/>
                <a:gd name="connsiteY1459" fmla="*/ 3824582 h 3905171"/>
                <a:gd name="connsiteX1460" fmla="*/ 1319198 w 2626806"/>
                <a:gd name="connsiteY1460" fmla="*/ 3778487 h 3905171"/>
                <a:gd name="connsiteX1461" fmla="*/ 1365293 w 2626806"/>
                <a:gd name="connsiteY1461" fmla="*/ 3732392 h 3905171"/>
                <a:gd name="connsiteX1462" fmla="*/ 1411388 w 2626806"/>
                <a:gd name="connsiteY1462" fmla="*/ 3778487 h 3905171"/>
                <a:gd name="connsiteX1463" fmla="*/ 1365293 w 2626806"/>
                <a:gd name="connsiteY1463" fmla="*/ 3824582 h 3905171"/>
                <a:gd name="connsiteX1464" fmla="*/ 1110672 w 2626806"/>
                <a:gd name="connsiteY1464" fmla="*/ 3828971 h 3905171"/>
                <a:gd name="connsiteX1465" fmla="*/ 1057992 w 2626806"/>
                <a:gd name="connsiteY1465" fmla="*/ 3776292 h 3905171"/>
                <a:gd name="connsiteX1466" fmla="*/ 1110672 w 2626806"/>
                <a:gd name="connsiteY1466" fmla="*/ 3723612 h 3905171"/>
                <a:gd name="connsiteX1467" fmla="*/ 1163353 w 2626806"/>
                <a:gd name="connsiteY1467" fmla="*/ 3776292 h 3905171"/>
                <a:gd name="connsiteX1468" fmla="*/ 1110672 w 2626806"/>
                <a:gd name="connsiteY1468" fmla="*/ 3828971 h 3905171"/>
                <a:gd name="connsiteX1469" fmla="*/ 2023795 w 2626806"/>
                <a:gd name="connsiteY1469" fmla="*/ 3833362 h 3905171"/>
                <a:gd name="connsiteX1470" fmla="*/ 1977700 w 2626806"/>
                <a:gd name="connsiteY1470" fmla="*/ 3787266 h 3905171"/>
                <a:gd name="connsiteX1471" fmla="*/ 2023795 w 2626806"/>
                <a:gd name="connsiteY1471" fmla="*/ 3741171 h 3905171"/>
                <a:gd name="connsiteX1472" fmla="*/ 2069890 w 2626806"/>
                <a:gd name="connsiteY1472" fmla="*/ 3787266 h 3905171"/>
                <a:gd name="connsiteX1473" fmla="*/ 2023795 w 2626806"/>
                <a:gd name="connsiteY1473" fmla="*/ 3833362 h 3905171"/>
                <a:gd name="connsiteX1474" fmla="*/ 1747224 w 2626806"/>
                <a:gd name="connsiteY1474" fmla="*/ 3872872 h 3905171"/>
                <a:gd name="connsiteX1475" fmla="*/ 1698933 w 2626806"/>
                <a:gd name="connsiteY1475" fmla="*/ 3824582 h 3905171"/>
                <a:gd name="connsiteX1476" fmla="*/ 1747224 w 2626806"/>
                <a:gd name="connsiteY1476" fmla="*/ 3776292 h 3905171"/>
                <a:gd name="connsiteX1477" fmla="*/ 1795514 w 2626806"/>
                <a:gd name="connsiteY1477" fmla="*/ 3824582 h 3905171"/>
                <a:gd name="connsiteX1478" fmla="*/ 1747224 w 2626806"/>
                <a:gd name="connsiteY1478" fmla="*/ 3872872 h 3905171"/>
                <a:gd name="connsiteX1479" fmla="*/ 965802 w 2626806"/>
                <a:gd name="connsiteY1479" fmla="*/ 3879457 h 3905171"/>
                <a:gd name="connsiteX1480" fmla="*/ 939462 w 2626806"/>
                <a:gd name="connsiteY1480" fmla="*/ 3853117 h 3905171"/>
                <a:gd name="connsiteX1481" fmla="*/ 965802 w 2626806"/>
                <a:gd name="connsiteY1481" fmla="*/ 3826777 h 3905171"/>
                <a:gd name="connsiteX1482" fmla="*/ 992142 w 2626806"/>
                <a:gd name="connsiteY1482" fmla="*/ 3853117 h 3905171"/>
                <a:gd name="connsiteX1483" fmla="*/ 965802 w 2626806"/>
                <a:gd name="connsiteY1483" fmla="*/ 3879457 h 3905171"/>
                <a:gd name="connsiteX1484" fmla="*/ 2148910 w 2626806"/>
                <a:gd name="connsiteY1484" fmla="*/ 3879457 h 3905171"/>
                <a:gd name="connsiteX1485" fmla="*/ 2102815 w 2626806"/>
                <a:gd name="connsiteY1485" fmla="*/ 3833362 h 3905171"/>
                <a:gd name="connsiteX1486" fmla="*/ 2148910 w 2626806"/>
                <a:gd name="connsiteY1486" fmla="*/ 3787266 h 3905171"/>
                <a:gd name="connsiteX1487" fmla="*/ 2195006 w 2626806"/>
                <a:gd name="connsiteY1487" fmla="*/ 3833362 h 3905171"/>
                <a:gd name="connsiteX1488" fmla="*/ 2148910 w 2626806"/>
                <a:gd name="connsiteY1488" fmla="*/ 3879457 h 3905171"/>
                <a:gd name="connsiteX1489" fmla="*/ 1479433 w 2626806"/>
                <a:gd name="connsiteY1489" fmla="*/ 3890431 h 3905171"/>
                <a:gd name="connsiteX1490" fmla="*/ 1435533 w 2626806"/>
                <a:gd name="connsiteY1490" fmla="*/ 3846531 h 3905171"/>
                <a:gd name="connsiteX1491" fmla="*/ 1479433 w 2626806"/>
                <a:gd name="connsiteY1491" fmla="*/ 3802631 h 3905171"/>
                <a:gd name="connsiteX1492" fmla="*/ 1523333 w 2626806"/>
                <a:gd name="connsiteY1492" fmla="*/ 3846531 h 3905171"/>
                <a:gd name="connsiteX1493" fmla="*/ 1479433 w 2626806"/>
                <a:gd name="connsiteY1493" fmla="*/ 3890431 h 3905171"/>
                <a:gd name="connsiteX1494" fmla="*/ 1106195 w 2626806"/>
                <a:gd name="connsiteY1494" fmla="*/ 3905171 h 3905171"/>
                <a:gd name="connsiteX1495" fmla="*/ 1034905 w 2626806"/>
                <a:gd name="connsiteY1495" fmla="*/ 3905171 h 3905171"/>
                <a:gd name="connsiteX1496" fmla="*/ 1039060 w 2626806"/>
                <a:gd name="connsiteY1496" fmla="*/ 3899211 h 3905171"/>
                <a:gd name="connsiteX1497" fmla="*/ 1071162 w 2626806"/>
                <a:gd name="connsiteY1497" fmla="*/ 3886041 h 3905171"/>
                <a:gd name="connsiteX1498" fmla="*/ 1104087 w 2626806"/>
                <a:gd name="connsiteY1498" fmla="*/ 3900035 h 3905171"/>
                <a:gd name="connsiteX1499" fmla="*/ 1225200 w 2626806"/>
                <a:gd name="connsiteY1499" fmla="*/ 3905171 h 3905171"/>
                <a:gd name="connsiteX1500" fmla="*/ 1211629 w 2626806"/>
                <a:gd name="connsiteY1500" fmla="*/ 3905171 h 3905171"/>
                <a:gd name="connsiteX1501" fmla="*/ 1182285 w 2626806"/>
                <a:gd name="connsiteY1501" fmla="*/ 3892627 h 3905171"/>
                <a:gd name="connsiteX1502" fmla="*/ 1167743 w 2626806"/>
                <a:gd name="connsiteY1502" fmla="*/ 3857506 h 3905171"/>
                <a:gd name="connsiteX1503" fmla="*/ 1218228 w 2626806"/>
                <a:gd name="connsiteY1503" fmla="*/ 3807022 h 3905171"/>
                <a:gd name="connsiteX1504" fmla="*/ 1268713 w 2626806"/>
                <a:gd name="connsiteY1504" fmla="*/ 3857506 h 3905171"/>
                <a:gd name="connsiteX1505" fmla="*/ 1254171 w 2626806"/>
                <a:gd name="connsiteY1505" fmla="*/ 3893450 h 3905171"/>
                <a:gd name="connsiteX1506" fmla="*/ 1371361 w 2626806"/>
                <a:gd name="connsiteY1506" fmla="*/ 3905171 h 3905171"/>
                <a:gd name="connsiteX1507" fmla="*/ 1284594 w 2626806"/>
                <a:gd name="connsiteY1507" fmla="*/ 3905171 h 3905171"/>
                <a:gd name="connsiteX1508" fmla="*/ 1292034 w 2626806"/>
                <a:gd name="connsiteY1508" fmla="*/ 3893998 h 3905171"/>
                <a:gd name="connsiteX1509" fmla="*/ 1327977 w 2626806"/>
                <a:gd name="connsiteY1509" fmla="*/ 3879456 h 3905171"/>
                <a:gd name="connsiteX1510" fmla="*/ 1363920 w 2626806"/>
                <a:gd name="connsiteY1510" fmla="*/ 3893998 h 3905171"/>
                <a:gd name="connsiteX1511" fmla="*/ 1634475 w 2626806"/>
                <a:gd name="connsiteY1511" fmla="*/ 3905171 h 3905171"/>
                <a:gd name="connsiteX1512" fmla="*/ 1552672 w 2626806"/>
                <a:gd name="connsiteY1512" fmla="*/ 3905171 h 3905171"/>
                <a:gd name="connsiteX1513" fmla="*/ 1562569 w 2626806"/>
                <a:gd name="connsiteY1513" fmla="*/ 3881377 h 3905171"/>
                <a:gd name="connsiteX1514" fmla="*/ 1593574 w 2626806"/>
                <a:gd name="connsiteY1514" fmla="*/ 3868481 h 3905171"/>
                <a:gd name="connsiteX1515" fmla="*/ 1624578 w 2626806"/>
                <a:gd name="connsiteY1515" fmla="*/ 3881377 h 3905171"/>
                <a:gd name="connsiteX1516" fmla="*/ 1909099 w 2626806"/>
                <a:gd name="connsiteY1516" fmla="*/ 3905171 h 3905171"/>
                <a:gd name="connsiteX1517" fmla="*/ 1824848 w 2626806"/>
                <a:gd name="connsiteY1517" fmla="*/ 3905171 h 3905171"/>
                <a:gd name="connsiteX1518" fmla="*/ 1822266 w 2626806"/>
                <a:gd name="connsiteY1518" fmla="*/ 3901235 h 3905171"/>
                <a:gd name="connsiteX1519" fmla="*/ 1819659 w 2626806"/>
                <a:gd name="connsiteY1519" fmla="*/ 3881652 h 3905171"/>
                <a:gd name="connsiteX1520" fmla="*/ 1867949 w 2626806"/>
                <a:gd name="connsiteY1520" fmla="*/ 3833362 h 3905171"/>
                <a:gd name="connsiteX1521" fmla="*/ 1916239 w 2626806"/>
                <a:gd name="connsiteY1521" fmla="*/ 3881652 h 3905171"/>
                <a:gd name="connsiteX1522" fmla="*/ 1912398 w 2626806"/>
                <a:gd name="connsiteY1522" fmla="*/ 3900310 h 3905171"/>
                <a:gd name="connsiteX1523" fmla="*/ 2029680 w 2626806"/>
                <a:gd name="connsiteY1523" fmla="*/ 3905171 h 3905171"/>
                <a:gd name="connsiteX1524" fmla="*/ 1952059 w 2626806"/>
                <a:gd name="connsiteY1524" fmla="*/ 3905171 h 3905171"/>
                <a:gd name="connsiteX1525" fmla="*/ 1956847 w 2626806"/>
                <a:gd name="connsiteY1525" fmla="*/ 3898115 h 3905171"/>
                <a:gd name="connsiteX1526" fmla="*/ 1990869 w 2626806"/>
                <a:gd name="connsiteY1526" fmla="*/ 3883847 h 3905171"/>
                <a:gd name="connsiteX1527" fmla="*/ 2024892 w 2626806"/>
                <a:gd name="connsiteY1527" fmla="*/ 3898115 h 3905171"/>
                <a:gd name="connsiteX1528" fmla="*/ 2304497 w 2626806"/>
                <a:gd name="connsiteY1528" fmla="*/ 3905171 h 3905171"/>
                <a:gd name="connsiteX1529" fmla="*/ 2247217 w 2626806"/>
                <a:gd name="connsiteY1529" fmla="*/ 3905171 h 3905171"/>
                <a:gd name="connsiteX1530" fmla="*/ 2243294 w 2626806"/>
                <a:gd name="connsiteY1530" fmla="*/ 3903602 h 3905171"/>
                <a:gd name="connsiteX1531" fmla="*/ 2230124 w 2626806"/>
                <a:gd name="connsiteY1531" fmla="*/ 3870677 h 3905171"/>
                <a:gd name="connsiteX1532" fmla="*/ 2276219 w 2626806"/>
                <a:gd name="connsiteY1532" fmla="*/ 3824581 h 3905171"/>
                <a:gd name="connsiteX1533" fmla="*/ 2322315 w 2626806"/>
                <a:gd name="connsiteY1533" fmla="*/ 3870677 h 3905171"/>
                <a:gd name="connsiteX1534" fmla="*/ 2308322 w 2626806"/>
                <a:gd name="connsiteY1534" fmla="*/ 3903602 h 3905171"/>
                <a:gd name="connsiteX1535" fmla="*/ 2448998 w 2626806"/>
                <a:gd name="connsiteY1535" fmla="*/ 3905171 h 3905171"/>
                <a:gd name="connsiteX1536" fmla="*/ 2357761 w 2626806"/>
                <a:gd name="connsiteY1536" fmla="*/ 3905171 h 3905171"/>
                <a:gd name="connsiteX1537" fmla="*/ 2357435 w 2626806"/>
                <a:gd name="connsiteY1537" fmla="*/ 3903602 h 3905171"/>
                <a:gd name="connsiteX1538" fmla="*/ 2403531 w 2626806"/>
                <a:gd name="connsiteY1538" fmla="*/ 3857506 h 3905171"/>
                <a:gd name="connsiteX1539" fmla="*/ 2449625 w 2626806"/>
                <a:gd name="connsiteY1539" fmla="*/ 3903602 h 3905171"/>
                <a:gd name="connsiteX1540" fmla="*/ 2565556 w 2626806"/>
                <a:gd name="connsiteY1540" fmla="*/ 3905171 h 3905171"/>
                <a:gd name="connsiteX1541" fmla="*/ 2504463 w 2626806"/>
                <a:gd name="connsiteY1541" fmla="*/ 3905171 h 3905171"/>
                <a:gd name="connsiteX1542" fmla="*/ 2505322 w 2626806"/>
                <a:gd name="connsiteY1542" fmla="*/ 3903053 h 3905171"/>
                <a:gd name="connsiteX1543" fmla="*/ 2535230 w 2626806"/>
                <a:gd name="connsiteY1543" fmla="*/ 3890431 h 3905171"/>
                <a:gd name="connsiteX1544" fmla="*/ 2564315 w 2626806"/>
                <a:gd name="connsiteY1544" fmla="*/ 3902230 h 390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Lst>
              <a:rect l="l" t="t" r="r" b="b"/>
              <a:pathLst>
                <a:path w="2626806" h="3905171">
                  <a:moveTo>
                    <a:pt x="1200667" y="3105"/>
                  </a:moveTo>
                  <a:cubicBezTo>
                    <a:pt x="1199570" y="2007"/>
                    <a:pt x="1199570" y="909"/>
                    <a:pt x="1199844" y="361"/>
                  </a:cubicBezTo>
                  <a:cubicBezTo>
                    <a:pt x="1200118" y="-188"/>
                    <a:pt x="1200667" y="-188"/>
                    <a:pt x="1200667" y="909"/>
                  </a:cubicBezTo>
                  <a:cubicBezTo>
                    <a:pt x="1200667" y="909"/>
                    <a:pt x="1202862" y="909"/>
                    <a:pt x="1200667" y="3105"/>
                  </a:cubicBezTo>
                  <a:close/>
                  <a:moveTo>
                    <a:pt x="1126038" y="115049"/>
                  </a:moveTo>
                  <a:cubicBezTo>
                    <a:pt x="1123842" y="115049"/>
                    <a:pt x="1121648" y="112853"/>
                    <a:pt x="1121648" y="110659"/>
                  </a:cubicBezTo>
                  <a:cubicBezTo>
                    <a:pt x="1121648" y="108463"/>
                    <a:pt x="1123842" y="106269"/>
                    <a:pt x="1126038" y="106269"/>
                  </a:cubicBezTo>
                  <a:cubicBezTo>
                    <a:pt x="1128232" y="106269"/>
                    <a:pt x="1130428" y="108463"/>
                    <a:pt x="1130428" y="110659"/>
                  </a:cubicBezTo>
                  <a:cubicBezTo>
                    <a:pt x="1130428" y="112853"/>
                    <a:pt x="1128232" y="115049"/>
                    <a:pt x="1126038" y="115049"/>
                  </a:cubicBezTo>
                  <a:close/>
                  <a:moveTo>
                    <a:pt x="924097" y="167725"/>
                  </a:moveTo>
                  <a:cubicBezTo>
                    <a:pt x="919707" y="167725"/>
                    <a:pt x="917512" y="163335"/>
                    <a:pt x="917512" y="161140"/>
                  </a:cubicBezTo>
                  <a:cubicBezTo>
                    <a:pt x="917512" y="156750"/>
                    <a:pt x="919707" y="154555"/>
                    <a:pt x="924097" y="154555"/>
                  </a:cubicBezTo>
                  <a:cubicBezTo>
                    <a:pt x="928487" y="154555"/>
                    <a:pt x="930682" y="156750"/>
                    <a:pt x="930682" y="161140"/>
                  </a:cubicBezTo>
                  <a:cubicBezTo>
                    <a:pt x="930682" y="165530"/>
                    <a:pt x="928487" y="167725"/>
                    <a:pt x="924097" y="167725"/>
                  </a:cubicBezTo>
                  <a:close/>
                  <a:moveTo>
                    <a:pt x="1259933" y="178707"/>
                  </a:moveTo>
                  <a:cubicBezTo>
                    <a:pt x="1257738" y="178707"/>
                    <a:pt x="1257738" y="176512"/>
                    <a:pt x="1257738" y="176512"/>
                  </a:cubicBezTo>
                  <a:cubicBezTo>
                    <a:pt x="1257738" y="176512"/>
                    <a:pt x="1257738" y="174318"/>
                    <a:pt x="1259933" y="174318"/>
                  </a:cubicBezTo>
                  <a:cubicBezTo>
                    <a:pt x="1259933" y="174318"/>
                    <a:pt x="1262128" y="174318"/>
                    <a:pt x="1262128" y="176512"/>
                  </a:cubicBezTo>
                  <a:cubicBezTo>
                    <a:pt x="1262128" y="176512"/>
                    <a:pt x="1262128" y="178707"/>
                    <a:pt x="1259933" y="178707"/>
                  </a:cubicBezTo>
                  <a:close/>
                  <a:moveTo>
                    <a:pt x="1057992" y="229189"/>
                  </a:moveTo>
                  <a:cubicBezTo>
                    <a:pt x="1055797" y="229189"/>
                    <a:pt x="1053602" y="226994"/>
                    <a:pt x="1053602" y="224799"/>
                  </a:cubicBezTo>
                  <a:cubicBezTo>
                    <a:pt x="1053602" y="222604"/>
                    <a:pt x="1055797" y="220409"/>
                    <a:pt x="1057992" y="220409"/>
                  </a:cubicBezTo>
                  <a:cubicBezTo>
                    <a:pt x="1060187" y="220409"/>
                    <a:pt x="1062382" y="222604"/>
                    <a:pt x="1062382" y="224799"/>
                  </a:cubicBezTo>
                  <a:cubicBezTo>
                    <a:pt x="1062382" y="226994"/>
                    <a:pt x="1060187" y="229189"/>
                    <a:pt x="1057992" y="229189"/>
                  </a:cubicBezTo>
                  <a:close/>
                  <a:moveTo>
                    <a:pt x="862637" y="284060"/>
                  </a:moveTo>
                  <a:cubicBezTo>
                    <a:pt x="860442" y="284060"/>
                    <a:pt x="856052" y="281865"/>
                    <a:pt x="856052" y="277476"/>
                  </a:cubicBezTo>
                  <a:cubicBezTo>
                    <a:pt x="856052" y="273086"/>
                    <a:pt x="858247" y="270890"/>
                    <a:pt x="862637" y="270890"/>
                  </a:cubicBezTo>
                  <a:cubicBezTo>
                    <a:pt x="867027" y="270890"/>
                    <a:pt x="869222" y="273086"/>
                    <a:pt x="869222" y="277476"/>
                  </a:cubicBezTo>
                  <a:cubicBezTo>
                    <a:pt x="869222" y="281865"/>
                    <a:pt x="867027" y="284060"/>
                    <a:pt x="862637" y="284060"/>
                  </a:cubicBezTo>
                  <a:close/>
                  <a:moveTo>
                    <a:pt x="676061" y="338932"/>
                  </a:moveTo>
                  <a:cubicBezTo>
                    <a:pt x="673866" y="338932"/>
                    <a:pt x="671671" y="336737"/>
                    <a:pt x="671671" y="334542"/>
                  </a:cubicBezTo>
                  <a:cubicBezTo>
                    <a:pt x="671671" y="332347"/>
                    <a:pt x="673866" y="330153"/>
                    <a:pt x="676061" y="330153"/>
                  </a:cubicBezTo>
                  <a:cubicBezTo>
                    <a:pt x="678257" y="330153"/>
                    <a:pt x="680451" y="332347"/>
                    <a:pt x="680451" y="334542"/>
                  </a:cubicBezTo>
                  <a:cubicBezTo>
                    <a:pt x="680451" y="336737"/>
                    <a:pt x="678257" y="338932"/>
                    <a:pt x="676061" y="338932"/>
                  </a:cubicBezTo>
                  <a:close/>
                  <a:moveTo>
                    <a:pt x="996532" y="352109"/>
                  </a:moveTo>
                  <a:cubicBezTo>
                    <a:pt x="992142" y="352109"/>
                    <a:pt x="987752" y="347718"/>
                    <a:pt x="987752" y="343329"/>
                  </a:cubicBezTo>
                  <a:cubicBezTo>
                    <a:pt x="987752" y="338938"/>
                    <a:pt x="992142" y="334548"/>
                    <a:pt x="996532" y="334548"/>
                  </a:cubicBezTo>
                  <a:cubicBezTo>
                    <a:pt x="1000922" y="334548"/>
                    <a:pt x="1005312" y="338938"/>
                    <a:pt x="1005312" y="343329"/>
                  </a:cubicBezTo>
                  <a:cubicBezTo>
                    <a:pt x="1005312" y="347718"/>
                    <a:pt x="1000922" y="352109"/>
                    <a:pt x="996532" y="352109"/>
                  </a:cubicBezTo>
                  <a:close/>
                  <a:moveTo>
                    <a:pt x="807762" y="404785"/>
                  </a:moveTo>
                  <a:cubicBezTo>
                    <a:pt x="805567" y="404785"/>
                    <a:pt x="803372" y="402590"/>
                    <a:pt x="803372" y="400395"/>
                  </a:cubicBezTo>
                  <a:cubicBezTo>
                    <a:pt x="803372" y="398200"/>
                    <a:pt x="805567" y="396005"/>
                    <a:pt x="807762" y="396005"/>
                  </a:cubicBezTo>
                  <a:cubicBezTo>
                    <a:pt x="809957" y="396005"/>
                    <a:pt x="812152" y="398200"/>
                    <a:pt x="812152" y="400395"/>
                  </a:cubicBezTo>
                  <a:cubicBezTo>
                    <a:pt x="812152" y="402590"/>
                    <a:pt x="809957" y="404785"/>
                    <a:pt x="807762" y="404785"/>
                  </a:cubicBezTo>
                  <a:close/>
                  <a:moveTo>
                    <a:pt x="1130428" y="409182"/>
                  </a:moveTo>
                  <a:cubicBezTo>
                    <a:pt x="1128232" y="409182"/>
                    <a:pt x="1126038" y="409182"/>
                    <a:pt x="1128232" y="406987"/>
                  </a:cubicBezTo>
                  <a:cubicBezTo>
                    <a:pt x="1128232" y="406987"/>
                    <a:pt x="1130428" y="404792"/>
                    <a:pt x="1130428" y="404792"/>
                  </a:cubicBezTo>
                  <a:cubicBezTo>
                    <a:pt x="1130428" y="404792"/>
                    <a:pt x="1132623" y="404792"/>
                    <a:pt x="1132623" y="406987"/>
                  </a:cubicBezTo>
                  <a:cubicBezTo>
                    <a:pt x="1132623" y="406987"/>
                    <a:pt x="1132623" y="409182"/>
                    <a:pt x="1130428" y="409182"/>
                  </a:cubicBezTo>
                  <a:close/>
                  <a:moveTo>
                    <a:pt x="627771" y="466241"/>
                  </a:moveTo>
                  <a:cubicBezTo>
                    <a:pt x="623381" y="466241"/>
                    <a:pt x="618991" y="464046"/>
                    <a:pt x="621186" y="459656"/>
                  </a:cubicBezTo>
                  <a:cubicBezTo>
                    <a:pt x="621186" y="457462"/>
                    <a:pt x="623381" y="453072"/>
                    <a:pt x="627771" y="453072"/>
                  </a:cubicBezTo>
                  <a:cubicBezTo>
                    <a:pt x="629966" y="453072"/>
                    <a:pt x="634356" y="455266"/>
                    <a:pt x="634356" y="459656"/>
                  </a:cubicBezTo>
                  <a:cubicBezTo>
                    <a:pt x="634356" y="461852"/>
                    <a:pt x="632161" y="466241"/>
                    <a:pt x="627771" y="466241"/>
                  </a:cubicBezTo>
                  <a:close/>
                  <a:moveTo>
                    <a:pt x="941657" y="470639"/>
                  </a:moveTo>
                  <a:cubicBezTo>
                    <a:pt x="939462" y="470639"/>
                    <a:pt x="935072" y="468444"/>
                    <a:pt x="935072" y="464053"/>
                  </a:cubicBezTo>
                  <a:cubicBezTo>
                    <a:pt x="935072" y="459664"/>
                    <a:pt x="939462" y="457468"/>
                    <a:pt x="941657" y="457468"/>
                  </a:cubicBezTo>
                  <a:cubicBezTo>
                    <a:pt x="946047" y="457468"/>
                    <a:pt x="948242" y="459664"/>
                    <a:pt x="948242" y="464053"/>
                  </a:cubicBezTo>
                  <a:cubicBezTo>
                    <a:pt x="948242" y="468444"/>
                    <a:pt x="943852" y="470639"/>
                    <a:pt x="941657" y="470639"/>
                  </a:cubicBezTo>
                  <a:close/>
                  <a:moveTo>
                    <a:pt x="761667" y="529905"/>
                  </a:moveTo>
                  <a:cubicBezTo>
                    <a:pt x="757277" y="529905"/>
                    <a:pt x="755082" y="527710"/>
                    <a:pt x="755082" y="523320"/>
                  </a:cubicBezTo>
                  <a:cubicBezTo>
                    <a:pt x="755082" y="518931"/>
                    <a:pt x="757277" y="516734"/>
                    <a:pt x="761667" y="516734"/>
                  </a:cubicBezTo>
                  <a:cubicBezTo>
                    <a:pt x="766057" y="516734"/>
                    <a:pt x="768252" y="518931"/>
                    <a:pt x="768252" y="523320"/>
                  </a:cubicBezTo>
                  <a:cubicBezTo>
                    <a:pt x="768252" y="527710"/>
                    <a:pt x="766057" y="529905"/>
                    <a:pt x="761667" y="529905"/>
                  </a:cubicBezTo>
                  <a:close/>
                  <a:moveTo>
                    <a:pt x="586066" y="593557"/>
                  </a:moveTo>
                  <a:cubicBezTo>
                    <a:pt x="581676" y="593557"/>
                    <a:pt x="577286" y="589166"/>
                    <a:pt x="579481" y="586972"/>
                  </a:cubicBezTo>
                  <a:cubicBezTo>
                    <a:pt x="579481" y="584776"/>
                    <a:pt x="581676" y="580387"/>
                    <a:pt x="586066" y="580387"/>
                  </a:cubicBezTo>
                  <a:cubicBezTo>
                    <a:pt x="588261" y="580387"/>
                    <a:pt x="592651" y="582582"/>
                    <a:pt x="592651" y="586972"/>
                  </a:cubicBezTo>
                  <a:cubicBezTo>
                    <a:pt x="592651" y="589166"/>
                    <a:pt x="590456" y="593557"/>
                    <a:pt x="586066" y="593557"/>
                  </a:cubicBezTo>
                  <a:close/>
                  <a:moveTo>
                    <a:pt x="895563" y="593563"/>
                  </a:moveTo>
                  <a:cubicBezTo>
                    <a:pt x="893367" y="593563"/>
                    <a:pt x="891173" y="591367"/>
                    <a:pt x="891173" y="589174"/>
                  </a:cubicBezTo>
                  <a:cubicBezTo>
                    <a:pt x="891173" y="586979"/>
                    <a:pt x="893367" y="584784"/>
                    <a:pt x="895563" y="584784"/>
                  </a:cubicBezTo>
                  <a:cubicBezTo>
                    <a:pt x="897757" y="584784"/>
                    <a:pt x="899953" y="586979"/>
                    <a:pt x="899953" y="589174"/>
                  </a:cubicBezTo>
                  <a:cubicBezTo>
                    <a:pt x="899953" y="591367"/>
                    <a:pt x="897757" y="593563"/>
                    <a:pt x="895563" y="593563"/>
                  </a:cubicBezTo>
                  <a:close/>
                  <a:moveTo>
                    <a:pt x="1029457" y="657221"/>
                  </a:moveTo>
                  <a:cubicBezTo>
                    <a:pt x="1027033" y="657221"/>
                    <a:pt x="1025067" y="655258"/>
                    <a:pt x="1025067" y="652833"/>
                  </a:cubicBezTo>
                  <a:cubicBezTo>
                    <a:pt x="1025067" y="650408"/>
                    <a:pt x="1027033" y="648443"/>
                    <a:pt x="1029457" y="648443"/>
                  </a:cubicBezTo>
                  <a:cubicBezTo>
                    <a:pt x="1031882" y="648443"/>
                    <a:pt x="1033847" y="650408"/>
                    <a:pt x="1033847" y="652833"/>
                  </a:cubicBezTo>
                  <a:cubicBezTo>
                    <a:pt x="1033847" y="655258"/>
                    <a:pt x="1031882" y="657221"/>
                    <a:pt x="1029457" y="657221"/>
                  </a:cubicBezTo>
                  <a:close/>
                  <a:moveTo>
                    <a:pt x="719962" y="661605"/>
                  </a:moveTo>
                  <a:cubicBezTo>
                    <a:pt x="715572" y="661605"/>
                    <a:pt x="708987" y="657215"/>
                    <a:pt x="708987" y="650631"/>
                  </a:cubicBezTo>
                  <a:cubicBezTo>
                    <a:pt x="708987" y="644046"/>
                    <a:pt x="713377" y="639656"/>
                    <a:pt x="719962" y="639656"/>
                  </a:cubicBezTo>
                  <a:cubicBezTo>
                    <a:pt x="726546" y="639656"/>
                    <a:pt x="730936" y="644046"/>
                    <a:pt x="730936" y="650631"/>
                  </a:cubicBezTo>
                  <a:cubicBezTo>
                    <a:pt x="730936" y="657215"/>
                    <a:pt x="726546" y="661605"/>
                    <a:pt x="719962" y="661605"/>
                  </a:cubicBezTo>
                  <a:close/>
                  <a:moveTo>
                    <a:pt x="550946" y="720866"/>
                  </a:moveTo>
                  <a:cubicBezTo>
                    <a:pt x="546556" y="720866"/>
                    <a:pt x="544361" y="718672"/>
                    <a:pt x="544361" y="714282"/>
                  </a:cubicBezTo>
                  <a:cubicBezTo>
                    <a:pt x="544361" y="712086"/>
                    <a:pt x="546556" y="707697"/>
                    <a:pt x="550946" y="707697"/>
                  </a:cubicBezTo>
                  <a:cubicBezTo>
                    <a:pt x="553141" y="707697"/>
                    <a:pt x="557531" y="709892"/>
                    <a:pt x="557531" y="714282"/>
                  </a:cubicBezTo>
                  <a:cubicBezTo>
                    <a:pt x="557531" y="716477"/>
                    <a:pt x="555336" y="720866"/>
                    <a:pt x="550946" y="720866"/>
                  </a:cubicBezTo>
                  <a:close/>
                  <a:moveTo>
                    <a:pt x="856052" y="723070"/>
                  </a:moveTo>
                  <a:cubicBezTo>
                    <a:pt x="851662" y="723070"/>
                    <a:pt x="849467" y="718680"/>
                    <a:pt x="849467" y="716484"/>
                  </a:cubicBezTo>
                  <a:cubicBezTo>
                    <a:pt x="849467" y="714288"/>
                    <a:pt x="851662" y="709900"/>
                    <a:pt x="856052" y="709900"/>
                  </a:cubicBezTo>
                  <a:cubicBezTo>
                    <a:pt x="858247" y="709900"/>
                    <a:pt x="862637" y="712094"/>
                    <a:pt x="862637" y="716484"/>
                  </a:cubicBezTo>
                  <a:cubicBezTo>
                    <a:pt x="862637" y="718680"/>
                    <a:pt x="860442" y="723070"/>
                    <a:pt x="856052" y="723070"/>
                  </a:cubicBezTo>
                  <a:close/>
                  <a:moveTo>
                    <a:pt x="384126" y="782321"/>
                  </a:moveTo>
                  <a:cubicBezTo>
                    <a:pt x="381931" y="782321"/>
                    <a:pt x="379736" y="780126"/>
                    <a:pt x="379736" y="777931"/>
                  </a:cubicBezTo>
                  <a:cubicBezTo>
                    <a:pt x="379736" y="775737"/>
                    <a:pt x="381931" y="773541"/>
                    <a:pt x="384126" y="773541"/>
                  </a:cubicBezTo>
                  <a:cubicBezTo>
                    <a:pt x="386321" y="773541"/>
                    <a:pt x="388516" y="775737"/>
                    <a:pt x="388516" y="777931"/>
                  </a:cubicBezTo>
                  <a:cubicBezTo>
                    <a:pt x="388516" y="780126"/>
                    <a:pt x="386321" y="782321"/>
                    <a:pt x="384126" y="782321"/>
                  </a:cubicBezTo>
                  <a:close/>
                  <a:moveTo>
                    <a:pt x="992142" y="784532"/>
                  </a:moveTo>
                  <a:cubicBezTo>
                    <a:pt x="989947" y="784532"/>
                    <a:pt x="989947" y="782337"/>
                    <a:pt x="989947" y="782337"/>
                  </a:cubicBezTo>
                  <a:cubicBezTo>
                    <a:pt x="989947" y="782337"/>
                    <a:pt x="989947" y="780142"/>
                    <a:pt x="992142" y="780142"/>
                  </a:cubicBezTo>
                  <a:cubicBezTo>
                    <a:pt x="992142" y="780142"/>
                    <a:pt x="994337" y="782337"/>
                    <a:pt x="994337" y="782337"/>
                  </a:cubicBezTo>
                  <a:cubicBezTo>
                    <a:pt x="994337" y="782337"/>
                    <a:pt x="994337" y="784532"/>
                    <a:pt x="992142" y="784532"/>
                  </a:cubicBezTo>
                  <a:close/>
                  <a:moveTo>
                    <a:pt x="687037" y="788915"/>
                  </a:moveTo>
                  <a:cubicBezTo>
                    <a:pt x="682187" y="788915"/>
                    <a:pt x="678257" y="784984"/>
                    <a:pt x="678257" y="780135"/>
                  </a:cubicBezTo>
                  <a:cubicBezTo>
                    <a:pt x="678257" y="775286"/>
                    <a:pt x="682187" y="771355"/>
                    <a:pt x="687037" y="771355"/>
                  </a:cubicBezTo>
                  <a:cubicBezTo>
                    <a:pt x="691886" y="771355"/>
                    <a:pt x="695817" y="775286"/>
                    <a:pt x="695817" y="780135"/>
                  </a:cubicBezTo>
                  <a:cubicBezTo>
                    <a:pt x="695817" y="784984"/>
                    <a:pt x="691886" y="788915"/>
                    <a:pt x="687037" y="788915"/>
                  </a:cubicBezTo>
                  <a:close/>
                  <a:moveTo>
                    <a:pt x="1128232" y="848193"/>
                  </a:moveTo>
                  <a:cubicBezTo>
                    <a:pt x="1126038" y="848193"/>
                    <a:pt x="1126038" y="848193"/>
                    <a:pt x="1126038" y="845997"/>
                  </a:cubicBezTo>
                  <a:cubicBezTo>
                    <a:pt x="1126038" y="845997"/>
                    <a:pt x="1128232" y="843803"/>
                    <a:pt x="1128232" y="843803"/>
                  </a:cubicBezTo>
                  <a:cubicBezTo>
                    <a:pt x="1128232" y="843803"/>
                    <a:pt x="1130428" y="843803"/>
                    <a:pt x="1130428" y="845997"/>
                  </a:cubicBezTo>
                  <a:cubicBezTo>
                    <a:pt x="1130428" y="845997"/>
                    <a:pt x="1130428" y="848193"/>
                    <a:pt x="1128232" y="848193"/>
                  </a:cubicBezTo>
                  <a:close/>
                  <a:moveTo>
                    <a:pt x="825322" y="852574"/>
                  </a:moveTo>
                  <a:cubicBezTo>
                    <a:pt x="820932" y="852574"/>
                    <a:pt x="816542" y="848183"/>
                    <a:pt x="818737" y="845989"/>
                  </a:cubicBezTo>
                  <a:cubicBezTo>
                    <a:pt x="818737" y="843793"/>
                    <a:pt x="820932" y="839403"/>
                    <a:pt x="825322" y="839403"/>
                  </a:cubicBezTo>
                  <a:cubicBezTo>
                    <a:pt x="827517" y="839403"/>
                    <a:pt x="831907" y="841597"/>
                    <a:pt x="831907" y="845989"/>
                  </a:cubicBezTo>
                  <a:cubicBezTo>
                    <a:pt x="831907" y="848183"/>
                    <a:pt x="829712" y="852574"/>
                    <a:pt x="825322" y="852574"/>
                  </a:cubicBezTo>
                  <a:close/>
                  <a:moveTo>
                    <a:pt x="522412" y="854761"/>
                  </a:moveTo>
                  <a:cubicBezTo>
                    <a:pt x="515827" y="854761"/>
                    <a:pt x="511437" y="850371"/>
                    <a:pt x="511437" y="843786"/>
                  </a:cubicBezTo>
                  <a:cubicBezTo>
                    <a:pt x="511437" y="837202"/>
                    <a:pt x="515827" y="832812"/>
                    <a:pt x="522412" y="832812"/>
                  </a:cubicBezTo>
                  <a:cubicBezTo>
                    <a:pt x="528996" y="832812"/>
                    <a:pt x="533386" y="837202"/>
                    <a:pt x="533386" y="843786"/>
                  </a:cubicBezTo>
                  <a:cubicBezTo>
                    <a:pt x="533386" y="850371"/>
                    <a:pt x="528996" y="854761"/>
                    <a:pt x="522412" y="854761"/>
                  </a:cubicBezTo>
                  <a:close/>
                  <a:moveTo>
                    <a:pt x="963607" y="914039"/>
                  </a:moveTo>
                  <a:cubicBezTo>
                    <a:pt x="959217" y="914039"/>
                    <a:pt x="957023" y="911845"/>
                    <a:pt x="959217" y="909650"/>
                  </a:cubicBezTo>
                  <a:cubicBezTo>
                    <a:pt x="959217" y="907454"/>
                    <a:pt x="961413" y="905260"/>
                    <a:pt x="963607" y="905260"/>
                  </a:cubicBezTo>
                  <a:cubicBezTo>
                    <a:pt x="965803" y="905260"/>
                    <a:pt x="967997" y="907454"/>
                    <a:pt x="967997" y="909650"/>
                  </a:cubicBezTo>
                  <a:cubicBezTo>
                    <a:pt x="967997" y="911845"/>
                    <a:pt x="965803" y="914039"/>
                    <a:pt x="963607" y="914039"/>
                  </a:cubicBezTo>
                  <a:close/>
                  <a:moveTo>
                    <a:pt x="362176" y="918413"/>
                  </a:moveTo>
                  <a:cubicBezTo>
                    <a:pt x="357327" y="918413"/>
                    <a:pt x="353396" y="914482"/>
                    <a:pt x="353396" y="909633"/>
                  </a:cubicBezTo>
                  <a:cubicBezTo>
                    <a:pt x="353396" y="904783"/>
                    <a:pt x="357327" y="900853"/>
                    <a:pt x="362176" y="900853"/>
                  </a:cubicBezTo>
                  <a:cubicBezTo>
                    <a:pt x="367025" y="900853"/>
                    <a:pt x="370956" y="904783"/>
                    <a:pt x="370956" y="909633"/>
                  </a:cubicBezTo>
                  <a:cubicBezTo>
                    <a:pt x="370956" y="914482"/>
                    <a:pt x="367025" y="918413"/>
                    <a:pt x="362176" y="918413"/>
                  </a:cubicBezTo>
                  <a:close/>
                  <a:moveTo>
                    <a:pt x="662892" y="922812"/>
                  </a:moveTo>
                  <a:cubicBezTo>
                    <a:pt x="654112" y="922812"/>
                    <a:pt x="649722" y="916226"/>
                    <a:pt x="649722" y="909641"/>
                  </a:cubicBezTo>
                  <a:cubicBezTo>
                    <a:pt x="649722" y="900861"/>
                    <a:pt x="656306" y="896470"/>
                    <a:pt x="662892" y="896470"/>
                  </a:cubicBezTo>
                  <a:cubicBezTo>
                    <a:pt x="671671" y="896470"/>
                    <a:pt x="676061" y="903056"/>
                    <a:pt x="676061" y="909641"/>
                  </a:cubicBezTo>
                  <a:cubicBezTo>
                    <a:pt x="676061" y="916226"/>
                    <a:pt x="669476" y="922812"/>
                    <a:pt x="662892" y="922812"/>
                  </a:cubicBezTo>
                  <a:close/>
                  <a:moveTo>
                    <a:pt x="801177" y="982080"/>
                  </a:moveTo>
                  <a:cubicBezTo>
                    <a:pt x="796787" y="982080"/>
                    <a:pt x="792397" y="979884"/>
                    <a:pt x="792397" y="973300"/>
                  </a:cubicBezTo>
                  <a:cubicBezTo>
                    <a:pt x="792397" y="968910"/>
                    <a:pt x="796787" y="964521"/>
                    <a:pt x="801177" y="964521"/>
                  </a:cubicBezTo>
                  <a:cubicBezTo>
                    <a:pt x="805567" y="964521"/>
                    <a:pt x="809957" y="968910"/>
                    <a:pt x="809957" y="973300"/>
                  </a:cubicBezTo>
                  <a:cubicBezTo>
                    <a:pt x="809957" y="977690"/>
                    <a:pt x="805567" y="982080"/>
                    <a:pt x="801177" y="982080"/>
                  </a:cubicBezTo>
                  <a:close/>
                  <a:moveTo>
                    <a:pt x="502657" y="990852"/>
                  </a:moveTo>
                  <a:cubicBezTo>
                    <a:pt x="494171" y="990852"/>
                    <a:pt x="487291" y="983972"/>
                    <a:pt x="487291" y="975487"/>
                  </a:cubicBezTo>
                  <a:cubicBezTo>
                    <a:pt x="487291" y="967001"/>
                    <a:pt x="494171" y="960123"/>
                    <a:pt x="502657" y="960123"/>
                  </a:cubicBezTo>
                  <a:cubicBezTo>
                    <a:pt x="511142" y="960123"/>
                    <a:pt x="518022" y="967001"/>
                    <a:pt x="518022" y="975487"/>
                  </a:cubicBezTo>
                  <a:cubicBezTo>
                    <a:pt x="518022" y="983972"/>
                    <a:pt x="511142" y="990852"/>
                    <a:pt x="502657" y="990852"/>
                  </a:cubicBezTo>
                  <a:close/>
                  <a:moveTo>
                    <a:pt x="941657" y="1047934"/>
                  </a:moveTo>
                  <a:cubicBezTo>
                    <a:pt x="937267" y="1047934"/>
                    <a:pt x="935072" y="1045739"/>
                    <a:pt x="935072" y="1041349"/>
                  </a:cubicBezTo>
                  <a:cubicBezTo>
                    <a:pt x="935072" y="1036959"/>
                    <a:pt x="937267" y="1034764"/>
                    <a:pt x="941657" y="1034764"/>
                  </a:cubicBezTo>
                  <a:cubicBezTo>
                    <a:pt x="946047" y="1034764"/>
                    <a:pt x="948242" y="1036959"/>
                    <a:pt x="948242" y="1041349"/>
                  </a:cubicBezTo>
                  <a:cubicBezTo>
                    <a:pt x="948242" y="1045739"/>
                    <a:pt x="946047" y="1047934"/>
                    <a:pt x="941657" y="1047934"/>
                  </a:cubicBezTo>
                  <a:close/>
                  <a:moveTo>
                    <a:pt x="344616" y="1052308"/>
                  </a:moveTo>
                  <a:cubicBezTo>
                    <a:pt x="340226" y="1052308"/>
                    <a:pt x="335836" y="1045722"/>
                    <a:pt x="333641" y="1041333"/>
                  </a:cubicBezTo>
                  <a:cubicBezTo>
                    <a:pt x="333641" y="1034748"/>
                    <a:pt x="338031" y="1030358"/>
                    <a:pt x="344616" y="1030358"/>
                  </a:cubicBezTo>
                  <a:cubicBezTo>
                    <a:pt x="351201" y="1030358"/>
                    <a:pt x="355591" y="1034748"/>
                    <a:pt x="355591" y="1041333"/>
                  </a:cubicBezTo>
                  <a:cubicBezTo>
                    <a:pt x="355591" y="1047918"/>
                    <a:pt x="351201" y="1052308"/>
                    <a:pt x="344616" y="1052308"/>
                  </a:cubicBezTo>
                  <a:close/>
                  <a:moveTo>
                    <a:pt x="643136" y="1052315"/>
                  </a:moveTo>
                  <a:cubicBezTo>
                    <a:pt x="636551" y="1052315"/>
                    <a:pt x="629966" y="1047925"/>
                    <a:pt x="629966" y="1041339"/>
                  </a:cubicBezTo>
                  <a:cubicBezTo>
                    <a:pt x="629966" y="1034755"/>
                    <a:pt x="636551" y="1028170"/>
                    <a:pt x="643136" y="1028170"/>
                  </a:cubicBezTo>
                  <a:cubicBezTo>
                    <a:pt x="649722" y="1028170"/>
                    <a:pt x="656306" y="1032561"/>
                    <a:pt x="656306" y="1039145"/>
                  </a:cubicBezTo>
                  <a:cubicBezTo>
                    <a:pt x="656306" y="1045731"/>
                    <a:pt x="649722" y="1052315"/>
                    <a:pt x="643136" y="1052315"/>
                  </a:cubicBezTo>
                  <a:close/>
                  <a:moveTo>
                    <a:pt x="190966" y="1111568"/>
                  </a:moveTo>
                  <a:cubicBezTo>
                    <a:pt x="188770" y="1111568"/>
                    <a:pt x="186576" y="1109374"/>
                    <a:pt x="186576" y="1107179"/>
                  </a:cubicBezTo>
                  <a:cubicBezTo>
                    <a:pt x="186576" y="1104985"/>
                    <a:pt x="188770" y="1102790"/>
                    <a:pt x="190966" y="1102790"/>
                  </a:cubicBezTo>
                  <a:cubicBezTo>
                    <a:pt x="193160" y="1102790"/>
                    <a:pt x="195356" y="1104985"/>
                    <a:pt x="195356" y="1107179"/>
                  </a:cubicBezTo>
                  <a:cubicBezTo>
                    <a:pt x="195356" y="1109374"/>
                    <a:pt x="193160" y="1111568"/>
                    <a:pt x="190966" y="1111568"/>
                  </a:cubicBezTo>
                  <a:close/>
                  <a:moveTo>
                    <a:pt x="1082137" y="1111597"/>
                  </a:moveTo>
                  <a:cubicBezTo>
                    <a:pt x="1079943" y="1111597"/>
                    <a:pt x="1077747" y="1109400"/>
                    <a:pt x="1077747" y="1107205"/>
                  </a:cubicBezTo>
                  <a:cubicBezTo>
                    <a:pt x="1077747" y="1105010"/>
                    <a:pt x="1079943" y="1102815"/>
                    <a:pt x="1082137" y="1102815"/>
                  </a:cubicBezTo>
                  <a:cubicBezTo>
                    <a:pt x="1084333" y="1102815"/>
                    <a:pt x="1086527" y="1105010"/>
                    <a:pt x="1086527" y="1107205"/>
                  </a:cubicBezTo>
                  <a:cubicBezTo>
                    <a:pt x="1086527" y="1109400"/>
                    <a:pt x="1084333" y="1111597"/>
                    <a:pt x="1082137" y="1111597"/>
                  </a:cubicBezTo>
                  <a:close/>
                  <a:moveTo>
                    <a:pt x="785812" y="1113780"/>
                  </a:moveTo>
                  <a:cubicBezTo>
                    <a:pt x="781422" y="1113780"/>
                    <a:pt x="777032" y="1111584"/>
                    <a:pt x="779227" y="1107195"/>
                  </a:cubicBezTo>
                  <a:cubicBezTo>
                    <a:pt x="779227" y="1105000"/>
                    <a:pt x="781422" y="1100611"/>
                    <a:pt x="785812" y="1100611"/>
                  </a:cubicBezTo>
                  <a:cubicBezTo>
                    <a:pt x="790202" y="1100611"/>
                    <a:pt x="792397" y="1102804"/>
                    <a:pt x="792397" y="1107195"/>
                  </a:cubicBezTo>
                  <a:cubicBezTo>
                    <a:pt x="792397" y="1109390"/>
                    <a:pt x="790202" y="1113780"/>
                    <a:pt x="785812" y="1113780"/>
                  </a:cubicBezTo>
                  <a:close/>
                  <a:moveTo>
                    <a:pt x="487291" y="1118161"/>
                  </a:moveTo>
                  <a:cubicBezTo>
                    <a:pt x="482901" y="1118161"/>
                    <a:pt x="476316" y="1113770"/>
                    <a:pt x="476316" y="1107187"/>
                  </a:cubicBezTo>
                  <a:cubicBezTo>
                    <a:pt x="476316" y="1100602"/>
                    <a:pt x="480706" y="1096211"/>
                    <a:pt x="487291" y="1096211"/>
                  </a:cubicBezTo>
                  <a:cubicBezTo>
                    <a:pt x="493877" y="1096211"/>
                    <a:pt x="498267" y="1100602"/>
                    <a:pt x="498267" y="1107187"/>
                  </a:cubicBezTo>
                  <a:cubicBezTo>
                    <a:pt x="498267" y="1113770"/>
                    <a:pt x="493877" y="1118161"/>
                    <a:pt x="487291" y="1118161"/>
                  </a:cubicBezTo>
                  <a:close/>
                  <a:moveTo>
                    <a:pt x="928488" y="1179636"/>
                  </a:moveTo>
                  <a:cubicBezTo>
                    <a:pt x="924098" y="1179636"/>
                    <a:pt x="921902" y="1177440"/>
                    <a:pt x="921902" y="1173050"/>
                  </a:cubicBezTo>
                  <a:cubicBezTo>
                    <a:pt x="921902" y="1168661"/>
                    <a:pt x="924098" y="1166466"/>
                    <a:pt x="928488" y="1166466"/>
                  </a:cubicBezTo>
                  <a:cubicBezTo>
                    <a:pt x="932878" y="1166466"/>
                    <a:pt x="935072" y="1168661"/>
                    <a:pt x="935072" y="1173050"/>
                  </a:cubicBezTo>
                  <a:cubicBezTo>
                    <a:pt x="935072" y="1177440"/>
                    <a:pt x="932878" y="1179636"/>
                    <a:pt x="928488" y="1179636"/>
                  </a:cubicBezTo>
                  <a:close/>
                  <a:moveTo>
                    <a:pt x="335836" y="1184007"/>
                  </a:moveTo>
                  <a:cubicBezTo>
                    <a:pt x="329251" y="1184007"/>
                    <a:pt x="324861" y="1179617"/>
                    <a:pt x="324861" y="1173034"/>
                  </a:cubicBezTo>
                  <a:cubicBezTo>
                    <a:pt x="324861" y="1166447"/>
                    <a:pt x="329251" y="1162058"/>
                    <a:pt x="335836" y="1162058"/>
                  </a:cubicBezTo>
                  <a:cubicBezTo>
                    <a:pt x="342421" y="1162058"/>
                    <a:pt x="346811" y="1166447"/>
                    <a:pt x="346811" y="1173034"/>
                  </a:cubicBezTo>
                  <a:cubicBezTo>
                    <a:pt x="346811" y="1179617"/>
                    <a:pt x="342421" y="1184007"/>
                    <a:pt x="335836" y="1184007"/>
                  </a:cubicBezTo>
                  <a:close/>
                  <a:moveTo>
                    <a:pt x="632161" y="1186210"/>
                  </a:moveTo>
                  <a:cubicBezTo>
                    <a:pt x="625576" y="1186210"/>
                    <a:pt x="618991" y="1179626"/>
                    <a:pt x="618991" y="1173040"/>
                  </a:cubicBezTo>
                  <a:cubicBezTo>
                    <a:pt x="618991" y="1166456"/>
                    <a:pt x="625576" y="1159871"/>
                    <a:pt x="632161" y="1159871"/>
                  </a:cubicBezTo>
                  <a:cubicBezTo>
                    <a:pt x="638746" y="1159871"/>
                    <a:pt x="645332" y="1166456"/>
                    <a:pt x="645332" y="1173040"/>
                  </a:cubicBezTo>
                  <a:cubicBezTo>
                    <a:pt x="645332" y="1181820"/>
                    <a:pt x="638746" y="1186210"/>
                    <a:pt x="632161" y="1186210"/>
                  </a:cubicBezTo>
                  <a:close/>
                  <a:moveTo>
                    <a:pt x="1073357" y="1243268"/>
                  </a:moveTo>
                  <a:cubicBezTo>
                    <a:pt x="1071162" y="1243268"/>
                    <a:pt x="1068967" y="1243268"/>
                    <a:pt x="1068967" y="1238878"/>
                  </a:cubicBezTo>
                  <a:cubicBezTo>
                    <a:pt x="1068967" y="1236683"/>
                    <a:pt x="1071162" y="1234489"/>
                    <a:pt x="1073357" y="1234489"/>
                  </a:cubicBezTo>
                  <a:cubicBezTo>
                    <a:pt x="1075553" y="1234489"/>
                    <a:pt x="1077747" y="1236683"/>
                    <a:pt x="1077747" y="1238878"/>
                  </a:cubicBezTo>
                  <a:cubicBezTo>
                    <a:pt x="1077747" y="1241072"/>
                    <a:pt x="1075553" y="1243268"/>
                    <a:pt x="1073357" y="1243268"/>
                  </a:cubicBezTo>
                  <a:close/>
                  <a:moveTo>
                    <a:pt x="184380" y="1247655"/>
                  </a:moveTo>
                  <a:cubicBezTo>
                    <a:pt x="179990" y="1247655"/>
                    <a:pt x="175600" y="1245460"/>
                    <a:pt x="175600" y="1238875"/>
                  </a:cubicBezTo>
                  <a:cubicBezTo>
                    <a:pt x="175600" y="1234486"/>
                    <a:pt x="179990" y="1230096"/>
                    <a:pt x="184380" y="1230096"/>
                  </a:cubicBezTo>
                  <a:cubicBezTo>
                    <a:pt x="188770" y="1230096"/>
                    <a:pt x="193160" y="1234486"/>
                    <a:pt x="193160" y="1238875"/>
                  </a:cubicBezTo>
                  <a:cubicBezTo>
                    <a:pt x="193160" y="1243264"/>
                    <a:pt x="188770" y="1247655"/>
                    <a:pt x="184380" y="1247655"/>
                  </a:cubicBezTo>
                  <a:close/>
                  <a:moveTo>
                    <a:pt x="777032" y="1249851"/>
                  </a:moveTo>
                  <a:cubicBezTo>
                    <a:pt x="772642" y="1249851"/>
                    <a:pt x="768252" y="1245464"/>
                    <a:pt x="768252" y="1241072"/>
                  </a:cubicBezTo>
                  <a:cubicBezTo>
                    <a:pt x="768252" y="1236683"/>
                    <a:pt x="772642" y="1232294"/>
                    <a:pt x="777032" y="1232294"/>
                  </a:cubicBezTo>
                  <a:cubicBezTo>
                    <a:pt x="781422" y="1232294"/>
                    <a:pt x="785812" y="1236683"/>
                    <a:pt x="785812" y="1241072"/>
                  </a:cubicBezTo>
                  <a:cubicBezTo>
                    <a:pt x="785812" y="1245464"/>
                    <a:pt x="781422" y="1249851"/>
                    <a:pt x="777032" y="1249851"/>
                  </a:cubicBezTo>
                  <a:close/>
                  <a:moveTo>
                    <a:pt x="480706" y="1252047"/>
                  </a:moveTo>
                  <a:cubicBezTo>
                    <a:pt x="474122" y="1252047"/>
                    <a:pt x="467536" y="1247658"/>
                    <a:pt x="467536" y="1238878"/>
                  </a:cubicBezTo>
                  <a:cubicBezTo>
                    <a:pt x="467536" y="1232294"/>
                    <a:pt x="474122" y="1225707"/>
                    <a:pt x="480706" y="1225707"/>
                  </a:cubicBezTo>
                  <a:cubicBezTo>
                    <a:pt x="487291" y="1225707"/>
                    <a:pt x="493877" y="1232294"/>
                    <a:pt x="493877" y="1238878"/>
                  </a:cubicBezTo>
                  <a:cubicBezTo>
                    <a:pt x="493877" y="1245464"/>
                    <a:pt x="487291" y="1252047"/>
                    <a:pt x="480706" y="1252047"/>
                  </a:cubicBezTo>
                  <a:close/>
                  <a:moveTo>
                    <a:pt x="1220423" y="1309118"/>
                  </a:moveTo>
                  <a:cubicBezTo>
                    <a:pt x="1218228" y="1309118"/>
                    <a:pt x="1218228" y="1306923"/>
                    <a:pt x="1218228" y="1306923"/>
                  </a:cubicBezTo>
                  <a:cubicBezTo>
                    <a:pt x="1218228" y="1306923"/>
                    <a:pt x="1218228" y="1304729"/>
                    <a:pt x="1220423" y="1304729"/>
                  </a:cubicBezTo>
                  <a:cubicBezTo>
                    <a:pt x="1220423" y="1304729"/>
                    <a:pt x="1222618" y="1306923"/>
                    <a:pt x="1222618" y="1306923"/>
                  </a:cubicBezTo>
                  <a:cubicBezTo>
                    <a:pt x="1222618" y="1306923"/>
                    <a:pt x="1222618" y="1309118"/>
                    <a:pt x="1220423" y="1309118"/>
                  </a:cubicBezTo>
                  <a:close/>
                  <a:moveTo>
                    <a:pt x="924097" y="1313508"/>
                  </a:moveTo>
                  <a:cubicBezTo>
                    <a:pt x="919707" y="1313508"/>
                    <a:pt x="917512" y="1311314"/>
                    <a:pt x="917512" y="1306923"/>
                  </a:cubicBezTo>
                  <a:cubicBezTo>
                    <a:pt x="917512" y="1304729"/>
                    <a:pt x="919707" y="1300336"/>
                    <a:pt x="924097" y="1300336"/>
                  </a:cubicBezTo>
                  <a:cubicBezTo>
                    <a:pt x="926292" y="1300336"/>
                    <a:pt x="930682" y="1302532"/>
                    <a:pt x="930682" y="1306923"/>
                  </a:cubicBezTo>
                  <a:cubicBezTo>
                    <a:pt x="930682" y="1309118"/>
                    <a:pt x="928487" y="1313508"/>
                    <a:pt x="924097" y="1313508"/>
                  </a:cubicBezTo>
                  <a:close/>
                  <a:moveTo>
                    <a:pt x="331446" y="1317896"/>
                  </a:moveTo>
                  <a:cubicBezTo>
                    <a:pt x="327056" y="1317896"/>
                    <a:pt x="320471" y="1311312"/>
                    <a:pt x="320471" y="1306921"/>
                  </a:cubicBezTo>
                  <a:cubicBezTo>
                    <a:pt x="320471" y="1300336"/>
                    <a:pt x="324861" y="1295947"/>
                    <a:pt x="331446" y="1295947"/>
                  </a:cubicBezTo>
                  <a:cubicBezTo>
                    <a:pt x="338031" y="1295947"/>
                    <a:pt x="342421" y="1300336"/>
                    <a:pt x="342421" y="1306921"/>
                  </a:cubicBezTo>
                  <a:cubicBezTo>
                    <a:pt x="342421" y="1313508"/>
                    <a:pt x="338031" y="1317896"/>
                    <a:pt x="331446" y="1317896"/>
                  </a:cubicBezTo>
                  <a:close/>
                  <a:moveTo>
                    <a:pt x="627771" y="1322289"/>
                  </a:moveTo>
                  <a:cubicBezTo>
                    <a:pt x="618991" y="1322289"/>
                    <a:pt x="612407" y="1315704"/>
                    <a:pt x="612407" y="1306923"/>
                  </a:cubicBezTo>
                  <a:cubicBezTo>
                    <a:pt x="612407" y="1298144"/>
                    <a:pt x="618991" y="1291557"/>
                    <a:pt x="627771" y="1291557"/>
                  </a:cubicBezTo>
                  <a:cubicBezTo>
                    <a:pt x="636551" y="1291557"/>
                    <a:pt x="643136" y="1298144"/>
                    <a:pt x="643136" y="1306923"/>
                  </a:cubicBezTo>
                  <a:cubicBezTo>
                    <a:pt x="643136" y="1315704"/>
                    <a:pt x="636551" y="1322289"/>
                    <a:pt x="627771" y="1322289"/>
                  </a:cubicBezTo>
                  <a:close/>
                  <a:moveTo>
                    <a:pt x="1073357" y="1374967"/>
                  </a:moveTo>
                  <a:cubicBezTo>
                    <a:pt x="1071162" y="1374967"/>
                    <a:pt x="1071162" y="1374967"/>
                    <a:pt x="1071162" y="1372772"/>
                  </a:cubicBezTo>
                  <a:cubicBezTo>
                    <a:pt x="1071162" y="1372772"/>
                    <a:pt x="1071162" y="1370577"/>
                    <a:pt x="1073357" y="1370577"/>
                  </a:cubicBezTo>
                  <a:cubicBezTo>
                    <a:pt x="1073357" y="1370577"/>
                    <a:pt x="1075553" y="1370577"/>
                    <a:pt x="1075553" y="1372772"/>
                  </a:cubicBezTo>
                  <a:cubicBezTo>
                    <a:pt x="1075553" y="1372772"/>
                    <a:pt x="1075553" y="1374967"/>
                    <a:pt x="1073357" y="1374967"/>
                  </a:cubicBezTo>
                  <a:close/>
                  <a:moveTo>
                    <a:pt x="184380" y="1383745"/>
                  </a:moveTo>
                  <a:cubicBezTo>
                    <a:pt x="179990" y="1383745"/>
                    <a:pt x="175600" y="1379355"/>
                    <a:pt x="173405" y="1372769"/>
                  </a:cubicBezTo>
                  <a:cubicBezTo>
                    <a:pt x="173405" y="1366183"/>
                    <a:pt x="177795" y="1361794"/>
                    <a:pt x="184380" y="1361794"/>
                  </a:cubicBezTo>
                  <a:cubicBezTo>
                    <a:pt x="190966" y="1361794"/>
                    <a:pt x="195356" y="1366183"/>
                    <a:pt x="195356" y="1372769"/>
                  </a:cubicBezTo>
                  <a:cubicBezTo>
                    <a:pt x="195356" y="1379355"/>
                    <a:pt x="190966" y="1383745"/>
                    <a:pt x="184380" y="1383745"/>
                  </a:cubicBezTo>
                  <a:close/>
                  <a:moveTo>
                    <a:pt x="777032" y="1383748"/>
                  </a:moveTo>
                  <a:cubicBezTo>
                    <a:pt x="772642" y="1383748"/>
                    <a:pt x="766057" y="1379358"/>
                    <a:pt x="766057" y="1372772"/>
                  </a:cubicBezTo>
                  <a:cubicBezTo>
                    <a:pt x="766057" y="1366187"/>
                    <a:pt x="770447" y="1361796"/>
                    <a:pt x="777032" y="1361796"/>
                  </a:cubicBezTo>
                  <a:cubicBezTo>
                    <a:pt x="783617" y="1361796"/>
                    <a:pt x="788007" y="1366187"/>
                    <a:pt x="788007" y="1372772"/>
                  </a:cubicBezTo>
                  <a:cubicBezTo>
                    <a:pt x="788007" y="1379358"/>
                    <a:pt x="783617" y="1383748"/>
                    <a:pt x="777032" y="1383748"/>
                  </a:cubicBezTo>
                  <a:close/>
                  <a:moveTo>
                    <a:pt x="480706" y="1385943"/>
                  </a:moveTo>
                  <a:cubicBezTo>
                    <a:pt x="474122" y="1385943"/>
                    <a:pt x="469732" y="1379357"/>
                    <a:pt x="467536" y="1372772"/>
                  </a:cubicBezTo>
                  <a:cubicBezTo>
                    <a:pt x="467536" y="1366187"/>
                    <a:pt x="474122" y="1359601"/>
                    <a:pt x="480706" y="1359601"/>
                  </a:cubicBezTo>
                  <a:cubicBezTo>
                    <a:pt x="487291" y="1359601"/>
                    <a:pt x="493877" y="1366187"/>
                    <a:pt x="493877" y="1372772"/>
                  </a:cubicBezTo>
                  <a:cubicBezTo>
                    <a:pt x="493877" y="1379357"/>
                    <a:pt x="487291" y="1385943"/>
                    <a:pt x="480706" y="1385943"/>
                  </a:cubicBezTo>
                  <a:close/>
                  <a:moveTo>
                    <a:pt x="1224813" y="1443018"/>
                  </a:moveTo>
                  <a:cubicBezTo>
                    <a:pt x="1222618" y="1443018"/>
                    <a:pt x="1220423" y="1440822"/>
                    <a:pt x="1220423" y="1438627"/>
                  </a:cubicBezTo>
                  <a:cubicBezTo>
                    <a:pt x="1220423" y="1436431"/>
                    <a:pt x="1222618" y="1434235"/>
                    <a:pt x="1224813" y="1434235"/>
                  </a:cubicBezTo>
                  <a:cubicBezTo>
                    <a:pt x="1227008" y="1434235"/>
                    <a:pt x="1229203" y="1436431"/>
                    <a:pt x="1229203" y="1438627"/>
                  </a:cubicBezTo>
                  <a:cubicBezTo>
                    <a:pt x="1229203" y="1440822"/>
                    <a:pt x="1227008" y="1443018"/>
                    <a:pt x="1224813" y="1443018"/>
                  </a:cubicBezTo>
                  <a:close/>
                  <a:moveTo>
                    <a:pt x="928488" y="1447408"/>
                  </a:moveTo>
                  <a:cubicBezTo>
                    <a:pt x="924098" y="1447408"/>
                    <a:pt x="921902" y="1443018"/>
                    <a:pt x="919708" y="1438627"/>
                  </a:cubicBezTo>
                  <a:cubicBezTo>
                    <a:pt x="919708" y="1434235"/>
                    <a:pt x="924098" y="1429847"/>
                    <a:pt x="928488" y="1429847"/>
                  </a:cubicBezTo>
                  <a:cubicBezTo>
                    <a:pt x="932878" y="1429847"/>
                    <a:pt x="937268" y="1434235"/>
                    <a:pt x="937268" y="1438627"/>
                  </a:cubicBezTo>
                  <a:cubicBezTo>
                    <a:pt x="937268" y="1443018"/>
                    <a:pt x="932878" y="1447408"/>
                    <a:pt x="928488" y="1447408"/>
                  </a:cubicBezTo>
                  <a:close/>
                  <a:moveTo>
                    <a:pt x="335836" y="1449601"/>
                  </a:moveTo>
                  <a:cubicBezTo>
                    <a:pt x="329774" y="1449601"/>
                    <a:pt x="324861" y="1444687"/>
                    <a:pt x="324861" y="1438625"/>
                  </a:cubicBezTo>
                  <a:cubicBezTo>
                    <a:pt x="324861" y="1432563"/>
                    <a:pt x="329774" y="1427650"/>
                    <a:pt x="335836" y="1427650"/>
                  </a:cubicBezTo>
                  <a:cubicBezTo>
                    <a:pt x="341897" y="1427650"/>
                    <a:pt x="346811" y="1432563"/>
                    <a:pt x="346811" y="1438625"/>
                  </a:cubicBezTo>
                  <a:cubicBezTo>
                    <a:pt x="346811" y="1444687"/>
                    <a:pt x="341897" y="1449601"/>
                    <a:pt x="335836" y="1449601"/>
                  </a:cubicBezTo>
                  <a:close/>
                  <a:moveTo>
                    <a:pt x="632161" y="1453993"/>
                  </a:moveTo>
                  <a:cubicBezTo>
                    <a:pt x="623381" y="1453993"/>
                    <a:pt x="616797" y="1447408"/>
                    <a:pt x="616797" y="1438627"/>
                  </a:cubicBezTo>
                  <a:cubicBezTo>
                    <a:pt x="616797" y="1429847"/>
                    <a:pt x="623381" y="1423261"/>
                    <a:pt x="632161" y="1423261"/>
                  </a:cubicBezTo>
                  <a:cubicBezTo>
                    <a:pt x="640941" y="1423261"/>
                    <a:pt x="647526" y="1429847"/>
                    <a:pt x="647526" y="1438627"/>
                  </a:cubicBezTo>
                  <a:cubicBezTo>
                    <a:pt x="647526" y="1447408"/>
                    <a:pt x="640941" y="1453993"/>
                    <a:pt x="632161" y="1453993"/>
                  </a:cubicBezTo>
                  <a:close/>
                  <a:moveTo>
                    <a:pt x="1380658" y="1508871"/>
                  </a:moveTo>
                  <a:cubicBezTo>
                    <a:pt x="1378462" y="1508871"/>
                    <a:pt x="1378462" y="1506674"/>
                    <a:pt x="1378462" y="1506674"/>
                  </a:cubicBezTo>
                  <a:cubicBezTo>
                    <a:pt x="1378462" y="1506674"/>
                    <a:pt x="1378462" y="1504479"/>
                    <a:pt x="1380658" y="1504479"/>
                  </a:cubicBezTo>
                  <a:cubicBezTo>
                    <a:pt x="1380658" y="1504479"/>
                    <a:pt x="1382853" y="1504479"/>
                    <a:pt x="1382853" y="1506674"/>
                  </a:cubicBezTo>
                  <a:cubicBezTo>
                    <a:pt x="1382853" y="1506674"/>
                    <a:pt x="1382853" y="1508871"/>
                    <a:pt x="1380658" y="1508871"/>
                  </a:cubicBezTo>
                  <a:close/>
                  <a:moveTo>
                    <a:pt x="1082137" y="1511065"/>
                  </a:moveTo>
                  <a:cubicBezTo>
                    <a:pt x="1079943" y="1511065"/>
                    <a:pt x="1077747" y="1508871"/>
                    <a:pt x="1077747" y="1506674"/>
                  </a:cubicBezTo>
                  <a:cubicBezTo>
                    <a:pt x="1077747" y="1504479"/>
                    <a:pt x="1079943" y="1502284"/>
                    <a:pt x="1082137" y="1502284"/>
                  </a:cubicBezTo>
                  <a:cubicBezTo>
                    <a:pt x="1084333" y="1502284"/>
                    <a:pt x="1086527" y="1504479"/>
                    <a:pt x="1086527" y="1506674"/>
                  </a:cubicBezTo>
                  <a:cubicBezTo>
                    <a:pt x="1086527" y="1508871"/>
                    <a:pt x="1084333" y="1511065"/>
                    <a:pt x="1082137" y="1511065"/>
                  </a:cubicBezTo>
                  <a:close/>
                  <a:moveTo>
                    <a:pt x="785812" y="1515453"/>
                  </a:moveTo>
                  <a:cubicBezTo>
                    <a:pt x="779227" y="1515453"/>
                    <a:pt x="774837" y="1511065"/>
                    <a:pt x="774837" y="1504479"/>
                  </a:cubicBezTo>
                  <a:cubicBezTo>
                    <a:pt x="774837" y="1497894"/>
                    <a:pt x="779227" y="1493504"/>
                    <a:pt x="785812" y="1493504"/>
                  </a:cubicBezTo>
                  <a:cubicBezTo>
                    <a:pt x="792397" y="1493504"/>
                    <a:pt x="796787" y="1497894"/>
                    <a:pt x="796787" y="1504479"/>
                  </a:cubicBezTo>
                  <a:cubicBezTo>
                    <a:pt x="796787" y="1511065"/>
                    <a:pt x="792397" y="1515453"/>
                    <a:pt x="785812" y="1515453"/>
                  </a:cubicBezTo>
                  <a:close/>
                  <a:moveTo>
                    <a:pt x="487291" y="1519845"/>
                  </a:moveTo>
                  <a:cubicBezTo>
                    <a:pt x="480706" y="1519845"/>
                    <a:pt x="474122" y="1513259"/>
                    <a:pt x="474122" y="1506673"/>
                  </a:cubicBezTo>
                  <a:cubicBezTo>
                    <a:pt x="474122" y="1500088"/>
                    <a:pt x="480706" y="1493504"/>
                    <a:pt x="487291" y="1493504"/>
                  </a:cubicBezTo>
                  <a:cubicBezTo>
                    <a:pt x="493877" y="1493504"/>
                    <a:pt x="500461" y="1500088"/>
                    <a:pt x="500461" y="1506673"/>
                  </a:cubicBezTo>
                  <a:cubicBezTo>
                    <a:pt x="500461" y="1513259"/>
                    <a:pt x="493877" y="1519845"/>
                    <a:pt x="487291" y="1519845"/>
                  </a:cubicBezTo>
                  <a:close/>
                  <a:moveTo>
                    <a:pt x="190966" y="1522037"/>
                  </a:moveTo>
                  <a:cubicBezTo>
                    <a:pt x="182185" y="1522037"/>
                    <a:pt x="175600" y="1513258"/>
                    <a:pt x="175600" y="1506672"/>
                  </a:cubicBezTo>
                  <a:cubicBezTo>
                    <a:pt x="175600" y="1497891"/>
                    <a:pt x="182185" y="1491306"/>
                    <a:pt x="190966" y="1491306"/>
                  </a:cubicBezTo>
                  <a:cubicBezTo>
                    <a:pt x="199745" y="1491306"/>
                    <a:pt x="206330" y="1497891"/>
                    <a:pt x="206330" y="1506672"/>
                  </a:cubicBezTo>
                  <a:cubicBezTo>
                    <a:pt x="206330" y="1515452"/>
                    <a:pt x="199745" y="1522037"/>
                    <a:pt x="190966" y="1522037"/>
                  </a:cubicBezTo>
                  <a:close/>
                  <a:moveTo>
                    <a:pt x="48291" y="1574711"/>
                  </a:moveTo>
                  <a:cubicBezTo>
                    <a:pt x="46095" y="1574711"/>
                    <a:pt x="46095" y="1572515"/>
                    <a:pt x="46095" y="1572515"/>
                  </a:cubicBezTo>
                  <a:cubicBezTo>
                    <a:pt x="46095" y="1572515"/>
                    <a:pt x="46095" y="1570320"/>
                    <a:pt x="48291" y="1570320"/>
                  </a:cubicBezTo>
                  <a:cubicBezTo>
                    <a:pt x="48291" y="1570320"/>
                    <a:pt x="50485" y="1570320"/>
                    <a:pt x="50485" y="1572515"/>
                  </a:cubicBezTo>
                  <a:cubicBezTo>
                    <a:pt x="50485" y="1572515"/>
                    <a:pt x="50485" y="1574711"/>
                    <a:pt x="48291" y="1574711"/>
                  </a:cubicBezTo>
                  <a:close/>
                  <a:moveTo>
                    <a:pt x="1240178" y="1574718"/>
                  </a:moveTo>
                  <a:cubicBezTo>
                    <a:pt x="1237983" y="1574718"/>
                    <a:pt x="1235788" y="1572522"/>
                    <a:pt x="1235788" y="1570330"/>
                  </a:cubicBezTo>
                  <a:cubicBezTo>
                    <a:pt x="1235788" y="1568132"/>
                    <a:pt x="1237983" y="1565939"/>
                    <a:pt x="1240178" y="1565939"/>
                  </a:cubicBezTo>
                  <a:cubicBezTo>
                    <a:pt x="1242373" y="1565939"/>
                    <a:pt x="1244568" y="1568132"/>
                    <a:pt x="1244568" y="1570330"/>
                  </a:cubicBezTo>
                  <a:cubicBezTo>
                    <a:pt x="1244568" y="1572522"/>
                    <a:pt x="1242373" y="1574718"/>
                    <a:pt x="1240178" y="1574718"/>
                  </a:cubicBezTo>
                  <a:close/>
                  <a:moveTo>
                    <a:pt x="941658" y="1581301"/>
                  </a:moveTo>
                  <a:cubicBezTo>
                    <a:pt x="935072" y="1581301"/>
                    <a:pt x="930682" y="1576913"/>
                    <a:pt x="930682" y="1570330"/>
                  </a:cubicBezTo>
                  <a:cubicBezTo>
                    <a:pt x="930682" y="1563744"/>
                    <a:pt x="935072" y="1559352"/>
                    <a:pt x="941658" y="1559352"/>
                  </a:cubicBezTo>
                  <a:cubicBezTo>
                    <a:pt x="948243" y="1559352"/>
                    <a:pt x="952633" y="1563744"/>
                    <a:pt x="952633" y="1570330"/>
                  </a:cubicBezTo>
                  <a:cubicBezTo>
                    <a:pt x="952633" y="1576913"/>
                    <a:pt x="948243" y="1581301"/>
                    <a:pt x="941658" y="1581301"/>
                  </a:cubicBezTo>
                  <a:close/>
                  <a:moveTo>
                    <a:pt x="344616" y="1583497"/>
                  </a:moveTo>
                  <a:cubicBezTo>
                    <a:pt x="338031" y="1583497"/>
                    <a:pt x="333641" y="1579104"/>
                    <a:pt x="331446" y="1570326"/>
                  </a:cubicBezTo>
                  <a:cubicBezTo>
                    <a:pt x="331446" y="1563740"/>
                    <a:pt x="338031" y="1557157"/>
                    <a:pt x="344616" y="1557157"/>
                  </a:cubicBezTo>
                  <a:cubicBezTo>
                    <a:pt x="351201" y="1557157"/>
                    <a:pt x="357786" y="1563740"/>
                    <a:pt x="357786" y="1570326"/>
                  </a:cubicBezTo>
                  <a:cubicBezTo>
                    <a:pt x="357786" y="1579104"/>
                    <a:pt x="351201" y="1583497"/>
                    <a:pt x="344616" y="1583497"/>
                  </a:cubicBezTo>
                  <a:close/>
                  <a:moveTo>
                    <a:pt x="643136" y="1587890"/>
                  </a:moveTo>
                  <a:cubicBezTo>
                    <a:pt x="634356" y="1587890"/>
                    <a:pt x="627771" y="1581301"/>
                    <a:pt x="627771" y="1572522"/>
                  </a:cubicBezTo>
                  <a:cubicBezTo>
                    <a:pt x="627771" y="1563744"/>
                    <a:pt x="634356" y="1557159"/>
                    <a:pt x="643136" y="1557159"/>
                  </a:cubicBezTo>
                  <a:cubicBezTo>
                    <a:pt x="651916" y="1557159"/>
                    <a:pt x="658502" y="1563744"/>
                    <a:pt x="658502" y="1572522"/>
                  </a:cubicBezTo>
                  <a:cubicBezTo>
                    <a:pt x="658502" y="1581301"/>
                    <a:pt x="651916" y="1587890"/>
                    <a:pt x="643136" y="1587890"/>
                  </a:cubicBezTo>
                  <a:close/>
                  <a:moveTo>
                    <a:pt x="1402608" y="1640569"/>
                  </a:moveTo>
                  <a:cubicBezTo>
                    <a:pt x="1400413" y="1640569"/>
                    <a:pt x="1398218" y="1638375"/>
                    <a:pt x="1398218" y="1636179"/>
                  </a:cubicBezTo>
                  <a:cubicBezTo>
                    <a:pt x="1398218" y="1633985"/>
                    <a:pt x="1400413" y="1631790"/>
                    <a:pt x="1402608" y="1631790"/>
                  </a:cubicBezTo>
                  <a:cubicBezTo>
                    <a:pt x="1404803" y="1631790"/>
                    <a:pt x="1406998" y="1633985"/>
                    <a:pt x="1406998" y="1636179"/>
                  </a:cubicBezTo>
                  <a:cubicBezTo>
                    <a:pt x="1406998" y="1638375"/>
                    <a:pt x="1404803" y="1640569"/>
                    <a:pt x="1402608" y="1640569"/>
                  </a:cubicBezTo>
                  <a:close/>
                  <a:moveTo>
                    <a:pt x="1101892" y="1642767"/>
                  </a:moveTo>
                  <a:cubicBezTo>
                    <a:pt x="1097502" y="1642767"/>
                    <a:pt x="1095307" y="1640569"/>
                    <a:pt x="1095307" y="1636179"/>
                  </a:cubicBezTo>
                  <a:cubicBezTo>
                    <a:pt x="1095307" y="1631790"/>
                    <a:pt x="1097502" y="1629595"/>
                    <a:pt x="1101892" y="1629595"/>
                  </a:cubicBezTo>
                  <a:cubicBezTo>
                    <a:pt x="1106282" y="1629595"/>
                    <a:pt x="1108478" y="1633985"/>
                    <a:pt x="1108478" y="1636179"/>
                  </a:cubicBezTo>
                  <a:cubicBezTo>
                    <a:pt x="1108478" y="1640569"/>
                    <a:pt x="1104088" y="1642767"/>
                    <a:pt x="1101892" y="1642767"/>
                  </a:cubicBezTo>
                  <a:close/>
                  <a:moveTo>
                    <a:pt x="801177" y="1647154"/>
                  </a:moveTo>
                  <a:cubicBezTo>
                    <a:pt x="794592" y="1647154"/>
                    <a:pt x="790202" y="1642767"/>
                    <a:pt x="790202" y="1636179"/>
                  </a:cubicBezTo>
                  <a:cubicBezTo>
                    <a:pt x="790202" y="1629595"/>
                    <a:pt x="794592" y="1625205"/>
                    <a:pt x="801177" y="1625205"/>
                  </a:cubicBezTo>
                  <a:cubicBezTo>
                    <a:pt x="807762" y="1625205"/>
                    <a:pt x="812152" y="1629595"/>
                    <a:pt x="812152" y="1636179"/>
                  </a:cubicBezTo>
                  <a:cubicBezTo>
                    <a:pt x="812152" y="1642767"/>
                    <a:pt x="807762" y="1647154"/>
                    <a:pt x="801177" y="1647154"/>
                  </a:cubicBezTo>
                  <a:close/>
                  <a:moveTo>
                    <a:pt x="204135" y="1653735"/>
                  </a:moveTo>
                  <a:cubicBezTo>
                    <a:pt x="195356" y="1653735"/>
                    <a:pt x="188770" y="1647151"/>
                    <a:pt x="188770" y="1638372"/>
                  </a:cubicBezTo>
                  <a:cubicBezTo>
                    <a:pt x="188770" y="1629591"/>
                    <a:pt x="195356" y="1623006"/>
                    <a:pt x="204135" y="1623006"/>
                  </a:cubicBezTo>
                  <a:cubicBezTo>
                    <a:pt x="212915" y="1623006"/>
                    <a:pt x="219501" y="1629591"/>
                    <a:pt x="219501" y="1638372"/>
                  </a:cubicBezTo>
                  <a:cubicBezTo>
                    <a:pt x="219501" y="1647151"/>
                    <a:pt x="212915" y="1653735"/>
                    <a:pt x="204135" y="1653735"/>
                  </a:cubicBezTo>
                  <a:close/>
                  <a:moveTo>
                    <a:pt x="502657" y="1653740"/>
                  </a:moveTo>
                  <a:cubicBezTo>
                    <a:pt x="491681" y="1653740"/>
                    <a:pt x="485096" y="1647154"/>
                    <a:pt x="485096" y="1638375"/>
                  </a:cubicBezTo>
                  <a:cubicBezTo>
                    <a:pt x="485096" y="1629595"/>
                    <a:pt x="493877" y="1620814"/>
                    <a:pt x="502657" y="1620814"/>
                  </a:cubicBezTo>
                  <a:cubicBezTo>
                    <a:pt x="511437" y="1620814"/>
                    <a:pt x="520217" y="1627400"/>
                    <a:pt x="520217" y="1636179"/>
                  </a:cubicBezTo>
                  <a:cubicBezTo>
                    <a:pt x="520217" y="1644960"/>
                    <a:pt x="511437" y="1653740"/>
                    <a:pt x="502657" y="1653740"/>
                  </a:cubicBezTo>
                  <a:close/>
                  <a:moveTo>
                    <a:pt x="1264323" y="1706417"/>
                  </a:moveTo>
                  <a:cubicBezTo>
                    <a:pt x="1262128" y="1706417"/>
                    <a:pt x="1259933" y="1704223"/>
                    <a:pt x="1259933" y="1702029"/>
                  </a:cubicBezTo>
                  <a:cubicBezTo>
                    <a:pt x="1259933" y="1699834"/>
                    <a:pt x="1262128" y="1697638"/>
                    <a:pt x="1264323" y="1697638"/>
                  </a:cubicBezTo>
                  <a:cubicBezTo>
                    <a:pt x="1266518" y="1697638"/>
                    <a:pt x="1268713" y="1699834"/>
                    <a:pt x="1268713" y="1702029"/>
                  </a:cubicBezTo>
                  <a:cubicBezTo>
                    <a:pt x="1268713" y="1704223"/>
                    <a:pt x="1266518" y="1706417"/>
                    <a:pt x="1264323" y="1706417"/>
                  </a:cubicBezTo>
                  <a:close/>
                  <a:moveTo>
                    <a:pt x="63656" y="1708606"/>
                  </a:moveTo>
                  <a:cubicBezTo>
                    <a:pt x="61460" y="1708606"/>
                    <a:pt x="59265" y="1706412"/>
                    <a:pt x="59265" y="1704216"/>
                  </a:cubicBezTo>
                  <a:cubicBezTo>
                    <a:pt x="59265" y="1702021"/>
                    <a:pt x="61460" y="1699826"/>
                    <a:pt x="63656" y="1699826"/>
                  </a:cubicBezTo>
                  <a:cubicBezTo>
                    <a:pt x="65850" y="1699826"/>
                    <a:pt x="68046" y="1702021"/>
                    <a:pt x="68046" y="1704216"/>
                  </a:cubicBezTo>
                  <a:cubicBezTo>
                    <a:pt x="68046" y="1706412"/>
                    <a:pt x="65850" y="1708606"/>
                    <a:pt x="63656" y="1708606"/>
                  </a:cubicBezTo>
                  <a:close/>
                  <a:moveTo>
                    <a:pt x="963607" y="1710809"/>
                  </a:moveTo>
                  <a:cubicBezTo>
                    <a:pt x="958758" y="1710809"/>
                    <a:pt x="954827" y="1706878"/>
                    <a:pt x="954827" y="1702029"/>
                  </a:cubicBezTo>
                  <a:cubicBezTo>
                    <a:pt x="954827" y="1697180"/>
                    <a:pt x="958758" y="1693250"/>
                    <a:pt x="963607" y="1693250"/>
                  </a:cubicBezTo>
                  <a:cubicBezTo>
                    <a:pt x="968456" y="1693250"/>
                    <a:pt x="972387" y="1697180"/>
                    <a:pt x="972387" y="1702029"/>
                  </a:cubicBezTo>
                  <a:cubicBezTo>
                    <a:pt x="972387" y="1706878"/>
                    <a:pt x="968456" y="1710809"/>
                    <a:pt x="963607" y="1710809"/>
                  </a:cubicBezTo>
                  <a:close/>
                  <a:moveTo>
                    <a:pt x="362176" y="1715196"/>
                  </a:moveTo>
                  <a:cubicBezTo>
                    <a:pt x="356115" y="1715196"/>
                    <a:pt x="351201" y="1710283"/>
                    <a:pt x="351201" y="1704223"/>
                  </a:cubicBezTo>
                  <a:cubicBezTo>
                    <a:pt x="351201" y="1698161"/>
                    <a:pt x="356115" y="1693247"/>
                    <a:pt x="362176" y="1693247"/>
                  </a:cubicBezTo>
                  <a:cubicBezTo>
                    <a:pt x="368237" y="1693247"/>
                    <a:pt x="373151" y="1698161"/>
                    <a:pt x="373151" y="1704223"/>
                  </a:cubicBezTo>
                  <a:cubicBezTo>
                    <a:pt x="373151" y="1710283"/>
                    <a:pt x="368237" y="1715196"/>
                    <a:pt x="362176" y="1715196"/>
                  </a:cubicBezTo>
                  <a:close/>
                  <a:moveTo>
                    <a:pt x="662892" y="1719588"/>
                  </a:moveTo>
                  <a:cubicBezTo>
                    <a:pt x="654112" y="1719588"/>
                    <a:pt x="645332" y="1710809"/>
                    <a:pt x="647526" y="1704223"/>
                  </a:cubicBezTo>
                  <a:cubicBezTo>
                    <a:pt x="647526" y="1695445"/>
                    <a:pt x="654112" y="1688860"/>
                    <a:pt x="662892" y="1688860"/>
                  </a:cubicBezTo>
                  <a:cubicBezTo>
                    <a:pt x="671671" y="1688860"/>
                    <a:pt x="678257" y="1695445"/>
                    <a:pt x="678257" y="1704223"/>
                  </a:cubicBezTo>
                  <a:cubicBezTo>
                    <a:pt x="678257" y="1713004"/>
                    <a:pt x="671671" y="1719588"/>
                    <a:pt x="662892" y="1719588"/>
                  </a:cubicBezTo>
                  <a:close/>
                  <a:moveTo>
                    <a:pt x="1435533" y="1767878"/>
                  </a:moveTo>
                  <a:cubicBezTo>
                    <a:pt x="1433338" y="1767878"/>
                    <a:pt x="1431143" y="1765682"/>
                    <a:pt x="1431143" y="1763487"/>
                  </a:cubicBezTo>
                  <a:cubicBezTo>
                    <a:pt x="1431143" y="1761292"/>
                    <a:pt x="1433338" y="1759098"/>
                    <a:pt x="1435533" y="1759098"/>
                  </a:cubicBezTo>
                  <a:cubicBezTo>
                    <a:pt x="1437728" y="1759098"/>
                    <a:pt x="1439923" y="1761292"/>
                    <a:pt x="1439923" y="1763487"/>
                  </a:cubicBezTo>
                  <a:cubicBezTo>
                    <a:pt x="1439923" y="1765682"/>
                    <a:pt x="1437728" y="1767878"/>
                    <a:pt x="1435533" y="1767878"/>
                  </a:cubicBezTo>
                  <a:close/>
                  <a:moveTo>
                    <a:pt x="1128232" y="1772266"/>
                  </a:moveTo>
                  <a:cubicBezTo>
                    <a:pt x="1126038" y="1772266"/>
                    <a:pt x="1121648" y="1770071"/>
                    <a:pt x="1121648" y="1765682"/>
                  </a:cubicBezTo>
                  <a:cubicBezTo>
                    <a:pt x="1121648" y="1761292"/>
                    <a:pt x="1123842" y="1759098"/>
                    <a:pt x="1128232" y="1759098"/>
                  </a:cubicBezTo>
                  <a:cubicBezTo>
                    <a:pt x="1132623" y="1759098"/>
                    <a:pt x="1134817" y="1761292"/>
                    <a:pt x="1134817" y="1765682"/>
                  </a:cubicBezTo>
                  <a:cubicBezTo>
                    <a:pt x="1134817" y="1770071"/>
                    <a:pt x="1130428" y="1772266"/>
                    <a:pt x="1128232" y="1772266"/>
                  </a:cubicBezTo>
                  <a:close/>
                  <a:moveTo>
                    <a:pt x="825322" y="1778852"/>
                  </a:moveTo>
                  <a:cubicBezTo>
                    <a:pt x="818737" y="1778852"/>
                    <a:pt x="814347" y="1774462"/>
                    <a:pt x="814347" y="1767878"/>
                  </a:cubicBezTo>
                  <a:cubicBezTo>
                    <a:pt x="814347" y="1761292"/>
                    <a:pt x="818737" y="1756902"/>
                    <a:pt x="825322" y="1756902"/>
                  </a:cubicBezTo>
                  <a:cubicBezTo>
                    <a:pt x="831907" y="1756902"/>
                    <a:pt x="836297" y="1761292"/>
                    <a:pt x="836297" y="1767878"/>
                  </a:cubicBezTo>
                  <a:cubicBezTo>
                    <a:pt x="836297" y="1774462"/>
                    <a:pt x="831907" y="1778852"/>
                    <a:pt x="825322" y="1778852"/>
                  </a:cubicBezTo>
                  <a:close/>
                  <a:moveTo>
                    <a:pt x="522412" y="1781047"/>
                  </a:moveTo>
                  <a:cubicBezTo>
                    <a:pt x="515827" y="1781047"/>
                    <a:pt x="511437" y="1774462"/>
                    <a:pt x="509241" y="1767878"/>
                  </a:cubicBezTo>
                  <a:cubicBezTo>
                    <a:pt x="509241" y="1761292"/>
                    <a:pt x="515827" y="1754706"/>
                    <a:pt x="522412" y="1754706"/>
                  </a:cubicBezTo>
                  <a:cubicBezTo>
                    <a:pt x="528996" y="1754706"/>
                    <a:pt x="535582" y="1761292"/>
                    <a:pt x="535582" y="1767878"/>
                  </a:cubicBezTo>
                  <a:cubicBezTo>
                    <a:pt x="535582" y="1774462"/>
                    <a:pt x="528996" y="1781047"/>
                    <a:pt x="522412" y="1781047"/>
                  </a:cubicBezTo>
                  <a:close/>
                  <a:moveTo>
                    <a:pt x="221695" y="1785434"/>
                  </a:moveTo>
                  <a:cubicBezTo>
                    <a:pt x="212915" y="1785434"/>
                    <a:pt x="206330" y="1778850"/>
                    <a:pt x="204135" y="1767874"/>
                  </a:cubicBezTo>
                  <a:cubicBezTo>
                    <a:pt x="204135" y="1759094"/>
                    <a:pt x="212915" y="1750314"/>
                    <a:pt x="221695" y="1750314"/>
                  </a:cubicBezTo>
                  <a:cubicBezTo>
                    <a:pt x="232671" y="1750314"/>
                    <a:pt x="239255" y="1759094"/>
                    <a:pt x="239255" y="1767874"/>
                  </a:cubicBezTo>
                  <a:cubicBezTo>
                    <a:pt x="239255" y="1776654"/>
                    <a:pt x="230475" y="1785434"/>
                    <a:pt x="221695" y="1785434"/>
                  </a:cubicBezTo>
                  <a:close/>
                  <a:moveTo>
                    <a:pt x="1611134" y="1829335"/>
                  </a:moveTo>
                  <a:cubicBezTo>
                    <a:pt x="1608939" y="1829335"/>
                    <a:pt x="1608939" y="1827141"/>
                    <a:pt x="1608939" y="1827141"/>
                  </a:cubicBezTo>
                  <a:cubicBezTo>
                    <a:pt x="1608939" y="1827141"/>
                    <a:pt x="1608939" y="1824945"/>
                    <a:pt x="1611134" y="1824945"/>
                  </a:cubicBezTo>
                  <a:cubicBezTo>
                    <a:pt x="1611134" y="1824945"/>
                    <a:pt x="1613329" y="1824945"/>
                    <a:pt x="1613329" y="1827141"/>
                  </a:cubicBezTo>
                  <a:cubicBezTo>
                    <a:pt x="1613329" y="1827141"/>
                    <a:pt x="1613329" y="1829335"/>
                    <a:pt x="1611134" y="1829335"/>
                  </a:cubicBezTo>
                  <a:close/>
                  <a:moveTo>
                    <a:pt x="1299443" y="1833728"/>
                  </a:moveTo>
                  <a:cubicBezTo>
                    <a:pt x="1297248" y="1833728"/>
                    <a:pt x="1295053" y="1831531"/>
                    <a:pt x="1295053" y="1829335"/>
                  </a:cubicBezTo>
                  <a:cubicBezTo>
                    <a:pt x="1295053" y="1827141"/>
                    <a:pt x="1297248" y="1824945"/>
                    <a:pt x="1299443" y="1824945"/>
                  </a:cubicBezTo>
                  <a:cubicBezTo>
                    <a:pt x="1301638" y="1824945"/>
                    <a:pt x="1303833" y="1827141"/>
                    <a:pt x="1303833" y="1829335"/>
                  </a:cubicBezTo>
                  <a:cubicBezTo>
                    <a:pt x="1303833" y="1831531"/>
                    <a:pt x="1301638" y="1833728"/>
                    <a:pt x="1299443" y="1833728"/>
                  </a:cubicBezTo>
                  <a:close/>
                  <a:moveTo>
                    <a:pt x="83410" y="1840308"/>
                  </a:moveTo>
                  <a:cubicBezTo>
                    <a:pt x="81216" y="1840308"/>
                    <a:pt x="76826" y="1838113"/>
                    <a:pt x="76826" y="1833722"/>
                  </a:cubicBezTo>
                  <a:cubicBezTo>
                    <a:pt x="76826" y="1829332"/>
                    <a:pt x="81216" y="1827136"/>
                    <a:pt x="83410" y="1827136"/>
                  </a:cubicBezTo>
                  <a:cubicBezTo>
                    <a:pt x="87800" y="1827136"/>
                    <a:pt x="89996" y="1831526"/>
                    <a:pt x="89996" y="1833722"/>
                  </a:cubicBezTo>
                  <a:cubicBezTo>
                    <a:pt x="89996" y="1838113"/>
                    <a:pt x="85606" y="1840308"/>
                    <a:pt x="83410" y="1840308"/>
                  </a:cubicBezTo>
                  <a:close/>
                  <a:moveTo>
                    <a:pt x="992142" y="1840312"/>
                  </a:moveTo>
                  <a:cubicBezTo>
                    <a:pt x="987752" y="1840312"/>
                    <a:pt x="983362" y="1838117"/>
                    <a:pt x="983362" y="1831531"/>
                  </a:cubicBezTo>
                  <a:cubicBezTo>
                    <a:pt x="983362" y="1827141"/>
                    <a:pt x="987752" y="1822751"/>
                    <a:pt x="992142" y="1822751"/>
                  </a:cubicBezTo>
                  <a:cubicBezTo>
                    <a:pt x="996532" y="1822751"/>
                    <a:pt x="1000922" y="1827141"/>
                    <a:pt x="1000922" y="1831531"/>
                  </a:cubicBezTo>
                  <a:cubicBezTo>
                    <a:pt x="1000922" y="1835921"/>
                    <a:pt x="996532" y="1840312"/>
                    <a:pt x="992142" y="1840312"/>
                  </a:cubicBezTo>
                  <a:close/>
                  <a:moveTo>
                    <a:pt x="384126" y="1849091"/>
                  </a:moveTo>
                  <a:cubicBezTo>
                    <a:pt x="377541" y="1849091"/>
                    <a:pt x="368761" y="1842507"/>
                    <a:pt x="368761" y="1833725"/>
                  </a:cubicBezTo>
                  <a:cubicBezTo>
                    <a:pt x="368761" y="1824945"/>
                    <a:pt x="375346" y="1818360"/>
                    <a:pt x="384126" y="1818360"/>
                  </a:cubicBezTo>
                  <a:cubicBezTo>
                    <a:pt x="392906" y="1818360"/>
                    <a:pt x="399491" y="1824945"/>
                    <a:pt x="399491" y="1833725"/>
                  </a:cubicBezTo>
                  <a:cubicBezTo>
                    <a:pt x="399491" y="1842507"/>
                    <a:pt x="392906" y="1849091"/>
                    <a:pt x="384126" y="1849091"/>
                  </a:cubicBezTo>
                  <a:close/>
                  <a:moveTo>
                    <a:pt x="687037" y="1851287"/>
                  </a:moveTo>
                  <a:cubicBezTo>
                    <a:pt x="678257" y="1851287"/>
                    <a:pt x="669476" y="1842507"/>
                    <a:pt x="669476" y="1833728"/>
                  </a:cubicBezTo>
                  <a:cubicBezTo>
                    <a:pt x="669476" y="1824945"/>
                    <a:pt x="678257" y="1816165"/>
                    <a:pt x="687037" y="1816165"/>
                  </a:cubicBezTo>
                  <a:cubicBezTo>
                    <a:pt x="695817" y="1816165"/>
                    <a:pt x="704597" y="1824945"/>
                    <a:pt x="704597" y="1833728"/>
                  </a:cubicBezTo>
                  <a:cubicBezTo>
                    <a:pt x="704597" y="1842507"/>
                    <a:pt x="695817" y="1851287"/>
                    <a:pt x="687037" y="1851287"/>
                  </a:cubicBezTo>
                  <a:close/>
                  <a:moveTo>
                    <a:pt x="1477238" y="1895184"/>
                  </a:moveTo>
                  <a:cubicBezTo>
                    <a:pt x="1475043" y="1895184"/>
                    <a:pt x="1472848" y="1892988"/>
                    <a:pt x="1472848" y="1890793"/>
                  </a:cubicBezTo>
                  <a:cubicBezTo>
                    <a:pt x="1472848" y="1888599"/>
                    <a:pt x="1475043" y="1886403"/>
                    <a:pt x="1477238" y="1886403"/>
                  </a:cubicBezTo>
                  <a:cubicBezTo>
                    <a:pt x="1479433" y="1886403"/>
                    <a:pt x="1481628" y="1888599"/>
                    <a:pt x="1481628" y="1890793"/>
                  </a:cubicBezTo>
                  <a:cubicBezTo>
                    <a:pt x="1481628" y="1892988"/>
                    <a:pt x="1479433" y="1895184"/>
                    <a:pt x="1477238" y="1895184"/>
                  </a:cubicBezTo>
                  <a:close/>
                  <a:moveTo>
                    <a:pt x="1165548" y="1899573"/>
                  </a:moveTo>
                  <a:cubicBezTo>
                    <a:pt x="1161157" y="1899573"/>
                    <a:pt x="1158963" y="1897379"/>
                    <a:pt x="1158963" y="1892988"/>
                  </a:cubicBezTo>
                  <a:cubicBezTo>
                    <a:pt x="1158963" y="1888599"/>
                    <a:pt x="1163353" y="1886403"/>
                    <a:pt x="1165548" y="1886403"/>
                  </a:cubicBezTo>
                  <a:cubicBezTo>
                    <a:pt x="1169938" y="1886403"/>
                    <a:pt x="1172133" y="1890793"/>
                    <a:pt x="1172133" y="1892988"/>
                  </a:cubicBezTo>
                  <a:cubicBezTo>
                    <a:pt x="1172133" y="1897379"/>
                    <a:pt x="1167743" y="1899573"/>
                    <a:pt x="1165548" y="1899573"/>
                  </a:cubicBezTo>
                  <a:close/>
                  <a:moveTo>
                    <a:pt x="550947" y="1910549"/>
                  </a:moveTo>
                  <a:cubicBezTo>
                    <a:pt x="544362" y="1910549"/>
                    <a:pt x="537776" y="1906160"/>
                    <a:pt x="537776" y="1897379"/>
                  </a:cubicBezTo>
                  <a:cubicBezTo>
                    <a:pt x="537776" y="1890793"/>
                    <a:pt x="544362" y="1884210"/>
                    <a:pt x="550947" y="1884210"/>
                  </a:cubicBezTo>
                  <a:cubicBezTo>
                    <a:pt x="559727" y="1884210"/>
                    <a:pt x="564117" y="1890793"/>
                    <a:pt x="564117" y="1897379"/>
                  </a:cubicBezTo>
                  <a:cubicBezTo>
                    <a:pt x="564117" y="1903965"/>
                    <a:pt x="557532" y="1910549"/>
                    <a:pt x="550947" y="1910549"/>
                  </a:cubicBezTo>
                  <a:close/>
                  <a:moveTo>
                    <a:pt x="856052" y="1912745"/>
                  </a:moveTo>
                  <a:cubicBezTo>
                    <a:pt x="847272" y="1912745"/>
                    <a:pt x="840687" y="1906160"/>
                    <a:pt x="840687" y="1897379"/>
                  </a:cubicBezTo>
                  <a:cubicBezTo>
                    <a:pt x="840687" y="1888599"/>
                    <a:pt x="847272" y="1882014"/>
                    <a:pt x="856052" y="1882014"/>
                  </a:cubicBezTo>
                  <a:cubicBezTo>
                    <a:pt x="864832" y="1882014"/>
                    <a:pt x="871417" y="1888599"/>
                    <a:pt x="871417" y="1897379"/>
                  </a:cubicBezTo>
                  <a:cubicBezTo>
                    <a:pt x="871417" y="1906160"/>
                    <a:pt x="864832" y="1912745"/>
                    <a:pt x="856052" y="1912745"/>
                  </a:cubicBezTo>
                  <a:close/>
                  <a:moveTo>
                    <a:pt x="248036" y="1917135"/>
                  </a:moveTo>
                  <a:cubicBezTo>
                    <a:pt x="237061" y="1917135"/>
                    <a:pt x="230475" y="1908354"/>
                    <a:pt x="230475" y="1899573"/>
                  </a:cubicBezTo>
                  <a:cubicBezTo>
                    <a:pt x="230475" y="1890793"/>
                    <a:pt x="239255" y="1882013"/>
                    <a:pt x="248036" y="1882013"/>
                  </a:cubicBezTo>
                  <a:cubicBezTo>
                    <a:pt x="256816" y="1882013"/>
                    <a:pt x="265596" y="1890793"/>
                    <a:pt x="265596" y="1899573"/>
                  </a:cubicBezTo>
                  <a:cubicBezTo>
                    <a:pt x="265596" y="1908354"/>
                    <a:pt x="256816" y="1917135"/>
                    <a:pt x="248036" y="1917135"/>
                  </a:cubicBezTo>
                  <a:close/>
                  <a:moveTo>
                    <a:pt x="1343343" y="1958840"/>
                  </a:moveTo>
                  <a:cubicBezTo>
                    <a:pt x="1341148" y="1958840"/>
                    <a:pt x="1338953" y="1956645"/>
                    <a:pt x="1338953" y="1954449"/>
                  </a:cubicBezTo>
                  <a:cubicBezTo>
                    <a:pt x="1338953" y="1952254"/>
                    <a:pt x="1341148" y="1950060"/>
                    <a:pt x="1343343" y="1950060"/>
                  </a:cubicBezTo>
                  <a:cubicBezTo>
                    <a:pt x="1345537" y="1950060"/>
                    <a:pt x="1347733" y="1952254"/>
                    <a:pt x="1347733" y="1954449"/>
                  </a:cubicBezTo>
                  <a:cubicBezTo>
                    <a:pt x="1347733" y="1956645"/>
                    <a:pt x="1345537" y="1958840"/>
                    <a:pt x="1343343" y="1958840"/>
                  </a:cubicBezTo>
                  <a:close/>
                  <a:moveTo>
                    <a:pt x="1029457" y="1972010"/>
                  </a:moveTo>
                  <a:cubicBezTo>
                    <a:pt x="1022872" y="1972010"/>
                    <a:pt x="1016287" y="1965424"/>
                    <a:pt x="1016287" y="1958840"/>
                  </a:cubicBezTo>
                  <a:cubicBezTo>
                    <a:pt x="1016287" y="1952254"/>
                    <a:pt x="1022872" y="1945670"/>
                    <a:pt x="1029457" y="1945670"/>
                  </a:cubicBezTo>
                  <a:cubicBezTo>
                    <a:pt x="1036042" y="1945670"/>
                    <a:pt x="1042627" y="1952254"/>
                    <a:pt x="1042627" y="1958840"/>
                  </a:cubicBezTo>
                  <a:cubicBezTo>
                    <a:pt x="1042627" y="1965424"/>
                    <a:pt x="1036042" y="1972010"/>
                    <a:pt x="1029457" y="1972010"/>
                  </a:cubicBezTo>
                  <a:close/>
                  <a:moveTo>
                    <a:pt x="109751" y="1974202"/>
                  </a:moveTo>
                  <a:cubicBezTo>
                    <a:pt x="104902" y="1974202"/>
                    <a:pt x="100971" y="1970271"/>
                    <a:pt x="100971" y="1965424"/>
                  </a:cubicBezTo>
                  <a:cubicBezTo>
                    <a:pt x="100971" y="1960572"/>
                    <a:pt x="104902" y="1956642"/>
                    <a:pt x="109751" y="1956642"/>
                  </a:cubicBezTo>
                  <a:cubicBezTo>
                    <a:pt x="114600" y="1956642"/>
                    <a:pt x="118531" y="1960572"/>
                    <a:pt x="118531" y="1965424"/>
                  </a:cubicBezTo>
                  <a:cubicBezTo>
                    <a:pt x="118531" y="1970271"/>
                    <a:pt x="114600" y="1974202"/>
                    <a:pt x="109751" y="1974202"/>
                  </a:cubicBezTo>
                  <a:close/>
                  <a:moveTo>
                    <a:pt x="414856" y="1980788"/>
                  </a:moveTo>
                  <a:cubicBezTo>
                    <a:pt x="406076" y="1980788"/>
                    <a:pt x="397296" y="1974205"/>
                    <a:pt x="397296" y="1963228"/>
                  </a:cubicBezTo>
                  <a:cubicBezTo>
                    <a:pt x="397296" y="1954449"/>
                    <a:pt x="406076" y="1945670"/>
                    <a:pt x="414856" y="1945670"/>
                  </a:cubicBezTo>
                  <a:cubicBezTo>
                    <a:pt x="423636" y="1945670"/>
                    <a:pt x="432416" y="1954449"/>
                    <a:pt x="432416" y="1963228"/>
                  </a:cubicBezTo>
                  <a:cubicBezTo>
                    <a:pt x="432416" y="1972010"/>
                    <a:pt x="423636" y="1980788"/>
                    <a:pt x="414856" y="1980788"/>
                  </a:cubicBezTo>
                  <a:close/>
                  <a:moveTo>
                    <a:pt x="719962" y="1985177"/>
                  </a:moveTo>
                  <a:cubicBezTo>
                    <a:pt x="706792" y="1985177"/>
                    <a:pt x="698011" y="1974205"/>
                    <a:pt x="695817" y="1961036"/>
                  </a:cubicBezTo>
                  <a:cubicBezTo>
                    <a:pt x="695817" y="1947863"/>
                    <a:pt x="706792" y="1936888"/>
                    <a:pt x="719962" y="1936888"/>
                  </a:cubicBezTo>
                  <a:cubicBezTo>
                    <a:pt x="733132" y="1936888"/>
                    <a:pt x="744107" y="1947863"/>
                    <a:pt x="744107" y="1961036"/>
                  </a:cubicBezTo>
                  <a:cubicBezTo>
                    <a:pt x="744107" y="1974205"/>
                    <a:pt x="733132" y="1985177"/>
                    <a:pt x="719962" y="1985177"/>
                  </a:cubicBezTo>
                  <a:close/>
                  <a:moveTo>
                    <a:pt x="1529919" y="2018101"/>
                  </a:moveTo>
                  <a:cubicBezTo>
                    <a:pt x="1527723" y="2018101"/>
                    <a:pt x="1525528" y="2015906"/>
                    <a:pt x="1525528" y="2013711"/>
                  </a:cubicBezTo>
                  <a:cubicBezTo>
                    <a:pt x="1525528" y="2011516"/>
                    <a:pt x="1527723" y="2009323"/>
                    <a:pt x="1529919" y="2009323"/>
                  </a:cubicBezTo>
                  <a:cubicBezTo>
                    <a:pt x="1532113" y="2009323"/>
                    <a:pt x="1534309" y="2011516"/>
                    <a:pt x="1534309" y="2013711"/>
                  </a:cubicBezTo>
                  <a:cubicBezTo>
                    <a:pt x="1534309" y="2015906"/>
                    <a:pt x="1532113" y="2018101"/>
                    <a:pt x="1529919" y="2018101"/>
                  </a:cubicBezTo>
                  <a:close/>
                  <a:moveTo>
                    <a:pt x="1209448" y="2024688"/>
                  </a:moveTo>
                  <a:cubicBezTo>
                    <a:pt x="1207253" y="2024688"/>
                    <a:pt x="1205058" y="2022492"/>
                    <a:pt x="1205058" y="2020297"/>
                  </a:cubicBezTo>
                  <a:cubicBezTo>
                    <a:pt x="1205058" y="2018101"/>
                    <a:pt x="1207253" y="2015906"/>
                    <a:pt x="1209448" y="2015906"/>
                  </a:cubicBezTo>
                  <a:cubicBezTo>
                    <a:pt x="1211643" y="2015906"/>
                    <a:pt x="1213838" y="2018101"/>
                    <a:pt x="1213838" y="2020297"/>
                  </a:cubicBezTo>
                  <a:cubicBezTo>
                    <a:pt x="1213838" y="2022492"/>
                    <a:pt x="1211643" y="2024688"/>
                    <a:pt x="1209448" y="2024688"/>
                  </a:cubicBezTo>
                  <a:close/>
                  <a:moveTo>
                    <a:pt x="895563" y="2037856"/>
                  </a:moveTo>
                  <a:cubicBezTo>
                    <a:pt x="888977" y="2037856"/>
                    <a:pt x="882393" y="2031270"/>
                    <a:pt x="882393" y="2024688"/>
                  </a:cubicBezTo>
                  <a:cubicBezTo>
                    <a:pt x="882393" y="2018101"/>
                    <a:pt x="888977" y="2011516"/>
                    <a:pt x="895563" y="2011516"/>
                  </a:cubicBezTo>
                  <a:cubicBezTo>
                    <a:pt x="902147" y="2011516"/>
                    <a:pt x="908732" y="2018101"/>
                    <a:pt x="908732" y="2024688"/>
                  </a:cubicBezTo>
                  <a:cubicBezTo>
                    <a:pt x="908732" y="2031270"/>
                    <a:pt x="902147" y="2037856"/>
                    <a:pt x="895563" y="2037856"/>
                  </a:cubicBezTo>
                  <a:close/>
                  <a:moveTo>
                    <a:pt x="586066" y="2042247"/>
                  </a:moveTo>
                  <a:cubicBezTo>
                    <a:pt x="577286" y="2042247"/>
                    <a:pt x="570701" y="2035661"/>
                    <a:pt x="570701" y="2026880"/>
                  </a:cubicBezTo>
                  <a:cubicBezTo>
                    <a:pt x="570701" y="2018101"/>
                    <a:pt x="577286" y="2011516"/>
                    <a:pt x="586066" y="2011516"/>
                  </a:cubicBezTo>
                  <a:cubicBezTo>
                    <a:pt x="594846" y="2011516"/>
                    <a:pt x="601431" y="2018101"/>
                    <a:pt x="601431" y="2026880"/>
                  </a:cubicBezTo>
                  <a:cubicBezTo>
                    <a:pt x="601431" y="2035661"/>
                    <a:pt x="594846" y="2042247"/>
                    <a:pt x="586066" y="2042247"/>
                  </a:cubicBezTo>
                  <a:close/>
                  <a:moveTo>
                    <a:pt x="278766" y="2046634"/>
                  </a:moveTo>
                  <a:cubicBezTo>
                    <a:pt x="267790" y="2046634"/>
                    <a:pt x="259010" y="2040052"/>
                    <a:pt x="259010" y="2026880"/>
                  </a:cubicBezTo>
                  <a:cubicBezTo>
                    <a:pt x="259010" y="2015906"/>
                    <a:pt x="267790" y="2007125"/>
                    <a:pt x="278766" y="2007125"/>
                  </a:cubicBezTo>
                  <a:cubicBezTo>
                    <a:pt x="289741" y="2007125"/>
                    <a:pt x="298521" y="2015906"/>
                    <a:pt x="298521" y="2026880"/>
                  </a:cubicBezTo>
                  <a:cubicBezTo>
                    <a:pt x="298521" y="2037856"/>
                    <a:pt x="289741" y="2046634"/>
                    <a:pt x="278766" y="2046634"/>
                  </a:cubicBezTo>
                  <a:close/>
                  <a:moveTo>
                    <a:pt x="1725273" y="2068584"/>
                  </a:moveTo>
                  <a:cubicBezTo>
                    <a:pt x="1725273" y="2068584"/>
                    <a:pt x="1723079" y="2066389"/>
                    <a:pt x="1720883" y="2064194"/>
                  </a:cubicBezTo>
                  <a:cubicBezTo>
                    <a:pt x="1720883" y="2061998"/>
                    <a:pt x="1723079" y="2059803"/>
                    <a:pt x="1725273" y="2059803"/>
                  </a:cubicBezTo>
                  <a:cubicBezTo>
                    <a:pt x="1727469" y="2059803"/>
                    <a:pt x="1729663" y="2061998"/>
                    <a:pt x="1729663" y="2064194"/>
                  </a:cubicBezTo>
                  <a:cubicBezTo>
                    <a:pt x="1729663" y="2066389"/>
                    <a:pt x="1727469" y="2068584"/>
                    <a:pt x="1725273" y="2068584"/>
                  </a:cubicBezTo>
                  <a:close/>
                  <a:moveTo>
                    <a:pt x="1396023" y="2081753"/>
                  </a:moveTo>
                  <a:cubicBezTo>
                    <a:pt x="1393828" y="2081753"/>
                    <a:pt x="1391633" y="2079557"/>
                    <a:pt x="1391633" y="2077362"/>
                  </a:cubicBezTo>
                  <a:cubicBezTo>
                    <a:pt x="1391633" y="2075168"/>
                    <a:pt x="1393828" y="2072974"/>
                    <a:pt x="1396023" y="2072974"/>
                  </a:cubicBezTo>
                  <a:cubicBezTo>
                    <a:pt x="1398218" y="2072974"/>
                    <a:pt x="1400413" y="2075168"/>
                    <a:pt x="1400413" y="2077362"/>
                  </a:cubicBezTo>
                  <a:cubicBezTo>
                    <a:pt x="1400413" y="2079557"/>
                    <a:pt x="1398218" y="2081753"/>
                    <a:pt x="1396023" y="2081753"/>
                  </a:cubicBezTo>
                  <a:close/>
                  <a:moveTo>
                    <a:pt x="1075553" y="2097117"/>
                  </a:moveTo>
                  <a:cubicBezTo>
                    <a:pt x="1068967" y="2097117"/>
                    <a:pt x="1064577" y="2090534"/>
                    <a:pt x="1062382" y="2083948"/>
                  </a:cubicBezTo>
                  <a:cubicBezTo>
                    <a:pt x="1062382" y="2077362"/>
                    <a:pt x="1068967" y="2070780"/>
                    <a:pt x="1075553" y="2070780"/>
                  </a:cubicBezTo>
                  <a:cubicBezTo>
                    <a:pt x="1082137" y="2070780"/>
                    <a:pt x="1088722" y="2077362"/>
                    <a:pt x="1088722" y="2083948"/>
                  </a:cubicBezTo>
                  <a:cubicBezTo>
                    <a:pt x="1088722" y="2090534"/>
                    <a:pt x="1082137" y="2097117"/>
                    <a:pt x="1075553" y="2097117"/>
                  </a:cubicBezTo>
                  <a:close/>
                  <a:moveTo>
                    <a:pt x="142676" y="2099312"/>
                  </a:moveTo>
                  <a:cubicBezTo>
                    <a:pt x="138286" y="2099312"/>
                    <a:pt x="136091" y="2097117"/>
                    <a:pt x="136091" y="2092727"/>
                  </a:cubicBezTo>
                  <a:cubicBezTo>
                    <a:pt x="136091" y="2088339"/>
                    <a:pt x="138286" y="2086143"/>
                    <a:pt x="142676" y="2086143"/>
                  </a:cubicBezTo>
                  <a:cubicBezTo>
                    <a:pt x="147066" y="2086143"/>
                    <a:pt x="149261" y="2088339"/>
                    <a:pt x="149261" y="2092727"/>
                  </a:cubicBezTo>
                  <a:cubicBezTo>
                    <a:pt x="149261" y="2097117"/>
                    <a:pt x="147066" y="2099312"/>
                    <a:pt x="142676" y="2099312"/>
                  </a:cubicBezTo>
                  <a:close/>
                  <a:moveTo>
                    <a:pt x="449976" y="2110286"/>
                  </a:moveTo>
                  <a:cubicBezTo>
                    <a:pt x="439001" y="2110286"/>
                    <a:pt x="432416" y="2101507"/>
                    <a:pt x="430221" y="2090534"/>
                  </a:cubicBezTo>
                  <a:cubicBezTo>
                    <a:pt x="430221" y="2079557"/>
                    <a:pt x="439001" y="2070780"/>
                    <a:pt x="449976" y="2070780"/>
                  </a:cubicBezTo>
                  <a:cubicBezTo>
                    <a:pt x="460952" y="2070780"/>
                    <a:pt x="469732" y="2079557"/>
                    <a:pt x="469732" y="2090534"/>
                  </a:cubicBezTo>
                  <a:cubicBezTo>
                    <a:pt x="469732" y="2101507"/>
                    <a:pt x="460952" y="2110286"/>
                    <a:pt x="449976" y="2110286"/>
                  </a:cubicBezTo>
                  <a:close/>
                  <a:moveTo>
                    <a:pt x="761667" y="2110286"/>
                  </a:moveTo>
                  <a:cubicBezTo>
                    <a:pt x="748497" y="2110286"/>
                    <a:pt x="739717" y="2101507"/>
                    <a:pt x="739717" y="2088339"/>
                  </a:cubicBezTo>
                  <a:cubicBezTo>
                    <a:pt x="739717" y="2075168"/>
                    <a:pt x="750692" y="2066389"/>
                    <a:pt x="761667" y="2066389"/>
                  </a:cubicBezTo>
                  <a:cubicBezTo>
                    <a:pt x="774837" y="2066389"/>
                    <a:pt x="783617" y="2077362"/>
                    <a:pt x="783617" y="2088339"/>
                  </a:cubicBezTo>
                  <a:cubicBezTo>
                    <a:pt x="783617" y="2101507"/>
                    <a:pt x="772642" y="2110286"/>
                    <a:pt x="761667" y="2110286"/>
                  </a:cubicBezTo>
                  <a:close/>
                  <a:moveTo>
                    <a:pt x="1591378" y="2136627"/>
                  </a:moveTo>
                  <a:cubicBezTo>
                    <a:pt x="1589184" y="2136627"/>
                    <a:pt x="1586989" y="2132235"/>
                    <a:pt x="1584794" y="2130041"/>
                  </a:cubicBezTo>
                  <a:cubicBezTo>
                    <a:pt x="1584794" y="2125653"/>
                    <a:pt x="1589184" y="2123457"/>
                    <a:pt x="1591378" y="2123457"/>
                  </a:cubicBezTo>
                  <a:cubicBezTo>
                    <a:pt x="1595769" y="2123457"/>
                    <a:pt x="1597964" y="2125653"/>
                    <a:pt x="1597964" y="2130041"/>
                  </a:cubicBezTo>
                  <a:cubicBezTo>
                    <a:pt x="1597964" y="2134430"/>
                    <a:pt x="1593574" y="2136627"/>
                    <a:pt x="1591378" y="2136627"/>
                  </a:cubicBezTo>
                  <a:close/>
                  <a:moveTo>
                    <a:pt x="1262128" y="2147601"/>
                  </a:moveTo>
                  <a:cubicBezTo>
                    <a:pt x="1259933" y="2147601"/>
                    <a:pt x="1255543" y="2145407"/>
                    <a:pt x="1255543" y="2141017"/>
                  </a:cubicBezTo>
                  <a:cubicBezTo>
                    <a:pt x="1255543" y="2138821"/>
                    <a:pt x="1257738" y="2134430"/>
                    <a:pt x="1262128" y="2134430"/>
                  </a:cubicBezTo>
                  <a:cubicBezTo>
                    <a:pt x="1264323" y="2134430"/>
                    <a:pt x="1268713" y="2136627"/>
                    <a:pt x="1268713" y="2141017"/>
                  </a:cubicBezTo>
                  <a:cubicBezTo>
                    <a:pt x="1268713" y="2143212"/>
                    <a:pt x="1266518" y="2147601"/>
                    <a:pt x="1262128" y="2147601"/>
                  </a:cubicBezTo>
                  <a:close/>
                  <a:moveTo>
                    <a:pt x="6586" y="2165160"/>
                  </a:moveTo>
                  <a:cubicBezTo>
                    <a:pt x="4390" y="2165160"/>
                    <a:pt x="0" y="2162964"/>
                    <a:pt x="0" y="2158574"/>
                  </a:cubicBezTo>
                  <a:cubicBezTo>
                    <a:pt x="0" y="2154185"/>
                    <a:pt x="2196" y="2151990"/>
                    <a:pt x="6586" y="2151990"/>
                  </a:cubicBezTo>
                  <a:cubicBezTo>
                    <a:pt x="10976" y="2151990"/>
                    <a:pt x="13170" y="2154185"/>
                    <a:pt x="13170" y="2158574"/>
                  </a:cubicBezTo>
                  <a:cubicBezTo>
                    <a:pt x="13170" y="2162964"/>
                    <a:pt x="10976" y="2165160"/>
                    <a:pt x="6586" y="2165160"/>
                  </a:cubicBezTo>
                  <a:close/>
                  <a:moveTo>
                    <a:pt x="941658" y="2165160"/>
                  </a:moveTo>
                  <a:cubicBezTo>
                    <a:pt x="932878" y="2165160"/>
                    <a:pt x="926292" y="2156380"/>
                    <a:pt x="926292" y="2149796"/>
                  </a:cubicBezTo>
                  <a:cubicBezTo>
                    <a:pt x="926292" y="2141017"/>
                    <a:pt x="932878" y="2134430"/>
                    <a:pt x="941658" y="2134430"/>
                  </a:cubicBezTo>
                  <a:cubicBezTo>
                    <a:pt x="950437" y="2134430"/>
                    <a:pt x="957023" y="2141017"/>
                    <a:pt x="957023" y="2149796"/>
                  </a:cubicBezTo>
                  <a:cubicBezTo>
                    <a:pt x="957023" y="2158574"/>
                    <a:pt x="950437" y="2165160"/>
                    <a:pt x="941658" y="2165160"/>
                  </a:cubicBezTo>
                  <a:close/>
                  <a:moveTo>
                    <a:pt x="627771" y="2171744"/>
                  </a:moveTo>
                  <a:cubicBezTo>
                    <a:pt x="616797" y="2171744"/>
                    <a:pt x="608016" y="2162964"/>
                    <a:pt x="608016" y="2151990"/>
                  </a:cubicBezTo>
                  <a:cubicBezTo>
                    <a:pt x="608016" y="2141017"/>
                    <a:pt x="616797" y="2132235"/>
                    <a:pt x="627771" y="2132235"/>
                  </a:cubicBezTo>
                  <a:cubicBezTo>
                    <a:pt x="638746" y="2132235"/>
                    <a:pt x="647526" y="2141017"/>
                    <a:pt x="647526" y="2151990"/>
                  </a:cubicBezTo>
                  <a:cubicBezTo>
                    <a:pt x="647526" y="2162964"/>
                    <a:pt x="638746" y="2171744"/>
                    <a:pt x="627771" y="2171744"/>
                  </a:cubicBezTo>
                  <a:close/>
                  <a:moveTo>
                    <a:pt x="316081" y="2173938"/>
                  </a:moveTo>
                  <a:cubicBezTo>
                    <a:pt x="307301" y="2173938"/>
                    <a:pt x="298521" y="2165160"/>
                    <a:pt x="298521" y="2156380"/>
                  </a:cubicBezTo>
                  <a:cubicBezTo>
                    <a:pt x="298521" y="2147601"/>
                    <a:pt x="307301" y="2138821"/>
                    <a:pt x="316081" y="2138821"/>
                  </a:cubicBezTo>
                  <a:cubicBezTo>
                    <a:pt x="324861" y="2138821"/>
                    <a:pt x="333641" y="2147601"/>
                    <a:pt x="333641" y="2156380"/>
                  </a:cubicBezTo>
                  <a:cubicBezTo>
                    <a:pt x="333641" y="2165160"/>
                    <a:pt x="324861" y="2173938"/>
                    <a:pt x="316081" y="2173938"/>
                  </a:cubicBezTo>
                  <a:close/>
                  <a:moveTo>
                    <a:pt x="1799903" y="2178330"/>
                  </a:moveTo>
                  <a:cubicBezTo>
                    <a:pt x="1798807" y="2177231"/>
                    <a:pt x="1798257" y="2176135"/>
                    <a:pt x="1798257" y="2175586"/>
                  </a:cubicBezTo>
                  <a:cubicBezTo>
                    <a:pt x="1798257" y="2175036"/>
                    <a:pt x="1798807" y="2175036"/>
                    <a:pt x="1799903" y="2176135"/>
                  </a:cubicBezTo>
                  <a:lnTo>
                    <a:pt x="1799903" y="2177507"/>
                  </a:lnTo>
                  <a:close/>
                  <a:moveTo>
                    <a:pt x="1457483" y="2200279"/>
                  </a:moveTo>
                  <a:cubicBezTo>
                    <a:pt x="1455288" y="2200279"/>
                    <a:pt x="1453093" y="2198085"/>
                    <a:pt x="1453093" y="2195891"/>
                  </a:cubicBezTo>
                  <a:cubicBezTo>
                    <a:pt x="1453093" y="2193697"/>
                    <a:pt x="1455288" y="2191500"/>
                    <a:pt x="1457483" y="2191500"/>
                  </a:cubicBezTo>
                  <a:cubicBezTo>
                    <a:pt x="1459678" y="2191500"/>
                    <a:pt x="1461873" y="2193697"/>
                    <a:pt x="1461873" y="2195891"/>
                  </a:cubicBezTo>
                  <a:cubicBezTo>
                    <a:pt x="1461873" y="2198085"/>
                    <a:pt x="1459678" y="2200279"/>
                    <a:pt x="1457483" y="2200279"/>
                  </a:cubicBezTo>
                  <a:close/>
                  <a:moveTo>
                    <a:pt x="1130428" y="2217839"/>
                  </a:moveTo>
                  <a:cubicBezTo>
                    <a:pt x="1123842" y="2217839"/>
                    <a:pt x="1117258" y="2211254"/>
                    <a:pt x="1117258" y="2204671"/>
                  </a:cubicBezTo>
                  <a:cubicBezTo>
                    <a:pt x="1117258" y="2198085"/>
                    <a:pt x="1123842" y="2191500"/>
                    <a:pt x="1130428" y="2191500"/>
                  </a:cubicBezTo>
                  <a:cubicBezTo>
                    <a:pt x="1139207" y="2191500"/>
                    <a:pt x="1143597" y="2198085"/>
                    <a:pt x="1143597" y="2204671"/>
                  </a:cubicBezTo>
                  <a:cubicBezTo>
                    <a:pt x="1143597" y="2211254"/>
                    <a:pt x="1137013" y="2217839"/>
                    <a:pt x="1130428" y="2217839"/>
                  </a:cubicBezTo>
                  <a:close/>
                  <a:moveTo>
                    <a:pt x="493877" y="2237594"/>
                  </a:moveTo>
                  <a:cubicBezTo>
                    <a:pt x="482966" y="2237594"/>
                    <a:pt x="474122" y="2228749"/>
                    <a:pt x="474122" y="2217839"/>
                  </a:cubicBezTo>
                  <a:cubicBezTo>
                    <a:pt x="474122" y="2206931"/>
                    <a:pt x="482966" y="2198085"/>
                    <a:pt x="493877" y="2198085"/>
                  </a:cubicBezTo>
                  <a:cubicBezTo>
                    <a:pt x="504787" y="2198085"/>
                    <a:pt x="513631" y="2206931"/>
                    <a:pt x="513631" y="2217839"/>
                  </a:cubicBezTo>
                  <a:cubicBezTo>
                    <a:pt x="513631" y="2228749"/>
                    <a:pt x="504787" y="2237594"/>
                    <a:pt x="493877" y="2237594"/>
                  </a:cubicBezTo>
                  <a:close/>
                  <a:moveTo>
                    <a:pt x="807762" y="2239789"/>
                  </a:moveTo>
                  <a:cubicBezTo>
                    <a:pt x="794592" y="2239789"/>
                    <a:pt x="781422" y="2226619"/>
                    <a:pt x="781422" y="2213449"/>
                  </a:cubicBezTo>
                  <a:cubicBezTo>
                    <a:pt x="781422" y="2200279"/>
                    <a:pt x="792397" y="2187110"/>
                    <a:pt x="807762" y="2187110"/>
                  </a:cubicBezTo>
                  <a:cubicBezTo>
                    <a:pt x="820932" y="2187110"/>
                    <a:pt x="834102" y="2198085"/>
                    <a:pt x="834102" y="2213449"/>
                  </a:cubicBezTo>
                  <a:cubicBezTo>
                    <a:pt x="834102" y="2226619"/>
                    <a:pt x="823127" y="2239789"/>
                    <a:pt x="807762" y="2239789"/>
                  </a:cubicBezTo>
                  <a:close/>
                  <a:moveTo>
                    <a:pt x="179991" y="2246374"/>
                  </a:moveTo>
                  <a:cubicBezTo>
                    <a:pt x="166821" y="2246374"/>
                    <a:pt x="155846" y="2235399"/>
                    <a:pt x="155846" y="2222229"/>
                  </a:cubicBezTo>
                  <a:cubicBezTo>
                    <a:pt x="155846" y="2209060"/>
                    <a:pt x="166821" y="2198085"/>
                    <a:pt x="179991" y="2198085"/>
                  </a:cubicBezTo>
                  <a:cubicBezTo>
                    <a:pt x="193161" y="2198085"/>
                    <a:pt x="204136" y="2209060"/>
                    <a:pt x="204136" y="2222229"/>
                  </a:cubicBezTo>
                  <a:cubicBezTo>
                    <a:pt x="204136" y="2235399"/>
                    <a:pt x="193161" y="2246374"/>
                    <a:pt x="179991" y="2246374"/>
                  </a:cubicBezTo>
                  <a:close/>
                  <a:moveTo>
                    <a:pt x="1663814" y="2246374"/>
                  </a:moveTo>
                  <a:cubicBezTo>
                    <a:pt x="1661619" y="2246374"/>
                    <a:pt x="1659424" y="2244179"/>
                    <a:pt x="1659424" y="2241984"/>
                  </a:cubicBezTo>
                  <a:cubicBezTo>
                    <a:pt x="1659424" y="2239789"/>
                    <a:pt x="1661619" y="2237594"/>
                    <a:pt x="1663814" y="2237594"/>
                  </a:cubicBezTo>
                  <a:cubicBezTo>
                    <a:pt x="1666009" y="2237594"/>
                    <a:pt x="1668204" y="2239789"/>
                    <a:pt x="1668204" y="2241984"/>
                  </a:cubicBezTo>
                  <a:cubicBezTo>
                    <a:pt x="1668204" y="2244179"/>
                    <a:pt x="1666009" y="2246374"/>
                    <a:pt x="1663814" y="2246374"/>
                  </a:cubicBezTo>
                  <a:close/>
                  <a:moveTo>
                    <a:pt x="1325783" y="2270519"/>
                  </a:moveTo>
                  <a:cubicBezTo>
                    <a:pt x="1319198" y="2270519"/>
                    <a:pt x="1314808" y="2263934"/>
                    <a:pt x="1314808" y="2259544"/>
                  </a:cubicBezTo>
                  <a:cubicBezTo>
                    <a:pt x="1314808" y="2252959"/>
                    <a:pt x="1319198" y="2248569"/>
                    <a:pt x="1325783" y="2248569"/>
                  </a:cubicBezTo>
                  <a:cubicBezTo>
                    <a:pt x="1332368" y="2248569"/>
                    <a:pt x="1336759" y="2252959"/>
                    <a:pt x="1336759" y="2259544"/>
                  </a:cubicBezTo>
                  <a:cubicBezTo>
                    <a:pt x="1336759" y="2266129"/>
                    <a:pt x="1332368" y="2270519"/>
                    <a:pt x="1325783" y="2270519"/>
                  </a:cubicBezTo>
                  <a:close/>
                  <a:moveTo>
                    <a:pt x="1881119" y="2283689"/>
                  </a:moveTo>
                  <a:cubicBezTo>
                    <a:pt x="1881119" y="2283689"/>
                    <a:pt x="1876729" y="2281494"/>
                    <a:pt x="1876729" y="2279299"/>
                  </a:cubicBezTo>
                  <a:cubicBezTo>
                    <a:pt x="1876729" y="2277104"/>
                    <a:pt x="1878924" y="2274909"/>
                    <a:pt x="1881119" y="2274909"/>
                  </a:cubicBezTo>
                  <a:cubicBezTo>
                    <a:pt x="1883314" y="2274909"/>
                    <a:pt x="1885509" y="2277104"/>
                    <a:pt x="1885509" y="2279299"/>
                  </a:cubicBezTo>
                  <a:cubicBezTo>
                    <a:pt x="1885509" y="2281494"/>
                    <a:pt x="1883314" y="2283689"/>
                    <a:pt x="1881119" y="2283689"/>
                  </a:cubicBezTo>
                  <a:close/>
                  <a:moveTo>
                    <a:pt x="46095" y="2288078"/>
                  </a:moveTo>
                  <a:cubicBezTo>
                    <a:pt x="43901" y="2288078"/>
                    <a:pt x="43901" y="2288078"/>
                    <a:pt x="43901" y="2285884"/>
                  </a:cubicBezTo>
                  <a:cubicBezTo>
                    <a:pt x="43901" y="2285884"/>
                    <a:pt x="46095" y="2283688"/>
                    <a:pt x="46095" y="2283688"/>
                  </a:cubicBezTo>
                  <a:cubicBezTo>
                    <a:pt x="46095" y="2283688"/>
                    <a:pt x="48291" y="2283688"/>
                    <a:pt x="48291" y="2285884"/>
                  </a:cubicBezTo>
                  <a:cubicBezTo>
                    <a:pt x="48291" y="2285884"/>
                    <a:pt x="48291" y="2288078"/>
                    <a:pt x="46095" y="2288078"/>
                  </a:cubicBezTo>
                  <a:close/>
                  <a:moveTo>
                    <a:pt x="996532" y="2288079"/>
                  </a:moveTo>
                  <a:cubicBezTo>
                    <a:pt x="985557" y="2288079"/>
                    <a:pt x="976777" y="2279299"/>
                    <a:pt x="976777" y="2268324"/>
                  </a:cubicBezTo>
                  <a:cubicBezTo>
                    <a:pt x="976777" y="2257349"/>
                    <a:pt x="985557" y="2248569"/>
                    <a:pt x="996532" y="2248569"/>
                  </a:cubicBezTo>
                  <a:cubicBezTo>
                    <a:pt x="1007507" y="2248569"/>
                    <a:pt x="1016287" y="2257349"/>
                    <a:pt x="1016287" y="2268324"/>
                  </a:cubicBezTo>
                  <a:cubicBezTo>
                    <a:pt x="1016287" y="2279299"/>
                    <a:pt x="1007507" y="2288079"/>
                    <a:pt x="996532" y="2288079"/>
                  </a:cubicBezTo>
                  <a:close/>
                  <a:moveTo>
                    <a:pt x="359981" y="2301248"/>
                  </a:moveTo>
                  <a:cubicBezTo>
                    <a:pt x="349006" y="2301248"/>
                    <a:pt x="340226" y="2292468"/>
                    <a:pt x="340226" y="2281493"/>
                  </a:cubicBezTo>
                  <a:cubicBezTo>
                    <a:pt x="340226" y="2270518"/>
                    <a:pt x="349006" y="2261738"/>
                    <a:pt x="359981" y="2261738"/>
                  </a:cubicBezTo>
                  <a:cubicBezTo>
                    <a:pt x="370956" y="2261738"/>
                    <a:pt x="379736" y="2270518"/>
                    <a:pt x="379736" y="2281493"/>
                  </a:cubicBezTo>
                  <a:cubicBezTo>
                    <a:pt x="379736" y="2292468"/>
                    <a:pt x="370956" y="2301248"/>
                    <a:pt x="359981" y="2301248"/>
                  </a:cubicBezTo>
                  <a:close/>
                  <a:moveTo>
                    <a:pt x="676061" y="2301249"/>
                  </a:moveTo>
                  <a:cubicBezTo>
                    <a:pt x="660696" y="2301249"/>
                    <a:pt x="651916" y="2290274"/>
                    <a:pt x="651916" y="2277104"/>
                  </a:cubicBezTo>
                  <a:cubicBezTo>
                    <a:pt x="651916" y="2263934"/>
                    <a:pt x="662892" y="2252959"/>
                    <a:pt x="676061" y="2252959"/>
                  </a:cubicBezTo>
                  <a:cubicBezTo>
                    <a:pt x="689231" y="2252959"/>
                    <a:pt x="700207" y="2263934"/>
                    <a:pt x="700207" y="2277104"/>
                  </a:cubicBezTo>
                  <a:cubicBezTo>
                    <a:pt x="700207" y="2290274"/>
                    <a:pt x="689231" y="2301249"/>
                    <a:pt x="676061" y="2301249"/>
                  </a:cubicBezTo>
                  <a:close/>
                  <a:moveTo>
                    <a:pt x="1529919" y="2312223"/>
                  </a:moveTo>
                  <a:cubicBezTo>
                    <a:pt x="1525528" y="2312223"/>
                    <a:pt x="1523333" y="2310028"/>
                    <a:pt x="1523333" y="2305638"/>
                  </a:cubicBezTo>
                  <a:cubicBezTo>
                    <a:pt x="1523333" y="2301248"/>
                    <a:pt x="1527723" y="2299053"/>
                    <a:pt x="1529919" y="2299053"/>
                  </a:cubicBezTo>
                  <a:cubicBezTo>
                    <a:pt x="1534309" y="2299053"/>
                    <a:pt x="1536503" y="2303443"/>
                    <a:pt x="1536503" y="2305638"/>
                  </a:cubicBezTo>
                  <a:cubicBezTo>
                    <a:pt x="1536503" y="2310028"/>
                    <a:pt x="1534309" y="2312223"/>
                    <a:pt x="1529919" y="2312223"/>
                  </a:cubicBezTo>
                  <a:close/>
                  <a:moveTo>
                    <a:pt x="1191888" y="2334173"/>
                  </a:moveTo>
                  <a:cubicBezTo>
                    <a:pt x="1185302" y="2334173"/>
                    <a:pt x="1180912" y="2329783"/>
                    <a:pt x="1180912" y="2323199"/>
                  </a:cubicBezTo>
                  <a:cubicBezTo>
                    <a:pt x="1180912" y="2316613"/>
                    <a:pt x="1185302" y="2312223"/>
                    <a:pt x="1191888" y="2312223"/>
                  </a:cubicBezTo>
                  <a:cubicBezTo>
                    <a:pt x="1198473" y="2312223"/>
                    <a:pt x="1202863" y="2316613"/>
                    <a:pt x="1202863" y="2323199"/>
                  </a:cubicBezTo>
                  <a:cubicBezTo>
                    <a:pt x="1202863" y="2329783"/>
                    <a:pt x="1198473" y="2334173"/>
                    <a:pt x="1191888" y="2334173"/>
                  </a:cubicBezTo>
                  <a:close/>
                  <a:moveTo>
                    <a:pt x="1745028" y="2351734"/>
                  </a:moveTo>
                  <a:cubicBezTo>
                    <a:pt x="1742833" y="2351734"/>
                    <a:pt x="1740639" y="2349538"/>
                    <a:pt x="1740639" y="2347344"/>
                  </a:cubicBezTo>
                  <a:cubicBezTo>
                    <a:pt x="1740639" y="2345148"/>
                    <a:pt x="1742833" y="2342953"/>
                    <a:pt x="1745028" y="2342953"/>
                  </a:cubicBezTo>
                  <a:cubicBezTo>
                    <a:pt x="1747224" y="2342953"/>
                    <a:pt x="1749418" y="2345148"/>
                    <a:pt x="1749418" y="2347344"/>
                  </a:cubicBezTo>
                  <a:cubicBezTo>
                    <a:pt x="1749418" y="2349538"/>
                    <a:pt x="1747224" y="2351734"/>
                    <a:pt x="1745028" y="2351734"/>
                  </a:cubicBezTo>
                  <a:close/>
                  <a:moveTo>
                    <a:pt x="542166" y="2360514"/>
                  </a:moveTo>
                  <a:cubicBezTo>
                    <a:pt x="531192" y="2360514"/>
                    <a:pt x="522412" y="2351734"/>
                    <a:pt x="522412" y="2340758"/>
                  </a:cubicBezTo>
                  <a:cubicBezTo>
                    <a:pt x="522412" y="2329783"/>
                    <a:pt x="531192" y="2321003"/>
                    <a:pt x="542166" y="2321003"/>
                  </a:cubicBezTo>
                  <a:cubicBezTo>
                    <a:pt x="553142" y="2321003"/>
                    <a:pt x="561922" y="2329783"/>
                    <a:pt x="561922" y="2340758"/>
                  </a:cubicBezTo>
                  <a:cubicBezTo>
                    <a:pt x="561922" y="2351734"/>
                    <a:pt x="553142" y="2360514"/>
                    <a:pt x="542166" y="2360514"/>
                  </a:cubicBezTo>
                  <a:close/>
                  <a:moveTo>
                    <a:pt x="862637" y="2360514"/>
                  </a:moveTo>
                  <a:cubicBezTo>
                    <a:pt x="847272" y="2360514"/>
                    <a:pt x="836297" y="2349539"/>
                    <a:pt x="836297" y="2334174"/>
                  </a:cubicBezTo>
                  <a:cubicBezTo>
                    <a:pt x="836297" y="2321004"/>
                    <a:pt x="849467" y="2307834"/>
                    <a:pt x="862637" y="2307834"/>
                  </a:cubicBezTo>
                  <a:cubicBezTo>
                    <a:pt x="875807" y="2307834"/>
                    <a:pt x="888977" y="2318809"/>
                    <a:pt x="888977" y="2334174"/>
                  </a:cubicBezTo>
                  <a:cubicBezTo>
                    <a:pt x="888977" y="2347344"/>
                    <a:pt x="878002" y="2360514"/>
                    <a:pt x="862637" y="2360514"/>
                  </a:cubicBezTo>
                  <a:close/>
                  <a:moveTo>
                    <a:pt x="223891" y="2371488"/>
                  </a:moveTo>
                  <a:cubicBezTo>
                    <a:pt x="210720" y="2371488"/>
                    <a:pt x="199745" y="2360514"/>
                    <a:pt x="199745" y="2347344"/>
                  </a:cubicBezTo>
                  <a:cubicBezTo>
                    <a:pt x="199745" y="2334173"/>
                    <a:pt x="210720" y="2323199"/>
                    <a:pt x="223891" y="2323199"/>
                  </a:cubicBezTo>
                  <a:cubicBezTo>
                    <a:pt x="237061" y="2323199"/>
                    <a:pt x="248036" y="2334173"/>
                    <a:pt x="248036" y="2347344"/>
                  </a:cubicBezTo>
                  <a:cubicBezTo>
                    <a:pt x="248036" y="2360514"/>
                    <a:pt x="237061" y="2371488"/>
                    <a:pt x="223891" y="2371488"/>
                  </a:cubicBezTo>
                  <a:close/>
                  <a:moveTo>
                    <a:pt x="1393828" y="2380269"/>
                  </a:moveTo>
                  <a:cubicBezTo>
                    <a:pt x="1389438" y="2380269"/>
                    <a:pt x="1385048" y="2378074"/>
                    <a:pt x="1385048" y="2371488"/>
                  </a:cubicBezTo>
                  <a:cubicBezTo>
                    <a:pt x="1385048" y="2367098"/>
                    <a:pt x="1389438" y="2362708"/>
                    <a:pt x="1393828" y="2362708"/>
                  </a:cubicBezTo>
                  <a:cubicBezTo>
                    <a:pt x="1398218" y="2362708"/>
                    <a:pt x="1402608" y="2367098"/>
                    <a:pt x="1402608" y="2371488"/>
                  </a:cubicBezTo>
                  <a:cubicBezTo>
                    <a:pt x="1402608" y="2375879"/>
                    <a:pt x="1398218" y="2380269"/>
                    <a:pt x="1393828" y="2380269"/>
                  </a:cubicBezTo>
                  <a:close/>
                  <a:moveTo>
                    <a:pt x="1973310" y="2380269"/>
                  </a:moveTo>
                  <a:cubicBezTo>
                    <a:pt x="1971114" y="2380269"/>
                    <a:pt x="1968920" y="2378074"/>
                    <a:pt x="1968920" y="2375879"/>
                  </a:cubicBezTo>
                  <a:cubicBezTo>
                    <a:pt x="1968920" y="2373684"/>
                    <a:pt x="1971114" y="2371488"/>
                    <a:pt x="1973310" y="2371488"/>
                  </a:cubicBezTo>
                  <a:cubicBezTo>
                    <a:pt x="1975505" y="2371488"/>
                    <a:pt x="1977700" y="2373684"/>
                    <a:pt x="1977700" y="2375879"/>
                  </a:cubicBezTo>
                  <a:cubicBezTo>
                    <a:pt x="1977700" y="2378074"/>
                    <a:pt x="1975505" y="2380269"/>
                    <a:pt x="1973310" y="2380269"/>
                  </a:cubicBezTo>
                  <a:close/>
                  <a:moveTo>
                    <a:pt x="1057992" y="2410999"/>
                  </a:moveTo>
                  <a:cubicBezTo>
                    <a:pt x="1044822" y="2410999"/>
                    <a:pt x="1033847" y="2400023"/>
                    <a:pt x="1036042" y="2389049"/>
                  </a:cubicBezTo>
                  <a:cubicBezTo>
                    <a:pt x="1036042" y="2378074"/>
                    <a:pt x="1047017" y="2367098"/>
                    <a:pt x="1057992" y="2367098"/>
                  </a:cubicBezTo>
                  <a:cubicBezTo>
                    <a:pt x="1068967" y="2367098"/>
                    <a:pt x="1079943" y="2375879"/>
                    <a:pt x="1079943" y="2389049"/>
                  </a:cubicBezTo>
                  <a:cubicBezTo>
                    <a:pt x="1079943" y="2400023"/>
                    <a:pt x="1071162" y="2410999"/>
                    <a:pt x="1057992" y="2410999"/>
                  </a:cubicBezTo>
                  <a:close/>
                  <a:moveTo>
                    <a:pt x="728742" y="2419779"/>
                  </a:moveTo>
                  <a:cubicBezTo>
                    <a:pt x="717766" y="2419779"/>
                    <a:pt x="706792" y="2410999"/>
                    <a:pt x="706792" y="2397829"/>
                  </a:cubicBezTo>
                  <a:cubicBezTo>
                    <a:pt x="706792" y="2386853"/>
                    <a:pt x="715572" y="2375879"/>
                    <a:pt x="728742" y="2375879"/>
                  </a:cubicBezTo>
                  <a:cubicBezTo>
                    <a:pt x="739717" y="2375879"/>
                    <a:pt x="750692" y="2384659"/>
                    <a:pt x="750692" y="2397829"/>
                  </a:cubicBezTo>
                  <a:cubicBezTo>
                    <a:pt x="750692" y="2408804"/>
                    <a:pt x="741912" y="2419779"/>
                    <a:pt x="728742" y="2419779"/>
                  </a:cubicBezTo>
                  <a:close/>
                  <a:moveTo>
                    <a:pt x="1608939" y="2419779"/>
                  </a:moveTo>
                  <a:cubicBezTo>
                    <a:pt x="1604549" y="2419779"/>
                    <a:pt x="1602354" y="2417584"/>
                    <a:pt x="1604549" y="2415389"/>
                  </a:cubicBezTo>
                  <a:cubicBezTo>
                    <a:pt x="1604549" y="2413194"/>
                    <a:pt x="1606743" y="2410999"/>
                    <a:pt x="1608939" y="2410999"/>
                  </a:cubicBezTo>
                  <a:cubicBezTo>
                    <a:pt x="1611134" y="2410999"/>
                    <a:pt x="1613329" y="2413194"/>
                    <a:pt x="1613329" y="2415389"/>
                  </a:cubicBezTo>
                  <a:cubicBezTo>
                    <a:pt x="1613329" y="2417584"/>
                    <a:pt x="1611134" y="2419779"/>
                    <a:pt x="1608939" y="2419779"/>
                  </a:cubicBezTo>
                  <a:close/>
                  <a:moveTo>
                    <a:pt x="408271" y="2426364"/>
                  </a:moveTo>
                  <a:cubicBezTo>
                    <a:pt x="397361" y="2426364"/>
                    <a:pt x="388516" y="2417519"/>
                    <a:pt x="388516" y="2406609"/>
                  </a:cubicBezTo>
                  <a:cubicBezTo>
                    <a:pt x="388516" y="2395699"/>
                    <a:pt x="397361" y="2386853"/>
                    <a:pt x="408271" y="2386853"/>
                  </a:cubicBezTo>
                  <a:cubicBezTo>
                    <a:pt x="419181" y="2386853"/>
                    <a:pt x="428027" y="2395699"/>
                    <a:pt x="428027" y="2406609"/>
                  </a:cubicBezTo>
                  <a:cubicBezTo>
                    <a:pt x="428027" y="2417519"/>
                    <a:pt x="419181" y="2426364"/>
                    <a:pt x="408271" y="2426364"/>
                  </a:cubicBezTo>
                  <a:close/>
                  <a:moveTo>
                    <a:pt x="1259933" y="2450509"/>
                  </a:moveTo>
                  <a:cubicBezTo>
                    <a:pt x="1253348" y="2450509"/>
                    <a:pt x="1246763" y="2443924"/>
                    <a:pt x="1246763" y="2437339"/>
                  </a:cubicBezTo>
                  <a:cubicBezTo>
                    <a:pt x="1246763" y="2430754"/>
                    <a:pt x="1253348" y="2424169"/>
                    <a:pt x="1259933" y="2424169"/>
                  </a:cubicBezTo>
                  <a:cubicBezTo>
                    <a:pt x="1266518" y="2424169"/>
                    <a:pt x="1273103" y="2430754"/>
                    <a:pt x="1273103" y="2437339"/>
                  </a:cubicBezTo>
                  <a:cubicBezTo>
                    <a:pt x="1273103" y="2443924"/>
                    <a:pt x="1266518" y="2450509"/>
                    <a:pt x="1259933" y="2450509"/>
                  </a:cubicBezTo>
                  <a:close/>
                  <a:moveTo>
                    <a:pt x="1832829" y="2452704"/>
                  </a:moveTo>
                  <a:cubicBezTo>
                    <a:pt x="1830634" y="2452704"/>
                    <a:pt x="1828439" y="2450509"/>
                    <a:pt x="1826244" y="2446119"/>
                  </a:cubicBezTo>
                  <a:cubicBezTo>
                    <a:pt x="1826244" y="2441729"/>
                    <a:pt x="1828439" y="2439534"/>
                    <a:pt x="1832829" y="2439534"/>
                  </a:cubicBezTo>
                  <a:cubicBezTo>
                    <a:pt x="1837219" y="2439534"/>
                    <a:pt x="1839414" y="2441729"/>
                    <a:pt x="1839414" y="2446119"/>
                  </a:cubicBezTo>
                  <a:cubicBezTo>
                    <a:pt x="1839414" y="2450509"/>
                    <a:pt x="1837219" y="2452704"/>
                    <a:pt x="1832829" y="2452704"/>
                  </a:cubicBezTo>
                  <a:close/>
                  <a:moveTo>
                    <a:pt x="2074279" y="2465874"/>
                  </a:moveTo>
                  <a:cubicBezTo>
                    <a:pt x="2073182" y="2464776"/>
                    <a:pt x="2073182" y="2463679"/>
                    <a:pt x="2073456" y="2463130"/>
                  </a:cubicBezTo>
                  <a:cubicBezTo>
                    <a:pt x="2073730" y="2462581"/>
                    <a:pt x="2074279" y="2462581"/>
                    <a:pt x="2074279" y="2463679"/>
                  </a:cubicBezTo>
                  <a:cubicBezTo>
                    <a:pt x="2074279" y="2463679"/>
                    <a:pt x="2076474" y="2463679"/>
                    <a:pt x="2074279" y="2465874"/>
                  </a:cubicBezTo>
                  <a:close/>
                  <a:moveTo>
                    <a:pt x="924097" y="2476849"/>
                  </a:moveTo>
                  <a:cubicBezTo>
                    <a:pt x="910927" y="2476849"/>
                    <a:pt x="897757" y="2465874"/>
                    <a:pt x="899953" y="2452704"/>
                  </a:cubicBezTo>
                  <a:cubicBezTo>
                    <a:pt x="899953" y="2439534"/>
                    <a:pt x="910927" y="2428558"/>
                    <a:pt x="924097" y="2428558"/>
                  </a:cubicBezTo>
                  <a:cubicBezTo>
                    <a:pt x="937267" y="2428558"/>
                    <a:pt x="948242" y="2439534"/>
                    <a:pt x="948242" y="2452704"/>
                  </a:cubicBezTo>
                  <a:cubicBezTo>
                    <a:pt x="948242" y="2465874"/>
                    <a:pt x="937267" y="2476849"/>
                    <a:pt x="924097" y="2476849"/>
                  </a:cubicBezTo>
                  <a:close/>
                  <a:moveTo>
                    <a:pt x="597041" y="2485629"/>
                  </a:moveTo>
                  <a:cubicBezTo>
                    <a:pt x="583871" y="2485629"/>
                    <a:pt x="572896" y="2474654"/>
                    <a:pt x="575091" y="2463679"/>
                  </a:cubicBezTo>
                  <a:cubicBezTo>
                    <a:pt x="575091" y="2452704"/>
                    <a:pt x="583871" y="2441729"/>
                    <a:pt x="597041" y="2441729"/>
                  </a:cubicBezTo>
                  <a:cubicBezTo>
                    <a:pt x="608016" y="2441729"/>
                    <a:pt x="618991" y="2450509"/>
                    <a:pt x="618991" y="2463679"/>
                  </a:cubicBezTo>
                  <a:cubicBezTo>
                    <a:pt x="618991" y="2474654"/>
                    <a:pt x="610211" y="2485629"/>
                    <a:pt x="597041" y="2485629"/>
                  </a:cubicBezTo>
                  <a:close/>
                  <a:moveTo>
                    <a:pt x="1472848" y="2490019"/>
                  </a:moveTo>
                  <a:cubicBezTo>
                    <a:pt x="1466263" y="2490019"/>
                    <a:pt x="1461873" y="2485629"/>
                    <a:pt x="1464068" y="2481239"/>
                  </a:cubicBezTo>
                  <a:cubicBezTo>
                    <a:pt x="1464068" y="2476849"/>
                    <a:pt x="1468458" y="2472459"/>
                    <a:pt x="1472848" y="2472459"/>
                  </a:cubicBezTo>
                  <a:cubicBezTo>
                    <a:pt x="1477238" y="2472459"/>
                    <a:pt x="1481628" y="2476849"/>
                    <a:pt x="1481628" y="2481239"/>
                  </a:cubicBezTo>
                  <a:cubicBezTo>
                    <a:pt x="1481628" y="2485629"/>
                    <a:pt x="1477238" y="2490019"/>
                    <a:pt x="1472848" y="2490019"/>
                  </a:cubicBezTo>
                  <a:close/>
                  <a:moveTo>
                    <a:pt x="274376" y="2494409"/>
                  </a:moveTo>
                  <a:cubicBezTo>
                    <a:pt x="261206" y="2494409"/>
                    <a:pt x="250230" y="2483434"/>
                    <a:pt x="250230" y="2470264"/>
                  </a:cubicBezTo>
                  <a:cubicBezTo>
                    <a:pt x="250230" y="2457094"/>
                    <a:pt x="261206" y="2446119"/>
                    <a:pt x="274376" y="2446119"/>
                  </a:cubicBezTo>
                  <a:cubicBezTo>
                    <a:pt x="287546" y="2446119"/>
                    <a:pt x="298521" y="2457094"/>
                    <a:pt x="298521" y="2470264"/>
                  </a:cubicBezTo>
                  <a:cubicBezTo>
                    <a:pt x="298521" y="2483434"/>
                    <a:pt x="287546" y="2494409"/>
                    <a:pt x="274376" y="2494409"/>
                  </a:cubicBezTo>
                  <a:close/>
                  <a:moveTo>
                    <a:pt x="1126038" y="2522944"/>
                  </a:moveTo>
                  <a:cubicBezTo>
                    <a:pt x="1113915" y="2522944"/>
                    <a:pt x="1104088" y="2513117"/>
                    <a:pt x="1104088" y="2500994"/>
                  </a:cubicBezTo>
                  <a:cubicBezTo>
                    <a:pt x="1104088" y="2488871"/>
                    <a:pt x="1113915" y="2479044"/>
                    <a:pt x="1126038" y="2479044"/>
                  </a:cubicBezTo>
                  <a:cubicBezTo>
                    <a:pt x="1138160" y="2479044"/>
                    <a:pt x="1147987" y="2488871"/>
                    <a:pt x="1147987" y="2500994"/>
                  </a:cubicBezTo>
                  <a:cubicBezTo>
                    <a:pt x="1147987" y="2513117"/>
                    <a:pt x="1138160" y="2522944"/>
                    <a:pt x="1126038" y="2522944"/>
                  </a:cubicBezTo>
                  <a:close/>
                  <a:moveTo>
                    <a:pt x="1694544" y="2522944"/>
                  </a:moveTo>
                  <a:cubicBezTo>
                    <a:pt x="1690154" y="2522944"/>
                    <a:pt x="1687959" y="2518554"/>
                    <a:pt x="1685764" y="2514164"/>
                  </a:cubicBezTo>
                  <a:cubicBezTo>
                    <a:pt x="1685764" y="2509774"/>
                    <a:pt x="1690154" y="2505384"/>
                    <a:pt x="1694544" y="2505384"/>
                  </a:cubicBezTo>
                  <a:cubicBezTo>
                    <a:pt x="1698934" y="2505384"/>
                    <a:pt x="1703324" y="2509774"/>
                    <a:pt x="1703324" y="2514164"/>
                  </a:cubicBezTo>
                  <a:cubicBezTo>
                    <a:pt x="1703324" y="2518554"/>
                    <a:pt x="1698934" y="2522944"/>
                    <a:pt x="1694544" y="2522944"/>
                  </a:cubicBezTo>
                  <a:close/>
                  <a:moveTo>
                    <a:pt x="1931604" y="2542699"/>
                  </a:moveTo>
                  <a:cubicBezTo>
                    <a:pt x="1927215" y="2542699"/>
                    <a:pt x="1925019" y="2540504"/>
                    <a:pt x="1925019" y="2536114"/>
                  </a:cubicBezTo>
                  <a:cubicBezTo>
                    <a:pt x="1925019" y="2531724"/>
                    <a:pt x="1927215" y="2529529"/>
                    <a:pt x="1931604" y="2529529"/>
                  </a:cubicBezTo>
                  <a:cubicBezTo>
                    <a:pt x="1935994" y="2529529"/>
                    <a:pt x="1938189" y="2533919"/>
                    <a:pt x="1938189" y="2536114"/>
                  </a:cubicBezTo>
                  <a:cubicBezTo>
                    <a:pt x="1938189" y="2540504"/>
                    <a:pt x="1933799" y="2542699"/>
                    <a:pt x="1931604" y="2542699"/>
                  </a:cubicBezTo>
                  <a:close/>
                  <a:moveTo>
                    <a:pt x="2181835" y="2544894"/>
                  </a:moveTo>
                  <a:cubicBezTo>
                    <a:pt x="2179639" y="2544894"/>
                    <a:pt x="2179639" y="2542699"/>
                    <a:pt x="2179639" y="2542699"/>
                  </a:cubicBezTo>
                  <a:cubicBezTo>
                    <a:pt x="2179639" y="2542699"/>
                    <a:pt x="2179639" y="2540504"/>
                    <a:pt x="2181835" y="2540504"/>
                  </a:cubicBezTo>
                  <a:cubicBezTo>
                    <a:pt x="2181835" y="2540504"/>
                    <a:pt x="2184030" y="2540504"/>
                    <a:pt x="2184030" y="2542699"/>
                  </a:cubicBezTo>
                  <a:cubicBezTo>
                    <a:pt x="2184030" y="2542699"/>
                    <a:pt x="2184030" y="2544894"/>
                    <a:pt x="2181835" y="2544894"/>
                  </a:cubicBezTo>
                  <a:close/>
                  <a:moveTo>
                    <a:pt x="790202" y="2549284"/>
                  </a:moveTo>
                  <a:cubicBezTo>
                    <a:pt x="772642" y="2549284"/>
                    <a:pt x="757277" y="2533919"/>
                    <a:pt x="757277" y="2516359"/>
                  </a:cubicBezTo>
                  <a:cubicBezTo>
                    <a:pt x="757277" y="2498799"/>
                    <a:pt x="772642" y="2483434"/>
                    <a:pt x="790202" y="2483434"/>
                  </a:cubicBezTo>
                  <a:cubicBezTo>
                    <a:pt x="807762" y="2483434"/>
                    <a:pt x="823127" y="2498799"/>
                    <a:pt x="823127" y="2516359"/>
                  </a:cubicBezTo>
                  <a:cubicBezTo>
                    <a:pt x="823127" y="2533919"/>
                    <a:pt x="807762" y="2549284"/>
                    <a:pt x="790202" y="2549284"/>
                  </a:cubicBezTo>
                  <a:close/>
                  <a:moveTo>
                    <a:pt x="463146" y="2553674"/>
                  </a:moveTo>
                  <a:cubicBezTo>
                    <a:pt x="447781" y="2553674"/>
                    <a:pt x="434611" y="2542699"/>
                    <a:pt x="436806" y="2527334"/>
                  </a:cubicBezTo>
                  <a:cubicBezTo>
                    <a:pt x="436806" y="2514164"/>
                    <a:pt x="447781" y="2500994"/>
                    <a:pt x="463146" y="2500994"/>
                  </a:cubicBezTo>
                  <a:cubicBezTo>
                    <a:pt x="476316" y="2500994"/>
                    <a:pt x="489487" y="2511969"/>
                    <a:pt x="489487" y="2527334"/>
                  </a:cubicBezTo>
                  <a:cubicBezTo>
                    <a:pt x="489487" y="2540504"/>
                    <a:pt x="478512" y="2553674"/>
                    <a:pt x="463146" y="2553674"/>
                  </a:cubicBezTo>
                  <a:close/>
                  <a:moveTo>
                    <a:pt x="1336757" y="2562454"/>
                  </a:moveTo>
                  <a:cubicBezTo>
                    <a:pt x="1327977" y="2562454"/>
                    <a:pt x="1321393" y="2553674"/>
                    <a:pt x="1321393" y="2547089"/>
                  </a:cubicBezTo>
                  <a:cubicBezTo>
                    <a:pt x="1321393" y="2538309"/>
                    <a:pt x="1327977" y="2531724"/>
                    <a:pt x="1336757" y="2531724"/>
                  </a:cubicBezTo>
                  <a:cubicBezTo>
                    <a:pt x="1345537" y="2531724"/>
                    <a:pt x="1352123" y="2538309"/>
                    <a:pt x="1352123" y="2547089"/>
                  </a:cubicBezTo>
                  <a:cubicBezTo>
                    <a:pt x="1352123" y="2555869"/>
                    <a:pt x="1345537" y="2562454"/>
                    <a:pt x="1336757" y="2562454"/>
                  </a:cubicBezTo>
                  <a:close/>
                  <a:moveTo>
                    <a:pt x="1556258" y="2593185"/>
                  </a:moveTo>
                  <a:cubicBezTo>
                    <a:pt x="1551869" y="2593185"/>
                    <a:pt x="1545283" y="2588795"/>
                    <a:pt x="1545283" y="2582209"/>
                  </a:cubicBezTo>
                  <a:cubicBezTo>
                    <a:pt x="1545283" y="2575624"/>
                    <a:pt x="1549673" y="2571234"/>
                    <a:pt x="1556258" y="2571234"/>
                  </a:cubicBezTo>
                  <a:cubicBezTo>
                    <a:pt x="1562844" y="2571234"/>
                    <a:pt x="1567234" y="2575624"/>
                    <a:pt x="1567234" y="2582209"/>
                  </a:cubicBezTo>
                  <a:cubicBezTo>
                    <a:pt x="1567234" y="2588795"/>
                    <a:pt x="1562844" y="2593185"/>
                    <a:pt x="1556258" y="2593185"/>
                  </a:cubicBezTo>
                  <a:close/>
                  <a:moveTo>
                    <a:pt x="992142" y="2601965"/>
                  </a:moveTo>
                  <a:cubicBezTo>
                    <a:pt x="972387" y="2601965"/>
                    <a:pt x="957022" y="2586599"/>
                    <a:pt x="957022" y="2566844"/>
                  </a:cubicBezTo>
                  <a:cubicBezTo>
                    <a:pt x="957022" y="2547089"/>
                    <a:pt x="972387" y="2531724"/>
                    <a:pt x="992142" y="2531724"/>
                  </a:cubicBezTo>
                  <a:cubicBezTo>
                    <a:pt x="1011897" y="2531724"/>
                    <a:pt x="1027262" y="2547089"/>
                    <a:pt x="1027262" y="2566844"/>
                  </a:cubicBezTo>
                  <a:cubicBezTo>
                    <a:pt x="1027262" y="2586599"/>
                    <a:pt x="1011897" y="2601965"/>
                    <a:pt x="992142" y="2601965"/>
                  </a:cubicBezTo>
                  <a:close/>
                  <a:moveTo>
                    <a:pt x="656306" y="2617330"/>
                  </a:moveTo>
                  <a:cubicBezTo>
                    <a:pt x="636551" y="2617330"/>
                    <a:pt x="618991" y="2601965"/>
                    <a:pt x="618991" y="2580014"/>
                  </a:cubicBezTo>
                  <a:cubicBezTo>
                    <a:pt x="618991" y="2560260"/>
                    <a:pt x="636551" y="2542699"/>
                    <a:pt x="656306" y="2542699"/>
                  </a:cubicBezTo>
                  <a:cubicBezTo>
                    <a:pt x="676061" y="2542699"/>
                    <a:pt x="693621" y="2560260"/>
                    <a:pt x="693621" y="2580014"/>
                  </a:cubicBezTo>
                  <a:cubicBezTo>
                    <a:pt x="693621" y="2599769"/>
                    <a:pt x="676061" y="2617330"/>
                    <a:pt x="656306" y="2617330"/>
                  </a:cubicBezTo>
                  <a:close/>
                  <a:moveTo>
                    <a:pt x="1788929" y="2617330"/>
                  </a:moveTo>
                  <a:cubicBezTo>
                    <a:pt x="1784539" y="2617330"/>
                    <a:pt x="1780149" y="2612940"/>
                    <a:pt x="1780149" y="2608549"/>
                  </a:cubicBezTo>
                  <a:cubicBezTo>
                    <a:pt x="1780149" y="2604159"/>
                    <a:pt x="1784539" y="2599769"/>
                    <a:pt x="1788929" y="2599769"/>
                  </a:cubicBezTo>
                  <a:cubicBezTo>
                    <a:pt x="1793319" y="2599769"/>
                    <a:pt x="1797709" y="2604159"/>
                    <a:pt x="1797709" y="2608549"/>
                  </a:cubicBezTo>
                  <a:cubicBezTo>
                    <a:pt x="1797709" y="2612940"/>
                    <a:pt x="1793319" y="2617330"/>
                    <a:pt x="1788929" y="2617330"/>
                  </a:cubicBezTo>
                  <a:close/>
                  <a:moveTo>
                    <a:pt x="329251" y="2619524"/>
                  </a:moveTo>
                  <a:cubicBezTo>
                    <a:pt x="313886" y="2619524"/>
                    <a:pt x="300715" y="2606355"/>
                    <a:pt x="300715" y="2590989"/>
                  </a:cubicBezTo>
                  <a:cubicBezTo>
                    <a:pt x="300715" y="2575624"/>
                    <a:pt x="313886" y="2562454"/>
                    <a:pt x="329251" y="2562454"/>
                  </a:cubicBezTo>
                  <a:cubicBezTo>
                    <a:pt x="344616" y="2562454"/>
                    <a:pt x="357786" y="2575624"/>
                    <a:pt x="357786" y="2590989"/>
                  </a:cubicBezTo>
                  <a:cubicBezTo>
                    <a:pt x="357786" y="2606355"/>
                    <a:pt x="344616" y="2619524"/>
                    <a:pt x="329251" y="2619524"/>
                  </a:cubicBezTo>
                  <a:close/>
                  <a:moveTo>
                    <a:pt x="2034770" y="2626110"/>
                  </a:moveTo>
                  <a:cubicBezTo>
                    <a:pt x="2030380" y="2626110"/>
                    <a:pt x="2028184" y="2623914"/>
                    <a:pt x="2028184" y="2619524"/>
                  </a:cubicBezTo>
                  <a:cubicBezTo>
                    <a:pt x="2028184" y="2615134"/>
                    <a:pt x="2032574" y="2612940"/>
                    <a:pt x="2034770" y="2612940"/>
                  </a:cubicBezTo>
                  <a:cubicBezTo>
                    <a:pt x="2039160" y="2612940"/>
                    <a:pt x="2041355" y="2617330"/>
                    <a:pt x="2041355" y="2619524"/>
                  </a:cubicBezTo>
                  <a:cubicBezTo>
                    <a:pt x="2041355" y="2623914"/>
                    <a:pt x="2039160" y="2626110"/>
                    <a:pt x="2034770" y="2626110"/>
                  </a:cubicBezTo>
                  <a:close/>
                  <a:moveTo>
                    <a:pt x="1200668" y="2632694"/>
                  </a:moveTo>
                  <a:cubicBezTo>
                    <a:pt x="1189693" y="2632694"/>
                    <a:pt x="1178718" y="2623914"/>
                    <a:pt x="1178718" y="2610745"/>
                  </a:cubicBezTo>
                  <a:cubicBezTo>
                    <a:pt x="1178718" y="2597575"/>
                    <a:pt x="1189693" y="2588795"/>
                    <a:pt x="1200668" y="2588795"/>
                  </a:cubicBezTo>
                  <a:cubicBezTo>
                    <a:pt x="1213838" y="2588795"/>
                    <a:pt x="1222618" y="2597575"/>
                    <a:pt x="1222618" y="2610745"/>
                  </a:cubicBezTo>
                  <a:cubicBezTo>
                    <a:pt x="1222618" y="2623914"/>
                    <a:pt x="1211643" y="2632694"/>
                    <a:pt x="1200668" y="2632694"/>
                  </a:cubicBezTo>
                  <a:close/>
                  <a:moveTo>
                    <a:pt x="858247" y="2663425"/>
                  </a:moveTo>
                  <a:cubicBezTo>
                    <a:pt x="840687" y="2663425"/>
                    <a:pt x="825322" y="2648060"/>
                    <a:pt x="825322" y="2630500"/>
                  </a:cubicBezTo>
                  <a:cubicBezTo>
                    <a:pt x="825322" y="2612940"/>
                    <a:pt x="840687" y="2597575"/>
                    <a:pt x="858247" y="2597575"/>
                  </a:cubicBezTo>
                  <a:cubicBezTo>
                    <a:pt x="875807" y="2597575"/>
                    <a:pt x="891173" y="2612940"/>
                    <a:pt x="891173" y="2630500"/>
                  </a:cubicBezTo>
                  <a:cubicBezTo>
                    <a:pt x="891173" y="2648060"/>
                    <a:pt x="875807" y="2663425"/>
                    <a:pt x="858247" y="2663425"/>
                  </a:cubicBezTo>
                  <a:close/>
                  <a:moveTo>
                    <a:pt x="1417973" y="2665619"/>
                  </a:moveTo>
                  <a:cubicBezTo>
                    <a:pt x="1409193" y="2665619"/>
                    <a:pt x="1402608" y="2659034"/>
                    <a:pt x="1402608" y="2650254"/>
                  </a:cubicBezTo>
                  <a:cubicBezTo>
                    <a:pt x="1402608" y="2641474"/>
                    <a:pt x="1409193" y="2634889"/>
                    <a:pt x="1417973" y="2634889"/>
                  </a:cubicBezTo>
                  <a:cubicBezTo>
                    <a:pt x="1426753" y="2634889"/>
                    <a:pt x="1433338" y="2641474"/>
                    <a:pt x="1433338" y="2650254"/>
                  </a:cubicBezTo>
                  <a:cubicBezTo>
                    <a:pt x="1433338" y="2659034"/>
                    <a:pt x="1426753" y="2665619"/>
                    <a:pt x="1417973" y="2665619"/>
                  </a:cubicBezTo>
                  <a:close/>
                  <a:moveTo>
                    <a:pt x="2414506" y="2670010"/>
                  </a:moveTo>
                  <a:cubicBezTo>
                    <a:pt x="2414506" y="2670010"/>
                    <a:pt x="2412311" y="2670010"/>
                    <a:pt x="2412311" y="2667815"/>
                  </a:cubicBezTo>
                  <a:cubicBezTo>
                    <a:pt x="2412311" y="2667815"/>
                    <a:pt x="2412311" y="2665619"/>
                    <a:pt x="2414506" y="2665619"/>
                  </a:cubicBezTo>
                  <a:cubicBezTo>
                    <a:pt x="2414506" y="2665619"/>
                    <a:pt x="2416700" y="2665619"/>
                    <a:pt x="2416700" y="2667815"/>
                  </a:cubicBezTo>
                  <a:cubicBezTo>
                    <a:pt x="2416700" y="2667815"/>
                    <a:pt x="2416700" y="2670010"/>
                    <a:pt x="2414506" y="2670010"/>
                  </a:cubicBezTo>
                  <a:close/>
                  <a:moveTo>
                    <a:pt x="522412" y="2672205"/>
                  </a:moveTo>
                  <a:cubicBezTo>
                    <a:pt x="509241" y="2672205"/>
                    <a:pt x="496071" y="2659035"/>
                    <a:pt x="496071" y="2645865"/>
                  </a:cubicBezTo>
                  <a:cubicBezTo>
                    <a:pt x="496071" y="2632694"/>
                    <a:pt x="507047" y="2619524"/>
                    <a:pt x="522412" y="2619524"/>
                  </a:cubicBezTo>
                  <a:cubicBezTo>
                    <a:pt x="535582" y="2619524"/>
                    <a:pt x="548752" y="2630500"/>
                    <a:pt x="548752" y="2645865"/>
                  </a:cubicBezTo>
                  <a:cubicBezTo>
                    <a:pt x="548752" y="2659035"/>
                    <a:pt x="537776" y="2672205"/>
                    <a:pt x="522412" y="2672205"/>
                  </a:cubicBezTo>
                  <a:close/>
                  <a:moveTo>
                    <a:pt x="195356" y="2674399"/>
                  </a:moveTo>
                  <a:cubicBezTo>
                    <a:pt x="186576" y="2674399"/>
                    <a:pt x="175600" y="2665619"/>
                    <a:pt x="175600" y="2654644"/>
                  </a:cubicBezTo>
                  <a:cubicBezTo>
                    <a:pt x="175600" y="2643669"/>
                    <a:pt x="184380" y="2634889"/>
                    <a:pt x="195356" y="2634889"/>
                  </a:cubicBezTo>
                  <a:cubicBezTo>
                    <a:pt x="206330" y="2634889"/>
                    <a:pt x="215111" y="2643669"/>
                    <a:pt x="215111" y="2654644"/>
                  </a:cubicBezTo>
                  <a:cubicBezTo>
                    <a:pt x="215111" y="2665619"/>
                    <a:pt x="206330" y="2674399"/>
                    <a:pt x="195356" y="2674399"/>
                  </a:cubicBezTo>
                  <a:close/>
                  <a:moveTo>
                    <a:pt x="1648449" y="2691960"/>
                  </a:moveTo>
                  <a:cubicBezTo>
                    <a:pt x="1641864" y="2691960"/>
                    <a:pt x="1635279" y="2685375"/>
                    <a:pt x="1635279" y="2678790"/>
                  </a:cubicBezTo>
                  <a:cubicBezTo>
                    <a:pt x="1635279" y="2672205"/>
                    <a:pt x="1641864" y="2665619"/>
                    <a:pt x="1648449" y="2665619"/>
                  </a:cubicBezTo>
                  <a:cubicBezTo>
                    <a:pt x="1655034" y="2665619"/>
                    <a:pt x="1661619" y="2672205"/>
                    <a:pt x="1661619" y="2678790"/>
                  </a:cubicBezTo>
                  <a:cubicBezTo>
                    <a:pt x="1661619" y="2685375"/>
                    <a:pt x="1655034" y="2691960"/>
                    <a:pt x="1648449" y="2691960"/>
                  </a:cubicBezTo>
                  <a:close/>
                  <a:moveTo>
                    <a:pt x="2144518" y="2700740"/>
                  </a:moveTo>
                  <a:cubicBezTo>
                    <a:pt x="2142324" y="2700740"/>
                    <a:pt x="2137934" y="2698545"/>
                    <a:pt x="2137934" y="2694155"/>
                  </a:cubicBezTo>
                  <a:cubicBezTo>
                    <a:pt x="2137934" y="2689765"/>
                    <a:pt x="2140130" y="2687570"/>
                    <a:pt x="2144518" y="2687570"/>
                  </a:cubicBezTo>
                  <a:cubicBezTo>
                    <a:pt x="2148910" y="2687570"/>
                    <a:pt x="2151104" y="2689765"/>
                    <a:pt x="2151104" y="2694155"/>
                  </a:cubicBezTo>
                  <a:cubicBezTo>
                    <a:pt x="2151104" y="2698545"/>
                    <a:pt x="2148910" y="2700740"/>
                    <a:pt x="2144518" y="2700740"/>
                  </a:cubicBezTo>
                  <a:close/>
                  <a:moveTo>
                    <a:pt x="1889899" y="2705129"/>
                  </a:moveTo>
                  <a:cubicBezTo>
                    <a:pt x="1883314" y="2705129"/>
                    <a:pt x="1878924" y="2700739"/>
                    <a:pt x="1878924" y="2694154"/>
                  </a:cubicBezTo>
                  <a:cubicBezTo>
                    <a:pt x="1878924" y="2687569"/>
                    <a:pt x="1883314" y="2683179"/>
                    <a:pt x="1889899" y="2683179"/>
                  </a:cubicBezTo>
                  <a:cubicBezTo>
                    <a:pt x="1896484" y="2683179"/>
                    <a:pt x="1900874" y="2687569"/>
                    <a:pt x="1900874" y="2694154"/>
                  </a:cubicBezTo>
                  <a:cubicBezTo>
                    <a:pt x="1900874" y="2700739"/>
                    <a:pt x="1896484" y="2705129"/>
                    <a:pt x="1889899" y="2705129"/>
                  </a:cubicBezTo>
                  <a:close/>
                  <a:moveTo>
                    <a:pt x="1064577" y="2711715"/>
                  </a:moveTo>
                  <a:cubicBezTo>
                    <a:pt x="1047017" y="2711715"/>
                    <a:pt x="1029457" y="2696350"/>
                    <a:pt x="1029457" y="2676595"/>
                  </a:cubicBezTo>
                  <a:cubicBezTo>
                    <a:pt x="1029457" y="2656840"/>
                    <a:pt x="1044822" y="2641475"/>
                    <a:pt x="1064577" y="2641475"/>
                  </a:cubicBezTo>
                  <a:cubicBezTo>
                    <a:pt x="1084333" y="2641475"/>
                    <a:pt x="1099698" y="2656840"/>
                    <a:pt x="1099698" y="2676595"/>
                  </a:cubicBezTo>
                  <a:cubicBezTo>
                    <a:pt x="1099698" y="2696350"/>
                    <a:pt x="1084333" y="2711715"/>
                    <a:pt x="1064577" y="2711715"/>
                  </a:cubicBezTo>
                  <a:close/>
                  <a:moveTo>
                    <a:pt x="2539620" y="2716105"/>
                  </a:moveTo>
                  <a:cubicBezTo>
                    <a:pt x="2538522" y="2715008"/>
                    <a:pt x="2538522" y="2713910"/>
                    <a:pt x="2538797" y="2713362"/>
                  </a:cubicBezTo>
                  <a:cubicBezTo>
                    <a:pt x="2539072" y="2712813"/>
                    <a:pt x="2539620" y="2712813"/>
                    <a:pt x="2539620" y="2713910"/>
                  </a:cubicBezTo>
                  <a:cubicBezTo>
                    <a:pt x="2539620" y="2713910"/>
                    <a:pt x="2541816" y="2713910"/>
                    <a:pt x="2539620" y="2716105"/>
                  </a:cubicBezTo>
                  <a:close/>
                  <a:moveTo>
                    <a:pt x="722156" y="2733665"/>
                  </a:moveTo>
                  <a:cubicBezTo>
                    <a:pt x="702402" y="2733665"/>
                    <a:pt x="684841" y="2716104"/>
                    <a:pt x="682647" y="2694155"/>
                  </a:cubicBezTo>
                  <a:cubicBezTo>
                    <a:pt x="682647" y="2672205"/>
                    <a:pt x="700207" y="2654645"/>
                    <a:pt x="722156" y="2654645"/>
                  </a:cubicBezTo>
                  <a:cubicBezTo>
                    <a:pt x="744107" y="2654645"/>
                    <a:pt x="761667" y="2672205"/>
                    <a:pt x="761667" y="2694155"/>
                  </a:cubicBezTo>
                  <a:cubicBezTo>
                    <a:pt x="761667" y="2716104"/>
                    <a:pt x="744107" y="2733665"/>
                    <a:pt x="722156" y="2733665"/>
                  </a:cubicBezTo>
                  <a:close/>
                  <a:moveTo>
                    <a:pt x="390711" y="2740250"/>
                  </a:moveTo>
                  <a:cubicBezTo>
                    <a:pt x="373151" y="2740250"/>
                    <a:pt x="357786" y="2727079"/>
                    <a:pt x="359981" y="2709519"/>
                  </a:cubicBezTo>
                  <a:cubicBezTo>
                    <a:pt x="359981" y="2691959"/>
                    <a:pt x="373151" y="2678789"/>
                    <a:pt x="390711" y="2678789"/>
                  </a:cubicBezTo>
                  <a:cubicBezTo>
                    <a:pt x="408271" y="2678789"/>
                    <a:pt x="421441" y="2691959"/>
                    <a:pt x="421441" y="2709519"/>
                  </a:cubicBezTo>
                  <a:cubicBezTo>
                    <a:pt x="421441" y="2727079"/>
                    <a:pt x="408271" y="2740250"/>
                    <a:pt x="390711" y="2740250"/>
                  </a:cubicBezTo>
                  <a:close/>
                  <a:moveTo>
                    <a:pt x="1281883" y="2742444"/>
                  </a:moveTo>
                  <a:cubicBezTo>
                    <a:pt x="1266518" y="2742444"/>
                    <a:pt x="1255543" y="2731469"/>
                    <a:pt x="1255543" y="2716104"/>
                  </a:cubicBezTo>
                  <a:cubicBezTo>
                    <a:pt x="1255543" y="2700739"/>
                    <a:pt x="1266518" y="2689764"/>
                    <a:pt x="1281883" y="2689764"/>
                  </a:cubicBezTo>
                  <a:cubicBezTo>
                    <a:pt x="1297248" y="2689764"/>
                    <a:pt x="1308223" y="2700739"/>
                    <a:pt x="1308223" y="2716104"/>
                  </a:cubicBezTo>
                  <a:cubicBezTo>
                    <a:pt x="1308223" y="2731469"/>
                    <a:pt x="1297248" y="2742444"/>
                    <a:pt x="1281883" y="2742444"/>
                  </a:cubicBezTo>
                  <a:close/>
                  <a:moveTo>
                    <a:pt x="2260855" y="2764395"/>
                  </a:moveTo>
                  <a:cubicBezTo>
                    <a:pt x="2258659" y="2764395"/>
                    <a:pt x="2256465" y="2762199"/>
                    <a:pt x="2256465" y="2760004"/>
                  </a:cubicBezTo>
                  <a:cubicBezTo>
                    <a:pt x="2256465" y="2757809"/>
                    <a:pt x="2258659" y="2755614"/>
                    <a:pt x="2260855" y="2755614"/>
                  </a:cubicBezTo>
                  <a:cubicBezTo>
                    <a:pt x="2263051" y="2755614"/>
                    <a:pt x="2265245" y="2757809"/>
                    <a:pt x="2265245" y="2760004"/>
                  </a:cubicBezTo>
                  <a:cubicBezTo>
                    <a:pt x="2265245" y="2762199"/>
                    <a:pt x="2263051" y="2764395"/>
                    <a:pt x="2260855" y="2764395"/>
                  </a:cubicBezTo>
                  <a:close/>
                  <a:moveTo>
                    <a:pt x="1507968" y="2766589"/>
                  </a:moveTo>
                  <a:cubicBezTo>
                    <a:pt x="1496994" y="2766589"/>
                    <a:pt x="1490408" y="2757809"/>
                    <a:pt x="1488214" y="2746834"/>
                  </a:cubicBezTo>
                  <a:cubicBezTo>
                    <a:pt x="1488214" y="2735860"/>
                    <a:pt x="1496994" y="2727079"/>
                    <a:pt x="1507968" y="2727079"/>
                  </a:cubicBezTo>
                  <a:cubicBezTo>
                    <a:pt x="1518943" y="2727079"/>
                    <a:pt x="1527723" y="2735860"/>
                    <a:pt x="1527723" y="2746834"/>
                  </a:cubicBezTo>
                  <a:cubicBezTo>
                    <a:pt x="1527723" y="2757809"/>
                    <a:pt x="1518943" y="2766589"/>
                    <a:pt x="1507968" y="2766589"/>
                  </a:cubicBezTo>
                  <a:close/>
                  <a:moveTo>
                    <a:pt x="930682" y="2777565"/>
                  </a:moveTo>
                  <a:cubicBezTo>
                    <a:pt x="910927" y="2777565"/>
                    <a:pt x="893367" y="2762199"/>
                    <a:pt x="893367" y="2740250"/>
                  </a:cubicBezTo>
                  <a:cubicBezTo>
                    <a:pt x="893367" y="2718299"/>
                    <a:pt x="910927" y="2702934"/>
                    <a:pt x="930682" y="2702934"/>
                  </a:cubicBezTo>
                  <a:cubicBezTo>
                    <a:pt x="952633" y="2702934"/>
                    <a:pt x="967997" y="2720494"/>
                    <a:pt x="967997" y="2740250"/>
                  </a:cubicBezTo>
                  <a:cubicBezTo>
                    <a:pt x="967997" y="2762199"/>
                    <a:pt x="950437" y="2777565"/>
                    <a:pt x="930682" y="2777565"/>
                  </a:cubicBezTo>
                  <a:close/>
                  <a:moveTo>
                    <a:pt x="256816" y="2781955"/>
                  </a:moveTo>
                  <a:cubicBezTo>
                    <a:pt x="250230" y="2781955"/>
                    <a:pt x="248036" y="2777565"/>
                    <a:pt x="248036" y="2773175"/>
                  </a:cubicBezTo>
                  <a:cubicBezTo>
                    <a:pt x="248036" y="2768785"/>
                    <a:pt x="252426" y="2764395"/>
                    <a:pt x="256816" y="2764395"/>
                  </a:cubicBezTo>
                  <a:cubicBezTo>
                    <a:pt x="261206" y="2764395"/>
                    <a:pt x="265596" y="2768785"/>
                    <a:pt x="265596" y="2773175"/>
                  </a:cubicBezTo>
                  <a:cubicBezTo>
                    <a:pt x="265596" y="2777565"/>
                    <a:pt x="261206" y="2781955"/>
                    <a:pt x="256816" y="2781955"/>
                  </a:cubicBezTo>
                  <a:close/>
                  <a:moveTo>
                    <a:pt x="1745028" y="2781955"/>
                  </a:moveTo>
                  <a:cubicBezTo>
                    <a:pt x="1738444" y="2781955"/>
                    <a:pt x="1734053" y="2775369"/>
                    <a:pt x="1731859" y="2768785"/>
                  </a:cubicBezTo>
                  <a:cubicBezTo>
                    <a:pt x="1731859" y="2762199"/>
                    <a:pt x="1738444" y="2755614"/>
                    <a:pt x="1745028" y="2755614"/>
                  </a:cubicBezTo>
                  <a:cubicBezTo>
                    <a:pt x="1751614" y="2755614"/>
                    <a:pt x="1758198" y="2762199"/>
                    <a:pt x="1758198" y="2768785"/>
                  </a:cubicBezTo>
                  <a:cubicBezTo>
                    <a:pt x="1758198" y="2775369"/>
                    <a:pt x="1751614" y="2781955"/>
                    <a:pt x="1745028" y="2781955"/>
                  </a:cubicBezTo>
                  <a:close/>
                  <a:moveTo>
                    <a:pt x="1995259" y="2781955"/>
                  </a:moveTo>
                  <a:cubicBezTo>
                    <a:pt x="1990410" y="2781955"/>
                    <a:pt x="1986479" y="2778023"/>
                    <a:pt x="1986479" y="2773175"/>
                  </a:cubicBezTo>
                  <a:cubicBezTo>
                    <a:pt x="1986479" y="2768325"/>
                    <a:pt x="1990410" y="2764395"/>
                    <a:pt x="1995259" y="2764395"/>
                  </a:cubicBezTo>
                  <a:cubicBezTo>
                    <a:pt x="2000109" y="2764395"/>
                    <a:pt x="2004039" y="2768326"/>
                    <a:pt x="2004039" y="2773175"/>
                  </a:cubicBezTo>
                  <a:cubicBezTo>
                    <a:pt x="2004039" y="2778024"/>
                    <a:pt x="2000109" y="2781955"/>
                    <a:pt x="1995259" y="2781955"/>
                  </a:cubicBezTo>
                  <a:close/>
                  <a:moveTo>
                    <a:pt x="588261" y="2795125"/>
                  </a:moveTo>
                  <a:cubicBezTo>
                    <a:pt x="570701" y="2795125"/>
                    <a:pt x="555336" y="2779759"/>
                    <a:pt x="555336" y="2762199"/>
                  </a:cubicBezTo>
                  <a:cubicBezTo>
                    <a:pt x="555336" y="2744640"/>
                    <a:pt x="568506" y="2729274"/>
                    <a:pt x="588261" y="2729274"/>
                  </a:cubicBezTo>
                  <a:cubicBezTo>
                    <a:pt x="605821" y="2729274"/>
                    <a:pt x="621186" y="2742444"/>
                    <a:pt x="621186" y="2762199"/>
                  </a:cubicBezTo>
                  <a:cubicBezTo>
                    <a:pt x="621186" y="2779759"/>
                    <a:pt x="608016" y="2795125"/>
                    <a:pt x="588261" y="2795125"/>
                  </a:cubicBezTo>
                  <a:close/>
                  <a:moveTo>
                    <a:pt x="1145793" y="2817074"/>
                  </a:moveTo>
                  <a:cubicBezTo>
                    <a:pt x="1126038" y="2817074"/>
                    <a:pt x="1110672" y="2801710"/>
                    <a:pt x="1110672" y="2781955"/>
                  </a:cubicBezTo>
                  <a:cubicBezTo>
                    <a:pt x="1110672" y="2762199"/>
                    <a:pt x="1126038" y="2746834"/>
                    <a:pt x="1145793" y="2746834"/>
                  </a:cubicBezTo>
                  <a:cubicBezTo>
                    <a:pt x="1165548" y="2746834"/>
                    <a:pt x="1180912" y="2762199"/>
                    <a:pt x="1180912" y="2781955"/>
                  </a:cubicBezTo>
                  <a:cubicBezTo>
                    <a:pt x="1180912" y="2801710"/>
                    <a:pt x="1165548" y="2817074"/>
                    <a:pt x="1145793" y="2817074"/>
                  </a:cubicBezTo>
                  <a:close/>
                  <a:moveTo>
                    <a:pt x="2381579" y="2823660"/>
                  </a:moveTo>
                  <a:cubicBezTo>
                    <a:pt x="2377191" y="2823660"/>
                    <a:pt x="2372799" y="2819270"/>
                    <a:pt x="2372799" y="2814880"/>
                  </a:cubicBezTo>
                  <a:cubicBezTo>
                    <a:pt x="2372799" y="2810490"/>
                    <a:pt x="2377191" y="2806100"/>
                    <a:pt x="2381579" y="2806100"/>
                  </a:cubicBezTo>
                  <a:cubicBezTo>
                    <a:pt x="2385971" y="2806100"/>
                    <a:pt x="2390360" y="2810490"/>
                    <a:pt x="2390360" y="2814880"/>
                  </a:cubicBezTo>
                  <a:cubicBezTo>
                    <a:pt x="2390360" y="2819270"/>
                    <a:pt x="2385971" y="2823660"/>
                    <a:pt x="2381579" y="2823660"/>
                  </a:cubicBezTo>
                  <a:close/>
                  <a:moveTo>
                    <a:pt x="794592" y="2852195"/>
                  </a:moveTo>
                  <a:cubicBezTo>
                    <a:pt x="770447" y="2852195"/>
                    <a:pt x="748497" y="2832440"/>
                    <a:pt x="748497" y="2806100"/>
                  </a:cubicBezTo>
                  <a:cubicBezTo>
                    <a:pt x="748497" y="2779759"/>
                    <a:pt x="768252" y="2760004"/>
                    <a:pt x="794592" y="2760004"/>
                  </a:cubicBezTo>
                  <a:cubicBezTo>
                    <a:pt x="820932" y="2760004"/>
                    <a:pt x="840687" y="2779759"/>
                    <a:pt x="840687" y="2806100"/>
                  </a:cubicBezTo>
                  <a:cubicBezTo>
                    <a:pt x="840687" y="2832440"/>
                    <a:pt x="820932" y="2852195"/>
                    <a:pt x="794592" y="2852195"/>
                  </a:cubicBezTo>
                  <a:close/>
                  <a:moveTo>
                    <a:pt x="1369682" y="2852195"/>
                  </a:moveTo>
                  <a:cubicBezTo>
                    <a:pt x="1349928" y="2852195"/>
                    <a:pt x="1332367" y="2836830"/>
                    <a:pt x="1332367" y="2814880"/>
                  </a:cubicBezTo>
                  <a:cubicBezTo>
                    <a:pt x="1332367" y="2792929"/>
                    <a:pt x="1349928" y="2777565"/>
                    <a:pt x="1369682" y="2777565"/>
                  </a:cubicBezTo>
                  <a:cubicBezTo>
                    <a:pt x="1391633" y="2777565"/>
                    <a:pt x="1406998" y="2795125"/>
                    <a:pt x="1406998" y="2814880"/>
                  </a:cubicBezTo>
                  <a:cubicBezTo>
                    <a:pt x="1406998" y="2836830"/>
                    <a:pt x="1389438" y="2852195"/>
                    <a:pt x="1369682" y="2852195"/>
                  </a:cubicBezTo>
                  <a:close/>
                  <a:moveTo>
                    <a:pt x="2109399" y="2856585"/>
                  </a:moveTo>
                  <a:cubicBezTo>
                    <a:pt x="2102815" y="2856585"/>
                    <a:pt x="2096230" y="2852195"/>
                    <a:pt x="2096230" y="2843415"/>
                  </a:cubicBezTo>
                  <a:cubicBezTo>
                    <a:pt x="2096230" y="2836830"/>
                    <a:pt x="2102815" y="2830245"/>
                    <a:pt x="2109399" y="2830245"/>
                  </a:cubicBezTo>
                  <a:cubicBezTo>
                    <a:pt x="2115984" y="2830245"/>
                    <a:pt x="2122570" y="2836830"/>
                    <a:pt x="2122570" y="2843415"/>
                  </a:cubicBezTo>
                  <a:cubicBezTo>
                    <a:pt x="2122570" y="2849999"/>
                    <a:pt x="2115984" y="2856585"/>
                    <a:pt x="2109399" y="2856585"/>
                  </a:cubicBezTo>
                  <a:close/>
                  <a:moveTo>
                    <a:pt x="454366" y="2858780"/>
                  </a:moveTo>
                  <a:cubicBezTo>
                    <a:pt x="436806" y="2858780"/>
                    <a:pt x="419246" y="2843415"/>
                    <a:pt x="419246" y="2823660"/>
                  </a:cubicBezTo>
                  <a:cubicBezTo>
                    <a:pt x="419246" y="2803904"/>
                    <a:pt x="434611" y="2788539"/>
                    <a:pt x="454366" y="2788539"/>
                  </a:cubicBezTo>
                  <a:cubicBezTo>
                    <a:pt x="474122" y="2788539"/>
                    <a:pt x="489487" y="2803904"/>
                    <a:pt x="489487" y="2823660"/>
                  </a:cubicBezTo>
                  <a:cubicBezTo>
                    <a:pt x="489487" y="2843415"/>
                    <a:pt x="474122" y="2858780"/>
                    <a:pt x="454366" y="2858780"/>
                  </a:cubicBezTo>
                  <a:close/>
                  <a:moveTo>
                    <a:pt x="2506696" y="2867560"/>
                  </a:moveTo>
                  <a:cubicBezTo>
                    <a:pt x="2502304" y="2867560"/>
                    <a:pt x="2497916" y="2863170"/>
                    <a:pt x="2497916" y="2858780"/>
                  </a:cubicBezTo>
                  <a:cubicBezTo>
                    <a:pt x="2497916" y="2854389"/>
                    <a:pt x="2502304" y="2849999"/>
                    <a:pt x="2506696" y="2849999"/>
                  </a:cubicBezTo>
                  <a:cubicBezTo>
                    <a:pt x="2511084" y="2849999"/>
                    <a:pt x="2515476" y="2854389"/>
                    <a:pt x="2515476" y="2858780"/>
                  </a:cubicBezTo>
                  <a:cubicBezTo>
                    <a:pt x="2515476" y="2863170"/>
                    <a:pt x="2511084" y="2867560"/>
                    <a:pt x="2506696" y="2867560"/>
                  </a:cubicBezTo>
                  <a:close/>
                  <a:moveTo>
                    <a:pt x="1604549" y="2869755"/>
                  </a:moveTo>
                  <a:cubicBezTo>
                    <a:pt x="1586989" y="2869755"/>
                    <a:pt x="1576014" y="2856585"/>
                    <a:pt x="1576014" y="2841220"/>
                  </a:cubicBezTo>
                  <a:cubicBezTo>
                    <a:pt x="1576014" y="2825855"/>
                    <a:pt x="1589184" y="2812684"/>
                    <a:pt x="1604549" y="2812684"/>
                  </a:cubicBezTo>
                  <a:cubicBezTo>
                    <a:pt x="1619914" y="2812684"/>
                    <a:pt x="1633084" y="2825855"/>
                    <a:pt x="1633084" y="2841220"/>
                  </a:cubicBezTo>
                  <a:cubicBezTo>
                    <a:pt x="1633084" y="2856585"/>
                    <a:pt x="1619914" y="2869755"/>
                    <a:pt x="1604549" y="2869755"/>
                  </a:cubicBezTo>
                  <a:close/>
                  <a:moveTo>
                    <a:pt x="1850389" y="2874144"/>
                  </a:moveTo>
                  <a:cubicBezTo>
                    <a:pt x="1837219" y="2874144"/>
                    <a:pt x="1826244" y="2865365"/>
                    <a:pt x="1826244" y="2849999"/>
                  </a:cubicBezTo>
                  <a:cubicBezTo>
                    <a:pt x="1826244" y="2836830"/>
                    <a:pt x="1837219" y="2825855"/>
                    <a:pt x="1850389" y="2825855"/>
                  </a:cubicBezTo>
                  <a:cubicBezTo>
                    <a:pt x="1863559" y="2825855"/>
                    <a:pt x="1874534" y="2836830"/>
                    <a:pt x="1874534" y="2849999"/>
                  </a:cubicBezTo>
                  <a:cubicBezTo>
                    <a:pt x="1874534" y="2863170"/>
                    <a:pt x="1863559" y="2874144"/>
                    <a:pt x="1850389" y="2874144"/>
                  </a:cubicBezTo>
                  <a:close/>
                  <a:moveTo>
                    <a:pt x="1009702" y="2891704"/>
                  </a:moveTo>
                  <a:cubicBezTo>
                    <a:pt x="985557" y="2891704"/>
                    <a:pt x="967997" y="2871950"/>
                    <a:pt x="967997" y="2849999"/>
                  </a:cubicBezTo>
                  <a:cubicBezTo>
                    <a:pt x="967997" y="2828050"/>
                    <a:pt x="985557" y="2808294"/>
                    <a:pt x="1009702" y="2808294"/>
                  </a:cubicBezTo>
                  <a:cubicBezTo>
                    <a:pt x="1031652" y="2808294"/>
                    <a:pt x="1051407" y="2825855"/>
                    <a:pt x="1051407" y="2849999"/>
                  </a:cubicBezTo>
                  <a:cubicBezTo>
                    <a:pt x="1051407" y="2871950"/>
                    <a:pt x="1033847" y="2891704"/>
                    <a:pt x="1009702" y="2891704"/>
                  </a:cubicBezTo>
                  <a:close/>
                  <a:moveTo>
                    <a:pt x="2225735" y="2915850"/>
                  </a:moveTo>
                  <a:cubicBezTo>
                    <a:pt x="2221344" y="2915850"/>
                    <a:pt x="2216954" y="2911460"/>
                    <a:pt x="2216954" y="2907069"/>
                  </a:cubicBezTo>
                  <a:cubicBezTo>
                    <a:pt x="2216954" y="2902680"/>
                    <a:pt x="2221344" y="2898290"/>
                    <a:pt x="2225735" y="2898290"/>
                  </a:cubicBezTo>
                  <a:cubicBezTo>
                    <a:pt x="2230124" y="2898290"/>
                    <a:pt x="2234515" y="2902680"/>
                    <a:pt x="2234515" y="2907069"/>
                  </a:cubicBezTo>
                  <a:cubicBezTo>
                    <a:pt x="2234515" y="2911460"/>
                    <a:pt x="2230124" y="2915850"/>
                    <a:pt x="2225735" y="2915850"/>
                  </a:cubicBezTo>
                  <a:close/>
                  <a:moveTo>
                    <a:pt x="320471" y="2918045"/>
                  </a:moveTo>
                  <a:cubicBezTo>
                    <a:pt x="305106" y="2918045"/>
                    <a:pt x="291936" y="2904875"/>
                    <a:pt x="291936" y="2889510"/>
                  </a:cubicBezTo>
                  <a:cubicBezTo>
                    <a:pt x="291936" y="2874144"/>
                    <a:pt x="305106" y="2860975"/>
                    <a:pt x="320471" y="2860975"/>
                  </a:cubicBezTo>
                  <a:cubicBezTo>
                    <a:pt x="335836" y="2860975"/>
                    <a:pt x="349006" y="2874144"/>
                    <a:pt x="349006" y="2889510"/>
                  </a:cubicBezTo>
                  <a:cubicBezTo>
                    <a:pt x="349006" y="2904875"/>
                    <a:pt x="335836" y="2918045"/>
                    <a:pt x="320471" y="2918045"/>
                  </a:cubicBezTo>
                  <a:close/>
                  <a:moveTo>
                    <a:pt x="660696" y="2918045"/>
                  </a:moveTo>
                  <a:cubicBezTo>
                    <a:pt x="634356" y="2918045"/>
                    <a:pt x="614601" y="2898290"/>
                    <a:pt x="614601" y="2871950"/>
                  </a:cubicBezTo>
                  <a:cubicBezTo>
                    <a:pt x="614601" y="2845609"/>
                    <a:pt x="634356" y="2825855"/>
                    <a:pt x="660696" y="2825855"/>
                  </a:cubicBezTo>
                  <a:cubicBezTo>
                    <a:pt x="687037" y="2825855"/>
                    <a:pt x="706792" y="2845609"/>
                    <a:pt x="706792" y="2871950"/>
                  </a:cubicBezTo>
                  <a:cubicBezTo>
                    <a:pt x="706792" y="2898290"/>
                    <a:pt x="687037" y="2918045"/>
                    <a:pt x="660696" y="2918045"/>
                  </a:cubicBezTo>
                  <a:close/>
                  <a:moveTo>
                    <a:pt x="1231398" y="2924630"/>
                  </a:moveTo>
                  <a:cubicBezTo>
                    <a:pt x="1207253" y="2924630"/>
                    <a:pt x="1189693" y="2907069"/>
                    <a:pt x="1189693" y="2882925"/>
                  </a:cubicBezTo>
                  <a:cubicBezTo>
                    <a:pt x="1189693" y="2858780"/>
                    <a:pt x="1209448" y="2841220"/>
                    <a:pt x="1231398" y="2841220"/>
                  </a:cubicBezTo>
                  <a:cubicBezTo>
                    <a:pt x="1255543" y="2841220"/>
                    <a:pt x="1273103" y="2860975"/>
                    <a:pt x="1273103" y="2882925"/>
                  </a:cubicBezTo>
                  <a:cubicBezTo>
                    <a:pt x="1273103" y="2907069"/>
                    <a:pt x="1253348" y="2924630"/>
                    <a:pt x="1231398" y="2924630"/>
                  </a:cubicBezTo>
                  <a:close/>
                  <a:moveTo>
                    <a:pt x="1960140" y="2946580"/>
                  </a:moveTo>
                  <a:cubicBezTo>
                    <a:pt x="1949164" y="2946580"/>
                    <a:pt x="1940384" y="2937800"/>
                    <a:pt x="1940384" y="2926825"/>
                  </a:cubicBezTo>
                  <a:cubicBezTo>
                    <a:pt x="1940384" y="2915850"/>
                    <a:pt x="1949164" y="2907069"/>
                    <a:pt x="1960140" y="2907069"/>
                  </a:cubicBezTo>
                  <a:cubicBezTo>
                    <a:pt x="1971114" y="2907069"/>
                    <a:pt x="1979894" y="2915850"/>
                    <a:pt x="1979894" y="2926825"/>
                  </a:cubicBezTo>
                  <a:cubicBezTo>
                    <a:pt x="1979894" y="2937800"/>
                    <a:pt x="1971114" y="2946580"/>
                    <a:pt x="1960140" y="2946580"/>
                  </a:cubicBezTo>
                  <a:close/>
                  <a:moveTo>
                    <a:pt x="1461873" y="2948775"/>
                  </a:moveTo>
                  <a:cubicBezTo>
                    <a:pt x="1442118" y="2948775"/>
                    <a:pt x="1426753" y="2931215"/>
                    <a:pt x="1424558" y="2911460"/>
                  </a:cubicBezTo>
                  <a:cubicBezTo>
                    <a:pt x="1424558" y="2889510"/>
                    <a:pt x="1442118" y="2874144"/>
                    <a:pt x="1461873" y="2874144"/>
                  </a:cubicBezTo>
                  <a:cubicBezTo>
                    <a:pt x="1483823" y="2874144"/>
                    <a:pt x="1499188" y="2891705"/>
                    <a:pt x="1499188" y="2911460"/>
                  </a:cubicBezTo>
                  <a:cubicBezTo>
                    <a:pt x="1499188" y="2933410"/>
                    <a:pt x="1481628" y="2948775"/>
                    <a:pt x="1461873" y="2948775"/>
                  </a:cubicBezTo>
                  <a:close/>
                  <a:moveTo>
                    <a:pt x="1705519" y="2953165"/>
                  </a:moveTo>
                  <a:cubicBezTo>
                    <a:pt x="1690154" y="2953165"/>
                    <a:pt x="1676983" y="2942190"/>
                    <a:pt x="1679178" y="2926825"/>
                  </a:cubicBezTo>
                  <a:cubicBezTo>
                    <a:pt x="1679178" y="2913655"/>
                    <a:pt x="1690154" y="2900485"/>
                    <a:pt x="1705519" y="2900485"/>
                  </a:cubicBezTo>
                  <a:cubicBezTo>
                    <a:pt x="1718689" y="2900485"/>
                    <a:pt x="1731859" y="2911460"/>
                    <a:pt x="1731859" y="2926825"/>
                  </a:cubicBezTo>
                  <a:cubicBezTo>
                    <a:pt x="1731859" y="2939995"/>
                    <a:pt x="1720883" y="2953165"/>
                    <a:pt x="1705519" y="2953165"/>
                  </a:cubicBezTo>
                  <a:close/>
                  <a:moveTo>
                    <a:pt x="873612" y="2961945"/>
                  </a:moveTo>
                  <a:cubicBezTo>
                    <a:pt x="847272" y="2961945"/>
                    <a:pt x="827517" y="2939995"/>
                    <a:pt x="827517" y="2915850"/>
                  </a:cubicBezTo>
                  <a:cubicBezTo>
                    <a:pt x="827517" y="2889510"/>
                    <a:pt x="847272" y="2869755"/>
                    <a:pt x="873612" y="2869755"/>
                  </a:cubicBezTo>
                  <a:cubicBezTo>
                    <a:pt x="899953" y="2869755"/>
                    <a:pt x="919708" y="2889510"/>
                    <a:pt x="919708" y="2915850"/>
                  </a:cubicBezTo>
                  <a:cubicBezTo>
                    <a:pt x="919708" y="2942190"/>
                    <a:pt x="899953" y="2961945"/>
                    <a:pt x="873612" y="2961945"/>
                  </a:cubicBezTo>
                  <a:close/>
                  <a:moveTo>
                    <a:pt x="526802" y="2972920"/>
                  </a:moveTo>
                  <a:cubicBezTo>
                    <a:pt x="507047" y="2972920"/>
                    <a:pt x="491681" y="2957555"/>
                    <a:pt x="491681" y="2937800"/>
                  </a:cubicBezTo>
                  <a:cubicBezTo>
                    <a:pt x="491681" y="2918045"/>
                    <a:pt x="507047" y="2902680"/>
                    <a:pt x="526802" y="2902680"/>
                  </a:cubicBezTo>
                  <a:cubicBezTo>
                    <a:pt x="546556" y="2902680"/>
                    <a:pt x="561922" y="2918045"/>
                    <a:pt x="561922" y="2937800"/>
                  </a:cubicBezTo>
                  <a:cubicBezTo>
                    <a:pt x="561922" y="2957555"/>
                    <a:pt x="546556" y="2972920"/>
                    <a:pt x="526802" y="2972920"/>
                  </a:cubicBezTo>
                  <a:close/>
                  <a:moveTo>
                    <a:pt x="2348655" y="2972920"/>
                  </a:moveTo>
                  <a:cubicBezTo>
                    <a:pt x="2342071" y="2972920"/>
                    <a:pt x="2335485" y="2966335"/>
                    <a:pt x="2335485" y="2959750"/>
                  </a:cubicBezTo>
                  <a:cubicBezTo>
                    <a:pt x="2335485" y="2953165"/>
                    <a:pt x="2342071" y="2946580"/>
                    <a:pt x="2348655" y="2946580"/>
                  </a:cubicBezTo>
                  <a:cubicBezTo>
                    <a:pt x="2355239" y="2946580"/>
                    <a:pt x="2361825" y="2953165"/>
                    <a:pt x="2361825" y="2959750"/>
                  </a:cubicBezTo>
                  <a:cubicBezTo>
                    <a:pt x="2361825" y="2966335"/>
                    <a:pt x="2355239" y="2972920"/>
                    <a:pt x="2348655" y="2972920"/>
                  </a:cubicBezTo>
                  <a:close/>
                  <a:moveTo>
                    <a:pt x="1093112" y="2990480"/>
                  </a:moveTo>
                  <a:cubicBezTo>
                    <a:pt x="1071162" y="2990480"/>
                    <a:pt x="1055797" y="2972920"/>
                    <a:pt x="1055797" y="2953165"/>
                  </a:cubicBezTo>
                  <a:cubicBezTo>
                    <a:pt x="1055797" y="2933410"/>
                    <a:pt x="1071162" y="2915850"/>
                    <a:pt x="1093112" y="2915850"/>
                  </a:cubicBezTo>
                  <a:cubicBezTo>
                    <a:pt x="1112868" y="2915850"/>
                    <a:pt x="1130428" y="2931215"/>
                    <a:pt x="1130428" y="2953165"/>
                  </a:cubicBezTo>
                  <a:cubicBezTo>
                    <a:pt x="1130428" y="2972920"/>
                    <a:pt x="1115062" y="2990480"/>
                    <a:pt x="1093112" y="2990480"/>
                  </a:cubicBezTo>
                  <a:close/>
                  <a:moveTo>
                    <a:pt x="2074279" y="3012430"/>
                  </a:moveTo>
                  <a:cubicBezTo>
                    <a:pt x="2063304" y="3012430"/>
                    <a:pt x="2056718" y="3003650"/>
                    <a:pt x="2056718" y="2994870"/>
                  </a:cubicBezTo>
                  <a:cubicBezTo>
                    <a:pt x="2056718" y="2986090"/>
                    <a:pt x="2065498" y="2977311"/>
                    <a:pt x="2074279" y="2977311"/>
                  </a:cubicBezTo>
                  <a:cubicBezTo>
                    <a:pt x="2083059" y="2977311"/>
                    <a:pt x="2091839" y="2986090"/>
                    <a:pt x="2091839" y="2994870"/>
                  </a:cubicBezTo>
                  <a:cubicBezTo>
                    <a:pt x="2091839" y="3003650"/>
                    <a:pt x="2083059" y="3012430"/>
                    <a:pt x="2074279" y="3012430"/>
                  </a:cubicBezTo>
                  <a:close/>
                  <a:moveTo>
                    <a:pt x="2473770" y="3016820"/>
                  </a:moveTo>
                  <a:cubicBezTo>
                    <a:pt x="2467184" y="3016820"/>
                    <a:pt x="2460600" y="3010235"/>
                    <a:pt x="2460600" y="3003649"/>
                  </a:cubicBezTo>
                  <a:cubicBezTo>
                    <a:pt x="2460600" y="2997064"/>
                    <a:pt x="2467184" y="2990480"/>
                    <a:pt x="2473770" y="2990480"/>
                  </a:cubicBezTo>
                  <a:cubicBezTo>
                    <a:pt x="2480356" y="2990480"/>
                    <a:pt x="2486940" y="2997064"/>
                    <a:pt x="2486940" y="3003649"/>
                  </a:cubicBezTo>
                  <a:cubicBezTo>
                    <a:pt x="2486940" y="3010235"/>
                    <a:pt x="2480356" y="3016820"/>
                    <a:pt x="2473770" y="3016820"/>
                  </a:cubicBezTo>
                  <a:close/>
                  <a:moveTo>
                    <a:pt x="390711" y="3021210"/>
                  </a:moveTo>
                  <a:cubicBezTo>
                    <a:pt x="381931" y="3021210"/>
                    <a:pt x="373151" y="3012430"/>
                    <a:pt x="370956" y="3001455"/>
                  </a:cubicBezTo>
                  <a:cubicBezTo>
                    <a:pt x="370956" y="2990480"/>
                    <a:pt x="379736" y="2981700"/>
                    <a:pt x="390711" y="2981700"/>
                  </a:cubicBezTo>
                  <a:cubicBezTo>
                    <a:pt x="401686" y="2981700"/>
                    <a:pt x="410466" y="2990480"/>
                    <a:pt x="410466" y="3001455"/>
                  </a:cubicBezTo>
                  <a:cubicBezTo>
                    <a:pt x="410466" y="3012430"/>
                    <a:pt x="401686" y="3021210"/>
                    <a:pt x="390711" y="3021210"/>
                  </a:cubicBezTo>
                  <a:close/>
                  <a:moveTo>
                    <a:pt x="1321393" y="3023405"/>
                  </a:moveTo>
                  <a:cubicBezTo>
                    <a:pt x="1299443" y="3023405"/>
                    <a:pt x="1279688" y="3003650"/>
                    <a:pt x="1279688" y="2981700"/>
                  </a:cubicBezTo>
                  <a:cubicBezTo>
                    <a:pt x="1279688" y="2959750"/>
                    <a:pt x="1297248" y="2939995"/>
                    <a:pt x="1321393" y="2939995"/>
                  </a:cubicBezTo>
                  <a:cubicBezTo>
                    <a:pt x="1343343" y="2939995"/>
                    <a:pt x="1363099" y="2959750"/>
                    <a:pt x="1363099" y="2981700"/>
                  </a:cubicBezTo>
                  <a:cubicBezTo>
                    <a:pt x="1363099" y="3003650"/>
                    <a:pt x="1345539" y="3023405"/>
                    <a:pt x="1321393" y="3023405"/>
                  </a:cubicBezTo>
                  <a:close/>
                  <a:moveTo>
                    <a:pt x="737522" y="3029990"/>
                  </a:moveTo>
                  <a:cubicBezTo>
                    <a:pt x="708987" y="3029990"/>
                    <a:pt x="687037" y="3008040"/>
                    <a:pt x="689232" y="2981700"/>
                  </a:cubicBezTo>
                  <a:cubicBezTo>
                    <a:pt x="689232" y="2955360"/>
                    <a:pt x="711182" y="2933410"/>
                    <a:pt x="737522" y="2933410"/>
                  </a:cubicBezTo>
                  <a:cubicBezTo>
                    <a:pt x="763861" y="2933410"/>
                    <a:pt x="785812" y="2955360"/>
                    <a:pt x="785812" y="2981700"/>
                  </a:cubicBezTo>
                  <a:cubicBezTo>
                    <a:pt x="785812" y="3008040"/>
                    <a:pt x="763861" y="3029990"/>
                    <a:pt x="737522" y="3029990"/>
                  </a:cubicBezTo>
                  <a:close/>
                  <a:moveTo>
                    <a:pt x="1810879" y="3036575"/>
                  </a:moveTo>
                  <a:cubicBezTo>
                    <a:pt x="1793319" y="3036575"/>
                    <a:pt x="1780149" y="3023405"/>
                    <a:pt x="1780149" y="3005846"/>
                  </a:cubicBezTo>
                  <a:cubicBezTo>
                    <a:pt x="1780149" y="2988285"/>
                    <a:pt x="1793319" y="2975115"/>
                    <a:pt x="1810879" y="2975115"/>
                  </a:cubicBezTo>
                  <a:cubicBezTo>
                    <a:pt x="1828439" y="2975115"/>
                    <a:pt x="1841609" y="2988285"/>
                    <a:pt x="1841609" y="3005846"/>
                  </a:cubicBezTo>
                  <a:cubicBezTo>
                    <a:pt x="1841609" y="3023405"/>
                    <a:pt x="1828439" y="3036575"/>
                    <a:pt x="1810879" y="3036575"/>
                  </a:cubicBezTo>
                  <a:close/>
                  <a:moveTo>
                    <a:pt x="1560648" y="3040965"/>
                  </a:moveTo>
                  <a:cubicBezTo>
                    <a:pt x="1538699" y="3040965"/>
                    <a:pt x="1521139" y="3021210"/>
                    <a:pt x="1521139" y="3001455"/>
                  </a:cubicBezTo>
                  <a:cubicBezTo>
                    <a:pt x="1521139" y="2979505"/>
                    <a:pt x="1538699" y="2961945"/>
                    <a:pt x="1560648" y="2961945"/>
                  </a:cubicBezTo>
                  <a:cubicBezTo>
                    <a:pt x="1582598" y="2961945"/>
                    <a:pt x="1600159" y="2979505"/>
                    <a:pt x="1600159" y="3001455"/>
                  </a:cubicBezTo>
                  <a:cubicBezTo>
                    <a:pt x="1600159" y="3023405"/>
                    <a:pt x="1582598" y="3040965"/>
                    <a:pt x="1560648" y="3040965"/>
                  </a:cubicBezTo>
                  <a:close/>
                  <a:moveTo>
                    <a:pt x="2601080" y="3047550"/>
                  </a:moveTo>
                  <a:cubicBezTo>
                    <a:pt x="2596690" y="3047550"/>
                    <a:pt x="2592300" y="3043160"/>
                    <a:pt x="2592300" y="3038769"/>
                  </a:cubicBezTo>
                  <a:cubicBezTo>
                    <a:pt x="2592300" y="3034379"/>
                    <a:pt x="2596690" y="3029990"/>
                    <a:pt x="2601080" y="3029990"/>
                  </a:cubicBezTo>
                  <a:cubicBezTo>
                    <a:pt x="2605470" y="3029990"/>
                    <a:pt x="2609860" y="3034379"/>
                    <a:pt x="2609860" y="3038769"/>
                  </a:cubicBezTo>
                  <a:cubicBezTo>
                    <a:pt x="2609860" y="3043160"/>
                    <a:pt x="2605470" y="3047550"/>
                    <a:pt x="2601080" y="3047550"/>
                  </a:cubicBezTo>
                  <a:close/>
                  <a:moveTo>
                    <a:pt x="954827" y="3062915"/>
                  </a:moveTo>
                  <a:cubicBezTo>
                    <a:pt x="930682" y="3062915"/>
                    <a:pt x="910927" y="3043161"/>
                    <a:pt x="910927" y="3019016"/>
                  </a:cubicBezTo>
                  <a:cubicBezTo>
                    <a:pt x="910927" y="2994870"/>
                    <a:pt x="930682" y="2975115"/>
                    <a:pt x="954827" y="2975115"/>
                  </a:cubicBezTo>
                  <a:cubicBezTo>
                    <a:pt x="978973" y="2975115"/>
                    <a:pt x="998728" y="2994870"/>
                    <a:pt x="998728" y="3019016"/>
                  </a:cubicBezTo>
                  <a:cubicBezTo>
                    <a:pt x="998728" y="3043161"/>
                    <a:pt x="978973" y="3062915"/>
                    <a:pt x="954827" y="3062915"/>
                  </a:cubicBezTo>
                  <a:close/>
                  <a:moveTo>
                    <a:pt x="2192810" y="3071696"/>
                  </a:moveTo>
                  <a:cubicBezTo>
                    <a:pt x="2181835" y="3071696"/>
                    <a:pt x="2175250" y="3062915"/>
                    <a:pt x="2175250" y="3054135"/>
                  </a:cubicBezTo>
                  <a:cubicBezTo>
                    <a:pt x="2175250" y="3045355"/>
                    <a:pt x="2184030" y="3036575"/>
                    <a:pt x="2192810" y="3036575"/>
                  </a:cubicBezTo>
                  <a:cubicBezTo>
                    <a:pt x="2201591" y="3036575"/>
                    <a:pt x="2210370" y="3045355"/>
                    <a:pt x="2210370" y="3054135"/>
                  </a:cubicBezTo>
                  <a:cubicBezTo>
                    <a:pt x="2210370" y="3062915"/>
                    <a:pt x="2201591" y="3071696"/>
                    <a:pt x="2192810" y="3071696"/>
                  </a:cubicBezTo>
                  <a:close/>
                  <a:moveTo>
                    <a:pt x="1183108" y="3093646"/>
                  </a:moveTo>
                  <a:cubicBezTo>
                    <a:pt x="1158963" y="3093646"/>
                    <a:pt x="1139207" y="3073891"/>
                    <a:pt x="1141403" y="3051941"/>
                  </a:cubicBezTo>
                  <a:cubicBezTo>
                    <a:pt x="1141403" y="3029990"/>
                    <a:pt x="1158963" y="3010236"/>
                    <a:pt x="1183108" y="3010236"/>
                  </a:cubicBezTo>
                  <a:cubicBezTo>
                    <a:pt x="1205058" y="3010236"/>
                    <a:pt x="1224813" y="3027795"/>
                    <a:pt x="1224813" y="3051941"/>
                  </a:cubicBezTo>
                  <a:cubicBezTo>
                    <a:pt x="1224813" y="3073891"/>
                    <a:pt x="1207253" y="3093646"/>
                    <a:pt x="1183108" y="3093646"/>
                  </a:cubicBezTo>
                  <a:close/>
                  <a:moveTo>
                    <a:pt x="601432" y="3095840"/>
                  </a:moveTo>
                  <a:cubicBezTo>
                    <a:pt x="575091" y="3095840"/>
                    <a:pt x="553142" y="3073891"/>
                    <a:pt x="553142" y="3047551"/>
                  </a:cubicBezTo>
                  <a:cubicBezTo>
                    <a:pt x="553142" y="3021210"/>
                    <a:pt x="575091" y="2999260"/>
                    <a:pt x="601432" y="2999260"/>
                  </a:cubicBezTo>
                  <a:cubicBezTo>
                    <a:pt x="627772" y="2999260"/>
                    <a:pt x="649722" y="3021210"/>
                    <a:pt x="649722" y="3047551"/>
                  </a:cubicBezTo>
                  <a:cubicBezTo>
                    <a:pt x="649722" y="3073891"/>
                    <a:pt x="627772" y="3095840"/>
                    <a:pt x="601432" y="3095840"/>
                  </a:cubicBezTo>
                  <a:close/>
                  <a:moveTo>
                    <a:pt x="1922824" y="3109010"/>
                  </a:moveTo>
                  <a:cubicBezTo>
                    <a:pt x="1905264" y="3109010"/>
                    <a:pt x="1892094" y="3095840"/>
                    <a:pt x="1894289" y="3080475"/>
                  </a:cubicBezTo>
                  <a:cubicBezTo>
                    <a:pt x="1894289" y="3065110"/>
                    <a:pt x="1907459" y="3051940"/>
                    <a:pt x="1922824" y="3051940"/>
                  </a:cubicBezTo>
                  <a:cubicBezTo>
                    <a:pt x="1938189" y="3051940"/>
                    <a:pt x="1951360" y="3065110"/>
                    <a:pt x="1951360" y="3080475"/>
                  </a:cubicBezTo>
                  <a:cubicBezTo>
                    <a:pt x="1951360" y="3095840"/>
                    <a:pt x="1938189" y="3109010"/>
                    <a:pt x="1922824" y="3109010"/>
                  </a:cubicBezTo>
                  <a:close/>
                  <a:moveTo>
                    <a:pt x="1417973" y="3113401"/>
                  </a:moveTo>
                  <a:cubicBezTo>
                    <a:pt x="1394939" y="3113401"/>
                    <a:pt x="1376268" y="3094728"/>
                    <a:pt x="1376268" y="3071696"/>
                  </a:cubicBezTo>
                  <a:cubicBezTo>
                    <a:pt x="1376268" y="3048662"/>
                    <a:pt x="1394939" y="3029990"/>
                    <a:pt x="1417973" y="3029990"/>
                  </a:cubicBezTo>
                  <a:cubicBezTo>
                    <a:pt x="1441006" y="3029990"/>
                    <a:pt x="1459678" y="3048663"/>
                    <a:pt x="1459678" y="3071696"/>
                  </a:cubicBezTo>
                  <a:cubicBezTo>
                    <a:pt x="1459678" y="3094729"/>
                    <a:pt x="1441006" y="3113401"/>
                    <a:pt x="1417973" y="3113401"/>
                  </a:cubicBezTo>
                  <a:close/>
                  <a:moveTo>
                    <a:pt x="1666009" y="3115596"/>
                  </a:moveTo>
                  <a:cubicBezTo>
                    <a:pt x="1647825" y="3115596"/>
                    <a:pt x="1633084" y="3100855"/>
                    <a:pt x="1633084" y="3082670"/>
                  </a:cubicBezTo>
                  <a:cubicBezTo>
                    <a:pt x="1633084" y="3064486"/>
                    <a:pt x="1647825" y="3049745"/>
                    <a:pt x="1666009" y="3049745"/>
                  </a:cubicBezTo>
                  <a:cubicBezTo>
                    <a:pt x="1684193" y="3049745"/>
                    <a:pt x="1698934" y="3064486"/>
                    <a:pt x="1698934" y="3082670"/>
                  </a:cubicBezTo>
                  <a:cubicBezTo>
                    <a:pt x="1698934" y="3100855"/>
                    <a:pt x="1684193" y="3115596"/>
                    <a:pt x="1666009" y="3115596"/>
                  </a:cubicBezTo>
                  <a:close/>
                  <a:moveTo>
                    <a:pt x="2313535" y="3126571"/>
                  </a:moveTo>
                  <a:cubicBezTo>
                    <a:pt x="2302559" y="3126571"/>
                    <a:pt x="2291585" y="3117791"/>
                    <a:pt x="2291585" y="3104621"/>
                  </a:cubicBezTo>
                  <a:cubicBezTo>
                    <a:pt x="2291585" y="3091450"/>
                    <a:pt x="2302559" y="3082670"/>
                    <a:pt x="2313535" y="3082670"/>
                  </a:cubicBezTo>
                  <a:cubicBezTo>
                    <a:pt x="2326705" y="3082670"/>
                    <a:pt x="2335485" y="3091450"/>
                    <a:pt x="2335485" y="3104621"/>
                  </a:cubicBezTo>
                  <a:cubicBezTo>
                    <a:pt x="2335485" y="3117791"/>
                    <a:pt x="2324511" y="3126571"/>
                    <a:pt x="2313535" y="3126571"/>
                  </a:cubicBezTo>
                  <a:close/>
                  <a:moveTo>
                    <a:pt x="818737" y="3133156"/>
                  </a:moveTo>
                  <a:cubicBezTo>
                    <a:pt x="792067" y="3133156"/>
                    <a:pt x="770447" y="3111536"/>
                    <a:pt x="770447" y="3084866"/>
                  </a:cubicBezTo>
                  <a:cubicBezTo>
                    <a:pt x="770447" y="3058196"/>
                    <a:pt x="792067" y="3036575"/>
                    <a:pt x="818737" y="3036575"/>
                  </a:cubicBezTo>
                  <a:cubicBezTo>
                    <a:pt x="845407" y="3036575"/>
                    <a:pt x="867027" y="3058196"/>
                    <a:pt x="867027" y="3084866"/>
                  </a:cubicBezTo>
                  <a:cubicBezTo>
                    <a:pt x="867027" y="3111536"/>
                    <a:pt x="845407" y="3133156"/>
                    <a:pt x="818737" y="3133156"/>
                  </a:cubicBezTo>
                  <a:close/>
                  <a:moveTo>
                    <a:pt x="465342" y="3150716"/>
                  </a:moveTo>
                  <a:cubicBezTo>
                    <a:pt x="445586" y="3150716"/>
                    <a:pt x="428027" y="3133155"/>
                    <a:pt x="425831" y="3111206"/>
                  </a:cubicBezTo>
                  <a:cubicBezTo>
                    <a:pt x="425831" y="3089256"/>
                    <a:pt x="443391" y="3071696"/>
                    <a:pt x="465342" y="3071696"/>
                  </a:cubicBezTo>
                  <a:cubicBezTo>
                    <a:pt x="487291" y="3071696"/>
                    <a:pt x="504851" y="3089256"/>
                    <a:pt x="504851" y="3111206"/>
                  </a:cubicBezTo>
                  <a:cubicBezTo>
                    <a:pt x="504851" y="3133155"/>
                    <a:pt x="487291" y="3150716"/>
                    <a:pt x="465342" y="3150716"/>
                  </a:cubicBezTo>
                  <a:close/>
                  <a:moveTo>
                    <a:pt x="1042627" y="3161690"/>
                  </a:moveTo>
                  <a:cubicBezTo>
                    <a:pt x="1020677" y="3161690"/>
                    <a:pt x="1000922" y="3141935"/>
                    <a:pt x="1000922" y="3119985"/>
                  </a:cubicBezTo>
                  <a:cubicBezTo>
                    <a:pt x="1000922" y="3098035"/>
                    <a:pt x="1018482" y="3078280"/>
                    <a:pt x="1042627" y="3078280"/>
                  </a:cubicBezTo>
                  <a:cubicBezTo>
                    <a:pt x="1064577" y="3078280"/>
                    <a:pt x="1084333" y="3095840"/>
                    <a:pt x="1084333" y="3119985"/>
                  </a:cubicBezTo>
                  <a:cubicBezTo>
                    <a:pt x="1084333" y="3141935"/>
                    <a:pt x="1066773" y="3161690"/>
                    <a:pt x="1042627" y="3161690"/>
                  </a:cubicBezTo>
                  <a:close/>
                  <a:moveTo>
                    <a:pt x="2440845" y="3166081"/>
                  </a:moveTo>
                  <a:cubicBezTo>
                    <a:pt x="2429871" y="3166081"/>
                    <a:pt x="2423286" y="3157300"/>
                    <a:pt x="2423286" y="3148520"/>
                  </a:cubicBezTo>
                  <a:cubicBezTo>
                    <a:pt x="2423286" y="3139740"/>
                    <a:pt x="2432066" y="3130960"/>
                    <a:pt x="2440845" y="3130960"/>
                  </a:cubicBezTo>
                  <a:cubicBezTo>
                    <a:pt x="2449625" y="3130960"/>
                    <a:pt x="2458405" y="3139740"/>
                    <a:pt x="2458405" y="3148520"/>
                  </a:cubicBezTo>
                  <a:cubicBezTo>
                    <a:pt x="2458405" y="3157300"/>
                    <a:pt x="2449625" y="3166081"/>
                    <a:pt x="2440845" y="3166081"/>
                  </a:cubicBezTo>
                  <a:close/>
                  <a:moveTo>
                    <a:pt x="2039159" y="3177055"/>
                  </a:moveTo>
                  <a:cubicBezTo>
                    <a:pt x="2019404" y="3177055"/>
                    <a:pt x="2004039" y="3161690"/>
                    <a:pt x="2006235" y="3144130"/>
                  </a:cubicBezTo>
                  <a:cubicBezTo>
                    <a:pt x="2006235" y="3126570"/>
                    <a:pt x="2019404" y="3111205"/>
                    <a:pt x="2039159" y="3111205"/>
                  </a:cubicBezTo>
                  <a:cubicBezTo>
                    <a:pt x="2056718" y="3111205"/>
                    <a:pt x="2072084" y="3124375"/>
                    <a:pt x="2072084" y="3144130"/>
                  </a:cubicBezTo>
                  <a:cubicBezTo>
                    <a:pt x="2072084" y="3161690"/>
                    <a:pt x="2058914" y="3177055"/>
                    <a:pt x="2039159" y="3177055"/>
                  </a:cubicBezTo>
                  <a:close/>
                  <a:moveTo>
                    <a:pt x="331446" y="3181445"/>
                  </a:moveTo>
                  <a:cubicBezTo>
                    <a:pt x="329251" y="3181445"/>
                    <a:pt x="327056" y="3179250"/>
                    <a:pt x="327056" y="3177055"/>
                  </a:cubicBezTo>
                  <a:cubicBezTo>
                    <a:pt x="327056" y="3174860"/>
                    <a:pt x="329251" y="3172665"/>
                    <a:pt x="331446" y="3172665"/>
                  </a:cubicBezTo>
                  <a:cubicBezTo>
                    <a:pt x="333641" y="3172665"/>
                    <a:pt x="335836" y="3174860"/>
                    <a:pt x="335836" y="3177055"/>
                  </a:cubicBezTo>
                  <a:cubicBezTo>
                    <a:pt x="335836" y="3179250"/>
                    <a:pt x="333641" y="3181445"/>
                    <a:pt x="331446" y="3181445"/>
                  </a:cubicBezTo>
                  <a:close/>
                  <a:moveTo>
                    <a:pt x="1277493" y="3185835"/>
                  </a:moveTo>
                  <a:cubicBezTo>
                    <a:pt x="1253348" y="3185835"/>
                    <a:pt x="1235788" y="3166081"/>
                    <a:pt x="1235788" y="3144130"/>
                  </a:cubicBezTo>
                  <a:cubicBezTo>
                    <a:pt x="1235788" y="3122180"/>
                    <a:pt x="1255543" y="3102425"/>
                    <a:pt x="1277493" y="3102425"/>
                  </a:cubicBezTo>
                  <a:cubicBezTo>
                    <a:pt x="1299443" y="3102425"/>
                    <a:pt x="1319198" y="3119985"/>
                    <a:pt x="1319198" y="3144130"/>
                  </a:cubicBezTo>
                  <a:cubicBezTo>
                    <a:pt x="1319198" y="3166081"/>
                    <a:pt x="1301638" y="3185835"/>
                    <a:pt x="1277493" y="3185835"/>
                  </a:cubicBezTo>
                  <a:close/>
                  <a:moveTo>
                    <a:pt x="2568156" y="3192420"/>
                  </a:moveTo>
                  <a:cubicBezTo>
                    <a:pt x="2563765" y="3192420"/>
                    <a:pt x="2557181" y="3188030"/>
                    <a:pt x="2557181" y="3181445"/>
                  </a:cubicBezTo>
                  <a:cubicBezTo>
                    <a:pt x="2557181" y="3174860"/>
                    <a:pt x="2561570" y="3170470"/>
                    <a:pt x="2568156" y="3170470"/>
                  </a:cubicBezTo>
                  <a:cubicBezTo>
                    <a:pt x="2574741" y="3170470"/>
                    <a:pt x="2579131" y="3174860"/>
                    <a:pt x="2579131" y="3181445"/>
                  </a:cubicBezTo>
                  <a:cubicBezTo>
                    <a:pt x="2579131" y="3188030"/>
                    <a:pt x="2574741" y="3192420"/>
                    <a:pt x="2568156" y="3192420"/>
                  </a:cubicBezTo>
                  <a:close/>
                  <a:moveTo>
                    <a:pt x="1521139" y="3196810"/>
                  </a:moveTo>
                  <a:cubicBezTo>
                    <a:pt x="1499188" y="3196810"/>
                    <a:pt x="1481628" y="3179250"/>
                    <a:pt x="1481628" y="3157300"/>
                  </a:cubicBezTo>
                  <a:cubicBezTo>
                    <a:pt x="1481628" y="3135350"/>
                    <a:pt x="1499188" y="3117790"/>
                    <a:pt x="1521139" y="3117790"/>
                  </a:cubicBezTo>
                  <a:cubicBezTo>
                    <a:pt x="1543089" y="3117790"/>
                    <a:pt x="1560648" y="3135350"/>
                    <a:pt x="1560648" y="3157300"/>
                  </a:cubicBezTo>
                  <a:cubicBezTo>
                    <a:pt x="1560648" y="3179250"/>
                    <a:pt x="1543089" y="3196810"/>
                    <a:pt x="1521139" y="3196810"/>
                  </a:cubicBezTo>
                  <a:close/>
                  <a:moveTo>
                    <a:pt x="1773564" y="3196810"/>
                  </a:moveTo>
                  <a:cubicBezTo>
                    <a:pt x="1753808" y="3196810"/>
                    <a:pt x="1736249" y="3179250"/>
                    <a:pt x="1736249" y="3159495"/>
                  </a:cubicBezTo>
                  <a:cubicBezTo>
                    <a:pt x="1736249" y="3137545"/>
                    <a:pt x="1753808" y="3122180"/>
                    <a:pt x="1773564" y="3122180"/>
                  </a:cubicBezTo>
                  <a:cubicBezTo>
                    <a:pt x="1795514" y="3122180"/>
                    <a:pt x="1810879" y="3139740"/>
                    <a:pt x="1810879" y="3159495"/>
                  </a:cubicBezTo>
                  <a:cubicBezTo>
                    <a:pt x="1810879" y="3181445"/>
                    <a:pt x="1793319" y="3196810"/>
                    <a:pt x="1773564" y="3196810"/>
                  </a:cubicBezTo>
                  <a:close/>
                  <a:moveTo>
                    <a:pt x="682647" y="3201201"/>
                  </a:moveTo>
                  <a:cubicBezTo>
                    <a:pt x="656306" y="3201201"/>
                    <a:pt x="634356" y="3179251"/>
                    <a:pt x="634356" y="3152911"/>
                  </a:cubicBezTo>
                  <a:cubicBezTo>
                    <a:pt x="634356" y="3126571"/>
                    <a:pt x="656306" y="3104621"/>
                    <a:pt x="682647" y="3104621"/>
                  </a:cubicBezTo>
                  <a:cubicBezTo>
                    <a:pt x="708987" y="3104621"/>
                    <a:pt x="730936" y="3126571"/>
                    <a:pt x="730936" y="3152911"/>
                  </a:cubicBezTo>
                  <a:cubicBezTo>
                    <a:pt x="730936" y="3179251"/>
                    <a:pt x="708987" y="3201201"/>
                    <a:pt x="682647" y="3201201"/>
                  </a:cubicBezTo>
                  <a:close/>
                  <a:moveTo>
                    <a:pt x="2157690" y="3225345"/>
                  </a:moveTo>
                  <a:cubicBezTo>
                    <a:pt x="2144518" y="3225345"/>
                    <a:pt x="2135738" y="3214370"/>
                    <a:pt x="2133544" y="3201200"/>
                  </a:cubicBezTo>
                  <a:cubicBezTo>
                    <a:pt x="2133544" y="3188030"/>
                    <a:pt x="2144518" y="3177055"/>
                    <a:pt x="2157690" y="3177055"/>
                  </a:cubicBezTo>
                  <a:cubicBezTo>
                    <a:pt x="2170859" y="3177055"/>
                    <a:pt x="2181835" y="3188030"/>
                    <a:pt x="2181835" y="3201200"/>
                  </a:cubicBezTo>
                  <a:cubicBezTo>
                    <a:pt x="2181835" y="3214370"/>
                    <a:pt x="2170859" y="3225345"/>
                    <a:pt x="2157690" y="3225345"/>
                  </a:cubicBezTo>
                  <a:close/>
                  <a:moveTo>
                    <a:pt x="904342" y="3231931"/>
                  </a:moveTo>
                  <a:cubicBezTo>
                    <a:pt x="878884" y="3231931"/>
                    <a:pt x="858247" y="3211293"/>
                    <a:pt x="858247" y="3185835"/>
                  </a:cubicBezTo>
                  <a:cubicBezTo>
                    <a:pt x="858247" y="3160377"/>
                    <a:pt x="878884" y="3139740"/>
                    <a:pt x="904342" y="3139740"/>
                  </a:cubicBezTo>
                  <a:cubicBezTo>
                    <a:pt x="929799" y="3139740"/>
                    <a:pt x="950437" y="3160377"/>
                    <a:pt x="950437" y="3185835"/>
                  </a:cubicBezTo>
                  <a:cubicBezTo>
                    <a:pt x="950437" y="3211293"/>
                    <a:pt x="929799" y="3231931"/>
                    <a:pt x="904342" y="3231931"/>
                  </a:cubicBezTo>
                  <a:close/>
                  <a:moveTo>
                    <a:pt x="1137013" y="3256076"/>
                  </a:moveTo>
                  <a:cubicBezTo>
                    <a:pt x="1112868" y="3256076"/>
                    <a:pt x="1095307" y="3236321"/>
                    <a:pt x="1095307" y="3214370"/>
                  </a:cubicBezTo>
                  <a:cubicBezTo>
                    <a:pt x="1095307" y="3192420"/>
                    <a:pt x="1112868" y="3172665"/>
                    <a:pt x="1137013" y="3172665"/>
                  </a:cubicBezTo>
                  <a:cubicBezTo>
                    <a:pt x="1158963" y="3172665"/>
                    <a:pt x="1178718" y="3190225"/>
                    <a:pt x="1178718" y="3214370"/>
                  </a:cubicBezTo>
                  <a:cubicBezTo>
                    <a:pt x="1178718" y="3236321"/>
                    <a:pt x="1161157" y="3256076"/>
                    <a:pt x="1137013" y="3256076"/>
                  </a:cubicBezTo>
                  <a:close/>
                  <a:moveTo>
                    <a:pt x="546556" y="3258270"/>
                  </a:moveTo>
                  <a:cubicBezTo>
                    <a:pt x="524606" y="3258270"/>
                    <a:pt x="507047" y="3240711"/>
                    <a:pt x="507047" y="3218760"/>
                  </a:cubicBezTo>
                  <a:cubicBezTo>
                    <a:pt x="507047" y="3196810"/>
                    <a:pt x="524606" y="3179250"/>
                    <a:pt x="546556" y="3179250"/>
                  </a:cubicBezTo>
                  <a:cubicBezTo>
                    <a:pt x="568507" y="3179250"/>
                    <a:pt x="586067" y="3196810"/>
                    <a:pt x="586067" y="3218760"/>
                  </a:cubicBezTo>
                  <a:cubicBezTo>
                    <a:pt x="586067" y="3240711"/>
                    <a:pt x="568507" y="3258270"/>
                    <a:pt x="546556" y="3258270"/>
                  </a:cubicBezTo>
                  <a:close/>
                  <a:moveTo>
                    <a:pt x="1887704" y="3264856"/>
                  </a:moveTo>
                  <a:cubicBezTo>
                    <a:pt x="1867949" y="3264856"/>
                    <a:pt x="1852584" y="3249491"/>
                    <a:pt x="1852584" y="3229735"/>
                  </a:cubicBezTo>
                  <a:cubicBezTo>
                    <a:pt x="1852584" y="3209980"/>
                    <a:pt x="1867949" y="3194615"/>
                    <a:pt x="1887704" y="3194615"/>
                  </a:cubicBezTo>
                  <a:cubicBezTo>
                    <a:pt x="1907459" y="3194615"/>
                    <a:pt x="1922824" y="3209980"/>
                    <a:pt x="1922824" y="3229735"/>
                  </a:cubicBezTo>
                  <a:cubicBezTo>
                    <a:pt x="1922824" y="3249491"/>
                    <a:pt x="1907459" y="3264856"/>
                    <a:pt x="1887704" y="3264856"/>
                  </a:cubicBezTo>
                  <a:close/>
                  <a:moveTo>
                    <a:pt x="1376268" y="3271440"/>
                  </a:moveTo>
                  <a:cubicBezTo>
                    <a:pt x="1354318" y="3271440"/>
                    <a:pt x="1336757" y="3253880"/>
                    <a:pt x="1336757" y="3231931"/>
                  </a:cubicBezTo>
                  <a:cubicBezTo>
                    <a:pt x="1336757" y="3209980"/>
                    <a:pt x="1354318" y="3192420"/>
                    <a:pt x="1376268" y="3192420"/>
                  </a:cubicBezTo>
                  <a:cubicBezTo>
                    <a:pt x="1398218" y="3192420"/>
                    <a:pt x="1415778" y="3209980"/>
                    <a:pt x="1415778" y="3231931"/>
                  </a:cubicBezTo>
                  <a:cubicBezTo>
                    <a:pt x="1415778" y="3253880"/>
                    <a:pt x="1398218" y="3271440"/>
                    <a:pt x="1376268" y="3271440"/>
                  </a:cubicBezTo>
                  <a:close/>
                  <a:moveTo>
                    <a:pt x="1626499" y="3273635"/>
                  </a:moveTo>
                  <a:cubicBezTo>
                    <a:pt x="1606743" y="3273635"/>
                    <a:pt x="1589184" y="3258270"/>
                    <a:pt x="1589184" y="3236321"/>
                  </a:cubicBezTo>
                  <a:cubicBezTo>
                    <a:pt x="1589184" y="3214370"/>
                    <a:pt x="1606743" y="3199006"/>
                    <a:pt x="1626499" y="3199006"/>
                  </a:cubicBezTo>
                  <a:cubicBezTo>
                    <a:pt x="1648449" y="3199006"/>
                    <a:pt x="1663814" y="3216565"/>
                    <a:pt x="1663814" y="3236321"/>
                  </a:cubicBezTo>
                  <a:cubicBezTo>
                    <a:pt x="1663814" y="3258270"/>
                    <a:pt x="1646254" y="3273635"/>
                    <a:pt x="1626499" y="3273635"/>
                  </a:cubicBezTo>
                  <a:close/>
                  <a:moveTo>
                    <a:pt x="2280611" y="3280220"/>
                  </a:moveTo>
                  <a:cubicBezTo>
                    <a:pt x="2265245" y="3280220"/>
                    <a:pt x="2254271" y="3267050"/>
                    <a:pt x="2252075" y="3251686"/>
                  </a:cubicBezTo>
                  <a:cubicBezTo>
                    <a:pt x="2252075" y="3236321"/>
                    <a:pt x="2265245" y="3223151"/>
                    <a:pt x="2280611" y="3223151"/>
                  </a:cubicBezTo>
                  <a:cubicBezTo>
                    <a:pt x="2295975" y="3223151"/>
                    <a:pt x="2309145" y="3236321"/>
                    <a:pt x="2309145" y="3251686"/>
                  </a:cubicBezTo>
                  <a:cubicBezTo>
                    <a:pt x="2309145" y="3267050"/>
                    <a:pt x="2295975" y="3280220"/>
                    <a:pt x="2280611" y="3280220"/>
                  </a:cubicBezTo>
                  <a:close/>
                  <a:moveTo>
                    <a:pt x="768252" y="3302171"/>
                  </a:moveTo>
                  <a:cubicBezTo>
                    <a:pt x="739717" y="3302171"/>
                    <a:pt x="719962" y="3280220"/>
                    <a:pt x="719962" y="3253880"/>
                  </a:cubicBezTo>
                  <a:cubicBezTo>
                    <a:pt x="719962" y="3227540"/>
                    <a:pt x="741912" y="3205590"/>
                    <a:pt x="768252" y="3205590"/>
                  </a:cubicBezTo>
                  <a:cubicBezTo>
                    <a:pt x="794592" y="3205590"/>
                    <a:pt x="816542" y="3227540"/>
                    <a:pt x="816542" y="3253880"/>
                  </a:cubicBezTo>
                  <a:cubicBezTo>
                    <a:pt x="816542" y="3280220"/>
                    <a:pt x="794592" y="3302171"/>
                    <a:pt x="768252" y="3302171"/>
                  </a:cubicBezTo>
                  <a:close/>
                  <a:moveTo>
                    <a:pt x="2407920" y="3317536"/>
                  </a:moveTo>
                  <a:cubicBezTo>
                    <a:pt x="2394751" y="3317536"/>
                    <a:pt x="2383775" y="3306561"/>
                    <a:pt x="2383775" y="3293391"/>
                  </a:cubicBezTo>
                  <a:cubicBezTo>
                    <a:pt x="2383775" y="3280220"/>
                    <a:pt x="2394751" y="3269246"/>
                    <a:pt x="2407920" y="3269246"/>
                  </a:cubicBezTo>
                  <a:cubicBezTo>
                    <a:pt x="2421091" y="3269246"/>
                    <a:pt x="2432066" y="3280220"/>
                    <a:pt x="2432066" y="3293391"/>
                  </a:cubicBezTo>
                  <a:cubicBezTo>
                    <a:pt x="2432066" y="3306561"/>
                    <a:pt x="2421091" y="3317536"/>
                    <a:pt x="2407920" y="3317536"/>
                  </a:cubicBezTo>
                  <a:close/>
                  <a:moveTo>
                    <a:pt x="996532" y="3330706"/>
                  </a:moveTo>
                  <a:cubicBezTo>
                    <a:pt x="969862" y="3330706"/>
                    <a:pt x="948242" y="3309085"/>
                    <a:pt x="948242" y="3282415"/>
                  </a:cubicBezTo>
                  <a:cubicBezTo>
                    <a:pt x="948242" y="3255745"/>
                    <a:pt x="969862" y="3234125"/>
                    <a:pt x="996532" y="3234125"/>
                  </a:cubicBezTo>
                  <a:cubicBezTo>
                    <a:pt x="1023202" y="3234125"/>
                    <a:pt x="1044822" y="3255745"/>
                    <a:pt x="1044822" y="3282415"/>
                  </a:cubicBezTo>
                  <a:cubicBezTo>
                    <a:pt x="1044822" y="3309085"/>
                    <a:pt x="1023202" y="3330706"/>
                    <a:pt x="996532" y="3330706"/>
                  </a:cubicBezTo>
                  <a:close/>
                  <a:moveTo>
                    <a:pt x="2004039" y="3330706"/>
                  </a:moveTo>
                  <a:cubicBezTo>
                    <a:pt x="1982089" y="3330706"/>
                    <a:pt x="1964530" y="3313146"/>
                    <a:pt x="1964530" y="3291195"/>
                  </a:cubicBezTo>
                  <a:cubicBezTo>
                    <a:pt x="1964530" y="3269246"/>
                    <a:pt x="1982089" y="3251686"/>
                    <a:pt x="2004039" y="3251686"/>
                  </a:cubicBezTo>
                  <a:cubicBezTo>
                    <a:pt x="2025990" y="3251686"/>
                    <a:pt x="2043550" y="3269246"/>
                    <a:pt x="2043550" y="3291195"/>
                  </a:cubicBezTo>
                  <a:cubicBezTo>
                    <a:pt x="2043550" y="3313146"/>
                    <a:pt x="2025990" y="3330706"/>
                    <a:pt x="2004039" y="3330706"/>
                  </a:cubicBezTo>
                  <a:close/>
                  <a:moveTo>
                    <a:pt x="2535230" y="3346071"/>
                  </a:moveTo>
                  <a:cubicBezTo>
                    <a:pt x="2526450" y="3346071"/>
                    <a:pt x="2517670" y="3337290"/>
                    <a:pt x="2515476" y="3326316"/>
                  </a:cubicBezTo>
                  <a:cubicBezTo>
                    <a:pt x="2515476" y="3315341"/>
                    <a:pt x="2524256" y="3306561"/>
                    <a:pt x="2535230" y="3306561"/>
                  </a:cubicBezTo>
                  <a:cubicBezTo>
                    <a:pt x="2546205" y="3306561"/>
                    <a:pt x="2554985" y="3315341"/>
                    <a:pt x="2554985" y="3326316"/>
                  </a:cubicBezTo>
                  <a:cubicBezTo>
                    <a:pt x="2554985" y="3337290"/>
                    <a:pt x="2546205" y="3346071"/>
                    <a:pt x="2535230" y="3346071"/>
                  </a:cubicBezTo>
                  <a:close/>
                  <a:moveTo>
                    <a:pt x="1233593" y="3350461"/>
                  </a:moveTo>
                  <a:cubicBezTo>
                    <a:pt x="1209448" y="3350461"/>
                    <a:pt x="1187498" y="3328510"/>
                    <a:pt x="1187498" y="3304365"/>
                  </a:cubicBezTo>
                  <a:cubicBezTo>
                    <a:pt x="1187498" y="3278025"/>
                    <a:pt x="1207253" y="3258270"/>
                    <a:pt x="1233593" y="3258270"/>
                  </a:cubicBezTo>
                  <a:cubicBezTo>
                    <a:pt x="1259933" y="3258270"/>
                    <a:pt x="1279688" y="3280220"/>
                    <a:pt x="1279688" y="3304365"/>
                  </a:cubicBezTo>
                  <a:cubicBezTo>
                    <a:pt x="1279688" y="3330705"/>
                    <a:pt x="1257738" y="3350461"/>
                    <a:pt x="1233593" y="3350461"/>
                  </a:cubicBezTo>
                  <a:close/>
                  <a:moveTo>
                    <a:pt x="1736249" y="3352655"/>
                  </a:moveTo>
                  <a:cubicBezTo>
                    <a:pt x="1714299" y="3352655"/>
                    <a:pt x="1694544" y="3335096"/>
                    <a:pt x="1694544" y="3310951"/>
                  </a:cubicBezTo>
                  <a:cubicBezTo>
                    <a:pt x="1694544" y="3286805"/>
                    <a:pt x="1714299" y="3269246"/>
                    <a:pt x="1736249" y="3269246"/>
                  </a:cubicBezTo>
                  <a:cubicBezTo>
                    <a:pt x="1760394" y="3269246"/>
                    <a:pt x="1777954" y="3289001"/>
                    <a:pt x="1777954" y="3310951"/>
                  </a:cubicBezTo>
                  <a:cubicBezTo>
                    <a:pt x="1777954" y="3335096"/>
                    <a:pt x="1758198" y="3352655"/>
                    <a:pt x="1736249" y="3352655"/>
                  </a:cubicBezTo>
                  <a:close/>
                  <a:moveTo>
                    <a:pt x="1479433" y="3359241"/>
                  </a:moveTo>
                  <a:cubicBezTo>
                    <a:pt x="1455288" y="3359241"/>
                    <a:pt x="1435533" y="3339486"/>
                    <a:pt x="1435533" y="3315341"/>
                  </a:cubicBezTo>
                  <a:cubicBezTo>
                    <a:pt x="1435533" y="3291195"/>
                    <a:pt x="1455288" y="3271440"/>
                    <a:pt x="1479433" y="3271440"/>
                  </a:cubicBezTo>
                  <a:cubicBezTo>
                    <a:pt x="1503578" y="3271440"/>
                    <a:pt x="1523333" y="3291195"/>
                    <a:pt x="1523333" y="3315341"/>
                  </a:cubicBezTo>
                  <a:cubicBezTo>
                    <a:pt x="1523333" y="3339486"/>
                    <a:pt x="1503578" y="3359241"/>
                    <a:pt x="1479433" y="3359241"/>
                  </a:cubicBezTo>
                  <a:close/>
                  <a:moveTo>
                    <a:pt x="629966" y="3370215"/>
                  </a:moveTo>
                  <a:cubicBezTo>
                    <a:pt x="603626" y="3370215"/>
                    <a:pt x="581676" y="3348266"/>
                    <a:pt x="581676" y="3321926"/>
                  </a:cubicBezTo>
                  <a:cubicBezTo>
                    <a:pt x="581676" y="3295585"/>
                    <a:pt x="603626" y="3273635"/>
                    <a:pt x="629966" y="3273635"/>
                  </a:cubicBezTo>
                  <a:cubicBezTo>
                    <a:pt x="656306" y="3273635"/>
                    <a:pt x="678257" y="3295585"/>
                    <a:pt x="678257" y="3321926"/>
                  </a:cubicBezTo>
                  <a:cubicBezTo>
                    <a:pt x="678257" y="3348266"/>
                    <a:pt x="656306" y="3370215"/>
                    <a:pt x="629966" y="3370215"/>
                  </a:cubicBezTo>
                  <a:close/>
                  <a:moveTo>
                    <a:pt x="2124766" y="3381191"/>
                  </a:moveTo>
                  <a:cubicBezTo>
                    <a:pt x="2105010" y="3381191"/>
                    <a:pt x="2091840" y="3365825"/>
                    <a:pt x="2091840" y="3348266"/>
                  </a:cubicBezTo>
                  <a:cubicBezTo>
                    <a:pt x="2091840" y="3330706"/>
                    <a:pt x="2107206" y="3315341"/>
                    <a:pt x="2124766" y="3315341"/>
                  </a:cubicBezTo>
                  <a:cubicBezTo>
                    <a:pt x="2142326" y="3315341"/>
                    <a:pt x="2157690" y="3330706"/>
                    <a:pt x="2157690" y="3348266"/>
                  </a:cubicBezTo>
                  <a:cubicBezTo>
                    <a:pt x="2157690" y="3365825"/>
                    <a:pt x="2142326" y="3381191"/>
                    <a:pt x="2124766" y="3381191"/>
                  </a:cubicBezTo>
                  <a:close/>
                  <a:moveTo>
                    <a:pt x="856052" y="3400945"/>
                  </a:moveTo>
                  <a:cubicBezTo>
                    <a:pt x="829382" y="3400945"/>
                    <a:pt x="807762" y="3379326"/>
                    <a:pt x="807762" y="3352656"/>
                  </a:cubicBezTo>
                  <a:cubicBezTo>
                    <a:pt x="807762" y="3325986"/>
                    <a:pt x="829382" y="3304365"/>
                    <a:pt x="856052" y="3304365"/>
                  </a:cubicBezTo>
                  <a:cubicBezTo>
                    <a:pt x="882722" y="3304365"/>
                    <a:pt x="904342" y="3325986"/>
                    <a:pt x="904342" y="3352656"/>
                  </a:cubicBezTo>
                  <a:cubicBezTo>
                    <a:pt x="904342" y="3379326"/>
                    <a:pt x="882722" y="3400945"/>
                    <a:pt x="856052" y="3400945"/>
                  </a:cubicBezTo>
                  <a:close/>
                  <a:moveTo>
                    <a:pt x="491681" y="3405336"/>
                  </a:moveTo>
                  <a:cubicBezTo>
                    <a:pt x="482901" y="3405336"/>
                    <a:pt x="476316" y="3398751"/>
                    <a:pt x="474122" y="3387776"/>
                  </a:cubicBezTo>
                  <a:cubicBezTo>
                    <a:pt x="474122" y="3378996"/>
                    <a:pt x="482901" y="3370215"/>
                    <a:pt x="491681" y="3370215"/>
                  </a:cubicBezTo>
                  <a:cubicBezTo>
                    <a:pt x="500461" y="3370215"/>
                    <a:pt x="509241" y="3378996"/>
                    <a:pt x="509241" y="3387776"/>
                  </a:cubicBezTo>
                  <a:cubicBezTo>
                    <a:pt x="509241" y="3396556"/>
                    <a:pt x="500461" y="3405336"/>
                    <a:pt x="491681" y="3405336"/>
                  </a:cubicBezTo>
                  <a:close/>
                  <a:moveTo>
                    <a:pt x="1850389" y="3418506"/>
                  </a:moveTo>
                  <a:cubicBezTo>
                    <a:pt x="1830634" y="3418506"/>
                    <a:pt x="1813074" y="3400946"/>
                    <a:pt x="1810879" y="3378996"/>
                  </a:cubicBezTo>
                  <a:cubicBezTo>
                    <a:pt x="1810879" y="3357046"/>
                    <a:pt x="1828439" y="3339486"/>
                    <a:pt x="1850389" y="3339486"/>
                  </a:cubicBezTo>
                  <a:cubicBezTo>
                    <a:pt x="1870144" y="3339486"/>
                    <a:pt x="1887704" y="3357046"/>
                    <a:pt x="1887704" y="3378996"/>
                  </a:cubicBezTo>
                  <a:cubicBezTo>
                    <a:pt x="1887704" y="3400946"/>
                    <a:pt x="1872339" y="3418506"/>
                    <a:pt x="1850389" y="3418506"/>
                  </a:cubicBezTo>
                  <a:close/>
                  <a:moveTo>
                    <a:pt x="1090917" y="3422896"/>
                  </a:moveTo>
                  <a:cubicBezTo>
                    <a:pt x="1066773" y="3422896"/>
                    <a:pt x="1044822" y="3400946"/>
                    <a:pt x="1044822" y="3376801"/>
                  </a:cubicBezTo>
                  <a:cubicBezTo>
                    <a:pt x="1044822" y="3350461"/>
                    <a:pt x="1064577" y="3330706"/>
                    <a:pt x="1090917" y="3330706"/>
                  </a:cubicBezTo>
                  <a:cubicBezTo>
                    <a:pt x="1117258" y="3330706"/>
                    <a:pt x="1137013" y="3350461"/>
                    <a:pt x="1137013" y="3376801"/>
                  </a:cubicBezTo>
                  <a:cubicBezTo>
                    <a:pt x="1137013" y="3403141"/>
                    <a:pt x="1117258" y="3422896"/>
                    <a:pt x="1090917" y="3422896"/>
                  </a:cubicBezTo>
                  <a:close/>
                  <a:moveTo>
                    <a:pt x="2247685" y="3431676"/>
                  </a:moveTo>
                  <a:cubicBezTo>
                    <a:pt x="2227930" y="3431676"/>
                    <a:pt x="2212564" y="3416311"/>
                    <a:pt x="2212564" y="3396556"/>
                  </a:cubicBezTo>
                  <a:cubicBezTo>
                    <a:pt x="2212564" y="3376801"/>
                    <a:pt x="2227930" y="3361436"/>
                    <a:pt x="2247685" y="3361436"/>
                  </a:cubicBezTo>
                  <a:cubicBezTo>
                    <a:pt x="2267439" y="3361436"/>
                    <a:pt x="2282805" y="3376801"/>
                    <a:pt x="2282805" y="3396556"/>
                  </a:cubicBezTo>
                  <a:cubicBezTo>
                    <a:pt x="2282805" y="3416311"/>
                    <a:pt x="2267439" y="3431676"/>
                    <a:pt x="2247685" y="3431676"/>
                  </a:cubicBezTo>
                  <a:close/>
                  <a:moveTo>
                    <a:pt x="1334563" y="3433871"/>
                  </a:moveTo>
                  <a:cubicBezTo>
                    <a:pt x="1310418" y="3433871"/>
                    <a:pt x="1290663" y="3414116"/>
                    <a:pt x="1290663" y="3389971"/>
                  </a:cubicBezTo>
                  <a:cubicBezTo>
                    <a:pt x="1290663" y="3365825"/>
                    <a:pt x="1310418" y="3346071"/>
                    <a:pt x="1334563" y="3346071"/>
                  </a:cubicBezTo>
                  <a:cubicBezTo>
                    <a:pt x="1358709" y="3346071"/>
                    <a:pt x="1378464" y="3365825"/>
                    <a:pt x="1378464" y="3389971"/>
                  </a:cubicBezTo>
                  <a:cubicBezTo>
                    <a:pt x="1378464" y="3414116"/>
                    <a:pt x="1358709" y="3433871"/>
                    <a:pt x="1334563" y="3433871"/>
                  </a:cubicBezTo>
                  <a:close/>
                  <a:moveTo>
                    <a:pt x="1589184" y="3436066"/>
                  </a:moveTo>
                  <a:cubicBezTo>
                    <a:pt x="1565038" y="3436066"/>
                    <a:pt x="1545283" y="3416311"/>
                    <a:pt x="1545283" y="3392166"/>
                  </a:cubicBezTo>
                  <a:cubicBezTo>
                    <a:pt x="1545283" y="3368021"/>
                    <a:pt x="1565038" y="3348266"/>
                    <a:pt x="1589184" y="3348266"/>
                  </a:cubicBezTo>
                  <a:cubicBezTo>
                    <a:pt x="1613329" y="3348266"/>
                    <a:pt x="1633084" y="3368021"/>
                    <a:pt x="1633084" y="3392166"/>
                  </a:cubicBezTo>
                  <a:cubicBezTo>
                    <a:pt x="1633084" y="3416311"/>
                    <a:pt x="1613329" y="3436066"/>
                    <a:pt x="1589184" y="3436066"/>
                  </a:cubicBezTo>
                  <a:close/>
                  <a:moveTo>
                    <a:pt x="717766" y="3460211"/>
                  </a:moveTo>
                  <a:cubicBezTo>
                    <a:pt x="695817" y="3460211"/>
                    <a:pt x="680451" y="3442651"/>
                    <a:pt x="678257" y="3420701"/>
                  </a:cubicBezTo>
                  <a:cubicBezTo>
                    <a:pt x="678257" y="3398751"/>
                    <a:pt x="695817" y="3381191"/>
                    <a:pt x="717766" y="3381191"/>
                  </a:cubicBezTo>
                  <a:cubicBezTo>
                    <a:pt x="739717" y="3381191"/>
                    <a:pt x="757277" y="3398751"/>
                    <a:pt x="757277" y="3420701"/>
                  </a:cubicBezTo>
                  <a:cubicBezTo>
                    <a:pt x="757277" y="3442651"/>
                    <a:pt x="739717" y="3460211"/>
                    <a:pt x="717766" y="3460211"/>
                  </a:cubicBezTo>
                  <a:close/>
                  <a:moveTo>
                    <a:pt x="2374995" y="3468991"/>
                  </a:moveTo>
                  <a:cubicBezTo>
                    <a:pt x="2357435" y="3468991"/>
                    <a:pt x="2344265" y="3453626"/>
                    <a:pt x="2344265" y="3438260"/>
                  </a:cubicBezTo>
                  <a:cubicBezTo>
                    <a:pt x="2344265" y="3420700"/>
                    <a:pt x="2357435" y="3407531"/>
                    <a:pt x="2374995" y="3407531"/>
                  </a:cubicBezTo>
                  <a:cubicBezTo>
                    <a:pt x="2392555" y="3407531"/>
                    <a:pt x="2405726" y="3420700"/>
                    <a:pt x="2405726" y="3438260"/>
                  </a:cubicBezTo>
                  <a:cubicBezTo>
                    <a:pt x="2405726" y="3455820"/>
                    <a:pt x="2392555" y="3468991"/>
                    <a:pt x="2374995" y="3468991"/>
                  </a:cubicBezTo>
                  <a:close/>
                  <a:moveTo>
                    <a:pt x="1968920" y="3477771"/>
                  </a:moveTo>
                  <a:cubicBezTo>
                    <a:pt x="1949164" y="3477771"/>
                    <a:pt x="1931604" y="3462406"/>
                    <a:pt x="1929409" y="3438261"/>
                  </a:cubicBezTo>
                  <a:cubicBezTo>
                    <a:pt x="1929409" y="3416311"/>
                    <a:pt x="1946969" y="3398751"/>
                    <a:pt x="1968920" y="3398751"/>
                  </a:cubicBezTo>
                  <a:cubicBezTo>
                    <a:pt x="1990869" y="3398751"/>
                    <a:pt x="2008430" y="3416311"/>
                    <a:pt x="2008430" y="3438261"/>
                  </a:cubicBezTo>
                  <a:cubicBezTo>
                    <a:pt x="2008430" y="3460211"/>
                    <a:pt x="1990869" y="3477771"/>
                    <a:pt x="1968920" y="3477771"/>
                  </a:cubicBezTo>
                  <a:close/>
                  <a:moveTo>
                    <a:pt x="579481" y="3493135"/>
                  </a:moveTo>
                  <a:cubicBezTo>
                    <a:pt x="577286" y="3493135"/>
                    <a:pt x="575091" y="3490941"/>
                    <a:pt x="575091" y="3488745"/>
                  </a:cubicBezTo>
                  <a:cubicBezTo>
                    <a:pt x="575091" y="3486551"/>
                    <a:pt x="577286" y="3484355"/>
                    <a:pt x="579481" y="3484355"/>
                  </a:cubicBezTo>
                  <a:cubicBezTo>
                    <a:pt x="581676" y="3484355"/>
                    <a:pt x="583871" y="3486551"/>
                    <a:pt x="583871" y="3488745"/>
                  </a:cubicBezTo>
                  <a:cubicBezTo>
                    <a:pt x="583871" y="3490941"/>
                    <a:pt x="581676" y="3493135"/>
                    <a:pt x="579481" y="3493135"/>
                  </a:cubicBezTo>
                  <a:close/>
                  <a:moveTo>
                    <a:pt x="950437" y="3497526"/>
                  </a:moveTo>
                  <a:cubicBezTo>
                    <a:pt x="924098" y="3497526"/>
                    <a:pt x="899953" y="3473381"/>
                    <a:pt x="899953" y="3447040"/>
                  </a:cubicBezTo>
                  <a:cubicBezTo>
                    <a:pt x="899953" y="3418505"/>
                    <a:pt x="921902" y="3396555"/>
                    <a:pt x="950437" y="3396555"/>
                  </a:cubicBezTo>
                  <a:cubicBezTo>
                    <a:pt x="978973" y="3396555"/>
                    <a:pt x="1000922" y="3418505"/>
                    <a:pt x="1000922" y="3447040"/>
                  </a:cubicBezTo>
                  <a:cubicBezTo>
                    <a:pt x="1000922" y="3475575"/>
                    <a:pt x="978973" y="3497526"/>
                    <a:pt x="950437" y="3497526"/>
                  </a:cubicBezTo>
                  <a:close/>
                  <a:moveTo>
                    <a:pt x="2502304" y="3501916"/>
                  </a:moveTo>
                  <a:cubicBezTo>
                    <a:pt x="2486940" y="3501916"/>
                    <a:pt x="2471576" y="3488745"/>
                    <a:pt x="2471576" y="3471185"/>
                  </a:cubicBezTo>
                  <a:cubicBezTo>
                    <a:pt x="2471576" y="3453626"/>
                    <a:pt x="2484745" y="3440456"/>
                    <a:pt x="2502304" y="3440456"/>
                  </a:cubicBezTo>
                  <a:cubicBezTo>
                    <a:pt x="2519864" y="3440456"/>
                    <a:pt x="2533036" y="3453626"/>
                    <a:pt x="2533036" y="3471185"/>
                  </a:cubicBezTo>
                  <a:cubicBezTo>
                    <a:pt x="2533036" y="3488745"/>
                    <a:pt x="2519864" y="3501916"/>
                    <a:pt x="2502304" y="3501916"/>
                  </a:cubicBezTo>
                  <a:close/>
                  <a:moveTo>
                    <a:pt x="1191888" y="3510696"/>
                  </a:moveTo>
                  <a:cubicBezTo>
                    <a:pt x="1165548" y="3510696"/>
                    <a:pt x="1145793" y="3488745"/>
                    <a:pt x="1145793" y="3464600"/>
                  </a:cubicBezTo>
                  <a:cubicBezTo>
                    <a:pt x="1145793" y="3440456"/>
                    <a:pt x="1165548" y="3418505"/>
                    <a:pt x="1191888" y="3418505"/>
                  </a:cubicBezTo>
                  <a:cubicBezTo>
                    <a:pt x="1216033" y="3418505"/>
                    <a:pt x="1237983" y="3438260"/>
                    <a:pt x="1237983" y="3464600"/>
                  </a:cubicBezTo>
                  <a:cubicBezTo>
                    <a:pt x="1237983" y="3488745"/>
                    <a:pt x="1218228" y="3510696"/>
                    <a:pt x="1191888" y="3510696"/>
                  </a:cubicBezTo>
                  <a:close/>
                  <a:moveTo>
                    <a:pt x="1701129" y="3510696"/>
                  </a:moveTo>
                  <a:cubicBezTo>
                    <a:pt x="1674789" y="3510696"/>
                    <a:pt x="1652839" y="3488745"/>
                    <a:pt x="1652839" y="3462405"/>
                  </a:cubicBezTo>
                  <a:cubicBezTo>
                    <a:pt x="1652839" y="3436065"/>
                    <a:pt x="1674789" y="3414115"/>
                    <a:pt x="1701129" y="3414115"/>
                  </a:cubicBezTo>
                  <a:cubicBezTo>
                    <a:pt x="1727469" y="3414115"/>
                    <a:pt x="1749419" y="3436065"/>
                    <a:pt x="1749419" y="3462405"/>
                  </a:cubicBezTo>
                  <a:cubicBezTo>
                    <a:pt x="1749419" y="3488745"/>
                    <a:pt x="1727469" y="3510696"/>
                    <a:pt x="1701129" y="3510696"/>
                  </a:cubicBezTo>
                  <a:close/>
                  <a:moveTo>
                    <a:pt x="1442118" y="3515086"/>
                  </a:moveTo>
                  <a:cubicBezTo>
                    <a:pt x="1415778" y="3515086"/>
                    <a:pt x="1396023" y="3495331"/>
                    <a:pt x="1396023" y="3468991"/>
                  </a:cubicBezTo>
                  <a:cubicBezTo>
                    <a:pt x="1396023" y="3442651"/>
                    <a:pt x="1417973" y="3422896"/>
                    <a:pt x="1442118" y="3422896"/>
                  </a:cubicBezTo>
                  <a:cubicBezTo>
                    <a:pt x="1468458" y="3422896"/>
                    <a:pt x="1488214" y="3444846"/>
                    <a:pt x="1488214" y="3468991"/>
                  </a:cubicBezTo>
                  <a:cubicBezTo>
                    <a:pt x="1488214" y="3495331"/>
                    <a:pt x="1466263" y="3515086"/>
                    <a:pt x="1442118" y="3515086"/>
                  </a:cubicBezTo>
                  <a:close/>
                  <a:moveTo>
                    <a:pt x="2626806" y="3521105"/>
                  </a:moveTo>
                  <a:lnTo>
                    <a:pt x="2613976" y="3516184"/>
                  </a:lnTo>
                  <a:cubicBezTo>
                    <a:pt x="2608763" y="3511245"/>
                    <a:pt x="2605470" y="3504111"/>
                    <a:pt x="2605470" y="3495331"/>
                  </a:cubicBezTo>
                  <a:cubicBezTo>
                    <a:pt x="2605470" y="3487649"/>
                    <a:pt x="2608763" y="3480515"/>
                    <a:pt x="2613976" y="3475302"/>
                  </a:cubicBezTo>
                  <a:lnTo>
                    <a:pt x="2626806" y="3469853"/>
                  </a:lnTo>
                  <a:close/>
                  <a:moveTo>
                    <a:pt x="2089644" y="3530452"/>
                  </a:moveTo>
                  <a:cubicBezTo>
                    <a:pt x="2069890" y="3530452"/>
                    <a:pt x="2054524" y="3515086"/>
                    <a:pt x="2054524" y="3495331"/>
                  </a:cubicBezTo>
                  <a:cubicBezTo>
                    <a:pt x="2054524" y="3475576"/>
                    <a:pt x="2069890" y="3460211"/>
                    <a:pt x="2089644" y="3460211"/>
                  </a:cubicBezTo>
                  <a:cubicBezTo>
                    <a:pt x="2109399" y="3460211"/>
                    <a:pt x="2124764" y="3475576"/>
                    <a:pt x="2124764" y="3495331"/>
                  </a:cubicBezTo>
                  <a:cubicBezTo>
                    <a:pt x="2124764" y="3515086"/>
                    <a:pt x="2109399" y="3530452"/>
                    <a:pt x="2089644" y="3530452"/>
                  </a:cubicBezTo>
                  <a:close/>
                  <a:moveTo>
                    <a:pt x="809957" y="3565571"/>
                  </a:moveTo>
                  <a:cubicBezTo>
                    <a:pt x="783617" y="3565571"/>
                    <a:pt x="759472" y="3543621"/>
                    <a:pt x="759472" y="3515086"/>
                  </a:cubicBezTo>
                  <a:cubicBezTo>
                    <a:pt x="759472" y="3486551"/>
                    <a:pt x="781422" y="3464600"/>
                    <a:pt x="809957" y="3464600"/>
                  </a:cubicBezTo>
                  <a:cubicBezTo>
                    <a:pt x="838492" y="3464600"/>
                    <a:pt x="860442" y="3486551"/>
                    <a:pt x="860442" y="3515086"/>
                  </a:cubicBezTo>
                  <a:cubicBezTo>
                    <a:pt x="860442" y="3543621"/>
                    <a:pt x="838492" y="3565571"/>
                    <a:pt x="809957" y="3565571"/>
                  </a:cubicBezTo>
                  <a:close/>
                  <a:moveTo>
                    <a:pt x="1815269" y="3569961"/>
                  </a:moveTo>
                  <a:cubicBezTo>
                    <a:pt x="1793319" y="3569961"/>
                    <a:pt x="1775758" y="3552401"/>
                    <a:pt x="1773564" y="3528256"/>
                  </a:cubicBezTo>
                  <a:cubicBezTo>
                    <a:pt x="1773564" y="3504110"/>
                    <a:pt x="1793319" y="3486551"/>
                    <a:pt x="1815269" y="3486551"/>
                  </a:cubicBezTo>
                  <a:cubicBezTo>
                    <a:pt x="1839414" y="3486551"/>
                    <a:pt x="1856974" y="3506306"/>
                    <a:pt x="1856974" y="3528256"/>
                  </a:cubicBezTo>
                  <a:cubicBezTo>
                    <a:pt x="1856974" y="3552401"/>
                    <a:pt x="1837219" y="3569961"/>
                    <a:pt x="1815269" y="3569961"/>
                  </a:cubicBezTo>
                  <a:close/>
                  <a:moveTo>
                    <a:pt x="2214759" y="3578741"/>
                  </a:moveTo>
                  <a:cubicBezTo>
                    <a:pt x="2195005" y="3578741"/>
                    <a:pt x="2179639" y="3561181"/>
                    <a:pt x="2179639" y="3543621"/>
                  </a:cubicBezTo>
                  <a:cubicBezTo>
                    <a:pt x="2179639" y="3523866"/>
                    <a:pt x="2195005" y="3508500"/>
                    <a:pt x="2214759" y="3508500"/>
                  </a:cubicBezTo>
                  <a:cubicBezTo>
                    <a:pt x="2234515" y="3508500"/>
                    <a:pt x="2249879" y="3523866"/>
                    <a:pt x="2249879" y="3543621"/>
                  </a:cubicBezTo>
                  <a:cubicBezTo>
                    <a:pt x="2249879" y="3563376"/>
                    <a:pt x="2234515" y="3578741"/>
                    <a:pt x="2214759" y="3578741"/>
                  </a:cubicBezTo>
                  <a:close/>
                  <a:moveTo>
                    <a:pt x="1049212" y="3585327"/>
                  </a:moveTo>
                  <a:cubicBezTo>
                    <a:pt x="1022872" y="3585327"/>
                    <a:pt x="1000922" y="3563377"/>
                    <a:pt x="1000922" y="3537036"/>
                  </a:cubicBezTo>
                  <a:cubicBezTo>
                    <a:pt x="1000922" y="3510696"/>
                    <a:pt x="1022872" y="3488746"/>
                    <a:pt x="1049212" y="3488746"/>
                  </a:cubicBezTo>
                  <a:cubicBezTo>
                    <a:pt x="1075553" y="3488746"/>
                    <a:pt x="1097502" y="3510696"/>
                    <a:pt x="1097502" y="3537036"/>
                  </a:cubicBezTo>
                  <a:cubicBezTo>
                    <a:pt x="1097502" y="3563377"/>
                    <a:pt x="1075553" y="3585327"/>
                    <a:pt x="1049212" y="3585327"/>
                  </a:cubicBezTo>
                  <a:close/>
                  <a:moveTo>
                    <a:pt x="1295053" y="3594106"/>
                  </a:moveTo>
                  <a:cubicBezTo>
                    <a:pt x="1268713" y="3594106"/>
                    <a:pt x="1248958" y="3572156"/>
                    <a:pt x="1246763" y="3545816"/>
                  </a:cubicBezTo>
                  <a:cubicBezTo>
                    <a:pt x="1246763" y="3519476"/>
                    <a:pt x="1268713" y="3497526"/>
                    <a:pt x="1295053" y="3497526"/>
                  </a:cubicBezTo>
                  <a:cubicBezTo>
                    <a:pt x="1321393" y="3497526"/>
                    <a:pt x="1343343" y="3519476"/>
                    <a:pt x="1343343" y="3545816"/>
                  </a:cubicBezTo>
                  <a:cubicBezTo>
                    <a:pt x="1343343" y="3572156"/>
                    <a:pt x="1321393" y="3594106"/>
                    <a:pt x="1295053" y="3594106"/>
                  </a:cubicBezTo>
                  <a:close/>
                  <a:moveTo>
                    <a:pt x="1551869" y="3594106"/>
                  </a:moveTo>
                  <a:cubicBezTo>
                    <a:pt x="1525528" y="3594106"/>
                    <a:pt x="1503578" y="3572156"/>
                    <a:pt x="1503578" y="3545816"/>
                  </a:cubicBezTo>
                  <a:cubicBezTo>
                    <a:pt x="1503578" y="3519476"/>
                    <a:pt x="1525528" y="3497526"/>
                    <a:pt x="1551869" y="3497526"/>
                  </a:cubicBezTo>
                  <a:cubicBezTo>
                    <a:pt x="1578209" y="3497526"/>
                    <a:pt x="1600159" y="3519476"/>
                    <a:pt x="1600159" y="3545816"/>
                  </a:cubicBezTo>
                  <a:cubicBezTo>
                    <a:pt x="1600159" y="3572156"/>
                    <a:pt x="1578209" y="3594106"/>
                    <a:pt x="1551869" y="3594106"/>
                  </a:cubicBezTo>
                  <a:close/>
                  <a:moveTo>
                    <a:pt x="671671" y="3596301"/>
                  </a:moveTo>
                  <a:cubicBezTo>
                    <a:pt x="665086" y="3596301"/>
                    <a:pt x="658502" y="3591911"/>
                    <a:pt x="660696" y="3585326"/>
                  </a:cubicBezTo>
                  <a:cubicBezTo>
                    <a:pt x="660696" y="3578741"/>
                    <a:pt x="665086" y="3574351"/>
                    <a:pt x="671671" y="3574351"/>
                  </a:cubicBezTo>
                  <a:cubicBezTo>
                    <a:pt x="678257" y="3574351"/>
                    <a:pt x="682647" y="3578741"/>
                    <a:pt x="682647" y="3585326"/>
                  </a:cubicBezTo>
                  <a:cubicBezTo>
                    <a:pt x="682647" y="3591911"/>
                    <a:pt x="678257" y="3596301"/>
                    <a:pt x="671671" y="3596301"/>
                  </a:cubicBezTo>
                  <a:close/>
                  <a:moveTo>
                    <a:pt x="2342071" y="3618251"/>
                  </a:moveTo>
                  <a:cubicBezTo>
                    <a:pt x="2320120" y="3618251"/>
                    <a:pt x="2304755" y="3602886"/>
                    <a:pt x="2304755" y="3580936"/>
                  </a:cubicBezTo>
                  <a:cubicBezTo>
                    <a:pt x="2304755" y="3561181"/>
                    <a:pt x="2322315" y="3543621"/>
                    <a:pt x="2342071" y="3543621"/>
                  </a:cubicBezTo>
                  <a:cubicBezTo>
                    <a:pt x="2361825" y="3543621"/>
                    <a:pt x="2379385" y="3561181"/>
                    <a:pt x="2379385" y="3580936"/>
                  </a:cubicBezTo>
                  <a:cubicBezTo>
                    <a:pt x="2379385" y="3600691"/>
                    <a:pt x="2361825" y="3618251"/>
                    <a:pt x="2342071" y="3618251"/>
                  </a:cubicBezTo>
                  <a:close/>
                  <a:moveTo>
                    <a:pt x="1935994" y="3629226"/>
                  </a:moveTo>
                  <a:cubicBezTo>
                    <a:pt x="1911849" y="3629226"/>
                    <a:pt x="1894289" y="3611666"/>
                    <a:pt x="1894289" y="3587521"/>
                  </a:cubicBezTo>
                  <a:cubicBezTo>
                    <a:pt x="1894289" y="3565571"/>
                    <a:pt x="1911849" y="3545816"/>
                    <a:pt x="1935994" y="3545816"/>
                  </a:cubicBezTo>
                  <a:cubicBezTo>
                    <a:pt x="1957944" y="3545816"/>
                    <a:pt x="1977700" y="3563376"/>
                    <a:pt x="1977700" y="3587521"/>
                  </a:cubicBezTo>
                  <a:cubicBezTo>
                    <a:pt x="1977700" y="3609471"/>
                    <a:pt x="1960140" y="3629226"/>
                    <a:pt x="1935994" y="3629226"/>
                  </a:cubicBezTo>
                  <a:close/>
                  <a:moveTo>
                    <a:pt x="2469380" y="3651176"/>
                  </a:moveTo>
                  <a:cubicBezTo>
                    <a:pt x="2449625" y="3651176"/>
                    <a:pt x="2434260" y="3635811"/>
                    <a:pt x="2434260" y="3616056"/>
                  </a:cubicBezTo>
                  <a:cubicBezTo>
                    <a:pt x="2434260" y="3596301"/>
                    <a:pt x="2449625" y="3580936"/>
                    <a:pt x="2469380" y="3580936"/>
                  </a:cubicBezTo>
                  <a:cubicBezTo>
                    <a:pt x="2489136" y="3580936"/>
                    <a:pt x="2504500" y="3596301"/>
                    <a:pt x="2504500" y="3616056"/>
                  </a:cubicBezTo>
                  <a:cubicBezTo>
                    <a:pt x="2504500" y="3635811"/>
                    <a:pt x="2489136" y="3651176"/>
                    <a:pt x="2469380" y="3651176"/>
                  </a:cubicBezTo>
                  <a:close/>
                  <a:moveTo>
                    <a:pt x="906537" y="3655566"/>
                  </a:moveTo>
                  <a:cubicBezTo>
                    <a:pt x="880197" y="3655566"/>
                    <a:pt x="858247" y="3633616"/>
                    <a:pt x="858247" y="3607276"/>
                  </a:cubicBezTo>
                  <a:cubicBezTo>
                    <a:pt x="858247" y="3580936"/>
                    <a:pt x="880197" y="3558986"/>
                    <a:pt x="906537" y="3558986"/>
                  </a:cubicBezTo>
                  <a:cubicBezTo>
                    <a:pt x="932878" y="3558986"/>
                    <a:pt x="954827" y="3580936"/>
                    <a:pt x="954827" y="3607276"/>
                  </a:cubicBezTo>
                  <a:cubicBezTo>
                    <a:pt x="954827" y="3633616"/>
                    <a:pt x="932878" y="3655566"/>
                    <a:pt x="906537" y="3655566"/>
                  </a:cubicBezTo>
                  <a:close/>
                  <a:moveTo>
                    <a:pt x="1663814" y="3662151"/>
                  </a:moveTo>
                  <a:cubicBezTo>
                    <a:pt x="1637474" y="3662151"/>
                    <a:pt x="1617719" y="3640201"/>
                    <a:pt x="1615523" y="3613861"/>
                  </a:cubicBezTo>
                  <a:cubicBezTo>
                    <a:pt x="1615523" y="3587521"/>
                    <a:pt x="1637474" y="3565571"/>
                    <a:pt x="1663814" y="3565571"/>
                  </a:cubicBezTo>
                  <a:cubicBezTo>
                    <a:pt x="1690154" y="3565571"/>
                    <a:pt x="1712104" y="3587521"/>
                    <a:pt x="1712104" y="3613861"/>
                  </a:cubicBezTo>
                  <a:cubicBezTo>
                    <a:pt x="1712104" y="3640201"/>
                    <a:pt x="1690154" y="3662151"/>
                    <a:pt x="1663814" y="3662151"/>
                  </a:cubicBezTo>
                  <a:close/>
                  <a:moveTo>
                    <a:pt x="1150183" y="3670931"/>
                  </a:moveTo>
                  <a:cubicBezTo>
                    <a:pt x="1123842" y="3670931"/>
                    <a:pt x="1101892" y="3648981"/>
                    <a:pt x="1101892" y="3622641"/>
                  </a:cubicBezTo>
                  <a:cubicBezTo>
                    <a:pt x="1101892" y="3596301"/>
                    <a:pt x="1123842" y="3574351"/>
                    <a:pt x="1150183" y="3574351"/>
                  </a:cubicBezTo>
                  <a:cubicBezTo>
                    <a:pt x="1176523" y="3574351"/>
                    <a:pt x="1198473" y="3596301"/>
                    <a:pt x="1198473" y="3622641"/>
                  </a:cubicBezTo>
                  <a:cubicBezTo>
                    <a:pt x="1198473" y="3648981"/>
                    <a:pt x="1176523" y="3670931"/>
                    <a:pt x="1150183" y="3670931"/>
                  </a:cubicBezTo>
                  <a:close/>
                  <a:moveTo>
                    <a:pt x="1402608" y="3670931"/>
                  </a:moveTo>
                  <a:cubicBezTo>
                    <a:pt x="1376268" y="3670931"/>
                    <a:pt x="1356513" y="3651176"/>
                    <a:pt x="1354318" y="3622641"/>
                  </a:cubicBezTo>
                  <a:cubicBezTo>
                    <a:pt x="1354318" y="3596301"/>
                    <a:pt x="1376268" y="3574351"/>
                    <a:pt x="1402608" y="3574351"/>
                  </a:cubicBezTo>
                  <a:cubicBezTo>
                    <a:pt x="1428948" y="3574351"/>
                    <a:pt x="1450898" y="3596301"/>
                    <a:pt x="1450898" y="3622641"/>
                  </a:cubicBezTo>
                  <a:cubicBezTo>
                    <a:pt x="1450898" y="3648981"/>
                    <a:pt x="1428948" y="3670931"/>
                    <a:pt x="1402608" y="3670931"/>
                  </a:cubicBezTo>
                  <a:close/>
                  <a:moveTo>
                    <a:pt x="2601080" y="3679711"/>
                  </a:moveTo>
                  <a:cubicBezTo>
                    <a:pt x="2579131" y="3679711"/>
                    <a:pt x="2561570" y="3662151"/>
                    <a:pt x="2561570" y="3640201"/>
                  </a:cubicBezTo>
                  <a:cubicBezTo>
                    <a:pt x="2561570" y="3618251"/>
                    <a:pt x="2579131" y="3600691"/>
                    <a:pt x="2601080" y="3600691"/>
                  </a:cubicBezTo>
                  <a:cubicBezTo>
                    <a:pt x="2606568" y="3600691"/>
                    <a:pt x="2611782" y="3601788"/>
                    <a:pt x="2616514" y="3603778"/>
                  </a:cubicBezTo>
                  <a:lnTo>
                    <a:pt x="2626806" y="3610695"/>
                  </a:lnTo>
                  <a:lnTo>
                    <a:pt x="2626806" y="3669707"/>
                  </a:lnTo>
                  <a:lnTo>
                    <a:pt x="2616514" y="3676625"/>
                  </a:lnTo>
                  <a:cubicBezTo>
                    <a:pt x="2611782" y="3678614"/>
                    <a:pt x="2606568" y="3679711"/>
                    <a:pt x="2601080" y="3679711"/>
                  </a:cubicBezTo>
                  <a:close/>
                  <a:moveTo>
                    <a:pt x="2056720" y="3681905"/>
                  </a:moveTo>
                  <a:cubicBezTo>
                    <a:pt x="2034770" y="3681905"/>
                    <a:pt x="2015015" y="3662151"/>
                    <a:pt x="2015015" y="3640201"/>
                  </a:cubicBezTo>
                  <a:cubicBezTo>
                    <a:pt x="2015015" y="3618251"/>
                    <a:pt x="2032574" y="3598496"/>
                    <a:pt x="2056720" y="3598496"/>
                  </a:cubicBezTo>
                  <a:cubicBezTo>
                    <a:pt x="2078669" y="3598496"/>
                    <a:pt x="2098425" y="3618251"/>
                    <a:pt x="2098425" y="3640201"/>
                  </a:cubicBezTo>
                  <a:cubicBezTo>
                    <a:pt x="2098425" y="3662151"/>
                    <a:pt x="2080865" y="3681905"/>
                    <a:pt x="2056720" y="3681905"/>
                  </a:cubicBezTo>
                  <a:close/>
                  <a:moveTo>
                    <a:pt x="766057" y="3721416"/>
                  </a:moveTo>
                  <a:cubicBezTo>
                    <a:pt x="741912" y="3721416"/>
                    <a:pt x="722156" y="3701661"/>
                    <a:pt x="722156" y="3677516"/>
                  </a:cubicBezTo>
                  <a:cubicBezTo>
                    <a:pt x="722156" y="3653371"/>
                    <a:pt x="741912" y="3633616"/>
                    <a:pt x="766057" y="3633616"/>
                  </a:cubicBezTo>
                  <a:cubicBezTo>
                    <a:pt x="790202" y="3633616"/>
                    <a:pt x="809957" y="3653371"/>
                    <a:pt x="809957" y="3677516"/>
                  </a:cubicBezTo>
                  <a:cubicBezTo>
                    <a:pt x="809957" y="3701661"/>
                    <a:pt x="790202" y="3721416"/>
                    <a:pt x="766057" y="3721416"/>
                  </a:cubicBezTo>
                  <a:close/>
                  <a:moveTo>
                    <a:pt x="1782344" y="3723612"/>
                  </a:moveTo>
                  <a:cubicBezTo>
                    <a:pt x="1756004" y="3723612"/>
                    <a:pt x="1736249" y="3701661"/>
                    <a:pt x="1736249" y="3677516"/>
                  </a:cubicBezTo>
                  <a:cubicBezTo>
                    <a:pt x="1736249" y="3651176"/>
                    <a:pt x="1758198" y="3631421"/>
                    <a:pt x="1782344" y="3631421"/>
                  </a:cubicBezTo>
                  <a:cubicBezTo>
                    <a:pt x="1808684" y="3631421"/>
                    <a:pt x="1828439" y="3653371"/>
                    <a:pt x="1828439" y="3677516"/>
                  </a:cubicBezTo>
                  <a:cubicBezTo>
                    <a:pt x="1828439" y="3703856"/>
                    <a:pt x="1806489" y="3723612"/>
                    <a:pt x="1782344" y="3723612"/>
                  </a:cubicBezTo>
                  <a:close/>
                  <a:moveTo>
                    <a:pt x="2181835" y="3730196"/>
                  </a:moveTo>
                  <a:cubicBezTo>
                    <a:pt x="2157690" y="3730196"/>
                    <a:pt x="2137934" y="3710442"/>
                    <a:pt x="2137934" y="3686297"/>
                  </a:cubicBezTo>
                  <a:cubicBezTo>
                    <a:pt x="2137934" y="3662151"/>
                    <a:pt x="2157690" y="3642396"/>
                    <a:pt x="2181835" y="3642396"/>
                  </a:cubicBezTo>
                  <a:cubicBezTo>
                    <a:pt x="2205979" y="3642396"/>
                    <a:pt x="2225735" y="3662151"/>
                    <a:pt x="2225735" y="3686297"/>
                  </a:cubicBezTo>
                  <a:cubicBezTo>
                    <a:pt x="2225735" y="3710442"/>
                    <a:pt x="2205979" y="3730196"/>
                    <a:pt x="2181835" y="3730196"/>
                  </a:cubicBezTo>
                  <a:close/>
                  <a:moveTo>
                    <a:pt x="1007507" y="3738977"/>
                  </a:moveTo>
                  <a:cubicBezTo>
                    <a:pt x="983362" y="3738977"/>
                    <a:pt x="963607" y="3719222"/>
                    <a:pt x="963607" y="3695076"/>
                  </a:cubicBezTo>
                  <a:cubicBezTo>
                    <a:pt x="963607" y="3670931"/>
                    <a:pt x="983362" y="3651176"/>
                    <a:pt x="1007507" y="3651176"/>
                  </a:cubicBezTo>
                  <a:cubicBezTo>
                    <a:pt x="1031652" y="3651176"/>
                    <a:pt x="1051407" y="3670931"/>
                    <a:pt x="1051407" y="3695076"/>
                  </a:cubicBezTo>
                  <a:cubicBezTo>
                    <a:pt x="1051407" y="3719222"/>
                    <a:pt x="1031652" y="3738977"/>
                    <a:pt x="1007507" y="3738977"/>
                  </a:cubicBezTo>
                  <a:close/>
                  <a:moveTo>
                    <a:pt x="1514553" y="3743367"/>
                  </a:moveTo>
                  <a:cubicBezTo>
                    <a:pt x="1488214" y="3743367"/>
                    <a:pt x="1468458" y="3721416"/>
                    <a:pt x="1468458" y="3697271"/>
                  </a:cubicBezTo>
                  <a:cubicBezTo>
                    <a:pt x="1468458" y="3670931"/>
                    <a:pt x="1488214" y="3651176"/>
                    <a:pt x="1514553" y="3651176"/>
                  </a:cubicBezTo>
                  <a:cubicBezTo>
                    <a:pt x="1540893" y="3651176"/>
                    <a:pt x="1560648" y="3670931"/>
                    <a:pt x="1560648" y="3697271"/>
                  </a:cubicBezTo>
                  <a:cubicBezTo>
                    <a:pt x="1560648" y="3723612"/>
                    <a:pt x="1540893" y="3743367"/>
                    <a:pt x="1514553" y="3743367"/>
                  </a:cubicBezTo>
                  <a:close/>
                  <a:moveTo>
                    <a:pt x="1257738" y="3749951"/>
                  </a:moveTo>
                  <a:cubicBezTo>
                    <a:pt x="1231398" y="3749951"/>
                    <a:pt x="1209448" y="3728002"/>
                    <a:pt x="1209448" y="3701661"/>
                  </a:cubicBezTo>
                  <a:cubicBezTo>
                    <a:pt x="1209448" y="3675321"/>
                    <a:pt x="1231398" y="3653371"/>
                    <a:pt x="1257738" y="3653371"/>
                  </a:cubicBezTo>
                  <a:cubicBezTo>
                    <a:pt x="1284078" y="3653371"/>
                    <a:pt x="1306028" y="3675321"/>
                    <a:pt x="1306028" y="3701661"/>
                  </a:cubicBezTo>
                  <a:cubicBezTo>
                    <a:pt x="1306028" y="3728002"/>
                    <a:pt x="1284078" y="3749951"/>
                    <a:pt x="1257738" y="3749951"/>
                  </a:cubicBezTo>
                  <a:close/>
                  <a:moveTo>
                    <a:pt x="2309145" y="3771902"/>
                  </a:moveTo>
                  <a:cubicBezTo>
                    <a:pt x="2282805" y="3771902"/>
                    <a:pt x="2263051" y="3752147"/>
                    <a:pt x="2263051" y="3725806"/>
                  </a:cubicBezTo>
                  <a:cubicBezTo>
                    <a:pt x="2263051" y="3699466"/>
                    <a:pt x="2282805" y="3679711"/>
                    <a:pt x="2309145" y="3679711"/>
                  </a:cubicBezTo>
                  <a:cubicBezTo>
                    <a:pt x="2335485" y="3679711"/>
                    <a:pt x="2355239" y="3699466"/>
                    <a:pt x="2355239" y="3725806"/>
                  </a:cubicBezTo>
                  <a:cubicBezTo>
                    <a:pt x="2355239" y="3752147"/>
                    <a:pt x="2335485" y="3771902"/>
                    <a:pt x="2309145" y="3771902"/>
                  </a:cubicBezTo>
                  <a:close/>
                  <a:moveTo>
                    <a:pt x="1900874" y="3782876"/>
                  </a:moveTo>
                  <a:cubicBezTo>
                    <a:pt x="1874534" y="3782876"/>
                    <a:pt x="1852584" y="3760927"/>
                    <a:pt x="1852584" y="3734586"/>
                  </a:cubicBezTo>
                  <a:cubicBezTo>
                    <a:pt x="1852584" y="3708246"/>
                    <a:pt x="1874534" y="3686297"/>
                    <a:pt x="1900874" y="3686297"/>
                  </a:cubicBezTo>
                  <a:cubicBezTo>
                    <a:pt x="1927215" y="3686297"/>
                    <a:pt x="1949164" y="3708246"/>
                    <a:pt x="1949164" y="3734586"/>
                  </a:cubicBezTo>
                  <a:cubicBezTo>
                    <a:pt x="1949164" y="3760927"/>
                    <a:pt x="1927215" y="3782876"/>
                    <a:pt x="1900874" y="3782876"/>
                  </a:cubicBezTo>
                  <a:close/>
                  <a:moveTo>
                    <a:pt x="864832" y="3798242"/>
                  </a:moveTo>
                  <a:cubicBezTo>
                    <a:pt x="847272" y="3798242"/>
                    <a:pt x="834102" y="3785072"/>
                    <a:pt x="834102" y="3767511"/>
                  </a:cubicBezTo>
                  <a:cubicBezTo>
                    <a:pt x="834102" y="3749951"/>
                    <a:pt x="847272" y="3736781"/>
                    <a:pt x="864832" y="3736781"/>
                  </a:cubicBezTo>
                  <a:cubicBezTo>
                    <a:pt x="882393" y="3736781"/>
                    <a:pt x="895563" y="3749951"/>
                    <a:pt x="895563" y="3767511"/>
                  </a:cubicBezTo>
                  <a:cubicBezTo>
                    <a:pt x="895563" y="3785072"/>
                    <a:pt x="882393" y="3798242"/>
                    <a:pt x="864832" y="3798242"/>
                  </a:cubicBezTo>
                  <a:close/>
                  <a:moveTo>
                    <a:pt x="2436456" y="3800437"/>
                  </a:moveTo>
                  <a:cubicBezTo>
                    <a:pt x="2414506" y="3800437"/>
                    <a:pt x="2396945" y="3782876"/>
                    <a:pt x="2394751" y="3758731"/>
                  </a:cubicBezTo>
                  <a:cubicBezTo>
                    <a:pt x="2394751" y="3734586"/>
                    <a:pt x="2414506" y="3717026"/>
                    <a:pt x="2436456" y="3717026"/>
                  </a:cubicBezTo>
                  <a:cubicBezTo>
                    <a:pt x="2460600" y="3717026"/>
                    <a:pt x="2478160" y="3736781"/>
                    <a:pt x="2478160" y="3758731"/>
                  </a:cubicBezTo>
                  <a:cubicBezTo>
                    <a:pt x="2478160" y="3782876"/>
                    <a:pt x="2458405" y="3800437"/>
                    <a:pt x="2436456" y="3800437"/>
                  </a:cubicBezTo>
                  <a:close/>
                  <a:moveTo>
                    <a:pt x="1628694" y="3811412"/>
                  </a:moveTo>
                  <a:cubicBezTo>
                    <a:pt x="1602354" y="3811412"/>
                    <a:pt x="1580404" y="3789462"/>
                    <a:pt x="1580404" y="3763121"/>
                  </a:cubicBezTo>
                  <a:cubicBezTo>
                    <a:pt x="1580404" y="3736781"/>
                    <a:pt x="1602354" y="3714832"/>
                    <a:pt x="1628694" y="3714832"/>
                  </a:cubicBezTo>
                  <a:cubicBezTo>
                    <a:pt x="1655034" y="3714832"/>
                    <a:pt x="1676984" y="3736781"/>
                    <a:pt x="1676984" y="3763121"/>
                  </a:cubicBezTo>
                  <a:cubicBezTo>
                    <a:pt x="1676984" y="3789462"/>
                    <a:pt x="1655034" y="3811412"/>
                    <a:pt x="1628694" y="3811412"/>
                  </a:cubicBezTo>
                  <a:close/>
                  <a:moveTo>
                    <a:pt x="2568156" y="3822387"/>
                  </a:moveTo>
                  <a:cubicBezTo>
                    <a:pt x="2546205" y="3822387"/>
                    <a:pt x="2530840" y="3807022"/>
                    <a:pt x="2530840" y="3785072"/>
                  </a:cubicBezTo>
                  <a:cubicBezTo>
                    <a:pt x="2530840" y="3765317"/>
                    <a:pt x="2548400" y="3747757"/>
                    <a:pt x="2568156" y="3747757"/>
                  </a:cubicBezTo>
                  <a:cubicBezTo>
                    <a:pt x="2587910" y="3747757"/>
                    <a:pt x="2605470" y="3765317"/>
                    <a:pt x="2605470" y="3785072"/>
                  </a:cubicBezTo>
                  <a:cubicBezTo>
                    <a:pt x="2605470" y="3804827"/>
                    <a:pt x="2587910" y="3822387"/>
                    <a:pt x="2568156" y="3822387"/>
                  </a:cubicBezTo>
                  <a:close/>
                  <a:moveTo>
                    <a:pt x="1365293" y="3824582"/>
                  </a:moveTo>
                  <a:cubicBezTo>
                    <a:pt x="1341148" y="3824582"/>
                    <a:pt x="1319198" y="3802632"/>
                    <a:pt x="1319198" y="3778487"/>
                  </a:cubicBezTo>
                  <a:cubicBezTo>
                    <a:pt x="1319198" y="3752147"/>
                    <a:pt x="1338953" y="3732392"/>
                    <a:pt x="1365293" y="3732392"/>
                  </a:cubicBezTo>
                  <a:cubicBezTo>
                    <a:pt x="1391633" y="3732392"/>
                    <a:pt x="1411388" y="3752147"/>
                    <a:pt x="1411388" y="3778487"/>
                  </a:cubicBezTo>
                  <a:cubicBezTo>
                    <a:pt x="1411388" y="3804827"/>
                    <a:pt x="1391633" y="3824582"/>
                    <a:pt x="1365293" y="3824582"/>
                  </a:cubicBezTo>
                  <a:close/>
                  <a:moveTo>
                    <a:pt x="1110672" y="3828971"/>
                  </a:moveTo>
                  <a:cubicBezTo>
                    <a:pt x="1082137" y="3828971"/>
                    <a:pt x="1060187" y="3807022"/>
                    <a:pt x="1057992" y="3776292"/>
                  </a:cubicBezTo>
                  <a:cubicBezTo>
                    <a:pt x="1057992" y="3747757"/>
                    <a:pt x="1082137" y="3723612"/>
                    <a:pt x="1110672" y="3723612"/>
                  </a:cubicBezTo>
                  <a:cubicBezTo>
                    <a:pt x="1139207" y="3723612"/>
                    <a:pt x="1163353" y="3747757"/>
                    <a:pt x="1163353" y="3776292"/>
                  </a:cubicBezTo>
                  <a:cubicBezTo>
                    <a:pt x="1163353" y="3804827"/>
                    <a:pt x="1139207" y="3828971"/>
                    <a:pt x="1110672" y="3828971"/>
                  </a:cubicBezTo>
                  <a:close/>
                  <a:moveTo>
                    <a:pt x="2023795" y="3833362"/>
                  </a:moveTo>
                  <a:cubicBezTo>
                    <a:pt x="1997455" y="3833362"/>
                    <a:pt x="1977700" y="3813606"/>
                    <a:pt x="1977700" y="3787266"/>
                  </a:cubicBezTo>
                  <a:cubicBezTo>
                    <a:pt x="1977700" y="3763121"/>
                    <a:pt x="1999649" y="3741171"/>
                    <a:pt x="2023795" y="3741171"/>
                  </a:cubicBezTo>
                  <a:cubicBezTo>
                    <a:pt x="2047940" y="3741171"/>
                    <a:pt x="2069890" y="3760927"/>
                    <a:pt x="2069890" y="3787266"/>
                  </a:cubicBezTo>
                  <a:cubicBezTo>
                    <a:pt x="2069890" y="3811412"/>
                    <a:pt x="2050134" y="3833362"/>
                    <a:pt x="2023795" y="3833362"/>
                  </a:cubicBezTo>
                  <a:close/>
                  <a:moveTo>
                    <a:pt x="1747224" y="3872872"/>
                  </a:moveTo>
                  <a:cubicBezTo>
                    <a:pt x="1720883" y="3872872"/>
                    <a:pt x="1698933" y="3850922"/>
                    <a:pt x="1698933" y="3824582"/>
                  </a:cubicBezTo>
                  <a:cubicBezTo>
                    <a:pt x="1698933" y="3798242"/>
                    <a:pt x="1720883" y="3776292"/>
                    <a:pt x="1747224" y="3776292"/>
                  </a:cubicBezTo>
                  <a:cubicBezTo>
                    <a:pt x="1773564" y="3776292"/>
                    <a:pt x="1795514" y="3798242"/>
                    <a:pt x="1795514" y="3824582"/>
                  </a:cubicBezTo>
                  <a:cubicBezTo>
                    <a:pt x="1795514" y="3850922"/>
                    <a:pt x="1773564" y="3872872"/>
                    <a:pt x="1747224" y="3872872"/>
                  </a:cubicBezTo>
                  <a:close/>
                  <a:moveTo>
                    <a:pt x="965802" y="3879457"/>
                  </a:moveTo>
                  <a:cubicBezTo>
                    <a:pt x="952632" y="3879457"/>
                    <a:pt x="939462" y="3866287"/>
                    <a:pt x="939462" y="3853117"/>
                  </a:cubicBezTo>
                  <a:cubicBezTo>
                    <a:pt x="939462" y="3837752"/>
                    <a:pt x="950437" y="3826777"/>
                    <a:pt x="965802" y="3826777"/>
                  </a:cubicBezTo>
                  <a:cubicBezTo>
                    <a:pt x="981167" y="3826777"/>
                    <a:pt x="992142" y="3837752"/>
                    <a:pt x="992142" y="3853117"/>
                  </a:cubicBezTo>
                  <a:cubicBezTo>
                    <a:pt x="992142" y="3868482"/>
                    <a:pt x="981167" y="3879457"/>
                    <a:pt x="965802" y="3879457"/>
                  </a:cubicBezTo>
                  <a:close/>
                  <a:moveTo>
                    <a:pt x="2148910" y="3879457"/>
                  </a:moveTo>
                  <a:cubicBezTo>
                    <a:pt x="2122570" y="3879457"/>
                    <a:pt x="2100620" y="3857507"/>
                    <a:pt x="2102815" y="3833362"/>
                  </a:cubicBezTo>
                  <a:cubicBezTo>
                    <a:pt x="2102815" y="3809217"/>
                    <a:pt x="2122570" y="3787266"/>
                    <a:pt x="2148910" y="3787266"/>
                  </a:cubicBezTo>
                  <a:cubicBezTo>
                    <a:pt x="2173054" y="3787266"/>
                    <a:pt x="2195006" y="3807022"/>
                    <a:pt x="2195006" y="3833362"/>
                  </a:cubicBezTo>
                  <a:cubicBezTo>
                    <a:pt x="2195006" y="3857507"/>
                    <a:pt x="2175250" y="3879457"/>
                    <a:pt x="2148910" y="3879457"/>
                  </a:cubicBezTo>
                  <a:close/>
                  <a:moveTo>
                    <a:pt x="1479433" y="3890431"/>
                  </a:moveTo>
                  <a:cubicBezTo>
                    <a:pt x="1455288" y="3890431"/>
                    <a:pt x="1435533" y="3870677"/>
                    <a:pt x="1435533" y="3846531"/>
                  </a:cubicBezTo>
                  <a:cubicBezTo>
                    <a:pt x="1435533" y="3822386"/>
                    <a:pt x="1455288" y="3802631"/>
                    <a:pt x="1479433" y="3802631"/>
                  </a:cubicBezTo>
                  <a:cubicBezTo>
                    <a:pt x="1503578" y="3802631"/>
                    <a:pt x="1523333" y="3822386"/>
                    <a:pt x="1523333" y="3846531"/>
                  </a:cubicBezTo>
                  <a:cubicBezTo>
                    <a:pt x="1523333" y="3870677"/>
                    <a:pt x="1503578" y="3890431"/>
                    <a:pt x="1479433" y="3890431"/>
                  </a:cubicBezTo>
                  <a:close/>
                  <a:moveTo>
                    <a:pt x="1106195" y="3905171"/>
                  </a:moveTo>
                  <a:lnTo>
                    <a:pt x="1034905" y="3905171"/>
                  </a:lnTo>
                  <a:lnTo>
                    <a:pt x="1039060" y="3899211"/>
                  </a:lnTo>
                  <a:cubicBezTo>
                    <a:pt x="1047566" y="3890980"/>
                    <a:pt x="1059090" y="3886041"/>
                    <a:pt x="1071162" y="3886041"/>
                  </a:cubicBezTo>
                  <a:cubicBezTo>
                    <a:pt x="1084332" y="3886041"/>
                    <a:pt x="1095856" y="3891529"/>
                    <a:pt x="1104087" y="3900035"/>
                  </a:cubicBezTo>
                  <a:close/>
                  <a:moveTo>
                    <a:pt x="1225200" y="3905171"/>
                  </a:moveTo>
                  <a:lnTo>
                    <a:pt x="1211629" y="3905171"/>
                  </a:lnTo>
                  <a:lnTo>
                    <a:pt x="1182285" y="3892627"/>
                  </a:lnTo>
                  <a:cubicBezTo>
                    <a:pt x="1173230" y="3883298"/>
                    <a:pt x="1167743" y="3870677"/>
                    <a:pt x="1167743" y="3857506"/>
                  </a:cubicBezTo>
                  <a:cubicBezTo>
                    <a:pt x="1167743" y="3828971"/>
                    <a:pt x="1189693" y="3807022"/>
                    <a:pt x="1218228" y="3807022"/>
                  </a:cubicBezTo>
                  <a:cubicBezTo>
                    <a:pt x="1246763" y="3807022"/>
                    <a:pt x="1268713" y="3828971"/>
                    <a:pt x="1268713" y="3857506"/>
                  </a:cubicBezTo>
                  <a:cubicBezTo>
                    <a:pt x="1268713" y="3871774"/>
                    <a:pt x="1263226" y="3884395"/>
                    <a:pt x="1254171" y="3893450"/>
                  </a:cubicBezTo>
                  <a:close/>
                  <a:moveTo>
                    <a:pt x="1371361" y="3905171"/>
                  </a:moveTo>
                  <a:lnTo>
                    <a:pt x="1284594" y="3905171"/>
                  </a:lnTo>
                  <a:lnTo>
                    <a:pt x="1292034" y="3893998"/>
                  </a:lnTo>
                  <a:cubicBezTo>
                    <a:pt x="1301088" y="3884944"/>
                    <a:pt x="1313710" y="3879456"/>
                    <a:pt x="1327977" y="3879456"/>
                  </a:cubicBezTo>
                  <a:cubicBezTo>
                    <a:pt x="1342245" y="3879456"/>
                    <a:pt x="1354866" y="3884944"/>
                    <a:pt x="1363920" y="3893998"/>
                  </a:cubicBezTo>
                  <a:close/>
                  <a:moveTo>
                    <a:pt x="1634475" y="3905171"/>
                  </a:moveTo>
                  <a:lnTo>
                    <a:pt x="1552672" y="3905171"/>
                  </a:lnTo>
                  <a:lnTo>
                    <a:pt x="1562569" y="3881377"/>
                  </a:lnTo>
                  <a:cubicBezTo>
                    <a:pt x="1570526" y="3873420"/>
                    <a:pt x="1581501" y="3868481"/>
                    <a:pt x="1593574" y="3868481"/>
                  </a:cubicBezTo>
                  <a:cubicBezTo>
                    <a:pt x="1605646" y="3868481"/>
                    <a:pt x="1616621" y="3873420"/>
                    <a:pt x="1624578" y="3881377"/>
                  </a:cubicBezTo>
                  <a:close/>
                  <a:moveTo>
                    <a:pt x="1909099" y="3905171"/>
                  </a:moveTo>
                  <a:lnTo>
                    <a:pt x="1824848" y="3905171"/>
                  </a:lnTo>
                  <a:lnTo>
                    <a:pt x="1822266" y="3901235"/>
                  </a:lnTo>
                  <a:cubicBezTo>
                    <a:pt x="1820071" y="3895371"/>
                    <a:pt x="1819111" y="3888786"/>
                    <a:pt x="1819659" y="3881652"/>
                  </a:cubicBezTo>
                  <a:cubicBezTo>
                    <a:pt x="1819659" y="3855312"/>
                    <a:pt x="1841609" y="3833362"/>
                    <a:pt x="1867949" y="3833362"/>
                  </a:cubicBezTo>
                  <a:cubicBezTo>
                    <a:pt x="1894289" y="3833362"/>
                    <a:pt x="1916239" y="3855312"/>
                    <a:pt x="1916239" y="3881652"/>
                  </a:cubicBezTo>
                  <a:cubicBezTo>
                    <a:pt x="1916239" y="3888237"/>
                    <a:pt x="1914867" y="3894548"/>
                    <a:pt x="1912398" y="3900310"/>
                  </a:cubicBezTo>
                  <a:close/>
                  <a:moveTo>
                    <a:pt x="2029680" y="3905171"/>
                  </a:moveTo>
                  <a:lnTo>
                    <a:pt x="1952059" y="3905171"/>
                  </a:lnTo>
                  <a:lnTo>
                    <a:pt x="1956847" y="3898115"/>
                  </a:lnTo>
                  <a:cubicBezTo>
                    <a:pt x="1965627" y="3889335"/>
                    <a:pt x="1977699" y="3883847"/>
                    <a:pt x="1990869" y="3883847"/>
                  </a:cubicBezTo>
                  <a:cubicBezTo>
                    <a:pt x="2004040" y="3883847"/>
                    <a:pt x="2016112" y="3889335"/>
                    <a:pt x="2024892" y="3898115"/>
                  </a:cubicBezTo>
                  <a:close/>
                  <a:moveTo>
                    <a:pt x="2304497" y="3905171"/>
                  </a:moveTo>
                  <a:lnTo>
                    <a:pt x="2247217" y="3905171"/>
                  </a:lnTo>
                  <a:lnTo>
                    <a:pt x="2243294" y="3903602"/>
                  </a:lnTo>
                  <a:cubicBezTo>
                    <a:pt x="2235063" y="3895370"/>
                    <a:pt x="2230124" y="3883847"/>
                    <a:pt x="2230124" y="3870677"/>
                  </a:cubicBezTo>
                  <a:cubicBezTo>
                    <a:pt x="2230124" y="3844336"/>
                    <a:pt x="2252075" y="3824581"/>
                    <a:pt x="2276219" y="3824581"/>
                  </a:cubicBezTo>
                  <a:cubicBezTo>
                    <a:pt x="2302559" y="3824581"/>
                    <a:pt x="2322315" y="3846531"/>
                    <a:pt x="2322315" y="3870677"/>
                  </a:cubicBezTo>
                  <a:cubicBezTo>
                    <a:pt x="2322315" y="3883847"/>
                    <a:pt x="2316828" y="3895370"/>
                    <a:pt x="2308322" y="3903602"/>
                  </a:cubicBezTo>
                  <a:close/>
                  <a:moveTo>
                    <a:pt x="2448998" y="3905171"/>
                  </a:moveTo>
                  <a:lnTo>
                    <a:pt x="2357761" y="3905171"/>
                  </a:lnTo>
                  <a:lnTo>
                    <a:pt x="2357435" y="3903602"/>
                  </a:lnTo>
                  <a:cubicBezTo>
                    <a:pt x="2357435" y="3877261"/>
                    <a:pt x="2377191" y="3857506"/>
                    <a:pt x="2403531" y="3857506"/>
                  </a:cubicBezTo>
                  <a:cubicBezTo>
                    <a:pt x="2429871" y="3857506"/>
                    <a:pt x="2449625" y="3877261"/>
                    <a:pt x="2449625" y="3903602"/>
                  </a:cubicBezTo>
                  <a:close/>
                  <a:moveTo>
                    <a:pt x="2565556" y="3905171"/>
                  </a:moveTo>
                  <a:lnTo>
                    <a:pt x="2504463" y="3905171"/>
                  </a:lnTo>
                  <a:lnTo>
                    <a:pt x="2505322" y="3903053"/>
                  </a:lnTo>
                  <a:cubicBezTo>
                    <a:pt x="2512731" y="3895370"/>
                    <a:pt x="2523157" y="3890431"/>
                    <a:pt x="2535230" y="3890431"/>
                  </a:cubicBezTo>
                  <a:cubicBezTo>
                    <a:pt x="2546205" y="3890431"/>
                    <a:pt x="2556632" y="3894821"/>
                    <a:pt x="2564315" y="3902230"/>
                  </a:cubicBezTo>
                  <a:close/>
                </a:path>
              </a:pathLst>
            </a:custGeom>
            <a:gradFill>
              <a:gsLst>
                <a:gs pos="0">
                  <a:schemeClr val="accent3">
                    <a:alpha val="0"/>
                  </a:schemeClr>
                </a:gs>
                <a:gs pos="93000">
                  <a:schemeClr val="accent1">
                    <a:lumMod val="75000"/>
                    <a:alpha val="17000"/>
                  </a:schemeClr>
                </a:gs>
              </a:gsLst>
              <a:lin ang="10800000" scaled="1"/>
            </a:gradFill>
            <a:ln w="31528" cap="flat">
              <a:noFill/>
              <a:prstDash val="solid"/>
              <a:miter/>
            </a:ln>
          </p:spPr>
          <p:txBody>
            <a:bodyPr rtlCol="0" anchor="ctr"/>
            <a:lstStyle/>
            <a:p>
              <a:endParaRPr lang="en-US" sz="1765"/>
            </a:p>
          </p:txBody>
        </p:sp>
        <p:sp>
          <p:nvSpPr>
            <p:cNvPr id="1161" name="Freeform: Shape 1160">
              <a:extLst>
                <a:ext uri="{FF2B5EF4-FFF2-40B4-BE49-F238E27FC236}">
                  <a16:creationId xmlns:a16="http://schemas.microsoft.com/office/drawing/2014/main" id="{86A9387A-2498-4DAB-8325-F95C0784F33B}"/>
                </a:ext>
                <a:ext uri="{C183D7F6-B498-43B3-948B-1728B52AA6E4}">
                  <adec:decorative xmlns:adec="http://schemas.microsoft.com/office/drawing/2017/decorative" val="1"/>
                </a:ext>
              </a:extLst>
            </p:cNvPr>
            <p:cNvSpPr/>
            <p:nvPr/>
          </p:nvSpPr>
          <p:spPr>
            <a:xfrm>
              <a:off x="8930686" y="1582126"/>
              <a:ext cx="2957919" cy="5314092"/>
            </a:xfrm>
            <a:custGeom>
              <a:avLst/>
              <a:gdLst>
                <a:gd name="connsiteX0" fmla="*/ 3030947 w 4016827"/>
                <a:gd name="connsiteY0" fmla="*/ 7203063 h 7216489"/>
                <a:gd name="connsiteX1" fmla="*/ 3037660 w 4016827"/>
                <a:gd name="connsiteY1" fmla="*/ 7209776 h 7216489"/>
                <a:gd name="connsiteX2" fmla="*/ 3030947 w 4016827"/>
                <a:gd name="connsiteY2" fmla="*/ 7216489 h 7216489"/>
                <a:gd name="connsiteX3" fmla="*/ 3024234 w 4016827"/>
                <a:gd name="connsiteY3" fmla="*/ 7209776 h 7216489"/>
                <a:gd name="connsiteX4" fmla="*/ 3030947 w 4016827"/>
                <a:gd name="connsiteY4" fmla="*/ 7203063 h 7216489"/>
                <a:gd name="connsiteX5" fmla="*/ 3873436 w 4016827"/>
                <a:gd name="connsiteY5" fmla="*/ 7149359 h 7216489"/>
                <a:gd name="connsiteX6" fmla="*/ 3893574 w 4016827"/>
                <a:gd name="connsiteY6" fmla="*/ 7169498 h 7216489"/>
                <a:gd name="connsiteX7" fmla="*/ 3873436 w 4016827"/>
                <a:gd name="connsiteY7" fmla="*/ 7189637 h 7216489"/>
                <a:gd name="connsiteX8" fmla="*/ 3853295 w 4016827"/>
                <a:gd name="connsiteY8" fmla="*/ 7169498 h 7216489"/>
                <a:gd name="connsiteX9" fmla="*/ 3873436 w 4016827"/>
                <a:gd name="connsiteY9" fmla="*/ 7149359 h 7216489"/>
                <a:gd name="connsiteX10" fmla="*/ 2839624 w 4016827"/>
                <a:gd name="connsiteY10" fmla="*/ 7142646 h 7216489"/>
                <a:gd name="connsiteX11" fmla="*/ 2839624 w 4016827"/>
                <a:gd name="connsiteY11" fmla="*/ 7146002 h 7216489"/>
                <a:gd name="connsiteX12" fmla="*/ 2839624 w 4016827"/>
                <a:gd name="connsiteY12" fmla="*/ 7142646 h 7216489"/>
                <a:gd name="connsiteX13" fmla="*/ 3675402 w 4016827"/>
                <a:gd name="connsiteY13" fmla="*/ 7109080 h 7216489"/>
                <a:gd name="connsiteX14" fmla="*/ 3702254 w 4016827"/>
                <a:gd name="connsiteY14" fmla="*/ 7135933 h 7216489"/>
                <a:gd name="connsiteX15" fmla="*/ 3675402 w 4016827"/>
                <a:gd name="connsiteY15" fmla="*/ 7162785 h 7216489"/>
                <a:gd name="connsiteX16" fmla="*/ 3648550 w 4016827"/>
                <a:gd name="connsiteY16" fmla="*/ 7135933 h 7216489"/>
                <a:gd name="connsiteX17" fmla="*/ 3675402 w 4016827"/>
                <a:gd name="connsiteY17" fmla="*/ 7109080 h 7216489"/>
                <a:gd name="connsiteX18" fmla="*/ 3474010 w 4016827"/>
                <a:gd name="connsiteY18" fmla="*/ 7055376 h 7216489"/>
                <a:gd name="connsiteX19" fmla="*/ 3510931 w 4016827"/>
                <a:gd name="connsiteY19" fmla="*/ 7092298 h 7216489"/>
                <a:gd name="connsiteX20" fmla="*/ 3474010 w 4016827"/>
                <a:gd name="connsiteY20" fmla="*/ 7129220 h 7216489"/>
                <a:gd name="connsiteX21" fmla="*/ 3437087 w 4016827"/>
                <a:gd name="connsiteY21" fmla="*/ 7092298 h 7216489"/>
                <a:gd name="connsiteX22" fmla="*/ 3474010 w 4016827"/>
                <a:gd name="connsiteY22" fmla="*/ 7055376 h 7216489"/>
                <a:gd name="connsiteX23" fmla="*/ 3279328 w 4016827"/>
                <a:gd name="connsiteY23" fmla="*/ 7021810 h 7216489"/>
                <a:gd name="connsiteX24" fmla="*/ 3302826 w 4016827"/>
                <a:gd name="connsiteY24" fmla="*/ 7045306 h 7216489"/>
                <a:gd name="connsiteX25" fmla="*/ 3279328 w 4016827"/>
                <a:gd name="connsiteY25" fmla="*/ 7068802 h 7216489"/>
                <a:gd name="connsiteX26" fmla="*/ 3255834 w 4016827"/>
                <a:gd name="connsiteY26" fmla="*/ 7045306 h 7216489"/>
                <a:gd name="connsiteX27" fmla="*/ 3279328 w 4016827"/>
                <a:gd name="connsiteY27" fmla="*/ 7021810 h 7216489"/>
                <a:gd name="connsiteX28" fmla="*/ 2463694 w 4016827"/>
                <a:gd name="connsiteY28" fmla="*/ 6984888 h 7216489"/>
                <a:gd name="connsiteX29" fmla="*/ 2470406 w 4016827"/>
                <a:gd name="connsiteY29" fmla="*/ 6991602 h 7216489"/>
                <a:gd name="connsiteX30" fmla="*/ 2463694 w 4016827"/>
                <a:gd name="connsiteY30" fmla="*/ 6998315 h 7216489"/>
                <a:gd name="connsiteX31" fmla="*/ 2456980 w 4016827"/>
                <a:gd name="connsiteY31" fmla="*/ 6991602 h 7216489"/>
                <a:gd name="connsiteX32" fmla="*/ 2463694 w 4016827"/>
                <a:gd name="connsiteY32" fmla="*/ 6984888 h 7216489"/>
                <a:gd name="connsiteX33" fmla="*/ 3081295 w 4016827"/>
                <a:gd name="connsiteY33" fmla="*/ 6911045 h 7216489"/>
                <a:gd name="connsiteX34" fmla="*/ 3158496 w 4016827"/>
                <a:gd name="connsiteY34" fmla="*/ 6988245 h 7216489"/>
                <a:gd name="connsiteX35" fmla="*/ 3081295 w 4016827"/>
                <a:gd name="connsiteY35" fmla="*/ 7065445 h 7216489"/>
                <a:gd name="connsiteX36" fmla="*/ 3004095 w 4016827"/>
                <a:gd name="connsiteY36" fmla="*/ 6988245 h 7216489"/>
                <a:gd name="connsiteX37" fmla="*/ 3081295 w 4016827"/>
                <a:gd name="connsiteY37" fmla="*/ 6911045 h 7216489"/>
                <a:gd name="connsiteX38" fmla="*/ 2279084 w 4016827"/>
                <a:gd name="connsiteY38" fmla="*/ 6897619 h 7216489"/>
                <a:gd name="connsiteX39" fmla="*/ 2285797 w 4016827"/>
                <a:gd name="connsiteY39" fmla="*/ 6904332 h 7216489"/>
                <a:gd name="connsiteX40" fmla="*/ 2279084 w 4016827"/>
                <a:gd name="connsiteY40" fmla="*/ 6911045 h 7216489"/>
                <a:gd name="connsiteX41" fmla="*/ 2272371 w 4016827"/>
                <a:gd name="connsiteY41" fmla="*/ 6904332 h 7216489"/>
                <a:gd name="connsiteX42" fmla="*/ 2279084 w 4016827"/>
                <a:gd name="connsiteY42" fmla="*/ 6897619 h 7216489"/>
                <a:gd name="connsiteX43" fmla="*/ 3923784 w 4016827"/>
                <a:gd name="connsiteY43" fmla="*/ 6877479 h 7216489"/>
                <a:gd name="connsiteX44" fmla="*/ 3994272 w 4016827"/>
                <a:gd name="connsiteY44" fmla="*/ 6947967 h 7216489"/>
                <a:gd name="connsiteX45" fmla="*/ 3923784 w 4016827"/>
                <a:gd name="connsiteY45" fmla="*/ 7018454 h 7216489"/>
                <a:gd name="connsiteX46" fmla="*/ 3853295 w 4016827"/>
                <a:gd name="connsiteY46" fmla="*/ 6947967 h 7216489"/>
                <a:gd name="connsiteX47" fmla="*/ 3923784 w 4016827"/>
                <a:gd name="connsiteY47" fmla="*/ 6877479 h 7216489"/>
                <a:gd name="connsiteX48" fmla="*/ 2889972 w 4016827"/>
                <a:gd name="connsiteY48" fmla="*/ 6860697 h 7216489"/>
                <a:gd name="connsiteX49" fmla="*/ 2950390 w 4016827"/>
                <a:gd name="connsiteY49" fmla="*/ 6921114 h 7216489"/>
                <a:gd name="connsiteX50" fmla="*/ 2889972 w 4016827"/>
                <a:gd name="connsiteY50" fmla="*/ 6981532 h 7216489"/>
                <a:gd name="connsiteX51" fmla="*/ 2829555 w 4016827"/>
                <a:gd name="connsiteY51" fmla="*/ 6921114 h 7216489"/>
                <a:gd name="connsiteX52" fmla="*/ 2889972 w 4016827"/>
                <a:gd name="connsiteY52" fmla="*/ 6860697 h 7216489"/>
                <a:gd name="connsiteX53" fmla="*/ 3725749 w 4016827"/>
                <a:gd name="connsiteY53" fmla="*/ 6840557 h 7216489"/>
                <a:gd name="connsiteX54" fmla="*/ 3796237 w 4016827"/>
                <a:gd name="connsiteY54" fmla="*/ 6911045 h 7216489"/>
                <a:gd name="connsiteX55" fmla="*/ 3725749 w 4016827"/>
                <a:gd name="connsiteY55" fmla="*/ 6981532 h 7216489"/>
                <a:gd name="connsiteX56" fmla="*/ 3655261 w 4016827"/>
                <a:gd name="connsiteY56" fmla="*/ 6911045 h 7216489"/>
                <a:gd name="connsiteX57" fmla="*/ 3725749 w 4016827"/>
                <a:gd name="connsiteY57" fmla="*/ 6840557 h 7216489"/>
                <a:gd name="connsiteX58" fmla="*/ 2702006 w 4016827"/>
                <a:gd name="connsiteY58" fmla="*/ 6817062 h 7216489"/>
                <a:gd name="connsiteX59" fmla="*/ 2732215 w 4016827"/>
                <a:gd name="connsiteY59" fmla="*/ 6847271 h 7216489"/>
                <a:gd name="connsiteX60" fmla="*/ 2702006 w 4016827"/>
                <a:gd name="connsiteY60" fmla="*/ 6877479 h 7216489"/>
                <a:gd name="connsiteX61" fmla="*/ 2671798 w 4016827"/>
                <a:gd name="connsiteY61" fmla="*/ 6847271 h 7216489"/>
                <a:gd name="connsiteX62" fmla="*/ 2702006 w 4016827"/>
                <a:gd name="connsiteY62" fmla="*/ 6817062 h 7216489"/>
                <a:gd name="connsiteX63" fmla="*/ 3524357 w 4016827"/>
                <a:gd name="connsiteY63" fmla="*/ 6793566 h 7216489"/>
                <a:gd name="connsiteX64" fmla="*/ 3601556 w 4016827"/>
                <a:gd name="connsiteY64" fmla="*/ 6870766 h 7216489"/>
                <a:gd name="connsiteX65" fmla="*/ 3524357 w 4016827"/>
                <a:gd name="connsiteY65" fmla="*/ 6947967 h 7216489"/>
                <a:gd name="connsiteX66" fmla="*/ 3447158 w 4016827"/>
                <a:gd name="connsiteY66" fmla="*/ 6870766 h 7216489"/>
                <a:gd name="connsiteX67" fmla="*/ 3524357 w 4016827"/>
                <a:gd name="connsiteY67" fmla="*/ 6793566 h 7216489"/>
                <a:gd name="connsiteX68" fmla="*/ 3329678 w 4016827"/>
                <a:gd name="connsiteY68" fmla="*/ 6743218 h 7216489"/>
                <a:gd name="connsiteX69" fmla="*/ 3406879 w 4016827"/>
                <a:gd name="connsiteY69" fmla="*/ 6820418 h 7216489"/>
                <a:gd name="connsiteX70" fmla="*/ 3329678 w 4016827"/>
                <a:gd name="connsiteY70" fmla="*/ 6897619 h 7216489"/>
                <a:gd name="connsiteX71" fmla="*/ 3252476 w 4016827"/>
                <a:gd name="connsiteY71" fmla="*/ 6820418 h 7216489"/>
                <a:gd name="connsiteX72" fmla="*/ 3329678 w 4016827"/>
                <a:gd name="connsiteY72" fmla="*/ 6743218 h 7216489"/>
                <a:gd name="connsiteX73" fmla="*/ 1919936 w 4016827"/>
                <a:gd name="connsiteY73" fmla="*/ 6709653 h 7216489"/>
                <a:gd name="connsiteX74" fmla="*/ 1923292 w 4016827"/>
                <a:gd name="connsiteY74" fmla="*/ 6713009 h 7216489"/>
                <a:gd name="connsiteX75" fmla="*/ 1919936 w 4016827"/>
                <a:gd name="connsiteY75" fmla="*/ 6716366 h 7216489"/>
                <a:gd name="connsiteX76" fmla="*/ 1916579 w 4016827"/>
                <a:gd name="connsiteY76" fmla="*/ 6713009 h 7216489"/>
                <a:gd name="connsiteX77" fmla="*/ 1919936 w 4016827"/>
                <a:gd name="connsiteY77" fmla="*/ 6709653 h 7216489"/>
                <a:gd name="connsiteX78" fmla="*/ 3131643 w 4016827"/>
                <a:gd name="connsiteY78" fmla="*/ 6696226 h 7216489"/>
                <a:gd name="connsiteX79" fmla="*/ 3202129 w 4016827"/>
                <a:gd name="connsiteY79" fmla="*/ 6766714 h 7216489"/>
                <a:gd name="connsiteX80" fmla="*/ 3131643 w 4016827"/>
                <a:gd name="connsiteY80" fmla="*/ 6837201 h 7216489"/>
                <a:gd name="connsiteX81" fmla="*/ 3061156 w 4016827"/>
                <a:gd name="connsiteY81" fmla="*/ 6766714 h 7216489"/>
                <a:gd name="connsiteX82" fmla="*/ 3131643 w 4016827"/>
                <a:gd name="connsiteY82" fmla="*/ 6696226 h 7216489"/>
                <a:gd name="connsiteX83" fmla="*/ 2514042 w 4016827"/>
                <a:gd name="connsiteY83" fmla="*/ 6686157 h 7216489"/>
                <a:gd name="connsiteX84" fmla="*/ 2594598 w 4016827"/>
                <a:gd name="connsiteY84" fmla="*/ 6766714 h 7216489"/>
                <a:gd name="connsiteX85" fmla="*/ 2514042 w 4016827"/>
                <a:gd name="connsiteY85" fmla="*/ 6847271 h 7216489"/>
                <a:gd name="connsiteX86" fmla="*/ 2433484 w 4016827"/>
                <a:gd name="connsiteY86" fmla="*/ 6766714 h 7216489"/>
                <a:gd name="connsiteX87" fmla="*/ 2514042 w 4016827"/>
                <a:gd name="connsiteY87" fmla="*/ 6686157 h 7216489"/>
                <a:gd name="connsiteX88" fmla="*/ 3974130 w 4016827"/>
                <a:gd name="connsiteY88" fmla="*/ 6662662 h 7216489"/>
                <a:gd name="connsiteX89" fmla="*/ 3997732 w 4016827"/>
                <a:gd name="connsiteY89" fmla="*/ 6667382 h 7216489"/>
                <a:gd name="connsiteX90" fmla="*/ 4016827 w 4016827"/>
                <a:gd name="connsiteY90" fmla="*/ 6680216 h 7216489"/>
                <a:gd name="connsiteX91" fmla="*/ 4016827 w 4016827"/>
                <a:gd name="connsiteY91" fmla="*/ 6765944 h 7216489"/>
                <a:gd name="connsiteX92" fmla="*/ 3997732 w 4016827"/>
                <a:gd name="connsiteY92" fmla="*/ 6778777 h 7216489"/>
                <a:gd name="connsiteX93" fmla="*/ 3974130 w 4016827"/>
                <a:gd name="connsiteY93" fmla="*/ 6783497 h 7216489"/>
                <a:gd name="connsiteX94" fmla="*/ 3913715 w 4016827"/>
                <a:gd name="connsiteY94" fmla="*/ 6723080 h 7216489"/>
                <a:gd name="connsiteX95" fmla="*/ 3974130 w 4016827"/>
                <a:gd name="connsiteY95" fmla="*/ 6662662 h 7216489"/>
                <a:gd name="connsiteX96" fmla="*/ 2940320 w 4016827"/>
                <a:gd name="connsiteY96" fmla="*/ 6629097 h 7216489"/>
                <a:gd name="connsiteX97" fmla="*/ 3010808 w 4016827"/>
                <a:gd name="connsiteY97" fmla="*/ 6699584 h 7216489"/>
                <a:gd name="connsiteX98" fmla="*/ 2940320 w 4016827"/>
                <a:gd name="connsiteY98" fmla="*/ 6770071 h 7216489"/>
                <a:gd name="connsiteX99" fmla="*/ 2869833 w 4016827"/>
                <a:gd name="connsiteY99" fmla="*/ 6699584 h 7216489"/>
                <a:gd name="connsiteX100" fmla="*/ 2940320 w 4016827"/>
                <a:gd name="connsiteY100" fmla="*/ 6629097 h 7216489"/>
                <a:gd name="connsiteX101" fmla="*/ 3776096 w 4016827"/>
                <a:gd name="connsiteY101" fmla="*/ 6619027 h 7216489"/>
                <a:gd name="connsiteX102" fmla="*/ 3849940 w 4016827"/>
                <a:gd name="connsiteY102" fmla="*/ 6692871 h 7216489"/>
                <a:gd name="connsiteX103" fmla="*/ 3776096 w 4016827"/>
                <a:gd name="connsiteY103" fmla="*/ 6766715 h 7216489"/>
                <a:gd name="connsiteX104" fmla="*/ 3702254 w 4016827"/>
                <a:gd name="connsiteY104" fmla="*/ 6692871 h 7216489"/>
                <a:gd name="connsiteX105" fmla="*/ 3776096 w 4016827"/>
                <a:gd name="connsiteY105" fmla="*/ 6619027 h 7216489"/>
                <a:gd name="connsiteX106" fmla="*/ 2329432 w 4016827"/>
                <a:gd name="connsiteY106" fmla="*/ 6612314 h 7216489"/>
                <a:gd name="connsiteX107" fmla="*/ 2396563 w 4016827"/>
                <a:gd name="connsiteY107" fmla="*/ 6679445 h 7216489"/>
                <a:gd name="connsiteX108" fmla="*/ 2329432 w 4016827"/>
                <a:gd name="connsiteY108" fmla="*/ 6746575 h 7216489"/>
                <a:gd name="connsiteX109" fmla="*/ 2262301 w 4016827"/>
                <a:gd name="connsiteY109" fmla="*/ 6679445 h 7216489"/>
                <a:gd name="connsiteX110" fmla="*/ 2329432 w 4016827"/>
                <a:gd name="connsiteY110" fmla="*/ 6612314 h 7216489"/>
                <a:gd name="connsiteX111" fmla="*/ 1747494 w 4016827"/>
                <a:gd name="connsiteY111" fmla="*/ 6604762 h 7216489"/>
                <a:gd name="connsiteX112" fmla="*/ 1748752 w 4016827"/>
                <a:gd name="connsiteY112" fmla="*/ 6605601 h 7216489"/>
                <a:gd name="connsiteX113" fmla="*/ 1748752 w 4016827"/>
                <a:gd name="connsiteY113" fmla="*/ 6608957 h 7216489"/>
                <a:gd name="connsiteX114" fmla="*/ 1747494 w 4016827"/>
                <a:gd name="connsiteY114" fmla="*/ 6604762 h 7216489"/>
                <a:gd name="connsiteX115" fmla="*/ 976750 w 4016827"/>
                <a:gd name="connsiteY115" fmla="*/ 6595531 h 7216489"/>
                <a:gd name="connsiteX116" fmla="*/ 976750 w 4016827"/>
                <a:gd name="connsiteY116" fmla="*/ 6602244 h 7216489"/>
                <a:gd name="connsiteX117" fmla="*/ 976750 w 4016827"/>
                <a:gd name="connsiteY117" fmla="*/ 6595531 h 7216489"/>
                <a:gd name="connsiteX118" fmla="*/ 3574704 w 4016827"/>
                <a:gd name="connsiteY118" fmla="*/ 6568679 h 7216489"/>
                <a:gd name="connsiteX119" fmla="*/ 3658618 w 4016827"/>
                <a:gd name="connsiteY119" fmla="*/ 6652592 h 7216489"/>
                <a:gd name="connsiteX120" fmla="*/ 3574704 w 4016827"/>
                <a:gd name="connsiteY120" fmla="*/ 6736506 h 7216489"/>
                <a:gd name="connsiteX121" fmla="*/ 3490792 w 4016827"/>
                <a:gd name="connsiteY121" fmla="*/ 6652592 h 7216489"/>
                <a:gd name="connsiteX122" fmla="*/ 3574704 w 4016827"/>
                <a:gd name="connsiteY122" fmla="*/ 6568679 h 7216489"/>
                <a:gd name="connsiteX123" fmla="*/ 2151536 w 4016827"/>
                <a:gd name="connsiteY123" fmla="*/ 6558609 h 7216489"/>
                <a:gd name="connsiteX124" fmla="*/ 2171675 w 4016827"/>
                <a:gd name="connsiteY124" fmla="*/ 6582105 h 7216489"/>
                <a:gd name="connsiteX125" fmla="*/ 2151536 w 4016827"/>
                <a:gd name="connsiteY125" fmla="*/ 6605601 h 7216489"/>
                <a:gd name="connsiteX126" fmla="*/ 2128040 w 4016827"/>
                <a:gd name="connsiteY126" fmla="*/ 6582105 h 7216489"/>
                <a:gd name="connsiteX127" fmla="*/ 2151536 w 4016827"/>
                <a:gd name="connsiteY127" fmla="*/ 6558609 h 7216489"/>
                <a:gd name="connsiteX128" fmla="*/ 2752354 w 4016827"/>
                <a:gd name="connsiteY128" fmla="*/ 6548540 h 7216489"/>
                <a:gd name="connsiteX129" fmla="*/ 2829555 w 4016827"/>
                <a:gd name="connsiteY129" fmla="*/ 6625739 h 7216489"/>
                <a:gd name="connsiteX130" fmla="*/ 2752354 w 4016827"/>
                <a:gd name="connsiteY130" fmla="*/ 6702939 h 7216489"/>
                <a:gd name="connsiteX131" fmla="*/ 2675154 w 4016827"/>
                <a:gd name="connsiteY131" fmla="*/ 6625739 h 7216489"/>
                <a:gd name="connsiteX132" fmla="*/ 2752354 w 4016827"/>
                <a:gd name="connsiteY132" fmla="*/ 6548540 h 7216489"/>
                <a:gd name="connsiteX133" fmla="*/ 3380027 w 4016827"/>
                <a:gd name="connsiteY133" fmla="*/ 6521688 h 7216489"/>
                <a:gd name="connsiteX134" fmla="*/ 3460584 w 4016827"/>
                <a:gd name="connsiteY134" fmla="*/ 6602244 h 7216489"/>
                <a:gd name="connsiteX135" fmla="*/ 3380027 w 4016827"/>
                <a:gd name="connsiteY135" fmla="*/ 6682801 h 7216489"/>
                <a:gd name="connsiteX136" fmla="*/ 3299470 w 4016827"/>
                <a:gd name="connsiteY136" fmla="*/ 6602244 h 7216489"/>
                <a:gd name="connsiteX137" fmla="*/ 3380027 w 4016827"/>
                <a:gd name="connsiteY137" fmla="*/ 6521688 h 7216489"/>
                <a:gd name="connsiteX138" fmla="*/ 1578408 w 4016827"/>
                <a:gd name="connsiteY138" fmla="*/ 6490640 h 7216489"/>
                <a:gd name="connsiteX139" fmla="*/ 1580925 w 4016827"/>
                <a:gd name="connsiteY139" fmla="*/ 6491479 h 7216489"/>
                <a:gd name="connsiteX140" fmla="*/ 1580925 w 4016827"/>
                <a:gd name="connsiteY140" fmla="*/ 6494835 h 7216489"/>
                <a:gd name="connsiteX141" fmla="*/ 1578408 w 4016827"/>
                <a:gd name="connsiteY141" fmla="*/ 6490640 h 7216489"/>
                <a:gd name="connsiteX142" fmla="*/ 2567746 w 4016827"/>
                <a:gd name="connsiteY142" fmla="*/ 6467983 h 7216489"/>
                <a:gd name="connsiteX143" fmla="*/ 2641590 w 4016827"/>
                <a:gd name="connsiteY143" fmla="*/ 6541827 h 7216489"/>
                <a:gd name="connsiteX144" fmla="*/ 2567746 w 4016827"/>
                <a:gd name="connsiteY144" fmla="*/ 6615671 h 7216489"/>
                <a:gd name="connsiteX145" fmla="*/ 2493902 w 4016827"/>
                <a:gd name="connsiteY145" fmla="*/ 6541827 h 7216489"/>
                <a:gd name="connsiteX146" fmla="*/ 2567746 w 4016827"/>
                <a:gd name="connsiteY146" fmla="*/ 6467983 h 7216489"/>
                <a:gd name="connsiteX147" fmla="*/ 3185348 w 4016827"/>
                <a:gd name="connsiteY147" fmla="*/ 6464626 h 7216489"/>
                <a:gd name="connsiteX148" fmla="*/ 3265904 w 4016827"/>
                <a:gd name="connsiteY148" fmla="*/ 6545183 h 7216489"/>
                <a:gd name="connsiteX149" fmla="*/ 3185348 w 4016827"/>
                <a:gd name="connsiteY149" fmla="*/ 6625740 h 7216489"/>
                <a:gd name="connsiteX150" fmla="*/ 3104791 w 4016827"/>
                <a:gd name="connsiteY150" fmla="*/ 6545183 h 7216489"/>
                <a:gd name="connsiteX151" fmla="*/ 3185348 w 4016827"/>
                <a:gd name="connsiteY151" fmla="*/ 6464626 h 7216489"/>
                <a:gd name="connsiteX152" fmla="*/ 4016827 w 4016827"/>
                <a:gd name="connsiteY152" fmla="*/ 6446018 h 7216489"/>
                <a:gd name="connsiteX153" fmla="*/ 4016827 w 4016827"/>
                <a:gd name="connsiteY153" fmla="*/ 6563792 h 7216489"/>
                <a:gd name="connsiteX154" fmla="*/ 4000879 w 4016827"/>
                <a:gd name="connsiteY154" fmla="*/ 6560603 h 7216489"/>
                <a:gd name="connsiteX155" fmla="*/ 3964062 w 4016827"/>
                <a:gd name="connsiteY155" fmla="*/ 6504905 h 7216489"/>
                <a:gd name="connsiteX156" fmla="*/ 4000879 w 4016827"/>
                <a:gd name="connsiteY156" fmla="*/ 6449207 h 7216489"/>
                <a:gd name="connsiteX157" fmla="*/ 1976996 w 4016827"/>
                <a:gd name="connsiteY157" fmla="*/ 6441131 h 7216489"/>
                <a:gd name="connsiteX158" fmla="*/ 2017274 w 4016827"/>
                <a:gd name="connsiteY158" fmla="*/ 6481409 h 7216489"/>
                <a:gd name="connsiteX159" fmla="*/ 1976996 w 4016827"/>
                <a:gd name="connsiteY159" fmla="*/ 6521688 h 7216489"/>
                <a:gd name="connsiteX160" fmla="*/ 1936717 w 4016827"/>
                <a:gd name="connsiteY160" fmla="*/ 6481409 h 7216489"/>
                <a:gd name="connsiteX161" fmla="*/ 1976996 w 4016827"/>
                <a:gd name="connsiteY161" fmla="*/ 6441131 h 7216489"/>
                <a:gd name="connsiteX162" fmla="*/ 2990668 w 4016827"/>
                <a:gd name="connsiteY162" fmla="*/ 6410922 h 7216489"/>
                <a:gd name="connsiteX163" fmla="*/ 3057799 w 4016827"/>
                <a:gd name="connsiteY163" fmla="*/ 6478053 h 7216489"/>
                <a:gd name="connsiteX164" fmla="*/ 2990668 w 4016827"/>
                <a:gd name="connsiteY164" fmla="*/ 6545183 h 7216489"/>
                <a:gd name="connsiteX165" fmla="*/ 2923538 w 4016827"/>
                <a:gd name="connsiteY165" fmla="*/ 6478053 h 7216489"/>
                <a:gd name="connsiteX166" fmla="*/ 2990668 w 4016827"/>
                <a:gd name="connsiteY166" fmla="*/ 6410922 h 7216489"/>
                <a:gd name="connsiteX167" fmla="*/ 3826443 w 4016827"/>
                <a:gd name="connsiteY167" fmla="*/ 6400852 h 7216489"/>
                <a:gd name="connsiteX168" fmla="*/ 3900289 w 4016827"/>
                <a:gd name="connsiteY168" fmla="*/ 6474696 h 7216489"/>
                <a:gd name="connsiteX169" fmla="*/ 3826443 w 4016827"/>
                <a:gd name="connsiteY169" fmla="*/ 6548540 h 7216489"/>
                <a:gd name="connsiteX170" fmla="*/ 3752601 w 4016827"/>
                <a:gd name="connsiteY170" fmla="*/ 6474696 h 7216489"/>
                <a:gd name="connsiteX171" fmla="*/ 3826443 w 4016827"/>
                <a:gd name="connsiteY171" fmla="*/ 6400852 h 7216489"/>
                <a:gd name="connsiteX172" fmla="*/ 2383136 w 4016827"/>
                <a:gd name="connsiteY172" fmla="*/ 6380713 h 7216489"/>
                <a:gd name="connsiteX173" fmla="*/ 2456980 w 4016827"/>
                <a:gd name="connsiteY173" fmla="*/ 6454557 h 7216489"/>
                <a:gd name="connsiteX174" fmla="*/ 2383136 w 4016827"/>
                <a:gd name="connsiteY174" fmla="*/ 6528401 h 7216489"/>
                <a:gd name="connsiteX175" fmla="*/ 2309293 w 4016827"/>
                <a:gd name="connsiteY175" fmla="*/ 6454557 h 7216489"/>
                <a:gd name="connsiteX176" fmla="*/ 2383136 w 4016827"/>
                <a:gd name="connsiteY176" fmla="*/ 6380713 h 7216489"/>
                <a:gd name="connsiteX177" fmla="*/ 1415197 w 4016827"/>
                <a:gd name="connsiteY177" fmla="*/ 6369805 h 7216489"/>
                <a:gd name="connsiteX178" fmla="*/ 1416455 w 4016827"/>
                <a:gd name="connsiteY178" fmla="*/ 6370643 h 7216489"/>
                <a:gd name="connsiteX179" fmla="*/ 1416455 w 4016827"/>
                <a:gd name="connsiteY179" fmla="*/ 6374000 h 7216489"/>
                <a:gd name="connsiteX180" fmla="*/ 1415197 w 4016827"/>
                <a:gd name="connsiteY180" fmla="*/ 6369805 h 7216489"/>
                <a:gd name="connsiteX181" fmla="*/ 1805813 w 4016827"/>
                <a:gd name="connsiteY181" fmla="*/ 6360574 h 7216489"/>
                <a:gd name="connsiteX182" fmla="*/ 1815883 w 4016827"/>
                <a:gd name="connsiteY182" fmla="*/ 6370643 h 7216489"/>
                <a:gd name="connsiteX183" fmla="*/ 1805813 w 4016827"/>
                <a:gd name="connsiteY183" fmla="*/ 6380713 h 7216489"/>
                <a:gd name="connsiteX184" fmla="*/ 1795744 w 4016827"/>
                <a:gd name="connsiteY184" fmla="*/ 6370643 h 7216489"/>
                <a:gd name="connsiteX185" fmla="*/ 1805813 w 4016827"/>
                <a:gd name="connsiteY185" fmla="*/ 6360574 h 7216489"/>
                <a:gd name="connsiteX186" fmla="*/ 3625053 w 4016827"/>
                <a:gd name="connsiteY186" fmla="*/ 6357217 h 7216489"/>
                <a:gd name="connsiteX187" fmla="*/ 3698897 w 4016827"/>
                <a:gd name="connsiteY187" fmla="*/ 6431061 h 7216489"/>
                <a:gd name="connsiteX188" fmla="*/ 3625053 w 4016827"/>
                <a:gd name="connsiteY188" fmla="*/ 6504905 h 7216489"/>
                <a:gd name="connsiteX189" fmla="*/ 3551209 w 4016827"/>
                <a:gd name="connsiteY189" fmla="*/ 6431061 h 7216489"/>
                <a:gd name="connsiteX190" fmla="*/ 3625053 w 4016827"/>
                <a:gd name="connsiteY190" fmla="*/ 6357217 h 7216489"/>
                <a:gd name="connsiteX191" fmla="*/ 2802702 w 4016827"/>
                <a:gd name="connsiteY191" fmla="*/ 6323652 h 7216489"/>
                <a:gd name="connsiteX192" fmla="*/ 2879903 w 4016827"/>
                <a:gd name="connsiteY192" fmla="*/ 6400852 h 7216489"/>
                <a:gd name="connsiteX193" fmla="*/ 2802702 w 4016827"/>
                <a:gd name="connsiteY193" fmla="*/ 6478053 h 7216489"/>
                <a:gd name="connsiteX194" fmla="*/ 2725502 w 4016827"/>
                <a:gd name="connsiteY194" fmla="*/ 6400852 h 7216489"/>
                <a:gd name="connsiteX195" fmla="*/ 2802702 w 4016827"/>
                <a:gd name="connsiteY195" fmla="*/ 6323652 h 7216489"/>
                <a:gd name="connsiteX196" fmla="*/ 3430374 w 4016827"/>
                <a:gd name="connsiteY196" fmla="*/ 6306869 h 7216489"/>
                <a:gd name="connsiteX197" fmla="*/ 3507573 w 4016827"/>
                <a:gd name="connsiteY197" fmla="*/ 6384070 h 7216489"/>
                <a:gd name="connsiteX198" fmla="*/ 3430374 w 4016827"/>
                <a:gd name="connsiteY198" fmla="*/ 6461270 h 7216489"/>
                <a:gd name="connsiteX199" fmla="*/ 3353174 w 4016827"/>
                <a:gd name="connsiteY199" fmla="*/ 6384070 h 7216489"/>
                <a:gd name="connsiteX200" fmla="*/ 3430374 w 4016827"/>
                <a:gd name="connsiteY200" fmla="*/ 6306869 h 7216489"/>
                <a:gd name="connsiteX201" fmla="*/ 2205240 w 4016827"/>
                <a:gd name="connsiteY201" fmla="*/ 6276660 h 7216489"/>
                <a:gd name="connsiteX202" fmla="*/ 2282440 w 4016827"/>
                <a:gd name="connsiteY202" fmla="*/ 6353861 h 7216489"/>
                <a:gd name="connsiteX203" fmla="*/ 2205240 w 4016827"/>
                <a:gd name="connsiteY203" fmla="*/ 6431061 h 7216489"/>
                <a:gd name="connsiteX204" fmla="*/ 2128040 w 4016827"/>
                <a:gd name="connsiteY204" fmla="*/ 6353861 h 7216489"/>
                <a:gd name="connsiteX205" fmla="*/ 2205240 w 4016827"/>
                <a:gd name="connsiteY205" fmla="*/ 6276660 h 7216489"/>
                <a:gd name="connsiteX206" fmla="*/ 3235697 w 4016827"/>
                <a:gd name="connsiteY206" fmla="*/ 6253165 h 7216489"/>
                <a:gd name="connsiteX207" fmla="*/ 3306183 w 4016827"/>
                <a:gd name="connsiteY207" fmla="*/ 6323652 h 7216489"/>
                <a:gd name="connsiteX208" fmla="*/ 3235697 w 4016827"/>
                <a:gd name="connsiteY208" fmla="*/ 6394139 h 7216489"/>
                <a:gd name="connsiteX209" fmla="*/ 3165208 w 4016827"/>
                <a:gd name="connsiteY209" fmla="*/ 6323652 h 7216489"/>
                <a:gd name="connsiteX210" fmla="*/ 3235697 w 4016827"/>
                <a:gd name="connsiteY210" fmla="*/ 6253165 h 7216489"/>
                <a:gd name="connsiteX211" fmla="*/ 4016827 w 4016827"/>
                <a:gd name="connsiteY211" fmla="*/ 6248280 h 7216489"/>
                <a:gd name="connsiteX212" fmla="*/ 4016827 w 4016827"/>
                <a:gd name="connsiteY212" fmla="*/ 6308840 h 7216489"/>
                <a:gd name="connsiteX213" fmla="*/ 4014883 w 4016827"/>
                <a:gd name="connsiteY213" fmla="*/ 6306082 h 7216489"/>
                <a:gd name="connsiteX214" fmla="*/ 4007698 w 4016827"/>
                <a:gd name="connsiteY214" fmla="*/ 6280017 h 7216489"/>
                <a:gd name="connsiteX215" fmla="*/ 4012995 w 4016827"/>
                <a:gd name="connsiteY215" fmla="*/ 6253951 h 7216489"/>
                <a:gd name="connsiteX216" fmla="*/ 2618094 w 4016827"/>
                <a:gd name="connsiteY216" fmla="*/ 6243095 h 7216489"/>
                <a:gd name="connsiteX217" fmla="*/ 2691938 w 4016827"/>
                <a:gd name="connsiteY217" fmla="*/ 6316939 h 7216489"/>
                <a:gd name="connsiteX218" fmla="*/ 2618094 w 4016827"/>
                <a:gd name="connsiteY218" fmla="*/ 6390783 h 7216489"/>
                <a:gd name="connsiteX219" fmla="*/ 2544250 w 4016827"/>
                <a:gd name="connsiteY219" fmla="*/ 6316939 h 7216489"/>
                <a:gd name="connsiteX220" fmla="*/ 2618094 w 4016827"/>
                <a:gd name="connsiteY220" fmla="*/ 6243095 h 7216489"/>
                <a:gd name="connsiteX221" fmla="*/ 1258699 w 4016827"/>
                <a:gd name="connsiteY221" fmla="*/ 6243095 h 7216489"/>
                <a:gd name="connsiteX222" fmla="*/ 1262056 w 4016827"/>
                <a:gd name="connsiteY222" fmla="*/ 6246452 h 7216489"/>
                <a:gd name="connsiteX223" fmla="*/ 1258699 w 4016827"/>
                <a:gd name="connsiteY223" fmla="*/ 6249808 h 7216489"/>
                <a:gd name="connsiteX224" fmla="*/ 1255342 w 4016827"/>
                <a:gd name="connsiteY224" fmla="*/ 6246452 h 7216489"/>
                <a:gd name="connsiteX225" fmla="*/ 1258699 w 4016827"/>
                <a:gd name="connsiteY225" fmla="*/ 6243095 h 7216489"/>
                <a:gd name="connsiteX226" fmla="*/ 3876792 w 4016827"/>
                <a:gd name="connsiteY226" fmla="*/ 6189390 h 7216489"/>
                <a:gd name="connsiteX227" fmla="*/ 3940567 w 4016827"/>
                <a:gd name="connsiteY227" fmla="*/ 6253165 h 7216489"/>
                <a:gd name="connsiteX228" fmla="*/ 3876792 w 4016827"/>
                <a:gd name="connsiteY228" fmla="*/ 6316939 h 7216489"/>
                <a:gd name="connsiteX229" fmla="*/ 3813017 w 4016827"/>
                <a:gd name="connsiteY229" fmla="*/ 6253165 h 7216489"/>
                <a:gd name="connsiteX230" fmla="*/ 3876792 w 4016827"/>
                <a:gd name="connsiteY230" fmla="*/ 6189390 h 7216489"/>
                <a:gd name="connsiteX231" fmla="*/ 1637986 w 4016827"/>
                <a:gd name="connsiteY231" fmla="*/ 6182677 h 7216489"/>
                <a:gd name="connsiteX232" fmla="*/ 1708474 w 4016827"/>
                <a:gd name="connsiteY232" fmla="*/ 6253165 h 7216489"/>
                <a:gd name="connsiteX233" fmla="*/ 1637986 w 4016827"/>
                <a:gd name="connsiteY233" fmla="*/ 6323652 h 7216489"/>
                <a:gd name="connsiteX234" fmla="*/ 1567499 w 4016827"/>
                <a:gd name="connsiteY234" fmla="*/ 6253165 h 7216489"/>
                <a:gd name="connsiteX235" fmla="*/ 1637986 w 4016827"/>
                <a:gd name="connsiteY235" fmla="*/ 6182677 h 7216489"/>
                <a:gd name="connsiteX236" fmla="*/ 3044373 w 4016827"/>
                <a:gd name="connsiteY236" fmla="*/ 6179322 h 7216489"/>
                <a:gd name="connsiteX237" fmla="*/ 3118217 w 4016827"/>
                <a:gd name="connsiteY237" fmla="*/ 6253166 h 7216489"/>
                <a:gd name="connsiteX238" fmla="*/ 3044373 w 4016827"/>
                <a:gd name="connsiteY238" fmla="*/ 6327009 h 7216489"/>
                <a:gd name="connsiteX239" fmla="*/ 2970529 w 4016827"/>
                <a:gd name="connsiteY239" fmla="*/ 6253166 h 7216489"/>
                <a:gd name="connsiteX240" fmla="*/ 3044373 w 4016827"/>
                <a:gd name="connsiteY240" fmla="*/ 6179322 h 7216489"/>
                <a:gd name="connsiteX241" fmla="*/ 2030700 w 4016827"/>
                <a:gd name="connsiteY241" fmla="*/ 6172608 h 7216489"/>
                <a:gd name="connsiteX242" fmla="*/ 2107900 w 4016827"/>
                <a:gd name="connsiteY242" fmla="*/ 6249808 h 7216489"/>
                <a:gd name="connsiteX243" fmla="*/ 2030700 w 4016827"/>
                <a:gd name="connsiteY243" fmla="*/ 6327008 h 7216489"/>
                <a:gd name="connsiteX244" fmla="*/ 1953500 w 4016827"/>
                <a:gd name="connsiteY244" fmla="*/ 6249808 h 7216489"/>
                <a:gd name="connsiteX245" fmla="*/ 2030700 w 4016827"/>
                <a:gd name="connsiteY245" fmla="*/ 6172608 h 7216489"/>
                <a:gd name="connsiteX246" fmla="*/ 2436841 w 4016827"/>
                <a:gd name="connsiteY246" fmla="*/ 6155825 h 7216489"/>
                <a:gd name="connsiteX247" fmla="*/ 2503972 w 4016827"/>
                <a:gd name="connsiteY247" fmla="*/ 6222956 h 7216489"/>
                <a:gd name="connsiteX248" fmla="*/ 2436841 w 4016827"/>
                <a:gd name="connsiteY248" fmla="*/ 6290087 h 7216489"/>
                <a:gd name="connsiteX249" fmla="*/ 2369710 w 4016827"/>
                <a:gd name="connsiteY249" fmla="*/ 6222956 h 7216489"/>
                <a:gd name="connsiteX250" fmla="*/ 2436841 w 4016827"/>
                <a:gd name="connsiteY250" fmla="*/ 6155825 h 7216489"/>
                <a:gd name="connsiteX251" fmla="*/ 3675402 w 4016827"/>
                <a:gd name="connsiteY251" fmla="*/ 6139042 h 7216489"/>
                <a:gd name="connsiteX252" fmla="*/ 3745888 w 4016827"/>
                <a:gd name="connsiteY252" fmla="*/ 6209530 h 7216489"/>
                <a:gd name="connsiteX253" fmla="*/ 3675402 w 4016827"/>
                <a:gd name="connsiteY253" fmla="*/ 6280017 h 7216489"/>
                <a:gd name="connsiteX254" fmla="*/ 3604914 w 4016827"/>
                <a:gd name="connsiteY254" fmla="*/ 6209530 h 7216489"/>
                <a:gd name="connsiteX255" fmla="*/ 3675402 w 4016827"/>
                <a:gd name="connsiteY255" fmla="*/ 6139042 h 7216489"/>
                <a:gd name="connsiteX256" fmla="*/ 2856407 w 4016827"/>
                <a:gd name="connsiteY256" fmla="*/ 6102122 h 7216489"/>
                <a:gd name="connsiteX257" fmla="*/ 2930251 w 4016827"/>
                <a:gd name="connsiteY257" fmla="*/ 6175965 h 7216489"/>
                <a:gd name="connsiteX258" fmla="*/ 2856407 w 4016827"/>
                <a:gd name="connsiteY258" fmla="*/ 6249809 h 7216489"/>
                <a:gd name="connsiteX259" fmla="*/ 2782564 w 4016827"/>
                <a:gd name="connsiteY259" fmla="*/ 6175965 h 7216489"/>
                <a:gd name="connsiteX260" fmla="*/ 2856407 w 4016827"/>
                <a:gd name="connsiteY260" fmla="*/ 6102122 h 7216489"/>
                <a:gd name="connsiteX261" fmla="*/ 1476873 w 4016827"/>
                <a:gd name="connsiteY261" fmla="*/ 6092052 h 7216489"/>
                <a:gd name="connsiteX262" fmla="*/ 1517151 w 4016827"/>
                <a:gd name="connsiteY262" fmla="*/ 6132330 h 7216489"/>
                <a:gd name="connsiteX263" fmla="*/ 1476873 w 4016827"/>
                <a:gd name="connsiteY263" fmla="*/ 6172609 h 7216489"/>
                <a:gd name="connsiteX264" fmla="*/ 1436594 w 4016827"/>
                <a:gd name="connsiteY264" fmla="*/ 6132330 h 7216489"/>
                <a:gd name="connsiteX265" fmla="*/ 1476873 w 4016827"/>
                <a:gd name="connsiteY265" fmla="*/ 6092052 h 7216489"/>
                <a:gd name="connsiteX266" fmla="*/ 3480721 w 4016827"/>
                <a:gd name="connsiteY266" fmla="*/ 6088694 h 7216489"/>
                <a:gd name="connsiteX267" fmla="*/ 3551209 w 4016827"/>
                <a:gd name="connsiteY267" fmla="*/ 6159182 h 7216489"/>
                <a:gd name="connsiteX268" fmla="*/ 3480721 w 4016827"/>
                <a:gd name="connsiteY268" fmla="*/ 6229669 h 7216489"/>
                <a:gd name="connsiteX269" fmla="*/ 3410234 w 4016827"/>
                <a:gd name="connsiteY269" fmla="*/ 6159182 h 7216489"/>
                <a:gd name="connsiteX270" fmla="*/ 3480721 w 4016827"/>
                <a:gd name="connsiteY270" fmla="*/ 6088694 h 7216489"/>
                <a:gd name="connsiteX271" fmla="*/ 1862874 w 4016827"/>
                <a:gd name="connsiteY271" fmla="*/ 6061843 h 7216489"/>
                <a:gd name="connsiteX272" fmla="*/ 1940075 w 4016827"/>
                <a:gd name="connsiteY272" fmla="*/ 6139042 h 7216489"/>
                <a:gd name="connsiteX273" fmla="*/ 1862874 w 4016827"/>
                <a:gd name="connsiteY273" fmla="*/ 6216243 h 7216489"/>
                <a:gd name="connsiteX274" fmla="*/ 1785674 w 4016827"/>
                <a:gd name="connsiteY274" fmla="*/ 6139042 h 7216489"/>
                <a:gd name="connsiteX275" fmla="*/ 1862874 w 4016827"/>
                <a:gd name="connsiteY275" fmla="*/ 6061843 h 7216489"/>
                <a:gd name="connsiteX276" fmla="*/ 2262301 w 4016827"/>
                <a:gd name="connsiteY276" fmla="*/ 6055129 h 7216489"/>
                <a:gd name="connsiteX277" fmla="*/ 2329432 w 4016827"/>
                <a:gd name="connsiteY277" fmla="*/ 6122260 h 7216489"/>
                <a:gd name="connsiteX278" fmla="*/ 2262301 w 4016827"/>
                <a:gd name="connsiteY278" fmla="*/ 6189390 h 7216489"/>
                <a:gd name="connsiteX279" fmla="*/ 2195170 w 4016827"/>
                <a:gd name="connsiteY279" fmla="*/ 6122260 h 7216489"/>
                <a:gd name="connsiteX280" fmla="*/ 2262301 w 4016827"/>
                <a:gd name="connsiteY280" fmla="*/ 6055129 h 7216489"/>
                <a:gd name="connsiteX281" fmla="*/ 3286044 w 4016827"/>
                <a:gd name="connsiteY281" fmla="*/ 6031634 h 7216489"/>
                <a:gd name="connsiteX282" fmla="*/ 3356532 w 4016827"/>
                <a:gd name="connsiteY282" fmla="*/ 6102122 h 7216489"/>
                <a:gd name="connsiteX283" fmla="*/ 3286044 w 4016827"/>
                <a:gd name="connsiteY283" fmla="*/ 6172609 h 7216489"/>
                <a:gd name="connsiteX284" fmla="*/ 3215556 w 4016827"/>
                <a:gd name="connsiteY284" fmla="*/ 6102122 h 7216489"/>
                <a:gd name="connsiteX285" fmla="*/ 3286044 w 4016827"/>
                <a:gd name="connsiteY285" fmla="*/ 6031634 h 7216489"/>
                <a:gd name="connsiteX286" fmla="*/ 2671798 w 4016827"/>
                <a:gd name="connsiteY286" fmla="*/ 6014852 h 7216489"/>
                <a:gd name="connsiteX287" fmla="*/ 2745642 w 4016827"/>
                <a:gd name="connsiteY287" fmla="*/ 6088695 h 7216489"/>
                <a:gd name="connsiteX288" fmla="*/ 2671798 w 4016827"/>
                <a:gd name="connsiteY288" fmla="*/ 6162539 h 7216489"/>
                <a:gd name="connsiteX289" fmla="*/ 2597954 w 4016827"/>
                <a:gd name="connsiteY289" fmla="*/ 6088695 h 7216489"/>
                <a:gd name="connsiteX290" fmla="*/ 2671798 w 4016827"/>
                <a:gd name="connsiteY290" fmla="*/ 6014852 h 7216489"/>
                <a:gd name="connsiteX291" fmla="*/ 3927141 w 4016827"/>
                <a:gd name="connsiteY291" fmla="*/ 5971217 h 7216489"/>
                <a:gd name="connsiteX292" fmla="*/ 3984201 w 4016827"/>
                <a:gd name="connsiteY292" fmla="*/ 6028278 h 7216489"/>
                <a:gd name="connsiteX293" fmla="*/ 3927141 w 4016827"/>
                <a:gd name="connsiteY293" fmla="*/ 6085339 h 7216489"/>
                <a:gd name="connsiteX294" fmla="*/ 3870079 w 4016827"/>
                <a:gd name="connsiteY294" fmla="*/ 6028278 h 7216489"/>
                <a:gd name="connsiteX295" fmla="*/ 3927141 w 4016827"/>
                <a:gd name="connsiteY295" fmla="*/ 5971217 h 7216489"/>
                <a:gd name="connsiteX296" fmla="*/ 3094721 w 4016827"/>
                <a:gd name="connsiteY296" fmla="*/ 5961147 h 7216489"/>
                <a:gd name="connsiteX297" fmla="*/ 3165208 w 4016827"/>
                <a:gd name="connsiteY297" fmla="*/ 6031634 h 7216489"/>
                <a:gd name="connsiteX298" fmla="*/ 3094721 w 4016827"/>
                <a:gd name="connsiteY298" fmla="*/ 6102122 h 7216489"/>
                <a:gd name="connsiteX299" fmla="*/ 3024234 w 4016827"/>
                <a:gd name="connsiteY299" fmla="*/ 6031634 h 7216489"/>
                <a:gd name="connsiteX300" fmla="*/ 3094721 w 4016827"/>
                <a:gd name="connsiteY300" fmla="*/ 5961147 h 7216489"/>
                <a:gd name="connsiteX301" fmla="*/ 1322473 w 4016827"/>
                <a:gd name="connsiteY301" fmla="*/ 5954434 h 7216489"/>
                <a:gd name="connsiteX302" fmla="*/ 1369465 w 4016827"/>
                <a:gd name="connsiteY302" fmla="*/ 6001425 h 7216489"/>
                <a:gd name="connsiteX303" fmla="*/ 1322473 w 4016827"/>
                <a:gd name="connsiteY303" fmla="*/ 6048417 h 7216489"/>
                <a:gd name="connsiteX304" fmla="*/ 1275482 w 4016827"/>
                <a:gd name="connsiteY304" fmla="*/ 6001425 h 7216489"/>
                <a:gd name="connsiteX305" fmla="*/ 1322473 w 4016827"/>
                <a:gd name="connsiteY305" fmla="*/ 5954434 h 7216489"/>
                <a:gd name="connsiteX306" fmla="*/ 2087761 w 4016827"/>
                <a:gd name="connsiteY306" fmla="*/ 5947721 h 7216489"/>
                <a:gd name="connsiteX307" fmla="*/ 2158248 w 4016827"/>
                <a:gd name="connsiteY307" fmla="*/ 6018208 h 7216489"/>
                <a:gd name="connsiteX308" fmla="*/ 2087761 w 4016827"/>
                <a:gd name="connsiteY308" fmla="*/ 6088695 h 7216489"/>
                <a:gd name="connsiteX309" fmla="*/ 2017274 w 4016827"/>
                <a:gd name="connsiteY309" fmla="*/ 6018208 h 7216489"/>
                <a:gd name="connsiteX310" fmla="*/ 2087761 w 4016827"/>
                <a:gd name="connsiteY310" fmla="*/ 5947721 h 7216489"/>
                <a:gd name="connsiteX311" fmla="*/ 1698404 w 4016827"/>
                <a:gd name="connsiteY311" fmla="*/ 5934295 h 7216489"/>
                <a:gd name="connsiteX312" fmla="*/ 1778961 w 4016827"/>
                <a:gd name="connsiteY312" fmla="*/ 6014852 h 7216489"/>
                <a:gd name="connsiteX313" fmla="*/ 1698404 w 4016827"/>
                <a:gd name="connsiteY313" fmla="*/ 6095408 h 7216489"/>
                <a:gd name="connsiteX314" fmla="*/ 1617847 w 4016827"/>
                <a:gd name="connsiteY314" fmla="*/ 6014852 h 7216489"/>
                <a:gd name="connsiteX315" fmla="*/ 1698404 w 4016827"/>
                <a:gd name="connsiteY315" fmla="*/ 5934295 h 7216489"/>
                <a:gd name="connsiteX316" fmla="*/ 3725749 w 4016827"/>
                <a:gd name="connsiteY316" fmla="*/ 5924225 h 7216489"/>
                <a:gd name="connsiteX317" fmla="*/ 3789522 w 4016827"/>
                <a:gd name="connsiteY317" fmla="*/ 5987999 h 7216489"/>
                <a:gd name="connsiteX318" fmla="*/ 3725749 w 4016827"/>
                <a:gd name="connsiteY318" fmla="*/ 6051774 h 7216489"/>
                <a:gd name="connsiteX319" fmla="*/ 3661976 w 4016827"/>
                <a:gd name="connsiteY319" fmla="*/ 5987999 h 7216489"/>
                <a:gd name="connsiteX320" fmla="*/ 3725749 w 4016827"/>
                <a:gd name="connsiteY320" fmla="*/ 5924225 h 7216489"/>
                <a:gd name="connsiteX321" fmla="*/ 2490546 w 4016827"/>
                <a:gd name="connsiteY321" fmla="*/ 5920869 h 7216489"/>
                <a:gd name="connsiteX322" fmla="*/ 2564390 w 4016827"/>
                <a:gd name="connsiteY322" fmla="*/ 5994712 h 7216489"/>
                <a:gd name="connsiteX323" fmla="*/ 2490546 w 4016827"/>
                <a:gd name="connsiteY323" fmla="*/ 6068556 h 7216489"/>
                <a:gd name="connsiteX324" fmla="*/ 2416702 w 4016827"/>
                <a:gd name="connsiteY324" fmla="*/ 5994712 h 7216489"/>
                <a:gd name="connsiteX325" fmla="*/ 2490546 w 4016827"/>
                <a:gd name="connsiteY325" fmla="*/ 5920869 h 7216489"/>
                <a:gd name="connsiteX326" fmla="*/ 2906755 w 4016827"/>
                <a:gd name="connsiteY326" fmla="*/ 5877234 h 7216489"/>
                <a:gd name="connsiteX327" fmla="*/ 2980599 w 4016827"/>
                <a:gd name="connsiteY327" fmla="*/ 5951077 h 7216489"/>
                <a:gd name="connsiteX328" fmla="*/ 2906755 w 4016827"/>
                <a:gd name="connsiteY328" fmla="*/ 6024921 h 7216489"/>
                <a:gd name="connsiteX329" fmla="*/ 2832911 w 4016827"/>
                <a:gd name="connsiteY329" fmla="*/ 5951077 h 7216489"/>
                <a:gd name="connsiteX330" fmla="*/ 2906755 w 4016827"/>
                <a:gd name="connsiteY330" fmla="*/ 5877234 h 7216489"/>
                <a:gd name="connsiteX331" fmla="*/ 3531070 w 4016827"/>
                <a:gd name="connsiteY331" fmla="*/ 5867164 h 7216489"/>
                <a:gd name="connsiteX332" fmla="*/ 3601556 w 4016827"/>
                <a:gd name="connsiteY332" fmla="*/ 5937651 h 7216489"/>
                <a:gd name="connsiteX333" fmla="*/ 3531070 w 4016827"/>
                <a:gd name="connsiteY333" fmla="*/ 6008139 h 7216489"/>
                <a:gd name="connsiteX334" fmla="*/ 3460584 w 4016827"/>
                <a:gd name="connsiteY334" fmla="*/ 5937651 h 7216489"/>
                <a:gd name="connsiteX335" fmla="*/ 3531070 w 4016827"/>
                <a:gd name="connsiteY335" fmla="*/ 5867164 h 7216489"/>
                <a:gd name="connsiteX336" fmla="*/ 1923292 w 4016827"/>
                <a:gd name="connsiteY336" fmla="*/ 5826886 h 7216489"/>
                <a:gd name="connsiteX337" fmla="*/ 1997136 w 4016827"/>
                <a:gd name="connsiteY337" fmla="*/ 5900729 h 7216489"/>
                <a:gd name="connsiteX338" fmla="*/ 1923292 w 4016827"/>
                <a:gd name="connsiteY338" fmla="*/ 5974573 h 7216489"/>
                <a:gd name="connsiteX339" fmla="*/ 1849448 w 4016827"/>
                <a:gd name="connsiteY339" fmla="*/ 5900729 h 7216489"/>
                <a:gd name="connsiteX340" fmla="*/ 1923292 w 4016827"/>
                <a:gd name="connsiteY340" fmla="*/ 5826886 h 7216489"/>
                <a:gd name="connsiteX341" fmla="*/ 2316006 w 4016827"/>
                <a:gd name="connsiteY341" fmla="*/ 5823529 h 7216489"/>
                <a:gd name="connsiteX342" fmla="*/ 2386493 w 4016827"/>
                <a:gd name="connsiteY342" fmla="*/ 5894016 h 7216489"/>
                <a:gd name="connsiteX343" fmla="*/ 2316006 w 4016827"/>
                <a:gd name="connsiteY343" fmla="*/ 5964504 h 7216489"/>
                <a:gd name="connsiteX344" fmla="*/ 2245518 w 4016827"/>
                <a:gd name="connsiteY344" fmla="*/ 5894016 h 7216489"/>
                <a:gd name="connsiteX345" fmla="*/ 2316006 w 4016827"/>
                <a:gd name="connsiteY345" fmla="*/ 5823529 h 7216489"/>
                <a:gd name="connsiteX346" fmla="*/ 1540647 w 4016827"/>
                <a:gd name="connsiteY346" fmla="*/ 5823529 h 7216489"/>
                <a:gd name="connsiteX347" fmla="*/ 1607778 w 4016827"/>
                <a:gd name="connsiteY347" fmla="*/ 5890660 h 7216489"/>
                <a:gd name="connsiteX348" fmla="*/ 1540647 w 4016827"/>
                <a:gd name="connsiteY348" fmla="*/ 5957791 h 7216489"/>
                <a:gd name="connsiteX349" fmla="*/ 1473516 w 4016827"/>
                <a:gd name="connsiteY349" fmla="*/ 5890660 h 7216489"/>
                <a:gd name="connsiteX350" fmla="*/ 1540647 w 4016827"/>
                <a:gd name="connsiteY350" fmla="*/ 5823529 h 7216489"/>
                <a:gd name="connsiteX351" fmla="*/ 3336391 w 4016827"/>
                <a:gd name="connsiteY351" fmla="*/ 5810103 h 7216489"/>
                <a:gd name="connsiteX352" fmla="*/ 3403522 w 4016827"/>
                <a:gd name="connsiteY352" fmla="*/ 5877234 h 7216489"/>
                <a:gd name="connsiteX353" fmla="*/ 3336391 w 4016827"/>
                <a:gd name="connsiteY353" fmla="*/ 5944364 h 7216489"/>
                <a:gd name="connsiteX354" fmla="*/ 3269260 w 4016827"/>
                <a:gd name="connsiteY354" fmla="*/ 5877234 h 7216489"/>
                <a:gd name="connsiteX355" fmla="*/ 3336391 w 4016827"/>
                <a:gd name="connsiteY355" fmla="*/ 5810103 h 7216489"/>
                <a:gd name="connsiteX356" fmla="*/ 1171429 w 4016827"/>
                <a:gd name="connsiteY356" fmla="*/ 5796677 h 7216489"/>
                <a:gd name="connsiteX357" fmla="*/ 1238560 w 4016827"/>
                <a:gd name="connsiteY357" fmla="*/ 5863807 h 7216489"/>
                <a:gd name="connsiteX358" fmla="*/ 1171429 w 4016827"/>
                <a:gd name="connsiteY358" fmla="*/ 5930938 h 7216489"/>
                <a:gd name="connsiteX359" fmla="*/ 1104298 w 4016827"/>
                <a:gd name="connsiteY359" fmla="*/ 5863807 h 7216489"/>
                <a:gd name="connsiteX360" fmla="*/ 1171429 w 4016827"/>
                <a:gd name="connsiteY360" fmla="*/ 5796677 h 7216489"/>
                <a:gd name="connsiteX361" fmla="*/ 2725502 w 4016827"/>
                <a:gd name="connsiteY361" fmla="*/ 5793320 h 7216489"/>
                <a:gd name="connsiteX362" fmla="*/ 2795990 w 4016827"/>
                <a:gd name="connsiteY362" fmla="*/ 5863807 h 7216489"/>
                <a:gd name="connsiteX363" fmla="*/ 2725502 w 4016827"/>
                <a:gd name="connsiteY363" fmla="*/ 5934295 h 7216489"/>
                <a:gd name="connsiteX364" fmla="*/ 2655015 w 4016827"/>
                <a:gd name="connsiteY364" fmla="*/ 5863807 h 7216489"/>
                <a:gd name="connsiteX365" fmla="*/ 2725502 w 4016827"/>
                <a:gd name="connsiteY365" fmla="*/ 5793320 h 7216489"/>
                <a:gd name="connsiteX366" fmla="*/ 3977488 w 4016827"/>
                <a:gd name="connsiteY366" fmla="*/ 5746329 h 7216489"/>
                <a:gd name="connsiteX367" fmla="*/ 4001089 w 4016827"/>
                <a:gd name="connsiteY367" fmla="*/ 5751049 h 7216489"/>
                <a:gd name="connsiteX368" fmla="*/ 4016827 w 4016827"/>
                <a:gd name="connsiteY368" fmla="*/ 5761627 h 7216489"/>
                <a:gd name="connsiteX369" fmla="*/ 4016827 w 4016827"/>
                <a:gd name="connsiteY369" fmla="*/ 5851866 h 7216489"/>
                <a:gd name="connsiteX370" fmla="*/ 4001089 w 4016827"/>
                <a:gd name="connsiteY370" fmla="*/ 5862444 h 7216489"/>
                <a:gd name="connsiteX371" fmla="*/ 3977488 w 4016827"/>
                <a:gd name="connsiteY371" fmla="*/ 5867164 h 7216489"/>
                <a:gd name="connsiteX372" fmla="*/ 3917070 w 4016827"/>
                <a:gd name="connsiteY372" fmla="*/ 5806746 h 7216489"/>
                <a:gd name="connsiteX373" fmla="*/ 3977488 w 4016827"/>
                <a:gd name="connsiteY373" fmla="*/ 5746329 h 7216489"/>
                <a:gd name="connsiteX374" fmla="*/ 3145069 w 4016827"/>
                <a:gd name="connsiteY374" fmla="*/ 5742972 h 7216489"/>
                <a:gd name="connsiteX375" fmla="*/ 3208844 w 4016827"/>
                <a:gd name="connsiteY375" fmla="*/ 5806746 h 7216489"/>
                <a:gd name="connsiteX376" fmla="*/ 3145069 w 4016827"/>
                <a:gd name="connsiteY376" fmla="*/ 5870519 h 7216489"/>
                <a:gd name="connsiteX377" fmla="*/ 3081295 w 4016827"/>
                <a:gd name="connsiteY377" fmla="*/ 5806746 h 7216489"/>
                <a:gd name="connsiteX378" fmla="*/ 3145069 w 4016827"/>
                <a:gd name="connsiteY378" fmla="*/ 5742972 h 7216489"/>
                <a:gd name="connsiteX379" fmla="*/ 3776096 w 4016827"/>
                <a:gd name="connsiteY379" fmla="*/ 5716120 h 7216489"/>
                <a:gd name="connsiteX380" fmla="*/ 3829800 w 4016827"/>
                <a:gd name="connsiteY380" fmla="*/ 5769824 h 7216489"/>
                <a:gd name="connsiteX381" fmla="*/ 3776096 w 4016827"/>
                <a:gd name="connsiteY381" fmla="*/ 5823529 h 7216489"/>
                <a:gd name="connsiteX382" fmla="*/ 3722391 w 4016827"/>
                <a:gd name="connsiteY382" fmla="*/ 5769824 h 7216489"/>
                <a:gd name="connsiteX383" fmla="*/ 3776096 w 4016827"/>
                <a:gd name="connsiteY383" fmla="*/ 5716120 h 7216489"/>
                <a:gd name="connsiteX384" fmla="*/ 2144822 w 4016827"/>
                <a:gd name="connsiteY384" fmla="*/ 5706050 h 7216489"/>
                <a:gd name="connsiteX385" fmla="*/ 2218666 w 4016827"/>
                <a:gd name="connsiteY385" fmla="*/ 5779894 h 7216489"/>
                <a:gd name="connsiteX386" fmla="*/ 2144822 w 4016827"/>
                <a:gd name="connsiteY386" fmla="*/ 5853738 h 7216489"/>
                <a:gd name="connsiteX387" fmla="*/ 2070979 w 4016827"/>
                <a:gd name="connsiteY387" fmla="*/ 5779894 h 7216489"/>
                <a:gd name="connsiteX388" fmla="*/ 2144822 w 4016827"/>
                <a:gd name="connsiteY388" fmla="*/ 5706050 h 7216489"/>
                <a:gd name="connsiteX389" fmla="*/ 1758822 w 4016827"/>
                <a:gd name="connsiteY389" fmla="*/ 5706050 h 7216489"/>
                <a:gd name="connsiteX390" fmla="*/ 1832666 w 4016827"/>
                <a:gd name="connsiteY390" fmla="*/ 5779894 h 7216489"/>
                <a:gd name="connsiteX391" fmla="*/ 1758822 w 4016827"/>
                <a:gd name="connsiteY391" fmla="*/ 5853738 h 7216489"/>
                <a:gd name="connsiteX392" fmla="*/ 1684978 w 4016827"/>
                <a:gd name="connsiteY392" fmla="*/ 5779894 h 7216489"/>
                <a:gd name="connsiteX393" fmla="*/ 1758822 w 4016827"/>
                <a:gd name="connsiteY393" fmla="*/ 5706050 h 7216489"/>
                <a:gd name="connsiteX394" fmla="*/ 1027098 w 4016827"/>
                <a:gd name="connsiteY394" fmla="*/ 5706050 h 7216489"/>
                <a:gd name="connsiteX395" fmla="*/ 1043881 w 4016827"/>
                <a:gd name="connsiteY395" fmla="*/ 5722833 h 7216489"/>
                <a:gd name="connsiteX396" fmla="*/ 1027098 w 4016827"/>
                <a:gd name="connsiteY396" fmla="*/ 5739616 h 7216489"/>
                <a:gd name="connsiteX397" fmla="*/ 1010315 w 4016827"/>
                <a:gd name="connsiteY397" fmla="*/ 5722833 h 7216489"/>
                <a:gd name="connsiteX398" fmla="*/ 1027098 w 4016827"/>
                <a:gd name="connsiteY398" fmla="*/ 5706050 h 7216489"/>
                <a:gd name="connsiteX399" fmla="*/ 2544250 w 4016827"/>
                <a:gd name="connsiteY399" fmla="*/ 5692624 h 7216489"/>
                <a:gd name="connsiteX400" fmla="*/ 2618094 w 4016827"/>
                <a:gd name="connsiteY400" fmla="*/ 5766468 h 7216489"/>
                <a:gd name="connsiteX401" fmla="*/ 2544250 w 4016827"/>
                <a:gd name="connsiteY401" fmla="*/ 5840312 h 7216489"/>
                <a:gd name="connsiteX402" fmla="*/ 2470406 w 4016827"/>
                <a:gd name="connsiteY402" fmla="*/ 5766468 h 7216489"/>
                <a:gd name="connsiteX403" fmla="*/ 2544250 w 4016827"/>
                <a:gd name="connsiteY403" fmla="*/ 5692624 h 7216489"/>
                <a:gd name="connsiteX404" fmla="*/ 1386247 w 4016827"/>
                <a:gd name="connsiteY404" fmla="*/ 5682555 h 7216489"/>
                <a:gd name="connsiteX405" fmla="*/ 1460091 w 4016827"/>
                <a:gd name="connsiteY405" fmla="*/ 5756398 h 7216489"/>
                <a:gd name="connsiteX406" fmla="*/ 1386247 w 4016827"/>
                <a:gd name="connsiteY406" fmla="*/ 5830242 h 7216489"/>
                <a:gd name="connsiteX407" fmla="*/ 1312404 w 4016827"/>
                <a:gd name="connsiteY407" fmla="*/ 5756398 h 7216489"/>
                <a:gd name="connsiteX408" fmla="*/ 1386247 w 4016827"/>
                <a:gd name="connsiteY408" fmla="*/ 5682555 h 7216489"/>
                <a:gd name="connsiteX409" fmla="*/ 2960460 w 4016827"/>
                <a:gd name="connsiteY409" fmla="*/ 5662415 h 7216489"/>
                <a:gd name="connsiteX410" fmla="*/ 3024234 w 4016827"/>
                <a:gd name="connsiteY410" fmla="*/ 5726189 h 7216489"/>
                <a:gd name="connsiteX411" fmla="*/ 2960460 w 4016827"/>
                <a:gd name="connsiteY411" fmla="*/ 5789964 h 7216489"/>
                <a:gd name="connsiteX412" fmla="*/ 2896686 w 4016827"/>
                <a:gd name="connsiteY412" fmla="*/ 5726189 h 7216489"/>
                <a:gd name="connsiteX413" fmla="*/ 2960460 w 4016827"/>
                <a:gd name="connsiteY413" fmla="*/ 5662415 h 7216489"/>
                <a:gd name="connsiteX414" fmla="*/ 3581419 w 4016827"/>
                <a:gd name="connsiteY414" fmla="*/ 5659059 h 7216489"/>
                <a:gd name="connsiteX415" fmla="*/ 3638479 w 4016827"/>
                <a:gd name="connsiteY415" fmla="*/ 5716120 h 7216489"/>
                <a:gd name="connsiteX416" fmla="*/ 3581419 w 4016827"/>
                <a:gd name="connsiteY416" fmla="*/ 5773181 h 7216489"/>
                <a:gd name="connsiteX417" fmla="*/ 3524357 w 4016827"/>
                <a:gd name="connsiteY417" fmla="*/ 5716120 h 7216489"/>
                <a:gd name="connsiteX418" fmla="*/ 3581419 w 4016827"/>
                <a:gd name="connsiteY418" fmla="*/ 5659059 h 7216489"/>
                <a:gd name="connsiteX419" fmla="*/ 3386738 w 4016827"/>
                <a:gd name="connsiteY419" fmla="*/ 5605354 h 7216489"/>
                <a:gd name="connsiteX420" fmla="*/ 3440442 w 4016827"/>
                <a:gd name="connsiteY420" fmla="*/ 5659059 h 7216489"/>
                <a:gd name="connsiteX421" fmla="*/ 3386738 w 4016827"/>
                <a:gd name="connsiteY421" fmla="*/ 5712763 h 7216489"/>
                <a:gd name="connsiteX422" fmla="*/ 3333033 w 4016827"/>
                <a:gd name="connsiteY422" fmla="*/ 5659059 h 7216489"/>
                <a:gd name="connsiteX423" fmla="*/ 3386738 w 4016827"/>
                <a:gd name="connsiteY423" fmla="*/ 5605354 h 7216489"/>
                <a:gd name="connsiteX424" fmla="*/ 2373067 w 4016827"/>
                <a:gd name="connsiteY424" fmla="*/ 5588572 h 7216489"/>
                <a:gd name="connsiteX425" fmla="*/ 2446911 w 4016827"/>
                <a:gd name="connsiteY425" fmla="*/ 5662415 h 7216489"/>
                <a:gd name="connsiteX426" fmla="*/ 2373067 w 4016827"/>
                <a:gd name="connsiteY426" fmla="*/ 5736259 h 7216489"/>
                <a:gd name="connsiteX427" fmla="*/ 2299223 w 4016827"/>
                <a:gd name="connsiteY427" fmla="*/ 5662415 h 7216489"/>
                <a:gd name="connsiteX428" fmla="*/ 2373067 w 4016827"/>
                <a:gd name="connsiteY428" fmla="*/ 5588572 h 7216489"/>
                <a:gd name="connsiteX429" fmla="*/ 1980353 w 4016827"/>
                <a:gd name="connsiteY429" fmla="*/ 5588572 h 7216489"/>
                <a:gd name="connsiteX430" fmla="*/ 2054197 w 4016827"/>
                <a:gd name="connsiteY430" fmla="*/ 5662415 h 7216489"/>
                <a:gd name="connsiteX431" fmla="*/ 1980353 w 4016827"/>
                <a:gd name="connsiteY431" fmla="*/ 5736259 h 7216489"/>
                <a:gd name="connsiteX432" fmla="*/ 1906510 w 4016827"/>
                <a:gd name="connsiteY432" fmla="*/ 5662415 h 7216489"/>
                <a:gd name="connsiteX433" fmla="*/ 1980353 w 4016827"/>
                <a:gd name="connsiteY433" fmla="*/ 5588572 h 7216489"/>
                <a:gd name="connsiteX434" fmla="*/ 1604421 w 4016827"/>
                <a:gd name="connsiteY434" fmla="*/ 5575146 h 7216489"/>
                <a:gd name="connsiteX435" fmla="*/ 1678265 w 4016827"/>
                <a:gd name="connsiteY435" fmla="*/ 5648990 h 7216489"/>
                <a:gd name="connsiteX436" fmla="*/ 1604421 w 4016827"/>
                <a:gd name="connsiteY436" fmla="*/ 5722834 h 7216489"/>
                <a:gd name="connsiteX437" fmla="*/ 1530577 w 4016827"/>
                <a:gd name="connsiteY437" fmla="*/ 5648990 h 7216489"/>
                <a:gd name="connsiteX438" fmla="*/ 1604421 w 4016827"/>
                <a:gd name="connsiteY438" fmla="*/ 5575146 h 7216489"/>
                <a:gd name="connsiteX439" fmla="*/ 2775850 w 4016827"/>
                <a:gd name="connsiteY439" fmla="*/ 5571789 h 7216489"/>
                <a:gd name="connsiteX440" fmla="*/ 2839624 w 4016827"/>
                <a:gd name="connsiteY440" fmla="*/ 5635563 h 7216489"/>
                <a:gd name="connsiteX441" fmla="*/ 2775850 w 4016827"/>
                <a:gd name="connsiteY441" fmla="*/ 5699337 h 7216489"/>
                <a:gd name="connsiteX442" fmla="*/ 2712076 w 4016827"/>
                <a:gd name="connsiteY442" fmla="*/ 5635563 h 7216489"/>
                <a:gd name="connsiteX443" fmla="*/ 2775850 w 4016827"/>
                <a:gd name="connsiteY443" fmla="*/ 5571789 h 7216489"/>
                <a:gd name="connsiteX444" fmla="*/ 886123 w 4016827"/>
                <a:gd name="connsiteY444" fmla="*/ 5568432 h 7216489"/>
                <a:gd name="connsiteX445" fmla="*/ 892837 w 4016827"/>
                <a:gd name="connsiteY445" fmla="*/ 5575145 h 7216489"/>
                <a:gd name="connsiteX446" fmla="*/ 886123 w 4016827"/>
                <a:gd name="connsiteY446" fmla="*/ 5581858 h 7216489"/>
                <a:gd name="connsiteX447" fmla="*/ 879410 w 4016827"/>
                <a:gd name="connsiteY447" fmla="*/ 5575145 h 7216489"/>
                <a:gd name="connsiteX448" fmla="*/ 886123 w 4016827"/>
                <a:gd name="connsiteY448" fmla="*/ 5568432 h 7216489"/>
                <a:gd name="connsiteX449" fmla="*/ 4016827 w 4016827"/>
                <a:gd name="connsiteY449" fmla="*/ 5546256 h 7216489"/>
                <a:gd name="connsiteX450" fmla="*/ 4016827 w 4016827"/>
                <a:gd name="connsiteY450" fmla="*/ 5624629 h 7216489"/>
                <a:gd name="connsiteX451" fmla="*/ 3997208 w 4016827"/>
                <a:gd name="connsiteY451" fmla="*/ 5617103 h 7216489"/>
                <a:gd name="connsiteX452" fmla="*/ 3984201 w 4016827"/>
                <a:gd name="connsiteY452" fmla="*/ 5585216 h 7216489"/>
                <a:gd name="connsiteX453" fmla="*/ 3997208 w 4016827"/>
                <a:gd name="connsiteY453" fmla="*/ 5554588 h 7216489"/>
                <a:gd name="connsiteX454" fmla="*/ 1238560 w 4016827"/>
                <a:gd name="connsiteY454" fmla="*/ 5538223 h 7216489"/>
                <a:gd name="connsiteX455" fmla="*/ 1315760 w 4016827"/>
                <a:gd name="connsiteY455" fmla="*/ 5615424 h 7216489"/>
                <a:gd name="connsiteX456" fmla="*/ 1238560 w 4016827"/>
                <a:gd name="connsiteY456" fmla="*/ 5692624 h 7216489"/>
                <a:gd name="connsiteX457" fmla="*/ 1161360 w 4016827"/>
                <a:gd name="connsiteY457" fmla="*/ 5615424 h 7216489"/>
                <a:gd name="connsiteX458" fmla="*/ 1238560 w 4016827"/>
                <a:gd name="connsiteY458" fmla="*/ 5538223 h 7216489"/>
                <a:gd name="connsiteX459" fmla="*/ 3195416 w 4016827"/>
                <a:gd name="connsiteY459" fmla="*/ 5531511 h 7216489"/>
                <a:gd name="connsiteX460" fmla="*/ 3249121 w 4016827"/>
                <a:gd name="connsiteY460" fmla="*/ 5585216 h 7216489"/>
                <a:gd name="connsiteX461" fmla="*/ 3195416 w 4016827"/>
                <a:gd name="connsiteY461" fmla="*/ 5638921 h 7216489"/>
                <a:gd name="connsiteX462" fmla="*/ 3141712 w 4016827"/>
                <a:gd name="connsiteY462" fmla="*/ 5585216 h 7216489"/>
                <a:gd name="connsiteX463" fmla="*/ 3195416 w 4016827"/>
                <a:gd name="connsiteY463" fmla="*/ 5531511 h 7216489"/>
                <a:gd name="connsiteX464" fmla="*/ 3826443 w 4016827"/>
                <a:gd name="connsiteY464" fmla="*/ 5501302 h 7216489"/>
                <a:gd name="connsiteX465" fmla="*/ 3873436 w 4016827"/>
                <a:gd name="connsiteY465" fmla="*/ 5548293 h 7216489"/>
                <a:gd name="connsiteX466" fmla="*/ 3826443 w 4016827"/>
                <a:gd name="connsiteY466" fmla="*/ 5595285 h 7216489"/>
                <a:gd name="connsiteX467" fmla="*/ 3779454 w 4016827"/>
                <a:gd name="connsiteY467" fmla="*/ 5548293 h 7216489"/>
                <a:gd name="connsiteX468" fmla="*/ 3826443 w 4016827"/>
                <a:gd name="connsiteY468" fmla="*/ 5501302 h 7216489"/>
                <a:gd name="connsiteX469" fmla="*/ 2205240 w 4016827"/>
                <a:gd name="connsiteY469" fmla="*/ 5474450 h 7216489"/>
                <a:gd name="connsiteX470" fmla="*/ 2275728 w 4016827"/>
                <a:gd name="connsiteY470" fmla="*/ 5544938 h 7216489"/>
                <a:gd name="connsiteX471" fmla="*/ 2205240 w 4016827"/>
                <a:gd name="connsiteY471" fmla="*/ 5615425 h 7216489"/>
                <a:gd name="connsiteX472" fmla="*/ 2134753 w 4016827"/>
                <a:gd name="connsiteY472" fmla="*/ 5544938 h 7216489"/>
                <a:gd name="connsiteX473" fmla="*/ 2205240 w 4016827"/>
                <a:gd name="connsiteY473" fmla="*/ 5474450 h 7216489"/>
                <a:gd name="connsiteX474" fmla="*/ 1822596 w 4016827"/>
                <a:gd name="connsiteY474" fmla="*/ 5467736 h 7216489"/>
                <a:gd name="connsiteX475" fmla="*/ 1893083 w 4016827"/>
                <a:gd name="connsiteY475" fmla="*/ 5538223 h 7216489"/>
                <a:gd name="connsiteX476" fmla="*/ 1822596 w 4016827"/>
                <a:gd name="connsiteY476" fmla="*/ 5608711 h 7216489"/>
                <a:gd name="connsiteX477" fmla="*/ 1752109 w 4016827"/>
                <a:gd name="connsiteY477" fmla="*/ 5538223 h 7216489"/>
                <a:gd name="connsiteX478" fmla="*/ 1822596 w 4016827"/>
                <a:gd name="connsiteY478" fmla="*/ 5467736 h 7216489"/>
                <a:gd name="connsiteX479" fmla="*/ 2601312 w 4016827"/>
                <a:gd name="connsiteY479" fmla="*/ 5461023 h 7216489"/>
                <a:gd name="connsiteX480" fmla="*/ 2675155 w 4016827"/>
                <a:gd name="connsiteY480" fmla="*/ 5534867 h 7216489"/>
                <a:gd name="connsiteX481" fmla="*/ 2601312 w 4016827"/>
                <a:gd name="connsiteY481" fmla="*/ 5608711 h 7216489"/>
                <a:gd name="connsiteX482" fmla="*/ 2527468 w 4016827"/>
                <a:gd name="connsiteY482" fmla="*/ 5534867 h 7216489"/>
                <a:gd name="connsiteX483" fmla="*/ 2601312 w 4016827"/>
                <a:gd name="connsiteY483" fmla="*/ 5461023 h 7216489"/>
                <a:gd name="connsiteX484" fmla="*/ 3631766 w 4016827"/>
                <a:gd name="connsiteY484" fmla="*/ 5450954 h 7216489"/>
                <a:gd name="connsiteX485" fmla="*/ 3678758 w 4016827"/>
                <a:gd name="connsiteY485" fmla="*/ 5497945 h 7216489"/>
                <a:gd name="connsiteX486" fmla="*/ 3631766 w 4016827"/>
                <a:gd name="connsiteY486" fmla="*/ 5544937 h 7216489"/>
                <a:gd name="connsiteX487" fmla="*/ 3584774 w 4016827"/>
                <a:gd name="connsiteY487" fmla="*/ 5497945 h 7216489"/>
                <a:gd name="connsiteX488" fmla="*/ 3631766 w 4016827"/>
                <a:gd name="connsiteY488" fmla="*/ 5450954 h 7216489"/>
                <a:gd name="connsiteX489" fmla="*/ 3010808 w 4016827"/>
                <a:gd name="connsiteY489" fmla="*/ 5437528 h 7216489"/>
                <a:gd name="connsiteX490" fmla="*/ 3071226 w 4016827"/>
                <a:gd name="connsiteY490" fmla="*/ 5497946 h 7216489"/>
                <a:gd name="connsiteX491" fmla="*/ 3010808 w 4016827"/>
                <a:gd name="connsiteY491" fmla="*/ 5558364 h 7216489"/>
                <a:gd name="connsiteX492" fmla="*/ 2950390 w 4016827"/>
                <a:gd name="connsiteY492" fmla="*/ 5497946 h 7216489"/>
                <a:gd name="connsiteX493" fmla="*/ 3010808 w 4016827"/>
                <a:gd name="connsiteY493" fmla="*/ 5437528 h 7216489"/>
                <a:gd name="connsiteX494" fmla="*/ 1453378 w 4016827"/>
                <a:gd name="connsiteY494" fmla="*/ 5434171 h 7216489"/>
                <a:gd name="connsiteX495" fmla="*/ 1530578 w 4016827"/>
                <a:gd name="connsiteY495" fmla="*/ 5511371 h 7216489"/>
                <a:gd name="connsiteX496" fmla="*/ 1453378 w 4016827"/>
                <a:gd name="connsiteY496" fmla="*/ 5588572 h 7216489"/>
                <a:gd name="connsiteX497" fmla="*/ 1376178 w 4016827"/>
                <a:gd name="connsiteY497" fmla="*/ 5511371 h 7216489"/>
                <a:gd name="connsiteX498" fmla="*/ 1453378 w 4016827"/>
                <a:gd name="connsiteY498" fmla="*/ 5434171 h 7216489"/>
                <a:gd name="connsiteX499" fmla="*/ 1097585 w 4016827"/>
                <a:gd name="connsiteY499" fmla="*/ 5410676 h 7216489"/>
                <a:gd name="connsiteX500" fmla="*/ 1158003 w 4016827"/>
                <a:gd name="connsiteY500" fmla="*/ 5471094 h 7216489"/>
                <a:gd name="connsiteX501" fmla="*/ 1097585 w 4016827"/>
                <a:gd name="connsiteY501" fmla="*/ 5531511 h 7216489"/>
                <a:gd name="connsiteX502" fmla="*/ 1037168 w 4016827"/>
                <a:gd name="connsiteY502" fmla="*/ 5471094 h 7216489"/>
                <a:gd name="connsiteX503" fmla="*/ 1097585 w 4016827"/>
                <a:gd name="connsiteY503" fmla="*/ 5410676 h 7216489"/>
                <a:gd name="connsiteX504" fmla="*/ 751863 w 4016827"/>
                <a:gd name="connsiteY504" fmla="*/ 5393893 h 7216489"/>
                <a:gd name="connsiteX505" fmla="*/ 778715 w 4016827"/>
                <a:gd name="connsiteY505" fmla="*/ 5420746 h 7216489"/>
                <a:gd name="connsiteX506" fmla="*/ 751863 w 4016827"/>
                <a:gd name="connsiteY506" fmla="*/ 5447598 h 7216489"/>
                <a:gd name="connsiteX507" fmla="*/ 725011 w 4016827"/>
                <a:gd name="connsiteY507" fmla="*/ 5420746 h 7216489"/>
                <a:gd name="connsiteX508" fmla="*/ 751863 w 4016827"/>
                <a:gd name="connsiteY508" fmla="*/ 5393893 h 7216489"/>
                <a:gd name="connsiteX509" fmla="*/ 3437087 w 4016827"/>
                <a:gd name="connsiteY509" fmla="*/ 5380467 h 7216489"/>
                <a:gd name="connsiteX510" fmla="*/ 3490792 w 4016827"/>
                <a:gd name="connsiteY510" fmla="*/ 5434172 h 7216489"/>
                <a:gd name="connsiteX511" fmla="*/ 3437087 w 4016827"/>
                <a:gd name="connsiteY511" fmla="*/ 5487876 h 7216489"/>
                <a:gd name="connsiteX512" fmla="*/ 3383382 w 4016827"/>
                <a:gd name="connsiteY512" fmla="*/ 5434172 h 7216489"/>
                <a:gd name="connsiteX513" fmla="*/ 3437087 w 4016827"/>
                <a:gd name="connsiteY513" fmla="*/ 5380467 h 7216489"/>
                <a:gd name="connsiteX514" fmla="*/ 2430128 w 4016827"/>
                <a:gd name="connsiteY514" fmla="*/ 5360328 h 7216489"/>
                <a:gd name="connsiteX515" fmla="*/ 2497259 w 4016827"/>
                <a:gd name="connsiteY515" fmla="*/ 5427459 h 7216489"/>
                <a:gd name="connsiteX516" fmla="*/ 2430128 w 4016827"/>
                <a:gd name="connsiteY516" fmla="*/ 5494590 h 7216489"/>
                <a:gd name="connsiteX517" fmla="*/ 2362997 w 4016827"/>
                <a:gd name="connsiteY517" fmla="*/ 5427459 h 7216489"/>
                <a:gd name="connsiteX518" fmla="*/ 2430128 w 4016827"/>
                <a:gd name="connsiteY518" fmla="*/ 5360328 h 7216489"/>
                <a:gd name="connsiteX519" fmla="*/ 2040771 w 4016827"/>
                <a:gd name="connsiteY519" fmla="*/ 5356972 h 7216489"/>
                <a:gd name="connsiteX520" fmla="*/ 2107902 w 4016827"/>
                <a:gd name="connsiteY520" fmla="*/ 5424102 h 7216489"/>
                <a:gd name="connsiteX521" fmla="*/ 2040771 w 4016827"/>
                <a:gd name="connsiteY521" fmla="*/ 5491233 h 7216489"/>
                <a:gd name="connsiteX522" fmla="*/ 1973640 w 4016827"/>
                <a:gd name="connsiteY522" fmla="*/ 5424102 h 7216489"/>
                <a:gd name="connsiteX523" fmla="*/ 2040771 w 4016827"/>
                <a:gd name="connsiteY523" fmla="*/ 5356972 h 7216489"/>
                <a:gd name="connsiteX524" fmla="*/ 2829555 w 4016827"/>
                <a:gd name="connsiteY524" fmla="*/ 5346902 h 7216489"/>
                <a:gd name="connsiteX525" fmla="*/ 2886616 w 4016827"/>
                <a:gd name="connsiteY525" fmla="*/ 5407320 h 7216489"/>
                <a:gd name="connsiteX526" fmla="*/ 2829555 w 4016827"/>
                <a:gd name="connsiteY526" fmla="*/ 5467737 h 7216489"/>
                <a:gd name="connsiteX527" fmla="*/ 2769137 w 4016827"/>
                <a:gd name="connsiteY527" fmla="*/ 5407320 h 7216489"/>
                <a:gd name="connsiteX528" fmla="*/ 2829555 w 4016827"/>
                <a:gd name="connsiteY528" fmla="*/ 5346902 h 7216489"/>
                <a:gd name="connsiteX529" fmla="*/ 1668195 w 4016827"/>
                <a:gd name="connsiteY529" fmla="*/ 5333476 h 7216489"/>
                <a:gd name="connsiteX530" fmla="*/ 1738683 w 4016827"/>
                <a:gd name="connsiteY530" fmla="*/ 5403963 h 7216489"/>
                <a:gd name="connsiteX531" fmla="*/ 1668195 w 4016827"/>
                <a:gd name="connsiteY531" fmla="*/ 5474450 h 7216489"/>
                <a:gd name="connsiteX532" fmla="*/ 1597708 w 4016827"/>
                <a:gd name="connsiteY532" fmla="*/ 5403963 h 7216489"/>
                <a:gd name="connsiteX533" fmla="*/ 1668195 w 4016827"/>
                <a:gd name="connsiteY533" fmla="*/ 5333476 h 7216489"/>
                <a:gd name="connsiteX534" fmla="*/ 3249123 w 4016827"/>
                <a:gd name="connsiteY534" fmla="*/ 5309980 h 7216489"/>
                <a:gd name="connsiteX535" fmla="*/ 3299470 w 4016827"/>
                <a:gd name="connsiteY535" fmla="*/ 5360328 h 7216489"/>
                <a:gd name="connsiteX536" fmla="*/ 3249123 w 4016827"/>
                <a:gd name="connsiteY536" fmla="*/ 5410676 h 7216489"/>
                <a:gd name="connsiteX537" fmla="*/ 3198774 w 4016827"/>
                <a:gd name="connsiteY537" fmla="*/ 5360328 h 7216489"/>
                <a:gd name="connsiteX538" fmla="*/ 3249123 w 4016827"/>
                <a:gd name="connsiteY538" fmla="*/ 5309980 h 7216489"/>
                <a:gd name="connsiteX539" fmla="*/ 3876792 w 4016827"/>
                <a:gd name="connsiteY539" fmla="*/ 5296554 h 7216489"/>
                <a:gd name="connsiteX540" fmla="*/ 3907000 w 4016827"/>
                <a:gd name="connsiteY540" fmla="*/ 5326763 h 7216489"/>
                <a:gd name="connsiteX541" fmla="*/ 3876792 w 4016827"/>
                <a:gd name="connsiteY541" fmla="*/ 5356972 h 7216489"/>
                <a:gd name="connsiteX542" fmla="*/ 3846584 w 4016827"/>
                <a:gd name="connsiteY542" fmla="*/ 5326763 h 7216489"/>
                <a:gd name="connsiteX543" fmla="*/ 3876792 w 4016827"/>
                <a:gd name="connsiteY543" fmla="*/ 5296554 h 7216489"/>
                <a:gd name="connsiteX544" fmla="*/ 1309047 w 4016827"/>
                <a:gd name="connsiteY544" fmla="*/ 5293197 h 7216489"/>
                <a:gd name="connsiteX545" fmla="*/ 1382891 w 4016827"/>
                <a:gd name="connsiteY545" fmla="*/ 5367041 h 7216489"/>
                <a:gd name="connsiteX546" fmla="*/ 1309047 w 4016827"/>
                <a:gd name="connsiteY546" fmla="*/ 5440884 h 7216489"/>
                <a:gd name="connsiteX547" fmla="*/ 1235203 w 4016827"/>
                <a:gd name="connsiteY547" fmla="*/ 5367041 h 7216489"/>
                <a:gd name="connsiteX548" fmla="*/ 1309047 w 4016827"/>
                <a:gd name="connsiteY548" fmla="*/ 5293197 h 7216489"/>
                <a:gd name="connsiteX549" fmla="*/ 963324 w 4016827"/>
                <a:gd name="connsiteY549" fmla="*/ 5246206 h 7216489"/>
                <a:gd name="connsiteX550" fmla="*/ 1037168 w 4016827"/>
                <a:gd name="connsiteY550" fmla="*/ 5320050 h 7216489"/>
                <a:gd name="connsiteX551" fmla="*/ 963324 w 4016827"/>
                <a:gd name="connsiteY551" fmla="*/ 5393893 h 7216489"/>
                <a:gd name="connsiteX552" fmla="*/ 889480 w 4016827"/>
                <a:gd name="connsiteY552" fmla="*/ 5320050 h 7216489"/>
                <a:gd name="connsiteX553" fmla="*/ 963324 w 4016827"/>
                <a:gd name="connsiteY553" fmla="*/ 5246206 h 7216489"/>
                <a:gd name="connsiteX554" fmla="*/ 2262301 w 4016827"/>
                <a:gd name="connsiteY554" fmla="*/ 5242849 h 7216489"/>
                <a:gd name="connsiteX555" fmla="*/ 2329432 w 4016827"/>
                <a:gd name="connsiteY555" fmla="*/ 5309980 h 7216489"/>
                <a:gd name="connsiteX556" fmla="*/ 2262301 w 4016827"/>
                <a:gd name="connsiteY556" fmla="*/ 5377111 h 7216489"/>
                <a:gd name="connsiteX557" fmla="*/ 2195170 w 4016827"/>
                <a:gd name="connsiteY557" fmla="*/ 5309980 h 7216489"/>
                <a:gd name="connsiteX558" fmla="*/ 2262301 w 4016827"/>
                <a:gd name="connsiteY558" fmla="*/ 5242849 h 7216489"/>
                <a:gd name="connsiteX559" fmla="*/ 3682113 w 4016827"/>
                <a:gd name="connsiteY559" fmla="*/ 5239493 h 7216489"/>
                <a:gd name="connsiteX560" fmla="*/ 3719036 w 4016827"/>
                <a:gd name="connsiteY560" fmla="*/ 5276415 h 7216489"/>
                <a:gd name="connsiteX561" fmla="*/ 3682113 w 4016827"/>
                <a:gd name="connsiteY561" fmla="*/ 5313337 h 7216489"/>
                <a:gd name="connsiteX562" fmla="*/ 3645192 w 4016827"/>
                <a:gd name="connsiteY562" fmla="*/ 5276415 h 7216489"/>
                <a:gd name="connsiteX563" fmla="*/ 3682113 w 4016827"/>
                <a:gd name="connsiteY563" fmla="*/ 5239493 h 7216489"/>
                <a:gd name="connsiteX564" fmla="*/ 2655015 w 4016827"/>
                <a:gd name="connsiteY564" fmla="*/ 5239493 h 7216489"/>
                <a:gd name="connsiteX565" fmla="*/ 2718789 w 4016827"/>
                <a:gd name="connsiteY565" fmla="*/ 5303267 h 7216489"/>
                <a:gd name="connsiteX566" fmla="*/ 2655015 w 4016827"/>
                <a:gd name="connsiteY566" fmla="*/ 5367040 h 7216489"/>
                <a:gd name="connsiteX567" fmla="*/ 2591241 w 4016827"/>
                <a:gd name="connsiteY567" fmla="*/ 5303267 h 7216489"/>
                <a:gd name="connsiteX568" fmla="*/ 2655015 w 4016827"/>
                <a:gd name="connsiteY568" fmla="*/ 5239493 h 7216489"/>
                <a:gd name="connsiteX569" fmla="*/ 1886370 w 4016827"/>
                <a:gd name="connsiteY569" fmla="*/ 5222710 h 7216489"/>
                <a:gd name="connsiteX570" fmla="*/ 1956858 w 4016827"/>
                <a:gd name="connsiteY570" fmla="*/ 5293197 h 7216489"/>
                <a:gd name="connsiteX571" fmla="*/ 1886370 w 4016827"/>
                <a:gd name="connsiteY571" fmla="*/ 5363685 h 7216489"/>
                <a:gd name="connsiteX572" fmla="*/ 1815883 w 4016827"/>
                <a:gd name="connsiteY572" fmla="*/ 5293197 h 7216489"/>
                <a:gd name="connsiteX573" fmla="*/ 1886370 w 4016827"/>
                <a:gd name="connsiteY573" fmla="*/ 5222710 h 7216489"/>
                <a:gd name="connsiteX574" fmla="*/ 3064512 w 4016827"/>
                <a:gd name="connsiteY574" fmla="*/ 5212641 h 7216489"/>
                <a:gd name="connsiteX575" fmla="*/ 3124930 w 4016827"/>
                <a:gd name="connsiteY575" fmla="*/ 5273058 h 7216489"/>
                <a:gd name="connsiteX576" fmla="*/ 3064512 w 4016827"/>
                <a:gd name="connsiteY576" fmla="*/ 5333476 h 7216489"/>
                <a:gd name="connsiteX577" fmla="*/ 3004095 w 4016827"/>
                <a:gd name="connsiteY577" fmla="*/ 5273058 h 7216489"/>
                <a:gd name="connsiteX578" fmla="*/ 3064512 w 4016827"/>
                <a:gd name="connsiteY578" fmla="*/ 5212641 h 7216489"/>
                <a:gd name="connsiteX579" fmla="*/ 1523864 w 4016827"/>
                <a:gd name="connsiteY579" fmla="*/ 5185788 h 7216489"/>
                <a:gd name="connsiteX580" fmla="*/ 1597708 w 4016827"/>
                <a:gd name="connsiteY580" fmla="*/ 5259632 h 7216489"/>
                <a:gd name="connsiteX581" fmla="*/ 1523864 w 4016827"/>
                <a:gd name="connsiteY581" fmla="*/ 5333476 h 7216489"/>
                <a:gd name="connsiteX582" fmla="*/ 1450020 w 4016827"/>
                <a:gd name="connsiteY582" fmla="*/ 5259632 h 7216489"/>
                <a:gd name="connsiteX583" fmla="*/ 1523864 w 4016827"/>
                <a:gd name="connsiteY583" fmla="*/ 5185788 h 7216489"/>
                <a:gd name="connsiteX584" fmla="*/ 3487436 w 4016827"/>
                <a:gd name="connsiteY584" fmla="*/ 5169006 h 7216489"/>
                <a:gd name="connsiteX585" fmla="*/ 3531070 w 4016827"/>
                <a:gd name="connsiteY585" fmla="*/ 5212641 h 7216489"/>
                <a:gd name="connsiteX586" fmla="*/ 3487436 w 4016827"/>
                <a:gd name="connsiteY586" fmla="*/ 5256275 h 7216489"/>
                <a:gd name="connsiteX587" fmla="*/ 3443800 w 4016827"/>
                <a:gd name="connsiteY587" fmla="*/ 5212641 h 7216489"/>
                <a:gd name="connsiteX588" fmla="*/ 3487436 w 4016827"/>
                <a:gd name="connsiteY588" fmla="*/ 5169006 h 7216489"/>
                <a:gd name="connsiteX589" fmla="*/ 1174786 w 4016827"/>
                <a:gd name="connsiteY589" fmla="*/ 5142153 h 7216489"/>
                <a:gd name="connsiteX590" fmla="*/ 1248629 w 4016827"/>
                <a:gd name="connsiteY590" fmla="*/ 5215997 h 7216489"/>
                <a:gd name="connsiteX591" fmla="*/ 1174786 w 4016827"/>
                <a:gd name="connsiteY591" fmla="*/ 5289841 h 7216489"/>
                <a:gd name="connsiteX592" fmla="*/ 1100942 w 4016827"/>
                <a:gd name="connsiteY592" fmla="*/ 5215997 h 7216489"/>
                <a:gd name="connsiteX593" fmla="*/ 1174786 w 4016827"/>
                <a:gd name="connsiteY593" fmla="*/ 5142153 h 7216489"/>
                <a:gd name="connsiteX594" fmla="*/ 2487189 w 4016827"/>
                <a:gd name="connsiteY594" fmla="*/ 5132084 h 7216489"/>
                <a:gd name="connsiteX595" fmla="*/ 2544250 w 4016827"/>
                <a:gd name="connsiteY595" fmla="*/ 5189145 h 7216489"/>
                <a:gd name="connsiteX596" fmla="*/ 2487189 w 4016827"/>
                <a:gd name="connsiteY596" fmla="*/ 5246206 h 7216489"/>
                <a:gd name="connsiteX597" fmla="*/ 2430128 w 4016827"/>
                <a:gd name="connsiteY597" fmla="*/ 5189145 h 7216489"/>
                <a:gd name="connsiteX598" fmla="*/ 2487189 w 4016827"/>
                <a:gd name="connsiteY598" fmla="*/ 5132084 h 7216489"/>
                <a:gd name="connsiteX599" fmla="*/ 2886616 w 4016827"/>
                <a:gd name="connsiteY599" fmla="*/ 5125371 h 7216489"/>
                <a:gd name="connsiteX600" fmla="*/ 2940320 w 4016827"/>
                <a:gd name="connsiteY600" fmla="*/ 5179075 h 7216489"/>
                <a:gd name="connsiteX601" fmla="*/ 2886616 w 4016827"/>
                <a:gd name="connsiteY601" fmla="*/ 5232780 h 7216489"/>
                <a:gd name="connsiteX602" fmla="*/ 2832911 w 4016827"/>
                <a:gd name="connsiteY602" fmla="*/ 5179075 h 7216489"/>
                <a:gd name="connsiteX603" fmla="*/ 2886616 w 4016827"/>
                <a:gd name="connsiteY603" fmla="*/ 5125371 h 7216489"/>
                <a:gd name="connsiteX604" fmla="*/ 2104544 w 4016827"/>
                <a:gd name="connsiteY604" fmla="*/ 5122014 h 7216489"/>
                <a:gd name="connsiteX605" fmla="*/ 2164962 w 4016827"/>
                <a:gd name="connsiteY605" fmla="*/ 5182432 h 7216489"/>
                <a:gd name="connsiteX606" fmla="*/ 2104544 w 4016827"/>
                <a:gd name="connsiteY606" fmla="*/ 5242849 h 7216489"/>
                <a:gd name="connsiteX607" fmla="*/ 2044126 w 4016827"/>
                <a:gd name="connsiteY607" fmla="*/ 5182432 h 7216489"/>
                <a:gd name="connsiteX608" fmla="*/ 2104544 w 4016827"/>
                <a:gd name="connsiteY608" fmla="*/ 5122014 h 7216489"/>
                <a:gd name="connsiteX609" fmla="*/ 835776 w 4016827"/>
                <a:gd name="connsiteY609" fmla="*/ 5101875 h 7216489"/>
                <a:gd name="connsiteX610" fmla="*/ 896194 w 4016827"/>
                <a:gd name="connsiteY610" fmla="*/ 5162292 h 7216489"/>
                <a:gd name="connsiteX611" fmla="*/ 835776 w 4016827"/>
                <a:gd name="connsiteY611" fmla="*/ 5222710 h 7216489"/>
                <a:gd name="connsiteX612" fmla="*/ 775359 w 4016827"/>
                <a:gd name="connsiteY612" fmla="*/ 5162292 h 7216489"/>
                <a:gd name="connsiteX613" fmla="*/ 835776 w 4016827"/>
                <a:gd name="connsiteY613" fmla="*/ 5101875 h 7216489"/>
                <a:gd name="connsiteX614" fmla="*/ 3299470 w 4016827"/>
                <a:gd name="connsiteY614" fmla="*/ 5098518 h 7216489"/>
                <a:gd name="connsiteX615" fmla="*/ 3336391 w 4016827"/>
                <a:gd name="connsiteY615" fmla="*/ 5135440 h 7216489"/>
                <a:gd name="connsiteX616" fmla="*/ 3299470 w 4016827"/>
                <a:gd name="connsiteY616" fmla="*/ 5172362 h 7216489"/>
                <a:gd name="connsiteX617" fmla="*/ 3262547 w 4016827"/>
                <a:gd name="connsiteY617" fmla="*/ 5135440 h 7216489"/>
                <a:gd name="connsiteX618" fmla="*/ 3299470 w 4016827"/>
                <a:gd name="connsiteY618" fmla="*/ 5098518 h 7216489"/>
                <a:gd name="connsiteX619" fmla="*/ 1738683 w 4016827"/>
                <a:gd name="connsiteY619" fmla="*/ 5091805 h 7216489"/>
                <a:gd name="connsiteX620" fmla="*/ 1802457 w 4016827"/>
                <a:gd name="connsiteY620" fmla="*/ 5155579 h 7216489"/>
                <a:gd name="connsiteX621" fmla="*/ 1738683 w 4016827"/>
                <a:gd name="connsiteY621" fmla="*/ 5219354 h 7216489"/>
                <a:gd name="connsiteX622" fmla="*/ 1674908 w 4016827"/>
                <a:gd name="connsiteY622" fmla="*/ 5155579 h 7216489"/>
                <a:gd name="connsiteX623" fmla="*/ 1738683 w 4016827"/>
                <a:gd name="connsiteY623" fmla="*/ 5091805 h 7216489"/>
                <a:gd name="connsiteX624" fmla="*/ 506836 w 4016827"/>
                <a:gd name="connsiteY624" fmla="*/ 5091805 h 7216489"/>
                <a:gd name="connsiteX625" fmla="*/ 513549 w 4016827"/>
                <a:gd name="connsiteY625" fmla="*/ 5098518 h 7216489"/>
                <a:gd name="connsiteX626" fmla="*/ 506836 w 4016827"/>
                <a:gd name="connsiteY626" fmla="*/ 5105231 h 7216489"/>
                <a:gd name="connsiteX627" fmla="*/ 500123 w 4016827"/>
                <a:gd name="connsiteY627" fmla="*/ 5098518 h 7216489"/>
                <a:gd name="connsiteX628" fmla="*/ 506836 w 4016827"/>
                <a:gd name="connsiteY628" fmla="*/ 5091805 h 7216489"/>
                <a:gd name="connsiteX629" fmla="*/ 3927141 w 4016827"/>
                <a:gd name="connsiteY629" fmla="*/ 5088449 h 7216489"/>
                <a:gd name="connsiteX630" fmla="*/ 3943923 w 4016827"/>
                <a:gd name="connsiteY630" fmla="*/ 5105231 h 7216489"/>
                <a:gd name="connsiteX631" fmla="*/ 3927141 w 4016827"/>
                <a:gd name="connsiteY631" fmla="*/ 5122014 h 7216489"/>
                <a:gd name="connsiteX632" fmla="*/ 3910358 w 4016827"/>
                <a:gd name="connsiteY632" fmla="*/ 5105231 h 7216489"/>
                <a:gd name="connsiteX633" fmla="*/ 3927141 w 4016827"/>
                <a:gd name="connsiteY633" fmla="*/ 5088449 h 7216489"/>
                <a:gd name="connsiteX634" fmla="*/ 1382891 w 4016827"/>
                <a:gd name="connsiteY634" fmla="*/ 5041457 h 7216489"/>
                <a:gd name="connsiteX635" fmla="*/ 1453378 w 4016827"/>
                <a:gd name="connsiteY635" fmla="*/ 5111944 h 7216489"/>
                <a:gd name="connsiteX636" fmla="*/ 1382891 w 4016827"/>
                <a:gd name="connsiteY636" fmla="*/ 5182432 h 7216489"/>
                <a:gd name="connsiteX637" fmla="*/ 1312404 w 4016827"/>
                <a:gd name="connsiteY637" fmla="*/ 5111944 h 7216489"/>
                <a:gd name="connsiteX638" fmla="*/ 1382891 w 4016827"/>
                <a:gd name="connsiteY638" fmla="*/ 5041457 h 7216489"/>
                <a:gd name="connsiteX639" fmla="*/ 3732462 w 4016827"/>
                <a:gd name="connsiteY639" fmla="*/ 5028031 h 7216489"/>
                <a:gd name="connsiteX640" fmla="*/ 3759314 w 4016827"/>
                <a:gd name="connsiteY640" fmla="*/ 5054883 h 7216489"/>
                <a:gd name="connsiteX641" fmla="*/ 3732462 w 4016827"/>
                <a:gd name="connsiteY641" fmla="*/ 5081736 h 7216489"/>
                <a:gd name="connsiteX642" fmla="*/ 3705610 w 4016827"/>
                <a:gd name="connsiteY642" fmla="*/ 5054883 h 7216489"/>
                <a:gd name="connsiteX643" fmla="*/ 3732462 w 4016827"/>
                <a:gd name="connsiteY643" fmla="*/ 5028031 h 7216489"/>
                <a:gd name="connsiteX644" fmla="*/ 2712076 w 4016827"/>
                <a:gd name="connsiteY644" fmla="*/ 5014605 h 7216489"/>
                <a:gd name="connsiteX645" fmla="*/ 2769137 w 4016827"/>
                <a:gd name="connsiteY645" fmla="*/ 5071666 h 7216489"/>
                <a:gd name="connsiteX646" fmla="*/ 2712076 w 4016827"/>
                <a:gd name="connsiteY646" fmla="*/ 5128727 h 7216489"/>
                <a:gd name="connsiteX647" fmla="*/ 2655015 w 4016827"/>
                <a:gd name="connsiteY647" fmla="*/ 5071666 h 7216489"/>
                <a:gd name="connsiteX648" fmla="*/ 2712076 w 4016827"/>
                <a:gd name="connsiteY648" fmla="*/ 5014605 h 7216489"/>
                <a:gd name="connsiteX649" fmla="*/ 2326076 w 4016827"/>
                <a:gd name="connsiteY649" fmla="*/ 5007892 h 7216489"/>
                <a:gd name="connsiteX650" fmla="*/ 2386493 w 4016827"/>
                <a:gd name="connsiteY650" fmla="*/ 5068309 h 7216489"/>
                <a:gd name="connsiteX651" fmla="*/ 2326076 w 4016827"/>
                <a:gd name="connsiteY651" fmla="*/ 5128727 h 7216489"/>
                <a:gd name="connsiteX652" fmla="*/ 2265658 w 4016827"/>
                <a:gd name="connsiteY652" fmla="*/ 5068309 h 7216489"/>
                <a:gd name="connsiteX653" fmla="*/ 2326076 w 4016827"/>
                <a:gd name="connsiteY653" fmla="*/ 5007892 h 7216489"/>
                <a:gd name="connsiteX654" fmla="*/ 3118216 w 4016827"/>
                <a:gd name="connsiteY654" fmla="*/ 4997822 h 7216489"/>
                <a:gd name="connsiteX655" fmla="*/ 3168564 w 4016827"/>
                <a:gd name="connsiteY655" fmla="*/ 5048170 h 7216489"/>
                <a:gd name="connsiteX656" fmla="*/ 3118216 w 4016827"/>
                <a:gd name="connsiteY656" fmla="*/ 5098518 h 7216489"/>
                <a:gd name="connsiteX657" fmla="*/ 3067869 w 4016827"/>
                <a:gd name="connsiteY657" fmla="*/ 5048170 h 7216489"/>
                <a:gd name="connsiteX658" fmla="*/ 3118216 w 4016827"/>
                <a:gd name="connsiteY658" fmla="*/ 4997822 h 7216489"/>
                <a:gd name="connsiteX659" fmla="*/ 1043881 w 4016827"/>
                <a:gd name="connsiteY659" fmla="*/ 4987754 h 7216489"/>
                <a:gd name="connsiteX660" fmla="*/ 1117724 w 4016827"/>
                <a:gd name="connsiteY660" fmla="*/ 5061597 h 7216489"/>
                <a:gd name="connsiteX661" fmla="*/ 1043881 w 4016827"/>
                <a:gd name="connsiteY661" fmla="*/ 5135441 h 7216489"/>
                <a:gd name="connsiteX662" fmla="*/ 970037 w 4016827"/>
                <a:gd name="connsiteY662" fmla="*/ 5061597 h 7216489"/>
                <a:gd name="connsiteX663" fmla="*/ 1043881 w 4016827"/>
                <a:gd name="connsiteY663" fmla="*/ 4987754 h 7216489"/>
                <a:gd name="connsiteX664" fmla="*/ 1953501 w 4016827"/>
                <a:gd name="connsiteY664" fmla="*/ 4984396 h 7216489"/>
                <a:gd name="connsiteX665" fmla="*/ 2017275 w 4016827"/>
                <a:gd name="connsiteY665" fmla="*/ 5048170 h 7216489"/>
                <a:gd name="connsiteX666" fmla="*/ 1953501 w 4016827"/>
                <a:gd name="connsiteY666" fmla="*/ 5111944 h 7216489"/>
                <a:gd name="connsiteX667" fmla="*/ 1889727 w 4016827"/>
                <a:gd name="connsiteY667" fmla="*/ 5048170 h 7216489"/>
                <a:gd name="connsiteX668" fmla="*/ 1953501 w 4016827"/>
                <a:gd name="connsiteY668" fmla="*/ 4984396 h 7216489"/>
                <a:gd name="connsiteX669" fmla="*/ 3537783 w 4016827"/>
                <a:gd name="connsiteY669" fmla="*/ 4954188 h 7216489"/>
                <a:gd name="connsiteX670" fmla="*/ 3571348 w 4016827"/>
                <a:gd name="connsiteY670" fmla="*/ 4987754 h 7216489"/>
                <a:gd name="connsiteX671" fmla="*/ 3537783 w 4016827"/>
                <a:gd name="connsiteY671" fmla="*/ 5021319 h 7216489"/>
                <a:gd name="connsiteX672" fmla="*/ 3504218 w 4016827"/>
                <a:gd name="connsiteY672" fmla="*/ 4987754 h 7216489"/>
                <a:gd name="connsiteX673" fmla="*/ 3537783 w 4016827"/>
                <a:gd name="connsiteY673" fmla="*/ 4954188 h 7216489"/>
                <a:gd name="connsiteX674" fmla="*/ 1594352 w 4016827"/>
                <a:gd name="connsiteY674" fmla="*/ 4947474 h 7216489"/>
                <a:gd name="connsiteX675" fmla="*/ 1658126 w 4016827"/>
                <a:gd name="connsiteY675" fmla="*/ 5011248 h 7216489"/>
                <a:gd name="connsiteX676" fmla="*/ 1594352 w 4016827"/>
                <a:gd name="connsiteY676" fmla="*/ 5075023 h 7216489"/>
                <a:gd name="connsiteX677" fmla="*/ 1530577 w 4016827"/>
                <a:gd name="connsiteY677" fmla="*/ 5011248 h 7216489"/>
                <a:gd name="connsiteX678" fmla="*/ 1594352 w 4016827"/>
                <a:gd name="connsiteY678" fmla="*/ 4947474 h 7216489"/>
                <a:gd name="connsiteX679" fmla="*/ 711585 w 4016827"/>
                <a:gd name="connsiteY679" fmla="*/ 4937406 h 7216489"/>
                <a:gd name="connsiteX680" fmla="*/ 772002 w 4016827"/>
                <a:gd name="connsiteY680" fmla="*/ 4997823 h 7216489"/>
                <a:gd name="connsiteX681" fmla="*/ 711585 w 4016827"/>
                <a:gd name="connsiteY681" fmla="*/ 5058241 h 7216489"/>
                <a:gd name="connsiteX682" fmla="*/ 651167 w 4016827"/>
                <a:gd name="connsiteY682" fmla="*/ 4997823 h 7216489"/>
                <a:gd name="connsiteX683" fmla="*/ 711585 w 4016827"/>
                <a:gd name="connsiteY683" fmla="*/ 4937406 h 7216489"/>
                <a:gd name="connsiteX684" fmla="*/ 392714 w 4016827"/>
                <a:gd name="connsiteY684" fmla="*/ 4930691 h 7216489"/>
                <a:gd name="connsiteX685" fmla="*/ 392714 w 4016827"/>
                <a:gd name="connsiteY685" fmla="*/ 4934048 h 7216489"/>
                <a:gd name="connsiteX686" fmla="*/ 392714 w 4016827"/>
                <a:gd name="connsiteY686" fmla="*/ 4930691 h 7216489"/>
                <a:gd name="connsiteX687" fmla="*/ 2940320 w 4016827"/>
                <a:gd name="connsiteY687" fmla="*/ 4907196 h 7216489"/>
                <a:gd name="connsiteX688" fmla="*/ 2983956 w 4016827"/>
                <a:gd name="connsiteY688" fmla="*/ 4950831 h 7216489"/>
                <a:gd name="connsiteX689" fmla="*/ 2940320 w 4016827"/>
                <a:gd name="connsiteY689" fmla="*/ 4994466 h 7216489"/>
                <a:gd name="connsiteX690" fmla="*/ 2896686 w 4016827"/>
                <a:gd name="connsiteY690" fmla="*/ 4950831 h 7216489"/>
                <a:gd name="connsiteX691" fmla="*/ 2940320 w 4016827"/>
                <a:gd name="connsiteY691" fmla="*/ 4907196 h 7216489"/>
                <a:gd name="connsiteX692" fmla="*/ 2547607 w 4016827"/>
                <a:gd name="connsiteY692" fmla="*/ 4903840 h 7216489"/>
                <a:gd name="connsiteX693" fmla="*/ 2597955 w 4016827"/>
                <a:gd name="connsiteY693" fmla="*/ 4954188 h 7216489"/>
                <a:gd name="connsiteX694" fmla="*/ 2547607 w 4016827"/>
                <a:gd name="connsiteY694" fmla="*/ 5004536 h 7216489"/>
                <a:gd name="connsiteX695" fmla="*/ 2497259 w 4016827"/>
                <a:gd name="connsiteY695" fmla="*/ 4954188 h 7216489"/>
                <a:gd name="connsiteX696" fmla="*/ 2547607 w 4016827"/>
                <a:gd name="connsiteY696" fmla="*/ 4903840 h 7216489"/>
                <a:gd name="connsiteX697" fmla="*/ 3353174 w 4016827"/>
                <a:gd name="connsiteY697" fmla="*/ 4883701 h 7216489"/>
                <a:gd name="connsiteX698" fmla="*/ 3380027 w 4016827"/>
                <a:gd name="connsiteY698" fmla="*/ 4910553 h 7216489"/>
                <a:gd name="connsiteX699" fmla="*/ 3353174 w 4016827"/>
                <a:gd name="connsiteY699" fmla="*/ 4937406 h 7216489"/>
                <a:gd name="connsiteX700" fmla="*/ 3326322 w 4016827"/>
                <a:gd name="connsiteY700" fmla="*/ 4910553 h 7216489"/>
                <a:gd name="connsiteX701" fmla="*/ 3353174 w 4016827"/>
                <a:gd name="connsiteY701" fmla="*/ 4883701 h 7216489"/>
                <a:gd name="connsiteX702" fmla="*/ 1251986 w 4016827"/>
                <a:gd name="connsiteY702" fmla="*/ 4883701 h 7216489"/>
                <a:gd name="connsiteX703" fmla="*/ 1325830 w 4016827"/>
                <a:gd name="connsiteY703" fmla="*/ 4957545 h 7216489"/>
                <a:gd name="connsiteX704" fmla="*/ 1251986 w 4016827"/>
                <a:gd name="connsiteY704" fmla="*/ 5031389 h 7216489"/>
                <a:gd name="connsiteX705" fmla="*/ 1178142 w 4016827"/>
                <a:gd name="connsiteY705" fmla="*/ 4957545 h 7216489"/>
                <a:gd name="connsiteX706" fmla="*/ 1251986 w 4016827"/>
                <a:gd name="connsiteY706" fmla="*/ 4883701 h 7216489"/>
                <a:gd name="connsiteX707" fmla="*/ 2168318 w 4016827"/>
                <a:gd name="connsiteY707" fmla="*/ 4873631 h 7216489"/>
                <a:gd name="connsiteX708" fmla="*/ 2232092 w 4016827"/>
                <a:gd name="connsiteY708" fmla="*/ 4937406 h 7216489"/>
                <a:gd name="connsiteX709" fmla="*/ 2168318 w 4016827"/>
                <a:gd name="connsiteY709" fmla="*/ 5001180 h 7216489"/>
                <a:gd name="connsiteX710" fmla="*/ 2104544 w 4016827"/>
                <a:gd name="connsiteY710" fmla="*/ 4937406 h 7216489"/>
                <a:gd name="connsiteX711" fmla="*/ 2168318 w 4016827"/>
                <a:gd name="connsiteY711" fmla="*/ 4873631 h 7216489"/>
                <a:gd name="connsiteX712" fmla="*/ 3977488 w 4016827"/>
                <a:gd name="connsiteY712" fmla="*/ 4873630 h 7216489"/>
                <a:gd name="connsiteX713" fmla="*/ 3990914 w 4016827"/>
                <a:gd name="connsiteY713" fmla="*/ 4887056 h 7216489"/>
                <a:gd name="connsiteX714" fmla="*/ 3977488 w 4016827"/>
                <a:gd name="connsiteY714" fmla="*/ 4900483 h 7216489"/>
                <a:gd name="connsiteX715" fmla="*/ 3964062 w 4016827"/>
                <a:gd name="connsiteY715" fmla="*/ 4887056 h 7216489"/>
                <a:gd name="connsiteX716" fmla="*/ 3977488 w 4016827"/>
                <a:gd name="connsiteY716" fmla="*/ 4873630 h 7216489"/>
                <a:gd name="connsiteX717" fmla="*/ 1809170 w 4016827"/>
                <a:gd name="connsiteY717" fmla="*/ 4843423 h 7216489"/>
                <a:gd name="connsiteX718" fmla="*/ 1872944 w 4016827"/>
                <a:gd name="connsiteY718" fmla="*/ 4907197 h 7216489"/>
                <a:gd name="connsiteX719" fmla="*/ 1809170 w 4016827"/>
                <a:gd name="connsiteY719" fmla="*/ 4970971 h 7216489"/>
                <a:gd name="connsiteX720" fmla="*/ 1745396 w 4016827"/>
                <a:gd name="connsiteY720" fmla="*/ 4907197 h 7216489"/>
                <a:gd name="connsiteX721" fmla="*/ 1809170 w 4016827"/>
                <a:gd name="connsiteY721" fmla="*/ 4843423 h 7216489"/>
                <a:gd name="connsiteX722" fmla="*/ 919690 w 4016827"/>
                <a:gd name="connsiteY722" fmla="*/ 4826640 h 7216489"/>
                <a:gd name="connsiteX723" fmla="*/ 993534 w 4016827"/>
                <a:gd name="connsiteY723" fmla="*/ 4900484 h 7216489"/>
                <a:gd name="connsiteX724" fmla="*/ 919690 w 4016827"/>
                <a:gd name="connsiteY724" fmla="*/ 4974327 h 7216489"/>
                <a:gd name="connsiteX725" fmla="*/ 845846 w 4016827"/>
                <a:gd name="connsiteY725" fmla="*/ 4900484 h 7216489"/>
                <a:gd name="connsiteX726" fmla="*/ 919690 w 4016827"/>
                <a:gd name="connsiteY726" fmla="*/ 4826640 h 7216489"/>
                <a:gd name="connsiteX727" fmla="*/ 3782809 w 4016827"/>
                <a:gd name="connsiteY727" fmla="*/ 4813213 h 7216489"/>
                <a:gd name="connsiteX728" fmla="*/ 3802948 w 4016827"/>
                <a:gd name="connsiteY728" fmla="*/ 4833352 h 7216489"/>
                <a:gd name="connsiteX729" fmla="*/ 3782809 w 4016827"/>
                <a:gd name="connsiteY729" fmla="*/ 4853491 h 7216489"/>
                <a:gd name="connsiteX730" fmla="*/ 3762670 w 4016827"/>
                <a:gd name="connsiteY730" fmla="*/ 4833352 h 7216489"/>
                <a:gd name="connsiteX731" fmla="*/ 3782809 w 4016827"/>
                <a:gd name="connsiteY731" fmla="*/ 4813213 h 7216489"/>
                <a:gd name="connsiteX732" fmla="*/ 597462 w 4016827"/>
                <a:gd name="connsiteY732" fmla="*/ 4799788 h 7216489"/>
                <a:gd name="connsiteX733" fmla="*/ 627671 w 4016827"/>
                <a:gd name="connsiteY733" fmla="*/ 4829996 h 7216489"/>
                <a:gd name="connsiteX734" fmla="*/ 597462 w 4016827"/>
                <a:gd name="connsiteY734" fmla="*/ 4860205 h 7216489"/>
                <a:gd name="connsiteX735" fmla="*/ 567254 w 4016827"/>
                <a:gd name="connsiteY735" fmla="*/ 4829996 h 7216489"/>
                <a:gd name="connsiteX736" fmla="*/ 597462 w 4016827"/>
                <a:gd name="connsiteY736" fmla="*/ 4799788 h 7216489"/>
                <a:gd name="connsiteX737" fmla="*/ 3171920 w 4016827"/>
                <a:gd name="connsiteY737" fmla="*/ 4793075 h 7216489"/>
                <a:gd name="connsiteX738" fmla="*/ 3198772 w 4016827"/>
                <a:gd name="connsiteY738" fmla="*/ 4819927 h 7216489"/>
                <a:gd name="connsiteX739" fmla="*/ 3171920 w 4016827"/>
                <a:gd name="connsiteY739" fmla="*/ 4846779 h 7216489"/>
                <a:gd name="connsiteX740" fmla="*/ 3145067 w 4016827"/>
                <a:gd name="connsiteY740" fmla="*/ 4819927 h 7216489"/>
                <a:gd name="connsiteX741" fmla="*/ 3171920 w 4016827"/>
                <a:gd name="connsiteY741" fmla="*/ 4793075 h 7216489"/>
                <a:gd name="connsiteX742" fmla="*/ 2769137 w 4016827"/>
                <a:gd name="connsiteY742" fmla="*/ 4789718 h 7216489"/>
                <a:gd name="connsiteX743" fmla="*/ 2816129 w 4016827"/>
                <a:gd name="connsiteY743" fmla="*/ 4836710 h 7216489"/>
                <a:gd name="connsiteX744" fmla="*/ 2769137 w 4016827"/>
                <a:gd name="connsiteY744" fmla="*/ 4883701 h 7216489"/>
                <a:gd name="connsiteX745" fmla="*/ 2722146 w 4016827"/>
                <a:gd name="connsiteY745" fmla="*/ 4836710 h 7216489"/>
                <a:gd name="connsiteX746" fmla="*/ 2769137 w 4016827"/>
                <a:gd name="connsiteY746" fmla="*/ 4789718 h 7216489"/>
                <a:gd name="connsiteX747" fmla="*/ 1460091 w 4016827"/>
                <a:gd name="connsiteY747" fmla="*/ 4789718 h 7216489"/>
                <a:gd name="connsiteX748" fmla="*/ 1527222 w 4016827"/>
                <a:gd name="connsiteY748" fmla="*/ 4856849 h 7216489"/>
                <a:gd name="connsiteX749" fmla="*/ 1460091 w 4016827"/>
                <a:gd name="connsiteY749" fmla="*/ 4923979 h 7216489"/>
                <a:gd name="connsiteX750" fmla="*/ 1392960 w 4016827"/>
                <a:gd name="connsiteY750" fmla="*/ 4856849 h 7216489"/>
                <a:gd name="connsiteX751" fmla="*/ 1460091 w 4016827"/>
                <a:gd name="connsiteY751" fmla="*/ 4789718 h 7216489"/>
                <a:gd name="connsiteX752" fmla="*/ 2386493 w 4016827"/>
                <a:gd name="connsiteY752" fmla="*/ 4769579 h 7216489"/>
                <a:gd name="connsiteX753" fmla="*/ 2446911 w 4016827"/>
                <a:gd name="connsiteY753" fmla="*/ 4829996 h 7216489"/>
                <a:gd name="connsiteX754" fmla="*/ 2386493 w 4016827"/>
                <a:gd name="connsiteY754" fmla="*/ 4890414 h 7216489"/>
                <a:gd name="connsiteX755" fmla="*/ 2326076 w 4016827"/>
                <a:gd name="connsiteY755" fmla="*/ 4829996 h 7216489"/>
                <a:gd name="connsiteX756" fmla="*/ 2386493 w 4016827"/>
                <a:gd name="connsiteY756" fmla="*/ 4769579 h 7216489"/>
                <a:gd name="connsiteX757" fmla="*/ 285305 w 4016827"/>
                <a:gd name="connsiteY757" fmla="*/ 4756153 h 7216489"/>
                <a:gd name="connsiteX758" fmla="*/ 285305 w 4016827"/>
                <a:gd name="connsiteY758" fmla="*/ 4759509 h 7216489"/>
                <a:gd name="connsiteX759" fmla="*/ 285305 w 4016827"/>
                <a:gd name="connsiteY759" fmla="*/ 4756153 h 7216489"/>
                <a:gd name="connsiteX760" fmla="*/ 3591488 w 4016827"/>
                <a:gd name="connsiteY760" fmla="*/ 4746083 h 7216489"/>
                <a:gd name="connsiteX761" fmla="*/ 3611627 w 4016827"/>
                <a:gd name="connsiteY761" fmla="*/ 4766222 h 7216489"/>
                <a:gd name="connsiteX762" fmla="*/ 3591488 w 4016827"/>
                <a:gd name="connsiteY762" fmla="*/ 4786361 h 7216489"/>
                <a:gd name="connsiteX763" fmla="*/ 3571348 w 4016827"/>
                <a:gd name="connsiteY763" fmla="*/ 4766222 h 7216489"/>
                <a:gd name="connsiteX764" fmla="*/ 3591488 w 4016827"/>
                <a:gd name="connsiteY764" fmla="*/ 4746083 h 7216489"/>
                <a:gd name="connsiteX765" fmla="*/ 2020632 w 4016827"/>
                <a:gd name="connsiteY765" fmla="*/ 4736013 h 7216489"/>
                <a:gd name="connsiteX766" fmla="*/ 2084406 w 4016827"/>
                <a:gd name="connsiteY766" fmla="*/ 4799788 h 7216489"/>
                <a:gd name="connsiteX767" fmla="*/ 2020632 w 4016827"/>
                <a:gd name="connsiteY767" fmla="*/ 4863561 h 7216489"/>
                <a:gd name="connsiteX768" fmla="*/ 1956858 w 4016827"/>
                <a:gd name="connsiteY768" fmla="*/ 4799788 h 7216489"/>
                <a:gd name="connsiteX769" fmla="*/ 2020632 w 4016827"/>
                <a:gd name="connsiteY769" fmla="*/ 4736013 h 7216489"/>
                <a:gd name="connsiteX770" fmla="*/ 1127794 w 4016827"/>
                <a:gd name="connsiteY770" fmla="*/ 4725944 h 7216489"/>
                <a:gd name="connsiteX771" fmla="*/ 1201638 w 4016827"/>
                <a:gd name="connsiteY771" fmla="*/ 4799788 h 7216489"/>
                <a:gd name="connsiteX772" fmla="*/ 1127794 w 4016827"/>
                <a:gd name="connsiteY772" fmla="*/ 4873631 h 7216489"/>
                <a:gd name="connsiteX773" fmla="*/ 1053951 w 4016827"/>
                <a:gd name="connsiteY773" fmla="*/ 4799788 h 7216489"/>
                <a:gd name="connsiteX774" fmla="*/ 1127794 w 4016827"/>
                <a:gd name="connsiteY774" fmla="*/ 4725944 h 7216489"/>
                <a:gd name="connsiteX775" fmla="*/ 1671552 w 4016827"/>
                <a:gd name="connsiteY775" fmla="*/ 4699092 h 7216489"/>
                <a:gd name="connsiteX776" fmla="*/ 1728613 w 4016827"/>
                <a:gd name="connsiteY776" fmla="*/ 4756153 h 7216489"/>
                <a:gd name="connsiteX777" fmla="*/ 1671552 w 4016827"/>
                <a:gd name="connsiteY777" fmla="*/ 4813214 h 7216489"/>
                <a:gd name="connsiteX778" fmla="*/ 1614491 w 4016827"/>
                <a:gd name="connsiteY778" fmla="*/ 4756153 h 7216489"/>
                <a:gd name="connsiteX779" fmla="*/ 1671552 w 4016827"/>
                <a:gd name="connsiteY779" fmla="*/ 4699092 h 7216489"/>
                <a:gd name="connsiteX780" fmla="*/ 2997382 w 4016827"/>
                <a:gd name="connsiteY780" fmla="*/ 4685665 h 7216489"/>
                <a:gd name="connsiteX781" fmla="*/ 3027590 w 4016827"/>
                <a:gd name="connsiteY781" fmla="*/ 4715874 h 7216489"/>
                <a:gd name="connsiteX782" fmla="*/ 2997382 w 4016827"/>
                <a:gd name="connsiteY782" fmla="*/ 4746083 h 7216489"/>
                <a:gd name="connsiteX783" fmla="*/ 2967173 w 4016827"/>
                <a:gd name="connsiteY783" fmla="*/ 4715874 h 7216489"/>
                <a:gd name="connsiteX784" fmla="*/ 2997382 w 4016827"/>
                <a:gd name="connsiteY784" fmla="*/ 4685665 h 7216489"/>
                <a:gd name="connsiteX785" fmla="*/ 805568 w 4016827"/>
                <a:gd name="connsiteY785" fmla="*/ 4678952 h 7216489"/>
                <a:gd name="connsiteX786" fmla="*/ 859272 w 4016827"/>
                <a:gd name="connsiteY786" fmla="*/ 4732657 h 7216489"/>
                <a:gd name="connsiteX787" fmla="*/ 805568 w 4016827"/>
                <a:gd name="connsiteY787" fmla="*/ 4786361 h 7216489"/>
                <a:gd name="connsiteX788" fmla="*/ 751863 w 4016827"/>
                <a:gd name="connsiteY788" fmla="*/ 4732657 h 7216489"/>
                <a:gd name="connsiteX789" fmla="*/ 805568 w 4016827"/>
                <a:gd name="connsiteY789" fmla="*/ 4678952 h 7216489"/>
                <a:gd name="connsiteX790" fmla="*/ 2608024 w 4016827"/>
                <a:gd name="connsiteY790" fmla="*/ 4675596 h 7216489"/>
                <a:gd name="connsiteX791" fmla="*/ 2648302 w 4016827"/>
                <a:gd name="connsiteY791" fmla="*/ 4715874 h 7216489"/>
                <a:gd name="connsiteX792" fmla="*/ 2608024 w 4016827"/>
                <a:gd name="connsiteY792" fmla="*/ 4756153 h 7216489"/>
                <a:gd name="connsiteX793" fmla="*/ 2567745 w 4016827"/>
                <a:gd name="connsiteY793" fmla="*/ 4715874 h 7216489"/>
                <a:gd name="connsiteX794" fmla="*/ 2608024 w 4016827"/>
                <a:gd name="connsiteY794" fmla="*/ 4675596 h 7216489"/>
                <a:gd name="connsiteX795" fmla="*/ 3403522 w 4016827"/>
                <a:gd name="connsiteY795" fmla="*/ 4672239 h 7216489"/>
                <a:gd name="connsiteX796" fmla="*/ 3416948 w 4016827"/>
                <a:gd name="connsiteY796" fmla="*/ 4685665 h 7216489"/>
                <a:gd name="connsiteX797" fmla="*/ 3403522 w 4016827"/>
                <a:gd name="connsiteY797" fmla="*/ 4699092 h 7216489"/>
                <a:gd name="connsiteX798" fmla="*/ 3390095 w 4016827"/>
                <a:gd name="connsiteY798" fmla="*/ 4685665 h 7216489"/>
                <a:gd name="connsiteX799" fmla="*/ 3403522 w 4016827"/>
                <a:gd name="connsiteY799" fmla="*/ 4672239 h 7216489"/>
                <a:gd name="connsiteX800" fmla="*/ 2235449 w 4016827"/>
                <a:gd name="connsiteY800" fmla="*/ 4635317 h 7216489"/>
                <a:gd name="connsiteX801" fmla="*/ 2292510 w 4016827"/>
                <a:gd name="connsiteY801" fmla="*/ 4692378 h 7216489"/>
                <a:gd name="connsiteX802" fmla="*/ 2235449 w 4016827"/>
                <a:gd name="connsiteY802" fmla="*/ 4749440 h 7216489"/>
                <a:gd name="connsiteX803" fmla="*/ 2178388 w 4016827"/>
                <a:gd name="connsiteY803" fmla="*/ 4692378 h 7216489"/>
                <a:gd name="connsiteX804" fmla="*/ 2235449 w 4016827"/>
                <a:gd name="connsiteY804" fmla="*/ 4635317 h 7216489"/>
                <a:gd name="connsiteX805" fmla="*/ 1335899 w 4016827"/>
                <a:gd name="connsiteY805" fmla="*/ 4628604 h 7216489"/>
                <a:gd name="connsiteX806" fmla="*/ 1406387 w 4016827"/>
                <a:gd name="connsiteY806" fmla="*/ 4699092 h 7216489"/>
                <a:gd name="connsiteX807" fmla="*/ 1335899 w 4016827"/>
                <a:gd name="connsiteY807" fmla="*/ 4769579 h 7216489"/>
                <a:gd name="connsiteX808" fmla="*/ 1265412 w 4016827"/>
                <a:gd name="connsiteY808" fmla="*/ 4699092 h 7216489"/>
                <a:gd name="connsiteX809" fmla="*/ 1335899 w 4016827"/>
                <a:gd name="connsiteY809" fmla="*/ 4628604 h 7216489"/>
                <a:gd name="connsiteX810" fmla="*/ 490053 w 4016827"/>
                <a:gd name="connsiteY810" fmla="*/ 4615178 h 7216489"/>
                <a:gd name="connsiteX811" fmla="*/ 533688 w 4016827"/>
                <a:gd name="connsiteY811" fmla="*/ 4658813 h 7216489"/>
                <a:gd name="connsiteX812" fmla="*/ 490053 w 4016827"/>
                <a:gd name="connsiteY812" fmla="*/ 4702448 h 7216489"/>
                <a:gd name="connsiteX813" fmla="*/ 446418 w 4016827"/>
                <a:gd name="connsiteY813" fmla="*/ 4658813 h 7216489"/>
                <a:gd name="connsiteX814" fmla="*/ 490053 w 4016827"/>
                <a:gd name="connsiteY814" fmla="*/ 4615178 h 7216489"/>
                <a:gd name="connsiteX815" fmla="*/ 3833158 w 4016827"/>
                <a:gd name="connsiteY815" fmla="*/ 4598395 h 7216489"/>
                <a:gd name="connsiteX816" fmla="*/ 3846584 w 4016827"/>
                <a:gd name="connsiteY816" fmla="*/ 4611822 h 7216489"/>
                <a:gd name="connsiteX817" fmla="*/ 3833158 w 4016827"/>
                <a:gd name="connsiteY817" fmla="*/ 4625248 h 7216489"/>
                <a:gd name="connsiteX818" fmla="*/ 3819732 w 4016827"/>
                <a:gd name="connsiteY818" fmla="*/ 4611822 h 7216489"/>
                <a:gd name="connsiteX819" fmla="*/ 3833158 w 4016827"/>
                <a:gd name="connsiteY819" fmla="*/ 4598395 h 7216489"/>
                <a:gd name="connsiteX820" fmla="*/ 1883014 w 4016827"/>
                <a:gd name="connsiteY820" fmla="*/ 4584969 h 7216489"/>
                <a:gd name="connsiteX821" fmla="*/ 1946788 w 4016827"/>
                <a:gd name="connsiteY821" fmla="*/ 4648743 h 7216489"/>
                <a:gd name="connsiteX822" fmla="*/ 1883014 w 4016827"/>
                <a:gd name="connsiteY822" fmla="*/ 4712517 h 7216489"/>
                <a:gd name="connsiteX823" fmla="*/ 1819240 w 4016827"/>
                <a:gd name="connsiteY823" fmla="*/ 4648743 h 7216489"/>
                <a:gd name="connsiteX824" fmla="*/ 1883014 w 4016827"/>
                <a:gd name="connsiteY824" fmla="*/ 4584969 h 7216489"/>
                <a:gd name="connsiteX825" fmla="*/ 3225624 w 4016827"/>
                <a:gd name="connsiteY825" fmla="*/ 4568187 h 7216489"/>
                <a:gd name="connsiteX826" fmla="*/ 3245765 w 4016827"/>
                <a:gd name="connsiteY826" fmla="*/ 4588326 h 7216489"/>
                <a:gd name="connsiteX827" fmla="*/ 3225624 w 4016827"/>
                <a:gd name="connsiteY827" fmla="*/ 4608465 h 7216489"/>
                <a:gd name="connsiteX828" fmla="*/ 3205487 w 4016827"/>
                <a:gd name="connsiteY828" fmla="*/ 4588326 h 7216489"/>
                <a:gd name="connsiteX829" fmla="*/ 3225624 w 4016827"/>
                <a:gd name="connsiteY829" fmla="*/ 4568187 h 7216489"/>
                <a:gd name="connsiteX830" fmla="*/ 2829555 w 4016827"/>
                <a:gd name="connsiteY830" fmla="*/ 4561474 h 7216489"/>
                <a:gd name="connsiteX831" fmla="*/ 2866477 w 4016827"/>
                <a:gd name="connsiteY831" fmla="*/ 4598395 h 7216489"/>
                <a:gd name="connsiteX832" fmla="*/ 2829555 w 4016827"/>
                <a:gd name="connsiteY832" fmla="*/ 4635317 h 7216489"/>
                <a:gd name="connsiteX833" fmla="*/ 2792633 w 4016827"/>
                <a:gd name="connsiteY833" fmla="*/ 4598395 h 7216489"/>
                <a:gd name="connsiteX834" fmla="*/ 2829555 w 4016827"/>
                <a:gd name="connsiteY834" fmla="*/ 4561474 h 7216489"/>
                <a:gd name="connsiteX835" fmla="*/ 1010315 w 4016827"/>
                <a:gd name="connsiteY835" fmla="*/ 4561474 h 7216489"/>
                <a:gd name="connsiteX836" fmla="*/ 1080803 w 4016827"/>
                <a:gd name="connsiteY836" fmla="*/ 4631961 h 7216489"/>
                <a:gd name="connsiteX837" fmla="*/ 1010315 w 4016827"/>
                <a:gd name="connsiteY837" fmla="*/ 4702448 h 7216489"/>
                <a:gd name="connsiteX838" fmla="*/ 939828 w 4016827"/>
                <a:gd name="connsiteY838" fmla="*/ 4631961 h 7216489"/>
                <a:gd name="connsiteX839" fmla="*/ 1010315 w 4016827"/>
                <a:gd name="connsiteY839" fmla="*/ 4561474 h 7216489"/>
                <a:gd name="connsiteX840" fmla="*/ 2453624 w 4016827"/>
                <a:gd name="connsiteY840" fmla="*/ 4541334 h 7216489"/>
                <a:gd name="connsiteX841" fmla="*/ 2497259 w 4016827"/>
                <a:gd name="connsiteY841" fmla="*/ 4584969 h 7216489"/>
                <a:gd name="connsiteX842" fmla="*/ 2453624 w 4016827"/>
                <a:gd name="connsiteY842" fmla="*/ 4628604 h 7216489"/>
                <a:gd name="connsiteX843" fmla="*/ 2409989 w 4016827"/>
                <a:gd name="connsiteY843" fmla="*/ 4584969 h 7216489"/>
                <a:gd name="connsiteX844" fmla="*/ 2453624 w 4016827"/>
                <a:gd name="connsiteY844" fmla="*/ 4541334 h 7216489"/>
                <a:gd name="connsiteX845" fmla="*/ 1544004 w 4016827"/>
                <a:gd name="connsiteY845" fmla="*/ 4534621 h 7216489"/>
                <a:gd name="connsiteX846" fmla="*/ 1607778 w 4016827"/>
                <a:gd name="connsiteY846" fmla="*/ 4598395 h 7216489"/>
                <a:gd name="connsiteX847" fmla="*/ 1544004 w 4016827"/>
                <a:gd name="connsiteY847" fmla="*/ 4662169 h 7216489"/>
                <a:gd name="connsiteX848" fmla="*/ 1480229 w 4016827"/>
                <a:gd name="connsiteY848" fmla="*/ 4598395 h 7216489"/>
                <a:gd name="connsiteX849" fmla="*/ 1544004 w 4016827"/>
                <a:gd name="connsiteY849" fmla="*/ 4534621 h 7216489"/>
                <a:gd name="connsiteX850" fmla="*/ 3641834 w 4016827"/>
                <a:gd name="connsiteY850" fmla="*/ 4531265 h 7216489"/>
                <a:gd name="connsiteX851" fmla="*/ 3655261 w 4016827"/>
                <a:gd name="connsiteY851" fmla="*/ 4544691 h 7216489"/>
                <a:gd name="connsiteX852" fmla="*/ 3641834 w 4016827"/>
                <a:gd name="connsiteY852" fmla="*/ 4558117 h 7216489"/>
                <a:gd name="connsiteX853" fmla="*/ 3628408 w 4016827"/>
                <a:gd name="connsiteY853" fmla="*/ 4544691 h 7216489"/>
                <a:gd name="connsiteX854" fmla="*/ 3641834 w 4016827"/>
                <a:gd name="connsiteY854" fmla="*/ 4531265 h 7216489"/>
                <a:gd name="connsiteX855" fmla="*/ 694802 w 4016827"/>
                <a:gd name="connsiteY855" fmla="*/ 4504412 h 7216489"/>
                <a:gd name="connsiteX856" fmla="*/ 748507 w 4016827"/>
                <a:gd name="connsiteY856" fmla="*/ 4558117 h 7216489"/>
                <a:gd name="connsiteX857" fmla="*/ 694802 w 4016827"/>
                <a:gd name="connsiteY857" fmla="*/ 4611822 h 7216489"/>
                <a:gd name="connsiteX858" fmla="*/ 641097 w 4016827"/>
                <a:gd name="connsiteY858" fmla="*/ 4558117 h 7216489"/>
                <a:gd name="connsiteX859" fmla="*/ 694802 w 4016827"/>
                <a:gd name="connsiteY859" fmla="*/ 4504412 h 7216489"/>
                <a:gd name="connsiteX860" fmla="*/ 2094474 w 4016827"/>
                <a:gd name="connsiteY860" fmla="*/ 4487630 h 7216489"/>
                <a:gd name="connsiteX861" fmla="*/ 2151536 w 4016827"/>
                <a:gd name="connsiteY861" fmla="*/ 4544691 h 7216489"/>
                <a:gd name="connsiteX862" fmla="*/ 2094474 w 4016827"/>
                <a:gd name="connsiteY862" fmla="*/ 4601752 h 7216489"/>
                <a:gd name="connsiteX863" fmla="*/ 2037413 w 4016827"/>
                <a:gd name="connsiteY863" fmla="*/ 4544691 h 7216489"/>
                <a:gd name="connsiteX864" fmla="*/ 2094474 w 4016827"/>
                <a:gd name="connsiteY864" fmla="*/ 4487630 h 7216489"/>
                <a:gd name="connsiteX865" fmla="*/ 3051086 w 4016827"/>
                <a:gd name="connsiteY865" fmla="*/ 4467491 h 7216489"/>
                <a:gd name="connsiteX866" fmla="*/ 3064512 w 4016827"/>
                <a:gd name="connsiteY866" fmla="*/ 4480917 h 7216489"/>
                <a:gd name="connsiteX867" fmla="*/ 3051086 w 4016827"/>
                <a:gd name="connsiteY867" fmla="*/ 4494343 h 7216489"/>
                <a:gd name="connsiteX868" fmla="*/ 3037660 w 4016827"/>
                <a:gd name="connsiteY868" fmla="*/ 4480917 h 7216489"/>
                <a:gd name="connsiteX869" fmla="*/ 3051086 w 4016827"/>
                <a:gd name="connsiteY869" fmla="*/ 4467491 h 7216489"/>
                <a:gd name="connsiteX870" fmla="*/ 392714 w 4016827"/>
                <a:gd name="connsiteY870" fmla="*/ 4467491 h 7216489"/>
                <a:gd name="connsiteX871" fmla="*/ 406140 w 4016827"/>
                <a:gd name="connsiteY871" fmla="*/ 4480917 h 7216489"/>
                <a:gd name="connsiteX872" fmla="*/ 392714 w 4016827"/>
                <a:gd name="connsiteY872" fmla="*/ 4494343 h 7216489"/>
                <a:gd name="connsiteX873" fmla="*/ 379288 w 4016827"/>
                <a:gd name="connsiteY873" fmla="*/ 4480917 h 7216489"/>
                <a:gd name="connsiteX874" fmla="*/ 392714 w 4016827"/>
                <a:gd name="connsiteY874" fmla="*/ 4467491 h 7216489"/>
                <a:gd name="connsiteX875" fmla="*/ 1215064 w 4016827"/>
                <a:gd name="connsiteY875" fmla="*/ 4460777 h 7216489"/>
                <a:gd name="connsiteX876" fmla="*/ 1285551 w 4016827"/>
                <a:gd name="connsiteY876" fmla="*/ 4531265 h 7216489"/>
                <a:gd name="connsiteX877" fmla="*/ 1215064 w 4016827"/>
                <a:gd name="connsiteY877" fmla="*/ 4601752 h 7216489"/>
                <a:gd name="connsiteX878" fmla="*/ 1144577 w 4016827"/>
                <a:gd name="connsiteY878" fmla="*/ 4531265 h 7216489"/>
                <a:gd name="connsiteX879" fmla="*/ 1215064 w 4016827"/>
                <a:gd name="connsiteY879" fmla="*/ 4460777 h 7216489"/>
                <a:gd name="connsiteX880" fmla="*/ 3457226 w 4016827"/>
                <a:gd name="connsiteY880" fmla="*/ 4454064 h 7216489"/>
                <a:gd name="connsiteX881" fmla="*/ 3463939 w 4016827"/>
                <a:gd name="connsiteY881" fmla="*/ 4460777 h 7216489"/>
                <a:gd name="connsiteX882" fmla="*/ 3457226 w 4016827"/>
                <a:gd name="connsiteY882" fmla="*/ 4467491 h 7216489"/>
                <a:gd name="connsiteX883" fmla="*/ 3450513 w 4016827"/>
                <a:gd name="connsiteY883" fmla="*/ 4460777 h 7216489"/>
                <a:gd name="connsiteX884" fmla="*/ 3457226 w 4016827"/>
                <a:gd name="connsiteY884" fmla="*/ 4454064 h 7216489"/>
                <a:gd name="connsiteX885" fmla="*/ 2668441 w 4016827"/>
                <a:gd name="connsiteY885" fmla="*/ 4454064 h 7216489"/>
                <a:gd name="connsiteX886" fmla="*/ 2688580 w 4016827"/>
                <a:gd name="connsiteY886" fmla="*/ 4474204 h 7216489"/>
                <a:gd name="connsiteX887" fmla="*/ 2668441 w 4016827"/>
                <a:gd name="connsiteY887" fmla="*/ 4494343 h 7216489"/>
                <a:gd name="connsiteX888" fmla="*/ 2648302 w 4016827"/>
                <a:gd name="connsiteY888" fmla="*/ 4474204 h 7216489"/>
                <a:gd name="connsiteX889" fmla="*/ 2668441 w 4016827"/>
                <a:gd name="connsiteY889" fmla="*/ 4454064 h 7216489"/>
                <a:gd name="connsiteX890" fmla="*/ 1752109 w 4016827"/>
                <a:gd name="connsiteY890" fmla="*/ 4440638 h 7216489"/>
                <a:gd name="connsiteX891" fmla="*/ 1805813 w 4016827"/>
                <a:gd name="connsiteY891" fmla="*/ 4494343 h 7216489"/>
                <a:gd name="connsiteX892" fmla="*/ 1752109 w 4016827"/>
                <a:gd name="connsiteY892" fmla="*/ 4548047 h 7216489"/>
                <a:gd name="connsiteX893" fmla="*/ 1698404 w 4016827"/>
                <a:gd name="connsiteY893" fmla="*/ 4494343 h 7216489"/>
                <a:gd name="connsiteX894" fmla="*/ 1752109 w 4016827"/>
                <a:gd name="connsiteY894" fmla="*/ 4440638 h 7216489"/>
                <a:gd name="connsiteX895" fmla="*/ 899550 w 4016827"/>
                <a:gd name="connsiteY895" fmla="*/ 4413786 h 7216489"/>
                <a:gd name="connsiteX896" fmla="*/ 949898 w 4016827"/>
                <a:gd name="connsiteY896" fmla="*/ 4464134 h 7216489"/>
                <a:gd name="connsiteX897" fmla="*/ 899550 w 4016827"/>
                <a:gd name="connsiteY897" fmla="*/ 4514482 h 7216489"/>
                <a:gd name="connsiteX898" fmla="*/ 849202 w 4016827"/>
                <a:gd name="connsiteY898" fmla="*/ 4464134 h 7216489"/>
                <a:gd name="connsiteX899" fmla="*/ 899550 w 4016827"/>
                <a:gd name="connsiteY899" fmla="*/ 4413786 h 7216489"/>
                <a:gd name="connsiteX900" fmla="*/ 2305936 w 4016827"/>
                <a:gd name="connsiteY900" fmla="*/ 4410429 h 7216489"/>
                <a:gd name="connsiteX901" fmla="*/ 2336145 w 4016827"/>
                <a:gd name="connsiteY901" fmla="*/ 4440638 h 7216489"/>
                <a:gd name="connsiteX902" fmla="*/ 2305936 w 4016827"/>
                <a:gd name="connsiteY902" fmla="*/ 4470847 h 7216489"/>
                <a:gd name="connsiteX903" fmla="*/ 2275728 w 4016827"/>
                <a:gd name="connsiteY903" fmla="*/ 4440638 h 7216489"/>
                <a:gd name="connsiteX904" fmla="*/ 2305936 w 4016827"/>
                <a:gd name="connsiteY904" fmla="*/ 4410429 h 7216489"/>
                <a:gd name="connsiteX905" fmla="*/ 3882246 w 4016827"/>
                <a:gd name="connsiteY905" fmla="*/ 4389453 h 7216489"/>
                <a:gd name="connsiteX906" fmla="*/ 3883505 w 4016827"/>
                <a:gd name="connsiteY906" fmla="*/ 4390291 h 7216489"/>
                <a:gd name="connsiteX907" fmla="*/ 3883505 w 4016827"/>
                <a:gd name="connsiteY907" fmla="*/ 4393648 h 7216489"/>
                <a:gd name="connsiteX908" fmla="*/ 3882246 w 4016827"/>
                <a:gd name="connsiteY908" fmla="*/ 4389453 h 7216489"/>
                <a:gd name="connsiteX909" fmla="*/ 1423169 w 4016827"/>
                <a:gd name="connsiteY909" fmla="*/ 4373507 h 7216489"/>
                <a:gd name="connsiteX910" fmla="*/ 1480230 w 4016827"/>
                <a:gd name="connsiteY910" fmla="*/ 4430569 h 7216489"/>
                <a:gd name="connsiteX911" fmla="*/ 1423169 w 4016827"/>
                <a:gd name="connsiteY911" fmla="*/ 4487630 h 7216489"/>
                <a:gd name="connsiteX912" fmla="*/ 1366108 w 4016827"/>
                <a:gd name="connsiteY912" fmla="*/ 4430569 h 7216489"/>
                <a:gd name="connsiteX913" fmla="*/ 1423169 w 4016827"/>
                <a:gd name="connsiteY913" fmla="*/ 4373507 h 7216489"/>
                <a:gd name="connsiteX914" fmla="*/ 1960214 w 4016827"/>
                <a:gd name="connsiteY914" fmla="*/ 4353368 h 7216489"/>
                <a:gd name="connsiteX915" fmla="*/ 2000492 w 4016827"/>
                <a:gd name="connsiteY915" fmla="*/ 4393647 h 7216489"/>
                <a:gd name="connsiteX916" fmla="*/ 1960214 w 4016827"/>
                <a:gd name="connsiteY916" fmla="*/ 4433925 h 7216489"/>
                <a:gd name="connsiteX917" fmla="*/ 1919936 w 4016827"/>
                <a:gd name="connsiteY917" fmla="*/ 4393647 h 7216489"/>
                <a:gd name="connsiteX918" fmla="*/ 1960214 w 4016827"/>
                <a:gd name="connsiteY918" fmla="*/ 4353368 h 7216489"/>
                <a:gd name="connsiteX919" fmla="*/ 3279328 w 4016827"/>
                <a:gd name="connsiteY919" fmla="*/ 4350013 h 7216489"/>
                <a:gd name="connsiteX920" fmla="*/ 3289399 w 4016827"/>
                <a:gd name="connsiteY920" fmla="*/ 4360082 h 7216489"/>
                <a:gd name="connsiteX921" fmla="*/ 3279328 w 4016827"/>
                <a:gd name="connsiteY921" fmla="*/ 4370152 h 7216489"/>
                <a:gd name="connsiteX922" fmla="*/ 3269260 w 4016827"/>
                <a:gd name="connsiteY922" fmla="*/ 4360082 h 7216489"/>
                <a:gd name="connsiteX923" fmla="*/ 3279328 w 4016827"/>
                <a:gd name="connsiteY923" fmla="*/ 4350013 h 7216489"/>
                <a:gd name="connsiteX924" fmla="*/ 2889972 w 4016827"/>
                <a:gd name="connsiteY924" fmla="*/ 4343299 h 7216489"/>
                <a:gd name="connsiteX925" fmla="*/ 2906755 w 4016827"/>
                <a:gd name="connsiteY925" fmla="*/ 4360081 h 7216489"/>
                <a:gd name="connsiteX926" fmla="*/ 2889972 w 4016827"/>
                <a:gd name="connsiteY926" fmla="*/ 4376864 h 7216489"/>
                <a:gd name="connsiteX927" fmla="*/ 2873190 w 4016827"/>
                <a:gd name="connsiteY927" fmla="*/ 4360081 h 7216489"/>
                <a:gd name="connsiteX928" fmla="*/ 2889972 w 4016827"/>
                <a:gd name="connsiteY928" fmla="*/ 4343299 h 7216489"/>
                <a:gd name="connsiteX929" fmla="*/ 597462 w 4016827"/>
                <a:gd name="connsiteY929" fmla="*/ 4336586 h 7216489"/>
                <a:gd name="connsiteX930" fmla="*/ 644454 w 4016827"/>
                <a:gd name="connsiteY930" fmla="*/ 4383577 h 7216489"/>
                <a:gd name="connsiteX931" fmla="*/ 597462 w 4016827"/>
                <a:gd name="connsiteY931" fmla="*/ 4430569 h 7216489"/>
                <a:gd name="connsiteX932" fmla="*/ 550471 w 4016827"/>
                <a:gd name="connsiteY932" fmla="*/ 4383577 h 7216489"/>
                <a:gd name="connsiteX933" fmla="*/ 597462 w 4016827"/>
                <a:gd name="connsiteY933" fmla="*/ 4336586 h 7216489"/>
                <a:gd name="connsiteX934" fmla="*/ 3692184 w 4016827"/>
                <a:gd name="connsiteY934" fmla="*/ 4316447 h 7216489"/>
                <a:gd name="connsiteX935" fmla="*/ 3695539 w 4016827"/>
                <a:gd name="connsiteY935" fmla="*/ 4319804 h 7216489"/>
                <a:gd name="connsiteX936" fmla="*/ 3692184 w 4016827"/>
                <a:gd name="connsiteY936" fmla="*/ 4323161 h 7216489"/>
                <a:gd name="connsiteX937" fmla="*/ 3688828 w 4016827"/>
                <a:gd name="connsiteY937" fmla="*/ 4319804 h 7216489"/>
                <a:gd name="connsiteX938" fmla="*/ 3692184 w 4016827"/>
                <a:gd name="connsiteY938" fmla="*/ 4316447 h 7216489"/>
                <a:gd name="connsiteX939" fmla="*/ 2520754 w 4016827"/>
                <a:gd name="connsiteY939" fmla="*/ 4316447 h 7216489"/>
                <a:gd name="connsiteX940" fmla="*/ 2540894 w 4016827"/>
                <a:gd name="connsiteY940" fmla="*/ 4336587 h 7216489"/>
                <a:gd name="connsiteX941" fmla="*/ 2520754 w 4016827"/>
                <a:gd name="connsiteY941" fmla="*/ 4356726 h 7216489"/>
                <a:gd name="connsiteX942" fmla="*/ 2500615 w 4016827"/>
                <a:gd name="connsiteY942" fmla="*/ 4336587 h 7216489"/>
                <a:gd name="connsiteX943" fmla="*/ 2520754 w 4016827"/>
                <a:gd name="connsiteY943" fmla="*/ 4316447 h 7216489"/>
                <a:gd name="connsiteX944" fmla="*/ 1104298 w 4016827"/>
                <a:gd name="connsiteY944" fmla="*/ 4299665 h 7216489"/>
                <a:gd name="connsiteX945" fmla="*/ 1164716 w 4016827"/>
                <a:gd name="connsiteY945" fmla="*/ 4360082 h 7216489"/>
                <a:gd name="connsiteX946" fmla="*/ 1104298 w 4016827"/>
                <a:gd name="connsiteY946" fmla="*/ 4420500 h 7216489"/>
                <a:gd name="connsiteX947" fmla="*/ 1043881 w 4016827"/>
                <a:gd name="connsiteY947" fmla="*/ 4360082 h 7216489"/>
                <a:gd name="connsiteX948" fmla="*/ 1104298 w 4016827"/>
                <a:gd name="connsiteY948" fmla="*/ 4299665 h 7216489"/>
                <a:gd name="connsiteX949" fmla="*/ 1627917 w 4016827"/>
                <a:gd name="connsiteY949" fmla="*/ 4279526 h 7216489"/>
                <a:gd name="connsiteX950" fmla="*/ 1681622 w 4016827"/>
                <a:gd name="connsiteY950" fmla="*/ 4333230 h 7216489"/>
                <a:gd name="connsiteX951" fmla="*/ 1627917 w 4016827"/>
                <a:gd name="connsiteY951" fmla="*/ 4386935 h 7216489"/>
                <a:gd name="connsiteX952" fmla="*/ 1574212 w 4016827"/>
                <a:gd name="connsiteY952" fmla="*/ 4333230 h 7216489"/>
                <a:gd name="connsiteX953" fmla="*/ 1627917 w 4016827"/>
                <a:gd name="connsiteY953" fmla="*/ 4279526 h 7216489"/>
                <a:gd name="connsiteX954" fmla="*/ 2168318 w 4016827"/>
                <a:gd name="connsiteY954" fmla="*/ 4269455 h 7216489"/>
                <a:gd name="connsiteX955" fmla="*/ 2191814 w 4016827"/>
                <a:gd name="connsiteY955" fmla="*/ 4292951 h 7216489"/>
                <a:gd name="connsiteX956" fmla="*/ 2168318 w 4016827"/>
                <a:gd name="connsiteY956" fmla="*/ 4316446 h 7216489"/>
                <a:gd name="connsiteX957" fmla="*/ 2144822 w 4016827"/>
                <a:gd name="connsiteY957" fmla="*/ 4292951 h 7216489"/>
                <a:gd name="connsiteX958" fmla="*/ 2168318 w 4016827"/>
                <a:gd name="connsiteY958" fmla="*/ 4269455 h 7216489"/>
                <a:gd name="connsiteX959" fmla="*/ 298731 w 4016827"/>
                <a:gd name="connsiteY959" fmla="*/ 4269455 h 7216489"/>
                <a:gd name="connsiteX960" fmla="*/ 328940 w 4016827"/>
                <a:gd name="connsiteY960" fmla="*/ 4299664 h 7216489"/>
                <a:gd name="connsiteX961" fmla="*/ 298731 w 4016827"/>
                <a:gd name="connsiteY961" fmla="*/ 4329873 h 7216489"/>
                <a:gd name="connsiteX962" fmla="*/ 268522 w 4016827"/>
                <a:gd name="connsiteY962" fmla="*/ 4299664 h 7216489"/>
                <a:gd name="connsiteX963" fmla="*/ 298731 w 4016827"/>
                <a:gd name="connsiteY963" fmla="*/ 4269455 h 7216489"/>
                <a:gd name="connsiteX964" fmla="*/ 798855 w 4016827"/>
                <a:gd name="connsiteY964" fmla="*/ 4245960 h 7216489"/>
                <a:gd name="connsiteX965" fmla="*/ 839133 w 4016827"/>
                <a:gd name="connsiteY965" fmla="*/ 4286239 h 7216489"/>
                <a:gd name="connsiteX966" fmla="*/ 798855 w 4016827"/>
                <a:gd name="connsiteY966" fmla="*/ 4326517 h 7216489"/>
                <a:gd name="connsiteX967" fmla="*/ 758576 w 4016827"/>
                <a:gd name="connsiteY967" fmla="*/ 4286239 h 7216489"/>
                <a:gd name="connsiteX968" fmla="*/ 798855 w 4016827"/>
                <a:gd name="connsiteY968" fmla="*/ 4245960 h 7216489"/>
                <a:gd name="connsiteX969" fmla="*/ 3111504 w 4016827"/>
                <a:gd name="connsiteY969" fmla="*/ 4235891 h 7216489"/>
                <a:gd name="connsiteX970" fmla="*/ 3121574 w 4016827"/>
                <a:gd name="connsiteY970" fmla="*/ 4245960 h 7216489"/>
                <a:gd name="connsiteX971" fmla="*/ 3111504 w 4016827"/>
                <a:gd name="connsiteY971" fmla="*/ 4256030 h 7216489"/>
                <a:gd name="connsiteX972" fmla="*/ 3101434 w 4016827"/>
                <a:gd name="connsiteY972" fmla="*/ 4245960 h 7216489"/>
                <a:gd name="connsiteX973" fmla="*/ 3111504 w 4016827"/>
                <a:gd name="connsiteY973" fmla="*/ 4235891 h 7216489"/>
                <a:gd name="connsiteX974" fmla="*/ 3510931 w 4016827"/>
                <a:gd name="connsiteY974" fmla="*/ 4229177 h 7216489"/>
                <a:gd name="connsiteX975" fmla="*/ 3510931 w 4016827"/>
                <a:gd name="connsiteY975" fmla="*/ 4235891 h 7216489"/>
                <a:gd name="connsiteX976" fmla="*/ 3510931 w 4016827"/>
                <a:gd name="connsiteY976" fmla="*/ 4229177 h 7216489"/>
                <a:gd name="connsiteX977" fmla="*/ 2735572 w 4016827"/>
                <a:gd name="connsiteY977" fmla="*/ 4215751 h 7216489"/>
                <a:gd name="connsiteX978" fmla="*/ 2748998 w 4016827"/>
                <a:gd name="connsiteY978" fmla="*/ 4229177 h 7216489"/>
                <a:gd name="connsiteX979" fmla="*/ 2735572 w 4016827"/>
                <a:gd name="connsiteY979" fmla="*/ 4242604 h 7216489"/>
                <a:gd name="connsiteX980" fmla="*/ 2722146 w 4016827"/>
                <a:gd name="connsiteY980" fmla="*/ 4229177 h 7216489"/>
                <a:gd name="connsiteX981" fmla="*/ 2735572 w 4016827"/>
                <a:gd name="connsiteY981" fmla="*/ 4215751 h 7216489"/>
                <a:gd name="connsiteX982" fmla="*/ 1312404 w 4016827"/>
                <a:gd name="connsiteY982" fmla="*/ 4212395 h 7216489"/>
                <a:gd name="connsiteX983" fmla="*/ 1362752 w 4016827"/>
                <a:gd name="connsiteY983" fmla="*/ 4262743 h 7216489"/>
                <a:gd name="connsiteX984" fmla="*/ 1312404 w 4016827"/>
                <a:gd name="connsiteY984" fmla="*/ 4313091 h 7216489"/>
                <a:gd name="connsiteX985" fmla="*/ 1262056 w 4016827"/>
                <a:gd name="connsiteY985" fmla="*/ 4262743 h 7216489"/>
                <a:gd name="connsiteX986" fmla="*/ 1312404 w 4016827"/>
                <a:gd name="connsiteY986" fmla="*/ 4212395 h 7216489"/>
                <a:gd name="connsiteX987" fmla="*/ 1836022 w 4016827"/>
                <a:gd name="connsiteY987" fmla="*/ 4198969 h 7216489"/>
                <a:gd name="connsiteX988" fmla="*/ 1869588 w 4016827"/>
                <a:gd name="connsiteY988" fmla="*/ 4232534 h 7216489"/>
                <a:gd name="connsiteX989" fmla="*/ 1836022 w 4016827"/>
                <a:gd name="connsiteY989" fmla="*/ 4266099 h 7216489"/>
                <a:gd name="connsiteX990" fmla="*/ 1802457 w 4016827"/>
                <a:gd name="connsiteY990" fmla="*/ 4232534 h 7216489"/>
                <a:gd name="connsiteX991" fmla="*/ 1836022 w 4016827"/>
                <a:gd name="connsiteY991" fmla="*/ 4198969 h 7216489"/>
                <a:gd name="connsiteX992" fmla="*/ 2379780 w 4016827"/>
                <a:gd name="connsiteY992" fmla="*/ 4172116 h 7216489"/>
                <a:gd name="connsiteX993" fmla="*/ 2396563 w 4016827"/>
                <a:gd name="connsiteY993" fmla="*/ 4188899 h 7216489"/>
                <a:gd name="connsiteX994" fmla="*/ 2379780 w 4016827"/>
                <a:gd name="connsiteY994" fmla="*/ 4205682 h 7216489"/>
                <a:gd name="connsiteX995" fmla="*/ 2362997 w 4016827"/>
                <a:gd name="connsiteY995" fmla="*/ 4188899 h 7216489"/>
                <a:gd name="connsiteX996" fmla="*/ 2379780 w 4016827"/>
                <a:gd name="connsiteY996" fmla="*/ 4172116 h 7216489"/>
                <a:gd name="connsiteX997" fmla="*/ 503479 w 4016827"/>
                <a:gd name="connsiteY997" fmla="*/ 4158690 h 7216489"/>
                <a:gd name="connsiteX998" fmla="*/ 547114 w 4016827"/>
                <a:gd name="connsiteY998" fmla="*/ 4202325 h 7216489"/>
                <a:gd name="connsiteX999" fmla="*/ 503479 w 4016827"/>
                <a:gd name="connsiteY999" fmla="*/ 4245960 h 7216489"/>
                <a:gd name="connsiteX1000" fmla="*/ 459844 w 4016827"/>
                <a:gd name="connsiteY1000" fmla="*/ 4202325 h 7216489"/>
                <a:gd name="connsiteX1001" fmla="*/ 503479 w 4016827"/>
                <a:gd name="connsiteY1001" fmla="*/ 4158690 h 7216489"/>
                <a:gd name="connsiteX1002" fmla="*/ 1003602 w 4016827"/>
                <a:gd name="connsiteY1002" fmla="*/ 4128481 h 7216489"/>
                <a:gd name="connsiteX1003" fmla="*/ 1060663 w 4016827"/>
                <a:gd name="connsiteY1003" fmla="*/ 4185542 h 7216489"/>
                <a:gd name="connsiteX1004" fmla="*/ 1003602 w 4016827"/>
                <a:gd name="connsiteY1004" fmla="*/ 4242604 h 7216489"/>
                <a:gd name="connsiteX1005" fmla="*/ 946541 w 4016827"/>
                <a:gd name="connsiteY1005" fmla="*/ 4185542 h 7216489"/>
                <a:gd name="connsiteX1006" fmla="*/ 1003602 w 4016827"/>
                <a:gd name="connsiteY1006" fmla="*/ 4128481 h 7216489"/>
                <a:gd name="connsiteX1007" fmla="*/ 3336391 w 4016827"/>
                <a:gd name="connsiteY1007" fmla="*/ 4125125 h 7216489"/>
                <a:gd name="connsiteX1008" fmla="*/ 3339748 w 4016827"/>
                <a:gd name="connsiteY1008" fmla="*/ 4128481 h 7216489"/>
                <a:gd name="connsiteX1009" fmla="*/ 3336391 w 4016827"/>
                <a:gd name="connsiteY1009" fmla="*/ 4131838 h 7216489"/>
                <a:gd name="connsiteX1010" fmla="*/ 3333033 w 4016827"/>
                <a:gd name="connsiteY1010" fmla="*/ 4128481 h 7216489"/>
                <a:gd name="connsiteX1011" fmla="*/ 3336391 w 4016827"/>
                <a:gd name="connsiteY1011" fmla="*/ 4125125 h 7216489"/>
                <a:gd name="connsiteX1012" fmla="*/ 2044126 w 4016827"/>
                <a:gd name="connsiteY1012" fmla="*/ 4111699 h 7216489"/>
                <a:gd name="connsiteX1013" fmla="*/ 2067622 w 4016827"/>
                <a:gd name="connsiteY1013" fmla="*/ 4135194 h 7216489"/>
                <a:gd name="connsiteX1014" fmla="*/ 2044126 w 4016827"/>
                <a:gd name="connsiteY1014" fmla="*/ 4158690 h 7216489"/>
                <a:gd name="connsiteX1015" fmla="*/ 2020631 w 4016827"/>
                <a:gd name="connsiteY1015" fmla="*/ 4135194 h 7216489"/>
                <a:gd name="connsiteX1016" fmla="*/ 2044126 w 4016827"/>
                <a:gd name="connsiteY1016" fmla="*/ 4111699 h 7216489"/>
                <a:gd name="connsiteX1017" fmla="*/ 1517151 w 4016827"/>
                <a:gd name="connsiteY1017" fmla="*/ 4111699 h 7216489"/>
                <a:gd name="connsiteX1018" fmla="*/ 1570856 w 4016827"/>
                <a:gd name="connsiteY1018" fmla="*/ 4165403 h 7216489"/>
                <a:gd name="connsiteX1019" fmla="*/ 1517151 w 4016827"/>
                <a:gd name="connsiteY1019" fmla="*/ 4219108 h 7216489"/>
                <a:gd name="connsiteX1020" fmla="*/ 1463447 w 4016827"/>
                <a:gd name="connsiteY1020" fmla="*/ 4165403 h 7216489"/>
                <a:gd name="connsiteX1021" fmla="*/ 1517151 w 4016827"/>
                <a:gd name="connsiteY1021" fmla="*/ 4111699 h 7216489"/>
                <a:gd name="connsiteX1022" fmla="*/ 2953747 w 4016827"/>
                <a:gd name="connsiteY1022" fmla="*/ 4108342 h 7216489"/>
                <a:gd name="connsiteX1023" fmla="*/ 2963816 w 4016827"/>
                <a:gd name="connsiteY1023" fmla="*/ 4118412 h 7216489"/>
                <a:gd name="connsiteX1024" fmla="*/ 2953747 w 4016827"/>
                <a:gd name="connsiteY1024" fmla="*/ 4128481 h 7216489"/>
                <a:gd name="connsiteX1025" fmla="*/ 2943677 w 4016827"/>
                <a:gd name="connsiteY1025" fmla="*/ 4118412 h 7216489"/>
                <a:gd name="connsiteX1026" fmla="*/ 2953747 w 4016827"/>
                <a:gd name="connsiteY1026" fmla="*/ 4108342 h 7216489"/>
                <a:gd name="connsiteX1027" fmla="*/ 2591242 w 4016827"/>
                <a:gd name="connsiteY1027" fmla="*/ 4071420 h 7216489"/>
                <a:gd name="connsiteX1028" fmla="*/ 2604668 w 4016827"/>
                <a:gd name="connsiteY1028" fmla="*/ 4084846 h 7216489"/>
                <a:gd name="connsiteX1029" fmla="*/ 2591242 w 4016827"/>
                <a:gd name="connsiteY1029" fmla="*/ 4098272 h 7216489"/>
                <a:gd name="connsiteX1030" fmla="*/ 2577816 w 4016827"/>
                <a:gd name="connsiteY1030" fmla="*/ 4084846 h 7216489"/>
                <a:gd name="connsiteX1031" fmla="*/ 2591242 w 4016827"/>
                <a:gd name="connsiteY1031" fmla="*/ 4071420 h 7216489"/>
                <a:gd name="connsiteX1032" fmla="*/ 708228 w 4016827"/>
                <a:gd name="connsiteY1032" fmla="*/ 4064707 h 7216489"/>
                <a:gd name="connsiteX1033" fmla="*/ 748507 w 4016827"/>
                <a:gd name="connsiteY1033" fmla="*/ 4104986 h 7216489"/>
                <a:gd name="connsiteX1034" fmla="*/ 708228 w 4016827"/>
                <a:gd name="connsiteY1034" fmla="*/ 4145264 h 7216489"/>
                <a:gd name="connsiteX1035" fmla="*/ 667950 w 4016827"/>
                <a:gd name="connsiteY1035" fmla="*/ 4104986 h 7216489"/>
                <a:gd name="connsiteX1036" fmla="*/ 708228 w 4016827"/>
                <a:gd name="connsiteY1036" fmla="*/ 4064707 h 7216489"/>
                <a:gd name="connsiteX1037" fmla="*/ 1208351 w 4016827"/>
                <a:gd name="connsiteY1037" fmla="*/ 4037855 h 7216489"/>
                <a:gd name="connsiteX1038" fmla="*/ 1258699 w 4016827"/>
                <a:gd name="connsiteY1038" fmla="*/ 4088203 h 7216489"/>
                <a:gd name="connsiteX1039" fmla="*/ 1208351 w 4016827"/>
                <a:gd name="connsiteY1039" fmla="*/ 4138551 h 7216489"/>
                <a:gd name="connsiteX1040" fmla="*/ 1158003 w 4016827"/>
                <a:gd name="connsiteY1040" fmla="*/ 4088203 h 7216489"/>
                <a:gd name="connsiteX1041" fmla="*/ 1208351 w 4016827"/>
                <a:gd name="connsiteY1041" fmla="*/ 4037855 h 7216489"/>
                <a:gd name="connsiteX1042" fmla="*/ 1721900 w 4016827"/>
                <a:gd name="connsiteY1042" fmla="*/ 4031142 h 7216489"/>
                <a:gd name="connsiteX1043" fmla="*/ 1755465 w 4016827"/>
                <a:gd name="connsiteY1043" fmla="*/ 4064707 h 7216489"/>
                <a:gd name="connsiteX1044" fmla="*/ 1721900 w 4016827"/>
                <a:gd name="connsiteY1044" fmla="*/ 4098272 h 7216489"/>
                <a:gd name="connsiteX1045" fmla="*/ 1688335 w 4016827"/>
                <a:gd name="connsiteY1045" fmla="*/ 4064707 h 7216489"/>
                <a:gd name="connsiteX1046" fmla="*/ 1721900 w 4016827"/>
                <a:gd name="connsiteY1046" fmla="*/ 4031142 h 7216489"/>
                <a:gd name="connsiteX1047" fmla="*/ 2252232 w 4016827"/>
                <a:gd name="connsiteY1047" fmla="*/ 4021072 h 7216489"/>
                <a:gd name="connsiteX1048" fmla="*/ 2265658 w 4016827"/>
                <a:gd name="connsiteY1048" fmla="*/ 4034498 h 7216489"/>
                <a:gd name="connsiteX1049" fmla="*/ 2252232 w 4016827"/>
                <a:gd name="connsiteY1049" fmla="*/ 4047924 h 7216489"/>
                <a:gd name="connsiteX1050" fmla="*/ 2238806 w 4016827"/>
                <a:gd name="connsiteY1050" fmla="*/ 4034498 h 7216489"/>
                <a:gd name="connsiteX1051" fmla="*/ 2252232 w 4016827"/>
                <a:gd name="connsiteY1051" fmla="*/ 4021072 h 7216489"/>
                <a:gd name="connsiteX1052" fmla="*/ 3170662 w 4016827"/>
                <a:gd name="connsiteY1052" fmla="*/ 4006807 h 7216489"/>
                <a:gd name="connsiteX1053" fmla="*/ 3171920 w 4016827"/>
                <a:gd name="connsiteY1053" fmla="*/ 4007646 h 7216489"/>
                <a:gd name="connsiteX1054" fmla="*/ 3171920 w 4016827"/>
                <a:gd name="connsiteY1054" fmla="*/ 4011003 h 7216489"/>
                <a:gd name="connsiteX1055" fmla="*/ 3170662 w 4016827"/>
                <a:gd name="connsiteY1055" fmla="*/ 4006807 h 7216489"/>
                <a:gd name="connsiteX1056" fmla="*/ 419566 w 4016827"/>
                <a:gd name="connsiteY1056" fmla="*/ 3980794 h 7216489"/>
                <a:gd name="connsiteX1057" fmla="*/ 456488 w 4016827"/>
                <a:gd name="connsiteY1057" fmla="*/ 4017716 h 7216489"/>
                <a:gd name="connsiteX1058" fmla="*/ 419566 w 4016827"/>
                <a:gd name="connsiteY1058" fmla="*/ 4054637 h 7216489"/>
                <a:gd name="connsiteX1059" fmla="*/ 382644 w 4016827"/>
                <a:gd name="connsiteY1059" fmla="*/ 4017716 h 7216489"/>
                <a:gd name="connsiteX1060" fmla="*/ 419566 w 4016827"/>
                <a:gd name="connsiteY1060" fmla="*/ 3980794 h 7216489"/>
                <a:gd name="connsiteX1061" fmla="*/ 912976 w 4016827"/>
                <a:gd name="connsiteY1061" fmla="*/ 3974081 h 7216489"/>
                <a:gd name="connsiteX1062" fmla="*/ 946541 w 4016827"/>
                <a:gd name="connsiteY1062" fmla="*/ 4007646 h 7216489"/>
                <a:gd name="connsiteX1063" fmla="*/ 912976 w 4016827"/>
                <a:gd name="connsiteY1063" fmla="*/ 4041211 h 7216489"/>
                <a:gd name="connsiteX1064" fmla="*/ 879410 w 4016827"/>
                <a:gd name="connsiteY1064" fmla="*/ 4007646 h 7216489"/>
                <a:gd name="connsiteX1065" fmla="*/ 912976 w 4016827"/>
                <a:gd name="connsiteY1065" fmla="*/ 3974081 h 7216489"/>
                <a:gd name="connsiteX1066" fmla="*/ 2802702 w 4016827"/>
                <a:gd name="connsiteY1066" fmla="*/ 3970724 h 7216489"/>
                <a:gd name="connsiteX1067" fmla="*/ 2812772 w 4016827"/>
                <a:gd name="connsiteY1067" fmla="*/ 3980794 h 7216489"/>
                <a:gd name="connsiteX1068" fmla="*/ 2802702 w 4016827"/>
                <a:gd name="connsiteY1068" fmla="*/ 3990863 h 7216489"/>
                <a:gd name="connsiteX1069" fmla="*/ 2792633 w 4016827"/>
                <a:gd name="connsiteY1069" fmla="*/ 3980794 h 7216489"/>
                <a:gd name="connsiteX1070" fmla="*/ 2802702 w 4016827"/>
                <a:gd name="connsiteY1070" fmla="*/ 3970724 h 7216489"/>
                <a:gd name="connsiteX1071" fmla="*/ 1413099 w 4016827"/>
                <a:gd name="connsiteY1071" fmla="*/ 3953941 h 7216489"/>
                <a:gd name="connsiteX1072" fmla="*/ 1450020 w 4016827"/>
                <a:gd name="connsiteY1072" fmla="*/ 3990863 h 7216489"/>
                <a:gd name="connsiteX1073" fmla="*/ 1413099 w 4016827"/>
                <a:gd name="connsiteY1073" fmla="*/ 4027785 h 7216489"/>
                <a:gd name="connsiteX1074" fmla="*/ 1376178 w 4016827"/>
                <a:gd name="connsiteY1074" fmla="*/ 3990863 h 7216489"/>
                <a:gd name="connsiteX1075" fmla="*/ 1413099 w 4016827"/>
                <a:gd name="connsiteY1075" fmla="*/ 3953941 h 7216489"/>
                <a:gd name="connsiteX1076" fmla="*/ 1926649 w 4016827"/>
                <a:gd name="connsiteY1076" fmla="*/ 3947228 h 7216489"/>
                <a:gd name="connsiteX1077" fmla="*/ 1946788 w 4016827"/>
                <a:gd name="connsiteY1077" fmla="*/ 3967368 h 7216489"/>
                <a:gd name="connsiteX1078" fmla="*/ 1926649 w 4016827"/>
                <a:gd name="connsiteY1078" fmla="*/ 3987507 h 7216489"/>
                <a:gd name="connsiteX1079" fmla="*/ 1906510 w 4016827"/>
                <a:gd name="connsiteY1079" fmla="*/ 3967368 h 7216489"/>
                <a:gd name="connsiteX1080" fmla="*/ 1926649 w 4016827"/>
                <a:gd name="connsiteY1080" fmla="*/ 3947228 h 7216489"/>
                <a:gd name="connsiteX1081" fmla="*/ 2460337 w 4016827"/>
                <a:gd name="connsiteY1081" fmla="*/ 3927089 h 7216489"/>
                <a:gd name="connsiteX1082" fmla="*/ 2467050 w 4016827"/>
                <a:gd name="connsiteY1082" fmla="*/ 3933802 h 7216489"/>
                <a:gd name="connsiteX1083" fmla="*/ 2460337 w 4016827"/>
                <a:gd name="connsiteY1083" fmla="*/ 3940515 h 7216489"/>
                <a:gd name="connsiteX1084" fmla="*/ 2453624 w 4016827"/>
                <a:gd name="connsiteY1084" fmla="*/ 3933802 h 7216489"/>
                <a:gd name="connsiteX1085" fmla="*/ 2460337 w 4016827"/>
                <a:gd name="connsiteY1085" fmla="*/ 3927089 h 7216489"/>
                <a:gd name="connsiteX1086" fmla="*/ 137618 w 4016827"/>
                <a:gd name="connsiteY1086" fmla="*/ 3927089 h 7216489"/>
                <a:gd name="connsiteX1087" fmla="*/ 137618 w 4016827"/>
                <a:gd name="connsiteY1087" fmla="*/ 3930446 h 7216489"/>
                <a:gd name="connsiteX1088" fmla="*/ 137618 w 4016827"/>
                <a:gd name="connsiteY1088" fmla="*/ 3929187 h 7216489"/>
                <a:gd name="connsiteX1089" fmla="*/ 624315 w 4016827"/>
                <a:gd name="connsiteY1089" fmla="*/ 3890167 h 7216489"/>
                <a:gd name="connsiteX1090" fmla="*/ 654524 w 4016827"/>
                <a:gd name="connsiteY1090" fmla="*/ 3920376 h 7216489"/>
                <a:gd name="connsiteX1091" fmla="*/ 624315 w 4016827"/>
                <a:gd name="connsiteY1091" fmla="*/ 3950585 h 7216489"/>
                <a:gd name="connsiteX1092" fmla="*/ 594106 w 4016827"/>
                <a:gd name="connsiteY1092" fmla="*/ 3920376 h 7216489"/>
                <a:gd name="connsiteX1093" fmla="*/ 624315 w 4016827"/>
                <a:gd name="connsiteY1093" fmla="*/ 3890167 h 7216489"/>
                <a:gd name="connsiteX1094" fmla="*/ 1114368 w 4016827"/>
                <a:gd name="connsiteY1094" fmla="*/ 3873385 h 7216489"/>
                <a:gd name="connsiteX1095" fmla="*/ 1147933 w 4016827"/>
                <a:gd name="connsiteY1095" fmla="*/ 3906950 h 7216489"/>
                <a:gd name="connsiteX1096" fmla="*/ 1114368 w 4016827"/>
                <a:gd name="connsiteY1096" fmla="*/ 3940515 h 7216489"/>
                <a:gd name="connsiteX1097" fmla="*/ 1080803 w 4016827"/>
                <a:gd name="connsiteY1097" fmla="*/ 3906950 h 7216489"/>
                <a:gd name="connsiteX1098" fmla="*/ 1114368 w 4016827"/>
                <a:gd name="connsiteY1098" fmla="*/ 3873385 h 7216489"/>
                <a:gd name="connsiteX1099" fmla="*/ 3017521 w 4016827"/>
                <a:gd name="connsiteY1099" fmla="*/ 3866671 h 7216489"/>
                <a:gd name="connsiteX1100" fmla="*/ 3024234 w 4016827"/>
                <a:gd name="connsiteY1100" fmla="*/ 3873385 h 7216489"/>
                <a:gd name="connsiteX1101" fmla="*/ 3017521 w 4016827"/>
                <a:gd name="connsiteY1101" fmla="*/ 3880098 h 7216489"/>
                <a:gd name="connsiteX1102" fmla="*/ 3010808 w 4016827"/>
                <a:gd name="connsiteY1102" fmla="*/ 3873385 h 7216489"/>
                <a:gd name="connsiteX1103" fmla="*/ 3017521 w 4016827"/>
                <a:gd name="connsiteY1103" fmla="*/ 3866671 h 7216489"/>
                <a:gd name="connsiteX1104" fmla="*/ 1617847 w 4016827"/>
                <a:gd name="connsiteY1104" fmla="*/ 3859958 h 7216489"/>
                <a:gd name="connsiteX1105" fmla="*/ 1651413 w 4016827"/>
                <a:gd name="connsiteY1105" fmla="*/ 3893524 h 7216489"/>
                <a:gd name="connsiteX1106" fmla="*/ 1617847 w 4016827"/>
                <a:gd name="connsiteY1106" fmla="*/ 3927089 h 7216489"/>
                <a:gd name="connsiteX1107" fmla="*/ 1584282 w 4016827"/>
                <a:gd name="connsiteY1107" fmla="*/ 3893524 h 7216489"/>
                <a:gd name="connsiteX1108" fmla="*/ 1617847 w 4016827"/>
                <a:gd name="connsiteY1108" fmla="*/ 3859958 h 7216489"/>
                <a:gd name="connsiteX1109" fmla="*/ 2131396 w 4016827"/>
                <a:gd name="connsiteY1109" fmla="*/ 3853245 h 7216489"/>
                <a:gd name="connsiteX1110" fmla="*/ 2144822 w 4016827"/>
                <a:gd name="connsiteY1110" fmla="*/ 3866671 h 7216489"/>
                <a:gd name="connsiteX1111" fmla="*/ 2131396 w 4016827"/>
                <a:gd name="connsiteY1111" fmla="*/ 3880098 h 7216489"/>
                <a:gd name="connsiteX1112" fmla="*/ 2117970 w 4016827"/>
                <a:gd name="connsiteY1112" fmla="*/ 3866671 h 7216489"/>
                <a:gd name="connsiteX1113" fmla="*/ 2131396 w 4016827"/>
                <a:gd name="connsiteY1113" fmla="*/ 3853245 h 7216489"/>
                <a:gd name="connsiteX1114" fmla="*/ 2668441 w 4016827"/>
                <a:gd name="connsiteY1114" fmla="*/ 3823036 h 7216489"/>
                <a:gd name="connsiteX1115" fmla="*/ 2675154 w 4016827"/>
                <a:gd name="connsiteY1115" fmla="*/ 3829750 h 7216489"/>
                <a:gd name="connsiteX1116" fmla="*/ 2668441 w 4016827"/>
                <a:gd name="connsiteY1116" fmla="*/ 3836463 h 7216489"/>
                <a:gd name="connsiteX1117" fmla="*/ 2661728 w 4016827"/>
                <a:gd name="connsiteY1117" fmla="*/ 3829750 h 7216489"/>
                <a:gd name="connsiteX1118" fmla="*/ 2668441 w 4016827"/>
                <a:gd name="connsiteY1118" fmla="*/ 3823036 h 7216489"/>
                <a:gd name="connsiteX1119" fmla="*/ 342366 w 4016827"/>
                <a:gd name="connsiteY1119" fmla="*/ 3792828 h 7216489"/>
                <a:gd name="connsiteX1120" fmla="*/ 379288 w 4016827"/>
                <a:gd name="connsiteY1120" fmla="*/ 3829750 h 7216489"/>
                <a:gd name="connsiteX1121" fmla="*/ 342366 w 4016827"/>
                <a:gd name="connsiteY1121" fmla="*/ 3866671 h 7216489"/>
                <a:gd name="connsiteX1122" fmla="*/ 305444 w 4016827"/>
                <a:gd name="connsiteY1122" fmla="*/ 3829750 h 7216489"/>
                <a:gd name="connsiteX1123" fmla="*/ 342366 w 4016827"/>
                <a:gd name="connsiteY1123" fmla="*/ 3792828 h 7216489"/>
                <a:gd name="connsiteX1124" fmla="*/ 829063 w 4016827"/>
                <a:gd name="connsiteY1124" fmla="*/ 3789471 h 7216489"/>
                <a:gd name="connsiteX1125" fmla="*/ 859272 w 4016827"/>
                <a:gd name="connsiteY1125" fmla="*/ 3819680 h 7216489"/>
                <a:gd name="connsiteX1126" fmla="*/ 829063 w 4016827"/>
                <a:gd name="connsiteY1126" fmla="*/ 3849889 h 7216489"/>
                <a:gd name="connsiteX1127" fmla="*/ 798855 w 4016827"/>
                <a:gd name="connsiteY1127" fmla="*/ 3819680 h 7216489"/>
                <a:gd name="connsiteX1128" fmla="*/ 829063 w 4016827"/>
                <a:gd name="connsiteY1128" fmla="*/ 3789471 h 7216489"/>
                <a:gd name="connsiteX1129" fmla="*/ 1822596 w 4016827"/>
                <a:gd name="connsiteY1129" fmla="*/ 3776045 h 7216489"/>
                <a:gd name="connsiteX1130" fmla="*/ 1839379 w 4016827"/>
                <a:gd name="connsiteY1130" fmla="*/ 3792828 h 7216489"/>
                <a:gd name="connsiteX1131" fmla="*/ 1822596 w 4016827"/>
                <a:gd name="connsiteY1131" fmla="*/ 3809610 h 7216489"/>
                <a:gd name="connsiteX1132" fmla="*/ 1805813 w 4016827"/>
                <a:gd name="connsiteY1132" fmla="*/ 3792828 h 7216489"/>
                <a:gd name="connsiteX1133" fmla="*/ 1822596 w 4016827"/>
                <a:gd name="connsiteY1133" fmla="*/ 3776045 h 7216489"/>
                <a:gd name="connsiteX1134" fmla="*/ 1319117 w 4016827"/>
                <a:gd name="connsiteY1134" fmla="*/ 3769333 h 7216489"/>
                <a:gd name="connsiteX1135" fmla="*/ 1359395 w 4016827"/>
                <a:gd name="connsiteY1135" fmla="*/ 3809611 h 7216489"/>
                <a:gd name="connsiteX1136" fmla="*/ 1319117 w 4016827"/>
                <a:gd name="connsiteY1136" fmla="*/ 3849890 h 7216489"/>
                <a:gd name="connsiteX1137" fmla="*/ 1278838 w 4016827"/>
                <a:gd name="connsiteY1137" fmla="*/ 3809611 h 7216489"/>
                <a:gd name="connsiteX1138" fmla="*/ 1319117 w 4016827"/>
                <a:gd name="connsiteY1138" fmla="*/ 3769333 h 7216489"/>
                <a:gd name="connsiteX1139" fmla="*/ 2339502 w 4016827"/>
                <a:gd name="connsiteY1139" fmla="*/ 3755906 h 7216489"/>
                <a:gd name="connsiteX1140" fmla="*/ 2349571 w 4016827"/>
                <a:gd name="connsiteY1140" fmla="*/ 3765975 h 7216489"/>
                <a:gd name="connsiteX1141" fmla="*/ 2339502 w 4016827"/>
                <a:gd name="connsiteY1141" fmla="*/ 3776045 h 7216489"/>
                <a:gd name="connsiteX1142" fmla="*/ 2329432 w 4016827"/>
                <a:gd name="connsiteY1142" fmla="*/ 3765975 h 7216489"/>
                <a:gd name="connsiteX1143" fmla="*/ 2339502 w 4016827"/>
                <a:gd name="connsiteY1143" fmla="*/ 3755906 h 7216489"/>
                <a:gd name="connsiteX1144" fmla="*/ 70487 w 4016827"/>
                <a:gd name="connsiteY1144" fmla="*/ 3732410 h 7216489"/>
                <a:gd name="connsiteX1145" fmla="*/ 73844 w 4016827"/>
                <a:gd name="connsiteY1145" fmla="*/ 3735767 h 7216489"/>
                <a:gd name="connsiteX1146" fmla="*/ 70487 w 4016827"/>
                <a:gd name="connsiteY1146" fmla="*/ 3739123 h 7216489"/>
                <a:gd name="connsiteX1147" fmla="*/ 67131 w 4016827"/>
                <a:gd name="connsiteY1147" fmla="*/ 3735767 h 7216489"/>
                <a:gd name="connsiteX1148" fmla="*/ 70487 w 4016827"/>
                <a:gd name="connsiteY1148" fmla="*/ 3732410 h 7216489"/>
                <a:gd name="connsiteX1149" fmla="*/ 2876546 w 4016827"/>
                <a:gd name="connsiteY1149" fmla="*/ 3718985 h 7216489"/>
                <a:gd name="connsiteX1150" fmla="*/ 2883260 w 4016827"/>
                <a:gd name="connsiteY1150" fmla="*/ 3725698 h 7216489"/>
                <a:gd name="connsiteX1151" fmla="*/ 2876546 w 4016827"/>
                <a:gd name="connsiteY1151" fmla="*/ 3732411 h 7216489"/>
                <a:gd name="connsiteX1152" fmla="*/ 2869833 w 4016827"/>
                <a:gd name="connsiteY1152" fmla="*/ 3725698 h 7216489"/>
                <a:gd name="connsiteX1153" fmla="*/ 2876546 w 4016827"/>
                <a:gd name="connsiteY1153" fmla="*/ 3718985 h 7216489"/>
                <a:gd name="connsiteX1154" fmla="*/ 550471 w 4016827"/>
                <a:gd name="connsiteY1154" fmla="*/ 3698845 h 7216489"/>
                <a:gd name="connsiteX1155" fmla="*/ 580680 w 4016827"/>
                <a:gd name="connsiteY1155" fmla="*/ 3729053 h 7216489"/>
                <a:gd name="connsiteX1156" fmla="*/ 550471 w 4016827"/>
                <a:gd name="connsiteY1156" fmla="*/ 3759262 h 7216489"/>
                <a:gd name="connsiteX1157" fmla="*/ 520262 w 4016827"/>
                <a:gd name="connsiteY1157" fmla="*/ 3729053 h 7216489"/>
                <a:gd name="connsiteX1158" fmla="*/ 550471 w 4016827"/>
                <a:gd name="connsiteY1158" fmla="*/ 3698845 h 7216489"/>
                <a:gd name="connsiteX1159" fmla="*/ 1033811 w 4016827"/>
                <a:gd name="connsiteY1159" fmla="*/ 3685420 h 7216489"/>
                <a:gd name="connsiteX1160" fmla="*/ 1070733 w 4016827"/>
                <a:gd name="connsiteY1160" fmla="*/ 3722341 h 7216489"/>
                <a:gd name="connsiteX1161" fmla="*/ 1033811 w 4016827"/>
                <a:gd name="connsiteY1161" fmla="*/ 3759263 h 7216489"/>
                <a:gd name="connsiteX1162" fmla="*/ 996889 w 4016827"/>
                <a:gd name="connsiteY1162" fmla="*/ 3722341 h 7216489"/>
                <a:gd name="connsiteX1163" fmla="*/ 1033811 w 4016827"/>
                <a:gd name="connsiteY1163" fmla="*/ 3685420 h 7216489"/>
                <a:gd name="connsiteX1164" fmla="*/ 2027345 w 4016827"/>
                <a:gd name="connsiteY1164" fmla="*/ 3678707 h 7216489"/>
                <a:gd name="connsiteX1165" fmla="*/ 2044128 w 4016827"/>
                <a:gd name="connsiteY1165" fmla="*/ 3695489 h 7216489"/>
                <a:gd name="connsiteX1166" fmla="*/ 2027345 w 4016827"/>
                <a:gd name="connsiteY1166" fmla="*/ 3712272 h 7216489"/>
                <a:gd name="connsiteX1167" fmla="*/ 2010562 w 4016827"/>
                <a:gd name="connsiteY1167" fmla="*/ 3695489 h 7216489"/>
                <a:gd name="connsiteX1168" fmla="*/ 2027345 w 4016827"/>
                <a:gd name="connsiteY1168" fmla="*/ 3678707 h 7216489"/>
                <a:gd name="connsiteX1169" fmla="*/ 1523864 w 4016827"/>
                <a:gd name="connsiteY1169" fmla="*/ 3678707 h 7216489"/>
                <a:gd name="connsiteX1170" fmla="*/ 1554073 w 4016827"/>
                <a:gd name="connsiteY1170" fmla="*/ 3708915 h 7216489"/>
                <a:gd name="connsiteX1171" fmla="*/ 1523864 w 4016827"/>
                <a:gd name="connsiteY1171" fmla="*/ 3739124 h 7216489"/>
                <a:gd name="connsiteX1172" fmla="*/ 1493656 w 4016827"/>
                <a:gd name="connsiteY1172" fmla="*/ 3708915 h 7216489"/>
                <a:gd name="connsiteX1173" fmla="*/ 1523864 w 4016827"/>
                <a:gd name="connsiteY1173" fmla="*/ 3678707 h 7216489"/>
                <a:gd name="connsiteX1174" fmla="*/ 2544250 w 4016827"/>
                <a:gd name="connsiteY1174" fmla="*/ 3661924 h 7216489"/>
                <a:gd name="connsiteX1175" fmla="*/ 2550963 w 4016827"/>
                <a:gd name="connsiteY1175" fmla="*/ 3668637 h 7216489"/>
                <a:gd name="connsiteX1176" fmla="*/ 2544250 w 4016827"/>
                <a:gd name="connsiteY1176" fmla="*/ 3675350 h 7216489"/>
                <a:gd name="connsiteX1177" fmla="*/ 2537537 w 4016827"/>
                <a:gd name="connsiteY1177" fmla="*/ 3668637 h 7216489"/>
                <a:gd name="connsiteX1178" fmla="*/ 2544250 w 4016827"/>
                <a:gd name="connsiteY1178" fmla="*/ 3661924 h 7216489"/>
                <a:gd name="connsiteX1179" fmla="*/ 755220 w 4016827"/>
                <a:gd name="connsiteY1179" fmla="*/ 3601509 h 7216489"/>
                <a:gd name="connsiteX1180" fmla="*/ 785428 w 4016827"/>
                <a:gd name="connsiteY1180" fmla="*/ 3631715 h 7216489"/>
                <a:gd name="connsiteX1181" fmla="*/ 755220 w 4016827"/>
                <a:gd name="connsiteY1181" fmla="*/ 3661924 h 7216489"/>
                <a:gd name="connsiteX1182" fmla="*/ 725011 w 4016827"/>
                <a:gd name="connsiteY1182" fmla="*/ 3631715 h 7216489"/>
                <a:gd name="connsiteX1183" fmla="*/ 755220 w 4016827"/>
                <a:gd name="connsiteY1183" fmla="*/ 3601509 h 7216489"/>
                <a:gd name="connsiteX1184" fmla="*/ 275236 w 4016827"/>
                <a:gd name="connsiteY1184" fmla="*/ 3601509 h 7216489"/>
                <a:gd name="connsiteX1185" fmla="*/ 312158 w 4016827"/>
                <a:gd name="connsiteY1185" fmla="*/ 3638428 h 7216489"/>
                <a:gd name="connsiteX1186" fmla="*/ 275236 w 4016827"/>
                <a:gd name="connsiteY1186" fmla="*/ 3675350 h 7216489"/>
                <a:gd name="connsiteX1187" fmla="*/ 238314 w 4016827"/>
                <a:gd name="connsiteY1187" fmla="*/ 3638428 h 7216489"/>
                <a:gd name="connsiteX1188" fmla="*/ 275236 w 4016827"/>
                <a:gd name="connsiteY1188" fmla="*/ 3601509 h 7216489"/>
                <a:gd name="connsiteX1189" fmla="*/ 2228736 w 4016827"/>
                <a:gd name="connsiteY1189" fmla="*/ 3591438 h 7216489"/>
                <a:gd name="connsiteX1190" fmla="*/ 2235449 w 4016827"/>
                <a:gd name="connsiteY1190" fmla="*/ 3598153 h 7216489"/>
                <a:gd name="connsiteX1191" fmla="*/ 2228736 w 4016827"/>
                <a:gd name="connsiteY1191" fmla="*/ 3604864 h 7216489"/>
                <a:gd name="connsiteX1192" fmla="*/ 2222023 w 4016827"/>
                <a:gd name="connsiteY1192" fmla="*/ 3598153 h 7216489"/>
                <a:gd name="connsiteX1193" fmla="*/ 2228736 w 4016827"/>
                <a:gd name="connsiteY1193" fmla="*/ 3591438 h 7216489"/>
                <a:gd name="connsiteX1194" fmla="*/ 1728613 w 4016827"/>
                <a:gd name="connsiteY1194" fmla="*/ 3591438 h 7216489"/>
                <a:gd name="connsiteX1195" fmla="*/ 1748752 w 4016827"/>
                <a:gd name="connsiteY1195" fmla="*/ 3611580 h 7216489"/>
                <a:gd name="connsiteX1196" fmla="*/ 1728613 w 4016827"/>
                <a:gd name="connsiteY1196" fmla="*/ 3631715 h 7216489"/>
                <a:gd name="connsiteX1197" fmla="*/ 1708474 w 4016827"/>
                <a:gd name="connsiteY1197" fmla="*/ 3611580 h 7216489"/>
                <a:gd name="connsiteX1198" fmla="*/ 1728613 w 4016827"/>
                <a:gd name="connsiteY1198" fmla="*/ 3591438 h 7216489"/>
                <a:gd name="connsiteX1199" fmla="*/ 1235203 w 4016827"/>
                <a:gd name="connsiteY1199" fmla="*/ 3584726 h 7216489"/>
                <a:gd name="connsiteX1200" fmla="*/ 1275482 w 4016827"/>
                <a:gd name="connsiteY1200" fmla="*/ 3625002 h 7216489"/>
                <a:gd name="connsiteX1201" fmla="*/ 1235203 w 4016827"/>
                <a:gd name="connsiteY1201" fmla="*/ 3665281 h 7216489"/>
                <a:gd name="connsiteX1202" fmla="*/ 1194925 w 4016827"/>
                <a:gd name="connsiteY1202" fmla="*/ 3625002 h 7216489"/>
                <a:gd name="connsiteX1203" fmla="*/ 1235203 w 4016827"/>
                <a:gd name="connsiteY1203" fmla="*/ 3584726 h 7216489"/>
                <a:gd name="connsiteX1204" fmla="*/ 2749837 w 4016827"/>
                <a:gd name="connsiteY1204" fmla="*/ 3567103 h 7216489"/>
                <a:gd name="connsiteX1205" fmla="*/ 2752354 w 4016827"/>
                <a:gd name="connsiteY1205" fmla="*/ 3567943 h 7216489"/>
                <a:gd name="connsiteX1206" fmla="*/ 2752354 w 4016827"/>
                <a:gd name="connsiteY1206" fmla="*/ 3570041 h 7216489"/>
                <a:gd name="connsiteX1207" fmla="*/ 2752354 w 4016827"/>
                <a:gd name="connsiteY1207" fmla="*/ 3571299 h 7216489"/>
                <a:gd name="connsiteX1208" fmla="*/ 2749837 w 4016827"/>
                <a:gd name="connsiteY1208" fmla="*/ 3567103 h 7216489"/>
                <a:gd name="connsiteX1209" fmla="*/ 10070 w 4016827"/>
                <a:gd name="connsiteY1209" fmla="*/ 3531021 h 7216489"/>
                <a:gd name="connsiteX1210" fmla="*/ 20139 w 4016827"/>
                <a:gd name="connsiteY1210" fmla="*/ 3541090 h 7216489"/>
                <a:gd name="connsiteX1211" fmla="*/ 10070 w 4016827"/>
                <a:gd name="connsiteY1211" fmla="*/ 3551160 h 7216489"/>
                <a:gd name="connsiteX1212" fmla="*/ 0 w 4016827"/>
                <a:gd name="connsiteY1212" fmla="*/ 3541090 h 7216489"/>
                <a:gd name="connsiteX1213" fmla="*/ 10070 w 4016827"/>
                <a:gd name="connsiteY1213" fmla="*/ 3531021 h 7216489"/>
                <a:gd name="connsiteX1214" fmla="*/ 483340 w 4016827"/>
                <a:gd name="connsiteY1214" fmla="*/ 3510884 h 7216489"/>
                <a:gd name="connsiteX1215" fmla="*/ 510192 w 4016827"/>
                <a:gd name="connsiteY1215" fmla="*/ 3537734 h 7216489"/>
                <a:gd name="connsiteX1216" fmla="*/ 483340 w 4016827"/>
                <a:gd name="connsiteY1216" fmla="*/ 3564584 h 7216489"/>
                <a:gd name="connsiteX1217" fmla="*/ 456488 w 4016827"/>
                <a:gd name="connsiteY1217" fmla="*/ 3537734 h 7216489"/>
                <a:gd name="connsiteX1218" fmla="*/ 483340 w 4016827"/>
                <a:gd name="connsiteY1218" fmla="*/ 3510884 h 7216489"/>
                <a:gd name="connsiteX1219" fmla="*/ 1930005 w 4016827"/>
                <a:gd name="connsiteY1219" fmla="*/ 3504169 h 7216489"/>
                <a:gd name="connsiteX1220" fmla="*/ 1940075 w 4016827"/>
                <a:gd name="connsiteY1220" fmla="*/ 3514242 h 7216489"/>
                <a:gd name="connsiteX1221" fmla="*/ 1930005 w 4016827"/>
                <a:gd name="connsiteY1221" fmla="*/ 3524310 h 7216489"/>
                <a:gd name="connsiteX1222" fmla="*/ 1919936 w 4016827"/>
                <a:gd name="connsiteY1222" fmla="*/ 3514242 h 7216489"/>
                <a:gd name="connsiteX1223" fmla="*/ 1930005 w 4016827"/>
                <a:gd name="connsiteY1223" fmla="*/ 3504169 h 7216489"/>
                <a:gd name="connsiteX1224" fmla="*/ 1439952 w 4016827"/>
                <a:gd name="connsiteY1224" fmla="*/ 3504169 h 7216489"/>
                <a:gd name="connsiteX1225" fmla="*/ 1463448 w 4016827"/>
                <a:gd name="connsiteY1225" fmla="*/ 3527666 h 7216489"/>
                <a:gd name="connsiteX1226" fmla="*/ 1439952 w 4016827"/>
                <a:gd name="connsiteY1226" fmla="*/ 3551160 h 7216489"/>
                <a:gd name="connsiteX1227" fmla="*/ 1416456 w 4016827"/>
                <a:gd name="connsiteY1227" fmla="*/ 3527666 h 7216489"/>
                <a:gd name="connsiteX1228" fmla="*/ 1439952 w 4016827"/>
                <a:gd name="connsiteY1228" fmla="*/ 3504169 h 7216489"/>
                <a:gd name="connsiteX1229" fmla="*/ 959967 w 4016827"/>
                <a:gd name="connsiteY1229" fmla="*/ 3500813 h 7216489"/>
                <a:gd name="connsiteX1230" fmla="*/ 990176 w 4016827"/>
                <a:gd name="connsiteY1230" fmla="*/ 3531021 h 7216489"/>
                <a:gd name="connsiteX1231" fmla="*/ 959967 w 4016827"/>
                <a:gd name="connsiteY1231" fmla="*/ 3561228 h 7216489"/>
                <a:gd name="connsiteX1232" fmla="*/ 929758 w 4016827"/>
                <a:gd name="connsiteY1232" fmla="*/ 3531021 h 7216489"/>
                <a:gd name="connsiteX1233" fmla="*/ 959967 w 4016827"/>
                <a:gd name="connsiteY1233" fmla="*/ 3500813 h 7216489"/>
                <a:gd name="connsiteX1234" fmla="*/ 2433484 w 4016827"/>
                <a:gd name="connsiteY1234" fmla="*/ 3487389 h 7216489"/>
                <a:gd name="connsiteX1235" fmla="*/ 2443554 w 4016827"/>
                <a:gd name="connsiteY1235" fmla="*/ 3497458 h 7216489"/>
                <a:gd name="connsiteX1236" fmla="*/ 2433484 w 4016827"/>
                <a:gd name="connsiteY1236" fmla="*/ 3507528 h 7216489"/>
                <a:gd name="connsiteX1237" fmla="*/ 2423415 w 4016827"/>
                <a:gd name="connsiteY1237" fmla="*/ 3497458 h 7216489"/>
                <a:gd name="connsiteX1238" fmla="*/ 2433484 w 4016827"/>
                <a:gd name="connsiteY1238" fmla="*/ 3487389 h 7216489"/>
                <a:gd name="connsiteX1239" fmla="*/ 218175 w 4016827"/>
                <a:gd name="connsiteY1239" fmla="*/ 3430330 h 7216489"/>
                <a:gd name="connsiteX1240" fmla="*/ 228244 w 4016827"/>
                <a:gd name="connsiteY1240" fmla="*/ 3440398 h 7216489"/>
                <a:gd name="connsiteX1241" fmla="*/ 218175 w 4016827"/>
                <a:gd name="connsiteY1241" fmla="*/ 3450468 h 7216489"/>
                <a:gd name="connsiteX1242" fmla="*/ 208105 w 4016827"/>
                <a:gd name="connsiteY1242" fmla="*/ 3440398 h 7216489"/>
                <a:gd name="connsiteX1243" fmla="*/ 218175 w 4016827"/>
                <a:gd name="connsiteY1243" fmla="*/ 3430330 h 7216489"/>
                <a:gd name="connsiteX1244" fmla="*/ 2134753 w 4016827"/>
                <a:gd name="connsiteY1244" fmla="*/ 3410193 h 7216489"/>
                <a:gd name="connsiteX1245" fmla="*/ 2141466 w 4016827"/>
                <a:gd name="connsiteY1245" fmla="*/ 3416903 h 7216489"/>
                <a:gd name="connsiteX1246" fmla="*/ 2134753 w 4016827"/>
                <a:gd name="connsiteY1246" fmla="*/ 3423617 h 7216489"/>
                <a:gd name="connsiteX1247" fmla="*/ 2128040 w 4016827"/>
                <a:gd name="connsiteY1247" fmla="*/ 3416903 h 7216489"/>
                <a:gd name="connsiteX1248" fmla="*/ 2134753 w 4016827"/>
                <a:gd name="connsiteY1248" fmla="*/ 3410193 h 7216489"/>
                <a:gd name="connsiteX1249" fmla="*/ 1644700 w 4016827"/>
                <a:gd name="connsiteY1249" fmla="*/ 3406837 h 7216489"/>
                <a:gd name="connsiteX1250" fmla="*/ 1664839 w 4016827"/>
                <a:gd name="connsiteY1250" fmla="*/ 3426974 h 7216489"/>
                <a:gd name="connsiteX1251" fmla="*/ 1644700 w 4016827"/>
                <a:gd name="connsiteY1251" fmla="*/ 3447112 h 7216489"/>
                <a:gd name="connsiteX1252" fmla="*/ 1624560 w 4016827"/>
                <a:gd name="connsiteY1252" fmla="*/ 3426974 h 7216489"/>
                <a:gd name="connsiteX1253" fmla="*/ 1644700 w 4016827"/>
                <a:gd name="connsiteY1253" fmla="*/ 3406837 h 7216489"/>
                <a:gd name="connsiteX1254" fmla="*/ 688089 w 4016827"/>
                <a:gd name="connsiteY1254" fmla="*/ 3406837 h 7216489"/>
                <a:gd name="connsiteX1255" fmla="*/ 718298 w 4016827"/>
                <a:gd name="connsiteY1255" fmla="*/ 3437045 h 7216489"/>
                <a:gd name="connsiteX1256" fmla="*/ 688089 w 4016827"/>
                <a:gd name="connsiteY1256" fmla="*/ 3467249 h 7216489"/>
                <a:gd name="connsiteX1257" fmla="*/ 657880 w 4016827"/>
                <a:gd name="connsiteY1257" fmla="*/ 3437045 h 7216489"/>
                <a:gd name="connsiteX1258" fmla="*/ 688089 w 4016827"/>
                <a:gd name="connsiteY1258" fmla="*/ 3406837 h 7216489"/>
                <a:gd name="connsiteX1259" fmla="*/ 1164716 w 4016827"/>
                <a:gd name="connsiteY1259" fmla="*/ 3400123 h 7216489"/>
                <a:gd name="connsiteX1260" fmla="*/ 1198281 w 4016827"/>
                <a:gd name="connsiteY1260" fmla="*/ 3433688 h 7216489"/>
                <a:gd name="connsiteX1261" fmla="*/ 1164716 w 4016827"/>
                <a:gd name="connsiteY1261" fmla="*/ 3467249 h 7216489"/>
                <a:gd name="connsiteX1262" fmla="*/ 1131151 w 4016827"/>
                <a:gd name="connsiteY1262" fmla="*/ 3433688 h 7216489"/>
                <a:gd name="connsiteX1263" fmla="*/ 1164716 w 4016827"/>
                <a:gd name="connsiteY1263" fmla="*/ 3400123 h 7216489"/>
                <a:gd name="connsiteX1264" fmla="*/ 2638232 w 4016827"/>
                <a:gd name="connsiteY1264" fmla="*/ 3390052 h 7216489"/>
                <a:gd name="connsiteX1265" fmla="*/ 2644945 w 4016827"/>
                <a:gd name="connsiteY1265" fmla="*/ 3396767 h 7216489"/>
                <a:gd name="connsiteX1266" fmla="*/ 2638232 w 4016827"/>
                <a:gd name="connsiteY1266" fmla="*/ 3403479 h 7216489"/>
                <a:gd name="connsiteX1267" fmla="*/ 2631519 w 4016827"/>
                <a:gd name="connsiteY1267" fmla="*/ 3396767 h 7216489"/>
                <a:gd name="connsiteX1268" fmla="*/ 2638232 w 4016827"/>
                <a:gd name="connsiteY1268" fmla="*/ 3390052 h 7216489"/>
                <a:gd name="connsiteX1269" fmla="*/ 1849448 w 4016827"/>
                <a:gd name="connsiteY1269" fmla="*/ 3322926 h 7216489"/>
                <a:gd name="connsiteX1270" fmla="*/ 1856161 w 4016827"/>
                <a:gd name="connsiteY1270" fmla="*/ 3329641 h 7216489"/>
                <a:gd name="connsiteX1271" fmla="*/ 1849448 w 4016827"/>
                <a:gd name="connsiteY1271" fmla="*/ 3336355 h 7216489"/>
                <a:gd name="connsiteX1272" fmla="*/ 1842735 w 4016827"/>
                <a:gd name="connsiteY1272" fmla="*/ 3329641 h 7216489"/>
                <a:gd name="connsiteX1273" fmla="*/ 1849448 w 4016827"/>
                <a:gd name="connsiteY1273" fmla="*/ 3322926 h 7216489"/>
                <a:gd name="connsiteX1274" fmla="*/ 1369465 w 4016827"/>
                <a:gd name="connsiteY1274" fmla="*/ 3316213 h 7216489"/>
                <a:gd name="connsiteX1275" fmla="*/ 1389604 w 4016827"/>
                <a:gd name="connsiteY1275" fmla="*/ 3336355 h 7216489"/>
                <a:gd name="connsiteX1276" fmla="*/ 1369465 w 4016827"/>
                <a:gd name="connsiteY1276" fmla="*/ 3356491 h 7216489"/>
                <a:gd name="connsiteX1277" fmla="*/ 1349326 w 4016827"/>
                <a:gd name="connsiteY1277" fmla="*/ 3336355 h 7216489"/>
                <a:gd name="connsiteX1278" fmla="*/ 1369465 w 4016827"/>
                <a:gd name="connsiteY1278" fmla="*/ 3316213 h 7216489"/>
                <a:gd name="connsiteX1279" fmla="*/ 896193 w 4016827"/>
                <a:gd name="connsiteY1279" fmla="*/ 3316213 h 7216489"/>
                <a:gd name="connsiteX1280" fmla="*/ 919689 w 4016827"/>
                <a:gd name="connsiteY1280" fmla="*/ 3339707 h 7216489"/>
                <a:gd name="connsiteX1281" fmla="*/ 896193 w 4016827"/>
                <a:gd name="connsiteY1281" fmla="*/ 3363206 h 7216489"/>
                <a:gd name="connsiteX1282" fmla="*/ 872697 w 4016827"/>
                <a:gd name="connsiteY1282" fmla="*/ 3339707 h 7216489"/>
                <a:gd name="connsiteX1283" fmla="*/ 896193 w 4016827"/>
                <a:gd name="connsiteY1283" fmla="*/ 3316213 h 7216489"/>
                <a:gd name="connsiteX1284" fmla="*/ 2339502 w 4016827"/>
                <a:gd name="connsiteY1284" fmla="*/ 3312859 h 7216489"/>
                <a:gd name="connsiteX1285" fmla="*/ 2346215 w 4016827"/>
                <a:gd name="connsiteY1285" fmla="*/ 3319570 h 7216489"/>
                <a:gd name="connsiteX1286" fmla="*/ 2339502 w 4016827"/>
                <a:gd name="connsiteY1286" fmla="*/ 3326282 h 7216489"/>
                <a:gd name="connsiteX1287" fmla="*/ 2332788 w 4016827"/>
                <a:gd name="connsiteY1287" fmla="*/ 3319570 h 7216489"/>
                <a:gd name="connsiteX1288" fmla="*/ 2339502 w 4016827"/>
                <a:gd name="connsiteY1288" fmla="*/ 3312859 h 7216489"/>
                <a:gd name="connsiteX1289" fmla="*/ 426279 w 4016827"/>
                <a:gd name="connsiteY1289" fmla="*/ 3309498 h 7216489"/>
                <a:gd name="connsiteX1290" fmla="*/ 456488 w 4016827"/>
                <a:gd name="connsiteY1290" fmla="*/ 3339707 h 7216489"/>
                <a:gd name="connsiteX1291" fmla="*/ 426279 w 4016827"/>
                <a:gd name="connsiteY1291" fmla="*/ 3369914 h 7216489"/>
                <a:gd name="connsiteX1292" fmla="*/ 396070 w 4016827"/>
                <a:gd name="connsiteY1292" fmla="*/ 3339707 h 7216489"/>
                <a:gd name="connsiteX1293" fmla="*/ 426279 w 4016827"/>
                <a:gd name="connsiteY1293" fmla="*/ 3309498 h 7216489"/>
                <a:gd name="connsiteX1294" fmla="*/ 167827 w 4016827"/>
                <a:gd name="connsiteY1294" fmla="*/ 3232301 h 7216489"/>
                <a:gd name="connsiteX1295" fmla="*/ 181253 w 4016827"/>
                <a:gd name="connsiteY1295" fmla="*/ 3245730 h 7216489"/>
                <a:gd name="connsiteX1296" fmla="*/ 167827 w 4016827"/>
                <a:gd name="connsiteY1296" fmla="*/ 3259154 h 7216489"/>
                <a:gd name="connsiteX1297" fmla="*/ 154401 w 4016827"/>
                <a:gd name="connsiteY1297" fmla="*/ 3245730 h 7216489"/>
                <a:gd name="connsiteX1298" fmla="*/ 167827 w 4016827"/>
                <a:gd name="connsiteY1298" fmla="*/ 3232301 h 7216489"/>
                <a:gd name="connsiteX1299" fmla="*/ 2054196 w 4016827"/>
                <a:gd name="connsiteY1299" fmla="*/ 3222236 h 7216489"/>
                <a:gd name="connsiteX1300" fmla="*/ 2060909 w 4016827"/>
                <a:gd name="connsiteY1300" fmla="*/ 3228948 h 7216489"/>
                <a:gd name="connsiteX1301" fmla="*/ 2054196 w 4016827"/>
                <a:gd name="connsiteY1301" fmla="*/ 3235663 h 7216489"/>
                <a:gd name="connsiteX1302" fmla="*/ 2047483 w 4016827"/>
                <a:gd name="connsiteY1302" fmla="*/ 3228948 h 7216489"/>
                <a:gd name="connsiteX1303" fmla="*/ 2054196 w 4016827"/>
                <a:gd name="connsiteY1303" fmla="*/ 3222236 h 7216489"/>
                <a:gd name="connsiteX1304" fmla="*/ 1574212 w 4016827"/>
                <a:gd name="connsiteY1304" fmla="*/ 3215524 h 7216489"/>
                <a:gd name="connsiteX1305" fmla="*/ 1594352 w 4016827"/>
                <a:gd name="connsiteY1305" fmla="*/ 3235663 h 7216489"/>
                <a:gd name="connsiteX1306" fmla="*/ 1574212 w 4016827"/>
                <a:gd name="connsiteY1306" fmla="*/ 3255801 h 7216489"/>
                <a:gd name="connsiteX1307" fmla="*/ 1554073 w 4016827"/>
                <a:gd name="connsiteY1307" fmla="*/ 3235663 h 7216489"/>
                <a:gd name="connsiteX1308" fmla="*/ 1574212 w 4016827"/>
                <a:gd name="connsiteY1308" fmla="*/ 3215524 h 7216489"/>
                <a:gd name="connsiteX1309" fmla="*/ 634384 w 4016827"/>
                <a:gd name="connsiteY1309" fmla="*/ 3215524 h 7216489"/>
                <a:gd name="connsiteX1310" fmla="*/ 661237 w 4016827"/>
                <a:gd name="connsiteY1310" fmla="*/ 3242373 h 7216489"/>
                <a:gd name="connsiteX1311" fmla="*/ 634384 w 4016827"/>
                <a:gd name="connsiteY1311" fmla="*/ 3269225 h 7216489"/>
                <a:gd name="connsiteX1312" fmla="*/ 607532 w 4016827"/>
                <a:gd name="connsiteY1312" fmla="*/ 3242373 h 7216489"/>
                <a:gd name="connsiteX1313" fmla="*/ 634384 w 4016827"/>
                <a:gd name="connsiteY1313" fmla="*/ 3215524 h 7216489"/>
                <a:gd name="connsiteX1314" fmla="*/ 1100942 w 4016827"/>
                <a:gd name="connsiteY1314" fmla="*/ 3202095 h 7216489"/>
                <a:gd name="connsiteX1315" fmla="*/ 1137864 w 4016827"/>
                <a:gd name="connsiteY1315" fmla="*/ 3239020 h 7216489"/>
                <a:gd name="connsiteX1316" fmla="*/ 1100942 w 4016827"/>
                <a:gd name="connsiteY1316" fmla="*/ 3275937 h 7216489"/>
                <a:gd name="connsiteX1317" fmla="*/ 1064020 w 4016827"/>
                <a:gd name="connsiteY1317" fmla="*/ 3239020 h 7216489"/>
                <a:gd name="connsiteX1318" fmla="*/ 1100942 w 4016827"/>
                <a:gd name="connsiteY1318" fmla="*/ 3202095 h 7216489"/>
                <a:gd name="connsiteX1319" fmla="*/ 2258945 w 4016827"/>
                <a:gd name="connsiteY1319" fmla="*/ 3124895 h 7216489"/>
                <a:gd name="connsiteX1320" fmla="*/ 2265658 w 4016827"/>
                <a:gd name="connsiteY1320" fmla="*/ 3131608 h 7216489"/>
                <a:gd name="connsiteX1321" fmla="*/ 2258945 w 4016827"/>
                <a:gd name="connsiteY1321" fmla="*/ 3138322 h 7216489"/>
                <a:gd name="connsiteX1322" fmla="*/ 2252232 w 4016827"/>
                <a:gd name="connsiteY1322" fmla="*/ 3131608 h 7216489"/>
                <a:gd name="connsiteX1323" fmla="*/ 2258945 w 4016827"/>
                <a:gd name="connsiteY1323" fmla="*/ 3124895 h 7216489"/>
                <a:gd name="connsiteX1324" fmla="*/ 1782318 w 4016827"/>
                <a:gd name="connsiteY1324" fmla="*/ 3124895 h 7216489"/>
                <a:gd name="connsiteX1325" fmla="*/ 1792387 w 4016827"/>
                <a:gd name="connsiteY1325" fmla="*/ 3134964 h 7216489"/>
                <a:gd name="connsiteX1326" fmla="*/ 1782318 w 4016827"/>
                <a:gd name="connsiteY1326" fmla="*/ 3145033 h 7216489"/>
                <a:gd name="connsiteX1327" fmla="*/ 1772248 w 4016827"/>
                <a:gd name="connsiteY1327" fmla="*/ 3134964 h 7216489"/>
                <a:gd name="connsiteX1328" fmla="*/ 1782318 w 4016827"/>
                <a:gd name="connsiteY1328" fmla="*/ 3124895 h 7216489"/>
                <a:gd name="connsiteX1329" fmla="*/ 842490 w 4016827"/>
                <a:gd name="connsiteY1329" fmla="*/ 3121541 h 7216489"/>
                <a:gd name="connsiteX1330" fmla="*/ 862629 w 4016827"/>
                <a:gd name="connsiteY1330" fmla="*/ 3141679 h 7216489"/>
                <a:gd name="connsiteX1331" fmla="*/ 842490 w 4016827"/>
                <a:gd name="connsiteY1331" fmla="*/ 3161818 h 7216489"/>
                <a:gd name="connsiteX1332" fmla="*/ 822350 w 4016827"/>
                <a:gd name="connsiteY1332" fmla="*/ 3141679 h 7216489"/>
                <a:gd name="connsiteX1333" fmla="*/ 842490 w 4016827"/>
                <a:gd name="connsiteY1333" fmla="*/ 3121541 h 7216489"/>
                <a:gd name="connsiteX1334" fmla="*/ 1309047 w 4016827"/>
                <a:gd name="connsiteY1334" fmla="*/ 3118183 h 7216489"/>
                <a:gd name="connsiteX1335" fmla="*/ 1332543 w 4016827"/>
                <a:gd name="connsiteY1335" fmla="*/ 3141679 h 7216489"/>
                <a:gd name="connsiteX1336" fmla="*/ 1309047 w 4016827"/>
                <a:gd name="connsiteY1336" fmla="*/ 3165175 h 7216489"/>
                <a:gd name="connsiteX1337" fmla="*/ 1285551 w 4016827"/>
                <a:gd name="connsiteY1337" fmla="*/ 3141679 h 7216489"/>
                <a:gd name="connsiteX1338" fmla="*/ 1309047 w 4016827"/>
                <a:gd name="connsiteY1338" fmla="*/ 3118183 h 7216489"/>
                <a:gd name="connsiteX1339" fmla="*/ 379288 w 4016827"/>
                <a:gd name="connsiteY1339" fmla="*/ 3118181 h 7216489"/>
                <a:gd name="connsiteX1340" fmla="*/ 406140 w 4016827"/>
                <a:gd name="connsiteY1340" fmla="*/ 3145033 h 7216489"/>
                <a:gd name="connsiteX1341" fmla="*/ 379288 w 4016827"/>
                <a:gd name="connsiteY1341" fmla="*/ 3171888 h 7216489"/>
                <a:gd name="connsiteX1342" fmla="*/ 352435 w 4016827"/>
                <a:gd name="connsiteY1342" fmla="*/ 3145033 h 7216489"/>
                <a:gd name="connsiteX1343" fmla="*/ 379288 w 4016827"/>
                <a:gd name="connsiteY1343" fmla="*/ 3118181 h 7216489"/>
                <a:gd name="connsiteX1344" fmla="*/ 127548 w 4016827"/>
                <a:gd name="connsiteY1344" fmla="*/ 3034265 h 7216489"/>
                <a:gd name="connsiteX1345" fmla="*/ 137618 w 4016827"/>
                <a:gd name="connsiteY1345" fmla="*/ 3044336 h 7216489"/>
                <a:gd name="connsiteX1346" fmla="*/ 127548 w 4016827"/>
                <a:gd name="connsiteY1346" fmla="*/ 3054407 h 7216489"/>
                <a:gd name="connsiteX1347" fmla="*/ 117479 w 4016827"/>
                <a:gd name="connsiteY1347" fmla="*/ 3044336 h 7216489"/>
                <a:gd name="connsiteX1348" fmla="*/ 127548 w 4016827"/>
                <a:gd name="connsiteY1348" fmla="*/ 3034265 h 7216489"/>
                <a:gd name="connsiteX1349" fmla="*/ 2463694 w 4016827"/>
                <a:gd name="connsiteY1349" fmla="*/ 3030915 h 7216489"/>
                <a:gd name="connsiteX1350" fmla="*/ 2467050 w 4016827"/>
                <a:gd name="connsiteY1350" fmla="*/ 3034273 h 7216489"/>
                <a:gd name="connsiteX1351" fmla="*/ 2463694 w 4016827"/>
                <a:gd name="connsiteY1351" fmla="*/ 3037628 h 7216489"/>
                <a:gd name="connsiteX1352" fmla="*/ 2460337 w 4016827"/>
                <a:gd name="connsiteY1352" fmla="*/ 3034273 h 7216489"/>
                <a:gd name="connsiteX1353" fmla="*/ 2463694 w 4016827"/>
                <a:gd name="connsiteY1353" fmla="*/ 3030915 h 7216489"/>
                <a:gd name="connsiteX1354" fmla="*/ 1987066 w 4016827"/>
                <a:gd name="connsiteY1354" fmla="*/ 3030915 h 7216489"/>
                <a:gd name="connsiteX1355" fmla="*/ 1993779 w 4016827"/>
                <a:gd name="connsiteY1355" fmla="*/ 3037628 h 7216489"/>
                <a:gd name="connsiteX1356" fmla="*/ 1987066 w 4016827"/>
                <a:gd name="connsiteY1356" fmla="*/ 3044345 h 7216489"/>
                <a:gd name="connsiteX1357" fmla="*/ 1980353 w 4016827"/>
                <a:gd name="connsiteY1357" fmla="*/ 3037628 h 7216489"/>
                <a:gd name="connsiteX1358" fmla="*/ 1987066 w 4016827"/>
                <a:gd name="connsiteY1358" fmla="*/ 3030915 h 7216489"/>
                <a:gd name="connsiteX1359" fmla="*/ 1517151 w 4016827"/>
                <a:gd name="connsiteY1359" fmla="*/ 3027560 h 7216489"/>
                <a:gd name="connsiteX1360" fmla="*/ 1530577 w 4016827"/>
                <a:gd name="connsiteY1360" fmla="*/ 3040986 h 7216489"/>
                <a:gd name="connsiteX1361" fmla="*/ 1517151 w 4016827"/>
                <a:gd name="connsiteY1361" fmla="*/ 3054413 h 7216489"/>
                <a:gd name="connsiteX1362" fmla="*/ 1503725 w 4016827"/>
                <a:gd name="connsiteY1362" fmla="*/ 3040986 h 7216489"/>
                <a:gd name="connsiteX1363" fmla="*/ 1517151 w 4016827"/>
                <a:gd name="connsiteY1363" fmla="*/ 3027560 h 7216489"/>
                <a:gd name="connsiteX1364" fmla="*/ 587393 w 4016827"/>
                <a:gd name="connsiteY1364" fmla="*/ 3020845 h 7216489"/>
                <a:gd name="connsiteX1365" fmla="*/ 610889 w 4016827"/>
                <a:gd name="connsiteY1365" fmla="*/ 3044341 h 7216489"/>
                <a:gd name="connsiteX1366" fmla="*/ 587393 w 4016827"/>
                <a:gd name="connsiteY1366" fmla="*/ 3067838 h 7216489"/>
                <a:gd name="connsiteX1367" fmla="*/ 563897 w 4016827"/>
                <a:gd name="connsiteY1367" fmla="*/ 3044341 h 7216489"/>
                <a:gd name="connsiteX1368" fmla="*/ 587393 w 4016827"/>
                <a:gd name="connsiteY1368" fmla="*/ 3020845 h 7216489"/>
                <a:gd name="connsiteX1369" fmla="*/ 1050594 w 4016827"/>
                <a:gd name="connsiteY1369" fmla="*/ 3017489 h 7216489"/>
                <a:gd name="connsiteX1370" fmla="*/ 1077446 w 4016827"/>
                <a:gd name="connsiteY1370" fmla="*/ 3044345 h 7216489"/>
                <a:gd name="connsiteX1371" fmla="*/ 1050594 w 4016827"/>
                <a:gd name="connsiteY1371" fmla="*/ 3071196 h 7216489"/>
                <a:gd name="connsiteX1372" fmla="*/ 1023741 w 4016827"/>
                <a:gd name="connsiteY1372" fmla="*/ 3044345 h 7216489"/>
                <a:gd name="connsiteX1373" fmla="*/ 1050594 w 4016827"/>
                <a:gd name="connsiteY1373" fmla="*/ 3017489 h 7216489"/>
                <a:gd name="connsiteX1374" fmla="*/ 2195170 w 4016827"/>
                <a:gd name="connsiteY1374" fmla="*/ 2930223 h 7216489"/>
                <a:gd name="connsiteX1375" fmla="*/ 2201884 w 4016827"/>
                <a:gd name="connsiteY1375" fmla="*/ 2936935 h 7216489"/>
                <a:gd name="connsiteX1376" fmla="*/ 2195170 w 4016827"/>
                <a:gd name="connsiteY1376" fmla="*/ 2943649 h 7216489"/>
                <a:gd name="connsiteX1377" fmla="*/ 2188458 w 4016827"/>
                <a:gd name="connsiteY1377" fmla="*/ 2936935 h 7216489"/>
                <a:gd name="connsiteX1378" fmla="*/ 2195170 w 4016827"/>
                <a:gd name="connsiteY1378" fmla="*/ 2930223 h 7216489"/>
                <a:gd name="connsiteX1379" fmla="*/ 1725256 w 4016827"/>
                <a:gd name="connsiteY1379" fmla="*/ 2930223 h 7216489"/>
                <a:gd name="connsiteX1380" fmla="*/ 1735326 w 4016827"/>
                <a:gd name="connsiteY1380" fmla="*/ 2940292 h 7216489"/>
                <a:gd name="connsiteX1381" fmla="*/ 1725256 w 4016827"/>
                <a:gd name="connsiteY1381" fmla="*/ 2950360 h 7216489"/>
                <a:gd name="connsiteX1382" fmla="*/ 1715187 w 4016827"/>
                <a:gd name="connsiteY1382" fmla="*/ 2940292 h 7216489"/>
                <a:gd name="connsiteX1383" fmla="*/ 1725256 w 4016827"/>
                <a:gd name="connsiteY1383" fmla="*/ 2930223 h 7216489"/>
                <a:gd name="connsiteX1384" fmla="*/ 1262056 w 4016827"/>
                <a:gd name="connsiteY1384" fmla="*/ 2926865 h 7216489"/>
                <a:gd name="connsiteX1385" fmla="*/ 1278838 w 4016827"/>
                <a:gd name="connsiteY1385" fmla="*/ 2943649 h 7216489"/>
                <a:gd name="connsiteX1386" fmla="*/ 1262056 w 4016827"/>
                <a:gd name="connsiteY1386" fmla="*/ 2960431 h 7216489"/>
                <a:gd name="connsiteX1387" fmla="*/ 1245273 w 4016827"/>
                <a:gd name="connsiteY1387" fmla="*/ 2943649 h 7216489"/>
                <a:gd name="connsiteX1388" fmla="*/ 1262056 w 4016827"/>
                <a:gd name="connsiteY1388" fmla="*/ 2926865 h 7216489"/>
                <a:gd name="connsiteX1389" fmla="*/ 798855 w 4016827"/>
                <a:gd name="connsiteY1389" fmla="*/ 2923508 h 7216489"/>
                <a:gd name="connsiteX1390" fmla="*/ 818994 w 4016827"/>
                <a:gd name="connsiteY1390" fmla="*/ 2943649 h 7216489"/>
                <a:gd name="connsiteX1391" fmla="*/ 798855 w 4016827"/>
                <a:gd name="connsiteY1391" fmla="*/ 2963787 h 7216489"/>
                <a:gd name="connsiteX1392" fmla="*/ 778715 w 4016827"/>
                <a:gd name="connsiteY1392" fmla="*/ 2943649 h 7216489"/>
                <a:gd name="connsiteX1393" fmla="*/ 798855 w 4016827"/>
                <a:gd name="connsiteY1393" fmla="*/ 2923508 h 7216489"/>
                <a:gd name="connsiteX1394" fmla="*/ 339009 w 4016827"/>
                <a:gd name="connsiteY1394" fmla="*/ 2916791 h 7216489"/>
                <a:gd name="connsiteX1395" fmla="*/ 365861 w 4016827"/>
                <a:gd name="connsiteY1395" fmla="*/ 2943643 h 7216489"/>
                <a:gd name="connsiteX1396" fmla="*/ 339009 w 4016827"/>
                <a:gd name="connsiteY1396" fmla="*/ 2970495 h 7216489"/>
                <a:gd name="connsiteX1397" fmla="*/ 312157 w 4016827"/>
                <a:gd name="connsiteY1397" fmla="*/ 2943643 h 7216489"/>
                <a:gd name="connsiteX1398" fmla="*/ 339009 w 4016827"/>
                <a:gd name="connsiteY1398" fmla="*/ 2916791 h 7216489"/>
                <a:gd name="connsiteX1399" fmla="*/ 97340 w 4016827"/>
                <a:gd name="connsiteY1399" fmla="*/ 2839587 h 7216489"/>
                <a:gd name="connsiteX1400" fmla="*/ 104053 w 4016827"/>
                <a:gd name="connsiteY1400" fmla="*/ 2846299 h 7216489"/>
                <a:gd name="connsiteX1401" fmla="*/ 97340 w 4016827"/>
                <a:gd name="connsiteY1401" fmla="*/ 2853013 h 7216489"/>
                <a:gd name="connsiteX1402" fmla="*/ 90626 w 4016827"/>
                <a:gd name="connsiteY1402" fmla="*/ 2846299 h 7216489"/>
                <a:gd name="connsiteX1403" fmla="*/ 97340 w 4016827"/>
                <a:gd name="connsiteY1403" fmla="*/ 2839587 h 7216489"/>
                <a:gd name="connsiteX1404" fmla="*/ 1933362 w 4016827"/>
                <a:gd name="connsiteY1404" fmla="*/ 2836241 h 7216489"/>
                <a:gd name="connsiteX1405" fmla="*/ 1940075 w 4016827"/>
                <a:gd name="connsiteY1405" fmla="*/ 2842956 h 7216489"/>
                <a:gd name="connsiteX1406" fmla="*/ 1933362 w 4016827"/>
                <a:gd name="connsiteY1406" fmla="*/ 2849666 h 7216489"/>
                <a:gd name="connsiteX1407" fmla="*/ 1926649 w 4016827"/>
                <a:gd name="connsiteY1407" fmla="*/ 2842956 h 7216489"/>
                <a:gd name="connsiteX1408" fmla="*/ 1933362 w 4016827"/>
                <a:gd name="connsiteY1408" fmla="*/ 2836241 h 7216489"/>
                <a:gd name="connsiteX1409" fmla="*/ 1473516 w 4016827"/>
                <a:gd name="connsiteY1409" fmla="*/ 2829530 h 7216489"/>
                <a:gd name="connsiteX1410" fmla="*/ 1486942 w 4016827"/>
                <a:gd name="connsiteY1410" fmla="*/ 2842956 h 7216489"/>
                <a:gd name="connsiteX1411" fmla="*/ 1473516 w 4016827"/>
                <a:gd name="connsiteY1411" fmla="*/ 2856382 h 7216489"/>
                <a:gd name="connsiteX1412" fmla="*/ 1460090 w 4016827"/>
                <a:gd name="connsiteY1412" fmla="*/ 2842956 h 7216489"/>
                <a:gd name="connsiteX1413" fmla="*/ 1473516 w 4016827"/>
                <a:gd name="connsiteY1413" fmla="*/ 2829530 h 7216489"/>
                <a:gd name="connsiteX1414" fmla="*/ 553827 w 4016827"/>
                <a:gd name="connsiteY1414" fmla="*/ 2829526 h 7216489"/>
                <a:gd name="connsiteX1415" fmla="*/ 570610 w 4016827"/>
                <a:gd name="connsiteY1415" fmla="*/ 2846311 h 7216489"/>
                <a:gd name="connsiteX1416" fmla="*/ 553827 w 4016827"/>
                <a:gd name="connsiteY1416" fmla="*/ 2863090 h 7216489"/>
                <a:gd name="connsiteX1417" fmla="*/ 537045 w 4016827"/>
                <a:gd name="connsiteY1417" fmla="*/ 2846311 h 7216489"/>
                <a:gd name="connsiteX1418" fmla="*/ 553827 w 4016827"/>
                <a:gd name="connsiteY1418" fmla="*/ 2829526 h 7216489"/>
                <a:gd name="connsiteX1419" fmla="*/ 1013672 w 4016827"/>
                <a:gd name="connsiteY1419" fmla="*/ 2822817 h 7216489"/>
                <a:gd name="connsiteX1420" fmla="*/ 1037168 w 4016827"/>
                <a:gd name="connsiteY1420" fmla="*/ 2846311 h 7216489"/>
                <a:gd name="connsiteX1421" fmla="*/ 1013672 w 4016827"/>
                <a:gd name="connsiteY1421" fmla="*/ 2869806 h 7216489"/>
                <a:gd name="connsiteX1422" fmla="*/ 990176 w 4016827"/>
                <a:gd name="connsiteY1422" fmla="*/ 2846311 h 7216489"/>
                <a:gd name="connsiteX1423" fmla="*/ 1013672 w 4016827"/>
                <a:gd name="connsiteY1423" fmla="*/ 2822817 h 7216489"/>
                <a:gd name="connsiteX1424" fmla="*/ 2144822 w 4016827"/>
                <a:gd name="connsiteY1424" fmla="*/ 2735548 h 7216489"/>
                <a:gd name="connsiteX1425" fmla="*/ 2151536 w 4016827"/>
                <a:gd name="connsiteY1425" fmla="*/ 2742260 h 7216489"/>
                <a:gd name="connsiteX1426" fmla="*/ 2144822 w 4016827"/>
                <a:gd name="connsiteY1426" fmla="*/ 2748973 h 7216489"/>
                <a:gd name="connsiteX1427" fmla="*/ 2138110 w 4016827"/>
                <a:gd name="connsiteY1427" fmla="*/ 2742260 h 7216489"/>
                <a:gd name="connsiteX1428" fmla="*/ 2144822 w 4016827"/>
                <a:gd name="connsiteY1428" fmla="*/ 2735548 h 7216489"/>
                <a:gd name="connsiteX1429" fmla="*/ 1684978 w 4016827"/>
                <a:gd name="connsiteY1429" fmla="*/ 2732191 h 7216489"/>
                <a:gd name="connsiteX1430" fmla="*/ 1695048 w 4016827"/>
                <a:gd name="connsiteY1430" fmla="*/ 2742260 h 7216489"/>
                <a:gd name="connsiteX1431" fmla="*/ 1684978 w 4016827"/>
                <a:gd name="connsiteY1431" fmla="*/ 2752334 h 7216489"/>
                <a:gd name="connsiteX1432" fmla="*/ 1674908 w 4016827"/>
                <a:gd name="connsiteY1432" fmla="*/ 2742260 h 7216489"/>
                <a:gd name="connsiteX1433" fmla="*/ 1684978 w 4016827"/>
                <a:gd name="connsiteY1433" fmla="*/ 2732191 h 7216489"/>
                <a:gd name="connsiteX1434" fmla="*/ 1225134 w 4016827"/>
                <a:gd name="connsiteY1434" fmla="*/ 2725478 h 7216489"/>
                <a:gd name="connsiteX1435" fmla="*/ 1241916 w 4016827"/>
                <a:gd name="connsiteY1435" fmla="*/ 2742260 h 7216489"/>
                <a:gd name="connsiteX1436" fmla="*/ 1225134 w 4016827"/>
                <a:gd name="connsiteY1436" fmla="*/ 2759042 h 7216489"/>
                <a:gd name="connsiteX1437" fmla="*/ 1208351 w 4016827"/>
                <a:gd name="connsiteY1437" fmla="*/ 2742260 h 7216489"/>
                <a:gd name="connsiteX1438" fmla="*/ 1225134 w 4016827"/>
                <a:gd name="connsiteY1438" fmla="*/ 2725478 h 7216489"/>
                <a:gd name="connsiteX1439" fmla="*/ 312157 w 4016827"/>
                <a:gd name="connsiteY1439" fmla="*/ 2722116 h 7216489"/>
                <a:gd name="connsiteX1440" fmla="*/ 335653 w 4016827"/>
                <a:gd name="connsiteY1440" fmla="*/ 2745613 h 7216489"/>
                <a:gd name="connsiteX1441" fmla="*/ 312157 w 4016827"/>
                <a:gd name="connsiteY1441" fmla="*/ 2769105 h 7216489"/>
                <a:gd name="connsiteX1442" fmla="*/ 288661 w 4016827"/>
                <a:gd name="connsiteY1442" fmla="*/ 2745613 h 7216489"/>
                <a:gd name="connsiteX1443" fmla="*/ 312157 w 4016827"/>
                <a:gd name="connsiteY1443" fmla="*/ 2722116 h 7216489"/>
                <a:gd name="connsiteX1444" fmla="*/ 768646 w 4016827"/>
                <a:gd name="connsiteY1444" fmla="*/ 2718764 h 7216489"/>
                <a:gd name="connsiteX1445" fmla="*/ 795498 w 4016827"/>
                <a:gd name="connsiteY1445" fmla="*/ 2742260 h 7216489"/>
                <a:gd name="connsiteX1446" fmla="*/ 768646 w 4016827"/>
                <a:gd name="connsiteY1446" fmla="*/ 2769113 h 7216489"/>
                <a:gd name="connsiteX1447" fmla="*/ 741793 w 4016827"/>
                <a:gd name="connsiteY1447" fmla="*/ 2745618 h 7216489"/>
                <a:gd name="connsiteX1448" fmla="*/ 768646 w 4016827"/>
                <a:gd name="connsiteY1448" fmla="*/ 2718764 h 7216489"/>
                <a:gd name="connsiteX1449" fmla="*/ 73844 w 4016827"/>
                <a:gd name="connsiteY1449" fmla="*/ 2641550 h 7216489"/>
                <a:gd name="connsiteX1450" fmla="*/ 77200 w 4016827"/>
                <a:gd name="connsiteY1450" fmla="*/ 2644906 h 7216489"/>
                <a:gd name="connsiteX1451" fmla="*/ 73844 w 4016827"/>
                <a:gd name="connsiteY1451" fmla="*/ 2648264 h 7216489"/>
                <a:gd name="connsiteX1452" fmla="*/ 70487 w 4016827"/>
                <a:gd name="connsiteY1452" fmla="*/ 2644906 h 7216489"/>
                <a:gd name="connsiteX1453" fmla="*/ 73844 w 4016827"/>
                <a:gd name="connsiteY1453" fmla="*/ 2641550 h 7216489"/>
                <a:gd name="connsiteX1454" fmla="*/ 1896440 w 4016827"/>
                <a:gd name="connsiteY1454" fmla="*/ 2634851 h 7216489"/>
                <a:gd name="connsiteX1455" fmla="*/ 1903153 w 4016827"/>
                <a:gd name="connsiteY1455" fmla="*/ 2641566 h 7216489"/>
                <a:gd name="connsiteX1456" fmla="*/ 1896440 w 4016827"/>
                <a:gd name="connsiteY1456" fmla="*/ 2648275 h 7216489"/>
                <a:gd name="connsiteX1457" fmla="*/ 1889727 w 4016827"/>
                <a:gd name="connsiteY1457" fmla="*/ 2641566 h 7216489"/>
                <a:gd name="connsiteX1458" fmla="*/ 1896440 w 4016827"/>
                <a:gd name="connsiteY1458" fmla="*/ 2634851 h 7216489"/>
                <a:gd name="connsiteX1459" fmla="*/ 1439952 w 4016827"/>
                <a:gd name="connsiteY1459" fmla="*/ 2624778 h 7216489"/>
                <a:gd name="connsiteX1460" fmla="*/ 1456735 w 4016827"/>
                <a:gd name="connsiteY1460" fmla="*/ 2641566 h 7216489"/>
                <a:gd name="connsiteX1461" fmla="*/ 1439952 w 4016827"/>
                <a:gd name="connsiteY1461" fmla="*/ 2658342 h 7216489"/>
                <a:gd name="connsiteX1462" fmla="*/ 1423169 w 4016827"/>
                <a:gd name="connsiteY1462" fmla="*/ 2641566 h 7216489"/>
                <a:gd name="connsiteX1463" fmla="*/ 1439952 w 4016827"/>
                <a:gd name="connsiteY1463" fmla="*/ 2624778 h 7216489"/>
                <a:gd name="connsiteX1464" fmla="*/ 983463 w 4016827"/>
                <a:gd name="connsiteY1464" fmla="*/ 2621425 h 7216489"/>
                <a:gd name="connsiteX1465" fmla="*/ 1006959 w 4016827"/>
                <a:gd name="connsiteY1465" fmla="*/ 2644917 h 7216489"/>
                <a:gd name="connsiteX1466" fmla="*/ 983463 w 4016827"/>
                <a:gd name="connsiteY1466" fmla="*/ 2668417 h 7216489"/>
                <a:gd name="connsiteX1467" fmla="*/ 959967 w 4016827"/>
                <a:gd name="connsiteY1467" fmla="*/ 2644917 h 7216489"/>
                <a:gd name="connsiteX1468" fmla="*/ 983463 w 4016827"/>
                <a:gd name="connsiteY1468" fmla="*/ 2621425 h 7216489"/>
                <a:gd name="connsiteX1469" fmla="*/ 526975 w 4016827"/>
                <a:gd name="connsiteY1469" fmla="*/ 2621421 h 7216489"/>
                <a:gd name="connsiteX1470" fmla="*/ 547114 w 4016827"/>
                <a:gd name="connsiteY1470" fmla="*/ 2641560 h 7216489"/>
                <a:gd name="connsiteX1471" fmla="*/ 526975 w 4016827"/>
                <a:gd name="connsiteY1471" fmla="*/ 2661700 h 7216489"/>
                <a:gd name="connsiteX1472" fmla="*/ 506836 w 4016827"/>
                <a:gd name="connsiteY1472" fmla="*/ 2641560 h 7216489"/>
                <a:gd name="connsiteX1473" fmla="*/ 526975 w 4016827"/>
                <a:gd name="connsiteY1473" fmla="*/ 2621421 h 7216489"/>
                <a:gd name="connsiteX1474" fmla="*/ 2111257 w 4016827"/>
                <a:gd name="connsiteY1474" fmla="*/ 2540868 h 7216489"/>
                <a:gd name="connsiteX1475" fmla="*/ 2114614 w 4016827"/>
                <a:gd name="connsiteY1475" fmla="*/ 2544225 h 7216489"/>
                <a:gd name="connsiteX1476" fmla="*/ 2111257 w 4016827"/>
                <a:gd name="connsiteY1476" fmla="*/ 2547584 h 7216489"/>
                <a:gd name="connsiteX1477" fmla="*/ 2107900 w 4016827"/>
                <a:gd name="connsiteY1477" fmla="*/ 2544225 h 7216489"/>
                <a:gd name="connsiteX1478" fmla="*/ 2111257 w 4016827"/>
                <a:gd name="connsiteY1478" fmla="*/ 2540868 h 7216489"/>
                <a:gd name="connsiteX1479" fmla="*/ 1654769 w 4016827"/>
                <a:gd name="connsiteY1479" fmla="*/ 2537512 h 7216489"/>
                <a:gd name="connsiteX1480" fmla="*/ 1661482 w 4016827"/>
                <a:gd name="connsiteY1480" fmla="*/ 2544225 h 7216489"/>
                <a:gd name="connsiteX1481" fmla="*/ 1654769 w 4016827"/>
                <a:gd name="connsiteY1481" fmla="*/ 2550939 h 7216489"/>
                <a:gd name="connsiteX1482" fmla="*/ 1648056 w 4016827"/>
                <a:gd name="connsiteY1482" fmla="*/ 2544225 h 7216489"/>
                <a:gd name="connsiteX1483" fmla="*/ 1654769 w 4016827"/>
                <a:gd name="connsiteY1483" fmla="*/ 2537512 h 7216489"/>
                <a:gd name="connsiteX1484" fmla="*/ 1201638 w 4016827"/>
                <a:gd name="connsiteY1484" fmla="*/ 2524085 h 7216489"/>
                <a:gd name="connsiteX1485" fmla="*/ 1218421 w 4016827"/>
                <a:gd name="connsiteY1485" fmla="*/ 2540868 h 7216489"/>
                <a:gd name="connsiteX1486" fmla="*/ 1201638 w 4016827"/>
                <a:gd name="connsiteY1486" fmla="*/ 2557650 h 7216489"/>
                <a:gd name="connsiteX1487" fmla="*/ 1184855 w 4016827"/>
                <a:gd name="connsiteY1487" fmla="*/ 2540868 h 7216489"/>
                <a:gd name="connsiteX1488" fmla="*/ 1201638 w 4016827"/>
                <a:gd name="connsiteY1488" fmla="*/ 2524085 h 7216489"/>
                <a:gd name="connsiteX1489" fmla="*/ 745150 w 4016827"/>
                <a:gd name="connsiteY1489" fmla="*/ 2524085 h 7216489"/>
                <a:gd name="connsiteX1490" fmla="*/ 765289 w 4016827"/>
                <a:gd name="connsiteY1490" fmla="*/ 2544223 h 7216489"/>
                <a:gd name="connsiteX1491" fmla="*/ 745150 w 4016827"/>
                <a:gd name="connsiteY1491" fmla="*/ 2564366 h 7216489"/>
                <a:gd name="connsiteX1492" fmla="*/ 725011 w 4016827"/>
                <a:gd name="connsiteY1492" fmla="*/ 2544223 h 7216489"/>
                <a:gd name="connsiteX1493" fmla="*/ 745150 w 4016827"/>
                <a:gd name="connsiteY1493" fmla="*/ 2524085 h 7216489"/>
                <a:gd name="connsiteX1494" fmla="*/ 292018 w 4016827"/>
                <a:gd name="connsiteY1494" fmla="*/ 2520725 h 7216489"/>
                <a:gd name="connsiteX1495" fmla="*/ 315513 w 4016827"/>
                <a:gd name="connsiteY1495" fmla="*/ 2544222 h 7216489"/>
                <a:gd name="connsiteX1496" fmla="*/ 292018 w 4016827"/>
                <a:gd name="connsiteY1496" fmla="*/ 2567717 h 7216489"/>
                <a:gd name="connsiteX1497" fmla="*/ 268522 w 4016827"/>
                <a:gd name="connsiteY1497" fmla="*/ 2544222 h 7216489"/>
                <a:gd name="connsiteX1498" fmla="*/ 292018 w 4016827"/>
                <a:gd name="connsiteY1498" fmla="*/ 2520725 h 7216489"/>
                <a:gd name="connsiteX1499" fmla="*/ 60418 w 4016827"/>
                <a:gd name="connsiteY1499" fmla="*/ 2440158 h 7216489"/>
                <a:gd name="connsiteX1500" fmla="*/ 60418 w 4016827"/>
                <a:gd name="connsiteY1500" fmla="*/ 2443514 h 7216489"/>
                <a:gd name="connsiteX1501" fmla="*/ 60418 w 4016827"/>
                <a:gd name="connsiteY1501" fmla="*/ 2440158 h 7216489"/>
                <a:gd name="connsiteX1502" fmla="*/ 1872944 w 4016827"/>
                <a:gd name="connsiteY1502" fmla="*/ 2433454 h 7216489"/>
                <a:gd name="connsiteX1503" fmla="*/ 1879657 w 4016827"/>
                <a:gd name="connsiteY1503" fmla="*/ 2440170 h 7216489"/>
                <a:gd name="connsiteX1504" fmla="*/ 1872944 w 4016827"/>
                <a:gd name="connsiteY1504" fmla="*/ 2446884 h 7216489"/>
                <a:gd name="connsiteX1505" fmla="*/ 1866231 w 4016827"/>
                <a:gd name="connsiteY1505" fmla="*/ 2440170 h 7216489"/>
                <a:gd name="connsiteX1506" fmla="*/ 1872944 w 4016827"/>
                <a:gd name="connsiteY1506" fmla="*/ 2433454 h 7216489"/>
                <a:gd name="connsiteX1507" fmla="*/ 1419813 w 4016827"/>
                <a:gd name="connsiteY1507" fmla="*/ 2426743 h 7216489"/>
                <a:gd name="connsiteX1508" fmla="*/ 1433239 w 4016827"/>
                <a:gd name="connsiteY1508" fmla="*/ 2440170 h 7216489"/>
                <a:gd name="connsiteX1509" fmla="*/ 1419813 w 4016827"/>
                <a:gd name="connsiteY1509" fmla="*/ 2453597 h 7216489"/>
                <a:gd name="connsiteX1510" fmla="*/ 1406387 w 4016827"/>
                <a:gd name="connsiteY1510" fmla="*/ 2440170 h 7216489"/>
                <a:gd name="connsiteX1511" fmla="*/ 1419813 w 4016827"/>
                <a:gd name="connsiteY1511" fmla="*/ 2426743 h 7216489"/>
                <a:gd name="connsiteX1512" fmla="*/ 513549 w 4016827"/>
                <a:gd name="connsiteY1512" fmla="*/ 2423383 h 7216489"/>
                <a:gd name="connsiteX1513" fmla="*/ 530332 w 4016827"/>
                <a:gd name="connsiteY1513" fmla="*/ 2440166 h 7216489"/>
                <a:gd name="connsiteX1514" fmla="*/ 513549 w 4016827"/>
                <a:gd name="connsiteY1514" fmla="*/ 2456950 h 7216489"/>
                <a:gd name="connsiteX1515" fmla="*/ 496766 w 4016827"/>
                <a:gd name="connsiteY1515" fmla="*/ 2440166 h 7216489"/>
                <a:gd name="connsiteX1516" fmla="*/ 513549 w 4016827"/>
                <a:gd name="connsiteY1516" fmla="*/ 2423383 h 7216489"/>
                <a:gd name="connsiteX1517" fmla="*/ 966680 w 4016827"/>
                <a:gd name="connsiteY1517" fmla="*/ 2416672 h 7216489"/>
                <a:gd name="connsiteX1518" fmla="*/ 990176 w 4016827"/>
                <a:gd name="connsiteY1518" fmla="*/ 2440170 h 7216489"/>
                <a:gd name="connsiteX1519" fmla="*/ 966680 w 4016827"/>
                <a:gd name="connsiteY1519" fmla="*/ 2463667 h 7216489"/>
                <a:gd name="connsiteX1520" fmla="*/ 943185 w 4016827"/>
                <a:gd name="connsiteY1520" fmla="*/ 2440170 h 7216489"/>
                <a:gd name="connsiteX1521" fmla="*/ 966680 w 4016827"/>
                <a:gd name="connsiteY1521" fmla="*/ 2416672 h 7216489"/>
                <a:gd name="connsiteX1522" fmla="*/ 2094474 w 4016827"/>
                <a:gd name="connsiteY1522" fmla="*/ 2336109 h 7216489"/>
                <a:gd name="connsiteX1523" fmla="*/ 2094474 w 4016827"/>
                <a:gd name="connsiteY1523" fmla="*/ 2342822 h 7216489"/>
                <a:gd name="connsiteX1524" fmla="*/ 2094474 w 4016827"/>
                <a:gd name="connsiteY1524" fmla="*/ 2336109 h 7216489"/>
                <a:gd name="connsiteX1525" fmla="*/ 1641343 w 4016827"/>
                <a:gd name="connsiteY1525" fmla="*/ 2336109 h 7216489"/>
                <a:gd name="connsiteX1526" fmla="*/ 1644700 w 4016827"/>
                <a:gd name="connsiteY1526" fmla="*/ 2339466 h 7216489"/>
                <a:gd name="connsiteX1527" fmla="*/ 1641343 w 4016827"/>
                <a:gd name="connsiteY1527" fmla="*/ 2342822 h 7216489"/>
                <a:gd name="connsiteX1528" fmla="*/ 1637986 w 4016827"/>
                <a:gd name="connsiteY1528" fmla="*/ 2339466 h 7216489"/>
                <a:gd name="connsiteX1529" fmla="*/ 1641343 w 4016827"/>
                <a:gd name="connsiteY1529" fmla="*/ 2336109 h 7216489"/>
                <a:gd name="connsiteX1530" fmla="*/ 1188212 w 4016827"/>
                <a:gd name="connsiteY1530" fmla="*/ 2322682 h 7216489"/>
                <a:gd name="connsiteX1531" fmla="*/ 1204994 w 4016827"/>
                <a:gd name="connsiteY1531" fmla="*/ 2339466 h 7216489"/>
                <a:gd name="connsiteX1532" fmla="*/ 1188212 w 4016827"/>
                <a:gd name="connsiteY1532" fmla="*/ 2356250 h 7216489"/>
                <a:gd name="connsiteX1533" fmla="*/ 1171429 w 4016827"/>
                <a:gd name="connsiteY1533" fmla="*/ 2339466 h 7216489"/>
                <a:gd name="connsiteX1534" fmla="*/ 1188212 w 4016827"/>
                <a:gd name="connsiteY1534" fmla="*/ 2322682 h 7216489"/>
                <a:gd name="connsiteX1535" fmla="*/ 281948 w 4016827"/>
                <a:gd name="connsiteY1535" fmla="*/ 2322679 h 7216489"/>
                <a:gd name="connsiteX1536" fmla="*/ 298731 w 4016827"/>
                <a:gd name="connsiteY1536" fmla="*/ 2339461 h 7216489"/>
                <a:gd name="connsiteX1537" fmla="*/ 281948 w 4016827"/>
                <a:gd name="connsiteY1537" fmla="*/ 2356245 h 7216489"/>
                <a:gd name="connsiteX1538" fmla="*/ 265165 w 4016827"/>
                <a:gd name="connsiteY1538" fmla="*/ 2339461 h 7216489"/>
                <a:gd name="connsiteX1539" fmla="*/ 281948 w 4016827"/>
                <a:gd name="connsiteY1539" fmla="*/ 2322679 h 7216489"/>
                <a:gd name="connsiteX1540" fmla="*/ 735080 w 4016827"/>
                <a:gd name="connsiteY1540" fmla="*/ 2319326 h 7216489"/>
                <a:gd name="connsiteX1541" fmla="*/ 755220 w 4016827"/>
                <a:gd name="connsiteY1541" fmla="*/ 2339466 h 7216489"/>
                <a:gd name="connsiteX1542" fmla="*/ 735080 w 4016827"/>
                <a:gd name="connsiteY1542" fmla="*/ 2359607 h 7216489"/>
                <a:gd name="connsiteX1543" fmla="*/ 714941 w 4016827"/>
                <a:gd name="connsiteY1543" fmla="*/ 2339466 h 7216489"/>
                <a:gd name="connsiteX1544" fmla="*/ 735080 w 4016827"/>
                <a:gd name="connsiteY1544" fmla="*/ 2319326 h 7216489"/>
                <a:gd name="connsiteX1545" fmla="*/ 1866231 w 4016827"/>
                <a:gd name="connsiteY1545" fmla="*/ 2235417 h 7216489"/>
                <a:gd name="connsiteX1546" fmla="*/ 1869588 w 4016827"/>
                <a:gd name="connsiteY1546" fmla="*/ 2238772 h 7216489"/>
                <a:gd name="connsiteX1547" fmla="*/ 1866231 w 4016827"/>
                <a:gd name="connsiteY1547" fmla="*/ 2242129 h 7216489"/>
                <a:gd name="connsiteX1548" fmla="*/ 1862874 w 4016827"/>
                <a:gd name="connsiteY1548" fmla="*/ 2238772 h 7216489"/>
                <a:gd name="connsiteX1549" fmla="*/ 1866231 w 4016827"/>
                <a:gd name="connsiteY1549" fmla="*/ 2235417 h 7216489"/>
                <a:gd name="connsiteX1550" fmla="*/ 1413099 w 4016827"/>
                <a:gd name="connsiteY1550" fmla="*/ 2228699 h 7216489"/>
                <a:gd name="connsiteX1551" fmla="*/ 1423168 w 4016827"/>
                <a:gd name="connsiteY1551" fmla="*/ 2238772 h 7216489"/>
                <a:gd name="connsiteX1552" fmla="*/ 1413099 w 4016827"/>
                <a:gd name="connsiteY1552" fmla="*/ 2248841 h 7216489"/>
                <a:gd name="connsiteX1553" fmla="*/ 1403029 w 4016827"/>
                <a:gd name="connsiteY1553" fmla="*/ 2238772 h 7216489"/>
                <a:gd name="connsiteX1554" fmla="*/ 1413099 w 4016827"/>
                <a:gd name="connsiteY1554" fmla="*/ 2228699 h 7216489"/>
                <a:gd name="connsiteX1555" fmla="*/ 506836 w 4016827"/>
                <a:gd name="connsiteY1555" fmla="*/ 2221987 h 7216489"/>
                <a:gd name="connsiteX1556" fmla="*/ 523619 w 4016827"/>
                <a:gd name="connsiteY1556" fmla="*/ 2238769 h 7216489"/>
                <a:gd name="connsiteX1557" fmla="*/ 506836 w 4016827"/>
                <a:gd name="connsiteY1557" fmla="*/ 2255551 h 7216489"/>
                <a:gd name="connsiteX1558" fmla="*/ 490053 w 4016827"/>
                <a:gd name="connsiteY1558" fmla="*/ 2238769 h 7216489"/>
                <a:gd name="connsiteX1559" fmla="*/ 506836 w 4016827"/>
                <a:gd name="connsiteY1559" fmla="*/ 2221987 h 7216489"/>
                <a:gd name="connsiteX1560" fmla="*/ 959967 w 4016827"/>
                <a:gd name="connsiteY1560" fmla="*/ 2215275 h 7216489"/>
                <a:gd name="connsiteX1561" fmla="*/ 983463 w 4016827"/>
                <a:gd name="connsiteY1561" fmla="*/ 2238772 h 7216489"/>
                <a:gd name="connsiteX1562" fmla="*/ 959967 w 4016827"/>
                <a:gd name="connsiteY1562" fmla="*/ 2262269 h 7216489"/>
                <a:gd name="connsiteX1563" fmla="*/ 936472 w 4016827"/>
                <a:gd name="connsiteY1563" fmla="*/ 2238772 h 7216489"/>
                <a:gd name="connsiteX1564" fmla="*/ 959967 w 4016827"/>
                <a:gd name="connsiteY1564" fmla="*/ 2215275 h 7216489"/>
                <a:gd name="connsiteX1565" fmla="*/ 1641343 w 4016827"/>
                <a:gd name="connsiteY1565" fmla="*/ 2128008 h 7216489"/>
                <a:gd name="connsiteX1566" fmla="*/ 1648056 w 4016827"/>
                <a:gd name="connsiteY1566" fmla="*/ 2134720 h 7216489"/>
                <a:gd name="connsiteX1567" fmla="*/ 1641343 w 4016827"/>
                <a:gd name="connsiteY1567" fmla="*/ 2141432 h 7216489"/>
                <a:gd name="connsiteX1568" fmla="*/ 1634630 w 4016827"/>
                <a:gd name="connsiteY1568" fmla="*/ 2134720 h 7216489"/>
                <a:gd name="connsiteX1569" fmla="*/ 1641343 w 4016827"/>
                <a:gd name="connsiteY1569" fmla="*/ 2128008 h 7216489"/>
                <a:gd name="connsiteX1570" fmla="*/ 1188212 w 4016827"/>
                <a:gd name="connsiteY1570" fmla="*/ 2124651 h 7216489"/>
                <a:gd name="connsiteX1571" fmla="*/ 1201638 w 4016827"/>
                <a:gd name="connsiteY1571" fmla="*/ 2138075 h 7216489"/>
                <a:gd name="connsiteX1572" fmla="*/ 1188212 w 4016827"/>
                <a:gd name="connsiteY1572" fmla="*/ 2151499 h 7216489"/>
                <a:gd name="connsiteX1573" fmla="*/ 1174786 w 4016827"/>
                <a:gd name="connsiteY1573" fmla="*/ 2138075 h 7216489"/>
                <a:gd name="connsiteX1574" fmla="*/ 1188212 w 4016827"/>
                <a:gd name="connsiteY1574" fmla="*/ 2124651 h 7216489"/>
                <a:gd name="connsiteX1575" fmla="*/ 281948 w 4016827"/>
                <a:gd name="connsiteY1575" fmla="*/ 2121290 h 7216489"/>
                <a:gd name="connsiteX1576" fmla="*/ 295374 w 4016827"/>
                <a:gd name="connsiteY1576" fmla="*/ 2134715 h 7216489"/>
                <a:gd name="connsiteX1577" fmla="*/ 281948 w 4016827"/>
                <a:gd name="connsiteY1577" fmla="*/ 2148141 h 7216489"/>
                <a:gd name="connsiteX1578" fmla="*/ 268522 w 4016827"/>
                <a:gd name="connsiteY1578" fmla="*/ 2134715 h 7216489"/>
                <a:gd name="connsiteX1579" fmla="*/ 281948 w 4016827"/>
                <a:gd name="connsiteY1579" fmla="*/ 2121290 h 7216489"/>
                <a:gd name="connsiteX1580" fmla="*/ 735080 w 4016827"/>
                <a:gd name="connsiteY1580" fmla="*/ 2114579 h 7216489"/>
                <a:gd name="connsiteX1581" fmla="*/ 755220 w 4016827"/>
                <a:gd name="connsiteY1581" fmla="*/ 2134720 h 7216489"/>
                <a:gd name="connsiteX1582" fmla="*/ 735080 w 4016827"/>
                <a:gd name="connsiteY1582" fmla="*/ 2154857 h 7216489"/>
                <a:gd name="connsiteX1583" fmla="*/ 714941 w 4016827"/>
                <a:gd name="connsiteY1583" fmla="*/ 2134720 h 7216489"/>
                <a:gd name="connsiteX1584" fmla="*/ 735080 w 4016827"/>
                <a:gd name="connsiteY1584" fmla="*/ 2114579 h 7216489"/>
                <a:gd name="connsiteX1585" fmla="*/ 1419813 w 4016827"/>
                <a:gd name="connsiteY1585" fmla="*/ 2023989 h 7216489"/>
                <a:gd name="connsiteX1586" fmla="*/ 1429882 w 4016827"/>
                <a:gd name="connsiteY1586" fmla="*/ 2034058 h 7216489"/>
                <a:gd name="connsiteX1587" fmla="*/ 1419813 w 4016827"/>
                <a:gd name="connsiteY1587" fmla="*/ 2044129 h 7216489"/>
                <a:gd name="connsiteX1588" fmla="*/ 1409743 w 4016827"/>
                <a:gd name="connsiteY1588" fmla="*/ 2034058 h 7216489"/>
                <a:gd name="connsiteX1589" fmla="*/ 1419813 w 4016827"/>
                <a:gd name="connsiteY1589" fmla="*/ 2023989 h 7216489"/>
                <a:gd name="connsiteX1590" fmla="*/ 513549 w 4016827"/>
                <a:gd name="connsiteY1590" fmla="*/ 2017249 h 7216489"/>
                <a:gd name="connsiteX1591" fmla="*/ 530332 w 4016827"/>
                <a:gd name="connsiteY1591" fmla="*/ 2034033 h 7216489"/>
                <a:gd name="connsiteX1592" fmla="*/ 513549 w 4016827"/>
                <a:gd name="connsiteY1592" fmla="*/ 2050813 h 7216489"/>
                <a:gd name="connsiteX1593" fmla="*/ 496766 w 4016827"/>
                <a:gd name="connsiteY1593" fmla="*/ 2034033 h 7216489"/>
                <a:gd name="connsiteX1594" fmla="*/ 513549 w 4016827"/>
                <a:gd name="connsiteY1594" fmla="*/ 2017249 h 7216489"/>
                <a:gd name="connsiteX1595" fmla="*/ 966680 w 4016827"/>
                <a:gd name="connsiteY1595" fmla="*/ 2013905 h 7216489"/>
                <a:gd name="connsiteX1596" fmla="*/ 986820 w 4016827"/>
                <a:gd name="connsiteY1596" fmla="*/ 2034043 h 7216489"/>
                <a:gd name="connsiteX1597" fmla="*/ 966680 w 4016827"/>
                <a:gd name="connsiteY1597" fmla="*/ 2054181 h 7216489"/>
                <a:gd name="connsiteX1598" fmla="*/ 946541 w 4016827"/>
                <a:gd name="connsiteY1598" fmla="*/ 2034043 h 7216489"/>
                <a:gd name="connsiteX1599" fmla="*/ 966680 w 4016827"/>
                <a:gd name="connsiteY1599" fmla="*/ 2013905 h 7216489"/>
                <a:gd name="connsiteX1600" fmla="*/ 1654769 w 4016827"/>
                <a:gd name="connsiteY1600" fmla="*/ 1926656 h 7216489"/>
                <a:gd name="connsiteX1601" fmla="*/ 1661482 w 4016827"/>
                <a:gd name="connsiteY1601" fmla="*/ 1933370 h 7216489"/>
                <a:gd name="connsiteX1602" fmla="*/ 1654769 w 4016827"/>
                <a:gd name="connsiteY1602" fmla="*/ 1940086 h 7216489"/>
                <a:gd name="connsiteX1603" fmla="*/ 1648056 w 4016827"/>
                <a:gd name="connsiteY1603" fmla="*/ 1933370 h 7216489"/>
                <a:gd name="connsiteX1604" fmla="*/ 1654769 w 4016827"/>
                <a:gd name="connsiteY1604" fmla="*/ 1926656 h 7216489"/>
                <a:gd name="connsiteX1605" fmla="*/ 292018 w 4016827"/>
                <a:gd name="connsiteY1605" fmla="*/ 1926618 h 7216489"/>
                <a:gd name="connsiteX1606" fmla="*/ 298731 w 4016827"/>
                <a:gd name="connsiteY1606" fmla="*/ 1933330 h 7216489"/>
                <a:gd name="connsiteX1607" fmla="*/ 292018 w 4016827"/>
                <a:gd name="connsiteY1607" fmla="*/ 1940042 h 7216489"/>
                <a:gd name="connsiteX1608" fmla="*/ 285305 w 4016827"/>
                <a:gd name="connsiteY1608" fmla="*/ 1933330 h 7216489"/>
                <a:gd name="connsiteX1609" fmla="*/ 292018 w 4016827"/>
                <a:gd name="connsiteY1609" fmla="*/ 1926618 h 7216489"/>
                <a:gd name="connsiteX1610" fmla="*/ 1201638 w 4016827"/>
                <a:gd name="connsiteY1610" fmla="*/ 1923286 h 7216489"/>
                <a:gd name="connsiteX1611" fmla="*/ 1211708 w 4016827"/>
                <a:gd name="connsiteY1611" fmla="*/ 1933354 h 7216489"/>
                <a:gd name="connsiteX1612" fmla="*/ 1201638 w 4016827"/>
                <a:gd name="connsiteY1612" fmla="*/ 1943424 h 7216489"/>
                <a:gd name="connsiteX1613" fmla="*/ 1191568 w 4016827"/>
                <a:gd name="connsiteY1613" fmla="*/ 1933354 h 7216489"/>
                <a:gd name="connsiteX1614" fmla="*/ 1201638 w 4016827"/>
                <a:gd name="connsiteY1614" fmla="*/ 1923286 h 7216489"/>
                <a:gd name="connsiteX1615" fmla="*/ 745150 w 4016827"/>
                <a:gd name="connsiteY1615" fmla="*/ 1916558 h 7216489"/>
                <a:gd name="connsiteX1616" fmla="*/ 761933 w 4016827"/>
                <a:gd name="connsiteY1616" fmla="*/ 1933342 h 7216489"/>
                <a:gd name="connsiteX1617" fmla="*/ 745150 w 4016827"/>
                <a:gd name="connsiteY1617" fmla="*/ 1950123 h 7216489"/>
                <a:gd name="connsiteX1618" fmla="*/ 728367 w 4016827"/>
                <a:gd name="connsiteY1618" fmla="*/ 1933342 h 7216489"/>
                <a:gd name="connsiteX1619" fmla="*/ 745150 w 4016827"/>
                <a:gd name="connsiteY1619" fmla="*/ 1916558 h 7216489"/>
                <a:gd name="connsiteX1620" fmla="*/ 1439951 w 4016827"/>
                <a:gd name="connsiteY1620" fmla="*/ 1822595 h 7216489"/>
                <a:gd name="connsiteX1621" fmla="*/ 1450020 w 4016827"/>
                <a:gd name="connsiteY1621" fmla="*/ 1832665 h 7216489"/>
                <a:gd name="connsiteX1622" fmla="*/ 1439951 w 4016827"/>
                <a:gd name="connsiteY1622" fmla="*/ 1842734 h 7216489"/>
                <a:gd name="connsiteX1623" fmla="*/ 1429881 w 4016827"/>
                <a:gd name="connsiteY1623" fmla="*/ 1832665 h 7216489"/>
                <a:gd name="connsiteX1624" fmla="*/ 1439951 w 4016827"/>
                <a:gd name="connsiteY1624" fmla="*/ 1822595 h 7216489"/>
                <a:gd name="connsiteX1625" fmla="*/ 526975 w 4016827"/>
                <a:gd name="connsiteY1625" fmla="*/ 1815858 h 7216489"/>
                <a:gd name="connsiteX1626" fmla="*/ 543758 w 4016827"/>
                <a:gd name="connsiteY1626" fmla="*/ 1832640 h 7216489"/>
                <a:gd name="connsiteX1627" fmla="*/ 526975 w 4016827"/>
                <a:gd name="connsiteY1627" fmla="*/ 1849423 h 7216489"/>
                <a:gd name="connsiteX1628" fmla="*/ 510192 w 4016827"/>
                <a:gd name="connsiteY1628" fmla="*/ 1832640 h 7216489"/>
                <a:gd name="connsiteX1629" fmla="*/ 526975 w 4016827"/>
                <a:gd name="connsiteY1629" fmla="*/ 1815858 h 7216489"/>
                <a:gd name="connsiteX1630" fmla="*/ 983463 w 4016827"/>
                <a:gd name="connsiteY1630" fmla="*/ 1812512 h 7216489"/>
                <a:gd name="connsiteX1631" fmla="*/ 1003602 w 4016827"/>
                <a:gd name="connsiteY1631" fmla="*/ 1829294 h 7216489"/>
                <a:gd name="connsiteX1632" fmla="*/ 983463 w 4016827"/>
                <a:gd name="connsiteY1632" fmla="*/ 1849434 h 7216489"/>
                <a:gd name="connsiteX1633" fmla="*/ 963324 w 4016827"/>
                <a:gd name="connsiteY1633" fmla="*/ 1832650 h 7216489"/>
                <a:gd name="connsiteX1634" fmla="*/ 983463 w 4016827"/>
                <a:gd name="connsiteY1634" fmla="*/ 1812512 h 7216489"/>
                <a:gd name="connsiteX1635" fmla="*/ 312157 w 4016827"/>
                <a:gd name="connsiteY1635" fmla="*/ 1728581 h 7216489"/>
                <a:gd name="connsiteX1636" fmla="*/ 312157 w 4016827"/>
                <a:gd name="connsiteY1636" fmla="*/ 1731938 h 7216489"/>
                <a:gd name="connsiteX1637" fmla="*/ 312157 w 4016827"/>
                <a:gd name="connsiteY1637" fmla="*/ 1728581 h 7216489"/>
                <a:gd name="connsiteX1638" fmla="*/ 1225134 w 4016827"/>
                <a:gd name="connsiteY1638" fmla="*/ 1715181 h 7216489"/>
                <a:gd name="connsiteX1639" fmla="*/ 1238560 w 4016827"/>
                <a:gd name="connsiteY1639" fmla="*/ 1728607 h 7216489"/>
                <a:gd name="connsiteX1640" fmla="*/ 1225134 w 4016827"/>
                <a:gd name="connsiteY1640" fmla="*/ 1742033 h 7216489"/>
                <a:gd name="connsiteX1641" fmla="*/ 1211708 w 4016827"/>
                <a:gd name="connsiteY1641" fmla="*/ 1728607 h 7216489"/>
                <a:gd name="connsiteX1642" fmla="*/ 1225134 w 4016827"/>
                <a:gd name="connsiteY1642" fmla="*/ 1715181 h 7216489"/>
                <a:gd name="connsiteX1643" fmla="*/ 768646 w 4016827"/>
                <a:gd name="connsiteY1643" fmla="*/ 1708456 h 7216489"/>
                <a:gd name="connsiteX1644" fmla="*/ 792142 w 4016827"/>
                <a:gd name="connsiteY1644" fmla="*/ 1731951 h 7216489"/>
                <a:gd name="connsiteX1645" fmla="*/ 768646 w 4016827"/>
                <a:gd name="connsiteY1645" fmla="*/ 1755446 h 7216489"/>
                <a:gd name="connsiteX1646" fmla="*/ 745150 w 4016827"/>
                <a:gd name="connsiteY1646" fmla="*/ 1731951 h 7216489"/>
                <a:gd name="connsiteX1647" fmla="*/ 768646 w 4016827"/>
                <a:gd name="connsiteY1647" fmla="*/ 1708456 h 7216489"/>
                <a:gd name="connsiteX1648" fmla="*/ 1473517 w 4016827"/>
                <a:gd name="connsiteY1648" fmla="*/ 1624561 h 7216489"/>
                <a:gd name="connsiteX1649" fmla="*/ 1480230 w 4016827"/>
                <a:gd name="connsiteY1649" fmla="*/ 1631275 h 7216489"/>
                <a:gd name="connsiteX1650" fmla="*/ 1473517 w 4016827"/>
                <a:gd name="connsiteY1650" fmla="*/ 1637987 h 7216489"/>
                <a:gd name="connsiteX1651" fmla="*/ 1466804 w 4016827"/>
                <a:gd name="connsiteY1651" fmla="*/ 1631275 h 7216489"/>
                <a:gd name="connsiteX1652" fmla="*/ 1473517 w 4016827"/>
                <a:gd name="connsiteY1652" fmla="*/ 1624561 h 7216489"/>
                <a:gd name="connsiteX1653" fmla="*/ 553827 w 4016827"/>
                <a:gd name="connsiteY1653" fmla="*/ 1617822 h 7216489"/>
                <a:gd name="connsiteX1654" fmla="*/ 567254 w 4016827"/>
                <a:gd name="connsiteY1654" fmla="*/ 1631249 h 7216489"/>
                <a:gd name="connsiteX1655" fmla="*/ 553827 w 4016827"/>
                <a:gd name="connsiteY1655" fmla="*/ 1644675 h 7216489"/>
                <a:gd name="connsiteX1656" fmla="*/ 540401 w 4016827"/>
                <a:gd name="connsiteY1656" fmla="*/ 1631249 h 7216489"/>
                <a:gd name="connsiteX1657" fmla="*/ 553827 w 4016827"/>
                <a:gd name="connsiteY1657" fmla="*/ 1617822 h 7216489"/>
                <a:gd name="connsiteX1658" fmla="*/ 1013672 w 4016827"/>
                <a:gd name="connsiteY1658" fmla="*/ 1611121 h 7216489"/>
                <a:gd name="connsiteX1659" fmla="*/ 1033811 w 4016827"/>
                <a:gd name="connsiteY1659" fmla="*/ 1631261 h 7216489"/>
                <a:gd name="connsiteX1660" fmla="*/ 1013672 w 4016827"/>
                <a:gd name="connsiteY1660" fmla="*/ 1651401 h 7216489"/>
                <a:gd name="connsiteX1661" fmla="*/ 993533 w 4016827"/>
                <a:gd name="connsiteY1661" fmla="*/ 1631261 h 7216489"/>
                <a:gd name="connsiteX1662" fmla="*/ 1013672 w 4016827"/>
                <a:gd name="connsiteY1662" fmla="*/ 1611121 h 7216489"/>
                <a:gd name="connsiteX1663" fmla="*/ 1725256 w 4016827"/>
                <a:gd name="connsiteY1663" fmla="*/ 1530583 h 7216489"/>
                <a:gd name="connsiteX1664" fmla="*/ 1728613 w 4016827"/>
                <a:gd name="connsiteY1664" fmla="*/ 1533939 h 7216489"/>
                <a:gd name="connsiteX1665" fmla="*/ 1725256 w 4016827"/>
                <a:gd name="connsiteY1665" fmla="*/ 1537296 h 7216489"/>
                <a:gd name="connsiteX1666" fmla="*/ 1721900 w 4016827"/>
                <a:gd name="connsiteY1666" fmla="*/ 1533939 h 7216489"/>
                <a:gd name="connsiteX1667" fmla="*/ 1725256 w 4016827"/>
                <a:gd name="connsiteY1667" fmla="*/ 1530583 h 7216489"/>
                <a:gd name="connsiteX1668" fmla="*/ 1262056 w 4016827"/>
                <a:gd name="connsiteY1668" fmla="*/ 1523856 h 7216489"/>
                <a:gd name="connsiteX1669" fmla="*/ 1272125 w 4016827"/>
                <a:gd name="connsiteY1669" fmla="*/ 1533926 h 7216489"/>
                <a:gd name="connsiteX1670" fmla="*/ 1262056 w 4016827"/>
                <a:gd name="connsiteY1670" fmla="*/ 1543996 h 7216489"/>
                <a:gd name="connsiteX1671" fmla="*/ 1251986 w 4016827"/>
                <a:gd name="connsiteY1671" fmla="*/ 1533926 h 7216489"/>
                <a:gd name="connsiteX1672" fmla="*/ 1262056 w 4016827"/>
                <a:gd name="connsiteY1672" fmla="*/ 1523856 h 7216489"/>
                <a:gd name="connsiteX1673" fmla="*/ 798855 w 4016827"/>
                <a:gd name="connsiteY1673" fmla="*/ 1513777 h 7216489"/>
                <a:gd name="connsiteX1674" fmla="*/ 815637 w 4016827"/>
                <a:gd name="connsiteY1674" fmla="*/ 1530558 h 7216489"/>
                <a:gd name="connsiteX1675" fmla="*/ 798855 w 4016827"/>
                <a:gd name="connsiteY1675" fmla="*/ 1547340 h 7216489"/>
                <a:gd name="connsiteX1676" fmla="*/ 782072 w 4016827"/>
                <a:gd name="connsiteY1676" fmla="*/ 1530558 h 7216489"/>
                <a:gd name="connsiteX1677" fmla="*/ 798855 w 4016827"/>
                <a:gd name="connsiteY1677" fmla="*/ 1513777 h 7216489"/>
                <a:gd name="connsiteX1678" fmla="*/ 1517151 w 4016827"/>
                <a:gd name="connsiteY1678" fmla="*/ 1433236 h 7216489"/>
                <a:gd name="connsiteX1679" fmla="*/ 1520508 w 4016827"/>
                <a:gd name="connsiteY1679" fmla="*/ 1436592 h 7216489"/>
                <a:gd name="connsiteX1680" fmla="*/ 1517151 w 4016827"/>
                <a:gd name="connsiteY1680" fmla="*/ 1439949 h 7216489"/>
                <a:gd name="connsiteX1681" fmla="*/ 1513795 w 4016827"/>
                <a:gd name="connsiteY1681" fmla="*/ 1436592 h 7216489"/>
                <a:gd name="connsiteX1682" fmla="*/ 1517151 w 4016827"/>
                <a:gd name="connsiteY1682" fmla="*/ 1433236 h 7216489"/>
                <a:gd name="connsiteX1683" fmla="*/ 587393 w 4016827"/>
                <a:gd name="connsiteY1683" fmla="*/ 1423142 h 7216489"/>
                <a:gd name="connsiteX1684" fmla="*/ 594106 w 4016827"/>
                <a:gd name="connsiteY1684" fmla="*/ 1429855 h 7216489"/>
                <a:gd name="connsiteX1685" fmla="*/ 587393 w 4016827"/>
                <a:gd name="connsiteY1685" fmla="*/ 1436568 h 7216489"/>
                <a:gd name="connsiteX1686" fmla="*/ 580680 w 4016827"/>
                <a:gd name="connsiteY1686" fmla="*/ 1429855 h 7216489"/>
                <a:gd name="connsiteX1687" fmla="*/ 587393 w 4016827"/>
                <a:gd name="connsiteY1687" fmla="*/ 1423142 h 7216489"/>
                <a:gd name="connsiteX1688" fmla="*/ 1050594 w 4016827"/>
                <a:gd name="connsiteY1688" fmla="*/ 1419798 h 7216489"/>
                <a:gd name="connsiteX1689" fmla="*/ 1064020 w 4016827"/>
                <a:gd name="connsiteY1689" fmla="*/ 1433224 h 7216489"/>
                <a:gd name="connsiteX1690" fmla="*/ 1050594 w 4016827"/>
                <a:gd name="connsiteY1690" fmla="*/ 1446650 h 7216489"/>
                <a:gd name="connsiteX1691" fmla="*/ 1037168 w 4016827"/>
                <a:gd name="connsiteY1691" fmla="*/ 1433224 h 7216489"/>
                <a:gd name="connsiteX1692" fmla="*/ 1050594 w 4016827"/>
                <a:gd name="connsiteY1692" fmla="*/ 1419798 h 7216489"/>
                <a:gd name="connsiteX1693" fmla="*/ 1782318 w 4016827"/>
                <a:gd name="connsiteY1693" fmla="*/ 1335905 h 7216489"/>
                <a:gd name="connsiteX1694" fmla="*/ 1782318 w 4016827"/>
                <a:gd name="connsiteY1694" fmla="*/ 1341359 h 7216489"/>
                <a:gd name="connsiteX1695" fmla="*/ 1782318 w 4016827"/>
                <a:gd name="connsiteY1695" fmla="*/ 1342618 h 7216489"/>
                <a:gd name="connsiteX1696" fmla="*/ 1782318 w 4016827"/>
                <a:gd name="connsiteY1696" fmla="*/ 1335905 h 7216489"/>
                <a:gd name="connsiteX1697" fmla="*/ 1309047 w 4016827"/>
                <a:gd name="connsiteY1697" fmla="*/ 1325824 h 7216489"/>
                <a:gd name="connsiteX1698" fmla="*/ 1319117 w 4016827"/>
                <a:gd name="connsiteY1698" fmla="*/ 1335892 h 7216489"/>
                <a:gd name="connsiteX1699" fmla="*/ 1309047 w 4016827"/>
                <a:gd name="connsiteY1699" fmla="*/ 1345962 h 7216489"/>
                <a:gd name="connsiteX1700" fmla="*/ 1298977 w 4016827"/>
                <a:gd name="connsiteY1700" fmla="*/ 1335892 h 7216489"/>
                <a:gd name="connsiteX1701" fmla="*/ 1309047 w 4016827"/>
                <a:gd name="connsiteY1701" fmla="*/ 1325824 h 7216489"/>
                <a:gd name="connsiteX1702" fmla="*/ 842488 w 4016827"/>
                <a:gd name="connsiteY1702" fmla="*/ 1322455 h 7216489"/>
                <a:gd name="connsiteX1703" fmla="*/ 852558 w 4016827"/>
                <a:gd name="connsiteY1703" fmla="*/ 1332525 h 7216489"/>
                <a:gd name="connsiteX1704" fmla="*/ 842488 w 4016827"/>
                <a:gd name="connsiteY1704" fmla="*/ 1342593 h 7216489"/>
                <a:gd name="connsiteX1705" fmla="*/ 832419 w 4016827"/>
                <a:gd name="connsiteY1705" fmla="*/ 1332525 h 7216489"/>
                <a:gd name="connsiteX1706" fmla="*/ 842488 w 4016827"/>
                <a:gd name="connsiteY1706" fmla="*/ 1322455 h 7216489"/>
                <a:gd name="connsiteX1707" fmla="*/ 1574212 w 4016827"/>
                <a:gd name="connsiteY1707" fmla="*/ 1231846 h 7216489"/>
                <a:gd name="connsiteX1708" fmla="*/ 1580925 w 4016827"/>
                <a:gd name="connsiteY1708" fmla="*/ 1238559 h 7216489"/>
                <a:gd name="connsiteX1709" fmla="*/ 1574212 w 4016827"/>
                <a:gd name="connsiteY1709" fmla="*/ 1245269 h 7216489"/>
                <a:gd name="connsiteX1710" fmla="*/ 1567499 w 4016827"/>
                <a:gd name="connsiteY1710" fmla="*/ 1238559 h 7216489"/>
                <a:gd name="connsiteX1711" fmla="*/ 1574212 w 4016827"/>
                <a:gd name="connsiteY1711" fmla="*/ 1231846 h 7216489"/>
                <a:gd name="connsiteX1712" fmla="*/ 1100942 w 4016827"/>
                <a:gd name="connsiteY1712" fmla="*/ 1218408 h 7216489"/>
                <a:gd name="connsiteX1713" fmla="*/ 1117724 w 4016827"/>
                <a:gd name="connsiteY1713" fmla="*/ 1235192 h 7216489"/>
                <a:gd name="connsiteX1714" fmla="*/ 1100942 w 4016827"/>
                <a:gd name="connsiteY1714" fmla="*/ 1251973 h 7216489"/>
                <a:gd name="connsiteX1715" fmla="*/ 1084159 w 4016827"/>
                <a:gd name="connsiteY1715" fmla="*/ 1235192 h 7216489"/>
                <a:gd name="connsiteX1716" fmla="*/ 1100942 w 4016827"/>
                <a:gd name="connsiteY1716" fmla="*/ 1218408 h 7216489"/>
                <a:gd name="connsiteX1717" fmla="*/ 1369465 w 4016827"/>
                <a:gd name="connsiteY1717" fmla="*/ 1134500 h 7216489"/>
                <a:gd name="connsiteX1718" fmla="*/ 1376178 w 4016827"/>
                <a:gd name="connsiteY1718" fmla="*/ 1141213 h 7216489"/>
                <a:gd name="connsiteX1719" fmla="*/ 1369465 w 4016827"/>
                <a:gd name="connsiteY1719" fmla="*/ 1147925 h 7216489"/>
                <a:gd name="connsiteX1720" fmla="*/ 1362752 w 4016827"/>
                <a:gd name="connsiteY1720" fmla="*/ 1141213 h 7216489"/>
                <a:gd name="connsiteX1721" fmla="*/ 1369465 w 4016827"/>
                <a:gd name="connsiteY1721" fmla="*/ 1134500 h 7216489"/>
                <a:gd name="connsiteX1722" fmla="*/ 896193 w 4016827"/>
                <a:gd name="connsiteY1722" fmla="*/ 1127776 h 7216489"/>
                <a:gd name="connsiteX1723" fmla="*/ 906263 w 4016827"/>
                <a:gd name="connsiteY1723" fmla="*/ 1137846 h 7216489"/>
                <a:gd name="connsiteX1724" fmla="*/ 896193 w 4016827"/>
                <a:gd name="connsiteY1724" fmla="*/ 1147915 h 7216489"/>
                <a:gd name="connsiteX1725" fmla="*/ 886123 w 4016827"/>
                <a:gd name="connsiteY1725" fmla="*/ 1137846 h 7216489"/>
                <a:gd name="connsiteX1726" fmla="*/ 896193 w 4016827"/>
                <a:gd name="connsiteY1726" fmla="*/ 1127776 h 7216489"/>
                <a:gd name="connsiteX1727" fmla="*/ 1644700 w 4016827"/>
                <a:gd name="connsiteY1727" fmla="*/ 1043878 h 7216489"/>
                <a:gd name="connsiteX1728" fmla="*/ 1644700 w 4016827"/>
                <a:gd name="connsiteY1728" fmla="*/ 1050591 h 7216489"/>
                <a:gd name="connsiteX1729" fmla="*/ 1644700 w 4016827"/>
                <a:gd name="connsiteY1729" fmla="*/ 1043878 h 7216489"/>
                <a:gd name="connsiteX1730" fmla="*/ 1164716 w 4016827"/>
                <a:gd name="connsiteY1730" fmla="*/ 1030441 h 7216489"/>
                <a:gd name="connsiteX1731" fmla="*/ 1174786 w 4016827"/>
                <a:gd name="connsiteY1731" fmla="*/ 1040512 h 7216489"/>
                <a:gd name="connsiteX1732" fmla="*/ 1164716 w 4016827"/>
                <a:gd name="connsiteY1732" fmla="*/ 1050581 h 7216489"/>
                <a:gd name="connsiteX1733" fmla="*/ 1154646 w 4016827"/>
                <a:gd name="connsiteY1733" fmla="*/ 1040512 h 7216489"/>
                <a:gd name="connsiteX1734" fmla="*/ 1164716 w 4016827"/>
                <a:gd name="connsiteY1734" fmla="*/ 1030441 h 7216489"/>
                <a:gd name="connsiteX1735" fmla="*/ 1439951 w 4016827"/>
                <a:gd name="connsiteY1735" fmla="*/ 939813 h 7216489"/>
                <a:gd name="connsiteX1736" fmla="*/ 1450020 w 4016827"/>
                <a:gd name="connsiteY1736" fmla="*/ 949882 h 7216489"/>
                <a:gd name="connsiteX1737" fmla="*/ 1439951 w 4016827"/>
                <a:gd name="connsiteY1737" fmla="*/ 959953 h 7216489"/>
                <a:gd name="connsiteX1738" fmla="*/ 1429881 w 4016827"/>
                <a:gd name="connsiteY1738" fmla="*/ 949882 h 7216489"/>
                <a:gd name="connsiteX1739" fmla="*/ 1439951 w 4016827"/>
                <a:gd name="connsiteY1739" fmla="*/ 939813 h 7216489"/>
                <a:gd name="connsiteX1740" fmla="*/ 959967 w 4016827"/>
                <a:gd name="connsiteY1740" fmla="*/ 933090 h 7216489"/>
                <a:gd name="connsiteX1741" fmla="*/ 970037 w 4016827"/>
                <a:gd name="connsiteY1741" fmla="*/ 943159 h 7216489"/>
                <a:gd name="connsiteX1742" fmla="*/ 959967 w 4016827"/>
                <a:gd name="connsiteY1742" fmla="*/ 953228 h 7216489"/>
                <a:gd name="connsiteX1743" fmla="*/ 949898 w 4016827"/>
                <a:gd name="connsiteY1743" fmla="*/ 943159 h 7216489"/>
                <a:gd name="connsiteX1744" fmla="*/ 959967 w 4016827"/>
                <a:gd name="connsiteY1744" fmla="*/ 933090 h 7216489"/>
                <a:gd name="connsiteX1745" fmla="*/ 1728613 w 4016827"/>
                <a:gd name="connsiteY1745" fmla="*/ 859262 h 7216489"/>
                <a:gd name="connsiteX1746" fmla="*/ 1731970 w 4016827"/>
                <a:gd name="connsiteY1746" fmla="*/ 862618 h 7216489"/>
                <a:gd name="connsiteX1747" fmla="*/ 1728613 w 4016827"/>
                <a:gd name="connsiteY1747" fmla="*/ 865975 h 7216489"/>
                <a:gd name="connsiteX1748" fmla="*/ 1725256 w 4016827"/>
                <a:gd name="connsiteY1748" fmla="*/ 862618 h 7216489"/>
                <a:gd name="connsiteX1749" fmla="*/ 1728613 w 4016827"/>
                <a:gd name="connsiteY1749" fmla="*/ 859262 h 7216489"/>
                <a:gd name="connsiteX1750" fmla="*/ 1235203 w 4016827"/>
                <a:gd name="connsiteY1750" fmla="*/ 845825 h 7216489"/>
                <a:gd name="connsiteX1751" fmla="*/ 1241916 w 4016827"/>
                <a:gd name="connsiteY1751" fmla="*/ 852538 h 7216489"/>
                <a:gd name="connsiteX1752" fmla="*/ 1235203 w 4016827"/>
                <a:gd name="connsiteY1752" fmla="*/ 859251 h 7216489"/>
                <a:gd name="connsiteX1753" fmla="*/ 1228490 w 4016827"/>
                <a:gd name="connsiteY1753" fmla="*/ 852538 h 7216489"/>
                <a:gd name="connsiteX1754" fmla="*/ 1235203 w 4016827"/>
                <a:gd name="connsiteY1754" fmla="*/ 845825 h 7216489"/>
                <a:gd name="connsiteX1755" fmla="*/ 2027344 w 4016827"/>
                <a:gd name="connsiteY1755" fmla="*/ 778710 h 7216489"/>
                <a:gd name="connsiteX1756" fmla="*/ 2027344 w 4016827"/>
                <a:gd name="connsiteY1756" fmla="*/ 782066 h 7216489"/>
                <a:gd name="connsiteX1757" fmla="*/ 2027344 w 4016827"/>
                <a:gd name="connsiteY1757" fmla="*/ 778710 h 7216489"/>
                <a:gd name="connsiteX1758" fmla="*/ 1523864 w 4016827"/>
                <a:gd name="connsiteY1758" fmla="*/ 751848 h 7216489"/>
                <a:gd name="connsiteX1759" fmla="*/ 1537290 w 4016827"/>
                <a:gd name="connsiteY1759" fmla="*/ 765275 h 7216489"/>
                <a:gd name="connsiteX1760" fmla="*/ 1523864 w 4016827"/>
                <a:gd name="connsiteY1760" fmla="*/ 778701 h 7216489"/>
                <a:gd name="connsiteX1761" fmla="*/ 1510438 w 4016827"/>
                <a:gd name="connsiteY1761" fmla="*/ 765275 h 7216489"/>
                <a:gd name="connsiteX1762" fmla="*/ 1523864 w 4016827"/>
                <a:gd name="connsiteY1762" fmla="*/ 751848 h 7216489"/>
                <a:gd name="connsiteX1763" fmla="*/ 1033811 w 4016827"/>
                <a:gd name="connsiteY1763" fmla="*/ 745126 h 7216489"/>
                <a:gd name="connsiteX1764" fmla="*/ 1040524 w 4016827"/>
                <a:gd name="connsiteY1764" fmla="*/ 751838 h 7216489"/>
                <a:gd name="connsiteX1765" fmla="*/ 1033811 w 4016827"/>
                <a:gd name="connsiteY1765" fmla="*/ 758551 h 7216489"/>
                <a:gd name="connsiteX1766" fmla="*/ 1027098 w 4016827"/>
                <a:gd name="connsiteY1766" fmla="*/ 751838 h 7216489"/>
                <a:gd name="connsiteX1767" fmla="*/ 1033811 w 4016827"/>
                <a:gd name="connsiteY1767" fmla="*/ 745126 h 7216489"/>
                <a:gd name="connsiteX1768" fmla="*/ 1822596 w 4016827"/>
                <a:gd name="connsiteY1768" fmla="*/ 681366 h 7216489"/>
                <a:gd name="connsiteX1769" fmla="*/ 1822596 w 4016827"/>
                <a:gd name="connsiteY1769" fmla="*/ 684723 h 7216489"/>
                <a:gd name="connsiteX1770" fmla="*/ 1822596 w 4016827"/>
                <a:gd name="connsiteY1770" fmla="*/ 681366 h 7216489"/>
                <a:gd name="connsiteX1771" fmla="*/ 1319117 w 4016827"/>
                <a:gd name="connsiteY1771" fmla="*/ 654504 h 7216489"/>
                <a:gd name="connsiteX1772" fmla="*/ 1329186 w 4016827"/>
                <a:gd name="connsiteY1772" fmla="*/ 664574 h 7216489"/>
                <a:gd name="connsiteX1773" fmla="*/ 1319117 w 4016827"/>
                <a:gd name="connsiteY1773" fmla="*/ 674643 h 7216489"/>
                <a:gd name="connsiteX1774" fmla="*/ 1309047 w 4016827"/>
                <a:gd name="connsiteY1774" fmla="*/ 664574 h 7216489"/>
                <a:gd name="connsiteX1775" fmla="*/ 1319117 w 4016827"/>
                <a:gd name="connsiteY1775" fmla="*/ 654504 h 7216489"/>
                <a:gd name="connsiteX1776" fmla="*/ 2131396 w 4016827"/>
                <a:gd name="connsiteY1776" fmla="*/ 607528 h 7216489"/>
                <a:gd name="connsiteX1777" fmla="*/ 2131396 w 4016827"/>
                <a:gd name="connsiteY1777" fmla="*/ 610885 h 7216489"/>
                <a:gd name="connsiteX1778" fmla="*/ 2131396 w 4016827"/>
                <a:gd name="connsiteY1778" fmla="*/ 609627 h 7216489"/>
                <a:gd name="connsiteX1779" fmla="*/ 1617847 w 4016827"/>
                <a:gd name="connsiteY1779" fmla="*/ 577309 h 7216489"/>
                <a:gd name="connsiteX1780" fmla="*/ 1624560 w 4016827"/>
                <a:gd name="connsiteY1780" fmla="*/ 584023 h 7216489"/>
                <a:gd name="connsiteX1781" fmla="*/ 1617847 w 4016827"/>
                <a:gd name="connsiteY1781" fmla="*/ 590735 h 7216489"/>
                <a:gd name="connsiteX1782" fmla="*/ 1611134 w 4016827"/>
                <a:gd name="connsiteY1782" fmla="*/ 584023 h 7216489"/>
                <a:gd name="connsiteX1783" fmla="*/ 1617847 w 4016827"/>
                <a:gd name="connsiteY1783" fmla="*/ 577309 h 7216489"/>
                <a:gd name="connsiteX1784" fmla="*/ 1926649 w 4016827"/>
                <a:gd name="connsiteY1784" fmla="*/ 506828 h 7216489"/>
                <a:gd name="connsiteX1785" fmla="*/ 1930005 w 4016827"/>
                <a:gd name="connsiteY1785" fmla="*/ 510184 h 7216489"/>
                <a:gd name="connsiteX1786" fmla="*/ 1926649 w 4016827"/>
                <a:gd name="connsiteY1786" fmla="*/ 513541 h 7216489"/>
                <a:gd name="connsiteX1787" fmla="*/ 1923292 w 4016827"/>
                <a:gd name="connsiteY1787" fmla="*/ 510184 h 7216489"/>
                <a:gd name="connsiteX1788" fmla="*/ 1926649 w 4016827"/>
                <a:gd name="connsiteY1788" fmla="*/ 506828 h 7216489"/>
                <a:gd name="connsiteX1789" fmla="*/ 1413099 w 4016827"/>
                <a:gd name="connsiteY1789" fmla="*/ 476608 h 7216489"/>
                <a:gd name="connsiteX1790" fmla="*/ 1423168 w 4016827"/>
                <a:gd name="connsiteY1790" fmla="*/ 486678 h 7216489"/>
                <a:gd name="connsiteX1791" fmla="*/ 1413099 w 4016827"/>
                <a:gd name="connsiteY1791" fmla="*/ 496747 h 7216489"/>
                <a:gd name="connsiteX1792" fmla="*/ 1403029 w 4016827"/>
                <a:gd name="connsiteY1792" fmla="*/ 486678 h 7216489"/>
                <a:gd name="connsiteX1793" fmla="*/ 1413099 w 4016827"/>
                <a:gd name="connsiteY1793" fmla="*/ 476608 h 7216489"/>
                <a:gd name="connsiteX1794" fmla="*/ 2252232 w 4016827"/>
                <a:gd name="connsiteY1794" fmla="*/ 439702 h 7216489"/>
                <a:gd name="connsiteX1795" fmla="*/ 2252232 w 4016827"/>
                <a:gd name="connsiteY1795" fmla="*/ 446415 h 7216489"/>
                <a:gd name="connsiteX1796" fmla="*/ 2252232 w 4016827"/>
                <a:gd name="connsiteY1796" fmla="*/ 439702 h 7216489"/>
                <a:gd name="connsiteX1797" fmla="*/ 1721900 w 4016827"/>
                <a:gd name="connsiteY1797" fmla="*/ 402770 h 7216489"/>
                <a:gd name="connsiteX1798" fmla="*/ 1728613 w 4016827"/>
                <a:gd name="connsiteY1798" fmla="*/ 409483 h 7216489"/>
                <a:gd name="connsiteX1799" fmla="*/ 1721900 w 4016827"/>
                <a:gd name="connsiteY1799" fmla="*/ 416196 h 7216489"/>
                <a:gd name="connsiteX1800" fmla="*/ 1715187 w 4016827"/>
                <a:gd name="connsiteY1800" fmla="*/ 409483 h 7216489"/>
                <a:gd name="connsiteX1801" fmla="*/ 1721900 w 4016827"/>
                <a:gd name="connsiteY1801" fmla="*/ 402770 h 7216489"/>
                <a:gd name="connsiteX1802" fmla="*/ 2044126 w 4016827"/>
                <a:gd name="connsiteY1802" fmla="*/ 339001 h 7216489"/>
                <a:gd name="connsiteX1803" fmla="*/ 2044126 w 4016827"/>
                <a:gd name="connsiteY1803" fmla="*/ 345715 h 7216489"/>
                <a:gd name="connsiteX1804" fmla="*/ 2044126 w 4016827"/>
                <a:gd name="connsiteY1804" fmla="*/ 339001 h 7216489"/>
                <a:gd name="connsiteX1805" fmla="*/ 1517151 w 4016827"/>
                <a:gd name="connsiteY1805" fmla="*/ 305426 h 7216489"/>
                <a:gd name="connsiteX1806" fmla="*/ 1517151 w 4016827"/>
                <a:gd name="connsiteY1806" fmla="*/ 312139 h 7216489"/>
                <a:gd name="connsiteX1807" fmla="*/ 1517151 w 4016827"/>
                <a:gd name="connsiteY1807" fmla="*/ 305426 h 7216489"/>
                <a:gd name="connsiteX1808" fmla="*/ 2379780 w 4016827"/>
                <a:gd name="connsiteY1808" fmla="*/ 285303 h 7216489"/>
                <a:gd name="connsiteX1809" fmla="*/ 2379780 w 4016827"/>
                <a:gd name="connsiteY1809" fmla="*/ 288659 h 7216489"/>
                <a:gd name="connsiteX1810" fmla="*/ 2379780 w 4016827"/>
                <a:gd name="connsiteY1810" fmla="*/ 285303 h 7216489"/>
                <a:gd name="connsiteX1811" fmla="*/ 1834762 w 4016827"/>
                <a:gd name="connsiteY1811" fmla="*/ 240820 h 7216489"/>
                <a:gd name="connsiteX1812" fmla="*/ 1836021 w 4016827"/>
                <a:gd name="connsiteY1812" fmla="*/ 241658 h 7216489"/>
                <a:gd name="connsiteX1813" fmla="*/ 1836021 w 4016827"/>
                <a:gd name="connsiteY1813" fmla="*/ 245015 h 7216489"/>
                <a:gd name="connsiteX1814" fmla="*/ 1834762 w 4016827"/>
                <a:gd name="connsiteY1814" fmla="*/ 240820 h 7216489"/>
                <a:gd name="connsiteX1815" fmla="*/ 2168318 w 4016827"/>
                <a:gd name="connsiteY1815" fmla="*/ 181245 h 7216489"/>
                <a:gd name="connsiteX1816" fmla="*/ 2168318 w 4016827"/>
                <a:gd name="connsiteY1816" fmla="*/ 184602 h 7216489"/>
                <a:gd name="connsiteX1817" fmla="*/ 2168318 w 4016827"/>
                <a:gd name="connsiteY1817" fmla="*/ 181245 h 7216489"/>
                <a:gd name="connsiteX1818" fmla="*/ 2520754 w 4016827"/>
                <a:gd name="connsiteY1818" fmla="*/ 137617 h 7216489"/>
                <a:gd name="connsiteX1819" fmla="*/ 2520754 w 4016827"/>
                <a:gd name="connsiteY1819" fmla="*/ 140974 h 7216489"/>
                <a:gd name="connsiteX1820" fmla="*/ 2520754 w 4016827"/>
                <a:gd name="connsiteY1820" fmla="*/ 137617 h 7216489"/>
                <a:gd name="connsiteX1821" fmla="*/ 1960213 w 4016827"/>
                <a:gd name="connsiteY1821" fmla="*/ 77189 h 7216489"/>
                <a:gd name="connsiteX1822" fmla="*/ 1960213 w 4016827"/>
                <a:gd name="connsiteY1822" fmla="*/ 83901 h 7216489"/>
                <a:gd name="connsiteX1823" fmla="*/ 1960213 w 4016827"/>
                <a:gd name="connsiteY1823" fmla="*/ 77189 h 7216489"/>
                <a:gd name="connsiteX1824" fmla="*/ 2305936 w 4016827"/>
                <a:gd name="connsiteY1824" fmla="*/ 30203 h 7216489"/>
                <a:gd name="connsiteX1825" fmla="*/ 2305936 w 4016827"/>
                <a:gd name="connsiteY1825" fmla="*/ 33559 h 7216489"/>
                <a:gd name="connsiteX1826" fmla="*/ 2305936 w 4016827"/>
                <a:gd name="connsiteY1826" fmla="*/ 30203 h 7216489"/>
                <a:gd name="connsiteX1827" fmla="*/ 2668441 w 4016827"/>
                <a:gd name="connsiteY1827" fmla="*/ 0 h 7216489"/>
                <a:gd name="connsiteX1828" fmla="*/ 2668441 w 4016827"/>
                <a:gd name="connsiteY1828" fmla="*/ 3357 h 7216489"/>
                <a:gd name="connsiteX1829" fmla="*/ 2668441 w 4016827"/>
                <a:gd name="connsiteY1829" fmla="*/ 0 h 721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Lst>
              <a:rect l="l" t="t" r="r" b="b"/>
              <a:pathLst>
                <a:path w="4016827" h="7216489">
                  <a:moveTo>
                    <a:pt x="3030947" y="7203063"/>
                  </a:moveTo>
                  <a:cubicBezTo>
                    <a:pt x="3034304" y="7203063"/>
                    <a:pt x="3037660" y="7206420"/>
                    <a:pt x="3037660" y="7209776"/>
                  </a:cubicBezTo>
                  <a:cubicBezTo>
                    <a:pt x="3037660" y="7213133"/>
                    <a:pt x="3034304" y="7216489"/>
                    <a:pt x="3030947" y="7216489"/>
                  </a:cubicBezTo>
                  <a:cubicBezTo>
                    <a:pt x="3027590" y="7216489"/>
                    <a:pt x="3024234" y="7213133"/>
                    <a:pt x="3024234" y="7209776"/>
                  </a:cubicBezTo>
                  <a:cubicBezTo>
                    <a:pt x="3024234" y="7206420"/>
                    <a:pt x="3027590" y="7203063"/>
                    <a:pt x="3030947" y="7203063"/>
                  </a:cubicBezTo>
                  <a:close/>
                  <a:moveTo>
                    <a:pt x="3873436" y="7149359"/>
                  </a:moveTo>
                  <a:cubicBezTo>
                    <a:pt x="3883505" y="7149359"/>
                    <a:pt x="3893574" y="7159428"/>
                    <a:pt x="3893574" y="7169498"/>
                  </a:cubicBezTo>
                  <a:cubicBezTo>
                    <a:pt x="3893574" y="7179568"/>
                    <a:pt x="3883505" y="7189637"/>
                    <a:pt x="3873436" y="7189637"/>
                  </a:cubicBezTo>
                  <a:cubicBezTo>
                    <a:pt x="3863366" y="7189637"/>
                    <a:pt x="3853295" y="7179568"/>
                    <a:pt x="3853295" y="7169498"/>
                  </a:cubicBezTo>
                  <a:cubicBezTo>
                    <a:pt x="3853295" y="7159428"/>
                    <a:pt x="3863366" y="7149359"/>
                    <a:pt x="3873436" y="7149359"/>
                  </a:cubicBezTo>
                  <a:close/>
                  <a:moveTo>
                    <a:pt x="2839624" y="7142646"/>
                  </a:moveTo>
                  <a:cubicBezTo>
                    <a:pt x="2839624" y="7142646"/>
                    <a:pt x="2842981" y="7142646"/>
                    <a:pt x="2839624" y="7146002"/>
                  </a:cubicBezTo>
                  <a:cubicBezTo>
                    <a:pt x="2836268" y="7142646"/>
                    <a:pt x="2839624" y="7142646"/>
                    <a:pt x="2839624" y="7142646"/>
                  </a:cubicBezTo>
                  <a:close/>
                  <a:moveTo>
                    <a:pt x="3675402" y="7109080"/>
                  </a:moveTo>
                  <a:cubicBezTo>
                    <a:pt x="3688828" y="7109080"/>
                    <a:pt x="3702254" y="7122506"/>
                    <a:pt x="3702254" y="7135933"/>
                  </a:cubicBezTo>
                  <a:cubicBezTo>
                    <a:pt x="3702254" y="7149359"/>
                    <a:pt x="3688828" y="7162785"/>
                    <a:pt x="3675402" y="7162785"/>
                  </a:cubicBezTo>
                  <a:cubicBezTo>
                    <a:pt x="3658618" y="7162785"/>
                    <a:pt x="3645192" y="7149359"/>
                    <a:pt x="3648550" y="7135933"/>
                  </a:cubicBezTo>
                  <a:cubicBezTo>
                    <a:pt x="3648550" y="7122506"/>
                    <a:pt x="3661976" y="7109080"/>
                    <a:pt x="3675402" y="7109080"/>
                  </a:cubicBezTo>
                  <a:close/>
                  <a:moveTo>
                    <a:pt x="3474010" y="7055376"/>
                  </a:moveTo>
                  <a:cubicBezTo>
                    <a:pt x="3494147" y="7055376"/>
                    <a:pt x="3510931" y="7072158"/>
                    <a:pt x="3510931" y="7092298"/>
                  </a:cubicBezTo>
                  <a:cubicBezTo>
                    <a:pt x="3510931" y="7112437"/>
                    <a:pt x="3494147" y="7129220"/>
                    <a:pt x="3474010" y="7129220"/>
                  </a:cubicBezTo>
                  <a:cubicBezTo>
                    <a:pt x="3453868" y="7129220"/>
                    <a:pt x="3437087" y="7112437"/>
                    <a:pt x="3437087" y="7092298"/>
                  </a:cubicBezTo>
                  <a:cubicBezTo>
                    <a:pt x="3437087" y="7072158"/>
                    <a:pt x="3453868" y="7055376"/>
                    <a:pt x="3474010" y="7055376"/>
                  </a:cubicBezTo>
                  <a:close/>
                  <a:moveTo>
                    <a:pt x="3279328" y="7021810"/>
                  </a:moveTo>
                  <a:cubicBezTo>
                    <a:pt x="3292755" y="7021810"/>
                    <a:pt x="3302826" y="7031880"/>
                    <a:pt x="3302826" y="7045306"/>
                  </a:cubicBezTo>
                  <a:cubicBezTo>
                    <a:pt x="3302826" y="7058732"/>
                    <a:pt x="3292755" y="7068802"/>
                    <a:pt x="3279328" y="7068802"/>
                  </a:cubicBezTo>
                  <a:cubicBezTo>
                    <a:pt x="3265902" y="7068802"/>
                    <a:pt x="3252476" y="7058732"/>
                    <a:pt x="3255834" y="7045306"/>
                  </a:cubicBezTo>
                  <a:cubicBezTo>
                    <a:pt x="3255834" y="7031880"/>
                    <a:pt x="3265902" y="7021810"/>
                    <a:pt x="3279328" y="7021810"/>
                  </a:cubicBezTo>
                  <a:close/>
                  <a:moveTo>
                    <a:pt x="2463694" y="6984888"/>
                  </a:moveTo>
                  <a:cubicBezTo>
                    <a:pt x="2467050" y="6984888"/>
                    <a:pt x="2470406" y="6988245"/>
                    <a:pt x="2470406" y="6991602"/>
                  </a:cubicBezTo>
                  <a:cubicBezTo>
                    <a:pt x="2470406" y="6994958"/>
                    <a:pt x="2467050" y="6998315"/>
                    <a:pt x="2463694" y="6998315"/>
                  </a:cubicBezTo>
                  <a:cubicBezTo>
                    <a:pt x="2460337" y="6998315"/>
                    <a:pt x="2456980" y="6994958"/>
                    <a:pt x="2456980" y="6991602"/>
                  </a:cubicBezTo>
                  <a:cubicBezTo>
                    <a:pt x="2456980" y="6988245"/>
                    <a:pt x="2460337" y="6984888"/>
                    <a:pt x="2463694" y="6984888"/>
                  </a:cubicBezTo>
                  <a:close/>
                  <a:moveTo>
                    <a:pt x="3081295" y="6911045"/>
                  </a:moveTo>
                  <a:cubicBezTo>
                    <a:pt x="3123931" y="6911045"/>
                    <a:pt x="3158496" y="6945608"/>
                    <a:pt x="3158496" y="6988245"/>
                  </a:cubicBezTo>
                  <a:cubicBezTo>
                    <a:pt x="3158496" y="7030881"/>
                    <a:pt x="3123931" y="7065445"/>
                    <a:pt x="3081295" y="7065445"/>
                  </a:cubicBezTo>
                  <a:cubicBezTo>
                    <a:pt x="3038658" y="7065445"/>
                    <a:pt x="3004095" y="7030882"/>
                    <a:pt x="3004095" y="6988245"/>
                  </a:cubicBezTo>
                  <a:cubicBezTo>
                    <a:pt x="3004095" y="6945609"/>
                    <a:pt x="3038658" y="6911045"/>
                    <a:pt x="3081295" y="6911045"/>
                  </a:cubicBezTo>
                  <a:close/>
                  <a:moveTo>
                    <a:pt x="2279084" y="6897619"/>
                  </a:moveTo>
                  <a:cubicBezTo>
                    <a:pt x="2282440" y="6897619"/>
                    <a:pt x="2285797" y="6900975"/>
                    <a:pt x="2285797" y="6904332"/>
                  </a:cubicBezTo>
                  <a:cubicBezTo>
                    <a:pt x="2285797" y="6907688"/>
                    <a:pt x="2282440" y="6911045"/>
                    <a:pt x="2279084" y="6911045"/>
                  </a:cubicBezTo>
                  <a:cubicBezTo>
                    <a:pt x="2275728" y="6911045"/>
                    <a:pt x="2272371" y="6911045"/>
                    <a:pt x="2272371" y="6904332"/>
                  </a:cubicBezTo>
                  <a:cubicBezTo>
                    <a:pt x="2272371" y="6900975"/>
                    <a:pt x="2275728" y="6897619"/>
                    <a:pt x="2279084" y="6897619"/>
                  </a:cubicBezTo>
                  <a:close/>
                  <a:moveTo>
                    <a:pt x="3923784" y="6877479"/>
                  </a:moveTo>
                  <a:cubicBezTo>
                    <a:pt x="3960704" y="6877479"/>
                    <a:pt x="3994272" y="6907688"/>
                    <a:pt x="3994272" y="6947967"/>
                  </a:cubicBezTo>
                  <a:cubicBezTo>
                    <a:pt x="3994272" y="6984888"/>
                    <a:pt x="3964062" y="7018454"/>
                    <a:pt x="3923784" y="7018454"/>
                  </a:cubicBezTo>
                  <a:cubicBezTo>
                    <a:pt x="3886863" y="7018454"/>
                    <a:pt x="3853295" y="6984888"/>
                    <a:pt x="3853295" y="6947967"/>
                  </a:cubicBezTo>
                  <a:cubicBezTo>
                    <a:pt x="3853295" y="6911045"/>
                    <a:pt x="3883505" y="6877479"/>
                    <a:pt x="3923784" y="6877479"/>
                  </a:cubicBezTo>
                  <a:close/>
                  <a:moveTo>
                    <a:pt x="2889972" y="6860697"/>
                  </a:moveTo>
                  <a:cubicBezTo>
                    <a:pt x="2923538" y="6860697"/>
                    <a:pt x="2950390" y="6887549"/>
                    <a:pt x="2950390" y="6921114"/>
                  </a:cubicBezTo>
                  <a:cubicBezTo>
                    <a:pt x="2950390" y="6954680"/>
                    <a:pt x="2923538" y="6981532"/>
                    <a:pt x="2889972" y="6981532"/>
                  </a:cubicBezTo>
                  <a:cubicBezTo>
                    <a:pt x="2856407" y="6981532"/>
                    <a:pt x="2829555" y="6954680"/>
                    <a:pt x="2829555" y="6921114"/>
                  </a:cubicBezTo>
                  <a:cubicBezTo>
                    <a:pt x="2829555" y="6887549"/>
                    <a:pt x="2856407" y="6860697"/>
                    <a:pt x="2889972" y="6860697"/>
                  </a:cubicBezTo>
                  <a:close/>
                  <a:moveTo>
                    <a:pt x="3725749" y="6840557"/>
                  </a:moveTo>
                  <a:cubicBezTo>
                    <a:pt x="3766028" y="6840557"/>
                    <a:pt x="3796237" y="6874123"/>
                    <a:pt x="3796237" y="6911045"/>
                  </a:cubicBezTo>
                  <a:cubicBezTo>
                    <a:pt x="3796237" y="6951323"/>
                    <a:pt x="3762670" y="6981532"/>
                    <a:pt x="3725749" y="6981532"/>
                  </a:cubicBezTo>
                  <a:cubicBezTo>
                    <a:pt x="3685470" y="6981532"/>
                    <a:pt x="3655261" y="6951323"/>
                    <a:pt x="3655261" y="6911045"/>
                  </a:cubicBezTo>
                  <a:cubicBezTo>
                    <a:pt x="3655261" y="6870766"/>
                    <a:pt x="3688828" y="6840557"/>
                    <a:pt x="3725749" y="6840557"/>
                  </a:cubicBezTo>
                  <a:close/>
                  <a:moveTo>
                    <a:pt x="2702006" y="6817062"/>
                  </a:moveTo>
                  <a:cubicBezTo>
                    <a:pt x="2718789" y="6817062"/>
                    <a:pt x="2732215" y="6830488"/>
                    <a:pt x="2732215" y="6847271"/>
                  </a:cubicBezTo>
                  <a:cubicBezTo>
                    <a:pt x="2732215" y="6864053"/>
                    <a:pt x="2718789" y="6877479"/>
                    <a:pt x="2702006" y="6877479"/>
                  </a:cubicBezTo>
                  <a:cubicBezTo>
                    <a:pt x="2685224" y="6877479"/>
                    <a:pt x="2671798" y="6864053"/>
                    <a:pt x="2671798" y="6847271"/>
                  </a:cubicBezTo>
                  <a:cubicBezTo>
                    <a:pt x="2671798" y="6830488"/>
                    <a:pt x="2685224" y="6817062"/>
                    <a:pt x="2702006" y="6817062"/>
                  </a:cubicBezTo>
                  <a:close/>
                  <a:moveTo>
                    <a:pt x="3524357" y="6793566"/>
                  </a:moveTo>
                  <a:cubicBezTo>
                    <a:pt x="3567993" y="6793566"/>
                    <a:pt x="3601556" y="6827131"/>
                    <a:pt x="3601556" y="6870766"/>
                  </a:cubicBezTo>
                  <a:cubicBezTo>
                    <a:pt x="3601556" y="6914401"/>
                    <a:pt x="3567993" y="6947967"/>
                    <a:pt x="3524357" y="6947967"/>
                  </a:cubicBezTo>
                  <a:cubicBezTo>
                    <a:pt x="3484078" y="6947967"/>
                    <a:pt x="3447158" y="6914401"/>
                    <a:pt x="3447158" y="6870766"/>
                  </a:cubicBezTo>
                  <a:cubicBezTo>
                    <a:pt x="3447158" y="6827131"/>
                    <a:pt x="3480721" y="6793566"/>
                    <a:pt x="3524357" y="6793566"/>
                  </a:cubicBezTo>
                  <a:close/>
                  <a:moveTo>
                    <a:pt x="3329678" y="6743218"/>
                  </a:moveTo>
                  <a:cubicBezTo>
                    <a:pt x="3373312" y="6743218"/>
                    <a:pt x="3406879" y="6776783"/>
                    <a:pt x="3406879" y="6820418"/>
                  </a:cubicBezTo>
                  <a:cubicBezTo>
                    <a:pt x="3406879" y="6864053"/>
                    <a:pt x="3373312" y="6897619"/>
                    <a:pt x="3329678" y="6897619"/>
                  </a:cubicBezTo>
                  <a:cubicBezTo>
                    <a:pt x="3286044" y="6897619"/>
                    <a:pt x="3252476" y="6864053"/>
                    <a:pt x="3252476" y="6820418"/>
                  </a:cubicBezTo>
                  <a:cubicBezTo>
                    <a:pt x="3252476" y="6776783"/>
                    <a:pt x="3286044" y="6743218"/>
                    <a:pt x="3329678" y="6743218"/>
                  </a:cubicBezTo>
                  <a:close/>
                  <a:moveTo>
                    <a:pt x="1919936" y="6709653"/>
                  </a:moveTo>
                  <a:cubicBezTo>
                    <a:pt x="1919936" y="6709653"/>
                    <a:pt x="1923292" y="6709653"/>
                    <a:pt x="1923292" y="6713009"/>
                  </a:cubicBezTo>
                  <a:cubicBezTo>
                    <a:pt x="1923292" y="6713009"/>
                    <a:pt x="1923292" y="6716366"/>
                    <a:pt x="1919936" y="6716366"/>
                  </a:cubicBezTo>
                  <a:cubicBezTo>
                    <a:pt x="1919936" y="6716366"/>
                    <a:pt x="1916579" y="6716366"/>
                    <a:pt x="1916579" y="6713009"/>
                  </a:cubicBezTo>
                  <a:cubicBezTo>
                    <a:pt x="1916579" y="6713009"/>
                    <a:pt x="1916579" y="6709653"/>
                    <a:pt x="1919936" y="6709653"/>
                  </a:cubicBezTo>
                  <a:close/>
                  <a:moveTo>
                    <a:pt x="3131643" y="6696226"/>
                  </a:moveTo>
                  <a:cubicBezTo>
                    <a:pt x="3168566" y="6696226"/>
                    <a:pt x="3202129" y="6726435"/>
                    <a:pt x="3202129" y="6766714"/>
                  </a:cubicBezTo>
                  <a:cubicBezTo>
                    <a:pt x="3202129" y="6803636"/>
                    <a:pt x="3171922" y="6837201"/>
                    <a:pt x="3131643" y="6837201"/>
                  </a:cubicBezTo>
                  <a:cubicBezTo>
                    <a:pt x="3094721" y="6837201"/>
                    <a:pt x="3061156" y="6803636"/>
                    <a:pt x="3061156" y="6766714"/>
                  </a:cubicBezTo>
                  <a:cubicBezTo>
                    <a:pt x="3061156" y="6729792"/>
                    <a:pt x="3091365" y="6696226"/>
                    <a:pt x="3131643" y="6696226"/>
                  </a:cubicBezTo>
                  <a:close/>
                  <a:moveTo>
                    <a:pt x="2514042" y="6686157"/>
                  </a:moveTo>
                  <a:cubicBezTo>
                    <a:pt x="2557676" y="6686157"/>
                    <a:pt x="2594598" y="6723079"/>
                    <a:pt x="2594598" y="6766714"/>
                  </a:cubicBezTo>
                  <a:cubicBezTo>
                    <a:pt x="2594598" y="6810349"/>
                    <a:pt x="2557676" y="6847271"/>
                    <a:pt x="2514042" y="6847271"/>
                  </a:cubicBezTo>
                  <a:cubicBezTo>
                    <a:pt x="2470406" y="6847271"/>
                    <a:pt x="2433484" y="6813705"/>
                    <a:pt x="2433484" y="6766714"/>
                  </a:cubicBezTo>
                  <a:cubicBezTo>
                    <a:pt x="2433484" y="6723079"/>
                    <a:pt x="2470406" y="6686157"/>
                    <a:pt x="2514042" y="6686157"/>
                  </a:cubicBezTo>
                  <a:close/>
                  <a:moveTo>
                    <a:pt x="3974130" y="6662662"/>
                  </a:moveTo>
                  <a:cubicBezTo>
                    <a:pt x="3982522" y="6662662"/>
                    <a:pt x="3990494" y="6664340"/>
                    <a:pt x="3997732" y="6667382"/>
                  </a:cubicBezTo>
                  <a:lnTo>
                    <a:pt x="4016827" y="6680216"/>
                  </a:lnTo>
                  <a:lnTo>
                    <a:pt x="4016827" y="6765944"/>
                  </a:lnTo>
                  <a:lnTo>
                    <a:pt x="3997732" y="6778777"/>
                  </a:lnTo>
                  <a:cubicBezTo>
                    <a:pt x="3990494" y="6781819"/>
                    <a:pt x="3982522" y="6783497"/>
                    <a:pt x="3974130" y="6783497"/>
                  </a:cubicBezTo>
                  <a:cubicBezTo>
                    <a:pt x="3943923" y="6783497"/>
                    <a:pt x="3917070" y="6756645"/>
                    <a:pt x="3913715" y="6723080"/>
                  </a:cubicBezTo>
                  <a:cubicBezTo>
                    <a:pt x="3913715" y="6689514"/>
                    <a:pt x="3940567" y="6662662"/>
                    <a:pt x="3974130" y="6662662"/>
                  </a:cubicBezTo>
                  <a:close/>
                  <a:moveTo>
                    <a:pt x="2940320" y="6629097"/>
                  </a:moveTo>
                  <a:cubicBezTo>
                    <a:pt x="2977242" y="6629097"/>
                    <a:pt x="3010808" y="6662662"/>
                    <a:pt x="3010808" y="6699584"/>
                  </a:cubicBezTo>
                  <a:cubicBezTo>
                    <a:pt x="3010808" y="6736506"/>
                    <a:pt x="2980599" y="6770071"/>
                    <a:pt x="2940320" y="6770071"/>
                  </a:cubicBezTo>
                  <a:cubicBezTo>
                    <a:pt x="2900042" y="6770071"/>
                    <a:pt x="2869833" y="6736506"/>
                    <a:pt x="2869833" y="6699584"/>
                  </a:cubicBezTo>
                  <a:cubicBezTo>
                    <a:pt x="2869833" y="6662662"/>
                    <a:pt x="2903398" y="6629097"/>
                    <a:pt x="2940320" y="6629097"/>
                  </a:cubicBezTo>
                  <a:close/>
                  <a:moveTo>
                    <a:pt x="3776096" y="6619027"/>
                  </a:moveTo>
                  <a:cubicBezTo>
                    <a:pt x="3816374" y="6619027"/>
                    <a:pt x="3849940" y="6652592"/>
                    <a:pt x="3849940" y="6692871"/>
                  </a:cubicBezTo>
                  <a:cubicBezTo>
                    <a:pt x="3849940" y="6733149"/>
                    <a:pt x="3816374" y="6766715"/>
                    <a:pt x="3776096" y="6766715"/>
                  </a:cubicBezTo>
                  <a:cubicBezTo>
                    <a:pt x="3732460" y="6766715"/>
                    <a:pt x="3698897" y="6733149"/>
                    <a:pt x="3702254" y="6692871"/>
                  </a:cubicBezTo>
                  <a:cubicBezTo>
                    <a:pt x="3702254" y="6652592"/>
                    <a:pt x="3735818" y="6619027"/>
                    <a:pt x="3776096" y="6619027"/>
                  </a:cubicBezTo>
                  <a:close/>
                  <a:moveTo>
                    <a:pt x="2329432" y="6612314"/>
                  </a:moveTo>
                  <a:cubicBezTo>
                    <a:pt x="2366354" y="6612314"/>
                    <a:pt x="2396563" y="6642523"/>
                    <a:pt x="2396563" y="6679445"/>
                  </a:cubicBezTo>
                  <a:cubicBezTo>
                    <a:pt x="2396563" y="6716367"/>
                    <a:pt x="2366354" y="6746575"/>
                    <a:pt x="2329432" y="6746575"/>
                  </a:cubicBezTo>
                  <a:cubicBezTo>
                    <a:pt x="2295866" y="6746575"/>
                    <a:pt x="2265658" y="6716367"/>
                    <a:pt x="2262301" y="6679445"/>
                  </a:cubicBezTo>
                  <a:cubicBezTo>
                    <a:pt x="2262301" y="6642523"/>
                    <a:pt x="2292510" y="6612314"/>
                    <a:pt x="2329432" y="6612314"/>
                  </a:cubicBezTo>
                  <a:close/>
                  <a:moveTo>
                    <a:pt x="1747494" y="6604762"/>
                  </a:moveTo>
                  <a:cubicBezTo>
                    <a:pt x="1747913" y="6603923"/>
                    <a:pt x="1748752" y="6603923"/>
                    <a:pt x="1748752" y="6605601"/>
                  </a:cubicBezTo>
                  <a:cubicBezTo>
                    <a:pt x="1748752" y="6605601"/>
                    <a:pt x="1752109" y="6605601"/>
                    <a:pt x="1748752" y="6608957"/>
                  </a:cubicBezTo>
                  <a:cubicBezTo>
                    <a:pt x="1747074" y="6607280"/>
                    <a:pt x="1747074" y="6605601"/>
                    <a:pt x="1747494" y="6604762"/>
                  </a:cubicBezTo>
                  <a:close/>
                  <a:moveTo>
                    <a:pt x="976750" y="6595531"/>
                  </a:moveTo>
                  <a:cubicBezTo>
                    <a:pt x="976750" y="6595531"/>
                    <a:pt x="980106" y="6598888"/>
                    <a:pt x="976750" y="6602244"/>
                  </a:cubicBezTo>
                  <a:cubicBezTo>
                    <a:pt x="973393" y="6595531"/>
                    <a:pt x="973393" y="6595531"/>
                    <a:pt x="976750" y="6595531"/>
                  </a:cubicBezTo>
                  <a:close/>
                  <a:moveTo>
                    <a:pt x="3574704" y="6568679"/>
                  </a:moveTo>
                  <a:cubicBezTo>
                    <a:pt x="3621698" y="6568679"/>
                    <a:pt x="3658618" y="6605601"/>
                    <a:pt x="3658618" y="6652592"/>
                  </a:cubicBezTo>
                  <a:cubicBezTo>
                    <a:pt x="3658618" y="6699584"/>
                    <a:pt x="3621698" y="6736506"/>
                    <a:pt x="3574704" y="6736506"/>
                  </a:cubicBezTo>
                  <a:cubicBezTo>
                    <a:pt x="3527714" y="6736506"/>
                    <a:pt x="3490792" y="6699584"/>
                    <a:pt x="3490792" y="6652592"/>
                  </a:cubicBezTo>
                  <a:cubicBezTo>
                    <a:pt x="3490792" y="6605601"/>
                    <a:pt x="3527714" y="6568679"/>
                    <a:pt x="3574704" y="6568679"/>
                  </a:cubicBezTo>
                  <a:close/>
                  <a:moveTo>
                    <a:pt x="2151536" y="6558609"/>
                  </a:moveTo>
                  <a:cubicBezTo>
                    <a:pt x="2161605" y="6558609"/>
                    <a:pt x="2171675" y="6568679"/>
                    <a:pt x="2171675" y="6582105"/>
                  </a:cubicBezTo>
                  <a:cubicBezTo>
                    <a:pt x="2171675" y="6595531"/>
                    <a:pt x="2164962" y="6605601"/>
                    <a:pt x="2151536" y="6605601"/>
                  </a:cubicBezTo>
                  <a:cubicBezTo>
                    <a:pt x="2138110" y="6605601"/>
                    <a:pt x="2131396" y="6595531"/>
                    <a:pt x="2128040" y="6582105"/>
                  </a:cubicBezTo>
                  <a:cubicBezTo>
                    <a:pt x="2128040" y="6568679"/>
                    <a:pt x="2138110" y="6558609"/>
                    <a:pt x="2151536" y="6558609"/>
                  </a:cubicBezTo>
                  <a:close/>
                  <a:moveTo>
                    <a:pt x="2752354" y="6548540"/>
                  </a:moveTo>
                  <a:cubicBezTo>
                    <a:pt x="2795990" y="6548540"/>
                    <a:pt x="2829555" y="6582105"/>
                    <a:pt x="2829555" y="6625739"/>
                  </a:cubicBezTo>
                  <a:cubicBezTo>
                    <a:pt x="2829555" y="6669375"/>
                    <a:pt x="2795990" y="6702939"/>
                    <a:pt x="2752354" y="6702939"/>
                  </a:cubicBezTo>
                  <a:cubicBezTo>
                    <a:pt x="2708720" y="6702939"/>
                    <a:pt x="2675154" y="6669375"/>
                    <a:pt x="2675154" y="6625739"/>
                  </a:cubicBezTo>
                  <a:cubicBezTo>
                    <a:pt x="2675154" y="6582105"/>
                    <a:pt x="2708720" y="6548540"/>
                    <a:pt x="2752354" y="6548540"/>
                  </a:cubicBezTo>
                  <a:close/>
                  <a:moveTo>
                    <a:pt x="3380027" y="6521688"/>
                  </a:moveTo>
                  <a:cubicBezTo>
                    <a:pt x="3423661" y="6521688"/>
                    <a:pt x="3460584" y="6558609"/>
                    <a:pt x="3460584" y="6602244"/>
                  </a:cubicBezTo>
                  <a:cubicBezTo>
                    <a:pt x="3460584" y="6645879"/>
                    <a:pt x="3423661" y="6682801"/>
                    <a:pt x="3380027" y="6682801"/>
                  </a:cubicBezTo>
                  <a:cubicBezTo>
                    <a:pt x="3336391" y="6682801"/>
                    <a:pt x="3299470" y="6645879"/>
                    <a:pt x="3299470" y="6602244"/>
                  </a:cubicBezTo>
                  <a:cubicBezTo>
                    <a:pt x="3299470" y="6558609"/>
                    <a:pt x="3336391" y="6521688"/>
                    <a:pt x="3380027" y="6521688"/>
                  </a:cubicBezTo>
                  <a:close/>
                  <a:moveTo>
                    <a:pt x="1578408" y="6490640"/>
                  </a:moveTo>
                  <a:cubicBezTo>
                    <a:pt x="1578408" y="6489801"/>
                    <a:pt x="1579248" y="6489801"/>
                    <a:pt x="1580925" y="6491479"/>
                  </a:cubicBezTo>
                  <a:cubicBezTo>
                    <a:pt x="1580925" y="6491479"/>
                    <a:pt x="1584282" y="6491479"/>
                    <a:pt x="1580925" y="6494835"/>
                  </a:cubicBezTo>
                  <a:cubicBezTo>
                    <a:pt x="1579248" y="6493158"/>
                    <a:pt x="1578408" y="6491479"/>
                    <a:pt x="1578408" y="6490640"/>
                  </a:cubicBezTo>
                  <a:close/>
                  <a:moveTo>
                    <a:pt x="2567746" y="6467983"/>
                  </a:moveTo>
                  <a:cubicBezTo>
                    <a:pt x="2608024" y="6467983"/>
                    <a:pt x="2641590" y="6501548"/>
                    <a:pt x="2641590" y="6541827"/>
                  </a:cubicBezTo>
                  <a:cubicBezTo>
                    <a:pt x="2641590" y="6582105"/>
                    <a:pt x="2608024" y="6615671"/>
                    <a:pt x="2567746" y="6615671"/>
                  </a:cubicBezTo>
                  <a:cubicBezTo>
                    <a:pt x="2527468" y="6615671"/>
                    <a:pt x="2493902" y="6582105"/>
                    <a:pt x="2493902" y="6541827"/>
                  </a:cubicBezTo>
                  <a:cubicBezTo>
                    <a:pt x="2493902" y="6501548"/>
                    <a:pt x="2527468" y="6467983"/>
                    <a:pt x="2567746" y="6467983"/>
                  </a:cubicBezTo>
                  <a:close/>
                  <a:moveTo>
                    <a:pt x="3185348" y="6464626"/>
                  </a:moveTo>
                  <a:cubicBezTo>
                    <a:pt x="3229837" y="6464626"/>
                    <a:pt x="3265904" y="6500693"/>
                    <a:pt x="3265904" y="6545183"/>
                  </a:cubicBezTo>
                  <a:cubicBezTo>
                    <a:pt x="3265904" y="6589674"/>
                    <a:pt x="3229837" y="6625740"/>
                    <a:pt x="3185348" y="6625740"/>
                  </a:cubicBezTo>
                  <a:cubicBezTo>
                    <a:pt x="3140858" y="6625740"/>
                    <a:pt x="3104791" y="6589673"/>
                    <a:pt x="3104791" y="6545183"/>
                  </a:cubicBezTo>
                  <a:cubicBezTo>
                    <a:pt x="3104791" y="6500693"/>
                    <a:pt x="3140858" y="6464626"/>
                    <a:pt x="3185348" y="6464626"/>
                  </a:cubicBezTo>
                  <a:close/>
                  <a:moveTo>
                    <a:pt x="4016827" y="6446018"/>
                  </a:moveTo>
                  <a:lnTo>
                    <a:pt x="4016827" y="6563792"/>
                  </a:lnTo>
                  <a:lnTo>
                    <a:pt x="4000879" y="6560603"/>
                  </a:lnTo>
                  <a:cubicBezTo>
                    <a:pt x="3979166" y="6551477"/>
                    <a:pt x="3964062" y="6530079"/>
                    <a:pt x="3964062" y="6504905"/>
                  </a:cubicBezTo>
                  <a:cubicBezTo>
                    <a:pt x="3964062" y="6479731"/>
                    <a:pt x="3979166" y="6458333"/>
                    <a:pt x="4000879" y="6449207"/>
                  </a:cubicBezTo>
                  <a:close/>
                  <a:moveTo>
                    <a:pt x="1976996" y="6441131"/>
                  </a:moveTo>
                  <a:cubicBezTo>
                    <a:pt x="1997135" y="6441131"/>
                    <a:pt x="2017274" y="6457913"/>
                    <a:pt x="2017274" y="6481409"/>
                  </a:cubicBezTo>
                  <a:cubicBezTo>
                    <a:pt x="2017274" y="6501548"/>
                    <a:pt x="2000491" y="6521688"/>
                    <a:pt x="1976996" y="6521688"/>
                  </a:cubicBezTo>
                  <a:cubicBezTo>
                    <a:pt x="1953500" y="6521688"/>
                    <a:pt x="1933361" y="6504905"/>
                    <a:pt x="1936717" y="6481409"/>
                  </a:cubicBezTo>
                  <a:cubicBezTo>
                    <a:pt x="1936717" y="6461270"/>
                    <a:pt x="1953500" y="6441131"/>
                    <a:pt x="1976996" y="6441131"/>
                  </a:cubicBezTo>
                  <a:close/>
                  <a:moveTo>
                    <a:pt x="2990668" y="6410922"/>
                  </a:moveTo>
                  <a:cubicBezTo>
                    <a:pt x="3027590" y="6410922"/>
                    <a:pt x="3057799" y="6441131"/>
                    <a:pt x="3057799" y="6478053"/>
                  </a:cubicBezTo>
                  <a:cubicBezTo>
                    <a:pt x="3057799" y="6514974"/>
                    <a:pt x="3027590" y="6545183"/>
                    <a:pt x="2990668" y="6545183"/>
                  </a:cubicBezTo>
                  <a:cubicBezTo>
                    <a:pt x="2953747" y="6545183"/>
                    <a:pt x="2923538" y="6514974"/>
                    <a:pt x="2923538" y="6478053"/>
                  </a:cubicBezTo>
                  <a:cubicBezTo>
                    <a:pt x="2923538" y="6441131"/>
                    <a:pt x="2953747" y="6410922"/>
                    <a:pt x="2990668" y="6410922"/>
                  </a:cubicBezTo>
                  <a:close/>
                  <a:moveTo>
                    <a:pt x="3826443" y="6400852"/>
                  </a:moveTo>
                  <a:cubicBezTo>
                    <a:pt x="3866721" y="6400852"/>
                    <a:pt x="3900289" y="6434418"/>
                    <a:pt x="3900289" y="6474696"/>
                  </a:cubicBezTo>
                  <a:cubicBezTo>
                    <a:pt x="3900289" y="6514974"/>
                    <a:pt x="3866721" y="6548540"/>
                    <a:pt x="3826443" y="6548540"/>
                  </a:cubicBezTo>
                  <a:cubicBezTo>
                    <a:pt x="3782809" y="6548540"/>
                    <a:pt x="3749244" y="6514974"/>
                    <a:pt x="3752601" y="6474696"/>
                  </a:cubicBezTo>
                  <a:cubicBezTo>
                    <a:pt x="3752601" y="6434418"/>
                    <a:pt x="3786166" y="6400852"/>
                    <a:pt x="3826443" y="6400852"/>
                  </a:cubicBezTo>
                  <a:close/>
                  <a:moveTo>
                    <a:pt x="2383136" y="6380713"/>
                  </a:moveTo>
                  <a:cubicBezTo>
                    <a:pt x="2423415" y="6380713"/>
                    <a:pt x="2456980" y="6414278"/>
                    <a:pt x="2456980" y="6454557"/>
                  </a:cubicBezTo>
                  <a:cubicBezTo>
                    <a:pt x="2456980" y="6494835"/>
                    <a:pt x="2423415" y="6528401"/>
                    <a:pt x="2383136" y="6528401"/>
                  </a:cubicBezTo>
                  <a:cubicBezTo>
                    <a:pt x="2342858" y="6528401"/>
                    <a:pt x="2309293" y="6494835"/>
                    <a:pt x="2309293" y="6454557"/>
                  </a:cubicBezTo>
                  <a:cubicBezTo>
                    <a:pt x="2309293" y="6414278"/>
                    <a:pt x="2342858" y="6380713"/>
                    <a:pt x="2383136" y="6380713"/>
                  </a:cubicBezTo>
                  <a:close/>
                  <a:moveTo>
                    <a:pt x="1415197" y="6369805"/>
                  </a:moveTo>
                  <a:cubicBezTo>
                    <a:pt x="1415616" y="6368966"/>
                    <a:pt x="1416455" y="6368966"/>
                    <a:pt x="1416455" y="6370643"/>
                  </a:cubicBezTo>
                  <a:cubicBezTo>
                    <a:pt x="1416455" y="6370643"/>
                    <a:pt x="1419812" y="6370643"/>
                    <a:pt x="1416455" y="6374000"/>
                  </a:cubicBezTo>
                  <a:cubicBezTo>
                    <a:pt x="1414777" y="6372322"/>
                    <a:pt x="1414777" y="6370643"/>
                    <a:pt x="1415197" y="6369805"/>
                  </a:cubicBezTo>
                  <a:close/>
                  <a:moveTo>
                    <a:pt x="1805813" y="6360574"/>
                  </a:moveTo>
                  <a:cubicBezTo>
                    <a:pt x="1812526" y="6360574"/>
                    <a:pt x="1815883" y="6363930"/>
                    <a:pt x="1815883" y="6370643"/>
                  </a:cubicBezTo>
                  <a:cubicBezTo>
                    <a:pt x="1815883" y="6377356"/>
                    <a:pt x="1812526" y="6380713"/>
                    <a:pt x="1805813" y="6380713"/>
                  </a:cubicBezTo>
                  <a:cubicBezTo>
                    <a:pt x="1799100" y="6380713"/>
                    <a:pt x="1795744" y="6377356"/>
                    <a:pt x="1795744" y="6370643"/>
                  </a:cubicBezTo>
                  <a:cubicBezTo>
                    <a:pt x="1795744" y="6363930"/>
                    <a:pt x="1799100" y="6360574"/>
                    <a:pt x="1805813" y="6360574"/>
                  </a:cubicBezTo>
                  <a:close/>
                  <a:moveTo>
                    <a:pt x="3625053" y="6357217"/>
                  </a:moveTo>
                  <a:cubicBezTo>
                    <a:pt x="3665331" y="6357217"/>
                    <a:pt x="3698897" y="6390783"/>
                    <a:pt x="3698897" y="6431061"/>
                  </a:cubicBezTo>
                  <a:cubicBezTo>
                    <a:pt x="3698897" y="6471339"/>
                    <a:pt x="3665331" y="6504905"/>
                    <a:pt x="3625053" y="6504905"/>
                  </a:cubicBezTo>
                  <a:cubicBezTo>
                    <a:pt x="3584774" y="6504905"/>
                    <a:pt x="3551209" y="6471339"/>
                    <a:pt x="3551209" y="6431061"/>
                  </a:cubicBezTo>
                  <a:cubicBezTo>
                    <a:pt x="3551209" y="6390783"/>
                    <a:pt x="3584774" y="6357217"/>
                    <a:pt x="3625053" y="6357217"/>
                  </a:cubicBezTo>
                  <a:close/>
                  <a:moveTo>
                    <a:pt x="2802702" y="6323652"/>
                  </a:moveTo>
                  <a:cubicBezTo>
                    <a:pt x="2845338" y="6323652"/>
                    <a:pt x="2879903" y="6358215"/>
                    <a:pt x="2879903" y="6400852"/>
                  </a:cubicBezTo>
                  <a:cubicBezTo>
                    <a:pt x="2879903" y="6443488"/>
                    <a:pt x="2845338" y="6478053"/>
                    <a:pt x="2802702" y="6478053"/>
                  </a:cubicBezTo>
                  <a:cubicBezTo>
                    <a:pt x="2760066" y="6478053"/>
                    <a:pt x="2725502" y="6443489"/>
                    <a:pt x="2725502" y="6400852"/>
                  </a:cubicBezTo>
                  <a:cubicBezTo>
                    <a:pt x="2725502" y="6358216"/>
                    <a:pt x="2760066" y="6323652"/>
                    <a:pt x="2802702" y="6323652"/>
                  </a:cubicBezTo>
                  <a:close/>
                  <a:moveTo>
                    <a:pt x="3430374" y="6306869"/>
                  </a:moveTo>
                  <a:cubicBezTo>
                    <a:pt x="3474010" y="6306869"/>
                    <a:pt x="3507573" y="6340435"/>
                    <a:pt x="3507573" y="6384070"/>
                  </a:cubicBezTo>
                  <a:cubicBezTo>
                    <a:pt x="3507573" y="6427705"/>
                    <a:pt x="3474010" y="6461270"/>
                    <a:pt x="3430374" y="6461270"/>
                  </a:cubicBezTo>
                  <a:cubicBezTo>
                    <a:pt x="3386738" y="6461270"/>
                    <a:pt x="3349817" y="6424348"/>
                    <a:pt x="3353174" y="6384070"/>
                  </a:cubicBezTo>
                  <a:cubicBezTo>
                    <a:pt x="3353174" y="6340435"/>
                    <a:pt x="3386738" y="6306869"/>
                    <a:pt x="3430374" y="6306869"/>
                  </a:cubicBezTo>
                  <a:close/>
                  <a:moveTo>
                    <a:pt x="2205240" y="6276660"/>
                  </a:moveTo>
                  <a:cubicBezTo>
                    <a:pt x="2248875" y="6276660"/>
                    <a:pt x="2282440" y="6310226"/>
                    <a:pt x="2282440" y="6353861"/>
                  </a:cubicBezTo>
                  <a:cubicBezTo>
                    <a:pt x="2282440" y="6397496"/>
                    <a:pt x="2248875" y="6431061"/>
                    <a:pt x="2205240" y="6431061"/>
                  </a:cubicBezTo>
                  <a:cubicBezTo>
                    <a:pt x="2164962" y="6431061"/>
                    <a:pt x="2131396" y="6397496"/>
                    <a:pt x="2128040" y="6353861"/>
                  </a:cubicBezTo>
                  <a:cubicBezTo>
                    <a:pt x="2128040" y="6310226"/>
                    <a:pt x="2161605" y="6276660"/>
                    <a:pt x="2205240" y="6276660"/>
                  </a:cubicBezTo>
                  <a:close/>
                  <a:moveTo>
                    <a:pt x="3235697" y="6253165"/>
                  </a:moveTo>
                  <a:cubicBezTo>
                    <a:pt x="3275975" y="6253165"/>
                    <a:pt x="3306183" y="6283373"/>
                    <a:pt x="3306183" y="6323652"/>
                  </a:cubicBezTo>
                  <a:cubicBezTo>
                    <a:pt x="3306183" y="6363930"/>
                    <a:pt x="3275975" y="6394139"/>
                    <a:pt x="3235697" y="6394139"/>
                  </a:cubicBezTo>
                  <a:cubicBezTo>
                    <a:pt x="3195418" y="6394139"/>
                    <a:pt x="3165208" y="6360574"/>
                    <a:pt x="3165208" y="6323652"/>
                  </a:cubicBezTo>
                  <a:cubicBezTo>
                    <a:pt x="3165208" y="6283373"/>
                    <a:pt x="3195418" y="6253165"/>
                    <a:pt x="3235697" y="6253165"/>
                  </a:cubicBezTo>
                  <a:close/>
                  <a:moveTo>
                    <a:pt x="4016827" y="6248280"/>
                  </a:moveTo>
                  <a:lnTo>
                    <a:pt x="4016827" y="6308840"/>
                  </a:lnTo>
                  <a:lnTo>
                    <a:pt x="4014883" y="6306082"/>
                  </a:lnTo>
                  <a:cubicBezTo>
                    <a:pt x="4011054" y="6298058"/>
                    <a:pt x="4008537" y="6289247"/>
                    <a:pt x="4007698" y="6280017"/>
                  </a:cubicBezTo>
                  <a:cubicBezTo>
                    <a:pt x="4007698" y="6270786"/>
                    <a:pt x="4009586" y="6261976"/>
                    <a:pt x="4012995" y="6253951"/>
                  </a:cubicBezTo>
                  <a:close/>
                  <a:moveTo>
                    <a:pt x="2618094" y="6243095"/>
                  </a:moveTo>
                  <a:cubicBezTo>
                    <a:pt x="2658372" y="6243095"/>
                    <a:pt x="2691938" y="6276660"/>
                    <a:pt x="2691938" y="6316939"/>
                  </a:cubicBezTo>
                  <a:cubicBezTo>
                    <a:pt x="2691938" y="6357217"/>
                    <a:pt x="2658372" y="6390783"/>
                    <a:pt x="2618094" y="6390783"/>
                  </a:cubicBezTo>
                  <a:cubicBezTo>
                    <a:pt x="2577816" y="6390783"/>
                    <a:pt x="2544250" y="6357217"/>
                    <a:pt x="2544250" y="6316939"/>
                  </a:cubicBezTo>
                  <a:cubicBezTo>
                    <a:pt x="2544250" y="6276660"/>
                    <a:pt x="2577816" y="6243095"/>
                    <a:pt x="2618094" y="6243095"/>
                  </a:cubicBezTo>
                  <a:close/>
                  <a:moveTo>
                    <a:pt x="1258699" y="6243095"/>
                  </a:moveTo>
                  <a:cubicBezTo>
                    <a:pt x="1258699" y="6243095"/>
                    <a:pt x="1262056" y="6243095"/>
                    <a:pt x="1262056" y="6246452"/>
                  </a:cubicBezTo>
                  <a:cubicBezTo>
                    <a:pt x="1262056" y="6246452"/>
                    <a:pt x="1262056" y="6249808"/>
                    <a:pt x="1258699" y="6249808"/>
                  </a:cubicBezTo>
                  <a:cubicBezTo>
                    <a:pt x="1255342" y="6249808"/>
                    <a:pt x="1251986" y="6246452"/>
                    <a:pt x="1255342" y="6246452"/>
                  </a:cubicBezTo>
                  <a:cubicBezTo>
                    <a:pt x="1255342" y="6246452"/>
                    <a:pt x="1255342" y="6243095"/>
                    <a:pt x="1258699" y="6243095"/>
                  </a:cubicBezTo>
                  <a:close/>
                  <a:moveTo>
                    <a:pt x="3876792" y="6189390"/>
                  </a:moveTo>
                  <a:cubicBezTo>
                    <a:pt x="3910358" y="6189390"/>
                    <a:pt x="3940567" y="6216243"/>
                    <a:pt x="3940567" y="6253165"/>
                  </a:cubicBezTo>
                  <a:cubicBezTo>
                    <a:pt x="3940567" y="6286730"/>
                    <a:pt x="3913715" y="6316939"/>
                    <a:pt x="3876792" y="6316939"/>
                  </a:cubicBezTo>
                  <a:cubicBezTo>
                    <a:pt x="3839869" y="6316939"/>
                    <a:pt x="3809661" y="6286730"/>
                    <a:pt x="3813017" y="6253165"/>
                  </a:cubicBezTo>
                  <a:cubicBezTo>
                    <a:pt x="3813017" y="6219599"/>
                    <a:pt x="3839869" y="6189390"/>
                    <a:pt x="3876792" y="6189390"/>
                  </a:cubicBezTo>
                  <a:close/>
                  <a:moveTo>
                    <a:pt x="1637986" y="6182677"/>
                  </a:moveTo>
                  <a:cubicBezTo>
                    <a:pt x="1678265" y="6182677"/>
                    <a:pt x="1708474" y="6216243"/>
                    <a:pt x="1708474" y="6253165"/>
                  </a:cubicBezTo>
                  <a:cubicBezTo>
                    <a:pt x="1708474" y="6293443"/>
                    <a:pt x="1674908" y="6323652"/>
                    <a:pt x="1637986" y="6323652"/>
                  </a:cubicBezTo>
                  <a:cubicBezTo>
                    <a:pt x="1601065" y="6323652"/>
                    <a:pt x="1570856" y="6293443"/>
                    <a:pt x="1567499" y="6253165"/>
                  </a:cubicBezTo>
                  <a:cubicBezTo>
                    <a:pt x="1567499" y="6212886"/>
                    <a:pt x="1601065" y="6182677"/>
                    <a:pt x="1637986" y="6182677"/>
                  </a:cubicBezTo>
                  <a:close/>
                  <a:moveTo>
                    <a:pt x="3044373" y="6179322"/>
                  </a:moveTo>
                  <a:cubicBezTo>
                    <a:pt x="3084652" y="6179322"/>
                    <a:pt x="3118217" y="6212887"/>
                    <a:pt x="3118217" y="6253166"/>
                  </a:cubicBezTo>
                  <a:cubicBezTo>
                    <a:pt x="3118217" y="6293444"/>
                    <a:pt x="3084652" y="6327009"/>
                    <a:pt x="3044373" y="6327009"/>
                  </a:cubicBezTo>
                  <a:cubicBezTo>
                    <a:pt x="3004095" y="6327009"/>
                    <a:pt x="2970529" y="6293444"/>
                    <a:pt x="2970529" y="6253166"/>
                  </a:cubicBezTo>
                  <a:cubicBezTo>
                    <a:pt x="2970529" y="6212887"/>
                    <a:pt x="3004095" y="6179322"/>
                    <a:pt x="3044373" y="6179322"/>
                  </a:cubicBezTo>
                  <a:close/>
                  <a:moveTo>
                    <a:pt x="2030700" y="6172608"/>
                  </a:moveTo>
                  <a:cubicBezTo>
                    <a:pt x="2074335" y="6172608"/>
                    <a:pt x="2107900" y="6206173"/>
                    <a:pt x="2107900" y="6249808"/>
                  </a:cubicBezTo>
                  <a:cubicBezTo>
                    <a:pt x="2107900" y="6293443"/>
                    <a:pt x="2074335" y="6327008"/>
                    <a:pt x="2030700" y="6327008"/>
                  </a:cubicBezTo>
                  <a:cubicBezTo>
                    <a:pt x="1990422" y="6327008"/>
                    <a:pt x="1953500" y="6293443"/>
                    <a:pt x="1953500" y="6249808"/>
                  </a:cubicBezTo>
                  <a:cubicBezTo>
                    <a:pt x="1953500" y="6206173"/>
                    <a:pt x="1987065" y="6172608"/>
                    <a:pt x="2030700" y="6172608"/>
                  </a:cubicBezTo>
                  <a:close/>
                  <a:moveTo>
                    <a:pt x="2436841" y="6155825"/>
                  </a:moveTo>
                  <a:cubicBezTo>
                    <a:pt x="2473763" y="6155825"/>
                    <a:pt x="2503972" y="6186034"/>
                    <a:pt x="2503972" y="6222956"/>
                  </a:cubicBezTo>
                  <a:cubicBezTo>
                    <a:pt x="2503972" y="6259878"/>
                    <a:pt x="2473763" y="6290087"/>
                    <a:pt x="2436841" y="6290087"/>
                  </a:cubicBezTo>
                  <a:cubicBezTo>
                    <a:pt x="2399919" y="6290087"/>
                    <a:pt x="2373067" y="6259878"/>
                    <a:pt x="2369710" y="6222956"/>
                  </a:cubicBezTo>
                  <a:cubicBezTo>
                    <a:pt x="2369710" y="6186034"/>
                    <a:pt x="2399919" y="6155825"/>
                    <a:pt x="2436841" y="6155825"/>
                  </a:cubicBezTo>
                  <a:close/>
                  <a:moveTo>
                    <a:pt x="3675402" y="6139042"/>
                  </a:moveTo>
                  <a:cubicBezTo>
                    <a:pt x="3715680" y="6139042"/>
                    <a:pt x="3745888" y="6169251"/>
                    <a:pt x="3745888" y="6209530"/>
                  </a:cubicBezTo>
                  <a:cubicBezTo>
                    <a:pt x="3745888" y="6249808"/>
                    <a:pt x="3715680" y="6280017"/>
                    <a:pt x="3675402" y="6280017"/>
                  </a:cubicBezTo>
                  <a:cubicBezTo>
                    <a:pt x="3638479" y="6280017"/>
                    <a:pt x="3604914" y="6249808"/>
                    <a:pt x="3604914" y="6209530"/>
                  </a:cubicBezTo>
                  <a:cubicBezTo>
                    <a:pt x="3604914" y="6169251"/>
                    <a:pt x="3635124" y="6139042"/>
                    <a:pt x="3675402" y="6139042"/>
                  </a:cubicBezTo>
                  <a:close/>
                  <a:moveTo>
                    <a:pt x="2856407" y="6102122"/>
                  </a:moveTo>
                  <a:cubicBezTo>
                    <a:pt x="2896686" y="6102122"/>
                    <a:pt x="2930251" y="6135687"/>
                    <a:pt x="2930251" y="6175965"/>
                  </a:cubicBezTo>
                  <a:cubicBezTo>
                    <a:pt x="2930251" y="6216244"/>
                    <a:pt x="2896686" y="6249809"/>
                    <a:pt x="2856407" y="6249809"/>
                  </a:cubicBezTo>
                  <a:cubicBezTo>
                    <a:pt x="2812773" y="6249809"/>
                    <a:pt x="2779208" y="6219600"/>
                    <a:pt x="2782564" y="6175965"/>
                  </a:cubicBezTo>
                  <a:cubicBezTo>
                    <a:pt x="2782564" y="6135687"/>
                    <a:pt x="2816129" y="6102122"/>
                    <a:pt x="2856407" y="6102122"/>
                  </a:cubicBezTo>
                  <a:close/>
                  <a:moveTo>
                    <a:pt x="1476873" y="6092052"/>
                  </a:moveTo>
                  <a:cubicBezTo>
                    <a:pt x="1500368" y="6092052"/>
                    <a:pt x="1517151" y="6108835"/>
                    <a:pt x="1517151" y="6132330"/>
                  </a:cubicBezTo>
                  <a:cubicBezTo>
                    <a:pt x="1517151" y="6155826"/>
                    <a:pt x="1500368" y="6172609"/>
                    <a:pt x="1476873" y="6172609"/>
                  </a:cubicBezTo>
                  <a:cubicBezTo>
                    <a:pt x="1456734" y="6172609"/>
                    <a:pt x="1436594" y="6152470"/>
                    <a:pt x="1436594" y="6132330"/>
                  </a:cubicBezTo>
                  <a:cubicBezTo>
                    <a:pt x="1436594" y="6108835"/>
                    <a:pt x="1453377" y="6092052"/>
                    <a:pt x="1476873" y="6092052"/>
                  </a:cubicBezTo>
                  <a:close/>
                  <a:moveTo>
                    <a:pt x="3480721" y="6088694"/>
                  </a:moveTo>
                  <a:cubicBezTo>
                    <a:pt x="3520999" y="6088694"/>
                    <a:pt x="3551209" y="6122260"/>
                    <a:pt x="3551209" y="6159182"/>
                  </a:cubicBezTo>
                  <a:cubicBezTo>
                    <a:pt x="3551209" y="6199460"/>
                    <a:pt x="3517644" y="6229669"/>
                    <a:pt x="3480721" y="6229669"/>
                  </a:cubicBezTo>
                  <a:cubicBezTo>
                    <a:pt x="3440442" y="6229669"/>
                    <a:pt x="3410234" y="6199460"/>
                    <a:pt x="3410234" y="6159182"/>
                  </a:cubicBezTo>
                  <a:cubicBezTo>
                    <a:pt x="3410234" y="6118903"/>
                    <a:pt x="3443800" y="6088694"/>
                    <a:pt x="3480721" y="6088694"/>
                  </a:cubicBezTo>
                  <a:close/>
                  <a:moveTo>
                    <a:pt x="1862874" y="6061843"/>
                  </a:moveTo>
                  <a:cubicBezTo>
                    <a:pt x="1906510" y="6061843"/>
                    <a:pt x="1940075" y="6095408"/>
                    <a:pt x="1940075" y="6139042"/>
                  </a:cubicBezTo>
                  <a:cubicBezTo>
                    <a:pt x="1940075" y="6182678"/>
                    <a:pt x="1906510" y="6216243"/>
                    <a:pt x="1862874" y="6216243"/>
                  </a:cubicBezTo>
                  <a:cubicBezTo>
                    <a:pt x="1819240" y="6216243"/>
                    <a:pt x="1785674" y="6179322"/>
                    <a:pt x="1785674" y="6139042"/>
                  </a:cubicBezTo>
                  <a:cubicBezTo>
                    <a:pt x="1785674" y="6095408"/>
                    <a:pt x="1819240" y="6061843"/>
                    <a:pt x="1862874" y="6061843"/>
                  </a:cubicBezTo>
                  <a:close/>
                  <a:moveTo>
                    <a:pt x="2262301" y="6055129"/>
                  </a:moveTo>
                  <a:cubicBezTo>
                    <a:pt x="2299223" y="6055129"/>
                    <a:pt x="2329432" y="6085338"/>
                    <a:pt x="2329432" y="6122260"/>
                  </a:cubicBezTo>
                  <a:cubicBezTo>
                    <a:pt x="2329432" y="6159182"/>
                    <a:pt x="2299223" y="6189390"/>
                    <a:pt x="2262301" y="6189390"/>
                  </a:cubicBezTo>
                  <a:cubicBezTo>
                    <a:pt x="2225379" y="6189390"/>
                    <a:pt x="2195170" y="6159182"/>
                    <a:pt x="2195170" y="6122260"/>
                  </a:cubicBezTo>
                  <a:cubicBezTo>
                    <a:pt x="2195170" y="6085338"/>
                    <a:pt x="2225379" y="6055129"/>
                    <a:pt x="2262301" y="6055129"/>
                  </a:cubicBezTo>
                  <a:close/>
                  <a:moveTo>
                    <a:pt x="3286044" y="6031634"/>
                  </a:moveTo>
                  <a:cubicBezTo>
                    <a:pt x="3322964" y="6031634"/>
                    <a:pt x="3356532" y="6061843"/>
                    <a:pt x="3356532" y="6102122"/>
                  </a:cubicBezTo>
                  <a:cubicBezTo>
                    <a:pt x="3356532" y="6139043"/>
                    <a:pt x="3326322" y="6172609"/>
                    <a:pt x="3286044" y="6172609"/>
                  </a:cubicBezTo>
                  <a:cubicBezTo>
                    <a:pt x="3245765" y="6172609"/>
                    <a:pt x="3212200" y="6139043"/>
                    <a:pt x="3215556" y="6102122"/>
                  </a:cubicBezTo>
                  <a:cubicBezTo>
                    <a:pt x="3215556" y="6065200"/>
                    <a:pt x="3245765" y="6031634"/>
                    <a:pt x="3286044" y="6031634"/>
                  </a:cubicBezTo>
                  <a:close/>
                  <a:moveTo>
                    <a:pt x="2671798" y="6014852"/>
                  </a:moveTo>
                  <a:cubicBezTo>
                    <a:pt x="2712076" y="6014852"/>
                    <a:pt x="2745642" y="6048417"/>
                    <a:pt x="2745642" y="6088695"/>
                  </a:cubicBezTo>
                  <a:cubicBezTo>
                    <a:pt x="2745642" y="6128974"/>
                    <a:pt x="2712076" y="6162539"/>
                    <a:pt x="2671798" y="6162539"/>
                  </a:cubicBezTo>
                  <a:cubicBezTo>
                    <a:pt x="2631519" y="6162539"/>
                    <a:pt x="2597954" y="6128974"/>
                    <a:pt x="2597954" y="6088695"/>
                  </a:cubicBezTo>
                  <a:cubicBezTo>
                    <a:pt x="2597954" y="6048417"/>
                    <a:pt x="2631519" y="6014852"/>
                    <a:pt x="2671798" y="6014852"/>
                  </a:cubicBezTo>
                  <a:close/>
                  <a:moveTo>
                    <a:pt x="3927141" y="5971217"/>
                  </a:moveTo>
                  <a:cubicBezTo>
                    <a:pt x="3957349" y="5971217"/>
                    <a:pt x="3984201" y="5998069"/>
                    <a:pt x="3984201" y="6028278"/>
                  </a:cubicBezTo>
                  <a:cubicBezTo>
                    <a:pt x="3984201" y="6058487"/>
                    <a:pt x="3957349" y="6085339"/>
                    <a:pt x="3927141" y="6085339"/>
                  </a:cubicBezTo>
                  <a:cubicBezTo>
                    <a:pt x="3893574" y="6085339"/>
                    <a:pt x="3870079" y="6061843"/>
                    <a:pt x="3870079" y="6028278"/>
                  </a:cubicBezTo>
                  <a:cubicBezTo>
                    <a:pt x="3870079" y="5998069"/>
                    <a:pt x="3896931" y="5971217"/>
                    <a:pt x="3927141" y="5971217"/>
                  </a:cubicBezTo>
                  <a:close/>
                  <a:moveTo>
                    <a:pt x="3094721" y="5961147"/>
                  </a:moveTo>
                  <a:cubicBezTo>
                    <a:pt x="3131643" y="5961147"/>
                    <a:pt x="3165208" y="5991356"/>
                    <a:pt x="3165208" y="6031634"/>
                  </a:cubicBezTo>
                  <a:cubicBezTo>
                    <a:pt x="3165208" y="6068556"/>
                    <a:pt x="3134998" y="6102122"/>
                    <a:pt x="3094721" y="6102122"/>
                  </a:cubicBezTo>
                  <a:cubicBezTo>
                    <a:pt x="3054443" y="6102122"/>
                    <a:pt x="3024234" y="6071912"/>
                    <a:pt x="3024234" y="6031634"/>
                  </a:cubicBezTo>
                  <a:cubicBezTo>
                    <a:pt x="3024234" y="5994712"/>
                    <a:pt x="3057799" y="5961147"/>
                    <a:pt x="3094721" y="5961147"/>
                  </a:cubicBezTo>
                  <a:close/>
                  <a:moveTo>
                    <a:pt x="1322473" y="5954434"/>
                  </a:moveTo>
                  <a:cubicBezTo>
                    <a:pt x="1349326" y="5954434"/>
                    <a:pt x="1369465" y="5974573"/>
                    <a:pt x="1369465" y="6001425"/>
                  </a:cubicBezTo>
                  <a:cubicBezTo>
                    <a:pt x="1369465" y="6028278"/>
                    <a:pt x="1349326" y="6048417"/>
                    <a:pt x="1322473" y="6048417"/>
                  </a:cubicBezTo>
                  <a:cubicBezTo>
                    <a:pt x="1295621" y="6048417"/>
                    <a:pt x="1275482" y="6028278"/>
                    <a:pt x="1275482" y="6001425"/>
                  </a:cubicBezTo>
                  <a:cubicBezTo>
                    <a:pt x="1275482" y="5974573"/>
                    <a:pt x="1295621" y="5954434"/>
                    <a:pt x="1322473" y="5954434"/>
                  </a:cubicBezTo>
                  <a:close/>
                  <a:moveTo>
                    <a:pt x="2087761" y="5947721"/>
                  </a:moveTo>
                  <a:cubicBezTo>
                    <a:pt x="2128040" y="5947721"/>
                    <a:pt x="2158248" y="5977930"/>
                    <a:pt x="2158248" y="6018208"/>
                  </a:cubicBezTo>
                  <a:cubicBezTo>
                    <a:pt x="2158248" y="6058487"/>
                    <a:pt x="2128040" y="6088695"/>
                    <a:pt x="2087761" y="6088695"/>
                  </a:cubicBezTo>
                  <a:cubicBezTo>
                    <a:pt x="2050840" y="6088695"/>
                    <a:pt x="2017274" y="6055130"/>
                    <a:pt x="2017274" y="6018208"/>
                  </a:cubicBezTo>
                  <a:cubicBezTo>
                    <a:pt x="2017274" y="5977930"/>
                    <a:pt x="2047483" y="5947721"/>
                    <a:pt x="2087761" y="5947721"/>
                  </a:cubicBezTo>
                  <a:close/>
                  <a:moveTo>
                    <a:pt x="1698404" y="5934295"/>
                  </a:moveTo>
                  <a:cubicBezTo>
                    <a:pt x="1742039" y="5934295"/>
                    <a:pt x="1778961" y="5971217"/>
                    <a:pt x="1778961" y="6014852"/>
                  </a:cubicBezTo>
                  <a:cubicBezTo>
                    <a:pt x="1778961" y="6058487"/>
                    <a:pt x="1742039" y="6095408"/>
                    <a:pt x="1698404" y="6095408"/>
                  </a:cubicBezTo>
                  <a:cubicBezTo>
                    <a:pt x="1654769" y="6095408"/>
                    <a:pt x="1621204" y="6061843"/>
                    <a:pt x="1617847" y="6014852"/>
                  </a:cubicBezTo>
                  <a:cubicBezTo>
                    <a:pt x="1617847" y="5971217"/>
                    <a:pt x="1654769" y="5934295"/>
                    <a:pt x="1698404" y="5934295"/>
                  </a:cubicBezTo>
                  <a:close/>
                  <a:moveTo>
                    <a:pt x="3725749" y="5924225"/>
                  </a:moveTo>
                  <a:cubicBezTo>
                    <a:pt x="3762670" y="5924225"/>
                    <a:pt x="3789522" y="5954434"/>
                    <a:pt x="3789522" y="5987999"/>
                  </a:cubicBezTo>
                  <a:cubicBezTo>
                    <a:pt x="3789522" y="6024921"/>
                    <a:pt x="3759314" y="6051774"/>
                    <a:pt x="3725749" y="6051774"/>
                  </a:cubicBezTo>
                  <a:cubicBezTo>
                    <a:pt x="3692184" y="6051774"/>
                    <a:pt x="3665331" y="6024921"/>
                    <a:pt x="3661976" y="5987999"/>
                  </a:cubicBezTo>
                  <a:cubicBezTo>
                    <a:pt x="3661976" y="5951077"/>
                    <a:pt x="3692184" y="5924225"/>
                    <a:pt x="3725749" y="5924225"/>
                  </a:cubicBezTo>
                  <a:close/>
                  <a:moveTo>
                    <a:pt x="2490546" y="5920869"/>
                  </a:moveTo>
                  <a:cubicBezTo>
                    <a:pt x="2530824" y="5920869"/>
                    <a:pt x="2564390" y="5954434"/>
                    <a:pt x="2564390" y="5994712"/>
                  </a:cubicBezTo>
                  <a:cubicBezTo>
                    <a:pt x="2564390" y="6034991"/>
                    <a:pt x="2530824" y="6068556"/>
                    <a:pt x="2490546" y="6068556"/>
                  </a:cubicBezTo>
                  <a:cubicBezTo>
                    <a:pt x="2450267" y="6068556"/>
                    <a:pt x="2416702" y="6034991"/>
                    <a:pt x="2416702" y="5994712"/>
                  </a:cubicBezTo>
                  <a:cubicBezTo>
                    <a:pt x="2416702" y="5954434"/>
                    <a:pt x="2450267" y="5920869"/>
                    <a:pt x="2490546" y="5920869"/>
                  </a:cubicBezTo>
                  <a:close/>
                  <a:moveTo>
                    <a:pt x="2906755" y="5877234"/>
                  </a:moveTo>
                  <a:cubicBezTo>
                    <a:pt x="2947034" y="5877234"/>
                    <a:pt x="2980599" y="5910799"/>
                    <a:pt x="2980599" y="5951077"/>
                  </a:cubicBezTo>
                  <a:cubicBezTo>
                    <a:pt x="2980599" y="5991356"/>
                    <a:pt x="2947034" y="6024921"/>
                    <a:pt x="2906755" y="6024921"/>
                  </a:cubicBezTo>
                  <a:cubicBezTo>
                    <a:pt x="2866477" y="6024921"/>
                    <a:pt x="2832911" y="5991356"/>
                    <a:pt x="2832911" y="5951077"/>
                  </a:cubicBezTo>
                  <a:cubicBezTo>
                    <a:pt x="2832911" y="5910799"/>
                    <a:pt x="2866477" y="5877234"/>
                    <a:pt x="2906755" y="5877234"/>
                  </a:cubicBezTo>
                  <a:close/>
                  <a:moveTo>
                    <a:pt x="3531070" y="5867164"/>
                  </a:moveTo>
                  <a:cubicBezTo>
                    <a:pt x="3571348" y="5867164"/>
                    <a:pt x="3601556" y="5897373"/>
                    <a:pt x="3601556" y="5937651"/>
                  </a:cubicBezTo>
                  <a:cubicBezTo>
                    <a:pt x="3601556" y="5977930"/>
                    <a:pt x="3571348" y="6008139"/>
                    <a:pt x="3531070" y="6008139"/>
                  </a:cubicBezTo>
                  <a:cubicBezTo>
                    <a:pt x="3490792" y="6008139"/>
                    <a:pt x="3460584" y="5977930"/>
                    <a:pt x="3460584" y="5937651"/>
                  </a:cubicBezTo>
                  <a:cubicBezTo>
                    <a:pt x="3460584" y="5897373"/>
                    <a:pt x="3490792" y="5867164"/>
                    <a:pt x="3531070" y="5867164"/>
                  </a:cubicBezTo>
                  <a:close/>
                  <a:moveTo>
                    <a:pt x="1923292" y="5826886"/>
                  </a:moveTo>
                  <a:cubicBezTo>
                    <a:pt x="1963571" y="5826886"/>
                    <a:pt x="1997136" y="5860451"/>
                    <a:pt x="1997136" y="5900729"/>
                  </a:cubicBezTo>
                  <a:cubicBezTo>
                    <a:pt x="1997136" y="5941008"/>
                    <a:pt x="1963571" y="5974573"/>
                    <a:pt x="1923292" y="5974573"/>
                  </a:cubicBezTo>
                  <a:cubicBezTo>
                    <a:pt x="1883014" y="5974573"/>
                    <a:pt x="1849448" y="5941008"/>
                    <a:pt x="1849448" y="5900729"/>
                  </a:cubicBezTo>
                  <a:cubicBezTo>
                    <a:pt x="1849448" y="5860451"/>
                    <a:pt x="1883014" y="5826886"/>
                    <a:pt x="1923292" y="5826886"/>
                  </a:cubicBezTo>
                  <a:close/>
                  <a:moveTo>
                    <a:pt x="2316006" y="5823529"/>
                  </a:moveTo>
                  <a:cubicBezTo>
                    <a:pt x="2356284" y="5823529"/>
                    <a:pt x="2386493" y="5853738"/>
                    <a:pt x="2386493" y="5894016"/>
                  </a:cubicBezTo>
                  <a:cubicBezTo>
                    <a:pt x="2386493" y="5934295"/>
                    <a:pt x="2356284" y="5964504"/>
                    <a:pt x="2316006" y="5964504"/>
                  </a:cubicBezTo>
                  <a:cubicBezTo>
                    <a:pt x="2275728" y="5964504"/>
                    <a:pt x="2245518" y="5930938"/>
                    <a:pt x="2245518" y="5894016"/>
                  </a:cubicBezTo>
                  <a:cubicBezTo>
                    <a:pt x="2245518" y="5853738"/>
                    <a:pt x="2275728" y="5823529"/>
                    <a:pt x="2316006" y="5823529"/>
                  </a:cubicBezTo>
                  <a:close/>
                  <a:moveTo>
                    <a:pt x="1540647" y="5823529"/>
                  </a:moveTo>
                  <a:cubicBezTo>
                    <a:pt x="1577569" y="5823529"/>
                    <a:pt x="1607778" y="5853738"/>
                    <a:pt x="1607778" y="5890660"/>
                  </a:cubicBezTo>
                  <a:cubicBezTo>
                    <a:pt x="1607778" y="5927582"/>
                    <a:pt x="1577569" y="5957791"/>
                    <a:pt x="1540647" y="5957791"/>
                  </a:cubicBezTo>
                  <a:cubicBezTo>
                    <a:pt x="1503725" y="5957791"/>
                    <a:pt x="1473516" y="5927582"/>
                    <a:pt x="1473516" y="5890660"/>
                  </a:cubicBezTo>
                  <a:cubicBezTo>
                    <a:pt x="1473516" y="5853738"/>
                    <a:pt x="1503725" y="5823529"/>
                    <a:pt x="1540647" y="5823529"/>
                  </a:cubicBezTo>
                  <a:close/>
                  <a:moveTo>
                    <a:pt x="3336391" y="5810103"/>
                  </a:moveTo>
                  <a:cubicBezTo>
                    <a:pt x="3373312" y="5810103"/>
                    <a:pt x="3403522" y="5840312"/>
                    <a:pt x="3403522" y="5877234"/>
                  </a:cubicBezTo>
                  <a:cubicBezTo>
                    <a:pt x="3403522" y="5914156"/>
                    <a:pt x="3373312" y="5944364"/>
                    <a:pt x="3336391" y="5944364"/>
                  </a:cubicBezTo>
                  <a:cubicBezTo>
                    <a:pt x="3299470" y="5944364"/>
                    <a:pt x="3269260" y="5914156"/>
                    <a:pt x="3269260" y="5877234"/>
                  </a:cubicBezTo>
                  <a:cubicBezTo>
                    <a:pt x="3269260" y="5840312"/>
                    <a:pt x="3299470" y="5810103"/>
                    <a:pt x="3336391" y="5810103"/>
                  </a:cubicBezTo>
                  <a:close/>
                  <a:moveTo>
                    <a:pt x="1171429" y="5796677"/>
                  </a:moveTo>
                  <a:cubicBezTo>
                    <a:pt x="1208351" y="5796677"/>
                    <a:pt x="1238560" y="5826886"/>
                    <a:pt x="1238560" y="5863807"/>
                  </a:cubicBezTo>
                  <a:cubicBezTo>
                    <a:pt x="1238560" y="5900729"/>
                    <a:pt x="1208351" y="5930938"/>
                    <a:pt x="1171429" y="5930938"/>
                  </a:cubicBezTo>
                  <a:cubicBezTo>
                    <a:pt x="1134507" y="5930938"/>
                    <a:pt x="1104298" y="5900729"/>
                    <a:pt x="1104298" y="5863807"/>
                  </a:cubicBezTo>
                  <a:cubicBezTo>
                    <a:pt x="1104298" y="5826886"/>
                    <a:pt x="1134507" y="5796677"/>
                    <a:pt x="1171429" y="5796677"/>
                  </a:cubicBezTo>
                  <a:close/>
                  <a:moveTo>
                    <a:pt x="2725502" y="5793320"/>
                  </a:moveTo>
                  <a:cubicBezTo>
                    <a:pt x="2765781" y="5793320"/>
                    <a:pt x="2795990" y="5826886"/>
                    <a:pt x="2795990" y="5863807"/>
                  </a:cubicBezTo>
                  <a:cubicBezTo>
                    <a:pt x="2795990" y="5904085"/>
                    <a:pt x="2762424" y="5934295"/>
                    <a:pt x="2725502" y="5934295"/>
                  </a:cubicBezTo>
                  <a:cubicBezTo>
                    <a:pt x="2685224" y="5934295"/>
                    <a:pt x="2655015" y="5900729"/>
                    <a:pt x="2655015" y="5863807"/>
                  </a:cubicBezTo>
                  <a:cubicBezTo>
                    <a:pt x="2655015" y="5823529"/>
                    <a:pt x="2688580" y="5793320"/>
                    <a:pt x="2725502" y="5793320"/>
                  </a:cubicBezTo>
                  <a:close/>
                  <a:moveTo>
                    <a:pt x="3977488" y="5746329"/>
                  </a:moveTo>
                  <a:cubicBezTo>
                    <a:pt x="3985880" y="5746329"/>
                    <a:pt x="3993852" y="5748007"/>
                    <a:pt x="4001089" y="5751049"/>
                  </a:cubicBezTo>
                  <a:lnTo>
                    <a:pt x="4016827" y="5761627"/>
                  </a:lnTo>
                  <a:lnTo>
                    <a:pt x="4016827" y="5851866"/>
                  </a:lnTo>
                  <a:lnTo>
                    <a:pt x="4001089" y="5862444"/>
                  </a:lnTo>
                  <a:cubicBezTo>
                    <a:pt x="3993852" y="5865486"/>
                    <a:pt x="3985880" y="5867164"/>
                    <a:pt x="3977488" y="5867164"/>
                  </a:cubicBezTo>
                  <a:cubicBezTo>
                    <a:pt x="3943923" y="5867164"/>
                    <a:pt x="3917070" y="5840312"/>
                    <a:pt x="3917070" y="5806746"/>
                  </a:cubicBezTo>
                  <a:cubicBezTo>
                    <a:pt x="3917070" y="5773181"/>
                    <a:pt x="3943923" y="5746329"/>
                    <a:pt x="3977488" y="5746329"/>
                  </a:cubicBezTo>
                  <a:close/>
                  <a:moveTo>
                    <a:pt x="3145069" y="5742972"/>
                  </a:moveTo>
                  <a:cubicBezTo>
                    <a:pt x="3178634" y="5742972"/>
                    <a:pt x="3208844" y="5773181"/>
                    <a:pt x="3208844" y="5806746"/>
                  </a:cubicBezTo>
                  <a:cubicBezTo>
                    <a:pt x="3208844" y="5840312"/>
                    <a:pt x="3181992" y="5870519"/>
                    <a:pt x="3145069" y="5870519"/>
                  </a:cubicBezTo>
                  <a:cubicBezTo>
                    <a:pt x="3111504" y="5870519"/>
                    <a:pt x="3081295" y="5840312"/>
                    <a:pt x="3081295" y="5806746"/>
                  </a:cubicBezTo>
                  <a:cubicBezTo>
                    <a:pt x="3081295" y="5773181"/>
                    <a:pt x="3108147" y="5742972"/>
                    <a:pt x="3145069" y="5742972"/>
                  </a:cubicBezTo>
                  <a:close/>
                  <a:moveTo>
                    <a:pt x="3776096" y="5716120"/>
                  </a:moveTo>
                  <a:cubicBezTo>
                    <a:pt x="3806306" y="5716120"/>
                    <a:pt x="3829800" y="5739616"/>
                    <a:pt x="3829800" y="5769824"/>
                  </a:cubicBezTo>
                  <a:cubicBezTo>
                    <a:pt x="3829800" y="5800033"/>
                    <a:pt x="3806306" y="5823529"/>
                    <a:pt x="3776096" y="5823529"/>
                  </a:cubicBezTo>
                  <a:cubicBezTo>
                    <a:pt x="3745888" y="5823529"/>
                    <a:pt x="3722391" y="5800033"/>
                    <a:pt x="3722391" y="5769824"/>
                  </a:cubicBezTo>
                  <a:cubicBezTo>
                    <a:pt x="3722391" y="5739616"/>
                    <a:pt x="3745888" y="5716120"/>
                    <a:pt x="3776096" y="5716120"/>
                  </a:cubicBezTo>
                  <a:close/>
                  <a:moveTo>
                    <a:pt x="2144822" y="5706050"/>
                  </a:moveTo>
                  <a:cubicBezTo>
                    <a:pt x="2185101" y="5706050"/>
                    <a:pt x="2218666" y="5739616"/>
                    <a:pt x="2218666" y="5779894"/>
                  </a:cubicBezTo>
                  <a:cubicBezTo>
                    <a:pt x="2218666" y="5820173"/>
                    <a:pt x="2185101" y="5853738"/>
                    <a:pt x="2144822" y="5853738"/>
                  </a:cubicBezTo>
                  <a:cubicBezTo>
                    <a:pt x="2104544" y="5853738"/>
                    <a:pt x="2074335" y="5823529"/>
                    <a:pt x="2070979" y="5779894"/>
                  </a:cubicBezTo>
                  <a:cubicBezTo>
                    <a:pt x="2070979" y="5739616"/>
                    <a:pt x="2104544" y="5706050"/>
                    <a:pt x="2144822" y="5706050"/>
                  </a:cubicBezTo>
                  <a:close/>
                  <a:moveTo>
                    <a:pt x="1758822" y="5706050"/>
                  </a:moveTo>
                  <a:cubicBezTo>
                    <a:pt x="1799100" y="5706050"/>
                    <a:pt x="1832666" y="5739616"/>
                    <a:pt x="1832666" y="5779894"/>
                  </a:cubicBezTo>
                  <a:cubicBezTo>
                    <a:pt x="1832666" y="5820173"/>
                    <a:pt x="1799100" y="5853738"/>
                    <a:pt x="1758822" y="5853738"/>
                  </a:cubicBezTo>
                  <a:cubicBezTo>
                    <a:pt x="1718543" y="5853738"/>
                    <a:pt x="1684978" y="5820173"/>
                    <a:pt x="1684978" y="5779894"/>
                  </a:cubicBezTo>
                  <a:cubicBezTo>
                    <a:pt x="1684978" y="5739616"/>
                    <a:pt x="1718543" y="5706050"/>
                    <a:pt x="1758822" y="5706050"/>
                  </a:cubicBezTo>
                  <a:close/>
                  <a:moveTo>
                    <a:pt x="1027098" y="5706050"/>
                  </a:moveTo>
                  <a:cubicBezTo>
                    <a:pt x="1037168" y="5706050"/>
                    <a:pt x="1043881" y="5712763"/>
                    <a:pt x="1043881" y="5722833"/>
                  </a:cubicBezTo>
                  <a:cubicBezTo>
                    <a:pt x="1043881" y="5732903"/>
                    <a:pt x="1037168" y="5739616"/>
                    <a:pt x="1027098" y="5739616"/>
                  </a:cubicBezTo>
                  <a:cubicBezTo>
                    <a:pt x="1017028" y="5739616"/>
                    <a:pt x="1006959" y="5732903"/>
                    <a:pt x="1010315" y="5722833"/>
                  </a:cubicBezTo>
                  <a:cubicBezTo>
                    <a:pt x="1010315" y="5712763"/>
                    <a:pt x="1017028" y="5706050"/>
                    <a:pt x="1027098" y="5706050"/>
                  </a:cubicBezTo>
                  <a:close/>
                  <a:moveTo>
                    <a:pt x="2544250" y="5692624"/>
                  </a:moveTo>
                  <a:cubicBezTo>
                    <a:pt x="2584529" y="5692624"/>
                    <a:pt x="2618094" y="5726189"/>
                    <a:pt x="2618094" y="5766468"/>
                  </a:cubicBezTo>
                  <a:cubicBezTo>
                    <a:pt x="2618094" y="5806746"/>
                    <a:pt x="2584529" y="5840312"/>
                    <a:pt x="2544250" y="5840312"/>
                  </a:cubicBezTo>
                  <a:cubicBezTo>
                    <a:pt x="2503972" y="5840312"/>
                    <a:pt x="2473763" y="5806746"/>
                    <a:pt x="2470406" y="5766468"/>
                  </a:cubicBezTo>
                  <a:cubicBezTo>
                    <a:pt x="2470406" y="5726189"/>
                    <a:pt x="2503972" y="5692624"/>
                    <a:pt x="2544250" y="5692624"/>
                  </a:cubicBezTo>
                  <a:close/>
                  <a:moveTo>
                    <a:pt x="1386247" y="5682555"/>
                  </a:moveTo>
                  <a:cubicBezTo>
                    <a:pt x="1426526" y="5682555"/>
                    <a:pt x="1460091" y="5716120"/>
                    <a:pt x="1460091" y="5756398"/>
                  </a:cubicBezTo>
                  <a:cubicBezTo>
                    <a:pt x="1460091" y="5796677"/>
                    <a:pt x="1426526" y="5830242"/>
                    <a:pt x="1386247" y="5830242"/>
                  </a:cubicBezTo>
                  <a:cubicBezTo>
                    <a:pt x="1345969" y="5830242"/>
                    <a:pt x="1312404" y="5796677"/>
                    <a:pt x="1312404" y="5756398"/>
                  </a:cubicBezTo>
                  <a:cubicBezTo>
                    <a:pt x="1312404" y="5716120"/>
                    <a:pt x="1345969" y="5682555"/>
                    <a:pt x="1386247" y="5682555"/>
                  </a:cubicBezTo>
                  <a:close/>
                  <a:moveTo>
                    <a:pt x="2960460" y="5662415"/>
                  </a:moveTo>
                  <a:cubicBezTo>
                    <a:pt x="2994025" y="5662415"/>
                    <a:pt x="3024234" y="5689268"/>
                    <a:pt x="3024234" y="5726189"/>
                  </a:cubicBezTo>
                  <a:cubicBezTo>
                    <a:pt x="3024234" y="5759755"/>
                    <a:pt x="2997382" y="5789964"/>
                    <a:pt x="2960460" y="5789964"/>
                  </a:cubicBezTo>
                  <a:cubicBezTo>
                    <a:pt x="2923538" y="5789964"/>
                    <a:pt x="2896686" y="5763111"/>
                    <a:pt x="2896686" y="5726189"/>
                  </a:cubicBezTo>
                  <a:cubicBezTo>
                    <a:pt x="2896686" y="5692624"/>
                    <a:pt x="2923538" y="5662415"/>
                    <a:pt x="2960460" y="5662415"/>
                  </a:cubicBezTo>
                  <a:close/>
                  <a:moveTo>
                    <a:pt x="3581419" y="5659059"/>
                  </a:moveTo>
                  <a:cubicBezTo>
                    <a:pt x="3611627" y="5659059"/>
                    <a:pt x="3638479" y="5685911"/>
                    <a:pt x="3638479" y="5716120"/>
                  </a:cubicBezTo>
                  <a:cubicBezTo>
                    <a:pt x="3638479" y="5746329"/>
                    <a:pt x="3611627" y="5773181"/>
                    <a:pt x="3581419" y="5773181"/>
                  </a:cubicBezTo>
                  <a:cubicBezTo>
                    <a:pt x="3547852" y="5773181"/>
                    <a:pt x="3524357" y="5749685"/>
                    <a:pt x="3524357" y="5716120"/>
                  </a:cubicBezTo>
                  <a:cubicBezTo>
                    <a:pt x="3524357" y="5685911"/>
                    <a:pt x="3551209" y="5659059"/>
                    <a:pt x="3581419" y="5659059"/>
                  </a:cubicBezTo>
                  <a:close/>
                  <a:moveTo>
                    <a:pt x="3386738" y="5605354"/>
                  </a:moveTo>
                  <a:cubicBezTo>
                    <a:pt x="3416948" y="5605354"/>
                    <a:pt x="3440442" y="5628850"/>
                    <a:pt x="3440442" y="5659059"/>
                  </a:cubicBezTo>
                  <a:cubicBezTo>
                    <a:pt x="3440442" y="5689268"/>
                    <a:pt x="3416948" y="5712763"/>
                    <a:pt x="3386738" y="5712763"/>
                  </a:cubicBezTo>
                  <a:cubicBezTo>
                    <a:pt x="3356530" y="5712763"/>
                    <a:pt x="3333033" y="5685911"/>
                    <a:pt x="3333033" y="5659059"/>
                  </a:cubicBezTo>
                  <a:cubicBezTo>
                    <a:pt x="3333033" y="5628850"/>
                    <a:pt x="3356530" y="5605354"/>
                    <a:pt x="3386738" y="5605354"/>
                  </a:cubicBezTo>
                  <a:close/>
                  <a:moveTo>
                    <a:pt x="2373067" y="5588572"/>
                  </a:moveTo>
                  <a:cubicBezTo>
                    <a:pt x="2413346" y="5588572"/>
                    <a:pt x="2446911" y="5622137"/>
                    <a:pt x="2446911" y="5662415"/>
                  </a:cubicBezTo>
                  <a:cubicBezTo>
                    <a:pt x="2446911" y="5702694"/>
                    <a:pt x="2413346" y="5736259"/>
                    <a:pt x="2373067" y="5736259"/>
                  </a:cubicBezTo>
                  <a:cubicBezTo>
                    <a:pt x="2332788" y="5736259"/>
                    <a:pt x="2299223" y="5702694"/>
                    <a:pt x="2299223" y="5662415"/>
                  </a:cubicBezTo>
                  <a:cubicBezTo>
                    <a:pt x="2299223" y="5622137"/>
                    <a:pt x="2332788" y="5588572"/>
                    <a:pt x="2373067" y="5588572"/>
                  </a:cubicBezTo>
                  <a:close/>
                  <a:moveTo>
                    <a:pt x="1980353" y="5588572"/>
                  </a:moveTo>
                  <a:cubicBezTo>
                    <a:pt x="2020632" y="5588572"/>
                    <a:pt x="2054197" y="5622137"/>
                    <a:pt x="2054197" y="5662415"/>
                  </a:cubicBezTo>
                  <a:cubicBezTo>
                    <a:pt x="2054197" y="5702694"/>
                    <a:pt x="2020632" y="5736259"/>
                    <a:pt x="1980353" y="5736259"/>
                  </a:cubicBezTo>
                  <a:cubicBezTo>
                    <a:pt x="1940075" y="5736259"/>
                    <a:pt x="1909866" y="5702694"/>
                    <a:pt x="1906510" y="5662415"/>
                  </a:cubicBezTo>
                  <a:cubicBezTo>
                    <a:pt x="1906510" y="5622137"/>
                    <a:pt x="1940075" y="5588572"/>
                    <a:pt x="1980353" y="5588572"/>
                  </a:cubicBezTo>
                  <a:close/>
                  <a:moveTo>
                    <a:pt x="1604421" y="5575146"/>
                  </a:moveTo>
                  <a:cubicBezTo>
                    <a:pt x="1644700" y="5575146"/>
                    <a:pt x="1678265" y="5608712"/>
                    <a:pt x="1678265" y="5648990"/>
                  </a:cubicBezTo>
                  <a:cubicBezTo>
                    <a:pt x="1678265" y="5689269"/>
                    <a:pt x="1644700" y="5722834"/>
                    <a:pt x="1604421" y="5722834"/>
                  </a:cubicBezTo>
                  <a:cubicBezTo>
                    <a:pt x="1564143" y="5722834"/>
                    <a:pt x="1530577" y="5689269"/>
                    <a:pt x="1530577" y="5648990"/>
                  </a:cubicBezTo>
                  <a:cubicBezTo>
                    <a:pt x="1530577" y="5608712"/>
                    <a:pt x="1564143" y="5575146"/>
                    <a:pt x="1604421" y="5575146"/>
                  </a:cubicBezTo>
                  <a:close/>
                  <a:moveTo>
                    <a:pt x="2775850" y="5571789"/>
                  </a:moveTo>
                  <a:cubicBezTo>
                    <a:pt x="2812772" y="5571789"/>
                    <a:pt x="2839624" y="5601998"/>
                    <a:pt x="2839624" y="5635563"/>
                  </a:cubicBezTo>
                  <a:cubicBezTo>
                    <a:pt x="2839624" y="5672485"/>
                    <a:pt x="2809416" y="5699337"/>
                    <a:pt x="2775850" y="5699337"/>
                  </a:cubicBezTo>
                  <a:cubicBezTo>
                    <a:pt x="2742285" y="5699337"/>
                    <a:pt x="2715432" y="5672485"/>
                    <a:pt x="2712076" y="5635563"/>
                  </a:cubicBezTo>
                  <a:cubicBezTo>
                    <a:pt x="2712076" y="5598641"/>
                    <a:pt x="2742285" y="5571789"/>
                    <a:pt x="2775850" y="5571789"/>
                  </a:cubicBezTo>
                  <a:close/>
                  <a:moveTo>
                    <a:pt x="886123" y="5568432"/>
                  </a:moveTo>
                  <a:cubicBezTo>
                    <a:pt x="889480" y="5568432"/>
                    <a:pt x="892837" y="5571789"/>
                    <a:pt x="892837" y="5575145"/>
                  </a:cubicBezTo>
                  <a:cubicBezTo>
                    <a:pt x="892837" y="5578502"/>
                    <a:pt x="889480" y="5581858"/>
                    <a:pt x="886123" y="5581858"/>
                  </a:cubicBezTo>
                  <a:cubicBezTo>
                    <a:pt x="882767" y="5581858"/>
                    <a:pt x="879410" y="5578502"/>
                    <a:pt x="879410" y="5575145"/>
                  </a:cubicBezTo>
                  <a:cubicBezTo>
                    <a:pt x="879410" y="5571789"/>
                    <a:pt x="882767" y="5568432"/>
                    <a:pt x="886123" y="5568432"/>
                  </a:cubicBezTo>
                  <a:close/>
                  <a:moveTo>
                    <a:pt x="4016827" y="5546256"/>
                  </a:moveTo>
                  <a:lnTo>
                    <a:pt x="4016827" y="5624629"/>
                  </a:lnTo>
                  <a:lnTo>
                    <a:pt x="3997208" y="5617103"/>
                  </a:lnTo>
                  <a:cubicBezTo>
                    <a:pt x="3989236" y="5609551"/>
                    <a:pt x="3984201" y="5598642"/>
                    <a:pt x="3984201" y="5585216"/>
                  </a:cubicBezTo>
                  <a:cubicBezTo>
                    <a:pt x="3984201" y="5573468"/>
                    <a:pt x="3989236" y="5562560"/>
                    <a:pt x="3997208" y="5554588"/>
                  </a:cubicBezTo>
                  <a:close/>
                  <a:moveTo>
                    <a:pt x="1238560" y="5538223"/>
                  </a:moveTo>
                  <a:cubicBezTo>
                    <a:pt x="1282195" y="5538223"/>
                    <a:pt x="1315760" y="5571789"/>
                    <a:pt x="1315760" y="5615424"/>
                  </a:cubicBezTo>
                  <a:cubicBezTo>
                    <a:pt x="1315760" y="5659059"/>
                    <a:pt x="1282195" y="5692624"/>
                    <a:pt x="1238560" y="5692624"/>
                  </a:cubicBezTo>
                  <a:cubicBezTo>
                    <a:pt x="1198281" y="5692624"/>
                    <a:pt x="1161360" y="5659059"/>
                    <a:pt x="1161360" y="5615424"/>
                  </a:cubicBezTo>
                  <a:cubicBezTo>
                    <a:pt x="1161360" y="5571789"/>
                    <a:pt x="1194925" y="5538223"/>
                    <a:pt x="1238560" y="5538223"/>
                  </a:cubicBezTo>
                  <a:close/>
                  <a:moveTo>
                    <a:pt x="3195416" y="5531511"/>
                  </a:moveTo>
                  <a:cubicBezTo>
                    <a:pt x="3225624" y="5531511"/>
                    <a:pt x="3249121" y="5555007"/>
                    <a:pt x="3249121" y="5585216"/>
                  </a:cubicBezTo>
                  <a:cubicBezTo>
                    <a:pt x="3249121" y="5615425"/>
                    <a:pt x="3225624" y="5638921"/>
                    <a:pt x="3195416" y="5638921"/>
                  </a:cubicBezTo>
                  <a:cubicBezTo>
                    <a:pt x="3165208" y="5638921"/>
                    <a:pt x="3141712" y="5615425"/>
                    <a:pt x="3141712" y="5585216"/>
                  </a:cubicBezTo>
                  <a:cubicBezTo>
                    <a:pt x="3141712" y="5555007"/>
                    <a:pt x="3165208" y="5531511"/>
                    <a:pt x="3195416" y="5531511"/>
                  </a:cubicBezTo>
                  <a:close/>
                  <a:moveTo>
                    <a:pt x="3826443" y="5501302"/>
                  </a:moveTo>
                  <a:cubicBezTo>
                    <a:pt x="3853295" y="5501302"/>
                    <a:pt x="3873436" y="5521441"/>
                    <a:pt x="3873436" y="5548293"/>
                  </a:cubicBezTo>
                  <a:cubicBezTo>
                    <a:pt x="3873436" y="5575145"/>
                    <a:pt x="3853295" y="5595285"/>
                    <a:pt x="3826443" y="5595285"/>
                  </a:cubicBezTo>
                  <a:cubicBezTo>
                    <a:pt x="3802948" y="5595285"/>
                    <a:pt x="3779454" y="5575145"/>
                    <a:pt x="3779454" y="5548293"/>
                  </a:cubicBezTo>
                  <a:cubicBezTo>
                    <a:pt x="3779454" y="5521441"/>
                    <a:pt x="3799591" y="5501302"/>
                    <a:pt x="3826443" y="5501302"/>
                  </a:cubicBezTo>
                  <a:close/>
                  <a:moveTo>
                    <a:pt x="2205240" y="5474450"/>
                  </a:moveTo>
                  <a:cubicBezTo>
                    <a:pt x="2245518" y="5474450"/>
                    <a:pt x="2275728" y="5508016"/>
                    <a:pt x="2275728" y="5544938"/>
                  </a:cubicBezTo>
                  <a:cubicBezTo>
                    <a:pt x="2275728" y="5585215"/>
                    <a:pt x="2242162" y="5615425"/>
                    <a:pt x="2205240" y="5615425"/>
                  </a:cubicBezTo>
                  <a:cubicBezTo>
                    <a:pt x="2164962" y="5615425"/>
                    <a:pt x="2134753" y="5585215"/>
                    <a:pt x="2134753" y="5544938"/>
                  </a:cubicBezTo>
                  <a:cubicBezTo>
                    <a:pt x="2134753" y="5504659"/>
                    <a:pt x="2168318" y="5474450"/>
                    <a:pt x="2205240" y="5474450"/>
                  </a:cubicBezTo>
                  <a:close/>
                  <a:moveTo>
                    <a:pt x="1822596" y="5467736"/>
                  </a:moveTo>
                  <a:cubicBezTo>
                    <a:pt x="1859518" y="5467736"/>
                    <a:pt x="1893083" y="5497945"/>
                    <a:pt x="1893083" y="5538223"/>
                  </a:cubicBezTo>
                  <a:cubicBezTo>
                    <a:pt x="1893083" y="5575145"/>
                    <a:pt x="1862874" y="5608711"/>
                    <a:pt x="1822596" y="5608711"/>
                  </a:cubicBezTo>
                  <a:cubicBezTo>
                    <a:pt x="1782318" y="5608711"/>
                    <a:pt x="1752109" y="5575145"/>
                    <a:pt x="1752109" y="5538223"/>
                  </a:cubicBezTo>
                  <a:cubicBezTo>
                    <a:pt x="1752109" y="5501302"/>
                    <a:pt x="1782318" y="5467736"/>
                    <a:pt x="1822596" y="5467736"/>
                  </a:cubicBezTo>
                  <a:close/>
                  <a:moveTo>
                    <a:pt x="2601312" y="5461023"/>
                  </a:moveTo>
                  <a:cubicBezTo>
                    <a:pt x="2641590" y="5461023"/>
                    <a:pt x="2675155" y="5494588"/>
                    <a:pt x="2675155" y="5534867"/>
                  </a:cubicBezTo>
                  <a:cubicBezTo>
                    <a:pt x="2675155" y="5575145"/>
                    <a:pt x="2641590" y="5608711"/>
                    <a:pt x="2601312" y="5608711"/>
                  </a:cubicBezTo>
                  <a:cubicBezTo>
                    <a:pt x="2561033" y="5608711"/>
                    <a:pt x="2527468" y="5575145"/>
                    <a:pt x="2527468" y="5534867"/>
                  </a:cubicBezTo>
                  <a:cubicBezTo>
                    <a:pt x="2527468" y="5494588"/>
                    <a:pt x="2561033" y="5461023"/>
                    <a:pt x="2601312" y="5461023"/>
                  </a:cubicBezTo>
                  <a:close/>
                  <a:moveTo>
                    <a:pt x="3631766" y="5450954"/>
                  </a:moveTo>
                  <a:cubicBezTo>
                    <a:pt x="3658618" y="5450954"/>
                    <a:pt x="3678758" y="5471093"/>
                    <a:pt x="3678758" y="5497945"/>
                  </a:cubicBezTo>
                  <a:cubicBezTo>
                    <a:pt x="3678758" y="5524797"/>
                    <a:pt x="3658618" y="5544937"/>
                    <a:pt x="3631766" y="5544937"/>
                  </a:cubicBezTo>
                  <a:cubicBezTo>
                    <a:pt x="3604914" y="5544937"/>
                    <a:pt x="3584774" y="5521441"/>
                    <a:pt x="3584774" y="5497945"/>
                  </a:cubicBezTo>
                  <a:cubicBezTo>
                    <a:pt x="3584774" y="5471093"/>
                    <a:pt x="3604914" y="5450954"/>
                    <a:pt x="3631766" y="5450954"/>
                  </a:cubicBezTo>
                  <a:close/>
                  <a:moveTo>
                    <a:pt x="3010808" y="5437528"/>
                  </a:moveTo>
                  <a:cubicBezTo>
                    <a:pt x="3044373" y="5437528"/>
                    <a:pt x="3071226" y="5464381"/>
                    <a:pt x="3071226" y="5497946"/>
                  </a:cubicBezTo>
                  <a:cubicBezTo>
                    <a:pt x="3071226" y="5531511"/>
                    <a:pt x="3044373" y="5558364"/>
                    <a:pt x="3010808" y="5558364"/>
                  </a:cubicBezTo>
                  <a:cubicBezTo>
                    <a:pt x="2980599" y="5558364"/>
                    <a:pt x="2953747" y="5534868"/>
                    <a:pt x="2950390" y="5497946"/>
                  </a:cubicBezTo>
                  <a:cubicBezTo>
                    <a:pt x="2950390" y="5464381"/>
                    <a:pt x="2977242" y="5437528"/>
                    <a:pt x="3010808" y="5437528"/>
                  </a:cubicBezTo>
                  <a:close/>
                  <a:moveTo>
                    <a:pt x="1453378" y="5434171"/>
                  </a:moveTo>
                  <a:cubicBezTo>
                    <a:pt x="1497013" y="5434171"/>
                    <a:pt x="1530578" y="5467736"/>
                    <a:pt x="1530578" y="5511371"/>
                  </a:cubicBezTo>
                  <a:cubicBezTo>
                    <a:pt x="1530578" y="5555006"/>
                    <a:pt x="1497013" y="5588572"/>
                    <a:pt x="1453378" y="5588572"/>
                  </a:cubicBezTo>
                  <a:cubicBezTo>
                    <a:pt x="1413100" y="5588572"/>
                    <a:pt x="1376178" y="5551650"/>
                    <a:pt x="1376178" y="5511371"/>
                  </a:cubicBezTo>
                  <a:cubicBezTo>
                    <a:pt x="1376178" y="5467736"/>
                    <a:pt x="1409743" y="5434171"/>
                    <a:pt x="1453378" y="5434171"/>
                  </a:cubicBezTo>
                  <a:close/>
                  <a:moveTo>
                    <a:pt x="1097585" y="5410676"/>
                  </a:moveTo>
                  <a:cubicBezTo>
                    <a:pt x="1131151" y="5410676"/>
                    <a:pt x="1158003" y="5437528"/>
                    <a:pt x="1158003" y="5471094"/>
                  </a:cubicBezTo>
                  <a:cubicBezTo>
                    <a:pt x="1158003" y="5504659"/>
                    <a:pt x="1131151" y="5531511"/>
                    <a:pt x="1097585" y="5531511"/>
                  </a:cubicBezTo>
                  <a:cubicBezTo>
                    <a:pt x="1064020" y="5531511"/>
                    <a:pt x="1040524" y="5504659"/>
                    <a:pt x="1037168" y="5471094"/>
                  </a:cubicBezTo>
                  <a:cubicBezTo>
                    <a:pt x="1037168" y="5437528"/>
                    <a:pt x="1064020" y="5410676"/>
                    <a:pt x="1097585" y="5410676"/>
                  </a:cubicBezTo>
                  <a:close/>
                  <a:moveTo>
                    <a:pt x="751863" y="5393893"/>
                  </a:moveTo>
                  <a:cubicBezTo>
                    <a:pt x="765289" y="5393893"/>
                    <a:pt x="778715" y="5407320"/>
                    <a:pt x="778715" y="5420746"/>
                  </a:cubicBezTo>
                  <a:cubicBezTo>
                    <a:pt x="778715" y="5434172"/>
                    <a:pt x="765289" y="5447598"/>
                    <a:pt x="751863" y="5447598"/>
                  </a:cubicBezTo>
                  <a:cubicBezTo>
                    <a:pt x="738437" y="5447598"/>
                    <a:pt x="728367" y="5437528"/>
                    <a:pt x="725011" y="5420746"/>
                  </a:cubicBezTo>
                  <a:cubicBezTo>
                    <a:pt x="725011" y="5407320"/>
                    <a:pt x="738437" y="5393893"/>
                    <a:pt x="751863" y="5393893"/>
                  </a:cubicBezTo>
                  <a:close/>
                  <a:moveTo>
                    <a:pt x="3437087" y="5380467"/>
                  </a:moveTo>
                  <a:cubicBezTo>
                    <a:pt x="3467294" y="5380467"/>
                    <a:pt x="3490792" y="5403963"/>
                    <a:pt x="3490792" y="5434172"/>
                  </a:cubicBezTo>
                  <a:cubicBezTo>
                    <a:pt x="3490792" y="5464381"/>
                    <a:pt x="3467294" y="5487876"/>
                    <a:pt x="3437087" y="5487876"/>
                  </a:cubicBezTo>
                  <a:cubicBezTo>
                    <a:pt x="3406879" y="5487876"/>
                    <a:pt x="3383382" y="5464381"/>
                    <a:pt x="3383382" y="5434172"/>
                  </a:cubicBezTo>
                  <a:cubicBezTo>
                    <a:pt x="3383382" y="5403963"/>
                    <a:pt x="3406879" y="5380467"/>
                    <a:pt x="3437087" y="5380467"/>
                  </a:cubicBezTo>
                  <a:close/>
                  <a:moveTo>
                    <a:pt x="2430128" y="5360328"/>
                  </a:moveTo>
                  <a:cubicBezTo>
                    <a:pt x="2467050" y="5360328"/>
                    <a:pt x="2497259" y="5390537"/>
                    <a:pt x="2497259" y="5427459"/>
                  </a:cubicBezTo>
                  <a:cubicBezTo>
                    <a:pt x="2497259" y="5464381"/>
                    <a:pt x="2467050" y="5494590"/>
                    <a:pt x="2430128" y="5494590"/>
                  </a:cubicBezTo>
                  <a:cubicBezTo>
                    <a:pt x="2393206" y="5494590"/>
                    <a:pt x="2362997" y="5464381"/>
                    <a:pt x="2362997" y="5427459"/>
                  </a:cubicBezTo>
                  <a:cubicBezTo>
                    <a:pt x="2362997" y="5390537"/>
                    <a:pt x="2393206" y="5360328"/>
                    <a:pt x="2430128" y="5360328"/>
                  </a:cubicBezTo>
                  <a:close/>
                  <a:moveTo>
                    <a:pt x="2040771" y="5356972"/>
                  </a:moveTo>
                  <a:cubicBezTo>
                    <a:pt x="2077693" y="5356972"/>
                    <a:pt x="2107902" y="5387180"/>
                    <a:pt x="2107902" y="5424102"/>
                  </a:cubicBezTo>
                  <a:cubicBezTo>
                    <a:pt x="2107902" y="5461024"/>
                    <a:pt x="2077693" y="5491233"/>
                    <a:pt x="2040771" y="5491233"/>
                  </a:cubicBezTo>
                  <a:cubicBezTo>
                    <a:pt x="2003849" y="5491233"/>
                    <a:pt x="1973640" y="5461024"/>
                    <a:pt x="1973640" y="5424102"/>
                  </a:cubicBezTo>
                  <a:cubicBezTo>
                    <a:pt x="1973640" y="5387180"/>
                    <a:pt x="2003849" y="5356972"/>
                    <a:pt x="2040771" y="5356972"/>
                  </a:cubicBezTo>
                  <a:close/>
                  <a:moveTo>
                    <a:pt x="2829555" y="5346902"/>
                  </a:moveTo>
                  <a:cubicBezTo>
                    <a:pt x="2859764" y="5346902"/>
                    <a:pt x="2886616" y="5373754"/>
                    <a:pt x="2886616" y="5407320"/>
                  </a:cubicBezTo>
                  <a:cubicBezTo>
                    <a:pt x="2886616" y="5440885"/>
                    <a:pt x="2863120" y="5467737"/>
                    <a:pt x="2829555" y="5467737"/>
                  </a:cubicBezTo>
                  <a:cubicBezTo>
                    <a:pt x="2799346" y="5467737"/>
                    <a:pt x="2772494" y="5440885"/>
                    <a:pt x="2769137" y="5407320"/>
                  </a:cubicBezTo>
                  <a:cubicBezTo>
                    <a:pt x="2769137" y="5373754"/>
                    <a:pt x="2795990" y="5346902"/>
                    <a:pt x="2829555" y="5346902"/>
                  </a:cubicBezTo>
                  <a:close/>
                  <a:moveTo>
                    <a:pt x="1668195" y="5333476"/>
                  </a:moveTo>
                  <a:cubicBezTo>
                    <a:pt x="1708474" y="5333476"/>
                    <a:pt x="1738683" y="5363685"/>
                    <a:pt x="1738683" y="5403963"/>
                  </a:cubicBezTo>
                  <a:cubicBezTo>
                    <a:pt x="1738683" y="5444242"/>
                    <a:pt x="1708474" y="5474450"/>
                    <a:pt x="1668195" y="5474450"/>
                  </a:cubicBezTo>
                  <a:cubicBezTo>
                    <a:pt x="1631274" y="5474450"/>
                    <a:pt x="1597708" y="5440885"/>
                    <a:pt x="1597708" y="5403963"/>
                  </a:cubicBezTo>
                  <a:cubicBezTo>
                    <a:pt x="1597708" y="5363685"/>
                    <a:pt x="1627917" y="5333476"/>
                    <a:pt x="1668195" y="5333476"/>
                  </a:cubicBezTo>
                  <a:close/>
                  <a:moveTo>
                    <a:pt x="3249123" y="5309980"/>
                  </a:moveTo>
                  <a:cubicBezTo>
                    <a:pt x="3275975" y="5309980"/>
                    <a:pt x="3299470" y="5333476"/>
                    <a:pt x="3299470" y="5360328"/>
                  </a:cubicBezTo>
                  <a:cubicBezTo>
                    <a:pt x="3299470" y="5387180"/>
                    <a:pt x="3275975" y="5410676"/>
                    <a:pt x="3249123" y="5410676"/>
                  </a:cubicBezTo>
                  <a:cubicBezTo>
                    <a:pt x="3218913" y="5410676"/>
                    <a:pt x="3198774" y="5387180"/>
                    <a:pt x="3198774" y="5360328"/>
                  </a:cubicBezTo>
                  <a:cubicBezTo>
                    <a:pt x="3198774" y="5333476"/>
                    <a:pt x="3222271" y="5309980"/>
                    <a:pt x="3249123" y="5309980"/>
                  </a:cubicBezTo>
                  <a:close/>
                  <a:moveTo>
                    <a:pt x="3876792" y="5296554"/>
                  </a:moveTo>
                  <a:cubicBezTo>
                    <a:pt x="3893574" y="5296554"/>
                    <a:pt x="3907000" y="5309980"/>
                    <a:pt x="3907000" y="5326763"/>
                  </a:cubicBezTo>
                  <a:cubicBezTo>
                    <a:pt x="3907000" y="5343545"/>
                    <a:pt x="3893574" y="5356972"/>
                    <a:pt x="3876792" y="5356972"/>
                  </a:cubicBezTo>
                  <a:cubicBezTo>
                    <a:pt x="3863366" y="5356972"/>
                    <a:pt x="3849940" y="5343545"/>
                    <a:pt x="3846584" y="5326763"/>
                  </a:cubicBezTo>
                  <a:cubicBezTo>
                    <a:pt x="3846584" y="5309980"/>
                    <a:pt x="3860010" y="5296554"/>
                    <a:pt x="3876792" y="5296554"/>
                  </a:cubicBezTo>
                  <a:close/>
                  <a:moveTo>
                    <a:pt x="1309047" y="5293197"/>
                  </a:moveTo>
                  <a:cubicBezTo>
                    <a:pt x="1349830" y="5293197"/>
                    <a:pt x="1382891" y="5326258"/>
                    <a:pt x="1382891" y="5367041"/>
                  </a:cubicBezTo>
                  <a:cubicBezTo>
                    <a:pt x="1382891" y="5407824"/>
                    <a:pt x="1349830" y="5440884"/>
                    <a:pt x="1309047" y="5440884"/>
                  </a:cubicBezTo>
                  <a:cubicBezTo>
                    <a:pt x="1268264" y="5440884"/>
                    <a:pt x="1235203" y="5407824"/>
                    <a:pt x="1235203" y="5367041"/>
                  </a:cubicBezTo>
                  <a:cubicBezTo>
                    <a:pt x="1235203" y="5326258"/>
                    <a:pt x="1268264" y="5293197"/>
                    <a:pt x="1309047" y="5293197"/>
                  </a:cubicBezTo>
                  <a:close/>
                  <a:moveTo>
                    <a:pt x="963324" y="5246206"/>
                  </a:moveTo>
                  <a:cubicBezTo>
                    <a:pt x="1003602" y="5246206"/>
                    <a:pt x="1037168" y="5279771"/>
                    <a:pt x="1037168" y="5320050"/>
                  </a:cubicBezTo>
                  <a:cubicBezTo>
                    <a:pt x="1037168" y="5360328"/>
                    <a:pt x="1003602" y="5393893"/>
                    <a:pt x="963324" y="5393893"/>
                  </a:cubicBezTo>
                  <a:cubicBezTo>
                    <a:pt x="923045" y="5393893"/>
                    <a:pt x="889480" y="5360328"/>
                    <a:pt x="889480" y="5320050"/>
                  </a:cubicBezTo>
                  <a:cubicBezTo>
                    <a:pt x="889480" y="5279771"/>
                    <a:pt x="923045" y="5246206"/>
                    <a:pt x="963324" y="5246206"/>
                  </a:cubicBezTo>
                  <a:close/>
                  <a:moveTo>
                    <a:pt x="2262301" y="5242849"/>
                  </a:moveTo>
                  <a:cubicBezTo>
                    <a:pt x="2299223" y="5242849"/>
                    <a:pt x="2329432" y="5273058"/>
                    <a:pt x="2329432" y="5309980"/>
                  </a:cubicBezTo>
                  <a:cubicBezTo>
                    <a:pt x="2329432" y="5346902"/>
                    <a:pt x="2299223" y="5377111"/>
                    <a:pt x="2262301" y="5377111"/>
                  </a:cubicBezTo>
                  <a:cubicBezTo>
                    <a:pt x="2225379" y="5377111"/>
                    <a:pt x="2195170" y="5346902"/>
                    <a:pt x="2195170" y="5309980"/>
                  </a:cubicBezTo>
                  <a:cubicBezTo>
                    <a:pt x="2195170" y="5273058"/>
                    <a:pt x="2225379" y="5242849"/>
                    <a:pt x="2262301" y="5242849"/>
                  </a:cubicBezTo>
                  <a:close/>
                  <a:moveTo>
                    <a:pt x="3682113" y="5239493"/>
                  </a:moveTo>
                  <a:cubicBezTo>
                    <a:pt x="3702254" y="5239493"/>
                    <a:pt x="3719036" y="5256275"/>
                    <a:pt x="3719036" y="5276415"/>
                  </a:cubicBezTo>
                  <a:cubicBezTo>
                    <a:pt x="3719036" y="5296554"/>
                    <a:pt x="3702254" y="5313337"/>
                    <a:pt x="3682113" y="5313337"/>
                  </a:cubicBezTo>
                  <a:cubicBezTo>
                    <a:pt x="3661976" y="5313337"/>
                    <a:pt x="3645192" y="5296554"/>
                    <a:pt x="3645192" y="5276415"/>
                  </a:cubicBezTo>
                  <a:cubicBezTo>
                    <a:pt x="3645192" y="5256275"/>
                    <a:pt x="3661976" y="5239493"/>
                    <a:pt x="3682113" y="5239493"/>
                  </a:cubicBezTo>
                  <a:close/>
                  <a:moveTo>
                    <a:pt x="2655015" y="5239493"/>
                  </a:moveTo>
                  <a:cubicBezTo>
                    <a:pt x="2691937" y="5239493"/>
                    <a:pt x="2718789" y="5269702"/>
                    <a:pt x="2718789" y="5303267"/>
                  </a:cubicBezTo>
                  <a:cubicBezTo>
                    <a:pt x="2718789" y="5340189"/>
                    <a:pt x="2688580" y="5367040"/>
                    <a:pt x="2655015" y="5367040"/>
                  </a:cubicBezTo>
                  <a:cubicBezTo>
                    <a:pt x="2621450" y="5367040"/>
                    <a:pt x="2591241" y="5340189"/>
                    <a:pt x="2591241" y="5303267"/>
                  </a:cubicBezTo>
                  <a:cubicBezTo>
                    <a:pt x="2591241" y="5266345"/>
                    <a:pt x="2621450" y="5239493"/>
                    <a:pt x="2655015" y="5239493"/>
                  </a:cubicBezTo>
                  <a:close/>
                  <a:moveTo>
                    <a:pt x="1886370" y="5222710"/>
                  </a:moveTo>
                  <a:cubicBezTo>
                    <a:pt x="1926649" y="5222710"/>
                    <a:pt x="1956858" y="5256275"/>
                    <a:pt x="1956858" y="5293197"/>
                  </a:cubicBezTo>
                  <a:cubicBezTo>
                    <a:pt x="1956858" y="5333475"/>
                    <a:pt x="1923292" y="5363685"/>
                    <a:pt x="1886370" y="5363685"/>
                  </a:cubicBezTo>
                  <a:cubicBezTo>
                    <a:pt x="1849448" y="5363685"/>
                    <a:pt x="1815883" y="5330119"/>
                    <a:pt x="1815883" y="5293197"/>
                  </a:cubicBezTo>
                  <a:cubicBezTo>
                    <a:pt x="1815883" y="5252919"/>
                    <a:pt x="1846092" y="5222710"/>
                    <a:pt x="1886370" y="5222710"/>
                  </a:cubicBezTo>
                  <a:close/>
                  <a:moveTo>
                    <a:pt x="3064512" y="5212641"/>
                  </a:moveTo>
                  <a:cubicBezTo>
                    <a:pt x="3098078" y="5212641"/>
                    <a:pt x="3124930" y="5239493"/>
                    <a:pt x="3124930" y="5273058"/>
                  </a:cubicBezTo>
                  <a:cubicBezTo>
                    <a:pt x="3124930" y="5306624"/>
                    <a:pt x="3098078" y="5333476"/>
                    <a:pt x="3064512" y="5333476"/>
                  </a:cubicBezTo>
                  <a:cubicBezTo>
                    <a:pt x="3030947" y="5333476"/>
                    <a:pt x="3004095" y="5306624"/>
                    <a:pt x="3004095" y="5273058"/>
                  </a:cubicBezTo>
                  <a:cubicBezTo>
                    <a:pt x="3004095" y="5239493"/>
                    <a:pt x="3030947" y="5212641"/>
                    <a:pt x="3064512" y="5212641"/>
                  </a:cubicBezTo>
                  <a:close/>
                  <a:moveTo>
                    <a:pt x="1523864" y="5185788"/>
                  </a:moveTo>
                  <a:cubicBezTo>
                    <a:pt x="1564647" y="5185788"/>
                    <a:pt x="1597708" y="5218849"/>
                    <a:pt x="1597708" y="5259632"/>
                  </a:cubicBezTo>
                  <a:cubicBezTo>
                    <a:pt x="1597708" y="5300415"/>
                    <a:pt x="1564647" y="5333476"/>
                    <a:pt x="1523864" y="5333476"/>
                  </a:cubicBezTo>
                  <a:cubicBezTo>
                    <a:pt x="1483082" y="5333476"/>
                    <a:pt x="1450020" y="5300415"/>
                    <a:pt x="1450020" y="5259632"/>
                  </a:cubicBezTo>
                  <a:cubicBezTo>
                    <a:pt x="1450020" y="5218849"/>
                    <a:pt x="1483082" y="5185788"/>
                    <a:pt x="1523864" y="5185788"/>
                  </a:cubicBezTo>
                  <a:close/>
                  <a:moveTo>
                    <a:pt x="3487436" y="5169006"/>
                  </a:moveTo>
                  <a:cubicBezTo>
                    <a:pt x="3510931" y="5169006"/>
                    <a:pt x="3531070" y="5189145"/>
                    <a:pt x="3531070" y="5212641"/>
                  </a:cubicBezTo>
                  <a:cubicBezTo>
                    <a:pt x="3531070" y="5236136"/>
                    <a:pt x="3510931" y="5256275"/>
                    <a:pt x="3487436" y="5256275"/>
                  </a:cubicBezTo>
                  <a:cubicBezTo>
                    <a:pt x="3463939" y="5256275"/>
                    <a:pt x="3447158" y="5236136"/>
                    <a:pt x="3443800" y="5212641"/>
                  </a:cubicBezTo>
                  <a:cubicBezTo>
                    <a:pt x="3443800" y="5189145"/>
                    <a:pt x="3463939" y="5169006"/>
                    <a:pt x="3487436" y="5169006"/>
                  </a:cubicBezTo>
                  <a:close/>
                  <a:moveTo>
                    <a:pt x="1174786" y="5142153"/>
                  </a:moveTo>
                  <a:cubicBezTo>
                    <a:pt x="1215064" y="5142153"/>
                    <a:pt x="1248629" y="5175719"/>
                    <a:pt x="1248629" y="5215997"/>
                  </a:cubicBezTo>
                  <a:cubicBezTo>
                    <a:pt x="1248629" y="5256275"/>
                    <a:pt x="1215064" y="5289841"/>
                    <a:pt x="1174786" y="5289841"/>
                  </a:cubicBezTo>
                  <a:cubicBezTo>
                    <a:pt x="1131151" y="5289841"/>
                    <a:pt x="1100942" y="5256275"/>
                    <a:pt x="1100942" y="5215997"/>
                  </a:cubicBezTo>
                  <a:cubicBezTo>
                    <a:pt x="1100942" y="5175719"/>
                    <a:pt x="1134507" y="5142153"/>
                    <a:pt x="1174786" y="5142153"/>
                  </a:cubicBezTo>
                  <a:close/>
                  <a:moveTo>
                    <a:pt x="2487189" y="5132084"/>
                  </a:moveTo>
                  <a:cubicBezTo>
                    <a:pt x="2520754" y="5132084"/>
                    <a:pt x="2544250" y="5158936"/>
                    <a:pt x="2544250" y="5189145"/>
                  </a:cubicBezTo>
                  <a:cubicBezTo>
                    <a:pt x="2544250" y="5222710"/>
                    <a:pt x="2517398" y="5246206"/>
                    <a:pt x="2487189" y="5246206"/>
                  </a:cubicBezTo>
                  <a:cubicBezTo>
                    <a:pt x="2456980" y="5246206"/>
                    <a:pt x="2430128" y="5222710"/>
                    <a:pt x="2430128" y="5189145"/>
                  </a:cubicBezTo>
                  <a:cubicBezTo>
                    <a:pt x="2430128" y="5155579"/>
                    <a:pt x="2456980" y="5132084"/>
                    <a:pt x="2487189" y="5132084"/>
                  </a:cubicBezTo>
                  <a:close/>
                  <a:moveTo>
                    <a:pt x="2886616" y="5125371"/>
                  </a:moveTo>
                  <a:cubicBezTo>
                    <a:pt x="2916825" y="5125371"/>
                    <a:pt x="2940320" y="5148866"/>
                    <a:pt x="2940320" y="5179075"/>
                  </a:cubicBezTo>
                  <a:cubicBezTo>
                    <a:pt x="2940320" y="5209284"/>
                    <a:pt x="2916825" y="5232780"/>
                    <a:pt x="2886616" y="5232780"/>
                  </a:cubicBezTo>
                  <a:cubicBezTo>
                    <a:pt x="2856407" y="5232780"/>
                    <a:pt x="2832911" y="5209284"/>
                    <a:pt x="2832911" y="5179075"/>
                  </a:cubicBezTo>
                  <a:cubicBezTo>
                    <a:pt x="2832911" y="5148866"/>
                    <a:pt x="2856407" y="5125371"/>
                    <a:pt x="2886616" y="5125371"/>
                  </a:cubicBezTo>
                  <a:close/>
                  <a:moveTo>
                    <a:pt x="2104544" y="5122014"/>
                  </a:moveTo>
                  <a:cubicBezTo>
                    <a:pt x="2138110" y="5122014"/>
                    <a:pt x="2164962" y="5148866"/>
                    <a:pt x="2164962" y="5182432"/>
                  </a:cubicBezTo>
                  <a:cubicBezTo>
                    <a:pt x="2164962" y="5215996"/>
                    <a:pt x="2138110" y="5242849"/>
                    <a:pt x="2104544" y="5242849"/>
                  </a:cubicBezTo>
                  <a:cubicBezTo>
                    <a:pt x="2070979" y="5242849"/>
                    <a:pt x="2044126" y="5215996"/>
                    <a:pt x="2044126" y="5182432"/>
                  </a:cubicBezTo>
                  <a:cubicBezTo>
                    <a:pt x="2044126" y="5148866"/>
                    <a:pt x="2070979" y="5122014"/>
                    <a:pt x="2104544" y="5122014"/>
                  </a:cubicBezTo>
                  <a:close/>
                  <a:moveTo>
                    <a:pt x="835776" y="5101875"/>
                  </a:moveTo>
                  <a:cubicBezTo>
                    <a:pt x="869342" y="5101875"/>
                    <a:pt x="896194" y="5128727"/>
                    <a:pt x="896194" y="5162292"/>
                  </a:cubicBezTo>
                  <a:cubicBezTo>
                    <a:pt x="896194" y="5195858"/>
                    <a:pt x="869342" y="5222710"/>
                    <a:pt x="835776" y="5222710"/>
                  </a:cubicBezTo>
                  <a:cubicBezTo>
                    <a:pt x="802211" y="5222710"/>
                    <a:pt x="775359" y="5195858"/>
                    <a:pt x="775359" y="5162292"/>
                  </a:cubicBezTo>
                  <a:cubicBezTo>
                    <a:pt x="775359" y="5128727"/>
                    <a:pt x="802211" y="5101875"/>
                    <a:pt x="835776" y="5101875"/>
                  </a:cubicBezTo>
                  <a:close/>
                  <a:moveTo>
                    <a:pt x="3299470" y="5098518"/>
                  </a:moveTo>
                  <a:cubicBezTo>
                    <a:pt x="3319607" y="5098518"/>
                    <a:pt x="3336391" y="5115301"/>
                    <a:pt x="3336391" y="5135440"/>
                  </a:cubicBezTo>
                  <a:cubicBezTo>
                    <a:pt x="3336391" y="5155579"/>
                    <a:pt x="3319607" y="5172362"/>
                    <a:pt x="3299470" y="5172362"/>
                  </a:cubicBezTo>
                  <a:cubicBezTo>
                    <a:pt x="3279328" y="5172362"/>
                    <a:pt x="3265902" y="5155579"/>
                    <a:pt x="3262547" y="5135440"/>
                  </a:cubicBezTo>
                  <a:cubicBezTo>
                    <a:pt x="3262547" y="5115301"/>
                    <a:pt x="3279328" y="5098518"/>
                    <a:pt x="3299470" y="5098518"/>
                  </a:cubicBezTo>
                  <a:close/>
                  <a:moveTo>
                    <a:pt x="1738683" y="5091805"/>
                  </a:moveTo>
                  <a:cubicBezTo>
                    <a:pt x="1772248" y="5091805"/>
                    <a:pt x="1802457" y="5118657"/>
                    <a:pt x="1802457" y="5155579"/>
                  </a:cubicBezTo>
                  <a:cubicBezTo>
                    <a:pt x="1802457" y="5189145"/>
                    <a:pt x="1775604" y="5219354"/>
                    <a:pt x="1738683" y="5219354"/>
                  </a:cubicBezTo>
                  <a:cubicBezTo>
                    <a:pt x="1701761" y="5219354"/>
                    <a:pt x="1674908" y="5189145"/>
                    <a:pt x="1674908" y="5155579"/>
                  </a:cubicBezTo>
                  <a:cubicBezTo>
                    <a:pt x="1674908" y="5122014"/>
                    <a:pt x="1701761" y="5091805"/>
                    <a:pt x="1738683" y="5091805"/>
                  </a:cubicBezTo>
                  <a:close/>
                  <a:moveTo>
                    <a:pt x="506836" y="5091805"/>
                  </a:moveTo>
                  <a:cubicBezTo>
                    <a:pt x="510192" y="5091805"/>
                    <a:pt x="513549" y="5095162"/>
                    <a:pt x="513549" y="5098518"/>
                  </a:cubicBezTo>
                  <a:cubicBezTo>
                    <a:pt x="513549" y="5101875"/>
                    <a:pt x="510192" y="5105231"/>
                    <a:pt x="506836" y="5105231"/>
                  </a:cubicBezTo>
                  <a:cubicBezTo>
                    <a:pt x="503479" y="5105231"/>
                    <a:pt x="500123" y="5101875"/>
                    <a:pt x="500123" y="5098518"/>
                  </a:cubicBezTo>
                  <a:cubicBezTo>
                    <a:pt x="500123" y="5095162"/>
                    <a:pt x="503479" y="5091805"/>
                    <a:pt x="506836" y="5091805"/>
                  </a:cubicBezTo>
                  <a:close/>
                  <a:moveTo>
                    <a:pt x="3927141" y="5088449"/>
                  </a:moveTo>
                  <a:cubicBezTo>
                    <a:pt x="3937210" y="5088449"/>
                    <a:pt x="3943923" y="5095162"/>
                    <a:pt x="3943923" y="5105231"/>
                  </a:cubicBezTo>
                  <a:cubicBezTo>
                    <a:pt x="3943923" y="5115301"/>
                    <a:pt x="3937210" y="5122014"/>
                    <a:pt x="3927141" y="5122014"/>
                  </a:cubicBezTo>
                  <a:cubicBezTo>
                    <a:pt x="3920426" y="5122014"/>
                    <a:pt x="3910358" y="5115301"/>
                    <a:pt x="3910358" y="5105231"/>
                  </a:cubicBezTo>
                  <a:cubicBezTo>
                    <a:pt x="3910358" y="5095162"/>
                    <a:pt x="3917070" y="5088449"/>
                    <a:pt x="3927141" y="5088449"/>
                  </a:cubicBezTo>
                  <a:close/>
                  <a:moveTo>
                    <a:pt x="1382891" y="5041457"/>
                  </a:moveTo>
                  <a:cubicBezTo>
                    <a:pt x="1421819" y="5041457"/>
                    <a:pt x="1453378" y="5073015"/>
                    <a:pt x="1453378" y="5111944"/>
                  </a:cubicBezTo>
                  <a:cubicBezTo>
                    <a:pt x="1453378" y="5150874"/>
                    <a:pt x="1421819" y="5182432"/>
                    <a:pt x="1382891" y="5182432"/>
                  </a:cubicBezTo>
                  <a:cubicBezTo>
                    <a:pt x="1343961" y="5182432"/>
                    <a:pt x="1312404" y="5150874"/>
                    <a:pt x="1312404" y="5111944"/>
                  </a:cubicBezTo>
                  <a:cubicBezTo>
                    <a:pt x="1312404" y="5073015"/>
                    <a:pt x="1343961" y="5041457"/>
                    <a:pt x="1382891" y="5041457"/>
                  </a:cubicBezTo>
                  <a:close/>
                  <a:moveTo>
                    <a:pt x="3732462" y="5028031"/>
                  </a:moveTo>
                  <a:cubicBezTo>
                    <a:pt x="3745888" y="5028031"/>
                    <a:pt x="3759314" y="5041457"/>
                    <a:pt x="3759314" y="5054883"/>
                  </a:cubicBezTo>
                  <a:cubicBezTo>
                    <a:pt x="3759314" y="5068309"/>
                    <a:pt x="3745888" y="5081736"/>
                    <a:pt x="3732462" y="5081736"/>
                  </a:cubicBezTo>
                  <a:cubicBezTo>
                    <a:pt x="3715680" y="5081736"/>
                    <a:pt x="3705610" y="5068309"/>
                    <a:pt x="3705610" y="5054883"/>
                  </a:cubicBezTo>
                  <a:cubicBezTo>
                    <a:pt x="3705610" y="5041457"/>
                    <a:pt x="3719036" y="5028031"/>
                    <a:pt x="3732462" y="5028031"/>
                  </a:cubicBezTo>
                  <a:close/>
                  <a:moveTo>
                    <a:pt x="2712076" y="5014605"/>
                  </a:moveTo>
                  <a:cubicBezTo>
                    <a:pt x="2745642" y="5014605"/>
                    <a:pt x="2769137" y="5041457"/>
                    <a:pt x="2769137" y="5071666"/>
                  </a:cubicBezTo>
                  <a:cubicBezTo>
                    <a:pt x="2769137" y="5105231"/>
                    <a:pt x="2742285" y="5128727"/>
                    <a:pt x="2712076" y="5128727"/>
                  </a:cubicBezTo>
                  <a:cubicBezTo>
                    <a:pt x="2681867" y="5128727"/>
                    <a:pt x="2655015" y="5101875"/>
                    <a:pt x="2655015" y="5071666"/>
                  </a:cubicBezTo>
                  <a:cubicBezTo>
                    <a:pt x="2655015" y="5038101"/>
                    <a:pt x="2681867" y="5014605"/>
                    <a:pt x="2712076" y="5014605"/>
                  </a:cubicBezTo>
                  <a:close/>
                  <a:moveTo>
                    <a:pt x="2326076" y="5007892"/>
                  </a:moveTo>
                  <a:cubicBezTo>
                    <a:pt x="2359641" y="5007892"/>
                    <a:pt x="2386493" y="5034744"/>
                    <a:pt x="2386493" y="5068309"/>
                  </a:cubicBezTo>
                  <a:cubicBezTo>
                    <a:pt x="2386493" y="5101875"/>
                    <a:pt x="2359641" y="5128727"/>
                    <a:pt x="2326076" y="5128727"/>
                  </a:cubicBezTo>
                  <a:cubicBezTo>
                    <a:pt x="2292510" y="5128727"/>
                    <a:pt x="2265658" y="5101875"/>
                    <a:pt x="2265658" y="5068309"/>
                  </a:cubicBezTo>
                  <a:cubicBezTo>
                    <a:pt x="2265658" y="5034744"/>
                    <a:pt x="2292510" y="5007892"/>
                    <a:pt x="2326076" y="5007892"/>
                  </a:cubicBezTo>
                  <a:close/>
                  <a:moveTo>
                    <a:pt x="3118216" y="4997822"/>
                  </a:moveTo>
                  <a:cubicBezTo>
                    <a:pt x="3145067" y="4997822"/>
                    <a:pt x="3168564" y="5017961"/>
                    <a:pt x="3168564" y="5048170"/>
                  </a:cubicBezTo>
                  <a:cubicBezTo>
                    <a:pt x="3168564" y="5075023"/>
                    <a:pt x="3148425" y="5098518"/>
                    <a:pt x="3118216" y="5098518"/>
                  </a:cubicBezTo>
                  <a:cubicBezTo>
                    <a:pt x="3088007" y="5098518"/>
                    <a:pt x="3064512" y="5075023"/>
                    <a:pt x="3067869" y="5048170"/>
                  </a:cubicBezTo>
                  <a:cubicBezTo>
                    <a:pt x="3067869" y="5021318"/>
                    <a:pt x="3088007" y="4997822"/>
                    <a:pt x="3118216" y="4997822"/>
                  </a:cubicBezTo>
                  <a:close/>
                  <a:moveTo>
                    <a:pt x="1043881" y="4987754"/>
                  </a:moveTo>
                  <a:cubicBezTo>
                    <a:pt x="1084159" y="4987754"/>
                    <a:pt x="1117724" y="5021319"/>
                    <a:pt x="1117724" y="5061597"/>
                  </a:cubicBezTo>
                  <a:cubicBezTo>
                    <a:pt x="1117724" y="5101876"/>
                    <a:pt x="1084159" y="5135441"/>
                    <a:pt x="1043881" y="5135441"/>
                  </a:cubicBezTo>
                  <a:cubicBezTo>
                    <a:pt x="1003602" y="5135441"/>
                    <a:pt x="970037" y="5101876"/>
                    <a:pt x="970037" y="5061597"/>
                  </a:cubicBezTo>
                  <a:cubicBezTo>
                    <a:pt x="970037" y="5021319"/>
                    <a:pt x="1003602" y="4987754"/>
                    <a:pt x="1043881" y="4987754"/>
                  </a:cubicBezTo>
                  <a:close/>
                  <a:moveTo>
                    <a:pt x="1953501" y="4984396"/>
                  </a:moveTo>
                  <a:cubicBezTo>
                    <a:pt x="1987066" y="4984396"/>
                    <a:pt x="2017275" y="5011248"/>
                    <a:pt x="2017275" y="5048170"/>
                  </a:cubicBezTo>
                  <a:cubicBezTo>
                    <a:pt x="2017275" y="5081736"/>
                    <a:pt x="1990423" y="5111944"/>
                    <a:pt x="1953501" y="5111944"/>
                  </a:cubicBezTo>
                  <a:cubicBezTo>
                    <a:pt x="1916579" y="5111944"/>
                    <a:pt x="1889727" y="5081736"/>
                    <a:pt x="1889727" y="5048170"/>
                  </a:cubicBezTo>
                  <a:cubicBezTo>
                    <a:pt x="1889727" y="5014605"/>
                    <a:pt x="1919936" y="4984396"/>
                    <a:pt x="1953501" y="4984396"/>
                  </a:cubicBezTo>
                  <a:close/>
                  <a:moveTo>
                    <a:pt x="3537783" y="4954188"/>
                  </a:moveTo>
                  <a:cubicBezTo>
                    <a:pt x="3557922" y="4954188"/>
                    <a:pt x="3571348" y="4967614"/>
                    <a:pt x="3571348" y="4987754"/>
                  </a:cubicBezTo>
                  <a:cubicBezTo>
                    <a:pt x="3571348" y="5007893"/>
                    <a:pt x="3554567" y="5021319"/>
                    <a:pt x="3537783" y="5021319"/>
                  </a:cubicBezTo>
                  <a:cubicBezTo>
                    <a:pt x="3520999" y="5021319"/>
                    <a:pt x="3504218" y="5007893"/>
                    <a:pt x="3504218" y="4987754"/>
                  </a:cubicBezTo>
                  <a:cubicBezTo>
                    <a:pt x="3504218" y="4967614"/>
                    <a:pt x="3520999" y="4954188"/>
                    <a:pt x="3537783" y="4954188"/>
                  </a:cubicBezTo>
                  <a:close/>
                  <a:moveTo>
                    <a:pt x="1594352" y="4947474"/>
                  </a:moveTo>
                  <a:cubicBezTo>
                    <a:pt x="1627917" y="4947474"/>
                    <a:pt x="1658126" y="4974326"/>
                    <a:pt x="1658126" y="5011248"/>
                  </a:cubicBezTo>
                  <a:cubicBezTo>
                    <a:pt x="1658126" y="5044814"/>
                    <a:pt x="1631274" y="5075023"/>
                    <a:pt x="1594352" y="5075023"/>
                  </a:cubicBezTo>
                  <a:cubicBezTo>
                    <a:pt x="1560786" y="5075023"/>
                    <a:pt x="1530577" y="5044814"/>
                    <a:pt x="1530577" y="5011248"/>
                  </a:cubicBezTo>
                  <a:cubicBezTo>
                    <a:pt x="1530577" y="4977683"/>
                    <a:pt x="1557430" y="4947474"/>
                    <a:pt x="1594352" y="4947474"/>
                  </a:cubicBezTo>
                  <a:close/>
                  <a:moveTo>
                    <a:pt x="711585" y="4937406"/>
                  </a:moveTo>
                  <a:cubicBezTo>
                    <a:pt x="745150" y="4937406"/>
                    <a:pt x="772002" y="4964258"/>
                    <a:pt x="772002" y="4997823"/>
                  </a:cubicBezTo>
                  <a:cubicBezTo>
                    <a:pt x="772002" y="5031388"/>
                    <a:pt x="745150" y="5058241"/>
                    <a:pt x="711585" y="5058241"/>
                  </a:cubicBezTo>
                  <a:cubicBezTo>
                    <a:pt x="681376" y="5058241"/>
                    <a:pt x="654524" y="5031388"/>
                    <a:pt x="651167" y="4997823"/>
                  </a:cubicBezTo>
                  <a:cubicBezTo>
                    <a:pt x="651167" y="4964258"/>
                    <a:pt x="678019" y="4937406"/>
                    <a:pt x="711585" y="4937406"/>
                  </a:cubicBezTo>
                  <a:close/>
                  <a:moveTo>
                    <a:pt x="392714" y="4930691"/>
                  </a:moveTo>
                  <a:cubicBezTo>
                    <a:pt x="392714" y="4930691"/>
                    <a:pt x="396070" y="4930691"/>
                    <a:pt x="392714" y="4934048"/>
                  </a:cubicBezTo>
                  <a:cubicBezTo>
                    <a:pt x="389357" y="4930691"/>
                    <a:pt x="392714" y="4930691"/>
                    <a:pt x="392714" y="4930691"/>
                  </a:cubicBezTo>
                  <a:close/>
                  <a:moveTo>
                    <a:pt x="2940320" y="4907196"/>
                  </a:moveTo>
                  <a:cubicBezTo>
                    <a:pt x="2963816" y="4907196"/>
                    <a:pt x="2983956" y="4927335"/>
                    <a:pt x="2983956" y="4950831"/>
                  </a:cubicBezTo>
                  <a:cubicBezTo>
                    <a:pt x="2983956" y="4974326"/>
                    <a:pt x="2963816" y="4994466"/>
                    <a:pt x="2940320" y="4994466"/>
                  </a:cubicBezTo>
                  <a:cubicBezTo>
                    <a:pt x="2913468" y="4994466"/>
                    <a:pt x="2893329" y="4974326"/>
                    <a:pt x="2896686" y="4950831"/>
                  </a:cubicBezTo>
                  <a:cubicBezTo>
                    <a:pt x="2896686" y="4927335"/>
                    <a:pt x="2916825" y="4907196"/>
                    <a:pt x="2940320" y="4907196"/>
                  </a:cubicBezTo>
                  <a:close/>
                  <a:moveTo>
                    <a:pt x="2547607" y="4903840"/>
                  </a:moveTo>
                  <a:cubicBezTo>
                    <a:pt x="2575414" y="4903840"/>
                    <a:pt x="2597955" y="4926382"/>
                    <a:pt x="2597955" y="4954188"/>
                  </a:cubicBezTo>
                  <a:cubicBezTo>
                    <a:pt x="2597955" y="4981995"/>
                    <a:pt x="2575414" y="5004536"/>
                    <a:pt x="2547607" y="5004536"/>
                  </a:cubicBezTo>
                  <a:cubicBezTo>
                    <a:pt x="2519800" y="5004536"/>
                    <a:pt x="2497259" y="4981995"/>
                    <a:pt x="2497259" y="4954188"/>
                  </a:cubicBezTo>
                  <a:cubicBezTo>
                    <a:pt x="2497259" y="4926382"/>
                    <a:pt x="2519800" y="4903840"/>
                    <a:pt x="2547607" y="4903840"/>
                  </a:cubicBezTo>
                  <a:close/>
                  <a:moveTo>
                    <a:pt x="3353174" y="4883701"/>
                  </a:moveTo>
                  <a:cubicBezTo>
                    <a:pt x="3366601" y="4883701"/>
                    <a:pt x="3380027" y="4897127"/>
                    <a:pt x="3380027" y="4910553"/>
                  </a:cubicBezTo>
                  <a:cubicBezTo>
                    <a:pt x="3380027" y="4923979"/>
                    <a:pt x="3366601" y="4937406"/>
                    <a:pt x="3353174" y="4937406"/>
                  </a:cubicBezTo>
                  <a:cubicBezTo>
                    <a:pt x="3336391" y="4937406"/>
                    <a:pt x="3326322" y="4923979"/>
                    <a:pt x="3326322" y="4910553"/>
                  </a:cubicBezTo>
                  <a:cubicBezTo>
                    <a:pt x="3326322" y="4897127"/>
                    <a:pt x="3339748" y="4883701"/>
                    <a:pt x="3353174" y="4883701"/>
                  </a:cubicBezTo>
                  <a:close/>
                  <a:moveTo>
                    <a:pt x="1251986" y="4883701"/>
                  </a:moveTo>
                  <a:cubicBezTo>
                    <a:pt x="1292769" y="4883701"/>
                    <a:pt x="1325830" y="4916762"/>
                    <a:pt x="1325830" y="4957545"/>
                  </a:cubicBezTo>
                  <a:cubicBezTo>
                    <a:pt x="1325830" y="4998328"/>
                    <a:pt x="1292769" y="5031389"/>
                    <a:pt x="1251986" y="5031389"/>
                  </a:cubicBezTo>
                  <a:cubicBezTo>
                    <a:pt x="1211203" y="5031389"/>
                    <a:pt x="1178142" y="4998328"/>
                    <a:pt x="1178142" y="4957545"/>
                  </a:cubicBezTo>
                  <a:cubicBezTo>
                    <a:pt x="1178142" y="4916762"/>
                    <a:pt x="1211203" y="4883701"/>
                    <a:pt x="1251986" y="4883701"/>
                  </a:cubicBezTo>
                  <a:close/>
                  <a:moveTo>
                    <a:pt x="2168318" y="4873631"/>
                  </a:moveTo>
                  <a:cubicBezTo>
                    <a:pt x="2203539" y="4873631"/>
                    <a:pt x="2232092" y="4902185"/>
                    <a:pt x="2232092" y="4937406"/>
                  </a:cubicBezTo>
                  <a:cubicBezTo>
                    <a:pt x="2232092" y="4972627"/>
                    <a:pt x="2203539" y="5001180"/>
                    <a:pt x="2168318" y="5001180"/>
                  </a:cubicBezTo>
                  <a:cubicBezTo>
                    <a:pt x="2133096" y="5001180"/>
                    <a:pt x="2104544" y="4972626"/>
                    <a:pt x="2104544" y="4937406"/>
                  </a:cubicBezTo>
                  <a:cubicBezTo>
                    <a:pt x="2104544" y="4902184"/>
                    <a:pt x="2133096" y="4873631"/>
                    <a:pt x="2168318" y="4873631"/>
                  </a:cubicBezTo>
                  <a:close/>
                  <a:moveTo>
                    <a:pt x="3977488" y="4873630"/>
                  </a:moveTo>
                  <a:cubicBezTo>
                    <a:pt x="3984201" y="4873630"/>
                    <a:pt x="3990914" y="4880343"/>
                    <a:pt x="3990914" y="4887056"/>
                  </a:cubicBezTo>
                  <a:cubicBezTo>
                    <a:pt x="3990914" y="4893770"/>
                    <a:pt x="3984201" y="4900483"/>
                    <a:pt x="3977488" y="4900483"/>
                  </a:cubicBezTo>
                  <a:cubicBezTo>
                    <a:pt x="3970775" y="4900483"/>
                    <a:pt x="3964062" y="4893770"/>
                    <a:pt x="3964062" y="4887056"/>
                  </a:cubicBezTo>
                  <a:cubicBezTo>
                    <a:pt x="3964062" y="4880343"/>
                    <a:pt x="3970775" y="4873630"/>
                    <a:pt x="3977488" y="4873630"/>
                  </a:cubicBezTo>
                  <a:close/>
                  <a:moveTo>
                    <a:pt x="1809170" y="4843423"/>
                  </a:moveTo>
                  <a:cubicBezTo>
                    <a:pt x="1842735" y="4843423"/>
                    <a:pt x="1872944" y="4870275"/>
                    <a:pt x="1872944" y="4907197"/>
                  </a:cubicBezTo>
                  <a:cubicBezTo>
                    <a:pt x="1872944" y="4940762"/>
                    <a:pt x="1846092" y="4970971"/>
                    <a:pt x="1809170" y="4970971"/>
                  </a:cubicBezTo>
                  <a:cubicBezTo>
                    <a:pt x="1772248" y="4970971"/>
                    <a:pt x="1742039" y="4940762"/>
                    <a:pt x="1745396" y="4907197"/>
                  </a:cubicBezTo>
                  <a:cubicBezTo>
                    <a:pt x="1745396" y="4873631"/>
                    <a:pt x="1772248" y="4843423"/>
                    <a:pt x="1809170" y="4843423"/>
                  </a:cubicBezTo>
                  <a:close/>
                  <a:moveTo>
                    <a:pt x="919690" y="4826640"/>
                  </a:moveTo>
                  <a:cubicBezTo>
                    <a:pt x="959968" y="4826640"/>
                    <a:pt x="993534" y="4860205"/>
                    <a:pt x="993534" y="4900484"/>
                  </a:cubicBezTo>
                  <a:cubicBezTo>
                    <a:pt x="993534" y="4940762"/>
                    <a:pt x="959968" y="4974327"/>
                    <a:pt x="919690" y="4974327"/>
                  </a:cubicBezTo>
                  <a:cubicBezTo>
                    <a:pt x="879411" y="4974327"/>
                    <a:pt x="845846" y="4940762"/>
                    <a:pt x="845846" y="4900484"/>
                  </a:cubicBezTo>
                  <a:cubicBezTo>
                    <a:pt x="845846" y="4860205"/>
                    <a:pt x="879411" y="4826640"/>
                    <a:pt x="919690" y="4826640"/>
                  </a:cubicBezTo>
                  <a:close/>
                  <a:moveTo>
                    <a:pt x="3782809" y="4813213"/>
                  </a:moveTo>
                  <a:cubicBezTo>
                    <a:pt x="3792880" y="4813213"/>
                    <a:pt x="3802948" y="4823282"/>
                    <a:pt x="3802948" y="4833352"/>
                  </a:cubicBezTo>
                  <a:cubicBezTo>
                    <a:pt x="3802948" y="4843422"/>
                    <a:pt x="3792880" y="4853491"/>
                    <a:pt x="3782809" y="4853491"/>
                  </a:cubicBezTo>
                  <a:cubicBezTo>
                    <a:pt x="3772738" y="4853491"/>
                    <a:pt x="3762670" y="4843422"/>
                    <a:pt x="3762670" y="4833352"/>
                  </a:cubicBezTo>
                  <a:cubicBezTo>
                    <a:pt x="3762670" y="4823282"/>
                    <a:pt x="3772738" y="4813213"/>
                    <a:pt x="3782809" y="4813213"/>
                  </a:cubicBezTo>
                  <a:close/>
                  <a:moveTo>
                    <a:pt x="597462" y="4799788"/>
                  </a:moveTo>
                  <a:cubicBezTo>
                    <a:pt x="614245" y="4799788"/>
                    <a:pt x="627671" y="4813214"/>
                    <a:pt x="627671" y="4829996"/>
                  </a:cubicBezTo>
                  <a:cubicBezTo>
                    <a:pt x="627671" y="4846779"/>
                    <a:pt x="614245" y="4860205"/>
                    <a:pt x="597462" y="4860205"/>
                  </a:cubicBezTo>
                  <a:cubicBezTo>
                    <a:pt x="584036" y="4860205"/>
                    <a:pt x="570610" y="4846779"/>
                    <a:pt x="567254" y="4829996"/>
                  </a:cubicBezTo>
                  <a:cubicBezTo>
                    <a:pt x="567254" y="4813214"/>
                    <a:pt x="580680" y="4799788"/>
                    <a:pt x="597462" y="4799788"/>
                  </a:cubicBezTo>
                  <a:close/>
                  <a:moveTo>
                    <a:pt x="3171920" y="4793075"/>
                  </a:moveTo>
                  <a:cubicBezTo>
                    <a:pt x="3185346" y="4793075"/>
                    <a:pt x="3198772" y="4806501"/>
                    <a:pt x="3198772" y="4819927"/>
                  </a:cubicBezTo>
                  <a:cubicBezTo>
                    <a:pt x="3198772" y="4833353"/>
                    <a:pt x="3185346" y="4846779"/>
                    <a:pt x="3171920" y="4846779"/>
                  </a:cubicBezTo>
                  <a:cubicBezTo>
                    <a:pt x="3155138" y="4846779"/>
                    <a:pt x="3145067" y="4833353"/>
                    <a:pt x="3145067" y="4819927"/>
                  </a:cubicBezTo>
                  <a:cubicBezTo>
                    <a:pt x="3145067" y="4806501"/>
                    <a:pt x="3158493" y="4793075"/>
                    <a:pt x="3171920" y="4793075"/>
                  </a:cubicBezTo>
                  <a:close/>
                  <a:moveTo>
                    <a:pt x="2769137" y="4789718"/>
                  </a:moveTo>
                  <a:cubicBezTo>
                    <a:pt x="2795990" y="4789718"/>
                    <a:pt x="2816129" y="4809857"/>
                    <a:pt x="2816129" y="4836710"/>
                  </a:cubicBezTo>
                  <a:cubicBezTo>
                    <a:pt x="2816129" y="4863562"/>
                    <a:pt x="2795990" y="4883701"/>
                    <a:pt x="2769137" y="4883701"/>
                  </a:cubicBezTo>
                  <a:cubicBezTo>
                    <a:pt x="2742285" y="4883701"/>
                    <a:pt x="2722146" y="4863562"/>
                    <a:pt x="2722146" y="4836710"/>
                  </a:cubicBezTo>
                  <a:cubicBezTo>
                    <a:pt x="2722146" y="4809857"/>
                    <a:pt x="2742285" y="4789718"/>
                    <a:pt x="2769137" y="4789718"/>
                  </a:cubicBezTo>
                  <a:close/>
                  <a:moveTo>
                    <a:pt x="1460091" y="4789718"/>
                  </a:moveTo>
                  <a:cubicBezTo>
                    <a:pt x="1497013" y="4789718"/>
                    <a:pt x="1527222" y="4819927"/>
                    <a:pt x="1527222" y="4856849"/>
                  </a:cubicBezTo>
                  <a:cubicBezTo>
                    <a:pt x="1527222" y="4893771"/>
                    <a:pt x="1497013" y="4923979"/>
                    <a:pt x="1460091" y="4923979"/>
                  </a:cubicBezTo>
                  <a:cubicBezTo>
                    <a:pt x="1423169" y="4923979"/>
                    <a:pt x="1392960" y="4893771"/>
                    <a:pt x="1392960" y="4856849"/>
                  </a:cubicBezTo>
                  <a:cubicBezTo>
                    <a:pt x="1392960" y="4819927"/>
                    <a:pt x="1423169" y="4789718"/>
                    <a:pt x="1460091" y="4789718"/>
                  </a:cubicBezTo>
                  <a:close/>
                  <a:moveTo>
                    <a:pt x="2386493" y="4769579"/>
                  </a:moveTo>
                  <a:cubicBezTo>
                    <a:pt x="2420058" y="4769579"/>
                    <a:pt x="2446911" y="4796431"/>
                    <a:pt x="2446911" y="4829996"/>
                  </a:cubicBezTo>
                  <a:cubicBezTo>
                    <a:pt x="2446911" y="4863561"/>
                    <a:pt x="2420058" y="4890414"/>
                    <a:pt x="2386493" y="4890414"/>
                  </a:cubicBezTo>
                  <a:cubicBezTo>
                    <a:pt x="2352928" y="4890414"/>
                    <a:pt x="2326076" y="4860205"/>
                    <a:pt x="2326076" y="4829996"/>
                  </a:cubicBezTo>
                  <a:cubicBezTo>
                    <a:pt x="2326076" y="4796431"/>
                    <a:pt x="2352928" y="4769579"/>
                    <a:pt x="2386493" y="4769579"/>
                  </a:cubicBezTo>
                  <a:close/>
                  <a:moveTo>
                    <a:pt x="285305" y="4756153"/>
                  </a:moveTo>
                  <a:cubicBezTo>
                    <a:pt x="285305" y="4756153"/>
                    <a:pt x="288661" y="4756153"/>
                    <a:pt x="285305" y="4759509"/>
                  </a:cubicBezTo>
                  <a:cubicBezTo>
                    <a:pt x="285305" y="4756153"/>
                    <a:pt x="285305" y="4756153"/>
                    <a:pt x="285305" y="4756153"/>
                  </a:cubicBezTo>
                  <a:close/>
                  <a:moveTo>
                    <a:pt x="3591488" y="4746083"/>
                  </a:moveTo>
                  <a:cubicBezTo>
                    <a:pt x="3601556" y="4746083"/>
                    <a:pt x="3611627" y="4756153"/>
                    <a:pt x="3611627" y="4766222"/>
                  </a:cubicBezTo>
                  <a:cubicBezTo>
                    <a:pt x="3611627" y="4776292"/>
                    <a:pt x="3601556" y="4786361"/>
                    <a:pt x="3591488" y="4786361"/>
                  </a:cubicBezTo>
                  <a:cubicBezTo>
                    <a:pt x="3581419" y="4786361"/>
                    <a:pt x="3571348" y="4776292"/>
                    <a:pt x="3571348" y="4766222"/>
                  </a:cubicBezTo>
                  <a:cubicBezTo>
                    <a:pt x="3571348" y="4756153"/>
                    <a:pt x="3581419" y="4746083"/>
                    <a:pt x="3591488" y="4746083"/>
                  </a:cubicBezTo>
                  <a:close/>
                  <a:moveTo>
                    <a:pt x="2020632" y="4736013"/>
                  </a:moveTo>
                  <a:cubicBezTo>
                    <a:pt x="2054197" y="4736013"/>
                    <a:pt x="2084406" y="4766222"/>
                    <a:pt x="2084406" y="4799788"/>
                  </a:cubicBezTo>
                  <a:cubicBezTo>
                    <a:pt x="2084406" y="4833353"/>
                    <a:pt x="2057554" y="4863561"/>
                    <a:pt x="2020632" y="4863561"/>
                  </a:cubicBezTo>
                  <a:cubicBezTo>
                    <a:pt x="1987066" y="4863561"/>
                    <a:pt x="1956858" y="4833353"/>
                    <a:pt x="1956858" y="4799788"/>
                  </a:cubicBezTo>
                  <a:cubicBezTo>
                    <a:pt x="1956858" y="4766222"/>
                    <a:pt x="1983710" y="4736013"/>
                    <a:pt x="2020632" y="4736013"/>
                  </a:cubicBezTo>
                  <a:close/>
                  <a:moveTo>
                    <a:pt x="1127794" y="4725944"/>
                  </a:moveTo>
                  <a:cubicBezTo>
                    <a:pt x="1168072" y="4725944"/>
                    <a:pt x="1201638" y="4759509"/>
                    <a:pt x="1201638" y="4799788"/>
                  </a:cubicBezTo>
                  <a:cubicBezTo>
                    <a:pt x="1201638" y="4840066"/>
                    <a:pt x="1168072" y="4873631"/>
                    <a:pt x="1127794" y="4873631"/>
                  </a:cubicBezTo>
                  <a:cubicBezTo>
                    <a:pt x="1084159" y="4873631"/>
                    <a:pt x="1050594" y="4840066"/>
                    <a:pt x="1053951" y="4799788"/>
                  </a:cubicBezTo>
                  <a:cubicBezTo>
                    <a:pt x="1053951" y="4759509"/>
                    <a:pt x="1087516" y="4725944"/>
                    <a:pt x="1127794" y="4725944"/>
                  </a:cubicBezTo>
                  <a:close/>
                  <a:moveTo>
                    <a:pt x="1671552" y="4699092"/>
                  </a:moveTo>
                  <a:cubicBezTo>
                    <a:pt x="1701761" y="4699092"/>
                    <a:pt x="1728613" y="4722587"/>
                    <a:pt x="1728613" y="4756153"/>
                  </a:cubicBezTo>
                  <a:cubicBezTo>
                    <a:pt x="1728613" y="4786361"/>
                    <a:pt x="1705117" y="4813214"/>
                    <a:pt x="1671552" y="4813214"/>
                  </a:cubicBezTo>
                  <a:cubicBezTo>
                    <a:pt x="1637986" y="4813214"/>
                    <a:pt x="1614491" y="4786361"/>
                    <a:pt x="1614491" y="4756153"/>
                  </a:cubicBezTo>
                  <a:cubicBezTo>
                    <a:pt x="1614491" y="4725944"/>
                    <a:pt x="1637986" y="4699092"/>
                    <a:pt x="1671552" y="4699092"/>
                  </a:cubicBezTo>
                  <a:close/>
                  <a:moveTo>
                    <a:pt x="2997382" y="4685665"/>
                  </a:moveTo>
                  <a:cubicBezTo>
                    <a:pt x="3014164" y="4685665"/>
                    <a:pt x="3027590" y="4699092"/>
                    <a:pt x="3027590" y="4715874"/>
                  </a:cubicBezTo>
                  <a:cubicBezTo>
                    <a:pt x="3027590" y="4732657"/>
                    <a:pt x="3014164" y="4746083"/>
                    <a:pt x="2997382" y="4746083"/>
                  </a:cubicBezTo>
                  <a:cubicBezTo>
                    <a:pt x="2980599" y="4746083"/>
                    <a:pt x="2967173" y="4732657"/>
                    <a:pt x="2967173" y="4715874"/>
                  </a:cubicBezTo>
                  <a:cubicBezTo>
                    <a:pt x="2967173" y="4699092"/>
                    <a:pt x="2980599" y="4685665"/>
                    <a:pt x="2997382" y="4685665"/>
                  </a:cubicBezTo>
                  <a:close/>
                  <a:moveTo>
                    <a:pt x="805568" y="4678952"/>
                  </a:moveTo>
                  <a:cubicBezTo>
                    <a:pt x="835776" y="4678952"/>
                    <a:pt x="859272" y="4702448"/>
                    <a:pt x="859272" y="4732657"/>
                  </a:cubicBezTo>
                  <a:cubicBezTo>
                    <a:pt x="859272" y="4762866"/>
                    <a:pt x="835776" y="4786361"/>
                    <a:pt x="805568" y="4786361"/>
                  </a:cubicBezTo>
                  <a:cubicBezTo>
                    <a:pt x="775359" y="4786361"/>
                    <a:pt x="751863" y="4762866"/>
                    <a:pt x="751863" y="4732657"/>
                  </a:cubicBezTo>
                  <a:cubicBezTo>
                    <a:pt x="751863" y="4702448"/>
                    <a:pt x="775359" y="4678952"/>
                    <a:pt x="805568" y="4678952"/>
                  </a:cubicBezTo>
                  <a:close/>
                  <a:moveTo>
                    <a:pt x="2608024" y="4675596"/>
                  </a:moveTo>
                  <a:cubicBezTo>
                    <a:pt x="2628163" y="4675596"/>
                    <a:pt x="2648302" y="4692378"/>
                    <a:pt x="2648302" y="4715874"/>
                  </a:cubicBezTo>
                  <a:cubicBezTo>
                    <a:pt x="2648302" y="4736013"/>
                    <a:pt x="2631519" y="4756153"/>
                    <a:pt x="2608024" y="4756153"/>
                  </a:cubicBezTo>
                  <a:cubicBezTo>
                    <a:pt x="2584528" y="4756153"/>
                    <a:pt x="2564388" y="4739370"/>
                    <a:pt x="2567745" y="4715874"/>
                  </a:cubicBezTo>
                  <a:cubicBezTo>
                    <a:pt x="2567745" y="4695735"/>
                    <a:pt x="2584528" y="4675596"/>
                    <a:pt x="2608024" y="4675596"/>
                  </a:cubicBezTo>
                  <a:close/>
                  <a:moveTo>
                    <a:pt x="3403522" y="4672239"/>
                  </a:moveTo>
                  <a:cubicBezTo>
                    <a:pt x="3410234" y="4672239"/>
                    <a:pt x="3416948" y="4678952"/>
                    <a:pt x="3416948" y="4685665"/>
                  </a:cubicBezTo>
                  <a:cubicBezTo>
                    <a:pt x="3416948" y="4692378"/>
                    <a:pt x="3410234" y="4699092"/>
                    <a:pt x="3403522" y="4699092"/>
                  </a:cubicBezTo>
                  <a:cubicBezTo>
                    <a:pt x="3396808" y="4699092"/>
                    <a:pt x="3390095" y="4692378"/>
                    <a:pt x="3390095" y="4685665"/>
                  </a:cubicBezTo>
                  <a:cubicBezTo>
                    <a:pt x="3390095" y="4678952"/>
                    <a:pt x="3396808" y="4672239"/>
                    <a:pt x="3403522" y="4672239"/>
                  </a:cubicBezTo>
                  <a:close/>
                  <a:moveTo>
                    <a:pt x="2235449" y="4635317"/>
                  </a:moveTo>
                  <a:cubicBezTo>
                    <a:pt x="2269014" y="4635317"/>
                    <a:pt x="2292510" y="4662170"/>
                    <a:pt x="2292510" y="4692378"/>
                  </a:cubicBezTo>
                  <a:cubicBezTo>
                    <a:pt x="2292510" y="4725944"/>
                    <a:pt x="2265658" y="4749440"/>
                    <a:pt x="2235449" y="4749440"/>
                  </a:cubicBezTo>
                  <a:cubicBezTo>
                    <a:pt x="2205240" y="4749440"/>
                    <a:pt x="2181744" y="4722587"/>
                    <a:pt x="2178388" y="4692378"/>
                  </a:cubicBezTo>
                  <a:cubicBezTo>
                    <a:pt x="2178388" y="4658813"/>
                    <a:pt x="2205240" y="4635317"/>
                    <a:pt x="2235449" y="4635317"/>
                  </a:cubicBezTo>
                  <a:close/>
                  <a:moveTo>
                    <a:pt x="1335899" y="4628604"/>
                  </a:moveTo>
                  <a:cubicBezTo>
                    <a:pt x="1376178" y="4628604"/>
                    <a:pt x="1406387" y="4658813"/>
                    <a:pt x="1406387" y="4699092"/>
                  </a:cubicBezTo>
                  <a:cubicBezTo>
                    <a:pt x="1406387" y="4739370"/>
                    <a:pt x="1376178" y="4769579"/>
                    <a:pt x="1335899" y="4769579"/>
                  </a:cubicBezTo>
                  <a:cubicBezTo>
                    <a:pt x="1295621" y="4769579"/>
                    <a:pt x="1265412" y="4736013"/>
                    <a:pt x="1265412" y="4699092"/>
                  </a:cubicBezTo>
                  <a:cubicBezTo>
                    <a:pt x="1265412" y="4658813"/>
                    <a:pt x="1295621" y="4628604"/>
                    <a:pt x="1335899" y="4628604"/>
                  </a:cubicBezTo>
                  <a:close/>
                  <a:moveTo>
                    <a:pt x="490053" y="4615178"/>
                  </a:moveTo>
                  <a:cubicBezTo>
                    <a:pt x="513549" y="4615178"/>
                    <a:pt x="533688" y="4635317"/>
                    <a:pt x="533688" y="4658813"/>
                  </a:cubicBezTo>
                  <a:cubicBezTo>
                    <a:pt x="533688" y="4682309"/>
                    <a:pt x="513549" y="4702448"/>
                    <a:pt x="490053" y="4702448"/>
                  </a:cubicBezTo>
                  <a:cubicBezTo>
                    <a:pt x="466558" y="4702448"/>
                    <a:pt x="446418" y="4682309"/>
                    <a:pt x="446418" y="4658813"/>
                  </a:cubicBezTo>
                  <a:cubicBezTo>
                    <a:pt x="446418" y="4635317"/>
                    <a:pt x="466558" y="4615178"/>
                    <a:pt x="490053" y="4615178"/>
                  </a:cubicBezTo>
                  <a:close/>
                  <a:moveTo>
                    <a:pt x="3833158" y="4598395"/>
                  </a:moveTo>
                  <a:cubicBezTo>
                    <a:pt x="3839869" y="4598395"/>
                    <a:pt x="3846584" y="4605108"/>
                    <a:pt x="3846584" y="4611822"/>
                  </a:cubicBezTo>
                  <a:cubicBezTo>
                    <a:pt x="3846584" y="4618535"/>
                    <a:pt x="3839869" y="4625248"/>
                    <a:pt x="3833158" y="4625248"/>
                  </a:cubicBezTo>
                  <a:cubicBezTo>
                    <a:pt x="3826443" y="4625248"/>
                    <a:pt x="3819732" y="4618535"/>
                    <a:pt x="3819732" y="4611822"/>
                  </a:cubicBezTo>
                  <a:cubicBezTo>
                    <a:pt x="3819732" y="4605108"/>
                    <a:pt x="3826443" y="4598395"/>
                    <a:pt x="3833158" y="4598395"/>
                  </a:cubicBezTo>
                  <a:close/>
                  <a:moveTo>
                    <a:pt x="1883014" y="4584969"/>
                  </a:moveTo>
                  <a:cubicBezTo>
                    <a:pt x="1919936" y="4584969"/>
                    <a:pt x="1946788" y="4615178"/>
                    <a:pt x="1946788" y="4648743"/>
                  </a:cubicBezTo>
                  <a:cubicBezTo>
                    <a:pt x="1946788" y="4685665"/>
                    <a:pt x="1916579" y="4712517"/>
                    <a:pt x="1883014" y="4712517"/>
                  </a:cubicBezTo>
                  <a:cubicBezTo>
                    <a:pt x="1846092" y="4712517"/>
                    <a:pt x="1819240" y="4685665"/>
                    <a:pt x="1819240" y="4648743"/>
                  </a:cubicBezTo>
                  <a:cubicBezTo>
                    <a:pt x="1819240" y="4611822"/>
                    <a:pt x="1849448" y="4584969"/>
                    <a:pt x="1883014" y="4584969"/>
                  </a:cubicBezTo>
                  <a:close/>
                  <a:moveTo>
                    <a:pt x="3225624" y="4568187"/>
                  </a:moveTo>
                  <a:cubicBezTo>
                    <a:pt x="3235695" y="4568187"/>
                    <a:pt x="3245765" y="4578256"/>
                    <a:pt x="3245765" y="4588326"/>
                  </a:cubicBezTo>
                  <a:cubicBezTo>
                    <a:pt x="3245765" y="4598395"/>
                    <a:pt x="3235695" y="4608465"/>
                    <a:pt x="3225624" y="4608465"/>
                  </a:cubicBezTo>
                  <a:cubicBezTo>
                    <a:pt x="3215556" y="4608465"/>
                    <a:pt x="3205487" y="4601752"/>
                    <a:pt x="3205487" y="4588326"/>
                  </a:cubicBezTo>
                  <a:cubicBezTo>
                    <a:pt x="3205487" y="4578256"/>
                    <a:pt x="3215556" y="4568187"/>
                    <a:pt x="3225624" y="4568187"/>
                  </a:cubicBezTo>
                  <a:close/>
                  <a:moveTo>
                    <a:pt x="2829555" y="4561474"/>
                  </a:moveTo>
                  <a:cubicBezTo>
                    <a:pt x="2849694" y="4561474"/>
                    <a:pt x="2866477" y="4578256"/>
                    <a:pt x="2866477" y="4598395"/>
                  </a:cubicBezTo>
                  <a:cubicBezTo>
                    <a:pt x="2866477" y="4618535"/>
                    <a:pt x="2849694" y="4635317"/>
                    <a:pt x="2829555" y="4635317"/>
                  </a:cubicBezTo>
                  <a:cubicBezTo>
                    <a:pt x="2809416" y="4635317"/>
                    <a:pt x="2792633" y="4621891"/>
                    <a:pt x="2792633" y="4598395"/>
                  </a:cubicBezTo>
                  <a:cubicBezTo>
                    <a:pt x="2792633" y="4578256"/>
                    <a:pt x="2809416" y="4561474"/>
                    <a:pt x="2829555" y="4561474"/>
                  </a:cubicBezTo>
                  <a:close/>
                  <a:moveTo>
                    <a:pt x="1010315" y="4561474"/>
                  </a:moveTo>
                  <a:cubicBezTo>
                    <a:pt x="1050594" y="4561474"/>
                    <a:pt x="1080803" y="4591682"/>
                    <a:pt x="1080803" y="4631961"/>
                  </a:cubicBezTo>
                  <a:cubicBezTo>
                    <a:pt x="1080803" y="4672239"/>
                    <a:pt x="1050594" y="4702448"/>
                    <a:pt x="1010315" y="4702448"/>
                  </a:cubicBezTo>
                  <a:cubicBezTo>
                    <a:pt x="970037" y="4702448"/>
                    <a:pt x="939828" y="4672239"/>
                    <a:pt x="939828" y="4631961"/>
                  </a:cubicBezTo>
                  <a:cubicBezTo>
                    <a:pt x="939828" y="4591682"/>
                    <a:pt x="970037" y="4561474"/>
                    <a:pt x="1010315" y="4561474"/>
                  </a:cubicBezTo>
                  <a:close/>
                  <a:moveTo>
                    <a:pt x="2453624" y="4541334"/>
                  </a:moveTo>
                  <a:cubicBezTo>
                    <a:pt x="2477120" y="4541334"/>
                    <a:pt x="2497259" y="4561474"/>
                    <a:pt x="2497259" y="4584969"/>
                  </a:cubicBezTo>
                  <a:cubicBezTo>
                    <a:pt x="2497259" y="4608465"/>
                    <a:pt x="2477120" y="4628604"/>
                    <a:pt x="2453624" y="4628604"/>
                  </a:cubicBezTo>
                  <a:cubicBezTo>
                    <a:pt x="2426772" y="4628604"/>
                    <a:pt x="2409989" y="4608465"/>
                    <a:pt x="2409989" y="4584969"/>
                  </a:cubicBezTo>
                  <a:cubicBezTo>
                    <a:pt x="2409989" y="4561474"/>
                    <a:pt x="2430128" y="4541334"/>
                    <a:pt x="2453624" y="4541334"/>
                  </a:cubicBezTo>
                  <a:close/>
                  <a:moveTo>
                    <a:pt x="1544004" y="4534621"/>
                  </a:moveTo>
                  <a:cubicBezTo>
                    <a:pt x="1577569" y="4534621"/>
                    <a:pt x="1607778" y="4561474"/>
                    <a:pt x="1607778" y="4598395"/>
                  </a:cubicBezTo>
                  <a:cubicBezTo>
                    <a:pt x="1607778" y="4631961"/>
                    <a:pt x="1580925" y="4662169"/>
                    <a:pt x="1544004" y="4662169"/>
                  </a:cubicBezTo>
                  <a:cubicBezTo>
                    <a:pt x="1507082" y="4662169"/>
                    <a:pt x="1480229" y="4631961"/>
                    <a:pt x="1480229" y="4598395"/>
                  </a:cubicBezTo>
                  <a:cubicBezTo>
                    <a:pt x="1480229" y="4564830"/>
                    <a:pt x="1507082" y="4534621"/>
                    <a:pt x="1544004" y="4534621"/>
                  </a:cubicBezTo>
                  <a:close/>
                  <a:moveTo>
                    <a:pt x="3641834" y="4531265"/>
                  </a:moveTo>
                  <a:cubicBezTo>
                    <a:pt x="3648550" y="4531265"/>
                    <a:pt x="3655261" y="4537978"/>
                    <a:pt x="3655261" y="4544691"/>
                  </a:cubicBezTo>
                  <a:cubicBezTo>
                    <a:pt x="3655261" y="4551404"/>
                    <a:pt x="3648550" y="4558117"/>
                    <a:pt x="3641834" y="4558117"/>
                  </a:cubicBezTo>
                  <a:cubicBezTo>
                    <a:pt x="3635124" y="4558117"/>
                    <a:pt x="3628408" y="4551404"/>
                    <a:pt x="3628408" y="4544691"/>
                  </a:cubicBezTo>
                  <a:cubicBezTo>
                    <a:pt x="3628408" y="4537978"/>
                    <a:pt x="3635124" y="4531265"/>
                    <a:pt x="3641834" y="4531265"/>
                  </a:cubicBezTo>
                  <a:close/>
                  <a:moveTo>
                    <a:pt x="694802" y="4504412"/>
                  </a:moveTo>
                  <a:cubicBezTo>
                    <a:pt x="725011" y="4504412"/>
                    <a:pt x="748507" y="4527908"/>
                    <a:pt x="748507" y="4558117"/>
                  </a:cubicBezTo>
                  <a:cubicBezTo>
                    <a:pt x="748507" y="4588326"/>
                    <a:pt x="725011" y="4611822"/>
                    <a:pt x="694802" y="4611822"/>
                  </a:cubicBezTo>
                  <a:cubicBezTo>
                    <a:pt x="667950" y="4611822"/>
                    <a:pt x="641097" y="4588326"/>
                    <a:pt x="641097" y="4558117"/>
                  </a:cubicBezTo>
                  <a:cubicBezTo>
                    <a:pt x="641097" y="4527908"/>
                    <a:pt x="664593" y="4504412"/>
                    <a:pt x="694802" y="4504412"/>
                  </a:cubicBezTo>
                  <a:close/>
                  <a:moveTo>
                    <a:pt x="2094474" y="4487630"/>
                  </a:moveTo>
                  <a:cubicBezTo>
                    <a:pt x="2128040" y="4487630"/>
                    <a:pt x="2151536" y="4514482"/>
                    <a:pt x="2151536" y="4544691"/>
                  </a:cubicBezTo>
                  <a:cubicBezTo>
                    <a:pt x="2151536" y="4578256"/>
                    <a:pt x="2124683" y="4601752"/>
                    <a:pt x="2094474" y="4601752"/>
                  </a:cubicBezTo>
                  <a:cubicBezTo>
                    <a:pt x="2064266" y="4601752"/>
                    <a:pt x="2037413" y="4578256"/>
                    <a:pt x="2037413" y="4544691"/>
                  </a:cubicBezTo>
                  <a:cubicBezTo>
                    <a:pt x="2037413" y="4511125"/>
                    <a:pt x="2064266" y="4487630"/>
                    <a:pt x="2094474" y="4487630"/>
                  </a:cubicBezTo>
                  <a:close/>
                  <a:moveTo>
                    <a:pt x="3051086" y="4467491"/>
                  </a:moveTo>
                  <a:cubicBezTo>
                    <a:pt x="3058502" y="4467491"/>
                    <a:pt x="3064512" y="4473502"/>
                    <a:pt x="3064512" y="4480917"/>
                  </a:cubicBezTo>
                  <a:cubicBezTo>
                    <a:pt x="3064512" y="4488332"/>
                    <a:pt x="3058502" y="4494343"/>
                    <a:pt x="3051086" y="4494343"/>
                  </a:cubicBezTo>
                  <a:cubicBezTo>
                    <a:pt x="3043671" y="4494343"/>
                    <a:pt x="3037660" y="4488331"/>
                    <a:pt x="3037660" y="4480917"/>
                  </a:cubicBezTo>
                  <a:cubicBezTo>
                    <a:pt x="3037660" y="4473501"/>
                    <a:pt x="3043671" y="4467491"/>
                    <a:pt x="3051086" y="4467491"/>
                  </a:cubicBezTo>
                  <a:close/>
                  <a:moveTo>
                    <a:pt x="392714" y="4467491"/>
                  </a:moveTo>
                  <a:cubicBezTo>
                    <a:pt x="399427" y="4467491"/>
                    <a:pt x="406140" y="4474204"/>
                    <a:pt x="406140" y="4480917"/>
                  </a:cubicBezTo>
                  <a:cubicBezTo>
                    <a:pt x="406140" y="4487630"/>
                    <a:pt x="399427" y="4494343"/>
                    <a:pt x="392714" y="4494343"/>
                  </a:cubicBezTo>
                  <a:cubicBezTo>
                    <a:pt x="382644" y="4494343"/>
                    <a:pt x="379288" y="4487630"/>
                    <a:pt x="379288" y="4480917"/>
                  </a:cubicBezTo>
                  <a:cubicBezTo>
                    <a:pt x="379288" y="4474204"/>
                    <a:pt x="386001" y="4467491"/>
                    <a:pt x="392714" y="4467491"/>
                  </a:cubicBezTo>
                  <a:close/>
                  <a:moveTo>
                    <a:pt x="1215064" y="4460777"/>
                  </a:moveTo>
                  <a:cubicBezTo>
                    <a:pt x="1255342" y="4460777"/>
                    <a:pt x="1285551" y="4490986"/>
                    <a:pt x="1285551" y="4531265"/>
                  </a:cubicBezTo>
                  <a:cubicBezTo>
                    <a:pt x="1285551" y="4571543"/>
                    <a:pt x="1255342" y="4601752"/>
                    <a:pt x="1215064" y="4601752"/>
                  </a:cubicBezTo>
                  <a:cubicBezTo>
                    <a:pt x="1178142" y="4601752"/>
                    <a:pt x="1144577" y="4571543"/>
                    <a:pt x="1144577" y="4531265"/>
                  </a:cubicBezTo>
                  <a:cubicBezTo>
                    <a:pt x="1144577" y="4490986"/>
                    <a:pt x="1174786" y="4460777"/>
                    <a:pt x="1215064" y="4460777"/>
                  </a:cubicBezTo>
                  <a:close/>
                  <a:moveTo>
                    <a:pt x="3457226" y="4454064"/>
                  </a:moveTo>
                  <a:cubicBezTo>
                    <a:pt x="3460584" y="4454064"/>
                    <a:pt x="3463939" y="4457421"/>
                    <a:pt x="3463939" y="4460777"/>
                  </a:cubicBezTo>
                  <a:cubicBezTo>
                    <a:pt x="3463939" y="4464134"/>
                    <a:pt x="3460584" y="4467491"/>
                    <a:pt x="3457226" y="4467491"/>
                  </a:cubicBezTo>
                  <a:cubicBezTo>
                    <a:pt x="3453868" y="4467491"/>
                    <a:pt x="3450513" y="4464134"/>
                    <a:pt x="3450513" y="4460777"/>
                  </a:cubicBezTo>
                  <a:cubicBezTo>
                    <a:pt x="3450513" y="4457421"/>
                    <a:pt x="3453868" y="4454064"/>
                    <a:pt x="3457226" y="4454064"/>
                  </a:cubicBezTo>
                  <a:close/>
                  <a:moveTo>
                    <a:pt x="2668441" y="4454064"/>
                  </a:moveTo>
                  <a:cubicBezTo>
                    <a:pt x="2678511" y="4454064"/>
                    <a:pt x="2688580" y="4464134"/>
                    <a:pt x="2688580" y="4474204"/>
                  </a:cubicBezTo>
                  <a:cubicBezTo>
                    <a:pt x="2688580" y="4484273"/>
                    <a:pt x="2678511" y="4494343"/>
                    <a:pt x="2668441" y="4494343"/>
                  </a:cubicBezTo>
                  <a:cubicBezTo>
                    <a:pt x="2658372" y="4494343"/>
                    <a:pt x="2651658" y="4484273"/>
                    <a:pt x="2648302" y="4474204"/>
                  </a:cubicBezTo>
                  <a:cubicBezTo>
                    <a:pt x="2648302" y="4464134"/>
                    <a:pt x="2658372" y="4454064"/>
                    <a:pt x="2668441" y="4454064"/>
                  </a:cubicBezTo>
                  <a:close/>
                  <a:moveTo>
                    <a:pt x="1752109" y="4440638"/>
                  </a:moveTo>
                  <a:cubicBezTo>
                    <a:pt x="1782318" y="4440638"/>
                    <a:pt x="1805813" y="4464134"/>
                    <a:pt x="1805813" y="4494343"/>
                  </a:cubicBezTo>
                  <a:cubicBezTo>
                    <a:pt x="1805813" y="4524552"/>
                    <a:pt x="1782318" y="4548047"/>
                    <a:pt x="1752109" y="4548047"/>
                  </a:cubicBezTo>
                  <a:cubicBezTo>
                    <a:pt x="1721900" y="4548047"/>
                    <a:pt x="1698404" y="4524552"/>
                    <a:pt x="1698404" y="4494343"/>
                  </a:cubicBezTo>
                  <a:cubicBezTo>
                    <a:pt x="1698404" y="4464134"/>
                    <a:pt x="1721900" y="4440638"/>
                    <a:pt x="1752109" y="4440638"/>
                  </a:cubicBezTo>
                  <a:close/>
                  <a:moveTo>
                    <a:pt x="899550" y="4413786"/>
                  </a:moveTo>
                  <a:cubicBezTo>
                    <a:pt x="926402" y="4413786"/>
                    <a:pt x="949898" y="4433925"/>
                    <a:pt x="949898" y="4464134"/>
                  </a:cubicBezTo>
                  <a:cubicBezTo>
                    <a:pt x="949898" y="4490986"/>
                    <a:pt x="929758" y="4514482"/>
                    <a:pt x="899550" y="4514482"/>
                  </a:cubicBezTo>
                  <a:cubicBezTo>
                    <a:pt x="872697" y="4514482"/>
                    <a:pt x="849202" y="4490986"/>
                    <a:pt x="849202" y="4464134"/>
                  </a:cubicBezTo>
                  <a:cubicBezTo>
                    <a:pt x="849202" y="4437282"/>
                    <a:pt x="869341" y="4413786"/>
                    <a:pt x="899550" y="4413786"/>
                  </a:cubicBezTo>
                  <a:close/>
                  <a:moveTo>
                    <a:pt x="2305936" y="4410429"/>
                  </a:moveTo>
                  <a:cubicBezTo>
                    <a:pt x="2322719" y="4410429"/>
                    <a:pt x="2336145" y="4423856"/>
                    <a:pt x="2336145" y="4440638"/>
                  </a:cubicBezTo>
                  <a:cubicBezTo>
                    <a:pt x="2336145" y="4457421"/>
                    <a:pt x="2322719" y="4470847"/>
                    <a:pt x="2305936" y="4470847"/>
                  </a:cubicBezTo>
                  <a:cubicBezTo>
                    <a:pt x="2289154" y="4470847"/>
                    <a:pt x="2279084" y="4457421"/>
                    <a:pt x="2275728" y="4440638"/>
                  </a:cubicBezTo>
                  <a:cubicBezTo>
                    <a:pt x="2275728" y="4423856"/>
                    <a:pt x="2289154" y="4410429"/>
                    <a:pt x="2305936" y="4410429"/>
                  </a:cubicBezTo>
                  <a:close/>
                  <a:moveTo>
                    <a:pt x="3882246" y="4389453"/>
                  </a:moveTo>
                  <a:cubicBezTo>
                    <a:pt x="3882667" y="4388614"/>
                    <a:pt x="3883505" y="4388614"/>
                    <a:pt x="3883505" y="4390291"/>
                  </a:cubicBezTo>
                  <a:cubicBezTo>
                    <a:pt x="3883505" y="4390291"/>
                    <a:pt x="3886863" y="4390291"/>
                    <a:pt x="3883505" y="4393648"/>
                  </a:cubicBezTo>
                  <a:cubicBezTo>
                    <a:pt x="3881826" y="4391970"/>
                    <a:pt x="3881826" y="4390291"/>
                    <a:pt x="3882246" y="4389453"/>
                  </a:cubicBezTo>
                  <a:close/>
                  <a:moveTo>
                    <a:pt x="1423169" y="4373507"/>
                  </a:moveTo>
                  <a:cubicBezTo>
                    <a:pt x="1456735" y="4373507"/>
                    <a:pt x="1480230" y="4400360"/>
                    <a:pt x="1480230" y="4430569"/>
                  </a:cubicBezTo>
                  <a:cubicBezTo>
                    <a:pt x="1480230" y="4464134"/>
                    <a:pt x="1453378" y="4487630"/>
                    <a:pt x="1423169" y="4487630"/>
                  </a:cubicBezTo>
                  <a:cubicBezTo>
                    <a:pt x="1392960" y="4487630"/>
                    <a:pt x="1366108" y="4464134"/>
                    <a:pt x="1366108" y="4430569"/>
                  </a:cubicBezTo>
                  <a:cubicBezTo>
                    <a:pt x="1366108" y="4397003"/>
                    <a:pt x="1392960" y="4373507"/>
                    <a:pt x="1423169" y="4373507"/>
                  </a:cubicBezTo>
                  <a:close/>
                  <a:moveTo>
                    <a:pt x="1960214" y="4353368"/>
                  </a:moveTo>
                  <a:cubicBezTo>
                    <a:pt x="1983710" y="4353368"/>
                    <a:pt x="2000492" y="4370151"/>
                    <a:pt x="2000492" y="4393647"/>
                  </a:cubicBezTo>
                  <a:cubicBezTo>
                    <a:pt x="2000492" y="4417142"/>
                    <a:pt x="1983710" y="4433925"/>
                    <a:pt x="1960214" y="4433925"/>
                  </a:cubicBezTo>
                  <a:cubicBezTo>
                    <a:pt x="1936718" y="4433925"/>
                    <a:pt x="1919936" y="4417142"/>
                    <a:pt x="1919936" y="4393647"/>
                  </a:cubicBezTo>
                  <a:cubicBezTo>
                    <a:pt x="1919936" y="4370151"/>
                    <a:pt x="1936718" y="4353368"/>
                    <a:pt x="1960214" y="4353368"/>
                  </a:cubicBezTo>
                  <a:close/>
                  <a:moveTo>
                    <a:pt x="3279328" y="4350013"/>
                  </a:moveTo>
                  <a:cubicBezTo>
                    <a:pt x="3286044" y="4350013"/>
                    <a:pt x="3289399" y="4353369"/>
                    <a:pt x="3289399" y="4360082"/>
                  </a:cubicBezTo>
                  <a:cubicBezTo>
                    <a:pt x="3289399" y="4366795"/>
                    <a:pt x="3286044" y="4370152"/>
                    <a:pt x="3279328" y="4370152"/>
                  </a:cubicBezTo>
                  <a:cubicBezTo>
                    <a:pt x="3275973" y="4370152"/>
                    <a:pt x="3269260" y="4366795"/>
                    <a:pt x="3269260" y="4360082"/>
                  </a:cubicBezTo>
                  <a:cubicBezTo>
                    <a:pt x="3269260" y="4353369"/>
                    <a:pt x="3272618" y="4350013"/>
                    <a:pt x="3279328" y="4350013"/>
                  </a:cubicBezTo>
                  <a:close/>
                  <a:moveTo>
                    <a:pt x="2889972" y="4343299"/>
                  </a:moveTo>
                  <a:cubicBezTo>
                    <a:pt x="2900042" y="4343299"/>
                    <a:pt x="2906755" y="4350012"/>
                    <a:pt x="2906755" y="4360081"/>
                  </a:cubicBezTo>
                  <a:cubicBezTo>
                    <a:pt x="2906755" y="4370151"/>
                    <a:pt x="2900042" y="4376864"/>
                    <a:pt x="2889972" y="4376864"/>
                  </a:cubicBezTo>
                  <a:cubicBezTo>
                    <a:pt x="2879903" y="4376864"/>
                    <a:pt x="2873190" y="4370151"/>
                    <a:pt x="2873190" y="4360081"/>
                  </a:cubicBezTo>
                  <a:cubicBezTo>
                    <a:pt x="2873190" y="4350012"/>
                    <a:pt x="2879903" y="4343299"/>
                    <a:pt x="2889972" y="4343299"/>
                  </a:cubicBezTo>
                  <a:close/>
                  <a:moveTo>
                    <a:pt x="597462" y="4336586"/>
                  </a:moveTo>
                  <a:cubicBezTo>
                    <a:pt x="624315" y="4336586"/>
                    <a:pt x="644454" y="4356725"/>
                    <a:pt x="644454" y="4383577"/>
                  </a:cubicBezTo>
                  <a:cubicBezTo>
                    <a:pt x="644454" y="4410429"/>
                    <a:pt x="624315" y="4430569"/>
                    <a:pt x="597462" y="4430569"/>
                  </a:cubicBezTo>
                  <a:cubicBezTo>
                    <a:pt x="570610" y="4430569"/>
                    <a:pt x="547114" y="4410429"/>
                    <a:pt x="550471" y="4383577"/>
                  </a:cubicBezTo>
                  <a:cubicBezTo>
                    <a:pt x="550471" y="4356725"/>
                    <a:pt x="570610" y="4336586"/>
                    <a:pt x="597462" y="4336586"/>
                  </a:cubicBezTo>
                  <a:close/>
                  <a:moveTo>
                    <a:pt x="3692184" y="4316447"/>
                  </a:moveTo>
                  <a:cubicBezTo>
                    <a:pt x="3692184" y="4316447"/>
                    <a:pt x="3695539" y="4316447"/>
                    <a:pt x="3695539" y="4319804"/>
                  </a:cubicBezTo>
                  <a:cubicBezTo>
                    <a:pt x="3695539" y="4319804"/>
                    <a:pt x="3695539" y="4323161"/>
                    <a:pt x="3692184" y="4323161"/>
                  </a:cubicBezTo>
                  <a:cubicBezTo>
                    <a:pt x="3692184" y="4323161"/>
                    <a:pt x="3688828" y="4323161"/>
                    <a:pt x="3688828" y="4319804"/>
                  </a:cubicBezTo>
                  <a:cubicBezTo>
                    <a:pt x="3688828" y="4319804"/>
                    <a:pt x="3688828" y="4316447"/>
                    <a:pt x="3692184" y="4316447"/>
                  </a:cubicBezTo>
                  <a:close/>
                  <a:moveTo>
                    <a:pt x="2520754" y="4316447"/>
                  </a:moveTo>
                  <a:cubicBezTo>
                    <a:pt x="2530824" y="4316447"/>
                    <a:pt x="2540894" y="4326517"/>
                    <a:pt x="2540894" y="4336587"/>
                  </a:cubicBezTo>
                  <a:cubicBezTo>
                    <a:pt x="2540894" y="4346656"/>
                    <a:pt x="2530824" y="4356726"/>
                    <a:pt x="2520754" y="4356726"/>
                  </a:cubicBezTo>
                  <a:cubicBezTo>
                    <a:pt x="2510685" y="4356726"/>
                    <a:pt x="2500615" y="4346656"/>
                    <a:pt x="2500615" y="4336587"/>
                  </a:cubicBezTo>
                  <a:cubicBezTo>
                    <a:pt x="2500615" y="4326517"/>
                    <a:pt x="2510685" y="4316447"/>
                    <a:pt x="2520754" y="4316447"/>
                  </a:cubicBezTo>
                  <a:close/>
                  <a:moveTo>
                    <a:pt x="1104298" y="4299665"/>
                  </a:moveTo>
                  <a:cubicBezTo>
                    <a:pt x="1137864" y="4299665"/>
                    <a:pt x="1164716" y="4326517"/>
                    <a:pt x="1164716" y="4360082"/>
                  </a:cubicBezTo>
                  <a:cubicBezTo>
                    <a:pt x="1164716" y="4393647"/>
                    <a:pt x="1137864" y="4420500"/>
                    <a:pt x="1104298" y="4420500"/>
                  </a:cubicBezTo>
                  <a:cubicBezTo>
                    <a:pt x="1074090" y="4420500"/>
                    <a:pt x="1047237" y="4393647"/>
                    <a:pt x="1043881" y="4360082"/>
                  </a:cubicBezTo>
                  <a:cubicBezTo>
                    <a:pt x="1043881" y="4326517"/>
                    <a:pt x="1070733" y="4299665"/>
                    <a:pt x="1104298" y="4299665"/>
                  </a:cubicBezTo>
                  <a:close/>
                  <a:moveTo>
                    <a:pt x="1627917" y="4279526"/>
                  </a:moveTo>
                  <a:cubicBezTo>
                    <a:pt x="1658126" y="4279526"/>
                    <a:pt x="1681622" y="4303021"/>
                    <a:pt x="1681622" y="4333230"/>
                  </a:cubicBezTo>
                  <a:cubicBezTo>
                    <a:pt x="1681622" y="4363439"/>
                    <a:pt x="1658126" y="4386935"/>
                    <a:pt x="1627917" y="4386935"/>
                  </a:cubicBezTo>
                  <a:cubicBezTo>
                    <a:pt x="1601065" y="4386935"/>
                    <a:pt x="1574212" y="4363439"/>
                    <a:pt x="1574212" y="4333230"/>
                  </a:cubicBezTo>
                  <a:cubicBezTo>
                    <a:pt x="1574212" y="4303021"/>
                    <a:pt x="1597708" y="4279526"/>
                    <a:pt x="1627917" y="4279526"/>
                  </a:cubicBezTo>
                  <a:close/>
                  <a:moveTo>
                    <a:pt x="2168318" y="4269455"/>
                  </a:moveTo>
                  <a:cubicBezTo>
                    <a:pt x="2181744" y="4269455"/>
                    <a:pt x="2191814" y="4279524"/>
                    <a:pt x="2191814" y="4292951"/>
                  </a:cubicBezTo>
                  <a:cubicBezTo>
                    <a:pt x="2191814" y="4306377"/>
                    <a:pt x="2181744" y="4316446"/>
                    <a:pt x="2168318" y="4316446"/>
                  </a:cubicBezTo>
                  <a:cubicBezTo>
                    <a:pt x="2154892" y="4316446"/>
                    <a:pt x="2144822" y="4306377"/>
                    <a:pt x="2144822" y="4292951"/>
                  </a:cubicBezTo>
                  <a:cubicBezTo>
                    <a:pt x="2144822" y="4279524"/>
                    <a:pt x="2154892" y="4269455"/>
                    <a:pt x="2168318" y="4269455"/>
                  </a:cubicBezTo>
                  <a:close/>
                  <a:moveTo>
                    <a:pt x="298731" y="4269455"/>
                  </a:moveTo>
                  <a:cubicBezTo>
                    <a:pt x="315513" y="4269455"/>
                    <a:pt x="328940" y="4282881"/>
                    <a:pt x="328940" y="4299664"/>
                  </a:cubicBezTo>
                  <a:cubicBezTo>
                    <a:pt x="328940" y="4316446"/>
                    <a:pt x="315513" y="4329873"/>
                    <a:pt x="298731" y="4329873"/>
                  </a:cubicBezTo>
                  <a:cubicBezTo>
                    <a:pt x="285305" y="4329873"/>
                    <a:pt x="268522" y="4316446"/>
                    <a:pt x="268522" y="4299664"/>
                  </a:cubicBezTo>
                  <a:cubicBezTo>
                    <a:pt x="268522" y="4282881"/>
                    <a:pt x="281948" y="4269455"/>
                    <a:pt x="298731" y="4269455"/>
                  </a:cubicBezTo>
                  <a:close/>
                  <a:moveTo>
                    <a:pt x="798855" y="4245960"/>
                  </a:moveTo>
                  <a:cubicBezTo>
                    <a:pt x="818994" y="4245960"/>
                    <a:pt x="839133" y="4262743"/>
                    <a:pt x="839133" y="4286239"/>
                  </a:cubicBezTo>
                  <a:cubicBezTo>
                    <a:pt x="839133" y="4306378"/>
                    <a:pt x="822350" y="4326517"/>
                    <a:pt x="798855" y="4326517"/>
                  </a:cubicBezTo>
                  <a:cubicBezTo>
                    <a:pt x="778715" y="4326517"/>
                    <a:pt x="758576" y="4306378"/>
                    <a:pt x="758576" y="4286239"/>
                  </a:cubicBezTo>
                  <a:cubicBezTo>
                    <a:pt x="758576" y="4266099"/>
                    <a:pt x="775359" y="4245960"/>
                    <a:pt x="798855" y="4245960"/>
                  </a:cubicBezTo>
                  <a:close/>
                  <a:moveTo>
                    <a:pt x="3111504" y="4235891"/>
                  </a:moveTo>
                  <a:cubicBezTo>
                    <a:pt x="3118217" y="4235891"/>
                    <a:pt x="3121574" y="4242604"/>
                    <a:pt x="3121574" y="4245960"/>
                  </a:cubicBezTo>
                  <a:cubicBezTo>
                    <a:pt x="3121574" y="4252673"/>
                    <a:pt x="3118217" y="4256030"/>
                    <a:pt x="3111504" y="4256030"/>
                  </a:cubicBezTo>
                  <a:cubicBezTo>
                    <a:pt x="3104791" y="4256030"/>
                    <a:pt x="3101434" y="4252673"/>
                    <a:pt x="3101434" y="4245960"/>
                  </a:cubicBezTo>
                  <a:cubicBezTo>
                    <a:pt x="3101434" y="4239247"/>
                    <a:pt x="3108147" y="4235891"/>
                    <a:pt x="3111504" y="4235891"/>
                  </a:cubicBezTo>
                  <a:close/>
                  <a:moveTo>
                    <a:pt x="3510931" y="4229177"/>
                  </a:moveTo>
                  <a:cubicBezTo>
                    <a:pt x="3510931" y="4229177"/>
                    <a:pt x="3514288" y="4232534"/>
                    <a:pt x="3510931" y="4235891"/>
                  </a:cubicBezTo>
                  <a:cubicBezTo>
                    <a:pt x="3507573" y="4229177"/>
                    <a:pt x="3507573" y="4229177"/>
                    <a:pt x="3510931" y="4229177"/>
                  </a:cubicBezTo>
                  <a:close/>
                  <a:moveTo>
                    <a:pt x="2735572" y="4215751"/>
                  </a:moveTo>
                  <a:cubicBezTo>
                    <a:pt x="2742285" y="4215751"/>
                    <a:pt x="2748998" y="4222464"/>
                    <a:pt x="2748998" y="4229177"/>
                  </a:cubicBezTo>
                  <a:cubicBezTo>
                    <a:pt x="2748998" y="4235891"/>
                    <a:pt x="2742285" y="4242604"/>
                    <a:pt x="2735572" y="4242604"/>
                  </a:cubicBezTo>
                  <a:cubicBezTo>
                    <a:pt x="2728859" y="4242604"/>
                    <a:pt x="2722146" y="4235891"/>
                    <a:pt x="2722146" y="4229177"/>
                  </a:cubicBezTo>
                  <a:cubicBezTo>
                    <a:pt x="2722146" y="4222464"/>
                    <a:pt x="2728859" y="4215751"/>
                    <a:pt x="2735572" y="4215751"/>
                  </a:cubicBezTo>
                  <a:close/>
                  <a:moveTo>
                    <a:pt x="1312404" y="4212395"/>
                  </a:moveTo>
                  <a:cubicBezTo>
                    <a:pt x="1339256" y="4212395"/>
                    <a:pt x="1362752" y="4235891"/>
                    <a:pt x="1362752" y="4262743"/>
                  </a:cubicBezTo>
                  <a:cubicBezTo>
                    <a:pt x="1362752" y="4289595"/>
                    <a:pt x="1339256" y="4313091"/>
                    <a:pt x="1312404" y="4313091"/>
                  </a:cubicBezTo>
                  <a:cubicBezTo>
                    <a:pt x="1285551" y="4313091"/>
                    <a:pt x="1262056" y="4289595"/>
                    <a:pt x="1262056" y="4262743"/>
                  </a:cubicBezTo>
                  <a:cubicBezTo>
                    <a:pt x="1262056" y="4235891"/>
                    <a:pt x="1285551" y="4212395"/>
                    <a:pt x="1312404" y="4212395"/>
                  </a:cubicBezTo>
                  <a:close/>
                  <a:moveTo>
                    <a:pt x="1836022" y="4198969"/>
                  </a:moveTo>
                  <a:cubicBezTo>
                    <a:pt x="1856161" y="4198969"/>
                    <a:pt x="1869588" y="4212395"/>
                    <a:pt x="1869588" y="4232534"/>
                  </a:cubicBezTo>
                  <a:cubicBezTo>
                    <a:pt x="1869588" y="4252673"/>
                    <a:pt x="1852805" y="4266099"/>
                    <a:pt x="1836022" y="4266099"/>
                  </a:cubicBezTo>
                  <a:cubicBezTo>
                    <a:pt x="1819240" y="4266099"/>
                    <a:pt x="1802457" y="4252673"/>
                    <a:pt x="1802457" y="4232534"/>
                  </a:cubicBezTo>
                  <a:cubicBezTo>
                    <a:pt x="1802457" y="4212395"/>
                    <a:pt x="1819240" y="4198969"/>
                    <a:pt x="1836022" y="4198969"/>
                  </a:cubicBezTo>
                  <a:close/>
                  <a:moveTo>
                    <a:pt x="2379780" y="4172116"/>
                  </a:moveTo>
                  <a:cubicBezTo>
                    <a:pt x="2389850" y="4172116"/>
                    <a:pt x="2396563" y="4178829"/>
                    <a:pt x="2396563" y="4188899"/>
                  </a:cubicBezTo>
                  <a:cubicBezTo>
                    <a:pt x="2396563" y="4198969"/>
                    <a:pt x="2389850" y="4205682"/>
                    <a:pt x="2379780" y="4205682"/>
                  </a:cubicBezTo>
                  <a:cubicBezTo>
                    <a:pt x="2373067" y="4205682"/>
                    <a:pt x="2362997" y="4198969"/>
                    <a:pt x="2362997" y="4188899"/>
                  </a:cubicBezTo>
                  <a:cubicBezTo>
                    <a:pt x="2362997" y="4178829"/>
                    <a:pt x="2369710" y="4172116"/>
                    <a:pt x="2379780" y="4172116"/>
                  </a:cubicBezTo>
                  <a:close/>
                  <a:moveTo>
                    <a:pt x="503479" y="4158690"/>
                  </a:moveTo>
                  <a:cubicBezTo>
                    <a:pt x="526975" y="4158690"/>
                    <a:pt x="547114" y="4178829"/>
                    <a:pt x="547114" y="4202325"/>
                  </a:cubicBezTo>
                  <a:cubicBezTo>
                    <a:pt x="547114" y="4225821"/>
                    <a:pt x="526975" y="4245960"/>
                    <a:pt x="503479" y="4245960"/>
                  </a:cubicBezTo>
                  <a:cubicBezTo>
                    <a:pt x="479984" y="4245960"/>
                    <a:pt x="459844" y="4225821"/>
                    <a:pt x="459844" y="4202325"/>
                  </a:cubicBezTo>
                  <a:cubicBezTo>
                    <a:pt x="459844" y="4178829"/>
                    <a:pt x="479984" y="4158690"/>
                    <a:pt x="503479" y="4158690"/>
                  </a:cubicBezTo>
                  <a:close/>
                  <a:moveTo>
                    <a:pt x="1003602" y="4128481"/>
                  </a:moveTo>
                  <a:cubicBezTo>
                    <a:pt x="1033811" y="4128481"/>
                    <a:pt x="1060663" y="4155334"/>
                    <a:pt x="1060663" y="4185542"/>
                  </a:cubicBezTo>
                  <a:cubicBezTo>
                    <a:pt x="1060663" y="4215751"/>
                    <a:pt x="1033811" y="4242604"/>
                    <a:pt x="1003602" y="4242604"/>
                  </a:cubicBezTo>
                  <a:cubicBezTo>
                    <a:pt x="973393" y="4242604"/>
                    <a:pt x="946541" y="4219108"/>
                    <a:pt x="946541" y="4185542"/>
                  </a:cubicBezTo>
                  <a:cubicBezTo>
                    <a:pt x="946541" y="4155334"/>
                    <a:pt x="973393" y="4128481"/>
                    <a:pt x="1003602" y="4128481"/>
                  </a:cubicBezTo>
                  <a:close/>
                  <a:moveTo>
                    <a:pt x="3336391" y="4125125"/>
                  </a:moveTo>
                  <a:cubicBezTo>
                    <a:pt x="3336391" y="4125125"/>
                    <a:pt x="3339748" y="4125125"/>
                    <a:pt x="3339748" y="4128481"/>
                  </a:cubicBezTo>
                  <a:cubicBezTo>
                    <a:pt x="3339748" y="4128481"/>
                    <a:pt x="3339748" y="4131838"/>
                    <a:pt x="3336391" y="4131838"/>
                  </a:cubicBezTo>
                  <a:cubicBezTo>
                    <a:pt x="3333033" y="4131838"/>
                    <a:pt x="3333033" y="4128481"/>
                    <a:pt x="3333033" y="4128481"/>
                  </a:cubicBezTo>
                  <a:cubicBezTo>
                    <a:pt x="3333033" y="4128481"/>
                    <a:pt x="3333033" y="4125125"/>
                    <a:pt x="3336391" y="4125125"/>
                  </a:cubicBezTo>
                  <a:close/>
                  <a:moveTo>
                    <a:pt x="2044126" y="4111699"/>
                  </a:moveTo>
                  <a:cubicBezTo>
                    <a:pt x="2057552" y="4111699"/>
                    <a:pt x="2067622" y="4121768"/>
                    <a:pt x="2067622" y="4135194"/>
                  </a:cubicBezTo>
                  <a:cubicBezTo>
                    <a:pt x="2067622" y="4148620"/>
                    <a:pt x="2057552" y="4158690"/>
                    <a:pt x="2044126" y="4158690"/>
                  </a:cubicBezTo>
                  <a:cubicBezTo>
                    <a:pt x="2030700" y="4158690"/>
                    <a:pt x="2020631" y="4145264"/>
                    <a:pt x="2020631" y="4135194"/>
                  </a:cubicBezTo>
                  <a:cubicBezTo>
                    <a:pt x="2020631" y="4121768"/>
                    <a:pt x="2030700" y="4111699"/>
                    <a:pt x="2044126" y="4111699"/>
                  </a:cubicBezTo>
                  <a:close/>
                  <a:moveTo>
                    <a:pt x="1517151" y="4111699"/>
                  </a:moveTo>
                  <a:cubicBezTo>
                    <a:pt x="1547360" y="4111699"/>
                    <a:pt x="1570856" y="4135194"/>
                    <a:pt x="1570856" y="4165403"/>
                  </a:cubicBezTo>
                  <a:cubicBezTo>
                    <a:pt x="1570856" y="4195612"/>
                    <a:pt x="1547360" y="4219108"/>
                    <a:pt x="1517151" y="4219108"/>
                  </a:cubicBezTo>
                  <a:cubicBezTo>
                    <a:pt x="1486942" y="4219108"/>
                    <a:pt x="1463447" y="4195612"/>
                    <a:pt x="1463447" y="4165403"/>
                  </a:cubicBezTo>
                  <a:cubicBezTo>
                    <a:pt x="1463447" y="4135194"/>
                    <a:pt x="1486942" y="4111699"/>
                    <a:pt x="1517151" y="4111699"/>
                  </a:cubicBezTo>
                  <a:close/>
                  <a:moveTo>
                    <a:pt x="2953747" y="4108342"/>
                  </a:moveTo>
                  <a:cubicBezTo>
                    <a:pt x="2960460" y="4108342"/>
                    <a:pt x="2963816" y="4115055"/>
                    <a:pt x="2963816" y="4118412"/>
                  </a:cubicBezTo>
                  <a:cubicBezTo>
                    <a:pt x="2963816" y="4125125"/>
                    <a:pt x="2957103" y="4128481"/>
                    <a:pt x="2953747" y="4128481"/>
                  </a:cubicBezTo>
                  <a:cubicBezTo>
                    <a:pt x="2947034" y="4128481"/>
                    <a:pt x="2943677" y="4125125"/>
                    <a:pt x="2943677" y="4118412"/>
                  </a:cubicBezTo>
                  <a:cubicBezTo>
                    <a:pt x="2943677" y="4111699"/>
                    <a:pt x="2947034" y="4108342"/>
                    <a:pt x="2953747" y="4108342"/>
                  </a:cubicBezTo>
                  <a:close/>
                  <a:moveTo>
                    <a:pt x="2591242" y="4071420"/>
                  </a:moveTo>
                  <a:cubicBezTo>
                    <a:pt x="2597955" y="4071420"/>
                    <a:pt x="2604668" y="4078133"/>
                    <a:pt x="2604668" y="4084846"/>
                  </a:cubicBezTo>
                  <a:cubicBezTo>
                    <a:pt x="2604668" y="4091559"/>
                    <a:pt x="2597955" y="4098272"/>
                    <a:pt x="2591242" y="4098272"/>
                  </a:cubicBezTo>
                  <a:cubicBezTo>
                    <a:pt x="2584529" y="4098272"/>
                    <a:pt x="2581172" y="4091559"/>
                    <a:pt x="2577816" y="4084846"/>
                  </a:cubicBezTo>
                  <a:cubicBezTo>
                    <a:pt x="2577816" y="4078133"/>
                    <a:pt x="2584529" y="4071420"/>
                    <a:pt x="2591242" y="4071420"/>
                  </a:cubicBezTo>
                  <a:close/>
                  <a:moveTo>
                    <a:pt x="708228" y="4064707"/>
                  </a:moveTo>
                  <a:cubicBezTo>
                    <a:pt x="728367" y="4064707"/>
                    <a:pt x="748507" y="4081490"/>
                    <a:pt x="748507" y="4104986"/>
                  </a:cubicBezTo>
                  <a:cubicBezTo>
                    <a:pt x="748507" y="4125125"/>
                    <a:pt x="731724" y="4145264"/>
                    <a:pt x="708228" y="4145264"/>
                  </a:cubicBezTo>
                  <a:cubicBezTo>
                    <a:pt x="684732" y="4145264"/>
                    <a:pt x="664593" y="4128481"/>
                    <a:pt x="667950" y="4104986"/>
                  </a:cubicBezTo>
                  <a:cubicBezTo>
                    <a:pt x="667950" y="4084846"/>
                    <a:pt x="684732" y="4064707"/>
                    <a:pt x="708228" y="4064707"/>
                  </a:cubicBezTo>
                  <a:close/>
                  <a:moveTo>
                    <a:pt x="1208351" y="4037855"/>
                  </a:moveTo>
                  <a:cubicBezTo>
                    <a:pt x="1235203" y="4037855"/>
                    <a:pt x="1258699" y="4061351"/>
                    <a:pt x="1258699" y="4088203"/>
                  </a:cubicBezTo>
                  <a:cubicBezTo>
                    <a:pt x="1258699" y="4115055"/>
                    <a:pt x="1235203" y="4138551"/>
                    <a:pt x="1208351" y="4138551"/>
                  </a:cubicBezTo>
                  <a:cubicBezTo>
                    <a:pt x="1181499" y="4138551"/>
                    <a:pt x="1158003" y="4115055"/>
                    <a:pt x="1158003" y="4088203"/>
                  </a:cubicBezTo>
                  <a:cubicBezTo>
                    <a:pt x="1158003" y="4061351"/>
                    <a:pt x="1181499" y="4037855"/>
                    <a:pt x="1208351" y="4037855"/>
                  </a:cubicBezTo>
                  <a:close/>
                  <a:moveTo>
                    <a:pt x="1721900" y="4031142"/>
                  </a:moveTo>
                  <a:cubicBezTo>
                    <a:pt x="1740437" y="4031142"/>
                    <a:pt x="1755465" y="4046169"/>
                    <a:pt x="1755465" y="4064707"/>
                  </a:cubicBezTo>
                  <a:cubicBezTo>
                    <a:pt x="1755465" y="4083245"/>
                    <a:pt x="1740437" y="4098272"/>
                    <a:pt x="1721900" y="4098272"/>
                  </a:cubicBezTo>
                  <a:cubicBezTo>
                    <a:pt x="1703362" y="4098272"/>
                    <a:pt x="1688335" y="4083245"/>
                    <a:pt x="1688335" y="4064707"/>
                  </a:cubicBezTo>
                  <a:cubicBezTo>
                    <a:pt x="1688335" y="4046169"/>
                    <a:pt x="1703362" y="4031142"/>
                    <a:pt x="1721900" y="4031142"/>
                  </a:cubicBezTo>
                  <a:close/>
                  <a:moveTo>
                    <a:pt x="2252232" y="4021072"/>
                  </a:moveTo>
                  <a:cubicBezTo>
                    <a:pt x="2258945" y="4021072"/>
                    <a:pt x="2265658" y="4027785"/>
                    <a:pt x="2265658" y="4034498"/>
                  </a:cubicBezTo>
                  <a:cubicBezTo>
                    <a:pt x="2265658" y="4041211"/>
                    <a:pt x="2258945" y="4047924"/>
                    <a:pt x="2252232" y="4047924"/>
                  </a:cubicBezTo>
                  <a:cubicBezTo>
                    <a:pt x="2242162" y="4047924"/>
                    <a:pt x="2235449" y="4041211"/>
                    <a:pt x="2238806" y="4034498"/>
                  </a:cubicBezTo>
                  <a:cubicBezTo>
                    <a:pt x="2238806" y="4027785"/>
                    <a:pt x="2245518" y="4021072"/>
                    <a:pt x="2252232" y="4021072"/>
                  </a:cubicBezTo>
                  <a:close/>
                  <a:moveTo>
                    <a:pt x="3170662" y="4006807"/>
                  </a:moveTo>
                  <a:cubicBezTo>
                    <a:pt x="3171081" y="4005967"/>
                    <a:pt x="3171920" y="4005967"/>
                    <a:pt x="3171920" y="4007646"/>
                  </a:cubicBezTo>
                  <a:cubicBezTo>
                    <a:pt x="3171920" y="4007646"/>
                    <a:pt x="3175277" y="4007646"/>
                    <a:pt x="3171920" y="4011003"/>
                  </a:cubicBezTo>
                  <a:cubicBezTo>
                    <a:pt x="3170243" y="4009324"/>
                    <a:pt x="3170243" y="4007646"/>
                    <a:pt x="3170662" y="4006807"/>
                  </a:cubicBezTo>
                  <a:close/>
                  <a:moveTo>
                    <a:pt x="419566" y="3980794"/>
                  </a:moveTo>
                  <a:cubicBezTo>
                    <a:pt x="439705" y="3980794"/>
                    <a:pt x="456488" y="3997576"/>
                    <a:pt x="456488" y="4017716"/>
                  </a:cubicBezTo>
                  <a:cubicBezTo>
                    <a:pt x="456488" y="4037855"/>
                    <a:pt x="439705" y="4054637"/>
                    <a:pt x="419566" y="4054637"/>
                  </a:cubicBezTo>
                  <a:cubicBezTo>
                    <a:pt x="399427" y="4054637"/>
                    <a:pt x="382644" y="4037855"/>
                    <a:pt x="382644" y="4017716"/>
                  </a:cubicBezTo>
                  <a:cubicBezTo>
                    <a:pt x="382644" y="3997576"/>
                    <a:pt x="399427" y="3980794"/>
                    <a:pt x="419566" y="3980794"/>
                  </a:cubicBezTo>
                  <a:close/>
                  <a:moveTo>
                    <a:pt x="912976" y="3974081"/>
                  </a:moveTo>
                  <a:cubicBezTo>
                    <a:pt x="929758" y="3974081"/>
                    <a:pt x="946541" y="3987507"/>
                    <a:pt x="946541" y="4007646"/>
                  </a:cubicBezTo>
                  <a:cubicBezTo>
                    <a:pt x="946541" y="4024429"/>
                    <a:pt x="933115" y="4041211"/>
                    <a:pt x="912976" y="4041211"/>
                  </a:cubicBezTo>
                  <a:cubicBezTo>
                    <a:pt x="892837" y="4041211"/>
                    <a:pt x="876054" y="4024429"/>
                    <a:pt x="879410" y="4007646"/>
                  </a:cubicBezTo>
                  <a:cubicBezTo>
                    <a:pt x="879410" y="3990863"/>
                    <a:pt x="892837" y="3974081"/>
                    <a:pt x="912976" y="3974081"/>
                  </a:cubicBezTo>
                  <a:close/>
                  <a:moveTo>
                    <a:pt x="2802702" y="3970724"/>
                  </a:moveTo>
                  <a:cubicBezTo>
                    <a:pt x="2809416" y="3970724"/>
                    <a:pt x="2812772" y="3974081"/>
                    <a:pt x="2812772" y="3980794"/>
                  </a:cubicBezTo>
                  <a:cubicBezTo>
                    <a:pt x="2812772" y="3987507"/>
                    <a:pt x="2809416" y="3990863"/>
                    <a:pt x="2802702" y="3990863"/>
                  </a:cubicBezTo>
                  <a:cubicBezTo>
                    <a:pt x="2799346" y="3990863"/>
                    <a:pt x="2795990" y="3987507"/>
                    <a:pt x="2792633" y="3980794"/>
                  </a:cubicBezTo>
                  <a:cubicBezTo>
                    <a:pt x="2792633" y="3974081"/>
                    <a:pt x="2795990" y="3970724"/>
                    <a:pt x="2802702" y="3970724"/>
                  </a:cubicBezTo>
                  <a:close/>
                  <a:moveTo>
                    <a:pt x="1413099" y="3953941"/>
                  </a:moveTo>
                  <a:cubicBezTo>
                    <a:pt x="1433238" y="3953941"/>
                    <a:pt x="1450020" y="3970724"/>
                    <a:pt x="1450020" y="3990863"/>
                  </a:cubicBezTo>
                  <a:cubicBezTo>
                    <a:pt x="1450020" y="4011003"/>
                    <a:pt x="1433238" y="4027785"/>
                    <a:pt x="1413099" y="4027785"/>
                  </a:cubicBezTo>
                  <a:cubicBezTo>
                    <a:pt x="1392960" y="4027785"/>
                    <a:pt x="1372821" y="4011003"/>
                    <a:pt x="1376178" y="3990863"/>
                  </a:cubicBezTo>
                  <a:cubicBezTo>
                    <a:pt x="1376178" y="3970724"/>
                    <a:pt x="1392960" y="3953941"/>
                    <a:pt x="1413099" y="3953941"/>
                  </a:cubicBezTo>
                  <a:close/>
                  <a:moveTo>
                    <a:pt x="1926649" y="3947228"/>
                  </a:moveTo>
                  <a:cubicBezTo>
                    <a:pt x="1936718" y="3947228"/>
                    <a:pt x="1946788" y="3957298"/>
                    <a:pt x="1946788" y="3967368"/>
                  </a:cubicBezTo>
                  <a:cubicBezTo>
                    <a:pt x="1946788" y="3977437"/>
                    <a:pt x="1936718" y="3987507"/>
                    <a:pt x="1926649" y="3987507"/>
                  </a:cubicBezTo>
                  <a:cubicBezTo>
                    <a:pt x="1916579" y="3987507"/>
                    <a:pt x="1906510" y="3977437"/>
                    <a:pt x="1906510" y="3967368"/>
                  </a:cubicBezTo>
                  <a:cubicBezTo>
                    <a:pt x="1906510" y="3957298"/>
                    <a:pt x="1916579" y="3947228"/>
                    <a:pt x="1926649" y="3947228"/>
                  </a:cubicBezTo>
                  <a:close/>
                  <a:moveTo>
                    <a:pt x="2460337" y="3927089"/>
                  </a:moveTo>
                  <a:cubicBezTo>
                    <a:pt x="2463694" y="3927089"/>
                    <a:pt x="2467050" y="3930446"/>
                    <a:pt x="2467050" y="3933802"/>
                  </a:cubicBezTo>
                  <a:cubicBezTo>
                    <a:pt x="2467050" y="3937159"/>
                    <a:pt x="2463694" y="3940515"/>
                    <a:pt x="2460337" y="3940515"/>
                  </a:cubicBezTo>
                  <a:cubicBezTo>
                    <a:pt x="2453624" y="3940515"/>
                    <a:pt x="2450267" y="3937159"/>
                    <a:pt x="2453624" y="3933802"/>
                  </a:cubicBezTo>
                  <a:cubicBezTo>
                    <a:pt x="2453624" y="3930446"/>
                    <a:pt x="2456980" y="3927089"/>
                    <a:pt x="2460337" y="3927089"/>
                  </a:cubicBezTo>
                  <a:close/>
                  <a:moveTo>
                    <a:pt x="137618" y="3927089"/>
                  </a:moveTo>
                  <a:cubicBezTo>
                    <a:pt x="137618" y="3927089"/>
                    <a:pt x="140975" y="3927089"/>
                    <a:pt x="137618" y="3930446"/>
                  </a:cubicBezTo>
                  <a:cubicBezTo>
                    <a:pt x="137618" y="3928767"/>
                    <a:pt x="137618" y="3928767"/>
                    <a:pt x="137618" y="3929187"/>
                  </a:cubicBezTo>
                  <a:close/>
                  <a:moveTo>
                    <a:pt x="624315" y="3890167"/>
                  </a:moveTo>
                  <a:cubicBezTo>
                    <a:pt x="640998" y="3890167"/>
                    <a:pt x="654524" y="3903693"/>
                    <a:pt x="654524" y="3920376"/>
                  </a:cubicBezTo>
                  <a:cubicBezTo>
                    <a:pt x="654524" y="3937060"/>
                    <a:pt x="640998" y="3950585"/>
                    <a:pt x="624315" y="3950585"/>
                  </a:cubicBezTo>
                  <a:cubicBezTo>
                    <a:pt x="607631" y="3950585"/>
                    <a:pt x="594106" y="3937060"/>
                    <a:pt x="594106" y="3920376"/>
                  </a:cubicBezTo>
                  <a:cubicBezTo>
                    <a:pt x="594106" y="3903693"/>
                    <a:pt x="607631" y="3890167"/>
                    <a:pt x="624315" y="3890167"/>
                  </a:cubicBezTo>
                  <a:close/>
                  <a:moveTo>
                    <a:pt x="1114368" y="3873385"/>
                  </a:moveTo>
                  <a:cubicBezTo>
                    <a:pt x="1131151" y="3873385"/>
                    <a:pt x="1147933" y="3886811"/>
                    <a:pt x="1147933" y="3906950"/>
                  </a:cubicBezTo>
                  <a:cubicBezTo>
                    <a:pt x="1147933" y="3923733"/>
                    <a:pt x="1134507" y="3940515"/>
                    <a:pt x="1114368" y="3940515"/>
                  </a:cubicBezTo>
                  <a:cubicBezTo>
                    <a:pt x="1097585" y="3940515"/>
                    <a:pt x="1080803" y="3927089"/>
                    <a:pt x="1080803" y="3906950"/>
                  </a:cubicBezTo>
                  <a:cubicBezTo>
                    <a:pt x="1080803" y="3890167"/>
                    <a:pt x="1094229" y="3873385"/>
                    <a:pt x="1114368" y="3873385"/>
                  </a:cubicBezTo>
                  <a:close/>
                  <a:moveTo>
                    <a:pt x="3017521" y="3866671"/>
                  </a:moveTo>
                  <a:cubicBezTo>
                    <a:pt x="3020878" y="3866671"/>
                    <a:pt x="3024234" y="3870028"/>
                    <a:pt x="3024234" y="3873385"/>
                  </a:cubicBezTo>
                  <a:cubicBezTo>
                    <a:pt x="3024234" y="3876741"/>
                    <a:pt x="3020878" y="3880098"/>
                    <a:pt x="3017521" y="3880098"/>
                  </a:cubicBezTo>
                  <a:cubicBezTo>
                    <a:pt x="3014164" y="3880098"/>
                    <a:pt x="3010808" y="3876741"/>
                    <a:pt x="3010808" y="3873385"/>
                  </a:cubicBezTo>
                  <a:cubicBezTo>
                    <a:pt x="3010808" y="3870028"/>
                    <a:pt x="3014164" y="3866671"/>
                    <a:pt x="3017521" y="3866671"/>
                  </a:cubicBezTo>
                  <a:close/>
                  <a:moveTo>
                    <a:pt x="1617847" y="3859958"/>
                  </a:moveTo>
                  <a:cubicBezTo>
                    <a:pt x="1634630" y="3859958"/>
                    <a:pt x="1651413" y="3873385"/>
                    <a:pt x="1651413" y="3893524"/>
                  </a:cubicBezTo>
                  <a:cubicBezTo>
                    <a:pt x="1651413" y="3910306"/>
                    <a:pt x="1637986" y="3927089"/>
                    <a:pt x="1617847" y="3927089"/>
                  </a:cubicBezTo>
                  <a:cubicBezTo>
                    <a:pt x="1597708" y="3927089"/>
                    <a:pt x="1580925" y="3910306"/>
                    <a:pt x="1584282" y="3893524"/>
                  </a:cubicBezTo>
                  <a:cubicBezTo>
                    <a:pt x="1584282" y="3876741"/>
                    <a:pt x="1601065" y="3859958"/>
                    <a:pt x="1617847" y="3859958"/>
                  </a:cubicBezTo>
                  <a:close/>
                  <a:moveTo>
                    <a:pt x="2131396" y="3853245"/>
                  </a:moveTo>
                  <a:cubicBezTo>
                    <a:pt x="2138110" y="3853245"/>
                    <a:pt x="2144822" y="3859958"/>
                    <a:pt x="2144822" y="3866671"/>
                  </a:cubicBezTo>
                  <a:cubicBezTo>
                    <a:pt x="2144822" y="3873385"/>
                    <a:pt x="2138110" y="3880098"/>
                    <a:pt x="2131396" y="3880098"/>
                  </a:cubicBezTo>
                  <a:cubicBezTo>
                    <a:pt x="2124683" y="3880098"/>
                    <a:pt x="2117970" y="3876741"/>
                    <a:pt x="2117970" y="3866671"/>
                  </a:cubicBezTo>
                  <a:cubicBezTo>
                    <a:pt x="2117970" y="3859958"/>
                    <a:pt x="2124683" y="3853245"/>
                    <a:pt x="2131396" y="3853245"/>
                  </a:cubicBezTo>
                  <a:close/>
                  <a:moveTo>
                    <a:pt x="2668441" y="3823036"/>
                  </a:moveTo>
                  <a:cubicBezTo>
                    <a:pt x="2671798" y="3823036"/>
                    <a:pt x="2675154" y="3826393"/>
                    <a:pt x="2675154" y="3829750"/>
                  </a:cubicBezTo>
                  <a:cubicBezTo>
                    <a:pt x="2675154" y="3833106"/>
                    <a:pt x="2671798" y="3836463"/>
                    <a:pt x="2668441" y="3836463"/>
                  </a:cubicBezTo>
                  <a:cubicBezTo>
                    <a:pt x="2665084" y="3836463"/>
                    <a:pt x="2661728" y="3833106"/>
                    <a:pt x="2661728" y="3829750"/>
                  </a:cubicBezTo>
                  <a:cubicBezTo>
                    <a:pt x="2661728" y="3826393"/>
                    <a:pt x="2665084" y="3823036"/>
                    <a:pt x="2668441" y="3823036"/>
                  </a:cubicBezTo>
                  <a:close/>
                  <a:moveTo>
                    <a:pt x="342366" y="3792828"/>
                  </a:moveTo>
                  <a:cubicBezTo>
                    <a:pt x="362505" y="3792828"/>
                    <a:pt x="379288" y="3809610"/>
                    <a:pt x="379288" y="3829750"/>
                  </a:cubicBezTo>
                  <a:cubicBezTo>
                    <a:pt x="379288" y="3849889"/>
                    <a:pt x="362505" y="3866671"/>
                    <a:pt x="342366" y="3866671"/>
                  </a:cubicBezTo>
                  <a:cubicBezTo>
                    <a:pt x="322226" y="3866671"/>
                    <a:pt x="305444" y="3849889"/>
                    <a:pt x="305444" y="3829750"/>
                  </a:cubicBezTo>
                  <a:cubicBezTo>
                    <a:pt x="305444" y="3809610"/>
                    <a:pt x="322226" y="3792828"/>
                    <a:pt x="342366" y="3792828"/>
                  </a:cubicBezTo>
                  <a:close/>
                  <a:moveTo>
                    <a:pt x="829063" y="3789471"/>
                  </a:moveTo>
                  <a:cubicBezTo>
                    <a:pt x="845846" y="3789471"/>
                    <a:pt x="859272" y="3802897"/>
                    <a:pt x="859272" y="3819680"/>
                  </a:cubicBezTo>
                  <a:cubicBezTo>
                    <a:pt x="859272" y="3836463"/>
                    <a:pt x="845846" y="3849889"/>
                    <a:pt x="829063" y="3849889"/>
                  </a:cubicBezTo>
                  <a:cubicBezTo>
                    <a:pt x="812281" y="3849889"/>
                    <a:pt x="798855" y="3836463"/>
                    <a:pt x="798855" y="3819680"/>
                  </a:cubicBezTo>
                  <a:cubicBezTo>
                    <a:pt x="798855" y="3802897"/>
                    <a:pt x="812281" y="3789471"/>
                    <a:pt x="829063" y="3789471"/>
                  </a:cubicBezTo>
                  <a:close/>
                  <a:moveTo>
                    <a:pt x="1822596" y="3776045"/>
                  </a:moveTo>
                  <a:cubicBezTo>
                    <a:pt x="1832666" y="3776045"/>
                    <a:pt x="1839379" y="3782758"/>
                    <a:pt x="1839379" y="3792828"/>
                  </a:cubicBezTo>
                  <a:cubicBezTo>
                    <a:pt x="1839379" y="3802897"/>
                    <a:pt x="1832666" y="3809610"/>
                    <a:pt x="1822596" y="3809610"/>
                  </a:cubicBezTo>
                  <a:cubicBezTo>
                    <a:pt x="1812526" y="3809610"/>
                    <a:pt x="1805813" y="3802897"/>
                    <a:pt x="1805813" y="3792828"/>
                  </a:cubicBezTo>
                  <a:cubicBezTo>
                    <a:pt x="1805813" y="3782758"/>
                    <a:pt x="1812526" y="3776045"/>
                    <a:pt x="1822596" y="3776045"/>
                  </a:cubicBezTo>
                  <a:close/>
                  <a:moveTo>
                    <a:pt x="1319117" y="3769333"/>
                  </a:moveTo>
                  <a:cubicBezTo>
                    <a:pt x="1339256" y="3769333"/>
                    <a:pt x="1359395" y="3786116"/>
                    <a:pt x="1359395" y="3809611"/>
                  </a:cubicBezTo>
                  <a:cubicBezTo>
                    <a:pt x="1359395" y="3829751"/>
                    <a:pt x="1342612" y="3849890"/>
                    <a:pt x="1319117" y="3849890"/>
                  </a:cubicBezTo>
                  <a:cubicBezTo>
                    <a:pt x="1295621" y="3849890"/>
                    <a:pt x="1278838" y="3833107"/>
                    <a:pt x="1278838" y="3809611"/>
                  </a:cubicBezTo>
                  <a:cubicBezTo>
                    <a:pt x="1278838" y="3789472"/>
                    <a:pt x="1298977" y="3769333"/>
                    <a:pt x="1319117" y="3769333"/>
                  </a:cubicBezTo>
                  <a:close/>
                  <a:moveTo>
                    <a:pt x="2339502" y="3755906"/>
                  </a:moveTo>
                  <a:cubicBezTo>
                    <a:pt x="2346215" y="3755906"/>
                    <a:pt x="2349571" y="3762619"/>
                    <a:pt x="2349571" y="3765975"/>
                  </a:cubicBezTo>
                  <a:cubicBezTo>
                    <a:pt x="2349571" y="3772688"/>
                    <a:pt x="2346215" y="3776045"/>
                    <a:pt x="2339502" y="3776045"/>
                  </a:cubicBezTo>
                  <a:cubicBezTo>
                    <a:pt x="2332788" y="3776045"/>
                    <a:pt x="2329432" y="3772688"/>
                    <a:pt x="2329432" y="3765975"/>
                  </a:cubicBezTo>
                  <a:cubicBezTo>
                    <a:pt x="2329432" y="3759262"/>
                    <a:pt x="2336145" y="3755906"/>
                    <a:pt x="2339502" y="3755906"/>
                  </a:cubicBezTo>
                  <a:close/>
                  <a:moveTo>
                    <a:pt x="70487" y="3732410"/>
                  </a:moveTo>
                  <a:cubicBezTo>
                    <a:pt x="70487" y="3732410"/>
                    <a:pt x="73844" y="3732410"/>
                    <a:pt x="73844" y="3735767"/>
                  </a:cubicBezTo>
                  <a:cubicBezTo>
                    <a:pt x="73844" y="3735767"/>
                    <a:pt x="73844" y="3739123"/>
                    <a:pt x="70487" y="3739123"/>
                  </a:cubicBezTo>
                  <a:cubicBezTo>
                    <a:pt x="67131" y="3739123"/>
                    <a:pt x="67131" y="3739123"/>
                    <a:pt x="67131" y="3735767"/>
                  </a:cubicBezTo>
                  <a:cubicBezTo>
                    <a:pt x="67131" y="3735767"/>
                    <a:pt x="70487" y="3732410"/>
                    <a:pt x="70487" y="3732410"/>
                  </a:cubicBezTo>
                  <a:close/>
                  <a:moveTo>
                    <a:pt x="2876546" y="3718985"/>
                  </a:moveTo>
                  <a:cubicBezTo>
                    <a:pt x="2879903" y="3718985"/>
                    <a:pt x="2883260" y="3722341"/>
                    <a:pt x="2883260" y="3725698"/>
                  </a:cubicBezTo>
                  <a:cubicBezTo>
                    <a:pt x="2883260" y="3729055"/>
                    <a:pt x="2879903" y="3732411"/>
                    <a:pt x="2876546" y="3732411"/>
                  </a:cubicBezTo>
                  <a:cubicBezTo>
                    <a:pt x="2876546" y="3732411"/>
                    <a:pt x="2869833" y="3729055"/>
                    <a:pt x="2869833" y="3725698"/>
                  </a:cubicBezTo>
                  <a:cubicBezTo>
                    <a:pt x="2869833" y="3722341"/>
                    <a:pt x="2873190" y="3718985"/>
                    <a:pt x="2876546" y="3718985"/>
                  </a:cubicBezTo>
                  <a:close/>
                  <a:moveTo>
                    <a:pt x="550471" y="3698845"/>
                  </a:moveTo>
                  <a:cubicBezTo>
                    <a:pt x="567254" y="3698845"/>
                    <a:pt x="580680" y="3712271"/>
                    <a:pt x="580680" y="3729053"/>
                  </a:cubicBezTo>
                  <a:cubicBezTo>
                    <a:pt x="580680" y="3745836"/>
                    <a:pt x="567254" y="3759262"/>
                    <a:pt x="550471" y="3759262"/>
                  </a:cubicBezTo>
                  <a:cubicBezTo>
                    <a:pt x="533688" y="3759262"/>
                    <a:pt x="520262" y="3745836"/>
                    <a:pt x="520262" y="3729053"/>
                  </a:cubicBezTo>
                  <a:cubicBezTo>
                    <a:pt x="520262" y="3712271"/>
                    <a:pt x="533688" y="3698845"/>
                    <a:pt x="550471" y="3698845"/>
                  </a:cubicBezTo>
                  <a:close/>
                  <a:moveTo>
                    <a:pt x="1033811" y="3685420"/>
                  </a:moveTo>
                  <a:cubicBezTo>
                    <a:pt x="1053950" y="3685420"/>
                    <a:pt x="1070733" y="3702202"/>
                    <a:pt x="1070733" y="3722341"/>
                  </a:cubicBezTo>
                  <a:cubicBezTo>
                    <a:pt x="1070733" y="3742481"/>
                    <a:pt x="1053950" y="3759263"/>
                    <a:pt x="1033811" y="3759263"/>
                  </a:cubicBezTo>
                  <a:cubicBezTo>
                    <a:pt x="1010315" y="3759263"/>
                    <a:pt x="996889" y="3742481"/>
                    <a:pt x="996889" y="3722341"/>
                  </a:cubicBezTo>
                  <a:cubicBezTo>
                    <a:pt x="996889" y="3702202"/>
                    <a:pt x="1013672" y="3685420"/>
                    <a:pt x="1033811" y="3685420"/>
                  </a:cubicBezTo>
                  <a:close/>
                  <a:moveTo>
                    <a:pt x="2027345" y="3678707"/>
                  </a:moveTo>
                  <a:cubicBezTo>
                    <a:pt x="2037414" y="3678707"/>
                    <a:pt x="2044128" y="3685420"/>
                    <a:pt x="2044128" y="3695489"/>
                  </a:cubicBezTo>
                  <a:cubicBezTo>
                    <a:pt x="2044128" y="3705559"/>
                    <a:pt x="2037414" y="3712272"/>
                    <a:pt x="2027345" y="3712272"/>
                  </a:cubicBezTo>
                  <a:cubicBezTo>
                    <a:pt x="2017275" y="3712272"/>
                    <a:pt x="2010562" y="3702202"/>
                    <a:pt x="2010562" y="3695489"/>
                  </a:cubicBezTo>
                  <a:cubicBezTo>
                    <a:pt x="2010562" y="3685420"/>
                    <a:pt x="2017275" y="3678707"/>
                    <a:pt x="2027345" y="3678707"/>
                  </a:cubicBezTo>
                  <a:close/>
                  <a:moveTo>
                    <a:pt x="1523864" y="3678707"/>
                  </a:moveTo>
                  <a:cubicBezTo>
                    <a:pt x="1540647" y="3678707"/>
                    <a:pt x="1554073" y="3692133"/>
                    <a:pt x="1554073" y="3708915"/>
                  </a:cubicBezTo>
                  <a:cubicBezTo>
                    <a:pt x="1554073" y="3725698"/>
                    <a:pt x="1540647" y="3739124"/>
                    <a:pt x="1523864" y="3739124"/>
                  </a:cubicBezTo>
                  <a:cubicBezTo>
                    <a:pt x="1507082" y="3739124"/>
                    <a:pt x="1493656" y="3725698"/>
                    <a:pt x="1493656" y="3708915"/>
                  </a:cubicBezTo>
                  <a:cubicBezTo>
                    <a:pt x="1493656" y="3692133"/>
                    <a:pt x="1507082" y="3678707"/>
                    <a:pt x="1523864" y="3678707"/>
                  </a:cubicBezTo>
                  <a:close/>
                  <a:moveTo>
                    <a:pt x="2544250" y="3661924"/>
                  </a:moveTo>
                  <a:cubicBezTo>
                    <a:pt x="2547607" y="3661924"/>
                    <a:pt x="2550963" y="3665281"/>
                    <a:pt x="2550963" y="3668637"/>
                  </a:cubicBezTo>
                  <a:cubicBezTo>
                    <a:pt x="2550963" y="3671994"/>
                    <a:pt x="2547607" y="3675350"/>
                    <a:pt x="2544250" y="3675350"/>
                  </a:cubicBezTo>
                  <a:cubicBezTo>
                    <a:pt x="2540894" y="3675350"/>
                    <a:pt x="2537537" y="3671994"/>
                    <a:pt x="2537537" y="3668637"/>
                  </a:cubicBezTo>
                  <a:cubicBezTo>
                    <a:pt x="2537537" y="3665281"/>
                    <a:pt x="2540894" y="3661924"/>
                    <a:pt x="2544250" y="3661924"/>
                  </a:cubicBezTo>
                  <a:close/>
                  <a:moveTo>
                    <a:pt x="755220" y="3601509"/>
                  </a:moveTo>
                  <a:cubicBezTo>
                    <a:pt x="771903" y="3601509"/>
                    <a:pt x="785428" y="3615035"/>
                    <a:pt x="785428" y="3631715"/>
                  </a:cubicBezTo>
                  <a:cubicBezTo>
                    <a:pt x="785428" y="3648399"/>
                    <a:pt x="771903" y="3661924"/>
                    <a:pt x="755220" y="3661924"/>
                  </a:cubicBezTo>
                  <a:cubicBezTo>
                    <a:pt x="738536" y="3661924"/>
                    <a:pt x="725011" y="3648399"/>
                    <a:pt x="725011" y="3631715"/>
                  </a:cubicBezTo>
                  <a:cubicBezTo>
                    <a:pt x="725011" y="3615035"/>
                    <a:pt x="738536" y="3601509"/>
                    <a:pt x="755220" y="3601509"/>
                  </a:cubicBezTo>
                  <a:close/>
                  <a:moveTo>
                    <a:pt x="275236" y="3601509"/>
                  </a:moveTo>
                  <a:cubicBezTo>
                    <a:pt x="295375" y="3601509"/>
                    <a:pt x="312158" y="3618291"/>
                    <a:pt x="312158" y="3638428"/>
                  </a:cubicBezTo>
                  <a:cubicBezTo>
                    <a:pt x="312158" y="3658568"/>
                    <a:pt x="295375" y="3675350"/>
                    <a:pt x="275236" y="3675350"/>
                  </a:cubicBezTo>
                  <a:cubicBezTo>
                    <a:pt x="255097" y="3675350"/>
                    <a:pt x="238314" y="3658568"/>
                    <a:pt x="238314" y="3638428"/>
                  </a:cubicBezTo>
                  <a:cubicBezTo>
                    <a:pt x="238314" y="3618291"/>
                    <a:pt x="255097" y="3601509"/>
                    <a:pt x="275236" y="3601509"/>
                  </a:cubicBezTo>
                  <a:close/>
                  <a:moveTo>
                    <a:pt x="2228736" y="3591438"/>
                  </a:moveTo>
                  <a:cubicBezTo>
                    <a:pt x="2232092" y="3591438"/>
                    <a:pt x="2235449" y="3594798"/>
                    <a:pt x="2235449" y="3598153"/>
                  </a:cubicBezTo>
                  <a:cubicBezTo>
                    <a:pt x="2235449" y="3601509"/>
                    <a:pt x="2232092" y="3604864"/>
                    <a:pt x="2228736" y="3604864"/>
                  </a:cubicBezTo>
                  <a:cubicBezTo>
                    <a:pt x="2225379" y="3604864"/>
                    <a:pt x="2222023" y="3601509"/>
                    <a:pt x="2222023" y="3598153"/>
                  </a:cubicBezTo>
                  <a:cubicBezTo>
                    <a:pt x="2222023" y="3594798"/>
                    <a:pt x="2225379" y="3591438"/>
                    <a:pt x="2228736" y="3591438"/>
                  </a:cubicBezTo>
                  <a:close/>
                  <a:moveTo>
                    <a:pt x="1728613" y="3591438"/>
                  </a:moveTo>
                  <a:cubicBezTo>
                    <a:pt x="1742039" y="3591438"/>
                    <a:pt x="1748752" y="3601509"/>
                    <a:pt x="1748752" y="3611580"/>
                  </a:cubicBezTo>
                  <a:cubicBezTo>
                    <a:pt x="1748752" y="3621646"/>
                    <a:pt x="1738683" y="3631715"/>
                    <a:pt x="1728613" y="3631715"/>
                  </a:cubicBezTo>
                  <a:cubicBezTo>
                    <a:pt x="1718543" y="3631715"/>
                    <a:pt x="1708474" y="3621646"/>
                    <a:pt x="1708474" y="3611580"/>
                  </a:cubicBezTo>
                  <a:cubicBezTo>
                    <a:pt x="1708474" y="3601509"/>
                    <a:pt x="1718543" y="3591438"/>
                    <a:pt x="1728613" y="3591438"/>
                  </a:cubicBezTo>
                  <a:close/>
                  <a:moveTo>
                    <a:pt x="1235203" y="3584726"/>
                  </a:moveTo>
                  <a:cubicBezTo>
                    <a:pt x="1255342" y="3584726"/>
                    <a:pt x="1275482" y="3601509"/>
                    <a:pt x="1275482" y="3625002"/>
                  </a:cubicBezTo>
                  <a:cubicBezTo>
                    <a:pt x="1275482" y="3645141"/>
                    <a:pt x="1258699" y="3665281"/>
                    <a:pt x="1235203" y="3665281"/>
                  </a:cubicBezTo>
                  <a:cubicBezTo>
                    <a:pt x="1215064" y="3665281"/>
                    <a:pt x="1194925" y="3645141"/>
                    <a:pt x="1194925" y="3625002"/>
                  </a:cubicBezTo>
                  <a:cubicBezTo>
                    <a:pt x="1194925" y="3604864"/>
                    <a:pt x="1211708" y="3584726"/>
                    <a:pt x="1235203" y="3584726"/>
                  </a:cubicBezTo>
                  <a:close/>
                  <a:moveTo>
                    <a:pt x="2749837" y="3567103"/>
                  </a:moveTo>
                  <a:cubicBezTo>
                    <a:pt x="2749837" y="3566263"/>
                    <a:pt x="2750677" y="3566263"/>
                    <a:pt x="2752354" y="3567943"/>
                  </a:cubicBezTo>
                  <a:lnTo>
                    <a:pt x="2752354" y="3570041"/>
                  </a:lnTo>
                  <a:lnTo>
                    <a:pt x="2752354" y="3571299"/>
                  </a:lnTo>
                  <a:cubicBezTo>
                    <a:pt x="2750677" y="3569619"/>
                    <a:pt x="2749837" y="3567943"/>
                    <a:pt x="2749837" y="3567103"/>
                  </a:cubicBezTo>
                  <a:close/>
                  <a:moveTo>
                    <a:pt x="10070" y="3531021"/>
                  </a:moveTo>
                  <a:cubicBezTo>
                    <a:pt x="16783" y="3531021"/>
                    <a:pt x="20139" y="3534378"/>
                    <a:pt x="20139" y="3541090"/>
                  </a:cubicBezTo>
                  <a:cubicBezTo>
                    <a:pt x="20139" y="3547802"/>
                    <a:pt x="16783" y="3551160"/>
                    <a:pt x="10070" y="3551160"/>
                  </a:cubicBezTo>
                  <a:cubicBezTo>
                    <a:pt x="6713" y="3551160"/>
                    <a:pt x="0" y="3547802"/>
                    <a:pt x="0" y="3541090"/>
                  </a:cubicBezTo>
                  <a:cubicBezTo>
                    <a:pt x="0" y="3534378"/>
                    <a:pt x="3357" y="3531021"/>
                    <a:pt x="10070" y="3531021"/>
                  </a:cubicBezTo>
                  <a:close/>
                  <a:moveTo>
                    <a:pt x="483340" y="3510884"/>
                  </a:moveTo>
                  <a:cubicBezTo>
                    <a:pt x="496766" y="3510884"/>
                    <a:pt x="510192" y="3524310"/>
                    <a:pt x="510192" y="3537734"/>
                  </a:cubicBezTo>
                  <a:cubicBezTo>
                    <a:pt x="510192" y="3551160"/>
                    <a:pt x="496766" y="3564584"/>
                    <a:pt x="483340" y="3564584"/>
                  </a:cubicBezTo>
                  <a:cubicBezTo>
                    <a:pt x="469914" y="3564584"/>
                    <a:pt x="456488" y="3551160"/>
                    <a:pt x="456488" y="3537734"/>
                  </a:cubicBezTo>
                  <a:cubicBezTo>
                    <a:pt x="456488" y="3524310"/>
                    <a:pt x="469914" y="3510884"/>
                    <a:pt x="483340" y="3510884"/>
                  </a:cubicBezTo>
                  <a:close/>
                  <a:moveTo>
                    <a:pt x="1930005" y="3504169"/>
                  </a:moveTo>
                  <a:cubicBezTo>
                    <a:pt x="1933362" y="3504169"/>
                    <a:pt x="1940075" y="3507528"/>
                    <a:pt x="1940075" y="3514242"/>
                  </a:cubicBezTo>
                  <a:cubicBezTo>
                    <a:pt x="1940075" y="3517598"/>
                    <a:pt x="1936718" y="3524310"/>
                    <a:pt x="1930005" y="3524310"/>
                  </a:cubicBezTo>
                  <a:cubicBezTo>
                    <a:pt x="1926649" y="3524310"/>
                    <a:pt x="1919936" y="3520955"/>
                    <a:pt x="1919936" y="3514242"/>
                  </a:cubicBezTo>
                  <a:cubicBezTo>
                    <a:pt x="1919936" y="3510884"/>
                    <a:pt x="1923292" y="3504169"/>
                    <a:pt x="1930005" y="3504169"/>
                  </a:cubicBezTo>
                  <a:close/>
                  <a:moveTo>
                    <a:pt x="1439952" y="3504169"/>
                  </a:moveTo>
                  <a:cubicBezTo>
                    <a:pt x="1453378" y="3504169"/>
                    <a:pt x="1463448" y="3514242"/>
                    <a:pt x="1463448" y="3527666"/>
                  </a:cubicBezTo>
                  <a:cubicBezTo>
                    <a:pt x="1463448" y="3541090"/>
                    <a:pt x="1453378" y="3551160"/>
                    <a:pt x="1439952" y="3551160"/>
                  </a:cubicBezTo>
                  <a:cubicBezTo>
                    <a:pt x="1426526" y="3551160"/>
                    <a:pt x="1416456" y="3537734"/>
                    <a:pt x="1416456" y="3527666"/>
                  </a:cubicBezTo>
                  <a:cubicBezTo>
                    <a:pt x="1416456" y="3514242"/>
                    <a:pt x="1426526" y="3504169"/>
                    <a:pt x="1439952" y="3504169"/>
                  </a:cubicBezTo>
                  <a:close/>
                  <a:moveTo>
                    <a:pt x="959967" y="3500813"/>
                  </a:moveTo>
                  <a:cubicBezTo>
                    <a:pt x="976750" y="3500813"/>
                    <a:pt x="990176" y="3514242"/>
                    <a:pt x="990176" y="3531021"/>
                  </a:cubicBezTo>
                  <a:cubicBezTo>
                    <a:pt x="990176" y="3547802"/>
                    <a:pt x="976750" y="3561228"/>
                    <a:pt x="959967" y="3561228"/>
                  </a:cubicBezTo>
                  <a:cubicBezTo>
                    <a:pt x="943185" y="3561228"/>
                    <a:pt x="929758" y="3547802"/>
                    <a:pt x="929758" y="3531021"/>
                  </a:cubicBezTo>
                  <a:cubicBezTo>
                    <a:pt x="929758" y="3514242"/>
                    <a:pt x="943185" y="3500813"/>
                    <a:pt x="959967" y="3500813"/>
                  </a:cubicBezTo>
                  <a:close/>
                  <a:moveTo>
                    <a:pt x="2433484" y="3487389"/>
                  </a:moveTo>
                  <a:cubicBezTo>
                    <a:pt x="2440198" y="3487389"/>
                    <a:pt x="2443554" y="3490747"/>
                    <a:pt x="2443554" y="3497458"/>
                  </a:cubicBezTo>
                  <a:cubicBezTo>
                    <a:pt x="2443554" y="3504169"/>
                    <a:pt x="2436841" y="3507528"/>
                    <a:pt x="2433484" y="3507528"/>
                  </a:cubicBezTo>
                  <a:cubicBezTo>
                    <a:pt x="2430128" y="3507528"/>
                    <a:pt x="2426772" y="3500813"/>
                    <a:pt x="2423415" y="3497458"/>
                  </a:cubicBezTo>
                  <a:cubicBezTo>
                    <a:pt x="2423415" y="3490747"/>
                    <a:pt x="2430128" y="3487389"/>
                    <a:pt x="2433484" y="3487389"/>
                  </a:cubicBezTo>
                  <a:close/>
                  <a:moveTo>
                    <a:pt x="218175" y="3430330"/>
                  </a:moveTo>
                  <a:cubicBezTo>
                    <a:pt x="224888" y="3430330"/>
                    <a:pt x="228244" y="3433688"/>
                    <a:pt x="228244" y="3440398"/>
                  </a:cubicBezTo>
                  <a:cubicBezTo>
                    <a:pt x="228244" y="3447112"/>
                    <a:pt x="224888" y="3450468"/>
                    <a:pt x="218175" y="3450468"/>
                  </a:cubicBezTo>
                  <a:cubicBezTo>
                    <a:pt x="211462" y="3450468"/>
                    <a:pt x="208105" y="3447112"/>
                    <a:pt x="208105" y="3440398"/>
                  </a:cubicBezTo>
                  <a:cubicBezTo>
                    <a:pt x="208105" y="3433688"/>
                    <a:pt x="211462" y="3430330"/>
                    <a:pt x="218175" y="3430330"/>
                  </a:cubicBezTo>
                  <a:close/>
                  <a:moveTo>
                    <a:pt x="2134753" y="3410193"/>
                  </a:moveTo>
                  <a:cubicBezTo>
                    <a:pt x="2138110" y="3410193"/>
                    <a:pt x="2141466" y="3413547"/>
                    <a:pt x="2141466" y="3416903"/>
                  </a:cubicBezTo>
                  <a:cubicBezTo>
                    <a:pt x="2141466" y="3420259"/>
                    <a:pt x="2138110" y="3423617"/>
                    <a:pt x="2134753" y="3423617"/>
                  </a:cubicBezTo>
                  <a:cubicBezTo>
                    <a:pt x="2131396" y="3423617"/>
                    <a:pt x="2128040" y="3420259"/>
                    <a:pt x="2128040" y="3416903"/>
                  </a:cubicBezTo>
                  <a:cubicBezTo>
                    <a:pt x="2128040" y="3413547"/>
                    <a:pt x="2131396" y="3410193"/>
                    <a:pt x="2134753" y="3410193"/>
                  </a:cubicBezTo>
                  <a:close/>
                  <a:moveTo>
                    <a:pt x="1644700" y="3406837"/>
                  </a:moveTo>
                  <a:cubicBezTo>
                    <a:pt x="1654769" y="3406837"/>
                    <a:pt x="1664839" y="3416903"/>
                    <a:pt x="1664839" y="3426974"/>
                  </a:cubicBezTo>
                  <a:cubicBezTo>
                    <a:pt x="1664839" y="3437045"/>
                    <a:pt x="1654769" y="3447112"/>
                    <a:pt x="1644700" y="3447112"/>
                  </a:cubicBezTo>
                  <a:cubicBezTo>
                    <a:pt x="1634630" y="3447112"/>
                    <a:pt x="1627917" y="3437045"/>
                    <a:pt x="1624560" y="3426974"/>
                  </a:cubicBezTo>
                  <a:cubicBezTo>
                    <a:pt x="1624560" y="3416903"/>
                    <a:pt x="1634630" y="3406837"/>
                    <a:pt x="1644700" y="3406837"/>
                  </a:cubicBezTo>
                  <a:close/>
                  <a:moveTo>
                    <a:pt x="688089" y="3406837"/>
                  </a:moveTo>
                  <a:cubicBezTo>
                    <a:pt x="704872" y="3406837"/>
                    <a:pt x="718298" y="3420259"/>
                    <a:pt x="718298" y="3437045"/>
                  </a:cubicBezTo>
                  <a:cubicBezTo>
                    <a:pt x="718298" y="3453825"/>
                    <a:pt x="704872" y="3467249"/>
                    <a:pt x="688089" y="3467249"/>
                  </a:cubicBezTo>
                  <a:cubicBezTo>
                    <a:pt x="671306" y="3467249"/>
                    <a:pt x="661237" y="3453825"/>
                    <a:pt x="657880" y="3437045"/>
                  </a:cubicBezTo>
                  <a:cubicBezTo>
                    <a:pt x="657880" y="3420259"/>
                    <a:pt x="671306" y="3406837"/>
                    <a:pt x="688089" y="3406837"/>
                  </a:cubicBezTo>
                  <a:close/>
                  <a:moveTo>
                    <a:pt x="1164716" y="3400123"/>
                  </a:moveTo>
                  <a:cubicBezTo>
                    <a:pt x="1184855" y="3400123"/>
                    <a:pt x="1198281" y="3416903"/>
                    <a:pt x="1198281" y="3433688"/>
                  </a:cubicBezTo>
                  <a:cubicBezTo>
                    <a:pt x="1198281" y="3453825"/>
                    <a:pt x="1181499" y="3467249"/>
                    <a:pt x="1164716" y="3467249"/>
                  </a:cubicBezTo>
                  <a:cubicBezTo>
                    <a:pt x="1144577" y="3467249"/>
                    <a:pt x="1131151" y="3453825"/>
                    <a:pt x="1131151" y="3433688"/>
                  </a:cubicBezTo>
                  <a:cubicBezTo>
                    <a:pt x="1131151" y="3413547"/>
                    <a:pt x="1147933" y="3400123"/>
                    <a:pt x="1164716" y="3400123"/>
                  </a:cubicBezTo>
                  <a:close/>
                  <a:moveTo>
                    <a:pt x="2638232" y="3390052"/>
                  </a:moveTo>
                  <a:cubicBezTo>
                    <a:pt x="2641589" y="3390052"/>
                    <a:pt x="2644945" y="3393409"/>
                    <a:pt x="2644945" y="3396767"/>
                  </a:cubicBezTo>
                  <a:cubicBezTo>
                    <a:pt x="2644945" y="3400123"/>
                    <a:pt x="2641589" y="3403479"/>
                    <a:pt x="2638232" y="3403479"/>
                  </a:cubicBezTo>
                  <a:cubicBezTo>
                    <a:pt x="2638232" y="3403479"/>
                    <a:pt x="2634876" y="3400123"/>
                    <a:pt x="2631519" y="3396767"/>
                  </a:cubicBezTo>
                  <a:cubicBezTo>
                    <a:pt x="2631519" y="3393409"/>
                    <a:pt x="2634876" y="3390052"/>
                    <a:pt x="2638232" y="3390052"/>
                  </a:cubicBezTo>
                  <a:close/>
                  <a:moveTo>
                    <a:pt x="1849448" y="3322926"/>
                  </a:moveTo>
                  <a:cubicBezTo>
                    <a:pt x="1852805" y="3322926"/>
                    <a:pt x="1856161" y="3326282"/>
                    <a:pt x="1856161" y="3329641"/>
                  </a:cubicBezTo>
                  <a:cubicBezTo>
                    <a:pt x="1856161" y="3332997"/>
                    <a:pt x="1852805" y="3336355"/>
                    <a:pt x="1849448" y="3336355"/>
                  </a:cubicBezTo>
                  <a:cubicBezTo>
                    <a:pt x="1846092" y="3336355"/>
                    <a:pt x="1842735" y="3332997"/>
                    <a:pt x="1842735" y="3329641"/>
                  </a:cubicBezTo>
                  <a:cubicBezTo>
                    <a:pt x="1842735" y="3326282"/>
                    <a:pt x="1846092" y="3322926"/>
                    <a:pt x="1849448" y="3322926"/>
                  </a:cubicBezTo>
                  <a:close/>
                  <a:moveTo>
                    <a:pt x="1369465" y="3316213"/>
                  </a:moveTo>
                  <a:cubicBezTo>
                    <a:pt x="1379534" y="3316213"/>
                    <a:pt x="1389604" y="3326282"/>
                    <a:pt x="1389604" y="3336355"/>
                  </a:cubicBezTo>
                  <a:cubicBezTo>
                    <a:pt x="1389604" y="3346420"/>
                    <a:pt x="1379534" y="3356491"/>
                    <a:pt x="1369465" y="3356491"/>
                  </a:cubicBezTo>
                  <a:cubicBezTo>
                    <a:pt x="1359395" y="3356491"/>
                    <a:pt x="1349326" y="3346420"/>
                    <a:pt x="1349326" y="3336355"/>
                  </a:cubicBezTo>
                  <a:cubicBezTo>
                    <a:pt x="1349326" y="3326282"/>
                    <a:pt x="1359395" y="3316213"/>
                    <a:pt x="1369465" y="3316213"/>
                  </a:cubicBezTo>
                  <a:close/>
                  <a:moveTo>
                    <a:pt x="896193" y="3316213"/>
                  </a:moveTo>
                  <a:cubicBezTo>
                    <a:pt x="909619" y="3316213"/>
                    <a:pt x="919689" y="3326282"/>
                    <a:pt x="919689" y="3339707"/>
                  </a:cubicBezTo>
                  <a:cubicBezTo>
                    <a:pt x="919689" y="3353134"/>
                    <a:pt x="909619" y="3363206"/>
                    <a:pt x="896193" y="3363206"/>
                  </a:cubicBezTo>
                  <a:cubicBezTo>
                    <a:pt x="882767" y="3363206"/>
                    <a:pt x="872697" y="3353134"/>
                    <a:pt x="872697" y="3339707"/>
                  </a:cubicBezTo>
                  <a:cubicBezTo>
                    <a:pt x="872697" y="3326282"/>
                    <a:pt x="882767" y="3316213"/>
                    <a:pt x="896193" y="3316213"/>
                  </a:cubicBezTo>
                  <a:close/>
                  <a:moveTo>
                    <a:pt x="2339502" y="3312859"/>
                  </a:moveTo>
                  <a:cubicBezTo>
                    <a:pt x="2342858" y="3312859"/>
                    <a:pt x="2346215" y="3316213"/>
                    <a:pt x="2346215" y="3319570"/>
                  </a:cubicBezTo>
                  <a:cubicBezTo>
                    <a:pt x="2346215" y="3322926"/>
                    <a:pt x="2342858" y="3326282"/>
                    <a:pt x="2339502" y="3326282"/>
                  </a:cubicBezTo>
                  <a:cubicBezTo>
                    <a:pt x="2336145" y="3326282"/>
                    <a:pt x="2332788" y="3322926"/>
                    <a:pt x="2332788" y="3319570"/>
                  </a:cubicBezTo>
                  <a:cubicBezTo>
                    <a:pt x="2332788" y="3316213"/>
                    <a:pt x="2336145" y="3312859"/>
                    <a:pt x="2339502" y="3312859"/>
                  </a:cubicBezTo>
                  <a:close/>
                  <a:moveTo>
                    <a:pt x="426279" y="3309498"/>
                  </a:moveTo>
                  <a:cubicBezTo>
                    <a:pt x="443062" y="3309498"/>
                    <a:pt x="456488" y="3322926"/>
                    <a:pt x="456488" y="3339707"/>
                  </a:cubicBezTo>
                  <a:cubicBezTo>
                    <a:pt x="456488" y="3356491"/>
                    <a:pt x="443062" y="3369914"/>
                    <a:pt x="426279" y="3369914"/>
                  </a:cubicBezTo>
                  <a:cubicBezTo>
                    <a:pt x="409496" y="3369914"/>
                    <a:pt x="396070" y="3359849"/>
                    <a:pt x="396070" y="3339707"/>
                  </a:cubicBezTo>
                  <a:cubicBezTo>
                    <a:pt x="396070" y="3322926"/>
                    <a:pt x="409496" y="3309498"/>
                    <a:pt x="426279" y="3309498"/>
                  </a:cubicBezTo>
                  <a:close/>
                  <a:moveTo>
                    <a:pt x="167827" y="3232301"/>
                  </a:moveTo>
                  <a:cubicBezTo>
                    <a:pt x="175242" y="3232301"/>
                    <a:pt x="181253" y="3238311"/>
                    <a:pt x="181253" y="3245730"/>
                  </a:cubicBezTo>
                  <a:cubicBezTo>
                    <a:pt x="181253" y="3253143"/>
                    <a:pt x="175242" y="3259154"/>
                    <a:pt x="167827" y="3259154"/>
                  </a:cubicBezTo>
                  <a:cubicBezTo>
                    <a:pt x="160412" y="3259154"/>
                    <a:pt x="154401" y="3253143"/>
                    <a:pt x="154401" y="3245730"/>
                  </a:cubicBezTo>
                  <a:cubicBezTo>
                    <a:pt x="154401" y="3238311"/>
                    <a:pt x="160412" y="3232301"/>
                    <a:pt x="167827" y="3232301"/>
                  </a:cubicBezTo>
                  <a:close/>
                  <a:moveTo>
                    <a:pt x="2054196" y="3222236"/>
                  </a:moveTo>
                  <a:cubicBezTo>
                    <a:pt x="2057552" y="3222236"/>
                    <a:pt x="2060909" y="3225591"/>
                    <a:pt x="2060909" y="3228948"/>
                  </a:cubicBezTo>
                  <a:cubicBezTo>
                    <a:pt x="2060909" y="3232306"/>
                    <a:pt x="2057552" y="3235663"/>
                    <a:pt x="2054196" y="3235663"/>
                  </a:cubicBezTo>
                  <a:cubicBezTo>
                    <a:pt x="2050840" y="3235663"/>
                    <a:pt x="2047483" y="3232306"/>
                    <a:pt x="2047483" y="3228948"/>
                  </a:cubicBezTo>
                  <a:cubicBezTo>
                    <a:pt x="2047483" y="3225591"/>
                    <a:pt x="2050840" y="3222236"/>
                    <a:pt x="2054196" y="3222236"/>
                  </a:cubicBezTo>
                  <a:close/>
                  <a:moveTo>
                    <a:pt x="1574212" y="3215524"/>
                  </a:moveTo>
                  <a:cubicBezTo>
                    <a:pt x="1584282" y="3215524"/>
                    <a:pt x="1594352" y="3225591"/>
                    <a:pt x="1594352" y="3235663"/>
                  </a:cubicBezTo>
                  <a:cubicBezTo>
                    <a:pt x="1594352" y="3245731"/>
                    <a:pt x="1584282" y="3255801"/>
                    <a:pt x="1574212" y="3255801"/>
                  </a:cubicBezTo>
                  <a:cubicBezTo>
                    <a:pt x="1564143" y="3255801"/>
                    <a:pt x="1554073" y="3245731"/>
                    <a:pt x="1554073" y="3235663"/>
                  </a:cubicBezTo>
                  <a:cubicBezTo>
                    <a:pt x="1554073" y="3225591"/>
                    <a:pt x="1564143" y="3215524"/>
                    <a:pt x="1574212" y="3215524"/>
                  </a:cubicBezTo>
                  <a:close/>
                  <a:moveTo>
                    <a:pt x="634384" y="3215524"/>
                  </a:moveTo>
                  <a:cubicBezTo>
                    <a:pt x="647810" y="3215524"/>
                    <a:pt x="661237" y="3228948"/>
                    <a:pt x="661237" y="3242373"/>
                  </a:cubicBezTo>
                  <a:cubicBezTo>
                    <a:pt x="661237" y="3255801"/>
                    <a:pt x="647810" y="3269225"/>
                    <a:pt x="634384" y="3269225"/>
                  </a:cubicBezTo>
                  <a:cubicBezTo>
                    <a:pt x="620958" y="3269225"/>
                    <a:pt x="607532" y="3259158"/>
                    <a:pt x="607532" y="3242373"/>
                  </a:cubicBezTo>
                  <a:cubicBezTo>
                    <a:pt x="607532" y="3228948"/>
                    <a:pt x="620958" y="3215524"/>
                    <a:pt x="634384" y="3215524"/>
                  </a:cubicBezTo>
                  <a:close/>
                  <a:moveTo>
                    <a:pt x="1100942" y="3202095"/>
                  </a:moveTo>
                  <a:cubicBezTo>
                    <a:pt x="1121081" y="3202095"/>
                    <a:pt x="1137864" y="3218877"/>
                    <a:pt x="1137864" y="3239020"/>
                  </a:cubicBezTo>
                  <a:cubicBezTo>
                    <a:pt x="1137864" y="3259158"/>
                    <a:pt x="1121081" y="3275937"/>
                    <a:pt x="1100942" y="3275937"/>
                  </a:cubicBezTo>
                  <a:cubicBezTo>
                    <a:pt x="1080803" y="3275937"/>
                    <a:pt x="1067376" y="3259158"/>
                    <a:pt x="1064020" y="3239020"/>
                  </a:cubicBezTo>
                  <a:cubicBezTo>
                    <a:pt x="1064020" y="3218877"/>
                    <a:pt x="1080803" y="3202095"/>
                    <a:pt x="1100942" y="3202095"/>
                  </a:cubicBezTo>
                  <a:close/>
                  <a:moveTo>
                    <a:pt x="2258945" y="3124895"/>
                  </a:moveTo>
                  <a:cubicBezTo>
                    <a:pt x="2262301" y="3124895"/>
                    <a:pt x="2265658" y="3128252"/>
                    <a:pt x="2265658" y="3131608"/>
                  </a:cubicBezTo>
                  <a:cubicBezTo>
                    <a:pt x="2265658" y="3134964"/>
                    <a:pt x="2262301" y="3138322"/>
                    <a:pt x="2258945" y="3138322"/>
                  </a:cubicBezTo>
                  <a:cubicBezTo>
                    <a:pt x="2255588" y="3138322"/>
                    <a:pt x="2252232" y="3134964"/>
                    <a:pt x="2252232" y="3131608"/>
                  </a:cubicBezTo>
                  <a:cubicBezTo>
                    <a:pt x="2252232" y="3128252"/>
                    <a:pt x="2255588" y="3124895"/>
                    <a:pt x="2258945" y="3124895"/>
                  </a:cubicBezTo>
                  <a:close/>
                  <a:moveTo>
                    <a:pt x="1782318" y="3124895"/>
                  </a:moveTo>
                  <a:cubicBezTo>
                    <a:pt x="1789031" y="3124895"/>
                    <a:pt x="1792387" y="3131608"/>
                    <a:pt x="1792387" y="3134964"/>
                  </a:cubicBezTo>
                  <a:cubicBezTo>
                    <a:pt x="1792387" y="3141678"/>
                    <a:pt x="1785674" y="3145033"/>
                    <a:pt x="1782318" y="3145033"/>
                  </a:cubicBezTo>
                  <a:cubicBezTo>
                    <a:pt x="1775604" y="3145033"/>
                    <a:pt x="1772248" y="3141678"/>
                    <a:pt x="1772248" y="3134964"/>
                  </a:cubicBezTo>
                  <a:cubicBezTo>
                    <a:pt x="1772248" y="3128252"/>
                    <a:pt x="1778961" y="3124895"/>
                    <a:pt x="1782318" y="3124895"/>
                  </a:cubicBezTo>
                  <a:close/>
                  <a:moveTo>
                    <a:pt x="842490" y="3121541"/>
                  </a:moveTo>
                  <a:cubicBezTo>
                    <a:pt x="855916" y="3121541"/>
                    <a:pt x="862629" y="3131608"/>
                    <a:pt x="862629" y="3141679"/>
                  </a:cubicBezTo>
                  <a:cubicBezTo>
                    <a:pt x="862629" y="3151749"/>
                    <a:pt x="852559" y="3161818"/>
                    <a:pt x="842490" y="3161818"/>
                  </a:cubicBezTo>
                  <a:cubicBezTo>
                    <a:pt x="832420" y="3161818"/>
                    <a:pt x="822350" y="3155106"/>
                    <a:pt x="822350" y="3141679"/>
                  </a:cubicBezTo>
                  <a:cubicBezTo>
                    <a:pt x="822350" y="3131608"/>
                    <a:pt x="832420" y="3121541"/>
                    <a:pt x="842490" y="3121541"/>
                  </a:cubicBezTo>
                  <a:close/>
                  <a:moveTo>
                    <a:pt x="1309047" y="3118183"/>
                  </a:moveTo>
                  <a:cubicBezTo>
                    <a:pt x="1322473" y="3118183"/>
                    <a:pt x="1332543" y="3128252"/>
                    <a:pt x="1332543" y="3141679"/>
                  </a:cubicBezTo>
                  <a:cubicBezTo>
                    <a:pt x="1332543" y="3155106"/>
                    <a:pt x="1322473" y="3165175"/>
                    <a:pt x="1309047" y="3165175"/>
                  </a:cubicBezTo>
                  <a:cubicBezTo>
                    <a:pt x="1295621" y="3165175"/>
                    <a:pt x="1285551" y="3155106"/>
                    <a:pt x="1285551" y="3141679"/>
                  </a:cubicBezTo>
                  <a:cubicBezTo>
                    <a:pt x="1285551" y="3128252"/>
                    <a:pt x="1295621" y="3118183"/>
                    <a:pt x="1309047" y="3118183"/>
                  </a:cubicBezTo>
                  <a:close/>
                  <a:moveTo>
                    <a:pt x="379288" y="3118181"/>
                  </a:moveTo>
                  <a:cubicBezTo>
                    <a:pt x="392714" y="3118181"/>
                    <a:pt x="406140" y="3131608"/>
                    <a:pt x="406140" y="3145033"/>
                  </a:cubicBezTo>
                  <a:cubicBezTo>
                    <a:pt x="406140" y="3158461"/>
                    <a:pt x="392714" y="3171888"/>
                    <a:pt x="379288" y="3171888"/>
                  </a:cubicBezTo>
                  <a:cubicBezTo>
                    <a:pt x="362505" y="3171888"/>
                    <a:pt x="352435" y="3158461"/>
                    <a:pt x="352435" y="3145033"/>
                  </a:cubicBezTo>
                  <a:cubicBezTo>
                    <a:pt x="352435" y="3131608"/>
                    <a:pt x="365861" y="3118181"/>
                    <a:pt x="379288" y="3118181"/>
                  </a:cubicBezTo>
                  <a:close/>
                  <a:moveTo>
                    <a:pt x="127548" y="3034265"/>
                  </a:moveTo>
                  <a:cubicBezTo>
                    <a:pt x="134261" y="3034265"/>
                    <a:pt x="137618" y="3040978"/>
                    <a:pt x="137618" y="3044336"/>
                  </a:cubicBezTo>
                  <a:cubicBezTo>
                    <a:pt x="137618" y="3051051"/>
                    <a:pt x="130905" y="3054407"/>
                    <a:pt x="127548" y="3054407"/>
                  </a:cubicBezTo>
                  <a:cubicBezTo>
                    <a:pt x="124192" y="3054407"/>
                    <a:pt x="117479" y="3051051"/>
                    <a:pt x="117479" y="3044336"/>
                  </a:cubicBezTo>
                  <a:cubicBezTo>
                    <a:pt x="117479" y="3037623"/>
                    <a:pt x="124192" y="3034265"/>
                    <a:pt x="127548" y="3034265"/>
                  </a:cubicBezTo>
                  <a:close/>
                  <a:moveTo>
                    <a:pt x="2463694" y="3030915"/>
                  </a:moveTo>
                  <a:cubicBezTo>
                    <a:pt x="2463694" y="3030915"/>
                    <a:pt x="2467050" y="3030915"/>
                    <a:pt x="2467050" y="3034273"/>
                  </a:cubicBezTo>
                  <a:cubicBezTo>
                    <a:pt x="2467050" y="3034273"/>
                    <a:pt x="2467050" y="3037628"/>
                    <a:pt x="2463694" y="3037628"/>
                  </a:cubicBezTo>
                  <a:cubicBezTo>
                    <a:pt x="2460337" y="3037628"/>
                    <a:pt x="2460337" y="3034273"/>
                    <a:pt x="2460337" y="3034273"/>
                  </a:cubicBezTo>
                  <a:cubicBezTo>
                    <a:pt x="2460337" y="3034273"/>
                    <a:pt x="2460337" y="3030915"/>
                    <a:pt x="2463694" y="3030915"/>
                  </a:cubicBezTo>
                  <a:close/>
                  <a:moveTo>
                    <a:pt x="1987066" y="3030915"/>
                  </a:moveTo>
                  <a:cubicBezTo>
                    <a:pt x="1990423" y="3030915"/>
                    <a:pt x="1993779" y="3034273"/>
                    <a:pt x="1993779" y="3037628"/>
                  </a:cubicBezTo>
                  <a:cubicBezTo>
                    <a:pt x="1993779" y="3040986"/>
                    <a:pt x="1990423" y="3044345"/>
                    <a:pt x="1987066" y="3044345"/>
                  </a:cubicBezTo>
                  <a:cubicBezTo>
                    <a:pt x="1983710" y="3044345"/>
                    <a:pt x="1980353" y="3040986"/>
                    <a:pt x="1980353" y="3037628"/>
                  </a:cubicBezTo>
                  <a:cubicBezTo>
                    <a:pt x="1980353" y="3034273"/>
                    <a:pt x="1983710" y="3030915"/>
                    <a:pt x="1987066" y="3030915"/>
                  </a:cubicBezTo>
                  <a:close/>
                  <a:moveTo>
                    <a:pt x="1517151" y="3027560"/>
                  </a:moveTo>
                  <a:cubicBezTo>
                    <a:pt x="1523864" y="3027560"/>
                    <a:pt x="1530577" y="3034273"/>
                    <a:pt x="1530577" y="3040986"/>
                  </a:cubicBezTo>
                  <a:cubicBezTo>
                    <a:pt x="1530577" y="3047699"/>
                    <a:pt x="1523864" y="3054413"/>
                    <a:pt x="1517151" y="3054413"/>
                  </a:cubicBezTo>
                  <a:cubicBezTo>
                    <a:pt x="1510438" y="3054413"/>
                    <a:pt x="1503725" y="3051057"/>
                    <a:pt x="1503725" y="3040986"/>
                  </a:cubicBezTo>
                  <a:cubicBezTo>
                    <a:pt x="1503725" y="3034273"/>
                    <a:pt x="1510438" y="3027560"/>
                    <a:pt x="1517151" y="3027560"/>
                  </a:cubicBezTo>
                  <a:close/>
                  <a:moveTo>
                    <a:pt x="587393" y="3020845"/>
                  </a:moveTo>
                  <a:cubicBezTo>
                    <a:pt x="600819" y="3020845"/>
                    <a:pt x="610889" y="3030915"/>
                    <a:pt x="610889" y="3044341"/>
                  </a:cubicBezTo>
                  <a:cubicBezTo>
                    <a:pt x="610889" y="3057770"/>
                    <a:pt x="600819" y="3067838"/>
                    <a:pt x="587393" y="3067838"/>
                  </a:cubicBezTo>
                  <a:cubicBezTo>
                    <a:pt x="577323" y="3067838"/>
                    <a:pt x="563897" y="3057770"/>
                    <a:pt x="563897" y="3044341"/>
                  </a:cubicBezTo>
                  <a:cubicBezTo>
                    <a:pt x="563897" y="3030915"/>
                    <a:pt x="573967" y="3020845"/>
                    <a:pt x="587393" y="3020845"/>
                  </a:cubicBezTo>
                  <a:close/>
                  <a:moveTo>
                    <a:pt x="1050594" y="3017489"/>
                  </a:moveTo>
                  <a:cubicBezTo>
                    <a:pt x="1064020" y="3017489"/>
                    <a:pt x="1077446" y="3030915"/>
                    <a:pt x="1077446" y="3044345"/>
                  </a:cubicBezTo>
                  <a:cubicBezTo>
                    <a:pt x="1077446" y="3057770"/>
                    <a:pt x="1064020" y="3071196"/>
                    <a:pt x="1050594" y="3071196"/>
                  </a:cubicBezTo>
                  <a:cubicBezTo>
                    <a:pt x="1037168" y="3071196"/>
                    <a:pt x="1023741" y="3057770"/>
                    <a:pt x="1023741" y="3044345"/>
                  </a:cubicBezTo>
                  <a:cubicBezTo>
                    <a:pt x="1023741" y="3030915"/>
                    <a:pt x="1037168" y="3017489"/>
                    <a:pt x="1050594" y="3017489"/>
                  </a:cubicBezTo>
                  <a:close/>
                  <a:moveTo>
                    <a:pt x="2195170" y="2930223"/>
                  </a:moveTo>
                  <a:cubicBezTo>
                    <a:pt x="2198527" y="2930223"/>
                    <a:pt x="2201884" y="2933579"/>
                    <a:pt x="2201884" y="2936935"/>
                  </a:cubicBezTo>
                  <a:cubicBezTo>
                    <a:pt x="2201884" y="2940292"/>
                    <a:pt x="2198527" y="2943649"/>
                    <a:pt x="2195170" y="2943649"/>
                  </a:cubicBezTo>
                  <a:cubicBezTo>
                    <a:pt x="2191814" y="2943649"/>
                    <a:pt x="2188458" y="2940292"/>
                    <a:pt x="2188458" y="2936935"/>
                  </a:cubicBezTo>
                  <a:cubicBezTo>
                    <a:pt x="2188458" y="2933579"/>
                    <a:pt x="2191814" y="2930223"/>
                    <a:pt x="2195170" y="2930223"/>
                  </a:cubicBezTo>
                  <a:close/>
                  <a:moveTo>
                    <a:pt x="1725256" y="2930223"/>
                  </a:moveTo>
                  <a:cubicBezTo>
                    <a:pt x="1731970" y="2930223"/>
                    <a:pt x="1735326" y="2933579"/>
                    <a:pt x="1735326" y="2940292"/>
                  </a:cubicBezTo>
                  <a:cubicBezTo>
                    <a:pt x="1735326" y="2947003"/>
                    <a:pt x="1728613" y="2950360"/>
                    <a:pt x="1725256" y="2950360"/>
                  </a:cubicBezTo>
                  <a:cubicBezTo>
                    <a:pt x="1721900" y="2950360"/>
                    <a:pt x="1715187" y="2947003"/>
                    <a:pt x="1715187" y="2940292"/>
                  </a:cubicBezTo>
                  <a:cubicBezTo>
                    <a:pt x="1715187" y="2933579"/>
                    <a:pt x="1718543" y="2930223"/>
                    <a:pt x="1725256" y="2930223"/>
                  </a:cubicBezTo>
                  <a:close/>
                  <a:moveTo>
                    <a:pt x="1262056" y="2926865"/>
                  </a:moveTo>
                  <a:cubicBezTo>
                    <a:pt x="1272125" y="2926865"/>
                    <a:pt x="1278838" y="2933579"/>
                    <a:pt x="1278838" y="2943649"/>
                  </a:cubicBezTo>
                  <a:cubicBezTo>
                    <a:pt x="1278838" y="2953717"/>
                    <a:pt x="1272125" y="2960431"/>
                    <a:pt x="1262056" y="2960431"/>
                  </a:cubicBezTo>
                  <a:cubicBezTo>
                    <a:pt x="1251986" y="2960431"/>
                    <a:pt x="1245273" y="2953717"/>
                    <a:pt x="1245273" y="2943649"/>
                  </a:cubicBezTo>
                  <a:cubicBezTo>
                    <a:pt x="1245273" y="2933579"/>
                    <a:pt x="1251986" y="2926865"/>
                    <a:pt x="1262056" y="2926865"/>
                  </a:cubicBezTo>
                  <a:close/>
                  <a:moveTo>
                    <a:pt x="798855" y="2923508"/>
                  </a:moveTo>
                  <a:cubicBezTo>
                    <a:pt x="808924" y="2923508"/>
                    <a:pt x="818994" y="2933579"/>
                    <a:pt x="818994" y="2943649"/>
                  </a:cubicBezTo>
                  <a:cubicBezTo>
                    <a:pt x="818994" y="2953717"/>
                    <a:pt x="808924" y="2963787"/>
                    <a:pt x="798855" y="2963787"/>
                  </a:cubicBezTo>
                  <a:cubicBezTo>
                    <a:pt x="788785" y="2963787"/>
                    <a:pt x="782072" y="2953717"/>
                    <a:pt x="778715" y="2943649"/>
                  </a:cubicBezTo>
                  <a:cubicBezTo>
                    <a:pt x="778715" y="2933579"/>
                    <a:pt x="788785" y="2923508"/>
                    <a:pt x="798855" y="2923508"/>
                  </a:cubicBezTo>
                  <a:close/>
                  <a:moveTo>
                    <a:pt x="339009" y="2916791"/>
                  </a:moveTo>
                  <a:cubicBezTo>
                    <a:pt x="355792" y="2916791"/>
                    <a:pt x="365861" y="2930217"/>
                    <a:pt x="365861" y="2943643"/>
                  </a:cubicBezTo>
                  <a:cubicBezTo>
                    <a:pt x="365861" y="2957069"/>
                    <a:pt x="352435" y="2970495"/>
                    <a:pt x="339009" y="2970495"/>
                  </a:cubicBezTo>
                  <a:cubicBezTo>
                    <a:pt x="325583" y="2970495"/>
                    <a:pt x="315513" y="2960427"/>
                    <a:pt x="312157" y="2943643"/>
                  </a:cubicBezTo>
                  <a:cubicBezTo>
                    <a:pt x="312157" y="2930217"/>
                    <a:pt x="325583" y="2916791"/>
                    <a:pt x="339009" y="2916791"/>
                  </a:cubicBezTo>
                  <a:close/>
                  <a:moveTo>
                    <a:pt x="97340" y="2839587"/>
                  </a:moveTo>
                  <a:cubicBezTo>
                    <a:pt x="100696" y="2839587"/>
                    <a:pt x="104053" y="2842943"/>
                    <a:pt x="104053" y="2846299"/>
                  </a:cubicBezTo>
                  <a:cubicBezTo>
                    <a:pt x="104053" y="2849658"/>
                    <a:pt x="100696" y="2853013"/>
                    <a:pt x="97340" y="2853013"/>
                  </a:cubicBezTo>
                  <a:cubicBezTo>
                    <a:pt x="93983" y="2853013"/>
                    <a:pt x="90626" y="2849658"/>
                    <a:pt x="90626" y="2846299"/>
                  </a:cubicBezTo>
                  <a:cubicBezTo>
                    <a:pt x="90626" y="2842943"/>
                    <a:pt x="93983" y="2839587"/>
                    <a:pt x="97340" y="2839587"/>
                  </a:cubicBezTo>
                  <a:close/>
                  <a:moveTo>
                    <a:pt x="1933362" y="2836241"/>
                  </a:moveTo>
                  <a:cubicBezTo>
                    <a:pt x="1936718" y="2836241"/>
                    <a:pt x="1940075" y="2839599"/>
                    <a:pt x="1940075" y="2842956"/>
                  </a:cubicBezTo>
                  <a:cubicBezTo>
                    <a:pt x="1940075" y="2846311"/>
                    <a:pt x="1936718" y="2849666"/>
                    <a:pt x="1933362" y="2849666"/>
                  </a:cubicBezTo>
                  <a:cubicBezTo>
                    <a:pt x="1930005" y="2849666"/>
                    <a:pt x="1926649" y="2846311"/>
                    <a:pt x="1926649" y="2842956"/>
                  </a:cubicBezTo>
                  <a:cubicBezTo>
                    <a:pt x="1926649" y="2839599"/>
                    <a:pt x="1930005" y="2836241"/>
                    <a:pt x="1933362" y="2836241"/>
                  </a:cubicBezTo>
                  <a:close/>
                  <a:moveTo>
                    <a:pt x="1473516" y="2829530"/>
                  </a:moveTo>
                  <a:cubicBezTo>
                    <a:pt x="1480932" y="2829530"/>
                    <a:pt x="1486942" y="2835540"/>
                    <a:pt x="1486942" y="2842956"/>
                  </a:cubicBezTo>
                  <a:cubicBezTo>
                    <a:pt x="1486942" y="2850371"/>
                    <a:pt x="1480932" y="2856382"/>
                    <a:pt x="1473516" y="2856382"/>
                  </a:cubicBezTo>
                  <a:cubicBezTo>
                    <a:pt x="1466101" y="2856382"/>
                    <a:pt x="1460090" y="2850371"/>
                    <a:pt x="1460090" y="2842956"/>
                  </a:cubicBezTo>
                  <a:cubicBezTo>
                    <a:pt x="1460090" y="2835540"/>
                    <a:pt x="1466101" y="2829530"/>
                    <a:pt x="1473516" y="2829530"/>
                  </a:cubicBezTo>
                  <a:close/>
                  <a:moveTo>
                    <a:pt x="553827" y="2829526"/>
                  </a:moveTo>
                  <a:cubicBezTo>
                    <a:pt x="563096" y="2829526"/>
                    <a:pt x="570610" y="2837041"/>
                    <a:pt x="570610" y="2846311"/>
                  </a:cubicBezTo>
                  <a:cubicBezTo>
                    <a:pt x="570610" y="2855577"/>
                    <a:pt x="563096" y="2863090"/>
                    <a:pt x="553827" y="2863090"/>
                  </a:cubicBezTo>
                  <a:cubicBezTo>
                    <a:pt x="544559" y="2863090"/>
                    <a:pt x="537045" y="2855577"/>
                    <a:pt x="537045" y="2846311"/>
                  </a:cubicBezTo>
                  <a:cubicBezTo>
                    <a:pt x="537045" y="2837041"/>
                    <a:pt x="544559" y="2829526"/>
                    <a:pt x="553827" y="2829526"/>
                  </a:cubicBezTo>
                  <a:close/>
                  <a:moveTo>
                    <a:pt x="1013672" y="2822817"/>
                  </a:moveTo>
                  <a:cubicBezTo>
                    <a:pt x="1027098" y="2822817"/>
                    <a:pt x="1037168" y="2832887"/>
                    <a:pt x="1037168" y="2846311"/>
                  </a:cubicBezTo>
                  <a:cubicBezTo>
                    <a:pt x="1037168" y="2859738"/>
                    <a:pt x="1027098" y="2869806"/>
                    <a:pt x="1013672" y="2869806"/>
                  </a:cubicBezTo>
                  <a:cubicBezTo>
                    <a:pt x="1000246" y="2869806"/>
                    <a:pt x="986820" y="2856382"/>
                    <a:pt x="990176" y="2846311"/>
                  </a:cubicBezTo>
                  <a:cubicBezTo>
                    <a:pt x="990176" y="2832887"/>
                    <a:pt x="1000246" y="2822817"/>
                    <a:pt x="1013672" y="2822817"/>
                  </a:cubicBezTo>
                  <a:close/>
                  <a:moveTo>
                    <a:pt x="2144822" y="2735548"/>
                  </a:moveTo>
                  <a:cubicBezTo>
                    <a:pt x="2148179" y="2735548"/>
                    <a:pt x="2151536" y="2738904"/>
                    <a:pt x="2151536" y="2742260"/>
                  </a:cubicBezTo>
                  <a:cubicBezTo>
                    <a:pt x="2151536" y="2745618"/>
                    <a:pt x="2148179" y="2748973"/>
                    <a:pt x="2144822" y="2748973"/>
                  </a:cubicBezTo>
                  <a:cubicBezTo>
                    <a:pt x="2141466" y="2748973"/>
                    <a:pt x="2138110" y="2745618"/>
                    <a:pt x="2138110" y="2742260"/>
                  </a:cubicBezTo>
                  <a:cubicBezTo>
                    <a:pt x="2138110" y="2738904"/>
                    <a:pt x="2141466" y="2735548"/>
                    <a:pt x="2144822" y="2735548"/>
                  </a:cubicBezTo>
                  <a:close/>
                  <a:moveTo>
                    <a:pt x="1684978" y="2732191"/>
                  </a:moveTo>
                  <a:cubicBezTo>
                    <a:pt x="1691691" y="2732191"/>
                    <a:pt x="1695048" y="2738904"/>
                    <a:pt x="1695048" y="2742260"/>
                  </a:cubicBezTo>
                  <a:cubicBezTo>
                    <a:pt x="1695048" y="2748973"/>
                    <a:pt x="1688335" y="2752334"/>
                    <a:pt x="1684978" y="2752334"/>
                  </a:cubicBezTo>
                  <a:cubicBezTo>
                    <a:pt x="1678265" y="2752334"/>
                    <a:pt x="1674908" y="2748973"/>
                    <a:pt x="1674908" y="2742260"/>
                  </a:cubicBezTo>
                  <a:cubicBezTo>
                    <a:pt x="1674908" y="2735548"/>
                    <a:pt x="1678265" y="2732191"/>
                    <a:pt x="1684978" y="2732191"/>
                  </a:cubicBezTo>
                  <a:close/>
                  <a:moveTo>
                    <a:pt x="1225134" y="2725478"/>
                  </a:moveTo>
                  <a:cubicBezTo>
                    <a:pt x="1235203" y="2725478"/>
                    <a:pt x="1241916" y="2732191"/>
                    <a:pt x="1241916" y="2742260"/>
                  </a:cubicBezTo>
                  <a:cubicBezTo>
                    <a:pt x="1241916" y="2752334"/>
                    <a:pt x="1235203" y="2759042"/>
                    <a:pt x="1225134" y="2759042"/>
                  </a:cubicBezTo>
                  <a:cubicBezTo>
                    <a:pt x="1215064" y="2759042"/>
                    <a:pt x="1208351" y="2752334"/>
                    <a:pt x="1208351" y="2742260"/>
                  </a:cubicBezTo>
                  <a:cubicBezTo>
                    <a:pt x="1208351" y="2732191"/>
                    <a:pt x="1215064" y="2725478"/>
                    <a:pt x="1225134" y="2725478"/>
                  </a:cubicBezTo>
                  <a:close/>
                  <a:moveTo>
                    <a:pt x="312157" y="2722116"/>
                  </a:moveTo>
                  <a:cubicBezTo>
                    <a:pt x="325583" y="2722116"/>
                    <a:pt x="335653" y="2732185"/>
                    <a:pt x="335653" y="2745613"/>
                  </a:cubicBezTo>
                  <a:cubicBezTo>
                    <a:pt x="335653" y="2759038"/>
                    <a:pt x="325583" y="2769105"/>
                    <a:pt x="312157" y="2769105"/>
                  </a:cubicBezTo>
                  <a:cubicBezTo>
                    <a:pt x="298731" y="2769105"/>
                    <a:pt x="288661" y="2759038"/>
                    <a:pt x="288661" y="2745613"/>
                  </a:cubicBezTo>
                  <a:cubicBezTo>
                    <a:pt x="288661" y="2732185"/>
                    <a:pt x="298731" y="2722116"/>
                    <a:pt x="312157" y="2722116"/>
                  </a:cubicBezTo>
                  <a:close/>
                  <a:moveTo>
                    <a:pt x="768646" y="2718764"/>
                  </a:moveTo>
                  <a:cubicBezTo>
                    <a:pt x="782072" y="2718764"/>
                    <a:pt x="795498" y="2728835"/>
                    <a:pt x="795498" y="2742260"/>
                  </a:cubicBezTo>
                  <a:cubicBezTo>
                    <a:pt x="795498" y="2755687"/>
                    <a:pt x="782072" y="2769113"/>
                    <a:pt x="768646" y="2769113"/>
                  </a:cubicBezTo>
                  <a:cubicBezTo>
                    <a:pt x="751863" y="2769113"/>
                    <a:pt x="741793" y="2759042"/>
                    <a:pt x="741793" y="2745618"/>
                  </a:cubicBezTo>
                  <a:cubicBezTo>
                    <a:pt x="741793" y="2732191"/>
                    <a:pt x="755220" y="2718764"/>
                    <a:pt x="768646" y="2718764"/>
                  </a:cubicBezTo>
                  <a:close/>
                  <a:moveTo>
                    <a:pt x="73844" y="2641550"/>
                  </a:moveTo>
                  <a:cubicBezTo>
                    <a:pt x="73844" y="2641550"/>
                    <a:pt x="77200" y="2641550"/>
                    <a:pt x="77200" y="2644906"/>
                  </a:cubicBezTo>
                  <a:cubicBezTo>
                    <a:pt x="77200" y="2644906"/>
                    <a:pt x="77200" y="2648264"/>
                    <a:pt x="73844" y="2648264"/>
                  </a:cubicBezTo>
                  <a:cubicBezTo>
                    <a:pt x="70487" y="2648264"/>
                    <a:pt x="70487" y="2644906"/>
                    <a:pt x="70487" y="2644906"/>
                  </a:cubicBezTo>
                  <a:cubicBezTo>
                    <a:pt x="70487" y="2644906"/>
                    <a:pt x="70487" y="2641550"/>
                    <a:pt x="73844" y="2641550"/>
                  </a:cubicBezTo>
                  <a:close/>
                  <a:moveTo>
                    <a:pt x="1896440" y="2634851"/>
                  </a:moveTo>
                  <a:cubicBezTo>
                    <a:pt x="1899796" y="2634851"/>
                    <a:pt x="1903153" y="2638204"/>
                    <a:pt x="1903153" y="2641566"/>
                  </a:cubicBezTo>
                  <a:cubicBezTo>
                    <a:pt x="1903153" y="2644917"/>
                    <a:pt x="1899796" y="2648275"/>
                    <a:pt x="1896440" y="2648275"/>
                  </a:cubicBezTo>
                  <a:cubicBezTo>
                    <a:pt x="1893083" y="2648275"/>
                    <a:pt x="1889727" y="2644917"/>
                    <a:pt x="1889727" y="2641566"/>
                  </a:cubicBezTo>
                  <a:cubicBezTo>
                    <a:pt x="1889727" y="2638204"/>
                    <a:pt x="1893083" y="2634851"/>
                    <a:pt x="1896440" y="2634851"/>
                  </a:cubicBezTo>
                  <a:close/>
                  <a:moveTo>
                    <a:pt x="1439952" y="2624778"/>
                  </a:moveTo>
                  <a:cubicBezTo>
                    <a:pt x="1450022" y="2624778"/>
                    <a:pt x="1456735" y="2631495"/>
                    <a:pt x="1456735" y="2641566"/>
                  </a:cubicBezTo>
                  <a:cubicBezTo>
                    <a:pt x="1456735" y="2651632"/>
                    <a:pt x="1450022" y="2658342"/>
                    <a:pt x="1439952" y="2658342"/>
                  </a:cubicBezTo>
                  <a:cubicBezTo>
                    <a:pt x="1429882" y="2658342"/>
                    <a:pt x="1423169" y="2651632"/>
                    <a:pt x="1423169" y="2641566"/>
                  </a:cubicBezTo>
                  <a:cubicBezTo>
                    <a:pt x="1423169" y="2631495"/>
                    <a:pt x="1429882" y="2624778"/>
                    <a:pt x="1439952" y="2624778"/>
                  </a:cubicBezTo>
                  <a:close/>
                  <a:moveTo>
                    <a:pt x="983463" y="2621425"/>
                  </a:moveTo>
                  <a:cubicBezTo>
                    <a:pt x="996889" y="2621425"/>
                    <a:pt x="1006959" y="2631495"/>
                    <a:pt x="1006959" y="2644917"/>
                  </a:cubicBezTo>
                  <a:cubicBezTo>
                    <a:pt x="1006959" y="2658342"/>
                    <a:pt x="996889" y="2668417"/>
                    <a:pt x="983463" y="2668417"/>
                  </a:cubicBezTo>
                  <a:cubicBezTo>
                    <a:pt x="970037" y="2668417"/>
                    <a:pt x="959967" y="2658342"/>
                    <a:pt x="959967" y="2644917"/>
                  </a:cubicBezTo>
                  <a:cubicBezTo>
                    <a:pt x="959967" y="2631495"/>
                    <a:pt x="970037" y="2621425"/>
                    <a:pt x="983463" y="2621425"/>
                  </a:cubicBezTo>
                  <a:close/>
                  <a:moveTo>
                    <a:pt x="526975" y="2621421"/>
                  </a:moveTo>
                  <a:cubicBezTo>
                    <a:pt x="537045" y="2621421"/>
                    <a:pt x="547114" y="2631488"/>
                    <a:pt x="547114" y="2641560"/>
                  </a:cubicBezTo>
                  <a:cubicBezTo>
                    <a:pt x="547114" y="2654983"/>
                    <a:pt x="537045" y="2661700"/>
                    <a:pt x="526975" y="2661700"/>
                  </a:cubicBezTo>
                  <a:cubicBezTo>
                    <a:pt x="516906" y="2661700"/>
                    <a:pt x="510192" y="2654983"/>
                    <a:pt x="506836" y="2641560"/>
                  </a:cubicBezTo>
                  <a:cubicBezTo>
                    <a:pt x="506836" y="2631488"/>
                    <a:pt x="516906" y="2621421"/>
                    <a:pt x="526975" y="2621421"/>
                  </a:cubicBezTo>
                  <a:close/>
                  <a:moveTo>
                    <a:pt x="2111257" y="2540868"/>
                  </a:moveTo>
                  <a:cubicBezTo>
                    <a:pt x="2111257" y="2540868"/>
                    <a:pt x="2114614" y="2540868"/>
                    <a:pt x="2114614" y="2544225"/>
                  </a:cubicBezTo>
                  <a:cubicBezTo>
                    <a:pt x="2114614" y="2544225"/>
                    <a:pt x="2114614" y="2547584"/>
                    <a:pt x="2111257" y="2547584"/>
                  </a:cubicBezTo>
                  <a:cubicBezTo>
                    <a:pt x="2107900" y="2547584"/>
                    <a:pt x="2107900" y="2544225"/>
                    <a:pt x="2107900" y="2544225"/>
                  </a:cubicBezTo>
                  <a:cubicBezTo>
                    <a:pt x="2107900" y="2544225"/>
                    <a:pt x="2107900" y="2540868"/>
                    <a:pt x="2111257" y="2540868"/>
                  </a:cubicBezTo>
                  <a:close/>
                  <a:moveTo>
                    <a:pt x="1654769" y="2537512"/>
                  </a:moveTo>
                  <a:cubicBezTo>
                    <a:pt x="1658126" y="2537512"/>
                    <a:pt x="1661482" y="2540868"/>
                    <a:pt x="1661482" y="2544225"/>
                  </a:cubicBezTo>
                  <a:cubicBezTo>
                    <a:pt x="1661482" y="2547584"/>
                    <a:pt x="1658126" y="2550939"/>
                    <a:pt x="1654769" y="2550939"/>
                  </a:cubicBezTo>
                  <a:cubicBezTo>
                    <a:pt x="1651413" y="2550939"/>
                    <a:pt x="1648056" y="2547584"/>
                    <a:pt x="1648056" y="2544225"/>
                  </a:cubicBezTo>
                  <a:cubicBezTo>
                    <a:pt x="1648056" y="2540868"/>
                    <a:pt x="1651413" y="2537512"/>
                    <a:pt x="1654769" y="2537512"/>
                  </a:cubicBezTo>
                  <a:close/>
                  <a:moveTo>
                    <a:pt x="1201638" y="2524085"/>
                  </a:moveTo>
                  <a:cubicBezTo>
                    <a:pt x="1211708" y="2524085"/>
                    <a:pt x="1218421" y="2530799"/>
                    <a:pt x="1218421" y="2540868"/>
                  </a:cubicBezTo>
                  <a:cubicBezTo>
                    <a:pt x="1218421" y="2550939"/>
                    <a:pt x="1211708" y="2557650"/>
                    <a:pt x="1201638" y="2557650"/>
                  </a:cubicBezTo>
                  <a:cubicBezTo>
                    <a:pt x="1191568" y="2557650"/>
                    <a:pt x="1184855" y="2550939"/>
                    <a:pt x="1184855" y="2540868"/>
                  </a:cubicBezTo>
                  <a:cubicBezTo>
                    <a:pt x="1184855" y="2530799"/>
                    <a:pt x="1191568" y="2524085"/>
                    <a:pt x="1201638" y="2524085"/>
                  </a:cubicBezTo>
                  <a:close/>
                  <a:moveTo>
                    <a:pt x="745150" y="2524085"/>
                  </a:moveTo>
                  <a:cubicBezTo>
                    <a:pt x="755220" y="2524085"/>
                    <a:pt x="765289" y="2534154"/>
                    <a:pt x="765289" y="2544223"/>
                  </a:cubicBezTo>
                  <a:cubicBezTo>
                    <a:pt x="765289" y="2554295"/>
                    <a:pt x="755220" y="2564366"/>
                    <a:pt x="745150" y="2564366"/>
                  </a:cubicBezTo>
                  <a:cubicBezTo>
                    <a:pt x="735080" y="2564366"/>
                    <a:pt x="725011" y="2554295"/>
                    <a:pt x="725011" y="2544223"/>
                  </a:cubicBezTo>
                  <a:cubicBezTo>
                    <a:pt x="725011" y="2534154"/>
                    <a:pt x="735080" y="2524085"/>
                    <a:pt x="745150" y="2524085"/>
                  </a:cubicBezTo>
                  <a:close/>
                  <a:moveTo>
                    <a:pt x="292018" y="2520725"/>
                  </a:moveTo>
                  <a:cubicBezTo>
                    <a:pt x="305444" y="2520725"/>
                    <a:pt x="315513" y="2530794"/>
                    <a:pt x="315513" y="2544222"/>
                  </a:cubicBezTo>
                  <a:cubicBezTo>
                    <a:pt x="315513" y="2557647"/>
                    <a:pt x="305444" y="2567717"/>
                    <a:pt x="292018" y="2567717"/>
                  </a:cubicBezTo>
                  <a:cubicBezTo>
                    <a:pt x="278591" y="2567717"/>
                    <a:pt x="268522" y="2554293"/>
                    <a:pt x="268522" y="2544222"/>
                  </a:cubicBezTo>
                  <a:cubicBezTo>
                    <a:pt x="268522" y="2530794"/>
                    <a:pt x="278591" y="2520725"/>
                    <a:pt x="292018" y="2520725"/>
                  </a:cubicBezTo>
                  <a:close/>
                  <a:moveTo>
                    <a:pt x="60418" y="2440158"/>
                  </a:moveTo>
                  <a:cubicBezTo>
                    <a:pt x="60418" y="2440158"/>
                    <a:pt x="63774" y="2440158"/>
                    <a:pt x="60418" y="2443514"/>
                  </a:cubicBezTo>
                  <a:cubicBezTo>
                    <a:pt x="57061" y="2440158"/>
                    <a:pt x="57061" y="2440158"/>
                    <a:pt x="60418" y="2440158"/>
                  </a:cubicBezTo>
                  <a:close/>
                  <a:moveTo>
                    <a:pt x="1872944" y="2433454"/>
                  </a:moveTo>
                  <a:cubicBezTo>
                    <a:pt x="1876301" y="2433454"/>
                    <a:pt x="1879657" y="2436812"/>
                    <a:pt x="1879657" y="2440170"/>
                  </a:cubicBezTo>
                  <a:cubicBezTo>
                    <a:pt x="1879657" y="2443526"/>
                    <a:pt x="1876301" y="2446884"/>
                    <a:pt x="1872944" y="2446884"/>
                  </a:cubicBezTo>
                  <a:cubicBezTo>
                    <a:pt x="1869588" y="2446884"/>
                    <a:pt x="1866231" y="2443526"/>
                    <a:pt x="1866231" y="2440170"/>
                  </a:cubicBezTo>
                  <a:cubicBezTo>
                    <a:pt x="1866231" y="2436812"/>
                    <a:pt x="1869588" y="2433454"/>
                    <a:pt x="1872944" y="2433454"/>
                  </a:cubicBezTo>
                  <a:close/>
                  <a:moveTo>
                    <a:pt x="1419813" y="2426743"/>
                  </a:moveTo>
                  <a:cubicBezTo>
                    <a:pt x="1426526" y="2426743"/>
                    <a:pt x="1433239" y="2433454"/>
                    <a:pt x="1433239" y="2440170"/>
                  </a:cubicBezTo>
                  <a:cubicBezTo>
                    <a:pt x="1433239" y="2446884"/>
                    <a:pt x="1426526" y="2453597"/>
                    <a:pt x="1419813" y="2453597"/>
                  </a:cubicBezTo>
                  <a:cubicBezTo>
                    <a:pt x="1413100" y="2453597"/>
                    <a:pt x="1409743" y="2446884"/>
                    <a:pt x="1406387" y="2440170"/>
                  </a:cubicBezTo>
                  <a:cubicBezTo>
                    <a:pt x="1406387" y="2433454"/>
                    <a:pt x="1413100" y="2426743"/>
                    <a:pt x="1419813" y="2426743"/>
                  </a:cubicBezTo>
                  <a:close/>
                  <a:moveTo>
                    <a:pt x="513549" y="2423383"/>
                  </a:moveTo>
                  <a:cubicBezTo>
                    <a:pt x="522818" y="2423383"/>
                    <a:pt x="530332" y="2430897"/>
                    <a:pt x="530332" y="2440166"/>
                  </a:cubicBezTo>
                  <a:cubicBezTo>
                    <a:pt x="530332" y="2449436"/>
                    <a:pt x="522818" y="2456950"/>
                    <a:pt x="513549" y="2456950"/>
                  </a:cubicBezTo>
                  <a:cubicBezTo>
                    <a:pt x="504280" y="2456950"/>
                    <a:pt x="496766" y="2449436"/>
                    <a:pt x="496766" y="2440166"/>
                  </a:cubicBezTo>
                  <a:cubicBezTo>
                    <a:pt x="496766" y="2430897"/>
                    <a:pt x="504280" y="2423383"/>
                    <a:pt x="513549" y="2423383"/>
                  </a:cubicBezTo>
                  <a:close/>
                  <a:moveTo>
                    <a:pt x="966680" y="2416672"/>
                  </a:moveTo>
                  <a:cubicBezTo>
                    <a:pt x="980106" y="2416672"/>
                    <a:pt x="990176" y="2426743"/>
                    <a:pt x="990176" y="2440170"/>
                  </a:cubicBezTo>
                  <a:cubicBezTo>
                    <a:pt x="990176" y="2453597"/>
                    <a:pt x="980106" y="2463667"/>
                    <a:pt x="966680" y="2463667"/>
                  </a:cubicBezTo>
                  <a:cubicBezTo>
                    <a:pt x="953254" y="2463667"/>
                    <a:pt x="943185" y="2453597"/>
                    <a:pt x="943185" y="2440170"/>
                  </a:cubicBezTo>
                  <a:cubicBezTo>
                    <a:pt x="943185" y="2426743"/>
                    <a:pt x="953254" y="2416672"/>
                    <a:pt x="966680" y="2416672"/>
                  </a:cubicBezTo>
                  <a:close/>
                  <a:moveTo>
                    <a:pt x="2094474" y="2336109"/>
                  </a:moveTo>
                  <a:cubicBezTo>
                    <a:pt x="2094474" y="2336109"/>
                    <a:pt x="2097831" y="2339466"/>
                    <a:pt x="2094474" y="2342822"/>
                  </a:cubicBezTo>
                  <a:cubicBezTo>
                    <a:pt x="2091118" y="2336109"/>
                    <a:pt x="2094474" y="2336109"/>
                    <a:pt x="2094474" y="2336109"/>
                  </a:cubicBezTo>
                  <a:close/>
                  <a:moveTo>
                    <a:pt x="1641343" y="2336109"/>
                  </a:moveTo>
                  <a:cubicBezTo>
                    <a:pt x="1641343" y="2336109"/>
                    <a:pt x="1644700" y="2336109"/>
                    <a:pt x="1644700" y="2339466"/>
                  </a:cubicBezTo>
                  <a:cubicBezTo>
                    <a:pt x="1644700" y="2339466"/>
                    <a:pt x="1644700" y="2342822"/>
                    <a:pt x="1641343" y="2342822"/>
                  </a:cubicBezTo>
                  <a:cubicBezTo>
                    <a:pt x="1637986" y="2342822"/>
                    <a:pt x="1637986" y="2342822"/>
                    <a:pt x="1637986" y="2339466"/>
                  </a:cubicBezTo>
                  <a:cubicBezTo>
                    <a:pt x="1637986" y="2339466"/>
                    <a:pt x="1637986" y="2336109"/>
                    <a:pt x="1641343" y="2336109"/>
                  </a:cubicBezTo>
                  <a:close/>
                  <a:moveTo>
                    <a:pt x="1188212" y="2322682"/>
                  </a:moveTo>
                  <a:cubicBezTo>
                    <a:pt x="1198281" y="2322682"/>
                    <a:pt x="1204994" y="2329396"/>
                    <a:pt x="1204994" y="2339466"/>
                  </a:cubicBezTo>
                  <a:cubicBezTo>
                    <a:pt x="1204994" y="2349537"/>
                    <a:pt x="1198281" y="2356250"/>
                    <a:pt x="1188212" y="2356250"/>
                  </a:cubicBezTo>
                  <a:cubicBezTo>
                    <a:pt x="1181499" y="2356250"/>
                    <a:pt x="1171429" y="2349537"/>
                    <a:pt x="1171429" y="2339466"/>
                  </a:cubicBezTo>
                  <a:cubicBezTo>
                    <a:pt x="1171429" y="2329396"/>
                    <a:pt x="1178142" y="2322682"/>
                    <a:pt x="1188212" y="2322682"/>
                  </a:cubicBezTo>
                  <a:close/>
                  <a:moveTo>
                    <a:pt x="281948" y="2322679"/>
                  </a:moveTo>
                  <a:cubicBezTo>
                    <a:pt x="292018" y="2322679"/>
                    <a:pt x="298731" y="2329390"/>
                    <a:pt x="298731" y="2339461"/>
                  </a:cubicBezTo>
                  <a:cubicBezTo>
                    <a:pt x="298731" y="2349533"/>
                    <a:pt x="292018" y="2356245"/>
                    <a:pt x="281948" y="2356245"/>
                  </a:cubicBezTo>
                  <a:cubicBezTo>
                    <a:pt x="275235" y="2356245"/>
                    <a:pt x="268522" y="2349533"/>
                    <a:pt x="265165" y="2339461"/>
                  </a:cubicBezTo>
                  <a:cubicBezTo>
                    <a:pt x="265165" y="2329390"/>
                    <a:pt x="271878" y="2322679"/>
                    <a:pt x="281948" y="2322679"/>
                  </a:cubicBezTo>
                  <a:close/>
                  <a:moveTo>
                    <a:pt x="735080" y="2319326"/>
                  </a:moveTo>
                  <a:cubicBezTo>
                    <a:pt x="745150" y="2319326"/>
                    <a:pt x="755220" y="2329396"/>
                    <a:pt x="755220" y="2339466"/>
                  </a:cubicBezTo>
                  <a:cubicBezTo>
                    <a:pt x="755220" y="2349536"/>
                    <a:pt x="745150" y="2359607"/>
                    <a:pt x="735080" y="2359607"/>
                  </a:cubicBezTo>
                  <a:cubicBezTo>
                    <a:pt x="725011" y="2359607"/>
                    <a:pt x="718298" y="2349536"/>
                    <a:pt x="714941" y="2339466"/>
                  </a:cubicBezTo>
                  <a:cubicBezTo>
                    <a:pt x="714941" y="2329396"/>
                    <a:pt x="725011" y="2319326"/>
                    <a:pt x="735080" y="2319326"/>
                  </a:cubicBezTo>
                  <a:close/>
                  <a:moveTo>
                    <a:pt x="1866231" y="2235417"/>
                  </a:moveTo>
                  <a:cubicBezTo>
                    <a:pt x="1866231" y="2235417"/>
                    <a:pt x="1869588" y="2238772"/>
                    <a:pt x="1869588" y="2238772"/>
                  </a:cubicBezTo>
                  <a:cubicBezTo>
                    <a:pt x="1869588" y="2238772"/>
                    <a:pt x="1869588" y="2242129"/>
                    <a:pt x="1866231" y="2242129"/>
                  </a:cubicBezTo>
                  <a:cubicBezTo>
                    <a:pt x="1862874" y="2242129"/>
                    <a:pt x="1862874" y="2238772"/>
                    <a:pt x="1862874" y="2238772"/>
                  </a:cubicBezTo>
                  <a:cubicBezTo>
                    <a:pt x="1862874" y="2238772"/>
                    <a:pt x="1862874" y="2235417"/>
                    <a:pt x="1866231" y="2235417"/>
                  </a:cubicBezTo>
                  <a:close/>
                  <a:moveTo>
                    <a:pt x="1413099" y="2228699"/>
                  </a:moveTo>
                  <a:cubicBezTo>
                    <a:pt x="1416455" y="2228699"/>
                    <a:pt x="1423168" y="2232058"/>
                    <a:pt x="1423168" y="2238772"/>
                  </a:cubicBezTo>
                  <a:cubicBezTo>
                    <a:pt x="1423168" y="2242129"/>
                    <a:pt x="1419812" y="2248841"/>
                    <a:pt x="1413099" y="2248841"/>
                  </a:cubicBezTo>
                  <a:cubicBezTo>
                    <a:pt x="1406386" y="2248841"/>
                    <a:pt x="1403029" y="2245487"/>
                    <a:pt x="1403029" y="2238772"/>
                  </a:cubicBezTo>
                  <a:cubicBezTo>
                    <a:pt x="1403029" y="2235417"/>
                    <a:pt x="1406386" y="2228699"/>
                    <a:pt x="1413099" y="2228699"/>
                  </a:cubicBezTo>
                  <a:close/>
                  <a:moveTo>
                    <a:pt x="506836" y="2221987"/>
                  </a:moveTo>
                  <a:cubicBezTo>
                    <a:pt x="516906" y="2221987"/>
                    <a:pt x="523619" y="2228699"/>
                    <a:pt x="523619" y="2238769"/>
                  </a:cubicBezTo>
                  <a:cubicBezTo>
                    <a:pt x="523619" y="2248841"/>
                    <a:pt x="516906" y="2255551"/>
                    <a:pt x="506836" y="2255551"/>
                  </a:cubicBezTo>
                  <a:cubicBezTo>
                    <a:pt x="500123" y="2255551"/>
                    <a:pt x="490053" y="2245484"/>
                    <a:pt x="490053" y="2238769"/>
                  </a:cubicBezTo>
                  <a:cubicBezTo>
                    <a:pt x="490053" y="2228699"/>
                    <a:pt x="496766" y="2221987"/>
                    <a:pt x="506836" y="2221987"/>
                  </a:cubicBezTo>
                  <a:close/>
                  <a:moveTo>
                    <a:pt x="959967" y="2215275"/>
                  </a:moveTo>
                  <a:cubicBezTo>
                    <a:pt x="973393" y="2215275"/>
                    <a:pt x="983463" y="2225348"/>
                    <a:pt x="983463" y="2238772"/>
                  </a:cubicBezTo>
                  <a:cubicBezTo>
                    <a:pt x="983463" y="2252199"/>
                    <a:pt x="973393" y="2262269"/>
                    <a:pt x="959967" y="2262269"/>
                  </a:cubicBezTo>
                  <a:cubicBezTo>
                    <a:pt x="946541" y="2262269"/>
                    <a:pt x="936472" y="2252199"/>
                    <a:pt x="936472" y="2238772"/>
                  </a:cubicBezTo>
                  <a:cubicBezTo>
                    <a:pt x="936472" y="2225348"/>
                    <a:pt x="946541" y="2215275"/>
                    <a:pt x="959967" y="2215275"/>
                  </a:cubicBezTo>
                  <a:close/>
                  <a:moveTo>
                    <a:pt x="1641343" y="2128008"/>
                  </a:moveTo>
                  <a:cubicBezTo>
                    <a:pt x="1644700" y="2128008"/>
                    <a:pt x="1648056" y="2131363"/>
                    <a:pt x="1648056" y="2134720"/>
                  </a:cubicBezTo>
                  <a:cubicBezTo>
                    <a:pt x="1648056" y="2138075"/>
                    <a:pt x="1644700" y="2141432"/>
                    <a:pt x="1641343" y="2141432"/>
                  </a:cubicBezTo>
                  <a:cubicBezTo>
                    <a:pt x="1637986" y="2141432"/>
                    <a:pt x="1634630" y="2141432"/>
                    <a:pt x="1634630" y="2134720"/>
                  </a:cubicBezTo>
                  <a:cubicBezTo>
                    <a:pt x="1634630" y="2131363"/>
                    <a:pt x="1637986" y="2128008"/>
                    <a:pt x="1641343" y="2128008"/>
                  </a:cubicBezTo>
                  <a:close/>
                  <a:moveTo>
                    <a:pt x="1188212" y="2124651"/>
                  </a:moveTo>
                  <a:cubicBezTo>
                    <a:pt x="1194925" y="2124651"/>
                    <a:pt x="1201638" y="2131363"/>
                    <a:pt x="1201638" y="2138075"/>
                  </a:cubicBezTo>
                  <a:cubicBezTo>
                    <a:pt x="1201638" y="2144791"/>
                    <a:pt x="1194925" y="2151499"/>
                    <a:pt x="1188212" y="2151499"/>
                  </a:cubicBezTo>
                  <a:cubicBezTo>
                    <a:pt x="1181499" y="2151499"/>
                    <a:pt x="1174786" y="2144791"/>
                    <a:pt x="1174786" y="2138075"/>
                  </a:cubicBezTo>
                  <a:cubicBezTo>
                    <a:pt x="1174786" y="2131363"/>
                    <a:pt x="1181499" y="2124651"/>
                    <a:pt x="1188212" y="2124651"/>
                  </a:cubicBezTo>
                  <a:close/>
                  <a:moveTo>
                    <a:pt x="281948" y="2121290"/>
                  </a:moveTo>
                  <a:cubicBezTo>
                    <a:pt x="288661" y="2121290"/>
                    <a:pt x="295374" y="2128003"/>
                    <a:pt x="295374" y="2134715"/>
                  </a:cubicBezTo>
                  <a:cubicBezTo>
                    <a:pt x="295374" y="2141427"/>
                    <a:pt x="288661" y="2148141"/>
                    <a:pt x="281948" y="2148141"/>
                  </a:cubicBezTo>
                  <a:cubicBezTo>
                    <a:pt x="275235" y="2148141"/>
                    <a:pt x="268522" y="2144785"/>
                    <a:pt x="268522" y="2134715"/>
                  </a:cubicBezTo>
                  <a:cubicBezTo>
                    <a:pt x="268522" y="2128003"/>
                    <a:pt x="275235" y="2121290"/>
                    <a:pt x="281948" y="2121290"/>
                  </a:cubicBezTo>
                  <a:close/>
                  <a:moveTo>
                    <a:pt x="735080" y="2114579"/>
                  </a:moveTo>
                  <a:cubicBezTo>
                    <a:pt x="745150" y="2114579"/>
                    <a:pt x="755220" y="2124651"/>
                    <a:pt x="755220" y="2134720"/>
                  </a:cubicBezTo>
                  <a:cubicBezTo>
                    <a:pt x="755220" y="2144791"/>
                    <a:pt x="745150" y="2154857"/>
                    <a:pt x="735080" y="2154857"/>
                  </a:cubicBezTo>
                  <a:cubicBezTo>
                    <a:pt x="725011" y="2154857"/>
                    <a:pt x="714941" y="2148146"/>
                    <a:pt x="714941" y="2134720"/>
                  </a:cubicBezTo>
                  <a:cubicBezTo>
                    <a:pt x="714941" y="2124651"/>
                    <a:pt x="725011" y="2114579"/>
                    <a:pt x="735080" y="2114579"/>
                  </a:cubicBezTo>
                  <a:close/>
                  <a:moveTo>
                    <a:pt x="1419813" y="2023989"/>
                  </a:moveTo>
                  <a:cubicBezTo>
                    <a:pt x="1426526" y="2023989"/>
                    <a:pt x="1429882" y="2027346"/>
                    <a:pt x="1429882" y="2034058"/>
                  </a:cubicBezTo>
                  <a:cubicBezTo>
                    <a:pt x="1429882" y="2040770"/>
                    <a:pt x="1426526" y="2044129"/>
                    <a:pt x="1419813" y="2044129"/>
                  </a:cubicBezTo>
                  <a:cubicBezTo>
                    <a:pt x="1413100" y="2044129"/>
                    <a:pt x="1409743" y="2040770"/>
                    <a:pt x="1409743" y="2034058"/>
                  </a:cubicBezTo>
                  <a:cubicBezTo>
                    <a:pt x="1409743" y="2027346"/>
                    <a:pt x="1413100" y="2023989"/>
                    <a:pt x="1419813" y="2023989"/>
                  </a:cubicBezTo>
                  <a:close/>
                  <a:moveTo>
                    <a:pt x="513549" y="2017249"/>
                  </a:moveTo>
                  <a:cubicBezTo>
                    <a:pt x="523619" y="2017249"/>
                    <a:pt x="530332" y="2023961"/>
                    <a:pt x="530332" y="2034033"/>
                  </a:cubicBezTo>
                  <a:cubicBezTo>
                    <a:pt x="530332" y="2044100"/>
                    <a:pt x="523619" y="2050813"/>
                    <a:pt x="513549" y="2050813"/>
                  </a:cubicBezTo>
                  <a:cubicBezTo>
                    <a:pt x="503479" y="2050813"/>
                    <a:pt x="496766" y="2044100"/>
                    <a:pt x="496766" y="2034033"/>
                  </a:cubicBezTo>
                  <a:cubicBezTo>
                    <a:pt x="496766" y="2023961"/>
                    <a:pt x="503479" y="2017249"/>
                    <a:pt x="513549" y="2017249"/>
                  </a:cubicBezTo>
                  <a:close/>
                  <a:moveTo>
                    <a:pt x="966680" y="2013905"/>
                  </a:moveTo>
                  <a:cubicBezTo>
                    <a:pt x="976750" y="2013905"/>
                    <a:pt x="986820" y="2023975"/>
                    <a:pt x="986820" y="2034043"/>
                  </a:cubicBezTo>
                  <a:cubicBezTo>
                    <a:pt x="986820" y="2047468"/>
                    <a:pt x="976750" y="2054181"/>
                    <a:pt x="966680" y="2054181"/>
                  </a:cubicBezTo>
                  <a:cubicBezTo>
                    <a:pt x="956611" y="2054181"/>
                    <a:pt x="946541" y="2044113"/>
                    <a:pt x="946541" y="2034043"/>
                  </a:cubicBezTo>
                  <a:cubicBezTo>
                    <a:pt x="946541" y="2023975"/>
                    <a:pt x="956611" y="2013905"/>
                    <a:pt x="966680" y="2013905"/>
                  </a:cubicBezTo>
                  <a:close/>
                  <a:moveTo>
                    <a:pt x="1654769" y="1926656"/>
                  </a:moveTo>
                  <a:cubicBezTo>
                    <a:pt x="1658126" y="1926656"/>
                    <a:pt x="1661482" y="1930013"/>
                    <a:pt x="1661482" y="1933370"/>
                  </a:cubicBezTo>
                  <a:cubicBezTo>
                    <a:pt x="1661482" y="1936726"/>
                    <a:pt x="1658126" y="1940086"/>
                    <a:pt x="1654769" y="1940086"/>
                  </a:cubicBezTo>
                  <a:cubicBezTo>
                    <a:pt x="1651413" y="1940086"/>
                    <a:pt x="1648056" y="1936726"/>
                    <a:pt x="1648056" y="1933370"/>
                  </a:cubicBezTo>
                  <a:cubicBezTo>
                    <a:pt x="1648056" y="1930013"/>
                    <a:pt x="1651413" y="1926656"/>
                    <a:pt x="1654769" y="1926656"/>
                  </a:cubicBezTo>
                  <a:close/>
                  <a:moveTo>
                    <a:pt x="292018" y="1926618"/>
                  </a:moveTo>
                  <a:cubicBezTo>
                    <a:pt x="295374" y="1926618"/>
                    <a:pt x="298731" y="1929975"/>
                    <a:pt x="298731" y="1933330"/>
                  </a:cubicBezTo>
                  <a:cubicBezTo>
                    <a:pt x="298731" y="1936687"/>
                    <a:pt x="295374" y="1940042"/>
                    <a:pt x="292018" y="1940042"/>
                  </a:cubicBezTo>
                  <a:cubicBezTo>
                    <a:pt x="288661" y="1940042"/>
                    <a:pt x="285305" y="1936687"/>
                    <a:pt x="285305" y="1933330"/>
                  </a:cubicBezTo>
                  <a:cubicBezTo>
                    <a:pt x="285305" y="1929975"/>
                    <a:pt x="288661" y="1926618"/>
                    <a:pt x="292018" y="1926618"/>
                  </a:cubicBezTo>
                  <a:close/>
                  <a:moveTo>
                    <a:pt x="1201638" y="1923286"/>
                  </a:moveTo>
                  <a:cubicBezTo>
                    <a:pt x="1208351" y="1923286"/>
                    <a:pt x="1211708" y="1926640"/>
                    <a:pt x="1211708" y="1933354"/>
                  </a:cubicBezTo>
                  <a:cubicBezTo>
                    <a:pt x="1211708" y="1936710"/>
                    <a:pt x="1208351" y="1943424"/>
                    <a:pt x="1201638" y="1943424"/>
                  </a:cubicBezTo>
                  <a:cubicBezTo>
                    <a:pt x="1194925" y="1943424"/>
                    <a:pt x="1188212" y="1940066"/>
                    <a:pt x="1191568" y="1933354"/>
                  </a:cubicBezTo>
                  <a:cubicBezTo>
                    <a:pt x="1191568" y="1929998"/>
                    <a:pt x="1194925" y="1923286"/>
                    <a:pt x="1201638" y="1923286"/>
                  </a:cubicBezTo>
                  <a:close/>
                  <a:moveTo>
                    <a:pt x="745150" y="1916558"/>
                  </a:moveTo>
                  <a:cubicBezTo>
                    <a:pt x="755220" y="1916558"/>
                    <a:pt x="761933" y="1923272"/>
                    <a:pt x="761933" y="1933342"/>
                  </a:cubicBezTo>
                  <a:cubicBezTo>
                    <a:pt x="761933" y="1943409"/>
                    <a:pt x="755220" y="1950123"/>
                    <a:pt x="745150" y="1950123"/>
                  </a:cubicBezTo>
                  <a:cubicBezTo>
                    <a:pt x="738437" y="1950123"/>
                    <a:pt x="728367" y="1943409"/>
                    <a:pt x="728367" y="1933342"/>
                  </a:cubicBezTo>
                  <a:cubicBezTo>
                    <a:pt x="728367" y="1923272"/>
                    <a:pt x="735080" y="1916558"/>
                    <a:pt x="745150" y="1916558"/>
                  </a:cubicBezTo>
                  <a:close/>
                  <a:moveTo>
                    <a:pt x="1439951" y="1822595"/>
                  </a:moveTo>
                  <a:cubicBezTo>
                    <a:pt x="1446664" y="1822595"/>
                    <a:pt x="1450020" y="1825952"/>
                    <a:pt x="1450020" y="1832665"/>
                  </a:cubicBezTo>
                  <a:cubicBezTo>
                    <a:pt x="1450020" y="1839378"/>
                    <a:pt x="1446664" y="1842734"/>
                    <a:pt x="1439951" y="1842734"/>
                  </a:cubicBezTo>
                  <a:cubicBezTo>
                    <a:pt x="1433238" y="1842734"/>
                    <a:pt x="1429881" y="1839378"/>
                    <a:pt x="1429881" y="1832665"/>
                  </a:cubicBezTo>
                  <a:cubicBezTo>
                    <a:pt x="1429881" y="1825952"/>
                    <a:pt x="1433238" y="1822595"/>
                    <a:pt x="1439951" y="1822595"/>
                  </a:cubicBezTo>
                  <a:close/>
                  <a:moveTo>
                    <a:pt x="526975" y="1815858"/>
                  </a:moveTo>
                  <a:cubicBezTo>
                    <a:pt x="537045" y="1815858"/>
                    <a:pt x="543758" y="1822570"/>
                    <a:pt x="543758" y="1832640"/>
                  </a:cubicBezTo>
                  <a:cubicBezTo>
                    <a:pt x="543758" y="1842710"/>
                    <a:pt x="537045" y="1849423"/>
                    <a:pt x="526975" y="1849423"/>
                  </a:cubicBezTo>
                  <a:cubicBezTo>
                    <a:pt x="520262" y="1849423"/>
                    <a:pt x="513549" y="1839352"/>
                    <a:pt x="510192" y="1832640"/>
                  </a:cubicBezTo>
                  <a:cubicBezTo>
                    <a:pt x="510192" y="1822570"/>
                    <a:pt x="516906" y="1815858"/>
                    <a:pt x="526975" y="1815858"/>
                  </a:cubicBezTo>
                  <a:close/>
                  <a:moveTo>
                    <a:pt x="983463" y="1812512"/>
                  </a:moveTo>
                  <a:cubicBezTo>
                    <a:pt x="993533" y="1812512"/>
                    <a:pt x="1003602" y="1819226"/>
                    <a:pt x="1003602" y="1829294"/>
                  </a:cubicBezTo>
                  <a:cubicBezTo>
                    <a:pt x="1003602" y="1839365"/>
                    <a:pt x="993533" y="1849434"/>
                    <a:pt x="983463" y="1849434"/>
                  </a:cubicBezTo>
                  <a:cubicBezTo>
                    <a:pt x="973393" y="1849434"/>
                    <a:pt x="963324" y="1842721"/>
                    <a:pt x="963324" y="1832650"/>
                  </a:cubicBezTo>
                  <a:cubicBezTo>
                    <a:pt x="963324" y="1822581"/>
                    <a:pt x="973393" y="1812512"/>
                    <a:pt x="983463" y="1812512"/>
                  </a:cubicBezTo>
                  <a:close/>
                  <a:moveTo>
                    <a:pt x="312157" y="1728581"/>
                  </a:moveTo>
                  <a:cubicBezTo>
                    <a:pt x="312157" y="1728581"/>
                    <a:pt x="315513" y="1728581"/>
                    <a:pt x="312157" y="1731938"/>
                  </a:cubicBezTo>
                  <a:cubicBezTo>
                    <a:pt x="308800" y="1728581"/>
                    <a:pt x="308800" y="1728581"/>
                    <a:pt x="312157" y="1728581"/>
                  </a:cubicBezTo>
                  <a:close/>
                  <a:moveTo>
                    <a:pt x="1225134" y="1715181"/>
                  </a:moveTo>
                  <a:cubicBezTo>
                    <a:pt x="1231847" y="1715181"/>
                    <a:pt x="1238560" y="1721894"/>
                    <a:pt x="1238560" y="1728607"/>
                  </a:cubicBezTo>
                  <a:cubicBezTo>
                    <a:pt x="1238560" y="1735320"/>
                    <a:pt x="1231847" y="1742033"/>
                    <a:pt x="1225134" y="1742033"/>
                  </a:cubicBezTo>
                  <a:cubicBezTo>
                    <a:pt x="1218421" y="1742033"/>
                    <a:pt x="1211708" y="1738675"/>
                    <a:pt x="1211708" y="1728607"/>
                  </a:cubicBezTo>
                  <a:cubicBezTo>
                    <a:pt x="1211708" y="1721894"/>
                    <a:pt x="1218421" y="1715181"/>
                    <a:pt x="1225134" y="1715181"/>
                  </a:cubicBezTo>
                  <a:close/>
                  <a:moveTo>
                    <a:pt x="768646" y="1708456"/>
                  </a:moveTo>
                  <a:cubicBezTo>
                    <a:pt x="781622" y="1708456"/>
                    <a:pt x="792142" y="1718974"/>
                    <a:pt x="792142" y="1731951"/>
                  </a:cubicBezTo>
                  <a:cubicBezTo>
                    <a:pt x="792142" y="1744926"/>
                    <a:pt x="781622" y="1755446"/>
                    <a:pt x="768646" y="1755446"/>
                  </a:cubicBezTo>
                  <a:cubicBezTo>
                    <a:pt x="755670" y="1755446"/>
                    <a:pt x="745150" y="1744926"/>
                    <a:pt x="745150" y="1731951"/>
                  </a:cubicBezTo>
                  <a:cubicBezTo>
                    <a:pt x="745150" y="1718974"/>
                    <a:pt x="755670" y="1708456"/>
                    <a:pt x="768646" y="1708456"/>
                  </a:cubicBezTo>
                  <a:close/>
                  <a:moveTo>
                    <a:pt x="1473517" y="1624561"/>
                  </a:moveTo>
                  <a:cubicBezTo>
                    <a:pt x="1476874" y="1624561"/>
                    <a:pt x="1480230" y="1627917"/>
                    <a:pt x="1480230" y="1631275"/>
                  </a:cubicBezTo>
                  <a:cubicBezTo>
                    <a:pt x="1480230" y="1634631"/>
                    <a:pt x="1476874" y="1637987"/>
                    <a:pt x="1473517" y="1637987"/>
                  </a:cubicBezTo>
                  <a:cubicBezTo>
                    <a:pt x="1466804" y="1637987"/>
                    <a:pt x="1463448" y="1634631"/>
                    <a:pt x="1466804" y="1631275"/>
                  </a:cubicBezTo>
                  <a:cubicBezTo>
                    <a:pt x="1466804" y="1627917"/>
                    <a:pt x="1470161" y="1624561"/>
                    <a:pt x="1473517" y="1624561"/>
                  </a:cubicBezTo>
                  <a:close/>
                  <a:moveTo>
                    <a:pt x="553827" y="1617822"/>
                  </a:moveTo>
                  <a:cubicBezTo>
                    <a:pt x="561243" y="1617822"/>
                    <a:pt x="567254" y="1623833"/>
                    <a:pt x="567254" y="1631249"/>
                  </a:cubicBezTo>
                  <a:cubicBezTo>
                    <a:pt x="567254" y="1638664"/>
                    <a:pt x="561243" y="1644675"/>
                    <a:pt x="553827" y="1644675"/>
                  </a:cubicBezTo>
                  <a:cubicBezTo>
                    <a:pt x="546412" y="1644675"/>
                    <a:pt x="540401" y="1638664"/>
                    <a:pt x="540401" y="1631249"/>
                  </a:cubicBezTo>
                  <a:cubicBezTo>
                    <a:pt x="540401" y="1623833"/>
                    <a:pt x="546412" y="1617822"/>
                    <a:pt x="553827" y="1617822"/>
                  </a:cubicBezTo>
                  <a:close/>
                  <a:moveTo>
                    <a:pt x="1013672" y="1611121"/>
                  </a:moveTo>
                  <a:cubicBezTo>
                    <a:pt x="1027098" y="1611121"/>
                    <a:pt x="1033811" y="1621192"/>
                    <a:pt x="1033811" y="1631261"/>
                  </a:cubicBezTo>
                  <a:cubicBezTo>
                    <a:pt x="1033811" y="1641330"/>
                    <a:pt x="1023741" y="1651401"/>
                    <a:pt x="1013672" y="1651401"/>
                  </a:cubicBezTo>
                  <a:cubicBezTo>
                    <a:pt x="1000246" y="1651401"/>
                    <a:pt x="993533" y="1641330"/>
                    <a:pt x="993533" y="1631261"/>
                  </a:cubicBezTo>
                  <a:cubicBezTo>
                    <a:pt x="993533" y="1617835"/>
                    <a:pt x="1003602" y="1611121"/>
                    <a:pt x="1013672" y="1611121"/>
                  </a:cubicBezTo>
                  <a:close/>
                  <a:moveTo>
                    <a:pt x="1725256" y="1530583"/>
                  </a:moveTo>
                  <a:cubicBezTo>
                    <a:pt x="1725256" y="1530583"/>
                    <a:pt x="1728613" y="1530583"/>
                    <a:pt x="1728613" y="1533939"/>
                  </a:cubicBezTo>
                  <a:cubicBezTo>
                    <a:pt x="1728613" y="1533939"/>
                    <a:pt x="1728613" y="1537296"/>
                    <a:pt x="1725256" y="1537296"/>
                  </a:cubicBezTo>
                  <a:cubicBezTo>
                    <a:pt x="1721900" y="1537296"/>
                    <a:pt x="1721900" y="1537296"/>
                    <a:pt x="1721900" y="1533939"/>
                  </a:cubicBezTo>
                  <a:cubicBezTo>
                    <a:pt x="1721900" y="1533939"/>
                    <a:pt x="1725256" y="1530583"/>
                    <a:pt x="1725256" y="1530583"/>
                  </a:cubicBezTo>
                  <a:close/>
                  <a:moveTo>
                    <a:pt x="1262056" y="1523856"/>
                  </a:moveTo>
                  <a:cubicBezTo>
                    <a:pt x="1265412" y="1523856"/>
                    <a:pt x="1272125" y="1527211"/>
                    <a:pt x="1272125" y="1533926"/>
                  </a:cubicBezTo>
                  <a:cubicBezTo>
                    <a:pt x="1272125" y="1537281"/>
                    <a:pt x="1268769" y="1543996"/>
                    <a:pt x="1262056" y="1543996"/>
                  </a:cubicBezTo>
                  <a:cubicBezTo>
                    <a:pt x="1255342" y="1543996"/>
                    <a:pt x="1248629" y="1537281"/>
                    <a:pt x="1251986" y="1533926"/>
                  </a:cubicBezTo>
                  <a:cubicBezTo>
                    <a:pt x="1251986" y="1530569"/>
                    <a:pt x="1255342" y="1523856"/>
                    <a:pt x="1262056" y="1523856"/>
                  </a:cubicBezTo>
                  <a:close/>
                  <a:moveTo>
                    <a:pt x="798855" y="1513777"/>
                  </a:moveTo>
                  <a:cubicBezTo>
                    <a:pt x="808924" y="1513777"/>
                    <a:pt x="815637" y="1520489"/>
                    <a:pt x="815637" y="1530558"/>
                  </a:cubicBezTo>
                  <a:cubicBezTo>
                    <a:pt x="815637" y="1540628"/>
                    <a:pt x="808924" y="1547340"/>
                    <a:pt x="798855" y="1547340"/>
                  </a:cubicBezTo>
                  <a:cubicBezTo>
                    <a:pt x="788785" y="1547340"/>
                    <a:pt x="782072" y="1540628"/>
                    <a:pt x="782072" y="1530558"/>
                  </a:cubicBezTo>
                  <a:cubicBezTo>
                    <a:pt x="782072" y="1520489"/>
                    <a:pt x="788785" y="1513777"/>
                    <a:pt x="798855" y="1513777"/>
                  </a:cubicBezTo>
                  <a:close/>
                  <a:moveTo>
                    <a:pt x="1517151" y="1433236"/>
                  </a:moveTo>
                  <a:cubicBezTo>
                    <a:pt x="1517151" y="1433236"/>
                    <a:pt x="1520508" y="1436592"/>
                    <a:pt x="1520508" y="1436592"/>
                  </a:cubicBezTo>
                  <a:cubicBezTo>
                    <a:pt x="1520508" y="1436592"/>
                    <a:pt x="1520508" y="1439949"/>
                    <a:pt x="1517151" y="1439949"/>
                  </a:cubicBezTo>
                  <a:cubicBezTo>
                    <a:pt x="1513795" y="1439949"/>
                    <a:pt x="1513795" y="1436592"/>
                    <a:pt x="1513795" y="1436592"/>
                  </a:cubicBezTo>
                  <a:cubicBezTo>
                    <a:pt x="1513795" y="1436592"/>
                    <a:pt x="1513795" y="1433236"/>
                    <a:pt x="1517151" y="1433236"/>
                  </a:cubicBezTo>
                  <a:close/>
                  <a:moveTo>
                    <a:pt x="587393" y="1423142"/>
                  </a:moveTo>
                  <a:cubicBezTo>
                    <a:pt x="590749" y="1423142"/>
                    <a:pt x="594106" y="1426499"/>
                    <a:pt x="594106" y="1429855"/>
                  </a:cubicBezTo>
                  <a:cubicBezTo>
                    <a:pt x="594106" y="1433211"/>
                    <a:pt x="590749" y="1436568"/>
                    <a:pt x="587393" y="1436568"/>
                  </a:cubicBezTo>
                  <a:cubicBezTo>
                    <a:pt x="584036" y="1436568"/>
                    <a:pt x="580680" y="1433211"/>
                    <a:pt x="580680" y="1429855"/>
                  </a:cubicBezTo>
                  <a:cubicBezTo>
                    <a:pt x="580680" y="1426499"/>
                    <a:pt x="584036" y="1423142"/>
                    <a:pt x="587393" y="1423142"/>
                  </a:cubicBezTo>
                  <a:close/>
                  <a:moveTo>
                    <a:pt x="1050594" y="1419798"/>
                  </a:moveTo>
                  <a:cubicBezTo>
                    <a:pt x="1058009" y="1419798"/>
                    <a:pt x="1064020" y="1425809"/>
                    <a:pt x="1064020" y="1433224"/>
                  </a:cubicBezTo>
                  <a:cubicBezTo>
                    <a:pt x="1064020" y="1440639"/>
                    <a:pt x="1058009" y="1446650"/>
                    <a:pt x="1050594" y="1446650"/>
                  </a:cubicBezTo>
                  <a:cubicBezTo>
                    <a:pt x="1043178" y="1446650"/>
                    <a:pt x="1037168" y="1440639"/>
                    <a:pt x="1037168" y="1433224"/>
                  </a:cubicBezTo>
                  <a:cubicBezTo>
                    <a:pt x="1037168" y="1425809"/>
                    <a:pt x="1043178" y="1419798"/>
                    <a:pt x="1050594" y="1419798"/>
                  </a:cubicBezTo>
                  <a:close/>
                  <a:moveTo>
                    <a:pt x="1782318" y="1335905"/>
                  </a:moveTo>
                  <a:lnTo>
                    <a:pt x="1782318" y="1341359"/>
                  </a:lnTo>
                  <a:cubicBezTo>
                    <a:pt x="1782318" y="1341779"/>
                    <a:pt x="1782318" y="1342618"/>
                    <a:pt x="1782318" y="1342618"/>
                  </a:cubicBezTo>
                  <a:cubicBezTo>
                    <a:pt x="1778961" y="1335905"/>
                    <a:pt x="1778961" y="1335905"/>
                    <a:pt x="1782318" y="1335905"/>
                  </a:cubicBezTo>
                  <a:close/>
                  <a:moveTo>
                    <a:pt x="1309047" y="1325824"/>
                  </a:moveTo>
                  <a:cubicBezTo>
                    <a:pt x="1312404" y="1325824"/>
                    <a:pt x="1319117" y="1329179"/>
                    <a:pt x="1319117" y="1335892"/>
                  </a:cubicBezTo>
                  <a:cubicBezTo>
                    <a:pt x="1319117" y="1339249"/>
                    <a:pt x="1315760" y="1345962"/>
                    <a:pt x="1309047" y="1345962"/>
                  </a:cubicBezTo>
                  <a:cubicBezTo>
                    <a:pt x="1302334" y="1345962"/>
                    <a:pt x="1298977" y="1339249"/>
                    <a:pt x="1298977" y="1335892"/>
                  </a:cubicBezTo>
                  <a:cubicBezTo>
                    <a:pt x="1298977" y="1332534"/>
                    <a:pt x="1302334" y="1325824"/>
                    <a:pt x="1309047" y="1325824"/>
                  </a:cubicBezTo>
                  <a:close/>
                  <a:moveTo>
                    <a:pt x="842488" y="1322455"/>
                  </a:moveTo>
                  <a:cubicBezTo>
                    <a:pt x="845845" y="1322455"/>
                    <a:pt x="852558" y="1325811"/>
                    <a:pt x="852558" y="1332525"/>
                  </a:cubicBezTo>
                  <a:cubicBezTo>
                    <a:pt x="852558" y="1335881"/>
                    <a:pt x="849202" y="1342593"/>
                    <a:pt x="842488" y="1342593"/>
                  </a:cubicBezTo>
                  <a:cubicBezTo>
                    <a:pt x="835775" y="1342593"/>
                    <a:pt x="832419" y="1339237"/>
                    <a:pt x="832419" y="1332525"/>
                  </a:cubicBezTo>
                  <a:cubicBezTo>
                    <a:pt x="832419" y="1329167"/>
                    <a:pt x="835775" y="1322455"/>
                    <a:pt x="842488" y="1322455"/>
                  </a:cubicBezTo>
                  <a:close/>
                  <a:moveTo>
                    <a:pt x="1574212" y="1231846"/>
                  </a:moveTo>
                  <a:cubicBezTo>
                    <a:pt x="1577920" y="1231846"/>
                    <a:pt x="1580925" y="1234850"/>
                    <a:pt x="1580925" y="1238559"/>
                  </a:cubicBezTo>
                  <a:cubicBezTo>
                    <a:pt x="1580925" y="1242266"/>
                    <a:pt x="1577920" y="1245269"/>
                    <a:pt x="1574212" y="1245269"/>
                  </a:cubicBezTo>
                  <a:cubicBezTo>
                    <a:pt x="1570505" y="1245269"/>
                    <a:pt x="1567499" y="1242266"/>
                    <a:pt x="1567499" y="1238559"/>
                  </a:cubicBezTo>
                  <a:cubicBezTo>
                    <a:pt x="1567499" y="1234850"/>
                    <a:pt x="1570505" y="1231846"/>
                    <a:pt x="1574212" y="1231846"/>
                  </a:cubicBezTo>
                  <a:close/>
                  <a:moveTo>
                    <a:pt x="1100942" y="1218408"/>
                  </a:moveTo>
                  <a:cubicBezTo>
                    <a:pt x="1111011" y="1218408"/>
                    <a:pt x="1117724" y="1225122"/>
                    <a:pt x="1117724" y="1235192"/>
                  </a:cubicBezTo>
                  <a:cubicBezTo>
                    <a:pt x="1117724" y="1245260"/>
                    <a:pt x="1111011" y="1251973"/>
                    <a:pt x="1100942" y="1251973"/>
                  </a:cubicBezTo>
                  <a:cubicBezTo>
                    <a:pt x="1094229" y="1251973"/>
                    <a:pt x="1084159" y="1245260"/>
                    <a:pt x="1084159" y="1235192"/>
                  </a:cubicBezTo>
                  <a:cubicBezTo>
                    <a:pt x="1084159" y="1225122"/>
                    <a:pt x="1090872" y="1218408"/>
                    <a:pt x="1100942" y="1218408"/>
                  </a:cubicBezTo>
                  <a:close/>
                  <a:moveTo>
                    <a:pt x="1369465" y="1134500"/>
                  </a:moveTo>
                  <a:cubicBezTo>
                    <a:pt x="1372821" y="1134500"/>
                    <a:pt x="1376178" y="1137856"/>
                    <a:pt x="1376178" y="1141213"/>
                  </a:cubicBezTo>
                  <a:cubicBezTo>
                    <a:pt x="1376178" y="1144567"/>
                    <a:pt x="1372821" y="1147925"/>
                    <a:pt x="1369465" y="1147925"/>
                  </a:cubicBezTo>
                  <a:cubicBezTo>
                    <a:pt x="1366108" y="1147925"/>
                    <a:pt x="1362752" y="1144567"/>
                    <a:pt x="1362752" y="1141213"/>
                  </a:cubicBezTo>
                  <a:cubicBezTo>
                    <a:pt x="1362752" y="1137856"/>
                    <a:pt x="1366108" y="1134500"/>
                    <a:pt x="1369465" y="1134500"/>
                  </a:cubicBezTo>
                  <a:close/>
                  <a:moveTo>
                    <a:pt x="896193" y="1127776"/>
                  </a:moveTo>
                  <a:cubicBezTo>
                    <a:pt x="899550" y="1127776"/>
                    <a:pt x="906263" y="1131133"/>
                    <a:pt x="906263" y="1137846"/>
                  </a:cubicBezTo>
                  <a:cubicBezTo>
                    <a:pt x="906263" y="1141201"/>
                    <a:pt x="902906" y="1147915"/>
                    <a:pt x="896193" y="1147915"/>
                  </a:cubicBezTo>
                  <a:cubicBezTo>
                    <a:pt x="889480" y="1147915"/>
                    <a:pt x="882767" y="1141201"/>
                    <a:pt x="886123" y="1137846"/>
                  </a:cubicBezTo>
                  <a:cubicBezTo>
                    <a:pt x="886123" y="1134488"/>
                    <a:pt x="889480" y="1127776"/>
                    <a:pt x="896193" y="1127776"/>
                  </a:cubicBezTo>
                  <a:close/>
                  <a:moveTo>
                    <a:pt x="1644700" y="1043878"/>
                  </a:moveTo>
                  <a:cubicBezTo>
                    <a:pt x="1648056" y="1043878"/>
                    <a:pt x="1648056" y="1047233"/>
                    <a:pt x="1644700" y="1050591"/>
                  </a:cubicBezTo>
                  <a:cubicBezTo>
                    <a:pt x="1641343" y="1047233"/>
                    <a:pt x="1644700" y="1043878"/>
                    <a:pt x="1644700" y="1043878"/>
                  </a:cubicBezTo>
                  <a:close/>
                  <a:moveTo>
                    <a:pt x="1164716" y="1030441"/>
                  </a:moveTo>
                  <a:cubicBezTo>
                    <a:pt x="1171429" y="1030441"/>
                    <a:pt x="1174786" y="1033800"/>
                    <a:pt x="1174786" y="1040512"/>
                  </a:cubicBezTo>
                  <a:cubicBezTo>
                    <a:pt x="1174786" y="1047224"/>
                    <a:pt x="1171429" y="1050581"/>
                    <a:pt x="1164716" y="1050581"/>
                  </a:cubicBezTo>
                  <a:cubicBezTo>
                    <a:pt x="1158003" y="1050581"/>
                    <a:pt x="1154646" y="1047224"/>
                    <a:pt x="1154646" y="1040512"/>
                  </a:cubicBezTo>
                  <a:cubicBezTo>
                    <a:pt x="1154646" y="1033800"/>
                    <a:pt x="1158003" y="1030441"/>
                    <a:pt x="1164716" y="1030441"/>
                  </a:cubicBezTo>
                  <a:close/>
                  <a:moveTo>
                    <a:pt x="1439951" y="939813"/>
                  </a:moveTo>
                  <a:cubicBezTo>
                    <a:pt x="1446664" y="939813"/>
                    <a:pt x="1450020" y="943170"/>
                    <a:pt x="1450020" y="949882"/>
                  </a:cubicBezTo>
                  <a:cubicBezTo>
                    <a:pt x="1450020" y="956596"/>
                    <a:pt x="1443307" y="959953"/>
                    <a:pt x="1439951" y="959953"/>
                  </a:cubicBezTo>
                  <a:cubicBezTo>
                    <a:pt x="1436594" y="959953"/>
                    <a:pt x="1429881" y="956596"/>
                    <a:pt x="1429881" y="949882"/>
                  </a:cubicBezTo>
                  <a:cubicBezTo>
                    <a:pt x="1429881" y="943170"/>
                    <a:pt x="1436594" y="939813"/>
                    <a:pt x="1439951" y="939813"/>
                  </a:cubicBezTo>
                  <a:close/>
                  <a:moveTo>
                    <a:pt x="959967" y="933090"/>
                  </a:moveTo>
                  <a:cubicBezTo>
                    <a:pt x="963324" y="933090"/>
                    <a:pt x="970037" y="936445"/>
                    <a:pt x="970037" y="943159"/>
                  </a:cubicBezTo>
                  <a:cubicBezTo>
                    <a:pt x="970037" y="946516"/>
                    <a:pt x="966680" y="953228"/>
                    <a:pt x="959967" y="953228"/>
                  </a:cubicBezTo>
                  <a:cubicBezTo>
                    <a:pt x="953254" y="953228"/>
                    <a:pt x="946541" y="949871"/>
                    <a:pt x="949898" y="943159"/>
                  </a:cubicBezTo>
                  <a:cubicBezTo>
                    <a:pt x="949898" y="939803"/>
                    <a:pt x="953254" y="933090"/>
                    <a:pt x="959967" y="933090"/>
                  </a:cubicBezTo>
                  <a:close/>
                  <a:moveTo>
                    <a:pt x="1728613" y="859262"/>
                  </a:moveTo>
                  <a:cubicBezTo>
                    <a:pt x="1728613" y="859262"/>
                    <a:pt x="1731970" y="859262"/>
                    <a:pt x="1731970" y="862618"/>
                  </a:cubicBezTo>
                  <a:cubicBezTo>
                    <a:pt x="1731970" y="862618"/>
                    <a:pt x="1731970" y="865975"/>
                    <a:pt x="1728613" y="865975"/>
                  </a:cubicBezTo>
                  <a:cubicBezTo>
                    <a:pt x="1725256" y="865975"/>
                    <a:pt x="1721900" y="865975"/>
                    <a:pt x="1725256" y="862618"/>
                  </a:cubicBezTo>
                  <a:cubicBezTo>
                    <a:pt x="1725256" y="862618"/>
                    <a:pt x="1728613" y="859262"/>
                    <a:pt x="1728613" y="859262"/>
                  </a:cubicBezTo>
                  <a:close/>
                  <a:moveTo>
                    <a:pt x="1235203" y="845825"/>
                  </a:moveTo>
                  <a:cubicBezTo>
                    <a:pt x="1238560" y="845825"/>
                    <a:pt x="1241916" y="849182"/>
                    <a:pt x="1241916" y="852538"/>
                  </a:cubicBezTo>
                  <a:cubicBezTo>
                    <a:pt x="1241916" y="855895"/>
                    <a:pt x="1238560" y="859251"/>
                    <a:pt x="1235203" y="859251"/>
                  </a:cubicBezTo>
                  <a:cubicBezTo>
                    <a:pt x="1231847" y="859251"/>
                    <a:pt x="1228490" y="855895"/>
                    <a:pt x="1228490" y="852538"/>
                  </a:cubicBezTo>
                  <a:cubicBezTo>
                    <a:pt x="1228490" y="849182"/>
                    <a:pt x="1231847" y="845825"/>
                    <a:pt x="1235203" y="845825"/>
                  </a:cubicBezTo>
                  <a:close/>
                  <a:moveTo>
                    <a:pt x="2027344" y="778710"/>
                  </a:moveTo>
                  <a:cubicBezTo>
                    <a:pt x="2027344" y="778710"/>
                    <a:pt x="2030700" y="778710"/>
                    <a:pt x="2027344" y="782066"/>
                  </a:cubicBezTo>
                  <a:cubicBezTo>
                    <a:pt x="2023987" y="778710"/>
                    <a:pt x="2027344" y="778710"/>
                    <a:pt x="2027344" y="778710"/>
                  </a:cubicBezTo>
                  <a:close/>
                  <a:moveTo>
                    <a:pt x="1523864" y="751848"/>
                  </a:moveTo>
                  <a:cubicBezTo>
                    <a:pt x="1530577" y="751848"/>
                    <a:pt x="1537290" y="758561"/>
                    <a:pt x="1537290" y="765275"/>
                  </a:cubicBezTo>
                  <a:cubicBezTo>
                    <a:pt x="1537290" y="771987"/>
                    <a:pt x="1530577" y="778701"/>
                    <a:pt x="1523864" y="778701"/>
                  </a:cubicBezTo>
                  <a:cubicBezTo>
                    <a:pt x="1517151" y="778701"/>
                    <a:pt x="1510438" y="771987"/>
                    <a:pt x="1510438" y="765275"/>
                  </a:cubicBezTo>
                  <a:cubicBezTo>
                    <a:pt x="1510438" y="758561"/>
                    <a:pt x="1517151" y="751848"/>
                    <a:pt x="1523864" y="751848"/>
                  </a:cubicBezTo>
                  <a:close/>
                  <a:moveTo>
                    <a:pt x="1033811" y="745126"/>
                  </a:moveTo>
                  <a:cubicBezTo>
                    <a:pt x="1037168" y="745126"/>
                    <a:pt x="1040524" y="748481"/>
                    <a:pt x="1040524" y="751838"/>
                  </a:cubicBezTo>
                  <a:cubicBezTo>
                    <a:pt x="1040524" y="755194"/>
                    <a:pt x="1037168" y="758551"/>
                    <a:pt x="1033811" y="758551"/>
                  </a:cubicBezTo>
                  <a:cubicBezTo>
                    <a:pt x="1030454" y="758551"/>
                    <a:pt x="1027098" y="755194"/>
                    <a:pt x="1027098" y="751838"/>
                  </a:cubicBezTo>
                  <a:cubicBezTo>
                    <a:pt x="1027098" y="748481"/>
                    <a:pt x="1030454" y="745126"/>
                    <a:pt x="1033811" y="745126"/>
                  </a:cubicBezTo>
                  <a:close/>
                  <a:moveTo>
                    <a:pt x="1822596" y="681366"/>
                  </a:moveTo>
                  <a:cubicBezTo>
                    <a:pt x="1822596" y="681366"/>
                    <a:pt x="1825953" y="681366"/>
                    <a:pt x="1822596" y="684723"/>
                  </a:cubicBezTo>
                  <a:cubicBezTo>
                    <a:pt x="1819240" y="681366"/>
                    <a:pt x="1819240" y="681366"/>
                    <a:pt x="1822596" y="681366"/>
                  </a:cubicBezTo>
                  <a:close/>
                  <a:moveTo>
                    <a:pt x="1319117" y="654504"/>
                  </a:moveTo>
                  <a:cubicBezTo>
                    <a:pt x="1325830" y="654504"/>
                    <a:pt x="1329186" y="657861"/>
                    <a:pt x="1329186" y="664574"/>
                  </a:cubicBezTo>
                  <a:cubicBezTo>
                    <a:pt x="1329186" y="671286"/>
                    <a:pt x="1325830" y="674643"/>
                    <a:pt x="1319117" y="674643"/>
                  </a:cubicBezTo>
                  <a:cubicBezTo>
                    <a:pt x="1315760" y="674643"/>
                    <a:pt x="1309047" y="671286"/>
                    <a:pt x="1309047" y="664574"/>
                  </a:cubicBezTo>
                  <a:cubicBezTo>
                    <a:pt x="1309047" y="657861"/>
                    <a:pt x="1312404" y="654504"/>
                    <a:pt x="1319117" y="654504"/>
                  </a:cubicBezTo>
                  <a:close/>
                  <a:moveTo>
                    <a:pt x="2131396" y="607528"/>
                  </a:moveTo>
                  <a:cubicBezTo>
                    <a:pt x="2131396" y="607528"/>
                    <a:pt x="2134753" y="607528"/>
                    <a:pt x="2131396" y="610885"/>
                  </a:cubicBezTo>
                  <a:lnTo>
                    <a:pt x="2131396" y="609627"/>
                  </a:lnTo>
                  <a:close/>
                  <a:moveTo>
                    <a:pt x="1617847" y="577309"/>
                  </a:moveTo>
                  <a:cubicBezTo>
                    <a:pt x="1621204" y="577309"/>
                    <a:pt x="1624560" y="580666"/>
                    <a:pt x="1624560" y="584023"/>
                  </a:cubicBezTo>
                  <a:cubicBezTo>
                    <a:pt x="1624560" y="587379"/>
                    <a:pt x="1621204" y="590735"/>
                    <a:pt x="1617847" y="590735"/>
                  </a:cubicBezTo>
                  <a:cubicBezTo>
                    <a:pt x="1614491" y="590735"/>
                    <a:pt x="1611134" y="587379"/>
                    <a:pt x="1611134" y="584023"/>
                  </a:cubicBezTo>
                  <a:cubicBezTo>
                    <a:pt x="1611134" y="580666"/>
                    <a:pt x="1614491" y="577309"/>
                    <a:pt x="1617847" y="577309"/>
                  </a:cubicBezTo>
                  <a:close/>
                  <a:moveTo>
                    <a:pt x="1926649" y="506828"/>
                  </a:moveTo>
                  <a:cubicBezTo>
                    <a:pt x="1926649" y="506828"/>
                    <a:pt x="1930005" y="506828"/>
                    <a:pt x="1930005" y="510184"/>
                  </a:cubicBezTo>
                  <a:cubicBezTo>
                    <a:pt x="1930005" y="510184"/>
                    <a:pt x="1930005" y="513541"/>
                    <a:pt x="1926649" y="513541"/>
                  </a:cubicBezTo>
                  <a:cubicBezTo>
                    <a:pt x="1923292" y="513541"/>
                    <a:pt x="1923292" y="510184"/>
                    <a:pt x="1923292" y="510184"/>
                  </a:cubicBezTo>
                  <a:cubicBezTo>
                    <a:pt x="1923292" y="510184"/>
                    <a:pt x="1923292" y="506828"/>
                    <a:pt x="1926649" y="506828"/>
                  </a:cubicBezTo>
                  <a:close/>
                  <a:moveTo>
                    <a:pt x="1413099" y="476608"/>
                  </a:moveTo>
                  <a:cubicBezTo>
                    <a:pt x="1419812" y="476608"/>
                    <a:pt x="1423168" y="479965"/>
                    <a:pt x="1423168" y="486678"/>
                  </a:cubicBezTo>
                  <a:cubicBezTo>
                    <a:pt x="1423168" y="493391"/>
                    <a:pt x="1419812" y="496747"/>
                    <a:pt x="1413099" y="496747"/>
                  </a:cubicBezTo>
                  <a:cubicBezTo>
                    <a:pt x="1406386" y="496747"/>
                    <a:pt x="1403029" y="490034"/>
                    <a:pt x="1403029" y="486678"/>
                  </a:cubicBezTo>
                  <a:cubicBezTo>
                    <a:pt x="1403029" y="479965"/>
                    <a:pt x="1406386" y="476608"/>
                    <a:pt x="1413099" y="476608"/>
                  </a:cubicBezTo>
                  <a:close/>
                  <a:moveTo>
                    <a:pt x="2252232" y="439702"/>
                  </a:moveTo>
                  <a:cubicBezTo>
                    <a:pt x="2252232" y="439702"/>
                    <a:pt x="2255588" y="443059"/>
                    <a:pt x="2252232" y="446415"/>
                  </a:cubicBezTo>
                  <a:cubicBezTo>
                    <a:pt x="2248875" y="439702"/>
                    <a:pt x="2248875" y="439702"/>
                    <a:pt x="2252232" y="439702"/>
                  </a:cubicBezTo>
                  <a:close/>
                  <a:moveTo>
                    <a:pt x="1721900" y="402770"/>
                  </a:moveTo>
                  <a:cubicBezTo>
                    <a:pt x="1725256" y="402770"/>
                    <a:pt x="1728613" y="406126"/>
                    <a:pt x="1728613" y="409483"/>
                  </a:cubicBezTo>
                  <a:cubicBezTo>
                    <a:pt x="1728613" y="412839"/>
                    <a:pt x="1725256" y="416196"/>
                    <a:pt x="1721900" y="416196"/>
                  </a:cubicBezTo>
                  <a:cubicBezTo>
                    <a:pt x="1718543" y="416196"/>
                    <a:pt x="1715187" y="412839"/>
                    <a:pt x="1715187" y="409483"/>
                  </a:cubicBezTo>
                  <a:cubicBezTo>
                    <a:pt x="1715187" y="406126"/>
                    <a:pt x="1718543" y="402770"/>
                    <a:pt x="1721900" y="402770"/>
                  </a:cubicBezTo>
                  <a:close/>
                  <a:moveTo>
                    <a:pt x="2044126" y="339001"/>
                  </a:moveTo>
                  <a:cubicBezTo>
                    <a:pt x="2044126" y="339001"/>
                    <a:pt x="2047483" y="342358"/>
                    <a:pt x="2044126" y="345715"/>
                  </a:cubicBezTo>
                  <a:cubicBezTo>
                    <a:pt x="2040770" y="339001"/>
                    <a:pt x="2040770" y="339001"/>
                    <a:pt x="2044126" y="339001"/>
                  </a:cubicBezTo>
                  <a:close/>
                  <a:moveTo>
                    <a:pt x="1517151" y="305426"/>
                  </a:moveTo>
                  <a:cubicBezTo>
                    <a:pt x="1517151" y="305426"/>
                    <a:pt x="1520508" y="308782"/>
                    <a:pt x="1517151" y="312139"/>
                  </a:cubicBezTo>
                  <a:cubicBezTo>
                    <a:pt x="1513795" y="308782"/>
                    <a:pt x="1513795" y="308782"/>
                    <a:pt x="1517151" y="305426"/>
                  </a:cubicBezTo>
                  <a:close/>
                  <a:moveTo>
                    <a:pt x="2379780" y="285303"/>
                  </a:moveTo>
                  <a:cubicBezTo>
                    <a:pt x="2379780" y="285303"/>
                    <a:pt x="2383136" y="285303"/>
                    <a:pt x="2379780" y="288659"/>
                  </a:cubicBezTo>
                  <a:cubicBezTo>
                    <a:pt x="2376424" y="285303"/>
                    <a:pt x="2379780" y="285303"/>
                    <a:pt x="2379780" y="285303"/>
                  </a:cubicBezTo>
                  <a:close/>
                  <a:moveTo>
                    <a:pt x="1834762" y="240820"/>
                  </a:moveTo>
                  <a:cubicBezTo>
                    <a:pt x="1835182" y="239980"/>
                    <a:pt x="1836021" y="239980"/>
                    <a:pt x="1836021" y="241658"/>
                  </a:cubicBezTo>
                  <a:cubicBezTo>
                    <a:pt x="1836021" y="241658"/>
                    <a:pt x="1839378" y="241658"/>
                    <a:pt x="1836021" y="245015"/>
                  </a:cubicBezTo>
                  <a:cubicBezTo>
                    <a:pt x="1834343" y="243337"/>
                    <a:pt x="1834343" y="241658"/>
                    <a:pt x="1834762" y="240820"/>
                  </a:cubicBezTo>
                  <a:close/>
                  <a:moveTo>
                    <a:pt x="2168318" y="181245"/>
                  </a:moveTo>
                  <a:cubicBezTo>
                    <a:pt x="2168318" y="181245"/>
                    <a:pt x="2171675" y="181245"/>
                    <a:pt x="2168318" y="184602"/>
                  </a:cubicBezTo>
                  <a:cubicBezTo>
                    <a:pt x="2168318" y="181245"/>
                    <a:pt x="2168318" y="181245"/>
                    <a:pt x="2168318" y="181245"/>
                  </a:cubicBezTo>
                  <a:close/>
                  <a:moveTo>
                    <a:pt x="2520754" y="137617"/>
                  </a:moveTo>
                  <a:cubicBezTo>
                    <a:pt x="2520754" y="137617"/>
                    <a:pt x="2524110" y="137617"/>
                    <a:pt x="2520754" y="140974"/>
                  </a:cubicBezTo>
                  <a:cubicBezTo>
                    <a:pt x="2517397" y="137617"/>
                    <a:pt x="2520754" y="137617"/>
                    <a:pt x="2520754" y="137617"/>
                  </a:cubicBezTo>
                  <a:close/>
                  <a:moveTo>
                    <a:pt x="1960213" y="77189"/>
                  </a:moveTo>
                  <a:cubicBezTo>
                    <a:pt x="1960213" y="77189"/>
                    <a:pt x="1963570" y="80545"/>
                    <a:pt x="1960213" y="83901"/>
                  </a:cubicBezTo>
                  <a:cubicBezTo>
                    <a:pt x="1956856" y="80545"/>
                    <a:pt x="1956856" y="77189"/>
                    <a:pt x="1960213" y="77189"/>
                  </a:cubicBezTo>
                  <a:close/>
                  <a:moveTo>
                    <a:pt x="2305936" y="30203"/>
                  </a:moveTo>
                  <a:cubicBezTo>
                    <a:pt x="2305936" y="30203"/>
                    <a:pt x="2309293" y="30203"/>
                    <a:pt x="2305936" y="33559"/>
                  </a:cubicBezTo>
                  <a:cubicBezTo>
                    <a:pt x="2302580" y="30203"/>
                    <a:pt x="2305936" y="30203"/>
                    <a:pt x="2305936" y="30203"/>
                  </a:cubicBezTo>
                  <a:close/>
                  <a:moveTo>
                    <a:pt x="2668441" y="0"/>
                  </a:moveTo>
                  <a:cubicBezTo>
                    <a:pt x="2668441" y="0"/>
                    <a:pt x="2671798" y="0"/>
                    <a:pt x="2668441" y="3357"/>
                  </a:cubicBezTo>
                  <a:cubicBezTo>
                    <a:pt x="2668441" y="0"/>
                    <a:pt x="2668441" y="0"/>
                    <a:pt x="2668441" y="0"/>
                  </a:cubicBezTo>
                  <a:close/>
                </a:path>
              </a:pathLst>
            </a:custGeom>
            <a:gradFill>
              <a:gsLst>
                <a:gs pos="0">
                  <a:schemeClr val="accent3">
                    <a:alpha val="0"/>
                  </a:schemeClr>
                </a:gs>
                <a:gs pos="100000">
                  <a:schemeClr val="accent1">
                    <a:lumMod val="75000"/>
                    <a:alpha val="17000"/>
                  </a:schemeClr>
                </a:gs>
              </a:gsLst>
              <a:lin ang="10800000" scaled="1"/>
            </a:gradFill>
            <a:ln w="31528" cap="flat">
              <a:noFill/>
              <a:prstDash val="solid"/>
              <a:miter/>
            </a:ln>
          </p:spPr>
          <p:txBody>
            <a:bodyPr rtlCol="0" anchor="ctr"/>
            <a:lstStyle/>
            <a:p>
              <a:endParaRPr lang="en-US" sz="1765"/>
            </a:p>
          </p:txBody>
        </p:sp>
        <p:sp>
          <p:nvSpPr>
            <p:cNvPr id="432" name="Freeform: Shape 431">
              <a:extLst>
                <a:ext uri="{FF2B5EF4-FFF2-40B4-BE49-F238E27FC236}">
                  <a16:creationId xmlns:a16="http://schemas.microsoft.com/office/drawing/2014/main" id="{26934EBC-A3C8-4EB9-98EA-48FCE28389E7}"/>
                </a:ext>
                <a:ext uri="{C183D7F6-B498-43B3-948B-1728B52AA6E4}">
                  <adec:decorative xmlns:adec="http://schemas.microsoft.com/office/drawing/2017/decorative" val="1"/>
                </a:ext>
              </a:extLst>
            </p:cNvPr>
            <p:cNvSpPr/>
            <p:nvPr/>
          </p:nvSpPr>
          <p:spPr bwMode="auto">
            <a:xfrm>
              <a:off x="9964417" y="1"/>
              <a:ext cx="2472059" cy="3276183"/>
            </a:xfrm>
            <a:custGeom>
              <a:avLst/>
              <a:gdLst>
                <a:gd name="connsiteX0" fmla="*/ 434012 w 2472059"/>
                <a:gd name="connsiteY0" fmla="*/ 0 h 3276183"/>
                <a:gd name="connsiteX1" fmla="*/ 2472059 w 2472059"/>
                <a:gd name="connsiteY1" fmla="*/ 0 h 3276183"/>
                <a:gd name="connsiteX2" fmla="*/ 2472059 w 2472059"/>
                <a:gd name="connsiteY2" fmla="*/ 3225260 h 3276183"/>
                <a:gd name="connsiteX3" fmla="*/ 2434078 w 2472059"/>
                <a:gd name="connsiteY3" fmla="*/ 3235026 h 3276183"/>
                <a:gd name="connsiteX4" fmla="*/ 2025807 w 2472059"/>
                <a:gd name="connsiteY4" fmla="*/ 3276183 h 3276183"/>
                <a:gd name="connsiteX5" fmla="*/ 0 w 2472059"/>
                <a:gd name="connsiteY5" fmla="*/ 1250376 h 3276183"/>
                <a:gd name="connsiteX6" fmla="*/ 345976 w 2472059"/>
                <a:gd name="connsiteY6" fmla="*/ 117728 h 3276183"/>
                <a:gd name="connsiteX0" fmla="*/ 2472059 w 2563499"/>
                <a:gd name="connsiteY0" fmla="*/ 0 h 3276183"/>
                <a:gd name="connsiteX1" fmla="*/ 2472059 w 2563499"/>
                <a:gd name="connsiteY1" fmla="*/ 3225260 h 3276183"/>
                <a:gd name="connsiteX2" fmla="*/ 2434078 w 2563499"/>
                <a:gd name="connsiteY2" fmla="*/ 3235026 h 3276183"/>
                <a:gd name="connsiteX3" fmla="*/ 2025807 w 2563499"/>
                <a:gd name="connsiteY3" fmla="*/ 3276183 h 3276183"/>
                <a:gd name="connsiteX4" fmla="*/ 0 w 2563499"/>
                <a:gd name="connsiteY4" fmla="*/ 1250376 h 3276183"/>
                <a:gd name="connsiteX5" fmla="*/ 345976 w 2563499"/>
                <a:gd name="connsiteY5" fmla="*/ 117728 h 3276183"/>
                <a:gd name="connsiteX6" fmla="*/ 434012 w 2563499"/>
                <a:gd name="connsiteY6" fmla="*/ 0 h 3276183"/>
                <a:gd name="connsiteX7" fmla="*/ 2563499 w 2563499"/>
                <a:gd name="connsiteY7" fmla="*/ 91440 h 3276183"/>
                <a:gd name="connsiteX0" fmla="*/ 2472059 w 2472059"/>
                <a:gd name="connsiteY0" fmla="*/ 0 h 3276183"/>
                <a:gd name="connsiteX1" fmla="*/ 2472059 w 2472059"/>
                <a:gd name="connsiteY1" fmla="*/ 3225260 h 3276183"/>
                <a:gd name="connsiteX2" fmla="*/ 2434078 w 2472059"/>
                <a:gd name="connsiteY2" fmla="*/ 3235026 h 3276183"/>
                <a:gd name="connsiteX3" fmla="*/ 2025807 w 2472059"/>
                <a:gd name="connsiteY3" fmla="*/ 3276183 h 3276183"/>
                <a:gd name="connsiteX4" fmla="*/ 0 w 2472059"/>
                <a:gd name="connsiteY4" fmla="*/ 1250376 h 3276183"/>
                <a:gd name="connsiteX5" fmla="*/ 345976 w 2472059"/>
                <a:gd name="connsiteY5" fmla="*/ 117728 h 3276183"/>
                <a:gd name="connsiteX6" fmla="*/ 434012 w 2472059"/>
                <a:gd name="connsiteY6" fmla="*/ 0 h 3276183"/>
                <a:gd name="connsiteX0" fmla="*/ 2472059 w 2472059"/>
                <a:gd name="connsiteY0" fmla="*/ 3225260 h 3276183"/>
                <a:gd name="connsiteX1" fmla="*/ 2434078 w 2472059"/>
                <a:gd name="connsiteY1" fmla="*/ 3235026 h 3276183"/>
                <a:gd name="connsiteX2" fmla="*/ 2025807 w 2472059"/>
                <a:gd name="connsiteY2" fmla="*/ 3276183 h 3276183"/>
                <a:gd name="connsiteX3" fmla="*/ 0 w 2472059"/>
                <a:gd name="connsiteY3" fmla="*/ 1250376 h 3276183"/>
                <a:gd name="connsiteX4" fmla="*/ 345976 w 2472059"/>
                <a:gd name="connsiteY4" fmla="*/ 117728 h 3276183"/>
                <a:gd name="connsiteX5" fmla="*/ 434012 w 2472059"/>
                <a:gd name="connsiteY5" fmla="*/ 0 h 327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059" h="3276183">
                  <a:moveTo>
                    <a:pt x="2472059" y="3225260"/>
                  </a:moveTo>
                  <a:lnTo>
                    <a:pt x="2434078" y="3235026"/>
                  </a:lnTo>
                  <a:cubicBezTo>
                    <a:pt x="2302203" y="3262012"/>
                    <a:pt x="2165660" y="3276183"/>
                    <a:pt x="2025807" y="3276183"/>
                  </a:cubicBezTo>
                  <a:cubicBezTo>
                    <a:pt x="906985" y="3276183"/>
                    <a:pt x="0" y="2369198"/>
                    <a:pt x="0" y="1250376"/>
                  </a:cubicBezTo>
                  <a:cubicBezTo>
                    <a:pt x="0" y="830818"/>
                    <a:pt x="127545" y="441049"/>
                    <a:pt x="345976" y="117728"/>
                  </a:cubicBezTo>
                  <a:lnTo>
                    <a:pt x="434012" y="0"/>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9" name="Freeform: Shape 428">
              <a:extLst>
                <a:ext uri="{FF2B5EF4-FFF2-40B4-BE49-F238E27FC236}">
                  <a16:creationId xmlns:a16="http://schemas.microsoft.com/office/drawing/2014/main" id="{3D5BB046-6676-4A99-B3C2-F5F55B8928C9}"/>
                </a:ext>
                <a:ext uri="{C183D7F6-B498-43B3-948B-1728B52AA6E4}">
                  <adec:decorative xmlns:adec="http://schemas.microsoft.com/office/drawing/2017/decorative" val="1"/>
                </a:ext>
              </a:extLst>
            </p:cNvPr>
            <p:cNvSpPr/>
            <p:nvPr/>
          </p:nvSpPr>
          <p:spPr bwMode="auto">
            <a:xfrm>
              <a:off x="8269732" y="273850"/>
              <a:ext cx="4166742" cy="5353012"/>
            </a:xfrm>
            <a:custGeom>
              <a:avLst/>
              <a:gdLst>
                <a:gd name="connsiteX0" fmla="*/ 2676506 w 4166742"/>
                <a:gd name="connsiteY0" fmla="*/ 0 h 5353012"/>
                <a:gd name="connsiteX1" fmla="*/ 3952288 w 4166742"/>
                <a:gd name="connsiteY1" fmla="*/ 323040 h 5353012"/>
                <a:gd name="connsiteX2" fmla="*/ 4166742 w 4166742"/>
                <a:gd name="connsiteY2" fmla="*/ 453324 h 5353012"/>
                <a:gd name="connsiteX3" fmla="*/ 4166742 w 4166742"/>
                <a:gd name="connsiteY3" fmla="*/ 4899688 h 5353012"/>
                <a:gd name="connsiteX4" fmla="*/ 3952288 w 4166742"/>
                <a:gd name="connsiteY4" fmla="*/ 5029972 h 5353012"/>
                <a:gd name="connsiteX5" fmla="*/ 2676506 w 4166742"/>
                <a:gd name="connsiteY5" fmla="*/ 5353012 h 5353012"/>
                <a:gd name="connsiteX6" fmla="*/ 0 w 4166742"/>
                <a:gd name="connsiteY6" fmla="*/ 2676506 h 5353012"/>
                <a:gd name="connsiteX7" fmla="*/ 2676506 w 4166742"/>
                <a:gd name="connsiteY7" fmla="*/ 0 h 5353012"/>
                <a:gd name="connsiteX0" fmla="*/ 2676506 w 4183525"/>
                <a:gd name="connsiteY0" fmla="*/ 0 h 5353012"/>
                <a:gd name="connsiteX1" fmla="*/ 3952288 w 4183525"/>
                <a:gd name="connsiteY1" fmla="*/ 323040 h 5353012"/>
                <a:gd name="connsiteX2" fmla="*/ 4166742 w 4183525"/>
                <a:gd name="connsiteY2" fmla="*/ 453324 h 5353012"/>
                <a:gd name="connsiteX3" fmla="*/ 4183525 w 4183525"/>
                <a:gd name="connsiteY3" fmla="*/ 2556436 h 5353012"/>
                <a:gd name="connsiteX4" fmla="*/ 4166742 w 4183525"/>
                <a:gd name="connsiteY4" fmla="*/ 4899688 h 5353012"/>
                <a:gd name="connsiteX5" fmla="*/ 3952288 w 4183525"/>
                <a:gd name="connsiteY5" fmla="*/ 5029972 h 5353012"/>
                <a:gd name="connsiteX6" fmla="*/ 2676506 w 4183525"/>
                <a:gd name="connsiteY6" fmla="*/ 5353012 h 5353012"/>
                <a:gd name="connsiteX7" fmla="*/ 0 w 4183525"/>
                <a:gd name="connsiteY7" fmla="*/ 2676506 h 5353012"/>
                <a:gd name="connsiteX8" fmla="*/ 2676506 w 4183525"/>
                <a:gd name="connsiteY8" fmla="*/ 0 h 5353012"/>
                <a:gd name="connsiteX0" fmla="*/ 4183525 w 4274965"/>
                <a:gd name="connsiteY0" fmla="*/ 2556436 h 5353012"/>
                <a:gd name="connsiteX1" fmla="*/ 4166742 w 4274965"/>
                <a:gd name="connsiteY1" fmla="*/ 4899688 h 5353012"/>
                <a:gd name="connsiteX2" fmla="*/ 3952288 w 4274965"/>
                <a:gd name="connsiteY2" fmla="*/ 5029972 h 5353012"/>
                <a:gd name="connsiteX3" fmla="*/ 2676506 w 4274965"/>
                <a:gd name="connsiteY3" fmla="*/ 5353012 h 5353012"/>
                <a:gd name="connsiteX4" fmla="*/ 0 w 4274965"/>
                <a:gd name="connsiteY4" fmla="*/ 2676506 h 5353012"/>
                <a:gd name="connsiteX5" fmla="*/ 2676506 w 4274965"/>
                <a:gd name="connsiteY5" fmla="*/ 0 h 5353012"/>
                <a:gd name="connsiteX6" fmla="*/ 3952288 w 4274965"/>
                <a:gd name="connsiteY6" fmla="*/ 323040 h 5353012"/>
                <a:gd name="connsiteX7" fmla="*/ 4166742 w 4274965"/>
                <a:gd name="connsiteY7" fmla="*/ 453324 h 5353012"/>
                <a:gd name="connsiteX8" fmla="*/ 4274965 w 4274965"/>
                <a:gd name="connsiteY8" fmla="*/ 2647876 h 5353012"/>
                <a:gd name="connsiteX0" fmla="*/ 4183525 w 4183525"/>
                <a:gd name="connsiteY0" fmla="*/ 2556436 h 5353012"/>
                <a:gd name="connsiteX1" fmla="*/ 4166742 w 4183525"/>
                <a:gd name="connsiteY1" fmla="*/ 4899688 h 5353012"/>
                <a:gd name="connsiteX2" fmla="*/ 3952288 w 4183525"/>
                <a:gd name="connsiteY2" fmla="*/ 5029972 h 5353012"/>
                <a:gd name="connsiteX3" fmla="*/ 2676506 w 4183525"/>
                <a:gd name="connsiteY3" fmla="*/ 5353012 h 5353012"/>
                <a:gd name="connsiteX4" fmla="*/ 0 w 4183525"/>
                <a:gd name="connsiteY4" fmla="*/ 2676506 h 5353012"/>
                <a:gd name="connsiteX5" fmla="*/ 2676506 w 4183525"/>
                <a:gd name="connsiteY5" fmla="*/ 0 h 5353012"/>
                <a:gd name="connsiteX6" fmla="*/ 3952288 w 4183525"/>
                <a:gd name="connsiteY6" fmla="*/ 323040 h 5353012"/>
                <a:gd name="connsiteX7" fmla="*/ 4166742 w 4183525"/>
                <a:gd name="connsiteY7" fmla="*/ 453324 h 5353012"/>
                <a:gd name="connsiteX0" fmla="*/ 4166742 w 4166742"/>
                <a:gd name="connsiteY0" fmla="*/ 4899688 h 5353012"/>
                <a:gd name="connsiteX1" fmla="*/ 3952288 w 4166742"/>
                <a:gd name="connsiteY1" fmla="*/ 5029972 h 5353012"/>
                <a:gd name="connsiteX2" fmla="*/ 2676506 w 4166742"/>
                <a:gd name="connsiteY2" fmla="*/ 5353012 h 5353012"/>
                <a:gd name="connsiteX3" fmla="*/ 0 w 4166742"/>
                <a:gd name="connsiteY3" fmla="*/ 2676506 h 5353012"/>
                <a:gd name="connsiteX4" fmla="*/ 2676506 w 4166742"/>
                <a:gd name="connsiteY4" fmla="*/ 0 h 5353012"/>
                <a:gd name="connsiteX5" fmla="*/ 3952288 w 4166742"/>
                <a:gd name="connsiteY5" fmla="*/ 323040 h 5353012"/>
                <a:gd name="connsiteX6" fmla="*/ 4166742 w 4166742"/>
                <a:gd name="connsiteY6" fmla="*/ 453324 h 535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6742" h="5353012">
                  <a:moveTo>
                    <a:pt x="4166742" y="4899688"/>
                  </a:moveTo>
                  <a:lnTo>
                    <a:pt x="3952288" y="5029972"/>
                  </a:lnTo>
                  <a:cubicBezTo>
                    <a:pt x="3573045" y="5235989"/>
                    <a:pt x="3138441" y="5353012"/>
                    <a:pt x="2676506" y="5353012"/>
                  </a:cubicBezTo>
                  <a:cubicBezTo>
                    <a:pt x="1198313" y="5353012"/>
                    <a:pt x="0" y="4154699"/>
                    <a:pt x="0" y="2676506"/>
                  </a:cubicBezTo>
                  <a:cubicBezTo>
                    <a:pt x="0" y="1198313"/>
                    <a:pt x="1198313" y="0"/>
                    <a:pt x="2676506" y="0"/>
                  </a:cubicBezTo>
                  <a:cubicBezTo>
                    <a:pt x="3138441" y="0"/>
                    <a:pt x="3573045" y="117023"/>
                    <a:pt x="3952288" y="323040"/>
                  </a:cubicBezTo>
                  <a:lnTo>
                    <a:pt x="4166742" y="453324"/>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5" name="Oval 424">
              <a:extLst>
                <a:ext uri="{FF2B5EF4-FFF2-40B4-BE49-F238E27FC236}">
                  <a16:creationId xmlns:a16="http://schemas.microsoft.com/office/drawing/2014/main" id="{78D2A8BB-A828-48B2-ADDC-1AD08542C897}"/>
                </a:ext>
                <a:ext uri="{C183D7F6-B498-43B3-948B-1728B52AA6E4}">
                  <adec:decorative xmlns:adec="http://schemas.microsoft.com/office/drawing/2017/decorative" val="1"/>
                </a:ext>
              </a:extLst>
            </p:cNvPr>
            <p:cNvSpPr/>
            <p:nvPr/>
          </p:nvSpPr>
          <p:spPr bwMode="auto">
            <a:xfrm>
              <a:off x="6640957" y="159550"/>
              <a:ext cx="2612302" cy="2612302"/>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3" name="Oval 422">
              <a:extLst>
                <a:ext uri="{FF2B5EF4-FFF2-40B4-BE49-F238E27FC236}">
                  <a16:creationId xmlns:a16="http://schemas.microsoft.com/office/drawing/2014/main" id="{6BA45FB5-FCF3-4F8D-9301-CB64B8D8A098}"/>
                </a:ext>
                <a:ext uri="{C183D7F6-B498-43B3-948B-1728B52AA6E4}">
                  <adec:decorative xmlns:adec="http://schemas.microsoft.com/office/drawing/2017/decorative" val="1"/>
                </a:ext>
              </a:extLst>
            </p:cNvPr>
            <p:cNvSpPr/>
            <p:nvPr/>
          </p:nvSpPr>
          <p:spPr bwMode="auto">
            <a:xfrm>
              <a:off x="5100013" y="1753890"/>
              <a:ext cx="2333303" cy="2333303"/>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8" name="Freeform: Shape 427">
              <a:extLst>
                <a:ext uri="{FF2B5EF4-FFF2-40B4-BE49-F238E27FC236}">
                  <a16:creationId xmlns:a16="http://schemas.microsoft.com/office/drawing/2014/main" id="{5DA80B88-56AC-4EB6-A0C7-2A6E2097CD24}"/>
                </a:ext>
                <a:ext uri="{C183D7F6-B498-43B3-948B-1728B52AA6E4}">
                  <adec:decorative xmlns:adec="http://schemas.microsoft.com/office/drawing/2017/decorative" val="1"/>
                </a:ext>
              </a:extLst>
            </p:cNvPr>
            <p:cNvSpPr/>
            <p:nvPr/>
          </p:nvSpPr>
          <p:spPr bwMode="auto">
            <a:xfrm>
              <a:off x="4969026" y="3219435"/>
              <a:ext cx="4387050" cy="3775091"/>
            </a:xfrm>
            <a:custGeom>
              <a:avLst/>
              <a:gdLst>
                <a:gd name="connsiteX0" fmla="*/ 2193525 w 4387050"/>
                <a:gd name="connsiteY0" fmla="*/ 0 h 3775091"/>
                <a:gd name="connsiteX1" fmla="*/ 4387050 w 4387050"/>
                <a:gd name="connsiteY1" fmla="*/ 2193525 h 3775091"/>
                <a:gd name="connsiteX2" fmla="*/ 3744581 w 4387050"/>
                <a:gd name="connsiteY2" fmla="*/ 3744582 h 3775091"/>
                <a:gd name="connsiteX3" fmla="*/ 3711012 w 4387050"/>
                <a:gd name="connsiteY3" fmla="*/ 3775091 h 3775091"/>
                <a:gd name="connsiteX4" fmla="*/ 676038 w 4387050"/>
                <a:gd name="connsiteY4" fmla="*/ 3775091 h 3775091"/>
                <a:gd name="connsiteX5" fmla="*/ 642469 w 4387050"/>
                <a:gd name="connsiteY5" fmla="*/ 3744582 h 3775091"/>
                <a:gd name="connsiteX6" fmla="*/ 0 w 4387050"/>
                <a:gd name="connsiteY6" fmla="*/ 2193525 h 3775091"/>
                <a:gd name="connsiteX7" fmla="*/ 2193525 w 4387050"/>
                <a:gd name="connsiteY7" fmla="*/ 0 h 3775091"/>
                <a:gd name="connsiteX0" fmla="*/ 2193525 w 4387050"/>
                <a:gd name="connsiteY0" fmla="*/ 0 h 3790965"/>
                <a:gd name="connsiteX1" fmla="*/ 4387050 w 4387050"/>
                <a:gd name="connsiteY1" fmla="*/ 2193525 h 3790965"/>
                <a:gd name="connsiteX2" fmla="*/ 3744581 w 4387050"/>
                <a:gd name="connsiteY2" fmla="*/ 3744582 h 3790965"/>
                <a:gd name="connsiteX3" fmla="*/ 3711012 w 4387050"/>
                <a:gd name="connsiteY3" fmla="*/ 3775091 h 3790965"/>
                <a:gd name="connsiteX4" fmla="*/ 2084917 w 4387050"/>
                <a:gd name="connsiteY4" fmla="*/ 3790965 h 3790965"/>
                <a:gd name="connsiteX5" fmla="*/ 676038 w 4387050"/>
                <a:gd name="connsiteY5" fmla="*/ 3775091 h 3790965"/>
                <a:gd name="connsiteX6" fmla="*/ 642469 w 4387050"/>
                <a:gd name="connsiteY6" fmla="*/ 3744582 h 3790965"/>
                <a:gd name="connsiteX7" fmla="*/ 0 w 4387050"/>
                <a:gd name="connsiteY7" fmla="*/ 2193525 h 3790965"/>
                <a:gd name="connsiteX8" fmla="*/ 2193525 w 4387050"/>
                <a:gd name="connsiteY8" fmla="*/ 0 h 3790965"/>
                <a:gd name="connsiteX0" fmla="*/ 2084917 w 4387050"/>
                <a:gd name="connsiteY0" fmla="*/ 3790965 h 3882405"/>
                <a:gd name="connsiteX1" fmla="*/ 676038 w 4387050"/>
                <a:gd name="connsiteY1" fmla="*/ 3775091 h 3882405"/>
                <a:gd name="connsiteX2" fmla="*/ 642469 w 4387050"/>
                <a:gd name="connsiteY2" fmla="*/ 3744582 h 3882405"/>
                <a:gd name="connsiteX3" fmla="*/ 0 w 4387050"/>
                <a:gd name="connsiteY3" fmla="*/ 2193525 h 3882405"/>
                <a:gd name="connsiteX4" fmla="*/ 2193525 w 4387050"/>
                <a:gd name="connsiteY4" fmla="*/ 0 h 3882405"/>
                <a:gd name="connsiteX5" fmla="*/ 4387050 w 4387050"/>
                <a:gd name="connsiteY5" fmla="*/ 2193525 h 3882405"/>
                <a:gd name="connsiteX6" fmla="*/ 3744581 w 4387050"/>
                <a:gd name="connsiteY6" fmla="*/ 3744582 h 3882405"/>
                <a:gd name="connsiteX7" fmla="*/ 3711012 w 4387050"/>
                <a:gd name="connsiteY7" fmla="*/ 3775091 h 3882405"/>
                <a:gd name="connsiteX8" fmla="*/ 2176357 w 4387050"/>
                <a:gd name="connsiteY8" fmla="*/ 3882405 h 3882405"/>
                <a:gd name="connsiteX0" fmla="*/ 2084917 w 4387050"/>
                <a:gd name="connsiteY0" fmla="*/ 3790965 h 3790965"/>
                <a:gd name="connsiteX1" fmla="*/ 676038 w 4387050"/>
                <a:gd name="connsiteY1" fmla="*/ 3775091 h 3790965"/>
                <a:gd name="connsiteX2" fmla="*/ 642469 w 4387050"/>
                <a:gd name="connsiteY2" fmla="*/ 3744582 h 3790965"/>
                <a:gd name="connsiteX3" fmla="*/ 0 w 4387050"/>
                <a:gd name="connsiteY3" fmla="*/ 2193525 h 3790965"/>
                <a:gd name="connsiteX4" fmla="*/ 2193525 w 4387050"/>
                <a:gd name="connsiteY4" fmla="*/ 0 h 3790965"/>
                <a:gd name="connsiteX5" fmla="*/ 4387050 w 4387050"/>
                <a:gd name="connsiteY5" fmla="*/ 2193525 h 3790965"/>
                <a:gd name="connsiteX6" fmla="*/ 3744581 w 4387050"/>
                <a:gd name="connsiteY6" fmla="*/ 3744582 h 3790965"/>
                <a:gd name="connsiteX7" fmla="*/ 3711012 w 4387050"/>
                <a:gd name="connsiteY7" fmla="*/ 3775091 h 3790965"/>
                <a:gd name="connsiteX0" fmla="*/ 676038 w 4387050"/>
                <a:gd name="connsiteY0" fmla="*/ 3775091 h 3775091"/>
                <a:gd name="connsiteX1" fmla="*/ 642469 w 4387050"/>
                <a:gd name="connsiteY1" fmla="*/ 3744582 h 3775091"/>
                <a:gd name="connsiteX2" fmla="*/ 0 w 4387050"/>
                <a:gd name="connsiteY2" fmla="*/ 2193525 h 3775091"/>
                <a:gd name="connsiteX3" fmla="*/ 2193525 w 4387050"/>
                <a:gd name="connsiteY3" fmla="*/ 0 h 3775091"/>
                <a:gd name="connsiteX4" fmla="*/ 4387050 w 4387050"/>
                <a:gd name="connsiteY4" fmla="*/ 2193525 h 3775091"/>
                <a:gd name="connsiteX5" fmla="*/ 3744581 w 4387050"/>
                <a:gd name="connsiteY5" fmla="*/ 3744582 h 3775091"/>
                <a:gd name="connsiteX6" fmla="*/ 3711012 w 4387050"/>
                <a:gd name="connsiteY6" fmla="*/ 3775091 h 3775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050" h="3775091">
                  <a:moveTo>
                    <a:pt x="676038" y="3775091"/>
                  </a:moveTo>
                  <a:lnTo>
                    <a:pt x="642469" y="3744582"/>
                  </a:lnTo>
                  <a:cubicBezTo>
                    <a:pt x="245519" y="3347631"/>
                    <a:pt x="0" y="2799250"/>
                    <a:pt x="0" y="2193525"/>
                  </a:cubicBezTo>
                  <a:cubicBezTo>
                    <a:pt x="0" y="982075"/>
                    <a:pt x="982075" y="0"/>
                    <a:pt x="2193525" y="0"/>
                  </a:cubicBezTo>
                  <a:cubicBezTo>
                    <a:pt x="3404975" y="0"/>
                    <a:pt x="4387050" y="982075"/>
                    <a:pt x="4387050" y="2193525"/>
                  </a:cubicBezTo>
                  <a:cubicBezTo>
                    <a:pt x="4387050" y="2799250"/>
                    <a:pt x="4141531" y="3347631"/>
                    <a:pt x="3744581" y="3744582"/>
                  </a:cubicBezTo>
                  <a:lnTo>
                    <a:pt x="3711012" y="3775091"/>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4" name="Oval 423">
              <a:extLst>
                <a:ext uri="{FF2B5EF4-FFF2-40B4-BE49-F238E27FC236}">
                  <a16:creationId xmlns:a16="http://schemas.microsoft.com/office/drawing/2014/main" id="{ABD070D0-5D8A-4A88-B8BA-6B4F41A7AE62}"/>
                </a:ext>
                <a:ext uri="{C183D7F6-B498-43B3-948B-1728B52AA6E4}">
                  <adec:decorative xmlns:adec="http://schemas.microsoft.com/office/drawing/2017/decorative" val="1"/>
                </a:ext>
              </a:extLst>
            </p:cNvPr>
            <p:cNvSpPr/>
            <p:nvPr/>
          </p:nvSpPr>
          <p:spPr bwMode="auto">
            <a:xfrm>
              <a:off x="9572917" y="4971181"/>
              <a:ext cx="1045789" cy="1045789"/>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grpSp>
          <p:nvGrpSpPr>
            <p:cNvPr id="258" name="Graphic 10">
              <a:extLst>
                <a:ext uri="{FF2B5EF4-FFF2-40B4-BE49-F238E27FC236}">
                  <a16:creationId xmlns:a16="http://schemas.microsoft.com/office/drawing/2014/main" id="{9E19F295-4D67-41FC-9DA3-097441505B25}"/>
                </a:ext>
                <a:ext uri="{C183D7F6-B498-43B3-948B-1728B52AA6E4}">
                  <adec:decorative xmlns:adec="http://schemas.microsoft.com/office/drawing/2017/decorative" val="1"/>
                </a:ext>
              </a:extLst>
            </p:cNvPr>
            <p:cNvGrpSpPr/>
            <p:nvPr/>
          </p:nvGrpSpPr>
          <p:grpSpPr>
            <a:xfrm>
              <a:off x="4781433" y="2637350"/>
              <a:ext cx="7312233" cy="2281215"/>
              <a:chOff x="5337839" y="2790554"/>
              <a:chExt cx="6173152" cy="1925853"/>
            </a:xfrm>
            <a:solidFill>
              <a:schemeClr val="tx1">
                <a:alpha val="6000"/>
              </a:schemeClr>
            </a:solidFill>
            <a:effectLst/>
          </p:grpSpPr>
          <p:sp>
            <p:nvSpPr>
              <p:cNvPr id="259" name="Freeform: Shape 258">
                <a:extLst>
                  <a:ext uri="{FF2B5EF4-FFF2-40B4-BE49-F238E27FC236}">
                    <a16:creationId xmlns:a16="http://schemas.microsoft.com/office/drawing/2014/main" id="{9B4DAB63-6BE1-4032-8BCB-FFE333DDC054}"/>
                  </a:ext>
                </a:extLst>
              </p:cNvPr>
              <p:cNvSpPr/>
              <p:nvPr/>
            </p:nvSpPr>
            <p:spPr>
              <a:xfrm>
                <a:off x="6191278" y="3024602"/>
                <a:ext cx="312420" cy="100279"/>
              </a:xfrm>
              <a:custGeom>
                <a:avLst/>
                <a:gdLst>
                  <a:gd name="connsiteX0" fmla="*/ 256223 w 312420"/>
                  <a:gd name="connsiteY0" fmla="*/ 95517 h 100279"/>
                  <a:gd name="connsiteX1" fmla="*/ 273368 w 312420"/>
                  <a:gd name="connsiteY1" fmla="*/ 97422 h 100279"/>
                  <a:gd name="connsiteX2" fmla="*/ 280035 w 312420"/>
                  <a:gd name="connsiteY2" fmla="*/ 96469 h 100279"/>
                  <a:gd name="connsiteX3" fmla="*/ 284798 w 312420"/>
                  <a:gd name="connsiteY3" fmla="*/ 90754 h 100279"/>
                  <a:gd name="connsiteX4" fmla="*/ 284798 w 312420"/>
                  <a:gd name="connsiteY4" fmla="*/ 87897 h 100279"/>
                  <a:gd name="connsiteX5" fmla="*/ 284798 w 312420"/>
                  <a:gd name="connsiteY5" fmla="*/ 84087 h 100279"/>
                  <a:gd name="connsiteX6" fmla="*/ 290513 w 312420"/>
                  <a:gd name="connsiteY6" fmla="*/ 81229 h 100279"/>
                  <a:gd name="connsiteX7" fmla="*/ 300990 w 312420"/>
                  <a:gd name="connsiteY7" fmla="*/ 77419 h 100279"/>
                  <a:gd name="connsiteX8" fmla="*/ 307658 w 312420"/>
                  <a:gd name="connsiteY8" fmla="*/ 76467 h 100279"/>
                  <a:gd name="connsiteX9" fmla="*/ 312420 w 312420"/>
                  <a:gd name="connsiteY9" fmla="*/ 72657 h 100279"/>
                  <a:gd name="connsiteX10" fmla="*/ 312420 w 312420"/>
                  <a:gd name="connsiteY10" fmla="*/ 68847 h 100279"/>
                  <a:gd name="connsiteX11" fmla="*/ 311468 w 312420"/>
                  <a:gd name="connsiteY11" fmla="*/ 65989 h 100279"/>
                  <a:gd name="connsiteX12" fmla="*/ 297180 w 312420"/>
                  <a:gd name="connsiteY12" fmla="*/ 63132 h 100279"/>
                  <a:gd name="connsiteX13" fmla="*/ 284798 w 312420"/>
                  <a:gd name="connsiteY13" fmla="*/ 61227 h 100279"/>
                  <a:gd name="connsiteX14" fmla="*/ 279083 w 312420"/>
                  <a:gd name="connsiteY14" fmla="*/ 59322 h 100279"/>
                  <a:gd name="connsiteX15" fmla="*/ 271463 w 312420"/>
                  <a:gd name="connsiteY15" fmla="*/ 56464 h 100279"/>
                  <a:gd name="connsiteX16" fmla="*/ 269558 w 312420"/>
                  <a:gd name="connsiteY16" fmla="*/ 53607 h 100279"/>
                  <a:gd name="connsiteX17" fmla="*/ 262890 w 312420"/>
                  <a:gd name="connsiteY17" fmla="*/ 49797 h 100279"/>
                  <a:gd name="connsiteX18" fmla="*/ 256223 w 312420"/>
                  <a:gd name="connsiteY18" fmla="*/ 44082 h 100279"/>
                  <a:gd name="connsiteX19" fmla="*/ 253365 w 312420"/>
                  <a:gd name="connsiteY19" fmla="*/ 39319 h 100279"/>
                  <a:gd name="connsiteX20" fmla="*/ 247650 w 312420"/>
                  <a:gd name="connsiteY20" fmla="*/ 31699 h 100279"/>
                  <a:gd name="connsiteX21" fmla="*/ 240030 w 312420"/>
                  <a:gd name="connsiteY21" fmla="*/ 29794 h 100279"/>
                  <a:gd name="connsiteX22" fmla="*/ 232410 w 312420"/>
                  <a:gd name="connsiteY22" fmla="*/ 28842 h 100279"/>
                  <a:gd name="connsiteX23" fmla="*/ 227648 w 312420"/>
                  <a:gd name="connsiteY23" fmla="*/ 24079 h 100279"/>
                  <a:gd name="connsiteX24" fmla="*/ 222885 w 312420"/>
                  <a:gd name="connsiteY24" fmla="*/ 20269 h 100279"/>
                  <a:gd name="connsiteX25" fmla="*/ 220980 w 312420"/>
                  <a:gd name="connsiteY25" fmla="*/ 15507 h 100279"/>
                  <a:gd name="connsiteX26" fmla="*/ 220027 w 312420"/>
                  <a:gd name="connsiteY26" fmla="*/ 10744 h 100279"/>
                  <a:gd name="connsiteX27" fmla="*/ 218123 w 312420"/>
                  <a:gd name="connsiteY27" fmla="*/ 7887 h 100279"/>
                  <a:gd name="connsiteX28" fmla="*/ 213360 w 312420"/>
                  <a:gd name="connsiteY28" fmla="*/ 4077 h 100279"/>
                  <a:gd name="connsiteX29" fmla="*/ 206693 w 312420"/>
                  <a:gd name="connsiteY29" fmla="*/ 3124 h 100279"/>
                  <a:gd name="connsiteX30" fmla="*/ 204788 w 312420"/>
                  <a:gd name="connsiteY30" fmla="*/ 9792 h 100279"/>
                  <a:gd name="connsiteX31" fmla="*/ 200025 w 312420"/>
                  <a:gd name="connsiteY31" fmla="*/ 13602 h 100279"/>
                  <a:gd name="connsiteX32" fmla="*/ 181927 w 312420"/>
                  <a:gd name="connsiteY32" fmla="*/ 15507 h 100279"/>
                  <a:gd name="connsiteX33" fmla="*/ 175260 w 312420"/>
                  <a:gd name="connsiteY33" fmla="*/ 16459 h 100279"/>
                  <a:gd name="connsiteX34" fmla="*/ 164783 w 312420"/>
                  <a:gd name="connsiteY34" fmla="*/ 13602 h 100279"/>
                  <a:gd name="connsiteX35" fmla="*/ 150495 w 312420"/>
                  <a:gd name="connsiteY35" fmla="*/ 13602 h 100279"/>
                  <a:gd name="connsiteX36" fmla="*/ 143827 w 312420"/>
                  <a:gd name="connsiteY36" fmla="*/ 13602 h 100279"/>
                  <a:gd name="connsiteX37" fmla="*/ 138113 w 312420"/>
                  <a:gd name="connsiteY37" fmla="*/ 14554 h 100279"/>
                  <a:gd name="connsiteX38" fmla="*/ 129540 w 312420"/>
                  <a:gd name="connsiteY38" fmla="*/ 11697 h 100279"/>
                  <a:gd name="connsiteX39" fmla="*/ 116205 w 312420"/>
                  <a:gd name="connsiteY39" fmla="*/ 10744 h 100279"/>
                  <a:gd name="connsiteX40" fmla="*/ 106680 w 312420"/>
                  <a:gd name="connsiteY40" fmla="*/ 9792 h 100279"/>
                  <a:gd name="connsiteX41" fmla="*/ 100013 w 312420"/>
                  <a:gd name="connsiteY41" fmla="*/ 9792 h 100279"/>
                  <a:gd name="connsiteX42" fmla="*/ 93345 w 312420"/>
                  <a:gd name="connsiteY42" fmla="*/ 8839 h 100279"/>
                  <a:gd name="connsiteX43" fmla="*/ 85725 w 312420"/>
                  <a:gd name="connsiteY43" fmla="*/ 5982 h 100279"/>
                  <a:gd name="connsiteX44" fmla="*/ 77152 w 312420"/>
                  <a:gd name="connsiteY44" fmla="*/ 1219 h 100279"/>
                  <a:gd name="connsiteX45" fmla="*/ 67627 w 312420"/>
                  <a:gd name="connsiteY45" fmla="*/ 267 h 100279"/>
                  <a:gd name="connsiteX46" fmla="*/ 63818 w 312420"/>
                  <a:gd name="connsiteY46" fmla="*/ 1219 h 100279"/>
                  <a:gd name="connsiteX47" fmla="*/ 58102 w 312420"/>
                  <a:gd name="connsiteY47" fmla="*/ 4077 h 100279"/>
                  <a:gd name="connsiteX48" fmla="*/ 53340 w 312420"/>
                  <a:gd name="connsiteY48" fmla="*/ 6934 h 100279"/>
                  <a:gd name="connsiteX49" fmla="*/ 44768 w 312420"/>
                  <a:gd name="connsiteY49" fmla="*/ 9792 h 100279"/>
                  <a:gd name="connsiteX50" fmla="*/ 36195 w 312420"/>
                  <a:gd name="connsiteY50" fmla="*/ 10744 h 100279"/>
                  <a:gd name="connsiteX51" fmla="*/ 28575 w 312420"/>
                  <a:gd name="connsiteY51" fmla="*/ 12649 h 100279"/>
                  <a:gd name="connsiteX52" fmla="*/ 22860 w 312420"/>
                  <a:gd name="connsiteY52" fmla="*/ 17412 h 100279"/>
                  <a:gd name="connsiteX53" fmla="*/ 17145 w 312420"/>
                  <a:gd name="connsiteY53" fmla="*/ 19317 h 100279"/>
                  <a:gd name="connsiteX54" fmla="*/ 15240 w 312420"/>
                  <a:gd name="connsiteY54" fmla="*/ 21222 h 100279"/>
                  <a:gd name="connsiteX55" fmla="*/ 7620 w 312420"/>
                  <a:gd name="connsiteY55" fmla="*/ 23127 h 100279"/>
                  <a:gd name="connsiteX56" fmla="*/ 3810 w 312420"/>
                  <a:gd name="connsiteY56" fmla="*/ 26937 h 100279"/>
                  <a:gd name="connsiteX57" fmla="*/ 0 w 312420"/>
                  <a:gd name="connsiteY57" fmla="*/ 31699 h 100279"/>
                  <a:gd name="connsiteX58" fmla="*/ 3810 w 312420"/>
                  <a:gd name="connsiteY58" fmla="*/ 37414 h 100279"/>
                  <a:gd name="connsiteX59" fmla="*/ 6668 w 312420"/>
                  <a:gd name="connsiteY59" fmla="*/ 39319 h 100279"/>
                  <a:gd name="connsiteX60" fmla="*/ 14288 w 312420"/>
                  <a:gd name="connsiteY60" fmla="*/ 41224 h 100279"/>
                  <a:gd name="connsiteX61" fmla="*/ 24765 w 312420"/>
                  <a:gd name="connsiteY61" fmla="*/ 43129 h 100279"/>
                  <a:gd name="connsiteX62" fmla="*/ 26670 w 312420"/>
                  <a:gd name="connsiteY62" fmla="*/ 43129 h 100279"/>
                  <a:gd name="connsiteX63" fmla="*/ 29527 w 312420"/>
                  <a:gd name="connsiteY63" fmla="*/ 46939 h 100279"/>
                  <a:gd name="connsiteX64" fmla="*/ 30480 w 312420"/>
                  <a:gd name="connsiteY64" fmla="*/ 49797 h 100279"/>
                  <a:gd name="connsiteX65" fmla="*/ 33338 w 312420"/>
                  <a:gd name="connsiteY65" fmla="*/ 53607 h 100279"/>
                  <a:gd name="connsiteX66" fmla="*/ 35243 w 312420"/>
                  <a:gd name="connsiteY66" fmla="*/ 62179 h 100279"/>
                  <a:gd name="connsiteX67" fmla="*/ 35243 w 312420"/>
                  <a:gd name="connsiteY67" fmla="*/ 65037 h 100279"/>
                  <a:gd name="connsiteX68" fmla="*/ 38100 w 312420"/>
                  <a:gd name="connsiteY68" fmla="*/ 70752 h 100279"/>
                  <a:gd name="connsiteX69" fmla="*/ 41910 w 312420"/>
                  <a:gd name="connsiteY69" fmla="*/ 75514 h 100279"/>
                  <a:gd name="connsiteX70" fmla="*/ 50483 w 312420"/>
                  <a:gd name="connsiteY70" fmla="*/ 79324 h 100279"/>
                  <a:gd name="connsiteX71" fmla="*/ 59055 w 312420"/>
                  <a:gd name="connsiteY71" fmla="*/ 81229 h 100279"/>
                  <a:gd name="connsiteX72" fmla="*/ 66675 w 312420"/>
                  <a:gd name="connsiteY72" fmla="*/ 81229 h 100279"/>
                  <a:gd name="connsiteX73" fmla="*/ 74295 w 312420"/>
                  <a:gd name="connsiteY73" fmla="*/ 83134 h 100279"/>
                  <a:gd name="connsiteX74" fmla="*/ 77152 w 312420"/>
                  <a:gd name="connsiteY74" fmla="*/ 85992 h 100279"/>
                  <a:gd name="connsiteX75" fmla="*/ 82868 w 312420"/>
                  <a:gd name="connsiteY75" fmla="*/ 86944 h 100279"/>
                  <a:gd name="connsiteX76" fmla="*/ 88583 w 312420"/>
                  <a:gd name="connsiteY76" fmla="*/ 90754 h 100279"/>
                  <a:gd name="connsiteX77" fmla="*/ 93345 w 312420"/>
                  <a:gd name="connsiteY77" fmla="*/ 93612 h 100279"/>
                  <a:gd name="connsiteX78" fmla="*/ 104775 w 312420"/>
                  <a:gd name="connsiteY78" fmla="*/ 95517 h 100279"/>
                  <a:gd name="connsiteX79" fmla="*/ 116205 w 312420"/>
                  <a:gd name="connsiteY79" fmla="*/ 97422 h 100279"/>
                  <a:gd name="connsiteX80" fmla="*/ 127635 w 312420"/>
                  <a:gd name="connsiteY80" fmla="*/ 98374 h 100279"/>
                  <a:gd name="connsiteX81" fmla="*/ 135255 w 312420"/>
                  <a:gd name="connsiteY81" fmla="*/ 99327 h 100279"/>
                  <a:gd name="connsiteX82" fmla="*/ 138113 w 312420"/>
                  <a:gd name="connsiteY82" fmla="*/ 100279 h 100279"/>
                  <a:gd name="connsiteX83" fmla="*/ 147638 w 312420"/>
                  <a:gd name="connsiteY83" fmla="*/ 98374 h 100279"/>
                  <a:gd name="connsiteX84" fmla="*/ 156210 w 312420"/>
                  <a:gd name="connsiteY84" fmla="*/ 96469 h 100279"/>
                  <a:gd name="connsiteX85" fmla="*/ 163830 w 312420"/>
                  <a:gd name="connsiteY85" fmla="*/ 94564 h 100279"/>
                  <a:gd name="connsiteX86" fmla="*/ 173355 w 312420"/>
                  <a:gd name="connsiteY86" fmla="*/ 93612 h 100279"/>
                  <a:gd name="connsiteX87" fmla="*/ 180975 w 312420"/>
                  <a:gd name="connsiteY87" fmla="*/ 92659 h 100279"/>
                  <a:gd name="connsiteX88" fmla="*/ 194310 w 312420"/>
                  <a:gd name="connsiteY88" fmla="*/ 92659 h 100279"/>
                  <a:gd name="connsiteX89" fmla="*/ 200977 w 312420"/>
                  <a:gd name="connsiteY89" fmla="*/ 89802 h 100279"/>
                  <a:gd name="connsiteX90" fmla="*/ 206693 w 312420"/>
                  <a:gd name="connsiteY90" fmla="*/ 89802 h 100279"/>
                  <a:gd name="connsiteX91" fmla="*/ 220027 w 312420"/>
                  <a:gd name="connsiteY91" fmla="*/ 89802 h 100279"/>
                  <a:gd name="connsiteX92" fmla="*/ 222885 w 312420"/>
                  <a:gd name="connsiteY92" fmla="*/ 89802 h 100279"/>
                  <a:gd name="connsiteX93" fmla="*/ 229552 w 312420"/>
                  <a:gd name="connsiteY93" fmla="*/ 91707 h 100279"/>
                  <a:gd name="connsiteX94" fmla="*/ 234315 w 312420"/>
                  <a:gd name="connsiteY94" fmla="*/ 93612 h 100279"/>
                  <a:gd name="connsiteX95" fmla="*/ 240983 w 312420"/>
                  <a:gd name="connsiteY95" fmla="*/ 95517 h 100279"/>
                  <a:gd name="connsiteX96" fmla="*/ 256223 w 312420"/>
                  <a:gd name="connsiteY96" fmla="*/ 95517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12420" h="100279">
                    <a:moveTo>
                      <a:pt x="256223" y="95517"/>
                    </a:moveTo>
                    <a:lnTo>
                      <a:pt x="273368" y="97422"/>
                    </a:lnTo>
                    <a:cubicBezTo>
                      <a:pt x="280035" y="96469"/>
                      <a:pt x="280035" y="96469"/>
                      <a:pt x="280035" y="96469"/>
                    </a:cubicBezTo>
                    <a:lnTo>
                      <a:pt x="284798" y="90754"/>
                    </a:lnTo>
                    <a:lnTo>
                      <a:pt x="284798" y="87897"/>
                    </a:lnTo>
                    <a:lnTo>
                      <a:pt x="284798" y="84087"/>
                    </a:lnTo>
                    <a:lnTo>
                      <a:pt x="290513" y="81229"/>
                    </a:lnTo>
                    <a:cubicBezTo>
                      <a:pt x="297180" y="80277"/>
                      <a:pt x="300990" y="77419"/>
                      <a:pt x="300990" y="77419"/>
                    </a:cubicBezTo>
                    <a:cubicBezTo>
                      <a:pt x="307658" y="76467"/>
                      <a:pt x="307658" y="76467"/>
                      <a:pt x="307658" y="76467"/>
                    </a:cubicBezTo>
                    <a:lnTo>
                      <a:pt x="312420" y="72657"/>
                    </a:lnTo>
                    <a:lnTo>
                      <a:pt x="312420" y="68847"/>
                    </a:lnTo>
                    <a:lnTo>
                      <a:pt x="311468" y="65989"/>
                    </a:lnTo>
                    <a:cubicBezTo>
                      <a:pt x="311468" y="65989"/>
                      <a:pt x="300990" y="63132"/>
                      <a:pt x="297180" y="63132"/>
                    </a:cubicBezTo>
                    <a:cubicBezTo>
                      <a:pt x="294323" y="63132"/>
                      <a:pt x="284798" y="61227"/>
                      <a:pt x="284798" y="61227"/>
                    </a:cubicBezTo>
                    <a:lnTo>
                      <a:pt x="279083" y="59322"/>
                    </a:lnTo>
                    <a:lnTo>
                      <a:pt x="271463" y="56464"/>
                    </a:lnTo>
                    <a:lnTo>
                      <a:pt x="269558" y="53607"/>
                    </a:lnTo>
                    <a:lnTo>
                      <a:pt x="262890" y="49797"/>
                    </a:lnTo>
                    <a:lnTo>
                      <a:pt x="256223" y="44082"/>
                    </a:lnTo>
                    <a:lnTo>
                      <a:pt x="253365" y="39319"/>
                    </a:lnTo>
                    <a:lnTo>
                      <a:pt x="247650" y="31699"/>
                    </a:lnTo>
                    <a:lnTo>
                      <a:pt x="240030" y="29794"/>
                    </a:lnTo>
                    <a:lnTo>
                      <a:pt x="232410" y="28842"/>
                    </a:lnTo>
                    <a:lnTo>
                      <a:pt x="227648" y="24079"/>
                    </a:lnTo>
                    <a:cubicBezTo>
                      <a:pt x="227648" y="24079"/>
                      <a:pt x="221933" y="22174"/>
                      <a:pt x="222885" y="20269"/>
                    </a:cubicBezTo>
                    <a:cubicBezTo>
                      <a:pt x="223838" y="18364"/>
                      <a:pt x="220980" y="17412"/>
                      <a:pt x="220980" y="15507"/>
                    </a:cubicBezTo>
                    <a:cubicBezTo>
                      <a:pt x="220980" y="13602"/>
                      <a:pt x="220027" y="10744"/>
                      <a:pt x="220027" y="10744"/>
                    </a:cubicBezTo>
                    <a:lnTo>
                      <a:pt x="218123" y="7887"/>
                    </a:lnTo>
                    <a:lnTo>
                      <a:pt x="213360" y="4077"/>
                    </a:lnTo>
                    <a:lnTo>
                      <a:pt x="206693" y="3124"/>
                    </a:lnTo>
                    <a:lnTo>
                      <a:pt x="204788" y="9792"/>
                    </a:lnTo>
                    <a:lnTo>
                      <a:pt x="200025" y="13602"/>
                    </a:lnTo>
                    <a:lnTo>
                      <a:pt x="181927" y="15507"/>
                    </a:lnTo>
                    <a:lnTo>
                      <a:pt x="175260" y="16459"/>
                    </a:lnTo>
                    <a:cubicBezTo>
                      <a:pt x="175260" y="16459"/>
                      <a:pt x="168593" y="12649"/>
                      <a:pt x="164783" y="13602"/>
                    </a:cubicBezTo>
                    <a:cubicBezTo>
                      <a:pt x="160020" y="14554"/>
                      <a:pt x="150495" y="13602"/>
                      <a:pt x="150495" y="13602"/>
                    </a:cubicBezTo>
                    <a:lnTo>
                      <a:pt x="143827" y="13602"/>
                    </a:lnTo>
                    <a:lnTo>
                      <a:pt x="138113" y="14554"/>
                    </a:lnTo>
                    <a:lnTo>
                      <a:pt x="129540" y="11697"/>
                    </a:lnTo>
                    <a:lnTo>
                      <a:pt x="116205" y="10744"/>
                    </a:lnTo>
                    <a:lnTo>
                      <a:pt x="106680" y="9792"/>
                    </a:lnTo>
                    <a:lnTo>
                      <a:pt x="100013" y="9792"/>
                    </a:lnTo>
                    <a:lnTo>
                      <a:pt x="93345" y="8839"/>
                    </a:lnTo>
                    <a:lnTo>
                      <a:pt x="85725" y="5982"/>
                    </a:lnTo>
                    <a:lnTo>
                      <a:pt x="77152" y="1219"/>
                    </a:lnTo>
                    <a:cubicBezTo>
                      <a:pt x="77152" y="1219"/>
                      <a:pt x="70485" y="-686"/>
                      <a:pt x="67627" y="267"/>
                    </a:cubicBezTo>
                    <a:cubicBezTo>
                      <a:pt x="63818" y="1219"/>
                      <a:pt x="63818" y="1219"/>
                      <a:pt x="63818" y="1219"/>
                    </a:cubicBezTo>
                    <a:lnTo>
                      <a:pt x="58102" y="4077"/>
                    </a:lnTo>
                    <a:cubicBezTo>
                      <a:pt x="58102" y="4077"/>
                      <a:pt x="55245" y="5029"/>
                      <a:pt x="53340" y="6934"/>
                    </a:cubicBezTo>
                    <a:cubicBezTo>
                      <a:pt x="52388" y="8839"/>
                      <a:pt x="44768" y="9792"/>
                      <a:pt x="44768" y="9792"/>
                    </a:cubicBezTo>
                    <a:lnTo>
                      <a:pt x="36195" y="10744"/>
                    </a:lnTo>
                    <a:lnTo>
                      <a:pt x="28575" y="12649"/>
                    </a:lnTo>
                    <a:lnTo>
                      <a:pt x="22860" y="17412"/>
                    </a:lnTo>
                    <a:cubicBezTo>
                      <a:pt x="22860" y="17412"/>
                      <a:pt x="20002" y="17412"/>
                      <a:pt x="17145" y="19317"/>
                    </a:cubicBezTo>
                    <a:cubicBezTo>
                      <a:pt x="15240" y="21222"/>
                      <a:pt x="15240" y="21222"/>
                      <a:pt x="15240" y="21222"/>
                    </a:cubicBezTo>
                    <a:lnTo>
                      <a:pt x="7620" y="23127"/>
                    </a:lnTo>
                    <a:lnTo>
                      <a:pt x="3810" y="26937"/>
                    </a:lnTo>
                    <a:lnTo>
                      <a:pt x="0" y="31699"/>
                    </a:lnTo>
                    <a:cubicBezTo>
                      <a:pt x="0" y="31699"/>
                      <a:pt x="952" y="35509"/>
                      <a:pt x="3810" y="37414"/>
                    </a:cubicBezTo>
                    <a:cubicBezTo>
                      <a:pt x="6668" y="39319"/>
                      <a:pt x="3810" y="38367"/>
                      <a:pt x="6668" y="39319"/>
                    </a:cubicBezTo>
                    <a:cubicBezTo>
                      <a:pt x="9525" y="41224"/>
                      <a:pt x="3810" y="39319"/>
                      <a:pt x="14288" y="41224"/>
                    </a:cubicBezTo>
                    <a:cubicBezTo>
                      <a:pt x="24765" y="43129"/>
                      <a:pt x="22860" y="43129"/>
                      <a:pt x="24765" y="43129"/>
                    </a:cubicBezTo>
                    <a:cubicBezTo>
                      <a:pt x="26670" y="43129"/>
                      <a:pt x="26670" y="43129"/>
                      <a:pt x="26670" y="43129"/>
                    </a:cubicBezTo>
                    <a:cubicBezTo>
                      <a:pt x="26670" y="43129"/>
                      <a:pt x="28575" y="44082"/>
                      <a:pt x="29527" y="46939"/>
                    </a:cubicBezTo>
                    <a:cubicBezTo>
                      <a:pt x="30480" y="49797"/>
                      <a:pt x="26670" y="45034"/>
                      <a:pt x="30480" y="49797"/>
                    </a:cubicBezTo>
                    <a:lnTo>
                      <a:pt x="33338" y="53607"/>
                    </a:lnTo>
                    <a:lnTo>
                      <a:pt x="35243" y="62179"/>
                    </a:lnTo>
                    <a:cubicBezTo>
                      <a:pt x="35243" y="62179"/>
                      <a:pt x="33338" y="62179"/>
                      <a:pt x="35243" y="65037"/>
                    </a:cubicBezTo>
                    <a:cubicBezTo>
                      <a:pt x="37148" y="67894"/>
                      <a:pt x="38100" y="70752"/>
                      <a:pt x="38100" y="70752"/>
                    </a:cubicBezTo>
                    <a:cubicBezTo>
                      <a:pt x="38100" y="70752"/>
                      <a:pt x="38100" y="73609"/>
                      <a:pt x="41910" y="75514"/>
                    </a:cubicBezTo>
                    <a:cubicBezTo>
                      <a:pt x="46673" y="77419"/>
                      <a:pt x="46673" y="77419"/>
                      <a:pt x="50483" y="79324"/>
                    </a:cubicBezTo>
                    <a:cubicBezTo>
                      <a:pt x="55245" y="81229"/>
                      <a:pt x="59055" y="81229"/>
                      <a:pt x="59055" y="81229"/>
                    </a:cubicBezTo>
                    <a:lnTo>
                      <a:pt x="66675" y="81229"/>
                    </a:lnTo>
                    <a:cubicBezTo>
                      <a:pt x="66675" y="81229"/>
                      <a:pt x="71438" y="80277"/>
                      <a:pt x="74295" y="83134"/>
                    </a:cubicBezTo>
                    <a:cubicBezTo>
                      <a:pt x="77152" y="85992"/>
                      <a:pt x="77152" y="85992"/>
                      <a:pt x="77152" y="85992"/>
                    </a:cubicBezTo>
                    <a:lnTo>
                      <a:pt x="82868" y="86944"/>
                    </a:lnTo>
                    <a:cubicBezTo>
                      <a:pt x="82868" y="86944"/>
                      <a:pt x="83820" y="87897"/>
                      <a:pt x="88583" y="90754"/>
                    </a:cubicBezTo>
                    <a:cubicBezTo>
                      <a:pt x="93345" y="93612"/>
                      <a:pt x="86677" y="91707"/>
                      <a:pt x="93345" y="93612"/>
                    </a:cubicBezTo>
                    <a:cubicBezTo>
                      <a:pt x="100013" y="95517"/>
                      <a:pt x="104775" y="95517"/>
                      <a:pt x="104775" y="95517"/>
                    </a:cubicBezTo>
                    <a:cubicBezTo>
                      <a:pt x="104775" y="95517"/>
                      <a:pt x="112395" y="95517"/>
                      <a:pt x="116205" y="97422"/>
                    </a:cubicBezTo>
                    <a:cubicBezTo>
                      <a:pt x="119063" y="99327"/>
                      <a:pt x="127635" y="98374"/>
                      <a:pt x="127635" y="98374"/>
                    </a:cubicBezTo>
                    <a:cubicBezTo>
                      <a:pt x="127635" y="98374"/>
                      <a:pt x="132398" y="98374"/>
                      <a:pt x="135255" y="99327"/>
                    </a:cubicBezTo>
                    <a:cubicBezTo>
                      <a:pt x="138113" y="100279"/>
                      <a:pt x="138113" y="100279"/>
                      <a:pt x="138113" y="100279"/>
                    </a:cubicBezTo>
                    <a:cubicBezTo>
                      <a:pt x="138113" y="100279"/>
                      <a:pt x="143827" y="97422"/>
                      <a:pt x="147638" y="98374"/>
                    </a:cubicBezTo>
                    <a:cubicBezTo>
                      <a:pt x="152400" y="99327"/>
                      <a:pt x="156210" y="96469"/>
                      <a:pt x="156210" y="96469"/>
                    </a:cubicBezTo>
                    <a:cubicBezTo>
                      <a:pt x="156210" y="96469"/>
                      <a:pt x="160973" y="95517"/>
                      <a:pt x="163830" y="94564"/>
                    </a:cubicBezTo>
                    <a:cubicBezTo>
                      <a:pt x="166688" y="93612"/>
                      <a:pt x="170498" y="93612"/>
                      <a:pt x="173355" y="93612"/>
                    </a:cubicBezTo>
                    <a:cubicBezTo>
                      <a:pt x="176213" y="93612"/>
                      <a:pt x="178118" y="92659"/>
                      <a:pt x="180975" y="92659"/>
                    </a:cubicBezTo>
                    <a:cubicBezTo>
                      <a:pt x="183833" y="92659"/>
                      <a:pt x="194310" y="92659"/>
                      <a:pt x="194310" y="92659"/>
                    </a:cubicBezTo>
                    <a:lnTo>
                      <a:pt x="200977" y="89802"/>
                    </a:lnTo>
                    <a:cubicBezTo>
                      <a:pt x="200977" y="89802"/>
                      <a:pt x="201930" y="89802"/>
                      <a:pt x="206693" y="89802"/>
                    </a:cubicBezTo>
                    <a:cubicBezTo>
                      <a:pt x="211455" y="89802"/>
                      <a:pt x="216218" y="89802"/>
                      <a:pt x="220027" y="89802"/>
                    </a:cubicBezTo>
                    <a:cubicBezTo>
                      <a:pt x="222885" y="89802"/>
                      <a:pt x="222885" y="89802"/>
                      <a:pt x="222885" y="89802"/>
                    </a:cubicBezTo>
                    <a:cubicBezTo>
                      <a:pt x="222885" y="89802"/>
                      <a:pt x="224790" y="89802"/>
                      <a:pt x="229552" y="91707"/>
                    </a:cubicBezTo>
                    <a:cubicBezTo>
                      <a:pt x="234315" y="93612"/>
                      <a:pt x="227648" y="92659"/>
                      <a:pt x="234315" y="93612"/>
                    </a:cubicBezTo>
                    <a:cubicBezTo>
                      <a:pt x="240983" y="95517"/>
                      <a:pt x="236220" y="94564"/>
                      <a:pt x="240983" y="95517"/>
                    </a:cubicBezTo>
                    <a:cubicBezTo>
                      <a:pt x="248602" y="94564"/>
                      <a:pt x="256223" y="95517"/>
                      <a:pt x="256223" y="95517"/>
                    </a:cubicBezTo>
                    <a:close/>
                  </a:path>
                </a:pathLst>
              </a:custGeom>
              <a:grpFill/>
              <a:ln w="9525" cap="flat">
                <a:noFill/>
                <a:prstDash val="solid"/>
                <a:miter/>
              </a:ln>
            </p:spPr>
            <p:txBody>
              <a:bodyPr rtlCol="0" anchor="ctr"/>
              <a:lstStyle/>
              <a:p>
                <a:endParaRPr lang="en-US" sz="1765"/>
              </a:p>
            </p:txBody>
          </p:sp>
          <p:sp>
            <p:nvSpPr>
              <p:cNvPr id="260" name="Freeform: Shape 259">
                <a:extLst>
                  <a:ext uri="{FF2B5EF4-FFF2-40B4-BE49-F238E27FC236}">
                    <a16:creationId xmlns:a16="http://schemas.microsoft.com/office/drawing/2014/main" id="{EAD6907B-DAF9-4BA9-AFF6-A93BDC95A234}"/>
                  </a:ext>
                </a:extLst>
              </p:cNvPr>
              <p:cNvSpPr/>
              <p:nvPr/>
            </p:nvSpPr>
            <p:spPr>
              <a:xfrm>
                <a:off x="5337839" y="2790554"/>
                <a:ext cx="9525" cy="9525"/>
              </a:xfrm>
              <a:custGeom>
                <a:avLst/>
                <a:gdLst/>
                <a:ahLst/>
                <a:cxnLst/>
                <a:rect l="l" t="t" r="r" b="b"/>
                <a:pathLst>
                  <a:path w="9525" h="9525"/>
                </a:pathLst>
              </a:custGeom>
              <a:grpFill/>
              <a:ln w="9525" cap="flat">
                <a:noFill/>
                <a:prstDash val="solid"/>
                <a:miter/>
              </a:ln>
            </p:spPr>
            <p:txBody>
              <a:bodyPr rtlCol="0" anchor="ctr"/>
              <a:lstStyle/>
              <a:p>
                <a:endParaRPr lang="en-US" sz="1765"/>
              </a:p>
            </p:txBody>
          </p:sp>
          <p:sp>
            <p:nvSpPr>
              <p:cNvPr id="261" name="Freeform: Shape 260">
                <a:extLst>
                  <a:ext uri="{FF2B5EF4-FFF2-40B4-BE49-F238E27FC236}">
                    <a16:creationId xmlns:a16="http://schemas.microsoft.com/office/drawing/2014/main" id="{3F24F922-67B1-4629-AE4A-2A95AD64BE59}"/>
                  </a:ext>
                </a:extLst>
              </p:cNvPr>
              <p:cNvSpPr/>
              <p:nvPr/>
            </p:nvSpPr>
            <p:spPr>
              <a:xfrm>
                <a:off x="6089361" y="3003913"/>
                <a:ext cx="156604" cy="65008"/>
              </a:xfrm>
              <a:custGeom>
                <a:avLst/>
                <a:gdLst>
                  <a:gd name="connsiteX0" fmla="*/ 123825 w 156604"/>
                  <a:gd name="connsiteY0" fmla="*/ 23813 h 65008"/>
                  <a:gd name="connsiteX1" fmla="*/ 113348 w 156604"/>
                  <a:gd name="connsiteY1" fmla="*/ 30480 h 65008"/>
                  <a:gd name="connsiteX2" fmla="*/ 105727 w 156604"/>
                  <a:gd name="connsiteY2" fmla="*/ 31433 h 65008"/>
                  <a:gd name="connsiteX3" fmla="*/ 97155 w 156604"/>
                  <a:gd name="connsiteY3" fmla="*/ 36195 h 65008"/>
                  <a:gd name="connsiteX4" fmla="*/ 97155 w 156604"/>
                  <a:gd name="connsiteY4" fmla="*/ 38100 h 65008"/>
                  <a:gd name="connsiteX5" fmla="*/ 95250 w 156604"/>
                  <a:gd name="connsiteY5" fmla="*/ 41910 h 65008"/>
                  <a:gd name="connsiteX6" fmla="*/ 91440 w 156604"/>
                  <a:gd name="connsiteY6" fmla="*/ 44768 h 65008"/>
                  <a:gd name="connsiteX7" fmla="*/ 83820 w 156604"/>
                  <a:gd name="connsiteY7" fmla="*/ 48578 h 65008"/>
                  <a:gd name="connsiteX8" fmla="*/ 83820 w 156604"/>
                  <a:gd name="connsiteY8" fmla="*/ 52388 h 65008"/>
                  <a:gd name="connsiteX9" fmla="*/ 82867 w 156604"/>
                  <a:gd name="connsiteY9" fmla="*/ 56197 h 65008"/>
                  <a:gd name="connsiteX10" fmla="*/ 80963 w 156604"/>
                  <a:gd name="connsiteY10" fmla="*/ 60008 h 65008"/>
                  <a:gd name="connsiteX11" fmla="*/ 75248 w 156604"/>
                  <a:gd name="connsiteY11" fmla="*/ 63818 h 65008"/>
                  <a:gd name="connsiteX12" fmla="*/ 54292 w 156604"/>
                  <a:gd name="connsiteY12" fmla="*/ 64770 h 65008"/>
                  <a:gd name="connsiteX13" fmla="*/ 45720 w 156604"/>
                  <a:gd name="connsiteY13" fmla="*/ 64770 h 65008"/>
                  <a:gd name="connsiteX14" fmla="*/ 39052 w 156604"/>
                  <a:gd name="connsiteY14" fmla="*/ 63818 h 65008"/>
                  <a:gd name="connsiteX15" fmla="*/ 29527 w 156604"/>
                  <a:gd name="connsiteY15" fmla="*/ 61913 h 65008"/>
                  <a:gd name="connsiteX16" fmla="*/ 24765 w 156604"/>
                  <a:gd name="connsiteY16" fmla="*/ 58103 h 65008"/>
                  <a:gd name="connsiteX17" fmla="*/ 19050 w 156604"/>
                  <a:gd name="connsiteY17" fmla="*/ 54293 h 65008"/>
                  <a:gd name="connsiteX18" fmla="*/ 10477 w 156604"/>
                  <a:gd name="connsiteY18" fmla="*/ 52388 h 65008"/>
                  <a:gd name="connsiteX19" fmla="*/ 5715 w 156604"/>
                  <a:gd name="connsiteY19" fmla="*/ 50483 h 65008"/>
                  <a:gd name="connsiteX20" fmla="*/ 3810 w 156604"/>
                  <a:gd name="connsiteY20" fmla="*/ 47625 h 65008"/>
                  <a:gd name="connsiteX21" fmla="*/ 2857 w 156604"/>
                  <a:gd name="connsiteY21" fmla="*/ 40958 h 65008"/>
                  <a:gd name="connsiteX22" fmla="*/ 0 w 156604"/>
                  <a:gd name="connsiteY22" fmla="*/ 37147 h 65008"/>
                  <a:gd name="connsiteX23" fmla="*/ 952 w 156604"/>
                  <a:gd name="connsiteY23" fmla="*/ 33338 h 65008"/>
                  <a:gd name="connsiteX24" fmla="*/ 5715 w 156604"/>
                  <a:gd name="connsiteY24" fmla="*/ 29528 h 65008"/>
                  <a:gd name="connsiteX25" fmla="*/ 10477 w 156604"/>
                  <a:gd name="connsiteY25" fmla="*/ 25718 h 65008"/>
                  <a:gd name="connsiteX26" fmla="*/ 11430 w 156604"/>
                  <a:gd name="connsiteY26" fmla="*/ 20955 h 65008"/>
                  <a:gd name="connsiteX27" fmla="*/ 13335 w 156604"/>
                  <a:gd name="connsiteY27" fmla="*/ 17145 h 65008"/>
                  <a:gd name="connsiteX28" fmla="*/ 14288 w 156604"/>
                  <a:gd name="connsiteY28" fmla="*/ 13335 h 65008"/>
                  <a:gd name="connsiteX29" fmla="*/ 20002 w 156604"/>
                  <a:gd name="connsiteY29" fmla="*/ 8572 h 65008"/>
                  <a:gd name="connsiteX30" fmla="*/ 27623 w 156604"/>
                  <a:gd name="connsiteY30" fmla="*/ 953 h 65008"/>
                  <a:gd name="connsiteX31" fmla="*/ 30480 w 156604"/>
                  <a:gd name="connsiteY31" fmla="*/ 953 h 65008"/>
                  <a:gd name="connsiteX32" fmla="*/ 43815 w 156604"/>
                  <a:gd name="connsiteY32" fmla="*/ 0 h 65008"/>
                  <a:gd name="connsiteX33" fmla="*/ 56198 w 156604"/>
                  <a:gd name="connsiteY33" fmla="*/ 953 h 65008"/>
                  <a:gd name="connsiteX34" fmla="*/ 69532 w 156604"/>
                  <a:gd name="connsiteY34" fmla="*/ 2858 h 65008"/>
                  <a:gd name="connsiteX35" fmla="*/ 90488 w 156604"/>
                  <a:gd name="connsiteY35" fmla="*/ 2858 h 65008"/>
                  <a:gd name="connsiteX36" fmla="*/ 103823 w 156604"/>
                  <a:gd name="connsiteY36" fmla="*/ 2858 h 65008"/>
                  <a:gd name="connsiteX37" fmla="*/ 117157 w 156604"/>
                  <a:gd name="connsiteY37" fmla="*/ 2858 h 65008"/>
                  <a:gd name="connsiteX38" fmla="*/ 131445 w 156604"/>
                  <a:gd name="connsiteY38" fmla="*/ 3810 h 65008"/>
                  <a:gd name="connsiteX39" fmla="*/ 139065 w 156604"/>
                  <a:gd name="connsiteY39" fmla="*/ 8572 h 65008"/>
                  <a:gd name="connsiteX40" fmla="*/ 150495 w 156604"/>
                  <a:gd name="connsiteY40" fmla="*/ 10478 h 65008"/>
                  <a:gd name="connsiteX41" fmla="*/ 155257 w 156604"/>
                  <a:gd name="connsiteY41" fmla="*/ 11430 h 65008"/>
                  <a:gd name="connsiteX42" fmla="*/ 156210 w 156604"/>
                  <a:gd name="connsiteY42" fmla="*/ 15240 h 65008"/>
                  <a:gd name="connsiteX43" fmla="*/ 147638 w 156604"/>
                  <a:gd name="connsiteY43" fmla="*/ 19050 h 65008"/>
                  <a:gd name="connsiteX44" fmla="*/ 123825 w 156604"/>
                  <a:gd name="connsiteY44" fmla="*/ 23813 h 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6604" h="65008">
                    <a:moveTo>
                      <a:pt x="123825" y="23813"/>
                    </a:moveTo>
                    <a:cubicBezTo>
                      <a:pt x="120015" y="27622"/>
                      <a:pt x="113348" y="30480"/>
                      <a:pt x="113348" y="30480"/>
                    </a:cubicBezTo>
                    <a:lnTo>
                      <a:pt x="105727" y="31433"/>
                    </a:lnTo>
                    <a:cubicBezTo>
                      <a:pt x="105727" y="31433"/>
                      <a:pt x="97155" y="34290"/>
                      <a:pt x="97155" y="36195"/>
                    </a:cubicBezTo>
                    <a:cubicBezTo>
                      <a:pt x="97155" y="38100"/>
                      <a:pt x="97155" y="38100"/>
                      <a:pt x="97155" y="38100"/>
                    </a:cubicBezTo>
                    <a:lnTo>
                      <a:pt x="95250" y="41910"/>
                    </a:lnTo>
                    <a:lnTo>
                      <a:pt x="91440" y="44768"/>
                    </a:lnTo>
                    <a:lnTo>
                      <a:pt x="83820" y="48578"/>
                    </a:lnTo>
                    <a:lnTo>
                      <a:pt x="83820" y="52388"/>
                    </a:lnTo>
                    <a:lnTo>
                      <a:pt x="82867" y="56197"/>
                    </a:lnTo>
                    <a:cubicBezTo>
                      <a:pt x="82867" y="56197"/>
                      <a:pt x="85725" y="56197"/>
                      <a:pt x="80963" y="60008"/>
                    </a:cubicBezTo>
                    <a:cubicBezTo>
                      <a:pt x="75248" y="63818"/>
                      <a:pt x="88582" y="61913"/>
                      <a:pt x="75248" y="63818"/>
                    </a:cubicBezTo>
                    <a:cubicBezTo>
                      <a:pt x="61913" y="65723"/>
                      <a:pt x="54292" y="64770"/>
                      <a:pt x="54292" y="64770"/>
                    </a:cubicBezTo>
                    <a:lnTo>
                      <a:pt x="45720" y="64770"/>
                    </a:lnTo>
                    <a:lnTo>
                      <a:pt x="39052" y="63818"/>
                    </a:lnTo>
                    <a:lnTo>
                      <a:pt x="29527" y="61913"/>
                    </a:lnTo>
                    <a:lnTo>
                      <a:pt x="24765" y="58103"/>
                    </a:lnTo>
                    <a:lnTo>
                      <a:pt x="19050" y="54293"/>
                    </a:lnTo>
                    <a:lnTo>
                      <a:pt x="10477" y="52388"/>
                    </a:lnTo>
                    <a:lnTo>
                      <a:pt x="5715" y="50483"/>
                    </a:lnTo>
                    <a:lnTo>
                      <a:pt x="3810" y="47625"/>
                    </a:lnTo>
                    <a:lnTo>
                      <a:pt x="2857" y="40958"/>
                    </a:lnTo>
                    <a:lnTo>
                      <a:pt x="0" y="37147"/>
                    </a:lnTo>
                    <a:lnTo>
                      <a:pt x="952" y="33338"/>
                    </a:lnTo>
                    <a:lnTo>
                      <a:pt x="5715" y="29528"/>
                    </a:lnTo>
                    <a:lnTo>
                      <a:pt x="10477" y="25718"/>
                    </a:lnTo>
                    <a:lnTo>
                      <a:pt x="11430" y="20955"/>
                    </a:lnTo>
                    <a:lnTo>
                      <a:pt x="13335" y="17145"/>
                    </a:lnTo>
                    <a:lnTo>
                      <a:pt x="14288" y="13335"/>
                    </a:lnTo>
                    <a:cubicBezTo>
                      <a:pt x="14288" y="13335"/>
                      <a:pt x="14288" y="11430"/>
                      <a:pt x="20002" y="8572"/>
                    </a:cubicBezTo>
                    <a:cubicBezTo>
                      <a:pt x="25717" y="5715"/>
                      <a:pt x="24765" y="953"/>
                      <a:pt x="27623" y="953"/>
                    </a:cubicBezTo>
                    <a:cubicBezTo>
                      <a:pt x="30480" y="953"/>
                      <a:pt x="26670" y="1905"/>
                      <a:pt x="30480" y="953"/>
                    </a:cubicBezTo>
                    <a:cubicBezTo>
                      <a:pt x="35242" y="0"/>
                      <a:pt x="38100" y="0"/>
                      <a:pt x="43815" y="0"/>
                    </a:cubicBezTo>
                    <a:cubicBezTo>
                      <a:pt x="49530" y="953"/>
                      <a:pt x="51435" y="-953"/>
                      <a:pt x="56198" y="953"/>
                    </a:cubicBezTo>
                    <a:cubicBezTo>
                      <a:pt x="60960" y="2858"/>
                      <a:pt x="62865" y="2858"/>
                      <a:pt x="69532" y="2858"/>
                    </a:cubicBezTo>
                    <a:cubicBezTo>
                      <a:pt x="76200" y="3810"/>
                      <a:pt x="90488" y="2858"/>
                      <a:pt x="90488" y="2858"/>
                    </a:cubicBezTo>
                    <a:cubicBezTo>
                      <a:pt x="90488" y="2858"/>
                      <a:pt x="100013" y="2858"/>
                      <a:pt x="103823" y="2858"/>
                    </a:cubicBezTo>
                    <a:cubicBezTo>
                      <a:pt x="107632" y="2858"/>
                      <a:pt x="111442" y="2858"/>
                      <a:pt x="117157" y="2858"/>
                    </a:cubicBezTo>
                    <a:cubicBezTo>
                      <a:pt x="122873" y="2858"/>
                      <a:pt x="131445" y="3810"/>
                      <a:pt x="131445" y="3810"/>
                    </a:cubicBezTo>
                    <a:cubicBezTo>
                      <a:pt x="134302" y="7620"/>
                      <a:pt x="139065" y="8572"/>
                      <a:pt x="139065" y="8572"/>
                    </a:cubicBezTo>
                    <a:cubicBezTo>
                      <a:pt x="139065" y="8572"/>
                      <a:pt x="145732" y="9525"/>
                      <a:pt x="150495" y="10478"/>
                    </a:cubicBezTo>
                    <a:cubicBezTo>
                      <a:pt x="155257" y="11430"/>
                      <a:pt x="154305" y="6668"/>
                      <a:pt x="155257" y="11430"/>
                    </a:cubicBezTo>
                    <a:cubicBezTo>
                      <a:pt x="156210" y="15240"/>
                      <a:pt x="157163" y="10478"/>
                      <a:pt x="156210" y="15240"/>
                    </a:cubicBezTo>
                    <a:cubicBezTo>
                      <a:pt x="155257" y="20003"/>
                      <a:pt x="150495" y="17145"/>
                      <a:pt x="147638" y="19050"/>
                    </a:cubicBezTo>
                    <a:cubicBezTo>
                      <a:pt x="142875" y="20955"/>
                      <a:pt x="123825" y="23813"/>
                      <a:pt x="123825" y="23813"/>
                    </a:cubicBezTo>
                    <a:close/>
                  </a:path>
                </a:pathLst>
              </a:custGeom>
              <a:grpFill/>
              <a:ln w="9525" cap="flat">
                <a:noFill/>
                <a:prstDash val="solid"/>
                <a:miter/>
              </a:ln>
            </p:spPr>
            <p:txBody>
              <a:bodyPr rtlCol="0" anchor="ctr"/>
              <a:lstStyle/>
              <a:p>
                <a:endParaRPr lang="en-US" sz="1765"/>
              </a:p>
            </p:txBody>
          </p:sp>
          <p:sp>
            <p:nvSpPr>
              <p:cNvPr id="262" name="Freeform: Shape 261">
                <a:extLst>
                  <a:ext uri="{FF2B5EF4-FFF2-40B4-BE49-F238E27FC236}">
                    <a16:creationId xmlns:a16="http://schemas.microsoft.com/office/drawing/2014/main" id="{4B9B4F01-7753-41D7-A51F-268F266FC2CC}"/>
                  </a:ext>
                </a:extLst>
              </p:cNvPr>
              <p:cNvSpPr/>
              <p:nvPr/>
            </p:nvSpPr>
            <p:spPr>
              <a:xfrm>
                <a:off x="6127461" y="2930148"/>
                <a:ext cx="114723" cy="40428"/>
              </a:xfrm>
              <a:custGeom>
                <a:avLst/>
                <a:gdLst>
                  <a:gd name="connsiteX0" fmla="*/ 40957 w 114723"/>
                  <a:gd name="connsiteY0" fmla="*/ 39476 h 40428"/>
                  <a:gd name="connsiteX1" fmla="*/ 31432 w 114723"/>
                  <a:gd name="connsiteY1" fmla="*/ 39476 h 40428"/>
                  <a:gd name="connsiteX2" fmla="*/ 16192 w 114723"/>
                  <a:gd name="connsiteY2" fmla="*/ 40428 h 40428"/>
                  <a:gd name="connsiteX3" fmla="*/ 6667 w 114723"/>
                  <a:gd name="connsiteY3" fmla="*/ 39476 h 40428"/>
                  <a:gd name="connsiteX4" fmla="*/ 952 w 114723"/>
                  <a:gd name="connsiteY4" fmla="*/ 35666 h 40428"/>
                  <a:gd name="connsiteX5" fmla="*/ 0 w 114723"/>
                  <a:gd name="connsiteY5" fmla="*/ 30903 h 40428"/>
                  <a:gd name="connsiteX6" fmla="*/ 6667 w 114723"/>
                  <a:gd name="connsiteY6" fmla="*/ 27093 h 40428"/>
                  <a:gd name="connsiteX7" fmla="*/ 15240 w 114723"/>
                  <a:gd name="connsiteY7" fmla="*/ 24236 h 40428"/>
                  <a:gd name="connsiteX8" fmla="*/ 21907 w 114723"/>
                  <a:gd name="connsiteY8" fmla="*/ 23283 h 40428"/>
                  <a:gd name="connsiteX9" fmla="*/ 33338 w 114723"/>
                  <a:gd name="connsiteY9" fmla="*/ 19473 h 40428"/>
                  <a:gd name="connsiteX10" fmla="*/ 41910 w 114723"/>
                  <a:gd name="connsiteY10" fmla="*/ 15663 h 40428"/>
                  <a:gd name="connsiteX11" fmla="*/ 46673 w 114723"/>
                  <a:gd name="connsiteY11" fmla="*/ 14711 h 40428"/>
                  <a:gd name="connsiteX12" fmla="*/ 56198 w 114723"/>
                  <a:gd name="connsiteY12" fmla="*/ 11853 h 40428"/>
                  <a:gd name="connsiteX13" fmla="*/ 59055 w 114723"/>
                  <a:gd name="connsiteY13" fmla="*/ 12806 h 40428"/>
                  <a:gd name="connsiteX14" fmla="*/ 70485 w 114723"/>
                  <a:gd name="connsiteY14" fmla="*/ 6138 h 40428"/>
                  <a:gd name="connsiteX15" fmla="*/ 78105 w 114723"/>
                  <a:gd name="connsiteY15" fmla="*/ 2328 h 40428"/>
                  <a:gd name="connsiteX16" fmla="*/ 90488 w 114723"/>
                  <a:gd name="connsiteY16" fmla="*/ 423 h 40428"/>
                  <a:gd name="connsiteX17" fmla="*/ 99060 w 114723"/>
                  <a:gd name="connsiteY17" fmla="*/ 423 h 40428"/>
                  <a:gd name="connsiteX18" fmla="*/ 107632 w 114723"/>
                  <a:gd name="connsiteY18" fmla="*/ 1376 h 40428"/>
                  <a:gd name="connsiteX19" fmla="*/ 114300 w 114723"/>
                  <a:gd name="connsiteY19" fmla="*/ 4233 h 40428"/>
                  <a:gd name="connsiteX20" fmla="*/ 114300 w 114723"/>
                  <a:gd name="connsiteY20" fmla="*/ 11853 h 40428"/>
                  <a:gd name="connsiteX21" fmla="*/ 110490 w 114723"/>
                  <a:gd name="connsiteY21" fmla="*/ 18521 h 40428"/>
                  <a:gd name="connsiteX22" fmla="*/ 103823 w 114723"/>
                  <a:gd name="connsiteY22" fmla="*/ 24236 h 40428"/>
                  <a:gd name="connsiteX23" fmla="*/ 92392 w 114723"/>
                  <a:gd name="connsiteY23" fmla="*/ 27093 h 40428"/>
                  <a:gd name="connsiteX24" fmla="*/ 87630 w 114723"/>
                  <a:gd name="connsiteY24" fmla="*/ 28046 h 40428"/>
                  <a:gd name="connsiteX25" fmla="*/ 82867 w 114723"/>
                  <a:gd name="connsiteY25" fmla="*/ 28046 h 40428"/>
                  <a:gd name="connsiteX26" fmla="*/ 77152 w 114723"/>
                  <a:gd name="connsiteY26" fmla="*/ 28046 h 40428"/>
                  <a:gd name="connsiteX27" fmla="*/ 71438 w 114723"/>
                  <a:gd name="connsiteY27" fmla="*/ 28998 h 40428"/>
                  <a:gd name="connsiteX28" fmla="*/ 65723 w 114723"/>
                  <a:gd name="connsiteY28" fmla="*/ 29951 h 40428"/>
                  <a:gd name="connsiteX29" fmla="*/ 60960 w 114723"/>
                  <a:gd name="connsiteY29" fmla="*/ 33761 h 40428"/>
                  <a:gd name="connsiteX30" fmla="*/ 56198 w 114723"/>
                  <a:gd name="connsiteY30" fmla="*/ 36618 h 40428"/>
                  <a:gd name="connsiteX31" fmla="*/ 40957 w 114723"/>
                  <a:gd name="connsiteY31" fmla="*/ 39476 h 4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723" h="40428">
                    <a:moveTo>
                      <a:pt x="40957" y="39476"/>
                    </a:moveTo>
                    <a:cubicBezTo>
                      <a:pt x="40957" y="39476"/>
                      <a:pt x="34290" y="39476"/>
                      <a:pt x="31432" y="39476"/>
                    </a:cubicBezTo>
                    <a:cubicBezTo>
                      <a:pt x="28575" y="39476"/>
                      <a:pt x="16192" y="40428"/>
                      <a:pt x="16192" y="40428"/>
                    </a:cubicBezTo>
                    <a:lnTo>
                      <a:pt x="6667" y="39476"/>
                    </a:lnTo>
                    <a:lnTo>
                      <a:pt x="952" y="35666"/>
                    </a:lnTo>
                    <a:lnTo>
                      <a:pt x="0" y="30903"/>
                    </a:lnTo>
                    <a:cubicBezTo>
                      <a:pt x="0" y="30903"/>
                      <a:pt x="1905" y="29951"/>
                      <a:pt x="6667" y="27093"/>
                    </a:cubicBezTo>
                    <a:cubicBezTo>
                      <a:pt x="11430" y="25188"/>
                      <a:pt x="15240" y="24236"/>
                      <a:pt x="15240" y="24236"/>
                    </a:cubicBezTo>
                    <a:cubicBezTo>
                      <a:pt x="21907" y="23283"/>
                      <a:pt x="16192" y="24236"/>
                      <a:pt x="21907" y="23283"/>
                    </a:cubicBezTo>
                    <a:cubicBezTo>
                      <a:pt x="27623" y="22331"/>
                      <a:pt x="28575" y="20426"/>
                      <a:pt x="33338" y="19473"/>
                    </a:cubicBezTo>
                    <a:cubicBezTo>
                      <a:pt x="38100" y="18521"/>
                      <a:pt x="38100" y="15663"/>
                      <a:pt x="41910" y="15663"/>
                    </a:cubicBezTo>
                    <a:cubicBezTo>
                      <a:pt x="46673" y="14711"/>
                      <a:pt x="40957" y="16616"/>
                      <a:pt x="46673" y="14711"/>
                    </a:cubicBezTo>
                    <a:cubicBezTo>
                      <a:pt x="52388" y="13758"/>
                      <a:pt x="53340" y="10901"/>
                      <a:pt x="56198" y="11853"/>
                    </a:cubicBezTo>
                    <a:cubicBezTo>
                      <a:pt x="59055" y="12806"/>
                      <a:pt x="59055" y="12806"/>
                      <a:pt x="59055" y="12806"/>
                    </a:cubicBezTo>
                    <a:lnTo>
                      <a:pt x="70485" y="6138"/>
                    </a:lnTo>
                    <a:cubicBezTo>
                      <a:pt x="70485" y="6138"/>
                      <a:pt x="72390" y="2328"/>
                      <a:pt x="78105" y="2328"/>
                    </a:cubicBezTo>
                    <a:cubicBezTo>
                      <a:pt x="83820" y="2328"/>
                      <a:pt x="90488" y="423"/>
                      <a:pt x="90488" y="423"/>
                    </a:cubicBezTo>
                    <a:cubicBezTo>
                      <a:pt x="90488" y="423"/>
                      <a:pt x="95250" y="-529"/>
                      <a:pt x="99060" y="423"/>
                    </a:cubicBezTo>
                    <a:cubicBezTo>
                      <a:pt x="103823" y="1376"/>
                      <a:pt x="107632" y="1376"/>
                      <a:pt x="107632" y="1376"/>
                    </a:cubicBezTo>
                    <a:lnTo>
                      <a:pt x="114300" y="4233"/>
                    </a:lnTo>
                    <a:cubicBezTo>
                      <a:pt x="115252" y="8996"/>
                      <a:pt x="114300" y="8043"/>
                      <a:pt x="114300" y="11853"/>
                    </a:cubicBezTo>
                    <a:cubicBezTo>
                      <a:pt x="114300" y="15663"/>
                      <a:pt x="112395" y="15663"/>
                      <a:pt x="110490" y="18521"/>
                    </a:cubicBezTo>
                    <a:cubicBezTo>
                      <a:pt x="109538" y="21378"/>
                      <a:pt x="103823" y="24236"/>
                      <a:pt x="103823" y="24236"/>
                    </a:cubicBezTo>
                    <a:lnTo>
                      <a:pt x="92392" y="27093"/>
                    </a:lnTo>
                    <a:lnTo>
                      <a:pt x="87630" y="28046"/>
                    </a:lnTo>
                    <a:lnTo>
                      <a:pt x="82867" y="28046"/>
                    </a:lnTo>
                    <a:lnTo>
                      <a:pt x="77152" y="28046"/>
                    </a:lnTo>
                    <a:lnTo>
                      <a:pt x="71438" y="28998"/>
                    </a:lnTo>
                    <a:lnTo>
                      <a:pt x="65723" y="29951"/>
                    </a:lnTo>
                    <a:cubicBezTo>
                      <a:pt x="60960" y="33761"/>
                      <a:pt x="60960" y="33761"/>
                      <a:pt x="60960" y="33761"/>
                    </a:cubicBezTo>
                    <a:lnTo>
                      <a:pt x="56198" y="36618"/>
                    </a:lnTo>
                    <a:lnTo>
                      <a:pt x="40957" y="39476"/>
                    </a:lnTo>
                    <a:close/>
                  </a:path>
                </a:pathLst>
              </a:custGeom>
              <a:grpFill/>
              <a:ln w="9525" cap="flat">
                <a:noFill/>
                <a:prstDash val="solid"/>
                <a:miter/>
              </a:ln>
            </p:spPr>
            <p:txBody>
              <a:bodyPr rtlCol="0" anchor="ctr"/>
              <a:lstStyle/>
              <a:p>
                <a:endParaRPr lang="en-US" sz="1765"/>
              </a:p>
            </p:txBody>
          </p:sp>
          <p:sp>
            <p:nvSpPr>
              <p:cNvPr id="263" name="Freeform: Shape 262">
                <a:extLst>
                  <a:ext uri="{FF2B5EF4-FFF2-40B4-BE49-F238E27FC236}">
                    <a16:creationId xmlns:a16="http://schemas.microsoft.com/office/drawing/2014/main" id="{C46B9CA8-38A9-4216-9981-F0F78DE26649}"/>
                  </a:ext>
                </a:extLst>
              </p:cNvPr>
              <p:cNvSpPr/>
              <p:nvPr/>
            </p:nvSpPr>
            <p:spPr>
              <a:xfrm>
                <a:off x="6227474" y="2955336"/>
                <a:ext cx="208597" cy="46114"/>
              </a:xfrm>
              <a:custGeom>
                <a:avLst/>
                <a:gdLst>
                  <a:gd name="connsiteX0" fmla="*/ 62865 w 208597"/>
                  <a:gd name="connsiteY0" fmla="*/ 4763 h 46114"/>
                  <a:gd name="connsiteX1" fmla="*/ 47625 w 208597"/>
                  <a:gd name="connsiteY1" fmla="*/ 4763 h 46114"/>
                  <a:gd name="connsiteX2" fmla="*/ 35242 w 208597"/>
                  <a:gd name="connsiteY2" fmla="*/ 4763 h 46114"/>
                  <a:gd name="connsiteX3" fmla="*/ 25717 w 208597"/>
                  <a:gd name="connsiteY3" fmla="*/ 5715 h 46114"/>
                  <a:gd name="connsiteX4" fmla="*/ 18098 w 208597"/>
                  <a:gd name="connsiteY4" fmla="*/ 10478 h 46114"/>
                  <a:gd name="connsiteX5" fmla="*/ 14288 w 208597"/>
                  <a:gd name="connsiteY5" fmla="*/ 17145 h 46114"/>
                  <a:gd name="connsiteX6" fmla="*/ 13335 w 208597"/>
                  <a:gd name="connsiteY6" fmla="*/ 19050 h 46114"/>
                  <a:gd name="connsiteX7" fmla="*/ 1905 w 208597"/>
                  <a:gd name="connsiteY7" fmla="*/ 24765 h 46114"/>
                  <a:gd name="connsiteX8" fmla="*/ 0 w 208597"/>
                  <a:gd name="connsiteY8" fmla="*/ 31433 h 46114"/>
                  <a:gd name="connsiteX9" fmla="*/ 9525 w 208597"/>
                  <a:gd name="connsiteY9" fmla="*/ 34290 h 46114"/>
                  <a:gd name="connsiteX10" fmla="*/ 21907 w 208597"/>
                  <a:gd name="connsiteY10" fmla="*/ 34290 h 46114"/>
                  <a:gd name="connsiteX11" fmla="*/ 35242 w 208597"/>
                  <a:gd name="connsiteY11" fmla="*/ 34290 h 46114"/>
                  <a:gd name="connsiteX12" fmla="*/ 40957 w 208597"/>
                  <a:gd name="connsiteY12" fmla="*/ 35243 h 46114"/>
                  <a:gd name="connsiteX13" fmla="*/ 56198 w 208597"/>
                  <a:gd name="connsiteY13" fmla="*/ 35243 h 46114"/>
                  <a:gd name="connsiteX14" fmla="*/ 60960 w 208597"/>
                  <a:gd name="connsiteY14" fmla="*/ 37148 h 46114"/>
                  <a:gd name="connsiteX15" fmla="*/ 62865 w 208597"/>
                  <a:gd name="connsiteY15" fmla="*/ 40958 h 46114"/>
                  <a:gd name="connsiteX16" fmla="*/ 70485 w 208597"/>
                  <a:gd name="connsiteY16" fmla="*/ 44768 h 46114"/>
                  <a:gd name="connsiteX17" fmla="*/ 81915 w 208597"/>
                  <a:gd name="connsiteY17" fmla="*/ 45720 h 46114"/>
                  <a:gd name="connsiteX18" fmla="*/ 95250 w 208597"/>
                  <a:gd name="connsiteY18" fmla="*/ 41910 h 46114"/>
                  <a:gd name="connsiteX19" fmla="*/ 107632 w 208597"/>
                  <a:gd name="connsiteY19" fmla="*/ 39053 h 46114"/>
                  <a:gd name="connsiteX20" fmla="*/ 116205 w 208597"/>
                  <a:gd name="connsiteY20" fmla="*/ 39053 h 46114"/>
                  <a:gd name="connsiteX21" fmla="*/ 134302 w 208597"/>
                  <a:gd name="connsiteY21" fmla="*/ 36195 h 46114"/>
                  <a:gd name="connsiteX22" fmla="*/ 148590 w 208597"/>
                  <a:gd name="connsiteY22" fmla="*/ 34290 h 46114"/>
                  <a:gd name="connsiteX23" fmla="*/ 166688 w 208597"/>
                  <a:gd name="connsiteY23" fmla="*/ 34290 h 46114"/>
                  <a:gd name="connsiteX24" fmla="*/ 179070 w 208597"/>
                  <a:gd name="connsiteY24" fmla="*/ 35243 h 46114"/>
                  <a:gd name="connsiteX25" fmla="*/ 190500 w 208597"/>
                  <a:gd name="connsiteY25" fmla="*/ 35243 h 46114"/>
                  <a:gd name="connsiteX26" fmla="*/ 197167 w 208597"/>
                  <a:gd name="connsiteY26" fmla="*/ 33338 h 46114"/>
                  <a:gd name="connsiteX27" fmla="*/ 204788 w 208597"/>
                  <a:gd name="connsiteY27" fmla="*/ 29528 h 46114"/>
                  <a:gd name="connsiteX28" fmla="*/ 208598 w 208597"/>
                  <a:gd name="connsiteY28" fmla="*/ 20955 h 46114"/>
                  <a:gd name="connsiteX29" fmla="*/ 204788 w 208597"/>
                  <a:gd name="connsiteY29" fmla="*/ 14288 h 46114"/>
                  <a:gd name="connsiteX30" fmla="*/ 192405 w 208597"/>
                  <a:gd name="connsiteY30" fmla="*/ 12383 h 46114"/>
                  <a:gd name="connsiteX31" fmla="*/ 180023 w 208597"/>
                  <a:gd name="connsiteY31" fmla="*/ 12383 h 46114"/>
                  <a:gd name="connsiteX32" fmla="*/ 170498 w 208597"/>
                  <a:gd name="connsiteY32" fmla="*/ 11430 h 46114"/>
                  <a:gd name="connsiteX33" fmla="*/ 166688 w 208597"/>
                  <a:gd name="connsiteY33" fmla="*/ 11430 h 46114"/>
                  <a:gd name="connsiteX34" fmla="*/ 158115 w 208597"/>
                  <a:gd name="connsiteY34" fmla="*/ 3810 h 46114"/>
                  <a:gd name="connsiteX35" fmla="*/ 153352 w 208597"/>
                  <a:gd name="connsiteY35" fmla="*/ 1905 h 46114"/>
                  <a:gd name="connsiteX36" fmla="*/ 139065 w 208597"/>
                  <a:gd name="connsiteY36" fmla="*/ 0 h 46114"/>
                  <a:gd name="connsiteX37" fmla="*/ 131445 w 208597"/>
                  <a:gd name="connsiteY37" fmla="*/ 0 h 46114"/>
                  <a:gd name="connsiteX38" fmla="*/ 126682 w 208597"/>
                  <a:gd name="connsiteY38" fmla="*/ 953 h 46114"/>
                  <a:gd name="connsiteX39" fmla="*/ 124777 w 208597"/>
                  <a:gd name="connsiteY39" fmla="*/ 6668 h 46114"/>
                  <a:gd name="connsiteX40" fmla="*/ 120967 w 208597"/>
                  <a:gd name="connsiteY40" fmla="*/ 11430 h 46114"/>
                  <a:gd name="connsiteX41" fmla="*/ 120015 w 208597"/>
                  <a:gd name="connsiteY41" fmla="*/ 13335 h 46114"/>
                  <a:gd name="connsiteX42" fmla="*/ 112395 w 208597"/>
                  <a:gd name="connsiteY42" fmla="*/ 17145 h 46114"/>
                  <a:gd name="connsiteX43" fmla="*/ 105727 w 208597"/>
                  <a:gd name="connsiteY43" fmla="*/ 18098 h 46114"/>
                  <a:gd name="connsiteX44" fmla="*/ 97155 w 208597"/>
                  <a:gd name="connsiteY44" fmla="*/ 18098 h 46114"/>
                  <a:gd name="connsiteX45" fmla="*/ 90488 w 208597"/>
                  <a:gd name="connsiteY45" fmla="*/ 17145 h 46114"/>
                  <a:gd name="connsiteX46" fmla="*/ 87630 w 208597"/>
                  <a:gd name="connsiteY46" fmla="*/ 14288 h 46114"/>
                  <a:gd name="connsiteX47" fmla="*/ 79057 w 208597"/>
                  <a:gd name="connsiteY47" fmla="*/ 10478 h 46114"/>
                  <a:gd name="connsiteX48" fmla="*/ 62865 w 208597"/>
                  <a:gd name="connsiteY48" fmla="*/ 4763 h 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8597" h="46114">
                    <a:moveTo>
                      <a:pt x="62865" y="4763"/>
                    </a:moveTo>
                    <a:lnTo>
                      <a:pt x="47625" y="4763"/>
                    </a:lnTo>
                    <a:lnTo>
                      <a:pt x="35242" y="4763"/>
                    </a:lnTo>
                    <a:cubicBezTo>
                      <a:pt x="35242" y="4763"/>
                      <a:pt x="28575" y="2858"/>
                      <a:pt x="25717" y="5715"/>
                    </a:cubicBezTo>
                    <a:cubicBezTo>
                      <a:pt x="21907" y="8573"/>
                      <a:pt x="19050" y="7620"/>
                      <a:pt x="18098" y="10478"/>
                    </a:cubicBezTo>
                    <a:cubicBezTo>
                      <a:pt x="17145" y="13335"/>
                      <a:pt x="16192" y="14288"/>
                      <a:pt x="14288" y="17145"/>
                    </a:cubicBezTo>
                    <a:cubicBezTo>
                      <a:pt x="13335" y="19050"/>
                      <a:pt x="13335" y="19050"/>
                      <a:pt x="13335" y="19050"/>
                    </a:cubicBezTo>
                    <a:lnTo>
                      <a:pt x="1905" y="24765"/>
                    </a:lnTo>
                    <a:cubicBezTo>
                      <a:pt x="0" y="28575"/>
                      <a:pt x="0" y="31433"/>
                      <a:pt x="0" y="31433"/>
                    </a:cubicBezTo>
                    <a:cubicBezTo>
                      <a:pt x="5715" y="34290"/>
                      <a:pt x="5715" y="33338"/>
                      <a:pt x="9525" y="34290"/>
                    </a:cubicBezTo>
                    <a:cubicBezTo>
                      <a:pt x="14288" y="35243"/>
                      <a:pt x="15240" y="33338"/>
                      <a:pt x="21907" y="34290"/>
                    </a:cubicBezTo>
                    <a:cubicBezTo>
                      <a:pt x="28575" y="35243"/>
                      <a:pt x="29527" y="33338"/>
                      <a:pt x="35242" y="34290"/>
                    </a:cubicBezTo>
                    <a:cubicBezTo>
                      <a:pt x="40957" y="35243"/>
                      <a:pt x="30480" y="34290"/>
                      <a:pt x="40957" y="35243"/>
                    </a:cubicBezTo>
                    <a:cubicBezTo>
                      <a:pt x="50482" y="36195"/>
                      <a:pt x="52388" y="34290"/>
                      <a:pt x="56198" y="35243"/>
                    </a:cubicBezTo>
                    <a:cubicBezTo>
                      <a:pt x="60960" y="37148"/>
                      <a:pt x="60960" y="37148"/>
                      <a:pt x="60960" y="37148"/>
                    </a:cubicBezTo>
                    <a:cubicBezTo>
                      <a:pt x="60960" y="37148"/>
                      <a:pt x="60007" y="39053"/>
                      <a:pt x="62865" y="40958"/>
                    </a:cubicBezTo>
                    <a:cubicBezTo>
                      <a:pt x="65723" y="42863"/>
                      <a:pt x="65723" y="43815"/>
                      <a:pt x="70485" y="44768"/>
                    </a:cubicBezTo>
                    <a:cubicBezTo>
                      <a:pt x="75248" y="45720"/>
                      <a:pt x="78105" y="46673"/>
                      <a:pt x="81915" y="45720"/>
                    </a:cubicBezTo>
                    <a:cubicBezTo>
                      <a:pt x="84773" y="44768"/>
                      <a:pt x="92392" y="41910"/>
                      <a:pt x="95250" y="41910"/>
                    </a:cubicBezTo>
                    <a:cubicBezTo>
                      <a:pt x="98107" y="41910"/>
                      <a:pt x="107632" y="39053"/>
                      <a:pt x="107632" y="39053"/>
                    </a:cubicBezTo>
                    <a:cubicBezTo>
                      <a:pt x="107632" y="39053"/>
                      <a:pt x="113348" y="38100"/>
                      <a:pt x="116205" y="39053"/>
                    </a:cubicBezTo>
                    <a:cubicBezTo>
                      <a:pt x="119063" y="40005"/>
                      <a:pt x="130492" y="37148"/>
                      <a:pt x="134302" y="36195"/>
                    </a:cubicBezTo>
                    <a:cubicBezTo>
                      <a:pt x="137160" y="35243"/>
                      <a:pt x="142875" y="33338"/>
                      <a:pt x="148590" y="34290"/>
                    </a:cubicBezTo>
                    <a:cubicBezTo>
                      <a:pt x="154305" y="35243"/>
                      <a:pt x="166688" y="34290"/>
                      <a:pt x="166688" y="34290"/>
                    </a:cubicBezTo>
                    <a:cubicBezTo>
                      <a:pt x="166688" y="34290"/>
                      <a:pt x="173355" y="34290"/>
                      <a:pt x="179070" y="35243"/>
                    </a:cubicBezTo>
                    <a:cubicBezTo>
                      <a:pt x="184785" y="36195"/>
                      <a:pt x="190500" y="35243"/>
                      <a:pt x="190500" y="35243"/>
                    </a:cubicBezTo>
                    <a:cubicBezTo>
                      <a:pt x="190500" y="35243"/>
                      <a:pt x="192405" y="33338"/>
                      <a:pt x="197167" y="33338"/>
                    </a:cubicBezTo>
                    <a:cubicBezTo>
                      <a:pt x="201930" y="33338"/>
                      <a:pt x="201930" y="30480"/>
                      <a:pt x="204788" y="29528"/>
                    </a:cubicBezTo>
                    <a:cubicBezTo>
                      <a:pt x="208598" y="28575"/>
                      <a:pt x="208598" y="20955"/>
                      <a:pt x="208598" y="20955"/>
                    </a:cubicBezTo>
                    <a:lnTo>
                      <a:pt x="204788" y="14288"/>
                    </a:lnTo>
                    <a:lnTo>
                      <a:pt x="192405" y="12383"/>
                    </a:lnTo>
                    <a:lnTo>
                      <a:pt x="180023" y="12383"/>
                    </a:lnTo>
                    <a:cubicBezTo>
                      <a:pt x="180023" y="12383"/>
                      <a:pt x="173355" y="11430"/>
                      <a:pt x="170498" y="11430"/>
                    </a:cubicBezTo>
                    <a:cubicBezTo>
                      <a:pt x="166688" y="11430"/>
                      <a:pt x="166688" y="11430"/>
                      <a:pt x="166688" y="11430"/>
                    </a:cubicBezTo>
                    <a:lnTo>
                      <a:pt x="158115" y="3810"/>
                    </a:lnTo>
                    <a:lnTo>
                      <a:pt x="153352" y="1905"/>
                    </a:lnTo>
                    <a:lnTo>
                      <a:pt x="139065" y="0"/>
                    </a:lnTo>
                    <a:lnTo>
                      <a:pt x="131445" y="0"/>
                    </a:lnTo>
                    <a:lnTo>
                      <a:pt x="126682" y="953"/>
                    </a:lnTo>
                    <a:cubicBezTo>
                      <a:pt x="126682" y="953"/>
                      <a:pt x="124777" y="4763"/>
                      <a:pt x="124777" y="6668"/>
                    </a:cubicBezTo>
                    <a:cubicBezTo>
                      <a:pt x="124777" y="8573"/>
                      <a:pt x="122873" y="9525"/>
                      <a:pt x="120967" y="11430"/>
                    </a:cubicBezTo>
                    <a:cubicBezTo>
                      <a:pt x="120015" y="13335"/>
                      <a:pt x="121920" y="11430"/>
                      <a:pt x="120015" y="13335"/>
                    </a:cubicBezTo>
                    <a:cubicBezTo>
                      <a:pt x="118110" y="15240"/>
                      <a:pt x="112395" y="17145"/>
                      <a:pt x="112395" y="17145"/>
                    </a:cubicBezTo>
                    <a:lnTo>
                      <a:pt x="105727" y="18098"/>
                    </a:lnTo>
                    <a:lnTo>
                      <a:pt x="97155" y="18098"/>
                    </a:lnTo>
                    <a:lnTo>
                      <a:pt x="90488" y="17145"/>
                    </a:lnTo>
                    <a:lnTo>
                      <a:pt x="87630" y="14288"/>
                    </a:lnTo>
                    <a:lnTo>
                      <a:pt x="79057" y="10478"/>
                    </a:lnTo>
                    <a:lnTo>
                      <a:pt x="62865" y="4763"/>
                    </a:lnTo>
                    <a:close/>
                  </a:path>
                </a:pathLst>
              </a:custGeom>
              <a:grpFill/>
              <a:ln w="9525" cap="flat">
                <a:noFill/>
                <a:prstDash val="solid"/>
                <a:miter/>
              </a:ln>
            </p:spPr>
            <p:txBody>
              <a:bodyPr rtlCol="0" anchor="ctr"/>
              <a:lstStyle/>
              <a:p>
                <a:endParaRPr lang="en-US" sz="1765"/>
              </a:p>
            </p:txBody>
          </p:sp>
          <p:sp>
            <p:nvSpPr>
              <p:cNvPr id="264" name="Freeform: Shape 263">
                <a:extLst>
                  <a:ext uri="{FF2B5EF4-FFF2-40B4-BE49-F238E27FC236}">
                    <a16:creationId xmlns:a16="http://schemas.microsoft.com/office/drawing/2014/main" id="{0568DF80-0E28-4700-A635-19796D7CF2E5}"/>
                  </a:ext>
                </a:extLst>
              </p:cNvPr>
              <p:cNvSpPr/>
              <p:nvPr/>
            </p:nvSpPr>
            <p:spPr>
              <a:xfrm>
                <a:off x="6294576" y="2902525"/>
                <a:ext cx="65401" cy="30903"/>
              </a:xfrm>
              <a:custGeom>
                <a:avLst/>
                <a:gdLst>
                  <a:gd name="connsiteX0" fmla="*/ 17670 w 65401"/>
                  <a:gd name="connsiteY0" fmla="*/ 30903 h 30903"/>
                  <a:gd name="connsiteX1" fmla="*/ 2430 w 65401"/>
                  <a:gd name="connsiteY1" fmla="*/ 27093 h 30903"/>
                  <a:gd name="connsiteX2" fmla="*/ 1477 w 65401"/>
                  <a:gd name="connsiteY2" fmla="*/ 22331 h 30903"/>
                  <a:gd name="connsiteX3" fmla="*/ 5287 w 65401"/>
                  <a:gd name="connsiteY3" fmla="*/ 22331 h 30903"/>
                  <a:gd name="connsiteX4" fmla="*/ 10050 w 65401"/>
                  <a:gd name="connsiteY4" fmla="*/ 20426 h 30903"/>
                  <a:gd name="connsiteX5" fmla="*/ 11002 w 65401"/>
                  <a:gd name="connsiteY5" fmla="*/ 12806 h 30903"/>
                  <a:gd name="connsiteX6" fmla="*/ 10050 w 65401"/>
                  <a:gd name="connsiteY6" fmla="*/ 10901 h 30903"/>
                  <a:gd name="connsiteX7" fmla="*/ 5287 w 65401"/>
                  <a:gd name="connsiteY7" fmla="*/ 8043 h 30903"/>
                  <a:gd name="connsiteX8" fmla="*/ 11002 w 65401"/>
                  <a:gd name="connsiteY8" fmla="*/ 3281 h 30903"/>
                  <a:gd name="connsiteX9" fmla="*/ 25290 w 65401"/>
                  <a:gd name="connsiteY9" fmla="*/ 1376 h 30903"/>
                  <a:gd name="connsiteX10" fmla="*/ 42435 w 65401"/>
                  <a:gd name="connsiteY10" fmla="*/ 423 h 30903"/>
                  <a:gd name="connsiteX11" fmla="*/ 51960 w 65401"/>
                  <a:gd name="connsiteY11" fmla="*/ 423 h 30903"/>
                  <a:gd name="connsiteX12" fmla="*/ 62437 w 65401"/>
                  <a:gd name="connsiteY12" fmla="*/ 3281 h 30903"/>
                  <a:gd name="connsiteX13" fmla="*/ 65295 w 65401"/>
                  <a:gd name="connsiteY13" fmla="*/ 7091 h 30903"/>
                  <a:gd name="connsiteX14" fmla="*/ 60532 w 65401"/>
                  <a:gd name="connsiteY14" fmla="*/ 14711 h 30903"/>
                  <a:gd name="connsiteX15" fmla="*/ 53865 w 65401"/>
                  <a:gd name="connsiteY15" fmla="*/ 18521 h 30903"/>
                  <a:gd name="connsiteX16" fmla="*/ 53865 w 65401"/>
                  <a:gd name="connsiteY16" fmla="*/ 21378 h 30903"/>
                  <a:gd name="connsiteX17" fmla="*/ 53865 w 65401"/>
                  <a:gd name="connsiteY17" fmla="*/ 25188 h 30903"/>
                  <a:gd name="connsiteX18" fmla="*/ 53865 w 65401"/>
                  <a:gd name="connsiteY18" fmla="*/ 28998 h 30903"/>
                  <a:gd name="connsiteX19" fmla="*/ 46245 w 65401"/>
                  <a:gd name="connsiteY19" fmla="*/ 29951 h 30903"/>
                  <a:gd name="connsiteX20" fmla="*/ 40530 w 65401"/>
                  <a:gd name="connsiteY20" fmla="*/ 29951 h 30903"/>
                  <a:gd name="connsiteX21" fmla="*/ 31005 w 65401"/>
                  <a:gd name="connsiteY21" fmla="*/ 28998 h 30903"/>
                  <a:gd name="connsiteX22" fmla="*/ 26242 w 65401"/>
                  <a:gd name="connsiteY22" fmla="*/ 28998 h 30903"/>
                  <a:gd name="connsiteX23" fmla="*/ 19575 w 65401"/>
                  <a:gd name="connsiteY23" fmla="*/ 29951 h 30903"/>
                  <a:gd name="connsiteX24" fmla="*/ 17670 w 65401"/>
                  <a:gd name="connsiteY24" fmla="*/ 30903 h 3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401" h="30903">
                    <a:moveTo>
                      <a:pt x="17670" y="30903"/>
                    </a:moveTo>
                    <a:lnTo>
                      <a:pt x="2430" y="27093"/>
                    </a:lnTo>
                    <a:cubicBezTo>
                      <a:pt x="2430" y="27093"/>
                      <a:pt x="-2333" y="22331"/>
                      <a:pt x="1477" y="22331"/>
                    </a:cubicBezTo>
                    <a:cubicBezTo>
                      <a:pt x="5287" y="22331"/>
                      <a:pt x="5287" y="22331"/>
                      <a:pt x="5287" y="22331"/>
                    </a:cubicBezTo>
                    <a:lnTo>
                      <a:pt x="10050" y="20426"/>
                    </a:lnTo>
                    <a:cubicBezTo>
                      <a:pt x="10050" y="20426"/>
                      <a:pt x="11955" y="14711"/>
                      <a:pt x="11002" y="12806"/>
                    </a:cubicBezTo>
                    <a:cubicBezTo>
                      <a:pt x="10050" y="10901"/>
                      <a:pt x="10050" y="10901"/>
                      <a:pt x="10050" y="10901"/>
                    </a:cubicBezTo>
                    <a:lnTo>
                      <a:pt x="5287" y="8043"/>
                    </a:lnTo>
                    <a:cubicBezTo>
                      <a:pt x="5287" y="8043"/>
                      <a:pt x="5287" y="4233"/>
                      <a:pt x="11002" y="3281"/>
                    </a:cubicBezTo>
                    <a:cubicBezTo>
                      <a:pt x="16717" y="2328"/>
                      <a:pt x="22432" y="2328"/>
                      <a:pt x="25290" y="1376"/>
                    </a:cubicBezTo>
                    <a:cubicBezTo>
                      <a:pt x="28147" y="423"/>
                      <a:pt x="39577" y="423"/>
                      <a:pt x="42435" y="423"/>
                    </a:cubicBezTo>
                    <a:cubicBezTo>
                      <a:pt x="45292" y="423"/>
                      <a:pt x="49102" y="-529"/>
                      <a:pt x="51960" y="423"/>
                    </a:cubicBezTo>
                    <a:cubicBezTo>
                      <a:pt x="54817" y="1376"/>
                      <a:pt x="62437" y="3281"/>
                      <a:pt x="62437" y="3281"/>
                    </a:cubicBezTo>
                    <a:cubicBezTo>
                      <a:pt x="62437" y="3281"/>
                      <a:pt x="64342" y="5186"/>
                      <a:pt x="65295" y="7091"/>
                    </a:cubicBezTo>
                    <a:cubicBezTo>
                      <a:pt x="66247" y="9948"/>
                      <a:pt x="60532" y="12806"/>
                      <a:pt x="60532" y="14711"/>
                    </a:cubicBezTo>
                    <a:cubicBezTo>
                      <a:pt x="60532" y="16616"/>
                      <a:pt x="53865" y="15663"/>
                      <a:pt x="53865" y="18521"/>
                    </a:cubicBezTo>
                    <a:cubicBezTo>
                      <a:pt x="53865" y="21378"/>
                      <a:pt x="53865" y="17568"/>
                      <a:pt x="53865" y="21378"/>
                    </a:cubicBezTo>
                    <a:cubicBezTo>
                      <a:pt x="53865" y="25188"/>
                      <a:pt x="53865" y="21378"/>
                      <a:pt x="53865" y="25188"/>
                    </a:cubicBezTo>
                    <a:cubicBezTo>
                      <a:pt x="53865" y="28998"/>
                      <a:pt x="53865" y="28998"/>
                      <a:pt x="53865" y="28998"/>
                    </a:cubicBezTo>
                    <a:lnTo>
                      <a:pt x="46245" y="29951"/>
                    </a:lnTo>
                    <a:lnTo>
                      <a:pt x="40530" y="29951"/>
                    </a:lnTo>
                    <a:lnTo>
                      <a:pt x="31005" y="28998"/>
                    </a:lnTo>
                    <a:lnTo>
                      <a:pt x="26242" y="28998"/>
                    </a:lnTo>
                    <a:lnTo>
                      <a:pt x="19575" y="29951"/>
                    </a:lnTo>
                    <a:lnTo>
                      <a:pt x="17670" y="30903"/>
                    </a:lnTo>
                    <a:close/>
                  </a:path>
                </a:pathLst>
              </a:custGeom>
              <a:grpFill/>
              <a:ln w="9525" cap="flat">
                <a:noFill/>
                <a:prstDash val="solid"/>
                <a:miter/>
              </a:ln>
            </p:spPr>
            <p:txBody>
              <a:bodyPr rtlCol="0" anchor="ctr"/>
              <a:lstStyle/>
              <a:p>
                <a:endParaRPr lang="en-US" sz="1765"/>
              </a:p>
            </p:txBody>
          </p:sp>
          <p:sp>
            <p:nvSpPr>
              <p:cNvPr id="265" name="Freeform: Shape 264">
                <a:extLst>
                  <a:ext uri="{FF2B5EF4-FFF2-40B4-BE49-F238E27FC236}">
                    <a16:creationId xmlns:a16="http://schemas.microsoft.com/office/drawing/2014/main" id="{076C73CE-3F8C-4CA4-AEB5-1A1D04C89861}"/>
                  </a:ext>
                </a:extLst>
              </p:cNvPr>
              <p:cNvSpPr/>
              <p:nvPr/>
            </p:nvSpPr>
            <p:spPr>
              <a:xfrm>
                <a:off x="6449139" y="2949621"/>
                <a:ext cx="125044" cy="39246"/>
              </a:xfrm>
              <a:custGeom>
                <a:avLst/>
                <a:gdLst>
                  <a:gd name="connsiteX0" fmla="*/ 43129 w 125044"/>
                  <a:gd name="connsiteY0" fmla="*/ 10477 h 39246"/>
                  <a:gd name="connsiteX1" fmla="*/ 30747 w 125044"/>
                  <a:gd name="connsiteY1" fmla="*/ 11430 h 39246"/>
                  <a:gd name="connsiteX2" fmla="*/ 24079 w 125044"/>
                  <a:gd name="connsiteY2" fmla="*/ 9525 h 39246"/>
                  <a:gd name="connsiteX3" fmla="*/ 23127 w 125044"/>
                  <a:gd name="connsiteY3" fmla="*/ 6667 h 39246"/>
                  <a:gd name="connsiteX4" fmla="*/ 16459 w 125044"/>
                  <a:gd name="connsiteY4" fmla="*/ 1905 h 39246"/>
                  <a:gd name="connsiteX5" fmla="*/ 8839 w 125044"/>
                  <a:gd name="connsiteY5" fmla="*/ 1905 h 39246"/>
                  <a:gd name="connsiteX6" fmla="*/ 1219 w 125044"/>
                  <a:gd name="connsiteY6" fmla="*/ 4763 h 39246"/>
                  <a:gd name="connsiteX7" fmla="*/ 267 w 125044"/>
                  <a:gd name="connsiteY7" fmla="*/ 8572 h 39246"/>
                  <a:gd name="connsiteX8" fmla="*/ 1219 w 125044"/>
                  <a:gd name="connsiteY8" fmla="*/ 11430 h 39246"/>
                  <a:gd name="connsiteX9" fmla="*/ 8839 w 125044"/>
                  <a:gd name="connsiteY9" fmla="*/ 16192 h 39246"/>
                  <a:gd name="connsiteX10" fmla="*/ 17412 w 125044"/>
                  <a:gd name="connsiteY10" fmla="*/ 18097 h 39246"/>
                  <a:gd name="connsiteX11" fmla="*/ 18364 w 125044"/>
                  <a:gd name="connsiteY11" fmla="*/ 20955 h 39246"/>
                  <a:gd name="connsiteX12" fmla="*/ 26937 w 125044"/>
                  <a:gd name="connsiteY12" fmla="*/ 23813 h 39246"/>
                  <a:gd name="connsiteX13" fmla="*/ 39319 w 125044"/>
                  <a:gd name="connsiteY13" fmla="*/ 25717 h 39246"/>
                  <a:gd name="connsiteX14" fmla="*/ 45034 w 125044"/>
                  <a:gd name="connsiteY14" fmla="*/ 27622 h 39246"/>
                  <a:gd name="connsiteX15" fmla="*/ 49797 w 125044"/>
                  <a:gd name="connsiteY15" fmla="*/ 29527 h 39246"/>
                  <a:gd name="connsiteX16" fmla="*/ 59322 w 125044"/>
                  <a:gd name="connsiteY16" fmla="*/ 33338 h 39246"/>
                  <a:gd name="connsiteX17" fmla="*/ 72657 w 125044"/>
                  <a:gd name="connsiteY17" fmla="*/ 38100 h 39246"/>
                  <a:gd name="connsiteX18" fmla="*/ 81229 w 125044"/>
                  <a:gd name="connsiteY18" fmla="*/ 39052 h 39246"/>
                  <a:gd name="connsiteX19" fmla="*/ 95517 w 125044"/>
                  <a:gd name="connsiteY19" fmla="*/ 39052 h 39246"/>
                  <a:gd name="connsiteX20" fmla="*/ 102184 w 125044"/>
                  <a:gd name="connsiteY20" fmla="*/ 37147 h 39246"/>
                  <a:gd name="connsiteX21" fmla="*/ 107899 w 125044"/>
                  <a:gd name="connsiteY21" fmla="*/ 35242 h 39246"/>
                  <a:gd name="connsiteX22" fmla="*/ 116472 w 125044"/>
                  <a:gd name="connsiteY22" fmla="*/ 34290 h 39246"/>
                  <a:gd name="connsiteX23" fmla="*/ 123139 w 125044"/>
                  <a:gd name="connsiteY23" fmla="*/ 29527 h 39246"/>
                  <a:gd name="connsiteX24" fmla="*/ 125044 w 125044"/>
                  <a:gd name="connsiteY24" fmla="*/ 22860 h 39246"/>
                  <a:gd name="connsiteX25" fmla="*/ 117424 w 125044"/>
                  <a:gd name="connsiteY25" fmla="*/ 18097 h 39246"/>
                  <a:gd name="connsiteX26" fmla="*/ 112662 w 125044"/>
                  <a:gd name="connsiteY26" fmla="*/ 16192 h 39246"/>
                  <a:gd name="connsiteX27" fmla="*/ 109804 w 125044"/>
                  <a:gd name="connsiteY27" fmla="*/ 12382 h 39246"/>
                  <a:gd name="connsiteX28" fmla="*/ 103137 w 125044"/>
                  <a:gd name="connsiteY28" fmla="*/ 8572 h 39246"/>
                  <a:gd name="connsiteX29" fmla="*/ 103137 w 125044"/>
                  <a:gd name="connsiteY29" fmla="*/ 4763 h 39246"/>
                  <a:gd name="connsiteX30" fmla="*/ 101232 w 125044"/>
                  <a:gd name="connsiteY30" fmla="*/ 1905 h 39246"/>
                  <a:gd name="connsiteX31" fmla="*/ 87897 w 125044"/>
                  <a:gd name="connsiteY31" fmla="*/ 0 h 39246"/>
                  <a:gd name="connsiteX32" fmla="*/ 79324 w 125044"/>
                  <a:gd name="connsiteY32" fmla="*/ 952 h 39246"/>
                  <a:gd name="connsiteX33" fmla="*/ 67894 w 125044"/>
                  <a:gd name="connsiteY33" fmla="*/ 1905 h 39246"/>
                  <a:gd name="connsiteX34" fmla="*/ 56464 w 125044"/>
                  <a:gd name="connsiteY34" fmla="*/ 3810 h 39246"/>
                  <a:gd name="connsiteX35" fmla="*/ 50749 w 125044"/>
                  <a:gd name="connsiteY35" fmla="*/ 4763 h 39246"/>
                  <a:gd name="connsiteX36" fmla="*/ 43129 w 125044"/>
                  <a:gd name="connsiteY36" fmla="*/ 10477 h 3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044" h="39246">
                    <a:moveTo>
                      <a:pt x="43129" y="10477"/>
                    </a:moveTo>
                    <a:lnTo>
                      <a:pt x="30747" y="11430"/>
                    </a:lnTo>
                    <a:lnTo>
                      <a:pt x="24079" y="9525"/>
                    </a:lnTo>
                    <a:lnTo>
                      <a:pt x="23127" y="6667"/>
                    </a:lnTo>
                    <a:lnTo>
                      <a:pt x="16459" y="1905"/>
                    </a:lnTo>
                    <a:cubicBezTo>
                      <a:pt x="16459" y="1905"/>
                      <a:pt x="11697" y="0"/>
                      <a:pt x="8839" y="1905"/>
                    </a:cubicBezTo>
                    <a:cubicBezTo>
                      <a:pt x="5029" y="2857"/>
                      <a:pt x="1219" y="4763"/>
                      <a:pt x="1219" y="4763"/>
                    </a:cubicBezTo>
                    <a:cubicBezTo>
                      <a:pt x="1219" y="4763"/>
                      <a:pt x="-686" y="5715"/>
                      <a:pt x="267" y="8572"/>
                    </a:cubicBezTo>
                    <a:cubicBezTo>
                      <a:pt x="1219" y="11430"/>
                      <a:pt x="1219" y="11430"/>
                      <a:pt x="1219" y="11430"/>
                    </a:cubicBezTo>
                    <a:lnTo>
                      <a:pt x="8839" y="16192"/>
                    </a:lnTo>
                    <a:lnTo>
                      <a:pt x="17412" y="18097"/>
                    </a:lnTo>
                    <a:lnTo>
                      <a:pt x="18364" y="20955"/>
                    </a:lnTo>
                    <a:cubicBezTo>
                      <a:pt x="18364" y="20955"/>
                      <a:pt x="24079" y="22860"/>
                      <a:pt x="26937" y="23813"/>
                    </a:cubicBezTo>
                    <a:cubicBezTo>
                      <a:pt x="29794" y="24765"/>
                      <a:pt x="39319" y="25717"/>
                      <a:pt x="39319" y="25717"/>
                    </a:cubicBezTo>
                    <a:lnTo>
                      <a:pt x="45034" y="27622"/>
                    </a:lnTo>
                    <a:lnTo>
                      <a:pt x="49797" y="29527"/>
                    </a:lnTo>
                    <a:cubicBezTo>
                      <a:pt x="49797" y="29527"/>
                      <a:pt x="55512" y="31432"/>
                      <a:pt x="59322" y="33338"/>
                    </a:cubicBezTo>
                    <a:cubicBezTo>
                      <a:pt x="64084" y="35242"/>
                      <a:pt x="72657" y="38100"/>
                      <a:pt x="72657" y="38100"/>
                    </a:cubicBezTo>
                    <a:lnTo>
                      <a:pt x="81229" y="39052"/>
                    </a:lnTo>
                    <a:cubicBezTo>
                      <a:pt x="81229" y="39052"/>
                      <a:pt x="92659" y="38100"/>
                      <a:pt x="95517" y="39052"/>
                    </a:cubicBezTo>
                    <a:cubicBezTo>
                      <a:pt x="98374" y="40005"/>
                      <a:pt x="102184" y="37147"/>
                      <a:pt x="102184" y="37147"/>
                    </a:cubicBezTo>
                    <a:cubicBezTo>
                      <a:pt x="102184" y="37147"/>
                      <a:pt x="104089" y="34290"/>
                      <a:pt x="107899" y="35242"/>
                    </a:cubicBezTo>
                    <a:cubicBezTo>
                      <a:pt x="110757" y="36195"/>
                      <a:pt x="116472" y="34290"/>
                      <a:pt x="116472" y="34290"/>
                    </a:cubicBezTo>
                    <a:lnTo>
                      <a:pt x="123139" y="29527"/>
                    </a:lnTo>
                    <a:lnTo>
                      <a:pt x="125044" y="22860"/>
                    </a:lnTo>
                    <a:lnTo>
                      <a:pt x="117424" y="18097"/>
                    </a:lnTo>
                    <a:lnTo>
                      <a:pt x="112662" y="16192"/>
                    </a:lnTo>
                    <a:lnTo>
                      <a:pt x="109804" y="12382"/>
                    </a:lnTo>
                    <a:lnTo>
                      <a:pt x="103137" y="8572"/>
                    </a:lnTo>
                    <a:lnTo>
                      <a:pt x="103137" y="4763"/>
                    </a:lnTo>
                    <a:lnTo>
                      <a:pt x="101232" y="1905"/>
                    </a:lnTo>
                    <a:lnTo>
                      <a:pt x="87897" y="0"/>
                    </a:lnTo>
                    <a:lnTo>
                      <a:pt x="79324" y="952"/>
                    </a:lnTo>
                    <a:cubicBezTo>
                      <a:pt x="79324" y="952"/>
                      <a:pt x="70752" y="0"/>
                      <a:pt x="67894" y="1905"/>
                    </a:cubicBezTo>
                    <a:cubicBezTo>
                      <a:pt x="65989" y="3810"/>
                      <a:pt x="62179" y="2857"/>
                      <a:pt x="56464" y="3810"/>
                    </a:cubicBezTo>
                    <a:cubicBezTo>
                      <a:pt x="50749" y="4763"/>
                      <a:pt x="50749" y="4763"/>
                      <a:pt x="50749" y="4763"/>
                    </a:cubicBezTo>
                    <a:lnTo>
                      <a:pt x="43129" y="10477"/>
                    </a:lnTo>
                    <a:close/>
                  </a:path>
                </a:pathLst>
              </a:custGeom>
              <a:grpFill/>
              <a:ln w="9525" cap="flat">
                <a:noFill/>
                <a:prstDash val="solid"/>
                <a:miter/>
              </a:ln>
            </p:spPr>
            <p:txBody>
              <a:bodyPr rtlCol="0" anchor="ctr"/>
              <a:lstStyle/>
              <a:p>
                <a:endParaRPr lang="en-US" sz="1765"/>
              </a:p>
            </p:txBody>
          </p:sp>
          <p:sp>
            <p:nvSpPr>
              <p:cNvPr id="266" name="Freeform: Shape 265">
                <a:extLst>
                  <a:ext uri="{FF2B5EF4-FFF2-40B4-BE49-F238E27FC236}">
                    <a16:creationId xmlns:a16="http://schemas.microsoft.com/office/drawing/2014/main" id="{5386F70C-D3EA-4654-A509-1E0C2DD34B52}"/>
                  </a:ext>
                </a:extLst>
              </p:cNvPr>
              <p:cNvSpPr/>
              <p:nvPr/>
            </p:nvSpPr>
            <p:spPr>
              <a:xfrm>
                <a:off x="6418450" y="2925808"/>
                <a:ext cx="29051" cy="13335"/>
              </a:xfrm>
              <a:custGeom>
                <a:avLst/>
                <a:gdLst>
                  <a:gd name="connsiteX0" fmla="*/ 6191 w 29051"/>
                  <a:gd name="connsiteY0" fmla="*/ 11430 h 13335"/>
                  <a:gd name="connsiteX1" fmla="*/ 1429 w 29051"/>
                  <a:gd name="connsiteY1" fmla="*/ 9525 h 13335"/>
                  <a:gd name="connsiteX2" fmla="*/ 476 w 29051"/>
                  <a:gd name="connsiteY2" fmla="*/ 5715 h 13335"/>
                  <a:gd name="connsiteX3" fmla="*/ 2381 w 29051"/>
                  <a:gd name="connsiteY3" fmla="*/ 2858 h 13335"/>
                  <a:gd name="connsiteX4" fmla="*/ 8096 w 29051"/>
                  <a:gd name="connsiteY4" fmla="*/ 0 h 13335"/>
                  <a:gd name="connsiteX5" fmla="*/ 16669 w 29051"/>
                  <a:gd name="connsiteY5" fmla="*/ 0 h 13335"/>
                  <a:gd name="connsiteX6" fmla="*/ 22384 w 29051"/>
                  <a:gd name="connsiteY6" fmla="*/ 1905 h 13335"/>
                  <a:gd name="connsiteX7" fmla="*/ 25241 w 29051"/>
                  <a:gd name="connsiteY7" fmla="*/ 5715 h 13335"/>
                  <a:gd name="connsiteX8" fmla="*/ 26194 w 29051"/>
                  <a:gd name="connsiteY8" fmla="*/ 7620 h 13335"/>
                  <a:gd name="connsiteX9" fmla="*/ 29051 w 29051"/>
                  <a:gd name="connsiteY9" fmla="*/ 10478 h 13335"/>
                  <a:gd name="connsiteX10" fmla="*/ 22384 w 29051"/>
                  <a:gd name="connsiteY10" fmla="*/ 12383 h 13335"/>
                  <a:gd name="connsiteX11" fmla="*/ 17621 w 29051"/>
                  <a:gd name="connsiteY11" fmla="*/ 13335 h 13335"/>
                  <a:gd name="connsiteX12" fmla="*/ 12859 w 29051"/>
                  <a:gd name="connsiteY12" fmla="*/ 12383 h 13335"/>
                  <a:gd name="connsiteX13" fmla="*/ 6191 w 29051"/>
                  <a:gd name="connsiteY13" fmla="*/ 11430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13335">
                    <a:moveTo>
                      <a:pt x="6191" y="11430"/>
                    </a:moveTo>
                    <a:lnTo>
                      <a:pt x="1429" y="9525"/>
                    </a:lnTo>
                    <a:lnTo>
                      <a:pt x="476" y="5715"/>
                    </a:lnTo>
                    <a:cubicBezTo>
                      <a:pt x="476" y="5715"/>
                      <a:pt x="-1429" y="1905"/>
                      <a:pt x="2381" y="2858"/>
                    </a:cubicBezTo>
                    <a:cubicBezTo>
                      <a:pt x="7144" y="3810"/>
                      <a:pt x="-476" y="0"/>
                      <a:pt x="8096" y="0"/>
                    </a:cubicBezTo>
                    <a:cubicBezTo>
                      <a:pt x="16669" y="0"/>
                      <a:pt x="16669" y="0"/>
                      <a:pt x="16669" y="0"/>
                    </a:cubicBezTo>
                    <a:lnTo>
                      <a:pt x="22384" y="1905"/>
                    </a:lnTo>
                    <a:cubicBezTo>
                      <a:pt x="22384" y="1905"/>
                      <a:pt x="24289" y="3810"/>
                      <a:pt x="25241" y="5715"/>
                    </a:cubicBezTo>
                    <a:cubicBezTo>
                      <a:pt x="26194" y="7620"/>
                      <a:pt x="26194" y="7620"/>
                      <a:pt x="26194" y="7620"/>
                    </a:cubicBezTo>
                    <a:lnTo>
                      <a:pt x="29051" y="10478"/>
                    </a:lnTo>
                    <a:lnTo>
                      <a:pt x="22384" y="12383"/>
                    </a:lnTo>
                    <a:lnTo>
                      <a:pt x="17621" y="13335"/>
                    </a:lnTo>
                    <a:lnTo>
                      <a:pt x="12859" y="12383"/>
                    </a:lnTo>
                    <a:lnTo>
                      <a:pt x="6191" y="11430"/>
                    </a:lnTo>
                    <a:close/>
                  </a:path>
                </a:pathLst>
              </a:custGeom>
              <a:grpFill/>
              <a:ln w="9525" cap="flat">
                <a:noFill/>
                <a:prstDash val="solid"/>
                <a:miter/>
              </a:ln>
            </p:spPr>
            <p:txBody>
              <a:bodyPr rtlCol="0" anchor="ctr"/>
              <a:lstStyle/>
              <a:p>
                <a:endParaRPr lang="en-US" sz="1765"/>
              </a:p>
            </p:txBody>
          </p:sp>
          <p:sp>
            <p:nvSpPr>
              <p:cNvPr id="267" name="Freeform: Shape 266">
                <a:extLst>
                  <a:ext uri="{FF2B5EF4-FFF2-40B4-BE49-F238E27FC236}">
                    <a16:creationId xmlns:a16="http://schemas.microsoft.com/office/drawing/2014/main" id="{5ABD362F-68C7-4F82-8019-36FC75B75024}"/>
                  </a:ext>
                </a:extLst>
              </p:cNvPr>
              <p:cNvSpPr/>
              <p:nvPr/>
            </p:nvSpPr>
            <p:spPr>
              <a:xfrm>
                <a:off x="6431309" y="2885909"/>
                <a:ext cx="106679" cy="41804"/>
              </a:xfrm>
              <a:custGeom>
                <a:avLst/>
                <a:gdLst>
                  <a:gd name="connsiteX0" fmla="*/ 20955 w 106679"/>
                  <a:gd name="connsiteY0" fmla="*/ 2752 h 41804"/>
                  <a:gd name="connsiteX1" fmla="*/ 14288 w 106679"/>
                  <a:gd name="connsiteY1" fmla="*/ 2752 h 41804"/>
                  <a:gd name="connsiteX2" fmla="*/ 2857 w 106679"/>
                  <a:gd name="connsiteY2" fmla="*/ 2752 h 41804"/>
                  <a:gd name="connsiteX3" fmla="*/ 0 w 106679"/>
                  <a:gd name="connsiteY3" fmla="*/ 2752 h 41804"/>
                  <a:gd name="connsiteX4" fmla="*/ 0 w 106679"/>
                  <a:gd name="connsiteY4" fmla="*/ 8467 h 41804"/>
                  <a:gd name="connsiteX5" fmla="*/ 8572 w 106679"/>
                  <a:gd name="connsiteY5" fmla="*/ 12277 h 41804"/>
                  <a:gd name="connsiteX6" fmla="*/ 11430 w 106679"/>
                  <a:gd name="connsiteY6" fmla="*/ 12277 h 41804"/>
                  <a:gd name="connsiteX7" fmla="*/ 14288 w 106679"/>
                  <a:gd name="connsiteY7" fmla="*/ 17039 h 41804"/>
                  <a:gd name="connsiteX8" fmla="*/ 20955 w 106679"/>
                  <a:gd name="connsiteY8" fmla="*/ 21802 h 41804"/>
                  <a:gd name="connsiteX9" fmla="*/ 25717 w 106679"/>
                  <a:gd name="connsiteY9" fmla="*/ 23707 h 41804"/>
                  <a:gd name="connsiteX10" fmla="*/ 25717 w 106679"/>
                  <a:gd name="connsiteY10" fmla="*/ 25612 h 41804"/>
                  <a:gd name="connsiteX11" fmla="*/ 23813 w 106679"/>
                  <a:gd name="connsiteY11" fmla="*/ 30374 h 41804"/>
                  <a:gd name="connsiteX12" fmla="*/ 40957 w 106679"/>
                  <a:gd name="connsiteY12" fmla="*/ 34184 h 41804"/>
                  <a:gd name="connsiteX13" fmla="*/ 50482 w 106679"/>
                  <a:gd name="connsiteY13" fmla="*/ 33232 h 41804"/>
                  <a:gd name="connsiteX14" fmla="*/ 57150 w 106679"/>
                  <a:gd name="connsiteY14" fmla="*/ 32279 h 41804"/>
                  <a:gd name="connsiteX15" fmla="*/ 66675 w 106679"/>
                  <a:gd name="connsiteY15" fmla="*/ 32279 h 41804"/>
                  <a:gd name="connsiteX16" fmla="*/ 69532 w 106679"/>
                  <a:gd name="connsiteY16" fmla="*/ 32279 h 41804"/>
                  <a:gd name="connsiteX17" fmla="*/ 80010 w 106679"/>
                  <a:gd name="connsiteY17" fmla="*/ 37042 h 41804"/>
                  <a:gd name="connsiteX18" fmla="*/ 84772 w 106679"/>
                  <a:gd name="connsiteY18" fmla="*/ 38947 h 41804"/>
                  <a:gd name="connsiteX19" fmla="*/ 92392 w 106679"/>
                  <a:gd name="connsiteY19" fmla="*/ 40852 h 41804"/>
                  <a:gd name="connsiteX20" fmla="*/ 95250 w 106679"/>
                  <a:gd name="connsiteY20" fmla="*/ 41804 h 41804"/>
                  <a:gd name="connsiteX21" fmla="*/ 106680 w 106679"/>
                  <a:gd name="connsiteY21" fmla="*/ 37994 h 41804"/>
                  <a:gd name="connsiteX22" fmla="*/ 106680 w 106679"/>
                  <a:gd name="connsiteY22" fmla="*/ 33232 h 41804"/>
                  <a:gd name="connsiteX23" fmla="*/ 97155 w 106679"/>
                  <a:gd name="connsiteY23" fmla="*/ 29422 h 41804"/>
                  <a:gd name="connsiteX24" fmla="*/ 93345 w 106679"/>
                  <a:gd name="connsiteY24" fmla="*/ 24659 h 41804"/>
                  <a:gd name="connsiteX25" fmla="*/ 93345 w 106679"/>
                  <a:gd name="connsiteY25" fmla="*/ 21802 h 41804"/>
                  <a:gd name="connsiteX26" fmla="*/ 87630 w 106679"/>
                  <a:gd name="connsiteY26" fmla="*/ 18944 h 41804"/>
                  <a:gd name="connsiteX27" fmla="*/ 79057 w 106679"/>
                  <a:gd name="connsiteY27" fmla="*/ 16087 h 41804"/>
                  <a:gd name="connsiteX28" fmla="*/ 70485 w 106679"/>
                  <a:gd name="connsiteY28" fmla="*/ 11324 h 41804"/>
                  <a:gd name="connsiteX29" fmla="*/ 64770 w 106679"/>
                  <a:gd name="connsiteY29" fmla="*/ 6562 h 41804"/>
                  <a:gd name="connsiteX30" fmla="*/ 60007 w 106679"/>
                  <a:gd name="connsiteY30" fmla="*/ 4657 h 41804"/>
                  <a:gd name="connsiteX31" fmla="*/ 51435 w 106679"/>
                  <a:gd name="connsiteY31" fmla="*/ 2752 h 41804"/>
                  <a:gd name="connsiteX32" fmla="*/ 45720 w 106679"/>
                  <a:gd name="connsiteY32" fmla="*/ 847 h 41804"/>
                  <a:gd name="connsiteX33" fmla="*/ 31432 w 106679"/>
                  <a:gd name="connsiteY33" fmla="*/ 847 h 41804"/>
                  <a:gd name="connsiteX34" fmla="*/ 20955 w 106679"/>
                  <a:gd name="connsiteY34" fmla="*/ 2752 h 4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6679" h="41804">
                    <a:moveTo>
                      <a:pt x="20955" y="2752"/>
                    </a:moveTo>
                    <a:lnTo>
                      <a:pt x="14288" y="2752"/>
                    </a:lnTo>
                    <a:cubicBezTo>
                      <a:pt x="14288" y="2752"/>
                      <a:pt x="6667" y="2752"/>
                      <a:pt x="2857" y="2752"/>
                    </a:cubicBezTo>
                    <a:cubicBezTo>
                      <a:pt x="0" y="2752"/>
                      <a:pt x="0" y="2752"/>
                      <a:pt x="0" y="2752"/>
                    </a:cubicBezTo>
                    <a:lnTo>
                      <a:pt x="0" y="8467"/>
                    </a:lnTo>
                    <a:cubicBezTo>
                      <a:pt x="0" y="8467"/>
                      <a:pt x="5715" y="12277"/>
                      <a:pt x="8572" y="12277"/>
                    </a:cubicBezTo>
                    <a:cubicBezTo>
                      <a:pt x="11430" y="12277"/>
                      <a:pt x="8572" y="7514"/>
                      <a:pt x="11430" y="12277"/>
                    </a:cubicBezTo>
                    <a:cubicBezTo>
                      <a:pt x="14288" y="17039"/>
                      <a:pt x="14288" y="17039"/>
                      <a:pt x="14288" y="17039"/>
                    </a:cubicBezTo>
                    <a:lnTo>
                      <a:pt x="20955" y="21802"/>
                    </a:lnTo>
                    <a:cubicBezTo>
                      <a:pt x="20955" y="21802"/>
                      <a:pt x="25717" y="21802"/>
                      <a:pt x="25717" y="23707"/>
                    </a:cubicBezTo>
                    <a:cubicBezTo>
                      <a:pt x="25717" y="25612"/>
                      <a:pt x="27622" y="20849"/>
                      <a:pt x="25717" y="25612"/>
                    </a:cubicBezTo>
                    <a:cubicBezTo>
                      <a:pt x="23813" y="30374"/>
                      <a:pt x="17145" y="26564"/>
                      <a:pt x="23813" y="30374"/>
                    </a:cubicBezTo>
                    <a:cubicBezTo>
                      <a:pt x="30480" y="34184"/>
                      <a:pt x="40957" y="34184"/>
                      <a:pt x="40957" y="34184"/>
                    </a:cubicBezTo>
                    <a:lnTo>
                      <a:pt x="50482" y="33232"/>
                    </a:lnTo>
                    <a:lnTo>
                      <a:pt x="57150" y="32279"/>
                    </a:lnTo>
                    <a:cubicBezTo>
                      <a:pt x="57150" y="32279"/>
                      <a:pt x="63817" y="32279"/>
                      <a:pt x="66675" y="32279"/>
                    </a:cubicBezTo>
                    <a:cubicBezTo>
                      <a:pt x="69532" y="32279"/>
                      <a:pt x="64770" y="29422"/>
                      <a:pt x="69532" y="32279"/>
                    </a:cubicBezTo>
                    <a:cubicBezTo>
                      <a:pt x="75247" y="35137"/>
                      <a:pt x="76200" y="36089"/>
                      <a:pt x="80010" y="37042"/>
                    </a:cubicBezTo>
                    <a:cubicBezTo>
                      <a:pt x="84772" y="38947"/>
                      <a:pt x="77152" y="37042"/>
                      <a:pt x="84772" y="38947"/>
                    </a:cubicBezTo>
                    <a:cubicBezTo>
                      <a:pt x="92392" y="40852"/>
                      <a:pt x="89535" y="39899"/>
                      <a:pt x="92392" y="40852"/>
                    </a:cubicBezTo>
                    <a:cubicBezTo>
                      <a:pt x="95250" y="41804"/>
                      <a:pt x="95250" y="41804"/>
                      <a:pt x="95250" y="41804"/>
                    </a:cubicBezTo>
                    <a:lnTo>
                      <a:pt x="106680" y="37994"/>
                    </a:lnTo>
                    <a:lnTo>
                      <a:pt x="106680" y="33232"/>
                    </a:lnTo>
                    <a:lnTo>
                      <a:pt x="97155" y="29422"/>
                    </a:lnTo>
                    <a:lnTo>
                      <a:pt x="93345" y="24659"/>
                    </a:lnTo>
                    <a:lnTo>
                      <a:pt x="93345" y="21802"/>
                    </a:lnTo>
                    <a:lnTo>
                      <a:pt x="87630" y="18944"/>
                    </a:lnTo>
                    <a:lnTo>
                      <a:pt x="79057" y="16087"/>
                    </a:lnTo>
                    <a:lnTo>
                      <a:pt x="70485" y="11324"/>
                    </a:lnTo>
                    <a:lnTo>
                      <a:pt x="64770" y="6562"/>
                    </a:lnTo>
                    <a:lnTo>
                      <a:pt x="60007" y="4657"/>
                    </a:lnTo>
                    <a:lnTo>
                      <a:pt x="51435" y="2752"/>
                    </a:lnTo>
                    <a:lnTo>
                      <a:pt x="45720" y="847"/>
                    </a:lnTo>
                    <a:cubicBezTo>
                      <a:pt x="45720" y="847"/>
                      <a:pt x="38100" y="-1058"/>
                      <a:pt x="31432" y="847"/>
                    </a:cubicBezTo>
                    <a:cubicBezTo>
                      <a:pt x="24765" y="1799"/>
                      <a:pt x="20955" y="2752"/>
                      <a:pt x="20955" y="2752"/>
                    </a:cubicBezTo>
                    <a:close/>
                  </a:path>
                </a:pathLst>
              </a:custGeom>
              <a:grpFill/>
              <a:ln w="9525" cap="flat">
                <a:noFill/>
                <a:prstDash val="solid"/>
                <a:miter/>
              </a:ln>
            </p:spPr>
            <p:txBody>
              <a:bodyPr rtlCol="0" anchor="ctr"/>
              <a:lstStyle/>
              <a:p>
                <a:endParaRPr lang="en-US" sz="1765"/>
              </a:p>
            </p:txBody>
          </p:sp>
          <p:sp>
            <p:nvSpPr>
              <p:cNvPr id="268" name="Freeform: Shape 267">
                <a:extLst>
                  <a:ext uri="{FF2B5EF4-FFF2-40B4-BE49-F238E27FC236}">
                    <a16:creationId xmlns:a16="http://schemas.microsoft.com/office/drawing/2014/main" id="{895B7FEB-8611-4A02-9BDA-9175541DDC7F}"/>
                  </a:ext>
                </a:extLst>
              </p:cNvPr>
              <p:cNvSpPr/>
              <p:nvPr/>
            </p:nvSpPr>
            <p:spPr>
              <a:xfrm>
                <a:off x="6404639" y="3011534"/>
                <a:ext cx="49529" cy="26669"/>
              </a:xfrm>
              <a:custGeom>
                <a:avLst/>
                <a:gdLst>
                  <a:gd name="connsiteX0" fmla="*/ 31433 w 49529"/>
                  <a:gd name="connsiteY0" fmla="*/ 21907 h 26669"/>
                  <a:gd name="connsiteX1" fmla="*/ 40958 w 49529"/>
                  <a:gd name="connsiteY1" fmla="*/ 21907 h 26669"/>
                  <a:gd name="connsiteX2" fmla="*/ 44767 w 49529"/>
                  <a:gd name="connsiteY2" fmla="*/ 16192 h 26669"/>
                  <a:gd name="connsiteX3" fmla="*/ 49530 w 49529"/>
                  <a:gd name="connsiteY3" fmla="*/ 8572 h 26669"/>
                  <a:gd name="connsiteX4" fmla="*/ 40958 w 49529"/>
                  <a:gd name="connsiteY4" fmla="*/ 2857 h 26669"/>
                  <a:gd name="connsiteX5" fmla="*/ 35242 w 49529"/>
                  <a:gd name="connsiteY5" fmla="*/ 952 h 26669"/>
                  <a:gd name="connsiteX6" fmla="*/ 26670 w 49529"/>
                  <a:gd name="connsiteY6" fmla="*/ 0 h 26669"/>
                  <a:gd name="connsiteX7" fmla="*/ 15240 w 49529"/>
                  <a:gd name="connsiteY7" fmla="*/ 0 h 26669"/>
                  <a:gd name="connsiteX8" fmla="*/ 10477 w 49529"/>
                  <a:gd name="connsiteY8" fmla="*/ 0 h 26669"/>
                  <a:gd name="connsiteX9" fmla="*/ 8573 w 49529"/>
                  <a:gd name="connsiteY9" fmla="*/ 4763 h 26669"/>
                  <a:gd name="connsiteX10" fmla="*/ 10477 w 49529"/>
                  <a:gd name="connsiteY10" fmla="*/ 11430 h 26669"/>
                  <a:gd name="connsiteX11" fmla="*/ 8573 w 49529"/>
                  <a:gd name="connsiteY11" fmla="*/ 17145 h 26669"/>
                  <a:gd name="connsiteX12" fmla="*/ 0 w 49529"/>
                  <a:gd name="connsiteY12" fmla="*/ 17145 h 26669"/>
                  <a:gd name="connsiteX13" fmla="*/ 952 w 49529"/>
                  <a:gd name="connsiteY13" fmla="*/ 22860 h 26669"/>
                  <a:gd name="connsiteX14" fmla="*/ 7620 w 49529"/>
                  <a:gd name="connsiteY14" fmla="*/ 23813 h 26669"/>
                  <a:gd name="connsiteX15" fmla="*/ 14288 w 49529"/>
                  <a:gd name="connsiteY15" fmla="*/ 26670 h 26669"/>
                  <a:gd name="connsiteX16" fmla="*/ 25717 w 49529"/>
                  <a:gd name="connsiteY16" fmla="*/ 22860 h 26669"/>
                  <a:gd name="connsiteX17" fmla="*/ 31433 w 49529"/>
                  <a:gd name="connsiteY17" fmla="*/ 21907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529" h="26669">
                    <a:moveTo>
                      <a:pt x="31433" y="21907"/>
                    </a:moveTo>
                    <a:lnTo>
                      <a:pt x="40958" y="21907"/>
                    </a:lnTo>
                    <a:cubicBezTo>
                      <a:pt x="40958" y="21907"/>
                      <a:pt x="40958" y="15240"/>
                      <a:pt x="44767" y="16192"/>
                    </a:cubicBezTo>
                    <a:cubicBezTo>
                      <a:pt x="47625" y="17145"/>
                      <a:pt x="49530" y="8572"/>
                      <a:pt x="49530" y="8572"/>
                    </a:cubicBezTo>
                    <a:lnTo>
                      <a:pt x="40958" y="2857"/>
                    </a:lnTo>
                    <a:lnTo>
                      <a:pt x="35242" y="952"/>
                    </a:lnTo>
                    <a:lnTo>
                      <a:pt x="26670" y="0"/>
                    </a:lnTo>
                    <a:lnTo>
                      <a:pt x="15240" y="0"/>
                    </a:lnTo>
                    <a:lnTo>
                      <a:pt x="10477" y="0"/>
                    </a:lnTo>
                    <a:cubicBezTo>
                      <a:pt x="8573" y="4763"/>
                      <a:pt x="4763" y="952"/>
                      <a:pt x="8573" y="4763"/>
                    </a:cubicBezTo>
                    <a:cubicBezTo>
                      <a:pt x="11430" y="8572"/>
                      <a:pt x="10477" y="11430"/>
                      <a:pt x="10477" y="11430"/>
                    </a:cubicBezTo>
                    <a:lnTo>
                      <a:pt x="8573" y="17145"/>
                    </a:lnTo>
                    <a:lnTo>
                      <a:pt x="0" y="17145"/>
                    </a:lnTo>
                    <a:lnTo>
                      <a:pt x="952" y="22860"/>
                    </a:lnTo>
                    <a:lnTo>
                      <a:pt x="7620" y="23813"/>
                    </a:lnTo>
                    <a:lnTo>
                      <a:pt x="14288" y="26670"/>
                    </a:lnTo>
                    <a:lnTo>
                      <a:pt x="25717" y="22860"/>
                    </a:lnTo>
                    <a:lnTo>
                      <a:pt x="31433" y="21907"/>
                    </a:lnTo>
                    <a:close/>
                  </a:path>
                </a:pathLst>
              </a:custGeom>
              <a:grpFill/>
              <a:ln w="9525" cap="flat">
                <a:noFill/>
                <a:prstDash val="solid"/>
                <a:miter/>
              </a:ln>
            </p:spPr>
            <p:txBody>
              <a:bodyPr rtlCol="0" anchor="ctr"/>
              <a:lstStyle/>
              <a:p>
                <a:endParaRPr lang="en-US" sz="1765"/>
              </a:p>
            </p:txBody>
          </p:sp>
          <p:sp>
            <p:nvSpPr>
              <p:cNvPr id="269" name="Freeform: Shape 268">
                <a:extLst>
                  <a:ext uri="{FF2B5EF4-FFF2-40B4-BE49-F238E27FC236}">
                    <a16:creationId xmlns:a16="http://schemas.microsoft.com/office/drawing/2014/main" id="{AFD9F58D-4AAC-4371-85C6-5BD1AC7897B6}"/>
                  </a:ext>
                </a:extLst>
              </p:cNvPr>
              <p:cNvSpPr/>
              <p:nvPr/>
            </p:nvSpPr>
            <p:spPr>
              <a:xfrm>
                <a:off x="6474981" y="3011534"/>
                <a:ext cx="107423" cy="60007"/>
              </a:xfrm>
              <a:custGeom>
                <a:avLst/>
                <a:gdLst>
                  <a:gd name="connsiteX0" fmla="*/ 58245 w 107423"/>
                  <a:gd name="connsiteY0" fmla="*/ 57150 h 60007"/>
                  <a:gd name="connsiteX1" fmla="*/ 48720 w 107423"/>
                  <a:gd name="connsiteY1" fmla="*/ 50482 h 60007"/>
                  <a:gd name="connsiteX2" fmla="*/ 46815 w 107423"/>
                  <a:gd name="connsiteY2" fmla="*/ 47625 h 60007"/>
                  <a:gd name="connsiteX3" fmla="*/ 42052 w 107423"/>
                  <a:gd name="connsiteY3" fmla="*/ 45720 h 60007"/>
                  <a:gd name="connsiteX4" fmla="*/ 36337 w 107423"/>
                  <a:gd name="connsiteY4" fmla="*/ 43815 h 60007"/>
                  <a:gd name="connsiteX5" fmla="*/ 29670 w 107423"/>
                  <a:gd name="connsiteY5" fmla="*/ 39052 h 60007"/>
                  <a:gd name="connsiteX6" fmla="*/ 24907 w 107423"/>
                  <a:gd name="connsiteY6" fmla="*/ 36195 h 60007"/>
                  <a:gd name="connsiteX7" fmla="*/ 16335 w 107423"/>
                  <a:gd name="connsiteY7" fmla="*/ 34290 h 60007"/>
                  <a:gd name="connsiteX8" fmla="*/ 3000 w 107423"/>
                  <a:gd name="connsiteY8" fmla="*/ 32385 h 60007"/>
                  <a:gd name="connsiteX9" fmla="*/ 2047 w 107423"/>
                  <a:gd name="connsiteY9" fmla="*/ 29527 h 60007"/>
                  <a:gd name="connsiteX10" fmla="*/ 3000 w 107423"/>
                  <a:gd name="connsiteY10" fmla="*/ 27622 h 60007"/>
                  <a:gd name="connsiteX11" fmla="*/ 19192 w 107423"/>
                  <a:gd name="connsiteY11" fmla="*/ 26670 h 60007"/>
                  <a:gd name="connsiteX12" fmla="*/ 24907 w 107423"/>
                  <a:gd name="connsiteY12" fmla="*/ 26670 h 60007"/>
                  <a:gd name="connsiteX13" fmla="*/ 30622 w 107423"/>
                  <a:gd name="connsiteY13" fmla="*/ 25717 h 60007"/>
                  <a:gd name="connsiteX14" fmla="*/ 36337 w 107423"/>
                  <a:gd name="connsiteY14" fmla="*/ 21907 h 60007"/>
                  <a:gd name="connsiteX15" fmla="*/ 37290 w 107423"/>
                  <a:gd name="connsiteY15" fmla="*/ 19050 h 60007"/>
                  <a:gd name="connsiteX16" fmla="*/ 35385 w 107423"/>
                  <a:gd name="connsiteY16" fmla="*/ 16192 h 60007"/>
                  <a:gd name="connsiteX17" fmla="*/ 39195 w 107423"/>
                  <a:gd name="connsiteY17" fmla="*/ 3810 h 60007"/>
                  <a:gd name="connsiteX18" fmla="*/ 42052 w 107423"/>
                  <a:gd name="connsiteY18" fmla="*/ 2857 h 60007"/>
                  <a:gd name="connsiteX19" fmla="*/ 53482 w 107423"/>
                  <a:gd name="connsiteY19" fmla="*/ 2857 h 60007"/>
                  <a:gd name="connsiteX20" fmla="*/ 62055 w 107423"/>
                  <a:gd name="connsiteY20" fmla="*/ 1905 h 60007"/>
                  <a:gd name="connsiteX21" fmla="*/ 73485 w 107423"/>
                  <a:gd name="connsiteY21" fmla="*/ 0 h 60007"/>
                  <a:gd name="connsiteX22" fmla="*/ 81105 w 107423"/>
                  <a:gd name="connsiteY22" fmla="*/ 0 h 60007"/>
                  <a:gd name="connsiteX23" fmla="*/ 87773 w 107423"/>
                  <a:gd name="connsiteY23" fmla="*/ 1905 h 60007"/>
                  <a:gd name="connsiteX24" fmla="*/ 92535 w 107423"/>
                  <a:gd name="connsiteY24" fmla="*/ 5715 h 60007"/>
                  <a:gd name="connsiteX25" fmla="*/ 92535 w 107423"/>
                  <a:gd name="connsiteY25" fmla="*/ 9525 h 60007"/>
                  <a:gd name="connsiteX26" fmla="*/ 92535 w 107423"/>
                  <a:gd name="connsiteY26" fmla="*/ 15240 h 60007"/>
                  <a:gd name="connsiteX27" fmla="*/ 92535 w 107423"/>
                  <a:gd name="connsiteY27" fmla="*/ 20955 h 60007"/>
                  <a:gd name="connsiteX28" fmla="*/ 99202 w 107423"/>
                  <a:gd name="connsiteY28" fmla="*/ 24765 h 60007"/>
                  <a:gd name="connsiteX29" fmla="*/ 103965 w 107423"/>
                  <a:gd name="connsiteY29" fmla="*/ 26670 h 60007"/>
                  <a:gd name="connsiteX30" fmla="*/ 103965 w 107423"/>
                  <a:gd name="connsiteY30" fmla="*/ 38100 h 60007"/>
                  <a:gd name="connsiteX31" fmla="*/ 103965 w 107423"/>
                  <a:gd name="connsiteY31" fmla="*/ 42863 h 60007"/>
                  <a:gd name="connsiteX32" fmla="*/ 104917 w 107423"/>
                  <a:gd name="connsiteY32" fmla="*/ 46672 h 60007"/>
                  <a:gd name="connsiteX33" fmla="*/ 92535 w 107423"/>
                  <a:gd name="connsiteY33" fmla="*/ 52388 h 60007"/>
                  <a:gd name="connsiteX34" fmla="*/ 85867 w 107423"/>
                  <a:gd name="connsiteY34" fmla="*/ 53340 h 60007"/>
                  <a:gd name="connsiteX35" fmla="*/ 82057 w 107423"/>
                  <a:gd name="connsiteY35" fmla="*/ 55245 h 60007"/>
                  <a:gd name="connsiteX36" fmla="*/ 77295 w 107423"/>
                  <a:gd name="connsiteY36" fmla="*/ 59055 h 60007"/>
                  <a:gd name="connsiteX37" fmla="*/ 67770 w 107423"/>
                  <a:gd name="connsiteY37" fmla="*/ 60007 h 60007"/>
                  <a:gd name="connsiteX38" fmla="*/ 58245 w 107423"/>
                  <a:gd name="connsiteY38" fmla="*/ 5715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423" h="60007">
                    <a:moveTo>
                      <a:pt x="58245" y="57150"/>
                    </a:moveTo>
                    <a:lnTo>
                      <a:pt x="48720" y="50482"/>
                    </a:lnTo>
                    <a:lnTo>
                      <a:pt x="46815" y="47625"/>
                    </a:lnTo>
                    <a:lnTo>
                      <a:pt x="42052" y="45720"/>
                    </a:lnTo>
                    <a:lnTo>
                      <a:pt x="36337" y="43815"/>
                    </a:lnTo>
                    <a:lnTo>
                      <a:pt x="29670" y="39052"/>
                    </a:lnTo>
                    <a:lnTo>
                      <a:pt x="24907" y="36195"/>
                    </a:lnTo>
                    <a:lnTo>
                      <a:pt x="16335" y="34290"/>
                    </a:lnTo>
                    <a:lnTo>
                      <a:pt x="3000" y="32385"/>
                    </a:lnTo>
                    <a:cubicBezTo>
                      <a:pt x="3000" y="32385"/>
                      <a:pt x="1095" y="31432"/>
                      <a:pt x="2047" y="29527"/>
                    </a:cubicBezTo>
                    <a:cubicBezTo>
                      <a:pt x="3000" y="27622"/>
                      <a:pt x="-3668" y="29527"/>
                      <a:pt x="3000" y="27622"/>
                    </a:cubicBezTo>
                    <a:cubicBezTo>
                      <a:pt x="9667" y="25717"/>
                      <a:pt x="19192" y="26670"/>
                      <a:pt x="19192" y="26670"/>
                    </a:cubicBezTo>
                    <a:lnTo>
                      <a:pt x="24907" y="26670"/>
                    </a:lnTo>
                    <a:cubicBezTo>
                      <a:pt x="24907" y="26670"/>
                      <a:pt x="26812" y="25717"/>
                      <a:pt x="30622" y="25717"/>
                    </a:cubicBezTo>
                    <a:cubicBezTo>
                      <a:pt x="33480" y="25717"/>
                      <a:pt x="36337" y="21907"/>
                      <a:pt x="36337" y="21907"/>
                    </a:cubicBezTo>
                    <a:lnTo>
                      <a:pt x="37290" y="19050"/>
                    </a:lnTo>
                    <a:lnTo>
                      <a:pt x="35385" y="16192"/>
                    </a:lnTo>
                    <a:cubicBezTo>
                      <a:pt x="35385" y="16192"/>
                      <a:pt x="35385" y="3810"/>
                      <a:pt x="39195" y="3810"/>
                    </a:cubicBezTo>
                    <a:cubicBezTo>
                      <a:pt x="42052" y="2857"/>
                      <a:pt x="38242" y="2857"/>
                      <a:pt x="42052" y="2857"/>
                    </a:cubicBezTo>
                    <a:cubicBezTo>
                      <a:pt x="46815" y="2857"/>
                      <a:pt x="53482" y="2857"/>
                      <a:pt x="53482" y="2857"/>
                    </a:cubicBezTo>
                    <a:lnTo>
                      <a:pt x="62055" y="1905"/>
                    </a:lnTo>
                    <a:lnTo>
                      <a:pt x="73485" y="0"/>
                    </a:lnTo>
                    <a:lnTo>
                      <a:pt x="81105" y="0"/>
                    </a:lnTo>
                    <a:lnTo>
                      <a:pt x="87773" y="1905"/>
                    </a:lnTo>
                    <a:lnTo>
                      <a:pt x="92535" y="5715"/>
                    </a:lnTo>
                    <a:lnTo>
                      <a:pt x="92535" y="9525"/>
                    </a:lnTo>
                    <a:lnTo>
                      <a:pt x="92535" y="15240"/>
                    </a:lnTo>
                    <a:cubicBezTo>
                      <a:pt x="92535" y="15240"/>
                      <a:pt x="88725" y="20002"/>
                      <a:pt x="92535" y="20955"/>
                    </a:cubicBezTo>
                    <a:cubicBezTo>
                      <a:pt x="95392" y="21907"/>
                      <a:pt x="99202" y="24765"/>
                      <a:pt x="99202" y="24765"/>
                    </a:cubicBezTo>
                    <a:lnTo>
                      <a:pt x="103965" y="26670"/>
                    </a:lnTo>
                    <a:lnTo>
                      <a:pt x="103965" y="38100"/>
                    </a:lnTo>
                    <a:cubicBezTo>
                      <a:pt x="103965" y="38100"/>
                      <a:pt x="103012" y="39052"/>
                      <a:pt x="103965" y="42863"/>
                    </a:cubicBezTo>
                    <a:cubicBezTo>
                      <a:pt x="104917" y="46672"/>
                      <a:pt x="110632" y="42863"/>
                      <a:pt x="104917" y="46672"/>
                    </a:cubicBezTo>
                    <a:cubicBezTo>
                      <a:pt x="99202" y="50482"/>
                      <a:pt x="92535" y="52388"/>
                      <a:pt x="92535" y="52388"/>
                    </a:cubicBezTo>
                    <a:cubicBezTo>
                      <a:pt x="92535" y="52388"/>
                      <a:pt x="89677" y="53340"/>
                      <a:pt x="85867" y="53340"/>
                    </a:cubicBezTo>
                    <a:cubicBezTo>
                      <a:pt x="82057" y="55245"/>
                      <a:pt x="82057" y="55245"/>
                      <a:pt x="82057" y="55245"/>
                    </a:cubicBezTo>
                    <a:lnTo>
                      <a:pt x="77295" y="59055"/>
                    </a:lnTo>
                    <a:lnTo>
                      <a:pt x="67770" y="60007"/>
                    </a:lnTo>
                    <a:lnTo>
                      <a:pt x="58245" y="57150"/>
                    </a:lnTo>
                    <a:close/>
                  </a:path>
                </a:pathLst>
              </a:custGeom>
              <a:grpFill/>
              <a:ln w="9525" cap="flat">
                <a:noFill/>
                <a:prstDash val="solid"/>
                <a:miter/>
              </a:ln>
            </p:spPr>
            <p:txBody>
              <a:bodyPr rtlCol="0" anchor="ctr"/>
              <a:lstStyle/>
              <a:p>
                <a:endParaRPr lang="en-US" sz="1765"/>
              </a:p>
            </p:txBody>
          </p:sp>
          <p:sp>
            <p:nvSpPr>
              <p:cNvPr id="270" name="Freeform: Shape 269">
                <a:extLst>
                  <a:ext uri="{FF2B5EF4-FFF2-40B4-BE49-F238E27FC236}">
                    <a16:creationId xmlns:a16="http://schemas.microsoft.com/office/drawing/2014/main" id="{5F095661-359A-4E14-AC2D-051AD06F7DA8}"/>
                  </a:ext>
                </a:extLst>
              </p:cNvPr>
              <p:cNvSpPr/>
              <p:nvPr/>
            </p:nvSpPr>
            <p:spPr>
              <a:xfrm>
                <a:off x="6600854" y="3011295"/>
                <a:ext cx="77495" cy="35480"/>
              </a:xfrm>
              <a:custGeom>
                <a:avLst/>
                <a:gdLst>
                  <a:gd name="connsiteX0" fmla="*/ 9525 w 77495"/>
                  <a:gd name="connsiteY0" fmla="*/ 35481 h 35480"/>
                  <a:gd name="connsiteX1" fmla="*/ 1905 w 77495"/>
                  <a:gd name="connsiteY1" fmla="*/ 33576 h 35480"/>
                  <a:gd name="connsiteX2" fmla="*/ 0 w 77495"/>
                  <a:gd name="connsiteY2" fmla="*/ 28813 h 35480"/>
                  <a:gd name="connsiteX3" fmla="*/ 952 w 77495"/>
                  <a:gd name="connsiteY3" fmla="*/ 22146 h 35480"/>
                  <a:gd name="connsiteX4" fmla="*/ 952 w 77495"/>
                  <a:gd name="connsiteY4" fmla="*/ 12621 h 35480"/>
                  <a:gd name="connsiteX5" fmla="*/ 1905 w 77495"/>
                  <a:gd name="connsiteY5" fmla="*/ 8811 h 35480"/>
                  <a:gd name="connsiteX6" fmla="*/ 3810 w 77495"/>
                  <a:gd name="connsiteY6" fmla="*/ 5001 h 35480"/>
                  <a:gd name="connsiteX7" fmla="*/ 9525 w 77495"/>
                  <a:gd name="connsiteY7" fmla="*/ 238 h 35480"/>
                  <a:gd name="connsiteX8" fmla="*/ 14288 w 77495"/>
                  <a:gd name="connsiteY8" fmla="*/ 238 h 35480"/>
                  <a:gd name="connsiteX9" fmla="*/ 31432 w 77495"/>
                  <a:gd name="connsiteY9" fmla="*/ 1191 h 35480"/>
                  <a:gd name="connsiteX10" fmla="*/ 44767 w 77495"/>
                  <a:gd name="connsiteY10" fmla="*/ 1191 h 35480"/>
                  <a:gd name="connsiteX11" fmla="*/ 50482 w 77495"/>
                  <a:gd name="connsiteY11" fmla="*/ 1191 h 35480"/>
                  <a:gd name="connsiteX12" fmla="*/ 59055 w 77495"/>
                  <a:gd name="connsiteY12" fmla="*/ 238 h 35480"/>
                  <a:gd name="connsiteX13" fmla="*/ 68580 w 77495"/>
                  <a:gd name="connsiteY13" fmla="*/ 1191 h 35480"/>
                  <a:gd name="connsiteX14" fmla="*/ 73342 w 77495"/>
                  <a:gd name="connsiteY14" fmla="*/ 3096 h 35480"/>
                  <a:gd name="connsiteX15" fmla="*/ 77152 w 77495"/>
                  <a:gd name="connsiteY15" fmla="*/ 8811 h 35480"/>
                  <a:gd name="connsiteX16" fmla="*/ 76200 w 77495"/>
                  <a:gd name="connsiteY16" fmla="*/ 14526 h 35480"/>
                  <a:gd name="connsiteX17" fmla="*/ 75247 w 77495"/>
                  <a:gd name="connsiteY17" fmla="*/ 16431 h 35480"/>
                  <a:gd name="connsiteX18" fmla="*/ 66675 w 77495"/>
                  <a:gd name="connsiteY18" fmla="*/ 24051 h 35480"/>
                  <a:gd name="connsiteX19" fmla="*/ 60960 w 77495"/>
                  <a:gd name="connsiteY19" fmla="*/ 25003 h 35480"/>
                  <a:gd name="connsiteX20" fmla="*/ 53340 w 77495"/>
                  <a:gd name="connsiteY20" fmla="*/ 26908 h 35480"/>
                  <a:gd name="connsiteX21" fmla="*/ 44767 w 77495"/>
                  <a:gd name="connsiteY21" fmla="*/ 30718 h 35480"/>
                  <a:gd name="connsiteX22" fmla="*/ 33338 w 77495"/>
                  <a:gd name="connsiteY22" fmla="*/ 33576 h 35480"/>
                  <a:gd name="connsiteX23" fmla="*/ 28575 w 77495"/>
                  <a:gd name="connsiteY23" fmla="*/ 33576 h 35480"/>
                  <a:gd name="connsiteX24" fmla="*/ 21907 w 77495"/>
                  <a:gd name="connsiteY24" fmla="*/ 34528 h 35480"/>
                  <a:gd name="connsiteX25" fmla="*/ 15240 w 77495"/>
                  <a:gd name="connsiteY25" fmla="*/ 35481 h 35480"/>
                  <a:gd name="connsiteX26" fmla="*/ 9525 w 77495"/>
                  <a:gd name="connsiteY26" fmla="*/ 35481 h 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495" h="35480">
                    <a:moveTo>
                      <a:pt x="9525" y="35481"/>
                    </a:moveTo>
                    <a:lnTo>
                      <a:pt x="1905" y="33576"/>
                    </a:lnTo>
                    <a:lnTo>
                      <a:pt x="0" y="28813"/>
                    </a:lnTo>
                    <a:lnTo>
                      <a:pt x="952" y="22146"/>
                    </a:lnTo>
                    <a:lnTo>
                      <a:pt x="952" y="12621"/>
                    </a:lnTo>
                    <a:lnTo>
                      <a:pt x="1905" y="8811"/>
                    </a:lnTo>
                    <a:lnTo>
                      <a:pt x="3810" y="5001"/>
                    </a:lnTo>
                    <a:lnTo>
                      <a:pt x="9525" y="238"/>
                    </a:lnTo>
                    <a:lnTo>
                      <a:pt x="14288" y="238"/>
                    </a:lnTo>
                    <a:lnTo>
                      <a:pt x="31432" y="1191"/>
                    </a:lnTo>
                    <a:lnTo>
                      <a:pt x="44767" y="1191"/>
                    </a:lnTo>
                    <a:cubicBezTo>
                      <a:pt x="44767" y="1191"/>
                      <a:pt x="46672" y="1191"/>
                      <a:pt x="50482" y="1191"/>
                    </a:cubicBezTo>
                    <a:cubicBezTo>
                      <a:pt x="53340" y="1191"/>
                      <a:pt x="59055" y="238"/>
                      <a:pt x="59055" y="238"/>
                    </a:cubicBezTo>
                    <a:cubicBezTo>
                      <a:pt x="59055" y="238"/>
                      <a:pt x="64770" y="-714"/>
                      <a:pt x="68580" y="1191"/>
                    </a:cubicBezTo>
                    <a:cubicBezTo>
                      <a:pt x="73342" y="3096"/>
                      <a:pt x="68580" y="-2619"/>
                      <a:pt x="73342" y="3096"/>
                    </a:cubicBezTo>
                    <a:cubicBezTo>
                      <a:pt x="77152" y="8811"/>
                      <a:pt x="78105" y="5953"/>
                      <a:pt x="77152" y="8811"/>
                    </a:cubicBezTo>
                    <a:cubicBezTo>
                      <a:pt x="77152" y="11668"/>
                      <a:pt x="77152" y="12621"/>
                      <a:pt x="76200" y="14526"/>
                    </a:cubicBezTo>
                    <a:cubicBezTo>
                      <a:pt x="75247" y="16431"/>
                      <a:pt x="75247" y="16431"/>
                      <a:pt x="75247" y="16431"/>
                    </a:cubicBezTo>
                    <a:lnTo>
                      <a:pt x="66675" y="24051"/>
                    </a:lnTo>
                    <a:lnTo>
                      <a:pt x="60960" y="25003"/>
                    </a:lnTo>
                    <a:lnTo>
                      <a:pt x="53340" y="26908"/>
                    </a:lnTo>
                    <a:cubicBezTo>
                      <a:pt x="53340" y="26908"/>
                      <a:pt x="48577" y="28813"/>
                      <a:pt x="44767" y="30718"/>
                    </a:cubicBezTo>
                    <a:cubicBezTo>
                      <a:pt x="40005" y="32623"/>
                      <a:pt x="33338" y="33576"/>
                      <a:pt x="33338" y="33576"/>
                    </a:cubicBezTo>
                    <a:lnTo>
                      <a:pt x="28575" y="33576"/>
                    </a:lnTo>
                    <a:lnTo>
                      <a:pt x="21907" y="34528"/>
                    </a:lnTo>
                    <a:lnTo>
                      <a:pt x="15240" y="35481"/>
                    </a:lnTo>
                    <a:lnTo>
                      <a:pt x="9525" y="35481"/>
                    </a:lnTo>
                    <a:close/>
                  </a:path>
                </a:pathLst>
              </a:custGeom>
              <a:grpFill/>
              <a:ln w="9525" cap="flat">
                <a:noFill/>
                <a:prstDash val="solid"/>
                <a:miter/>
              </a:ln>
            </p:spPr>
            <p:txBody>
              <a:bodyPr rtlCol="0" anchor="ctr"/>
              <a:lstStyle/>
              <a:p>
                <a:endParaRPr lang="en-US" sz="1765"/>
              </a:p>
            </p:txBody>
          </p:sp>
          <p:sp>
            <p:nvSpPr>
              <p:cNvPr id="271" name="Freeform: Shape 270">
                <a:extLst>
                  <a:ext uri="{FF2B5EF4-FFF2-40B4-BE49-F238E27FC236}">
                    <a16:creationId xmlns:a16="http://schemas.microsoft.com/office/drawing/2014/main" id="{AC34C483-7126-4800-A736-F3F387ED9C5F}"/>
                  </a:ext>
                </a:extLst>
              </p:cNvPr>
              <p:cNvSpPr/>
              <p:nvPr/>
            </p:nvSpPr>
            <p:spPr>
              <a:xfrm>
                <a:off x="6586566" y="2980794"/>
                <a:ext cx="48577" cy="17404"/>
              </a:xfrm>
              <a:custGeom>
                <a:avLst/>
                <a:gdLst>
                  <a:gd name="connsiteX0" fmla="*/ 8572 w 48577"/>
                  <a:gd name="connsiteY0" fmla="*/ 17405 h 17404"/>
                  <a:gd name="connsiteX1" fmla="*/ 3810 w 48577"/>
                  <a:gd name="connsiteY1" fmla="*/ 17405 h 17404"/>
                  <a:gd name="connsiteX2" fmla="*/ 0 w 48577"/>
                  <a:gd name="connsiteY2" fmla="*/ 10737 h 17404"/>
                  <a:gd name="connsiteX3" fmla="*/ 1905 w 48577"/>
                  <a:gd name="connsiteY3" fmla="*/ 7880 h 17404"/>
                  <a:gd name="connsiteX4" fmla="*/ 5715 w 48577"/>
                  <a:gd name="connsiteY4" fmla="*/ 4070 h 17404"/>
                  <a:gd name="connsiteX5" fmla="*/ 10477 w 48577"/>
                  <a:gd name="connsiteY5" fmla="*/ 3117 h 17404"/>
                  <a:gd name="connsiteX6" fmla="*/ 20002 w 48577"/>
                  <a:gd name="connsiteY6" fmla="*/ 2165 h 17404"/>
                  <a:gd name="connsiteX7" fmla="*/ 32385 w 48577"/>
                  <a:gd name="connsiteY7" fmla="*/ 260 h 17404"/>
                  <a:gd name="connsiteX8" fmla="*/ 43815 w 48577"/>
                  <a:gd name="connsiteY8" fmla="*/ 2165 h 17404"/>
                  <a:gd name="connsiteX9" fmla="*/ 48577 w 48577"/>
                  <a:gd name="connsiteY9" fmla="*/ 5022 h 17404"/>
                  <a:gd name="connsiteX10" fmla="*/ 48577 w 48577"/>
                  <a:gd name="connsiteY10" fmla="*/ 11690 h 17404"/>
                  <a:gd name="connsiteX11" fmla="*/ 42863 w 48577"/>
                  <a:gd name="connsiteY11" fmla="*/ 15500 h 17404"/>
                  <a:gd name="connsiteX12" fmla="*/ 8572 w 48577"/>
                  <a:gd name="connsiteY12" fmla="*/ 17405 h 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77" h="17404">
                    <a:moveTo>
                      <a:pt x="8572" y="17405"/>
                    </a:moveTo>
                    <a:lnTo>
                      <a:pt x="3810" y="17405"/>
                    </a:lnTo>
                    <a:lnTo>
                      <a:pt x="0" y="10737"/>
                    </a:lnTo>
                    <a:lnTo>
                      <a:pt x="1905" y="7880"/>
                    </a:lnTo>
                    <a:cubicBezTo>
                      <a:pt x="1905" y="7880"/>
                      <a:pt x="952" y="5975"/>
                      <a:pt x="5715" y="4070"/>
                    </a:cubicBezTo>
                    <a:cubicBezTo>
                      <a:pt x="10477" y="3117"/>
                      <a:pt x="10477" y="3117"/>
                      <a:pt x="10477" y="3117"/>
                    </a:cubicBezTo>
                    <a:cubicBezTo>
                      <a:pt x="10477" y="3117"/>
                      <a:pt x="17145" y="2165"/>
                      <a:pt x="20002" y="2165"/>
                    </a:cubicBezTo>
                    <a:cubicBezTo>
                      <a:pt x="22860" y="1212"/>
                      <a:pt x="28575" y="-693"/>
                      <a:pt x="32385" y="260"/>
                    </a:cubicBezTo>
                    <a:cubicBezTo>
                      <a:pt x="35242" y="1212"/>
                      <a:pt x="39052" y="-693"/>
                      <a:pt x="43815" y="2165"/>
                    </a:cubicBezTo>
                    <a:cubicBezTo>
                      <a:pt x="48577" y="5022"/>
                      <a:pt x="48577" y="5022"/>
                      <a:pt x="48577" y="5022"/>
                    </a:cubicBezTo>
                    <a:lnTo>
                      <a:pt x="48577" y="11690"/>
                    </a:lnTo>
                    <a:lnTo>
                      <a:pt x="42863" y="15500"/>
                    </a:lnTo>
                    <a:lnTo>
                      <a:pt x="8572" y="17405"/>
                    </a:lnTo>
                    <a:close/>
                  </a:path>
                </a:pathLst>
              </a:custGeom>
              <a:grpFill/>
              <a:ln w="9525" cap="flat">
                <a:noFill/>
                <a:prstDash val="solid"/>
                <a:miter/>
              </a:ln>
            </p:spPr>
            <p:txBody>
              <a:bodyPr rtlCol="0" anchor="ctr"/>
              <a:lstStyle/>
              <a:p>
                <a:endParaRPr lang="en-US" sz="1765"/>
              </a:p>
            </p:txBody>
          </p:sp>
          <p:sp>
            <p:nvSpPr>
              <p:cNvPr id="272" name="Freeform: Shape 271">
                <a:extLst>
                  <a:ext uri="{FF2B5EF4-FFF2-40B4-BE49-F238E27FC236}">
                    <a16:creationId xmlns:a16="http://schemas.microsoft.com/office/drawing/2014/main" id="{4D42695C-AB92-4803-9D36-9DF22DCF2F52}"/>
                  </a:ext>
                </a:extLst>
              </p:cNvPr>
              <p:cNvSpPr/>
              <p:nvPr/>
            </p:nvSpPr>
            <p:spPr>
              <a:xfrm>
                <a:off x="6737908" y="3182031"/>
                <a:ext cx="118215" cy="40957"/>
              </a:xfrm>
              <a:custGeom>
                <a:avLst/>
                <a:gdLst>
                  <a:gd name="connsiteX0" fmla="*/ 51541 w 118215"/>
                  <a:gd name="connsiteY0" fmla="*/ 3810 h 40957"/>
                  <a:gd name="connsiteX1" fmla="*/ 42016 w 118215"/>
                  <a:gd name="connsiteY1" fmla="*/ 953 h 40957"/>
                  <a:gd name="connsiteX2" fmla="*/ 28681 w 118215"/>
                  <a:gd name="connsiteY2" fmla="*/ 0 h 40957"/>
                  <a:gd name="connsiteX3" fmla="*/ 21061 w 118215"/>
                  <a:gd name="connsiteY3" fmla="*/ 953 h 40957"/>
                  <a:gd name="connsiteX4" fmla="*/ 17251 w 118215"/>
                  <a:gd name="connsiteY4" fmla="*/ 6668 h 40957"/>
                  <a:gd name="connsiteX5" fmla="*/ 10583 w 118215"/>
                  <a:gd name="connsiteY5" fmla="*/ 10478 h 40957"/>
                  <a:gd name="connsiteX6" fmla="*/ 10583 w 118215"/>
                  <a:gd name="connsiteY6" fmla="*/ 12383 h 40957"/>
                  <a:gd name="connsiteX7" fmla="*/ 9631 w 118215"/>
                  <a:gd name="connsiteY7" fmla="*/ 16193 h 40957"/>
                  <a:gd name="connsiteX8" fmla="*/ 9631 w 118215"/>
                  <a:gd name="connsiteY8" fmla="*/ 19050 h 40957"/>
                  <a:gd name="connsiteX9" fmla="*/ 4868 w 118215"/>
                  <a:gd name="connsiteY9" fmla="*/ 23813 h 40957"/>
                  <a:gd name="connsiteX10" fmla="*/ 2963 w 118215"/>
                  <a:gd name="connsiteY10" fmla="*/ 28575 h 40957"/>
                  <a:gd name="connsiteX11" fmla="*/ 2963 w 118215"/>
                  <a:gd name="connsiteY11" fmla="*/ 34290 h 40957"/>
                  <a:gd name="connsiteX12" fmla="*/ 18203 w 118215"/>
                  <a:gd name="connsiteY12" fmla="*/ 36195 h 40957"/>
                  <a:gd name="connsiteX13" fmla="*/ 23918 w 118215"/>
                  <a:gd name="connsiteY13" fmla="*/ 39053 h 40957"/>
                  <a:gd name="connsiteX14" fmla="*/ 31538 w 118215"/>
                  <a:gd name="connsiteY14" fmla="*/ 40958 h 40957"/>
                  <a:gd name="connsiteX15" fmla="*/ 41063 w 118215"/>
                  <a:gd name="connsiteY15" fmla="*/ 40005 h 40957"/>
                  <a:gd name="connsiteX16" fmla="*/ 46778 w 118215"/>
                  <a:gd name="connsiteY16" fmla="*/ 33338 h 40957"/>
                  <a:gd name="connsiteX17" fmla="*/ 56303 w 118215"/>
                  <a:gd name="connsiteY17" fmla="*/ 32385 h 40957"/>
                  <a:gd name="connsiteX18" fmla="*/ 62018 w 118215"/>
                  <a:gd name="connsiteY18" fmla="*/ 32385 h 40957"/>
                  <a:gd name="connsiteX19" fmla="*/ 71543 w 118215"/>
                  <a:gd name="connsiteY19" fmla="*/ 33338 h 40957"/>
                  <a:gd name="connsiteX20" fmla="*/ 80116 w 118215"/>
                  <a:gd name="connsiteY20" fmla="*/ 34290 h 40957"/>
                  <a:gd name="connsiteX21" fmla="*/ 98213 w 118215"/>
                  <a:gd name="connsiteY21" fmla="*/ 35243 h 40957"/>
                  <a:gd name="connsiteX22" fmla="*/ 111548 w 118215"/>
                  <a:gd name="connsiteY22" fmla="*/ 37148 h 40957"/>
                  <a:gd name="connsiteX23" fmla="*/ 118216 w 118215"/>
                  <a:gd name="connsiteY23" fmla="*/ 35243 h 40957"/>
                  <a:gd name="connsiteX24" fmla="*/ 118216 w 118215"/>
                  <a:gd name="connsiteY24" fmla="*/ 32385 h 40957"/>
                  <a:gd name="connsiteX25" fmla="*/ 111548 w 118215"/>
                  <a:gd name="connsiteY25" fmla="*/ 28575 h 40957"/>
                  <a:gd name="connsiteX26" fmla="*/ 103928 w 118215"/>
                  <a:gd name="connsiteY26" fmla="*/ 27623 h 40957"/>
                  <a:gd name="connsiteX27" fmla="*/ 90593 w 118215"/>
                  <a:gd name="connsiteY27" fmla="*/ 23813 h 40957"/>
                  <a:gd name="connsiteX28" fmla="*/ 89641 w 118215"/>
                  <a:gd name="connsiteY28" fmla="*/ 20955 h 40957"/>
                  <a:gd name="connsiteX29" fmla="*/ 82021 w 118215"/>
                  <a:gd name="connsiteY29" fmla="*/ 16193 h 40957"/>
                  <a:gd name="connsiteX30" fmla="*/ 77258 w 118215"/>
                  <a:gd name="connsiteY30" fmla="*/ 15240 h 40957"/>
                  <a:gd name="connsiteX31" fmla="*/ 75353 w 118215"/>
                  <a:gd name="connsiteY31" fmla="*/ 12383 h 40957"/>
                  <a:gd name="connsiteX32" fmla="*/ 61066 w 118215"/>
                  <a:gd name="connsiteY32" fmla="*/ 8573 h 40957"/>
                  <a:gd name="connsiteX33" fmla="*/ 51541 w 118215"/>
                  <a:gd name="connsiteY33" fmla="*/ 381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215" h="40957">
                    <a:moveTo>
                      <a:pt x="51541" y="3810"/>
                    </a:moveTo>
                    <a:lnTo>
                      <a:pt x="42016" y="953"/>
                    </a:lnTo>
                    <a:lnTo>
                      <a:pt x="28681" y="0"/>
                    </a:lnTo>
                    <a:lnTo>
                      <a:pt x="21061" y="953"/>
                    </a:lnTo>
                    <a:lnTo>
                      <a:pt x="17251" y="6668"/>
                    </a:lnTo>
                    <a:cubicBezTo>
                      <a:pt x="17251" y="6668"/>
                      <a:pt x="10583" y="8573"/>
                      <a:pt x="10583" y="10478"/>
                    </a:cubicBezTo>
                    <a:cubicBezTo>
                      <a:pt x="10583" y="12383"/>
                      <a:pt x="11536" y="8573"/>
                      <a:pt x="10583" y="12383"/>
                    </a:cubicBezTo>
                    <a:cubicBezTo>
                      <a:pt x="9631" y="16193"/>
                      <a:pt x="9631" y="16193"/>
                      <a:pt x="9631" y="16193"/>
                    </a:cubicBezTo>
                    <a:cubicBezTo>
                      <a:pt x="9631" y="16193"/>
                      <a:pt x="9631" y="17145"/>
                      <a:pt x="9631" y="19050"/>
                    </a:cubicBezTo>
                    <a:cubicBezTo>
                      <a:pt x="9631" y="20955"/>
                      <a:pt x="4868" y="21908"/>
                      <a:pt x="4868" y="23813"/>
                    </a:cubicBezTo>
                    <a:cubicBezTo>
                      <a:pt x="4868" y="25718"/>
                      <a:pt x="2963" y="28575"/>
                      <a:pt x="2963" y="28575"/>
                    </a:cubicBezTo>
                    <a:cubicBezTo>
                      <a:pt x="2963" y="34290"/>
                      <a:pt x="-3704" y="31433"/>
                      <a:pt x="2963" y="34290"/>
                    </a:cubicBezTo>
                    <a:cubicBezTo>
                      <a:pt x="9631" y="37148"/>
                      <a:pt x="18203" y="36195"/>
                      <a:pt x="18203" y="36195"/>
                    </a:cubicBezTo>
                    <a:lnTo>
                      <a:pt x="23918" y="39053"/>
                    </a:lnTo>
                    <a:lnTo>
                      <a:pt x="31538" y="40958"/>
                    </a:lnTo>
                    <a:lnTo>
                      <a:pt x="41063" y="40005"/>
                    </a:lnTo>
                    <a:cubicBezTo>
                      <a:pt x="41063" y="40005"/>
                      <a:pt x="42968" y="33338"/>
                      <a:pt x="46778" y="33338"/>
                    </a:cubicBezTo>
                    <a:cubicBezTo>
                      <a:pt x="49636" y="32385"/>
                      <a:pt x="56303" y="32385"/>
                      <a:pt x="56303" y="32385"/>
                    </a:cubicBezTo>
                    <a:lnTo>
                      <a:pt x="62018" y="32385"/>
                    </a:lnTo>
                    <a:lnTo>
                      <a:pt x="71543" y="33338"/>
                    </a:lnTo>
                    <a:cubicBezTo>
                      <a:pt x="71543" y="33338"/>
                      <a:pt x="77258" y="34290"/>
                      <a:pt x="80116" y="34290"/>
                    </a:cubicBezTo>
                    <a:cubicBezTo>
                      <a:pt x="82973" y="34290"/>
                      <a:pt x="94403" y="34290"/>
                      <a:pt x="98213" y="35243"/>
                    </a:cubicBezTo>
                    <a:cubicBezTo>
                      <a:pt x="101071" y="36195"/>
                      <a:pt x="111548" y="37148"/>
                      <a:pt x="111548" y="37148"/>
                    </a:cubicBezTo>
                    <a:lnTo>
                      <a:pt x="118216" y="35243"/>
                    </a:lnTo>
                    <a:lnTo>
                      <a:pt x="118216" y="32385"/>
                    </a:lnTo>
                    <a:lnTo>
                      <a:pt x="111548" y="28575"/>
                    </a:lnTo>
                    <a:lnTo>
                      <a:pt x="103928" y="27623"/>
                    </a:lnTo>
                    <a:lnTo>
                      <a:pt x="90593" y="23813"/>
                    </a:lnTo>
                    <a:lnTo>
                      <a:pt x="89641" y="20955"/>
                    </a:lnTo>
                    <a:lnTo>
                      <a:pt x="82021" y="16193"/>
                    </a:lnTo>
                    <a:lnTo>
                      <a:pt x="77258" y="15240"/>
                    </a:lnTo>
                    <a:cubicBezTo>
                      <a:pt x="77258" y="15240"/>
                      <a:pt x="76306" y="14288"/>
                      <a:pt x="75353" y="12383"/>
                    </a:cubicBezTo>
                    <a:cubicBezTo>
                      <a:pt x="74401" y="10478"/>
                      <a:pt x="61066" y="8573"/>
                      <a:pt x="61066" y="8573"/>
                    </a:cubicBezTo>
                    <a:lnTo>
                      <a:pt x="51541" y="3810"/>
                    </a:lnTo>
                    <a:close/>
                  </a:path>
                </a:pathLst>
              </a:custGeom>
              <a:grpFill/>
              <a:ln w="9525" cap="flat">
                <a:noFill/>
                <a:prstDash val="solid"/>
                <a:miter/>
              </a:ln>
            </p:spPr>
            <p:txBody>
              <a:bodyPr rtlCol="0" anchor="ctr"/>
              <a:lstStyle/>
              <a:p>
                <a:endParaRPr lang="en-US" sz="1765"/>
              </a:p>
            </p:txBody>
          </p:sp>
          <p:sp>
            <p:nvSpPr>
              <p:cNvPr id="273" name="Freeform: Shape 272">
                <a:extLst>
                  <a:ext uri="{FF2B5EF4-FFF2-40B4-BE49-F238E27FC236}">
                    <a16:creationId xmlns:a16="http://schemas.microsoft.com/office/drawing/2014/main" id="{084C2C87-6D4F-4502-80FA-700CEACC8FB0}"/>
                  </a:ext>
                </a:extLst>
              </p:cNvPr>
              <p:cNvSpPr/>
              <p:nvPr/>
            </p:nvSpPr>
            <p:spPr>
              <a:xfrm>
                <a:off x="6787470" y="3229656"/>
                <a:ext cx="39126" cy="10477"/>
              </a:xfrm>
              <a:custGeom>
                <a:avLst/>
                <a:gdLst>
                  <a:gd name="connsiteX0" fmla="*/ 32459 w 39126"/>
                  <a:gd name="connsiteY0" fmla="*/ 953 h 10477"/>
                  <a:gd name="connsiteX1" fmla="*/ 18171 w 39126"/>
                  <a:gd name="connsiteY1" fmla="*/ 953 h 10477"/>
                  <a:gd name="connsiteX2" fmla="*/ 13409 w 39126"/>
                  <a:gd name="connsiteY2" fmla="*/ 2858 h 10477"/>
                  <a:gd name="connsiteX3" fmla="*/ 7694 w 39126"/>
                  <a:gd name="connsiteY3" fmla="*/ 4763 h 10477"/>
                  <a:gd name="connsiteX4" fmla="*/ 74 w 39126"/>
                  <a:gd name="connsiteY4" fmla="*/ 5715 h 10477"/>
                  <a:gd name="connsiteX5" fmla="*/ 1026 w 39126"/>
                  <a:gd name="connsiteY5" fmla="*/ 7620 h 10477"/>
                  <a:gd name="connsiteX6" fmla="*/ 6741 w 39126"/>
                  <a:gd name="connsiteY6" fmla="*/ 10478 h 10477"/>
                  <a:gd name="connsiteX7" fmla="*/ 16266 w 39126"/>
                  <a:gd name="connsiteY7" fmla="*/ 9525 h 10477"/>
                  <a:gd name="connsiteX8" fmla="*/ 21029 w 39126"/>
                  <a:gd name="connsiteY8" fmla="*/ 9525 h 10477"/>
                  <a:gd name="connsiteX9" fmla="*/ 34364 w 39126"/>
                  <a:gd name="connsiteY9" fmla="*/ 9525 h 10477"/>
                  <a:gd name="connsiteX10" fmla="*/ 39126 w 39126"/>
                  <a:gd name="connsiteY10" fmla="*/ 8573 h 10477"/>
                  <a:gd name="connsiteX11" fmla="*/ 39126 w 39126"/>
                  <a:gd name="connsiteY11" fmla="*/ 0 h 10477"/>
                  <a:gd name="connsiteX12" fmla="*/ 32459 w 39126"/>
                  <a:gd name="connsiteY12" fmla="*/ 953 h 1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26" h="10477">
                    <a:moveTo>
                      <a:pt x="32459" y="953"/>
                    </a:moveTo>
                    <a:lnTo>
                      <a:pt x="18171" y="953"/>
                    </a:lnTo>
                    <a:cubicBezTo>
                      <a:pt x="13409" y="2858"/>
                      <a:pt x="13409" y="2858"/>
                      <a:pt x="13409" y="2858"/>
                    </a:cubicBezTo>
                    <a:lnTo>
                      <a:pt x="7694" y="4763"/>
                    </a:lnTo>
                    <a:cubicBezTo>
                      <a:pt x="7694" y="4763"/>
                      <a:pt x="-879" y="3810"/>
                      <a:pt x="74" y="5715"/>
                    </a:cubicBezTo>
                    <a:cubicBezTo>
                      <a:pt x="1026" y="7620"/>
                      <a:pt x="1026" y="7620"/>
                      <a:pt x="1026" y="7620"/>
                    </a:cubicBezTo>
                    <a:lnTo>
                      <a:pt x="6741" y="10478"/>
                    </a:lnTo>
                    <a:lnTo>
                      <a:pt x="16266" y="9525"/>
                    </a:lnTo>
                    <a:cubicBezTo>
                      <a:pt x="16266" y="9525"/>
                      <a:pt x="17219" y="8573"/>
                      <a:pt x="21029" y="9525"/>
                    </a:cubicBezTo>
                    <a:cubicBezTo>
                      <a:pt x="23886" y="10478"/>
                      <a:pt x="34364" y="9525"/>
                      <a:pt x="34364" y="9525"/>
                    </a:cubicBezTo>
                    <a:lnTo>
                      <a:pt x="39126" y="8573"/>
                    </a:lnTo>
                    <a:lnTo>
                      <a:pt x="39126" y="0"/>
                    </a:lnTo>
                    <a:lnTo>
                      <a:pt x="32459" y="953"/>
                    </a:lnTo>
                    <a:close/>
                  </a:path>
                </a:pathLst>
              </a:custGeom>
              <a:grpFill/>
              <a:ln w="9525" cap="flat">
                <a:noFill/>
                <a:prstDash val="solid"/>
                <a:miter/>
              </a:ln>
            </p:spPr>
            <p:txBody>
              <a:bodyPr rtlCol="0" anchor="ctr"/>
              <a:lstStyle/>
              <a:p>
                <a:endParaRPr lang="en-US" sz="1765"/>
              </a:p>
            </p:txBody>
          </p:sp>
          <p:sp>
            <p:nvSpPr>
              <p:cNvPr id="274" name="Freeform: Shape 273">
                <a:extLst>
                  <a:ext uri="{FF2B5EF4-FFF2-40B4-BE49-F238E27FC236}">
                    <a16:creationId xmlns:a16="http://schemas.microsoft.com/office/drawing/2014/main" id="{6BFA5EB2-AA26-4DC5-A210-7184267646A8}"/>
                  </a:ext>
                </a:extLst>
              </p:cNvPr>
              <p:cNvSpPr/>
              <p:nvPr/>
            </p:nvSpPr>
            <p:spPr>
              <a:xfrm>
                <a:off x="6892241" y="3188804"/>
                <a:ext cx="51512" cy="17991"/>
              </a:xfrm>
              <a:custGeom>
                <a:avLst/>
                <a:gdLst>
                  <a:gd name="connsiteX0" fmla="*/ 44845 w 51512"/>
                  <a:gd name="connsiteY0" fmla="*/ 14182 h 17991"/>
                  <a:gd name="connsiteX1" fmla="*/ 21985 w 51512"/>
                  <a:gd name="connsiteY1" fmla="*/ 17039 h 17991"/>
                  <a:gd name="connsiteX2" fmla="*/ 14365 w 51512"/>
                  <a:gd name="connsiteY2" fmla="*/ 17039 h 17991"/>
                  <a:gd name="connsiteX3" fmla="*/ 1030 w 51512"/>
                  <a:gd name="connsiteY3" fmla="*/ 17992 h 17991"/>
                  <a:gd name="connsiteX4" fmla="*/ 78 w 51512"/>
                  <a:gd name="connsiteY4" fmla="*/ 15134 h 17991"/>
                  <a:gd name="connsiteX5" fmla="*/ 3888 w 51512"/>
                  <a:gd name="connsiteY5" fmla="*/ 8467 h 17991"/>
                  <a:gd name="connsiteX6" fmla="*/ 8650 w 51512"/>
                  <a:gd name="connsiteY6" fmla="*/ 8467 h 17991"/>
                  <a:gd name="connsiteX7" fmla="*/ 15318 w 51512"/>
                  <a:gd name="connsiteY7" fmla="*/ 2752 h 17991"/>
                  <a:gd name="connsiteX8" fmla="*/ 20080 w 51512"/>
                  <a:gd name="connsiteY8" fmla="*/ 847 h 17991"/>
                  <a:gd name="connsiteX9" fmla="*/ 24843 w 51512"/>
                  <a:gd name="connsiteY9" fmla="*/ 847 h 17991"/>
                  <a:gd name="connsiteX10" fmla="*/ 38178 w 51512"/>
                  <a:gd name="connsiteY10" fmla="*/ 1799 h 17991"/>
                  <a:gd name="connsiteX11" fmla="*/ 41035 w 51512"/>
                  <a:gd name="connsiteY11" fmla="*/ 2752 h 17991"/>
                  <a:gd name="connsiteX12" fmla="*/ 46750 w 51512"/>
                  <a:gd name="connsiteY12" fmla="*/ 3704 h 17991"/>
                  <a:gd name="connsiteX13" fmla="*/ 51513 w 51512"/>
                  <a:gd name="connsiteY13" fmla="*/ 8467 h 17991"/>
                  <a:gd name="connsiteX14" fmla="*/ 51513 w 51512"/>
                  <a:gd name="connsiteY14" fmla="*/ 12277 h 17991"/>
                  <a:gd name="connsiteX15" fmla="*/ 44845 w 51512"/>
                  <a:gd name="connsiteY15" fmla="*/ 14182 h 1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512" h="17991">
                    <a:moveTo>
                      <a:pt x="44845" y="14182"/>
                    </a:moveTo>
                    <a:lnTo>
                      <a:pt x="21985" y="17039"/>
                    </a:lnTo>
                    <a:lnTo>
                      <a:pt x="14365" y="17039"/>
                    </a:lnTo>
                    <a:lnTo>
                      <a:pt x="1030" y="17992"/>
                    </a:lnTo>
                    <a:lnTo>
                      <a:pt x="78" y="15134"/>
                    </a:lnTo>
                    <a:cubicBezTo>
                      <a:pt x="78" y="15134"/>
                      <a:pt x="-875" y="8467"/>
                      <a:pt x="3888" y="8467"/>
                    </a:cubicBezTo>
                    <a:cubicBezTo>
                      <a:pt x="8650" y="8467"/>
                      <a:pt x="8650" y="8467"/>
                      <a:pt x="8650" y="8467"/>
                    </a:cubicBezTo>
                    <a:lnTo>
                      <a:pt x="15318" y="2752"/>
                    </a:lnTo>
                    <a:lnTo>
                      <a:pt x="20080" y="847"/>
                    </a:lnTo>
                    <a:cubicBezTo>
                      <a:pt x="20080" y="847"/>
                      <a:pt x="18175" y="-1058"/>
                      <a:pt x="24843" y="847"/>
                    </a:cubicBezTo>
                    <a:cubicBezTo>
                      <a:pt x="31510" y="2752"/>
                      <a:pt x="34368" y="847"/>
                      <a:pt x="38178" y="1799"/>
                    </a:cubicBezTo>
                    <a:cubicBezTo>
                      <a:pt x="41035" y="2752"/>
                      <a:pt x="41035" y="2752"/>
                      <a:pt x="41035" y="2752"/>
                    </a:cubicBezTo>
                    <a:lnTo>
                      <a:pt x="46750" y="3704"/>
                    </a:lnTo>
                    <a:cubicBezTo>
                      <a:pt x="51513" y="8467"/>
                      <a:pt x="51513" y="5609"/>
                      <a:pt x="51513" y="8467"/>
                    </a:cubicBezTo>
                    <a:cubicBezTo>
                      <a:pt x="51513" y="12277"/>
                      <a:pt x="51513" y="12277"/>
                      <a:pt x="51513" y="12277"/>
                    </a:cubicBezTo>
                    <a:lnTo>
                      <a:pt x="44845" y="14182"/>
                    </a:lnTo>
                    <a:close/>
                  </a:path>
                </a:pathLst>
              </a:custGeom>
              <a:grpFill/>
              <a:ln w="9525" cap="flat">
                <a:noFill/>
                <a:prstDash val="solid"/>
                <a:miter/>
              </a:ln>
            </p:spPr>
            <p:txBody>
              <a:bodyPr rtlCol="0" anchor="ctr"/>
              <a:lstStyle/>
              <a:p>
                <a:endParaRPr lang="en-US" sz="1765"/>
              </a:p>
            </p:txBody>
          </p:sp>
          <p:sp>
            <p:nvSpPr>
              <p:cNvPr id="275" name="Freeform: Shape 274">
                <a:extLst>
                  <a:ext uri="{FF2B5EF4-FFF2-40B4-BE49-F238E27FC236}">
                    <a16:creationId xmlns:a16="http://schemas.microsoft.com/office/drawing/2014/main" id="{C5398654-844D-4242-AF76-5E9A2B3D0165}"/>
                  </a:ext>
                </a:extLst>
              </p:cNvPr>
              <p:cNvSpPr/>
              <p:nvPr/>
            </p:nvSpPr>
            <p:spPr>
              <a:xfrm>
                <a:off x="6909464" y="3135359"/>
                <a:ext cx="44437" cy="15239"/>
              </a:xfrm>
              <a:custGeom>
                <a:avLst/>
                <a:gdLst>
                  <a:gd name="connsiteX0" fmla="*/ 43815 w 44437"/>
                  <a:gd name="connsiteY0" fmla="*/ 13335 h 15239"/>
                  <a:gd name="connsiteX1" fmla="*/ 32385 w 44437"/>
                  <a:gd name="connsiteY1" fmla="*/ 14288 h 15239"/>
                  <a:gd name="connsiteX2" fmla="*/ 13335 w 44437"/>
                  <a:gd name="connsiteY2" fmla="*/ 15240 h 15239"/>
                  <a:gd name="connsiteX3" fmla="*/ 7620 w 44437"/>
                  <a:gd name="connsiteY3" fmla="*/ 12382 h 15239"/>
                  <a:gd name="connsiteX4" fmla="*/ 5715 w 44437"/>
                  <a:gd name="connsiteY4" fmla="*/ 8572 h 15239"/>
                  <a:gd name="connsiteX5" fmla="*/ 0 w 44437"/>
                  <a:gd name="connsiteY5" fmla="*/ 3810 h 15239"/>
                  <a:gd name="connsiteX6" fmla="*/ 3810 w 44437"/>
                  <a:gd name="connsiteY6" fmla="*/ 0 h 15239"/>
                  <a:gd name="connsiteX7" fmla="*/ 15240 w 44437"/>
                  <a:gd name="connsiteY7" fmla="*/ 952 h 15239"/>
                  <a:gd name="connsiteX8" fmla="*/ 22860 w 44437"/>
                  <a:gd name="connsiteY8" fmla="*/ 952 h 15239"/>
                  <a:gd name="connsiteX9" fmla="*/ 37147 w 44437"/>
                  <a:gd name="connsiteY9" fmla="*/ 1905 h 15239"/>
                  <a:gd name="connsiteX10" fmla="*/ 42863 w 44437"/>
                  <a:gd name="connsiteY10" fmla="*/ 2857 h 15239"/>
                  <a:gd name="connsiteX11" fmla="*/ 43815 w 44437"/>
                  <a:gd name="connsiteY11"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37" h="15239">
                    <a:moveTo>
                      <a:pt x="43815" y="13335"/>
                    </a:moveTo>
                    <a:lnTo>
                      <a:pt x="32385" y="14288"/>
                    </a:lnTo>
                    <a:lnTo>
                      <a:pt x="13335" y="15240"/>
                    </a:lnTo>
                    <a:lnTo>
                      <a:pt x="7620" y="12382"/>
                    </a:lnTo>
                    <a:lnTo>
                      <a:pt x="5715" y="8572"/>
                    </a:lnTo>
                    <a:lnTo>
                      <a:pt x="0" y="3810"/>
                    </a:lnTo>
                    <a:cubicBezTo>
                      <a:pt x="0" y="3810"/>
                      <a:pt x="0" y="0"/>
                      <a:pt x="3810" y="0"/>
                    </a:cubicBezTo>
                    <a:cubicBezTo>
                      <a:pt x="6667" y="952"/>
                      <a:pt x="15240" y="952"/>
                      <a:pt x="15240" y="952"/>
                    </a:cubicBezTo>
                    <a:lnTo>
                      <a:pt x="22860" y="952"/>
                    </a:lnTo>
                    <a:lnTo>
                      <a:pt x="37147" y="1905"/>
                    </a:lnTo>
                    <a:lnTo>
                      <a:pt x="42863" y="2857"/>
                    </a:lnTo>
                    <a:cubicBezTo>
                      <a:pt x="45720" y="7620"/>
                      <a:pt x="43815" y="13335"/>
                      <a:pt x="43815" y="13335"/>
                    </a:cubicBezTo>
                    <a:close/>
                  </a:path>
                </a:pathLst>
              </a:custGeom>
              <a:grpFill/>
              <a:ln w="9525" cap="flat">
                <a:noFill/>
                <a:prstDash val="solid"/>
                <a:miter/>
              </a:ln>
            </p:spPr>
            <p:txBody>
              <a:bodyPr rtlCol="0" anchor="ctr"/>
              <a:lstStyle/>
              <a:p>
                <a:endParaRPr lang="en-US" sz="1765"/>
              </a:p>
            </p:txBody>
          </p:sp>
          <p:sp>
            <p:nvSpPr>
              <p:cNvPr id="276" name="Freeform: Shape 275">
                <a:extLst>
                  <a:ext uri="{FF2B5EF4-FFF2-40B4-BE49-F238E27FC236}">
                    <a16:creationId xmlns:a16="http://schemas.microsoft.com/office/drawing/2014/main" id="{AB127ED5-5C00-417A-9D96-19F0275B487C}"/>
                  </a:ext>
                </a:extLst>
              </p:cNvPr>
              <p:cNvSpPr/>
              <p:nvPr/>
            </p:nvSpPr>
            <p:spPr>
              <a:xfrm>
                <a:off x="6576089" y="2948245"/>
                <a:ext cx="300990" cy="63288"/>
              </a:xfrm>
              <a:custGeom>
                <a:avLst/>
                <a:gdLst>
                  <a:gd name="connsiteX0" fmla="*/ 282892 w 300990"/>
                  <a:gd name="connsiteY0" fmla="*/ 53763 h 63288"/>
                  <a:gd name="connsiteX1" fmla="*/ 277178 w 300990"/>
                  <a:gd name="connsiteY1" fmla="*/ 54716 h 63288"/>
                  <a:gd name="connsiteX2" fmla="*/ 267653 w 300990"/>
                  <a:gd name="connsiteY2" fmla="*/ 55668 h 63288"/>
                  <a:gd name="connsiteX3" fmla="*/ 258128 w 300990"/>
                  <a:gd name="connsiteY3" fmla="*/ 55668 h 63288"/>
                  <a:gd name="connsiteX4" fmla="*/ 248603 w 300990"/>
                  <a:gd name="connsiteY4" fmla="*/ 55668 h 63288"/>
                  <a:gd name="connsiteX5" fmla="*/ 237172 w 300990"/>
                  <a:gd name="connsiteY5" fmla="*/ 58526 h 63288"/>
                  <a:gd name="connsiteX6" fmla="*/ 229553 w 300990"/>
                  <a:gd name="connsiteY6" fmla="*/ 62336 h 63288"/>
                  <a:gd name="connsiteX7" fmla="*/ 221933 w 300990"/>
                  <a:gd name="connsiteY7" fmla="*/ 63288 h 63288"/>
                  <a:gd name="connsiteX8" fmla="*/ 210503 w 300990"/>
                  <a:gd name="connsiteY8" fmla="*/ 63288 h 63288"/>
                  <a:gd name="connsiteX9" fmla="*/ 202883 w 300990"/>
                  <a:gd name="connsiteY9" fmla="*/ 63288 h 63288"/>
                  <a:gd name="connsiteX10" fmla="*/ 196215 w 300990"/>
                  <a:gd name="connsiteY10" fmla="*/ 63288 h 63288"/>
                  <a:gd name="connsiteX11" fmla="*/ 187642 w 300990"/>
                  <a:gd name="connsiteY11" fmla="*/ 63288 h 63288"/>
                  <a:gd name="connsiteX12" fmla="*/ 180975 w 300990"/>
                  <a:gd name="connsiteY12" fmla="*/ 63288 h 63288"/>
                  <a:gd name="connsiteX13" fmla="*/ 176213 w 300990"/>
                  <a:gd name="connsiteY13" fmla="*/ 63288 h 63288"/>
                  <a:gd name="connsiteX14" fmla="*/ 164783 w 300990"/>
                  <a:gd name="connsiteY14" fmla="*/ 61383 h 63288"/>
                  <a:gd name="connsiteX15" fmla="*/ 158115 w 300990"/>
                  <a:gd name="connsiteY15" fmla="*/ 60431 h 63288"/>
                  <a:gd name="connsiteX16" fmla="*/ 142875 w 300990"/>
                  <a:gd name="connsiteY16" fmla="*/ 58526 h 63288"/>
                  <a:gd name="connsiteX17" fmla="*/ 135255 w 300990"/>
                  <a:gd name="connsiteY17" fmla="*/ 57573 h 63288"/>
                  <a:gd name="connsiteX18" fmla="*/ 114300 w 300990"/>
                  <a:gd name="connsiteY18" fmla="*/ 52811 h 63288"/>
                  <a:gd name="connsiteX19" fmla="*/ 101917 w 300990"/>
                  <a:gd name="connsiteY19" fmla="*/ 51858 h 63288"/>
                  <a:gd name="connsiteX20" fmla="*/ 93345 w 300990"/>
                  <a:gd name="connsiteY20" fmla="*/ 50906 h 63288"/>
                  <a:gd name="connsiteX21" fmla="*/ 86678 w 300990"/>
                  <a:gd name="connsiteY21" fmla="*/ 49001 h 63288"/>
                  <a:gd name="connsiteX22" fmla="*/ 80963 w 300990"/>
                  <a:gd name="connsiteY22" fmla="*/ 46143 h 63288"/>
                  <a:gd name="connsiteX23" fmla="*/ 80963 w 300990"/>
                  <a:gd name="connsiteY23" fmla="*/ 40428 h 63288"/>
                  <a:gd name="connsiteX24" fmla="*/ 79058 w 300990"/>
                  <a:gd name="connsiteY24" fmla="*/ 34713 h 63288"/>
                  <a:gd name="connsiteX25" fmla="*/ 78105 w 300990"/>
                  <a:gd name="connsiteY25" fmla="*/ 29951 h 63288"/>
                  <a:gd name="connsiteX26" fmla="*/ 72390 w 300990"/>
                  <a:gd name="connsiteY26" fmla="*/ 25188 h 63288"/>
                  <a:gd name="connsiteX27" fmla="*/ 63817 w 300990"/>
                  <a:gd name="connsiteY27" fmla="*/ 21378 h 63288"/>
                  <a:gd name="connsiteX28" fmla="*/ 58103 w 300990"/>
                  <a:gd name="connsiteY28" fmla="*/ 19473 h 63288"/>
                  <a:gd name="connsiteX29" fmla="*/ 40958 w 300990"/>
                  <a:gd name="connsiteY29" fmla="*/ 15663 h 63288"/>
                  <a:gd name="connsiteX30" fmla="*/ 29528 w 300990"/>
                  <a:gd name="connsiteY30" fmla="*/ 15663 h 63288"/>
                  <a:gd name="connsiteX31" fmla="*/ 23813 w 300990"/>
                  <a:gd name="connsiteY31" fmla="*/ 15663 h 63288"/>
                  <a:gd name="connsiteX32" fmla="*/ 10478 w 300990"/>
                  <a:gd name="connsiteY32" fmla="*/ 14711 h 63288"/>
                  <a:gd name="connsiteX33" fmla="*/ 953 w 300990"/>
                  <a:gd name="connsiteY33" fmla="*/ 11853 h 63288"/>
                  <a:gd name="connsiteX34" fmla="*/ 0 w 300990"/>
                  <a:gd name="connsiteY34" fmla="*/ 6138 h 63288"/>
                  <a:gd name="connsiteX35" fmla="*/ 5715 w 300990"/>
                  <a:gd name="connsiteY35" fmla="*/ 3281 h 63288"/>
                  <a:gd name="connsiteX36" fmla="*/ 12383 w 300990"/>
                  <a:gd name="connsiteY36" fmla="*/ 2328 h 63288"/>
                  <a:gd name="connsiteX37" fmla="*/ 28575 w 300990"/>
                  <a:gd name="connsiteY37" fmla="*/ 423 h 63288"/>
                  <a:gd name="connsiteX38" fmla="*/ 38100 w 300990"/>
                  <a:gd name="connsiteY38" fmla="*/ 423 h 63288"/>
                  <a:gd name="connsiteX39" fmla="*/ 51435 w 300990"/>
                  <a:gd name="connsiteY39" fmla="*/ 423 h 63288"/>
                  <a:gd name="connsiteX40" fmla="*/ 60008 w 300990"/>
                  <a:gd name="connsiteY40" fmla="*/ 423 h 63288"/>
                  <a:gd name="connsiteX41" fmla="*/ 72390 w 300990"/>
                  <a:gd name="connsiteY41" fmla="*/ 2328 h 63288"/>
                  <a:gd name="connsiteX42" fmla="*/ 79058 w 300990"/>
                  <a:gd name="connsiteY42" fmla="*/ 4233 h 63288"/>
                  <a:gd name="connsiteX43" fmla="*/ 86678 w 300990"/>
                  <a:gd name="connsiteY43" fmla="*/ 5186 h 63288"/>
                  <a:gd name="connsiteX44" fmla="*/ 94297 w 300990"/>
                  <a:gd name="connsiteY44" fmla="*/ 9948 h 63288"/>
                  <a:gd name="connsiteX45" fmla="*/ 89535 w 300990"/>
                  <a:gd name="connsiteY45" fmla="*/ 13758 h 63288"/>
                  <a:gd name="connsiteX46" fmla="*/ 99060 w 300990"/>
                  <a:gd name="connsiteY46" fmla="*/ 19473 h 63288"/>
                  <a:gd name="connsiteX47" fmla="*/ 104775 w 300990"/>
                  <a:gd name="connsiteY47" fmla="*/ 19473 h 63288"/>
                  <a:gd name="connsiteX48" fmla="*/ 110490 w 300990"/>
                  <a:gd name="connsiteY48" fmla="*/ 28046 h 63288"/>
                  <a:gd name="connsiteX49" fmla="*/ 123825 w 300990"/>
                  <a:gd name="connsiteY49" fmla="*/ 31856 h 63288"/>
                  <a:gd name="connsiteX50" fmla="*/ 135255 w 300990"/>
                  <a:gd name="connsiteY50" fmla="*/ 33761 h 63288"/>
                  <a:gd name="connsiteX51" fmla="*/ 149542 w 300990"/>
                  <a:gd name="connsiteY51" fmla="*/ 35666 h 63288"/>
                  <a:gd name="connsiteX52" fmla="*/ 154305 w 300990"/>
                  <a:gd name="connsiteY52" fmla="*/ 39476 h 63288"/>
                  <a:gd name="connsiteX53" fmla="*/ 167640 w 300990"/>
                  <a:gd name="connsiteY53" fmla="*/ 39476 h 63288"/>
                  <a:gd name="connsiteX54" fmla="*/ 194310 w 300990"/>
                  <a:gd name="connsiteY54" fmla="*/ 35666 h 63288"/>
                  <a:gd name="connsiteX55" fmla="*/ 205740 w 300990"/>
                  <a:gd name="connsiteY55" fmla="*/ 34713 h 63288"/>
                  <a:gd name="connsiteX56" fmla="*/ 214313 w 300990"/>
                  <a:gd name="connsiteY56" fmla="*/ 34713 h 63288"/>
                  <a:gd name="connsiteX57" fmla="*/ 231458 w 300990"/>
                  <a:gd name="connsiteY57" fmla="*/ 36618 h 63288"/>
                  <a:gd name="connsiteX58" fmla="*/ 246697 w 300990"/>
                  <a:gd name="connsiteY58" fmla="*/ 36618 h 63288"/>
                  <a:gd name="connsiteX59" fmla="*/ 258128 w 300990"/>
                  <a:gd name="connsiteY59" fmla="*/ 35666 h 63288"/>
                  <a:gd name="connsiteX60" fmla="*/ 269558 w 300990"/>
                  <a:gd name="connsiteY60" fmla="*/ 35666 h 63288"/>
                  <a:gd name="connsiteX61" fmla="*/ 276225 w 300990"/>
                  <a:gd name="connsiteY61" fmla="*/ 35666 h 63288"/>
                  <a:gd name="connsiteX62" fmla="*/ 290513 w 300990"/>
                  <a:gd name="connsiteY62" fmla="*/ 36618 h 63288"/>
                  <a:gd name="connsiteX63" fmla="*/ 297180 w 300990"/>
                  <a:gd name="connsiteY63" fmla="*/ 39476 h 63288"/>
                  <a:gd name="connsiteX64" fmla="*/ 299085 w 300990"/>
                  <a:gd name="connsiteY64" fmla="*/ 42333 h 63288"/>
                  <a:gd name="connsiteX65" fmla="*/ 300990 w 300990"/>
                  <a:gd name="connsiteY65" fmla="*/ 46143 h 63288"/>
                  <a:gd name="connsiteX66" fmla="*/ 296228 w 300990"/>
                  <a:gd name="connsiteY66" fmla="*/ 53763 h 63288"/>
                  <a:gd name="connsiteX67" fmla="*/ 282892 w 300990"/>
                  <a:gd name="connsiteY67" fmla="*/ 53763 h 6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0990" h="63288">
                    <a:moveTo>
                      <a:pt x="282892" y="53763"/>
                    </a:moveTo>
                    <a:lnTo>
                      <a:pt x="277178" y="54716"/>
                    </a:lnTo>
                    <a:lnTo>
                      <a:pt x="267653" y="55668"/>
                    </a:lnTo>
                    <a:lnTo>
                      <a:pt x="258128" y="55668"/>
                    </a:lnTo>
                    <a:lnTo>
                      <a:pt x="248603" y="55668"/>
                    </a:lnTo>
                    <a:cubicBezTo>
                      <a:pt x="241935" y="57573"/>
                      <a:pt x="237172" y="58526"/>
                      <a:pt x="237172" y="58526"/>
                    </a:cubicBezTo>
                    <a:lnTo>
                      <a:pt x="229553" y="62336"/>
                    </a:lnTo>
                    <a:cubicBezTo>
                      <a:pt x="229553" y="62336"/>
                      <a:pt x="228600" y="63288"/>
                      <a:pt x="221933" y="63288"/>
                    </a:cubicBezTo>
                    <a:cubicBezTo>
                      <a:pt x="215265" y="63288"/>
                      <a:pt x="210503" y="63288"/>
                      <a:pt x="210503" y="63288"/>
                    </a:cubicBezTo>
                    <a:lnTo>
                      <a:pt x="202883" y="63288"/>
                    </a:lnTo>
                    <a:lnTo>
                      <a:pt x="196215" y="63288"/>
                    </a:lnTo>
                    <a:lnTo>
                      <a:pt x="187642" y="63288"/>
                    </a:lnTo>
                    <a:lnTo>
                      <a:pt x="180975" y="63288"/>
                    </a:lnTo>
                    <a:lnTo>
                      <a:pt x="176213" y="63288"/>
                    </a:lnTo>
                    <a:lnTo>
                      <a:pt x="164783" y="61383"/>
                    </a:lnTo>
                    <a:lnTo>
                      <a:pt x="158115" y="60431"/>
                    </a:lnTo>
                    <a:lnTo>
                      <a:pt x="142875" y="58526"/>
                    </a:lnTo>
                    <a:cubicBezTo>
                      <a:pt x="142875" y="58526"/>
                      <a:pt x="140017" y="57573"/>
                      <a:pt x="135255" y="57573"/>
                    </a:cubicBezTo>
                    <a:cubicBezTo>
                      <a:pt x="130492" y="57573"/>
                      <a:pt x="114300" y="52811"/>
                      <a:pt x="114300" y="52811"/>
                    </a:cubicBezTo>
                    <a:cubicBezTo>
                      <a:pt x="114300" y="52811"/>
                      <a:pt x="105728" y="50906"/>
                      <a:pt x="101917" y="51858"/>
                    </a:cubicBezTo>
                    <a:cubicBezTo>
                      <a:pt x="99060" y="52811"/>
                      <a:pt x="93345" y="50906"/>
                      <a:pt x="93345" y="50906"/>
                    </a:cubicBezTo>
                    <a:lnTo>
                      <a:pt x="86678" y="49001"/>
                    </a:lnTo>
                    <a:lnTo>
                      <a:pt x="80963" y="46143"/>
                    </a:lnTo>
                    <a:lnTo>
                      <a:pt x="80963" y="40428"/>
                    </a:lnTo>
                    <a:lnTo>
                      <a:pt x="79058" y="34713"/>
                    </a:lnTo>
                    <a:lnTo>
                      <a:pt x="78105" y="29951"/>
                    </a:lnTo>
                    <a:lnTo>
                      <a:pt x="72390" y="25188"/>
                    </a:lnTo>
                    <a:cubicBezTo>
                      <a:pt x="72390" y="25188"/>
                      <a:pt x="69533" y="23283"/>
                      <a:pt x="63817" y="21378"/>
                    </a:cubicBezTo>
                    <a:cubicBezTo>
                      <a:pt x="58103" y="19473"/>
                      <a:pt x="58103" y="19473"/>
                      <a:pt x="58103" y="19473"/>
                    </a:cubicBezTo>
                    <a:cubicBezTo>
                      <a:pt x="58103" y="19473"/>
                      <a:pt x="43815" y="15663"/>
                      <a:pt x="40958" y="15663"/>
                    </a:cubicBezTo>
                    <a:cubicBezTo>
                      <a:pt x="38100" y="15663"/>
                      <a:pt x="29528" y="15663"/>
                      <a:pt x="29528" y="15663"/>
                    </a:cubicBezTo>
                    <a:cubicBezTo>
                      <a:pt x="29528" y="15663"/>
                      <a:pt x="28575" y="15663"/>
                      <a:pt x="23813" y="15663"/>
                    </a:cubicBezTo>
                    <a:cubicBezTo>
                      <a:pt x="19050" y="15663"/>
                      <a:pt x="10478" y="14711"/>
                      <a:pt x="10478" y="14711"/>
                    </a:cubicBezTo>
                    <a:lnTo>
                      <a:pt x="953" y="11853"/>
                    </a:lnTo>
                    <a:lnTo>
                      <a:pt x="0" y="6138"/>
                    </a:lnTo>
                    <a:lnTo>
                      <a:pt x="5715" y="3281"/>
                    </a:lnTo>
                    <a:cubicBezTo>
                      <a:pt x="12383" y="2328"/>
                      <a:pt x="4763" y="4233"/>
                      <a:pt x="12383" y="2328"/>
                    </a:cubicBezTo>
                    <a:cubicBezTo>
                      <a:pt x="20003" y="423"/>
                      <a:pt x="28575" y="423"/>
                      <a:pt x="28575" y="423"/>
                    </a:cubicBezTo>
                    <a:lnTo>
                      <a:pt x="38100" y="423"/>
                    </a:lnTo>
                    <a:lnTo>
                      <a:pt x="51435" y="423"/>
                    </a:lnTo>
                    <a:cubicBezTo>
                      <a:pt x="51435" y="423"/>
                      <a:pt x="56197" y="-529"/>
                      <a:pt x="60008" y="423"/>
                    </a:cubicBezTo>
                    <a:cubicBezTo>
                      <a:pt x="64770" y="1376"/>
                      <a:pt x="72390" y="2328"/>
                      <a:pt x="72390" y="2328"/>
                    </a:cubicBezTo>
                    <a:lnTo>
                      <a:pt x="79058" y="4233"/>
                    </a:lnTo>
                    <a:lnTo>
                      <a:pt x="86678" y="5186"/>
                    </a:lnTo>
                    <a:lnTo>
                      <a:pt x="94297" y="9948"/>
                    </a:lnTo>
                    <a:cubicBezTo>
                      <a:pt x="94297" y="9948"/>
                      <a:pt x="88583" y="11853"/>
                      <a:pt x="89535" y="13758"/>
                    </a:cubicBezTo>
                    <a:cubicBezTo>
                      <a:pt x="90488" y="15663"/>
                      <a:pt x="99060" y="19473"/>
                      <a:pt x="99060" y="19473"/>
                    </a:cubicBezTo>
                    <a:lnTo>
                      <a:pt x="104775" y="19473"/>
                    </a:lnTo>
                    <a:lnTo>
                      <a:pt x="110490" y="28046"/>
                    </a:lnTo>
                    <a:lnTo>
                      <a:pt x="123825" y="31856"/>
                    </a:lnTo>
                    <a:cubicBezTo>
                      <a:pt x="123825" y="31856"/>
                      <a:pt x="131445" y="32808"/>
                      <a:pt x="135255" y="33761"/>
                    </a:cubicBezTo>
                    <a:cubicBezTo>
                      <a:pt x="138113" y="34713"/>
                      <a:pt x="149542" y="35666"/>
                      <a:pt x="149542" y="35666"/>
                    </a:cubicBezTo>
                    <a:cubicBezTo>
                      <a:pt x="149542" y="35666"/>
                      <a:pt x="150495" y="38523"/>
                      <a:pt x="154305" y="39476"/>
                    </a:cubicBezTo>
                    <a:cubicBezTo>
                      <a:pt x="157163" y="40428"/>
                      <a:pt x="162878" y="40428"/>
                      <a:pt x="167640" y="39476"/>
                    </a:cubicBezTo>
                    <a:cubicBezTo>
                      <a:pt x="172403" y="38523"/>
                      <a:pt x="194310" y="35666"/>
                      <a:pt x="194310" y="35666"/>
                    </a:cubicBezTo>
                    <a:lnTo>
                      <a:pt x="205740" y="34713"/>
                    </a:lnTo>
                    <a:lnTo>
                      <a:pt x="214313" y="34713"/>
                    </a:lnTo>
                    <a:cubicBezTo>
                      <a:pt x="221933" y="36618"/>
                      <a:pt x="225742" y="36618"/>
                      <a:pt x="231458" y="36618"/>
                    </a:cubicBezTo>
                    <a:cubicBezTo>
                      <a:pt x="238125" y="37571"/>
                      <a:pt x="246697" y="36618"/>
                      <a:pt x="246697" y="36618"/>
                    </a:cubicBezTo>
                    <a:lnTo>
                      <a:pt x="258128" y="35666"/>
                    </a:lnTo>
                    <a:lnTo>
                      <a:pt x="269558" y="35666"/>
                    </a:lnTo>
                    <a:lnTo>
                      <a:pt x="276225" y="35666"/>
                    </a:lnTo>
                    <a:cubicBezTo>
                      <a:pt x="276225" y="35666"/>
                      <a:pt x="289560" y="34713"/>
                      <a:pt x="290513" y="36618"/>
                    </a:cubicBezTo>
                    <a:cubicBezTo>
                      <a:pt x="291465" y="38523"/>
                      <a:pt x="295275" y="36618"/>
                      <a:pt x="297180" y="39476"/>
                    </a:cubicBezTo>
                    <a:cubicBezTo>
                      <a:pt x="299085" y="42333"/>
                      <a:pt x="297180" y="38523"/>
                      <a:pt x="299085" y="42333"/>
                    </a:cubicBezTo>
                    <a:cubicBezTo>
                      <a:pt x="300990" y="46143"/>
                      <a:pt x="300990" y="43286"/>
                      <a:pt x="300990" y="46143"/>
                    </a:cubicBezTo>
                    <a:cubicBezTo>
                      <a:pt x="300990" y="49953"/>
                      <a:pt x="296228" y="53763"/>
                      <a:pt x="296228" y="53763"/>
                    </a:cubicBezTo>
                    <a:lnTo>
                      <a:pt x="282892" y="53763"/>
                    </a:lnTo>
                    <a:close/>
                  </a:path>
                </a:pathLst>
              </a:custGeom>
              <a:grpFill/>
              <a:ln w="9525" cap="flat">
                <a:noFill/>
                <a:prstDash val="solid"/>
                <a:miter/>
              </a:ln>
            </p:spPr>
            <p:txBody>
              <a:bodyPr rtlCol="0" anchor="ctr"/>
              <a:lstStyle/>
              <a:p>
                <a:endParaRPr lang="en-US" sz="1765"/>
              </a:p>
            </p:txBody>
          </p:sp>
          <p:sp>
            <p:nvSpPr>
              <p:cNvPr id="277" name="Freeform: Shape 276">
                <a:extLst>
                  <a:ext uri="{FF2B5EF4-FFF2-40B4-BE49-F238E27FC236}">
                    <a16:creationId xmlns:a16="http://schemas.microsoft.com/office/drawing/2014/main" id="{75C0C420-D608-4E64-88EA-073F60AE8EA0}"/>
                  </a:ext>
                </a:extLst>
              </p:cNvPr>
              <p:cNvSpPr/>
              <p:nvPr/>
            </p:nvSpPr>
            <p:spPr>
              <a:xfrm>
                <a:off x="6555074" y="2902133"/>
                <a:ext cx="61442" cy="32247"/>
              </a:xfrm>
              <a:custGeom>
                <a:avLst/>
                <a:gdLst>
                  <a:gd name="connsiteX0" fmla="*/ 44827 w 61442"/>
                  <a:gd name="connsiteY0" fmla="*/ 32248 h 32247"/>
                  <a:gd name="connsiteX1" fmla="*/ 35302 w 61442"/>
                  <a:gd name="connsiteY1" fmla="*/ 30343 h 32247"/>
                  <a:gd name="connsiteX2" fmla="*/ 21015 w 61442"/>
                  <a:gd name="connsiteY2" fmla="*/ 29390 h 32247"/>
                  <a:gd name="connsiteX3" fmla="*/ 20062 w 61442"/>
                  <a:gd name="connsiteY3" fmla="*/ 26533 h 32247"/>
                  <a:gd name="connsiteX4" fmla="*/ 13394 w 61442"/>
                  <a:gd name="connsiteY4" fmla="*/ 20818 h 32247"/>
                  <a:gd name="connsiteX5" fmla="*/ 7680 w 61442"/>
                  <a:gd name="connsiteY5" fmla="*/ 18913 h 32247"/>
                  <a:gd name="connsiteX6" fmla="*/ 2917 w 61442"/>
                  <a:gd name="connsiteY6" fmla="*/ 18913 h 32247"/>
                  <a:gd name="connsiteX7" fmla="*/ 60 w 61442"/>
                  <a:gd name="connsiteY7" fmla="*/ 12245 h 32247"/>
                  <a:gd name="connsiteX8" fmla="*/ 60 w 61442"/>
                  <a:gd name="connsiteY8" fmla="*/ 7483 h 32247"/>
                  <a:gd name="connsiteX9" fmla="*/ 4822 w 61442"/>
                  <a:gd name="connsiteY9" fmla="*/ 1768 h 32247"/>
                  <a:gd name="connsiteX10" fmla="*/ 10537 w 61442"/>
                  <a:gd name="connsiteY10" fmla="*/ 815 h 32247"/>
                  <a:gd name="connsiteX11" fmla="*/ 21967 w 61442"/>
                  <a:gd name="connsiteY11" fmla="*/ 1768 h 32247"/>
                  <a:gd name="connsiteX12" fmla="*/ 31492 w 61442"/>
                  <a:gd name="connsiteY12" fmla="*/ 1768 h 32247"/>
                  <a:gd name="connsiteX13" fmla="*/ 34349 w 61442"/>
                  <a:gd name="connsiteY13" fmla="*/ 2720 h 32247"/>
                  <a:gd name="connsiteX14" fmla="*/ 41017 w 61442"/>
                  <a:gd name="connsiteY14" fmla="*/ 1768 h 32247"/>
                  <a:gd name="connsiteX15" fmla="*/ 56257 w 61442"/>
                  <a:gd name="connsiteY15" fmla="*/ 2720 h 32247"/>
                  <a:gd name="connsiteX16" fmla="*/ 58162 w 61442"/>
                  <a:gd name="connsiteY16" fmla="*/ 4625 h 32247"/>
                  <a:gd name="connsiteX17" fmla="*/ 61019 w 61442"/>
                  <a:gd name="connsiteY17" fmla="*/ 10340 h 32247"/>
                  <a:gd name="connsiteX18" fmla="*/ 61019 w 61442"/>
                  <a:gd name="connsiteY18" fmla="*/ 16055 h 32247"/>
                  <a:gd name="connsiteX19" fmla="*/ 61019 w 61442"/>
                  <a:gd name="connsiteY19" fmla="*/ 18913 h 32247"/>
                  <a:gd name="connsiteX20" fmla="*/ 61019 w 61442"/>
                  <a:gd name="connsiteY20" fmla="*/ 23675 h 32247"/>
                  <a:gd name="connsiteX21" fmla="*/ 61019 w 61442"/>
                  <a:gd name="connsiteY21" fmla="*/ 26533 h 32247"/>
                  <a:gd name="connsiteX22" fmla="*/ 61019 w 61442"/>
                  <a:gd name="connsiteY22" fmla="*/ 28438 h 32247"/>
                  <a:gd name="connsiteX23" fmla="*/ 44827 w 61442"/>
                  <a:gd name="connsiteY23" fmla="*/ 32248 h 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442" h="32247">
                    <a:moveTo>
                      <a:pt x="44827" y="32248"/>
                    </a:moveTo>
                    <a:lnTo>
                      <a:pt x="35302" y="30343"/>
                    </a:lnTo>
                    <a:lnTo>
                      <a:pt x="21015" y="29390"/>
                    </a:lnTo>
                    <a:lnTo>
                      <a:pt x="20062" y="26533"/>
                    </a:lnTo>
                    <a:lnTo>
                      <a:pt x="13394" y="20818"/>
                    </a:lnTo>
                    <a:cubicBezTo>
                      <a:pt x="13394" y="20818"/>
                      <a:pt x="12442" y="18913"/>
                      <a:pt x="7680" y="18913"/>
                    </a:cubicBezTo>
                    <a:cubicBezTo>
                      <a:pt x="2917" y="18913"/>
                      <a:pt x="2917" y="18913"/>
                      <a:pt x="2917" y="18913"/>
                    </a:cubicBezTo>
                    <a:lnTo>
                      <a:pt x="60" y="12245"/>
                    </a:lnTo>
                    <a:lnTo>
                      <a:pt x="60" y="7483"/>
                    </a:lnTo>
                    <a:cubicBezTo>
                      <a:pt x="60" y="7483"/>
                      <a:pt x="-893" y="3673"/>
                      <a:pt x="4822" y="1768"/>
                    </a:cubicBezTo>
                    <a:cubicBezTo>
                      <a:pt x="10537" y="815"/>
                      <a:pt x="3869" y="-1090"/>
                      <a:pt x="10537" y="815"/>
                    </a:cubicBezTo>
                    <a:cubicBezTo>
                      <a:pt x="17205" y="2720"/>
                      <a:pt x="17205" y="815"/>
                      <a:pt x="21967" y="1768"/>
                    </a:cubicBezTo>
                    <a:cubicBezTo>
                      <a:pt x="26730" y="2720"/>
                      <a:pt x="28635" y="815"/>
                      <a:pt x="31492" y="1768"/>
                    </a:cubicBezTo>
                    <a:cubicBezTo>
                      <a:pt x="34349" y="2720"/>
                      <a:pt x="34349" y="2720"/>
                      <a:pt x="34349" y="2720"/>
                    </a:cubicBezTo>
                    <a:cubicBezTo>
                      <a:pt x="34349" y="2720"/>
                      <a:pt x="35302" y="1768"/>
                      <a:pt x="41017" y="1768"/>
                    </a:cubicBezTo>
                    <a:cubicBezTo>
                      <a:pt x="46732" y="2720"/>
                      <a:pt x="54352" y="815"/>
                      <a:pt x="56257" y="2720"/>
                    </a:cubicBezTo>
                    <a:cubicBezTo>
                      <a:pt x="58162" y="4625"/>
                      <a:pt x="58162" y="4625"/>
                      <a:pt x="58162" y="4625"/>
                    </a:cubicBezTo>
                    <a:cubicBezTo>
                      <a:pt x="58162" y="4625"/>
                      <a:pt x="60067" y="8435"/>
                      <a:pt x="61019" y="10340"/>
                    </a:cubicBezTo>
                    <a:cubicBezTo>
                      <a:pt x="61972" y="12245"/>
                      <a:pt x="61019" y="16055"/>
                      <a:pt x="61019" y="16055"/>
                    </a:cubicBezTo>
                    <a:cubicBezTo>
                      <a:pt x="61019" y="16055"/>
                      <a:pt x="60067" y="17008"/>
                      <a:pt x="61019" y="18913"/>
                    </a:cubicBezTo>
                    <a:cubicBezTo>
                      <a:pt x="61972" y="20818"/>
                      <a:pt x="61019" y="23675"/>
                      <a:pt x="61019" y="23675"/>
                    </a:cubicBezTo>
                    <a:cubicBezTo>
                      <a:pt x="61019" y="23675"/>
                      <a:pt x="61019" y="24628"/>
                      <a:pt x="61019" y="26533"/>
                    </a:cubicBezTo>
                    <a:cubicBezTo>
                      <a:pt x="61019" y="28438"/>
                      <a:pt x="61019" y="28438"/>
                      <a:pt x="61019" y="28438"/>
                    </a:cubicBezTo>
                    <a:lnTo>
                      <a:pt x="44827" y="32248"/>
                    </a:lnTo>
                    <a:close/>
                  </a:path>
                </a:pathLst>
              </a:custGeom>
              <a:grpFill/>
              <a:ln w="9525" cap="flat">
                <a:noFill/>
                <a:prstDash val="solid"/>
                <a:miter/>
              </a:ln>
            </p:spPr>
            <p:txBody>
              <a:bodyPr rtlCol="0" anchor="ctr"/>
              <a:lstStyle/>
              <a:p>
                <a:endParaRPr lang="en-US" sz="1765"/>
              </a:p>
            </p:txBody>
          </p:sp>
          <p:sp>
            <p:nvSpPr>
              <p:cNvPr id="278" name="Freeform: Shape 277">
                <a:extLst>
                  <a:ext uri="{FF2B5EF4-FFF2-40B4-BE49-F238E27FC236}">
                    <a16:creationId xmlns:a16="http://schemas.microsoft.com/office/drawing/2014/main" id="{A2B472F9-E2E8-4E09-8B0F-6879F573E124}"/>
                  </a:ext>
                </a:extLst>
              </p:cNvPr>
              <p:cNvSpPr/>
              <p:nvPr/>
            </p:nvSpPr>
            <p:spPr>
              <a:xfrm>
                <a:off x="6586291" y="2844579"/>
                <a:ext cx="180297" cy="79324"/>
              </a:xfrm>
              <a:custGeom>
                <a:avLst/>
                <a:gdLst>
                  <a:gd name="connsiteX0" fmla="*/ 5037 w 180297"/>
                  <a:gd name="connsiteY0" fmla="*/ 21222 h 79324"/>
                  <a:gd name="connsiteX1" fmla="*/ 275 w 180297"/>
                  <a:gd name="connsiteY1" fmla="*/ 25032 h 79324"/>
                  <a:gd name="connsiteX2" fmla="*/ 275 w 180297"/>
                  <a:gd name="connsiteY2" fmla="*/ 30747 h 79324"/>
                  <a:gd name="connsiteX3" fmla="*/ 1227 w 180297"/>
                  <a:gd name="connsiteY3" fmla="*/ 32652 h 79324"/>
                  <a:gd name="connsiteX4" fmla="*/ 3132 w 180297"/>
                  <a:gd name="connsiteY4" fmla="*/ 36462 h 79324"/>
                  <a:gd name="connsiteX5" fmla="*/ 9800 w 180297"/>
                  <a:gd name="connsiteY5" fmla="*/ 44082 h 79324"/>
                  <a:gd name="connsiteX6" fmla="*/ 17420 w 180297"/>
                  <a:gd name="connsiteY6" fmla="*/ 45987 h 79324"/>
                  <a:gd name="connsiteX7" fmla="*/ 25992 w 180297"/>
                  <a:gd name="connsiteY7" fmla="*/ 45987 h 79324"/>
                  <a:gd name="connsiteX8" fmla="*/ 37422 w 180297"/>
                  <a:gd name="connsiteY8" fmla="*/ 45987 h 79324"/>
                  <a:gd name="connsiteX9" fmla="*/ 51710 w 180297"/>
                  <a:gd name="connsiteY9" fmla="*/ 47892 h 79324"/>
                  <a:gd name="connsiteX10" fmla="*/ 58377 w 180297"/>
                  <a:gd name="connsiteY10" fmla="*/ 48844 h 79324"/>
                  <a:gd name="connsiteX11" fmla="*/ 61235 w 180297"/>
                  <a:gd name="connsiteY11" fmla="*/ 54559 h 79324"/>
                  <a:gd name="connsiteX12" fmla="*/ 61235 w 180297"/>
                  <a:gd name="connsiteY12" fmla="*/ 62179 h 79324"/>
                  <a:gd name="connsiteX13" fmla="*/ 61235 w 180297"/>
                  <a:gd name="connsiteY13" fmla="*/ 69799 h 79324"/>
                  <a:gd name="connsiteX14" fmla="*/ 64092 w 180297"/>
                  <a:gd name="connsiteY14" fmla="*/ 74562 h 79324"/>
                  <a:gd name="connsiteX15" fmla="*/ 72665 w 180297"/>
                  <a:gd name="connsiteY15" fmla="*/ 76467 h 79324"/>
                  <a:gd name="connsiteX16" fmla="*/ 84095 w 180297"/>
                  <a:gd name="connsiteY16" fmla="*/ 76467 h 79324"/>
                  <a:gd name="connsiteX17" fmla="*/ 97430 w 180297"/>
                  <a:gd name="connsiteY17" fmla="*/ 77419 h 79324"/>
                  <a:gd name="connsiteX18" fmla="*/ 106002 w 180297"/>
                  <a:gd name="connsiteY18" fmla="*/ 79324 h 79324"/>
                  <a:gd name="connsiteX19" fmla="*/ 114575 w 180297"/>
                  <a:gd name="connsiteY19" fmla="*/ 79324 h 79324"/>
                  <a:gd name="connsiteX20" fmla="*/ 124100 w 180297"/>
                  <a:gd name="connsiteY20" fmla="*/ 76467 h 79324"/>
                  <a:gd name="connsiteX21" fmla="*/ 133625 w 180297"/>
                  <a:gd name="connsiteY21" fmla="*/ 73609 h 79324"/>
                  <a:gd name="connsiteX22" fmla="*/ 146960 w 180297"/>
                  <a:gd name="connsiteY22" fmla="*/ 70752 h 79324"/>
                  <a:gd name="connsiteX23" fmla="*/ 150770 w 180297"/>
                  <a:gd name="connsiteY23" fmla="*/ 62179 h 79324"/>
                  <a:gd name="connsiteX24" fmla="*/ 159342 w 180297"/>
                  <a:gd name="connsiteY24" fmla="*/ 61227 h 79324"/>
                  <a:gd name="connsiteX25" fmla="*/ 166963 w 180297"/>
                  <a:gd name="connsiteY25" fmla="*/ 60274 h 79324"/>
                  <a:gd name="connsiteX26" fmla="*/ 172677 w 180297"/>
                  <a:gd name="connsiteY26" fmla="*/ 59322 h 79324"/>
                  <a:gd name="connsiteX27" fmla="*/ 178392 w 180297"/>
                  <a:gd name="connsiteY27" fmla="*/ 55512 h 79324"/>
                  <a:gd name="connsiteX28" fmla="*/ 180297 w 180297"/>
                  <a:gd name="connsiteY28" fmla="*/ 50749 h 79324"/>
                  <a:gd name="connsiteX29" fmla="*/ 180297 w 180297"/>
                  <a:gd name="connsiteY29" fmla="*/ 47892 h 79324"/>
                  <a:gd name="connsiteX30" fmla="*/ 174582 w 180297"/>
                  <a:gd name="connsiteY30" fmla="*/ 45034 h 79324"/>
                  <a:gd name="connsiteX31" fmla="*/ 153627 w 180297"/>
                  <a:gd name="connsiteY31" fmla="*/ 37414 h 79324"/>
                  <a:gd name="connsiteX32" fmla="*/ 146007 w 180297"/>
                  <a:gd name="connsiteY32" fmla="*/ 28842 h 79324"/>
                  <a:gd name="connsiteX33" fmla="*/ 138388 w 180297"/>
                  <a:gd name="connsiteY33" fmla="*/ 25032 h 79324"/>
                  <a:gd name="connsiteX34" fmla="*/ 124100 w 180297"/>
                  <a:gd name="connsiteY34" fmla="*/ 23127 h 79324"/>
                  <a:gd name="connsiteX35" fmla="*/ 110765 w 180297"/>
                  <a:gd name="connsiteY35" fmla="*/ 19317 h 79324"/>
                  <a:gd name="connsiteX36" fmla="*/ 96477 w 180297"/>
                  <a:gd name="connsiteY36" fmla="*/ 9792 h 79324"/>
                  <a:gd name="connsiteX37" fmla="*/ 91715 w 180297"/>
                  <a:gd name="connsiteY37" fmla="*/ 8839 h 79324"/>
                  <a:gd name="connsiteX38" fmla="*/ 85047 w 180297"/>
                  <a:gd name="connsiteY38" fmla="*/ 7887 h 79324"/>
                  <a:gd name="connsiteX39" fmla="*/ 72665 w 180297"/>
                  <a:gd name="connsiteY39" fmla="*/ 5982 h 79324"/>
                  <a:gd name="connsiteX40" fmla="*/ 65045 w 180297"/>
                  <a:gd name="connsiteY40" fmla="*/ 3124 h 79324"/>
                  <a:gd name="connsiteX41" fmla="*/ 58377 w 180297"/>
                  <a:gd name="connsiteY41" fmla="*/ 1219 h 79324"/>
                  <a:gd name="connsiteX42" fmla="*/ 49805 w 180297"/>
                  <a:gd name="connsiteY42" fmla="*/ 267 h 79324"/>
                  <a:gd name="connsiteX43" fmla="*/ 30755 w 180297"/>
                  <a:gd name="connsiteY43" fmla="*/ 4077 h 79324"/>
                  <a:gd name="connsiteX44" fmla="*/ 22182 w 180297"/>
                  <a:gd name="connsiteY44" fmla="*/ 10744 h 79324"/>
                  <a:gd name="connsiteX45" fmla="*/ 16467 w 180297"/>
                  <a:gd name="connsiteY45" fmla="*/ 16459 h 79324"/>
                  <a:gd name="connsiteX46" fmla="*/ 5037 w 180297"/>
                  <a:gd name="connsiteY46" fmla="*/ 21222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0297" h="79324">
                    <a:moveTo>
                      <a:pt x="5037" y="21222"/>
                    </a:moveTo>
                    <a:cubicBezTo>
                      <a:pt x="5037" y="21222"/>
                      <a:pt x="-678" y="22174"/>
                      <a:pt x="275" y="25032"/>
                    </a:cubicBezTo>
                    <a:cubicBezTo>
                      <a:pt x="1227" y="27889"/>
                      <a:pt x="-678" y="28842"/>
                      <a:pt x="275" y="30747"/>
                    </a:cubicBezTo>
                    <a:cubicBezTo>
                      <a:pt x="1227" y="32652"/>
                      <a:pt x="-678" y="28842"/>
                      <a:pt x="1227" y="32652"/>
                    </a:cubicBezTo>
                    <a:cubicBezTo>
                      <a:pt x="3132" y="36462"/>
                      <a:pt x="3132" y="31699"/>
                      <a:pt x="3132" y="36462"/>
                    </a:cubicBezTo>
                    <a:cubicBezTo>
                      <a:pt x="3132" y="41224"/>
                      <a:pt x="5990" y="43129"/>
                      <a:pt x="9800" y="44082"/>
                    </a:cubicBezTo>
                    <a:cubicBezTo>
                      <a:pt x="12657" y="45034"/>
                      <a:pt x="17420" y="45987"/>
                      <a:pt x="17420" y="45987"/>
                    </a:cubicBezTo>
                    <a:cubicBezTo>
                      <a:pt x="17420" y="45987"/>
                      <a:pt x="23135" y="45987"/>
                      <a:pt x="25992" y="45987"/>
                    </a:cubicBezTo>
                    <a:cubicBezTo>
                      <a:pt x="28850" y="45987"/>
                      <a:pt x="37422" y="45987"/>
                      <a:pt x="37422" y="45987"/>
                    </a:cubicBezTo>
                    <a:cubicBezTo>
                      <a:pt x="45042" y="47892"/>
                      <a:pt x="45042" y="46939"/>
                      <a:pt x="51710" y="47892"/>
                    </a:cubicBezTo>
                    <a:cubicBezTo>
                      <a:pt x="58377" y="48844"/>
                      <a:pt x="58377" y="48844"/>
                      <a:pt x="58377" y="48844"/>
                    </a:cubicBezTo>
                    <a:cubicBezTo>
                      <a:pt x="58377" y="48844"/>
                      <a:pt x="60282" y="51702"/>
                      <a:pt x="61235" y="54559"/>
                    </a:cubicBezTo>
                    <a:cubicBezTo>
                      <a:pt x="62187" y="57417"/>
                      <a:pt x="60282" y="58369"/>
                      <a:pt x="61235" y="62179"/>
                    </a:cubicBezTo>
                    <a:cubicBezTo>
                      <a:pt x="62187" y="65989"/>
                      <a:pt x="61235" y="69799"/>
                      <a:pt x="61235" y="69799"/>
                    </a:cubicBezTo>
                    <a:lnTo>
                      <a:pt x="64092" y="74562"/>
                    </a:lnTo>
                    <a:cubicBezTo>
                      <a:pt x="64092" y="74562"/>
                      <a:pt x="69807" y="76467"/>
                      <a:pt x="72665" y="76467"/>
                    </a:cubicBezTo>
                    <a:cubicBezTo>
                      <a:pt x="75522" y="76467"/>
                      <a:pt x="80285" y="76467"/>
                      <a:pt x="84095" y="76467"/>
                    </a:cubicBezTo>
                    <a:cubicBezTo>
                      <a:pt x="86952" y="76467"/>
                      <a:pt x="93620" y="76467"/>
                      <a:pt x="97430" y="77419"/>
                    </a:cubicBezTo>
                    <a:cubicBezTo>
                      <a:pt x="100287" y="78372"/>
                      <a:pt x="103145" y="79324"/>
                      <a:pt x="106002" y="79324"/>
                    </a:cubicBezTo>
                    <a:cubicBezTo>
                      <a:pt x="108860" y="79324"/>
                      <a:pt x="114575" y="79324"/>
                      <a:pt x="114575" y="79324"/>
                    </a:cubicBezTo>
                    <a:lnTo>
                      <a:pt x="124100" y="76467"/>
                    </a:lnTo>
                    <a:cubicBezTo>
                      <a:pt x="124100" y="76467"/>
                      <a:pt x="130767" y="73609"/>
                      <a:pt x="133625" y="73609"/>
                    </a:cubicBezTo>
                    <a:cubicBezTo>
                      <a:pt x="136482" y="73609"/>
                      <a:pt x="146960" y="70752"/>
                      <a:pt x="146960" y="70752"/>
                    </a:cubicBezTo>
                    <a:cubicBezTo>
                      <a:pt x="146960" y="70752"/>
                      <a:pt x="146007" y="62179"/>
                      <a:pt x="150770" y="62179"/>
                    </a:cubicBezTo>
                    <a:cubicBezTo>
                      <a:pt x="155532" y="62179"/>
                      <a:pt x="159342" y="61227"/>
                      <a:pt x="159342" y="61227"/>
                    </a:cubicBezTo>
                    <a:lnTo>
                      <a:pt x="166963" y="60274"/>
                    </a:lnTo>
                    <a:cubicBezTo>
                      <a:pt x="166963" y="60274"/>
                      <a:pt x="168867" y="59322"/>
                      <a:pt x="172677" y="59322"/>
                    </a:cubicBezTo>
                    <a:cubicBezTo>
                      <a:pt x="175535" y="59322"/>
                      <a:pt x="178392" y="55512"/>
                      <a:pt x="178392" y="55512"/>
                    </a:cubicBezTo>
                    <a:lnTo>
                      <a:pt x="180297" y="50749"/>
                    </a:lnTo>
                    <a:lnTo>
                      <a:pt x="180297" y="47892"/>
                    </a:lnTo>
                    <a:cubicBezTo>
                      <a:pt x="180297" y="47892"/>
                      <a:pt x="179345" y="46939"/>
                      <a:pt x="174582" y="45034"/>
                    </a:cubicBezTo>
                    <a:cubicBezTo>
                      <a:pt x="169820" y="43129"/>
                      <a:pt x="153627" y="37414"/>
                      <a:pt x="153627" y="37414"/>
                    </a:cubicBezTo>
                    <a:lnTo>
                      <a:pt x="146007" y="28842"/>
                    </a:lnTo>
                    <a:lnTo>
                      <a:pt x="138388" y="25032"/>
                    </a:lnTo>
                    <a:lnTo>
                      <a:pt x="124100" y="23127"/>
                    </a:lnTo>
                    <a:lnTo>
                      <a:pt x="110765" y="19317"/>
                    </a:lnTo>
                    <a:lnTo>
                      <a:pt x="96477" y="9792"/>
                    </a:lnTo>
                    <a:lnTo>
                      <a:pt x="91715" y="8839"/>
                    </a:lnTo>
                    <a:lnTo>
                      <a:pt x="85047" y="7887"/>
                    </a:lnTo>
                    <a:lnTo>
                      <a:pt x="72665" y="5982"/>
                    </a:lnTo>
                    <a:lnTo>
                      <a:pt x="65045" y="3124"/>
                    </a:lnTo>
                    <a:lnTo>
                      <a:pt x="58377" y="1219"/>
                    </a:lnTo>
                    <a:cubicBezTo>
                      <a:pt x="58377" y="1219"/>
                      <a:pt x="63140" y="-686"/>
                      <a:pt x="49805" y="267"/>
                    </a:cubicBezTo>
                    <a:cubicBezTo>
                      <a:pt x="36470" y="1219"/>
                      <a:pt x="34565" y="2172"/>
                      <a:pt x="30755" y="4077"/>
                    </a:cubicBezTo>
                    <a:cubicBezTo>
                      <a:pt x="26945" y="5029"/>
                      <a:pt x="22182" y="6934"/>
                      <a:pt x="22182" y="10744"/>
                    </a:cubicBezTo>
                    <a:cubicBezTo>
                      <a:pt x="22182" y="14554"/>
                      <a:pt x="16467" y="16459"/>
                      <a:pt x="16467" y="16459"/>
                    </a:cubicBezTo>
                    <a:lnTo>
                      <a:pt x="5037" y="21222"/>
                    </a:lnTo>
                    <a:close/>
                  </a:path>
                </a:pathLst>
              </a:custGeom>
              <a:grpFill/>
              <a:ln w="9525" cap="flat">
                <a:noFill/>
                <a:prstDash val="solid"/>
                <a:miter/>
              </a:ln>
            </p:spPr>
            <p:txBody>
              <a:bodyPr rtlCol="0" anchor="ctr"/>
              <a:lstStyle/>
              <a:p>
                <a:endParaRPr lang="en-US" sz="1765"/>
              </a:p>
            </p:txBody>
          </p:sp>
          <p:sp>
            <p:nvSpPr>
              <p:cNvPr id="279" name="Freeform: Shape 278">
                <a:extLst>
                  <a:ext uri="{FF2B5EF4-FFF2-40B4-BE49-F238E27FC236}">
                    <a16:creationId xmlns:a16="http://schemas.microsoft.com/office/drawing/2014/main" id="{5C36D80B-ACC8-41B8-9002-70759359E088}"/>
                  </a:ext>
                </a:extLst>
              </p:cNvPr>
              <p:cNvSpPr/>
              <p:nvPr/>
            </p:nvSpPr>
            <p:spPr>
              <a:xfrm>
                <a:off x="6688484" y="2797750"/>
                <a:ext cx="501014" cy="170920"/>
              </a:xfrm>
              <a:custGeom>
                <a:avLst/>
                <a:gdLst>
                  <a:gd name="connsiteX0" fmla="*/ 0 w 501014"/>
                  <a:gd name="connsiteY0" fmla="*/ 32808 h 170920"/>
                  <a:gd name="connsiteX1" fmla="*/ 3810 w 501014"/>
                  <a:gd name="connsiteY1" fmla="*/ 40428 h 170920"/>
                  <a:gd name="connsiteX2" fmla="*/ 16192 w 501014"/>
                  <a:gd name="connsiteY2" fmla="*/ 48048 h 170920"/>
                  <a:gd name="connsiteX3" fmla="*/ 31433 w 501014"/>
                  <a:gd name="connsiteY3" fmla="*/ 49953 h 170920"/>
                  <a:gd name="connsiteX4" fmla="*/ 36195 w 501014"/>
                  <a:gd name="connsiteY4" fmla="*/ 53763 h 170920"/>
                  <a:gd name="connsiteX5" fmla="*/ 44767 w 501014"/>
                  <a:gd name="connsiteY5" fmla="*/ 58526 h 170920"/>
                  <a:gd name="connsiteX6" fmla="*/ 52388 w 501014"/>
                  <a:gd name="connsiteY6" fmla="*/ 60431 h 170920"/>
                  <a:gd name="connsiteX7" fmla="*/ 61913 w 501014"/>
                  <a:gd name="connsiteY7" fmla="*/ 61383 h 170920"/>
                  <a:gd name="connsiteX8" fmla="*/ 83820 w 501014"/>
                  <a:gd name="connsiteY8" fmla="*/ 62336 h 170920"/>
                  <a:gd name="connsiteX9" fmla="*/ 99060 w 501014"/>
                  <a:gd name="connsiteY9" fmla="*/ 63288 h 170920"/>
                  <a:gd name="connsiteX10" fmla="*/ 112395 w 501014"/>
                  <a:gd name="connsiteY10" fmla="*/ 63288 h 170920"/>
                  <a:gd name="connsiteX11" fmla="*/ 132397 w 501014"/>
                  <a:gd name="connsiteY11" fmla="*/ 63288 h 170920"/>
                  <a:gd name="connsiteX12" fmla="*/ 141922 w 501014"/>
                  <a:gd name="connsiteY12" fmla="*/ 62336 h 170920"/>
                  <a:gd name="connsiteX13" fmla="*/ 155258 w 501014"/>
                  <a:gd name="connsiteY13" fmla="*/ 62336 h 170920"/>
                  <a:gd name="connsiteX14" fmla="*/ 163830 w 501014"/>
                  <a:gd name="connsiteY14" fmla="*/ 62336 h 170920"/>
                  <a:gd name="connsiteX15" fmla="*/ 163830 w 501014"/>
                  <a:gd name="connsiteY15" fmla="*/ 69956 h 170920"/>
                  <a:gd name="connsiteX16" fmla="*/ 153352 w 501014"/>
                  <a:gd name="connsiteY16" fmla="*/ 73766 h 170920"/>
                  <a:gd name="connsiteX17" fmla="*/ 130492 w 501014"/>
                  <a:gd name="connsiteY17" fmla="*/ 76623 h 170920"/>
                  <a:gd name="connsiteX18" fmla="*/ 116205 w 501014"/>
                  <a:gd name="connsiteY18" fmla="*/ 78528 h 170920"/>
                  <a:gd name="connsiteX19" fmla="*/ 104775 w 501014"/>
                  <a:gd name="connsiteY19" fmla="*/ 80433 h 170920"/>
                  <a:gd name="connsiteX20" fmla="*/ 91440 w 501014"/>
                  <a:gd name="connsiteY20" fmla="*/ 85196 h 170920"/>
                  <a:gd name="connsiteX21" fmla="*/ 92392 w 501014"/>
                  <a:gd name="connsiteY21" fmla="*/ 91863 h 170920"/>
                  <a:gd name="connsiteX22" fmla="*/ 100013 w 501014"/>
                  <a:gd name="connsiteY22" fmla="*/ 93768 h 170920"/>
                  <a:gd name="connsiteX23" fmla="*/ 105727 w 501014"/>
                  <a:gd name="connsiteY23" fmla="*/ 93768 h 170920"/>
                  <a:gd name="connsiteX24" fmla="*/ 105727 w 501014"/>
                  <a:gd name="connsiteY24" fmla="*/ 96626 h 170920"/>
                  <a:gd name="connsiteX25" fmla="*/ 104775 w 501014"/>
                  <a:gd name="connsiteY25" fmla="*/ 99483 h 170920"/>
                  <a:gd name="connsiteX26" fmla="*/ 99060 w 501014"/>
                  <a:gd name="connsiteY26" fmla="*/ 109961 h 170920"/>
                  <a:gd name="connsiteX27" fmla="*/ 85725 w 501014"/>
                  <a:gd name="connsiteY27" fmla="*/ 110913 h 170920"/>
                  <a:gd name="connsiteX28" fmla="*/ 85725 w 501014"/>
                  <a:gd name="connsiteY28" fmla="*/ 112818 h 170920"/>
                  <a:gd name="connsiteX29" fmla="*/ 79058 w 501014"/>
                  <a:gd name="connsiteY29" fmla="*/ 117581 h 170920"/>
                  <a:gd name="connsiteX30" fmla="*/ 51435 w 501014"/>
                  <a:gd name="connsiteY30" fmla="*/ 127106 h 170920"/>
                  <a:gd name="connsiteX31" fmla="*/ 51435 w 501014"/>
                  <a:gd name="connsiteY31" fmla="*/ 129963 h 170920"/>
                  <a:gd name="connsiteX32" fmla="*/ 59055 w 501014"/>
                  <a:gd name="connsiteY32" fmla="*/ 138536 h 170920"/>
                  <a:gd name="connsiteX33" fmla="*/ 54292 w 501014"/>
                  <a:gd name="connsiteY33" fmla="*/ 143298 h 170920"/>
                  <a:gd name="connsiteX34" fmla="*/ 29527 w 501014"/>
                  <a:gd name="connsiteY34" fmla="*/ 150918 h 170920"/>
                  <a:gd name="connsiteX35" fmla="*/ 24765 w 501014"/>
                  <a:gd name="connsiteY35" fmla="*/ 153776 h 170920"/>
                  <a:gd name="connsiteX36" fmla="*/ 24765 w 501014"/>
                  <a:gd name="connsiteY36" fmla="*/ 157586 h 170920"/>
                  <a:gd name="connsiteX37" fmla="*/ 38100 w 501014"/>
                  <a:gd name="connsiteY37" fmla="*/ 162348 h 170920"/>
                  <a:gd name="connsiteX38" fmla="*/ 47625 w 501014"/>
                  <a:gd name="connsiteY38" fmla="*/ 162348 h 170920"/>
                  <a:gd name="connsiteX39" fmla="*/ 82867 w 501014"/>
                  <a:gd name="connsiteY39" fmla="*/ 160443 h 170920"/>
                  <a:gd name="connsiteX40" fmla="*/ 92392 w 501014"/>
                  <a:gd name="connsiteY40" fmla="*/ 160443 h 170920"/>
                  <a:gd name="connsiteX41" fmla="*/ 98108 w 501014"/>
                  <a:gd name="connsiteY41" fmla="*/ 165206 h 170920"/>
                  <a:gd name="connsiteX42" fmla="*/ 112395 w 501014"/>
                  <a:gd name="connsiteY42" fmla="*/ 166158 h 170920"/>
                  <a:gd name="connsiteX43" fmla="*/ 127635 w 501014"/>
                  <a:gd name="connsiteY43" fmla="*/ 168063 h 170920"/>
                  <a:gd name="connsiteX44" fmla="*/ 140017 w 501014"/>
                  <a:gd name="connsiteY44" fmla="*/ 169016 h 170920"/>
                  <a:gd name="connsiteX45" fmla="*/ 147638 w 501014"/>
                  <a:gd name="connsiteY45" fmla="*/ 169016 h 170920"/>
                  <a:gd name="connsiteX46" fmla="*/ 159067 w 501014"/>
                  <a:gd name="connsiteY46" fmla="*/ 170921 h 170920"/>
                  <a:gd name="connsiteX47" fmla="*/ 182880 w 501014"/>
                  <a:gd name="connsiteY47" fmla="*/ 169968 h 170920"/>
                  <a:gd name="connsiteX48" fmla="*/ 194310 w 501014"/>
                  <a:gd name="connsiteY48" fmla="*/ 164253 h 170920"/>
                  <a:gd name="connsiteX49" fmla="*/ 200977 w 501014"/>
                  <a:gd name="connsiteY49" fmla="*/ 154728 h 170920"/>
                  <a:gd name="connsiteX50" fmla="*/ 206692 w 501014"/>
                  <a:gd name="connsiteY50" fmla="*/ 148061 h 170920"/>
                  <a:gd name="connsiteX51" fmla="*/ 216217 w 501014"/>
                  <a:gd name="connsiteY51" fmla="*/ 143298 h 170920"/>
                  <a:gd name="connsiteX52" fmla="*/ 224790 w 501014"/>
                  <a:gd name="connsiteY52" fmla="*/ 136631 h 170920"/>
                  <a:gd name="connsiteX53" fmla="*/ 232410 w 501014"/>
                  <a:gd name="connsiteY53" fmla="*/ 127106 h 170920"/>
                  <a:gd name="connsiteX54" fmla="*/ 241935 w 501014"/>
                  <a:gd name="connsiteY54" fmla="*/ 124248 h 170920"/>
                  <a:gd name="connsiteX55" fmla="*/ 253365 w 501014"/>
                  <a:gd name="connsiteY55" fmla="*/ 120438 h 170920"/>
                  <a:gd name="connsiteX56" fmla="*/ 260985 w 501014"/>
                  <a:gd name="connsiteY56" fmla="*/ 116628 h 170920"/>
                  <a:gd name="connsiteX57" fmla="*/ 262890 w 501014"/>
                  <a:gd name="connsiteY57" fmla="*/ 109961 h 170920"/>
                  <a:gd name="connsiteX58" fmla="*/ 268605 w 501014"/>
                  <a:gd name="connsiteY58" fmla="*/ 103293 h 170920"/>
                  <a:gd name="connsiteX59" fmla="*/ 276225 w 501014"/>
                  <a:gd name="connsiteY59" fmla="*/ 100436 h 170920"/>
                  <a:gd name="connsiteX60" fmla="*/ 290513 w 501014"/>
                  <a:gd name="connsiteY60" fmla="*/ 93768 h 170920"/>
                  <a:gd name="connsiteX61" fmla="*/ 310515 w 501014"/>
                  <a:gd name="connsiteY61" fmla="*/ 87101 h 170920"/>
                  <a:gd name="connsiteX62" fmla="*/ 325755 w 501014"/>
                  <a:gd name="connsiteY62" fmla="*/ 79481 h 170920"/>
                  <a:gd name="connsiteX63" fmla="*/ 334327 w 501014"/>
                  <a:gd name="connsiteY63" fmla="*/ 75671 h 170920"/>
                  <a:gd name="connsiteX64" fmla="*/ 351472 w 501014"/>
                  <a:gd name="connsiteY64" fmla="*/ 68051 h 170920"/>
                  <a:gd name="connsiteX65" fmla="*/ 366713 w 501014"/>
                  <a:gd name="connsiteY65" fmla="*/ 64241 h 170920"/>
                  <a:gd name="connsiteX66" fmla="*/ 384810 w 501014"/>
                  <a:gd name="connsiteY66" fmla="*/ 57573 h 170920"/>
                  <a:gd name="connsiteX67" fmla="*/ 397192 w 501014"/>
                  <a:gd name="connsiteY67" fmla="*/ 54716 h 170920"/>
                  <a:gd name="connsiteX68" fmla="*/ 417195 w 501014"/>
                  <a:gd name="connsiteY68" fmla="*/ 49953 h 170920"/>
                  <a:gd name="connsiteX69" fmla="*/ 428625 w 501014"/>
                  <a:gd name="connsiteY69" fmla="*/ 43286 h 170920"/>
                  <a:gd name="connsiteX70" fmla="*/ 435292 w 501014"/>
                  <a:gd name="connsiteY70" fmla="*/ 41381 h 170920"/>
                  <a:gd name="connsiteX71" fmla="*/ 448627 w 501014"/>
                  <a:gd name="connsiteY71" fmla="*/ 38523 h 170920"/>
                  <a:gd name="connsiteX72" fmla="*/ 473392 w 501014"/>
                  <a:gd name="connsiteY72" fmla="*/ 33761 h 170920"/>
                  <a:gd name="connsiteX73" fmla="*/ 478155 w 501014"/>
                  <a:gd name="connsiteY73" fmla="*/ 30903 h 170920"/>
                  <a:gd name="connsiteX74" fmla="*/ 498158 w 501014"/>
                  <a:gd name="connsiteY74" fmla="*/ 28046 h 170920"/>
                  <a:gd name="connsiteX75" fmla="*/ 501015 w 501014"/>
                  <a:gd name="connsiteY75" fmla="*/ 17568 h 170920"/>
                  <a:gd name="connsiteX76" fmla="*/ 499110 w 501014"/>
                  <a:gd name="connsiteY76" fmla="*/ 13758 h 170920"/>
                  <a:gd name="connsiteX77" fmla="*/ 489585 w 501014"/>
                  <a:gd name="connsiteY77" fmla="*/ 11853 h 170920"/>
                  <a:gd name="connsiteX78" fmla="*/ 472440 w 501014"/>
                  <a:gd name="connsiteY78" fmla="*/ 8043 h 170920"/>
                  <a:gd name="connsiteX79" fmla="*/ 456247 w 501014"/>
                  <a:gd name="connsiteY79" fmla="*/ 4233 h 170920"/>
                  <a:gd name="connsiteX80" fmla="*/ 436245 w 501014"/>
                  <a:gd name="connsiteY80" fmla="*/ 2328 h 170920"/>
                  <a:gd name="connsiteX81" fmla="*/ 408622 w 501014"/>
                  <a:gd name="connsiteY81" fmla="*/ 2328 h 170920"/>
                  <a:gd name="connsiteX82" fmla="*/ 388620 w 501014"/>
                  <a:gd name="connsiteY82" fmla="*/ 423 h 170920"/>
                  <a:gd name="connsiteX83" fmla="*/ 372427 w 501014"/>
                  <a:gd name="connsiteY83" fmla="*/ 423 h 170920"/>
                  <a:gd name="connsiteX84" fmla="*/ 345758 w 501014"/>
                  <a:gd name="connsiteY84" fmla="*/ 423 h 170920"/>
                  <a:gd name="connsiteX85" fmla="*/ 302895 w 501014"/>
                  <a:gd name="connsiteY85" fmla="*/ 423 h 170920"/>
                  <a:gd name="connsiteX86" fmla="*/ 273367 w 501014"/>
                  <a:gd name="connsiteY86" fmla="*/ 1376 h 170920"/>
                  <a:gd name="connsiteX87" fmla="*/ 231458 w 501014"/>
                  <a:gd name="connsiteY87" fmla="*/ 4233 h 170920"/>
                  <a:gd name="connsiteX88" fmla="*/ 209550 w 501014"/>
                  <a:gd name="connsiteY88" fmla="*/ 7091 h 170920"/>
                  <a:gd name="connsiteX89" fmla="*/ 188595 w 501014"/>
                  <a:gd name="connsiteY89" fmla="*/ 5186 h 170920"/>
                  <a:gd name="connsiteX90" fmla="*/ 154305 w 501014"/>
                  <a:gd name="connsiteY90" fmla="*/ 5186 h 170920"/>
                  <a:gd name="connsiteX91" fmla="*/ 140017 w 501014"/>
                  <a:gd name="connsiteY91" fmla="*/ 6138 h 170920"/>
                  <a:gd name="connsiteX92" fmla="*/ 121920 w 501014"/>
                  <a:gd name="connsiteY92" fmla="*/ 8996 h 170920"/>
                  <a:gd name="connsiteX93" fmla="*/ 100965 w 501014"/>
                  <a:gd name="connsiteY93" fmla="*/ 10901 h 170920"/>
                  <a:gd name="connsiteX94" fmla="*/ 88583 w 501014"/>
                  <a:gd name="connsiteY94" fmla="*/ 12806 h 170920"/>
                  <a:gd name="connsiteX95" fmla="*/ 69533 w 501014"/>
                  <a:gd name="connsiteY95" fmla="*/ 16616 h 170920"/>
                  <a:gd name="connsiteX96" fmla="*/ 57150 w 501014"/>
                  <a:gd name="connsiteY96" fmla="*/ 17568 h 170920"/>
                  <a:gd name="connsiteX97" fmla="*/ 50483 w 501014"/>
                  <a:gd name="connsiteY97" fmla="*/ 19473 h 170920"/>
                  <a:gd name="connsiteX98" fmla="*/ 40005 w 501014"/>
                  <a:gd name="connsiteY98" fmla="*/ 22331 h 170920"/>
                  <a:gd name="connsiteX99" fmla="*/ 26670 w 501014"/>
                  <a:gd name="connsiteY99" fmla="*/ 25188 h 170920"/>
                  <a:gd name="connsiteX100" fmla="*/ 17145 w 501014"/>
                  <a:gd name="connsiteY100" fmla="*/ 27093 h 170920"/>
                  <a:gd name="connsiteX101" fmla="*/ 0 w 501014"/>
                  <a:gd name="connsiteY101" fmla="*/ 32808 h 1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1014" h="170920">
                    <a:moveTo>
                      <a:pt x="0" y="32808"/>
                    </a:moveTo>
                    <a:cubicBezTo>
                      <a:pt x="0" y="32808"/>
                      <a:pt x="952" y="39476"/>
                      <a:pt x="3810" y="40428"/>
                    </a:cubicBezTo>
                    <a:cubicBezTo>
                      <a:pt x="6667" y="42333"/>
                      <a:pt x="16192" y="48048"/>
                      <a:pt x="16192" y="48048"/>
                    </a:cubicBezTo>
                    <a:lnTo>
                      <a:pt x="31433" y="49953"/>
                    </a:lnTo>
                    <a:cubicBezTo>
                      <a:pt x="31433" y="49953"/>
                      <a:pt x="33338" y="51858"/>
                      <a:pt x="36195" y="53763"/>
                    </a:cubicBezTo>
                    <a:cubicBezTo>
                      <a:pt x="38100" y="55668"/>
                      <a:pt x="44767" y="58526"/>
                      <a:pt x="44767" y="58526"/>
                    </a:cubicBezTo>
                    <a:lnTo>
                      <a:pt x="52388" y="60431"/>
                    </a:lnTo>
                    <a:cubicBezTo>
                      <a:pt x="52388" y="60431"/>
                      <a:pt x="56197" y="60431"/>
                      <a:pt x="61913" y="61383"/>
                    </a:cubicBezTo>
                    <a:cubicBezTo>
                      <a:pt x="68580" y="62336"/>
                      <a:pt x="83820" y="62336"/>
                      <a:pt x="83820" y="62336"/>
                    </a:cubicBezTo>
                    <a:lnTo>
                      <a:pt x="99060" y="63288"/>
                    </a:lnTo>
                    <a:cubicBezTo>
                      <a:pt x="99060" y="63288"/>
                      <a:pt x="106680" y="62336"/>
                      <a:pt x="112395" y="63288"/>
                    </a:cubicBezTo>
                    <a:cubicBezTo>
                      <a:pt x="118110" y="64241"/>
                      <a:pt x="132397" y="63288"/>
                      <a:pt x="132397" y="63288"/>
                    </a:cubicBezTo>
                    <a:cubicBezTo>
                      <a:pt x="132397" y="63288"/>
                      <a:pt x="137160" y="62336"/>
                      <a:pt x="141922" y="62336"/>
                    </a:cubicBezTo>
                    <a:cubicBezTo>
                      <a:pt x="147638" y="63288"/>
                      <a:pt x="155258" y="62336"/>
                      <a:pt x="155258" y="62336"/>
                    </a:cubicBezTo>
                    <a:lnTo>
                      <a:pt x="163830" y="62336"/>
                    </a:lnTo>
                    <a:cubicBezTo>
                      <a:pt x="168592" y="66146"/>
                      <a:pt x="164783" y="68051"/>
                      <a:pt x="163830" y="69956"/>
                    </a:cubicBezTo>
                    <a:cubicBezTo>
                      <a:pt x="162877" y="71861"/>
                      <a:pt x="157163" y="71861"/>
                      <a:pt x="153352" y="73766"/>
                    </a:cubicBezTo>
                    <a:cubicBezTo>
                      <a:pt x="149542" y="75671"/>
                      <a:pt x="145733" y="74718"/>
                      <a:pt x="130492" y="76623"/>
                    </a:cubicBezTo>
                    <a:cubicBezTo>
                      <a:pt x="116205" y="78528"/>
                      <a:pt x="116205" y="78528"/>
                      <a:pt x="116205" y="78528"/>
                    </a:cubicBezTo>
                    <a:cubicBezTo>
                      <a:pt x="116205" y="78528"/>
                      <a:pt x="108585" y="78528"/>
                      <a:pt x="104775" y="80433"/>
                    </a:cubicBezTo>
                    <a:cubicBezTo>
                      <a:pt x="101917" y="82338"/>
                      <a:pt x="90488" y="78528"/>
                      <a:pt x="91440" y="85196"/>
                    </a:cubicBezTo>
                    <a:cubicBezTo>
                      <a:pt x="92392" y="91863"/>
                      <a:pt x="92392" y="91863"/>
                      <a:pt x="92392" y="91863"/>
                    </a:cubicBezTo>
                    <a:lnTo>
                      <a:pt x="100013" y="93768"/>
                    </a:lnTo>
                    <a:lnTo>
                      <a:pt x="105727" y="93768"/>
                    </a:lnTo>
                    <a:cubicBezTo>
                      <a:pt x="105727" y="93768"/>
                      <a:pt x="106680" y="93768"/>
                      <a:pt x="105727" y="96626"/>
                    </a:cubicBezTo>
                    <a:cubicBezTo>
                      <a:pt x="104775" y="99483"/>
                      <a:pt x="104775" y="99483"/>
                      <a:pt x="104775" y="99483"/>
                    </a:cubicBezTo>
                    <a:lnTo>
                      <a:pt x="99060" y="109961"/>
                    </a:lnTo>
                    <a:cubicBezTo>
                      <a:pt x="99060" y="109961"/>
                      <a:pt x="85725" y="109008"/>
                      <a:pt x="85725" y="110913"/>
                    </a:cubicBezTo>
                    <a:cubicBezTo>
                      <a:pt x="85725" y="112818"/>
                      <a:pt x="85725" y="112818"/>
                      <a:pt x="85725" y="112818"/>
                    </a:cubicBezTo>
                    <a:cubicBezTo>
                      <a:pt x="85725" y="112818"/>
                      <a:pt x="79058" y="114723"/>
                      <a:pt x="79058" y="117581"/>
                    </a:cubicBezTo>
                    <a:cubicBezTo>
                      <a:pt x="79058" y="120438"/>
                      <a:pt x="51435" y="124248"/>
                      <a:pt x="51435" y="127106"/>
                    </a:cubicBezTo>
                    <a:cubicBezTo>
                      <a:pt x="51435" y="129963"/>
                      <a:pt x="51435" y="129963"/>
                      <a:pt x="51435" y="129963"/>
                    </a:cubicBezTo>
                    <a:cubicBezTo>
                      <a:pt x="51435" y="129963"/>
                      <a:pt x="55245" y="136631"/>
                      <a:pt x="59055" y="138536"/>
                    </a:cubicBezTo>
                    <a:cubicBezTo>
                      <a:pt x="61913" y="140441"/>
                      <a:pt x="54292" y="143298"/>
                      <a:pt x="54292" y="143298"/>
                    </a:cubicBezTo>
                    <a:lnTo>
                      <a:pt x="29527" y="150918"/>
                    </a:lnTo>
                    <a:lnTo>
                      <a:pt x="24765" y="153776"/>
                    </a:lnTo>
                    <a:cubicBezTo>
                      <a:pt x="24765" y="153776"/>
                      <a:pt x="21908" y="153776"/>
                      <a:pt x="24765" y="157586"/>
                    </a:cubicBezTo>
                    <a:cubicBezTo>
                      <a:pt x="27622" y="161396"/>
                      <a:pt x="38100" y="162348"/>
                      <a:pt x="38100" y="162348"/>
                    </a:cubicBezTo>
                    <a:cubicBezTo>
                      <a:pt x="38100" y="162348"/>
                      <a:pt x="43815" y="161396"/>
                      <a:pt x="47625" y="162348"/>
                    </a:cubicBezTo>
                    <a:cubicBezTo>
                      <a:pt x="52388" y="163301"/>
                      <a:pt x="82867" y="160443"/>
                      <a:pt x="82867" y="160443"/>
                    </a:cubicBezTo>
                    <a:cubicBezTo>
                      <a:pt x="82867" y="160443"/>
                      <a:pt x="93345" y="157586"/>
                      <a:pt x="92392" y="160443"/>
                    </a:cubicBezTo>
                    <a:cubicBezTo>
                      <a:pt x="92392" y="163301"/>
                      <a:pt x="94297" y="165206"/>
                      <a:pt x="98108" y="165206"/>
                    </a:cubicBezTo>
                    <a:cubicBezTo>
                      <a:pt x="100965" y="165206"/>
                      <a:pt x="106680" y="164253"/>
                      <a:pt x="112395" y="166158"/>
                    </a:cubicBezTo>
                    <a:cubicBezTo>
                      <a:pt x="118110" y="168063"/>
                      <a:pt x="127635" y="168063"/>
                      <a:pt x="127635" y="168063"/>
                    </a:cubicBezTo>
                    <a:lnTo>
                      <a:pt x="140017" y="169016"/>
                    </a:lnTo>
                    <a:cubicBezTo>
                      <a:pt x="140017" y="169016"/>
                      <a:pt x="144780" y="168063"/>
                      <a:pt x="147638" y="169016"/>
                    </a:cubicBezTo>
                    <a:cubicBezTo>
                      <a:pt x="150495" y="170921"/>
                      <a:pt x="155258" y="170921"/>
                      <a:pt x="159067" y="170921"/>
                    </a:cubicBezTo>
                    <a:cubicBezTo>
                      <a:pt x="161925" y="170921"/>
                      <a:pt x="173355" y="169968"/>
                      <a:pt x="182880" y="169968"/>
                    </a:cubicBezTo>
                    <a:cubicBezTo>
                      <a:pt x="192405" y="169016"/>
                      <a:pt x="190500" y="166158"/>
                      <a:pt x="194310" y="164253"/>
                    </a:cubicBezTo>
                    <a:cubicBezTo>
                      <a:pt x="197167" y="163301"/>
                      <a:pt x="200977" y="154728"/>
                      <a:pt x="200977" y="154728"/>
                    </a:cubicBezTo>
                    <a:cubicBezTo>
                      <a:pt x="200977" y="154728"/>
                      <a:pt x="202883" y="149966"/>
                      <a:pt x="206692" y="148061"/>
                    </a:cubicBezTo>
                    <a:cubicBezTo>
                      <a:pt x="209550" y="147108"/>
                      <a:pt x="213360" y="144251"/>
                      <a:pt x="216217" y="143298"/>
                    </a:cubicBezTo>
                    <a:cubicBezTo>
                      <a:pt x="219075" y="142346"/>
                      <a:pt x="220980" y="138536"/>
                      <a:pt x="224790" y="136631"/>
                    </a:cubicBezTo>
                    <a:cubicBezTo>
                      <a:pt x="229552" y="135678"/>
                      <a:pt x="229552" y="128058"/>
                      <a:pt x="232410" y="127106"/>
                    </a:cubicBezTo>
                    <a:cubicBezTo>
                      <a:pt x="235267" y="126153"/>
                      <a:pt x="238125" y="124248"/>
                      <a:pt x="241935" y="124248"/>
                    </a:cubicBezTo>
                    <a:cubicBezTo>
                      <a:pt x="246697" y="124248"/>
                      <a:pt x="253365" y="120438"/>
                      <a:pt x="253365" y="120438"/>
                    </a:cubicBezTo>
                    <a:lnTo>
                      <a:pt x="260985" y="116628"/>
                    </a:lnTo>
                    <a:lnTo>
                      <a:pt x="262890" y="109961"/>
                    </a:lnTo>
                    <a:cubicBezTo>
                      <a:pt x="262890" y="109961"/>
                      <a:pt x="262890" y="103293"/>
                      <a:pt x="268605" y="103293"/>
                    </a:cubicBezTo>
                    <a:cubicBezTo>
                      <a:pt x="274320" y="103293"/>
                      <a:pt x="271463" y="101388"/>
                      <a:pt x="276225" y="100436"/>
                    </a:cubicBezTo>
                    <a:cubicBezTo>
                      <a:pt x="280988" y="99483"/>
                      <a:pt x="290513" y="93768"/>
                      <a:pt x="290513" y="93768"/>
                    </a:cubicBezTo>
                    <a:lnTo>
                      <a:pt x="310515" y="87101"/>
                    </a:lnTo>
                    <a:lnTo>
                      <a:pt x="325755" y="79481"/>
                    </a:lnTo>
                    <a:lnTo>
                      <a:pt x="334327" y="75671"/>
                    </a:lnTo>
                    <a:cubicBezTo>
                      <a:pt x="334327" y="75671"/>
                      <a:pt x="346710" y="68051"/>
                      <a:pt x="351472" y="68051"/>
                    </a:cubicBezTo>
                    <a:cubicBezTo>
                      <a:pt x="356235" y="68051"/>
                      <a:pt x="362902" y="64241"/>
                      <a:pt x="366713" y="64241"/>
                    </a:cubicBezTo>
                    <a:cubicBezTo>
                      <a:pt x="371475" y="64241"/>
                      <a:pt x="384810" y="57573"/>
                      <a:pt x="384810" y="57573"/>
                    </a:cubicBezTo>
                    <a:cubicBezTo>
                      <a:pt x="384810" y="57573"/>
                      <a:pt x="392430" y="56621"/>
                      <a:pt x="397192" y="54716"/>
                    </a:cubicBezTo>
                    <a:cubicBezTo>
                      <a:pt x="401955" y="53763"/>
                      <a:pt x="417195" y="49953"/>
                      <a:pt x="417195" y="49953"/>
                    </a:cubicBezTo>
                    <a:lnTo>
                      <a:pt x="428625" y="43286"/>
                    </a:lnTo>
                    <a:cubicBezTo>
                      <a:pt x="428625" y="43286"/>
                      <a:pt x="430530" y="42333"/>
                      <a:pt x="435292" y="41381"/>
                    </a:cubicBezTo>
                    <a:cubicBezTo>
                      <a:pt x="440055" y="40428"/>
                      <a:pt x="443865" y="39476"/>
                      <a:pt x="448627" y="38523"/>
                    </a:cubicBezTo>
                    <a:cubicBezTo>
                      <a:pt x="453390" y="37571"/>
                      <a:pt x="473392" y="33761"/>
                      <a:pt x="473392" y="33761"/>
                    </a:cubicBezTo>
                    <a:cubicBezTo>
                      <a:pt x="473392" y="33761"/>
                      <a:pt x="458152" y="33761"/>
                      <a:pt x="478155" y="30903"/>
                    </a:cubicBezTo>
                    <a:cubicBezTo>
                      <a:pt x="498158" y="28046"/>
                      <a:pt x="498158" y="28046"/>
                      <a:pt x="498158" y="28046"/>
                    </a:cubicBezTo>
                    <a:lnTo>
                      <a:pt x="501015" y="17568"/>
                    </a:lnTo>
                    <a:lnTo>
                      <a:pt x="499110" y="13758"/>
                    </a:lnTo>
                    <a:lnTo>
                      <a:pt x="489585" y="11853"/>
                    </a:lnTo>
                    <a:lnTo>
                      <a:pt x="472440" y="8043"/>
                    </a:lnTo>
                    <a:lnTo>
                      <a:pt x="456247" y="4233"/>
                    </a:lnTo>
                    <a:cubicBezTo>
                      <a:pt x="456247" y="4233"/>
                      <a:pt x="441960" y="2328"/>
                      <a:pt x="436245" y="2328"/>
                    </a:cubicBezTo>
                    <a:cubicBezTo>
                      <a:pt x="430530" y="2328"/>
                      <a:pt x="408622" y="2328"/>
                      <a:pt x="408622" y="2328"/>
                    </a:cubicBezTo>
                    <a:cubicBezTo>
                      <a:pt x="408622" y="2328"/>
                      <a:pt x="393383" y="423"/>
                      <a:pt x="388620" y="423"/>
                    </a:cubicBezTo>
                    <a:cubicBezTo>
                      <a:pt x="383858" y="423"/>
                      <a:pt x="375285" y="423"/>
                      <a:pt x="372427" y="423"/>
                    </a:cubicBezTo>
                    <a:cubicBezTo>
                      <a:pt x="369570" y="423"/>
                      <a:pt x="345758" y="423"/>
                      <a:pt x="345758" y="423"/>
                    </a:cubicBezTo>
                    <a:cubicBezTo>
                      <a:pt x="345758" y="423"/>
                      <a:pt x="308610" y="-529"/>
                      <a:pt x="302895" y="423"/>
                    </a:cubicBezTo>
                    <a:cubicBezTo>
                      <a:pt x="297180" y="1376"/>
                      <a:pt x="281940" y="423"/>
                      <a:pt x="273367" y="1376"/>
                    </a:cubicBezTo>
                    <a:cubicBezTo>
                      <a:pt x="264795" y="2328"/>
                      <a:pt x="231458" y="4233"/>
                      <a:pt x="231458" y="4233"/>
                    </a:cubicBezTo>
                    <a:lnTo>
                      <a:pt x="209550" y="7091"/>
                    </a:lnTo>
                    <a:cubicBezTo>
                      <a:pt x="209550" y="7091"/>
                      <a:pt x="194310" y="5186"/>
                      <a:pt x="188595" y="5186"/>
                    </a:cubicBezTo>
                    <a:cubicBezTo>
                      <a:pt x="182880" y="8043"/>
                      <a:pt x="154305" y="5186"/>
                      <a:pt x="154305" y="5186"/>
                    </a:cubicBezTo>
                    <a:lnTo>
                      <a:pt x="140017" y="6138"/>
                    </a:lnTo>
                    <a:cubicBezTo>
                      <a:pt x="140017" y="6138"/>
                      <a:pt x="125730" y="7091"/>
                      <a:pt x="121920" y="8996"/>
                    </a:cubicBezTo>
                    <a:cubicBezTo>
                      <a:pt x="118110" y="9948"/>
                      <a:pt x="100965" y="10901"/>
                      <a:pt x="100965" y="10901"/>
                    </a:cubicBezTo>
                    <a:lnTo>
                      <a:pt x="88583" y="12806"/>
                    </a:lnTo>
                    <a:cubicBezTo>
                      <a:pt x="88583" y="12806"/>
                      <a:pt x="73342" y="16616"/>
                      <a:pt x="69533" y="16616"/>
                    </a:cubicBezTo>
                    <a:cubicBezTo>
                      <a:pt x="66675" y="17568"/>
                      <a:pt x="57150" y="17568"/>
                      <a:pt x="57150" y="17568"/>
                    </a:cubicBezTo>
                    <a:lnTo>
                      <a:pt x="50483" y="19473"/>
                    </a:lnTo>
                    <a:lnTo>
                      <a:pt x="40005" y="22331"/>
                    </a:lnTo>
                    <a:lnTo>
                      <a:pt x="26670" y="25188"/>
                    </a:lnTo>
                    <a:lnTo>
                      <a:pt x="17145" y="27093"/>
                    </a:lnTo>
                    <a:lnTo>
                      <a:pt x="0" y="32808"/>
                    </a:lnTo>
                    <a:close/>
                  </a:path>
                </a:pathLst>
              </a:custGeom>
              <a:grpFill/>
              <a:ln w="9525" cap="flat">
                <a:noFill/>
                <a:prstDash val="solid"/>
                <a:miter/>
              </a:ln>
            </p:spPr>
            <p:txBody>
              <a:bodyPr rtlCol="0" anchor="ctr"/>
              <a:lstStyle/>
              <a:p>
                <a:endParaRPr lang="en-US" sz="1765"/>
              </a:p>
            </p:txBody>
          </p:sp>
          <p:sp>
            <p:nvSpPr>
              <p:cNvPr id="280" name="Freeform: Shape 279">
                <a:extLst>
                  <a:ext uri="{FF2B5EF4-FFF2-40B4-BE49-F238E27FC236}">
                    <a16:creationId xmlns:a16="http://schemas.microsoft.com/office/drawing/2014/main" id="{BD448358-8342-421A-9A3E-56854B879755}"/>
                  </a:ext>
                </a:extLst>
              </p:cNvPr>
              <p:cNvSpPr/>
              <p:nvPr/>
            </p:nvSpPr>
            <p:spPr>
              <a:xfrm>
                <a:off x="6865648" y="3021232"/>
                <a:ext cx="48577" cy="18876"/>
              </a:xfrm>
              <a:custGeom>
                <a:avLst/>
                <a:gdLst>
                  <a:gd name="connsiteX0" fmla="*/ 39053 w 48577"/>
                  <a:gd name="connsiteY0" fmla="*/ 16971 h 18876"/>
                  <a:gd name="connsiteX1" fmla="*/ 36195 w 48577"/>
                  <a:gd name="connsiteY1" fmla="*/ 16971 h 18876"/>
                  <a:gd name="connsiteX2" fmla="*/ 24765 w 48577"/>
                  <a:gd name="connsiteY2" fmla="*/ 16971 h 18876"/>
                  <a:gd name="connsiteX3" fmla="*/ 21908 w 48577"/>
                  <a:gd name="connsiteY3" fmla="*/ 16971 h 18876"/>
                  <a:gd name="connsiteX4" fmla="*/ 15240 w 48577"/>
                  <a:gd name="connsiteY4" fmla="*/ 15066 h 18876"/>
                  <a:gd name="connsiteX5" fmla="*/ 1905 w 48577"/>
                  <a:gd name="connsiteY5" fmla="*/ 11256 h 18876"/>
                  <a:gd name="connsiteX6" fmla="*/ 0 w 48577"/>
                  <a:gd name="connsiteY6" fmla="*/ 7446 h 18876"/>
                  <a:gd name="connsiteX7" fmla="*/ 0 w 48577"/>
                  <a:gd name="connsiteY7" fmla="*/ 2684 h 18876"/>
                  <a:gd name="connsiteX8" fmla="*/ 2858 w 48577"/>
                  <a:gd name="connsiteY8" fmla="*/ 1731 h 18876"/>
                  <a:gd name="connsiteX9" fmla="*/ 4763 w 48577"/>
                  <a:gd name="connsiteY9" fmla="*/ 1731 h 18876"/>
                  <a:gd name="connsiteX10" fmla="*/ 14288 w 48577"/>
                  <a:gd name="connsiteY10" fmla="*/ 779 h 18876"/>
                  <a:gd name="connsiteX11" fmla="*/ 16193 w 48577"/>
                  <a:gd name="connsiteY11" fmla="*/ 1731 h 18876"/>
                  <a:gd name="connsiteX12" fmla="*/ 22860 w 48577"/>
                  <a:gd name="connsiteY12" fmla="*/ 5541 h 18876"/>
                  <a:gd name="connsiteX13" fmla="*/ 39053 w 48577"/>
                  <a:gd name="connsiteY13" fmla="*/ 7446 h 18876"/>
                  <a:gd name="connsiteX14" fmla="*/ 42863 w 48577"/>
                  <a:gd name="connsiteY14" fmla="*/ 8399 h 18876"/>
                  <a:gd name="connsiteX15" fmla="*/ 44768 w 48577"/>
                  <a:gd name="connsiteY15" fmla="*/ 9351 h 18876"/>
                  <a:gd name="connsiteX16" fmla="*/ 46673 w 48577"/>
                  <a:gd name="connsiteY16" fmla="*/ 12209 h 18876"/>
                  <a:gd name="connsiteX17" fmla="*/ 48578 w 48577"/>
                  <a:gd name="connsiteY17" fmla="*/ 14114 h 18876"/>
                  <a:gd name="connsiteX18" fmla="*/ 45720 w 48577"/>
                  <a:gd name="connsiteY18" fmla="*/ 17924 h 18876"/>
                  <a:gd name="connsiteX19" fmla="*/ 40958 w 48577"/>
                  <a:gd name="connsiteY19" fmla="*/ 18876 h 18876"/>
                  <a:gd name="connsiteX20" fmla="*/ 39053 w 48577"/>
                  <a:gd name="connsiteY20" fmla="*/ 16971 h 1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77" h="18876">
                    <a:moveTo>
                      <a:pt x="39053" y="16971"/>
                    </a:moveTo>
                    <a:lnTo>
                      <a:pt x="36195" y="16971"/>
                    </a:lnTo>
                    <a:lnTo>
                      <a:pt x="24765" y="16971"/>
                    </a:lnTo>
                    <a:lnTo>
                      <a:pt x="21908" y="16971"/>
                    </a:lnTo>
                    <a:lnTo>
                      <a:pt x="15240" y="15066"/>
                    </a:lnTo>
                    <a:lnTo>
                      <a:pt x="1905" y="11256"/>
                    </a:lnTo>
                    <a:cubicBezTo>
                      <a:pt x="1905" y="11256"/>
                      <a:pt x="0" y="9351"/>
                      <a:pt x="0" y="7446"/>
                    </a:cubicBezTo>
                    <a:cubicBezTo>
                      <a:pt x="0" y="5541"/>
                      <a:pt x="0" y="2684"/>
                      <a:pt x="0" y="2684"/>
                    </a:cubicBezTo>
                    <a:cubicBezTo>
                      <a:pt x="0" y="2684"/>
                      <a:pt x="953" y="1731"/>
                      <a:pt x="2858" y="1731"/>
                    </a:cubicBezTo>
                    <a:cubicBezTo>
                      <a:pt x="4763" y="1731"/>
                      <a:pt x="953" y="1731"/>
                      <a:pt x="4763" y="1731"/>
                    </a:cubicBezTo>
                    <a:cubicBezTo>
                      <a:pt x="9525" y="1731"/>
                      <a:pt x="12383" y="779"/>
                      <a:pt x="14288" y="779"/>
                    </a:cubicBezTo>
                    <a:cubicBezTo>
                      <a:pt x="16193" y="1731"/>
                      <a:pt x="9525" y="-2079"/>
                      <a:pt x="16193" y="1731"/>
                    </a:cubicBezTo>
                    <a:cubicBezTo>
                      <a:pt x="22860" y="5541"/>
                      <a:pt x="18098" y="3636"/>
                      <a:pt x="22860" y="5541"/>
                    </a:cubicBezTo>
                    <a:cubicBezTo>
                      <a:pt x="27623" y="6494"/>
                      <a:pt x="39053" y="7446"/>
                      <a:pt x="39053" y="7446"/>
                    </a:cubicBezTo>
                    <a:cubicBezTo>
                      <a:pt x="39053" y="7446"/>
                      <a:pt x="40958" y="7446"/>
                      <a:pt x="42863" y="8399"/>
                    </a:cubicBezTo>
                    <a:cubicBezTo>
                      <a:pt x="44768" y="9351"/>
                      <a:pt x="43815" y="6494"/>
                      <a:pt x="44768" y="9351"/>
                    </a:cubicBezTo>
                    <a:cubicBezTo>
                      <a:pt x="46673" y="12209"/>
                      <a:pt x="43815" y="10304"/>
                      <a:pt x="46673" y="12209"/>
                    </a:cubicBezTo>
                    <a:cubicBezTo>
                      <a:pt x="48578" y="14114"/>
                      <a:pt x="48578" y="12209"/>
                      <a:pt x="48578" y="14114"/>
                    </a:cubicBezTo>
                    <a:cubicBezTo>
                      <a:pt x="48578" y="16019"/>
                      <a:pt x="45720" y="17924"/>
                      <a:pt x="45720" y="17924"/>
                    </a:cubicBezTo>
                    <a:lnTo>
                      <a:pt x="40958" y="18876"/>
                    </a:lnTo>
                    <a:lnTo>
                      <a:pt x="39053" y="16971"/>
                    </a:lnTo>
                    <a:close/>
                  </a:path>
                </a:pathLst>
              </a:custGeom>
              <a:grpFill/>
              <a:ln w="9525" cap="flat">
                <a:noFill/>
                <a:prstDash val="solid"/>
                <a:miter/>
              </a:ln>
            </p:spPr>
            <p:txBody>
              <a:bodyPr rtlCol="0" anchor="ctr"/>
              <a:lstStyle/>
              <a:p>
                <a:endParaRPr lang="en-US" sz="1765"/>
              </a:p>
            </p:txBody>
          </p:sp>
          <p:sp>
            <p:nvSpPr>
              <p:cNvPr id="281" name="Freeform: Shape 280">
                <a:extLst>
                  <a:ext uri="{FF2B5EF4-FFF2-40B4-BE49-F238E27FC236}">
                    <a16:creationId xmlns:a16="http://schemas.microsoft.com/office/drawing/2014/main" id="{1C0FC2D1-E65B-4AF0-B663-7D4B03FB7D0B}"/>
                  </a:ext>
                </a:extLst>
              </p:cNvPr>
              <p:cNvSpPr/>
              <p:nvPr/>
            </p:nvSpPr>
            <p:spPr>
              <a:xfrm>
                <a:off x="7005044" y="2790554"/>
                <a:ext cx="1036941" cy="497205"/>
              </a:xfrm>
              <a:custGeom>
                <a:avLst/>
                <a:gdLst>
                  <a:gd name="connsiteX0" fmla="*/ 75870 w 1036941"/>
                  <a:gd name="connsiteY0" fmla="*/ 120968 h 497205"/>
                  <a:gd name="connsiteX1" fmla="*/ 59677 w 1036941"/>
                  <a:gd name="connsiteY1" fmla="*/ 120968 h 497205"/>
                  <a:gd name="connsiteX2" fmla="*/ 50152 w 1036941"/>
                  <a:gd name="connsiteY2" fmla="*/ 121920 h 497205"/>
                  <a:gd name="connsiteX3" fmla="*/ 33007 w 1036941"/>
                  <a:gd name="connsiteY3" fmla="*/ 121920 h 497205"/>
                  <a:gd name="connsiteX4" fmla="*/ 21577 w 1036941"/>
                  <a:gd name="connsiteY4" fmla="*/ 121920 h 497205"/>
                  <a:gd name="connsiteX5" fmla="*/ 13004 w 1036941"/>
                  <a:gd name="connsiteY5" fmla="*/ 121920 h 497205"/>
                  <a:gd name="connsiteX6" fmla="*/ 9195 w 1036941"/>
                  <a:gd name="connsiteY6" fmla="*/ 121920 h 497205"/>
                  <a:gd name="connsiteX7" fmla="*/ 3479 w 1036941"/>
                  <a:gd name="connsiteY7" fmla="*/ 121920 h 497205"/>
                  <a:gd name="connsiteX8" fmla="*/ 622 w 1036941"/>
                  <a:gd name="connsiteY8" fmla="*/ 128588 h 497205"/>
                  <a:gd name="connsiteX9" fmla="*/ 1575 w 1036941"/>
                  <a:gd name="connsiteY9" fmla="*/ 131445 h 497205"/>
                  <a:gd name="connsiteX10" fmla="*/ 3479 w 1036941"/>
                  <a:gd name="connsiteY10" fmla="*/ 132398 h 497205"/>
                  <a:gd name="connsiteX11" fmla="*/ 8242 w 1036941"/>
                  <a:gd name="connsiteY11" fmla="*/ 136208 h 497205"/>
                  <a:gd name="connsiteX12" fmla="*/ 11100 w 1036941"/>
                  <a:gd name="connsiteY12" fmla="*/ 137160 h 497205"/>
                  <a:gd name="connsiteX13" fmla="*/ 17767 w 1036941"/>
                  <a:gd name="connsiteY13" fmla="*/ 139065 h 497205"/>
                  <a:gd name="connsiteX14" fmla="*/ 29197 w 1036941"/>
                  <a:gd name="connsiteY14" fmla="*/ 141923 h 497205"/>
                  <a:gd name="connsiteX15" fmla="*/ 31102 w 1036941"/>
                  <a:gd name="connsiteY15" fmla="*/ 142875 h 497205"/>
                  <a:gd name="connsiteX16" fmla="*/ 41579 w 1036941"/>
                  <a:gd name="connsiteY16" fmla="*/ 148590 h 497205"/>
                  <a:gd name="connsiteX17" fmla="*/ 45390 w 1036941"/>
                  <a:gd name="connsiteY17" fmla="*/ 150495 h 497205"/>
                  <a:gd name="connsiteX18" fmla="*/ 54915 w 1036941"/>
                  <a:gd name="connsiteY18" fmla="*/ 152400 h 497205"/>
                  <a:gd name="connsiteX19" fmla="*/ 59677 w 1036941"/>
                  <a:gd name="connsiteY19" fmla="*/ 154305 h 497205"/>
                  <a:gd name="connsiteX20" fmla="*/ 63487 w 1036941"/>
                  <a:gd name="connsiteY20" fmla="*/ 157163 h 497205"/>
                  <a:gd name="connsiteX21" fmla="*/ 62535 w 1036941"/>
                  <a:gd name="connsiteY21" fmla="*/ 163830 h 497205"/>
                  <a:gd name="connsiteX22" fmla="*/ 56820 w 1036941"/>
                  <a:gd name="connsiteY22" fmla="*/ 169545 h 497205"/>
                  <a:gd name="connsiteX23" fmla="*/ 52057 w 1036941"/>
                  <a:gd name="connsiteY23" fmla="*/ 176213 h 497205"/>
                  <a:gd name="connsiteX24" fmla="*/ 53010 w 1036941"/>
                  <a:gd name="connsiteY24" fmla="*/ 179070 h 497205"/>
                  <a:gd name="connsiteX25" fmla="*/ 55867 w 1036941"/>
                  <a:gd name="connsiteY25" fmla="*/ 185738 h 497205"/>
                  <a:gd name="connsiteX26" fmla="*/ 60629 w 1036941"/>
                  <a:gd name="connsiteY26" fmla="*/ 188595 h 497205"/>
                  <a:gd name="connsiteX27" fmla="*/ 66345 w 1036941"/>
                  <a:gd name="connsiteY27" fmla="*/ 189548 h 497205"/>
                  <a:gd name="connsiteX28" fmla="*/ 82537 w 1036941"/>
                  <a:gd name="connsiteY28" fmla="*/ 191453 h 497205"/>
                  <a:gd name="connsiteX29" fmla="*/ 88252 w 1036941"/>
                  <a:gd name="connsiteY29" fmla="*/ 192405 h 497205"/>
                  <a:gd name="connsiteX30" fmla="*/ 95872 w 1036941"/>
                  <a:gd name="connsiteY30" fmla="*/ 191453 h 497205"/>
                  <a:gd name="connsiteX31" fmla="*/ 105397 w 1036941"/>
                  <a:gd name="connsiteY31" fmla="*/ 184785 h 497205"/>
                  <a:gd name="connsiteX32" fmla="*/ 110160 w 1036941"/>
                  <a:gd name="connsiteY32" fmla="*/ 182880 h 497205"/>
                  <a:gd name="connsiteX33" fmla="*/ 123495 w 1036941"/>
                  <a:gd name="connsiteY33" fmla="*/ 182880 h 497205"/>
                  <a:gd name="connsiteX34" fmla="*/ 129210 w 1036941"/>
                  <a:gd name="connsiteY34" fmla="*/ 183833 h 497205"/>
                  <a:gd name="connsiteX35" fmla="*/ 146354 w 1036941"/>
                  <a:gd name="connsiteY35" fmla="*/ 184785 h 497205"/>
                  <a:gd name="connsiteX36" fmla="*/ 167310 w 1036941"/>
                  <a:gd name="connsiteY36" fmla="*/ 185738 h 497205"/>
                  <a:gd name="connsiteX37" fmla="*/ 180645 w 1036941"/>
                  <a:gd name="connsiteY37" fmla="*/ 183833 h 497205"/>
                  <a:gd name="connsiteX38" fmla="*/ 184454 w 1036941"/>
                  <a:gd name="connsiteY38" fmla="*/ 185738 h 497205"/>
                  <a:gd name="connsiteX39" fmla="*/ 199695 w 1036941"/>
                  <a:gd name="connsiteY39" fmla="*/ 194310 h 497205"/>
                  <a:gd name="connsiteX40" fmla="*/ 211125 w 1036941"/>
                  <a:gd name="connsiteY40" fmla="*/ 198120 h 497205"/>
                  <a:gd name="connsiteX41" fmla="*/ 224460 w 1036941"/>
                  <a:gd name="connsiteY41" fmla="*/ 201930 h 497205"/>
                  <a:gd name="connsiteX42" fmla="*/ 246367 w 1036941"/>
                  <a:gd name="connsiteY42" fmla="*/ 209550 h 497205"/>
                  <a:gd name="connsiteX43" fmla="*/ 252082 w 1036941"/>
                  <a:gd name="connsiteY43" fmla="*/ 216218 h 497205"/>
                  <a:gd name="connsiteX44" fmla="*/ 253987 w 1036941"/>
                  <a:gd name="connsiteY44" fmla="*/ 219075 h 497205"/>
                  <a:gd name="connsiteX45" fmla="*/ 266370 w 1036941"/>
                  <a:gd name="connsiteY45" fmla="*/ 231458 h 497205"/>
                  <a:gd name="connsiteX46" fmla="*/ 272085 w 1036941"/>
                  <a:gd name="connsiteY46" fmla="*/ 235268 h 497205"/>
                  <a:gd name="connsiteX47" fmla="*/ 277800 w 1036941"/>
                  <a:gd name="connsiteY47" fmla="*/ 239078 h 497205"/>
                  <a:gd name="connsiteX48" fmla="*/ 282562 w 1036941"/>
                  <a:gd name="connsiteY48" fmla="*/ 242888 h 497205"/>
                  <a:gd name="connsiteX49" fmla="*/ 286372 w 1036941"/>
                  <a:gd name="connsiteY49" fmla="*/ 253365 h 497205"/>
                  <a:gd name="connsiteX50" fmla="*/ 287325 w 1036941"/>
                  <a:gd name="connsiteY50" fmla="*/ 258128 h 497205"/>
                  <a:gd name="connsiteX51" fmla="*/ 287325 w 1036941"/>
                  <a:gd name="connsiteY51" fmla="*/ 268605 h 497205"/>
                  <a:gd name="connsiteX52" fmla="*/ 287325 w 1036941"/>
                  <a:gd name="connsiteY52" fmla="*/ 271463 h 497205"/>
                  <a:gd name="connsiteX53" fmla="*/ 287325 w 1036941"/>
                  <a:gd name="connsiteY53" fmla="*/ 276225 h 497205"/>
                  <a:gd name="connsiteX54" fmla="*/ 288277 w 1036941"/>
                  <a:gd name="connsiteY54" fmla="*/ 283845 h 497205"/>
                  <a:gd name="connsiteX55" fmla="*/ 292087 w 1036941"/>
                  <a:gd name="connsiteY55" fmla="*/ 288608 h 497205"/>
                  <a:gd name="connsiteX56" fmla="*/ 297802 w 1036941"/>
                  <a:gd name="connsiteY56" fmla="*/ 292418 h 497205"/>
                  <a:gd name="connsiteX57" fmla="*/ 307327 w 1036941"/>
                  <a:gd name="connsiteY57" fmla="*/ 293370 h 497205"/>
                  <a:gd name="connsiteX58" fmla="*/ 310185 w 1036941"/>
                  <a:gd name="connsiteY58" fmla="*/ 292418 h 497205"/>
                  <a:gd name="connsiteX59" fmla="*/ 312090 w 1036941"/>
                  <a:gd name="connsiteY59" fmla="*/ 290513 h 497205"/>
                  <a:gd name="connsiteX60" fmla="*/ 311137 w 1036941"/>
                  <a:gd name="connsiteY60" fmla="*/ 285750 h 497205"/>
                  <a:gd name="connsiteX61" fmla="*/ 310185 w 1036941"/>
                  <a:gd name="connsiteY61" fmla="*/ 283845 h 497205"/>
                  <a:gd name="connsiteX62" fmla="*/ 311137 w 1036941"/>
                  <a:gd name="connsiteY62" fmla="*/ 280035 h 497205"/>
                  <a:gd name="connsiteX63" fmla="*/ 322567 w 1036941"/>
                  <a:gd name="connsiteY63" fmla="*/ 280035 h 497205"/>
                  <a:gd name="connsiteX64" fmla="*/ 332092 w 1036941"/>
                  <a:gd name="connsiteY64" fmla="*/ 279083 h 497205"/>
                  <a:gd name="connsiteX65" fmla="*/ 336855 w 1036941"/>
                  <a:gd name="connsiteY65" fmla="*/ 279083 h 497205"/>
                  <a:gd name="connsiteX66" fmla="*/ 337807 w 1036941"/>
                  <a:gd name="connsiteY66" fmla="*/ 283845 h 497205"/>
                  <a:gd name="connsiteX67" fmla="*/ 340665 w 1036941"/>
                  <a:gd name="connsiteY67" fmla="*/ 289560 h 497205"/>
                  <a:gd name="connsiteX68" fmla="*/ 350190 w 1036941"/>
                  <a:gd name="connsiteY68" fmla="*/ 292418 h 497205"/>
                  <a:gd name="connsiteX69" fmla="*/ 356857 w 1036941"/>
                  <a:gd name="connsiteY69" fmla="*/ 294323 h 497205"/>
                  <a:gd name="connsiteX70" fmla="*/ 360667 w 1036941"/>
                  <a:gd name="connsiteY70" fmla="*/ 296228 h 497205"/>
                  <a:gd name="connsiteX71" fmla="*/ 361620 w 1036941"/>
                  <a:gd name="connsiteY71" fmla="*/ 298133 h 497205"/>
                  <a:gd name="connsiteX72" fmla="*/ 359715 w 1036941"/>
                  <a:gd name="connsiteY72" fmla="*/ 302895 h 497205"/>
                  <a:gd name="connsiteX73" fmla="*/ 360667 w 1036941"/>
                  <a:gd name="connsiteY73" fmla="*/ 312420 h 497205"/>
                  <a:gd name="connsiteX74" fmla="*/ 361620 w 1036941"/>
                  <a:gd name="connsiteY74" fmla="*/ 317183 h 497205"/>
                  <a:gd name="connsiteX75" fmla="*/ 361620 w 1036941"/>
                  <a:gd name="connsiteY75" fmla="*/ 323850 h 497205"/>
                  <a:gd name="connsiteX76" fmla="*/ 360667 w 1036941"/>
                  <a:gd name="connsiteY76" fmla="*/ 327660 h 497205"/>
                  <a:gd name="connsiteX77" fmla="*/ 358762 w 1036941"/>
                  <a:gd name="connsiteY77" fmla="*/ 334328 h 497205"/>
                  <a:gd name="connsiteX78" fmla="*/ 354952 w 1036941"/>
                  <a:gd name="connsiteY78" fmla="*/ 342900 h 497205"/>
                  <a:gd name="connsiteX79" fmla="*/ 351142 w 1036941"/>
                  <a:gd name="connsiteY79" fmla="*/ 347663 h 497205"/>
                  <a:gd name="connsiteX80" fmla="*/ 339712 w 1036941"/>
                  <a:gd name="connsiteY80" fmla="*/ 354330 h 497205"/>
                  <a:gd name="connsiteX81" fmla="*/ 333045 w 1036941"/>
                  <a:gd name="connsiteY81" fmla="*/ 358140 h 497205"/>
                  <a:gd name="connsiteX82" fmla="*/ 326377 w 1036941"/>
                  <a:gd name="connsiteY82" fmla="*/ 360998 h 497205"/>
                  <a:gd name="connsiteX83" fmla="*/ 321615 w 1036941"/>
                  <a:gd name="connsiteY83" fmla="*/ 363855 h 497205"/>
                  <a:gd name="connsiteX84" fmla="*/ 320662 w 1036941"/>
                  <a:gd name="connsiteY84" fmla="*/ 373380 h 497205"/>
                  <a:gd name="connsiteX85" fmla="*/ 318757 w 1036941"/>
                  <a:gd name="connsiteY85" fmla="*/ 375285 h 497205"/>
                  <a:gd name="connsiteX86" fmla="*/ 316852 w 1036941"/>
                  <a:gd name="connsiteY86" fmla="*/ 381000 h 497205"/>
                  <a:gd name="connsiteX87" fmla="*/ 316852 w 1036941"/>
                  <a:gd name="connsiteY87" fmla="*/ 392430 h 497205"/>
                  <a:gd name="connsiteX88" fmla="*/ 324472 w 1036941"/>
                  <a:gd name="connsiteY88" fmla="*/ 401003 h 497205"/>
                  <a:gd name="connsiteX89" fmla="*/ 325425 w 1036941"/>
                  <a:gd name="connsiteY89" fmla="*/ 403860 h 497205"/>
                  <a:gd name="connsiteX90" fmla="*/ 329235 w 1036941"/>
                  <a:gd name="connsiteY90" fmla="*/ 407670 h 497205"/>
                  <a:gd name="connsiteX91" fmla="*/ 342570 w 1036941"/>
                  <a:gd name="connsiteY91" fmla="*/ 420053 h 497205"/>
                  <a:gd name="connsiteX92" fmla="*/ 354000 w 1036941"/>
                  <a:gd name="connsiteY92" fmla="*/ 427673 h 497205"/>
                  <a:gd name="connsiteX93" fmla="*/ 358762 w 1036941"/>
                  <a:gd name="connsiteY93" fmla="*/ 437198 h 497205"/>
                  <a:gd name="connsiteX94" fmla="*/ 364477 w 1036941"/>
                  <a:gd name="connsiteY94" fmla="*/ 445770 h 497205"/>
                  <a:gd name="connsiteX95" fmla="*/ 372097 w 1036941"/>
                  <a:gd name="connsiteY95" fmla="*/ 451485 h 497205"/>
                  <a:gd name="connsiteX96" fmla="*/ 381622 w 1036941"/>
                  <a:gd name="connsiteY96" fmla="*/ 457200 h 497205"/>
                  <a:gd name="connsiteX97" fmla="*/ 393052 w 1036941"/>
                  <a:gd name="connsiteY97" fmla="*/ 463868 h 497205"/>
                  <a:gd name="connsiteX98" fmla="*/ 398767 w 1036941"/>
                  <a:gd name="connsiteY98" fmla="*/ 472440 h 497205"/>
                  <a:gd name="connsiteX99" fmla="*/ 406387 w 1036941"/>
                  <a:gd name="connsiteY99" fmla="*/ 478155 h 497205"/>
                  <a:gd name="connsiteX100" fmla="*/ 416865 w 1036941"/>
                  <a:gd name="connsiteY100" fmla="*/ 483870 h 497205"/>
                  <a:gd name="connsiteX101" fmla="*/ 420675 w 1036941"/>
                  <a:gd name="connsiteY101" fmla="*/ 485775 h 497205"/>
                  <a:gd name="connsiteX102" fmla="*/ 434010 w 1036941"/>
                  <a:gd name="connsiteY102" fmla="*/ 491490 h 497205"/>
                  <a:gd name="connsiteX103" fmla="*/ 442582 w 1036941"/>
                  <a:gd name="connsiteY103" fmla="*/ 494348 h 497205"/>
                  <a:gd name="connsiteX104" fmla="*/ 448297 w 1036941"/>
                  <a:gd name="connsiteY104" fmla="*/ 496253 h 497205"/>
                  <a:gd name="connsiteX105" fmla="*/ 465442 w 1036941"/>
                  <a:gd name="connsiteY105" fmla="*/ 497205 h 497205"/>
                  <a:gd name="connsiteX106" fmla="*/ 481635 w 1036941"/>
                  <a:gd name="connsiteY106" fmla="*/ 493395 h 497205"/>
                  <a:gd name="connsiteX107" fmla="*/ 489255 w 1036941"/>
                  <a:gd name="connsiteY107" fmla="*/ 492443 h 497205"/>
                  <a:gd name="connsiteX108" fmla="*/ 496875 w 1036941"/>
                  <a:gd name="connsiteY108" fmla="*/ 492443 h 497205"/>
                  <a:gd name="connsiteX109" fmla="*/ 507352 w 1036941"/>
                  <a:gd name="connsiteY109" fmla="*/ 483870 h 497205"/>
                  <a:gd name="connsiteX110" fmla="*/ 512115 w 1036941"/>
                  <a:gd name="connsiteY110" fmla="*/ 474345 h 497205"/>
                  <a:gd name="connsiteX111" fmla="*/ 514020 w 1036941"/>
                  <a:gd name="connsiteY111" fmla="*/ 465773 h 497205"/>
                  <a:gd name="connsiteX112" fmla="*/ 518782 w 1036941"/>
                  <a:gd name="connsiteY112" fmla="*/ 460058 h 497205"/>
                  <a:gd name="connsiteX113" fmla="*/ 522592 w 1036941"/>
                  <a:gd name="connsiteY113" fmla="*/ 451485 h 497205"/>
                  <a:gd name="connsiteX114" fmla="*/ 531165 w 1036941"/>
                  <a:gd name="connsiteY114" fmla="*/ 444818 h 497205"/>
                  <a:gd name="connsiteX115" fmla="*/ 534975 w 1036941"/>
                  <a:gd name="connsiteY115" fmla="*/ 438150 h 497205"/>
                  <a:gd name="connsiteX116" fmla="*/ 540690 w 1036941"/>
                  <a:gd name="connsiteY116" fmla="*/ 430530 h 497205"/>
                  <a:gd name="connsiteX117" fmla="*/ 545452 w 1036941"/>
                  <a:gd name="connsiteY117" fmla="*/ 425768 h 497205"/>
                  <a:gd name="connsiteX118" fmla="*/ 551167 w 1036941"/>
                  <a:gd name="connsiteY118" fmla="*/ 420053 h 497205"/>
                  <a:gd name="connsiteX119" fmla="*/ 554977 w 1036941"/>
                  <a:gd name="connsiteY119" fmla="*/ 412433 h 497205"/>
                  <a:gd name="connsiteX120" fmla="*/ 557835 w 1036941"/>
                  <a:gd name="connsiteY120" fmla="*/ 408623 h 497205"/>
                  <a:gd name="connsiteX121" fmla="*/ 569265 w 1036941"/>
                  <a:gd name="connsiteY121" fmla="*/ 403860 h 497205"/>
                  <a:gd name="connsiteX122" fmla="*/ 583552 w 1036941"/>
                  <a:gd name="connsiteY122" fmla="*/ 401003 h 497205"/>
                  <a:gd name="connsiteX123" fmla="*/ 593077 w 1036941"/>
                  <a:gd name="connsiteY123" fmla="*/ 398145 h 497205"/>
                  <a:gd name="connsiteX124" fmla="*/ 603555 w 1036941"/>
                  <a:gd name="connsiteY124" fmla="*/ 398145 h 497205"/>
                  <a:gd name="connsiteX125" fmla="*/ 618795 w 1036941"/>
                  <a:gd name="connsiteY125" fmla="*/ 397193 h 497205"/>
                  <a:gd name="connsiteX126" fmla="*/ 624510 w 1036941"/>
                  <a:gd name="connsiteY126" fmla="*/ 397193 h 497205"/>
                  <a:gd name="connsiteX127" fmla="*/ 644512 w 1036941"/>
                  <a:gd name="connsiteY127" fmla="*/ 394335 h 497205"/>
                  <a:gd name="connsiteX128" fmla="*/ 653085 w 1036941"/>
                  <a:gd name="connsiteY128" fmla="*/ 391478 h 497205"/>
                  <a:gd name="connsiteX129" fmla="*/ 657847 w 1036941"/>
                  <a:gd name="connsiteY129" fmla="*/ 387668 h 497205"/>
                  <a:gd name="connsiteX130" fmla="*/ 663562 w 1036941"/>
                  <a:gd name="connsiteY130" fmla="*/ 382905 h 497205"/>
                  <a:gd name="connsiteX131" fmla="*/ 669277 w 1036941"/>
                  <a:gd name="connsiteY131" fmla="*/ 376238 h 497205"/>
                  <a:gd name="connsiteX132" fmla="*/ 673087 w 1036941"/>
                  <a:gd name="connsiteY132" fmla="*/ 372428 h 497205"/>
                  <a:gd name="connsiteX133" fmla="*/ 677850 w 1036941"/>
                  <a:gd name="connsiteY133" fmla="*/ 367665 h 497205"/>
                  <a:gd name="connsiteX134" fmla="*/ 683565 w 1036941"/>
                  <a:gd name="connsiteY134" fmla="*/ 362903 h 497205"/>
                  <a:gd name="connsiteX135" fmla="*/ 695947 w 1036941"/>
                  <a:gd name="connsiteY135" fmla="*/ 360998 h 497205"/>
                  <a:gd name="connsiteX136" fmla="*/ 702615 w 1036941"/>
                  <a:gd name="connsiteY136" fmla="*/ 360045 h 497205"/>
                  <a:gd name="connsiteX137" fmla="*/ 706425 w 1036941"/>
                  <a:gd name="connsiteY137" fmla="*/ 360045 h 497205"/>
                  <a:gd name="connsiteX138" fmla="*/ 714045 w 1036941"/>
                  <a:gd name="connsiteY138" fmla="*/ 360045 h 497205"/>
                  <a:gd name="connsiteX139" fmla="*/ 725475 w 1036941"/>
                  <a:gd name="connsiteY139" fmla="*/ 360045 h 497205"/>
                  <a:gd name="connsiteX140" fmla="*/ 739762 w 1036941"/>
                  <a:gd name="connsiteY140" fmla="*/ 356235 h 497205"/>
                  <a:gd name="connsiteX141" fmla="*/ 751192 w 1036941"/>
                  <a:gd name="connsiteY141" fmla="*/ 350520 h 497205"/>
                  <a:gd name="connsiteX142" fmla="*/ 760717 w 1036941"/>
                  <a:gd name="connsiteY142" fmla="*/ 348615 h 497205"/>
                  <a:gd name="connsiteX143" fmla="*/ 771195 w 1036941"/>
                  <a:gd name="connsiteY143" fmla="*/ 348615 h 497205"/>
                  <a:gd name="connsiteX144" fmla="*/ 779767 w 1036941"/>
                  <a:gd name="connsiteY144" fmla="*/ 348615 h 497205"/>
                  <a:gd name="connsiteX145" fmla="*/ 793102 w 1036941"/>
                  <a:gd name="connsiteY145" fmla="*/ 346710 h 497205"/>
                  <a:gd name="connsiteX146" fmla="*/ 813105 w 1036941"/>
                  <a:gd name="connsiteY146" fmla="*/ 345758 h 497205"/>
                  <a:gd name="connsiteX147" fmla="*/ 820725 w 1036941"/>
                  <a:gd name="connsiteY147" fmla="*/ 345758 h 497205"/>
                  <a:gd name="connsiteX148" fmla="*/ 829297 w 1036941"/>
                  <a:gd name="connsiteY148" fmla="*/ 345758 h 497205"/>
                  <a:gd name="connsiteX149" fmla="*/ 844537 w 1036941"/>
                  <a:gd name="connsiteY149" fmla="*/ 340995 h 497205"/>
                  <a:gd name="connsiteX150" fmla="*/ 846442 w 1036941"/>
                  <a:gd name="connsiteY150" fmla="*/ 335280 h 497205"/>
                  <a:gd name="connsiteX151" fmla="*/ 847395 w 1036941"/>
                  <a:gd name="connsiteY151" fmla="*/ 329565 h 497205"/>
                  <a:gd name="connsiteX152" fmla="*/ 847395 w 1036941"/>
                  <a:gd name="connsiteY152" fmla="*/ 327660 h 497205"/>
                  <a:gd name="connsiteX153" fmla="*/ 833107 w 1036941"/>
                  <a:gd name="connsiteY153" fmla="*/ 324803 h 497205"/>
                  <a:gd name="connsiteX154" fmla="*/ 817867 w 1036941"/>
                  <a:gd name="connsiteY154" fmla="*/ 322898 h 497205"/>
                  <a:gd name="connsiteX155" fmla="*/ 810247 w 1036941"/>
                  <a:gd name="connsiteY155" fmla="*/ 320993 h 497205"/>
                  <a:gd name="connsiteX156" fmla="*/ 806437 w 1036941"/>
                  <a:gd name="connsiteY156" fmla="*/ 316230 h 497205"/>
                  <a:gd name="connsiteX157" fmla="*/ 806437 w 1036941"/>
                  <a:gd name="connsiteY157" fmla="*/ 312420 h 497205"/>
                  <a:gd name="connsiteX158" fmla="*/ 816914 w 1036941"/>
                  <a:gd name="connsiteY158" fmla="*/ 312420 h 497205"/>
                  <a:gd name="connsiteX159" fmla="*/ 835964 w 1036941"/>
                  <a:gd name="connsiteY159" fmla="*/ 316230 h 497205"/>
                  <a:gd name="connsiteX160" fmla="*/ 853110 w 1036941"/>
                  <a:gd name="connsiteY160" fmla="*/ 318135 h 497205"/>
                  <a:gd name="connsiteX161" fmla="*/ 865492 w 1036941"/>
                  <a:gd name="connsiteY161" fmla="*/ 318135 h 497205"/>
                  <a:gd name="connsiteX162" fmla="*/ 870255 w 1036941"/>
                  <a:gd name="connsiteY162" fmla="*/ 317183 h 497205"/>
                  <a:gd name="connsiteX163" fmla="*/ 881685 w 1036941"/>
                  <a:gd name="connsiteY163" fmla="*/ 317183 h 497205"/>
                  <a:gd name="connsiteX164" fmla="*/ 886447 w 1036941"/>
                  <a:gd name="connsiteY164" fmla="*/ 316230 h 497205"/>
                  <a:gd name="connsiteX165" fmla="*/ 893114 w 1036941"/>
                  <a:gd name="connsiteY165" fmla="*/ 311468 h 497205"/>
                  <a:gd name="connsiteX166" fmla="*/ 894067 w 1036941"/>
                  <a:gd name="connsiteY166" fmla="*/ 305753 h 497205"/>
                  <a:gd name="connsiteX167" fmla="*/ 890257 w 1036941"/>
                  <a:gd name="connsiteY167" fmla="*/ 302895 h 497205"/>
                  <a:gd name="connsiteX168" fmla="*/ 880732 w 1036941"/>
                  <a:gd name="connsiteY168" fmla="*/ 303848 h 497205"/>
                  <a:gd name="connsiteX169" fmla="*/ 875970 w 1036941"/>
                  <a:gd name="connsiteY169" fmla="*/ 301943 h 497205"/>
                  <a:gd name="connsiteX170" fmla="*/ 873112 w 1036941"/>
                  <a:gd name="connsiteY170" fmla="*/ 294323 h 497205"/>
                  <a:gd name="connsiteX171" fmla="*/ 868350 w 1036941"/>
                  <a:gd name="connsiteY171" fmla="*/ 290513 h 497205"/>
                  <a:gd name="connsiteX172" fmla="*/ 859777 w 1036941"/>
                  <a:gd name="connsiteY172" fmla="*/ 286703 h 497205"/>
                  <a:gd name="connsiteX173" fmla="*/ 859777 w 1036941"/>
                  <a:gd name="connsiteY173" fmla="*/ 281940 h 497205"/>
                  <a:gd name="connsiteX174" fmla="*/ 859777 w 1036941"/>
                  <a:gd name="connsiteY174" fmla="*/ 274320 h 497205"/>
                  <a:gd name="connsiteX175" fmla="*/ 860730 w 1036941"/>
                  <a:gd name="connsiteY175" fmla="*/ 264795 h 497205"/>
                  <a:gd name="connsiteX176" fmla="*/ 863587 w 1036941"/>
                  <a:gd name="connsiteY176" fmla="*/ 254318 h 497205"/>
                  <a:gd name="connsiteX177" fmla="*/ 866445 w 1036941"/>
                  <a:gd name="connsiteY177" fmla="*/ 250508 h 497205"/>
                  <a:gd name="connsiteX178" fmla="*/ 872160 w 1036941"/>
                  <a:gd name="connsiteY178" fmla="*/ 247650 h 497205"/>
                  <a:gd name="connsiteX179" fmla="*/ 880732 w 1036941"/>
                  <a:gd name="connsiteY179" fmla="*/ 241935 h 497205"/>
                  <a:gd name="connsiteX180" fmla="*/ 884542 w 1036941"/>
                  <a:gd name="connsiteY180" fmla="*/ 240983 h 497205"/>
                  <a:gd name="connsiteX181" fmla="*/ 891210 w 1036941"/>
                  <a:gd name="connsiteY181" fmla="*/ 240030 h 497205"/>
                  <a:gd name="connsiteX182" fmla="*/ 901687 w 1036941"/>
                  <a:gd name="connsiteY182" fmla="*/ 237173 h 497205"/>
                  <a:gd name="connsiteX183" fmla="*/ 915975 w 1036941"/>
                  <a:gd name="connsiteY183" fmla="*/ 231458 h 497205"/>
                  <a:gd name="connsiteX184" fmla="*/ 916927 w 1036941"/>
                  <a:gd name="connsiteY184" fmla="*/ 227648 h 497205"/>
                  <a:gd name="connsiteX185" fmla="*/ 917880 w 1036941"/>
                  <a:gd name="connsiteY185" fmla="*/ 220028 h 497205"/>
                  <a:gd name="connsiteX186" fmla="*/ 919785 w 1036941"/>
                  <a:gd name="connsiteY186" fmla="*/ 211455 h 497205"/>
                  <a:gd name="connsiteX187" fmla="*/ 924547 w 1036941"/>
                  <a:gd name="connsiteY187" fmla="*/ 209550 h 497205"/>
                  <a:gd name="connsiteX188" fmla="*/ 927405 w 1036941"/>
                  <a:gd name="connsiteY188" fmla="*/ 200978 h 497205"/>
                  <a:gd name="connsiteX189" fmla="*/ 924547 w 1036941"/>
                  <a:gd name="connsiteY189" fmla="*/ 198120 h 497205"/>
                  <a:gd name="connsiteX190" fmla="*/ 913117 w 1036941"/>
                  <a:gd name="connsiteY190" fmla="*/ 198120 h 497205"/>
                  <a:gd name="connsiteX191" fmla="*/ 905497 w 1036941"/>
                  <a:gd name="connsiteY191" fmla="*/ 198120 h 497205"/>
                  <a:gd name="connsiteX192" fmla="*/ 898830 w 1036941"/>
                  <a:gd name="connsiteY192" fmla="*/ 196215 h 497205"/>
                  <a:gd name="connsiteX193" fmla="*/ 896925 w 1036941"/>
                  <a:gd name="connsiteY193" fmla="*/ 194310 h 497205"/>
                  <a:gd name="connsiteX194" fmla="*/ 894067 w 1036941"/>
                  <a:gd name="connsiteY194" fmla="*/ 191453 h 497205"/>
                  <a:gd name="connsiteX195" fmla="*/ 893114 w 1036941"/>
                  <a:gd name="connsiteY195" fmla="*/ 188595 h 497205"/>
                  <a:gd name="connsiteX196" fmla="*/ 893114 w 1036941"/>
                  <a:gd name="connsiteY196" fmla="*/ 185738 h 497205"/>
                  <a:gd name="connsiteX197" fmla="*/ 900735 w 1036941"/>
                  <a:gd name="connsiteY197" fmla="*/ 184785 h 497205"/>
                  <a:gd name="connsiteX198" fmla="*/ 915022 w 1036941"/>
                  <a:gd name="connsiteY198" fmla="*/ 183833 h 497205"/>
                  <a:gd name="connsiteX199" fmla="*/ 919785 w 1036941"/>
                  <a:gd name="connsiteY199" fmla="*/ 181928 h 497205"/>
                  <a:gd name="connsiteX200" fmla="*/ 922642 w 1036941"/>
                  <a:gd name="connsiteY200" fmla="*/ 176213 h 497205"/>
                  <a:gd name="connsiteX201" fmla="*/ 921689 w 1036941"/>
                  <a:gd name="connsiteY201" fmla="*/ 169545 h 497205"/>
                  <a:gd name="connsiteX202" fmla="*/ 915022 w 1036941"/>
                  <a:gd name="connsiteY202" fmla="*/ 168593 h 497205"/>
                  <a:gd name="connsiteX203" fmla="*/ 909307 w 1036941"/>
                  <a:gd name="connsiteY203" fmla="*/ 166688 h 497205"/>
                  <a:gd name="connsiteX204" fmla="*/ 904545 w 1036941"/>
                  <a:gd name="connsiteY204" fmla="*/ 165735 h 497205"/>
                  <a:gd name="connsiteX205" fmla="*/ 899782 w 1036941"/>
                  <a:gd name="connsiteY205" fmla="*/ 164783 h 497205"/>
                  <a:gd name="connsiteX206" fmla="*/ 893114 w 1036941"/>
                  <a:gd name="connsiteY206" fmla="*/ 160973 h 497205"/>
                  <a:gd name="connsiteX207" fmla="*/ 889305 w 1036941"/>
                  <a:gd name="connsiteY207" fmla="*/ 153353 h 497205"/>
                  <a:gd name="connsiteX208" fmla="*/ 888352 w 1036941"/>
                  <a:gd name="connsiteY208" fmla="*/ 146685 h 497205"/>
                  <a:gd name="connsiteX209" fmla="*/ 903592 w 1036941"/>
                  <a:gd name="connsiteY209" fmla="*/ 137160 h 497205"/>
                  <a:gd name="connsiteX210" fmla="*/ 905497 w 1036941"/>
                  <a:gd name="connsiteY210" fmla="*/ 135255 h 497205"/>
                  <a:gd name="connsiteX211" fmla="*/ 917880 w 1036941"/>
                  <a:gd name="connsiteY211" fmla="*/ 123825 h 497205"/>
                  <a:gd name="connsiteX212" fmla="*/ 925500 w 1036941"/>
                  <a:gd name="connsiteY212" fmla="*/ 120015 h 497205"/>
                  <a:gd name="connsiteX213" fmla="*/ 931214 w 1036941"/>
                  <a:gd name="connsiteY213" fmla="*/ 116205 h 497205"/>
                  <a:gd name="connsiteX214" fmla="*/ 935977 w 1036941"/>
                  <a:gd name="connsiteY214" fmla="*/ 113348 h 497205"/>
                  <a:gd name="connsiteX215" fmla="*/ 939787 w 1036941"/>
                  <a:gd name="connsiteY215" fmla="*/ 112395 h 497205"/>
                  <a:gd name="connsiteX216" fmla="*/ 950264 w 1036941"/>
                  <a:gd name="connsiteY216" fmla="*/ 110490 h 497205"/>
                  <a:gd name="connsiteX217" fmla="*/ 956932 w 1036941"/>
                  <a:gd name="connsiteY217" fmla="*/ 103823 h 497205"/>
                  <a:gd name="connsiteX218" fmla="*/ 962647 w 1036941"/>
                  <a:gd name="connsiteY218" fmla="*/ 99060 h 497205"/>
                  <a:gd name="connsiteX219" fmla="*/ 968362 w 1036941"/>
                  <a:gd name="connsiteY219" fmla="*/ 98108 h 497205"/>
                  <a:gd name="connsiteX220" fmla="*/ 975982 w 1036941"/>
                  <a:gd name="connsiteY220" fmla="*/ 95250 h 497205"/>
                  <a:gd name="connsiteX221" fmla="*/ 983602 w 1036941"/>
                  <a:gd name="connsiteY221" fmla="*/ 90488 h 497205"/>
                  <a:gd name="connsiteX222" fmla="*/ 991222 w 1036941"/>
                  <a:gd name="connsiteY222" fmla="*/ 89535 h 497205"/>
                  <a:gd name="connsiteX223" fmla="*/ 1006462 w 1036941"/>
                  <a:gd name="connsiteY223" fmla="*/ 87630 h 497205"/>
                  <a:gd name="connsiteX224" fmla="*/ 1013130 w 1036941"/>
                  <a:gd name="connsiteY224" fmla="*/ 81915 h 497205"/>
                  <a:gd name="connsiteX225" fmla="*/ 1019797 w 1036941"/>
                  <a:gd name="connsiteY225" fmla="*/ 81915 h 497205"/>
                  <a:gd name="connsiteX226" fmla="*/ 1027417 w 1036941"/>
                  <a:gd name="connsiteY226" fmla="*/ 80010 h 497205"/>
                  <a:gd name="connsiteX227" fmla="*/ 1034085 w 1036941"/>
                  <a:gd name="connsiteY227" fmla="*/ 76200 h 497205"/>
                  <a:gd name="connsiteX228" fmla="*/ 1035989 w 1036941"/>
                  <a:gd name="connsiteY228" fmla="*/ 71438 h 497205"/>
                  <a:gd name="connsiteX229" fmla="*/ 1036942 w 1036941"/>
                  <a:gd name="connsiteY229" fmla="*/ 67628 h 497205"/>
                  <a:gd name="connsiteX230" fmla="*/ 1035989 w 1036941"/>
                  <a:gd name="connsiteY230" fmla="*/ 63818 h 497205"/>
                  <a:gd name="connsiteX231" fmla="*/ 1028370 w 1036941"/>
                  <a:gd name="connsiteY231" fmla="*/ 61913 h 497205"/>
                  <a:gd name="connsiteX232" fmla="*/ 1018845 w 1036941"/>
                  <a:gd name="connsiteY232" fmla="*/ 61913 h 497205"/>
                  <a:gd name="connsiteX233" fmla="*/ 1011225 w 1036941"/>
                  <a:gd name="connsiteY233" fmla="*/ 60960 h 497205"/>
                  <a:gd name="connsiteX234" fmla="*/ 984555 w 1036941"/>
                  <a:gd name="connsiteY234" fmla="*/ 58103 h 497205"/>
                  <a:gd name="connsiteX235" fmla="*/ 975030 w 1036941"/>
                  <a:gd name="connsiteY235" fmla="*/ 58103 h 497205"/>
                  <a:gd name="connsiteX236" fmla="*/ 963600 w 1036941"/>
                  <a:gd name="connsiteY236" fmla="*/ 58103 h 497205"/>
                  <a:gd name="connsiteX237" fmla="*/ 957885 w 1036941"/>
                  <a:gd name="connsiteY237" fmla="*/ 58103 h 497205"/>
                  <a:gd name="connsiteX238" fmla="*/ 950264 w 1036941"/>
                  <a:gd name="connsiteY238" fmla="*/ 60008 h 497205"/>
                  <a:gd name="connsiteX239" fmla="*/ 945502 w 1036941"/>
                  <a:gd name="connsiteY239" fmla="*/ 62865 h 497205"/>
                  <a:gd name="connsiteX240" fmla="*/ 935025 w 1036941"/>
                  <a:gd name="connsiteY240" fmla="*/ 65723 h 497205"/>
                  <a:gd name="connsiteX241" fmla="*/ 930262 w 1036941"/>
                  <a:gd name="connsiteY241" fmla="*/ 68580 h 497205"/>
                  <a:gd name="connsiteX242" fmla="*/ 918832 w 1036941"/>
                  <a:gd name="connsiteY242" fmla="*/ 71438 h 497205"/>
                  <a:gd name="connsiteX243" fmla="*/ 895020 w 1036941"/>
                  <a:gd name="connsiteY243" fmla="*/ 59055 h 497205"/>
                  <a:gd name="connsiteX244" fmla="*/ 890257 w 1036941"/>
                  <a:gd name="connsiteY244" fmla="*/ 59055 h 497205"/>
                  <a:gd name="connsiteX245" fmla="*/ 882637 w 1036941"/>
                  <a:gd name="connsiteY245" fmla="*/ 57150 h 497205"/>
                  <a:gd name="connsiteX246" fmla="*/ 877875 w 1036941"/>
                  <a:gd name="connsiteY246" fmla="*/ 54293 h 497205"/>
                  <a:gd name="connsiteX247" fmla="*/ 874064 w 1036941"/>
                  <a:gd name="connsiteY247" fmla="*/ 52388 h 497205"/>
                  <a:gd name="connsiteX248" fmla="*/ 869302 w 1036941"/>
                  <a:gd name="connsiteY248" fmla="*/ 47625 h 497205"/>
                  <a:gd name="connsiteX249" fmla="*/ 867397 w 1036941"/>
                  <a:gd name="connsiteY249" fmla="*/ 42863 h 497205"/>
                  <a:gd name="connsiteX250" fmla="*/ 861682 w 1036941"/>
                  <a:gd name="connsiteY250" fmla="*/ 35243 h 497205"/>
                  <a:gd name="connsiteX251" fmla="*/ 860730 w 1036941"/>
                  <a:gd name="connsiteY251" fmla="*/ 31433 h 497205"/>
                  <a:gd name="connsiteX252" fmla="*/ 856920 w 1036941"/>
                  <a:gd name="connsiteY252" fmla="*/ 25718 h 497205"/>
                  <a:gd name="connsiteX253" fmla="*/ 855014 w 1036941"/>
                  <a:gd name="connsiteY253" fmla="*/ 22860 h 497205"/>
                  <a:gd name="connsiteX254" fmla="*/ 849300 w 1036941"/>
                  <a:gd name="connsiteY254" fmla="*/ 20955 h 497205"/>
                  <a:gd name="connsiteX255" fmla="*/ 844537 w 1036941"/>
                  <a:gd name="connsiteY255" fmla="*/ 20003 h 497205"/>
                  <a:gd name="connsiteX256" fmla="*/ 839775 w 1036941"/>
                  <a:gd name="connsiteY256" fmla="*/ 20003 h 497205"/>
                  <a:gd name="connsiteX257" fmla="*/ 829297 w 1036941"/>
                  <a:gd name="connsiteY257" fmla="*/ 19050 h 497205"/>
                  <a:gd name="connsiteX258" fmla="*/ 822630 w 1036941"/>
                  <a:gd name="connsiteY258" fmla="*/ 18098 h 497205"/>
                  <a:gd name="connsiteX259" fmla="*/ 815010 w 1036941"/>
                  <a:gd name="connsiteY259" fmla="*/ 18098 h 497205"/>
                  <a:gd name="connsiteX260" fmla="*/ 807389 w 1036941"/>
                  <a:gd name="connsiteY260" fmla="*/ 16193 h 497205"/>
                  <a:gd name="connsiteX261" fmla="*/ 790245 w 1036941"/>
                  <a:gd name="connsiteY261" fmla="*/ 15240 h 497205"/>
                  <a:gd name="connsiteX262" fmla="*/ 787387 w 1036941"/>
                  <a:gd name="connsiteY262" fmla="*/ 13335 h 497205"/>
                  <a:gd name="connsiteX263" fmla="*/ 777862 w 1036941"/>
                  <a:gd name="connsiteY263" fmla="*/ 5715 h 497205"/>
                  <a:gd name="connsiteX264" fmla="*/ 759765 w 1036941"/>
                  <a:gd name="connsiteY264" fmla="*/ 3810 h 497205"/>
                  <a:gd name="connsiteX265" fmla="*/ 744525 w 1036941"/>
                  <a:gd name="connsiteY265" fmla="*/ 3810 h 497205"/>
                  <a:gd name="connsiteX266" fmla="*/ 717855 w 1036941"/>
                  <a:gd name="connsiteY266" fmla="*/ 1905 h 497205"/>
                  <a:gd name="connsiteX267" fmla="*/ 711187 w 1036941"/>
                  <a:gd name="connsiteY267" fmla="*/ 0 h 497205"/>
                  <a:gd name="connsiteX268" fmla="*/ 690232 w 1036941"/>
                  <a:gd name="connsiteY268" fmla="*/ 0 h 497205"/>
                  <a:gd name="connsiteX269" fmla="*/ 679755 w 1036941"/>
                  <a:gd name="connsiteY269" fmla="*/ 1905 h 497205"/>
                  <a:gd name="connsiteX270" fmla="*/ 671182 w 1036941"/>
                  <a:gd name="connsiteY270" fmla="*/ 2858 h 497205"/>
                  <a:gd name="connsiteX271" fmla="*/ 652132 w 1036941"/>
                  <a:gd name="connsiteY271" fmla="*/ 3810 h 497205"/>
                  <a:gd name="connsiteX272" fmla="*/ 641655 w 1036941"/>
                  <a:gd name="connsiteY272" fmla="*/ 3810 h 497205"/>
                  <a:gd name="connsiteX273" fmla="*/ 636892 w 1036941"/>
                  <a:gd name="connsiteY273" fmla="*/ 4763 h 497205"/>
                  <a:gd name="connsiteX274" fmla="*/ 617842 w 1036941"/>
                  <a:gd name="connsiteY274" fmla="*/ 5715 h 497205"/>
                  <a:gd name="connsiteX275" fmla="*/ 611175 w 1036941"/>
                  <a:gd name="connsiteY275" fmla="*/ 7620 h 497205"/>
                  <a:gd name="connsiteX276" fmla="*/ 597840 w 1036941"/>
                  <a:gd name="connsiteY276" fmla="*/ 9525 h 497205"/>
                  <a:gd name="connsiteX277" fmla="*/ 583552 w 1036941"/>
                  <a:gd name="connsiteY277" fmla="*/ 12383 h 497205"/>
                  <a:gd name="connsiteX278" fmla="*/ 575932 w 1036941"/>
                  <a:gd name="connsiteY278" fmla="*/ 12383 h 497205"/>
                  <a:gd name="connsiteX279" fmla="*/ 568312 w 1036941"/>
                  <a:gd name="connsiteY279" fmla="*/ 12383 h 497205"/>
                  <a:gd name="connsiteX280" fmla="*/ 553072 w 1036941"/>
                  <a:gd name="connsiteY280" fmla="*/ 12383 h 497205"/>
                  <a:gd name="connsiteX281" fmla="*/ 542595 w 1036941"/>
                  <a:gd name="connsiteY281" fmla="*/ 12383 h 497205"/>
                  <a:gd name="connsiteX282" fmla="*/ 523545 w 1036941"/>
                  <a:gd name="connsiteY282" fmla="*/ 12383 h 497205"/>
                  <a:gd name="connsiteX283" fmla="*/ 506400 w 1036941"/>
                  <a:gd name="connsiteY283" fmla="*/ 10478 h 497205"/>
                  <a:gd name="connsiteX284" fmla="*/ 489255 w 1036941"/>
                  <a:gd name="connsiteY284" fmla="*/ 8573 h 497205"/>
                  <a:gd name="connsiteX285" fmla="*/ 478777 w 1036941"/>
                  <a:gd name="connsiteY285" fmla="*/ 8573 h 497205"/>
                  <a:gd name="connsiteX286" fmla="*/ 471157 w 1036941"/>
                  <a:gd name="connsiteY286" fmla="*/ 9525 h 497205"/>
                  <a:gd name="connsiteX287" fmla="*/ 456870 w 1036941"/>
                  <a:gd name="connsiteY287" fmla="*/ 11430 h 497205"/>
                  <a:gd name="connsiteX288" fmla="*/ 452107 w 1036941"/>
                  <a:gd name="connsiteY288" fmla="*/ 12383 h 497205"/>
                  <a:gd name="connsiteX289" fmla="*/ 448297 w 1036941"/>
                  <a:gd name="connsiteY289" fmla="*/ 14288 h 497205"/>
                  <a:gd name="connsiteX290" fmla="*/ 447345 w 1036941"/>
                  <a:gd name="connsiteY290" fmla="*/ 18098 h 497205"/>
                  <a:gd name="connsiteX291" fmla="*/ 442582 w 1036941"/>
                  <a:gd name="connsiteY291" fmla="*/ 20955 h 497205"/>
                  <a:gd name="connsiteX292" fmla="*/ 434962 w 1036941"/>
                  <a:gd name="connsiteY292" fmla="*/ 21908 h 497205"/>
                  <a:gd name="connsiteX293" fmla="*/ 425437 w 1036941"/>
                  <a:gd name="connsiteY293" fmla="*/ 26670 h 497205"/>
                  <a:gd name="connsiteX294" fmla="*/ 416865 w 1036941"/>
                  <a:gd name="connsiteY294" fmla="*/ 28575 h 497205"/>
                  <a:gd name="connsiteX295" fmla="*/ 396862 w 1036941"/>
                  <a:gd name="connsiteY295" fmla="*/ 28575 h 497205"/>
                  <a:gd name="connsiteX296" fmla="*/ 392100 w 1036941"/>
                  <a:gd name="connsiteY296" fmla="*/ 27623 h 497205"/>
                  <a:gd name="connsiteX297" fmla="*/ 384480 w 1036941"/>
                  <a:gd name="connsiteY297" fmla="*/ 29528 h 497205"/>
                  <a:gd name="connsiteX298" fmla="*/ 374955 w 1036941"/>
                  <a:gd name="connsiteY298" fmla="*/ 32385 h 497205"/>
                  <a:gd name="connsiteX299" fmla="*/ 365430 w 1036941"/>
                  <a:gd name="connsiteY299" fmla="*/ 36195 h 497205"/>
                  <a:gd name="connsiteX300" fmla="*/ 360667 w 1036941"/>
                  <a:gd name="connsiteY300" fmla="*/ 38100 h 497205"/>
                  <a:gd name="connsiteX301" fmla="*/ 349237 w 1036941"/>
                  <a:gd name="connsiteY301" fmla="*/ 38100 h 497205"/>
                  <a:gd name="connsiteX302" fmla="*/ 338760 w 1036941"/>
                  <a:gd name="connsiteY302" fmla="*/ 36195 h 497205"/>
                  <a:gd name="connsiteX303" fmla="*/ 308280 w 1036941"/>
                  <a:gd name="connsiteY303" fmla="*/ 35243 h 497205"/>
                  <a:gd name="connsiteX304" fmla="*/ 299707 w 1036941"/>
                  <a:gd name="connsiteY304" fmla="*/ 35243 h 497205"/>
                  <a:gd name="connsiteX305" fmla="*/ 291135 w 1036941"/>
                  <a:gd name="connsiteY305" fmla="*/ 35243 h 497205"/>
                  <a:gd name="connsiteX306" fmla="*/ 286372 w 1036941"/>
                  <a:gd name="connsiteY306" fmla="*/ 35243 h 497205"/>
                  <a:gd name="connsiteX307" fmla="*/ 275895 w 1036941"/>
                  <a:gd name="connsiteY307" fmla="*/ 35243 h 497205"/>
                  <a:gd name="connsiteX308" fmla="*/ 263512 w 1036941"/>
                  <a:gd name="connsiteY308" fmla="*/ 35243 h 497205"/>
                  <a:gd name="connsiteX309" fmla="*/ 255892 w 1036941"/>
                  <a:gd name="connsiteY309" fmla="*/ 35243 h 497205"/>
                  <a:gd name="connsiteX310" fmla="*/ 250177 w 1036941"/>
                  <a:gd name="connsiteY310" fmla="*/ 36195 h 497205"/>
                  <a:gd name="connsiteX311" fmla="*/ 240652 w 1036941"/>
                  <a:gd name="connsiteY311" fmla="*/ 39053 h 497205"/>
                  <a:gd name="connsiteX312" fmla="*/ 235890 w 1036941"/>
                  <a:gd name="connsiteY312" fmla="*/ 41910 h 497205"/>
                  <a:gd name="connsiteX313" fmla="*/ 224460 w 1036941"/>
                  <a:gd name="connsiteY313" fmla="*/ 42863 h 497205"/>
                  <a:gd name="connsiteX314" fmla="*/ 219697 w 1036941"/>
                  <a:gd name="connsiteY314" fmla="*/ 42863 h 497205"/>
                  <a:gd name="connsiteX315" fmla="*/ 215887 w 1036941"/>
                  <a:gd name="connsiteY315" fmla="*/ 44768 h 497205"/>
                  <a:gd name="connsiteX316" fmla="*/ 210172 w 1036941"/>
                  <a:gd name="connsiteY316" fmla="*/ 47625 h 497205"/>
                  <a:gd name="connsiteX317" fmla="*/ 201600 w 1036941"/>
                  <a:gd name="connsiteY317" fmla="*/ 49530 h 497205"/>
                  <a:gd name="connsiteX318" fmla="*/ 191122 w 1036941"/>
                  <a:gd name="connsiteY318" fmla="*/ 51435 h 497205"/>
                  <a:gd name="connsiteX319" fmla="*/ 185407 w 1036941"/>
                  <a:gd name="connsiteY319" fmla="*/ 51435 h 497205"/>
                  <a:gd name="connsiteX320" fmla="*/ 182550 w 1036941"/>
                  <a:gd name="connsiteY320" fmla="*/ 51435 h 497205"/>
                  <a:gd name="connsiteX321" fmla="*/ 171120 w 1036941"/>
                  <a:gd name="connsiteY321" fmla="*/ 51435 h 497205"/>
                  <a:gd name="connsiteX322" fmla="*/ 163500 w 1036941"/>
                  <a:gd name="connsiteY322" fmla="*/ 53340 h 497205"/>
                  <a:gd name="connsiteX323" fmla="*/ 158737 w 1036941"/>
                  <a:gd name="connsiteY323" fmla="*/ 56198 h 497205"/>
                  <a:gd name="connsiteX324" fmla="*/ 150165 w 1036941"/>
                  <a:gd name="connsiteY324" fmla="*/ 61913 h 497205"/>
                  <a:gd name="connsiteX325" fmla="*/ 146354 w 1036941"/>
                  <a:gd name="connsiteY325" fmla="*/ 64770 h 497205"/>
                  <a:gd name="connsiteX326" fmla="*/ 134925 w 1036941"/>
                  <a:gd name="connsiteY326" fmla="*/ 67628 h 497205"/>
                  <a:gd name="connsiteX327" fmla="*/ 113970 w 1036941"/>
                  <a:gd name="connsiteY327" fmla="*/ 69533 h 497205"/>
                  <a:gd name="connsiteX328" fmla="*/ 100635 w 1036941"/>
                  <a:gd name="connsiteY328" fmla="*/ 70485 h 497205"/>
                  <a:gd name="connsiteX329" fmla="*/ 92062 w 1036941"/>
                  <a:gd name="connsiteY329" fmla="*/ 71438 h 497205"/>
                  <a:gd name="connsiteX330" fmla="*/ 88252 w 1036941"/>
                  <a:gd name="connsiteY330" fmla="*/ 75248 h 497205"/>
                  <a:gd name="connsiteX331" fmla="*/ 87300 w 1036941"/>
                  <a:gd name="connsiteY331" fmla="*/ 79058 h 497205"/>
                  <a:gd name="connsiteX332" fmla="*/ 92062 w 1036941"/>
                  <a:gd name="connsiteY332" fmla="*/ 80963 h 497205"/>
                  <a:gd name="connsiteX333" fmla="*/ 104445 w 1036941"/>
                  <a:gd name="connsiteY333" fmla="*/ 81915 h 497205"/>
                  <a:gd name="connsiteX334" fmla="*/ 108254 w 1036941"/>
                  <a:gd name="connsiteY334" fmla="*/ 82868 h 497205"/>
                  <a:gd name="connsiteX335" fmla="*/ 113017 w 1036941"/>
                  <a:gd name="connsiteY335" fmla="*/ 85725 h 497205"/>
                  <a:gd name="connsiteX336" fmla="*/ 113970 w 1036941"/>
                  <a:gd name="connsiteY336" fmla="*/ 89535 h 497205"/>
                  <a:gd name="connsiteX337" fmla="*/ 111112 w 1036941"/>
                  <a:gd name="connsiteY337" fmla="*/ 98108 h 497205"/>
                  <a:gd name="connsiteX338" fmla="*/ 102540 w 1036941"/>
                  <a:gd name="connsiteY338" fmla="*/ 100013 h 497205"/>
                  <a:gd name="connsiteX339" fmla="*/ 95872 w 1036941"/>
                  <a:gd name="connsiteY339" fmla="*/ 102870 h 497205"/>
                  <a:gd name="connsiteX340" fmla="*/ 94920 w 1036941"/>
                  <a:gd name="connsiteY340" fmla="*/ 106680 h 497205"/>
                  <a:gd name="connsiteX341" fmla="*/ 89204 w 1036941"/>
                  <a:gd name="connsiteY341" fmla="*/ 110490 h 497205"/>
                  <a:gd name="connsiteX342" fmla="*/ 83490 w 1036941"/>
                  <a:gd name="connsiteY342" fmla="*/ 112395 h 497205"/>
                  <a:gd name="connsiteX343" fmla="*/ 81585 w 1036941"/>
                  <a:gd name="connsiteY343" fmla="*/ 114300 h 497205"/>
                  <a:gd name="connsiteX344" fmla="*/ 75870 w 1036941"/>
                  <a:gd name="connsiteY344" fmla="*/ 120968 h 4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Lst>
                <a:rect l="l" t="t" r="r" b="b"/>
                <a:pathLst>
                  <a:path w="1036941" h="497205">
                    <a:moveTo>
                      <a:pt x="75870" y="120968"/>
                    </a:moveTo>
                    <a:lnTo>
                      <a:pt x="59677" y="120968"/>
                    </a:lnTo>
                    <a:cubicBezTo>
                      <a:pt x="59677" y="120968"/>
                      <a:pt x="53962" y="120968"/>
                      <a:pt x="50152" y="121920"/>
                    </a:cubicBezTo>
                    <a:cubicBezTo>
                      <a:pt x="46342" y="121920"/>
                      <a:pt x="34912" y="121920"/>
                      <a:pt x="33007" y="121920"/>
                    </a:cubicBezTo>
                    <a:cubicBezTo>
                      <a:pt x="31102" y="121920"/>
                      <a:pt x="21577" y="121920"/>
                      <a:pt x="21577" y="121920"/>
                    </a:cubicBezTo>
                    <a:lnTo>
                      <a:pt x="13004" y="121920"/>
                    </a:lnTo>
                    <a:lnTo>
                      <a:pt x="9195" y="121920"/>
                    </a:lnTo>
                    <a:lnTo>
                      <a:pt x="3479" y="121920"/>
                    </a:lnTo>
                    <a:cubicBezTo>
                      <a:pt x="1575" y="124778"/>
                      <a:pt x="622" y="128588"/>
                      <a:pt x="622" y="128588"/>
                    </a:cubicBezTo>
                    <a:cubicBezTo>
                      <a:pt x="622" y="128588"/>
                      <a:pt x="-1283" y="129540"/>
                      <a:pt x="1575" y="131445"/>
                    </a:cubicBezTo>
                    <a:cubicBezTo>
                      <a:pt x="3479" y="132398"/>
                      <a:pt x="-1283" y="128588"/>
                      <a:pt x="3479" y="132398"/>
                    </a:cubicBezTo>
                    <a:cubicBezTo>
                      <a:pt x="8242" y="136208"/>
                      <a:pt x="5385" y="135255"/>
                      <a:pt x="8242" y="136208"/>
                    </a:cubicBezTo>
                    <a:cubicBezTo>
                      <a:pt x="11100" y="137160"/>
                      <a:pt x="11100" y="137160"/>
                      <a:pt x="11100" y="137160"/>
                    </a:cubicBezTo>
                    <a:cubicBezTo>
                      <a:pt x="11100" y="137160"/>
                      <a:pt x="13004" y="138113"/>
                      <a:pt x="17767" y="139065"/>
                    </a:cubicBezTo>
                    <a:cubicBezTo>
                      <a:pt x="22529" y="140018"/>
                      <a:pt x="28245" y="140018"/>
                      <a:pt x="29197" y="141923"/>
                    </a:cubicBezTo>
                    <a:cubicBezTo>
                      <a:pt x="31102" y="142875"/>
                      <a:pt x="25387" y="138113"/>
                      <a:pt x="31102" y="142875"/>
                    </a:cubicBezTo>
                    <a:cubicBezTo>
                      <a:pt x="35865" y="147638"/>
                      <a:pt x="37770" y="146685"/>
                      <a:pt x="41579" y="148590"/>
                    </a:cubicBezTo>
                    <a:cubicBezTo>
                      <a:pt x="45390" y="150495"/>
                      <a:pt x="45390" y="150495"/>
                      <a:pt x="45390" y="150495"/>
                    </a:cubicBezTo>
                    <a:cubicBezTo>
                      <a:pt x="45390" y="150495"/>
                      <a:pt x="50152" y="150495"/>
                      <a:pt x="54915" y="152400"/>
                    </a:cubicBezTo>
                    <a:cubicBezTo>
                      <a:pt x="59677" y="154305"/>
                      <a:pt x="55867" y="151448"/>
                      <a:pt x="59677" y="154305"/>
                    </a:cubicBezTo>
                    <a:cubicBezTo>
                      <a:pt x="63487" y="157163"/>
                      <a:pt x="61582" y="154305"/>
                      <a:pt x="63487" y="157163"/>
                    </a:cubicBezTo>
                    <a:cubicBezTo>
                      <a:pt x="65392" y="160020"/>
                      <a:pt x="68250" y="158115"/>
                      <a:pt x="62535" y="163830"/>
                    </a:cubicBezTo>
                    <a:cubicBezTo>
                      <a:pt x="56820" y="169545"/>
                      <a:pt x="56820" y="169545"/>
                      <a:pt x="56820" y="169545"/>
                    </a:cubicBezTo>
                    <a:cubicBezTo>
                      <a:pt x="56820" y="169545"/>
                      <a:pt x="51104" y="173355"/>
                      <a:pt x="52057" y="176213"/>
                    </a:cubicBezTo>
                    <a:cubicBezTo>
                      <a:pt x="53010" y="179070"/>
                      <a:pt x="51104" y="175260"/>
                      <a:pt x="53010" y="179070"/>
                    </a:cubicBezTo>
                    <a:cubicBezTo>
                      <a:pt x="53962" y="182880"/>
                      <a:pt x="53962" y="182880"/>
                      <a:pt x="55867" y="185738"/>
                    </a:cubicBezTo>
                    <a:cubicBezTo>
                      <a:pt x="56820" y="187643"/>
                      <a:pt x="58725" y="187643"/>
                      <a:pt x="60629" y="188595"/>
                    </a:cubicBezTo>
                    <a:cubicBezTo>
                      <a:pt x="62535" y="190500"/>
                      <a:pt x="60629" y="188595"/>
                      <a:pt x="66345" y="189548"/>
                    </a:cubicBezTo>
                    <a:cubicBezTo>
                      <a:pt x="72060" y="191453"/>
                      <a:pt x="79679" y="190500"/>
                      <a:pt x="82537" y="191453"/>
                    </a:cubicBezTo>
                    <a:cubicBezTo>
                      <a:pt x="85395" y="192405"/>
                      <a:pt x="84442" y="192405"/>
                      <a:pt x="88252" y="192405"/>
                    </a:cubicBezTo>
                    <a:cubicBezTo>
                      <a:pt x="92062" y="192405"/>
                      <a:pt x="93015" y="192405"/>
                      <a:pt x="95872" y="191453"/>
                    </a:cubicBezTo>
                    <a:cubicBezTo>
                      <a:pt x="98729" y="191453"/>
                      <a:pt x="105397" y="184785"/>
                      <a:pt x="105397" y="184785"/>
                    </a:cubicBezTo>
                    <a:cubicBezTo>
                      <a:pt x="105397" y="184785"/>
                      <a:pt x="106350" y="182880"/>
                      <a:pt x="110160" y="182880"/>
                    </a:cubicBezTo>
                    <a:cubicBezTo>
                      <a:pt x="113970" y="182880"/>
                      <a:pt x="123495" y="182880"/>
                      <a:pt x="123495" y="182880"/>
                    </a:cubicBezTo>
                    <a:cubicBezTo>
                      <a:pt x="123495" y="182880"/>
                      <a:pt x="125400" y="182880"/>
                      <a:pt x="129210" y="183833"/>
                    </a:cubicBezTo>
                    <a:cubicBezTo>
                      <a:pt x="133020" y="184785"/>
                      <a:pt x="125400" y="183833"/>
                      <a:pt x="146354" y="184785"/>
                    </a:cubicBezTo>
                    <a:cubicBezTo>
                      <a:pt x="167310" y="185738"/>
                      <a:pt x="167310" y="185738"/>
                      <a:pt x="167310" y="185738"/>
                    </a:cubicBezTo>
                    <a:cubicBezTo>
                      <a:pt x="167310" y="185738"/>
                      <a:pt x="176835" y="181928"/>
                      <a:pt x="180645" y="183833"/>
                    </a:cubicBezTo>
                    <a:cubicBezTo>
                      <a:pt x="184454" y="185738"/>
                      <a:pt x="177787" y="181928"/>
                      <a:pt x="184454" y="185738"/>
                    </a:cubicBezTo>
                    <a:cubicBezTo>
                      <a:pt x="191122" y="189548"/>
                      <a:pt x="197790" y="193358"/>
                      <a:pt x="199695" y="194310"/>
                    </a:cubicBezTo>
                    <a:cubicBezTo>
                      <a:pt x="201600" y="195263"/>
                      <a:pt x="207315" y="196215"/>
                      <a:pt x="211125" y="198120"/>
                    </a:cubicBezTo>
                    <a:cubicBezTo>
                      <a:pt x="214935" y="200025"/>
                      <a:pt x="210172" y="197168"/>
                      <a:pt x="224460" y="201930"/>
                    </a:cubicBezTo>
                    <a:cubicBezTo>
                      <a:pt x="238747" y="206693"/>
                      <a:pt x="244462" y="207645"/>
                      <a:pt x="246367" y="209550"/>
                    </a:cubicBezTo>
                    <a:cubicBezTo>
                      <a:pt x="247320" y="210503"/>
                      <a:pt x="250177" y="212408"/>
                      <a:pt x="252082" y="216218"/>
                    </a:cubicBezTo>
                    <a:cubicBezTo>
                      <a:pt x="253987" y="219075"/>
                      <a:pt x="251129" y="215265"/>
                      <a:pt x="253987" y="219075"/>
                    </a:cubicBezTo>
                    <a:cubicBezTo>
                      <a:pt x="257797" y="223838"/>
                      <a:pt x="264465" y="230505"/>
                      <a:pt x="266370" y="231458"/>
                    </a:cubicBezTo>
                    <a:cubicBezTo>
                      <a:pt x="268275" y="233363"/>
                      <a:pt x="271132" y="233363"/>
                      <a:pt x="272085" y="235268"/>
                    </a:cubicBezTo>
                    <a:cubicBezTo>
                      <a:pt x="273990" y="237173"/>
                      <a:pt x="276847" y="237173"/>
                      <a:pt x="277800" y="239078"/>
                    </a:cubicBezTo>
                    <a:cubicBezTo>
                      <a:pt x="278752" y="240030"/>
                      <a:pt x="281610" y="239078"/>
                      <a:pt x="282562" y="242888"/>
                    </a:cubicBezTo>
                    <a:cubicBezTo>
                      <a:pt x="283515" y="246698"/>
                      <a:pt x="284467" y="252413"/>
                      <a:pt x="286372" y="253365"/>
                    </a:cubicBezTo>
                    <a:cubicBezTo>
                      <a:pt x="287325" y="255270"/>
                      <a:pt x="286372" y="255270"/>
                      <a:pt x="287325" y="258128"/>
                    </a:cubicBezTo>
                    <a:cubicBezTo>
                      <a:pt x="288277" y="261938"/>
                      <a:pt x="287325" y="268605"/>
                      <a:pt x="287325" y="268605"/>
                    </a:cubicBezTo>
                    <a:cubicBezTo>
                      <a:pt x="287325" y="268605"/>
                      <a:pt x="287325" y="269558"/>
                      <a:pt x="287325" y="271463"/>
                    </a:cubicBezTo>
                    <a:cubicBezTo>
                      <a:pt x="287325" y="273368"/>
                      <a:pt x="287325" y="272415"/>
                      <a:pt x="287325" y="276225"/>
                    </a:cubicBezTo>
                    <a:cubicBezTo>
                      <a:pt x="287325" y="279083"/>
                      <a:pt x="284467" y="279083"/>
                      <a:pt x="288277" y="283845"/>
                    </a:cubicBezTo>
                    <a:cubicBezTo>
                      <a:pt x="292087" y="288608"/>
                      <a:pt x="289230" y="285750"/>
                      <a:pt x="292087" y="288608"/>
                    </a:cubicBezTo>
                    <a:cubicBezTo>
                      <a:pt x="293992" y="290513"/>
                      <a:pt x="297802" y="292418"/>
                      <a:pt x="297802" y="292418"/>
                    </a:cubicBezTo>
                    <a:lnTo>
                      <a:pt x="307327" y="293370"/>
                    </a:lnTo>
                    <a:lnTo>
                      <a:pt x="310185" y="292418"/>
                    </a:lnTo>
                    <a:lnTo>
                      <a:pt x="312090" y="290513"/>
                    </a:lnTo>
                    <a:lnTo>
                      <a:pt x="311137" y="285750"/>
                    </a:lnTo>
                    <a:lnTo>
                      <a:pt x="310185" y="283845"/>
                    </a:lnTo>
                    <a:lnTo>
                      <a:pt x="311137" y="280035"/>
                    </a:lnTo>
                    <a:cubicBezTo>
                      <a:pt x="315900" y="280035"/>
                      <a:pt x="319710" y="280035"/>
                      <a:pt x="322567" y="280035"/>
                    </a:cubicBezTo>
                    <a:cubicBezTo>
                      <a:pt x="324472" y="280035"/>
                      <a:pt x="332092" y="279083"/>
                      <a:pt x="332092" y="279083"/>
                    </a:cubicBezTo>
                    <a:lnTo>
                      <a:pt x="336855" y="279083"/>
                    </a:lnTo>
                    <a:cubicBezTo>
                      <a:pt x="337807" y="283845"/>
                      <a:pt x="337807" y="280988"/>
                      <a:pt x="337807" y="283845"/>
                    </a:cubicBezTo>
                    <a:cubicBezTo>
                      <a:pt x="337807" y="286703"/>
                      <a:pt x="338760" y="287655"/>
                      <a:pt x="340665" y="289560"/>
                    </a:cubicBezTo>
                    <a:cubicBezTo>
                      <a:pt x="342570" y="290513"/>
                      <a:pt x="350190" y="292418"/>
                      <a:pt x="350190" y="292418"/>
                    </a:cubicBezTo>
                    <a:lnTo>
                      <a:pt x="356857" y="294323"/>
                    </a:lnTo>
                    <a:lnTo>
                      <a:pt x="360667" y="296228"/>
                    </a:lnTo>
                    <a:lnTo>
                      <a:pt x="361620" y="298133"/>
                    </a:lnTo>
                    <a:lnTo>
                      <a:pt x="359715" y="302895"/>
                    </a:lnTo>
                    <a:lnTo>
                      <a:pt x="360667" y="312420"/>
                    </a:lnTo>
                    <a:cubicBezTo>
                      <a:pt x="360667" y="312420"/>
                      <a:pt x="361620" y="315278"/>
                      <a:pt x="361620" y="317183"/>
                    </a:cubicBezTo>
                    <a:cubicBezTo>
                      <a:pt x="361620" y="319088"/>
                      <a:pt x="361620" y="322898"/>
                      <a:pt x="361620" y="323850"/>
                    </a:cubicBezTo>
                    <a:cubicBezTo>
                      <a:pt x="361620" y="324803"/>
                      <a:pt x="361620" y="324803"/>
                      <a:pt x="360667" y="327660"/>
                    </a:cubicBezTo>
                    <a:cubicBezTo>
                      <a:pt x="359715" y="330518"/>
                      <a:pt x="359715" y="331470"/>
                      <a:pt x="358762" y="334328"/>
                    </a:cubicBezTo>
                    <a:cubicBezTo>
                      <a:pt x="356857" y="337185"/>
                      <a:pt x="356857" y="340995"/>
                      <a:pt x="354952" y="342900"/>
                    </a:cubicBezTo>
                    <a:cubicBezTo>
                      <a:pt x="353047" y="344805"/>
                      <a:pt x="353047" y="344805"/>
                      <a:pt x="351142" y="347663"/>
                    </a:cubicBezTo>
                    <a:cubicBezTo>
                      <a:pt x="349237" y="349568"/>
                      <a:pt x="342570" y="351473"/>
                      <a:pt x="339712" y="354330"/>
                    </a:cubicBezTo>
                    <a:cubicBezTo>
                      <a:pt x="337807" y="356235"/>
                      <a:pt x="333045" y="358140"/>
                      <a:pt x="333045" y="358140"/>
                    </a:cubicBezTo>
                    <a:lnTo>
                      <a:pt x="326377" y="360998"/>
                    </a:lnTo>
                    <a:lnTo>
                      <a:pt x="321615" y="363855"/>
                    </a:lnTo>
                    <a:lnTo>
                      <a:pt x="320662" y="373380"/>
                    </a:lnTo>
                    <a:lnTo>
                      <a:pt x="318757" y="375285"/>
                    </a:lnTo>
                    <a:cubicBezTo>
                      <a:pt x="318757" y="375285"/>
                      <a:pt x="315900" y="378143"/>
                      <a:pt x="316852" y="381000"/>
                    </a:cubicBezTo>
                    <a:cubicBezTo>
                      <a:pt x="317805" y="383858"/>
                      <a:pt x="312090" y="387668"/>
                      <a:pt x="316852" y="392430"/>
                    </a:cubicBezTo>
                    <a:cubicBezTo>
                      <a:pt x="320662" y="397193"/>
                      <a:pt x="324472" y="401003"/>
                      <a:pt x="324472" y="401003"/>
                    </a:cubicBezTo>
                    <a:lnTo>
                      <a:pt x="325425" y="403860"/>
                    </a:lnTo>
                    <a:cubicBezTo>
                      <a:pt x="325425" y="403860"/>
                      <a:pt x="321615" y="401955"/>
                      <a:pt x="329235" y="407670"/>
                    </a:cubicBezTo>
                    <a:cubicBezTo>
                      <a:pt x="336855" y="413385"/>
                      <a:pt x="341617" y="418148"/>
                      <a:pt x="342570" y="420053"/>
                    </a:cubicBezTo>
                    <a:cubicBezTo>
                      <a:pt x="343522" y="421005"/>
                      <a:pt x="353047" y="425768"/>
                      <a:pt x="354000" y="427673"/>
                    </a:cubicBezTo>
                    <a:cubicBezTo>
                      <a:pt x="354952" y="429578"/>
                      <a:pt x="357810" y="434340"/>
                      <a:pt x="358762" y="437198"/>
                    </a:cubicBezTo>
                    <a:cubicBezTo>
                      <a:pt x="359715" y="440055"/>
                      <a:pt x="356857" y="440055"/>
                      <a:pt x="364477" y="445770"/>
                    </a:cubicBezTo>
                    <a:cubicBezTo>
                      <a:pt x="372097" y="451485"/>
                      <a:pt x="368287" y="448628"/>
                      <a:pt x="372097" y="451485"/>
                    </a:cubicBezTo>
                    <a:cubicBezTo>
                      <a:pt x="375907" y="454343"/>
                      <a:pt x="375907" y="454343"/>
                      <a:pt x="381622" y="457200"/>
                    </a:cubicBezTo>
                    <a:cubicBezTo>
                      <a:pt x="387337" y="460058"/>
                      <a:pt x="389242" y="460058"/>
                      <a:pt x="393052" y="463868"/>
                    </a:cubicBezTo>
                    <a:cubicBezTo>
                      <a:pt x="396862" y="467678"/>
                      <a:pt x="394005" y="468630"/>
                      <a:pt x="398767" y="472440"/>
                    </a:cubicBezTo>
                    <a:cubicBezTo>
                      <a:pt x="403530" y="476250"/>
                      <a:pt x="402577" y="476250"/>
                      <a:pt x="406387" y="478155"/>
                    </a:cubicBezTo>
                    <a:cubicBezTo>
                      <a:pt x="409245" y="481013"/>
                      <a:pt x="415912" y="481965"/>
                      <a:pt x="416865" y="483870"/>
                    </a:cubicBezTo>
                    <a:cubicBezTo>
                      <a:pt x="417817" y="484823"/>
                      <a:pt x="420675" y="485775"/>
                      <a:pt x="420675" y="485775"/>
                    </a:cubicBezTo>
                    <a:lnTo>
                      <a:pt x="434010" y="491490"/>
                    </a:lnTo>
                    <a:lnTo>
                      <a:pt x="442582" y="494348"/>
                    </a:lnTo>
                    <a:lnTo>
                      <a:pt x="448297" y="496253"/>
                    </a:lnTo>
                    <a:cubicBezTo>
                      <a:pt x="448297" y="496253"/>
                      <a:pt x="462585" y="497205"/>
                      <a:pt x="465442" y="497205"/>
                    </a:cubicBezTo>
                    <a:cubicBezTo>
                      <a:pt x="469252" y="497205"/>
                      <a:pt x="481635" y="493395"/>
                      <a:pt x="481635" y="493395"/>
                    </a:cubicBezTo>
                    <a:cubicBezTo>
                      <a:pt x="481635" y="493395"/>
                      <a:pt x="485445" y="491490"/>
                      <a:pt x="489255" y="492443"/>
                    </a:cubicBezTo>
                    <a:cubicBezTo>
                      <a:pt x="493065" y="493395"/>
                      <a:pt x="494017" y="493395"/>
                      <a:pt x="496875" y="492443"/>
                    </a:cubicBezTo>
                    <a:cubicBezTo>
                      <a:pt x="499732" y="491490"/>
                      <a:pt x="503542" y="485775"/>
                      <a:pt x="507352" y="483870"/>
                    </a:cubicBezTo>
                    <a:cubicBezTo>
                      <a:pt x="511162" y="481965"/>
                      <a:pt x="510210" y="477203"/>
                      <a:pt x="512115" y="474345"/>
                    </a:cubicBezTo>
                    <a:cubicBezTo>
                      <a:pt x="514020" y="471488"/>
                      <a:pt x="511162" y="467678"/>
                      <a:pt x="514020" y="465773"/>
                    </a:cubicBezTo>
                    <a:cubicBezTo>
                      <a:pt x="515925" y="463868"/>
                      <a:pt x="516877" y="461963"/>
                      <a:pt x="518782" y="460058"/>
                    </a:cubicBezTo>
                    <a:cubicBezTo>
                      <a:pt x="520687" y="458153"/>
                      <a:pt x="518782" y="453390"/>
                      <a:pt x="522592" y="451485"/>
                    </a:cubicBezTo>
                    <a:cubicBezTo>
                      <a:pt x="526402" y="449580"/>
                      <a:pt x="531165" y="444818"/>
                      <a:pt x="531165" y="444818"/>
                    </a:cubicBezTo>
                    <a:cubicBezTo>
                      <a:pt x="531165" y="444818"/>
                      <a:pt x="533070" y="441008"/>
                      <a:pt x="534975" y="438150"/>
                    </a:cubicBezTo>
                    <a:cubicBezTo>
                      <a:pt x="536880" y="436245"/>
                      <a:pt x="538785" y="431483"/>
                      <a:pt x="540690" y="430530"/>
                    </a:cubicBezTo>
                    <a:cubicBezTo>
                      <a:pt x="542595" y="429578"/>
                      <a:pt x="545452" y="425768"/>
                      <a:pt x="545452" y="425768"/>
                    </a:cubicBezTo>
                    <a:cubicBezTo>
                      <a:pt x="545452" y="425768"/>
                      <a:pt x="551167" y="421005"/>
                      <a:pt x="551167" y="420053"/>
                    </a:cubicBezTo>
                    <a:cubicBezTo>
                      <a:pt x="552120" y="419100"/>
                      <a:pt x="554977" y="412433"/>
                      <a:pt x="554977" y="412433"/>
                    </a:cubicBezTo>
                    <a:cubicBezTo>
                      <a:pt x="554977" y="412433"/>
                      <a:pt x="555930" y="410528"/>
                      <a:pt x="557835" y="408623"/>
                    </a:cubicBezTo>
                    <a:cubicBezTo>
                      <a:pt x="559740" y="406718"/>
                      <a:pt x="569265" y="403860"/>
                      <a:pt x="569265" y="403860"/>
                    </a:cubicBezTo>
                    <a:cubicBezTo>
                      <a:pt x="580695" y="401955"/>
                      <a:pt x="578790" y="401955"/>
                      <a:pt x="583552" y="401003"/>
                    </a:cubicBezTo>
                    <a:cubicBezTo>
                      <a:pt x="588315" y="400050"/>
                      <a:pt x="593077" y="398145"/>
                      <a:pt x="593077" y="398145"/>
                    </a:cubicBezTo>
                    <a:lnTo>
                      <a:pt x="603555" y="398145"/>
                    </a:lnTo>
                    <a:cubicBezTo>
                      <a:pt x="603555" y="398145"/>
                      <a:pt x="616890" y="397193"/>
                      <a:pt x="618795" y="397193"/>
                    </a:cubicBezTo>
                    <a:cubicBezTo>
                      <a:pt x="620700" y="397193"/>
                      <a:pt x="620700" y="397193"/>
                      <a:pt x="624510" y="397193"/>
                    </a:cubicBezTo>
                    <a:cubicBezTo>
                      <a:pt x="629272" y="397193"/>
                      <a:pt x="640702" y="394335"/>
                      <a:pt x="644512" y="394335"/>
                    </a:cubicBezTo>
                    <a:cubicBezTo>
                      <a:pt x="648322" y="394335"/>
                      <a:pt x="653085" y="391478"/>
                      <a:pt x="653085" y="391478"/>
                    </a:cubicBezTo>
                    <a:cubicBezTo>
                      <a:pt x="653085" y="391478"/>
                      <a:pt x="654990" y="388620"/>
                      <a:pt x="657847" y="387668"/>
                    </a:cubicBezTo>
                    <a:cubicBezTo>
                      <a:pt x="659752" y="387668"/>
                      <a:pt x="660705" y="383858"/>
                      <a:pt x="663562" y="382905"/>
                    </a:cubicBezTo>
                    <a:cubicBezTo>
                      <a:pt x="665467" y="381953"/>
                      <a:pt x="666420" y="377190"/>
                      <a:pt x="669277" y="376238"/>
                    </a:cubicBezTo>
                    <a:cubicBezTo>
                      <a:pt x="671182" y="375285"/>
                      <a:pt x="671182" y="374333"/>
                      <a:pt x="673087" y="372428"/>
                    </a:cubicBezTo>
                    <a:cubicBezTo>
                      <a:pt x="674992" y="370523"/>
                      <a:pt x="677850" y="367665"/>
                      <a:pt x="677850" y="367665"/>
                    </a:cubicBezTo>
                    <a:cubicBezTo>
                      <a:pt x="677850" y="367665"/>
                      <a:pt x="679755" y="362903"/>
                      <a:pt x="683565" y="362903"/>
                    </a:cubicBezTo>
                    <a:cubicBezTo>
                      <a:pt x="686422" y="362903"/>
                      <a:pt x="695947" y="360998"/>
                      <a:pt x="695947" y="360998"/>
                    </a:cubicBezTo>
                    <a:lnTo>
                      <a:pt x="702615" y="360045"/>
                    </a:lnTo>
                    <a:cubicBezTo>
                      <a:pt x="702615" y="360045"/>
                      <a:pt x="704520" y="360045"/>
                      <a:pt x="706425" y="360045"/>
                    </a:cubicBezTo>
                    <a:cubicBezTo>
                      <a:pt x="708330" y="360045"/>
                      <a:pt x="714045" y="360045"/>
                      <a:pt x="714045" y="360045"/>
                    </a:cubicBezTo>
                    <a:cubicBezTo>
                      <a:pt x="714045" y="360045"/>
                      <a:pt x="718807" y="360998"/>
                      <a:pt x="725475" y="360045"/>
                    </a:cubicBezTo>
                    <a:cubicBezTo>
                      <a:pt x="732142" y="359093"/>
                      <a:pt x="731190" y="361950"/>
                      <a:pt x="739762" y="356235"/>
                    </a:cubicBezTo>
                    <a:cubicBezTo>
                      <a:pt x="748335" y="351473"/>
                      <a:pt x="748335" y="350520"/>
                      <a:pt x="751192" y="350520"/>
                    </a:cubicBezTo>
                    <a:cubicBezTo>
                      <a:pt x="754050" y="350520"/>
                      <a:pt x="760717" y="348615"/>
                      <a:pt x="760717" y="348615"/>
                    </a:cubicBezTo>
                    <a:lnTo>
                      <a:pt x="771195" y="348615"/>
                    </a:lnTo>
                    <a:cubicBezTo>
                      <a:pt x="771195" y="348615"/>
                      <a:pt x="776910" y="348615"/>
                      <a:pt x="779767" y="348615"/>
                    </a:cubicBezTo>
                    <a:cubicBezTo>
                      <a:pt x="782625" y="348615"/>
                      <a:pt x="786435" y="346710"/>
                      <a:pt x="793102" y="346710"/>
                    </a:cubicBezTo>
                    <a:cubicBezTo>
                      <a:pt x="799770" y="346710"/>
                      <a:pt x="809295" y="345758"/>
                      <a:pt x="813105" y="345758"/>
                    </a:cubicBezTo>
                    <a:cubicBezTo>
                      <a:pt x="816914" y="346710"/>
                      <a:pt x="818820" y="345758"/>
                      <a:pt x="820725" y="345758"/>
                    </a:cubicBezTo>
                    <a:cubicBezTo>
                      <a:pt x="822630" y="346710"/>
                      <a:pt x="826439" y="346710"/>
                      <a:pt x="829297" y="345758"/>
                    </a:cubicBezTo>
                    <a:cubicBezTo>
                      <a:pt x="832155" y="345758"/>
                      <a:pt x="844537" y="340995"/>
                      <a:pt x="844537" y="340995"/>
                    </a:cubicBezTo>
                    <a:cubicBezTo>
                      <a:pt x="844537" y="340995"/>
                      <a:pt x="846442" y="337185"/>
                      <a:pt x="846442" y="335280"/>
                    </a:cubicBezTo>
                    <a:cubicBezTo>
                      <a:pt x="847395" y="333375"/>
                      <a:pt x="847395" y="329565"/>
                      <a:pt x="847395" y="329565"/>
                    </a:cubicBezTo>
                    <a:lnTo>
                      <a:pt x="847395" y="327660"/>
                    </a:lnTo>
                    <a:cubicBezTo>
                      <a:pt x="847395" y="327660"/>
                      <a:pt x="837870" y="324803"/>
                      <a:pt x="833107" y="324803"/>
                    </a:cubicBezTo>
                    <a:cubicBezTo>
                      <a:pt x="828345" y="324803"/>
                      <a:pt x="820725" y="322898"/>
                      <a:pt x="817867" y="322898"/>
                    </a:cubicBezTo>
                    <a:cubicBezTo>
                      <a:pt x="815010" y="322898"/>
                      <a:pt x="810247" y="320993"/>
                      <a:pt x="810247" y="320993"/>
                    </a:cubicBezTo>
                    <a:lnTo>
                      <a:pt x="806437" y="316230"/>
                    </a:lnTo>
                    <a:lnTo>
                      <a:pt x="806437" y="312420"/>
                    </a:lnTo>
                    <a:cubicBezTo>
                      <a:pt x="812152" y="312420"/>
                      <a:pt x="814057" y="312420"/>
                      <a:pt x="816914" y="312420"/>
                    </a:cubicBezTo>
                    <a:cubicBezTo>
                      <a:pt x="818820" y="313373"/>
                      <a:pt x="835964" y="316230"/>
                      <a:pt x="835964" y="316230"/>
                    </a:cubicBezTo>
                    <a:cubicBezTo>
                      <a:pt x="835964" y="316230"/>
                      <a:pt x="850252" y="317183"/>
                      <a:pt x="853110" y="318135"/>
                    </a:cubicBezTo>
                    <a:cubicBezTo>
                      <a:pt x="855967" y="319088"/>
                      <a:pt x="865492" y="318135"/>
                      <a:pt x="865492" y="318135"/>
                    </a:cubicBezTo>
                    <a:lnTo>
                      <a:pt x="870255" y="317183"/>
                    </a:lnTo>
                    <a:lnTo>
                      <a:pt x="881685" y="317183"/>
                    </a:lnTo>
                    <a:cubicBezTo>
                      <a:pt x="881685" y="317183"/>
                      <a:pt x="884542" y="316230"/>
                      <a:pt x="886447" y="316230"/>
                    </a:cubicBezTo>
                    <a:cubicBezTo>
                      <a:pt x="888352" y="316230"/>
                      <a:pt x="891210" y="313373"/>
                      <a:pt x="893114" y="311468"/>
                    </a:cubicBezTo>
                    <a:cubicBezTo>
                      <a:pt x="895020" y="310515"/>
                      <a:pt x="894067" y="305753"/>
                      <a:pt x="894067" y="305753"/>
                    </a:cubicBezTo>
                    <a:lnTo>
                      <a:pt x="890257" y="302895"/>
                    </a:lnTo>
                    <a:lnTo>
                      <a:pt x="880732" y="303848"/>
                    </a:lnTo>
                    <a:lnTo>
                      <a:pt x="875970" y="301943"/>
                    </a:lnTo>
                    <a:lnTo>
                      <a:pt x="873112" y="294323"/>
                    </a:lnTo>
                    <a:lnTo>
                      <a:pt x="868350" y="290513"/>
                    </a:lnTo>
                    <a:lnTo>
                      <a:pt x="859777" y="286703"/>
                    </a:lnTo>
                    <a:cubicBezTo>
                      <a:pt x="859777" y="286703"/>
                      <a:pt x="858825" y="284798"/>
                      <a:pt x="859777" y="281940"/>
                    </a:cubicBezTo>
                    <a:cubicBezTo>
                      <a:pt x="860730" y="280035"/>
                      <a:pt x="858825" y="277178"/>
                      <a:pt x="859777" y="274320"/>
                    </a:cubicBezTo>
                    <a:cubicBezTo>
                      <a:pt x="861682" y="272415"/>
                      <a:pt x="857872" y="270510"/>
                      <a:pt x="860730" y="264795"/>
                    </a:cubicBezTo>
                    <a:cubicBezTo>
                      <a:pt x="863587" y="258128"/>
                      <a:pt x="863587" y="254318"/>
                      <a:pt x="863587" y="254318"/>
                    </a:cubicBezTo>
                    <a:cubicBezTo>
                      <a:pt x="863587" y="254318"/>
                      <a:pt x="864539" y="250508"/>
                      <a:pt x="866445" y="250508"/>
                    </a:cubicBezTo>
                    <a:cubicBezTo>
                      <a:pt x="868350" y="250508"/>
                      <a:pt x="872160" y="247650"/>
                      <a:pt x="872160" y="247650"/>
                    </a:cubicBezTo>
                    <a:lnTo>
                      <a:pt x="880732" y="241935"/>
                    </a:lnTo>
                    <a:cubicBezTo>
                      <a:pt x="880732" y="241935"/>
                      <a:pt x="882637" y="240983"/>
                      <a:pt x="884542" y="240983"/>
                    </a:cubicBezTo>
                    <a:cubicBezTo>
                      <a:pt x="886447" y="240983"/>
                      <a:pt x="889305" y="240983"/>
                      <a:pt x="891210" y="240030"/>
                    </a:cubicBezTo>
                    <a:cubicBezTo>
                      <a:pt x="893114" y="240030"/>
                      <a:pt x="895020" y="237173"/>
                      <a:pt x="901687" y="237173"/>
                    </a:cubicBezTo>
                    <a:cubicBezTo>
                      <a:pt x="908355" y="237173"/>
                      <a:pt x="915975" y="231458"/>
                      <a:pt x="915975" y="231458"/>
                    </a:cubicBezTo>
                    <a:lnTo>
                      <a:pt x="916927" y="227648"/>
                    </a:lnTo>
                    <a:lnTo>
                      <a:pt x="917880" y="220028"/>
                    </a:lnTo>
                    <a:cubicBezTo>
                      <a:pt x="917880" y="220028"/>
                      <a:pt x="916927" y="211455"/>
                      <a:pt x="919785" y="211455"/>
                    </a:cubicBezTo>
                    <a:cubicBezTo>
                      <a:pt x="921689" y="211455"/>
                      <a:pt x="922642" y="209550"/>
                      <a:pt x="924547" y="209550"/>
                    </a:cubicBezTo>
                    <a:cubicBezTo>
                      <a:pt x="926452" y="209550"/>
                      <a:pt x="927405" y="200978"/>
                      <a:pt x="927405" y="200978"/>
                    </a:cubicBezTo>
                    <a:lnTo>
                      <a:pt x="924547" y="198120"/>
                    </a:lnTo>
                    <a:lnTo>
                      <a:pt x="913117" y="198120"/>
                    </a:lnTo>
                    <a:lnTo>
                      <a:pt x="905497" y="198120"/>
                    </a:lnTo>
                    <a:lnTo>
                      <a:pt x="898830" y="196215"/>
                    </a:lnTo>
                    <a:lnTo>
                      <a:pt x="896925" y="194310"/>
                    </a:lnTo>
                    <a:lnTo>
                      <a:pt x="894067" y="191453"/>
                    </a:lnTo>
                    <a:lnTo>
                      <a:pt x="893114" y="188595"/>
                    </a:lnTo>
                    <a:lnTo>
                      <a:pt x="893114" y="185738"/>
                    </a:lnTo>
                    <a:cubicBezTo>
                      <a:pt x="893114" y="185738"/>
                      <a:pt x="898830" y="184785"/>
                      <a:pt x="900735" y="184785"/>
                    </a:cubicBezTo>
                    <a:cubicBezTo>
                      <a:pt x="902639" y="184785"/>
                      <a:pt x="915022" y="183833"/>
                      <a:pt x="915022" y="183833"/>
                    </a:cubicBezTo>
                    <a:cubicBezTo>
                      <a:pt x="915022" y="183833"/>
                      <a:pt x="918832" y="183833"/>
                      <a:pt x="919785" y="181928"/>
                    </a:cubicBezTo>
                    <a:cubicBezTo>
                      <a:pt x="921689" y="180975"/>
                      <a:pt x="922642" y="176213"/>
                      <a:pt x="922642" y="176213"/>
                    </a:cubicBezTo>
                    <a:lnTo>
                      <a:pt x="921689" y="169545"/>
                    </a:lnTo>
                    <a:lnTo>
                      <a:pt x="915022" y="168593"/>
                    </a:lnTo>
                    <a:lnTo>
                      <a:pt x="909307" y="166688"/>
                    </a:lnTo>
                    <a:lnTo>
                      <a:pt x="904545" y="165735"/>
                    </a:lnTo>
                    <a:lnTo>
                      <a:pt x="899782" y="164783"/>
                    </a:lnTo>
                    <a:lnTo>
                      <a:pt x="893114" y="160973"/>
                    </a:lnTo>
                    <a:lnTo>
                      <a:pt x="889305" y="153353"/>
                    </a:lnTo>
                    <a:cubicBezTo>
                      <a:pt x="889305" y="153353"/>
                      <a:pt x="888352" y="148590"/>
                      <a:pt x="888352" y="146685"/>
                    </a:cubicBezTo>
                    <a:cubicBezTo>
                      <a:pt x="889305" y="145733"/>
                      <a:pt x="903592" y="137160"/>
                      <a:pt x="903592" y="137160"/>
                    </a:cubicBezTo>
                    <a:lnTo>
                      <a:pt x="905497" y="135255"/>
                    </a:lnTo>
                    <a:cubicBezTo>
                      <a:pt x="905497" y="135255"/>
                      <a:pt x="915022" y="123825"/>
                      <a:pt x="917880" y="123825"/>
                    </a:cubicBezTo>
                    <a:cubicBezTo>
                      <a:pt x="920737" y="123825"/>
                      <a:pt x="922642" y="120015"/>
                      <a:pt x="925500" y="120015"/>
                    </a:cubicBezTo>
                    <a:cubicBezTo>
                      <a:pt x="927405" y="120015"/>
                      <a:pt x="931214" y="116205"/>
                      <a:pt x="931214" y="116205"/>
                    </a:cubicBezTo>
                    <a:lnTo>
                      <a:pt x="935977" y="113348"/>
                    </a:lnTo>
                    <a:cubicBezTo>
                      <a:pt x="935977" y="113348"/>
                      <a:pt x="936930" y="112395"/>
                      <a:pt x="939787" y="112395"/>
                    </a:cubicBezTo>
                    <a:cubicBezTo>
                      <a:pt x="942645" y="112395"/>
                      <a:pt x="950264" y="110490"/>
                      <a:pt x="950264" y="110490"/>
                    </a:cubicBezTo>
                    <a:lnTo>
                      <a:pt x="956932" y="103823"/>
                    </a:lnTo>
                    <a:lnTo>
                      <a:pt x="962647" y="99060"/>
                    </a:lnTo>
                    <a:lnTo>
                      <a:pt x="968362" y="98108"/>
                    </a:lnTo>
                    <a:cubicBezTo>
                      <a:pt x="968362" y="98108"/>
                      <a:pt x="973125" y="96203"/>
                      <a:pt x="975982" y="95250"/>
                    </a:cubicBezTo>
                    <a:cubicBezTo>
                      <a:pt x="977887" y="94298"/>
                      <a:pt x="983602" y="90488"/>
                      <a:pt x="983602" y="90488"/>
                    </a:cubicBezTo>
                    <a:lnTo>
                      <a:pt x="991222" y="89535"/>
                    </a:lnTo>
                    <a:lnTo>
                      <a:pt x="1006462" y="87630"/>
                    </a:lnTo>
                    <a:cubicBezTo>
                      <a:pt x="1006462" y="87630"/>
                      <a:pt x="1011225" y="81915"/>
                      <a:pt x="1013130" y="81915"/>
                    </a:cubicBezTo>
                    <a:cubicBezTo>
                      <a:pt x="1015035" y="81915"/>
                      <a:pt x="1019797" y="81915"/>
                      <a:pt x="1019797" y="81915"/>
                    </a:cubicBezTo>
                    <a:lnTo>
                      <a:pt x="1027417" y="80010"/>
                    </a:lnTo>
                    <a:cubicBezTo>
                      <a:pt x="1027417" y="80010"/>
                      <a:pt x="1033132" y="78105"/>
                      <a:pt x="1034085" y="76200"/>
                    </a:cubicBezTo>
                    <a:cubicBezTo>
                      <a:pt x="1035037" y="75248"/>
                      <a:pt x="1035989" y="71438"/>
                      <a:pt x="1035989" y="71438"/>
                    </a:cubicBezTo>
                    <a:lnTo>
                      <a:pt x="1036942" y="67628"/>
                    </a:lnTo>
                    <a:lnTo>
                      <a:pt x="1035989" y="63818"/>
                    </a:lnTo>
                    <a:lnTo>
                      <a:pt x="1028370" y="61913"/>
                    </a:lnTo>
                    <a:lnTo>
                      <a:pt x="1018845" y="61913"/>
                    </a:lnTo>
                    <a:lnTo>
                      <a:pt x="1011225" y="60960"/>
                    </a:lnTo>
                    <a:lnTo>
                      <a:pt x="984555" y="58103"/>
                    </a:lnTo>
                    <a:cubicBezTo>
                      <a:pt x="984555" y="58103"/>
                      <a:pt x="976935" y="57150"/>
                      <a:pt x="975030" y="58103"/>
                    </a:cubicBezTo>
                    <a:cubicBezTo>
                      <a:pt x="973125" y="58103"/>
                      <a:pt x="963600" y="58103"/>
                      <a:pt x="963600" y="58103"/>
                    </a:cubicBezTo>
                    <a:cubicBezTo>
                      <a:pt x="963600" y="58103"/>
                      <a:pt x="958837" y="57150"/>
                      <a:pt x="957885" y="58103"/>
                    </a:cubicBezTo>
                    <a:cubicBezTo>
                      <a:pt x="955980" y="59055"/>
                      <a:pt x="950264" y="58103"/>
                      <a:pt x="950264" y="60008"/>
                    </a:cubicBezTo>
                    <a:cubicBezTo>
                      <a:pt x="950264" y="61913"/>
                      <a:pt x="947407" y="60960"/>
                      <a:pt x="945502" y="62865"/>
                    </a:cubicBezTo>
                    <a:cubicBezTo>
                      <a:pt x="943597" y="64770"/>
                      <a:pt x="935977" y="63818"/>
                      <a:pt x="935025" y="65723"/>
                    </a:cubicBezTo>
                    <a:cubicBezTo>
                      <a:pt x="934072" y="67628"/>
                      <a:pt x="932167" y="66675"/>
                      <a:pt x="930262" y="68580"/>
                    </a:cubicBezTo>
                    <a:cubicBezTo>
                      <a:pt x="928357" y="70485"/>
                      <a:pt x="918832" y="71438"/>
                      <a:pt x="918832" y="71438"/>
                    </a:cubicBezTo>
                    <a:lnTo>
                      <a:pt x="895020" y="59055"/>
                    </a:lnTo>
                    <a:lnTo>
                      <a:pt x="890257" y="59055"/>
                    </a:lnTo>
                    <a:lnTo>
                      <a:pt x="882637" y="57150"/>
                    </a:lnTo>
                    <a:lnTo>
                      <a:pt x="877875" y="54293"/>
                    </a:lnTo>
                    <a:cubicBezTo>
                      <a:pt x="877875" y="54293"/>
                      <a:pt x="875970" y="53340"/>
                      <a:pt x="874064" y="52388"/>
                    </a:cubicBezTo>
                    <a:cubicBezTo>
                      <a:pt x="872160" y="51435"/>
                      <a:pt x="869302" y="47625"/>
                      <a:pt x="869302" y="47625"/>
                    </a:cubicBezTo>
                    <a:lnTo>
                      <a:pt x="867397" y="42863"/>
                    </a:lnTo>
                    <a:lnTo>
                      <a:pt x="861682" y="35243"/>
                    </a:lnTo>
                    <a:lnTo>
                      <a:pt x="860730" y="31433"/>
                    </a:lnTo>
                    <a:lnTo>
                      <a:pt x="856920" y="25718"/>
                    </a:lnTo>
                    <a:lnTo>
                      <a:pt x="855014" y="22860"/>
                    </a:lnTo>
                    <a:lnTo>
                      <a:pt x="849300" y="20955"/>
                    </a:lnTo>
                    <a:lnTo>
                      <a:pt x="844537" y="20003"/>
                    </a:lnTo>
                    <a:lnTo>
                      <a:pt x="839775" y="20003"/>
                    </a:lnTo>
                    <a:lnTo>
                      <a:pt x="829297" y="19050"/>
                    </a:lnTo>
                    <a:cubicBezTo>
                      <a:pt x="829297" y="19050"/>
                      <a:pt x="825487" y="18098"/>
                      <a:pt x="822630" y="18098"/>
                    </a:cubicBezTo>
                    <a:cubicBezTo>
                      <a:pt x="819772" y="18098"/>
                      <a:pt x="817867" y="18098"/>
                      <a:pt x="815010" y="18098"/>
                    </a:cubicBezTo>
                    <a:cubicBezTo>
                      <a:pt x="811200" y="18098"/>
                      <a:pt x="807389" y="16193"/>
                      <a:pt x="807389" y="16193"/>
                    </a:cubicBezTo>
                    <a:lnTo>
                      <a:pt x="790245" y="15240"/>
                    </a:lnTo>
                    <a:lnTo>
                      <a:pt x="787387" y="13335"/>
                    </a:lnTo>
                    <a:lnTo>
                      <a:pt x="777862" y="5715"/>
                    </a:lnTo>
                    <a:cubicBezTo>
                      <a:pt x="774052" y="3810"/>
                      <a:pt x="759765" y="3810"/>
                      <a:pt x="759765" y="3810"/>
                    </a:cubicBezTo>
                    <a:lnTo>
                      <a:pt x="744525" y="3810"/>
                    </a:lnTo>
                    <a:lnTo>
                      <a:pt x="717855" y="1905"/>
                    </a:lnTo>
                    <a:cubicBezTo>
                      <a:pt x="717855" y="1905"/>
                      <a:pt x="714045" y="953"/>
                      <a:pt x="711187" y="0"/>
                    </a:cubicBezTo>
                    <a:cubicBezTo>
                      <a:pt x="707377" y="0"/>
                      <a:pt x="690232" y="0"/>
                      <a:pt x="690232" y="0"/>
                    </a:cubicBezTo>
                    <a:lnTo>
                      <a:pt x="679755" y="1905"/>
                    </a:lnTo>
                    <a:lnTo>
                      <a:pt x="671182" y="2858"/>
                    </a:lnTo>
                    <a:lnTo>
                      <a:pt x="652132" y="3810"/>
                    </a:lnTo>
                    <a:lnTo>
                      <a:pt x="641655" y="3810"/>
                    </a:lnTo>
                    <a:lnTo>
                      <a:pt x="636892" y="4763"/>
                    </a:lnTo>
                    <a:cubicBezTo>
                      <a:pt x="636892" y="4763"/>
                      <a:pt x="619747" y="3810"/>
                      <a:pt x="617842" y="5715"/>
                    </a:cubicBezTo>
                    <a:cubicBezTo>
                      <a:pt x="615937" y="6668"/>
                      <a:pt x="613080" y="5715"/>
                      <a:pt x="611175" y="7620"/>
                    </a:cubicBezTo>
                    <a:cubicBezTo>
                      <a:pt x="609270" y="8573"/>
                      <a:pt x="597840" y="9525"/>
                      <a:pt x="597840" y="9525"/>
                    </a:cubicBezTo>
                    <a:lnTo>
                      <a:pt x="583552" y="12383"/>
                    </a:lnTo>
                    <a:lnTo>
                      <a:pt x="575932" y="12383"/>
                    </a:lnTo>
                    <a:lnTo>
                      <a:pt x="568312" y="12383"/>
                    </a:lnTo>
                    <a:lnTo>
                      <a:pt x="553072" y="12383"/>
                    </a:lnTo>
                    <a:lnTo>
                      <a:pt x="542595" y="12383"/>
                    </a:lnTo>
                    <a:lnTo>
                      <a:pt x="523545" y="12383"/>
                    </a:lnTo>
                    <a:lnTo>
                      <a:pt x="506400" y="10478"/>
                    </a:lnTo>
                    <a:lnTo>
                      <a:pt x="489255" y="8573"/>
                    </a:lnTo>
                    <a:lnTo>
                      <a:pt x="478777" y="8573"/>
                    </a:lnTo>
                    <a:lnTo>
                      <a:pt x="471157" y="9525"/>
                    </a:lnTo>
                    <a:lnTo>
                      <a:pt x="456870" y="11430"/>
                    </a:lnTo>
                    <a:lnTo>
                      <a:pt x="452107" y="12383"/>
                    </a:lnTo>
                    <a:lnTo>
                      <a:pt x="448297" y="14288"/>
                    </a:lnTo>
                    <a:lnTo>
                      <a:pt x="447345" y="18098"/>
                    </a:lnTo>
                    <a:lnTo>
                      <a:pt x="442582" y="20955"/>
                    </a:lnTo>
                    <a:lnTo>
                      <a:pt x="434962" y="21908"/>
                    </a:lnTo>
                    <a:lnTo>
                      <a:pt x="425437" y="26670"/>
                    </a:lnTo>
                    <a:lnTo>
                      <a:pt x="416865" y="28575"/>
                    </a:lnTo>
                    <a:lnTo>
                      <a:pt x="396862" y="28575"/>
                    </a:lnTo>
                    <a:lnTo>
                      <a:pt x="392100" y="27623"/>
                    </a:lnTo>
                    <a:lnTo>
                      <a:pt x="384480" y="29528"/>
                    </a:lnTo>
                    <a:lnTo>
                      <a:pt x="374955" y="32385"/>
                    </a:lnTo>
                    <a:lnTo>
                      <a:pt x="365430" y="36195"/>
                    </a:lnTo>
                    <a:lnTo>
                      <a:pt x="360667" y="38100"/>
                    </a:lnTo>
                    <a:lnTo>
                      <a:pt x="349237" y="38100"/>
                    </a:lnTo>
                    <a:lnTo>
                      <a:pt x="338760" y="36195"/>
                    </a:lnTo>
                    <a:cubicBezTo>
                      <a:pt x="334950" y="35243"/>
                      <a:pt x="308280" y="35243"/>
                      <a:pt x="308280" y="35243"/>
                    </a:cubicBezTo>
                    <a:lnTo>
                      <a:pt x="299707" y="35243"/>
                    </a:lnTo>
                    <a:lnTo>
                      <a:pt x="291135" y="35243"/>
                    </a:lnTo>
                    <a:lnTo>
                      <a:pt x="286372" y="35243"/>
                    </a:lnTo>
                    <a:lnTo>
                      <a:pt x="275895" y="35243"/>
                    </a:lnTo>
                    <a:lnTo>
                      <a:pt x="263512" y="35243"/>
                    </a:lnTo>
                    <a:lnTo>
                      <a:pt x="255892" y="35243"/>
                    </a:lnTo>
                    <a:lnTo>
                      <a:pt x="250177" y="36195"/>
                    </a:lnTo>
                    <a:cubicBezTo>
                      <a:pt x="250177" y="36195"/>
                      <a:pt x="242557" y="36195"/>
                      <a:pt x="240652" y="39053"/>
                    </a:cubicBezTo>
                    <a:cubicBezTo>
                      <a:pt x="238747" y="40958"/>
                      <a:pt x="237795" y="40958"/>
                      <a:pt x="235890" y="41910"/>
                    </a:cubicBezTo>
                    <a:cubicBezTo>
                      <a:pt x="233985" y="42863"/>
                      <a:pt x="224460" y="42863"/>
                      <a:pt x="224460" y="42863"/>
                    </a:cubicBezTo>
                    <a:lnTo>
                      <a:pt x="219697" y="42863"/>
                    </a:lnTo>
                    <a:lnTo>
                      <a:pt x="215887" y="44768"/>
                    </a:lnTo>
                    <a:lnTo>
                      <a:pt x="210172" y="47625"/>
                    </a:lnTo>
                    <a:cubicBezTo>
                      <a:pt x="210172" y="47625"/>
                      <a:pt x="205410" y="48578"/>
                      <a:pt x="201600" y="49530"/>
                    </a:cubicBezTo>
                    <a:cubicBezTo>
                      <a:pt x="198742" y="50483"/>
                      <a:pt x="191122" y="51435"/>
                      <a:pt x="191122" y="51435"/>
                    </a:cubicBezTo>
                    <a:lnTo>
                      <a:pt x="185407" y="51435"/>
                    </a:lnTo>
                    <a:lnTo>
                      <a:pt x="182550" y="51435"/>
                    </a:lnTo>
                    <a:lnTo>
                      <a:pt x="171120" y="51435"/>
                    </a:lnTo>
                    <a:lnTo>
                      <a:pt x="163500" y="53340"/>
                    </a:lnTo>
                    <a:cubicBezTo>
                      <a:pt x="163500" y="53340"/>
                      <a:pt x="160642" y="53340"/>
                      <a:pt x="158737" y="56198"/>
                    </a:cubicBezTo>
                    <a:cubicBezTo>
                      <a:pt x="156832" y="58103"/>
                      <a:pt x="151117" y="60960"/>
                      <a:pt x="150165" y="61913"/>
                    </a:cubicBezTo>
                    <a:cubicBezTo>
                      <a:pt x="149212" y="62865"/>
                      <a:pt x="146354" y="64770"/>
                      <a:pt x="146354" y="64770"/>
                    </a:cubicBezTo>
                    <a:lnTo>
                      <a:pt x="134925" y="67628"/>
                    </a:lnTo>
                    <a:lnTo>
                      <a:pt x="113970" y="69533"/>
                    </a:lnTo>
                    <a:lnTo>
                      <a:pt x="100635" y="70485"/>
                    </a:lnTo>
                    <a:lnTo>
                      <a:pt x="92062" y="71438"/>
                    </a:lnTo>
                    <a:cubicBezTo>
                      <a:pt x="92062" y="71438"/>
                      <a:pt x="88252" y="73343"/>
                      <a:pt x="88252" y="75248"/>
                    </a:cubicBezTo>
                    <a:cubicBezTo>
                      <a:pt x="88252" y="76200"/>
                      <a:pt x="87300" y="79058"/>
                      <a:pt x="87300" y="79058"/>
                    </a:cubicBezTo>
                    <a:cubicBezTo>
                      <a:pt x="87300" y="79058"/>
                      <a:pt x="90157" y="80963"/>
                      <a:pt x="92062" y="80963"/>
                    </a:cubicBezTo>
                    <a:cubicBezTo>
                      <a:pt x="93967" y="80963"/>
                      <a:pt x="104445" y="81915"/>
                      <a:pt x="104445" y="81915"/>
                    </a:cubicBezTo>
                    <a:cubicBezTo>
                      <a:pt x="104445" y="81915"/>
                      <a:pt x="106350" y="82868"/>
                      <a:pt x="108254" y="82868"/>
                    </a:cubicBezTo>
                    <a:cubicBezTo>
                      <a:pt x="110160" y="83820"/>
                      <a:pt x="113017" y="85725"/>
                      <a:pt x="113017" y="85725"/>
                    </a:cubicBezTo>
                    <a:cubicBezTo>
                      <a:pt x="113017" y="85725"/>
                      <a:pt x="113970" y="84773"/>
                      <a:pt x="113970" y="89535"/>
                    </a:cubicBezTo>
                    <a:cubicBezTo>
                      <a:pt x="113017" y="94298"/>
                      <a:pt x="111112" y="98108"/>
                      <a:pt x="111112" y="98108"/>
                    </a:cubicBezTo>
                    <a:lnTo>
                      <a:pt x="102540" y="100013"/>
                    </a:lnTo>
                    <a:cubicBezTo>
                      <a:pt x="102540" y="100013"/>
                      <a:pt x="95872" y="100965"/>
                      <a:pt x="95872" y="102870"/>
                    </a:cubicBezTo>
                    <a:cubicBezTo>
                      <a:pt x="95872" y="103823"/>
                      <a:pt x="94920" y="106680"/>
                      <a:pt x="94920" y="106680"/>
                    </a:cubicBezTo>
                    <a:lnTo>
                      <a:pt x="89204" y="110490"/>
                    </a:lnTo>
                    <a:lnTo>
                      <a:pt x="83490" y="112395"/>
                    </a:lnTo>
                    <a:lnTo>
                      <a:pt x="81585" y="114300"/>
                    </a:lnTo>
                    <a:lnTo>
                      <a:pt x="75870" y="120968"/>
                    </a:lnTo>
                    <a:close/>
                  </a:path>
                </a:pathLst>
              </a:custGeom>
              <a:grpFill/>
              <a:ln w="9525" cap="flat">
                <a:noFill/>
                <a:prstDash val="solid"/>
                <a:miter/>
              </a:ln>
            </p:spPr>
            <p:txBody>
              <a:bodyPr rtlCol="0" anchor="ctr"/>
              <a:lstStyle/>
              <a:p>
                <a:endParaRPr lang="en-US" sz="1765"/>
              </a:p>
            </p:txBody>
          </p:sp>
          <p:sp>
            <p:nvSpPr>
              <p:cNvPr id="282" name="Freeform: Shape 281">
                <a:extLst>
                  <a:ext uri="{FF2B5EF4-FFF2-40B4-BE49-F238E27FC236}">
                    <a16:creationId xmlns:a16="http://schemas.microsoft.com/office/drawing/2014/main" id="{92EB9041-DC4D-4B5D-A7DD-C57DC1101DA3}"/>
                  </a:ext>
                </a:extLst>
              </p:cNvPr>
              <p:cNvSpPr/>
              <p:nvPr/>
            </p:nvSpPr>
            <p:spPr>
              <a:xfrm>
                <a:off x="7292898" y="3092496"/>
                <a:ext cx="56620" cy="27622"/>
              </a:xfrm>
              <a:custGeom>
                <a:avLst/>
                <a:gdLst>
                  <a:gd name="connsiteX0" fmla="*/ 43286 w 56620"/>
                  <a:gd name="connsiteY0" fmla="*/ 24765 h 27622"/>
                  <a:gd name="connsiteX1" fmla="*/ 41381 w 56620"/>
                  <a:gd name="connsiteY1" fmla="*/ 26670 h 27622"/>
                  <a:gd name="connsiteX2" fmla="*/ 28046 w 56620"/>
                  <a:gd name="connsiteY2" fmla="*/ 27622 h 27622"/>
                  <a:gd name="connsiteX3" fmla="*/ 21378 w 56620"/>
                  <a:gd name="connsiteY3" fmla="*/ 27622 h 27622"/>
                  <a:gd name="connsiteX4" fmla="*/ 14711 w 56620"/>
                  <a:gd name="connsiteY4" fmla="*/ 27622 h 27622"/>
                  <a:gd name="connsiteX5" fmla="*/ 10901 w 56620"/>
                  <a:gd name="connsiteY5" fmla="*/ 26670 h 27622"/>
                  <a:gd name="connsiteX6" fmla="*/ 9948 w 56620"/>
                  <a:gd name="connsiteY6" fmla="*/ 23813 h 27622"/>
                  <a:gd name="connsiteX7" fmla="*/ 3281 w 56620"/>
                  <a:gd name="connsiteY7" fmla="*/ 21907 h 27622"/>
                  <a:gd name="connsiteX8" fmla="*/ 1376 w 56620"/>
                  <a:gd name="connsiteY8" fmla="*/ 21907 h 27622"/>
                  <a:gd name="connsiteX9" fmla="*/ 1376 w 56620"/>
                  <a:gd name="connsiteY9" fmla="*/ 19050 h 27622"/>
                  <a:gd name="connsiteX10" fmla="*/ 1376 w 56620"/>
                  <a:gd name="connsiteY10" fmla="*/ 16193 h 27622"/>
                  <a:gd name="connsiteX11" fmla="*/ 423 w 56620"/>
                  <a:gd name="connsiteY11" fmla="*/ 12382 h 27622"/>
                  <a:gd name="connsiteX12" fmla="*/ 423 w 56620"/>
                  <a:gd name="connsiteY12" fmla="*/ 10477 h 27622"/>
                  <a:gd name="connsiteX13" fmla="*/ 1376 w 56620"/>
                  <a:gd name="connsiteY13" fmla="*/ 10477 h 27622"/>
                  <a:gd name="connsiteX14" fmla="*/ 4233 w 56620"/>
                  <a:gd name="connsiteY14" fmla="*/ 10477 h 27622"/>
                  <a:gd name="connsiteX15" fmla="*/ 7091 w 56620"/>
                  <a:gd name="connsiteY15" fmla="*/ 8572 h 27622"/>
                  <a:gd name="connsiteX16" fmla="*/ 12806 w 56620"/>
                  <a:gd name="connsiteY16" fmla="*/ 8572 h 27622"/>
                  <a:gd name="connsiteX17" fmla="*/ 19473 w 56620"/>
                  <a:gd name="connsiteY17" fmla="*/ 7620 h 27622"/>
                  <a:gd name="connsiteX18" fmla="*/ 28046 w 56620"/>
                  <a:gd name="connsiteY18" fmla="*/ 4763 h 27622"/>
                  <a:gd name="connsiteX19" fmla="*/ 30903 w 56620"/>
                  <a:gd name="connsiteY19" fmla="*/ 4763 h 27622"/>
                  <a:gd name="connsiteX20" fmla="*/ 34713 w 56620"/>
                  <a:gd name="connsiteY20" fmla="*/ 3810 h 27622"/>
                  <a:gd name="connsiteX21" fmla="*/ 40428 w 56620"/>
                  <a:gd name="connsiteY21" fmla="*/ 5715 h 27622"/>
                  <a:gd name="connsiteX22" fmla="*/ 45191 w 56620"/>
                  <a:gd name="connsiteY22" fmla="*/ 3810 h 27622"/>
                  <a:gd name="connsiteX23" fmla="*/ 49001 w 56620"/>
                  <a:gd name="connsiteY23" fmla="*/ 0 h 27622"/>
                  <a:gd name="connsiteX24" fmla="*/ 51858 w 56620"/>
                  <a:gd name="connsiteY24" fmla="*/ 952 h 27622"/>
                  <a:gd name="connsiteX25" fmla="*/ 55668 w 56620"/>
                  <a:gd name="connsiteY25" fmla="*/ 2857 h 27622"/>
                  <a:gd name="connsiteX26" fmla="*/ 54716 w 56620"/>
                  <a:gd name="connsiteY26" fmla="*/ 7620 h 27622"/>
                  <a:gd name="connsiteX27" fmla="*/ 55668 w 56620"/>
                  <a:gd name="connsiteY27" fmla="*/ 10477 h 27622"/>
                  <a:gd name="connsiteX28" fmla="*/ 56621 w 56620"/>
                  <a:gd name="connsiteY28" fmla="*/ 12382 h 27622"/>
                  <a:gd name="connsiteX29" fmla="*/ 54716 w 56620"/>
                  <a:gd name="connsiteY29" fmla="*/ 15240 h 27622"/>
                  <a:gd name="connsiteX30" fmla="*/ 46143 w 56620"/>
                  <a:gd name="connsiteY30" fmla="*/ 17145 h 27622"/>
                  <a:gd name="connsiteX31" fmla="*/ 47096 w 56620"/>
                  <a:gd name="connsiteY31" fmla="*/ 20955 h 27622"/>
                  <a:gd name="connsiteX32" fmla="*/ 47096 w 56620"/>
                  <a:gd name="connsiteY32" fmla="*/ 21907 h 27622"/>
                  <a:gd name="connsiteX33" fmla="*/ 48048 w 56620"/>
                  <a:gd name="connsiteY33" fmla="*/ 23813 h 27622"/>
                  <a:gd name="connsiteX34" fmla="*/ 43286 w 56620"/>
                  <a:gd name="connsiteY34" fmla="*/ 24765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620" h="27622">
                    <a:moveTo>
                      <a:pt x="43286" y="24765"/>
                    </a:moveTo>
                    <a:cubicBezTo>
                      <a:pt x="43286" y="24765"/>
                      <a:pt x="43286" y="25718"/>
                      <a:pt x="41381" y="26670"/>
                    </a:cubicBezTo>
                    <a:cubicBezTo>
                      <a:pt x="39476" y="26670"/>
                      <a:pt x="28046" y="27622"/>
                      <a:pt x="28046" y="27622"/>
                    </a:cubicBezTo>
                    <a:lnTo>
                      <a:pt x="21378" y="27622"/>
                    </a:lnTo>
                    <a:lnTo>
                      <a:pt x="14711" y="27622"/>
                    </a:lnTo>
                    <a:lnTo>
                      <a:pt x="10901" y="26670"/>
                    </a:lnTo>
                    <a:cubicBezTo>
                      <a:pt x="10901" y="26670"/>
                      <a:pt x="10901" y="24765"/>
                      <a:pt x="9948" y="23813"/>
                    </a:cubicBezTo>
                    <a:cubicBezTo>
                      <a:pt x="8043" y="22860"/>
                      <a:pt x="3281" y="21907"/>
                      <a:pt x="3281" y="21907"/>
                    </a:cubicBezTo>
                    <a:lnTo>
                      <a:pt x="1376" y="21907"/>
                    </a:lnTo>
                    <a:lnTo>
                      <a:pt x="1376" y="19050"/>
                    </a:lnTo>
                    <a:lnTo>
                      <a:pt x="1376" y="16193"/>
                    </a:lnTo>
                    <a:lnTo>
                      <a:pt x="423" y="12382"/>
                    </a:lnTo>
                    <a:cubicBezTo>
                      <a:pt x="423" y="12382"/>
                      <a:pt x="-529" y="10477"/>
                      <a:pt x="423" y="10477"/>
                    </a:cubicBezTo>
                    <a:cubicBezTo>
                      <a:pt x="1376" y="10477"/>
                      <a:pt x="-1482" y="10477"/>
                      <a:pt x="1376" y="10477"/>
                    </a:cubicBezTo>
                    <a:cubicBezTo>
                      <a:pt x="4233" y="10477"/>
                      <a:pt x="2328" y="10477"/>
                      <a:pt x="4233" y="10477"/>
                    </a:cubicBezTo>
                    <a:cubicBezTo>
                      <a:pt x="6138" y="10477"/>
                      <a:pt x="7091" y="8572"/>
                      <a:pt x="7091" y="8572"/>
                    </a:cubicBezTo>
                    <a:cubicBezTo>
                      <a:pt x="10901" y="8572"/>
                      <a:pt x="9948" y="8572"/>
                      <a:pt x="12806" y="8572"/>
                    </a:cubicBezTo>
                    <a:cubicBezTo>
                      <a:pt x="15663" y="8572"/>
                      <a:pt x="13758" y="10477"/>
                      <a:pt x="19473" y="7620"/>
                    </a:cubicBezTo>
                    <a:cubicBezTo>
                      <a:pt x="24236" y="4763"/>
                      <a:pt x="26141" y="4763"/>
                      <a:pt x="28046" y="4763"/>
                    </a:cubicBezTo>
                    <a:cubicBezTo>
                      <a:pt x="29951" y="4763"/>
                      <a:pt x="30903" y="4763"/>
                      <a:pt x="30903" y="4763"/>
                    </a:cubicBezTo>
                    <a:cubicBezTo>
                      <a:pt x="30903" y="4763"/>
                      <a:pt x="29951" y="1905"/>
                      <a:pt x="34713" y="3810"/>
                    </a:cubicBezTo>
                    <a:cubicBezTo>
                      <a:pt x="39476" y="5715"/>
                      <a:pt x="38523" y="5715"/>
                      <a:pt x="40428" y="5715"/>
                    </a:cubicBezTo>
                    <a:cubicBezTo>
                      <a:pt x="42333" y="5715"/>
                      <a:pt x="43286" y="3810"/>
                      <a:pt x="45191" y="3810"/>
                    </a:cubicBezTo>
                    <a:cubicBezTo>
                      <a:pt x="47096" y="2857"/>
                      <a:pt x="46143" y="0"/>
                      <a:pt x="49001" y="0"/>
                    </a:cubicBezTo>
                    <a:cubicBezTo>
                      <a:pt x="51858" y="952"/>
                      <a:pt x="49001" y="0"/>
                      <a:pt x="51858" y="952"/>
                    </a:cubicBezTo>
                    <a:cubicBezTo>
                      <a:pt x="54716" y="1905"/>
                      <a:pt x="54716" y="952"/>
                      <a:pt x="55668" y="2857"/>
                    </a:cubicBezTo>
                    <a:cubicBezTo>
                      <a:pt x="56621" y="4763"/>
                      <a:pt x="55668" y="6668"/>
                      <a:pt x="54716" y="7620"/>
                    </a:cubicBezTo>
                    <a:cubicBezTo>
                      <a:pt x="54716" y="8572"/>
                      <a:pt x="55668" y="8572"/>
                      <a:pt x="55668" y="10477"/>
                    </a:cubicBezTo>
                    <a:cubicBezTo>
                      <a:pt x="55668" y="11430"/>
                      <a:pt x="56621" y="12382"/>
                      <a:pt x="56621" y="12382"/>
                    </a:cubicBezTo>
                    <a:cubicBezTo>
                      <a:pt x="56621" y="13335"/>
                      <a:pt x="55668" y="14288"/>
                      <a:pt x="54716" y="15240"/>
                    </a:cubicBezTo>
                    <a:cubicBezTo>
                      <a:pt x="53763" y="16193"/>
                      <a:pt x="46143" y="17145"/>
                      <a:pt x="46143" y="17145"/>
                    </a:cubicBezTo>
                    <a:lnTo>
                      <a:pt x="47096" y="20955"/>
                    </a:lnTo>
                    <a:cubicBezTo>
                      <a:pt x="47096" y="20955"/>
                      <a:pt x="46143" y="20955"/>
                      <a:pt x="47096" y="21907"/>
                    </a:cubicBezTo>
                    <a:cubicBezTo>
                      <a:pt x="48048" y="23813"/>
                      <a:pt x="49001" y="23813"/>
                      <a:pt x="48048" y="23813"/>
                    </a:cubicBezTo>
                    <a:cubicBezTo>
                      <a:pt x="48048" y="24765"/>
                      <a:pt x="43286" y="24765"/>
                      <a:pt x="43286" y="24765"/>
                    </a:cubicBezTo>
                    <a:close/>
                  </a:path>
                </a:pathLst>
              </a:custGeom>
              <a:grpFill/>
              <a:ln w="9525" cap="flat">
                <a:noFill/>
                <a:prstDash val="solid"/>
                <a:miter/>
              </a:ln>
            </p:spPr>
            <p:txBody>
              <a:bodyPr rtlCol="0" anchor="ctr"/>
              <a:lstStyle/>
              <a:p>
                <a:endParaRPr lang="en-US" sz="1765"/>
              </a:p>
            </p:txBody>
          </p:sp>
          <p:sp>
            <p:nvSpPr>
              <p:cNvPr id="283" name="Freeform: Shape 282">
                <a:extLst>
                  <a:ext uri="{FF2B5EF4-FFF2-40B4-BE49-F238E27FC236}">
                    <a16:creationId xmlns:a16="http://schemas.microsoft.com/office/drawing/2014/main" id="{D5E2D0E4-D029-47F3-AA4F-F61E2ECF6585}"/>
                  </a:ext>
                </a:extLst>
              </p:cNvPr>
              <p:cNvSpPr/>
              <p:nvPr/>
            </p:nvSpPr>
            <p:spPr>
              <a:xfrm>
                <a:off x="7209128" y="3423014"/>
                <a:ext cx="121340" cy="68579"/>
              </a:xfrm>
              <a:custGeom>
                <a:avLst/>
                <a:gdLst>
                  <a:gd name="connsiteX0" fmla="*/ 70857 w 121340"/>
                  <a:gd name="connsiteY0" fmla="*/ 11430 h 68579"/>
                  <a:gd name="connsiteX1" fmla="*/ 68000 w 121340"/>
                  <a:gd name="connsiteY1" fmla="*/ 6667 h 68579"/>
                  <a:gd name="connsiteX2" fmla="*/ 65143 w 121340"/>
                  <a:gd name="connsiteY2" fmla="*/ 1905 h 68579"/>
                  <a:gd name="connsiteX3" fmla="*/ 60380 w 121340"/>
                  <a:gd name="connsiteY3" fmla="*/ 0 h 68579"/>
                  <a:gd name="connsiteX4" fmla="*/ 57523 w 121340"/>
                  <a:gd name="connsiteY4" fmla="*/ 952 h 68579"/>
                  <a:gd name="connsiteX5" fmla="*/ 49903 w 121340"/>
                  <a:gd name="connsiteY5" fmla="*/ 1905 h 68579"/>
                  <a:gd name="connsiteX6" fmla="*/ 44188 w 121340"/>
                  <a:gd name="connsiteY6" fmla="*/ 1905 h 68579"/>
                  <a:gd name="connsiteX7" fmla="*/ 39425 w 121340"/>
                  <a:gd name="connsiteY7" fmla="*/ 5715 h 68579"/>
                  <a:gd name="connsiteX8" fmla="*/ 37520 w 121340"/>
                  <a:gd name="connsiteY8" fmla="*/ 9525 h 68579"/>
                  <a:gd name="connsiteX9" fmla="*/ 31805 w 121340"/>
                  <a:gd name="connsiteY9" fmla="*/ 14288 h 68579"/>
                  <a:gd name="connsiteX10" fmla="*/ 28948 w 121340"/>
                  <a:gd name="connsiteY10" fmla="*/ 16192 h 68579"/>
                  <a:gd name="connsiteX11" fmla="*/ 27043 w 121340"/>
                  <a:gd name="connsiteY11" fmla="*/ 18098 h 68579"/>
                  <a:gd name="connsiteX12" fmla="*/ 27995 w 121340"/>
                  <a:gd name="connsiteY12" fmla="*/ 19050 h 68579"/>
                  <a:gd name="connsiteX13" fmla="*/ 24185 w 121340"/>
                  <a:gd name="connsiteY13" fmla="*/ 24765 h 68579"/>
                  <a:gd name="connsiteX14" fmla="*/ 19423 w 121340"/>
                  <a:gd name="connsiteY14" fmla="*/ 27623 h 68579"/>
                  <a:gd name="connsiteX15" fmla="*/ 8945 w 121340"/>
                  <a:gd name="connsiteY15" fmla="*/ 29527 h 68579"/>
                  <a:gd name="connsiteX16" fmla="*/ 4182 w 121340"/>
                  <a:gd name="connsiteY16" fmla="*/ 31432 h 68579"/>
                  <a:gd name="connsiteX17" fmla="*/ 1325 w 121340"/>
                  <a:gd name="connsiteY17" fmla="*/ 33338 h 68579"/>
                  <a:gd name="connsiteX18" fmla="*/ 3230 w 121340"/>
                  <a:gd name="connsiteY18" fmla="*/ 38100 h 68579"/>
                  <a:gd name="connsiteX19" fmla="*/ 2278 w 121340"/>
                  <a:gd name="connsiteY19" fmla="*/ 42863 h 68579"/>
                  <a:gd name="connsiteX20" fmla="*/ 1325 w 121340"/>
                  <a:gd name="connsiteY20" fmla="*/ 47625 h 68579"/>
                  <a:gd name="connsiteX21" fmla="*/ 12755 w 121340"/>
                  <a:gd name="connsiteY21" fmla="*/ 49530 h 68579"/>
                  <a:gd name="connsiteX22" fmla="*/ 20375 w 121340"/>
                  <a:gd name="connsiteY22" fmla="*/ 49530 h 68579"/>
                  <a:gd name="connsiteX23" fmla="*/ 27995 w 121340"/>
                  <a:gd name="connsiteY23" fmla="*/ 49530 h 68579"/>
                  <a:gd name="connsiteX24" fmla="*/ 29900 w 121340"/>
                  <a:gd name="connsiteY24" fmla="*/ 51435 h 68579"/>
                  <a:gd name="connsiteX25" fmla="*/ 34663 w 121340"/>
                  <a:gd name="connsiteY25" fmla="*/ 53340 h 68579"/>
                  <a:gd name="connsiteX26" fmla="*/ 42282 w 121340"/>
                  <a:gd name="connsiteY26" fmla="*/ 53340 h 68579"/>
                  <a:gd name="connsiteX27" fmla="*/ 47045 w 121340"/>
                  <a:gd name="connsiteY27" fmla="*/ 56198 h 68579"/>
                  <a:gd name="connsiteX28" fmla="*/ 47045 w 121340"/>
                  <a:gd name="connsiteY28" fmla="*/ 60007 h 68579"/>
                  <a:gd name="connsiteX29" fmla="*/ 47045 w 121340"/>
                  <a:gd name="connsiteY29" fmla="*/ 64770 h 68579"/>
                  <a:gd name="connsiteX30" fmla="*/ 53713 w 121340"/>
                  <a:gd name="connsiteY30" fmla="*/ 68580 h 68579"/>
                  <a:gd name="connsiteX31" fmla="*/ 57523 w 121340"/>
                  <a:gd name="connsiteY31" fmla="*/ 68580 h 68579"/>
                  <a:gd name="connsiteX32" fmla="*/ 62285 w 121340"/>
                  <a:gd name="connsiteY32" fmla="*/ 67627 h 68579"/>
                  <a:gd name="connsiteX33" fmla="*/ 71810 w 121340"/>
                  <a:gd name="connsiteY33" fmla="*/ 65723 h 68579"/>
                  <a:gd name="connsiteX34" fmla="*/ 74668 w 121340"/>
                  <a:gd name="connsiteY34" fmla="*/ 65723 h 68579"/>
                  <a:gd name="connsiteX35" fmla="*/ 75620 w 121340"/>
                  <a:gd name="connsiteY35" fmla="*/ 60007 h 68579"/>
                  <a:gd name="connsiteX36" fmla="*/ 76573 w 121340"/>
                  <a:gd name="connsiteY36" fmla="*/ 57150 h 68579"/>
                  <a:gd name="connsiteX37" fmla="*/ 81335 w 121340"/>
                  <a:gd name="connsiteY37" fmla="*/ 56198 h 68579"/>
                  <a:gd name="connsiteX38" fmla="*/ 88003 w 121340"/>
                  <a:gd name="connsiteY38" fmla="*/ 56198 h 68579"/>
                  <a:gd name="connsiteX39" fmla="*/ 96575 w 121340"/>
                  <a:gd name="connsiteY39" fmla="*/ 56198 h 68579"/>
                  <a:gd name="connsiteX40" fmla="*/ 98480 w 121340"/>
                  <a:gd name="connsiteY40" fmla="*/ 56198 h 68579"/>
                  <a:gd name="connsiteX41" fmla="*/ 104195 w 121340"/>
                  <a:gd name="connsiteY41" fmla="*/ 55245 h 68579"/>
                  <a:gd name="connsiteX42" fmla="*/ 109910 w 121340"/>
                  <a:gd name="connsiteY42" fmla="*/ 53340 h 68579"/>
                  <a:gd name="connsiteX43" fmla="*/ 114673 w 121340"/>
                  <a:gd name="connsiteY43" fmla="*/ 51435 h 68579"/>
                  <a:gd name="connsiteX44" fmla="*/ 120388 w 121340"/>
                  <a:gd name="connsiteY44" fmla="*/ 44767 h 68579"/>
                  <a:gd name="connsiteX45" fmla="*/ 121340 w 121340"/>
                  <a:gd name="connsiteY45" fmla="*/ 40957 h 68579"/>
                  <a:gd name="connsiteX46" fmla="*/ 116578 w 121340"/>
                  <a:gd name="connsiteY46" fmla="*/ 38100 h 68579"/>
                  <a:gd name="connsiteX47" fmla="*/ 108957 w 121340"/>
                  <a:gd name="connsiteY47" fmla="*/ 35242 h 68579"/>
                  <a:gd name="connsiteX48" fmla="*/ 108957 w 121340"/>
                  <a:gd name="connsiteY48" fmla="*/ 29527 h 68579"/>
                  <a:gd name="connsiteX49" fmla="*/ 106100 w 121340"/>
                  <a:gd name="connsiteY49" fmla="*/ 25717 h 68579"/>
                  <a:gd name="connsiteX50" fmla="*/ 101338 w 121340"/>
                  <a:gd name="connsiteY50" fmla="*/ 24765 h 68579"/>
                  <a:gd name="connsiteX51" fmla="*/ 90860 w 121340"/>
                  <a:gd name="connsiteY51" fmla="*/ 21907 h 68579"/>
                  <a:gd name="connsiteX52" fmla="*/ 89907 w 121340"/>
                  <a:gd name="connsiteY52" fmla="*/ 19050 h 68579"/>
                  <a:gd name="connsiteX53" fmla="*/ 82288 w 121340"/>
                  <a:gd name="connsiteY53" fmla="*/ 16192 h 68579"/>
                  <a:gd name="connsiteX54" fmla="*/ 76573 w 121340"/>
                  <a:gd name="connsiteY54" fmla="*/ 15240 h 68579"/>
                  <a:gd name="connsiteX55" fmla="*/ 70857 w 121340"/>
                  <a:gd name="connsiteY55" fmla="*/ 11430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340" h="68579">
                    <a:moveTo>
                      <a:pt x="70857" y="11430"/>
                    </a:moveTo>
                    <a:lnTo>
                      <a:pt x="68000" y="6667"/>
                    </a:lnTo>
                    <a:lnTo>
                      <a:pt x="65143" y="1905"/>
                    </a:lnTo>
                    <a:lnTo>
                      <a:pt x="60380" y="0"/>
                    </a:lnTo>
                    <a:lnTo>
                      <a:pt x="57523" y="952"/>
                    </a:lnTo>
                    <a:lnTo>
                      <a:pt x="49903" y="1905"/>
                    </a:lnTo>
                    <a:lnTo>
                      <a:pt x="44188" y="1905"/>
                    </a:lnTo>
                    <a:cubicBezTo>
                      <a:pt x="44188" y="1905"/>
                      <a:pt x="39425" y="4763"/>
                      <a:pt x="39425" y="5715"/>
                    </a:cubicBezTo>
                    <a:cubicBezTo>
                      <a:pt x="40378" y="6667"/>
                      <a:pt x="37520" y="7620"/>
                      <a:pt x="37520" y="9525"/>
                    </a:cubicBezTo>
                    <a:cubicBezTo>
                      <a:pt x="36568" y="10477"/>
                      <a:pt x="31805" y="14288"/>
                      <a:pt x="31805" y="14288"/>
                    </a:cubicBezTo>
                    <a:lnTo>
                      <a:pt x="28948" y="16192"/>
                    </a:lnTo>
                    <a:cubicBezTo>
                      <a:pt x="28948" y="16192"/>
                      <a:pt x="27043" y="16192"/>
                      <a:pt x="27043" y="18098"/>
                    </a:cubicBezTo>
                    <a:cubicBezTo>
                      <a:pt x="27995" y="19050"/>
                      <a:pt x="27995" y="17145"/>
                      <a:pt x="27995" y="19050"/>
                    </a:cubicBezTo>
                    <a:cubicBezTo>
                      <a:pt x="27995" y="21907"/>
                      <a:pt x="24185" y="24765"/>
                      <a:pt x="24185" y="24765"/>
                    </a:cubicBezTo>
                    <a:lnTo>
                      <a:pt x="19423" y="27623"/>
                    </a:lnTo>
                    <a:lnTo>
                      <a:pt x="8945" y="29527"/>
                    </a:lnTo>
                    <a:lnTo>
                      <a:pt x="4182" y="31432"/>
                    </a:lnTo>
                    <a:lnTo>
                      <a:pt x="1325" y="33338"/>
                    </a:lnTo>
                    <a:cubicBezTo>
                      <a:pt x="3230" y="38100"/>
                      <a:pt x="3230" y="38100"/>
                      <a:pt x="3230" y="38100"/>
                    </a:cubicBezTo>
                    <a:cubicBezTo>
                      <a:pt x="3230" y="38100"/>
                      <a:pt x="1325" y="40957"/>
                      <a:pt x="2278" y="42863"/>
                    </a:cubicBezTo>
                    <a:cubicBezTo>
                      <a:pt x="3230" y="43815"/>
                      <a:pt x="-2485" y="46673"/>
                      <a:pt x="1325" y="47625"/>
                    </a:cubicBezTo>
                    <a:cubicBezTo>
                      <a:pt x="5135" y="48577"/>
                      <a:pt x="9898" y="48577"/>
                      <a:pt x="12755" y="49530"/>
                    </a:cubicBezTo>
                    <a:cubicBezTo>
                      <a:pt x="14660" y="50482"/>
                      <a:pt x="17518" y="48577"/>
                      <a:pt x="20375" y="49530"/>
                    </a:cubicBezTo>
                    <a:cubicBezTo>
                      <a:pt x="23232" y="50482"/>
                      <a:pt x="27995" y="49530"/>
                      <a:pt x="27995" y="49530"/>
                    </a:cubicBezTo>
                    <a:lnTo>
                      <a:pt x="29900" y="51435"/>
                    </a:lnTo>
                    <a:cubicBezTo>
                      <a:pt x="29900" y="51435"/>
                      <a:pt x="31805" y="53340"/>
                      <a:pt x="34663" y="53340"/>
                    </a:cubicBezTo>
                    <a:cubicBezTo>
                      <a:pt x="36568" y="53340"/>
                      <a:pt x="39425" y="53340"/>
                      <a:pt x="42282" y="53340"/>
                    </a:cubicBezTo>
                    <a:cubicBezTo>
                      <a:pt x="45140" y="54292"/>
                      <a:pt x="47045" y="54292"/>
                      <a:pt x="47045" y="56198"/>
                    </a:cubicBezTo>
                    <a:cubicBezTo>
                      <a:pt x="47998" y="58102"/>
                      <a:pt x="46093" y="58102"/>
                      <a:pt x="47045" y="60007"/>
                    </a:cubicBezTo>
                    <a:cubicBezTo>
                      <a:pt x="47998" y="61913"/>
                      <a:pt x="45140" y="62865"/>
                      <a:pt x="47045" y="64770"/>
                    </a:cubicBezTo>
                    <a:cubicBezTo>
                      <a:pt x="48950" y="66675"/>
                      <a:pt x="53713" y="68580"/>
                      <a:pt x="53713" y="68580"/>
                    </a:cubicBezTo>
                    <a:lnTo>
                      <a:pt x="57523" y="68580"/>
                    </a:lnTo>
                    <a:cubicBezTo>
                      <a:pt x="57523" y="68580"/>
                      <a:pt x="58475" y="68580"/>
                      <a:pt x="62285" y="67627"/>
                    </a:cubicBezTo>
                    <a:cubicBezTo>
                      <a:pt x="66095" y="67627"/>
                      <a:pt x="71810" y="65723"/>
                      <a:pt x="71810" y="65723"/>
                    </a:cubicBezTo>
                    <a:lnTo>
                      <a:pt x="74668" y="65723"/>
                    </a:lnTo>
                    <a:lnTo>
                      <a:pt x="75620" y="60007"/>
                    </a:lnTo>
                    <a:lnTo>
                      <a:pt x="76573" y="57150"/>
                    </a:lnTo>
                    <a:lnTo>
                      <a:pt x="81335" y="56198"/>
                    </a:lnTo>
                    <a:cubicBezTo>
                      <a:pt x="81335" y="56198"/>
                      <a:pt x="86098" y="56198"/>
                      <a:pt x="88003" y="56198"/>
                    </a:cubicBezTo>
                    <a:cubicBezTo>
                      <a:pt x="89907" y="57150"/>
                      <a:pt x="94670" y="56198"/>
                      <a:pt x="96575" y="56198"/>
                    </a:cubicBezTo>
                    <a:cubicBezTo>
                      <a:pt x="98480" y="56198"/>
                      <a:pt x="96575" y="56198"/>
                      <a:pt x="98480" y="56198"/>
                    </a:cubicBezTo>
                    <a:cubicBezTo>
                      <a:pt x="100385" y="55245"/>
                      <a:pt x="104195" y="55245"/>
                      <a:pt x="104195" y="55245"/>
                    </a:cubicBezTo>
                    <a:lnTo>
                      <a:pt x="109910" y="53340"/>
                    </a:lnTo>
                    <a:cubicBezTo>
                      <a:pt x="109910" y="53340"/>
                      <a:pt x="111815" y="52388"/>
                      <a:pt x="114673" y="51435"/>
                    </a:cubicBezTo>
                    <a:cubicBezTo>
                      <a:pt x="117530" y="51435"/>
                      <a:pt x="120388" y="44767"/>
                      <a:pt x="120388" y="44767"/>
                    </a:cubicBezTo>
                    <a:lnTo>
                      <a:pt x="121340" y="40957"/>
                    </a:lnTo>
                    <a:lnTo>
                      <a:pt x="116578" y="38100"/>
                    </a:lnTo>
                    <a:cubicBezTo>
                      <a:pt x="116578" y="38100"/>
                      <a:pt x="108957" y="36195"/>
                      <a:pt x="108957" y="35242"/>
                    </a:cubicBezTo>
                    <a:cubicBezTo>
                      <a:pt x="109910" y="34290"/>
                      <a:pt x="108957" y="29527"/>
                      <a:pt x="108957" y="29527"/>
                    </a:cubicBezTo>
                    <a:lnTo>
                      <a:pt x="106100" y="25717"/>
                    </a:lnTo>
                    <a:lnTo>
                      <a:pt x="101338" y="24765"/>
                    </a:lnTo>
                    <a:lnTo>
                      <a:pt x="90860" y="21907"/>
                    </a:lnTo>
                    <a:lnTo>
                      <a:pt x="89907" y="19050"/>
                    </a:lnTo>
                    <a:lnTo>
                      <a:pt x="82288" y="16192"/>
                    </a:lnTo>
                    <a:lnTo>
                      <a:pt x="76573" y="15240"/>
                    </a:lnTo>
                    <a:lnTo>
                      <a:pt x="70857" y="11430"/>
                    </a:lnTo>
                    <a:close/>
                  </a:path>
                </a:pathLst>
              </a:custGeom>
              <a:grpFill/>
              <a:ln w="9525" cap="flat">
                <a:noFill/>
                <a:prstDash val="solid"/>
                <a:miter/>
              </a:ln>
            </p:spPr>
            <p:txBody>
              <a:bodyPr rtlCol="0" anchor="ctr"/>
              <a:lstStyle/>
              <a:p>
                <a:endParaRPr lang="en-US" sz="1765"/>
              </a:p>
            </p:txBody>
          </p:sp>
          <p:sp>
            <p:nvSpPr>
              <p:cNvPr id="284" name="Freeform: Shape 283">
                <a:extLst>
                  <a:ext uri="{FF2B5EF4-FFF2-40B4-BE49-F238E27FC236}">
                    <a16:creationId xmlns:a16="http://schemas.microsoft.com/office/drawing/2014/main" id="{7E594666-50AE-42EF-8C73-DD2FC523499F}"/>
                  </a:ext>
                </a:extLst>
              </p:cNvPr>
              <p:cNvSpPr/>
              <p:nvPr/>
            </p:nvSpPr>
            <p:spPr>
              <a:xfrm>
                <a:off x="7826721" y="3175364"/>
                <a:ext cx="181927" cy="61912"/>
              </a:xfrm>
              <a:custGeom>
                <a:avLst/>
                <a:gdLst>
                  <a:gd name="connsiteX0" fmla="*/ 152400 w 181927"/>
                  <a:gd name="connsiteY0" fmla="*/ 1905 h 61912"/>
                  <a:gd name="connsiteX1" fmla="*/ 140970 w 181927"/>
                  <a:gd name="connsiteY1" fmla="*/ 0 h 61912"/>
                  <a:gd name="connsiteX2" fmla="*/ 135255 w 181927"/>
                  <a:gd name="connsiteY2" fmla="*/ 0 h 61912"/>
                  <a:gd name="connsiteX3" fmla="*/ 126683 w 181927"/>
                  <a:gd name="connsiteY3" fmla="*/ 952 h 61912"/>
                  <a:gd name="connsiteX4" fmla="*/ 117158 w 181927"/>
                  <a:gd name="connsiteY4" fmla="*/ 3810 h 61912"/>
                  <a:gd name="connsiteX5" fmla="*/ 111443 w 181927"/>
                  <a:gd name="connsiteY5" fmla="*/ 4763 h 61912"/>
                  <a:gd name="connsiteX6" fmla="*/ 100965 w 181927"/>
                  <a:gd name="connsiteY6" fmla="*/ 5715 h 61912"/>
                  <a:gd name="connsiteX7" fmla="*/ 92393 w 181927"/>
                  <a:gd name="connsiteY7" fmla="*/ 5715 h 61912"/>
                  <a:gd name="connsiteX8" fmla="*/ 83820 w 181927"/>
                  <a:gd name="connsiteY8" fmla="*/ 6667 h 61912"/>
                  <a:gd name="connsiteX9" fmla="*/ 76200 w 181927"/>
                  <a:gd name="connsiteY9" fmla="*/ 7620 h 61912"/>
                  <a:gd name="connsiteX10" fmla="*/ 61913 w 181927"/>
                  <a:gd name="connsiteY10" fmla="*/ 7620 h 61912"/>
                  <a:gd name="connsiteX11" fmla="*/ 46673 w 181927"/>
                  <a:gd name="connsiteY11" fmla="*/ 5715 h 61912"/>
                  <a:gd name="connsiteX12" fmla="*/ 33338 w 181927"/>
                  <a:gd name="connsiteY12" fmla="*/ 2857 h 61912"/>
                  <a:gd name="connsiteX13" fmla="*/ 24765 w 181927"/>
                  <a:gd name="connsiteY13" fmla="*/ 952 h 61912"/>
                  <a:gd name="connsiteX14" fmla="*/ 14288 w 181927"/>
                  <a:gd name="connsiteY14" fmla="*/ 952 h 61912"/>
                  <a:gd name="connsiteX15" fmla="*/ 8573 w 181927"/>
                  <a:gd name="connsiteY15" fmla="*/ 1905 h 61912"/>
                  <a:gd name="connsiteX16" fmla="*/ 0 w 181927"/>
                  <a:gd name="connsiteY16" fmla="*/ 3810 h 61912"/>
                  <a:gd name="connsiteX17" fmla="*/ 953 w 181927"/>
                  <a:gd name="connsiteY17" fmla="*/ 10477 h 61912"/>
                  <a:gd name="connsiteX18" fmla="*/ 12383 w 181927"/>
                  <a:gd name="connsiteY18" fmla="*/ 12382 h 61912"/>
                  <a:gd name="connsiteX19" fmla="*/ 29528 w 181927"/>
                  <a:gd name="connsiteY19" fmla="*/ 21907 h 61912"/>
                  <a:gd name="connsiteX20" fmla="*/ 30480 w 181927"/>
                  <a:gd name="connsiteY20" fmla="*/ 23813 h 61912"/>
                  <a:gd name="connsiteX21" fmla="*/ 29528 w 181927"/>
                  <a:gd name="connsiteY21" fmla="*/ 29527 h 61912"/>
                  <a:gd name="connsiteX22" fmla="*/ 37148 w 181927"/>
                  <a:gd name="connsiteY22" fmla="*/ 34290 h 61912"/>
                  <a:gd name="connsiteX23" fmla="*/ 38100 w 181927"/>
                  <a:gd name="connsiteY23" fmla="*/ 36195 h 61912"/>
                  <a:gd name="connsiteX24" fmla="*/ 39053 w 181927"/>
                  <a:gd name="connsiteY24" fmla="*/ 41910 h 61912"/>
                  <a:gd name="connsiteX25" fmla="*/ 40005 w 181927"/>
                  <a:gd name="connsiteY25" fmla="*/ 45720 h 61912"/>
                  <a:gd name="connsiteX26" fmla="*/ 49530 w 181927"/>
                  <a:gd name="connsiteY26" fmla="*/ 48577 h 61912"/>
                  <a:gd name="connsiteX27" fmla="*/ 57150 w 181927"/>
                  <a:gd name="connsiteY27" fmla="*/ 49530 h 61912"/>
                  <a:gd name="connsiteX28" fmla="*/ 60960 w 181927"/>
                  <a:gd name="connsiteY28" fmla="*/ 54292 h 61912"/>
                  <a:gd name="connsiteX29" fmla="*/ 66675 w 181927"/>
                  <a:gd name="connsiteY29" fmla="*/ 57150 h 61912"/>
                  <a:gd name="connsiteX30" fmla="*/ 74295 w 181927"/>
                  <a:gd name="connsiteY30" fmla="*/ 60007 h 61912"/>
                  <a:gd name="connsiteX31" fmla="*/ 81915 w 181927"/>
                  <a:gd name="connsiteY31" fmla="*/ 61913 h 61912"/>
                  <a:gd name="connsiteX32" fmla="*/ 93345 w 181927"/>
                  <a:gd name="connsiteY32" fmla="*/ 59055 h 61912"/>
                  <a:gd name="connsiteX33" fmla="*/ 107633 w 181927"/>
                  <a:gd name="connsiteY33" fmla="*/ 59055 h 61912"/>
                  <a:gd name="connsiteX34" fmla="*/ 112395 w 181927"/>
                  <a:gd name="connsiteY34" fmla="*/ 56197 h 61912"/>
                  <a:gd name="connsiteX35" fmla="*/ 115253 w 181927"/>
                  <a:gd name="connsiteY35" fmla="*/ 50482 h 61912"/>
                  <a:gd name="connsiteX36" fmla="*/ 120968 w 181927"/>
                  <a:gd name="connsiteY36" fmla="*/ 47625 h 61912"/>
                  <a:gd name="connsiteX37" fmla="*/ 130493 w 181927"/>
                  <a:gd name="connsiteY37" fmla="*/ 45720 h 61912"/>
                  <a:gd name="connsiteX38" fmla="*/ 138113 w 181927"/>
                  <a:gd name="connsiteY38" fmla="*/ 44767 h 61912"/>
                  <a:gd name="connsiteX39" fmla="*/ 143828 w 181927"/>
                  <a:gd name="connsiteY39" fmla="*/ 40005 h 61912"/>
                  <a:gd name="connsiteX40" fmla="*/ 147638 w 181927"/>
                  <a:gd name="connsiteY40" fmla="*/ 36195 h 61912"/>
                  <a:gd name="connsiteX41" fmla="*/ 159068 w 181927"/>
                  <a:gd name="connsiteY41" fmla="*/ 34290 h 61912"/>
                  <a:gd name="connsiteX42" fmla="*/ 166688 w 181927"/>
                  <a:gd name="connsiteY42" fmla="*/ 35242 h 61912"/>
                  <a:gd name="connsiteX43" fmla="*/ 171450 w 181927"/>
                  <a:gd name="connsiteY43" fmla="*/ 35242 h 61912"/>
                  <a:gd name="connsiteX44" fmla="*/ 179070 w 181927"/>
                  <a:gd name="connsiteY44" fmla="*/ 32385 h 61912"/>
                  <a:gd name="connsiteX45" fmla="*/ 181928 w 181927"/>
                  <a:gd name="connsiteY45" fmla="*/ 23813 h 61912"/>
                  <a:gd name="connsiteX46" fmla="*/ 180975 w 181927"/>
                  <a:gd name="connsiteY46" fmla="*/ 20002 h 61912"/>
                  <a:gd name="connsiteX47" fmla="*/ 173355 w 181927"/>
                  <a:gd name="connsiteY47" fmla="*/ 17145 h 61912"/>
                  <a:gd name="connsiteX48" fmla="*/ 168593 w 181927"/>
                  <a:gd name="connsiteY48" fmla="*/ 15240 h 61912"/>
                  <a:gd name="connsiteX49" fmla="*/ 164783 w 181927"/>
                  <a:gd name="connsiteY49" fmla="*/ 12382 h 61912"/>
                  <a:gd name="connsiteX50" fmla="*/ 161925 w 181927"/>
                  <a:gd name="connsiteY50" fmla="*/ 10477 h 61912"/>
                  <a:gd name="connsiteX51" fmla="*/ 158115 w 181927"/>
                  <a:gd name="connsiteY51" fmla="*/ 10477 h 61912"/>
                  <a:gd name="connsiteX52" fmla="*/ 154305 w 181927"/>
                  <a:gd name="connsiteY52" fmla="*/ 7620 h 61912"/>
                  <a:gd name="connsiteX53" fmla="*/ 152400 w 181927"/>
                  <a:gd name="connsiteY53" fmla="*/ 190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1927" h="61912">
                    <a:moveTo>
                      <a:pt x="152400" y="1905"/>
                    </a:moveTo>
                    <a:lnTo>
                      <a:pt x="140970" y="0"/>
                    </a:lnTo>
                    <a:lnTo>
                      <a:pt x="135255" y="0"/>
                    </a:lnTo>
                    <a:lnTo>
                      <a:pt x="126683" y="952"/>
                    </a:lnTo>
                    <a:lnTo>
                      <a:pt x="117158" y="3810"/>
                    </a:lnTo>
                    <a:lnTo>
                      <a:pt x="111443" y="4763"/>
                    </a:lnTo>
                    <a:lnTo>
                      <a:pt x="100965" y="5715"/>
                    </a:lnTo>
                    <a:lnTo>
                      <a:pt x="92393" y="5715"/>
                    </a:lnTo>
                    <a:lnTo>
                      <a:pt x="83820" y="6667"/>
                    </a:lnTo>
                    <a:cubicBezTo>
                      <a:pt x="83820" y="6667"/>
                      <a:pt x="79058" y="6667"/>
                      <a:pt x="76200" y="7620"/>
                    </a:cubicBezTo>
                    <a:cubicBezTo>
                      <a:pt x="73343" y="8572"/>
                      <a:pt x="61913" y="7620"/>
                      <a:pt x="61913" y="7620"/>
                    </a:cubicBezTo>
                    <a:lnTo>
                      <a:pt x="46673" y="5715"/>
                    </a:lnTo>
                    <a:lnTo>
                      <a:pt x="33338" y="2857"/>
                    </a:lnTo>
                    <a:lnTo>
                      <a:pt x="24765" y="952"/>
                    </a:lnTo>
                    <a:lnTo>
                      <a:pt x="14288" y="952"/>
                    </a:lnTo>
                    <a:lnTo>
                      <a:pt x="8573" y="1905"/>
                    </a:lnTo>
                    <a:lnTo>
                      <a:pt x="0" y="3810"/>
                    </a:lnTo>
                    <a:lnTo>
                      <a:pt x="953" y="10477"/>
                    </a:lnTo>
                    <a:cubicBezTo>
                      <a:pt x="5715" y="12382"/>
                      <a:pt x="10478" y="12382"/>
                      <a:pt x="12383" y="12382"/>
                    </a:cubicBezTo>
                    <a:cubicBezTo>
                      <a:pt x="14288" y="13335"/>
                      <a:pt x="29528" y="21907"/>
                      <a:pt x="29528" y="21907"/>
                    </a:cubicBezTo>
                    <a:cubicBezTo>
                      <a:pt x="29528" y="21907"/>
                      <a:pt x="29528" y="21907"/>
                      <a:pt x="30480" y="23813"/>
                    </a:cubicBezTo>
                    <a:cubicBezTo>
                      <a:pt x="31433" y="25717"/>
                      <a:pt x="28575" y="27622"/>
                      <a:pt x="29528" y="29527"/>
                    </a:cubicBezTo>
                    <a:cubicBezTo>
                      <a:pt x="30480" y="31432"/>
                      <a:pt x="35243" y="32385"/>
                      <a:pt x="37148" y="34290"/>
                    </a:cubicBezTo>
                    <a:cubicBezTo>
                      <a:pt x="38100" y="36195"/>
                      <a:pt x="36195" y="32385"/>
                      <a:pt x="38100" y="36195"/>
                    </a:cubicBezTo>
                    <a:cubicBezTo>
                      <a:pt x="40958" y="40005"/>
                      <a:pt x="39053" y="38100"/>
                      <a:pt x="39053" y="41910"/>
                    </a:cubicBezTo>
                    <a:cubicBezTo>
                      <a:pt x="40005" y="45720"/>
                      <a:pt x="40005" y="45720"/>
                      <a:pt x="40005" y="45720"/>
                    </a:cubicBezTo>
                    <a:lnTo>
                      <a:pt x="49530" y="48577"/>
                    </a:lnTo>
                    <a:cubicBezTo>
                      <a:pt x="49530" y="48577"/>
                      <a:pt x="57150" y="46672"/>
                      <a:pt x="57150" y="49530"/>
                    </a:cubicBezTo>
                    <a:cubicBezTo>
                      <a:pt x="58103" y="51435"/>
                      <a:pt x="59055" y="52388"/>
                      <a:pt x="60960" y="54292"/>
                    </a:cubicBezTo>
                    <a:cubicBezTo>
                      <a:pt x="62865" y="56197"/>
                      <a:pt x="66675" y="57150"/>
                      <a:pt x="66675" y="57150"/>
                    </a:cubicBezTo>
                    <a:lnTo>
                      <a:pt x="74295" y="60007"/>
                    </a:lnTo>
                    <a:lnTo>
                      <a:pt x="81915" y="61913"/>
                    </a:lnTo>
                    <a:cubicBezTo>
                      <a:pt x="81915" y="61913"/>
                      <a:pt x="90488" y="58102"/>
                      <a:pt x="93345" y="59055"/>
                    </a:cubicBezTo>
                    <a:cubicBezTo>
                      <a:pt x="97155" y="60007"/>
                      <a:pt x="107633" y="59055"/>
                      <a:pt x="107633" y="59055"/>
                    </a:cubicBezTo>
                    <a:lnTo>
                      <a:pt x="112395" y="56197"/>
                    </a:lnTo>
                    <a:lnTo>
                      <a:pt x="115253" y="50482"/>
                    </a:lnTo>
                    <a:cubicBezTo>
                      <a:pt x="115253" y="50482"/>
                      <a:pt x="116205" y="48577"/>
                      <a:pt x="120968" y="47625"/>
                    </a:cubicBezTo>
                    <a:cubicBezTo>
                      <a:pt x="125730" y="46672"/>
                      <a:pt x="130493" y="45720"/>
                      <a:pt x="130493" y="45720"/>
                    </a:cubicBezTo>
                    <a:lnTo>
                      <a:pt x="138113" y="44767"/>
                    </a:lnTo>
                    <a:lnTo>
                      <a:pt x="143828" y="40005"/>
                    </a:lnTo>
                    <a:cubicBezTo>
                      <a:pt x="143828" y="40005"/>
                      <a:pt x="143828" y="36195"/>
                      <a:pt x="147638" y="36195"/>
                    </a:cubicBezTo>
                    <a:cubicBezTo>
                      <a:pt x="151448" y="36195"/>
                      <a:pt x="156210" y="33338"/>
                      <a:pt x="159068" y="34290"/>
                    </a:cubicBezTo>
                    <a:cubicBezTo>
                      <a:pt x="161925" y="35242"/>
                      <a:pt x="166688" y="35242"/>
                      <a:pt x="166688" y="35242"/>
                    </a:cubicBezTo>
                    <a:lnTo>
                      <a:pt x="171450" y="35242"/>
                    </a:lnTo>
                    <a:lnTo>
                      <a:pt x="179070" y="32385"/>
                    </a:lnTo>
                    <a:lnTo>
                      <a:pt x="181928" y="23813"/>
                    </a:lnTo>
                    <a:lnTo>
                      <a:pt x="180975" y="20002"/>
                    </a:lnTo>
                    <a:lnTo>
                      <a:pt x="173355" y="17145"/>
                    </a:lnTo>
                    <a:lnTo>
                      <a:pt x="168593" y="15240"/>
                    </a:lnTo>
                    <a:lnTo>
                      <a:pt x="164783" y="12382"/>
                    </a:lnTo>
                    <a:cubicBezTo>
                      <a:pt x="164783" y="12382"/>
                      <a:pt x="165735" y="10477"/>
                      <a:pt x="161925" y="10477"/>
                    </a:cubicBezTo>
                    <a:cubicBezTo>
                      <a:pt x="158115" y="10477"/>
                      <a:pt x="158115" y="10477"/>
                      <a:pt x="158115" y="10477"/>
                    </a:cubicBezTo>
                    <a:lnTo>
                      <a:pt x="154305" y="7620"/>
                    </a:lnTo>
                    <a:lnTo>
                      <a:pt x="152400" y="1905"/>
                    </a:lnTo>
                    <a:close/>
                  </a:path>
                </a:pathLst>
              </a:custGeom>
              <a:grpFill/>
              <a:ln w="9525" cap="flat">
                <a:noFill/>
                <a:prstDash val="solid"/>
                <a:miter/>
              </a:ln>
            </p:spPr>
            <p:txBody>
              <a:bodyPr rtlCol="0" anchor="ctr"/>
              <a:lstStyle/>
              <a:p>
                <a:endParaRPr lang="en-US" sz="1765"/>
              </a:p>
            </p:txBody>
          </p:sp>
          <p:sp>
            <p:nvSpPr>
              <p:cNvPr id="285" name="Freeform: Shape 284">
                <a:extLst>
                  <a:ext uri="{FF2B5EF4-FFF2-40B4-BE49-F238E27FC236}">
                    <a16:creationId xmlns:a16="http://schemas.microsoft.com/office/drawing/2014/main" id="{2FF21767-EE48-4CA3-B66A-9765C2A4C81E}"/>
                  </a:ext>
                </a:extLst>
              </p:cNvPr>
              <p:cNvSpPr/>
              <p:nvPr/>
            </p:nvSpPr>
            <p:spPr>
              <a:xfrm>
                <a:off x="6775161" y="3774486"/>
                <a:ext cx="164782" cy="41909"/>
              </a:xfrm>
              <a:custGeom>
                <a:avLst/>
                <a:gdLst>
                  <a:gd name="connsiteX0" fmla="*/ 160973 w 164782"/>
                  <a:gd name="connsiteY0" fmla="*/ 40005 h 41909"/>
                  <a:gd name="connsiteX1" fmla="*/ 155258 w 164782"/>
                  <a:gd name="connsiteY1" fmla="*/ 40005 h 41909"/>
                  <a:gd name="connsiteX2" fmla="*/ 142875 w 164782"/>
                  <a:gd name="connsiteY2" fmla="*/ 41910 h 41909"/>
                  <a:gd name="connsiteX3" fmla="*/ 134303 w 164782"/>
                  <a:gd name="connsiteY3" fmla="*/ 40957 h 41909"/>
                  <a:gd name="connsiteX4" fmla="*/ 128588 w 164782"/>
                  <a:gd name="connsiteY4" fmla="*/ 38100 h 41909"/>
                  <a:gd name="connsiteX5" fmla="*/ 122873 w 164782"/>
                  <a:gd name="connsiteY5" fmla="*/ 35242 h 41909"/>
                  <a:gd name="connsiteX6" fmla="*/ 120015 w 164782"/>
                  <a:gd name="connsiteY6" fmla="*/ 32385 h 41909"/>
                  <a:gd name="connsiteX7" fmla="*/ 116205 w 164782"/>
                  <a:gd name="connsiteY7" fmla="*/ 30480 h 41909"/>
                  <a:gd name="connsiteX8" fmla="*/ 108585 w 164782"/>
                  <a:gd name="connsiteY8" fmla="*/ 28575 h 41909"/>
                  <a:gd name="connsiteX9" fmla="*/ 103823 w 164782"/>
                  <a:gd name="connsiteY9" fmla="*/ 27622 h 41909"/>
                  <a:gd name="connsiteX10" fmla="*/ 99060 w 164782"/>
                  <a:gd name="connsiteY10" fmla="*/ 25717 h 41909"/>
                  <a:gd name="connsiteX11" fmla="*/ 89535 w 164782"/>
                  <a:gd name="connsiteY11" fmla="*/ 23813 h 41909"/>
                  <a:gd name="connsiteX12" fmla="*/ 82868 w 164782"/>
                  <a:gd name="connsiteY12" fmla="*/ 22860 h 41909"/>
                  <a:gd name="connsiteX13" fmla="*/ 73343 w 164782"/>
                  <a:gd name="connsiteY13" fmla="*/ 19050 h 41909"/>
                  <a:gd name="connsiteX14" fmla="*/ 61913 w 164782"/>
                  <a:gd name="connsiteY14" fmla="*/ 16192 h 41909"/>
                  <a:gd name="connsiteX15" fmla="*/ 57150 w 164782"/>
                  <a:gd name="connsiteY15" fmla="*/ 15240 h 41909"/>
                  <a:gd name="connsiteX16" fmla="*/ 53340 w 164782"/>
                  <a:gd name="connsiteY16" fmla="*/ 15240 h 41909"/>
                  <a:gd name="connsiteX17" fmla="*/ 45720 w 164782"/>
                  <a:gd name="connsiteY17" fmla="*/ 15240 h 41909"/>
                  <a:gd name="connsiteX18" fmla="*/ 37148 w 164782"/>
                  <a:gd name="connsiteY18" fmla="*/ 16192 h 41909"/>
                  <a:gd name="connsiteX19" fmla="*/ 30480 w 164782"/>
                  <a:gd name="connsiteY19" fmla="*/ 16192 h 41909"/>
                  <a:gd name="connsiteX20" fmla="*/ 20003 w 164782"/>
                  <a:gd name="connsiteY20" fmla="*/ 16192 h 41909"/>
                  <a:gd name="connsiteX21" fmla="*/ 13335 w 164782"/>
                  <a:gd name="connsiteY21" fmla="*/ 15240 h 41909"/>
                  <a:gd name="connsiteX22" fmla="*/ 4763 w 164782"/>
                  <a:gd name="connsiteY22" fmla="*/ 14288 h 41909"/>
                  <a:gd name="connsiteX23" fmla="*/ 0 w 164782"/>
                  <a:gd name="connsiteY23" fmla="*/ 8572 h 41909"/>
                  <a:gd name="connsiteX24" fmla="*/ 0 w 164782"/>
                  <a:gd name="connsiteY24" fmla="*/ 4763 h 41909"/>
                  <a:gd name="connsiteX25" fmla="*/ 3810 w 164782"/>
                  <a:gd name="connsiteY25" fmla="*/ 3810 h 41909"/>
                  <a:gd name="connsiteX26" fmla="*/ 8573 w 164782"/>
                  <a:gd name="connsiteY26" fmla="*/ 3810 h 41909"/>
                  <a:gd name="connsiteX27" fmla="*/ 16193 w 164782"/>
                  <a:gd name="connsiteY27" fmla="*/ 952 h 41909"/>
                  <a:gd name="connsiteX28" fmla="*/ 20955 w 164782"/>
                  <a:gd name="connsiteY28" fmla="*/ 0 h 41909"/>
                  <a:gd name="connsiteX29" fmla="*/ 22860 w 164782"/>
                  <a:gd name="connsiteY29" fmla="*/ 0 h 41909"/>
                  <a:gd name="connsiteX30" fmla="*/ 32385 w 164782"/>
                  <a:gd name="connsiteY30" fmla="*/ 952 h 41909"/>
                  <a:gd name="connsiteX31" fmla="*/ 40958 w 164782"/>
                  <a:gd name="connsiteY31" fmla="*/ 1905 h 41909"/>
                  <a:gd name="connsiteX32" fmla="*/ 52388 w 164782"/>
                  <a:gd name="connsiteY32" fmla="*/ 952 h 41909"/>
                  <a:gd name="connsiteX33" fmla="*/ 59055 w 164782"/>
                  <a:gd name="connsiteY33" fmla="*/ 952 h 41909"/>
                  <a:gd name="connsiteX34" fmla="*/ 70485 w 164782"/>
                  <a:gd name="connsiteY34" fmla="*/ 1905 h 41909"/>
                  <a:gd name="connsiteX35" fmla="*/ 81915 w 164782"/>
                  <a:gd name="connsiteY35" fmla="*/ 2857 h 41909"/>
                  <a:gd name="connsiteX36" fmla="*/ 89535 w 164782"/>
                  <a:gd name="connsiteY36" fmla="*/ 5715 h 41909"/>
                  <a:gd name="connsiteX37" fmla="*/ 97155 w 164782"/>
                  <a:gd name="connsiteY37" fmla="*/ 7620 h 41909"/>
                  <a:gd name="connsiteX38" fmla="*/ 104775 w 164782"/>
                  <a:gd name="connsiteY38" fmla="*/ 7620 h 41909"/>
                  <a:gd name="connsiteX39" fmla="*/ 113348 w 164782"/>
                  <a:gd name="connsiteY39" fmla="*/ 9525 h 41909"/>
                  <a:gd name="connsiteX40" fmla="*/ 118110 w 164782"/>
                  <a:gd name="connsiteY40" fmla="*/ 13335 h 41909"/>
                  <a:gd name="connsiteX41" fmla="*/ 123825 w 164782"/>
                  <a:gd name="connsiteY41" fmla="*/ 16192 h 41909"/>
                  <a:gd name="connsiteX42" fmla="*/ 130493 w 164782"/>
                  <a:gd name="connsiteY42" fmla="*/ 20002 h 41909"/>
                  <a:gd name="connsiteX43" fmla="*/ 139065 w 164782"/>
                  <a:gd name="connsiteY43" fmla="*/ 21907 h 41909"/>
                  <a:gd name="connsiteX44" fmla="*/ 151448 w 164782"/>
                  <a:gd name="connsiteY44" fmla="*/ 22860 h 41909"/>
                  <a:gd name="connsiteX45" fmla="*/ 160020 w 164782"/>
                  <a:gd name="connsiteY45" fmla="*/ 23813 h 41909"/>
                  <a:gd name="connsiteX46" fmla="*/ 164783 w 164782"/>
                  <a:gd name="connsiteY46" fmla="*/ 27622 h 41909"/>
                  <a:gd name="connsiteX47" fmla="*/ 161925 w 164782"/>
                  <a:gd name="connsiteY47" fmla="*/ 33338 h 41909"/>
                  <a:gd name="connsiteX48" fmla="*/ 160973 w 164782"/>
                  <a:gd name="connsiteY48" fmla="*/ 40005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782" h="41909">
                    <a:moveTo>
                      <a:pt x="160973" y="40005"/>
                    </a:moveTo>
                    <a:cubicBezTo>
                      <a:pt x="160973" y="40005"/>
                      <a:pt x="158115" y="38100"/>
                      <a:pt x="155258" y="40005"/>
                    </a:cubicBezTo>
                    <a:cubicBezTo>
                      <a:pt x="152400" y="40957"/>
                      <a:pt x="142875" y="41910"/>
                      <a:pt x="142875" y="41910"/>
                    </a:cubicBezTo>
                    <a:lnTo>
                      <a:pt x="134303" y="40957"/>
                    </a:lnTo>
                    <a:lnTo>
                      <a:pt x="128588" y="38100"/>
                    </a:lnTo>
                    <a:lnTo>
                      <a:pt x="122873" y="35242"/>
                    </a:lnTo>
                    <a:lnTo>
                      <a:pt x="120015" y="32385"/>
                    </a:lnTo>
                    <a:lnTo>
                      <a:pt x="116205" y="30480"/>
                    </a:lnTo>
                    <a:lnTo>
                      <a:pt x="108585" y="28575"/>
                    </a:lnTo>
                    <a:lnTo>
                      <a:pt x="103823" y="27622"/>
                    </a:lnTo>
                    <a:lnTo>
                      <a:pt x="99060" y="25717"/>
                    </a:lnTo>
                    <a:lnTo>
                      <a:pt x="89535" y="23813"/>
                    </a:lnTo>
                    <a:lnTo>
                      <a:pt x="82868" y="22860"/>
                    </a:lnTo>
                    <a:lnTo>
                      <a:pt x="73343" y="19050"/>
                    </a:lnTo>
                    <a:lnTo>
                      <a:pt x="61913" y="16192"/>
                    </a:lnTo>
                    <a:lnTo>
                      <a:pt x="57150" y="15240"/>
                    </a:lnTo>
                    <a:lnTo>
                      <a:pt x="53340" y="15240"/>
                    </a:lnTo>
                    <a:cubicBezTo>
                      <a:pt x="53340" y="15240"/>
                      <a:pt x="47625" y="14288"/>
                      <a:pt x="45720" y="15240"/>
                    </a:cubicBezTo>
                    <a:cubicBezTo>
                      <a:pt x="43815" y="16192"/>
                      <a:pt x="37148" y="16192"/>
                      <a:pt x="37148" y="16192"/>
                    </a:cubicBezTo>
                    <a:cubicBezTo>
                      <a:pt x="37148" y="16192"/>
                      <a:pt x="37148" y="15240"/>
                      <a:pt x="30480" y="16192"/>
                    </a:cubicBezTo>
                    <a:cubicBezTo>
                      <a:pt x="23813" y="17145"/>
                      <a:pt x="20003" y="16192"/>
                      <a:pt x="20003" y="16192"/>
                    </a:cubicBezTo>
                    <a:lnTo>
                      <a:pt x="13335" y="15240"/>
                    </a:lnTo>
                    <a:lnTo>
                      <a:pt x="4763" y="14288"/>
                    </a:lnTo>
                    <a:lnTo>
                      <a:pt x="0" y="8572"/>
                    </a:lnTo>
                    <a:lnTo>
                      <a:pt x="0" y="4763"/>
                    </a:lnTo>
                    <a:cubicBezTo>
                      <a:pt x="3810" y="3810"/>
                      <a:pt x="-952" y="3810"/>
                      <a:pt x="3810" y="3810"/>
                    </a:cubicBezTo>
                    <a:cubicBezTo>
                      <a:pt x="8573" y="3810"/>
                      <a:pt x="8573" y="3810"/>
                      <a:pt x="8573" y="3810"/>
                    </a:cubicBezTo>
                    <a:lnTo>
                      <a:pt x="16193" y="952"/>
                    </a:lnTo>
                    <a:cubicBezTo>
                      <a:pt x="16193" y="952"/>
                      <a:pt x="18098" y="0"/>
                      <a:pt x="20955" y="0"/>
                    </a:cubicBezTo>
                    <a:cubicBezTo>
                      <a:pt x="22860" y="0"/>
                      <a:pt x="19050" y="0"/>
                      <a:pt x="22860" y="0"/>
                    </a:cubicBezTo>
                    <a:cubicBezTo>
                      <a:pt x="26670" y="0"/>
                      <a:pt x="32385" y="952"/>
                      <a:pt x="32385" y="952"/>
                    </a:cubicBezTo>
                    <a:cubicBezTo>
                      <a:pt x="32385" y="952"/>
                      <a:pt x="38100" y="1905"/>
                      <a:pt x="40958" y="1905"/>
                    </a:cubicBezTo>
                    <a:cubicBezTo>
                      <a:pt x="43815" y="1905"/>
                      <a:pt x="52388" y="952"/>
                      <a:pt x="52388" y="952"/>
                    </a:cubicBezTo>
                    <a:lnTo>
                      <a:pt x="59055" y="952"/>
                    </a:lnTo>
                    <a:lnTo>
                      <a:pt x="70485" y="1905"/>
                    </a:lnTo>
                    <a:cubicBezTo>
                      <a:pt x="70485" y="1905"/>
                      <a:pt x="80010" y="2857"/>
                      <a:pt x="81915" y="2857"/>
                    </a:cubicBezTo>
                    <a:cubicBezTo>
                      <a:pt x="83820" y="3810"/>
                      <a:pt x="89535" y="5715"/>
                      <a:pt x="89535" y="5715"/>
                    </a:cubicBezTo>
                    <a:lnTo>
                      <a:pt x="97155" y="7620"/>
                    </a:lnTo>
                    <a:cubicBezTo>
                      <a:pt x="97155" y="7620"/>
                      <a:pt x="102870" y="7620"/>
                      <a:pt x="104775" y="7620"/>
                    </a:cubicBezTo>
                    <a:cubicBezTo>
                      <a:pt x="106680" y="7620"/>
                      <a:pt x="113348" y="9525"/>
                      <a:pt x="113348" y="9525"/>
                    </a:cubicBezTo>
                    <a:cubicBezTo>
                      <a:pt x="113348" y="9525"/>
                      <a:pt x="116205" y="12382"/>
                      <a:pt x="118110" y="13335"/>
                    </a:cubicBezTo>
                    <a:cubicBezTo>
                      <a:pt x="120015" y="15240"/>
                      <a:pt x="122873" y="14288"/>
                      <a:pt x="123825" y="16192"/>
                    </a:cubicBezTo>
                    <a:cubicBezTo>
                      <a:pt x="124778" y="18097"/>
                      <a:pt x="130493" y="20002"/>
                      <a:pt x="130493" y="20002"/>
                    </a:cubicBezTo>
                    <a:lnTo>
                      <a:pt x="139065" y="21907"/>
                    </a:lnTo>
                    <a:cubicBezTo>
                      <a:pt x="139065" y="21907"/>
                      <a:pt x="149543" y="22860"/>
                      <a:pt x="151448" y="22860"/>
                    </a:cubicBezTo>
                    <a:cubicBezTo>
                      <a:pt x="153353" y="22860"/>
                      <a:pt x="158115" y="23813"/>
                      <a:pt x="160020" y="23813"/>
                    </a:cubicBezTo>
                    <a:cubicBezTo>
                      <a:pt x="161925" y="23813"/>
                      <a:pt x="164783" y="27622"/>
                      <a:pt x="164783" y="27622"/>
                    </a:cubicBezTo>
                    <a:cubicBezTo>
                      <a:pt x="163830" y="30480"/>
                      <a:pt x="161925" y="33338"/>
                      <a:pt x="161925" y="33338"/>
                    </a:cubicBezTo>
                    <a:lnTo>
                      <a:pt x="160973" y="40005"/>
                    </a:lnTo>
                    <a:close/>
                  </a:path>
                </a:pathLst>
              </a:custGeom>
              <a:grpFill/>
              <a:ln w="9525" cap="flat">
                <a:noFill/>
                <a:prstDash val="solid"/>
                <a:miter/>
              </a:ln>
            </p:spPr>
            <p:txBody>
              <a:bodyPr rtlCol="0" anchor="ctr"/>
              <a:lstStyle/>
              <a:p>
                <a:endParaRPr lang="en-US" sz="1765"/>
              </a:p>
            </p:txBody>
          </p:sp>
          <p:sp>
            <p:nvSpPr>
              <p:cNvPr id="286" name="Freeform: Shape 285">
                <a:extLst>
                  <a:ext uri="{FF2B5EF4-FFF2-40B4-BE49-F238E27FC236}">
                    <a16:creationId xmlns:a16="http://schemas.microsoft.com/office/drawing/2014/main" id="{D5DAED3D-8E8D-46A2-87CE-F47B9FBA2917}"/>
                  </a:ext>
                </a:extLst>
              </p:cNvPr>
              <p:cNvSpPr/>
              <p:nvPr/>
            </p:nvSpPr>
            <p:spPr>
              <a:xfrm>
                <a:off x="6870411" y="3828779"/>
                <a:ext cx="50482" cy="15239"/>
              </a:xfrm>
              <a:custGeom>
                <a:avLst/>
                <a:gdLst>
                  <a:gd name="connsiteX0" fmla="*/ 40958 w 50482"/>
                  <a:gd name="connsiteY0" fmla="*/ 13335 h 15239"/>
                  <a:gd name="connsiteX1" fmla="*/ 32385 w 50482"/>
                  <a:gd name="connsiteY1" fmla="*/ 13335 h 15239"/>
                  <a:gd name="connsiteX2" fmla="*/ 26670 w 50482"/>
                  <a:gd name="connsiteY2" fmla="*/ 13335 h 15239"/>
                  <a:gd name="connsiteX3" fmla="*/ 20003 w 50482"/>
                  <a:gd name="connsiteY3" fmla="*/ 13335 h 15239"/>
                  <a:gd name="connsiteX4" fmla="*/ 15240 w 50482"/>
                  <a:gd name="connsiteY4" fmla="*/ 12383 h 15239"/>
                  <a:gd name="connsiteX5" fmla="*/ 12383 w 50482"/>
                  <a:gd name="connsiteY5" fmla="*/ 12383 h 15239"/>
                  <a:gd name="connsiteX6" fmla="*/ 7620 w 50482"/>
                  <a:gd name="connsiteY6" fmla="*/ 11430 h 15239"/>
                  <a:gd name="connsiteX7" fmla="*/ 4763 w 50482"/>
                  <a:gd name="connsiteY7" fmla="*/ 10477 h 15239"/>
                  <a:gd name="connsiteX8" fmla="*/ 953 w 50482"/>
                  <a:gd name="connsiteY8" fmla="*/ 7620 h 15239"/>
                  <a:gd name="connsiteX9" fmla="*/ 0 w 50482"/>
                  <a:gd name="connsiteY9" fmla="*/ 4763 h 15239"/>
                  <a:gd name="connsiteX10" fmla="*/ 1905 w 50482"/>
                  <a:gd name="connsiteY10" fmla="*/ 3810 h 15239"/>
                  <a:gd name="connsiteX11" fmla="*/ 6668 w 50482"/>
                  <a:gd name="connsiteY11" fmla="*/ 0 h 15239"/>
                  <a:gd name="connsiteX12" fmla="*/ 8573 w 50482"/>
                  <a:gd name="connsiteY12" fmla="*/ 0 h 15239"/>
                  <a:gd name="connsiteX13" fmla="*/ 14288 w 50482"/>
                  <a:gd name="connsiteY13" fmla="*/ 0 h 15239"/>
                  <a:gd name="connsiteX14" fmla="*/ 21908 w 50482"/>
                  <a:gd name="connsiteY14" fmla="*/ 0 h 15239"/>
                  <a:gd name="connsiteX15" fmla="*/ 26670 w 50482"/>
                  <a:gd name="connsiteY15" fmla="*/ 0 h 15239"/>
                  <a:gd name="connsiteX16" fmla="*/ 29528 w 50482"/>
                  <a:gd name="connsiteY16" fmla="*/ 0 h 15239"/>
                  <a:gd name="connsiteX17" fmla="*/ 33338 w 50482"/>
                  <a:gd name="connsiteY17" fmla="*/ 952 h 15239"/>
                  <a:gd name="connsiteX18" fmla="*/ 40005 w 50482"/>
                  <a:gd name="connsiteY18" fmla="*/ 1905 h 15239"/>
                  <a:gd name="connsiteX19" fmla="*/ 45720 w 50482"/>
                  <a:gd name="connsiteY19" fmla="*/ 3810 h 15239"/>
                  <a:gd name="connsiteX20" fmla="*/ 48578 w 50482"/>
                  <a:gd name="connsiteY20" fmla="*/ 6667 h 15239"/>
                  <a:gd name="connsiteX21" fmla="*/ 50483 w 50482"/>
                  <a:gd name="connsiteY21" fmla="*/ 10477 h 15239"/>
                  <a:gd name="connsiteX22" fmla="*/ 50483 w 50482"/>
                  <a:gd name="connsiteY22" fmla="*/ 12383 h 15239"/>
                  <a:gd name="connsiteX23" fmla="*/ 46673 w 50482"/>
                  <a:gd name="connsiteY23" fmla="*/ 15240 h 15239"/>
                  <a:gd name="connsiteX24" fmla="*/ 40958 w 50482"/>
                  <a:gd name="connsiteY24"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82" h="15239">
                    <a:moveTo>
                      <a:pt x="40958" y="13335"/>
                    </a:moveTo>
                    <a:lnTo>
                      <a:pt x="32385" y="13335"/>
                    </a:lnTo>
                    <a:lnTo>
                      <a:pt x="26670" y="13335"/>
                    </a:lnTo>
                    <a:lnTo>
                      <a:pt x="20003" y="13335"/>
                    </a:lnTo>
                    <a:lnTo>
                      <a:pt x="15240" y="12383"/>
                    </a:lnTo>
                    <a:cubicBezTo>
                      <a:pt x="15240" y="12383"/>
                      <a:pt x="13335" y="12383"/>
                      <a:pt x="12383" y="12383"/>
                    </a:cubicBezTo>
                    <a:cubicBezTo>
                      <a:pt x="10478" y="12383"/>
                      <a:pt x="7620" y="11430"/>
                      <a:pt x="7620" y="11430"/>
                    </a:cubicBezTo>
                    <a:lnTo>
                      <a:pt x="4763" y="10477"/>
                    </a:lnTo>
                    <a:lnTo>
                      <a:pt x="953" y="7620"/>
                    </a:lnTo>
                    <a:lnTo>
                      <a:pt x="0" y="4763"/>
                    </a:lnTo>
                    <a:lnTo>
                      <a:pt x="1905" y="3810"/>
                    </a:lnTo>
                    <a:cubicBezTo>
                      <a:pt x="4763" y="1905"/>
                      <a:pt x="4763" y="0"/>
                      <a:pt x="6668" y="0"/>
                    </a:cubicBezTo>
                    <a:cubicBezTo>
                      <a:pt x="8573" y="0"/>
                      <a:pt x="5715" y="0"/>
                      <a:pt x="8573" y="0"/>
                    </a:cubicBezTo>
                    <a:cubicBezTo>
                      <a:pt x="11430" y="0"/>
                      <a:pt x="14288" y="0"/>
                      <a:pt x="14288" y="0"/>
                    </a:cubicBezTo>
                    <a:cubicBezTo>
                      <a:pt x="14288" y="0"/>
                      <a:pt x="20003" y="0"/>
                      <a:pt x="21908" y="0"/>
                    </a:cubicBezTo>
                    <a:cubicBezTo>
                      <a:pt x="23813" y="0"/>
                      <a:pt x="26670" y="0"/>
                      <a:pt x="26670" y="0"/>
                    </a:cubicBezTo>
                    <a:lnTo>
                      <a:pt x="29528" y="0"/>
                    </a:lnTo>
                    <a:lnTo>
                      <a:pt x="33338" y="952"/>
                    </a:lnTo>
                    <a:cubicBezTo>
                      <a:pt x="33338" y="952"/>
                      <a:pt x="34290" y="0"/>
                      <a:pt x="40005" y="1905"/>
                    </a:cubicBezTo>
                    <a:cubicBezTo>
                      <a:pt x="45720" y="3810"/>
                      <a:pt x="45720" y="3810"/>
                      <a:pt x="45720" y="3810"/>
                    </a:cubicBezTo>
                    <a:cubicBezTo>
                      <a:pt x="45720" y="3810"/>
                      <a:pt x="47625" y="4763"/>
                      <a:pt x="48578" y="6667"/>
                    </a:cubicBezTo>
                    <a:cubicBezTo>
                      <a:pt x="49530" y="8573"/>
                      <a:pt x="50483" y="8573"/>
                      <a:pt x="50483" y="10477"/>
                    </a:cubicBezTo>
                    <a:cubicBezTo>
                      <a:pt x="50483" y="12383"/>
                      <a:pt x="50483" y="10477"/>
                      <a:pt x="50483" y="12383"/>
                    </a:cubicBezTo>
                    <a:cubicBezTo>
                      <a:pt x="50483" y="14288"/>
                      <a:pt x="46673" y="15240"/>
                      <a:pt x="46673" y="15240"/>
                    </a:cubicBezTo>
                    <a:lnTo>
                      <a:pt x="40958" y="13335"/>
                    </a:lnTo>
                    <a:close/>
                  </a:path>
                </a:pathLst>
              </a:custGeom>
              <a:grpFill/>
              <a:ln w="9525" cap="flat">
                <a:noFill/>
                <a:prstDash val="solid"/>
                <a:miter/>
              </a:ln>
            </p:spPr>
            <p:txBody>
              <a:bodyPr rtlCol="0" anchor="ctr"/>
              <a:lstStyle/>
              <a:p>
                <a:endParaRPr lang="en-US" sz="1765"/>
              </a:p>
            </p:txBody>
          </p:sp>
          <p:sp>
            <p:nvSpPr>
              <p:cNvPr id="287" name="Freeform: Shape 286">
                <a:extLst>
                  <a:ext uri="{FF2B5EF4-FFF2-40B4-BE49-F238E27FC236}">
                    <a16:creationId xmlns:a16="http://schemas.microsoft.com/office/drawing/2014/main" id="{A58F75C5-D501-4400-AB47-94A75FC3C926}"/>
                  </a:ext>
                </a:extLst>
              </p:cNvPr>
              <p:cNvSpPr/>
              <p:nvPr/>
            </p:nvSpPr>
            <p:spPr>
              <a:xfrm>
                <a:off x="6929466" y="3811210"/>
                <a:ext cx="125729" cy="30056"/>
              </a:xfrm>
              <a:custGeom>
                <a:avLst/>
                <a:gdLst>
                  <a:gd name="connsiteX0" fmla="*/ 12382 w 125729"/>
                  <a:gd name="connsiteY0" fmla="*/ 17568 h 30056"/>
                  <a:gd name="connsiteX1" fmla="*/ 4763 w 125729"/>
                  <a:gd name="connsiteY1" fmla="*/ 17568 h 30056"/>
                  <a:gd name="connsiteX2" fmla="*/ 0 w 125729"/>
                  <a:gd name="connsiteY2" fmla="*/ 18521 h 30056"/>
                  <a:gd name="connsiteX3" fmla="*/ 952 w 125729"/>
                  <a:gd name="connsiteY3" fmla="*/ 21378 h 30056"/>
                  <a:gd name="connsiteX4" fmla="*/ 1905 w 125729"/>
                  <a:gd name="connsiteY4" fmla="*/ 22331 h 30056"/>
                  <a:gd name="connsiteX5" fmla="*/ 4763 w 125729"/>
                  <a:gd name="connsiteY5" fmla="*/ 25188 h 30056"/>
                  <a:gd name="connsiteX6" fmla="*/ 5715 w 125729"/>
                  <a:gd name="connsiteY6" fmla="*/ 27093 h 30056"/>
                  <a:gd name="connsiteX7" fmla="*/ 18097 w 125729"/>
                  <a:gd name="connsiteY7" fmla="*/ 29951 h 30056"/>
                  <a:gd name="connsiteX8" fmla="*/ 23813 w 125729"/>
                  <a:gd name="connsiteY8" fmla="*/ 29951 h 30056"/>
                  <a:gd name="connsiteX9" fmla="*/ 28575 w 125729"/>
                  <a:gd name="connsiteY9" fmla="*/ 28046 h 30056"/>
                  <a:gd name="connsiteX10" fmla="*/ 33338 w 125729"/>
                  <a:gd name="connsiteY10" fmla="*/ 28046 h 30056"/>
                  <a:gd name="connsiteX11" fmla="*/ 39052 w 125729"/>
                  <a:gd name="connsiteY11" fmla="*/ 28998 h 30056"/>
                  <a:gd name="connsiteX12" fmla="*/ 51435 w 125729"/>
                  <a:gd name="connsiteY12" fmla="*/ 28998 h 30056"/>
                  <a:gd name="connsiteX13" fmla="*/ 57150 w 125729"/>
                  <a:gd name="connsiteY13" fmla="*/ 28998 h 30056"/>
                  <a:gd name="connsiteX14" fmla="*/ 64770 w 125729"/>
                  <a:gd name="connsiteY14" fmla="*/ 28998 h 30056"/>
                  <a:gd name="connsiteX15" fmla="*/ 78105 w 125729"/>
                  <a:gd name="connsiteY15" fmla="*/ 28046 h 30056"/>
                  <a:gd name="connsiteX16" fmla="*/ 87630 w 125729"/>
                  <a:gd name="connsiteY16" fmla="*/ 28998 h 30056"/>
                  <a:gd name="connsiteX17" fmla="*/ 95250 w 125729"/>
                  <a:gd name="connsiteY17" fmla="*/ 29951 h 30056"/>
                  <a:gd name="connsiteX18" fmla="*/ 100013 w 125729"/>
                  <a:gd name="connsiteY18" fmla="*/ 29951 h 30056"/>
                  <a:gd name="connsiteX19" fmla="*/ 107632 w 125729"/>
                  <a:gd name="connsiteY19" fmla="*/ 29951 h 30056"/>
                  <a:gd name="connsiteX20" fmla="*/ 116205 w 125729"/>
                  <a:gd name="connsiteY20" fmla="*/ 28998 h 30056"/>
                  <a:gd name="connsiteX21" fmla="*/ 121920 w 125729"/>
                  <a:gd name="connsiteY21" fmla="*/ 28046 h 30056"/>
                  <a:gd name="connsiteX22" fmla="*/ 124777 w 125729"/>
                  <a:gd name="connsiteY22" fmla="*/ 26141 h 30056"/>
                  <a:gd name="connsiteX23" fmla="*/ 125730 w 125729"/>
                  <a:gd name="connsiteY23" fmla="*/ 23283 h 30056"/>
                  <a:gd name="connsiteX24" fmla="*/ 122872 w 125729"/>
                  <a:gd name="connsiteY24" fmla="*/ 20426 h 30056"/>
                  <a:gd name="connsiteX25" fmla="*/ 116205 w 125729"/>
                  <a:gd name="connsiteY25" fmla="*/ 17568 h 30056"/>
                  <a:gd name="connsiteX26" fmla="*/ 111442 w 125729"/>
                  <a:gd name="connsiteY26" fmla="*/ 13758 h 30056"/>
                  <a:gd name="connsiteX27" fmla="*/ 110490 w 125729"/>
                  <a:gd name="connsiteY27" fmla="*/ 12806 h 30056"/>
                  <a:gd name="connsiteX28" fmla="*/ 102870 w 125729"/>
                  <a:gd name="connsiteY28" fmla="*/ 10901 h 30056"/>
                  <a:gd name="connsiteX29" fmla="*/ 98107 w 125729"/>
                  <a:gd name="connsiteY29" fmla="*/ 9948 h 30056"/>
                  <a:gd name="connsiteX30" fmla="*/ 91440 w 125729"/>
                  <a:gd name="connsiteY30" fmla="*/ 7091 h 30056"/>
                  <a:gd name="connsiteX31" fmla="*/ 86677 w 125729"/>
                  <a:gd name="connsiteY31" fmla="*/ 5186 h 30056"/>
                  <a:gd name="connsiteX32" fmla="*/ 76200 w 125729"/>
                  <a:gd name="connsiteY32" fmla="*/ 2328 h 30056"/>
                  <a:gd name="connsiteX33" fmla="*/ 63817 w 125729"/>
                  <a:gd name="connsiteY33" fmla="*/ 423 h 30056"/>
                  <a:gd name="connsiteX34" fmla="*/ 57150 w 125729"/>
                  <a:gd name="connsiteY34" fmla="*/ 423 h 30056"/>
                  <a:gd name="connsiteX35" fmla="*/ 48577 w 125729"/>
                  <a:gd name="connsiteY35" fmla="*/ 1376 h 30056"/>
                  <a:gd name="connsiteX36" fmla="*/ 42863 w 125729"/>
                  <a:gd name="connsiteY36" fmla="*/ 2328 h 30056"/>
                  <a:gd name="connsiteX37" fmla="*/ 35242 w 125729"/>
                  <a:gd name="connsiteY37" fmla="*/ 6138 h 30056"/>
                  <a:gd name="connsiteX38" fmla="*/ 31432 w 125729"/>
                  <a:gd name="connsiteY38" fmla="*/ 9948 h 30056"/>
                  <a:gd name="connsiteX39" fmla="*/ 27622 w 125729"/>
                  <a:gd name="connsiteY39" fmla="*/ 11853 h 30056"/>
                  <a:gd name="connsiteX40" fmla="*/ 23813 w 125729"/>
                  <a:gd name="connsiteY40" fmla="*/ 12806 h 30056"/>
                  <a:gd name="connsiteX41" fmla="*/ 20002 w 125729"/>
                  <a:gd name="connsiteY41" fmla="*/ 13758 h 30056"/>
                  <a:gd name="connsiteX42" fmla="*/ 12382 w 125729"/>
                  <a:gd name="connsiteY42" fmla="*/ 17568 h 3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729" h="30056">
                    <a:moveTo>
                      <a:pt x="12382" y="17568"/>
                    </a:moveTo>
                    <a:cubicBezTo>
                      <a:pt x="10477" y="17568"/>
                      <a:pt x="4763" y="17568"/>
                      <a:pt x="4763" y="17568"/>
                    </a:cubicBezTo>
                    <a:lnTo>
                      <a:pt x="0" y="18521"/>
                    </a:lnTo>
                    <a:cubicBezTo>
                      <a:pt x="0" y="18521"/>
                      <a:pt x="952" y="20426"/>
                      <a:pt x="952" y="21378"/>
                    </a:cubicBezTo>
                    <a:cubicBezTo>
                      <a:pt x="1905" y="22331"/>
                      <a:pt x="1905" y="22331"/>
                      <a:pt x="1905" y="22331"/>
                    </a:cubicBezTo>
                    <a:cubicBezTo>
                      <a:pt x="1905" y="22331"/>
                      <a:pt x="3810" y="23283"/>
                      <a:pt x="4763" y="25188"/>
                    </a:cubicBezTo>
                    <a:cubicBezTo>
                      <a:pt x="5715" y="27093"/>
                      <a:pt x="4763" y="23283"/>
                      <a:pt x="5715" y="27093"/>
                    </a:cubicBezTo>
                    <a:cubicBezTo>
                      <a:pt x="6667" y="30903"/>
                      <a:pt x="18097" y="29951"/>
                      <a:pt x="18097" y="29951"/>
                    </a:cubicBezTo>
                    <a:cubicBezTo>
                      <a:pt x="18097" y="29951"/>
                      <a:pt x="22860" y="29951"/>
                      <a:pt x="23813" y="29951"/>
                    </a:cubicBezTo>
                    <a:cubicBezTo>
                      <a:pt x="25717" y="29951"/>
                      <a:pt x="28575" y="28046"/>
                      <a:pt x="28575" y="28046"/>
                    </a:cubicBezTo>
                    <a:lnTo>
                      <a:pt x="33338" y="28046"/>
                    </a:lnTo>
                    <a:cubicBezTo>
                      <a:pt x="33338" y="28046"/>
                      <a:pt x="37147" y="28998"/>
                      <a:pt x="39052" y="28998"/>
                    </a:cubicBezTo>
                    <a:cubicBezTo>
                      <a:pt x="40957" y="28998"/>
                      <a:pt x="51435" y="28998"/>
                      <a:pt x="51435" y="28998"/>
                    </a:cubicBezTo>
                    <a:cubicBezTo>
                      <a:pt x="51435" y="28998"/>
                      <a:pt x="54292" y="28998"/>
                      <a:pt x="57150" y="28998"/>
                    </a:cubicBezTo>
                    <a:cubicBezTo>
                      <a:pt x="59055" y="28998"/>
                      <a:pt x="61913" y="28998"/>
                      <a:pt x="64770" y="28998"/>
                    </a:cubicBezTo>
                    <a:cubicBezTo>
                      <a:pt x="67627" y="28998"/>
                      <a:pt x="75247" y="28046"/>
                      <a:pt x="78105" y="28046"/>
                    </a:cubicBezTo>
                    <a:cubicBezTo>
                      <a:pt x="80963" y="28046"/>
                      <a:pt x="85725" y="28998"/>
                      <a:pt x="87630" y="28998"/>
                    </a:cubicBezTo>
                    <a:cubicBezTo>
                      <a:pt x="89535" y="28998"/>
                      <a:pt x="93345" y="28998"/>
                      <a:pt x="95250" y="29951"/>
                    </a:cubicBezTo>
                    <a:cubicBezTo>
                      <a:pt x="97155" y="29951"/>
                      <a:pt x="97155" y="29951"/>
                      <a:pt x="100013" y="29951"/>
                    </a:cubicBezTo>
                    <a:cubicBezTo>
                      <a:pt x="102870" y="29951"/>
                      <a:pt x="104775" y="29951"/>
                      <a:pt x="107632" y="29951"/>
                    </a:cubicBezTo>
                    <a:cubicBezTo>
                      <a:pt x="111442" y="29951"/>
                      <a:pt x="114300" y="29951"/>
                      <a:pt x="116205" y="28998"/>
                    </a:cubicBezTo>
                    <a:cubicBezTo>
                      <a:pt x="118110" y="28998"/>
                      <a:pt x="120967" y="28046"/>
                      <a:pt x="121920" y="28046"/>
                    </a:cubicBezTo>
                    <a:cubicBezTo>
                      <a:pt x="123825" y="28046"/>
                      <a:pt x="124777" y="27093"/>
                      <a:pt x="124777" y="26141"/>
                    </a:cubicBezTo>
                    <a:cubicBezTo>
                      <a:pt x="125730" y="25188"/>
                      <a:pt x="125730" y="23283"/>
                      <a:pt x="125730" y="23283"/>
                    </a:cubicBezTo>
                    <a:cubicBezTo>
                      <a:pt x="125730" y="23283"/>
                      <a:pt x="124777" y="21378"/>
                      <a:pt x="122872" y="20426"/>
                    </a:cubicBezTo>
                    <a:cubicBezTo>
                      <a:pt x="120967" y="19473"/>
                      <a:pt x="118110" y="18521"/>
                      <a:pt x="116205" y="17568"/>
                    </a:cubicBezTo>
                    <a:cubicBezTo>
                      <a:pt x="114300" y="16616"/>
                      <a:pt x="111442" y="13758"/>
                      <a:pt x="111442" y="13758"/>
                    </a:cubicBezTo>
                    <a:cubicBezTo>
                      <a:pt x="111442" y="13758"/>
                      <a:pt x="112395" y="12806"/>
                      <a:pt x="110490" y="12806"/>
                    </a:cubicBezTo>
                    <a:cubicBezTo>
                      <a:pt x="108585" y="12806"/>
                      <a:pt x="102870" y="10901"/>
                      <a:pt x="102870" y="10901"/>
                    </a:cubicBezTo>
                    <a:lnTo>
                      <a:pt x="98107" y="9948"/>
                    </a:lnTo>
                    <a:lnTo>
                      <a:pt x="91440" y="7091"/>
                    </a:lnTo>
                    <a:lnTo>
                      <a:pt x="86677" y="5186"/>
                    </a:lnTo>
                    <a:cubicBezTo>
                      <a:pt x="86677" y="5186"/>
                      <a:pt x="79057" y="2328"/>
                      <a:pt x="76200" y="2328"/>
                    </a:cubicBezTo>
                    <a:cubicBezTo>
                      <a:pt x="73342" y="2328"/>
                      <a:pt x="63817" y="423"/>
                      <a:pt x="63817" y="423"/>
                    </a:cubicBezTo>
                    <a:cubicBezTo>
                      <a:pt x="63817" y="423"/>
                      <a:pt x="60007" y="-529"/>
                      <a:pt x="57150" y="423"/>
                    </a:cubicBezTo>
                    <a:cubicBezTo>
                      <a:pt x="54292" y="1376"/>
                      <a:pt x="50482" y="1376"/>
                      <a:pt x="48577" y="1376"/>
                    </a:cubicBezTo>
                    <a:cubicBezTo>
                      <a:pt x="46672" y="2328"/>
                      <a:pt x="42863" y="2328"/>
                      <a:pt x="42863" y="2328"/>
                    </a:cubicBezTo>
                    <a:cubicBezTo>
                      <a:pt x="42863" y="2328"/>
                      <a:pt x="38100" y="3281"/>
                      <a:pt x="35242" y="6138"/>
                    </a:cubicBezTo>
                    <a:cubicBezTo>
                      <a:pt x="33338" y="8996"/>
                      <a:pt x="32385" y="8996"/>
                      <a:pt x="31432" y="9948"/>
                    </a:cubicBezTo>
                    <a:cubicBezTo>
                      <a:pt x="30480" y="10901"/>
                      <a:pt x="27622" y="11853"/>
                      <a:pt x="27622" y="11853"/>
                    </a:cubicBezTo>
                    <a:cubicBezTo>
                      <a:pt x="27622" y="11853"/>
                      <a:pt x="25717" y="11853"/>
                      <a:pt x="23813" y="12806"/>
                    </a:cubicBezTo>
                    <a:cubicBezTo>
                      <a:pt x="21907" y="13758"/>
                      <a:pt x="20002" y="13758"/>
                      <a:pt x="20002" y="13758"/>
                    </a:cubicBezTo>
                    <a:lnTo>
                      <a:pt x="12382" y="17568"/>
                    </a:lnTo>
                    <a:close/>
                  </a:path>
                </a:pathLst>
              </a:custGeom>
              <a:grpFill/>
              <a:ln w="9525" cap="flat">
                <a:noFill/>
                <a:prstDash val="solid"/>
                <a:miter/>
              </a:ln>
            </p:spPr>
            <p:txBody>
              <a:bodyPr rtlCol="0" anchor="ctr"/>
              <a:lstStyle/>
              <a:p>
                <a:endParaRPr lang="en-US" sz="1765"/>
              </a:p>
            </p:txBody>
          </p:sp>
          <p:sp>
            <p:nvSpPr>
              <p:cNvPr id="288" name="Freeform: Shape 287">
                <a:extLst>
                  <a:ext uri="{FF2B5EF4-FFF2-40B4-BE49-F238E27FC236}">
                    <a16:creationId xmlns:a16="http://schemas.microsoft.com/office/drawing/2014/main" id="{C1623992-4BEA-4CC6-B458-9BC0E71B6BDB}"/>
                  </a:ext>
                </a:extLst>
              </p:cNvPr>
              <p:cNvSpPr/>
              <p:nvPr/>
            </p:nvSpPr>
            <p:spPr>
              <a:xfrm>
                <a:off x="5443566" y="3186793"/>
                <a:ext cx="1904" cy="9525"/>
              </a:xfrm>
              <a:custGeom>
                <a:avLst/>
                <a:gdLst>
                  <a:gd name="connsiteX0" fmla="*/ 1905 w 1904"/>
                  <a:gd name="connsiteY0" fmla="*/ 0 h 9525"/>
                  <a:gd name="connsiteX1" fmla="*/ 0 w 1904"/>
                  <a:gd name="connsiteY1" fmla="*/ 0 h 9525"/>
                  <a:gd name="connsiteX2" fmla="*/ 1905 w 1904"/>
                  <a:gd name="connsiteY2" fmla="*/ 0 h 9525"/>
                </a:gdLst>
                <a:ahLst/>
                <a:cxnLst>
                  <a:cxn ang="0">
                    <a:pos x="connsiteX0" y="connsiteY0"/>
                  </a:cxn>
                  <a:cxn ang="0">
                    <a:pos x="connsiteX1" y="connsiteY1"/>
                  </a:cxn>
                  <a:cxn ang="0">
                    <a:pos x="connsiteX2" y="connsiteY2"/>
                  </a:cxn>
                </a:cxnLst>
                <a:rect l="l" t="t" r="r" b="b"/>
                <a:pathLst>
                  <a:path w="1904" h="9525">
                    <a:moveTo>
                      <a:pt x="1905" y="0"/>
                    </a:moveTo>
                    <a:cubicBezTo>
                      <a:pt x="1905" y="0"/>
                      <a:pt x="952" y="0"/>
                      <a:pt x="0" y="0"/>
                    </a:cubicBezTo>
                    <a:cubicBezTo>
                      <a:pt x="0" y="0"/>
                      <a:pt x="952" y="0"/>
                      <a:pt x="1905" y="0"/>
                    </a:cubicBezTo>
                    <a:close/>
                  </a:path>
                </a:pathLst>
              </a:custGeom>
              <a:grpFill/>
              <a:ln w="9525" cap="flat">
                <a:noFill/>
                <a:prstDash val="solid"/>
                <a:miter/>
              </a:ln>
            </p:spPr>
            <p:txBody>
              <a:bodyPr rtlCol="0" anchor="ctr"/>
              <a:lstStyle/>
              <a:p>
                <a:endParaRPr lang="en-US" sz="1765"/>
              </a:p>
            </p:txBody>
          </p:sp>
          <p:sp>
            <p:nvSpPr>
              <p:cNvPr id="289" name="Freeform: Shape 288">
                <a:extLst>
                  <a:ext uri="{FF2B5EF4-FFF2-40B4-BE49-F238E27FC236}">
                    <a16:creationId xmlns:a16="http://schemas.microsoft.com/office/drawing/2014/main" id="{2FDEDAE0-4717-447A-9E0E-F21264865E23}"/>
                  </a:ext>
                </a:extLst>
              </p:cNvPr>
              <p:cNvSpPr/>
              <p:nvPr/>
            </p:nvSpPr>
            <p:spPr>
              <a:xfrm>
                <a:off x="5337839" y="3029631"/>
                <a:ext cx="2242184" cy="1686775"/>
              </a:xfrm>
              <a:custGeom>
                <a:avLst/>
                <a:gdLst>
                  <a:gd name="connsiteX0" fmla="*/ 2242185 w 2242184"/>
                  <a:gd name="connsiteY0" fmla="*/ 1098233 h 1686775"/>
                  <a:gd name="connsiteX1" fmla="*/ 2238375 w 2242184"/>
                  <a:gd name="connsiteY1" fmla="*/ 1078230 h 1686775"/>
                  <a:gd name="connsiteX2" fmla="*/ 2238375 w 2242184"/>
                  <a:gd name="connsiteY2" fmla="*/ 1068705 h 1686775"/>
                  <a:gd name="connsiteX3" fmla="*/ 2238375 w 2242184"/>
                  <a:gd name="connsiteY3" fmla="*/ 1062990 h 1686775"/>
                  <a:gd name="connsiteX4" fmla="*/ 2227898 w 2242184"/>
                  <a:gd name="connsiteY4" fmla="*/ 1052513 h 1686775"/>
                  <a:gd name="connsiteX5" fmla="*/ 2212658 w 2242184"/>
                  <a:gd name="connsiteY5" fmla="*/ 1049655 h 1686775"/>
                  <a:gd name="connsiteX6" fmla="*/ 2188845 w 2242184"/>
                  <a:gd name="connsiteY6" fmla="*/ 1042035 h 1686775"/>
                  <a:gd name="connsiteX7" fmla="*/ 2180273 w 2242184"/>
                  <a:gd name="connsiteY7" fmla="*/ 1037273 h 1686775"/>
                  <a:gd name="connsiteX8" fmla="*/ 2165033 w 2242184"/>
                  <a:gd name="connsiteY8" fmla="*/ 1034415 h 1686775"/>
                  <a:gd name="connsiteX9" fmla="*/ 2153603 w 2242184"/>
                  <a:gd name="connsiteY9" fmla="*/ 1032510 h 1686775"/>
                  <a:gd name="connsiteX10" fmla="*/ 2118360 w 2242184"/>
                  <a:gd name="connsiteY10" fmla="*/ 1026795 h 1686775"/>
                  <a:gd name="connsiteX11" fmla="*/ 2109788 w 2242184"/>
                  <a:gd name="connsiteY11" fmla="*/ 1024890 h 1686775"/>
                  <a:gd name="connsiteX12" fmla="*/ 2087880 w 2242184"/>
                  <a:gd name="connsiteY12" fmla="*/ 1020127 h 1686775"/>
                  <a:gd name="connsiteX13" fmla="*/ 2070735 w 2242184"/>
                  <a:gd name="connsiteY13" fmla="*/ 1015365 h 1686775"/>
                  <a:gd name="connsiteX14" fmla="*/ 2059305 w 2242184"/>
                  <a:gd name="connsiteY14" fmla="*/ 1013460 h 1686775"/>
                  <a:gd name="connsiteX15" fmla="*/ 2045970 w 2242184"/>
                  <a:gd name="connsiteY15" fmla="*/ 1010602 h 1686775"/>
                  <a:gd name="connsiteX16" fmla="*/ 2037398 w 2242184"/>
                  <a:gd name="connsiteY16" fmla="*/ 1005840 h 1686775"/>
                  <a:gd name="connsiteX17" fmla="*/ 2022158 w 2242184"/>
                  <a:gd name="connsiteY17" fmla="*/ 992505 h 1686775"/>
                  <a:gd name="connsiteX18" fmla="*/ 2006918 w 2242184"/>
                  <a:gd name="connsiteY18" fmla="*/ 979170 h 1686775"/>
                  <a:gd name="connsiteX19" fmla="*/ 2000250 w 2242184"/>
                  <a:gd name="connsiteY19" fmla="*/ 970598 h 1686775"/>
                  <a:gd name="connsiteX20" fmla="*/ 1993583 w 2242184"/>
                  <a:gd name="connsiteY20" fmla="*/ 963930 h 1686775"/>
                  <a:gd name="connsiteX21" fmla="*/ 1969770 w 2242184"/>
                  <a:gd name="connsiteY21" fmla="*/ 950595 h 1686775"/>
                  <a:gd name="connsiteX22" fmla="*/ 1954530 w 2242184"/>
                  <a:gd name="connsiteY22" fmla="*/ 944880 h 1686775"/>
                  <a:gd name="connsiteX23" fmla="*/ 1937385 w 2242184"/>
                  <a:gd name="connsiteY23" fmla="*/ 939165 h 1686775"/>
                  <a:gd name="connsiteX24" fmla="*/ 1910715 w 2242184"/>
                  <a:gd name="connsiteY24" fmla="*/ 934402 h 1686775"/>
                  <a:gd name="connsiteX25" fmla="*/ 1902143 w 2242184"/>
                  <a:gd name="connsiteY25" fmla="*/ 934402 h 1686775"/>
                  <a:gd name="connsiteX26" fmla="*/ 1880235 w 2242184"/>
                  <a:gd name="connsiteY26" fmla="*/ 928688 h 1686775"/>
                  <a:gd name="connsiteX27" fmla="*/ 1866900 w 2242184"/>
                  <a:gd name="connsiteY27" fmla="*/ 922973 h 1686775"/>
                  <a:gd name="connsiteX28" fmla="*/ 1858328 w 2242184"/>
                  <a:gd name="connsiteY28" fmla="*/ 911543 h 1686775"/>
                  <a:gd name="connsiteX29" fmla="*/ 1841183 w 2242184"/>
                  <a:gd name="connsiteY29" fmla="*/ 902970 h 1686775"/>
                  <a:gd name="connsiteX30" fmla="*/ 1830705 w 2242184"/>
                  <a:gd name="connsiteY30" fmla="*/ 897255 h 1686775"/>
                  <a:gd name="connsiteX31" fmla="*/ 1804035 w 2242184"/>
                  <a:gd name="connsiteY31" fmla="*/ 889635 h 1686775"/>
                  <a:gd name="connsiteX32" fmla="*/ 1784033 w 2242184"/>
                  <a:gd name="connsiteY32" fmla="*/ 887730 h 1686775"/>
                  <a:gd name="connsiteX33" fmla="*/ 1740218 w 2242184"/>
                  <a:gd name="connsiteY33" fmla="*/ 887730 h 1686775"/>
                  <a:gd name="connsiteX34" fmla="*/ 1720215 w 2242184"/>
                  <a:gd name="connsiteY34" fmla="*/ 887730 h 1686775"/>
                  <a:gd name="connsiteX35" fmla="*/ 1706880 w 2242184"/>
                  <a:gd name="connsiteY35" fmla="*/ 887730 h 1686775"/>
                  <a:gd name="connsiteX36" fmla="*/ 1674495 w 2242184"/>
                  <a:gd name="connsiteY36" fmla="*/ 879158 h 1686775"/>
                  <a:gd name="connsiteX37" fmla="*/ 1652588 w 2242184"/>
                  <a:gd name="connsiteY37" fmla="*/ 880110 h 1686775"/>
                  <a:gd name="connsiteX38" fmla="*/ 1644015 w 2242184"/>
                  <a:gd name="connsiteY38" fmla="*/ 878205 h 1686775"/>
                  <a:gd name="connsiteX39" fmla="*/ 1622108 w 2242184"/>
                  <a:gd name="connsiteY39" fmla="*/ 878205 h 1686775"/>
                  <a:gd name="connsiteX40" fmla="*/ 1590675 w 2242184"/>
                  <a:gd name="connsiteY40" fmla="*/ 884873 h 1686775"/>
                  <a:gd name="connsiteX41" fmla="*/ 1572578 w 2242184"/>
                  <a:gd name="connsiteY41" fmla="*/ 896302 h 1686775"/>
                  <a:gd name="connsiteX42" fmla="*/ 1557338 w 2242184"/>
                  <a:gd name="connsiteY42" fmla="*/ 897255 h 1686775"/>
                  <a:gd name="connsiteX43" fmla="*/ 1524000 w 2242184"/>
                  <a:gd name="connsiteY43" fmla="*/ 900113 h 1686775"/>
                  <a:gd name="connsiteX44" fmla="*/ 1508760 w 2242184"/>
                  <a:gd name="connsiteY44" fmla="*/ 900113 h 1686775"/>
                  <a:gd name="connsiteX45" fmla="*/ 1500188 w 2242184"/>
                  <a:gd name="connsiteY45" fmla="*/ 900113 h 1686775"/>
                  <a:gd name="connsiteX46" fmla="*/ 1480185 w 2242184"/>
                  <a:gd name="connsiteY46" fmla="*/ 897255 h 1686775"/>
                  <a:gd name="connsiteX47" fmla="*/ 1466850 w 2242184"/>
                  <a:gd name="connsiteY47" fmla="*/ 894398 h 1686775"/>
                  <a:gd name="connsiteX48" fmla="*/ 1458278 w 2242184"/>
                  <a:gd name="connsiteY48" fmla="*/ 882015 h 1686775"/>
                  <a:gd name="connsiteX49" fmla="*/ 1458278 w 2242184"/>
                  <a:gd name="connsiteY49" fmla="*/ 875348 h 1686775"/>
                  <a:gd name="connsiteX50" fmla="*/ 1458278 w 2242184"/>
                  <a:gd name="connsiteY50" fmla="*/ 866775 h 1686775"/>
                  <a:gd name="connsiteX51" fmla="*/ 1456373 w 2242184"/>
                  <a:gd name="connsiteY51" fmla="*/ 855345 h 1686775"/>
                  <a:gd name="connsiteX52" fmla="*/ 1454468 w 2242184"/>
                  <a:gd name="connsiteY52" fmla="*/ 838200 h 1686775"/>
                  <a:gd name="connsiteX53" fmla="*/ 1445895 w 2242184"/>
                  <a:gd name="connsiteY53" fmla="*/ 832485 h 1686775"/>
                  <a:gd name="connsiteX54" fmla="*/ 1432560 w 2242184"/>
                  <a:gd name="connsiteY54" fmla="*/ 830580 h 1686775"/>
                  <a:gd name="connsiteX55" fmla="*/ 1423988 w 2242184"/>
                  <a:gd name="connsiteY55" fmla="*/ 828675 h 1686775"/>
                  <a:gd name="connsiteX56" fmla="*/ 1403985 w 2242184"/>
                  <a:gd name="connsiteY56" fmla="*/ 821055 h 1686775"/>
                  <a:gd name="connsiteX57" fmla="*/ 1392555 w 2242184"/>
                  <a:gd name="connsiteY57" fmla="*/ 821055 h 1686775"/>
                  <a:gd name="connsiteX58" fmla="*/ 1379220 w 2242184"/>
                  <a:gd name="connsiteY58" fmla="*/ 821055 h 1686775"/>
                  <a:gd name="connsiteX59" fmla="*/ 1367790 w 2242184"/>
                  <a:gd name="connsiteY59" fmla="*/ 821055 h 1686775"/>
                  <a:gd name="connsiteX60" fmla="*/ 1359218 w 2242184"/>
                  <a:gd name="connsiteY60" fmla="*/ 815340 h 1686775"/>
                  <a:gd name="connsiteX61" fmla="*/ 1370648 w 2242184"/>
                  <a:gd name="connsiteY61" fmla="*/ 811530 h 1686775"/>
                  <a:gd name="connsiteX62" fmla="*/ 1382078 w 2242184"/>
                  <a:gd name="connsiteY62" fmla="*/ 808673 h 1686775"/>
                  <a:gd name="connsiteX63" fmla="*/ 1386840 w 2242184"/>
                  <a:gd name="connsiteY63" fmla="*/ 802958 h 1686775"/>
                  <a:gd name="connsiteX64" fmla="*/ 1386840 w 2242184"/>
                  <a:gd name="connsiteY64" fmla="*/ 797243 h 1686775"/>
                  <a:gd name="connsiteX65" fmla="*/ 1384935 w 2242184"/>
                  <a:gd name="connsiteY65" fmla="*/ 784860 h 1686775"/>
                  <a:gd name="connsiteX66" fmla="*/ 1384935 w 2242184"/>
                  <a:gd name="connsiteY66" fmla="*/ 776288 h 1686775"/>
                  <a:gd name="connsiteX67" fmla="*/ 1391603 w 2242184"/>
                  <a:gd name="connsiteY67" fmla="*/ 767715 h 1686775"/>
                  <a:gd name="connsiteX68" fmla="*/ 1394460 w 2242184"/>
                  <a:gd name="connsiteY68" fmla="*/ 759143 h 1686775"/>
                  <a:gd name="connsiteX69" fmla="*/ 1377315 w 2242184"/>
                  <a:gd name="connsiteY69" fmla="*/ 754380 h 1686775"/>
                  <a:gd name="connsiteX70" fmla="*/ 1359218 w 2242184"/>
                  <a:gd name="connsiteY70" fmla="*/ 757238 h 1686775"/>
                  <a:gd name="connsiteX71" fmla="*/ 1361123 w 2242184"/>
                  <a:gd name="connsiteY71" fmla="*/ 761048 h 1686775"/>
                  <a:gd name="connsiteX72" fmla="*/ 1347788 w 2242184"/>
                  <a:gd name="connsiteY72" fmla="*/ 761048 h 1686775"/>
                  <a:gd name="connsiteX73" fmla="*/ 1332548 w 2242184"/>
                  <a:gd name="connsiteY73" fmla="*/ 763905 h 1686775"/>
                  <a:gd name="connsiteX74" fmla="*/ 1332548 w 2242184"/>
                  <a:gd name="connsiteY74" fmla="*/ 767715 h 1686775"/>
                  <a:gd name="connsiteX75" fmla="*/ 1319213 w 2242184"/>
                  <a:gd name="connsiteY75" fmla="*/ 777240 h 1686775"/>
                  <a:gd name="connsiteX76" fmla="*/ 1312545 w 2242184"/>
                  <a:gd name="connsiteY76" fmla="*/ 785813 h 1686775"/>
                  <a:gd name="connsiteX77" fmla="*/ 1299210 w 2242184"/>
                  <a:gd name="connsiteY77" fmla="*/ 788670 h 1686775"/>
                  <a:gd name="connsiteX78" fmla="*/ 1290638 w 2242184"/>
                  <a:gd name="connsiteY78" fmla="*/ 789623 h 1686775"/>
                  <a:gd name="connsiteX79" fmla="*/ 1279208 w 2242184"/>
                  <a:gd name="connsiteY79" fmla="*/ 790575 h 1686775"/>
                  <a:gd name="connsiteX80" fmla="*/ 1263968 w 2242184"/>
                  <a:gd name="connsiteY80" fmla="*/ 790575 h 1686775"/>
                  <a:gd name="connsiteX81" fmla="*/ 1253490 w 2242184"/>
                  <a:gd name="connsiteY81" fmla="*/ 784860 h 1686775"/>
                  <a:gd name="connsiteX82" fmla="*/ 1244918 w 2242184"/>
                  <a:gd name="connsiteY82" fmla="*/ 777240 h 1686775"/>
                  <a:gd name="connsiteX83" fmla="*/ 1236345 w 2242184"/>
                  <a:gd name="connsiteY83" fmla="*/ 771525 h 1686775"/>
                  <a:gd name="connsiteX84" fmla="*/ 1229678 w 2242184"/>
                  <a:gd name="connsiteY84" fmla="*/ 765810 h 1686775"/>
                  <a:gd name="connsiteX85" fmla="*/ 1225868 w 2242184"/>
                  <a:gd name="connsiteY85" fmla="*/ 757238 h 1686775"/>
                  <a:gd name="connsiteX86" fmla="*/ 1223963 w 2242184"/>
                  <a:gd name="connsiteY86" fmla="*/ 747713 h 1686775"/>
                  <a:gd name="connsiteX87" fmla="*/ 1223963 w 2242184"/>
                  <a:gd name="connsiteY87" fmla="*/ 733425 h 1686775"/>
                  <a:gd name="connsiteX88" fmla="*/ 1223963 w 2242184"/>
                  <a:gd name="connsiteY88" fmla="*/ 723900 h 1686775"/>
                  <a:gd name="connsiteX89" fmla="*/ 1217295 w 2242184"/>
                  <a:gd name="connsiteY89" fmla="*/ 715327 h 1686775"/>
                  <a:gd name="connsiteX90" fmla="*/ 1215390 w 2242184"/>
                  <a:gd name="connsiteY90" fmla="*/ 700088 h 1686775"/>
                  <a:gd name="connsiteX91" fmla="*/ 1217295 w 2242184"/>
                  <a:gd name="connsiteY91" fmla="*/ 694373 h 1686775"/>
                  <a:gd name="connsiteX92" fmla="*/ 1223963 w 2242184"/>
                  <a:gd name="connsiteY92" fmla="*/ 684848 h 1686775"/>
                  <a:gd name="connsiteX93" fmla="*/ 1238250 w 2242184"/>
                  <a:gd name="connsiteY93" fmla="*/ 675323 h 1686775"/>
                  <a:gd name="connsiteX94" fmla="*/ 1258253 w 2242184"/>
                  <a:gd name="connsiteY94" fmla="*/ 674370 h 1686775"/>
                  <a:gd name="connsiteX95" fmla="*/ 1271588 w 2242184"/>
                  <a:gd name="connsiteY95" fmla="*/ 673418 h 1686775"/>
                  <a:gd name="connsiteX96" fmla="*/ 1278255 w 2242184"/>
                  <a:gd name="connsiteY96" fmla="*/ 675323 h 1686775"/>
                  <a:gd name="connsiteX97" fmla="*/ 1291590 w 2242184"/>
                  <a:gd name="connsiteY97" fmla="*/ 675323 h 1686775"/>
                  <a:gd name="connsiteX98" fmla="*/ 1313498 w 2242184"/>
                  <a:gd name="connsiteY98" fmla="*/ 674370 h 1686775"/>
                  <a:gd name="connsiteX99" fmla="*/ 1322070 w 2242184"/>
                  <a:gd name="connsiteY99" fmla="*/ 677227 h 1686775"/>
                  <a:gd name="connsiteX100" fmla="*/ 1339215 w 2242184"/>
                  <a:gd name="connsiteY100" fmla="*/ 677227 h 1686775"/>
                  <a:gd name="connsiteX101" fmla="*/ 1347788 w 2242184"/>
                  <a:gd name="connsiteY101" fmla="*/ 676275 h 1686775"/>
                  <a:gd name="connsiteX102" fmla="*/ 1365885 w 2242184"/>
                  <a:gd name="connsiteY102" fmla="*/ 673418 h 1686775"/>
                  <a:gd name="connsiteX103" fmla="*/ 1377315 w 2242184"/>
                  <a:gd name="connsiteY103" fmla="*/ 672465 h 1686775"/>
                  <a:gd name="connsiteX104" fmla="*/ 1414463 w 2242184"/>
                  <a:gd name="connsiteY104" fmla="*/ 671513 h 1686775"/>
                  <a:gd name="connsiteX105" fmla="*/ 1436370 w 2242184"/>
                  <a:gd name="connsiteY105" fmla="*/ 674370 h 1686775"/>
                  <a:gd name="connsiteX106" fmla="*/ 1449705 w 2242184"/>
                  <a:gd name="connsiteY106" fmla="*/ 677227 h 1686775"/>
                  <a:gd name="connsiteX107" fmla="*/ 1458278 w 2242184"/>
                  <a:gd name="connsiteY107" fmla="*/ 679133 h 1686775"/>
                  <a:gd name="connsiteX108" fmla="*/ 1460183 w 2242184"/>
                  <a:gd name="connsiteY108" fmla="*/ 684848 h 1686775"/>
                  <a:gd name="connsiteX109" fmla="*/ 1463993 w 2242184"/>
                  <a:gd name="connsiteY109" fmla="*/ 701993 h 1686775"/>
                  <a:gd name="connsiteX110" fmla="*/ 1467803 w 2242184"/>
                  <a:gd name="connsiteY110" fmla="*/ 720090 h 1686775"/>
                  <a:gd name="connsiteX111" fmla="*/ 1474470 w 2242184"/>
                  <a:gd name="connsiteY111" fmla="*/ 724852 h 1686775"/>
                  <a:gd name="connsiteX112" fmla="*/ 1498283 w 2242184"/>
                  <a:gd name="connsiteY112" fmla="*/ 730568 h 1686775"/>
                  <a:gd name="connsiteX113" fmla="*/ 1506855 w 2242184"/>
                  <a:gd name="connsiteY113" fmla="*/ 727710 h 1686775"/>
                  <a:gd name="connsiteX114" fmla="*/ 1513523 w 2242184"/>
                  <a:gd name="connsiteY114" fmla="*/ 721043 h 1686775"/>
                  <a:gd name="connsiteX115" fmla="*/ 1516380 w 2242184"/>
                  <a:gd name="connsiteY115" fmla="*/ 708660 h 1686775"/>
                  <a:gd name="connsiteX116" fmla="*/ 1518285 w 2242184"/>
                  <a:gd name="connsiteY116" fmla="*/ 702945 h 1686775"/>
                  <a:gd name="connsiteX117" fmla="*/ 1509713 w 2242184"/>
                  <a:gd name="connsiteY117" fmla="*/ 682943 h 1686775"/>
                  <a:gd name="connsiteX118" fmla="*/ 1503045 w 2242184"/>
                  <a:gd name="connsiteY118" fmla="*/ 676275 h 1686775"/>
                  <a:gd name="connsiteX119" fmla="*/ 1501140 w 2242184"/>
                  <a:gd name="connsiteY119" fmla="*/ 667702 h 1686775"/>
                  <a:gd name="connsiteX120" fmla="*/ 1499235 w 2242184"/>
                  <a:gd name="connsiteY120" fmla="*/ 659130 h 1686775"/>
                  <a:gd name="connsiteX121" fmla="*/ 1497330 w 2242184"/>
                  <a:gd name="connsiteY121" fmla="*/ 641985 h 1686775"/>
                  <a:gd name="connsiteX122" fmla="*/ 1512570 w 2242184"/>
                  <a:gd name="connsiteY122" fmla="*/ 633413 h 1686775"/>
                  <a:gd name="connsiteX123" fmla="*/ 1521143 w 2242184"/>
                  <a:gd name="connsiteY123" fmla="*/ 633413 h 1686775"/>
                  <a:gd name="connsiteX124" fmla="*/ 1547813 w 2242184"/>
                  <a:gd name="connsiteY124" fmla="*/ 629602 h 1686775"/>
                  <a:gd name="connsiteX125" fmla="*/ 1556385 w 2242184"/>
                  <a:gd name="connsiteY125" fmla="*/ 625793 h 1686775"/>
                  <a:gd name="connsiteX126" fmla="*/ 1561148 w 2242184"/>
                  <a:gd name="connsiteY126" fmla="*/ 620077 h 1686775"/>
                  <a:gd name="connsiteX127" fmla="*/ 1583055 w 2242184"/>
                  <a:gd name="connsiteY127" fmla="*/ 605790 h 1686775"/>
                  <a:gd name="connsiteX128" fmla="*/ 1587818 w 2242184"/>
                  <a:gd name="connsiteY128" fmla="*/ 597218 h 1686775"/>
                  <a:gd name="connsiteX129" fmla="*/ 1587818 w 2242184"/>
                  <a:gd name="connsiteY129" fmla="*/ 591502 h 1686775"/>
                  <a:gd name="connsiteX130" fmla="*/ 1587818 w 2242184"/>
                  <a:gd name="connsiteY130" fmla="*/ 585788 h 1686775"/>
                  <a:gd name="connsiteX131" fmla="*/ 1581150 w 2242184"/>
                  <a:gd name="connsiteY131" fmla="*/ 574358 h 1686775"/>
                  <a:gd name="connsiteX132" fmla="*/ 1592580 w 2242184"/>
                  <a:gd name="connsiteY132" fmla="*/ 564833 h 1686775"/>
                  <a:gd name="connsiteX133" fmla="*/ 1604010 w 2242184"/>
                  <a:gd name="connsiteY133" fmla="*/ 564833 h 1686775"/>
                  <a:gd name="connsiteX134" fmla="*/ 1610678 w 2242184"/>
                  <a:gd name="connsiteY134" fmla="*/ 555308 h 1686775"/>
                  <a:gd name="connsiteX135" fmla="*/ 1622108 w 2242184"/>
                  <a:gd name="connsiteY135" fmla="*/ 549593 h 1686775"/>
                  <a:gd name="connsiteX136" fmla="*/ 1640205 w 2242184"/>
                  <a:gd name="connsiteY136" fmla="*/ 543877 h 1686775"/>
                  <a:gd name="connsiteX137" fmla="*/ 1653540 w 2242184"/>
                  <a:gd name="connsiteY137" fmla="*/ 538163 h 1686775"/>
                  <a:gd name="connsiteX138" fmla="*/ 1662113 w 2242184"/>
                  <a:gd name="connsiteY138" fmla="*/ 534352 h 1686775"/>
                  <a:gd name="connsiteX139" fmla="*/ 1677353 w 2242184"/>
                  <a:gd name="connsiteY139" fmla="*/ 524827 h 1686775"/>
                  <a:gd name="connsiteX140" fmla="*/ 1679258 w 2242184"/>
                  <a:gd name="connsiteY140" fmla="*/ 519112 h 1686775"/>
                  <a:gd name="connsiteX141" fmla="*/ 1679258 w 2242184"/>
                  <a:gd name="connsiteY141" fmla="*/ 507683 h 1686775"/>
                  <a:gd name="connsiteX142" fmla="*/ 1684020 w 2242184"/>
                  <a:gd name="connsiteY142" fmla="*/ 496252 h 1686775"/>
                  <a:gd name="connsiteX143" fmla="*/ 1688783 w 2242184"/>
                  <a:gd name="connsiteY143" fmla="*/ 490537 h 1686775"/>
                  <a:gd name="connsiteX144" fmla="*/ 1700213 w 2242184"/>
                  <a:gd name="connsiteY144" fmla="*/ 487680 h 1686775"/>
                  <a:gd name="connsiteX145" fmla="*/ 1708785 w 2242184"/>
                  <a:gd name="connsiteY145" fmla="*/ 487680 h 1686775"/>
                  <a:gd name="connsiteX146" fmla="*/ 1742123 w 2242184"/>
                  <a:gd name="connsiteY146" fmla="*/ 484823 h 1686775"/>
                  <a:gd name="connsiteX147" fmla="*/ 1760220 w 2242184"/>
                  <a:gd name="connsiteY147" fmla="*/ 479108 h 1686775"/>
                  <a:gd name="connsiteX148" fmla="*/ 1760220 w 2242184"/>
                  <a:gd name="connsiteY148" fmla="*/ 484823 h 1686775"/>
                  <a:gd name="connsiteX149" fmla="*/ 1768793 w 2242184"/>
                  <a:gd name="connsiteY149" fmla="*/ 494348 h 1686775"/>
                  <a:gd name="connsiteX150" fmla="*/ 1775460 w 2242184"/>
                  <a:gd name="connsiteY150" fmla="*/ 496252 h 1686775"/>
                  <a:gd name="connsiteX151" fmla="*/ 1784033 w 2242184"/>
                  <a:gd name="connsiteY151" fmla="*/ 492443 h 1686775"/>
                  <a:gd name="connsiteX152" fmla="*/ 1790700 w 2242184"/>
                  <a:gd name="connsiteY152" fmla="*/ 485775 h 1686775"/>
                  <a:gd name="connsiteX153" fmla="*/ 1799273 w 2242184"/>
                  <a:gd name="connsiteY153" fmla="*/ 484823 h 1686775"/>
                  <a:gd name="connsiteX154" fmla="*/ 1805940 w 2242184"/>
                  <a:gd name="connsiteY154" fmla="*/ 487680 h 1686775"/>
                  <a:gd name="connsiteX155" fmla="*/ 1817370 w 2242184"/>
                  <a:gd name="connsiteY155" fmla="*/ 486727 h 1686775"/>
                  <a:gd name="connsiteX156" fmla="*/ 1825943 w 2242184"/>
                  <a:gd name="connsiteY156" fmla="*/ 486727 h 1686775"/>
                  <a:gd name="connsiteX157" fmla="*/ 1841183 w 2242184"/>
                  <a:gd name="connsiteY157" fmla="*/ 481012 h 1686775"/>
                  <a:gd name="connsiteX158" fmla="*/ 1847850 w 2242184"/>
                  <a:gd name="connsiteY158" fmla="*/ 478155 h 1686775"/>
                  <a:gd name="connsiteX159" fmla="*/ 1854518 w 2242184"/>
                  <a:gd name="connsiteY159" fmla="*/ 472440 h 1686775"/>
                  <a:gd name="connsiteX160" fmla="*/ 1859280 w 2242184"/>
                  <a:gd name="connsiteY160" fmla="*/ 463868 h 1686775"/>
                  <a:gd name="connsiteX161" fmla="*/ 1852613 w 2242184"/>
                  <a:gd name="connsiteY161" fmla="*/ 461010 h 1686775"/>
                  <a:gd name="connsiteX162" fmla="*/ 1844040 w 2242184"/>
                  <a:gd name="connsiteY162" fmla="*/ 459105 h 1686775"/>
                  <a:gd name="connsiteX163" fmla="*/ 1830705 w 2242184"/>
                  <a:gd name="connsiteY163" fmla="*/ 460058 h 1686775"/>
                  <a:gd name="connsiteX164" fmla="*/ 1806893 w 2242184"/>
                  <a:gd name="connsiteY164" fmla="*/ 458152 h 1686775"/>
                  <a:gd name="connsiteX165" fmla="*/ 1793558 w 2242184"/>
                  <a:gd name="connsiteY165" fmla="*/ 455295 h 1686775"/>
                  <a:gd name="connsiteX166" fmla="*/ 1782128 w 2242184"/>
                  <a:gd name="connsiteY166" fmla="*/ 455295 h 1686775"/>
                  <a:gd name="connsiteX167" fmla="*/ 1773555 w 2242184"/>
                  <a:gd name="connsiteY167" fmla="*/ 450533 h 1686775"/>
                  <a:gd name="connsiteX168" fmla="*/ 1773555 w 2242184"/>
                  <a:gd name="connsiteY168" fmla="*/ 441960 h 1686775"/>
                  <a:gd name="connsiteX169" fmla="*/ 1773555 w 2242184"/>
                  <a:gd name="connsiteY169" fmla="*/ 435293 h 1686775"/>
                  <a:gd name="connsiteX170" fmla="*/ 1771650 w 2242184"/>
                  <a:gd name="connsiteY170" fmla="*/ 429577 h 1686775"/>
                  <a:gd name="connsiteX171" fmla="*/ 1756410 w 2242184"/>
                  <a:gd name="connsiteY171" fmla="*/ 416243 h 1686775"/>
                  <a:gd name="connsiteX172" fmla="*/ 1734503 w 2242184"/>
                  <a:gd name="connsiteY172" fmla="*/ 422910 h 1686775"/>
                  <a:gd name="connsiteX173" fmla="*/ 1723073 w 2242184"/>
                  <a:gd name="connsiteY173" fmla="*/ 425768 h 1686775"/>
                  <a:gd name="connsiteX174" fmla="*/ 1707833 w 2242184"/>
                  <a:gd name="connsiteY174" fmla="*/ 432435 h 1686775"/>
                  <a:gd name="connsiteX175" fmla="*/ 1699260 w 2242184"/>
                  <a:gd name="connsiteY175" fmla="*/ 432435 h 1686775"/>
                  <a:gd name="connsiteX176" fmla="*/ 1704023 w 2242184"/>
                  <a:gd name="connsiteY176" fmla="*/ 423862 h 1686775"/>
                  <a:gd name="connsiteX177" fmla="*/ 1719263 w 2242184"/>
                  <a:gd name="connsiteY177" fmla="*/ 414337 h 1686775"/>
                  <a:gd name="connsiteX178" fmla="*/ 1732598 w 2242184"/>
                  <a:gd name="connsiteY178" fmla="*/ 408623 h 1686775"/>
                  <a:gd name="connsiteX179" fmla="*/ 1745933 w 2242184"/>
                  <a:gd name="connsiteY179" fmla="*/ 407670 h 1686775"/>
                  <a:gd name="connsiteX180" fmla="*/ 1763078 w 2242184"/>
                  <a:gd name="connsiteY180" fmla="*/ 409575 h 1686775"/>
                  <a:gd name="connsiteX181" fmla="*/ 1778318 w 2242184"/>
                  <a:gd name="connsiteY181" fmla="*/ 409575 h 1686775"/>
                  <a:gd name="connsiteX182" fmla="*/ 1793558 w 2242184"/>
                  <a:gd name="connsiteY182" fmla="*/ 411480 h 1686775"/>
                  <a:gd name="connsiteX183" fmla="*/ 1798320 w 2242184"/>
                  <a:gd name="connsiteY183" fmla="*/ 417195 h 1686775"/>
                  <a:gd name="connsiteX184" fmla="*/ 1804988 w 2242184"/>
                  <a:gd name="connsiteY184" fmla="*/ 422910 h 1686775"/>
                  <a:gd name="connsiteX185" fmla="*/ 1818323 w 2242184"/>
                  <a:gd name="connsiteY185" fmla="*/ 425768 h 1686775"/>
                  <a:gd name="connsiteX186" fmla="*/ 1824990 w 2242184"/>
                  <a:gd name="connsiteY186" fmla="*/ 419100 h 1686775"/>
                  <a:gd name="connsiteX187" fmla="*/ 1836420 w 2242184"/>
                  <a:gd name="connsiteY187" fmla="*/ 415290 h 1686775"/>
                  <a:gd name="connsiteX188" fmla="*/ 1849755 w 2242184"/>
                  <a:gd name="connsiteY188" fmla="*/ 412433 h 1686775"/>
                  <a:gd name="connsiteX189" fmla="*/ 1861185 w 2242184"/>
                  <a:gd name="connsiteY189" fmla="*/ 414337 h 1686775"/>
                  <a:gd name="connsiteX190" fmla="*/ 1874520 w 2242184"/>
                  <a:gd name="connsiteY190" fmla="*/ 416243 h 1686775"/>
                  <a:gd name="connsiteX191" fmla="*/ 1883093 w 2242184"/>
                  <a:gd name="connsiteY191" fmla="*/ 407670 h 1686775"/>
                  <a:gd name="connsiteX192" fmla="*/ 1889760 w 2242184"/>
                  <a:gd name="connsiteY192" fmla="*/ 392430 h 1686775"/>
                  <a:gd name="connsiteX193" fmla="*/ 1901190 w 2242184"/>
                  <a:gd name="connsiteY193" fmla="*/ 386715 h 1686775"/>
                  <a:gd name="connsiteX194" fmla="*/ 1919288 w 2242184"/>
                  <a:gd name="connsiteY194" fmla="*/ 381000 h 1686775"/>
                  <a:gd name="connsiteX195" fmla="*/ 1925955 w 2242184"/>
                  <a:gd name="connsiteY195" fmla="*/ 371475 h 1686775"/>
                  <a:gd name="connsiteX196" fmla="*/ 1924050 w 2242184"/>
                  <a:gd name="connsiteY196" fmla="*/ 359093 h 1686775"/>
                  <a:gd name="connsiteX197" fmla="*/ 1920240 w 2242184"/>
                  <a:gd name="connsiteY197" fmla="*/ 352425 h 1686775"/>
                  <a:gd name="connsiteX198" fmla="*/ 1900238 w 2242184"/>
                  <a:gd name="connsiteY198" fmla="*/ 349568 h 1686775"/>
                  <a:gd name="connsiteX199" fmla="*/ 1891665 w 2242184"/>
                  <a:gd name="connsiteY199" fmla="*/ 340995 h 1686775"/>
                  <a:gd name="connsiteX200" fmla="*/ 1889760 w 2242184"/>
                  <a:gd name="connsiteY200" fmla="*/ 335280 h 1686775"/>
                  <a:gd name="connsiteX201" fmla="*/ 1876425 w 2242184"/>
                  <a:gd name="connsiteY201" fmla="*/ 332423 h 1686775"/>
                  <a:gd name="connsiteX202" fmla="*/ 1864995 w 2242184"/>
                  <a:gd name="connsiteY202" fmla="*/ 330518 h 1686775"/>
                  <a:gd name="connsiteX203" fmla="*/ 1854518 w 2242184"/>
                  <a:gd name="connsiteY203" fmla="*/ 319087 h 1686775"/>
                  <a:gd name="connsiteX204" fmla="*/ 1844040 w 2242184"/>
                  <a:gd name="connsiteY204" fmla="*/ 303848 h 1686775"/>
                  <a:gd name="connsiteX205" fmla="*/ 1837373 w 2242184"/>
                  <a:gd name="connsiteY205" fmla="*/ 291465 h 1686775"/>
                  <a:gd name="connsiteX206" fmla="*/ 1817370 w 2242184"/>
                  <a:gd name="connsiteY206" fmla="*/ 280987 h 1686775"/>
                  <a:gd name="connsiteX207" fmla="*/ 1810703 w 2242184"/>
                  <a:gd name="connsiteY207" fmla="*/ 273368 h 1686775"/>
                  <a:gd name="connsiteX208" fmla="*/ 1800225 w 2242184"/>
                  <a:gd name="connsiteY208" fmla="*/ 267653 h 1686775"/>
                  <a:gd name="connsiteX209" fmla="*/ 1786890 w 2242184"/>
                  <a:gd name="connsiteY209" fmla="*/ 257175 h 1686775"/>
                  <a:gd name="connsiteX210" fmla="*/ 1766888 w 2242184"/>
                  <a:gd name="connsiteY210" fmla="*/ 268605 h 1686775"/>
                  <a:gd name="connsiteX211" fmla="*/ 1753553 w 2242184"/>
                  <a:gd name="connsiteY211" fmla="*/ 275273 h 1686775"/>
                  <a:gd name="connsiteX212" fmla="*/ 1726883 w 2242184"/>
                  <a:gd name="connsiteY212" fmla="*/ 279083 h 1686775"/>
                  <a:gd name="connsiteX213" fmla="*/ 1715453 w 2242184"/>
                  <a:gd name="connsiteY213" fmla="*/ 276225 h 1686775"/>
                  <a:gd name="connsiteX214" fmla="*/ 1713548 w 2242184"/>
                  <a:gd name="connsiteY214" fmla="*/ 267653 h 1686775"/>
                  <a:gd name="connsiteX215" fmla="*/ 1711643 w 2242184"/>
                  <a:gd name="connsiteY215" fmla="*/ 258128 h 1686775"/>
                  <a:gd name="connsiteX216" fmla="*/ 1711643 w 2242184"/>
                  <a:gd name="connsiteY216" fmla="*/ 249555 h 1686775"/>
                  <a:gd name="connsiteX217" fmla="*/ 1709738 w 2242184"/>
                  <a:gd name="connsiteY217" fmla="*/ 242887 h 1686775"/>
                  <a:gd name="connsiteX218" fmla="*/ 1705928 w 2242184"/>
                  <a:gd name="connsiteY218" fmla="*/ 237173 h 1686775"/>
                  <a:gd name="connsiteX219" fmla="*/ 1690688 w 2242184"/>
                  <a:gd name="connsiteY219" fmla="*/ 234315 h 1686775"/>
                  <a:gd name="connsiteX220" fmla="*/ 1677353 w 2242184"/>
                  <a:gd name="connsiteY220" fmla="*/ 232410 h 1686775"/>
                  <a:gd name="connsiteX221" fmla="*/ 1665923 w 2242184"/>
                  <a:gd name="connsiteY221" fmla="*/ 232410 h 1686775"/>
                  <a:gd name="connsiteX222" fmla="*/ 1657350 w 2242184"/>
                  <a:gd name="connsiteY222" fmla="*/ 224790 h 1686775"/>
                  <a:gd name="connsiteX223" fmla="*/ 1647825 w 2242184"/>
                  <a:gd name="connsiteY223" fmla="*/ 218123 h 1686775"/>
                  <a:gd name="connsiteX224" fmla="*/ 1634490 w 2242184"/>
                  <a:gd name="connsiteY224" fmla="*/ 215265 h 1686775"/>
                  <a:gd name="connsiteX225" fmla="*/ 1617345 w 2242184"/>
                  <a:gd name="connsiteY225" fmla="*/ 215265 h 1686775"/>
                  <a:gd name="connsiteX226" fmla="*/ 1605915 w 2242184"/>
                  <a:gd name="connsiteY226" fmla="*/ 215265 h 1686775"/>
                  <a:gd name="connsiteX227" fmla="*/ 1584008 w 2242184"/>
                  <a:gd name="connsiteY227" fmla="*/ 215265 h 1686775"/>
                  <a:gd name="connsiteX228" fmla="*/ 1570673 w 2242184"/>
                  <a:gd name="connsiteY228" fmla="*/ 219075 h 1686775"/>
                  <a:gd name="connsiteX229" fmla="*/ 1559243 w 2242184"/>
                  <a:gd name="connsiteY229" fmla="*/ 242887 h 1686775"/>
                  <a:gd name="connsiteX230" fmla="*/ 1559243 w 2242184"/>
                  <a:gd name="connsiteY230" fmla="*/ 255270 h 1686775"/>
                  <a:gd name="connsiteX231" fmla="*/ 1559243 w 2242184"/>
                  <a:gd name="connsiteY231" fmla="*/ 261937 h 1686775"/>
                  <a:gd name="connsiteX232" fmla="*/ 1559243 w 2242184"/>
                  <a:gd name="connsiteY232" fmla="*/ 265748 h 1686775"/>
                  <a:gd name="connsiteX233" fmla="*/ 1563053 w 2242184"/>
                  <a:gd name="connsiteY233" fmla="*/ 280035 h 1686775"/>
                  <a:gd name="connsiteX234" fmla="*/ 1566863 w 2242184"/>
                  <a:gd name="connsiteY234" fmla="*/ 297180 h 1686775"/>
                  <a:gd name="connsiteX235" fmla="*/ 1564005 w 2242184"/>
                  <a:gd name="connsiteY235" fmla="*/ 320040 h 1686775"/>
                  <a:gd name="connsiteX236" fmla="*/ 1550670 w 2242184"/>
                  <a:gd name="connsiteY236" fmla="*/ 331470 h 1686775"/>
                  <a:gd name="connsiteX237" fmla="*/ 1542098 w 2242184"/>
                  <a:gd name="connsiteY237" fmla="*/ 331470 h 1686775"/>
                  <a:gd name="connsiteX238" fmla="*/ 1528763 w 2242184"/>
                  <a:gd name="connsiteY238" fmla="*/ 343853 h 1686775"/>
                  <a:gd name="connsiteX239" fmla="*/ 1535430 w 2242184"/>
                  <a:gd name="connsiteY239" fmla="*/ 359093 h 1686775"/>
                  <a:gd name="connsiteX240" fmla="*/ 1537335 w 2242184"/>
                  <a:gd name="connsiteY240" fmla="*/ 377190 h 1686775"/>
                  <a:gd name="connsiteX241" fmla="*/ 1544003 w 2242184"/>
                  <a:gd name="connsiteY241" fmla="*/ 382905 h 1686775"/>
                  <a:gd name="connsiteX242" fmla="*/ 1517333 w 2242184"/>
                  <a:gd name="connsiteY242" fmla="*/ 385762 h 1686775"/>
                  <a:gd name="connsiteX243" fmla="*/ 1510665 w 2242184"/>
                  <a:gd name="connsiteY243" fmla="*/ 380048 h 1686775"/>
                  <a:gd name="connsiteX244" fmla="*/ 1500188 w 2242184"/>
                  <a:gd name="connsiteY244" fmla="*/ 369570 h 1686775"/>
                  <a:gd name="connsiteX245" fmla="*/ 1496378 w 2242184"/>
                  <a:gd name="connsiteY245" fmla="*/ 358140 h 1686775"/>
                  <a:gd name="connsiteX246" fmla="*/ 1492568 w 2242184"/>
                  <a:gd name="connsiteY246" fmla="*/ 342900 h 1686775"/>
                  <a:gd name="connsiteX247" fmla="*/ 1490663 w 2242184"/>
                  <a:gd name="connsiteY247" fmla="*/ 328612 h 1686775"/>
                  <a:gd name="connsiteX248" fmla="*/ 1470660 w 2242184"/>
                  <a:gd name="connsiteY248" fmla="*/ 323850 h 1686775"/>
                  <a:gd name="connsiteX249" fmla="*/ 1450658 w 2242184"/>
                  <a:gd name="connsiteY249" fmla="*/ 320993 h 1686775"/>
                  <a:gd name="connsiteX250" fmla="*/ 1442085 w 2242184"/>
                  <a:gd name="connsiteY250" fmla="*/ 316230 h 1686775"/>
                  <a:gd name="connsiteX251" fmla="*/ 1437323 w 2242184"/>
                  <a:gd name="connsiteY251" fmla="*/ 310515 h 1686775"/>
                  <a:gd name="connsiteX252" fmla="*/ 1410653 w 2242184"/>
                  <a:gd name="connsiteY252" fmla="*/ 304800 h 1686775"/>
                  <a:gd name="connsiteX253" fmla="*/ 1390650 w 2242184"/>
                  <a:gd name="connsiteY253" fmla="*/ 303848 h 1686775"/>
                  <a:gd name="connsiteX254" fmla="*/ 1380173 w 2242184"/>
                  <a:gd name="connsiteY254" fmla="*/ 296228 h 1686775"/>
                  <a:gd name="connsiteX255" fmla="*/ 1366838 w 2242184"/>
                  <a:gd name="connsiteY255" fmla="*/ 294323 h 1686775"/>
                  <a:gd name="connsiteX256" fmla="*/ 1353503 w 2242184"/>
                  <a:gd name="connsiteY256" fmla="*/ 292418 h 1686775"/>
                  <a:gd name="connsiteX257" fmla="*/ 1336358 w 2242184"/>
                  <a:gd name="connsiteY257" fmla="*/ 289560 h 1686775"/>
                  <a:gd name="connsiteX258" fmla="*/ 1323023 w 2242184"/>
                  <a:gd name="connsiteY258" fmla="*/ 287655 h 1686775"/>
                  <a:gd name="connsiteX259" fmla="*/ 1312545 w 2242184"/>
                  <a:gd name="connsiteY259" fmla="*/ 279083 h 1686775"/>
                  <a:gd name="connsiteX260" fmla="*/ 1308735 w 2242184"/>
                  <a:gd name="connsiteY260" fmla="*/ 270510 h 1686775"/>
                  <a:gd name="connsiteX261" fmla="*/ 1291590 w 2242184"/>
                  <a:gd name="connsiteY261" fmla="*/ 264795 h 1686775"/>
                  <a:gd name="connsiteX262" fmla="*/ 1278255 w 2242184"/>
                  <a:gd name="connsiteY262" fmla="*/ 260033 h 1686775"/>
                  <a:gd name="connsiteX263" fmla="*/ 1263015 w 2242184"/>
                  <a:gd name="connsiteY263" fmla="*/ 255270 h 1686775"/>
                  <a:gd name="connsiteX264" fmla="*/ 1267778 w 2242184"/>
                  <a:gd name="connsiteY264" fmla="*/ 243840 h 1686775"/>
                  <a:gd name="connsiteX265" fmla="*/ 1279208 w 2242184"/>
                  <a:gd name="connsiteY265" fmla="*/ 234315 h 1686775"/>
                  <a:gd name="connsiteX266" fmla="*/ 1290638 w 2242184"/>
                  <a:gd name="connsiteY266" fmla="*/ 228600 h 1686775"/>
                  <a:gd name="connsiteX267" fmla="*/ 1292543 w 2242184"/>
                  <a:gd name="connsiteY267" fmla="*/ 222885 h 1686775"/>
                  <a:gd name="connsiteX268" fmla="*/ 1299210 w 2242184"/>
                  <a:gd name="connsiteY268" fmla="*/ 216217 h 1686775"/>
                  <a:gd name="connsiteX269" fmla="*/ 1301115 w 2242184"/>
                  <a:gd name="connsiteY269" fmla="*/ 210503 h 1686775"/>
                  <a:gd name="connsiteX270" fmla="*/ 1307783 w 2242184"/>
                  <a:gd name="connsiteY270" fmla="*/ 209550 h 1686775"/>
                  <a:gd name="connsiteX271" fmla="*/ 1319213 w 2242184"/>
                  <a:gd name="connsiteY271" fmla="*/ 200025 h 1686775"/>
                  <a:gd name="connsiteX272" fmla="*/ 1327785 w 2242184"/>
                  <a:gd name="connsiteY272" fmla="*/ 193358 h 1686775"/>
                  <a:gd name="connsiteX273" fmla="*/ 1334453 w 2242184"/>
                  <a:gd name="connsiteY273" fmla="*/ 192405 h 1686775"/>
                  <a:gd name="connsiteX274" fmla="*/ 1343025 w 2242184"/>
                  <a:gd name="connsiteY274" fmla="*/ 192405 h 1686775"/>
                  <a:gd name="connsiteX275" fmla="*/ 1361123 w 2242184"/>
                  <a:gd name="connsiteY275" fmla="*/ 185737 h 1686775"/>
                  <a:gd name="connsiteX276" fmla="*/ 1369695 w 2242184"/>
                  <a:gd name="connsiteY276" fmla="*/ 180023 h 1686775"/>
                  <a:gd name="connsiteX277" fmla="*/ 1398270 w 2242184"/>
                  <a:gd name="connsiteY277" fmla="*/ 164783 h 1686775"/>
                  <a:gd name="connsiteX278" fmla="*/ 1403033 w 2242184"/>
                  <a:gd name="connsiteY278" fmla="*/ 158115 h 1686775"/>
                  <a:gd name="connsiteX279" fmla="*/ 1405890 w 2242184"/>
                  <a:gd name="connsiteY279" fmla="*/ 151448 h 1686775"/>
                  <a:gd name="connsiteX280" fmla="*/ 1412558 w 2242184"/>
                  <a:gd name="connsiteY280" fmla="*/ 142875 h 1686775"/>
                  <a:gd name="connsiteX281" fmla="*/ 1425893 w 2242184"/>
                  <a:gd name="connsiteY281" fmla="*/ 140017 h 1686775"/>
                  <a:gd name="connsiteX282" fmla="*/ 1434465 w 2242184"/>
                  <a:gd name="connsiteY282" fmla="*/ 139065 h 1686775"/>
                  <a:gd name="connsiteX283" fmla="*/ 1461135 w 2242184"/>
                  <a:gd name="connsiteY283" fmla="*/ 139065 h 1686775"/>
                  <a:gd name="connsiteX284" fmla="*/ 1483043 w 2242184"/>
                  <a:gd name="connsiteY284" fmla="*/ 135255 h 1686775"/>
                  <a:gd name="connsiteX285" fmla="*/ 1487805 w 2242184"/>
                  <a:gd name="connsiteY285" fmla="*/ 128587 h 1686775"/>
                  <a:gd name="connsiteX286" fmla="*/ 1490663 w 2242184"/>
                  <a:gd name="connsiteY286" fmla="*/ 120015 h 1686775"/>
                  <a:gd name="connsiteX287" fmla="*/ 1497330 w 2242184"/>
                  <a:gd name="connsiteY287" fmla="*/ 111442 h 1686775"/>
                  <a:gd name="connsiteX288" fmla="*/ 1500188 w 2242184"/>
                  <a:gd name="connsiteY288" fmla="*/ 102870 h 1686775"/>
                  <a:gd name="connsiteX289" fmla="*/ 1500188 w 2242184"/>
                  <a:gd name="connsiteY289" fmla="*/ 91440 h 1686775"/>
                  <a:gd name="connsiteX290" fmla="*/ 1486853 w 2242184"/>
                  <a:gd name="connsiteY290" fmla="*/ 82867 h 1686775"/>
                  <a:gd name="connsiteX291" fmla="*/ 1478280 w 2242184"/>
                  <a:gd name="connsiteY291" fmla="*/ 78105 h 1686775"/>
                  <a:gd name="connsiteX292" fmla="*/ 1506855 w 2242184"/>
                  <a:gd name="connsiteY292" fmla="*/ 75248 h 1686775"/>
                  <a:gd name="connsiteX293" fmla="*/ 1513523 w 2242184"/>
                  <a:gd name="connsiteY293" fmla="*/ 77153 h 1686775"/>
                  <a:gd name="connsiteX294" fmla="*/ 1531620 w 2242184"/>
                  <a:gd name="connsiteY294" fmla="*/ 77153 h 1686775"/>
                  <a:gd name="connsiteX295" fmla="*/ 1544955 w 2242184"/>
                  <a:gd name="connsiteY295" fmla="*/ 77153 h 1686775"/>
                  <a:gd name="connsiteX296" fmla="*/ 1560195 w 2242184"/>
                  <a:gd name="connsiteY296" fmla="*/ 80010 h 1686775"/>
                  <a:gd name="connsiteX297" fmla="*/ 1584008 w 2242184"/>
                  <a:gd name="connsiteY297" fmla="*/ 84773 h 1686775"/>
                  <a:gd name="connsiteX298" fmla="*/ 1594485 w 2242184"/>
                  <a:gd name="connsiteY298" fmla="*/ 87630 h 1686775"/>
                  <a:gd name="connsiteX299" fmla="*/ 1603058 w 2242184"/>
                  <a:gd name="connsiteY299" fmla="*/ 90487 h 1686775"/>
                  <a:gd name="connsiteX300" fmla="*/ 1633538 w 2242184"/>
                  <a:gd name="connsiteY300" fmla="*/ 100965 h 1686775"/>
                  <a:gd name="connsiteX301" fmla="*/ 1642110 w 2242184"/>
                  <a:gd name="connsiteY301" fmla="*/ 105728 h 1686775"/>
                  <a:gd name="connsiteX302" fmla="*/ 1645920 w 2242184"/>
                  <a:gd name="connsiteY302" fmla="*/ 112395 h 1686775"/>
                  <a:gd name="connsiteX303" fmla="*/ 1647825 w 2242184"/>
                  <a:gd name="connsiteY303" fmla="*/ 118110 h 1686775"/>
                  <a:gd name="connsiteX304" fmla="*/ 1643063 w 2242184"/>
                  <a:gd name="connsiteY304" fmla="*/ 126683 h 1686775"/>
                  <a:gd name="connsiteX305" fmla="*/ 1643063 w 2242184"/>
                  <a:gd name="connsiteY305" fmla="*/ 130492 h 1686775"/>
                  <a:gd name="connsiteX306" fmla="*/ 1629728 w 2242184"/>
                  <a:gd name="connsiteY306" fmla="*/ 141923 h 1686775"/>
                  <a:gd name="connsiteX307" fmla="*/ 1624965 w 2242184"/>
                  <a:gd name="connsiteY307" fmla="*/ 151448 h 1686775"/>
                  <a:gd name="connsiteX308" fmla="*/ 1626870 w 2242184"/>
                  <a:gd name="connsiteY308" fmla="*/ 160973 h 1686775"/>
                  <a:gd name="connsiteX309" fmla="*/ 1637348 w 2242184"/>
                  <a:gd name="connsiteY309" fmla="*/ 169545 h 1686775"/>
                  <a:gd name="connsiteX310" fmla="*/ 1647825 w 2242184"/>
                  <a:gd name="connsiteY310" fmla="*/ 177165 h 1686775"/>
                  <a:gd name="connsiteX311" fmla="*/ 1654493 w 2242184"/>
                  <a:gd name="connsiteY311" fmla="*/ 182880 h 1686775"/>
                  <a:gd name="connsiteX312" fmla="*/ 1664970 w 2242184"/>
                  <a:gd name="connsiteY312" fmla="*/ 190500 h 1686775"/>
                  <a:gd name="connsiteX313" fmla="*/ 1680210 w 2242184"/>
                  <a:gd name="connsiteY313" fmla="*/ 196215 h 1686775"/>
                  <a:gd name="connsiteX314" fmla="*/ 1704023 w 2242184"/>
                  <a:gd name="connsiteY314" fmla="*/ 206692 h 1686775"/>
                  <a:gd name="connsiteX315" fmla="*/ 1710690 w 2242184"/>
                  <a:gd name="connsiteY315" fmla="*/ 209550 h 1686775"/>
                  <a:gd name="connsiteX316" fmla="*/ 1727835 w 2242184"/>
                  <a:gd name="connsiteY316" fmla="*/ 215265 h 1686775"/>
                  <a:gd name="connsiteX317" fmla="*/ 1736408 w 2242184"/>
                  <a:gd name="connsiteY317" fmla="*/ 218123 h 1686775"/>
                  <a:gd name="connsiteX318" fmla="*/ 1751648 w 2242184"/>
                  <a:gd name="connsiteY318" fmla="*/ 217170 h 1686775"/>
                  <a:gd name="connsiteX319" fmla="*/ 1762125 w 2242184"/>
                  <a:gd name="connsiteY319" fmla="*/ 218123 h 1686775"/>
                  <a:gd name="connsiteX320" fmla="*/ 1760220 w 2242184"/>
                  <a:gd name="connsiteY320" fmla="*/ 209550 h 1686775"/>
                  <a:gd name="connsiteX321" fmla="*/ 1771650 w 2242184"/>
                  <a:gd name="connsiteY321" fmla="*/ 209550 h 1686775"/>
                  <a:gd name="connsiteX322" fmla="*/ 1789748 w 2242184"/>
                  <a:gd name="connsiteY322" fmla="*/ 207645 h 1686775"/>
                  <a:gd name="connsiteX323" fmla="*/ 1792605 w 2242184"/>
                  <a:gd name="connsiteY323" fmla="*/ 203835 h 1686775"/>
                  <a:gd name="connsiteX324" fmla="*/ 1794510 w 2242184"/>
                  <a:gd name="connsiteY324" fmla="*/ 198120 h 1686775"/>
                  <a:gd name="connsiteX325" fmla="*/ 1789748 w 2242184"/>
                  <a:gd name="connsiteY325" fmla="*/ 192405 h 1686775"/>
                  <a:gd name="connsiteX326" fmla="*/ 1784985 w 2242184"/>
                  <a:gd name="connsiteY326" fmla="*/ 187642 h 1686775"/>
                  <a:gd name="connsiteX327" fmla="*/ 1778318 w 2242184"/>
                  <a:gd name="connsiteY327" fmla="*/ 178117 h 1686775"/>
                  <a:gd name="connsiteX328" fmla="*/ 1771650 w 2242184"/>
                  <a:gd name="connsiteY328" fmla="*/ 169545 h 1686775"/>
                  <a:gd name="connsiteX329" fmla="*/ 1755458 w 2242184"/>
                  <a:gd name="connsiteY329" fmla="*/ 163830 h 1686775"/>
                  <a:gd name="connsiteX330" fmla="*/ 1749743 w 2242184"/>
                  <a:gd name="connsiteY330" fmla="*/ 155258 h 1686775"/>
                  <a:gd name="connsiteX331" fmla="*/ 1751648 w 2242184"/>
                  <a:gd name="connsiteY331" fmla="*/ 148590 h 1686775"/>
                  <a:gd name="connsiteX332" fmla="*/ 1764983 w 2242184"/>
                  <a:gd name="connsiteY332" fmla="*/ 149542 h 1686775"/>
                  <a:gd name="connsiteX333" fmla="*/ 1772603 w 2242184"/>
                  <a:gd name="connsiteY333" fmla="*/ 155258 h 1686775"/>
                  <a:gd name="connsiteX334" fmla="*/ 1781175 w 2242184"/>
                  <a:gd name="connsiteY334" fmla="*/ 158115 h 1686775"/>
                  <a:gd name="connsiteX335" fmla="*/ 1786890 w 2242184"/>
                  <a:gd name="connsiteY335" fmla="*/ 161925 h 1686775"/>
                  <a:gd name="connsiteX336" fmla="*/ 1798320 w 2242184"/>
                  <a:gd name="connsiteY336" fmla="*/ 164783 h 1686775"/>
                  <a:gd name="connsiteX337" fmla="*/ 1806893 w 2242184"/>
                  <a:gd name="connsiteY337" fmla="*/ 165735 h 1686775"/>
                  <a:gd name="connsiteX338" fmla="*/ 1814513 w 2242184"/>
                  <a:gd name="connsiteY338" fmla="*/ 160973 h 1686775"/>
                  <a:gd name="connsiteX339" fmla="*/ 1820228 w 2242184"/>
                  <a:gd name="connsiteY339" fmla="*/ 156210 h 1686775"/>
                  <a:gd name="connsiteX340" fmla="*/ 1834515 w 2242184"/>
                  <a:gd name="connsiteY340" fmla="*/ 156210 h 1686775"/>
                  <a:gd name="connsiteX341" fmla="*/ 1839278 w 2242184"/>
                  <a:gd name="connsiteY341" fmla="*/ 156210 h 1686775"/>
                  <a:gd name="connsiteX342" fmla="*/ 1846898 w 2242184"/>
                  <a:gd name="connsiteY342" fmla="*/ 150495 h 1686775"/>
                  <a:gd name="connsiteX343" fmla="*/ 1852613 w 2242184"/>
                  <a:gd name="connsiteY343" fmla="*/ 145733 h 1686775"/>
                  <a:gd name="connsiteX344" fmla="*/ 1854518 w 2242184"/>
                  <a:gd name="connsiteY344" fmla="*/ 140017 h 1686775"/>
                  <a:gd name="connsiteX345" fmla="*/ 1856423 w 2242184"/>
                  <a:gd name="connsiteY345" fmla="*/ 134303 h 1686775"/>
                  <a:gd name="connsiteX346" fmla="*/ 1856423 w 2242184"/>
                  <a:gd name="connsiteY346" fmla="*/ 130492 h 1686775"/>
                  <a:gd name="connsiteX347" fmla="*/ 1848803 w 2242184"/>
                  <a:gd name="connsiteY347" fmla="*/ 126683 h 1686775"/>
                  <a:gd name="connsiteX348" fmla="*/ 1837373 w 2242184"/>
                  <a:gd name="connsiteY348" fmla="*/ 123825 h 1686775"/>
                  <a:gd name="connsiteX349" fmla="*/ 1820228 w 2242184"/>
                  <a:gd name="connsiteY349" fmla="*/ 119062 h 1686775"/>
                  <a:gd name="connsiteX350" fmla="*/ 1805940 w 2242184"/>
                  <a:gd name="connsiteY350" fmla="*/ 111442 h 1686775"/>
                  <a:gd name="connsiteX351" fmla="*/ 1800225 w 2242184"/>
                  <a:gd name="connsiteY351" fmla="*/ 112395 h 1686775"/>
                  <a:gd name="connsiteX352" fmla="*/ 1788795 w 2242184"/>
                  <a:gd name="connsiteY352" fmla="*/ 111442 h 1686775"/>
                  <a:gd name="connsiteX353" fmla="*/ 1778318 w 2242184"/>
                  <a:gd name="connsiteY353" fmla="*/ 105728 h 1686775"/>
                  <a:gd name="connsiteX354" fmla="*/ 1772603 w 2242184"/>
                  <a:gd name="connsiteY354" fmla="*/ 101917 h 1686775"/>
                  <a:gd name="connsiteX355" fmla="*/ 1762125 w 2242184"/>
                  <a:gd name="connsiteY355" fmla="*/ 100965 h 1686775"/>
                  <a:gd name="connsiteX356" fmla="*/ 1750695 w 2242184"/>
                  <a:gd name="connsiteY356" fmla="*/ 96203 h 1686775"/>
                  <a:gd name="connsiteX357" fmla="*/ 1752600 w 2242184"/>
                  <a:gd name="connsiteY357" fmla="*/ 85725 h 1686775"/>
                  <a:gd name="connsiteX358" fmla="*/ 1751648 w 2242184"/>
                  <a:gd name="connsiteY358" fmla="*/ 79058 h 1686775"/>
                  <a:gd name="connsiteX359" fmla="*/ 1751648 w 2242184"/>
                  <a:gd name="connsiteY359" fmla="*/ 75248 h 1686775"/>
                  <a:gd name="connsiteX360" fmla="*/ 1745933 w 2242184"/>
                  <a:gd name="connsiteY360" fmla="*/ 67628 h 1686775"/>
                  <a:gd name="connsiteX361" fmla="*/ 1737360 w 2242184"/>
                  <a:gd name="connsiteY361" fmla="*/ 63817 h 1686775"/>
                  <a:gd name="connsiteX362" fmla="*/ 1725930 w 2242184"/>
                  <a:gd name="connsiteY362" fmla="*/ 62865 h 1686775"/>
                  <a:gd name="connsiteX363" fmla="*/ 1708785 w 2242184"/>
                  <a:gd name="connsiteY363" fmla="*/ 54292 h 1686775"/>
                  <a:gd name="connsiteX364" fmla="*/ 1700213 w 2242184"/>
                  <a:gd name="connsiteY364" fmla="*/ 51435 h 1686775"/>
                  <a:gd name="connsiteX365" fmla="*/ 1676400 w 2242184"/>
                  <a:gd name="connsiteY365" fmla="*/ 46672 h 1686775"/>
                  <a:gd name="connsiteX366" fmla="*/ 1664970 w 2242184"/>
                  <a:gd name="connsiteY366" fmla="*/ 43815 h 1686775"/>
                  <a:gd name="connsiteX367" fmla="*/ 1650683 w 2242184"/>
                  <a:gd name="connsiteY367" fmla="*/ 42863 h 1686775"/>
                  <a:gd name="connsiteX368" fmla="*/ 1628775 w 2242184"/>
                  <a:gd name="connsiteY368" fmla="*/ 31432 h 1686775"/>
                  <a:gd name="connsiteX369" fmla="*/ 1612583 w 2242184"/>
                  <a:gd name="connsiteY369" fmla="*/ 22860 h 1686775"/>
                  <a:gd name="connsiteX370" fmla="*/ 1604010 w 2242184"/>
                  <a:gd name="connsiteY370" fmla="*/ 14288 h 1686775"/>
                  <a:gd name="connsiteX371" fmla="*/ 1590675 w 2242184"/>
                  <a:gd name="connsiteY371" fmla="*/ 15240 h 1686775"/>
                  <a:gd name="connsiteX372" fmla="*/ 1583055 w 2242184"/>
                  <a:gd name="connsiteY372" fmla="*/ 13335 h 1686775"/>
                  <a:gd name="connsiteX373" fmla="*/ 1561148 w 2242184"/>
                  <a:gd name="connsiteY373" fmla="*/ 17145 h 1686775"/>
                  <a:gd name="connsiteX374" fmla="*/ 1553528 w 2242184"/>
                  <a:gd name="connsiteY374" fmla="*/ 25717 h 1686775"/>
                  <a:gd name="connsiteX375" fmla="*/ 1544955 w 2242184"/>
                  <a:gd name="connsiteY375" fmla="*/ 24765 h 1686775"/>
                  <a:gd name="connsiteX376" fmla="*/ 1534478 w 2242184"/>
                  <a:gd name="connsiteY376" fmla="*/ 18097 h 1686775"/>
                  <a:gd name="connsiteX377" fmla="*/ 1524000 w 2242184"/>
                  <a:gd name="connsiteY377" fmla="*/ 11430 h 1686775"/>
                  <a:gd name="connsiteX378" fmla="*/ 1503998 w 2242184"/>
                  <a:gd name="connsiteY378" fmla="*/ 4763 h 1686775"/>
                  <a:gd name="connsiteX379" fmla="*/ 1495425 w 2242184"/>
                  <a:gd name="connsiteY379" fmla="*/ 1905 h 1686775"/>
                  <a:gd name="connsiteX380" fmla="*/ 1474470 w 2242184"/>
                  <a:gd name="connsiteY380" fmla="*/ 1905 h 1686775"/>
                  <a:gd name="connsiteX381" fmla="*/ 1468755 w 2242184"/>
                  <a:gd name="connsiteY381" fmla="*/ 1905 h 1686775"/>
                  <a:gd name="connsiteX382" fmla="*/ 1463993 w 2242184"/>
                  <a:gd name="connsiteY382" fmla="*/ 5715 h 1686775"/>
                  <a:gd name="connsiteX383" fmla="*/ 1458278 w 2242184"/>
                  <a:gd name="connsiteY383" fmla="*/ 8572 h 1686775"/>
                  <a:gd name="connsiteX384" fmla="*/ 1449705 w 2242184"/>
                  <a:gd name="connsiteY384" fmla="*/ 11430 h 1686775"/>
                  <a:gd name="connsiteX385" fmla="*/ 1444943 w 2242184"/>
                  <a:gd name="connsiteY385" fmla="*/ 17145 h 1686775"/>
                  <a:gd name="connsiteX386" fmla="*/ 1442085 w 2242184"/>
                  <a:gd name="connsiteY386" fmla="*/ 24765 h 1686775"/>
                  <a:gd name="connsiteX387" fmla="*/ 1443038 w 2242184"/>
                  <a:gd name="connsiteY387" fmla="*/ 28575 h 1686775"/>
                  <a:gd name="connsiteX388" fmla="*/ 1434465 w 2242184"/>
                  <a:gd name="connsiteY388" fmla="*/ 33338 h 1686775"/>
                  <a:gd name="connsiteX389" fmla="*/ 1425893 w 2242184"/>
                  <a:gd name="connsiteY389" fmla="*/ 31432 h 1686775"/>
                  <a:gd name="connsiteX390" fmla="*/ 1423035 w 2242184"/>
                  <a:gd name="connsiteY390" fmla="*/ 23813 h 1686775"/>
                  <a:gd name="connsiteX391" fmla="*/ 1425893 w 2242184"/>
                  <a:gd name="connsiteY391" fmla="*/ 19050 h 1686775"/>
                  <a:gd name="connsiteX392" fmla="*/ 1430655 w 2242184"/>
                  <a:gd name="connsiteY392" fmla="*/ 13335 h 1686775"/>
                  <a:gd name="connsiteX393" fmla="*/ 1432560 w 2242184"/>
                  <a:gd name="connsiteY393" fmla="*/ 7620 h 1686775"/>
                  <a:gd name="connsiteX394" fmla="*/ 1432560 w 2242184"/>
                  <a:gd name="connsiteY394" fmla="*/ 3810 h 1686775"/>
                  <a:gd name="connsiteX395" fmla="*/ 1415415 w 2242184"/>
                  <a:gd name="connsiteY395" fmla="*/ 953 h 1686775"/>
                  <a:gd name="connsiteX396" fmla="*/ 1402080 w 2242184"/>
                  <a:gd name="connsiteY396" fmla="*/ 0 h 1686775"/>
                  <a:gd name="connsiteX397" fmla="*/ 1380173 w 2242184"/>
                  <a:gd name="connsiteY397" fmla="*/ 6667 h 1686775"/>
                  <a:gd name="connsiteX398" fmla="*/ 1369695 w 2242184"/>
                  <a:gd name="connsiteY398" fmla="*/ 15240 h 1686775"/>
                  <a:gd name="connsiteX399" fmla="*/ 1369695 w 2242184"/>
                  <a:gd name="connsiteY399" fmla="*/ 18097 h 1686775"/>
                  <a:gd name="connsiteX400" fmla="*/ 1366838 w 2242184"/>
                  <a:gd name="connsiteY400" fmla="*/ 30480 h 1686775"/>
                  <a:gd name="connsiteX401" fmla="*/ 1366838 w 2242184"/>
                  <a:gd name="connsiteY401" fmla="*/ 40957 h 1686775"/>
                  <a:gd name="connsiteX402" fmla="*/ 1374458 w 2242184"/>
                  <a:gd name="connsiteY402" fmla="*/ 48578 h 1686775"/>
                  <a:gd name="connsiteX403" fmla="*/ 1382078 w 2242184"/>
                  <a:gd name="connsiteY403" fmla="*/ 55245 h 1686775"/>
                  <a:gd name="connsiteX404" fmla="*/ 1390650 w 2242184"/>
                  <a:gd name="connsiteY404" fmla="*/ 60960 h 1686775"/>
                  <a:gd name="connsiteX405" fmla="*/ 1407795 w 2242184"/>
                  <a:gd name="connsiteY405" fmla="*/ 65723 h 1686775"/>
                  <a:gd name="connsiteX406" fmla="*/ 1415415 w 2242184"/>
                  <a:gd name="connsiteY406" fmla="*/ 69533 h 1686775"/>
                  <a:gd name="connsiteX407" fmla="*/ 1418273 w 2242184"/>
                  <a:gd name="connsiteY407" fmla="*/ 72390 h 1686775"/>
                  <a:gd name="connsiteX408" fmla="*/ 1432560 w 2242184"/>
                  <a:gd name="connsiteY408" fmla="*/ 76200 h 1686775"/>
                  <a:gd name="connsiteX409" fmla="*/ 1443990 w 2242184"/>
                  <a:gd name="connsiteY409" fmla="*/ 80962 h 1686775"/>
                  <a:gd name="connsiteX410" fmla="*/ 1446848 w 2242184"/>
                  <a:gd name="connsiteY410" fmla="*/ 87630 h 1686775"/>
                  <a:gd name="connsiteX411" fmla="*/ 1441133 w 2242184"/>
                  <a:gd name="connsiteY411" fmla="*/ 95250 h 1686775"/>
                  <a:gd name="connsiteX412" fmla="*/ 1441133 w 2242184"/>
                  <a:gd name="connsiteY412" fmla="*/ 98108 h 1686775"/>
                  <a:gd name="connsiteX413" fmla="*/ 1429703 w 2242184"/>
                  <a:gd name="connsiteY413" fmla="*/ 104775 h 1686775"/>
                  <a:gd name="connsiteX414" fmla="*/ 1419225 w 2242184"/>
                  <a:gd name="connsiteY414" fmla="*/ 110490 h 1686775"/>
                  <a:gd name="connsiteX415" fmla="*/ 1417320 w 2242184"/>
                  <a:gd name="connsiteY415" fmla="*/ 116205 h 1686775"/>
                  <a:gd name="connsiteX416" fmla="*/ 1403033 w 2242184"/>
                  <a:gd name="connsiteY416" fmla="*/ 120015 h 1686775"/>
                  <a:gd name="connsiteX417" fmla="*/ 1397318 w 2242184"/>
                  <a:gd name="connsiteY417" fmla="*/ 116205 h 1686775"/>
                  <a:gd name="connsiteX418" fmla="*/ 1397318 w 2242184"/>
                  <a:gd name="connsiteY418" fmla="*/ 107633 h 1686775"/>
                  <a:gd name="connsiteX419" fmla="*/ 1397318 w 2242184"/>
                  <a:gd name="connsiteY419" fmla="*/ 101917 h 1686775"/>
                  <a:gd name="connsiteX420" fmla="*/ 1396365 w 2242184"/>
                  <a:gd name="connsiteY420" fmla="*/ 95250 h 1686775"/>
                  <a:gd name="connsiteX421" fmla="*/ 1393508 w 2242184"/>
                  <a:gd name="connsiteY421" fmla="*/ 90487 h 1686775"/>
                  <a:gd name="connsiteX422" fmla="*/ 1384935 w 2242184"/>
                  <a:gd name="connsiteY422" fmla="*/ 88583 h 1686775"/>
                  <a:gd name="connsiteX423" fmla="*/ 1376363 w 2242184"/>
                  <a:gd name="connsiteY423" fmla="*/ 88583 h 1686775"/>
                  <a:gd name="connsiteX424" fmla="*/ 1364933 w 2242184"/>
                  <a:gd name="connsiteY424" fmla="*/ 88583 h 1686775"/>
                  <a:gd name="connsiteX425" fmla="*/ 1354455 w 2242184"/>
                  <a:gd name="connsiteY425" fmla="*/ 84773 h 1686775"/>
                  <a:gd name="connsiteX426" fmla="*/ 1354455 w 2242184"/>
                  <a:gd name="connsiteY426" fmla="*/ 81915 h 1686775"/>
                  <a:gd name="connsiteX427" fmla="*/ 1341120 w 2242184"/>
                  <a:gd name="connsiteY427" fmla="*/ 76200 h 1686775"/>
                  <a:gd name="connsiteX428" fmla="*/ 1324928 w 2242184"/>
                  <a:gd name="connsiteY428" fmla="*/ 74295 h 1686775"/>
                  <a:gd name="connsiteX429" fmla="*/ 1319213 w 2242184"/>
                  <a:gd name="connsiteY429" fmla="*/ 73342 h 1686775"/>
                  <a:gd name="connsiteX430" fmla="*/ 1318260 w 2242184"/>
                  <a:gd name="connsiteY430" fmla="*/ 60960 h 1686775"/>
                  <a:gd name="connsiteX431" fmla="*/ 1315403 w 2242184"/>
                  <a:gd name="connsiteY431" fmla="*/ 53340 h 1686775"/>
                  <a:gd name="connsiteX432" fmla="*/ 1309688 w 2242184"/>
                  <a:gd name="connsiteY432" fmla="*/ 45720 h 1686775"/>
                  <a:gd name="connsiteX433" fmla="*/ 1304925 w 2242184"/>
                  <a:gd name="connsiteY433" fmla="*/ 41910 h 1686775"/>
                  <a:gd name="connsiteX434" fmla="*/ 1299210 w 2242184"/>
                  <a:gd name="connsiteY434" fmla="*/ 40005 h 1686775"/>
                  <a:gd name="connsiteX435" fmla="*/ 1274445 w 2242184"/>
                  <a:gd name="connsiteY435" fmla="*/ 35242 h 1686775"/>
                  <a:gd name="connsiteX436" fmla="*/ 1266825 w 2242184"/>
                  <a:gd name="connsiteY436" fmla="*/ 39053 h 1686775"/>
                  <a:gd name="connsiteX437" fmla="*/ 1259205 w 2242184"/>
                  <a:gd name="connsiteY437" fmla="*/ 44767 h 1686775"/>
                  <a:gd name="connsiteX438" fmla="*/ 1247775 w 2242184"/>
                  <a:gd name="connsiteY438" fmla="*/ 48578 h 1686775"/>
                  <a:gd name="connsiteX439" fmla="*/ 1247775 w 2242184"/>
                  <a:gd name="connsiteY439" fmla="*/ 56197 h 1686775"/>
                  <a:gd name="connsiteX440" fmla="*/ 1253490 w 2242184"/>
                  <a:gd name="connsiteY440" fmla="*/ 66675 h 1686775"/>
                  <a:gd name="connsiteX441" fmla="*/ 1258253 w 2242184"/>
                  <a:gd name="connsiteY441" fmla="*/ 72390 h 1686775"/>
                  <a:gd name="connsiteX442" fmla="*/ 1263968 w 2242184"/>
                  <a:gd name="connsiteY442" fmla="*/ 77153 h 1686775"/>
                  <a:gd name="connsiteX443" fmla="*/ 1272540 w 2242184"/>
                  <a:gd name="connsiteY443" fmla="*/ 80962 h 1686775"/>
                  <a:gd name="connsiteX444" fmla="*/ 1280160 w 2242184"/>
                  <a:gd name="connsiteY444" fmla="*/ 83820 h 1686775"/>
                  <a:gd name="connsiteX445" fmla="*/ 1287780 w 2242184"/>
                  <a:gd name="connsiteY445" fmla="*/ 89535 h 1686775"/>
                  <a:gd name="connsiteX446" fmla="*/ 1291590 w 2242184"/>
                  <a:gd name="connsiteY446" fmla="*/ 97155 h 1686775"/>
                  <a:gd name="connsiteX447" fmla="*/ 1285875 w 2242184"/>
                  <a:gd name="connsiteY447" fmla="*/ 108585 h 1686775"/>
                  <a:gd name="connsiteX448" fmla="*/ 1271588 w 2242184"/>
                  <a:gd name="connsiteY448" fmla="*/ 109537 h 1686775"/>
                  <a:gd name="connsiteX449" fmla="*/ 1255395 w 2242184"/>
                  <a:gd name="connsiteY449" fmla="*/ 109537 h 1686775"/>
                  <a:gd name="connsiteX450" fmla="*/ 1249680 w 2242184"/>
                  <a:gd name="connsiteY450" fmla="*/ 101917 h 1686775"/>
                  <a:gd name="connsiteX451" fmla="*/ 1251585 w 2242184"/>
                  <a:gd name="connsiteY451" fmla="*/ 94298 h 1686775"/>
                  <a:gd name="connsiteX452" fmla="*/ 1254443 w 2242184"/>
                  <a:gd name="connsiteY452" fmla="*/ 89535 h 1686775"/>
                  <a:gd name="connsiteX453" fmla="*/ 1243965 w 2242184"/>
                  <a:gd name="connsiteY453" fmla="*/ 81915 h 1686775"/>
                  <a:gd name="connsiteX454" fmla="*/ 1230630 w 2242184"/>
                  <a:gd name="connsiteY454" fmla="*/ 79058 h 1686775"/>
                  <a:gd name="connsiteX455" fmla="*/ 1203008 w 2242184"/>
                  <a:gd name="connsiteY455" fmla="*/ 78105 h 1686775"/>
                  <a:gd name="connsiteX456" fmla="*/ 1203008 w 2242184"/>
                  <a:gd name="connsiteY456" fmla="*/ 84773 h 1686775"/>
                  <a:gd name="connsiteX457" fmla="*/ 1214438 w 2242184"/>
                  <a:gd name="connsiteY457" fmla="*/ 90487 h 1686775"/>
                  <a:gd name="connsiteX458" fmla="*/ 1221105 w 2242184"/>
                  <a:gd name="connsiteY458" fmla="*/ 100965 h 1686775"/>
                  <a:gd name="connsiteX459" fmla="*/ 1212533 w 2242184"/>
                  <a:gd name="connsiteY459" fmla="*/ 103823 h 1686775"/>
                  <a:gd name="connsiteX460" fmla="*/ 1190625 w 2242184"/>
                  <a:gd name="connsiteY460" fmla="*/ 105728 h 1686775"/>
                  <a:gd name="connsiteX461" fmla="*/ 1163003 w 2242184"/>
                  <a:gd name="connsiteY461" fmla="*/ 107633 h 1686775"/>
                  <a:gd name="connsiteX462" fmla="*/ 1130618 w 2242184"/>
                  <a:gd name="connsiteY462" fmla="*/ 108585 h 1686775"/>
                  <a:gd name="connsiteX463" fmla="*/ 1111568 w 2242184"/>
                  <a:gd name="connsiteY463" fmla="*/ 109537 h 1686775"/>
                  <a:gd name="connsiteX464" fmla="*/ 1084898 w 2242184"/>
                  <a:gd name="connsiteY464" fmla="*/ 110490 h 1686775"/>
                  <a:gd name="connsiteX465" fmla="*/ 1076325 w 2242184"/>
                  <a:gd name="connsiteY465" fmla="*/ 110490 h 1686775"/>
                  <a:gd name="connsiteX466" fmla="*/ 1054418 w 2242184"/>
                  <a:gd name="connsiteY466" fmla="*/ 106680 h 1686775"/>
                  <a:gd name="connsiteX467" fmla="*/ 1051560 w 2242184"/>
                  <a:gd name="connsiteY467" fmla="*/ 112395 h 1686775"/>
                  <a:gd name="connsiteX468" fmla="*/ 1041083 w 2242184"/>
                  <a:gd name="connsiteY468" fmla="*/ 118110 h 1686775"/>
                  <a:gd name="connsiteX469" fmla="*/ 1032510 w 2242184"/>
                  <a:gd name="connsiteY469" fmla="*/ 116205 h 1686775"/>
                  <a:gd name="connsiteX470" fmla="*/ 1024890 w 2242184"/>
                  <a:gd name="connsiteY470" fmla="*/ 116205 h 1686775"/>
                  <a:gd name="connsiteX471" fmla="*/ 1013460 w 2242184"/>
                  <a:gd name="connsiteY471" fmla="*/ 114300 h 1686775"/>
                  <a:gd name="connsiteX472" fmla="*/ 1008698 w 2242184"/>
                  <a:gd name="connsiteY472" fmla="*/ 115253 h 1686775"/>
                  <a:gd name="connsiteX473" fmla="*/ 975360 w 2242184"/>
                  <a:gd name="connsiteY473" fmla="*/ 113348 h 1686775"/>
                  <a:gd name="connsiteX474" fmla="*/ 942975 w 2242184"/>
                  <a:gd name="connsiteY474" fmla="*/ 104775 h 1686775"/>
                  <a:gd name="connsiteX475" fmla="*/ 935355 w 2242184"/>
                  <a:gd name="connsiteY475" fmla="*/ 101917 h 1686775"/>
                  <a:gd name="connsiteX476" fmla="*/ 929640 w 2242184"/>
                  <a:gd name="connsiteY476" fmla="*/ 99060 h 1686775"/>
                  <a:gd name="connsiteX477" fmla="*/ 921068 w 2242184"/>
                  <a:gd name="connsiteY477" fmla="*/ 92392 h 1686775"/>
                  <a:gd name="connsiteX478" fmla="*/ 918210 w 2242184"/>
                  <a:gd name="connsiteY478" fmla="*/ 86678 h 1686775"/>
                  <a:gd name="connsiteX479" fmla="*/ 910590 w 2242184"/>
                  <a:gd name="connsiteY479" fmla="*/ 85725 h 1686775"/>
                  <a:gd name="connsiteX480" fmla="*/ 896303 w 2242184"/>
                  <a:gd name="connsiteY480" fmla="*/ 84773 h 1686775"/>
                  <a:gd name="connsiteX481" fmla="*/ 884873 w 2242184"/>
                  <a:gd name="connsiteY481" fmla="*/ 84773 h 1686775"/>
                  <a:gd name="connsiteX482" fmla="*/ 868680 w 2242184"/>
                  <a:gd name="connsiteY482" fmla="*/ 84773 h 1686775"/>
                  <a:gd name="connsiteX483" fmla="*/ 857250 w 2242184"/>
                  <a:gd name="connsiteY483" fmla="*/ 81915 h 1686775"/>
                  <a:gd name="connsiteX484" fmla="*/ 849630 w 2242184"/>
                  <a:gd name="connsiteY484" fmla="*/ 80010 h 1686775"/>
                  <a:gd name="connsiteX485" fmla="*/ 836295 w 2242184"/>
                  <a:gd name="connsiteY485" fmla="*/ 73342 h 1686775"/>
                  <a:gd name="connsiteX486" fmla="*/ 825818 w 2242184"/>
                  <a:gd name="connsiteY486" fmla="*/ 70485 h 1686775"/>
                  <a:gd name="connsiteX487" fmla="*/ 815340 w 2242184"/>
                  <a:gd name="connsiteY487" fmla="*/ 70485 h 1686775"/>
                  <a:gd name="connsiteX488" fmla="*/ 803910 w 2242184"/>
                  <a:gd name="connsiteY488" fmla="*/ 70485 h 1686775"/>
                  <a:gd name="connsiteX489" fmla="*/ 792480 w 2242184"/>
                  <a:gd name="connsiteY489" fmla="*/ 70485 h 1686775"/>
                  <a:gd name="connsiteX490" fmla="*/ 786765 w 2242184"/>
                  <a:gd name="connsiteY490" fmla="*/ 71437 h 1686775"/>
                  <a:gd name="connsiteX491" fmla="*/ 770573 w 2242184"/>
                  <a:gd name="connsiteY491" fmla="*/ 72390 h 1686775"/>
                  <a:gd name="connsiteX492" fmla="*/ 754380 w 2242184"/>
                  <a:gd name="connsiteY492" fmla="*/ 72390 h 1686775"/>
                  <a:gd name="connsiteX493" fmla="*/ 731520 w 2242184"/>
                  <a:gd name="connsiteY493" fmla="*/ 63817 h 1686775"/>
                  <a:gd name="connsiteX494" fmla="*/ 714375 w 2242184"/>
                  <a:gd name="connsiteY494" fmla="*/ 59055 h 1686775"/>
                  <a:gd name="connsiteX495" fmla="*/ 703898 w 2242184"/>
                  <a:gd name="connsiteY495" fmla="*/ 59055 h 1686775"/>
                  <a:gd name="connsiteX496" fmla="*/ 679133 w 2242184"/>
                  <a:gd name="connsiteY496" fmla="*/ 61913 h 1686775"/>
                  <a:gd name="connsiteX497" fmla="*/ 673418 w 2242184"/>
                  <a:gd name="connsiteY497" fmla="*/ 62865 h 1686775"/>
                  <a:gd name="connsiteX498" fmla="*/ 665798 w 2242184"/>
                  <a:gd name="connsiteY498" fmla="*/ 64770 h 1686775"/>
                  <a:gd name="connsiteX499" fmla="*/ 655320 w 2242184"/>
                  <a:gd name="connsiteY499" fmla="*/ 67628 h 1686775"/>
                  <a:gd name="connsiteX500" fmla="*/ 641033 w 2242184"/>
                  <a:gd name="connsiteY500" fmla="*/ 68580 h 1686775"/>
                  <a:gd name="connsiteX501" fmla="*/ 635318 w 2242184"/>
                  <a:gd name="connsiteY501" fmla="*/ 67628 h 1686775"/>
                  <a:gd name="connsiteX502" fmla="*/ 624840 w 2242184"/>
                  <a:gd name="connsiteY502" fmla="*/ 67628 h 1686775"/>
                  <a:gd name="connsiteX503" fmla="*/ 617220 w 2242184"/>
                  <a:gd name="connsiteY503" fmla="*/ 70485 h 1686775"/>
                  <a:gd name="connsiteX504" fmla="*/ 608648 w 2242184"/>
                  <a:gd name="connsiteY504" fmla="*/ 74295 h 1686775"/>
                  <a:gd name="connsiteX505" fmla="*/ 598170 w 2242184"/>
                  <a:gd name="connsiteY505" fmla="*/ 77153 h 1686775"/>
                  <a:gd name="connsiteX506" fmla="*/ 583883 w 2242184"/>
                  <a:gd name="connsiteY506" fmla="*/ 74295 h 1686775"/>
                  <a:gd name="connsiteX507" fmla="*/ 567690 w 2242184"/>
                  <a:gd name="connsiteY507" fmla="*/ 75248 h 1686775"/>
                  <a:gd name="connsiteX508" fmla="*/ 554355 w 2242184"/>
                  <a:gd name="connsiteY508" fmla="*/ 78105 h 1686775"/>
                  <a:gd name="connsiteX509" fmla="*/ 535305 w 2242184"/>
                  <a:gd name="connsiteY509" fmla="*/ 80962 h 1686775"/>
                  <a:gd name="connsiteX510" fmla="*/ 524828 w 2242184"/>
                  <a:gd name="connsiteY510" fmla="*/ 80010 h 1686775"/>
                  <a:gd name="connsiteX511" fmla="*/ 513398 w 2242184"/>
                  <a:gd name="connsiteY511" fmla="*/ 76200 h 1686775"/>
                  <a:gd name="connsiteX512" fmla="*/ 502920 w 2242184"/>
                  <a:gd name="connsiteY512" fmla="*/ 73342 h 1686775"/>
                  <a:gd name="connsiteX513" fmla="*/ 495300 w 2242184"/>
                  <a:gd name="connsiteY513" fmla="*/ 69533 h 1686775"/>
                  <a:gd name="connsiteX514" fmla="*/ 481965 w 2242184"/>
                  <a:gd name="connsiteY514" fmla="*/ 65723 h 1686775"/>
                  <a:gd name="connsiteX515" fmla="*/ 451485 w 2242184"/>
                  <a:gd name="connsiteY515" fmla="*/ 62865 h 1686775"/>
                  <a:gd name="connsiteX516" fmla="*/ 437198 w 2242184"/>
                  <a:gd name="connsiteY516" fmla="*/ 62865 h 1686775"/>
                  <a:gd name="connsiteX517" fmla="*/ 406718 w 2242184"/>
                  <a:gd name="connsiteY517" fmla="*/ 61913 h 1686775"/>
                  <a:gd name="connsiteX518" fmla="*/ 385763 w 2242184"/>
                  <a:gd name="connsiteY518" fmla="*/ 60960 h 1686775"/>
                  <a:gd name="connsiteX519" fmla="*/ 364808 w 2242184"/>
                  <a:gd name="connsiteY519" fmla="*/ 59055 h 1686775"/>
                  <a:gd name="connsiteX520" fmla="*/ 352425 w 2242184"/>
                  <a:gd name="connsiteY520" fmla="*/ 55245 h 1686775"/>
                  <a:gd name="connsiteX521" fmla="*/ 339090 w 2242184"/>
                  <a:gd name="connsiteY521" fmla="*/ 55245 h 1686775"/>
                  <a:gd name="connsiteX522" fmla="*/ 317183 w 2242184"/>
                  <a:gd name="connsiteY522" fmla="*/ 54292 h 1686775"/>
                  <a:gd name="connsiteX523" fmla="*/ 290513 w 2242184"/>
                  <a:gd name="connsiteY523" fmla="*/ 51435 h 1686775"/>
                  <a:gd name="connsiteX524" fmla="*/ 279083 w 2242184"/>
                  <a:gd name="connsiteY524" fmla="*/ 46672 h 1686775"/>
                  <a:gd name="connsiteX525" fmla="*/ 261938 w 2242184"/>
                  <a:gd name="connsiteY525" fmla="*/ 44767 h 1686775"/>
                  <a:gd name="connsiteX526" fmla="*/ 251460 w 2242184"/>
                  <a:gd name="connsiteY526" fmla="*/ 44767 h 1686775"/>
                  <a:gd name="connsiteX527" fmla="*/ 237173 w 2242184"/>
                  <a:gd name="connsiteY527" fmla="*/ 40005 h 1686775"/>
                  <a:gd name="connsiteX528" fmla="*/ 226695 w 2242184"/>
                  <a:gd name="connsiteY528" fmla="*/ 36195 h 1686775"/>
                  <a:gd name="connsiteX529" fmla="*/ 191453 w 2242184"/>
                  <a:gd name="connsiteY529" fmla="*/ 35242 h 1686775"/>
                  <a:gd name="connsiteX530" fmla="*/ 166688 w 2242184"/>
                  <a:gd name="connsiteY530" fmla="*/ 38100 h 1686775"/>
                  <a:gd name="connsiteX531" fmla="*/ 153353 w 2242184"/>
                  <a:gd name="connsiteY531" fmla="*/ 43815 h 1686775"/>
                  <a:gd name="connsiteX532" fmla="*/ 145733 w 2242184"/>
                  <a:gd name="connsiteY532" fmla="*/ 46672 h 1686775"/>
                  <a:gd name="connsiteX533" fmla="*/ 123825 w 2242184"/>
                  <a:gd name="connsiteY533" fmla="*/ 48578 h 1686775"/>
                  <a:gd name="connsiteX534" fmla="*/ 113348 w 2242184"/>
                  <a:gd name="connsiteY534" fmla="*/ 53340 h 1686775"/>
                  <a:gd name="connsiteX535" fmla="*/ 104775 w 2242184"/>
                  <a:gd name="connsiteY535" fmla="*/ 60960 h 1686775"/>
                  <a:gd name="connsiteX536" fmla="*/ 97155 w 2242184"/>
                  <a:gd name="connsiteY536" fmla="*/ 61913 h 1686775"/>
                  <a:gd name="connsiteX537" fmla="*/ 97155 w 2242184"/>
                  <a:gd name="connsiteY537" fmla="*/ 65723 h 1686775"/>
                  <a:gd name="connsiteX538" fmla="*/ 80963 w 2242184"/>
                  <a:gd name="connsiteY538" fmla="*/ 76200 h 1686775"/>
                  <a:gd name="connsiteX539" fmla="*/ 64770 w 2242184"/>
                  <a:gd name="connsiteY539" fmla="*/ 80962 h 1686775"/>
                  <a:gd name="connsiteX540" fmla="*/ 59055 w 2242184"/>
                  <a:gd name="connsiteY540" fmla="*/ 84773 h 1686775"/>
                  <a:gd name="connsiteX541" fmla="*/ 62865 w 2242184"/>
                  <a:gd name="connsiteY541" fmla="*/ 89535 h 1686775"/>
                  <a:gd name="connsiteX542" fmla="*/ 62865 w 2242184"/>
                  <a:gd name="connsiteY542" fmla="*/ 94298 h 1686775"/>
                  <a:gd name="connsiteX543" fmla="*/ 74295 w 2242184"/>
                  <a:gd name="connsiteY543" fmla="*/ 99060 h 1686775"/>
                  <a:gd name="connsiteX544" fmla="*/ 91440 w 2242184"/>
                  <a:gd name="connsiteY544" fmla="*/ 107633 h 1686775"/>
                  <a:gd name="connsiteX545" fmla="*/ 96203 w 2242184"/>
                  <a:gd name="connsiteY545" fmla="*/ 110490 h 1686775"/>
                  <a:gd name="connsiteX546" fmla="*/ 113348 w 2242184"/>
                  <a:gd name="connsiteY546" fmla="*/ 120015 h 1686775"/>
                  <a:gd name="connsiteX547" fmla="*/ 116205 w 2242184"/>
                  <a:gd name="connsiteY547" fmla="*/ 122873 h 1686775"/>
                  <a:gd name="connsiteX548" fmla="*/ 104775 w 2242184"/>
                  <a:gd name="connsiteY548" fmla="*/ 125730 h 1686775"/>
                  <a:gd name="connsiteX549" fmla="*/ 91440 w 2242184"/>
                  <a:gd name="connsiteY549" fmla="*/ 126683 h 1686775"/>
                  <a:gd name="connsiteX550" fmla="*/ 78105 w 2242184"/>
                  <a:gd name="connsiteY550" fmla="*/ 125730 h 1686775"/>
                  <a:gd name="connsiteX551" fmla="*/ 59055 w 2242184"/>
                  <a:gd name="connsiteY551" fmla="*/ 125730 h 1686775"/>
                  <a:gd name="connsiteX552" fmla="*/ 48578 w 2242184"/>
                  <a:gd name="connsiteY552" fmla="*/ 127635 h 1686775"/>
                  <a:gd name="connsiteX553" fmla="*/ 21908 w 2242184"/>
                  <a:gd name="connsiteY553" fmla="*/ 129540 h 1686775"/>
                  <a:gd name="connsiteX554" fmla="*/ 20003 w 2242184"/>
                  <a:gd name="connsiteY554" fmla="*/ 136208 h 1686775"/>
                  <a:gd name="connsiteX555" fmla="*/ 22860 w 2242184"/>
                  <a:gd name="connsiteY555" fmla="*/ 147637 h 1686775"/>
                  <a:gd name="connsiteX556" fmla="*/ 33338 w 2242184"/>
                  <a:gd name="connsiteY556" fmla="*/ 157162 h 1686775"/>
                  <a:gd name="connsiteX557" fmla="*/ 38100 w 2242184"/>
                  <a:gd name="connsiteY557" fmla="*/ 159067 h 1686775"/>
                  <a:gd name="connsiteX558" fmla="*/ 56198 w 2242184"/>
                  <a:gd name="connsiteY558" fmla="*/ 159067 h 1686775"/>
                  <a:gd name="connsiteX559" fmla="*/ 67628 w 2242184"/>
                  <a:gd name="connsiteY559" fmla="*/ 159067 h 1686775"/>
                  <a:gd name="connsiteX560" fmla="*/ 81915 w 2242184"/>
                  <a:gd name="connsiteY560" fmla="*/ 157162 h 1686775"/>
                  <a:gd name="connsiteX561" fmla="*/ 90488 w 2242184"/>
                  <a:gd name="connsiteY561" fmla="*/ 156210 h 1686775"/>
                  <a:gd name="connsiteX562" fmla="*/ 101918 w 2242184"/>
                  <a:gd name="connsiteY562" fmla="*/ 156210 h 1686775"/>
                  <a:gd name="connsiteX563" fmla="*/ 106680 w 2242184"/>
                  <a:gd name="connsiteY563" fmla="*/ 157162 h 1686775"/>
                  <a:gd name="connsiteX564" fmla="*/ 128588 w 2242184"/>
                  <a:gd name="connsiteY564" fmla="*/ 160973 h 1686775"/>
                  <a:gd name="connsiteX565" fmla="*/ 131445 w 2242184"/>
                  <a:gd name="connsiteY565" fmla="*/ 164783 h 1686775"/>
                  <a:gd name="connsiteX566" fmla="*/ 129540 w 2242184"/>
                  <a:gd name="connsiteY566" fmla="*/ 170498 h 1686775"/>
                  <a:gd name="connsiteX567" fmla="*/ 130493 w 2242184"/>
                  <a:gd name="connsiteY567" fmla="*/ 175260 h 1686775"/>
                  <a:gd name="connsiteX568" fmla="*/ 114300 w 2242184"/>
                  <a:gd name="connsiteY568" fmla="*/ 178117 h 1686775"/>
                  <a:gd name="connsiteX569" fmla="*/ 100965 w 2242184"/>
                  <a:gd name="connsiteY569" fmla="*/ 179070 h 1686775"/>
                  <a:gd name="connsiteX570" fmla="*/ 85725 w 2242184"/>
                  <a:gd name="connsiteY570" fmla="*/ 184785 h 1686775"/>
                  <a:gd name="connsiteX571" fmla="*/ 71438 w 2242184"/>
                  <a:gd name="connsiteY571" fmla="*/ 184785 h 1686775"/>
                  <a:gd name="connsiteX572" fmla="*/ 60960 w 2242184"/>
                  <a:gd name="connsiteY572" fmla="*/ 188595 h 1686775"/>
                  <a:gd name="connsiteX573" fmla="*/ 52388 w 2242184"/>
                  <a:gd name="connsiteY573" fmla="*/ 194310 h 1686775"/>
                  <a:gd name="connsiteX574" fmla="*/ 53340 w 2242184"/>
                  <a:gd name="connsiteY574" fmla="*/ 197167 h 1686775"/>
                  <a:gd name="connsiteX575" fmla="*/ 45720 w 2242184"/>
                  <a:gd name="connsiteY575" fmla="*/ 203835 h 1686775"/>
                  <a:gd name="connsiteX576" fmla="*/ 42863 w 2242184"/>
                  <a:gd name="connsiteY576" fmla="*/ 208598 h 1686775"/>
                  <a:gd name="connsiteX577" fmla="*/ 40958 w 2242184"/>
                  <a:gd name="connsiteY577" fmla="*/ 216217 h 1686775"/>
                  <a:gd name="connsiteX578" fmla="*/ 49530 w 2242184"/>
                  <a:gd name="connsiteY578" fmla="*/ 221933 h 1686775"/>
                  <a:gd name="connsiteX579" fmla="*/ 57150 w 2242184"/>
                  <a:gd name="connsiteY579" fmla="*/ 227648 h 1686775"/>
                  <a:gd name="connsiteX580" fmla="*/ 70485 w 2242184"/>
                  <a:gd name="connsiteY580" fmla="*/ 231458 h 1686775"/>
                  <a:gd name="connsiteX581" fmla="*/ 83820 w 2242184"/>
                  <a:gd name="connsiteY581" fmla="*/ 237173 h 1686775"/>
                  <a:gd name="connsiteX582" fmla="*/ 90488 w 2242184"/>
                  <a:gd name="connsiteY582" fmla="*/ 242887 h 1686775"/>
                  <a:gd name="connsiteX583" fmla="*/ 100965 w 2242184"/>
                  <a:gd name="connsiteY583" fmla="*/ 245745 h 1686775"/>
                  <a:gd name="connsiteX584" fmla="*/ 112395 w 2242184"/>
                  <a:gd name="connsiteY584" fmla="*/ 247650 h 1686775"/>
                  <a:gd name="connsiteX585" fmla="*/ 125730 w 2242184"/>
                  <a:gd name="connsiteY585" fmla="*/ 255270 h 1686775"/>
                  <a:gd name="connsiteX586" fmla="*/ 137160 w 2242184"/>
                  <a:gd name="connsiteY586" fmla="*/ 255270 h 1686775"/>
                  <a:gd name="connsiteX587" fmla="*/ 152400 w 2242184"/>
                  <a:gd name="connsiteY587" fmla="*/ 257175 h 1686775"/>
                  <a:gd name="connsiteX588" fmla="*/ 159068 w 2242184"/>
                  <a:gd name="connsiteY588" fmla="*/ 260033 h 1686775"/>
                  <a:gd name="connsiteX589" fmla="*/ 172403 w 2242184"/>
                  <a:gd name="connsiteY589" fmla="*/ 261937 h 1686775"/>
                  <a:gd name="connsiteX590" fmla="*/ 182880 w 2242184"/>
                  <a:gd name="connsiteY590" fmla="*/ 264795 h 1686775"/>
                  <a:gd name="connsiteX591" fmla="*/ 184785 w 2242184"/>
                  <a:gd name="connsiteY591" fmla="*/ 270510 h 1686775"/>
                  <a:gd name="connsiteX592" fmla="*/ 180023 w 2242184"/>
                  <a:gd name="connsiteY592" fmla="*/ 277178 h 1686775"/>
                  <a:gd name="connsiteX593" fmla="*/ 161925 w 2242184"/>
                  <a:gd name="connsiteY593" fmla="*/ 284798 h 1686775"/>
                  <a:gd name="connsiteX594" fmla="*/ 148590 w 2242184"/>
                  <a:gd name="connsiteY594" fmla="*/ 290512 h 1686775"/>
                  <a:gd name="connsiteX595" fmla="*/ 135255 w 2242184"/>
                  <a:gd name="connsiteY595" fmla="*/ 296228 h 1686775"/>
                  <a:gd name="connsiteX596" fmla="*/ 123825 w 2242184"/>
                  <a:gd name="connsiteY596" fmla="*/ 300037 h 1686775"/>
                  <a:gd name="connsiteX597" fmla="*/ 110490 w 2242184"/>
                  <a:gd name="connsiteY597" fmla="*/ 303848 h 1686775"/>
                  <a:gd name="connsiteX598" fmla="*/ 99060 w 2242184"/>
                  <a:gd name="connsiteY598" fmla="*/ 307658 h 1686775"/>
                  <a:gd name="connsiteX599" fmla="*/ 79058 w 2242184"/>
                  <a:gd name="connsiteY599" fmla="*/ 310515 h 1686775"/>
                  <a:gd name="connsiteX600" fmla="*/ 63818 w 2242184"/>
                  <a:gd name="connsiteY600" fmla="*/ 314325 h 1686775"/>
                  <a:gd name="connsiteX601" fmla="*/ 50483 w 2242184"/>
                  <a:gd name="connsiteY601" fmla="*/ 315278 h 1686775"/>
                  <a:gd name="connsiteX602" fmla="*/ 38100 w 2242184"/>
                  <a:gd name="connsiteY602" fmla="*/ 320040 h 1686775"/>
                  <a:gd name="connsiteX603" fmla="*/ 18098 w 2242184"/>
                  <a:gd name="connsiteY603" fmla="*/ 322898 h 1686775"/>
                  <a:gd name="connsiteX604" fmla="*/ 0 w 2242184"/>
                  <a:gd name="connsiteY604" fmla="*/ 322898 h 1686775"/>
                  <a:gd name="connsiteX605" fmla="*/ 0 w 2242184"/>
                  <a:gd name="connsiteY605" fmla="*/ 328612 h 1686775"/>
                  <a:gd name="connsiteX606" fmla="*/ 15240 w 2242184"/>
                  <a:gd name="connsiteY606" fmla="*/ 330518 h 1686775"/>
                  <a:gd name="connsiteX607" fmla="*/ 37148 w 2242184"/>
                  <a:gd name="connsiteY607" fmla="*/ 327660 h 1686775"/>
                  <a:gd name="connsiteX608" fmla="*/ 57150 w 2242184"/>
                  <a:gd name="connsiteY608" fmla="*/ 324803 h 1686775"/>
                  <a:gd name="connsiteX609" fmla="*/ 81915 w 2242184"/>
                  <a:gd name="connsiteY609" fmla="*/ 320993 h 1686775"/>
                  <a:gd name="connsiteX610" fmla="*/ 100013 w 2242184"/>
                  <a:gd name="connsiteY610" fmla="*/ 318135 h 1686775"/>
                  <a:gd name="connsiteX611" fmla="*/ 120015 w 2242184"/>
                  <a:gd name="connsiteY611" fmla="*/ 315278 h 1686775"/>
                  <a:gd name="connsiteX612" fmla="*/ 138113 w 2242184"/>
                  <a:gd name="connsiteY612" fmla="*/ 312420 h 1686775"/>
                  <a:gd name="connsiteX613" fmla="*/ 164783 w 2242184"/>
                  <a:gd name="connsiteY613" fmla="*/ 306705 h 1686775"/>
                  <a:gd name="connsiteX614" fmla="*/ 176213 w 2242184"/>
                  <a:gd name="connsiteY614" fmla="*/ 300037 h 1686775"/>
                  <a:gd name="connsiteX615" fmla="*/ 189548 w 2242184"/>
                  <a:gd name="connsiteY615" fmla="*/ 294323 h 1686775"/>
                  <a:gd name="connsiteX616" fmla="*/ 200978 w 2242184"/>
                  <a:gd name="connsiteY616" fmla="*/ 288608 h 1686775"/>
                  <a:gd name="connsiteX617" fmla="*/ 212408 w 2242184"/>
                  <a:gd name="connsiteY617" fmla="*/ 280035 h 1686775"/>
                  <a:gd name="connsiteX618" fmla="*/ 227648 w 2242184"/>
                  <a:gd name="connsiteY618" fmla="*/ 270510 h 1686775"/>
                  <a:gd name="connsiteX619" fmla="*/ 236220 w 2242184"/>
                  <a:gd name="connsiteY619" fmla="*/ 261937 h 1686775"/>
                  <a:gd name="connsiteX620" fmla="*/ 249555 w 2242184"/>
                  <a:gd name="connsiteY620" fmla="*/ 255270 h 1686775"/>
                  <a:gd name="connsiteX621" fmla="*/ 258128 w 2242184"/>
                  <a:gd name="connsiteY621" fmla="*/ 249555 h 1686775"/>
                  <a:gd name="connsiteX622" fmla="*/ 269558 w 2242184"/>
                  <a:gd name="connsiteY622" fmla="*/ 240983 h 1686775"/>
                  <a:gd name="connsiteX623" fmla="*/ 276225 w 2242184"/>
                  <a:gd name="connsiteY623" fmla="*/ 235267 h 1686775"/>
                  <a:gd name="connsiteX624" fmla="*/ 278130 w 2242184"/>
                  <a:gd name="connsiteY624" fmla="*/ 229553 h 1686775"/>
                  <a:gd name="connsiteX625" fmla="*/ 291465 w 2242184"/>
                  <a:gd name="connsiteY625" fmla="*/ 226695 h 1686775"/>
                  <a:gd name="connsiteX626" fmla="*/ 298133 w 2242184"/>
                  <a:gd name="connsiteY626" fmla="*/ 232410 h 1686775"/>
                  <a:gd name="connsiteX627" fmla="*/ 293370 w 2242184"/>
                  <a:gd name="connsiteY627" fmla="*/ 238125 h 1686775"/>
                  <a:gd name="connsiteX628" fmla="*/ 303848 w 2242184"/>
                  <a:gd name="connsiteY628" fmla="*/ 242887 h 1686775"/>
                  <a:gd name="connsiteX629" fmla="*/ 319088 w 2242184"/>
                  <a:gd name="connsiteY629" fmla="*/ 234315 h 1686775"/>
                  <a:gd name="connsiteX630" fmla="*/ 325755 w 2242184"/>
                  <a:gd name="connsiteY630" fmla="*/ 231458 h 1686775"/>
                  <a:gd name="connsiteX631" fmla="*/ 345758 w 2242184"/>
                  <a:gd name="connsiteY631" fmla="*/ 233362 h 1686775"/>
                  <a:gd name="connsiteX632" fmla="*/ 357188 w 2242184"/>
                  <a:gd name="connsiteY632" fmla="*/ 227648 h 1686775"/>
                  <a:gd name="connsiteX633" fmla="*/ 367665 w 2242184"/>
                  <a:gd name="connsiteY633" fmla="*/ 229553 h 1686775"/>
                  <a:gd name="connsiteX634" fmla="*/ 381000 w 2242184"/>
                  <a:gd name="connsiteY634" fmla="*/ 229553 h 1686775"/>
                  <a:gd name="connsiteX635" fmla="*/ 396240 w 2242184"/>
                  <a:gd name="connsiteY635" fmla="*/ 232410 h 1686775"/>
                  <a:gd name="connsiteX636" fmla="*/ 416243 w 2242184"/>
                  <a:gd name="connsiteY636" fmla="*/ 238125 h 1686775"/>
                  <a:gd name="connsiteX637" fmla="*/ 440055 w 2242184"/>
                  <a:gd name="connsiteY637" fmla="*/ 240030 h 1686775"/>
                  <a:gd name="connsiteX638" fmla="*/ 453390 w 2242184"/>
                  <a:gd name="connsiteY638" fmla="*/ 240030 h 1686775"/>
                  <a:gd name="connsiteX639" fmla="*/ 468630 w 2242184"/>
                  <a:gd name="connsiteY639" fmla="*/ 244792 h 1686775"/>
                  <a:gd name="connsiteX640" fmla="*/ 477203 w 2242184"/>
                  <a:gd name="connsiteY640" fmla="*/ 244792 h 1686775"/>
                  <a:gd name="connsiteX641" fmla="*/ 499110 w 2242184"/>
                  <a:gd name="connsiteY641" fmla="*/ 247650 h 1686775"/>
                  <a:gd name="connsiteX642" fmla="*/ 509588 w 2242184"/>
                  <a:gd name="connsiteY642" fmla="*/ 252412 h 1686775"/>
                  <a:gd name="connsiteX643" fmla="*/ 526733 w 2242184"/>
                  <a:gd name="connsiteY643" fmla="*/ 260985 h 1686775"/>
                  <a:gd name="connsiteX644" fmla="*/ 533400 w 2242184"/>
                  <a:gd name="connsiteY644" fmla="*/ 263843 h 1686775"/>
                  <a:gd name="connsiteX645" fmla="*/ 543878 w 2242184"/>
                  <a:gd name="connsiteY645" fmla="*/ 268605 h 1686775"/>
                  <a:gd name="connsiteX646" fmla="*/ 559118 w 2242184"/>
                  <a:gd name="connsiteY646" fmla="*/ 276225 h 1686775"/>
                  <a:gd name="connsiteX647" fmla="*/ 565785 w 2242184"/>
                  <a:gd name="connsiteY647" fmla="*/ 278130 h 1686775"/>
                  <a:gd name="connsiteX648" fmla="*/ 579120 w 2242184"/>
                  <a:gd name="connsiteY648" fmla="*/ 285750 h 1686775"/>
                  <a:gd name="connsiteX649" fmla="*/ 592455 w 2242184"/>
                  <a:gd name="connsiteY649" fmla="*/ 294323 h 1686775"/>
                  <a:gd name="connsiteX650" fmla="*/ 599123 w 2242184"/>
                  <a:gd name="connsiteY650" fmla="*/ 303848 h 1686775"/>
                  <a:gd name="connsiteX651" fmla="*/ 612458 w 2242184"/>
                  <a:gd name="connsiteY651" fmla="*/ 312420 h 1686775"/>
                  <a:gd name="connsiteX652" fmla="*/ 629603 w 2242184"/>
                  <a:gd name="connsiteY652" fmla="*/ 322898 h 1686775"/>
                  <a:gd name="connsiteX653" fmla="*/ 640080 w 2242184"/>
                  <a:gd name="connsiteY653" fmla="*/ 328612 h 1686775"/>
                  <a:gd name="connsiteX654" fmla="*/ 655320 w 2242184"/>
                  <a:gd name="connsiteY654" fmla="*/ 336233 h 1686775"/>
                  <a:gd name="connsiteX655" fmla="*/ 659130 w 2242184"/>
                  <a:gd name="connsiteY655" fmla="*/ 342900 h 1686775"/>
                  <a:gd name="connsiteX656" fmla="*/ 667703 w 2242184"/>
                  <a:gd name="connsiteY656" fmla="*/ 348615 h 1686775"/>
                  <a:gd name="connsiteX657" fmla="*/ 681038 w 2242184"/>
                  <a:gd name="connsiteY657" fmla="*/ 353378 h 1686775"/>
                  <a:gd name="connsiteX658" fmla="*/ 689610 w 2242184"/>
                  <a:gd name="connsiteY658" fmla="*/ 359093 h 1686775"/>
                  <a:gd name="connsiteX659" fmla="*/ 696278 w 2242184"/>
                  <a:gd name="connsiteY659" fmla="*/ 367665 h 1686775"/>
                  <a:gd name="connsiteX660" fmla="*/ 698183 w 2242184"/>
                  <a:gd name="connsiteY660" fmla="*/ 371475 h 1686775"/>
                  <a:gd name="connsiteX661" fmla="*/ 721995 w 2242184"/>
                  <a:gd name="connsiteY661" fmla="*/ 380048 h 1686775"/>
                  <a:gd name="connsiteX662" fmla="*/ 730568 w 2242184"/>
                  <a:gd name="connsiteY662" fmla="*/ 384810 h 1686775"/>
                  <a:gd name="connsiteX663" fmla="*/ 739140 w 2242184"/>
                  <a:gd name="connsiteY663" fmla="*/ 389573 h 1686775"/>
                  <a:gd name="connsiteX664" fmla="*/ 761048 w 2242184"/>
                  <a:gd name="connsiteY664" fmla="*/ 395287 h 1686775"/>
                  <a:gd name="connsiteX665" fmla="*/ 778193 w 2242184"/>
                  <a:gd name="connsiteY665" fmla="*/ 402908 h 1686775"/>
                  <a:gd name="connsiteX666" fmla="*/ 778193 w 2242184"/>
                  <a:gd name="connsiteY666" fmla="*/ 406718 h 1686775"/>
                  <a:gd name="connsiteX667" fmla="*/ 782003 w 2242184"/>
                  <a:gd name="connsiteY667" fmla="*/ 416243 h 1686775"/>
                  <a:gd name="connsiteX668" fmla="*/ 773430 w 2242184"/>
                  <a:gd name="connsiteY668" fmla="*/ 420052 h 1686775"/>
                  <a:gd name="connsiteX669" fmla="*/ 762000 w 2242184"/>
                  <a:gd name="connsiteY669" fmla="*/ 420052 h 1686775"/>
                  <a:gd name="connsiteX670" fmla="*/ 755333 w 2242184"/>
                  <a:gd name="connsiteY670" fmla="*/ 413385 h 1686775"/>
                  <a:gd name="connsiteX671" fmla="*/ 746760 w 2242184"/>
                  <a:gd name="connsiteY671" fmla="*/ 406718 h 1686775"/>
                  <a:gd name="connsiteX672" fmla="*/ 738188 w 2242184"/>
                  <a:gd name="connsiteY672" fmla="*/ 403860 h 1686775"/>
                  <a:gd name="connsiteX673" fmla="*/ 729615 w 2242184"/>
                  <a:gd name="connsiteY673" fmla="*/ 399098 h 1686775"/>
                  <a:gd name="connsiteX674" fmla="*/ 705803 w 2242184"/>
                  <a:gd name="connsiteY674" fmla="*/ 391477 h 1686775"/>
                  <a:gd name="connsiteX675" fmla="*/ 699135 w 2242184"/>
                  <a:gd name="connsiteY675" fmla="*/ 392430 h 1686775"/>
                  <a:gd name="connsiteX676" fmla="*/ 707708 w 2242184"/>
                  <a:gd name="connsiteY676" fmla="*/ 402908 h 1686775"/>
                  <a:gd name="connsiteX677" fmla="*/ 722948 w 2242184"/>
                  <a:gd name="connsiteY677" fmla="*/ 411480 h 1686775"/>
                  <a:gd name="connsiteX678" fmla="*/ 736283 w 2242184"/>
                  <a:gd name="connsiteY678" fmla="*/ 419100 h 1686775"/>
                  <a:gd name="connsiteX679" fmla="*/ 742950 w 2242184"/>
                  <a:gd name="connsiteY679" fmla="*/ 427673 h 1686775"/>
                  <a:gd name="connsiteX680" fmla="*/ 742950 w 2242184"/>
                  <a:gd name="connsiteY680" fmla="*/ 431483 h 1686775"/>
                  <a:gd name="connsiteX681" fmla="*/ 744855 w 2242184"/>
                  <a:gd name="connsiteY681" fmla="*/ 445770 h 1686775"/>
                  <a:gd name="connsiteX682" fmla="*/ 752475 w 2242184"/>
                  <a:gd name="connsiteY682" fmla="*/ 456248 h 1686775"/>
                  <a:gd name="connsiteX683" fmla="*/ 747713 w 2242184"/>
                  <a:gd name="connsiteY683" fmla="*/ 487680 h 1686775"/>
                  <a:gd name="connsiteX684" fmla="*/ 751523 w 2242184"/>
                  <a:gd name="connsiteY684" fmla="*/ 500062 h 1686775"/>
                  <a:gd name="connsiteX685" fmla="*/ 751523 w 2242184"/>
                  <a:gd name="connsiteY685" fmla="*/ 506730 h 1686775"/>
                  <a:gd name="connsiteX686" fmla="*/ 758190 w 2242184"/>
                  <a:gd name="connsiteY686" fmla="*/ 521970 h 1686775"/>
                  <a:gd name="connsiteX687" fmla="*/ 764858 w 2242184"/>
                  <a:gd name="connsiteY687" fmla="*/ 536258 h 1686775"/>
                  <a:gd name="connsiteX688" fmla="*/ 768668 w 2242184"/>
                  <a:gd name="connsiteY688" fmla="*/ 542925 h 1686775"/>
                  <a:gd name="connsiteX689" fmla="*/ 775335 w 2242184"/>
                  <a:gd name="connsiteY689" fmla="*/ 551498 h 1686775"/>
                  <a:gd name="connsiteX690" fmla="*/ 785813 w 2242184"/>
                  <a:gd name="connsiteY690" fmla="*/ 559118 h 1686775"/>
                  <a:gd name="connsiteX691" fmla="*/ 794385 w 2242184"/>
                  <a:gd name="connsiteY691" fmla="*/ 568643 h 1686775"/>
                  <a:gd name="connsiteX692" fmla="*/ 801053 w 2242184"/>
                  <a:gd name="connsiteY692" fmla="*/ 580073 h 1686775"/>
                  <a:gd name="connsiteX693" fmla="*/ 804863 w 2242184"/>
                  <a:gd name="connsiteY693" fmla="*/ 585788 h 1686775"/>
                  <a:gd name="connsiteX694" fmla="*/ 808673 w 2242184"/>
                  <a:gd name="connsiteY694" fmla="*/ 592455 h 1686775"/>
                  <a:gd name="connsiteX695" fmla="*/ 815340 w 2242184"/>
                  <a:gd name="connsiteY695" fmla="*/ 599123 h 1686775"/>
                  <a:gd name="connsiteX696" fmla="*/ 825818 w 2242184"/>
                  <a:gd name="connsiteY696" fmla="*/ 601980 h 1686775"/>
                  <a:gd name="connsiteX697" fmla="*/ 832485 w 2242184"/>
                  <a:gd name="connsiteY697" fmla="*/ 606743 h 1686775"/>
                  <a:gd name="connsiteX698" fmla="*/ 843915 w 2242184"/>
                  <a:gd name="connsiteY698" fmla="*/ 609600 h 1686775"/>
                  <a:gd name="connsiteX699" fmla="*/ 852488 w 2242184"/>
                  <a:gd name="connsiteY699" fmla="*/ 612458 h 1686775"/>
                  <a:gd name="connsiteX700" fmla="*/ 859155 w 2242184"/>
                  <a:gd name="connsiteY700" fmla="*/ 618173 h 1686775"/>
                  <a:gd name="connsiteX701" fmla="*/ 879158 w 2242184"/>
                  <a:gd name="connsiteY701" fmla="*/ 631508 h 1686775"/>
                  <a:gd name="connsiteX702" fmla="*/ 885825 w 2242184"/>
                  <a:gd name="connsiteY702" fmla="*/ 643890 h 1686775"/>
                  <a:gd name="connsiteX703" fmla="*/ 889635 w 2242184"/>
                  <a:gd name="connsiteY703" fmla="*/ 650558 h 1686775"/>
                  <a:gd name="connsiteX704" fmla="*/ 902018 w 2242184"/>
                  <a:gd name="connsiteY704" fmla="*/ 665798 h 1686775"/>
                  <a:gd name="connsiteX705" fmla="*/ 903923 w 2242184"/>
                  <a:gd name="connsiteY705" fmla="*/ 671513 h 1686775"/>
                  <a:gd name="connsiteX706" fmla="*/ 917258 w 2242184"/>
                  <a:gd name="connsiteY706" fmla="*/ 685800 h 1686775"/>
                  <a:gd name="connsiteX707" fmla="*/ 923925 w 2242184"/>
                  <a:gd name="connsiteY707" fmla="*/ 701040 h 1686775"/>
                  <a:gd name="connsiteX708" fmla="*/ 945833 w 2242184"/>
                  <a:gd name="connsiteY708" fmla="*/ 711518 h 1686775"/>
                  <a:gd name="connsiteX709" fmla="*/ 956310 w 2242184"/>
                  <a:gd name="connsiteY709" fmla="*/ 717233 h 1686775"/>
                  <a:gd name="connsiteX710" fmla="*/ 969645 w 2242184"/>
                  <a:gd name="connsiteY710" fmla="*/ 725805 h 1686775"/>
                  <a:gd name="connsiteX711" fmla="*/ 980123 w 2242184"/>
                  <a:gd name="connsiteY711" fmla="*/ 731520 h 1686775"/>
                  <a:gd name="connsiteX712" fmla="*/ 993458 w 2242184"/>
                  <a:gd name="connsiteY712" fmla="*/ 731520 h 1686775"/>
                  <a:gd name="connsiteX713" fmla="*/ 990600 w 2242184"/>
                  <a:gd name="connsiteY713" fmla="*/ 722948 h 1686775"/>
                  <a:gd name="connsiteX714" fmla="*/ 982028 w 2242184"/>
                  <a:gd name="connsiteY714" fmla="*/ 717233 h 1686775"/>
                  <a:gd name="connsiteX715" fmla="*/ 968693 w 2242184"/>
                  <a:gd name="connsiteY715" fmla="*/ 706755 h 1686775"/>
                  <a:gd name="connsiteX716" fmla="*/ 960120 w 2242184"/>
                  <a:gd name="connsiteY716" fmla="*/ 698183 h 1686775"/>
                  <a:gd name="connsiteX717" fmla="*/ 953453 w 2242184"/>
                  <a:gd name="connsiteY717" fmla="*/ 692468 h 1686775"/>
                  <a:gd name="connsiteX718" fmla="*/ 949643 w 2242184"/>
                  <a:gd name="connsiteY718" fmla="*/ 686752 h 1686775"/>
                  <a:gd name="connsiteX719" fmla="*/ 945833 w 2242184"/>
                  <a:gd name="connsiteY719" fmla="*/ 678180 h 1686775"/>
                  <a:gd name="connsiteX720" fmla="*/ 939165 w 2242184"/>
                  <a:gd name="connsiteY720" fmla="*/ 672465 h 1686775"/>
                  <a:gd name="connsiteX721" fmla="*/ 935355 w 2242184"/>
                  <a:gd name="connsiteY721" fmla="*/ 663893 h 1686775"/>
                  <a:gd name="connsiteX722" fmla="*/ 923925 w 2242184"/>
                  <a:gd name="connsiteY722" fmla="*/ 655320 h 1686775"/>
                  <a:gd name="connsiteX723" fmla="*/ 923925 w 2242184"/>
                  <a:gd name="connsiteY723" fmla="*/ 648652 h 1686775"/>
                  <a:gd name="connsiteX724" fmla="*/ 935355 w 2242184"/>
                  <a:gd name="connsiteY724" fmla="*/ 645795 h 1686775"/>
                  <a:gd name="connsiteX725" fmla="*/ 943928 w 2242184"/>
                  <a:gd name="connsiteY725" fmla="*/ 651510 h 1686775"/>
                  <a:gd name="connsiteX726" fmla="*/ 962978 w 2242184"/>
                  <a:gd name="connsiteY726" fmla="*/ 677227 h 1686775"/>
                  <a:gd name="connsiteX727" fmla="*/ 980123 w 2242184"/>
                  <a:gd name="connsiteY727" fmla="*/ 690563 h 1686775"/>
                  <a:gd name="connsiteX728" fmla="*/ 997268 w 2242184"/>
                  <a:gd name="connsiteY728" fmla="*/ 701040 h 1686775"/>
                  <a:gd name="connsiteX729" fmla="*/ 1012508 w 2242184"/>
                  <a:gd name="connsiteY729" fmla="*/ 712470 h 1686775"/>
                  <a:gd name="connsiteX730" fmla="*/ 1019175 w 2242184"/>
                  <a:gd name="connsiteY730" fmla="*/ 719138 h 1686775"/>
                  <a:gd name="connsiteX731" fmla="*/ 1034415 w 2242184"/>
                  <a:gd name="connsiteY731" fmla="*/ 733425 h 1686775"/>
                  <a:gd name="connsiteX732" fmla="*/ 1044893 w 2242184"/>
                  <a:gd name="connsiteY732" fmla="*/ 739140 h 1686775"/>
                  <a:gd name="connsiteX733" fmla="*/ 1048703 w 2242184"/>
                  <a:gd name="connsiteY733" fmla="*/ 745808 h 1686775"/>
                  <a:gd name="connsiteX734" fmla="*/ 1055370 w 2242184"/>
                  <a:gd name="connsiteY734" fmla="*/ 750570 h 1686775"/>
                  <a:gd name="connsiteX735" fmla="*/ 1062038 w 2242184"/>
                  <a:gd name="connsiteY735" fmla="*/ 756285 h 1686775"/>
                  <a:gd name="connsiteX736" fmla="*/ 1068705 w 2242184"/>
                  <a:gd name="connsiteY736" fmla="*/ 761048 h 1686775"/>
                  <a:gd name="connsiteX737" fmla="*/ 1072515 w 2242184"/>
                  <a:gd name="connsiteY737" fmla="*/ 766763 h 1686775"/>
                  <a:gd name="connsiteX738" fmla="*/ 1070610 w 2242184"/>
                  <a:gd name="connsiteY738" fmla="*/ 772477 h 1686775"/>
                  <a:gd name="connsiteX739" fmla="*/ 1074420 w 2242184"/>
                  <a:gd name="connsiteY739" fmla="*/ 779145 h 1686775"/>
                  <a:gd name="connsiteX740" fmla="*/ 1081088 w 2242184"/>
                  <a:gd name="connsiteY740" fmla="*/ 783908 h 1686775"/>
                  <a:gd name="connsiteX741" fmla="*/ 1094423 w 2242184"/>
                  <a:gd name="connsiteY741" fmla="*/ 789623 h 1686775"/>
                  <a:gd name="connsiteX742" fmla="*/ 1101090 w 2242184"/>
                  <a:gd name="connsiteY742" fmla="*/ 792480 h 1686775"/>
                  <a:gd name="connsiteX743" fmla="*/ 1116330 w 2242184"/>
                  <a:gd name="connsiteY743" fmla="*/ 798195 h 1686775"/>
                  <a:gd name="connsiteX744" fmla="*/ 1121093 w 2242184"/>
                  <a:gd name="connsiteY744" fmla="*/ 802005 h 1686775"/>
                  <a:gd name="connsiteX745" fmla="*/ 1125855 w 2242184"/>
                  <a:gd name="connsiteY745" fmla="*/ 805815 h 1686775"/>
                  <a:gd name="connsiteX746" fmla="*/ 1129665 w 2242184"/>
                  <a:gd name="connsiteY746" fmla="*/ 808673 h 1686775"/>
                  <a:gd name="connsiteX747" fmla="*/ 1151573 w 2242184"/>
                  <a:gd name="connsiteY747" fmla="*/ 820102 h 1686775"/>
                  <a:gd name="connsiteX748" fmla="*/ 1168718 w 2242184"/>
                  <a:gd name="connsiteY748" fmla="*/ 827723 h 1686775"/>
                  <a:gd name="connsiteX749" fmla="*/ 1180148 w 2242184"/>
                  <a:gd name="connsiteY749" fmla="*/ 827723 h 1686775"/>
                  <a:gd name="connsiteX750" fmla="*/ 1193483 w 2242184"/>
                  <a:gd name="connsiteY750" fmla="*/ 827723 h 1686775"/>
                  <a:gd name="connsiteX751" fmla="*/ 1213485 w 2242184"/>
                  <a:gd name="connsiteY751" fmla="*/ 827723 h 1686775"/>
                  <a:gd name="connsiteX752" fmla="*/ 1235393 w 2242184"/>
                  <a:gd name="connsiteY752" fmla="*/ 827723 h 1686775"/>
                  <a:gd name="connsiteX753" fmla="*/ 1250633 w 2242184"/>
                  <a:gd name="connsiteY753" fmla="*/ 826770 h 1686775"/>
                  <a:gd name="connsiteX754" fmla="*/ 1272540 w 2242184"/>
                  <a:gd name="connsiteY754" fmla="*/ 826770 h 1686775"/>
                  <a:gd name="connsiteX755" fmla="*/ 1279208 w 2242184"/>
                  <a:gd name="connsiteY755" fmla="*/ 829627 h 1686775"/>
                  <a:gd name="connsiteX756" fmla="*/ 1290638 w 2242184"/>
                  <a:gd name="connsiteY756" fmla="*/ 829627 h 1686775"/>
                  <a:gd name="connsiteX757" fmla="*/ 1297305 w 2242184"/>
                  <a:gd name="connsiteY757" fmla="*/ 831533 h 1686775"/>
                  <a:gd name="connsiteX758" fmla="*/ 1302068 w 2242184"/>
                  <a:gd name="connsiteY758" fmla="*/ 837248 h 1686775"/>
                  <a:gd name="connsiteX759" fmla="*/ 1323975 w 2242184"/>
                  <a:gd name="connsiteY759" fmla="*/ 853440 h 1686775"/>
                  <a:gd name="connsiteX760" fmla="*/ 1341120 w 2242184"/>
                  <a:gd name="connsiteY760" fmla="*/ 853440 h 1686775"/>
                  <a:gd name="connsiteX761" fmla="*/ 1354455 w 2242184"/>
                  <a:gd name="connsiteY761" fmla="*/ 855345 h 1686775"/>
                  <a:gd name="connsiteX762" fmla="*/ 1369695 w 2242184"/>
                  <a:gd name="connsiteY762" fmla="*/ 863918 h 1686775"/>
                  <a:gd name="connsiteX763" fmla="*/ 1383030 w 2242184"/>
                  <a:gd name="connsiteY763" fmla="*/ 869633 h 1686775"/>
                  <a:gd name="connsiteX764" fmla="*/ 1391603 w 2242184"/>
                  <a:gd name="connsiteY764" fmla="*/ 875348 h 1686775"/>
                  <a:gd name="connsiteX765" fmla="*/ 1402080 w 2242184"/>
                  <a:gd name="connsiteY765" fmla="*/ 885825 h 1686775"/>
                  <a:gd name="connsiteX766" fmla="*/ 1410653 w 2242184"/>
                  <a:gd name="connsiteY766" fmla="*/ 891540 h 1686775"/>
                  <a:gd name="connsiteX767" fmla="*/ 1423988 w 2242184"/>
                  <a:gd name="connsiteY767" fmla="*/ 900113 h 1686775"/>
                  <a:gd name="connsiteX768" fmla="*/ 1435418 w 2242184"/>
                  <a:gd name="connsiteY768" fmla="*/ 902970 h 1686775"/>
                  <a:gd name="connsiteX769" fmla="*/ 1437323 w 2242184"/>
                  <a:gd name="connsiteY769" fmla="*/ 909638 h 1686775"/>
                  <a:gd name="connsiteX770" fmla="*/ 1437323 w 2242184"/>
                  <a:gd name="connsiteY770" fmla="*/ 913448 h 1686775"/>
                  <a:gd name="connsiteX771" fmla="*/ 1450658 w 2242184"/>
                  <a:gd name="connsiteY771" fmla="*/ 921068 h 1686775"/>
                  <a:gd name="connsiteX772" fmla="*/ 1459230 w 2242184"/>
                  <a:gd name="connsiteY772" fmla="*/ 923925 h 1686775"/>
                  <a:gd name="connsiteX773" fmla="*/ 1481138 w 2242184"/>
                  <a:gd name="connsiteY773" fmla="*/ 923925 h 1686775"/>
                  <a:gd name="connsiteX774" fmla="*/ 1489710 w 2242184"/>
                  <a:gd name="connsiteY774" fmla="*/ 923925 h 1686775"/>
                  <a:gd name="connsiteX775" fmla="*/ 1498283 w 2242184"/>
                  <a:gd name="connsiteY775" fmla="*/ 922973 h 1686775"/>
                  <a:gd name="connsiteX776" fmla="*/ 1506855 w 2242184"/>
                  <a:gd name="connsiteY776" fmla="*/ 922973 h 1686775"/>
                  <a:gd name="connsiteX777" fmla="*/ 1520190 w 2242184"/>
                  <a:gd name="connsiteY777" fmla="*/ 922973 h 1686775"/>
                  <a:gd name="connsiteX778" fmla="*/ 1533525 w 2242184"/>
                  <a:gd name="connsiteY778" fmla="*/ 922973 h 1686775"/>
                  <a:gd name="connsiteX779" fmla="*/ 1550670 w 2242184"/>
                  <a:gd name="connsiteY779" fmla="*/ 922973 h 1686775"/>
                  <a:gd name="connsiteX780" fmla="*/ 1547813 w 2242184"/>
                  <a:gd name="connsiteY780" fmla="*/ 938213 h 1686775"/>
                  <a:gd name="connsiteX781" fmla="*/ 1547813 w 2242184"/>
                  <a:gd name="connsiteY781" fmla="*/ 955358 h 1686775"/>
                  <a:gd name="connsiteX782" fmla="*/ 1544955 w 2242184"/>
                  <a:gd name="connsiteY782" fmla="*/ 964883 h 1686775"/>
                  <a:gd name="connsiteX783" fmla="*/ 1546860 w 2242184"/>
                  <a:gd name="connsiteY783" fmla="*/ 968693 h 1686775"/>
                  <a:gd name="connsiteX784" fmla="*/ 1542098 w 2242184"/>
                  <a:gd name="connsiteY784" fmla="*/ 975360 h 1686775"/>
                  <a:gd name="connsiteX785" fmla="*/ 1528763 w 2242184"/>
                  <a:gd name="connsiteY785" fmla="*/ 984885 h 1686775"/>
                  <a:gd name="connsiteX786" fmla="*/ 1508760 w 2242184"/>
                  <a:gd name="connsiteY786" fmla="*/ 994410 h 1686775"/>
                  <a:gd name="connsiteX787" fmla="*/ 1508760 w 2242184"/>
                  <a:gd name="connsiteY787" fmla="*/ 998220 h 1686775"/>
                  <a:gd name="connsiteX788" fmla="*/ 1495425 w 2242184"/>
                  <a:gd name="connsiteY788" fmla="*/ 1007745 h 1686775"/>
                  <a:gd name="connsiteX789" fmla="*/ 1482090 w 2242184"/>
                  <a:gd name="connsiteY789" fmla="*/ 1016318 h 1686775"/>
                  <a:gd name="connsiteX790" fmla="*/ 1479233 w 2242184"/>
                  <a:gd name="connsiteY790" fmla="*/ 1031557 h 1686775"/>
                  <a:gd name="connsiteX791" fmla="*/ 1485900 w 2242184"/>
                  <a:gd name="connsiteY791" fmla="*/ 1043940 h 1686775"/>
                  <a:gd name="connsiteX792" fmla="*/ 1483043 w 2242184"/>
                  <a:gd name="connsiteY792" fmla="*/ 1055370 h 1686775"/>
                  <a:gd name="connsiteX793" fmla="*/ 1483043 w 2242184"/>
                  <a:gd name="connsiteY793" fmla="*/ 1061085 h 1686775"/>
                  <a:gd name="connsiteX794" fmla="*/ 1483043 w 2242184"/>
                  <a:gd name="connsiteY794" fmla="*/ 1075373 h 1686775"/>
                  <a:gd name="connsiteX795" fmla="*/ 1484948 w 2242184"/>
                  <a:gd name="connsiteY795" fmla="*/ 1079183 h 1686775"/>
                  <a:gd name="connsiteX796" fmla="*/ 1495425 w 2242184"/>
                  <a:gd name="connsiteY796" fmla="*/ 1083945 h 1686775"/>
                  <a:gd name="connsiteX797" fmla="*/ 1508760 w 2242184"/>
                  <a:gd name="connsiteY797" fmla="*/ 1091565 h 1686775"/>
                  <a:gd name="connsiteX798" fmla="*/ 1515428 w 2242184"/>
                  <a:gd name="connsiteY798" fmla="*/ 1103948 h 1686775"/>
                  <a:gd name="connsiteX799" fmla="*/ 1524000 w 2242184"/>
                  <a:gd name="connsiteY799" fmla="*/ 1118235 h 1686775"/>
                  <a:gd name="connsiteX800" fmla="*/ 1547813 w 2242184"/>
                  <a:gd name="connsiteY800" fmla="*/ 1141095 h 1686775"/>
                  <a:gd name="connsiteX801" fmla="*/ 1554480 w 2242184"/>
                  <a:gd name="connsiteY801" fmla="*/ 1146810 h 1686775"/>
                  <a:gd name="connsiteX802" fmla="*/ 1556385 w 2242184"/>
                  <a:gd name="connsiteY802" fmla="*/ 1150620 h 1686775"/>
                  <a:gd name="connsiteX803" fmla="*/ 1571625 w 2242184"/>
                  <a:gd name="connsiteY803" fmla="*/ 1162050 h 1686775"/>
                  <a:gd name="connsiteX804" fmla="*/ 1586865 w 2242184"/>
                  <a:gd name="connsiteY804" fmla="*/ 1173480 h 1686775"/>
                  <a:gd name="connsiteX805" fmla="*/ 1600200 w 2242184"/>
                  <a:gd name="connsiteY805" fmla="*/ 1181100 h 1686775"/>
                  <a:gd name="connsiteX806" fmla="*/ 1608773 w 2242184"/>
                  <a:gd name="connsiteY806" fmla="*/ 1183958 h 1686775"/>
                  <a:gd name="connsiteX807" fmla="*/ 1624013 w 2242184"/>
                  <a:gd name="connsiteY807" fmla="*/ 1191578 h 1686775"/>
                  <a:gd name="connsiteX808" fmla="*/ 1634490 w 2242184"/>
                  <a:gd name="connsiteY808" fmla="*/ 1197293 h 1686775"/>
                  <a:gd name="connsiteX809" fmla="*/ 1651635 w 2242184"/>
                  <a:gd name="connsiteY809" fmla="*/ 1204913 h 1686775"/>
                  <a:gd name="connsiteX810" fmla="*/ 1655445 w 2242184"/>
                  <a:gd name="connsiteY810" fmla="*/ 1210628 h 1686775"/>
                  <a:gd name="connsiteX811" fmla="*/ 1659255 w 2242184"/>
                  <a:gd name="connsiteY811" fmla="*/ 1216343 h 1686775"/>
                  <a:gd name="connsiteX812" fmla="*/ 1659255 w 2242184"/>
                  <a:gd name="connsiteY812" fmla="*/ 1218248 h 1686775"/>
                  <a:gd name="connsiteX813" fmla="*/ 1659255 w 2242184"/>
                  <a:gd name="connsiteY813" fmla="*/ 1218248 h 1686775"/>
                  <a:gd name="connsiteX814" fmla="*/ 1659255 w 2242184"/>
                  <a:gd name="connsiteY814" fmla="*/ 1221105 h 1686775"/>
                  <a:gd name="connsiteX815" fmla="*/ 1663065 w 2242184"/>
                  <a:gd name="connsiteY815" fmla="*/ 1259205 h 1686775"/>
                  <a:gd name="connsiteX816" fmla="*/ 1664970 w 2242184"/>
                  <a:gd name="connsiteY816" fmla="*/ 1273493 h 1686775"/>
                  <a:gd name="connsiteX817" fmla="*/ 1664970 w 2242184"/>
                  <a:gd name="connsiteY817" fmla="*/ 1293495 h 1686775"/>
                  <a:gd name="connsiteX818" fmla="*/ 1664970 w 2242184"/>
                  <a:gd name="connsiteY818" fmla="*/ 1299210 h 1686775"/>
                  <a:gd name="connsiteX819" fmla="*/ 1664970 w 2242184"/>
                  <a:gd name="connsiteY819" fmla="*/ 1313498 h 1686775"/>
                  <a:gd name="connsiteX820" fmla="*/ 1666875 w 2242184"/>
                  <a:gd name="connsiteY820" fmla="*/ 1317308 h 1686775"/>
                  <a:gd name="connsiteX821" fmla="*/ 1657350 w 2242184"/>
                  <a:gd name="connsiteY821" fmla="*/ 1332548 h 1686775"/>
                  <a:gd name="connsiteX822" fmla="*/ 1655445 w 2242184"/>
                  <a:gd name="connsiteY822" fmla="*/ 1336358 h 1686775"/>
                  <a:gd name="connsiteX823" fmla="*/ 1646873 w 2242184"/>
                  <a:gd name="connsiteY823" fmla="*/ 1345883 h 1686775"/>
                  <a:gd name="connsiteX824" fmla="*/ 1642110 w 2242184"/>
                  <a:gd name="connsiteY824" fmla="*/ 1351598 h 1686775"/>
                  <a:gd name="connsiteX825" fmla="*/ 1639253 w 2242184"/>
                  <a:gd name="connsiteY825" fmla="*/ 1360170 h 1686775"/>
                  <a:gd name="connsiteX826" fmla="*/ 1637348 w 2242184"/>
                  <a:gd name="connsiteY826" fmla="*/ 1365885 h 1686775"/>
                  <a:gd name="connsiteX827" fmla="*/ 1644015 w 2242184"/>
                  <a:gd name="connsiteY827" fmla="*/ 1375410 h 1686775"/>
                  <a:gd name="connsiteX828" fmla="*/ 1644015 w 2242184"/>
                  <a:gd name="connsiteY828" fmla="*/ 1383983 h 1686775"/>
                  <a:gd name="connsiteX829" fmla="*/ 1644015 w 2242184"/>
                  <a:gd name="connsiteY829" fmla="*/ 1387793 h 1686775"/>
                  <a:gd name="connsiteX830" fmla="*/ 1635443 w 2242184"/>
                  <a:gd name="connsiteY830" fmla="*/ 1391603 h 1686775"/>
                  <a:gd name="connsiteX831" fmla="*/ 1633538 w 2242184"/>
                  <a:gd name="connsiteY831" fmla="*/ 1395413 h 1686775"/>
                  <a:gd name="connsiteX832" fmla="*/ 1628775 w 2242184"/>
                  <a:gd name="connsiteY832" fmla="*/ 1402080 h 1686775"/>
                  <a:gd name="connsiteX833" fmla="*/ 1622108 w 2242184"/>
                  <a:gd name="connsiteY833" fmla="*/ 1407795 h 1686775"/>
                  <a:gd name="connsiteX834" fmla="*/ 1612583 w 2242184"/>
                  <a:gd name="connsiteY834" fmla="*/ 1427798 h 1686775"/>
                  <a:gd name="connsiteX835" fmla="*/ 1614488 w 2242184"/>
                  <a:gd name="connsiteY835" fmla="*/ 1448753 h 1686775"/>
                  <a:gd name="connsiteX836" fmla="*/ 1616393 w 2242184"/>
                  <a:gd name="connsiteY836" fmla="*/ 1468755 h 1686775"/>
                  <a:gd name="connsiteX837" fmla="*/ 1613535 w 2242184"/>
                  <a:gd name="connsiteY837" fmla="*/ 1480185 h 1686775"/>
                  <a:gd name="connsiteX838" fmla="*/ 1602105 w 2242184"/>
                  <a:gd name="connsiteY838" fmla="*/ 1486853 h 1686775"/>
                  <a:gd name="connsiteX839" fmla="*/ 1593533 w 2242184"/>
                  <a:gd name="connsiteY839" fmla="*/ 1490663 h 1686775"/>
                  <a:gd name="connsiteX840" fmla="*/ 1588770 w 2242184"/>
                  <a:gd name="connsiteY840" fmla="*/ 1497330 h 1686775"/>
                  <a:gd name="connsiteX841" fmla="*/ 1597343 w 2242184"/>
                  <a:gd name="connsiteY841" fmla="*/ 1503045 h 1686775"/>
                  <a:gd name="connsiteX842" fmla="*/ 1599248 w 2242184"/>
                  <a:gd name="connsiteY842" fmla="*/ 1523048 h 1686775"/>
                  <a:gd name="connsiteX843" fmla="*/ 1601153 w 2242184"/>
                  <a:gd name="connsiteY843" fmla="*/ 1529715 h 1686775"/>
                  <a:gd name="connsiteX844" fmla="*/ 1601153 w 2242184"/>
                  <a:gd name="connsiteY844" fmla="*/ 1535430 h 1686775"/>
                  <a:gd name="connsiteX845" fmla="*/ 1585913 w 2242184"/>
                  <a:gd name="connsiteY845" fmla="*/ 1542098 h 1686775"/>
                  <a:gd name="connsiteX846" fmla="*/ 1574483 w 2242184"/>
                  <a:gd name="connsiteY846" fmla="*/ 1564958 h 1686775"/>
                  <a:gd name="connsiteX847" fmla="*/ 1578293 w 2242184"/>
                  <a:gd name="connsiteY847" fmla="*/ 1573530 h 1686775"/>
                  <a:gd name="connsiteX848" fmla="*/ 1584960 w 2242184"/>
                  <a:gd name="connsiteY848" fmla="*/ 1583055 h 1686775"/>
                  <a:gd name="connsiteX849" fmla="*/ 1584960 w 2242184"/>
                  <a:gd name="connsiteY849" fmla="*/ 1586865 h 1686775"/>
                  <a:gd name="connsiteX850" fmla="*/ 1586865 w 2242184"/>
                  <a:gd name="connsiteY850" fmla="*/ 1593533 h 1686775"/>
                  <a:gd name="connsiteX851" fmla="*/ 1586865 w 2242184"/>
                  <a:gd name="connsiteY851" fmla="*/ 1602105 h 1686775"/>
                  <a:gd name="connsiteX852" fmla="*/ 1586865 w 2242184"/>
                  <a:gd name="connsiteY852" fmla="*/ 1614488 h 1686775"/>
                  <a:gd name="connsiteX853" fmla="*/ 1586865 w 2242184"/>
                  <a:gd name="connsiteY853" fmla="*/ 1618298 h 1686775"/>
                  <a:gd name="connsiteX854" fmla="*/ 1600200 w 2242184"/>
                  <a:gd name="connsiteY854" fmla="*/ 1632585 h 1686775"/>
                  <a:gd name="connsiteX855" fmla="*/ 1610678 w 2242184"/>
                  <a:gd name="connsiteY855" fmla="*/ 1642110 h 1686775"/>
                  <a:gd name="connsiteX856" fmla="*/ 1607820 w 2242184"/>
                  <a:gd name="connsiteY856" fmla="*/ 1656398 h 1686775"/>
                  <a:gd name="connsiteX857" fmla="*/ 1611630 w 2242184"/>
                  <a:gd name="connsiteY857" fmla="*/ 1662113 h 1686775"/>
                  <a:gd name="connsiteX858" fmla="*/ 1615440 w 2242184"/>
                  <a:gd name="connsiteY858" fmla="*/ 1668780 h 1686775"/>
                  <a:gd name="connsiteX859" fmla="*/ 1637348 w 2242184"/>
                  <a:gd name="connsiteY859" fmla="*/ 1679258 h 1686775"/>
                  <a:gd name="connsiteX860" fmla="*/ 1652588 w 2242184"/>
                  <a:gd name="connsiteY860" fmla="*/ 1682115 h 1686775"/>
                  <a:gd name="connsiteX861" fmla="*/ 1661160 w 2242184"/>
                  <a:gd name="connsiteY861" fmla="*/ 1682115 h 1686775"/>
                  <a:gd name="connsiteX862" fmla="*/ 1689735 w 2242184"/>
                  <a:gd name="connsiteY862" fmla="*/ 1684973 h 1686775"/>
                  <a:gd name="connsiteX863" fmla="*/ 1711643 w 2242184"/>
                  <a:gd name="connsiteY863" fmla="*/ 1684973 h 1686775"/>
                  <a:gd name="connsiteX864" fmla="*/ 1718310 w 2242184"/>
                  <a:gd name="connsiteY864" fmla="*/ 1682115 h 1686775"/>
                  <a:gd name="connsiteX865" fmla="*/ 1726883 w 2242184"/>
                  <a:gd name="connsiteY865" fmla="*/ 1676400 h 1686775"/>
                  <a:gd name="connsiteX866" fmla="*/ 1728788 w 2242184"/>
                  <a:gd name="connsiteY866" fmla="*/ 1670685 h 1686775"/>
                  <a:gd name="connsiteX867" fmla="*/ 1713548 w 2242184"/>
                  <a:gd name="connsiteY867" fmla="*/ 1667828 h 1686775"/>
                  <a:gd name="connsiteX868" fmla="*/ 1700213 w 2242184"/>
                  <a:gd name="connsiteY868" fmla="*/ 1662113 h 1686775"/>
                  <a:gd name="connsiteX869" fmla="*/ 1683068 w 2242184"/>
                  <a:gd name="connsiteY869" fmla="*/ 1644968 h 1686775"/>
                  <a:gd name="connsiteX870" fmla="*/ 1681163 w 2242184"/>
                  <a:gd name="connsiteY870" fmla="*/ 1633538 h 1686775"/>
                  <a:gd name="connsiteX871" fmla="*/ 1684020 w 2242184"/>
                  <a:gd name="connsiteY871" fmla="*/ 1619250 h 1686775"/>
                  <a:gd name="connsiteX872" fmla="*/ 1690688 w 2242184"/>
                  <a:gd name="connsiteY872" fmla="*/ 1609725 h 1686775"/>
                  <a:gd name="connsiteX873" fmla="*/ 1702118 w 2242184"/>
                  <a:gd name="connsiteY873" fmla="*/ 1597343 h 1686775"/>
                  <a:gd name="connsiteX874" fmla="*/ 1710690 w 2242184"/>
                  <a:gd name="connsiteY874" fmla="*/ 1591628 h 1686775"/>
                  <a:gd name="connsiteX875" fmla="*/ 1725930 w 2242184"/>
                  <a:gd name="connsiteY875" fmla="*/ 1585913 h 1686775"/>
                  <a:gd name="connsiteX876" fmla="*/ 1734503 w 2242184"/>
                  <a:gd name="connsiteY876" fmla="*/ 1579245 h 1686775"/>
                  <a:gd name="connsiteX877" fmla="*/ 1734503 w 2242184"/>
                  <a:gd name="connsiteY877" fmla="*/ 1573530 h 1686775"/>
                  <a:gd name="connsiteX878" fmla="*/ 1734503 w 2242184"/>
                  <a:gd name="connsiteY878" fmla="*/ 1567815 h 1686775"/>
                  <a:gd name="connsiteX879" fmla="*/ 1727835 w 2242184"/>
                  <a:gd name="connsiteY879" fmla="*/ 1562100 h 1686775"/>
                  <a:gd name="connsiteX880" fmla="*/ 1725930 w 2242184"/>
                  <a:gd name="connsiteY880" fmla="*/ 1552575 h 1686775"/>
                  <a:gd name="connsiteX881" fmla="*/ 1725930 w 2242184"/>
                  <a:gd name="connsiteY881" fmla="*/ 1545908 h 1686775"/>
                  <a:gd name="connsiteX882" fmla="*/ 1727835 w 2242184"/>
                  <a:gd name="connsiteY882" fmla="*/ 1540193 h 1686775"/>
                  <a:gd name="connsiteX883" fmla="*/ 1745933 w 2242184"/>
                  <a:gd name="connsiteY883" fmla="*/ 1528763 h 1686775"/>
                  <a:gd name="connsiteX884" fmla="*/ 1752600 w 2242184"/>
                  <a:gd name="connsiteY884" fmla="*/ 1523048 h 1686775"/>
                  <a:gd name="connsiteX885" fmla="*/ 1757363 w 2242184"/>
                  <a:gd name="connsiteY885" fmla="*/ 1511618 h 1686775"/>
                  <a:gd name="connsiteX886" fmla="*/ 1759268 w 2242184"/>
                  <a:gd name="connsiteY886" fmla="*/ 1504950 h 1686775"/>
                  <a:gd name="connsiteX887" fmla="*/ 1764030 w 2242184"/>
                  <a:gd name="connsiteY887" fmla="*/ 1499235 h 1686775"/>
                  <a:gd name="connsiteX888" fmla="*/ 1768793 w 2242184"/>
                  <a:gd name="connsiteY888" fmla="*/ 1490663 h 1686775"/>
                  <a:gd name="connsiteX889" fmla="*/ 1770698 w 2242184"/>
                  <a:gd name="connsiteY889" fmla="*/ 1484948 h 1686775"/>
                  <a:gd name="connsiteX890" fmla="*/ 1779270 w 2242184"/>
                  <a:gd name="connsiteY890" fmla="*/ 1482090 h 1686775"/>
                  <a:gd name="connsiteX891" fmla="*/ 1787843 w 2242184"/>
                  <a:gd name="connsiteY891" fmla="*/ 1479233 h 1686775"/>
                  <a:gd name="connsiteX892" fmla="*/ 1796415 w 2242184"/>
                  <a:gd name="connsiteY892" fmla="*/ 1470660 h 1686775"/>
                  <a:gd name="connsiteX893" fmla="*/ 1803083 w 2242184"/>
                  <a:gd name="connsiteY893" fmla="*/ 1466850 h 1686775"/>
                  <a:gd name="connsiteX894" fmla="*/ 1807845 w 2242184"/>
                  <a:gd name="connsiteY894" fmla="*/ 1460183 h 1686775"/>
                  <a:gd name="connsiteX895" fmla="*/ 1823085 w 2242184"/>
                  <a:gd name="connsiteY895" fmla="*/ 1460183 h 1686775"/>
                  <a:gd name="connsiteX896" fmla="*/ 1841183 w 2242184"/>
                  <a:gd name="connsiteY896" fmla="*/ 1459230 h 1686775"/>
                  <a:gd name="connsiteX897" fmla="*/ 1847850 w 2242184"/>
                  <a:gd name="connsiteY897" fmla="*/ 1458278 h 1686775"/>
                  <a:gd name="connsiteX898" fmla="*/ 1861185 w 2242184"/>
                  <a:gd name="connsiteY898" fmla="*/ 1452563 h 1686775"/>
                  <a:gd name="connsiteX899" fmla="*/ 1883093 w 2242184"/>
                  <a:gd name="connsiteY899" fmla="*/ 1445895 h 1686775"/>
                  <a:gd name="connsiteX900" fmla="*/ 1892618 w 2242184"/>
                  <a:gd name="connsiteY900" fmla="*/ 1434465 h 1686775"/>
                  <a:gd name="connsiteX901" fmla="*/ 1892618 w 2242184"/>
                  <a:gd name="connsiteY901" fmla="*/ 1422083 h 1686775"/>
                  <a:gd name="connsiteX902" fmla="*/ 1901190 w 2242184"/>
                  <a:gd name="connsiteY902" fmla="*/ 1413510 h 1686775"/>
                  <a:gd name="connsiteX903" fmla="*/ 1905953 w 2242184"/>
                  <a:gd name="connsiteY903" fmla="*/ 1407795 h 1686775"/>
                  <a:gd name="connsiteX904" fmla="*/ 1919288 w 2242184"/>
                  <a:gd name="connsiteY904" fmla="*/ 1406843 h 1686775"/>
                  <a:gd name="connsiteX905" fmla="*/ 1927860 w 2242184"/>
                  <a:gd name="connsiteY905" fmla="*/ 1408748 h 1686775"/>
                  <a:gd name="connsiteX906" fmla="*/ 1943100 w 2242184"/>
                  <a:gd name="connsiteY906" fmla="*/ 1403033 h 1686775"/>
                  <a:gd name="connsiteX907" fmla="*/ 1951673 w 2242184"/>
                  <a:gd name="connsiteY907" fmla="*/ 1397318 h 1686775"/>
                  <a:gd name="connsiteX908" fmla="*/ 1965008 w 2242184"/>
                  <a:gd name="connsiteY908" fmla="*/ 1387793 h 1686775"/>
                  <a:gd name="connsiteX909" fmla="*/ 1980248 w 2242184"/>
                  <a:gd name="connsiteY909" fmla="*/ 1376363 h 1686775"/>
                  <a:gd name="connsiteX910" fmla="*/ 1980248 w 2242184"/>
                  <a:gd name="connsiteY910" fmla="*/ 1370648 h 1686775"/>
                  <a:gd name="connsiteX911" fmla="*/ 1991678 w 2242184"/>
                  <a:gd name="connsiteY911" fmla="*/ 1358265 h 1686775"/>
                  <a:gd name="connsiteX912" fmla="*/ 2003108 w 2242184"/>
                  <a:gd name="connsiteY912" fmla="*/ 1349693 h 1686775"/>
                  <a:gd name="connsiteX913" fmla="*/ 2021205 w 2242184"/>
                  <a:gd name="connsiteY913" fmla="*/ 1343978 h 1686775"/>
                  <a:gd name="connsiteX914" fmla="*/ 2032635 w 2242184"/>
                  <a:gd name="connsiteY914" fmla="*/ 1334453 h 1686775"/>
                  <a:gd name="connsiteX915" fmla="*/ 2034540 w 2242184"/>
                  <a:gd name="connsiteY915" fmla="*/ 1327785 h 1686775"/>
                  <a:gd name="connsiteX916" fmla="*/ 2034540 w 2242184"/>
                  <a:gd name="connsiteY916" fmla="*/ 1319213 h 1686775"/>
                  <a:gd name="connsiteX917" fmla="*/ 2045970 w 2242184"/>
                  <a:gd name="connsiteY917" fmla="*/ 1306830 h 1686775"/>
                  <a:gd name="connsiteX918" fmla="*/ 2047875 w 2242184"/>
                  <a:gd name="connsiteY918" fmla="*/ 1301115 h 1686775"/>
                  <a:gd name="connsiteX919" fmla="*/ 2054543 w 2242184"/>
                  <a:gd name="connsiteY919" fmla="*/ 1294448 h 1686775"/>
                  <a:gd name="connsiteX920" fmla="*/ 2061210 w 2242184"/>
                  <a:gd name="connsiteY920" fmla="*/ 1293495 h 1686775"/>
                  <a:gd name="connsiteX921" fmla="*/ 2069783 w 2242184"/>
                  <a:gd name="connsiteY921" fmla="*/ 1284923 h 1686775"/>
                  <a:gd name="connsiteX922" fmla="*/ 2076450 w 2242184"/>
                  <a:gd name="connsiteY922" fmla="*/ 1283970 h 1686775"/>
                  <a:gd name="connsiteX923" fmla="*/ 2096453 w 2242184"/>
                  <a:gd name="connsiteY923" fmla="*/ 1274445 h 1686775"/>
                  <a:gd name="connsiteX924" fmla="*/ 2121218 w 2242184"/>
                  <a:gd name="connsiteY924" fmla="*/ 1270635 h 1686775"/>
                  <a:gd name="connsiteX925" fmla="*/ 2132648 w 2242184"/>
                  <a:gd name="connsiteY925" fmla="*/ 1266825 h 1686775"/>
                  <a:gd name="connsiteX926" fmla="*/ 2152650 w 2242184"/>
                  <a:gd name="connsiteY926" fmla="*/ 1261110 h 1686775"/>
                  <a:gd name="connsiteX927" fmla="*/ 2174558 w 2242184"/>
                  <a:gd name="connsiteY927" fmla="*/ 1252538 h 1686775"/>
                  <a:gd name="connsiteX928" fmla="*/ 2181225 w 2242184"/>
                  <a:gd name="connsiteY928" fmla="*/ 1245870 h 1686775"/>
                  <a:gd name="connsiteX929" fmla="*/ 2187893 w 2242184"/>
                  <a:gd name="connsiteY929" fmla="*/ 1236345 h 1686775"/>
                  <a:gd name="connsiteX930" fmla="*/ 2201228 w 2242184"/>
                  <a:gd name="connsiteY930" fmla="*/ 1224915 h 1686775"/>
                  <a:gd name="connsiteX931" fmla="*/ 2204085 w 2242184"/>
                  <a:gd name="connsiteY931" fmla="*/ 1203960 h 1686775"/>
                  <a:gd name="connsiteX932" fmla="*/ 2206943 w 2242184"/>
                  <a:gd name="connsiteY932" fmla="*/ 1194435 h 1686775"/>
                  <a:gd name="connsiteX933" fmla="*/ 2216468 w 2242184"/>
                  <a:gd name="connsiteY933" fmla="*/ 1182053 h 1686775"/>
                  <a:gd name="connsiteX934" fmla="*/ 2216468 w 2242184"/>
                  <a:gd name="connsiteY934" fmla="*/ 1172528 h 1686775"/>
                  <a:gd name="connsiteX935" fmla="*/ 2214563 w 2242184"/>
                  <a:gd name="connsiteY935" fmla="*/ 1165860 h 1686775"/>
                  <a:gd name="connsiteX936" fmla="*/ 2214563 w 2242184"/>
                  <a:gd name="connsiteY936" fmla="*/ 1160145 h 1686775"/>
                  <a:gd name="connsiteX937" fmla="*/ 2225993 w 2242184"/>
                  <a:gd name="connsiteY937" fmla="*/ 1151573 h 1686775"/>
                  <a:gd name="connsiteX938" fmla="*/ 2237423 w 2242184"/>
                  <a:gd name="connsiteY938" fmla="*/ 1127760 h 1686775"/>
                  <a:gd name="connsiteX939" fmla="*/ 2235518 w 2242184"/>
                  <a:gd name="connsiteY939" fmla="*/ 1113473 h 1686775"/>
                  <a:gd name="connsiteX940" fmla="*/ 2242185 w 2242184"/>
                  <a:gd name="connsiteY940" fmla="*/ 1098233 h 1686775"/>
                  <a:gd name="connsiteX941" fmla="*/ 1526858 w 2242184"/>
                  <a:gd name="connsiteY941" fmla="*/ 497205 h 1686775"/>
                  <a:gd name="connsiteX942" fmla="*/ 1528763 w 2242184"/>
                  <a:gd name="connsiteY942" fmla="*/ 494348 h 1686775"/>
                  <a:gd name="connsiteX943" fmla="*/ 1531620 w 2242184"/>
                  <a:gd name="connsiteY943" fmla="*/ 491490 h 1686775"/>
                  <a:gd name="connsiteX944" fmla="*/ 1540193 w 2242184"/>
                  <a:gd name="connsiteY944" fmla="*/ 491490 h 1686775"/>
                  <a:gd name="connsiteX945" fmla="*/ 1545908 w 2242184"/>
                  <a:gd name="connsiteY945" fmla="*/ 490537 h 1686775"/>
                  <a:gd name="connsiteX946" fmla="*/ 1553528 w 2242184"/>
                  <a:gd name="connsiteY946" fmla="*/ 490537 h 1686775"/>
                  <a:gd name="connsiteX947" fmla="*/ 1561148 w 2242184"/>
                  <a:gd name="connsiteY947" fmla="*/ 490537 h 1686775"/>
                  <a:gd name="connsiteX948" fmla="*/ 1576388 w 2242184"/>
                  <a:gd name="connsiteY948" fmla="*/ 489585 h 1686775"/>
                  <a:gd name="connsiteX949" fmla="*/ 1578293 w 2242184"/>
                  <a:gd name="connsiteY949" fmla="*/ 493395 h 1686775"/>
                  <a:gd name="connsiteX950" fmla="*/ 1578293 w 2242184"/>
                  <a:gd name="connsiteY950" fmla="*/ 494348 h 1686775"/>
                  <a:gd name="connsiteX951" fmla="*/ 1576388 w 2242184"/>
                  <a:gd name="connsiteY951" fmla="*/ 497205 h 1686775"/>
                  <a:gd name="connsiteX952" fmla="*/ 1571625 w 2242184"/>
                  <a:gd name="connsiteY952" fmla="*/ 498158 h 1686775"/>
                  <a:gd name="connsiteX953" fmla="*/ 1564005 w 2242184"/>
                  <a:gd name="connsiteY953" fmla="*/ 499110 h 1686775"/>
                  <a:gd name="connsiteX954" fmla="*/ 1557338 w 2242184"/>
                  <a:gd name="connsiteY954" fmla="*/ 500062 h 1686775"/>
                  <a:gd name="connsiteX955" fmla="*/ 1550670 w 2242184"/>
                  <a:gd name="connsiteY955" fmla="*/ 501015 h 1686775"/>
                  <a:gd name="connsiteX956" fmla="*/ 1539240 w 2242184"/>
                  <a:gd name="connsiteY956" fmla="*/ 501968 h 1686775"/>
                  <a:gd name="connsiteX957" fmla="*/ 1534478 w 2242184"/>
                  <a:gd name="connsiteY957" fmla="*/ 502920 h 1686775"/>
                  <a:gd name="connsiteX958" fmla="*/ 1528763 w 2242184"/>
                  <a:gd name="connsiteY958" fmla="*/ 503873 h 1686775"/>
                  <a:gd name="connsiteX959" fmla="*/ 1521143 w 2242184"/>
                  <a:gd name="connsiteY959" fmla="*/ 508635 h 1686775"/>
                  <a:gd name="connsiteX960" fmla="*/ 1510665 w 2242184"/>
                  <a:gd name="connsiteY960" fmla="*/ 514350 h 1686775"/>
                  <a:gd name="connsiteX961" fmla="*/ 1501140 w 2242184"/>
                  <a:gd name="connsiteY961" fmla="*/ 515302 h 1686775"/>
                  <a:gd name="connsiteX962" fmla="*/ 1495425 w 2242184"/>
                  <a:gd name="connsiteY962" fmla="*/ 516255 h 1686775"/>
                  <a:gd name="connsiteX963" fmla="*/ 1495425 w 2242184"/>
                  <a:gd name="connsiteY963" fmla="*/ 516255 h 1686775"/>
                  <a:gd name="connsiteX964" fmla="*/ 1495425 w 2242184"/>
                  <a:gd name="connsiteY964" fmla="*/ 516255 h 1686775"/>
                  <a:gd name="connsiteX965" fmla="*/ 1483995 w 2242184"/>
                  <a:gd name="connsiteY965" fmla="*/ 518160 h 1686775"/>
                  <a:gd name="connsiteX966" fmla="*/ 1474470 w 2242184"/>
                  <a:gd name="connsiteY966" fmla="*/ 516255 h 1686775"/>
                  <a:gd name="connsiteX967" fmla="*/ 1467803 w 2242184"/>
                  <a:gd name="connsiteY967" fmla="*/ 514350 h 1686775"/>
                  <a:gd name="connsiteX968" fmla="*/ 1467803 w 2242184"/>
                  <a:gd name="connsiteY968" fmla="*/ 510540 h 1686775"/>
                  <a:gd name="connsiteX969" fmla="*/ 1471613 w 2242184"/>
                  <a:gd name="connsiteY969" fmla="*/ 503873 h 1686775"/>
                  <a:gd name="connsiteX970" fmla="*/ 1477328 w 2242184"/>
                  <a:gd name="connsiteY970" fmla="*/ 502920 h 1686775"/>
                  <a:gd name="connsiteX971" fmla="*/ 1488758 w 2242184"/>
                  <a:gd name="connsiteY971" fmla="*/ 502920 h 1686775"/>
                  <a:gd name="connsiteX972" fmla="*/ 1491615 w 2242184"/>
                  <a:gd name="connsiteY972" fmla="*/ 502920 h 1686775"/>
                  <a:gd name="connsiteX973" fmla="*/ 1502093 w 2242184"/>
                  <a:gd name="connsiteY973" fmla="*/ 502920 h 1686775"/>
                  <a:gd name="connsiteX974" fmla="*/ 1509713 w 2242184"/>
                  <a:gd name="connsiteY974" fmla="*/ 501968 h 1686775"/>
                  <a:gd name="connsiteX975" fmla="*/ 1518285 w 2242184"/>
                  <a:gd name="connsiteY975" fmla="*/ 501015 h 1686775"/>
                  <a:gd name="connsiteX976" fmla="*/ 1524000 w 2242184"/>
                  <a:gd name="connsiteY976" fmla="*/ 498158 h 1686775"/>
                  <a:gd name="connsiteX977" fmla="*/ 1526858 w 2242184"/>
                  <a:gd name="connsiteY977" fmla="*/ 497205 h 1686775"/>
                  <a:gd name="connsiteX978" fmla="*/ 1446848 w 2242184"/>
                  <a:gd name="connsiteY978" fmla="*/ 462915 h 1686775"/>
                  <a:gd name="connsiteX979" fmla="*/ 1453515 w 2242184"/>
                  <a:gd name="connsiteY979" fmla="*/ 462915 h 1686775"/>
                  <a:gd name="connsiteX980" fmla="*/ 1463993 w 2242184"/>
                  <a:gd name="connsiteY980" fmla="*/ 462915 h 1686775"/>
                  <a:gd name="connsiteX981" fmla="*/ 1468755 w 2242184"/>
                  <a:gd name="connsiteY981" fmla="*/ 461962 h 1686775"/>
                  <a:gd name="connsiteX982" fmla="*/ 1479233 w 2242184"/>
                  <a:gd name="connsiteY982" fmla="*/ 461010 h 1686775"/>
                  <a:gd name="connsiteX983" fmla="*/ 1490663 w 2242184"/>
                  <a:gd name="connsiteY983" fmla="*/ 460058 h 1686775"/>
                  <a:gd name="connsiteX984" fmla="*/ 1502093 w 2242184"/>
                  <a:gd name="connsiteY984" fmla="*/ 461010 h 1686775"/>
                  <a:gd name="connsiteX985" fmla="*/ 1513523 w 2242184"/>
                  <a:gd name="connsiteY985" fmla="*/ 461010 h 1686775"/>
                  <a:gd name="connsiteX986" fmla="*/ 1515428 w 2242184"/>
                  <a:gd name="connsiteY986" fmla="*/ 466725 h 1686775"/>
                  <a:gd name="connsiteX987" fmla="*/ 1518285 w 2242184"/>
                  <a:gd name="connsiteY987" fmla="*/ 466725 h 1686775"/>
                  <a:gd name="connsiteX988" fmla="*/ 1521143 w 2242184"/>
                  <a:gd name="connsiteY988" fmla="*/ 467677 h 1686775"/>
                  <a:gd name="connsiteX989" fmla="*/ 1520190 w 2242184"/>
                  <a:gd name="connsiteY989" fmla="*/ 469583 h 1686775"/>
                  <a:gd name="connsiteX990" fmla="*/ 1515428 w 2242184"/>
                  <a:gd name="connsiteY990" fmla="*/ 472440 h 1686775"/>
                  <a:gd name="connsiteX991" fmla="*/ 1511618 w 2242184"/>
                  <a:gd name="connsiteY991" fmla="*/ 473393 h 1686775"/>
                  <a:gd name="connsiteX992" fmla="*/ 1504950 w 2242184"/>
                  <a:gd name="connsiteY992" fmla="*/ 473393 h 1686775"/>
                  <a:gd name="connsiteX993" fmla="*/ 1498283 w 2242184"/>
                  <a:gd name="connsiteY993" fmla="*/ 473393 h 1686775"/>
                  <a:gd name="connsiteX994" fmla="*/ 1495425 w 2242184"/>
                  <a:gd name="connsiteY994" fmla="*/ 474345 h 1686775"/>
                  <a:gd name="connsiteX995" fmla="*/ 1493520 w 2242184"/>
                  <a:gd name="connsiteY995" fmla="*/ 478155 h 1686775"/>
                  <a:gd name="connsiteX996" fmla="*/ 1492568 w 2242184"/>
                  <a:gd name="connsiteY996" fmla="*/ 485775 h 1686775"/>
                  <a:gd name="connsiteX997" fmla="*/ 1483043 w 2242184"/>
                  <a:gd name="connsiteY997" fmla="*/ 488633 h 1686775"/>
                  <a:gd name="connsiteX998" fmla="*/ 1477328 w 2242184"/>
                  <a:gd name="connsiteY998" fmla="*/ 488633 h 1686775"/>
                  <a:gd name="connsiteX999" fmla="*/ 1471613 w 2242184"/>
                  <a:gd name="connsiteY999" fmla="*/ 484823 h 1686775"/>
                  <a:gd name="connsiteX1000" fmla="*/ 1464945 w 2242184"/>
                  <a:gd name="connsiteY1000" fmla="*/ 482918 h 1686775"/>
                  <a:gd name="connsiteX1001" fmla="*/ 1460183 w 2242184"/>
                  <a:gd name="connsiteY1001" fmla="*/ 478155 h 1686775"/>
                  <a:gd name="connsiteX1002" fmla="*/ 1460183 w 2242184"/>
                  <a:gd name="connsiteY1002" fmla="*/ 476250 h 1686775"/>
                  <a:gd name="connsiteX1003" fmla="*/ 1457325 w 2242184"/>
                  <a:gd name="connsiteY1003" fmla="*/ 473393 h 1686775"/>
                  <a:gd name="connsiteX1004" fmla="*/ 1450658 w 2242184"/>
                  <a:gd name="connsiteY1004" fmla="*/ 469583 h 1686775"/>
                  <a:gd name="connsiteX1005" fmla="*/ 1444943 w 2242184"/>
                  <a:gd name="connsiteY1005" fmla="*/ 469583 h 1686775"/>
                  <a:gd name="connsiteX1006" fmla="*/ 1436370 w 2242184"/>
                  <a:gd name="connsiteY1006" fmla="*/ 469583 h 1686775"/>
                  <a:gd name="connsiteX1007" fmla="*/ 1431608 w 2242184"/>
                  <a:gd name="connsiteY1007" fmla="*/ 469583 h 1686775"/>
                  <a:gd name="connsiteX1008" fmla="*/ 1425893 w 2242184"/>
                  <a:gd name="connsiteY1008" fmla="*/ 472440 h 1686775"/>
                  <a:gd name="connsiteX1009" fmla="*/ 1421130 w 2242184"/>
                  <a:gd name="connsiteY1009" fmla="*/ 474345 h 1686775"/>
                  <a:gd name="connsiteX1010" fmla="*/ 1416368 w 2242184"/>
                  <a:gd name="connsiteY1010" fmla="*/ 478155 h 1686775"/>
                  <a:gd name="connsiteX1011" fmla="*/ 1415415 w 2242184"/>
                  <a:gd name="connsiteY1011" fmla="*/ 480060 h 1686775"/>
                  <a:gd name="connsiteX1012" fmla="*/ 1414463 w 2242184"/>
                  <a:gd name="connsiteY1012" fmla="*/ 484823 h 1686775"/>
                  <a:gd name="connsiteX1013" fmla="*/ 1410653 w 2242184"/>
                  <a:gd name="connsiteY1013" fmla="*/ 486727 h 1686775"/>
                  <a:gd name="connsiteX1014" fmla="*/ 1409700 w 2242184"/>
                  <a:gd name="connsiteY1014" fmla="*/ 492443 h 1686775"/>
                  <a:gd name="connsiteX1015" fmla="*/ 1407795 w 2242184"/>
                  <a:gd name="connsiteY1015" fmla="*/ 499110 h 1686775"/>
                  <a:gd name="connsiteX1016" fmla="*/ 1406843 w 2242184"/>
                  <a:gd name="connsiteY1016" fmla="*/ 502920 h 1686775"/>
                  <a:gd name="connsiteX1017" fmla="*/ 1405890 w 2242184"/>
                  <a:gd name="connsiteY1017" fmla="*/ 504825 h 1686775"/>
                  <a:gd name="connsiteX1018" fmla="*/ 1400175 w 2242184"/>
                  <a:gd name="connsiteY1018" fmla="*/ 504825 h 1686775"/>
                  <a:gd name="connsiteX1019" fmla="*/ 1396365 w 2242184"/>
                  <a:gd name="connsiteY1019" fmla="*/ 504825 h 1686775"/>
                  <a:gd name="connsiteX1020" fmla="*/ 1391603 w 2242184"/>
                  <a:gd name="connsiteY1020" fmla="*/ 502920 h 1686775"/>
                  <a:gd name="connsiteX1021" fmla="*/ 1388745 w 2242184"/>
                  <a:gd name="connsiteY1021" fmla="*/ 500062 h 1686775"/>
                  <a:gd name="connsiteX1022" fmla="*/ 1389698 w 2242184"/>
                  <a:gd name="connsiteY1022" fmla="*/ 493395 h 1686775"/>
                  <a:gd name="connsiteX1023" fmla="*/ 1387793 w 2242184"/>
                  <a:gd name="connsiteY1023" fmla="*/ 486727 h 1686775"/>
                  <a:gd name="connsiteX1024" fmla="*/ 1387793 w 2242184"/>
                  <a:gd name="connsiteY1024" fmla="*/ 483870 h 1686775"/>
                  <a:gd name="connsiteX1025" fmla="*/ 1387793 w 2242184"/>
                  <a:gd name="connsiteY1025" fmla="*/ 477202 h 1686775"/>
                  <a:gd name="connsiteX1026" fmla="*/ 1391603 w 2242184"/>
                  <a:gd name="connsiteY1026" fmla="*/ 473393 h 1686775"/>
                  <a:gd name="connsiteX1027" fmla="*/ 1395413 w 2242184"/>
                  <a:gd name="connsiteY1027" fmla="*/ 469583 h 1686775"/>
                  <a:gd name="connsiteX1028" fmla="*/ 1403985 w 2242184"/>
                  <a:gd name="connsiteY1028" fmla="*/ 467677 h 1686775"/>
                  <a:gd name="connsiteX1029" fmla="*/ 1413510 w 2242184"/>
                  <a:gd name="connsiteY1029" fmla="*/ 464820 h 1686775"/>
                  <a:gd name="connsiteX1030" fmla="*/ 1414463 w 2242184"/>
                  <a:gd name="connsiteY1030" fmla="*/ 462915 h 1686775"/>
                  <a:gd name="connsiteX1031" fmla="*/ 1422083 w 2242184"/>
                  <a:gd name="connsiteY1031" fmla="*/ 460058 h 1686775"/>
                  <a:gd name="connsiteX1032" fmla="*/ 1423988 w 2242184"/>
                  <a:gd name="connsiteY1032" fmla="*/ 460058 h 1686775"/>
                  <a:gd name="connsiteX1033" fmla="*/ 1429703 w 2242184"/>
                  <a:gd name="connsiteY1033" fmla="*/ 460058 h 1686775"/>
                  <a:gd name="connsiteX1034" fmla="*/ 1434465 w 2242184"/>
                  <a:gd name="connsiteY1034" fmla="*/ 460058 h 1686775"/>
                  <a:gd name="connsiteX1035" fmla="*/ 1446848 w 2242184"/>
                  <a:gd name="connsiteY1035" fmla="*/ 462915 h 1686775"/>
                  <a:gd name="connsiteX1036" fmla="*/ 1322070 w 2242184"/>
                  <a:gd name="connsiteY1036" fmla="*/ 445770 h 1686775"/>
                  <a:gd name="connsiteX1037" fmla="*/ 1324928 w 2242184"/>
                  <a:gd name="connsiteY1037" fmla="*/ 443865 h 1686775"/>
                  <a:gd name="connsiteX1038" fmla="*/ 1329690 w 2242184"/>
                  <a:gd name="connsiteY1038" fmla="*/ 441960 h 1686775"/>
                  <a:gd name="connsiteX1039" fmla="*/ 1333500 w 2242184"/>
                  <a:gd name="connsiteY1039" fmla="*/ 439102 h 1686775"/>
                  <a:gd name="connsiteX1040" fmla="*/ 1334453 w 2242184"/>
                  <a:gd name="connsiteY1040" fmla="*/ 437198 h 1686775"/>
                  <a:gd name="connsiteX1041" fmla="*/ 1338263 w 2242184"/>
                  <a:gd name="connsiteY1041" fmla="*/ 436245 h 1686775"/>
                  <a:gd name="connsiteX1042" fmla="*/ 1348740 w 2242184"/>
                  <a:gd name="connsiteY1042" fmla="*/ 432435 h 1686775"/>
                  <a:gd name="connsiteX1043" fmla="*/ 1353503 w 2242184"/>
                  <a:gd name="connsiteY1043" fmla="*/ 429577 h 1686775"/>
                  <a:gd name="connsiteX1044" fmla="*/ 1355408 w 2242184"/>
                  <a:gd name="connsiteY1044" fmla="*/ 428625 h 1686775"/>
                  <a:gd name="connsiteX1045" fmla="*/ 1357313 w 2242184"/>
                  <a:gd name="connsiteY1045" fmla="*/ 428625 h 1686775"/>
                  <a:gd name="connsiteX1046" fmla="*/ 1363980 w 2242184"/>
                  <a:gd name="connsiteY1046" fmla="*/ 428625 h 1686775"/>
                  <a:gd name="connsiteX1047" fmla="*/ 1366838 w 2242184"/>
                  <a:gd name="connsiteY1047" fmla="*/ 428625 h 1686775"/>
                  <a:gd name="connsiteX1048" fmla="*/ 1376363 w 2242184"/>
                  <a:gd name="connsiteY1048" fmla="*/ 427673 h 1686775"/>
                  <a:gd name="connsiteX1049" fmla="*/ 1381125 w 2242184"/>
                  <a:gd name="connsiteY1049" fmla="*/ 425768 h 1686775"/>
                  <a:gd name="connsiteX1050" fmla="*/ 1384935 w 2242184"/>
                  <a:gd name="connsiteY1050" fmla="*/ 424815 h 1686775"/>
                  <a:gd name="connsiteX1051" fmla="*/ 1387793 w 2242184"/>
                  <a:gd name="connsiteY1051" fmla="*/ 423862 h 1686775"/>
                  <a:gd name="connsiteX1052" fmla="*/ 1392555 w 2242184"/>
                  <a:gd name="connsiteY1052" fmla="*/ 424815 h 1686775"/>
                  <a:gd name="connsiteX1053" fmla="*/ 1397318 w 2242184"/>
                  <a:gd name="connsiteY1053" fmla="*/ 425768 h 1686775"/>
                  <a:gd name="connsiteX1054" fmla="*/ 1403033 w 2242184"/>
                  <a:gd name="connsiteY1054" fmla="*/ 428625 h 1686775"/>
                  <a:gd name="connsiteX1055" fmla="*/ 1408748 w 2242184"/>
                  <a:gd name="connsiteY1055" fmla="*/ 431483 h 1686775"/>
                  <a:gd name="connsiteX1056" fmla="*/ 1411605 w 2242184"/>
                  <a:gd name="connsiteY1056" fmla="*/ 433387 h 1686775"/>
                  <a:gd name="connsiteX1057" fmla="*/ 1418273 w 2242184"/>
                  <a:gd name="connsiteY1057" fmla="*/ 435293 h 1686775"/>
                  <a:gd name="connsiteX1058" fmla="*/ 1421130 w 2242184"/>
                  <a:gd name="connsiteY1058" fmla="*/ 436245 h 1686775"/>
                  <a:gd name="connsiteX1059" fmla="*/ 1423035 w 2242184"/>
                  <a:gd name="connsiteY1059" fmla="*/ 437198 h 1686775"/>
                  <a:gd name="connsiteX1060" fmla="*/ 1424940 w 2242184"/>
                  <a:gd name="connsiteY1060" fmla="*/ 439102 h 1686775"/>
                  <a:gd name="connsiteX1061" fmla="*/ 1425893 w 2242184"/>
                  <a:gd name="connsiteY1061" fmla="*/ 440055 h 1686775"/>
                  <a:gd name="connsiteX1062" fmla="*/ 1432560 w 2242184"/>
                  <a:gd name="connsiteY1062" fmla="*/ 446723 h 1686775"/>
                  <a:gd name="connsiteX1063" fmla="*/ 1429703 w 2242184"/>
                  <a:gd name="connsiteY1063" fmla="*/ 446723 h 1686775"/>
                  <a:gd name="connsiteX1064" fmla="*/ 1411605 w 2242184"/>
                  <a:gd name="connsiteY1064" fmla="*/ 447675 h 1686775"/>
                  <a:gd name="connsiteX1065" fmla="*/ 1404938 w 2242184"/>
                  <a:gd name="connsiteY1065" fmla="*/ 447675 h 1686775"/>
                  <a:gd name="connsiteX1066" fmla="*/ 1399223 w 2242184"/>
                  <a:gd name="connsiteY1066" fmla="*/ 447675 h 1686775"/>
                  <a:gd name="connsiteX1067" fmla="*/ 1393508 w 2242184"/>
                  <a:gd name="connsiteY1067" fmla="*/ 447675 h 1686775"/>
                  <a:gd name="connsiteX1068" fmla="*/ 1388745 w 2242184"/>
                  <a:gd name="connsiteY1068" fmla="*/ 447675 h 1686775"/>
                  <a:gd name="connsiteX1069" fmla="*/ 1381125 w 2242184"/>
                  <a:gd name="connsiteY1069" fmla="*/ 447675 h 1686775"/>
                  <a:gd name="connsiteX1070" fmla="*/ 1373505 w 2242184"/>
                  <a:gd name="connsiteY1070" fmla="*/ 449580 h 1686775"/>
                  <a:gd name="connsiteX1071" fmla="*/ 1360170 w 2242184"/>
                  <a:gd name="connsiteY1071" fmla="*/ 449580 h 1686775"/>
                  <a:gd name="connsiteX1072" fmla="*/ 1354455 w 2242184"/>
                  <a:gd name="connsiteY1072" fmla="*/ 449580 h 1686775"/>
                  <a:gd name="connsiteX1073" fmla="*/ 1342073 w 2242184"/>
                  <a:gd name="connsiteY1073" fmla="*/ 452437 h 1686775"/>
                  <a:gd name="connsiteX1074" fmla="*/ 1339215 w 2242184"/>
                  <a:gd name="connsiteY1074" fmla="*/ 453390 h 1686775"/>
                  <a:gd name="connsiteX1075" fmla="*/ 1331595 w 2242184"/>
                  <a:gd name="connsiteY1075" fmla="*/ 455295 h 1686775"/>
                  <a:gd name="connsiteX1076" fmla="*/ 1325880 w 2242184"/>
                  <a:gd name="connsiteY1076" fmla="*/ 455295 h 1686775"/>
                  <a:gd name="connsiteX1077" fmla="*/ 1322070 w 2242184"/>
                  <a:gd name="connsiteY1077" fmla="*/ 455295 h 1686775"/>
                  <a:gd name="connsiteX1078" fmla="*/ 1320165 w 2242184"/>
                  <a:gd name="connsiteY1078" fmla="*/ 452437 h 1686775"/>
                  <a:gd name="connsiteX1079" fmla="*/ 1320165 w 2242184"/>
                  <a:gd name="connsiteY1079" fmla="*/ 449580 h 1686775"/>
                  <a:gd name="connsiteX1080" fmla="*/ 1322070 w 2242184"/>
                  <a:gd name="connsiteY1080" fmla="*/ 445770 h 1686775"/>
                  <a:gd name="connsiteX1081" fmla="*/ 1762125 w 2242184"/>
                  <a:gd name="connsiteY1081" fmla="*/ 147637 h 1686775"/>
                  <a:gd name="connsiteX1082" fmla="*/ 1762125 w 2242184"/>
                  <a:gd name="connsiteY1082" fmla="*/ 147637 h 1686775"/>
                  <a:gd name="connsiteX1083" fmla="*/ 1762125 w 2242184"/>
                  <a:gd name="connsiteY1083" fmla="*/ 147637 h 1686775"/>
                  <a:gd name="connsiteX1084" fmla="*/ 870585 w 2242184"/>
                  <a:gd name="connsiteY1084" fmla="*/ 141923 h 1686775"/>
                  <a:gd name="connsiteX1085" fmla="*/ 862965 w 2242184"/>
                  <a:gd name="connsiteY1085" fmla="*/ 145733 h 1686775"/>
                  <a:gd name="connsiteX1086" fmla="*/ 854393 w 2242184"/>
                  <a:gd name="connsiteY1086" fmla="*/ 146685 h 1686775"/>
                  <a:gd name="connsiteX1087" fmla="*/ 851535 w 2242184"/>
                  <a:gd name="connsiteY1087" fmla="*/ 146685 h 1686775"/>
                  <a:gd name="connsiteX1088" fmla="*/ 844868 w 2242184"/>
                  <a:gd name="connsiteY1088" fmla="*/ 146685 h 1686775"/>
                  <a:gd name="connsiteX1089" fmla="*/ 840105 w 2242184"/>
                  <a:gd name="connsiteY1089" fmla="*/ 147637 h 1686775"/>
                  <a:gd name="connsiteX1090" fmla="*/ 834390 w 2242184"/>
                  <a:gd name="connsiteY1090" fmla="*/ 149542 h 1686775"/>
                  <a:gd name="connsiteX1091" fmla="*/ 829628 w 2242184"/>
                  <a:gd name="connsiteY1091" fmla="*/ 147637 h 1686775"/>
                  <a:gd name="connsiteX1092" fmla="*/ 826770 w 2242184"/>
                  <a:gd name="connsiteY1092" fmla="*/ 145733 h 1686775"/>
                  <a:gd name="connsiteX1093" fmla="*/ 819150 w 2242184"/>
                  <a:gd name="connsiteY1093" fmla="*/ 144780 h 1686775"/>
                  <a:gd name="connsiteX1094" fmla="*/ 811530 w 2242184"/>
                  <a:gd name="connsiteY1094" fmla="*/ 144780 h 1686775"/>
                  <a:gd name="connsiteX1095" fmla="*/ 804863 w 2242184"/>
                  <a:gd name="connsiteY1095" fmla="*/ 144780 h 1686775"/>
                  <a:gd name="connsiteX1096" fmla="*/ 800100 w 2242184"/>
                  <a:gd name="connsiteY1096" fmla="*/ 142875 h 1686775"/>
                  <a:gd name="connsiteX1097" fmla="*/ 788670 w 2242184"/>
                  <a:gd name="connsiteY1097" fmla="*/ 142875 h 1686775"/>
                  <a:gd name="connsiteX1098" fmla="*/ 784860 w 2242184"/>
                  <a:gd name="connsiteY1098" fmla="*/ 142875 h 1686775"/>
                  <a:gd name="connsiteX1099" fmla="*/ 776288 w 2242184"/>
                  <a:gd name="connsiteY1099" fmla="*/ 141923 h 1686775"/>
                  <a:gd name="connsiteX1100" fmla="*/ 764858 w 2242184"/>
                  <a:gd name="connsiteY1100" fmla="*/ 140970 h 1686775"/>
                  <a:gd name="connsiteX1101" fmla="*/ 756285 w 2242184"/>
                  <a:gd name="connsiteY1101" fmla="*/ 140017 h 1686775"/>
                  <a:gd name="connsiteX1102" fmla="*/ 750570 w 2242184"/>
                  <a:gd name="connsiteY1102" fmla="*/ 135255 h 1686775"/>
                  <a:gd name="connsiteX1103" fmla="*/ 751523 w 2242184"/>
                  <a:gd name="connsiteY1103" fmla="*/ 133350 h 1686775"/>
                  <a:gd name="connsiteX1104" fmla="*/ 754380 w 2242184"/>
                  <a:gd name="connsiteY1104" fmla="*/ 131445 h 1686775"/>
                  <a:gd name="connsiteX1105" fmla="*/ 760095 w 2242184"/>
                  <a:gd name="connsiteY1105" fmla="*/ 131445 h 1686775"/>
                  <a:gd name="connsiteX1106" fmla="*/ 771525 w 2242184"/>
                  <a:gd name="connsiteY1106" fmla="*/ 131445 h 1686775"/>
                  <a:gd name="connsiteX1107" fmla="*/ 776288 w 2242184"/>
                  <a:gd name="connsiteY1107" fmla="*/ 131445 h 1686775"/>
                  <a:gd name="connsiteX1108" fmla="*/ 783908 w 2242184"/>
                  <a:gd name="connsiteY1108" fmla="*/ 131445 h 1686775"/>
                  <a:gd name="connsiteX1109" fmla="*/ 792480 w 2242184"/>
                  <a:gd name="connsiteY1109" fmla="*/ 129540 h 1686775"/>
                  <a:gd name="connsiteX1110" fmla="*/ 794385 w 2242184"/>
                  <a:gd name="connsiteY1110" fmla="*/ 129540 h 1686775"/>
                  <a:gd name="connsiteX1111" fmla="*/ 793433 w 2242184"/>
                  <a:gd name="connsiteY1111" fmla="*/ 129540 h 1686775"/>
                  <a:gd name="connsiteX1112" fmla="*/ 793433 w 2242184"/>
                  <a:gd name="connsiteY1112" fmla="*/ 129540 h 1686775"/>
                  <a:gd name="connsiteX1113" fmla="*/ 792480 w 2242184"/>
                  <a:gd name="connsiteY1113" fmla="*/ 129540 h 1686775"/>
                  <a:gd name="connsiteX1114" fmla="*/ 793433 w 2242184"/>
                  <a:gd name="connsiteY1114" fmla="*/ 129540 h 1686775"/>
                  <a:gd name="connsiteX1115" fmla="*/ 793433 w 2242184"/>
                  <a:gd name="connsiteY1115" fmla="*/ 129540 h 1686775"/>
                  <a:gd name="connsiteX1116" fmla="*/ 794385 w 2242184"/>
                  <a:gd name="connsiteY1116" fmla="*/ 129540 h 1686775"/>
                  <a:gd name="connsiteX1117" fmla="*/ 802958 w 2242184"/>
                  <a:gd name="connsiteY1117" fmla="*/ 128587 h 1686775"/>
                  <a:gd name="connsiteX1118" fmla="*/ 805815 w 2242184"/>
                  <a:gd name="connsiteY1118" fmla="*/ 128587 h 1686775"/>
                  <a:gd name="connsiteX1119" fmla="*/ 815340 w 2242184"/>
                  <a:gd name="connsiteY1119" fmla="*/ 128587 h 1686775"/>
                  <a:gd name="connsiteX1120" fmla="*/ 822008 w 2242184"/>
                  <a:gd name="connsiteY1120" fmla="*/ 128587 h 1686775"/>
                  <a:gd name="connsiteX1121" fmla="*/ 827723 w 2242184"/>
                  <a:gd name="connsiteY1121" fmla="*/ 129540 h 1686775"/>
                  <a:gd name="connsiteX1122" fmla="*/ 832485 w 2242184"/>
                  <a:gd name="connsiteY1122" fmla="*/ 130492 h 1686775"/>
                  <a:gd name="connsiteX1123" fmla="*/ 832485 w 2242184"/>
                  <a:gd name="connsiteY1123" fmla="*/ 131445 h 1686775"/>
                  <a:gd name="connsiteX1124" fmla="*/ 840105 w 2242184"/>
                  <a:gd name="connsiteY1124" fmla="*/ 135255 h 1686775"/>
                  <a:gd name="connsiteX1125" fmla="*/ 842963 w 2242184"/>
                  <a:gd name="connsiteY1125" fmla="*/ 136208 h 1686775"/>
                  <a:gd name="connsiteX1126" fmla="*/ 852488 w 2242184"/>
                  <a:gd name="connsiteY1126" fmla="*/ 131445 h 1686775"/>
                  <a:gd name="connsiteX1127" fmla="*/ 857250 w 2242184"/>
                  <a:gd name="connsiteY1127" fmla="*/ 132398 h 1686775"/>
                  <a:gd name="connsiteX1128" fmla="*/ 862013 w 2242184"/>
                  <a:gd name="connsiteY1128" fmla="*/ 131445 h 1686775"/>
                  <a:gd name="connsiteX1129" fmla="*/ 869633 w 2242184"/>
                  <a:gd name="connsiteY1129" fmla="*/ 132398 h 1686775"/>
                  <a:gd name="connsiteX1130" fmla="*/ 872490 w 2242184"/>
                  <a:gd name="connsiteY1130" fmla="*/ 134303 h 1686775"/>
                  <a:gd name="connsiteX1131" fmla="*/ 873443 w 2242184"/>
                  <a:gd name="connsiteY1131" fmla="*/ 136208 h 1686775"/>
                  <a:gd name="connsiteX1132" fmla="*/ 870585 w 2242184"/>
                  <a:gd name="connsiteY1132" fmla="*/ 141923 h 1686775"/>
                  <a:gd name="connsiteX1133" fmla="*/ 1010603 w 2242184"/>
                  <a:gd name="connsiteY1133" fmla="*/ 202883 h 1686775"/>
                  <a:gd name="connsiteX1134" fmla="*/ 1005840 w 2242184"/>
                  <a:gd name="connsiteY1134" fmla="*/ 204787 h 1686775"/>
                  <a:gd name="connsiteX1135" fmla="*/ 1000125 w 2242184"/>
                  <a:gd name="connsiteY1135" fmla="*/ 206692 h 1686775"/>
                  <a:gd name="connsiteX1136" fmla="*/ 992505 w 2242184"/>
                  <a:gd name="connsiteY1136" fmla="*/ 206692 h 1686775"/>
                  <a:gd name="connsiteX1137" fmla="*/ 984885 w 2242184"/>
                  <a:gd name="connsiteY1137" fmla="*/ 207645 h 1686775"/>
                  <a:gd name="connsiteX1138" fmla="*/ 977265 w 2242184"/>
                  <a:gd name="connsiteY1138" fmla="*/ 209550 h 1686775"/>
                  <a:gd name="connsiteX1139" fmla="*/ 969645 w 2242184"/>
                  <a:gd name="connsiteY1139" fmla="*/ 212408 h 1686775"/>
                  <a:gd name="connsiteX1140" fmla="*/ 963930 w 2242184"/>
                  <a:gd name="connsiteY1140" fmla="*/ 213360 h 1686775"/>
                  <a:gd name="connsiteX1141" fmla="*/ 961073 w 2242184"/>
                  <a:gd name="connsiteY1141" fmla="*/ 217170 h 1686775"/>
                  <a:gd name="connsiteX1142" fmla="*/ 953453 w 2242184"/>
                  <a:gd name="connsiteY1142" fmla="*/ 219075 h 1686775"/>
                  <a:gd name="connsiteX1143" fmla="*/ 943928 w 2242184"/>
                  <a:gd name="connsiteY1143" fmla="*/ 220980 h 1686775"/>
                  <a:gd name="connsiteX1144" fmla="*/ 935355 w 2242184"/>
                  <a:gd name="connsiteY1144" fmla="*/ 220980 h 1686775"/>
                  <a:gd name="connsiteX1145" fmla="*/ 925830 w 2242184"/>
                  <a:gd name="connsiteY1145" fmla="*/ 220980 h 1686775"/>
                  <a:gd name="connsiteX1146" fmla="*/ 917258 w 2242184"/>
                  <a:gd name="connsiteY1146" fmla="*/ 220980 h 1686775"/>
                  <a:gd name="connsiteX1147" fmla="*/ 910590 w 2242184"/>
                  <a:gd name="connsiteY1147" fmla="*/ 221933 h 1686775"/>
                  <a:gd name="connsiteX1148" fmla="*/ 903923 w 2242184"/>
                  <a:gd name="connsiteY1148" fmla="*/ 224790 h 1686775"/>
                  <a:gd name="connsiteX1149" fmla="*/ 895350 w 2242184"/>
                  <a:gd name="connsiteY1149" fmla="*/ 226695 h 1686775"/>
                  <a:gd name="connsiteX1150" fmla="*/ 887730 w 2242184"/>
                  <a:gd name="connsiteY1150" fmla="*/ 227648 h 1686775"/>
                  <a:gd name="connsiteX1151" fmla="*/ 886778 w 2242184"/>
                  <a:gd name="connsiteY1151" fmla="*/ 221933 h 1686775"/>
                  <a:gd name="connsiteX1152" fmla="*/ 887730 w 2242184"/>
                  <a:gd name="connsiteY1152" fmla="*/ 220980 h 1686775"/>
                  <a:gd name="connsiteX1153" fmla="*/ 892493 w 2242184"/>
                  <a:gd name="connsiteY1153" fmla="*/ 220028 h 1686775"/>
                  <a:gd name="connsiteX1154" fmla="*/ 895350 w 2242184"/>
                  <a:gd name="connsiteY1154" fmla="*/ 219075 h 1686775"/>
                  <a:gd name="connsiteX1155" fmla="*/ 902018 w 2242184"/>
                  <a:gd name="connsiteY1155" fmla="*/ 216217 h 1686775"/>
                  <a:gd name="connsiteX1156" fmla="*/ 910590 w 2242184"/>
                  <a:gd name="connsiteY1156" fmla="*/ 214312 h 1686775"/>
                  <a:gd name="connsiteX1157" fmla="*/ 918210 w 2242184"/>
                  <a:gd name="connsiteY1157" fmla="*/ 211455 h 1686775"/>
                  <a:gd name="connsiteX1158" fmla="*/ 922020 w 2242184"/>
                  <a:gd name="connsiteY1158" fmla="*/ 206692 h 1686775"/>
                  <a:gd name="connsiteX1159" fmla="*/ 928688 w 2242184"/>
                  <a:gd name="connsiteY1159" fmla="*/ 206692 h 1686775"/>
                  <a:gd name="connsiteX1160" fmla="*/ 931545 w 2242184"/>
                  <a:gd name="connsiteY1160" fmla="*/ 206692 h 1686775"/>
                  <a:gd name="connsiteX1161" fmla="*/ 942975 w 2242184"/>
                  <a:gd name="connsiteY1161" fmla="*/ 205740 h 1686775"/>
                  <a:gd name="connsiteX1162" fmla="*/ 949643 w 2242184"/>
                  <a:gd name="connsiteY1162" fmla="*/ 206692 h 1686775"/>
                  <a:gd name="connsiteX1163" fmla="*/ 956310 w 2242184"/>
                  <a:gd name="connsiteY1163" fmla="*/ 206692 h 1686775"/>
                  <a:gd name="connsiteX1164" fmla="*/ 965835 w 2242184"/>
                  <a:gd name="connsiteY1164" fmla="*/ 204787 h 1686775"/>
                  <a:gd name="connsiteX1165" fmla="*/ 971550 w 2242184"/>
                  <a:gd name="connsiteY1165" fmla="*/ 201930 h 1686775"/>
                  <a:gd name="connsiteX1166" fmla="*/ 977265 w 2242184"/>
                  <a:gd name="connsiteY1166" fmla="*/ 199073 h 1686775"/>
                  <a:gd name="connsiteX1167" fmla="*/ 982028 w 2242184"/>
                  <a:gd name="connsiteY1167" fmla="*/ 197167 h 1686775"/>
                  <a:gd name="connsiteX1168" fmla="*/ 986790 w 2242184"/>
                  <a:gd name="connsiteY1168" fmla="*/ 196215 h 1686775"/>
                  <a:gd name="connsiteX1169" fmla="*/ 997268 w 2242184"/>
                  <a:gd name="connsiteY1169" fmla="*/ 195262 h 1686775"/>
                  <a:gd name="connsiteX1170" fmla="*/ 1002030 w 2242184"/>
                  <a:gd name="connsiteY1170" fmla="*/ 193358 h 1686775"/>
                  <a:gd name="connsiteX1171" fmla="*/ 1013460 w 2242184"/>
                  <a:gd name="connsiteY1171" fmla="*/ 192405 h 1686775"/>
                  <a:gd name="connsiteX1172" fmla="*/ 1015365 w 2242184"/>
                  <a:gd name="connsiteY1172" fmla="*/ 194310 h 1686775"/>
                  <a:gd name="connsiteX1173" fmla="*/ 1010603 w 2242184"/>
                  <a:gd name="connsiteY1173" fmla="*/ 202883 h 1686775"/>
                  <a:gd name="connsiteX1174" fmla="*/ 1220153 w 2242184"/>
                  <a:gd name="connsiteY1174" fmla="*/ 380048 h 1686775"/>
                  <a:gd name="connsiteX1175" fmla="*/ 1218248 w 2242184"/>
                  <a:gd name="connsiteY1175" fmla="*/ 374333 h 1686775"/>
                  <a:gd name="connsiteX1176" fmla="*/ 1212533 w 2242184"/>
                  <a:gd name="connsiteY1176" fmla="*/ 371475 h 1686775"/>
                  <a:gd name="connsiteX1177" fmla="*/ 1210628 w 2242184"/>
                  <a:gd name="connsiteY1177" fmla="*/ 369570 h 1686775"/>
                  <a:gd name="connsiteX1178" fmla="*/ 1210628 w 2242184"/>
                  <a:gd name="connsiteY1178" fmla="*/ 367665 h 1686775"/>
                  <a:gd name="connsiteX1179" fmla="*/ 1208723 w 2242184"/>
                  <a:gd name="connsiteY1179" fmla="*/ 364808 h 1686775"/>
                  <a:gd name="connsiteX1180" fmla="*/ 1203960 w 2242184"/>
                  <a:gd name="connsiteY1180" fmla="*/ 362903 h 1686775"/>
                  <a:gd name="connsiteX1181" fmla="*/ 1200150 w 2242184"/>
                  <a:gd name="connsiteY1181" fmla="*/ 362903 h 1686775"/>
                  <a:gd name="connsiteX1182" fmla="*/ 1193483 w 2242184"/>
                  <a:gd name="connsiteY1182" fmla="*/ 360998 h 1686775"/>
                  <a:gd name="connsiteX1183" fmla="*/ 1188720 w 2242184"/>
                  <a:gd name="connsiteY1183" fmla="*/ 358140 h 1686775"/>
                  <a:gd name="connsiteX1184" fmla="*/ 1185863 w 2242184"/>
                  <a:gd name="connsiteY1184" fmla="*/ 355283 h 1686775"/>
                  <a:gd name="connsiteX1185" fmla="*/ 1184910 w 2242184"/>
                  <a:gd name="connsiteY1185" fmla="*/ 353378 h 1686775"/>
                  <a:gd name="connsiteX1186" fmla="*/ 1185863 w 2242184"/>
                  <a:gd name="connsiteY1186" fmla="*/ 351473 h 1686775"/>
                  <a:gd name="connsiteX1187" fmla="*/ 1187768 w 2242184"/>
                  <a:gd name="connsiteY1187" fmla="*/ 347662 h 1686775"/>
                  <a:gd name="connsiteX1188" fmla="*/ 1190625 w 2242184"/>
                  <a:gd name="connsiteY1188" fmla="*/ 346710 h 1686775"/>
                  <a:gd name="connsiteX1189" fmla="*/ 1196340 w 2242184"/>
                  <a:gd name="connsiteY1189" fmla="*/ 345758 h 1686775"/>
                  <a:gd name="connsiteX1190" fmla="*/ 1200150 w 2242184"/>
                  <a:gd name="connsiteY1190" fmla="*/ 345758 h 1686775"/>
                  <a:gd name="connsiteX1191" fmla="*/ 1203960 w 2242184"/>
                  <a:gd name="connsiteY1191" fmla="*/ 345758 h 1686775"/>
                  <a:gd name="connsiteX1192" fmla="*/ 1207770 w 2242184"/>
                  <a:gd name="connsiteY1192" fmla="*/ 343853 h 1686775"/>
                  <a:gd name="connsiteX1193" fmla="*/ 1213485 w 2242184"/>
                  <a:gd name="connsiteY1193" fmla="*/ 343853 h 1686775"/>
                  <a:gd name="connsiteX1194" fmla="*/ 1218248 w 2242184"/>
                  <a:gd name="connsiteY1194" fmla="*/ 343853 h 1686775"/>
                  <a:gd name="connsiteX1195" fmla="*/ 1221105 w 2242184"/>
                  <a:gd name="connsiteY1195" fmla="*/ 344805 h 1686775"/>
                  <a:gd name="connsiteX1196" fmla="*/ 1225868 w 2242184"/>
                  <a:gd name="connsiteY1196" fmla="*/ 348615 h 1686775"/>
                  <a:gd name="connsiteX1197" fmla="*/ 1226820 w 2242184"/>
                  <a:gd name="connsiteY1197" fmla="*/ 350520 h 1686775"/>
                  <a:gd name="connsiteX1198" fmla="*/ 1227773 w 2242184"/>
                  <a:gd name="connsiteY1198" fmla="*/ 352425 h 1686775"/>
                  <a:gd name="connsiteX1199" fmla="*/ 1226820 w 2242184"/>
                  <a:gd name="connsiteY1199" fmla="*/ 356235 h 1686775"/>
                  <a:gd name="connsiteX1200" fmla="*/ 1226820 w 2242184"/>
                  <a:gd name="connsiteY1200" fmla="*/ 359093 h 1686775"/>
                  <a:gd name="connsiteX1201" fmla="*/ 1232535 w 2242184"/>
                  <a:gd name="connsiteY1201" fmla="*/ 362903 h 1686775"/>
                  <a:gd name="connsiteX1202" fmla="*/ 1239203 w 2242184"/>
                  <a:gd name="connsiteY1202" fmla="*/ 364808 h 1686775"/>
                  <a:gd name="connsiteX1203" fmla="*/ 1244918 w 2242184"/>
                  <a:gd name="connsiteY1203" fmla="*/ 368618 h 1686775"/>
                  <a:gd name="connsiteX1204" fmla="*/ 1245870 w 2242184"/>
                  <a:gd name="connsiteY1204" fmla="*/ 372427 h 1686775"/>
                  <a:gd name="connsiteX1205" fmla="*/ 1246823 w 2242184"/>
                  <a:gd name="connsiteY1205" fmla="*/ 375285 h 1686775"/>
                  <a:gd name="connsiteX1206" fmla="*/ 1249680 w 2242184"/>
                  <a:gd name="connsiteY1206" fmla="*/ 378143 h 1686775"/>
                  <a:gd name="connsiteX1207" fmla="*/ 1250633 w 2242184"/>
                  <a:gd name="connsiteY1207" fmla="*/ 380048 h 1686775"/>
                  <a:gd name="connsiteX1208" fmla="*/ 1249680 w 2242184"/>
                  <a:gd name="connsiteY1208" fmla="*/ 384810 h 1686775"/>
                  <a:gd name="connsiteX1209" fmla="*/ 1247775 w 2242184"/>
                  <a:gd name="connsiteY1209" fmla="*/ 389573 h 1686775"/>
                  <a:gd name="connsiteX1210" fmla="*/ 1244918 w 2242184"/>
                  <a:gd name="connsiteY1210" fmla="*/ 392430 h 1686775"/>
                  <a:gd name="connsiteX1211" fmla="*/ 1237298 w 2242184"/>
                  <a:gd name="connsiteY1211" fmla="*/ 392430 h 1686775"/>
                  <a:gd name="connsiteX1212" fmla="*/ 1231583 w 2242184"/>
                  <a:gd name="connsiteY1212" fmla="*/ 392430 h 1686775"/>
                  <a:gd name="connsiteX1213" fmla="*/ 1225868 w 2242184"/>
                  <a:gd name="connsiteY1213" fmla="*/ 390525 h 1686775"/>
                  <a:gd name="connsiteX1214" fmla="*/ 1220153 w 2242184"/>
                  <a:gd name="connsiteY1214" fmla="*/ 380048 h 168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Lst>
                <a:rect l="l" t="t" r="r" b="b"/>
                <a:pathLst>
                  <a:path w="2242184" h="1686775">
                    <a:moveTo>
                      <a:pt x="2242185" y="1098233"/>
                    </a:moveTo>
                    <a:lnTo>
                      <a:pt x="2238375" y="1078230"/>
                    </a:lnTo>
                    <a:lnTo>
                      <a:pt x="2238375" y="1068705"/>
                    </a:lnTo>
                    <a:lnTo>
                      <a:pt x="2238375" y="1062990"/>
                    </a:lnTo>
                    <a:lnTo>
                      <a:pt x="2227898" y="1052513"/>
                    </a:lnTo>
                    <a:lnTo>
                      <a:pt x="2212658" y="1049655"/>
                    </a:lnTo>
                    <a:lnTo>
                      <a:pt x="2188845" y="1042035"/>
                    </a:lnTo>
                    <a:lnTo>
                      <a:pt x="2180273" y="1037273"/>
                    </a:lnTo>
                    <a:lnTo>
                      <a:pt x="2165033" y="1034415"/>
                    </a:lnTo>
                    <a:lnTo>
                      <a:pt x="2153603" y="1032510"/>
                    </a:lnTo>
                    <a:lnTo>
                      <a:pt x="2118360" y="1026795"/>
                    </a:lnTo>
                    <a:lnTo>
                      <a:pt x="2109788" y="1024890"/>
                    </a:lnTo>
                    <a:lnTo>
                      <a:pt x="2087880" y="1020127"/>
                    </a:lnTo>
                    <a:lnTo>
                      <a:pt x="2070735" y="1015365"/>
                    </a:lnTo>
                    <a:lnTo>
                      <a:pt x="2059305" y="1013460"/>
                    </a:lnTo>
                    <a:lnTo>
                      <a:pt x="2045970" y="1010602"/>
                    </a:lnTo>
                    <a:cubicBezTo>
                      <a:pt x="2045970" y="1010602"/>
                      <a:pt x="2044065" y="1011555"/>
                      <a:pt x="2037398" y="1005840"/>
                    </a:cubicBezTo>
                    <a:cubicBezTo>
                      <a:pt x="2030730" y="1000125"/>
                      <a:pt x="2022158" y="992505"/>
                      <a:pt x="2022158" y="992505"/>
                    </a:cubicBezTo>
                    <a:lnTo>
                      <a:pt x="2006918" y="979170"/>
                    </a:lnTo>
                    <a:lnTo>
                      <a:pt x="2000250" y="970598"/>
                    </a:lnTo>
                    <a:lnTo>
                      <a:pt x="1993583" y="963930"/>
                    </a:lnTo>
                    <a:lnTo>
                      <a:pt x="1969770" y="950595"/>
                    </a:lnTo>
                    <a:lnTo>
                      <a:pt x="1954530" y="944880"/>
                    </a:lnTo>
                    <a:lnTo>
                      <a:pt x="1937385" y="939165"/>
                    </a:lnTo>
                    <a:lnTo>
                      <a:pt x="1910715" y="934402"/>
                    </a:lnTo>
                    <a:cubicBezTo>
                      <a:pt x="1910715" y="934402"/>
                      <a:pt x="1910715" y="937260"/>
                      <a:pt x="1902143" y="934402"/>
                    </a:cubicBezTo>
                    <a:cubicBezTo>
                      <a:pt x="1893570" y="931545"/>
                      <a:pt x="1880235" y="928688"/>
                      <a:pt x="1880235" y="928688"/>
                    </a:cubicBezTo>
                    <a:lnTo>
                      <a:pt x="1866900" y="922973"/>
                    </a:lnTo>
                    <a:lnTo>
                      <a:pt x="1858328" y="911543"/>
                    </a:lnTo>
                    <a:lnTo>
                      <a:pt x="1841183" y="902970"/>
                    </a:lnTo>
                    <a:lnTo>
                      <a:pt x="1830705" y="897255"/>
                    </a:lnTo>
                    <a:lnTo>
                      <a:pt x="1804035" y="889635"/>
                    </a:lnTo>
                    <a:lnTo>
                      <a:pt x="1784033" y="887730"/>
                    </a:lnTo>
                    <a:lnTo>
                      <a:pt x="1740218" y="887730"/>
                    </a:lnTo>
                    <a:lnTo>
                      <a:pt x="1720215" y="887730"/>
                    </a:lnTo>
                    <a:lnTo>
                      <a:pt x="1706880" y="887730"/>
                    </a:lnTo>
                    <a:lnTo>
                      <a:pt x="1674495" y="879158"/>
                    </a:lnTo>
                    <a:lnTo>
                      <a:pt x="1652588" y="880110"/>
                    </a:lnTo>
                    <a:lnTo>
                      <a:pt x="1644015" y="878205"/>
                    </a:lnTo>
                    <a:cubicBezTo>
                      <a:pt x="1644015" y="878205"/>
                      <a:pt x="1630680" y="873443"/>
                      <a:pt x="1622108" y="878205"/>
                    </a:cubicBezTo>
                    <a:cubicBezTo>
                      <a:pt x="1613535" y="882015"/>
                      <a:pt x="1590675" y="884873"/>
                      <a:pt x="1590675" y="884873"/>
                    </a:cubicBezTo>
                    <a:cubicBezTo>
                      <a:pt x="1587818" y="893445"/>
                      <a:pt x="1572578" y="896302"/>
                      <a:pt x="1572578" y="896302"/>
                    </a:cubicBezTo>
                    <a:lnTo>
                      <a:pt x="1557338" y="897255"/>
                    </a:lnTo>
                    <a:lnTo>
                      <a:pt x="1524000" y="900113"/>
                    </a:lnTo>
                    <a:lnTo>
                      <a:pt x="1508760" y="900113"/>
                    </a:lnTo>
                    <a:lnTo>
                      <a:pt x="1500188" y="900113"/>
                    </a:lnTo>
                    <a:lnTo>
                      <a:pt x="1480185" y="897255"/>
                    </a:lnTo>
                    <a:lnTo>
                      <a:pt x="1466850" y="894398"/>
                    </a:lnTo>
                    <a:lnTo>
                      <a:pt x="1458278" y="882015"/>
                    </a:lnTo>
                    <a:lnTo>
                      <a:pt x="1458278" y="875348"/>
                    </a:lnTo>
                    <a:lnTo>
                      <a:pt x="1458278" y="866775"/>
                    </a:lnTo>
                    <a:lnTo>
                      <a:pt x="1456373" y="855345"/>
                    </a:lnTo>
                    <a:lnTo>
                      <a:pt x="1454468" y="838200"/>
                    </a:lnTo>
                    <a:lnTo>
                      <a:pt x="1445895" y="832485"/>
                    </a:lnTo>
                    <a:lnTo>
                      <a:pt x="1432560" y="830580"/>
                    </a:lnTo>
                    <a:lnTo>
                      <a:pt x="1423988" y="828675"/>
                    </a:lnTo>
                    <a:lnTo>
                      <a:pt x="1403985" y="821055"/>
                    </a:lnTo>
                    <a:lnTo>
                      <a:pt x="1392555" y="821055"/>
                    </a:lnTo>
                    <a:lnTo>
                      <a:pt x="1379220" y="821055"/>
                    </a:lnTo>
                    <a:lnTo>
                      <a:pt x="1367790" y="821055"/>
                    </a:lnTo>
                    <a:lnTo>
                      <a:pt x="1359218" y="815340"/>
                    </a:lnTo>
                    <a:lnTo>
                      <a:pt x="1370648" y="811530"/>
                    </a:lnTo>
                    <a:lnTo>
                      <a:pt x="1382078" y="808673"/>
                    </a:lnTo>
                    <a:lnTo>
                      <a:pt x="1386840" y="802958"/>
                    </a:lnTo>
                    <a:lnTo>
                      <a:pt x="1386840" y="797243"/>
                    </a:lnTo>
                    <a:lnTo>
                      <a:pt x="1384935" y="784860"/>
                    </a:lnTo>
                    <a:lnTo>
                      <a:pt x="1384935" y="776288"/>
                    </a:lnTo>
                    <a:lnTo>
                      <a:pt x="1391603" y="767715"/>
                    </a:lnTo>
                    <a:lnTo>
                      <a:pt x="1394460" y="759143"/>
                    </a:lnTo>
                    <a:cubicBezTo>
                      <a:pt x="1394460" y="759143"/>
                      <a:pt x="1385888" y="751523"/>
                      <a:pt x="1377315" y="754380"/>
                    </a:cubicBezTo>
                    <a:cubicBezTo>
                      <a:pt x="1368743" y="757238"/>
                      <a:pt x="1357313" y="752475"/>
                      <a:pt x="1359218" y="757238"/>
                    </a:cubicBezTo>
                    <a:cubicBezTo>
                      <a:pt x="1361123" y="761048"/>
                      <a:pt x="1361123" y="761048"/>
                      <a:pt x="1361123" y="761048"/>
                    </a:cubicBezTo>
                    <a:lnTo>
                      <a:pt x="1347788" y="761048"/>
                    </a:lnTo>
                    <a:cubicBezTo>
                      <a:pt x="1347788" y="761048"/>
                      <a:pt x="1332548" y="759143"/>
                      <a:pt x="1332548" y="763905"/>
                    </a:cubicBezTo>
                    <a:cubicBezTo>
                      <a:pt x="1332548" y="767715"/>
                      <a:pt x="1334453" y="761048"/>
                      <a:pt x="1332548" y="767715"/>
                    </a:cubicBezTo>
                    <a:cubicBezTo>
                      <a:pt x="1330643" y="774383"/>
                      <a:pt x="1317308" y="771525"/>
                      <a:pt x="1319213" y="777240"/>
                    </a:cubicBezTo>
                    <a:cubicBezTo>
                      <a:pt x="1321118" y="782955"/>
                      <a:pt x="1312545" y="785813"/>
                      <a:pt x="1312545" y="785813"/>
                    </a:cubicBezTo>
                    <a:lnTo>
                      <a:pt x="1299210" y="788670"/>
                    </a:lnTo>
                    <a:lnTo>
                      <a:pt x="1290638" y="789623"/>
                    </a:lnTo>
                    <a:cubicBezTo>
                      <a:pt x="1290638" y="789623"/>
                      <a:pt x="1285875" y="790575"/>
                      <a:pt x="1279208" y="790575"/>
                    </a:cubicBezTo>
                    <a:cubicBezTo>
                      <a:pt x="1272540" y="790575"/>
                      <a:pt x="1263968" y="790575"/>
                      <a:pt x="1263968" y="790575"/>
                    </a:cubicBezTo>
                    <a:lnTo>
                      <a:pt x="1253490" y="784860"/>
                    </a:lnTo>
                    <a:lnTo>
                      <a:pt x="1244918" y="777240"/>
                    </a:lnTo>
                    <a:lnTo>
                      <a:pt x="1236345" y="771525"/>
                    </a:lnTo>
                    <a:lnTo>
                      <a:pt x="1229678" y="765810"/>
                    </a:lnTo>
                    <a:lnTo>
                      <a:pt x="1225868" y="757238"/>
                    </a:lnTo>
                    <a:cubicBezTo>
                      <a:pt x="1225868" y="757238"/>
                      <a:pt x="1223963" y="751523"/>
                      <a:pt x="1223963" y="747713"/>
                    </a:cubicBezTo>
                    <a:cubicBezTo>
                      <a:pt x="1223963" y="743902"/>
                      <a:pt x="1223963" y="733425"/>
                      <a:pt x="1223963" y="733425"/>
                    </a:cubicBezTo>
                    <a:lnTo>
                      <a:pt x="1223963" y="723900"/>
                    </a:lnTo>
                    <a:lnTo>
                      <a:pt x="1217295" y="715327"/>
                    </a:lnTo>
                    <a:lnTo>
                      <a:pt x="1215390" y="700088"/>
                    </a:lnTo>
                    <a:lnTo>
                      <a:pt x="1217295" y="694373"/>
                    </a:lnTo>
                    <a:lnTo>
                      <a:pt x="1223963" y="684848"/>
                    </a:lnTo>
                    <a:lnTo>
                      <a:pt x="1238250" y="675323"/>
                    </a:lnTo>
                    <a:lnTo>
                      <a:pt x="1258253" y="674370"/>
                    </a:lnTo>
                    <a:cubicBezTo>
                      <a:pt x="1258253" y="674370"/>
                      <a:pt x="1264920" y="671513"/>
                      <a:pt x="1271588" y="673418"/>
                    </a:cubicBezTo>
                    <a:cubicBezTo>
                      <a:pt x="1278255" y="675323"/>
                      <a:pt x="1264920" y="674370"/>
                      <a:pt x="1278255" y="675323"/>
                    </a:cubicBezTo>
                    <a:cubicBezTo>
                      <a:pt x="1291590" y="675323"/>
                      <a:pt x="1278255" y="675323"/>
                      <a:pt x="1291590" y="675323"/>
                    </a:cubicBezTo>
                    <a:cubicBezTo>
                      <a:pt x="1304925" y="675323"/>
                      <a:pt x="1304925" y="671513"/>
                      <a:pt x="1313498" y="674370"/>
                    </a:cubicBezTo>
                    <a:cubicBezTo>
                      <a:pt x="1322070" y="677227"/>
                      <a:pt x="1304925" y="677227"/>
                      <a:pt x="1322070" y="677227"/>
                    </a:cubicBezTo>
                    <a:cubicBezTo>
                      <a:pt x="1339215" y="677227"/>
                      <a:pt x="1330643" y="679133"/>
                      <a:pt x="1339215" y="677227"/>
                    </a:cubicBezTo>
                    <a:cubicBezTo>
                      <a:pt x="1347788" y="676275"/>
                      <a:pt x="1347788" y="676275"/>
                      <a:pt x="1347788" y="676275"/>
                    </a:cubicBezTo>
                    <a:lnTo>
                      <a:pt x="1365885" y="673418"/>
                    </a:lnTo>
                    <a:cubicBezTo>
                      <a:pt x="1365885" y="673418"/>
                      <a:pt x="1370648" y="672465"/>
                      <a:pt x="1377315" y="672465"/>
                    </a:cubicBezTo>
                    <a:cubicBezTo>
                      <a:pt x="1383983" y="672465"/>
                      <a:pt x="1414463" y="671513"/>
                      <a:pt x="1414463" y="671513"/>
                    </a:cubicBezTo>
                    <a:lnTo>
                      <a:pt x="1436370" y="674370"/>
                    </a:lnTo>
                    <a:lnTo>
                      <a:pt x="1449705" y="677227"/>
                    </a:lnTo>
                    <a:cubicBezTo>
                      <a:pt x="1449705" y="677227"/>
                      <a:pt x="1456373" y="673418"/>
                      <a:pt x="1458278" y="679133"/>
                    </a:cubicBezTo>
                    <a:cubicBezTo>
                      <a:pt x="1460183" y="684848"/>
                      <a:pt x="1460183" y="684848"/>
                      <a:pt x="1460183" y="684848"/>
                    </a:cubicBezTo>
                    <a:cubicBezTo>
                      <a:pt x="1463993" y="701993"/>
                      <a:pt x="1463993" y="701993"/>
                      <a:pt x="1463993" y="701993"/>
                    </a:cubicBezTo>
                    <a:cubicBezTo>
                      <a:pt x="1463993" y="701993"/>
                      <a:pt x="1461135" y="716280"/>
                      <a:pt x="1467803" y="720090"/>
                    </a:cubicBezTo>
                    <a:cubicBezTo>
                      <a:pt x="1474470" y="724852"/>
                      <a:pt x="1474470" y="724852"/>
                      <a:pt x="1474470" y="724852"/>
                    </a:cubicBezTo>
                    <a:lnTo>
                      <a:pt x="1498283" y="730568"/>
                    </a:lnTo>
                    <a:lnTo>
                      <a:pt x="1506855" y="727710"/>
                    </a:lnTo>
                    <a:lnTo>
                      <a:pt x="1513523" y="721043"/>
                    </a:lnTo>
                    <a:lnTo>
                      <a:pt x="1516380" y="708660"/>
                    </a:lnTo>
                    <a:lnTo>
                      <a:pt x="1518285" y="702945"/>
                    </a:lnTo>
                    <a:lnTo>
                      <a:pt x="1509713" y="682943"/>
                    </a:lnTo>
                    <a:lnTo>
                      <a:pt x="1503045" y="676275"/>
                    </a:lnTo>
                    <a:lnTo>
                      <a:pt x="1501140" y="667702"/>
                    </a:lnTo>
                    <a:lnTo>
                      <a:pt x="1499235" y="659130"/>
                    </a:lnTo>
                    <a:lnTo>
                      <a:pt x="1497330" y="641985"/>
                    </a:lnTo>
                    <a:lnTo>
                      <a:pt x="1512570" y="633413"/>
                    </a:lnTo>
                    <a:lnTo>
                      <a:pt x="1521143" y="633413"/>
                    </a:lnTo>
                    <a:lnTo>
                      <a:pt x="1547813" y="629602"/>
                    </a:lnTo>
                    <a:lnTo>
                      <a:pt x="1556385" y="625793"/>
                    </a:lnTo>
                    <a:lnTo>
                      <a:pt x="1561148" y="620077"/>
                    </a:lnTo>
                    <a:lnTo>
                      <a:pt x="1583055" y="605790"/>
                    </a:lnTo>
                    <a:lnTo>
                      <a:pt x="1587818" y="597218"/>
                    </a:lnTo>
                    <a:lnTo>
                      <a:pt x="1587818" y="591502"/>
                    </a:lnTo>
                    <a:lnTo>
                      <a:pt x="1587818" y="585788"/>
                    </a:lnTo>
                    <a:lnTo>
                      <a:pt x="1581150" y="574358"/>
                    </a:lnTo>
                    <a:lnTo>
                      <a:pt x="1592580" y="564833"/>
                    </a:lnTo>
                    <a:lnTo>
                      <a:pt x="1604010" y="564833"/>
                    </a:lnTo>
                    <a:cubicBezTo>
                      <a:pt x="1604010" y="564833"/>
                      <a:pt x="1604010" y="555308"/>
                      <a:pt x="1610678" y="555308"/>
                    </a:cubicBezTo>
                    <a:cubicBezTo>
                      <a:pt x="1617345" y="555308"/>
                      <a:pt x="1615440" y="549593"/>
                      <a:pt x="1622108" y="549593"/>
                    </a:cubicBezTo>
                    <a:cubicBezTo>
                      <a:pt x="1628775" y="549593"/>
                      <a:pt x="1640205" y="543877"/>
                      <a:pt x="1640205" y="543877"/>
                    </a:cubicBezTo>
                    <a:lnTo>
                      <a:pt x="1653540" y="538163"/>
                    </a:lnTo>
                    <a:lnTo>
                      <a:pt x="1662113" y="534352"/>
                    </a:lnTo>
                    <a:lnTo>
                      <a:pt x="1677353" y="524827"/>
                    </a:lnTo>
                    <a:lnTo>
                      <a:pt x="1679258" y="519112"/>
                    </a:lnTo>
                    <a:lnTo>
                      <a:pt x="1679258" y="507683"/>
                    </a:lnTo>
                    <a:lnTo>
                      <a:pt x="1684020" y="496252"/>
                    </a:lnTo>
                    <a:lnTo>
                      <a:pt x="1688783" y="490537"/>
                    </a:lnTo>
                    <a:cubicBezTo>
                      <a:pt x="1688783" y="490537"/>
                      <a:pt x="1690688" y="487680"/>
                      <a:pt x="1700213" y="487680"/>
                    </a:cubicBezTo>
                    <a:cubicBezTo>
                      <a:pt x="1708785" y="487680"/>
                      <a:pt x="1708785" y="487680"/>
                      <a:pt x="1708785" y="487680"/>
                    </a:cubicBezTo>
                    <a:lnTo>
                      <a:pt x="1742123" y="484823"/>
                    </a:lnTo>
                    <a:lnTo>
                      <a:pt x="1760220" y="479108"/>
                    </a:lnTo>
                    <a:cubicBezTo>
                      <a:pt x="1760220" y="479108"/>
                      <a:pt x="1758315" y="480060"/>
                      <a:pt x="1760220" y="484823"/>
                    </a:cubicBezTo>
                    <a:cubicBezTo>
                      <a:pt x="1762125" y="488633"/>
                      <a:pt x="1762125" y="493395"/>
                      <a:pt x="1768793" y="494348"/>
                    </a:cubicBezTo>
                    <a:cubicBezTo>
                      <a:pt x="1775460" y="496252"/>
                      <a:pt x="1775460" y="496252"/>
                      <a:pt x="1775460" y="496252"/>
                    </a:cubicBezTo>
                    <a:lnTo>
                      <a:pt x="1784033" y="492443"/>
                    </a:lnTo>
                    <a:lnTo>
                      <a:pt x="1790700" y="485775"/>
                    </a:lnTo>
                    <a:cubicBezTo>
                      <a:pt x="1790700" y="485775"/>
                      <a:pt x="1792605" y="481965"/>
                      <a:pt x="1799273" y="484823"/>
                    </a:cubicBezTo>
                    <a:cubicBezTo>
                      <a:pt x="1805940" y="487680"/>
                      <a:pt x="1805940" y="487680"/>
                      <a:pt x="1805940" y="487680"/>
                    </a:cubicBezTo>
                    <a:lnTo>
                      <a:pt x="1817370" y="486727"/>
                    </a:lnTo>
                    <a:cubicBezTo>
                      <a:pt x="1817370" y="486727"/>
                      <a:pt x="1819275" y="486727"/>
                      <a:pt x="1825943" y="486727"/>
                    </a:cubicBezTo>
                    <a:cubicBezTo>
                      <a:pt x="1832610" y="486727"/>
                      <a:pt x="1834515" y="483870"/>
                      <a:pt x="1841183" y="481012"/>
                    </a:cubicBezTo>
                    <a:cubicBezTo>
                      <a:pt x="1847850" y="478155"/>
                      <a:pt x="1841183" y="483870"/>
                      <a:pt x="1847850" y="478155"/>
                    </a:cubicBezTo>
                    <a:cubicBezTo>
                      <a:pt x="1854518" y="472440"/>
                      <a:pt x="1854518" y="472440"/>
                      <a:pt x="1854518" y="472440"/>
                    </a:cubicBezTo>
                    <a:lnTo>
                      <a:pt x="1859280" y="463868"/>
                    </a:lnTo>
                    <a:cubicBezTo>
                      <a:pt x="1852613" y="461010"/>
                      <a:pt x="1861185" y="462915"/>
                      <a:pt x="1852613" y="461010"/>
                    </a:cubicBezTo>
                    <a:cubicBezTo>
                      <a:pt x="1844040" y="459105"/>
                      <a:pt x="1844040" y="459105"/>
                      <a:pt x="1844040" y="459105"/>
                    </a:cubicBezTo>
                    <a:lnTo>
                      <a:pt x="1830705" y="460058"/>
                    </a:lnTo>
                    <a:lnTo>
                      <a:pt x="1806893" y="458152"/>
                    </a:lnTo>
                    <a:lnTo>
                      <a:pt x="1793558" y="455295"/>
                    </a:lnTo>
                    <a:lnTo>
                      <a:pt x="1782128" y="455295"/>
                    </a:lnTo>
                    <a:lnTo>
                      <a:pt x="1773555" y="450533"/>
                    </a:lnTo>
                    <a:lnTo>
                      <a:pt x="1773555" y="441960"/>
                    </a:lnTo>
                    <a:lnTo>
                      <a:pt x="1773555" y="435293"/>
                    </a:lnTo>
                    <a:lnTo>
                      <a:pt x="1771650" y="429577"/>
                    </a:lnTo>
                    <a:lnTo>
                      <a:pt x="1756410" y="416243"/>
                    </a:lnTo>
                    <a:lnTo>
                      <a:pt x="1734503" y="422910"/>
                    </a:lnTo>
                    <a:lnTo>
                      <a:pt x="1723073" y="425768"/>
                    </a:lnTo>
                    <a:lnTo>
                      <a:pt x="1707833" y="432435"/>
                    </a:lnTo>
                    <a:lnTo>
                      <a:pt x="1699260" y="432435"/>
                    </a:lnTo>
                    <a:lnTo>
                      <a:pt x="1704023" y="423862"/>
                    </a:lnTo>
                    <a:lnTo>
                      <a:pt x="1719263" y="414337"/>
                    </a:lnTo>
                    <a:lnTo>
                      <a:pt x="1732598" y="408623"/>
                    </a:lnTo>
                    <a:cubicBezTo>
                      <a:pt x="1732598" y="408623"/>
                      <a:pt x="1737360" y="405765"/>
                      <a:pt x="1745933" y="407670"/>
                    </a:cubicBezTo>
                    <a:cubicBezTo>
                      <a:pt x="1754505" y="409575"/>
                      <a:pt x="1763078" y="409575"/>
                      <a:pt x="1763078" y="409575"/>
                    </a:cubicBezTo>
                    <a:cubicBezTo>
                      <a:pt x="1763078" y="409575"/>
                      <a:pt x="1771650" y="408623"/>
                      <a:pt x="1778318" y="409575"/>
                    </a:cubicBezTo>
                    <a:cubicBezTo>
                      <a:pt x="1784985" y="411480"/>
                      <a:pt x="1789748" y="405765"/>
                      <a:pt x="1793558" y="411480"/>
                    </a:cubicBezTo>
                    <a:cubicBezTo>
                      <a:pt x="1798320" y="417195"/>
                      <a:pt x="1791653" y="411480"/>
                      <a:pt x="1798320" y="417195"/>
                    </a:cubicBezTo>
                    <a:cubicBezTo>
                      <a:pt x="1804988" y="422910"/>
                      <a:pt x="1804988" y="422910"/>
                      <a:pt x="1804988" y="422910"/>
                    </a:cubicBezTo>
                    <a:lnTo>
                      <a:pt x="1818323" y="425768"/>
                    </a:lnTo>
                    <a:lnTo>
                      <a:pt x="1824990" y="419100"/>
                    </a:lnTo>
                    <a:lnTo>
                      <a:pt x="1836420" y="415290"/>
                    </a:lnTo>
                    <a:lnTo>
                      <a:pt x="1849755" y="412433"/>
                    </a:lnTo>
                    <a:cubicBezTo>
                      <a:pt x="1849755" y="412433"/>
                      <a:pt x="1850708" y="412433"/>
                      <a:pt x="1861185" y="414337"/>
                    </a:cubicBezTo>
                    <a:cubicBezTo>
                      <a:pt x="1874520" y="416243"/>
                      <a:pt x="1874520" y="416243"/>
                      <a:pt x="1874520" y="416243"/>
                    </a:cubicBezTo>
                    <a:lnTo>
                      <a:pt x="1883093" y="407670"/>
                    </a:lnTo>
                    <a:cubicBezTo>
                      <a:pt x="1896428" y="401002"/>
                      <a:pt x="1889760" y="392430"/>
                      <a:pt x="1889760" y="392430"/>
                    </a:cubicBezTo>
                    <a:cubicBezTo>
                      <a:pt x="1889760" y="392430"/>
                      <a:pt x="1889760" y="386715"/>
                      <a:pt x="1901190" y="386715"/>
                    </a:cubicBezTo>
                    <a:cubicBezTo>
                      <a:pt x="1912620" y="386715"/>
                      <a:pt x="1919288" y="381000"/>
                      <a:pt x="1919288" y="381000"/>
                    </a:cubicBezTo>
                    <a:lnTo>
                      <a:pt x="1925955" y="371475"/>
                    </a:lnTo>
                    <a:lnTo>
                      <a:pt x="1924050" y="359093"/>
                    </a:lnTo>
                    <a:lnTo>
                      <a:pt x="1920240" y="352425"/>
                    </a:lnTo>
                    <a:lnTo>
                      <a:pt x="1900238" y="349568"/>
                    </a:lnTo>
                    <a:lnTo>
                      <a:pt x="1891665" y="340995"/>
                    </a:lnTo>
                    <a:lnTo>
                      <a:pt x="1889760" y="335280"/>
                    </a:lnTo>
                    <a:lnTo>
                      <a:pt x="1876425" y="332423"/>
                    </a:lnTo>
                    <a:lnTo>
                      <a:pt x="1864995" y="330518"/>
                    </a:lnTo>
                    <a:lnTo>
                      <a:pt x="1854518" y="319087"/>
                    </a:lnTo>
                    <a:lnTo>
                      <a:pt x="1844040" y="303848"/>
                    </a:lnTo>
                    <a:lnTo>
                      <a:pt x="1837373" y="291465"/>
                    </a:lnTo>
                    <a:lnTo>
                      <a:pt x="1817370" y="280987"/>
                    </a:lnTo>
                    <a:lnTo>
                      <a:pt x="1810703" y="273368"/>
                    </a:lnTo>
                    <a:lnTo>
                      <a:pt x="1800225" y="267653"/>
                    </a:lnTo>
                    <a:lnTo>
                      <a:pt x="1786890" y="257175"/>
                    </a:lnTo>
                    <a:lnTo>
                      <a:pt x="1766888" y="268605"/>
                    </a:lnTo>
                    <a:lnTo>
                      <a:pt x="1753553" y="275273"/>
                    </a:lnTo>
                    <a:lnTo>
                      <a:pt x="1726883" y="279083"/>
                    </a:lnTo>
                    <a:lnTo>
                      <a:pt x="1715453" y="276225"/>
                    </a:lnTo>
                    <a:cubicBezTo>
                      <a:pt x="1715453" y="276225"/>
                      <a:pt x="1715453" y="272415"/>
                      <a:pt x="1713548" y="267653"/>
                    </a:cubicBezTo>
                    <a:cubicBezTo>
                      <a:pt x="1711643" y="263843"/>
                      <a:pt x="1711643" y="258128"/>
                      <a:pt x="1711643" y="258128"/>
                    </a:cubicBezTo>
                    <a:lnTo>
                      <a:pt x="1711643" y="249555"/>
                    </a:lnTo>
                    <a:lnTo>
                      <a:pt x="1709738" y="242887"/>
                    </a:lnTo>
                    <a:lnTo>
                      <a:pt x="1705928" y="237173"/>
                    </a:lnTo>
                    <a:cubicBezTo>
                      <a:pt x="1690688" y="234315"/>
                      <a:pt x="1690688" y="234315"/>
                      <a:pt x="1690688" y="234315"/>
                    </a:cubicBezTo>
                    <a:lnTo>
                      <a:pt x="1677353" y="232410"/>
                    </a:lnTo>
                    <a:lnTo>
                      <a:pt x="1665923" y="232410"/>
                    </a:lnTo>
                    <a:lnTo>
                      <a:pt x="1657350" y="224790"/>
                    </a:lnTo>
                    <a:lnTo>
                      <a:pt x="1647825" y="218123"/>
                    </a:lnTo>
                    <a:lnTo>
                      <a:pt x="1634490" y="215265"/>
                    </a:lnTo>
                    <a:lnTo>
                      <a:pt x="1617345" y="215265"/>
                    </a:lnTo>
                    <a:lnTo>
                      <a:pt x="1605915" y="215265"/>
                    </a:lnTo>
                    <a:lnTo>
                      <a:pt x="1584008" y="215265"/>
                    </a:lnTo>
                    <a:lnTo>
                      <a:pt x="1570673" y="219075"/>
                    </a:lnTo>
                    <a:lnTo>
                      <a:pt x="1559243" y="242887"/>
                    </a:lnTo>
                    <a:cubicBezTo>
                      <a:pt x="1559243" y="242887"/>
                      <a:pt x="1559243" y="248603"/>
                      <a:pt x="1559243" y="255270"/>
                    </a:cubicBezTo>
                    <a:cubicBezTo>
                      <a:pt x="1559243" y="261937"/>
                      <a:pt x="1559243" y="258128"/>
                      <a:pt x="1559243" y="261937"/>
                    </a:cubicBezTo>
                    <a:cubicBezTo>
                      <a:pt x="1559243" y="265748"/>
                      <a:pt x="1559243" y="265748"/>
                      <a:pt x="1559243" y="265748"/>
                    </a:cubicBezTo>
                    <a:lnTo>
                      <a:pt x="1563053" y="280035"/>
                    </a:lnTo>
                    <a:cubicBezTo>
                      <a:pt x="1563053" y="280035"/>
                      <a:pt x="1566863" y="291465"/>
                      <a:pt x="1566863" y="297180"/>
                    </a:cubicBezTo>
                    <a:cubicBezTo>
                      <a:pt x="1566863" y="302895"/>
                      <a:pt x="1564005" y="320040"/>
                      <a:pt x="1564005" y="320040"/>
                    </a:cubicBezTo>
                    <a:lnTo>
                      <a:pt x="1550670" y="331470"/>
                    </a:lnTo>
                    <a:lnTo>
                      <a:pt x="1542098" y="331470"/>
                    </a:lnTo>
                    <a:cubicBezTo>
                      <a:pt x="1535430" y="338137"/>
                      <a:pt x="1528763" y="343853"/>
                      <a:pt x="1528763" y="343853"/>
                    </a:cubicBezTo>
                    <a:lnTo>
                      <a:pt x="1535430" y="359093"/>
                    </a:lnTo>
                    <a:cubicBezTo>
                      <a:pt x="1535430" y="359093"/>
                      <a:pt x="1530668" y="371475"/>
                      <a:pt x="1537335" y="377190"/>
                    </a:cubicBezTo>
                    <a:cubicBezTo>
                      <a:pt x="1544003" y="382905"/>
                      <a:pt x="1557338" y="379095"/>
                      <a:pt x="1544003" y="382905"/>
                    </a:cubicBezTo>
                    <a:cubicBezTo>
                      <a:pt x="1530668" y="386715"/>
                      <a:pt x="1517333" y="385762"/>
                      <a:pt x="1517333" y="385762"/>
                    </a:cubicBezTo>
                    <a:lnTo>
                      <a:pt x="1510665" y="380048"/>
                    </a:lnTo>
                    <a:lnTo>
                      <a:pt x="1500188" y="369570"/>
                    </a:lnTo>
                    <a:lnTo>
                      <a:pt x="1496378" y="358140"/>
                    </a:lnTo>
                    <a:lnTo>
                      <a:pt x="1492568" y="342900"/>
                    </a:lnTo>
                    <a:lnTo>
                      <a:pt x="1490663" y="328612"/>
                    </a:lnTo>
                    <a:lnTo>
                      <a:pt x="1470660" y="323850"/>
                    </a:lnTo>
                    <a:lnTo>
                      <a:pt x="1450658" y="320993"/>
                    </a:lnTo>
                    <a:lnTo>
                      <a:pt x="1442085" y="316230"/>
                    </a:lnTo>
                    <a:lnTo>
                      <a:pt x="1437323" y="310515"/>
                    </a:lnTo>
                    <a:lnTo>
                      <a:pt x="1410653" y="304800"/>
                    </a:lnTo>
                    <a:lnTo>
                      <a:pt x="1390650" y="303848"/>
                    </a:lnTo>
                    <a:lnTo>
                      <a:pt x="1380173" y="296228"/>
                    </a:lnTo>
                    <a:lnTo>
                      <a:pt x="1366838" y="294323"/>
                    </a:lnTo>
                    <a:cubicBezTo>
                      <a:pt x="1366838" y="294323"/>
                      <a:pt x="1360170" y="291465"/>
                      <a:pt x="1353503" y="292418"/>
                    </a:cubicBezTo>
                    <a:cubicBezTo>
                      <a:pt x="1346835" y="293370"/>
                      <a:pt x="1336358" y="289560"/>
                      <a:pt x="1336358" y="289560"/>
                    </a:cubicBezTo>
                    <a:lnTo>
                      <a:pt x="1323023" y="287655"/>
                    </a:lnTo>
                    <a:lnTo>
                      <a:pt x="1312545" y="279083"/>
                    </a:lnTo>
                    <a:lnTo>
                      <a:pt x="1308735" y="270510"/>
                    </a:lnTo>
                    <a:lnTo>
                      <a:pt x="1291590" y="264795"/>
                    </a:lnTo>
                    <a:lnTo>
                      <a:pt x="1278255" y="260033"/>
                    </a:lnTo>
                    <a:lnTo>
                      <a:pt x="1263015" y="255270"/>
                    </a:lnTo>
                    <a:cubicBezTo>
                      <a:pt x="1263015" y="255270"/>
                      <a:pt x="1259205" y="245745"/>
                      <a:pt x="1267778" y="243840"/>
                    </a:cubicBezTo>
                    <a:cubicBezTo>
                      <a:pt x="1276350" y="242887"/>
                      <a:pt x="1279208" y="234315"/>
                      <a:pt x="1279208" y="234315"/>
                    </a:cubicBezTo>
                    <a:lnTo>
                      <a:pt x="1290638" y="228600"/>
                    </a:lnTo>
                    <a:lnTo>
                      <a:pt x="1292543" y="222885"/>
                    </a:lnTo>
                    <a:lnTo>
                      <a:pt x="1299210" y="216217"/>
                    </a:lnTo>
                    <a:cubicBezTo>
                      <a:pt x="1299210" y="216217"/>
                      <a:pt x="1294448" y="211455"/>
                      <a:pt x="1301115" y="210503"/>
                    </a:cubicBezTo>
                    <a:cubicBezTo>
                      <a:pt x="1307783" y="209550"/>
                      <a:pt x="1301115" y="213360"/>
                      <a:pt x="1307783" y="209550"/>
                    </a:cubicBezTo>
                    <a:cubicBezTo>
                      <a:pt x="1314450" y="205740"/>
                      <a:pt x="1312545" y="200025"/>
                      <a:pt x="1319213" y="200025"/>
                    </a:cubicBezTo>
                    <a:cubicBezTo>
                      <a:pt x="1325880" y="200025"/>
                      <a:pt x="1321118" y="194310"/>
                      <a:pt x="1327785" y="193358"/>
                    </a:cubicBezTo>
                    <a:cubicBezTo>
                      <a:pt x="1334453" y="192405"/>
                      <a:pt x="1325880" y="191453"/>
                      <a:pt x="1334453" y="192405"/>
                    </a:cubicBezTo>
                    <a:cubicBezTo>
                      <a:pt x="1343025" y="192405"/>
                      <a:pt x="1343025" y="192405"/>
                      <a:pt x="1343025" y="192405"/>
                    </a:cubicBezTo>
                    <a:lnTo>
                      <a:pt x="1361123" y="185737"/>
                    </a:lnTo>
                    <a:cubicBezTo>
                      <a:pt x="1361123" y="185737"/>
                      <a:pt x="1361123" y="180023"/>
                      <a:pt x="1369695" y="180023"/>
                    </a:cubicBezTo>
                    <a:cubicBezTo>
                      <a:pt x="1378268" y="180023"/>
                      <a:pt x="1391603" y="162878"/>
                      <a:pt x="1398270" y="164783"/>
                    </a:cubicBezTo>
                    <a:cubicBezTo>
                      <a:pt x="1404938" y="166687"/>
                      <a:pt x="1403033" y="158115"/>
                      <a:pt x="1403033" y="158115"/>
                    </a:cubicBezTo>
                    <a:lnTo>
                      <a:pt x="1405890" y="151448"/>
                    </a:lnTo>
                    <a:lnTo>
                      <a:pt x="1412558" y="142875"/>
                    </a:lnTo>
                    <a:cubicBezTo>
                      <a:pt x="1425893" y="140017"/>
                      <a:pt x="1425893" y="140017"/>
                      <a:pt x="1425893" y="140017"/>
                    </a:cubicBezTo>
                    <a:lnTo>
                      <a:pt x="1434465" y="139065"/>
                    </a:lnTo>
                    <a:lnTo>
                      <a:pt x="1461135" y="139065"/>
                    </a:lnTo>
                    <a:lnTo>
                      <a:pt x="1483043" y="135255"/>
                    </a:lnTo>
                    <a:lnTo>
                      <a:pt x="1487805" y="128587"/>
                    </a:lnTo>
                    <a:lnTo>
                      <a:pt x="1490663" y="120015"/>
                    </a:lnTo>
                    <a:lnTo>
                      <a:pt x="1497330" y="111442"/>
                    </a:lnTo>
                    <a:lnTo>
                      <a:pt x="1500188" y="102870"/>
                    </a:lnTo>
                    <a:lnTo>
                      <a:pt x="1500188" y="91440"/>
                    </a:lnTo>
                    <a:lnTo>
                      <a:pt x="1486853" y="82867"/>
                    </a:lnTo>
                    <a:lnTo>
                      <a:pt x="1478280" y="78105"/>
                    </a:lnTo>
                    <a:cubicBezTo>
                      <a:pt x="1478280" y="78105"/>
                      <a:pt x="1500188" y="74295"/>
                      <a:pt x="1506855" y="75248"/>
                    </a:cubicBezTo>
                    <a:cubicBezTo>
                      <a:pt x="1513523" y="77153"/>
                      <a:pt x="1495425" y="76200"/>
                      <a:pt x="1513523" y="77153"/>
                    </a:cubicBezTo>
                    <a:cubicBezTo>
                      <a:pt x="1531620" y="77153"/>
                      <a:pt x="1518285" y="77153"/>
                      <a:pt x="1531620" y="77153"/>
                    </a:cubicBezTo>
                    <a:cubicBezTo>
                      <a:pt x="1544955" y="77153"/>
                      <a:pt x="1544955" y="77153"/>
                      <a:pt x="1544955" y="77153"/>
                    </a:cubicBezTo>
                    <a:lnTo>
                      <a:pt x="1560195" y="80010"/>
                    </a:lnTo>
                    <a:lnTo>
                      <a:pt x="1584008" y="84773"/>
                    </a:lnTo>
                    <a:lnTo>
                      <a:pt x="1594485" y="87630"/>
                    </a:lnTo>
                    <a:lnTo>
                      <a:pt x="1603058" y="90487"/>
                    </a:lnTo>
                    <a:lnTo>
                      <a:pt x="1633538" y="100965"/>
                    </a:lnTo>
                    <a:lnTo>
                      <a:pt x="1642110" y="105728"/>
                    </a:lnTo>
                    <a:lnTo>
                      <a:pt x="1645920" y="112395"/>
                    </a:lnTo>
                    <a:lnTo>
                      <a:pt x="1647825" y="118110"/>
                    </a:lnTo>
                    <a:cubicBezTo>
                      <a:pt x="1647825" y="118110"/>
                      <a:pt x="1643063" y="121920"/>
                      <a:pt x="1643063" y="126683"/>
                    </a:cubicBezTo>
                    <a:cubicBezTo>
                      <a:pt x="1643063" y="130492"/>
                      <a:pt x="1656398" y="120015"/>
                      <a:pt x="1643063" y="130492"/>
                    </a:cubicBezTo>
                    <a:cubicBezTo>
                      <a:pt x="1629728" y="141923"/>
                      <a:pt x="1629728" y="141923"/>
                      <a:pt x="1629728" y="141923"/>
                    </a:cubicBezTo>
                    <a:cubicBezTo>
                      <a:pt x="1629728" y="141923"/>
                      <a:pt x="1621155" y="147637"/>
                      <a:pt x="1624965" y="151448"/>
                    </a:cubicBezTo>
                    <a:cubicBezTo>
                      <a:pt x="1629728" y="156210"/>
                      <a:pt x="1626870" y="160973"/>
                      <a:pt x="1626870" y="160973"/>
                    </a:cubicBezTo>
                    <a:lnTo>
                      <a:pt x="1637348" y="169545"/>
                    </a:lnTo>
                    <a:cubicBezTo>
                      <a:pt x="1637348" y="169545"/>
                      <a:pt x="1642110" y="171450"/>
                      <a:pt x="1647825" y="177165"/>
                    </a:cubicBezTo>
                    <a:cubicBezTo>
                      <a:pt x="1654493" y="182880"/>
                      <a:pt x="1643063" y="175260"/>
                      <a:pt x="1654493" y="182880"/>
                    </a:cubicBezTo>
                    <a:cubicBezTo>
                      <a:pt x="1664970" y="190500"/>
                      <a:pt x="1664970" y="190500"/>
                      <a:pt x="1664970" y="190500"/>
                    </a:cubicBezTo>
                    <a:lnTo>
                      <a:pt x="1680210" y="196215"/>
                    </a:lnTo>
                    <a:cubicBezTo>
                      <a:pt x="1680210" y="196215"/>
                      <a:pt x="1697355" y="203835"/>
                      <a:pt x="1704023" y="206692"/>
                    </a:cubicBezTo>
                    <a:cubicBezTo>
                      <a:pt x="1710690" y="209550"/>
                      <a:pt x="1710690" y="209550"/>
                      <a:pt x="1710690" y="209550"/>
                    </a:cubicBezTo>
                    <a:cubicBezTo>
                      <a:pt x="1710690" y="209550"/>
                      <a:pt x="1719263" y="212408"/>
                      <a:pt x="1727835" y="215265"/>
                    </a:cubicBezTo>
                    <a:cubicBezTo>
                      <a:pt x="1736408" y="218123"/>
                      <a:pt x="1736408" y="218123"/>
                      <a:pt x="1736408" y="218123"/>
                    </a:cubicBezTo>
                    <a:cubicBezTo>
                      <a:pt x="1736408" y="218123"/>
                      <a:pt x="1743075" y="215265"/>
                      <a:pt x="1751648" y="217170"/>
                    </a:cubicBezTo>
                    <a:cubicBezTo>
                      <a:pt x="1762125" y="218123"/>
                      <a:pt x="1762125" y="218123"/>
                      <a:pt x="1762125" y="218123"/>
                    </a:cubicBezTo>
                    <a:lnTo>
                      <a:pt x="1760220" y="209550"/>
                    </a:lnTo>
                    <a:lnTo>
                      <a:pt x="1771650" y="209550"/>
                    </a:lnTo>
                    <a:lnTo>
                      <a:pt x="1789748" y="207645"/>
                    </a:lnTo>
                    <a:lnTo>
                      <a:pt x="1792605" y="203835"/>
                    </a:lnTo>
                    <a:lnTo>
                      <a:pt x="1794510" y="198120"/>
                    </a:lnTo>
                    <a:lnTo>
                      <a:pt x="1789748" y="192405"/>
                    </a:lnTo>
                    <a:lnTo>
                      <a:pt x="1784985" y="187642"/>
                    </a:lnTo>
                    <a:lnTo>
                      <a:pt x="1778318" y="178117"/>
                    </a:lnTo>
                    <a:lnTo>
                      <a:pt x="1771650" y="169545"/>
                    </a:lnTo>
                    <a:lnTo>
                      <a:pt x="1755458" y="163830"/>
                    </a:lnTo>
                    <a:lnTo>
                      <a:pt x="1749743" y="155258"/>
                    </a:lnTo>
                    <a:lnTo>
                      <a:pt x="1751648" y="148590"/>
                    </a:lnTo>
                    <a:cubicBezTo>
                      <a:pt x="1764983" y="149542"/>
                      <a:pt x="1764983" y="149542"/>
                      <a:pt x="1764983" y="149542"/>
                    </a:cubicBezTo>
                    <a:cubicBezTo>
                      <a:pt x="1772603" y="155258"/>
                      <a:pt x="1763078" y="152400"/>
                      <a:pt x="1772603" y="155258"/>
                    </a:cubicBezTo>
                    <a:cubicBezTo>
                      <a:pt x="1781175" y="158115"/>
                      <a:pt x="1781175" y="158115"/>
                      <a:pt x="1781175" y="158115"/>
                    </a:cubicBezTo>
                    <a:cubicBezTo>
                      <a:pt x="1781175" y="158115"/>
                      <a:pt x="1781175" y="160020"/>
                      <a:pt x="1786890" y="161925"/>
                    </a:cubicBezTo>
                    <a:cubicBezTo>
                      <a:pt x="1792605" y="163830"/>
                      <a:pt x="1798320" y="164783"/>
                      <a:pt x="1798320" y="164783"/>
                    </a:cubicBezTo>
                    <a:cubicBezTo>
                      <a:pt x="1798320" y="164783"/>
                      <a:pt x="1803083" y="165735"/>
                      <a:pt x="1806893" y="165735"/>
                    </a:cubicBezTo>
                    <a:cubicBezTo>
                      <a:pt x="1811655" y="165735"/>
                      <a:pt x="1814513" y="160973"/>
                      <a:pt x="1814513" y="160973"/>
                    </a:cubicBezTo>
                    <a:cubicBezTo>
                      <a:pt x="1814513" y="160973"/>
                      <a:pt x="1816418" y="156210"/>
                      <a:pt x="1820228" y="156210"/>
                    </a:cubicBezTo>
                    <a:cubicBezTo>
                      <a:pt x="1824990" y="156210"/>
                      <a:pt x="1830705" y="156210"/>
                      <a:pt x="1834515" y="156210"/>
                    </a:cubicBezTo>
                    <a:cubicBezTo>
                      <a:pt x="1839278" y="156210"/>
                      <a:pt x="1839278" y="156210"/>
                      <a:pt x="1839278" y="156210"/>
                    </a:cubicBezTo>
                    <a:cubicBezTo>
                      <a:pt x="1839278" y="156210"/>
                      <a:pt x="1841183" y="151448"/>
                      <a:pt x="1846898" y="150495"/>
                    </a:cubicBezTo>
                    <a:cubicBezTo>
                      <a:pt x="1852613" y="149542"/>
                      <a:pt x="1852613" y="145733"/>
                      <a:pt x="1852613" y="145733"/>
                    </a:cubicBezTo>
                    <a:lnTo>
                      <a:pt x="1854518" y="140017"/>
                    </a:lnTo>
                    <a:lnTo>
                      <a:pt x="1856423" y="134303"/>
                    </a:lnTo>
                    <a:lnTo>
                      <a:pt x="1856423" y="130492"/>
                    </a:lnTo>
                    <a:cubicBezTo>
                      <a:pt x="1856423" y="130492"/>
                      <a:pt x="1855470" y="128587"/>
                      <a:pt x="1848803" y="126683"/>
                    </a:cubicBezTo>
                    <a:cubicBezTo>
                      <a:pt x="1843088" y="124778"/>
                      <a:pt x="1837373" y="123825"/>
                      <a:pt x="1837373" y="123825"/>
                    </a:cubicBezTo>
                    <a:lnTo>
                      <a:pt x="1820228" y="119062"/>
                    </a:lnTo>
                    <a:lnTo>
                      <a:pt x="1805940" y="111442"/>
                    </a:lnTo>
                    <a:lnTo>
                      <a:pt x="1800225" y="112395"/>
                    </a:lnTo>
                    <a:lnTo>
                      <a:pt x="1788795" y="111442"/>
                    </a:lnTo>
                    <a:lnTo>
                      <a:pt x="1778318" y="105728"/>
                    </a:lnTo>
                    <a:lnTo>
                      <a:pt x="1772603" y="101917"/>
                    </a:lnTo>
                    <a:lnTo>
                      <a:pt x="1762125" y="100965"/>
                    </a:lnTo>
                    <a:lnTo>
                      <a:pt x="1750695" y="96203"/>
                    </a:lnTo>
                    <a:cubicBezTo>
                      <a:pt x="1752600" y="90487"/>
                      <a:pt x="1752600" y="85725"/>
                      <a:pt x="1752600" y="85725"/>
                    </a:cubicBezTo>
                    <a:lnTo>
                      <a:pt x="1751648" y="79058"/>
                    </a:lnTo>
                    <a:lnTo>
                      <a:pt x="1751648" y="75248"/>
                    </a:lnTo>
                    <a:lnTo>
                      <a:pt x="1745933" y="67628"/>
                    </a:lnTo>
                    <a:lnTo>
                      <a:pt x="1737360" y="63817"/>
                    </a:lnTo>
                    <a:lnTo>
                      <a:pt x="1725930" y="62865"/>
                    </a:lnTo>
                    <a:lnTo>
                      <a:pt x="1708785" y="54292"/>
                    </a:lnTo>
                    <a:lnTo>
                      <a:pt x="1700213" y="51435"/>
                    </a:lnTo>
                    <a:lnTo>
                      <a:pt x="1676400" y="46672"/>
                    </a:lnTo>
                    <a:lnTo>
                      <a:pt x="1664970" y="43815"/>
                    </a:lnTo>
                    <a:lnTo>
                      <a:pt x="1650683" y="42863"/>
                    </a:lnTo>
                    <a:lnTo>
                      <a:pt x="1628775" y="31432"/>
                    </a:lnTo>
                    <a:lnTo>
                      <a:pt x="1612583" y="22860"/>
                    </a:lnTo>
                    <a:lnTo>
                      <a:pt x="1604010" y="14288"/>
                    </a:lnTo>
                    <a:lnTo>
                      <a:pt x="1590675" y="15240"/>
                    </a:lnTo>
                    <a:lnTo>
                      <a:pt x="1583055" y="13335"/>
                    </a:lnTo>
                    <a:lnTo>
                      <a:pt x="1561148" y="17145"/>
                    </a:lnTo>
                    <a:cubicBezTo>
                      <a:pt x="1562100" y="22860"/>
                      <a:pt x="1553528" y="25717"/>
                      <a:pt x="1553528" y="25717"/>
                    </a:cubicBezTo>
                    <a:lnTo>
                      <a:pt x="1544955" y="24765"/>
                    </a:lnTo>
                    <a:lnTo>
                      <a:pt x="1534478" y="18097"/>
                    </a:lnTo>
                    <a:lnTo>
                      <a:pt x="1524000" y="11430"/>
                    </a:lnTo>
                    <a:lnTo>
                      <a:pt x="1503998" y="4763"/>
                    </a:lnTo>
                    <a:lnTo>
                      <a:pt x="1495425" y="1905"/>
                    </a:lnTo>
                    <a:lnTo>
                      <a:pt x="1474470" y="1905"/>
                    </a:lnTo>
                    <a:lnTo>
                      <a:pt x="1468755" y="1905"/>
                    </a:lnTo>
                    <a:lnTo>
                      <a:pt x="1463993" y="5715"/>
                    </a:lnTo>
                    <a:cubicBezTo>
                      <a:pt x="1463993" y="5715"/>
                      <a:pt x="1458278" y="5715"/>
                      <a:pt x="1458278" y="8572"/>
                    </a:cubicBezTo>
                    <a:cubicBezTo>
                      <a:pt x="1458278" y="11430"/>
                      <a:pt x="1449705" y="11430"/>
                      <a:pt x="1449705" y="11430"/>
                    </a:cubicBezTo>
                    <a:cubicBezTo>
                      <a:pt x="1449705" y="11430"/>
                      <a:pt x="1444943" y="13335"/>
                      <a:pt x="1444943" y="17145"/>
                    </a:cubicBezTo>
                    <a:cubicBezTo>
                      <a:pt x="1444943" y="20955"/>
                      <a:pt x="1440180" y="20955"/>
                      <a:pt x="1442085" y="24765"/>
                    </a:cubicBezTo>
                    <a:cubicBezTo>
                      <a:pt x="1443038" y="28575"/>
                      <a:pt x="1446848" y="24765"/>
                      <a:pt x="1443038" y="28575"/>
                    </a:cubicBezTo>
                    <a:cubicBezTo>
                      <a:pt x="1440180" y="32385"/>
                      <a:pt x="1434465" y="33338"/>
                      <a:pt x="1434465" y="33338"/>
                    </a:cubicBezTo>
                    <a:lnTo>
                      <a:pt x="1425893" y="31432"/>
                    </a:lnTo>
                    <a:lnTo>
                      <a:pt x="1423035" y="23813"/>
                    </a:lnTo>
                    <a:cubicBezTo>
                      <a:pt x="1423035" y="23813"/>
                      <a:pt x="1422083" y="20003"/>
                      <a:pt x="1425893" y="19050"/>
                    </a:cubicBezTo>
                    <a:cubicBezTo>
                      <a:pt x="1430655" y="18097"/>
                      <a:pt x="1430655" y="13335"/>
                      <a:pt x="1430655" y="13335"/>
                    </a:cubicBezTo>
                    <a:lnTo>
                      <a:pt x="1432560" y="7620"/>
                    </a:lnTo>
                    <a:lnTo>
                      <a:pt x="1432560" y="3810"/>
                    </a:lnTo>
                    <a:cubicBezTo>
                      <a:pt x="1421130" y="953"/>
                      <a:pt x="1415415" y="953"/>
                      <a:pt x="1415415" y="953"/>
                    </a:cubicBezTo>
                    <a:lnTo>
                      <a:pt x="1402080" y="0"/>
                    </a:lnTo>
                    <a:cubicBezTo>
                      <a:pt x="1399223" y="2857"/>
                      <a:pt x="1380173" y="6667"/>
                      <a:pt x="1380173" y="6667"/>
                    </a:cubicBezTo>
                    <a:cubicBezTo>
                      <a:pt x="1377315" y="10478"/>
                      <a:pt x="1369695" y="12382"/>
                      <a:pt x="1369695" y="15240"/>
                    </a:cubicBezTo>
                    <a:cubicBezTo>
                      <a:pt x="1369695" y="18097"/>
                      <a:pt x="1371600" y="12382"/>
                      <a:pt x="1369695" y="18097"/>
                    </a:cubicBezTo>
                    <a:cubicBezTo>
                      <a:pt x="1367790" y="23813"/>
                      <a:pt x="1364933" y="25717"/>
                      <a:pt x="1366838" y="30480"/>
                    </a:cubicBezTo>
                    <a:cubicBezTo>
                      <a:pt x="1367790" y="35242"/>
                      <a:pt x="1362075" y="37147"/>
                      <a:pt x="1366838" y="40957"/>
                    </a:cubicBezTo>
                    <a:cubicBezTo>
                      <a:pt x="1371600" y="44767"/>
                      <a:pt x="1374458" y="48578"/>
                      <a:pt x="1374458" y="48578"/>
                    </a:cubicBezTo>
                    <a:lnTo>
                      <a:pt x="1382078" y="55245"/>
                    </a:lnTo>
                    <a:cubicBezTo>
                      <a:pt x="1382078" y="55245"/>
                      <a:pt x="1380173" y="57150"/>
                      <a:pt x="1390650" y="60960"/>
                    </a:cubicBezTo>
                    <a:cubicBezTo>
                      <a:pt x="1401128" y="64770"/>
                      <a:pt x="1401128" y="61913"/>
                      <a:pt x="1407795" y="65723"/>
                    </a:cubicBezTo>
                    <a:cubicBezTo>
                      <a:pt x="1415415" y="69533"/>
                      <a:pt x="1412558" y="66675"/>
                      <a:pt x="1415415" y="69533"/>
                    </a:cubicBezTo>
                    <a:cubicBezTo>
                      <a:pt x="1418273" y="72390"/>
                      <a:pt x="1403985" y="68580"/>
                      <a:pt x="1418273" y="72390"/>
                    </a:cubicBezTo>
                    <a:cubicBezTo>
                      <a:pt x="1432560" y="76200"/>
                      <a:pt x="1421130" y="71437"/>
                      <a:pt x="1432560" y="76200"/>
                    </a:cubicBezTo>
                    <a:cubicBezTo>
                      <a:pt x="1443990" y="80962"/>
                      <a:pt x="1441133" y="78105"/>
                      <a:pt x="1443990" y="80962"/>
                    </a:cubicBezTo>
                    <a:cubicBezTo>
                      <a:pt x="1446848" y="83820"/>
                      <a:pt x="1446848" y="81915"/>
                      <a:pt x="1446848" y="87630"/>
                    </a:cubicBezTo>
                    <a:cubicBezTo>
                      <a:pt x="1446848" y="93345"/>
                      <a:pt x="1441133" y="92392"/>
                      <a:pt x="1441133" y="95250"/>
                    </a:cubicBezTo>
                    <a:cubicBezTo>
                      <a:pt x="1441133" y="98108"/>
                      <a:pt x="1441133" y="98108"/>
                      <a:pt x="1441133" y="98108"/>
                    </a:cubicBezTo>
                    <a:lnTo>
                      <a:pt x="1429703" y="104775"/>
                    </a:lnTo>
                    <a:lnTo>
                      <a:pt x="1419225" y="110490"/>
                    </a:lnTo>
                    <a:cubicBezTo>
                      <a:pt x="1417320" y="116205"/>
                      <a:pt x="1417320" y="116205"/>
                      <a:pt x="1417320" y="116205"/>
                    </a:cubicBezTo>
                    <a:lnTo>
                      <a:pt x="1403033" y="120015"/>
                    </a:lnTo>
                    <a:cubicBezTo>
                      <a:pt x="1403033" y="120015"/>
                      <a:pt x="1397318" y="120015"/>
                      <a:pt x="1397318" y="116205"/>
                    </a:cubicBezTo>
                    <a:cubicBezTo>
                      <a:pt x="1397318" y="112395"/>
                      <a:pt x="1397318" y="107633"/>
                      <a:pt x="1397318" y="107633"/>
                    </a:cubicBezTo>
                    <a:lnTo>
                      <a:pt x="1397318" y="101917"/>
                    </a:lnTo>
                    <a:lnTo>
                      <a:pt x="1396365" y="95250"/>
                    </a:lnTo>
                    <a:lnTo>
                      <a:pt x="1393508" y="90487"/>
                    </a:lnTo>
                    <a:lnTo>
                      <a:pt x="1384935" y="88583"/>
                    </a:lnTo>
                    <a:lnTo>
                      <a:pt x="1376363" y="88583"/>
                    </a:lnTo>
                    <a:lnTo>
                      <a:pt x="1364933" y="88583"/>
                    </a:lnTo>
                    <a:cubicBezTo>
                      <a:pt x="1364933" y="88583"/>
                      <a:pt x="1354455" y="87630"/>
                      <a:pt x="1354455" y="84773"/>
                    </a:cubicBezTo>
                    <a:cubicBezTo>
                      <a:pt x="1354455" y="81915"/>
                      <a:pt x="1354455" y="81915"/>
                      <a:pt x="1354455" y="81915"/>
                    </a:cubicBezTo>
                    <a:lnTo>
                      <a:pt x="1341120" y="76200"/>
                    </a:lnTo>
                    <a:lnTo>
                      <a:pt x="1324928" y="74295"/>
                    </a:lnTo>
                    <a:lnTo>
                      <a:pt x="1319213" y="73342"/>
                    </a:lnTo>
                    <a:lnTo>
                      <a:pt x="1318260" y="60960"/>
                    </a:lnTo>
                    <a:lnTo>
                      <a:pt x="1315403" y="53340"/>
                    </a:lnTo>
                    <a:lnTo>
                      <a:pt x="1309688" y="45720"/>
                    </a:lnTo>
                    <a:lnTo>
                      <a:pt x="1304925" y="41910"/>
                    </a:lnTo>
                    <a:lnTo>
                      <a:pt x="1299210" y="40005"/>
                    </a:lnTo>
                    <a:lnTo>
                      <a:pt x="1274445" y="35242"/>
                    </a:lnTo>
                    <a:cubicBezTo>
                      <a:pt x="1274445" y="35242"/>
                      <a:pt x="1266825" y="35242"/>
                      <a:pt x="1266825" y="39053"/>
                    </a:cubicBezTo>
                    <a:cubicBezTo>
                      <a:pt x="1266825" y="42863"/>
                      <a:pt x="1259205" y="44767"/>
                      <a:pt x="1259205" y="44767"/>
                    </a:cubicBezTo>
                    <a:cubicBezTo>
                      <a:pt x="1259205" y="44767"/>
                      <a:pt x="1245870" y="44767"/>
                      <a:pt x="1247775" y="48578"/>
                    </a:cubicBezTo>
                    <a:cubicBezTo>
                      <a:pt x="1248728" y="52388"/>
                      <a:pt x="1243013" y="49530"/>
                      <a:pt x="1247775" y="56197"/>
                    </a:cubicBezTo>
                    <a:cubicBezTo>
                      <a:pt x="1251585" y="62865"/>
                      <a:pt x="1248728" y="60960"/>
                      <a:pt x="1253490" y="66675"/>
                    </a:cubicBezTo>
                    <a:cubicBezTo>
                      <a:pt x="1258253" y="72390"/>
                      <a:pt x="1251585" y="67628"/>
                      <a:pt x="1258253" y="72390"/>
                    </a:cubicBezTo>
                    <a:cubicBezTo>
                      <a:pt x="1263968" y="77153"/>
                      <a:pt x="1255395" y="73342"/>
                      <a:pt x="1263968" y="77153"/>
                    </a:cubicBezTo>
                    <a:cubicBezTo>
                      <a:pt x="1272540" y="80962"/>
                      <a:pt x="1265873" y="78105"/>
                      <a:pt x="1272540" y="80962"/>
                    </a:cubicBezTo>
                    <a:cubicBezTo>
                      <a:pt x="1280160" y="83820"/>
                      <a:pt x="1280160" y="83820"/>
                      <a:pt x="1280160" y="83820"/>
                    </a:cubicBezTo>
                    <a:cubicBezTo>
                      <a:pt x="1280160" y="83820"/>
                      <a:pt x="1284923" y="85725"/>
                      <a:pt x="1287780" y="89535"/>
                    </a:cubicBezTo>
                    <a:cubicBezTo>
                      <a:pt x="1290638" y="93345"/>
                      <a:pt x="1292543" y="93345"/>
                      <a:pt x="1291590" y="97155"/>
                    </a:cubicBezTo>
                    <a:cubicBezTo>
                      <a:pt x="1291590" y="100965"/>
                      <a:pt x="1285875" y="108585"/>
                      <a:pt x="1285875" y="108585"/>
                    </a:cubicBezTo>
                    <a:cubicBezTo>
                      <a:pt x="1285875" y="108585"/>
                      <a:pt x="1278255" y="108585"/>
                      <a:pt x="1271588" y="109537"/>
                    </a:cubicBezTo>
                    <a:cubicBezTo>
                      <a:pt x="1263968" y="110490"/>
                      <a:pt x="1255395" y="109537"/>
                      <a:pt x="1255395" y="109537"/>
                    </a:cubicBezTo>
                    <a:lnTo>
                      <a:pt x="1249680" y="101917"/>
                    </a:lnTo>
                    <a:lnTo>
                      <a:pt x="1251585" y="94298"/>
                    </a:lnTo>
                    <a:lnTo>
                      <a:pt x="1254443" y="89535"/>
                    </a:lnTo>
                    <a:lnTo>
                      <a:pt x="1243965" y="81915"/>
                    </a:lnTo>
                    <a:lnTo>
                      <a:pt x="1230630" y="79058"/>
                    </a:lnTo>
                    <a:lnTo>
                      <a:pt x="1203008" y="78105"/>
                    </a:lnTo>
                    <a:lnTo>
                      <a:pt x="1203008" y="84773"/>
                    </a:lnTo>
                    <a:lnTo>
                      <a:pt x="1214438" y="90487"/>
                    </a:lnTo>
                    <a:cubicBezTo>
                      <a:pt x="1223010" y="96203"/>
                      <a:pt x="1220153" y="97155"/>
                      <a:pt x="1221105" y="100965"/>
                    </a:cubicBezTo>
                    <a:cubicBezTo>
                      <a:pt x="1222058" y="104775"/>
                      <a:pt x="1212533" y="103823"/>
                      <a:pt x="1212533" y="103823"/>
                    </a:cubicBezTo>
                    <a:lnTo>
                      <a:pt x="1190625" y="105728"/>
                    </a:lnTo>
                    <a:lnTo>
                      <a:pt x="1163003" y="107633"/>
                    </a:lnTo>
                    <a:lnTo>
                      <a:pt x="1130618" y="108585"/>
                    </a:lnTo>
                    <a:cubicBezTo>
                      <a:pt x="1130618" y="108585"/>
                      <a:pt x="1119188" y="107633"/>
                      <a:pt x="1111568" y="109537"/>
                    </a:cubicBezTo>
                    <a:cubicBezTo>
                      <a:pt x="1103948" y="111442"/>
                      <a:pt x="1084898" y="110490"/>
                      <a:pt x="1084898" y="110490"/>
                    </a:cubicBezTo>
                    <a:lnTo>
                      <a:pt x="1076325" y="110490"/>
                    </a:lnTo>
                    <a:lnTo>
                      <a:pt x="1054418" y="106680"/>
                    </a:lnTo>
                    <a:lnTo>
                      <a:pt x="1051560" y="112395"/>
                    </a:lnTo>
                    <a:cubicBezTo>
                      <a:pt x="1060133" y="118110"/>
                      <a:pt x="1041083" y="118110"/>
                      <a:pt x="1041083" y="118110"/>
                    </a:cubicBezTo>
                    <a:lnTo>
                      <a:pt x="1032510" y="116205"/>
                    </a:lnTo>
                    <a:lnTo>
                      <a:pt x="1024890" y="116205"/>
                    </a:lnTo>
                    <a:cubicBezTo>
                      <a:pt x="1024890" y="116205"/>
                      <a:pt x="1017270" y="113348"/>
                      <a:pt x="1013460" y="114300"/>
                    </a:cubicBezTo>
                    <a:cubicBezTo>
                      <a:pt x="1008698" y="115253"/>
                      <a:pt x="1008698" y="115253"/>
                      <a:pt x="1008698" y="115253"/>
                    </a:cubicBezTo>
                    <a:lnTo>
                      <a:pt x="975360" y="113348"/>
                    </a:lnTo>
                    <a:lnTo>
                      <a:pt x="942975" y="104775"/>
                    </a:lnTo>
                    <a:lnTo>
                      <a:pt x="935355" y="101917"/>
                    </a:lnTo>
                    <a:lnTo>
                      <a:pt x="929640" y="99060"/>
                    </a:lnTo>
                    <a:lnTo>
                      <a:pt x="921068" y="92392"/>
                    </a:lnTo>
                    <a:lnTo>
                      <a:pt x="918210" y="86678"/>
                    </a:lnTo>
                    <a:lnTo>
                      <a:pt x="910590" y="85725"/>
                    </a:lnTo>
                    <a:lnTo>
                      <a:pt x="896303" y="84773"/>
                    </a:lnTo>
                    <a:cubicBezTo>
                      <a:pt x="896303" y="84773"/>
                      <a:pt x="888683" y="83820"/>
                      <a:pt x="884873" y="84773"/>
                    </a:cubicBezTo>
                    <a:cubicBezTo>
                      <a:pt x="880110" y="85725"/>
                      <a:pt x="873443" y="85725"/>
                      <a:pt x="868680" y="84773"/>
                    </a:cubicBezTo>
                    <a:cubicBezTo>
                      <a:pt x="863918" y="83820"/>
                      <a:pt x="857250" y="81915"/>
                      <a:pt x="857250" y="81915"/>
                    </a:cubicBezTo>
                    <a:lnTo>
                      <a:pt x="849630" y="80010"/>
                    </a:lnTo>
                    <a:lnTo>
                      <a:pt x="836295" y="73342"/>
                    </a:lnTo>
                    <a:lnTo>
                      <a:pt x="825818" y="70485"/>
                    </a:lnTo>
                    <a:lnTo>
                      <a:pt x="815340" y="70485"/>
                    </a:lnTo>
                    <a:lnTo>
                      <a:pt x="803910" y="70485"/>
                    </a:lnTo>
                    <a:lnTo>
                      <a:pt x="792480" y="70485"/>
                    </a:lnTo>
                    <a:cubicBezTo>
                      <a:pt x="792480" y="70485"/>
                      <a:pt x="792480" y="70485"/>
                      <a:pt x="786765" y="71437"/>
                    </a:cubicBezTo>
                    <a:cubicBezTo>
                      <a:pt x="781050" y="72390"/>
                      <a:pt x="770573" y="72390"/>
                      <a:pt x="770573" y="72390"/>
                    </a:cubicBezTo>
                    <a:lnTo>
                      <a:pt x="754380" y="72390"/>
                    </a:lnTo>
                    <a:lnTo>
                      <a:pt x="731520" y="63817"/>
                    </a:lnTo>
                    <a:lnTo>
                      <a:pt x="714375" y="59055"/>
                    </a:lnTo>
                    <a:lnTo>
                      <a:pt x="703898" y="59055"/>
                    </a:lnTo>
                    <a:lnTo>
                      <a:pt x="679133" y="61913"/>
                    </a:lnTo>
                    <a:lnTo>
                      <a:pt x="673418" y="62865"/>
                    </a:lnTo>
                    <a:cubicBezTo>
                      <a:pt x="673418" y="62865"/>
                      <a:pt x="665798" y="61913"/>
                      <a:pt x="665798" y="64770"/>
                    </a:cubicBezTo>
                    <a:cubicBezTo>
                      <a:pt x="665798" y="67628"/>
                      <a:pt x="655320" y="67628"/>
                      <a:pt x="655320" y="67628"/>
                    </a:cubicBezTo>
                    <a:lnTo>
                      <a:pt x="641033" y="68580"/>
                    </a:lnTo>
                    <a:lnTo>
                      <a:pt x="635318" y="67628"/>
                    </a:lnTo>
                    <a:lnTo>
                      <a:pt x="624840" y="67628"/>
                    </a:lnTo>
                    <a:lnTo>
                      <a:pt x="617220" y="70485"/>
                    </a:lnTo>
                    <a:cubicBezTo>
                      <a:pt x="617220" y="70485"/>
                      <a:pt x="608648" y="71437"/>
                      <a:pt x="608648" y="74295"/>
                    </a:cubicBezTo>
                    <a:cubicBezTo>
                      <a:pt x="608648" y="77153"/>
                      <a:pt x="598170" y="77153"/>
                      <a:pt x="598170" y="77153"/>
                    </a:cubicBezTo>
                    <a:lnTo>
                      <a:pt x="583883" y="74295"/>
                    </a:lnTo>
                    <a:lnTo>
                      <a:pt x="567690" y="75248"/>
                    </a:lnTo>
                    <a:lnTo>
                      <a:pt x="554355" y="78105"/>
                    </a:lnTo>
                    <a:lnTo>
                      <a:pt x="535305" y="80962"/>
                    </a:lnTo>
                    <a:lnTo>
                      <a:pt x="524828" y="80010"/>
                    </a:lnTo>
                    <a:lnTo>
                      <a:pt x="513398" y="76200"/>
                    </a:lnTo>
                    <a:lnTo>
                      <a:pt x="502920" y="73342"/>
                    </a:lnTo>
                    <a:lnTo>
                      <a:pt x="495300" y="69533"/>
                    </a:lnTo>
                    <a:lnTo>
                      <a:pt x="481965" y="65723"/>
                    </a:lnTo>
                    <a:lnTo>
                      <a:pt x="451485" y="62865"/>
                    </a:lnTo>
                    <a:lnTo>
                      <a:pt x="437198" y="62865"/>
                    </a:lnTo>
                    <a:lnTo>
                      <a:pt x="406718" y="61913"/>
                    </a:lnTo>
                    <a:lnTo>
                      <a:pt x="385763" y="60960"/>
                    </a:lnTo>
                    <a:lnTo>
                      <a:pt x="364808" y="59055"/>
                    </a:lnTo>
                    <a:lnTo>
                      <a:pt x="352425" y="55245"/>
                    </a:lnTo>
                    <a:lnTo>
                      <a:pt x="339090" y="55245"/>
                    </a:lnTo>
                    <a:lnTo>
                      <a:pt x="317183" y="54292"/>
                    </a:lnTo>
                    <a:lnTo>
                      <a:pt x="290513" y="51435"/>
                    </a:lnTo>
                    <a:lnTo>
                      <a:pt x="279083" y="46672"/>
                    </a:lnTo>
                    <a:lnTo>
                      <a:pt x="261938" y="44767"/>
                    </a:lnTo>
                    <a:lnTo>
                      <a:pt x="251460" y="44767"/>
                    </a:lnTo>
                    <a:lnTo>
                      <a:pt x="237173" y="40005"/>
                    </a:lnTo>
                    <a:cubicBezTo>
                      <a:pt x="237173" y="40005"/>
                      <a:pt x="251460" y="38100"/>
                      <a:pt x="226695" y="36195"/>
                    </a:cubicBezTo>
                    <a:cubicBezTo>
                      <a:pt x="201930" y="34290"/>
                      <a:pt x="207645" y="32385"/>
                      <a:pt x="191453" y="35242"/>
                    </a:cubicBezTo>
                    <a:cubicBezTo>
                      <a:pt x="175260" y="38100"/>
                      <a:pt x="164783" y="35242"/>
                      <a:pt x="166688" y="38100"/>
                    </a:cubicBezTo>
                    <a:cubicBezTo>
                      <a:pt x="167640" y="40957"/>
                      <a:pt x="153353" y="43815"/>
                      <a:pt x="153353" y="43815"/>
                    </a:cubicBezTo>
                    <a:lnTo>
                      <a:pt x="145733" y="46672"/>
                    </a:lnTo>
                    <a:cubicBezTo>
                      <a:pt x="145733" y="46672"/>
                      <a:pt x="121920" y="45720"/>
                      <a:pt x="123825" y="48578"/>
                    </a:cubicBezTo>
                    <a:cubicBezTo>
                      <a:pt x="124778" y="51435"/>
                      <a:pt x="113348" y="53340"/>
                      <a:pt x="113348" y="53340"/>
                    </a:cubicBezTo>
                    <a:lnTo>
                      <a:pt x="104775" y="60960"/>
                    </a:lnTo>
                    <a:cubicBezTo>
                      <a:pt x="104775" y="60960"/>
                      <a:pt x="97155" y="58103"/>
                      <a:pt x="97155" y="61913"/>
                    </a:cubicBezTo>
                    <a:cubicBezTo>
                      <a:pt x="97155" y="65723"/>
                      <a:pt x="107633" y="57150"/>
                      <a:pt x="97155" y="65723"/>
                    </a:cubicBezTo>
                    <a:cubicBezTo>
                      <a:pt x="86678" y="74295"/>
                      <a:pt x="80963" y="76200"/>
                      <a:pt x="80963" y="76200"/>
                    </a:cubicBezTo>
                    <a:lnTo>
                      <a:pt x="64770" y="80962"/>
                    </a:lnTo>
                    <a:cubicBezTo>
                      <a:pt x="64770" y="80962"/>
                      <a:pt x="54293" y="80010"/>
                      <a:pt x="59055" y="84773"/>
                    </a:cubicBezTo>
                    <a:cubicBezTo>
                      <a:pt x="62865" y="89535"/>
                      <a:pt x="61913" y="82867"/>
                      <a:pt x="62865" y="89535"/>
                    </a:cubicBezTo>
                    <a:cubicBezTo>
                      <a:pt x="62865" y="94298"/>
                      <a:pt x="51435" y="88583"/>
                      <a:pt x="62865" y="94298"/>
                    </a:cubicBezTo>
                    <a:cubicBezTo>
                      <a:pt x="74295" y="99060"/>
                      <a:pt x="64770" y="94298"/>
                      <a:pt x="74295" y="99060"/>
                    </a:cubicBezTo>
                    <a:cubicBezTo>
                      <a:pt x="84773" y="103823"/>
                      <a:pt x="87630" y="104775"/>
                      <a:pt x="91440" y="107633"/>
                    </a:cubicBezTo>
                    <a:cubicBezTo>
                      <a:pt x="96203" y="110490"/>
                      <a:pt x="94298" y="104775"/>
                      <a:pt x="96203" y="110490"/>
                    </a:cubicBezTo>
                    <a:cubicBezTo>
                      <a:pt x="97155" y="116205"/>
                      <a:pt x="110490" y="117158"/>
                      <a:pt x="113348" y="120015"/>
                    </a:cubicBezTo>
                    <a:cubicBezTo>
                      <a:pt x="116205" y="122873"/>
                      <a:pt x="116205" y="122873"/>
                      <a:pt x="116205" y="122873"/>
                    </a:cubicBezTo>
                    <a:cubicBezTo>
                      <a:pt x="116205" y="122873"/>
                      <a:pt x="108585" y="123825"/>
                      <a:pt x="104775" y="125730"/>
                    </a:cubicBezTo>
                    <a:cubicBezTo>
                      <a:pt x="100013" y="127635"/>
                      <a:pt x="91440" y="126683"/>
                      <a:pt x="91440" y="126683"/>
                    </a:cubicBezTo>
                    <a:lnTo>
                      <a:pt x="78105" y="125730"/>
                    </a:lnTo>
                    <a:lnTo>
                      <a:pt x="59055" y="125730"/>
                    </a:lnTo>
                    <a:cubicBezTo>
                      <a:pt x="59055" y="125730"/>
                      <a:pt x="53340" y="126683"/>
                      <a:pt x="48578" y="127635"/>
                    </a:cubicBezTo>
                    <a:cubicBezTo>
                      <a:pt x="43815" y="128587"/>
                      <a:pt x="21908" y="129540"/>
                      <a:pt x="21908" y="129540"/>
                    </a:cubicBezTo>
                    <a:cubicBezTo>
                      <a:pt x="20003" y="136208"/>
                      <a:pt x="19050" y="129540"/>
                      <a:pt x="20003" y="136208"/>
                    </a:cubicBezTo>
                    <a:cubicBezTo>
                      <a:pt x="22860" y="141923"/>
                      <a:pt x="14288" y="141923"/>
                      <a:pt x="22860" y="147637"/>
                    </a:cubicBezTo>
                    <a:cubicBezTo>
                      <a:pt x="31433" y="153353"/>
                      <a:pt x="26670" y="155258"/>
                      <a:pt x="33338" y="157162"/>
                    </a:cubicBezTo>
                    <a:cubicBezTo>
                      <a:pt x="38100" y="159067"/>
                      <a:pt x="31433" y="158115"/>
                      <a:pt x="38100" y="159067"/>
                    </a:cubicBezTo>
                    <a:cubicBezTo>
                      <a:pt x="45720" y="160020"/>
                      <a:pt x="51435" y="158115"/>
                      <a:pt x="56198" y="159067"/>
                    </a:cubicBezTo>
                    <a:cubicBezTo>
                      <a:pt x="60960" y="160020"/>
                      <a:pt x="67628" y="159067"/>
                      <a:pt x="67628" y="159067"/>
                    </a:cubicBezTo>
                    <a:lnTo>
                      <a:pt x="81915" y="157162"/>
                    </a:lnTo>
                    <a:lnTo>
                      <a:pt x="90488" y="156210"/>
                    </a:lnTo>
                    <a:cubicBezTo>
                      <a:pt x="90488" y="156210"/>
                      <a:pt x="98108" y="155258"/>
                      <a:pt x="101918" y="156210"/>
                    </a:cubicBezTo>
                    <a:cubicBezTo>
                      <a:pt x="106680" y="157162"/>
                      <a:pt x="106680" y="157162"/>
                      <a:pt x="106680" y="157162"/>
                    </a:cubicBezTo>
                    <a:cubicBezTo>
                      <a:pt x="115253" y="158115"/>
                      <a:pt x="128588" y="160973"/>
                      <a:pt x="128588" y="160973"/>
                    </a:cubicBezTo>
                    <a:lnTo>
                      <a:pt x="131445" y="164783"/>
                    </a:lnTo>
                    <a:cubicBezTo>
                      <a:pt x="131445" y="164783"/>
                      <a:pt x="128588" y="165735"/>
                      <a:pt x="129540" y="170498"/>
                    </a:cubicBezTo>
                    <a:cubicBezTo>
                      <a:pt x="130493" y="175260"/>
                      <a:pt x="130493" y="175260"/>
                      <a:pt x="130493" y="175260"/>
                    </a:cubicBezTo>
                    <a:lnTo>
                      <a:pt x="114300" y="178117"/>
                    </a:lnTo>
                    <a:lnTo>
                      <a:pt x="100965" y="179070"/>
                    </a:lnTo>
                    <a:lnTo>
                      <a:pt x="85725" y="184785"/>
                    </a:lnTo>
                    <a:lnTo>
                      <a:pt x="71438" y="184785"/>
                    </a:lnTo>
                    <a:lnTo>
                      <a:pt x="60960" y="188595"/>
                    </a:lnTo>
                    <a:cubicBezTo>
                      <a:pt x="60960" y="188595"/>
                      <a:pt x="50483" y="191453"/>
                      <a:pt x="52388" y="194310"/>
                    </a:cubicBezTo>
                    <a:cubicBezTo>
                      <a:pt x="53340" y="197167"/>
                      <a:pt x="53340" y="197167"/>
                      <a:pt x="53340" y="197167"/>
                    </a:cubicBezTo>
                    <a:lnTo>
                      <a:pt x="45720" y="203835"/>
                    </a:lnTo>
                    <a:cubicBezTo>
                      <a:pt x="42863" y="208598"/>
                      <a:pt x="42863" y="208598"/>
                      <a:pt x="42863" y="208598"/>
                    </a:cubicBezTo>
                    <a:lnTo>
                      <a:pt x="40958" y="216217"/>
                    </a:lnTo>
                    <a:lnTo>
                      <a:pt x="49530" y="221933"/>
                    </a:lnTo>
                    <a:cubicBezTo>
                      <a:pt x="57150" y="227648"/>
                      <a:pt x="57150" y="227648"/>
                      <a:pt x="57150" y="227648"/>
                    </a:cubicBezTo>
                    <a:lnTo>
                      <a:pt x="70485" y="231458"/>
                    </a:lnTo>
                    <a:lnTo>
                      <a:pt x="83820" y="237173"/>
                    </a:lnTo>
                    <a:lnTo>
                      <a:pt x="90488" y="242887"/>
                    </a:lnTo>
                    <a:cubicBezTo>
                      <a:pt x="100965" y="245745"/>
                      <a:pt x="90488" y="244792"/>
                      <a:pt x="100965" y="245745"/>
                    </a:cubicBezTo>
                    <a:cubicBezTo>
                      <a:pt x="112395" y="247650"/>
                      <a:pt x="112395" y="247650"/>
                      <a:pt x="112395" y="247650"/>
                    </a:cubicBezTo>
                    <a:lnTo>
                      <a:pt x="125730" y="255270"/>
                    </a:lnTo>
                    <a:lnTo>
                      <a:pt x="137160" y="255270"/>
                    </a:lnTo>
                    <a:cubicBezTo>
                      <a:pt x="137160" y="255270"/>
                      <a:pt x="145733" y="254317"/>
                      <a:pt x="152400" y="257175"/>
                    </a:cubicBezTo>
                    <a:cubicBezTo>
                      <a:pt x="159068" y="260033"/>
                      <a:pt x="159068" y="260033"/>
                      <a:pt x="159068" y="260033"/>
                    </a:cubicBezTo>
                    <a:lnTo>
                      <a:pt x="172403" y="261937"/>
                    </a:lnTo>
                    <a:lnTo>
                      <a:pt x="182880" y="264795"/>
                    </a:lnTo>
                    <a:cubicBezTo>
                      <a:pt x="184785" y="270510"/>
                      <a:pt x="184785" y="270510"/>
                      <a:pt x="184785" y="270510"/>
                    </a:cubicBezTo>
                    <a:cubicBezTo>
                      <a:pt x="184785" y="270510"/>
                      <a:pt x="182880" y="273368"/>
                      <a:pt x="180023" y="277178"/>
                    </a:cubicBezTo>
                    <a:cubicBezTo>
                      <a:pt x="177165" y="280987"/>
                      <a:pt x="161925" y="284798"/>
                      <a:pt x="161925" y="284798"/>
                    </a:cubicBezTo>
                    <a:lnTo>
                      <a:pt x="148590" y="290512"/>
                    </a:lnTo>
                    <a:lnTo>
                      <a:pt x="135255" y="296228"/>
                    </a:lnTo>
                    <a:lnTo>
                      <a:pt x="123825" y="300037"/>
                    </a:lnTo>
                    <a:lnTo>
                      <a:pt x="110490" y="303848"/>
                    </a:lnTo>
                    <a:lnTo>
                      <a:pt x="99060" y="307658"/>
                    </a:lnTo>
                    <a:lnTo>
                      <a:pt x="79058" y="310515"/>
                    </a:lnTo>
                    <a:lnTo>
                      <a:pt x="63818" y="314325"/>
                    </a:lnTo>
                    <a:lnTo>
                      <a:pt x="50483" y="315278"/>
                    </a:lnTo>
                    <a:lnTo>
                      <a:pt x="38100" y="320040"/>
                    </a:lnTo>
                    <a:lnTo>
                      <a:pt x="18098" y="322898"/>
                    </a:lnTo>
                    <a:lnTo>
                      <a:pt x="0" y="322898"/>
                    </a:lnTo>
                    <a:lnTo>
                      <a:pt x="0" y="328612"/>
                    </a:lnTo>
                    <a:cubicBezTo>
                      <a:pt x="0" y="328612"/>
                      <a:pt x="8573" y="330518"/>
                      <a:pt x="15240" y="330518"/>
                    </a:cubicBezTo>
                    <a:cubicBezTo>
                      <a:pt x="21908" y="330518"/>
                      <a:pt x="28575" y="327660"/>
                      <a:pt x="37148" y="327660"/>
                    </a:cubicBezTo>
                    <a:cubicBezTo>
                      <a:pt x="45720" y="327660"/>
                      <a:pt x="50483" y="324803"/>
                      <a:pt x="57150" y="324803"/>
                    </a:cubicBezTo>
                    <a:cubicBezTo>
                      <a:pt x="63818" y="324803"/>
                      <a:pt x="72390" y="321945"/>
                      <a:pt x="81915" y="320993"/>
                    </a:cubicBezTo>
                    <a:cubicBezTo>
                      <a:pt x="90488" y="320040"/>
                      <a:pt x="93345" y="318135"/>
                      <a:pt x="100013" y="318135"/>
                    </a:cubicBezTo>
                    <a:cubicBezTo>
                      <a:pt x="106680" y="318135"/>
                      <a:pt x="120015" y="315278"/>
                      <a:pt x="120015" y="315278"/>
                    </a:cubicBezTo>
                    <a:lnTo>
                      <a:pt x="138113" y="312420"/>
                    </a:lnTo>
                    <a:lnTo>
                      <a:pt x="164783" y="306705"/>
                    </a:lnTo>
                    <a:cubicBezTo>
                      <a:pt x="164783" y="306705"/>
                      <a:pt x="169545" y="300037"/>
                      <a:pt x="176213" y="300037"/>
                    </a:cubicBezTo>
                    <a:cubicBezTo>
                      <a:pt x="182880" y="300037"/>
                      <a:pt x="189548" y="294323"/>
                      <a:pt x="189548" y="294323"/>
                    </a:cubicBezTo>
                    <a:lnTo>
                      <a:pt x="200978" y="288608"/>
                    </a:lnTo>
                    <a:lnTo>
                      <a:pt x="212408" y="280035"/>
                    </a:lnTo>
                    <a:lnTo>
                      <a:pt x="227648" y="270510"/>
                    </a:lnTo>
                    <a:lnTo>
                      <a:pt x="236220" y="261937"/>
                    </a:lnTo>
                    <a:lnTo>
                      <a:pt x="249555" y="255270"/>
                    </a:lnTo>
                    <a:lnTo>
                      <a:pt x="258128" y="249555"/>
                    </a:lnTo>
                    <a:lnTo>
                      <a:pt x="269558" y="240983"/>
                    </a:lnTo>
                    <a:lnTo>
                      <a:pt x="276225" y="235267"/>
                    </a:lnTo>
                    <a:lnTo>
                      <a:pt x="278130" y="229553"/>
                    </a:lnTo>
                    <a:lnTo>
                      <a:pt x="291465" y="226695"/>
                    </a:lnTo>
                    <a:cubicBezTo>
                      <a:pt x="298133" y="232410"/>
                      <a:pt x="302895" y="226695"/>
                      <a:pt x="298133" y="232410"/>
                    </a:cubicBezTo>
                    <a:cubicBezTo>
                      <a:pt x="293370" y="238125"/>
                      <a:pt x="293370" y="238125"/>
                      <a:pt x="293370" y="238125"/>
                    </a:cubicBezTo>
                    <a:cubicBezTo>
                      <a:pt x="293370" y="238125"/>
                      <a:pt x="295275" y="243840"/>
                      <a:pt x="303848" y="242887"/>
                    </a:cubicBezTo>
                    <a:cubicBezTo>
                      <a:pt x="312420" y="241935"/>
                      <a:pt x="312420" y="237173"/>
                      <a:pt x="319088" y="234315"/>
                    </a:cubicBezTo>
                    <a:cubicBezTo>
                      <a:pt x="325755" y="231458"/>
                      <a:pt x="325755" y="231458"/>
                      <a:pt x="325755" y="231458"/>
                    </a:cubicBezTo>
                    <a:lnTo>
                      <a:pt x="345758" y="233362"/>
                    </a:lnTo>
                    <a:cubicBezTo>
                      <a:pt x="345758" y="233362"/>
                      <a:pt x="345758" y="226695"/>
                      <a:pt x="357188" y="227648"/>
                    </a:cubicBezTo>
                    <a:cubicBezTo>
                      <a:pt x="367665" y="229553"/>
                      <a:pt x="355283" y="228600"/>
                      <a:pt x="367665" y="229553"/>
                    </a:cubicBezTo>
                    <a:cubicBezTo>
                      <a:pt x="381000" y="229553"/>
                      <a:pt x="381000" y="229553"/>
                      <a:pt x="381000" y="229553"/>
                    </a:cubicBezTo>
                    <a:lnTo>
                      <a:pt x="396240" y="232410"/>
                    </a:lnTo>
                    <a:cubicBezTo>
                      <a:pt x="396240" y="232410"/>
                      <a:pt x="404813" y="237173"/>
                      <a:pt x="416243" y="238125"/>
                    </a:cubicBezTo>
                    <a:cubicBezTo>
                      <a:pt x="427673" y="240030"/>
                      <a:pt x="440055" y="240030"/>
                      <a:pt x="440055" y="240030"/>
                    </a:cubicBezTo>
                    <a:lnTo>
                      <a:pt x="453390" y="240030"/>
                    </a:lnTo>
                    <a:lnTo>
                      <a:pt x="468630" y="244792"/>
                    </a:lnTo>
                    <a:cubicBezTo>
                      <a:pt x="468630" y="244792"/>
                      <a:pt x="468630" y="241935"/>
                      <a:pt x="477203" y="244792"/>
                    </a:cubicBezTo>
                    <a:cubicBezTo>
                      <a:pt x="485775" y="247650"/>
                      <a:pt x="499110" y="247650"/>
                      <a:pt x="499110" y="247650"/>
                    </a:cubicBezTo>
                    <a:cubicBezTo>
                      <a:pt x="499110" y="247650"/>
                      <a:pt x="503873" y="250508"/>
                      <a:pt x="509588" y="252412"/>
                    </a:cubicBezTo>
                    <a:cubicBezTo>
                      <a:pt x="516255" y="254317"/>
                      <a:pt x="520065" y="258128"/>
                      <a:pt x="526733" y="260985"/>
                    </a:cubicBezTo>
                    <a:cubicBezTo>
                      <a:pt x="533400" y="263843"/>
                      <a:pt x="521970" y="259080"/>
                      <a:pt x="533400" y="263843"/>
                    </a:cubicBezTo>
                    <a:cubicBezTo>
                      <a:pt x="543878" y="268605"/>
                      <a:pt x="543878" y="268605"/>
                      <a:pt x="543878" y="268605"/>
                    </a:cubicBezTo>
                    <a:cubicBezTo>
                      <a:pt x="543878" y="268605"/>
                      <a:pt x="552450" y="274320"/>
                      <a:pt x="559118" y="276225"/>
                    </a:cubicBezTo>
                    <a:cubicBezTo>
                      <a:pt x="565785" y="278130"/>
                      <a:pt x="565785" y="278130"/>
                      <a:pt x="565785" y="278130"/>
                    </a:cubicBezTo>
                    <a:lnTo>
                      <a:pt x="579120" y="285750"/>
                    </a:lnTo>
                    <a:lnTo>
                      <a:pt x="592455" y="294323"/>
                    </a:lnTo>
                    <a:lnTo>
                      <a:pt x="599123" y="303848"/>
                    </a:lnTo>
                    <a:lnTo>
                      <a:pt x="612458" y="312420"/>
                    </a:lnTo>
                    <a:lnTo>
                      <a:pt x="629603" y="322898"/>
                    </a:lnTo>
                    <a:cubicBezTo>
                      <a:pt x="629603" y="322898"/>
                      <a:pt x="634365" y="325755"/>
                      <a:pt x="640080" y="328612"/>
                    </a:cubicBezTo>
                    <a:cubicBezTo>
                      <a:pt x="646748" y="331470"/>
                      <a:pt x="655320" y="336233"/>
                      <a:pt x="655320" y="336233"/>
                    </a:cubicBezTo>
                    <a:cubicBezTo>
                      <a:pt x="655320" y="336233"/>
                      <a:pt x="650558" y="337185"/>
                      <a:pt x="659130" y="342900"/>
                    </a:cubicBezTo>
                    <a:cubicBezTo>
                      <a:pt x="667703" y="348615"/>
                      <a:pt x="654368" y="343853"/>
                      <a:pt x="667703" y="348615"/>
                    </a:cubicBezTo>
                    <a:cubicBezTo>
                      <a:pt x="681038" y="353378"/>
                      <a:pt x="672465" y="347662"/>
                      <a:pt x="681038" y="353378"/>
                    </a:cubicBezTo>
                    <a:cubicBezTo>
                      <a:pt x="689610" y="359093"/>
                      <a:pt x="689610" y="359093"/>
                      <a:pt x="689610" y="359093"/>
                    </a:cubicBezTo>
                    <a:cubicBezTo>
                      <a:pt x="689610" y="359093"/>
                      <a:pt x="694373" y="363855"/>
                      <a:pt x="696278" y="367665"/>
                    </a:cubicBezTo>
                    <a:cubicBezTo>
                      <a:pt x="698183" y="371475"/>
                      <a:pt x="685800" y="362903"/>
                      <a:pt x="698183" y="371475"/>
                    </a:cubicBezTo>
                    <a:cubicBezTo>
                      <a:pt x="711518" y="380048"/>
                      <a:pt x="721995" y="380048"/>
                      <a:pt x="721995" y="380048"/>
                    </a:cubicBezTo>
                    <a:lnTo>
                      <a:pt x="730568" y="384810"/>
                    </a:lnTo>
                    <a:cubicBezTo>
                      <a:pt x="730568" y="384810"/>
                      <a:pt x="732473" y="388620"/>
                      <a:pt x="739140" y="389573"/>
                    </a:cubicBezTo>
                    <a:cubicBezTo>
                      <a:pt x="745808" y="389573"/>
                      <a:pt x="761048" y="395287"/>
                      <a:pt x="761048" y="395287"/>
                    </a:cubicBezTo>
                    <a:cubicBezTo>
                      <a:pt x="761048" y="395287"/>
                      <a:pt x="778193" y="398145"/>
                      <a:pt x="778193" y="402908"/>
                    </a:cubicBezTo>
                    <a:cubicBezTo>
                      <a:pt x="778193" y="406718"/>
                      <a:pt x="774383" y="397193"/>
                      <a:pt x="778193" y="406718"/>
                    </a:cubicBezTo>
                    <a:cubicBezTo>
                      <a:pt x="782003" y="416243"/>
                      <a:pt x="782003" y="416243"/>
                      <a:pt x="782003" y="416243"/>
                    </a:cubicBezTo>
                    <a:lnTo>
                      <a:pt x="773430" y="420052"/>
                    </a:lnTo>
                    <a:lnTo>
                      <a:pt x="762000" y="420052"/>
                    </a:lnTo>
                    <a:lnTo>
                      <a:pt x="755333" y="413385"/>
                    </a:lnTo>
                    <a:lnTo>
                      <a:pt x="746760" y="406718"/>
                    </a:lnTo>
                    <a:lnTo>
                      <a:pt x="738188" y="403860"/>
                    </a:lnTo>
                    <a:lnTo>
                      <a:pt x="729615" y="399098"/>
                    </a:lnTo>
                    <a:cubicBezTo>
                      <a:pt x="729615" y="399098"/>
                      <a:pt x="712470" y="390525"/>
                      <a:pt x="705803" y="391477"/>
                    </a:cubicBezTo>
                    <a:cubicBezTo>
                      <a:pt x="699135" y="392430"/>
                      <a:pt x="699135" y="392430"/>
                      <a:pt x="699135" y="392430"/>
                    </a:cubicBezTo>
                    <a:cubicBezTo>
                      <a:pt x="699135" y="401002"/>
                      <a:pt x="707708" y="402908"/>
                      <a:pt x="707708" y="402908"/>
                    </a:cubicBezTo>
                    <a:cubicBezTo>
                      <a:pt x="707708" y="402908"/>
                      <a:pt x="716280" y="409575"/>
                      <a:pt x="722948" y="411480"/>
                    </a:cubicBezTo>
                    <a:cubicBezTo>
                      <a:pt x="729615" y="413385"/>
                      <a:pt x="736283" y="419100"/>
                      <a:pt x="736283" y="419100"/>
                    </a:cubicBezTo>
                    <a:cubicBezTo>
                      <a:pt x="736283" y="419100"/>
                      <a:pt x="742950" y="423862"/>
                      <a:pt x="742950" y="427673"/>
                    </a:cubicBezTo>
                    <a:cubicBezTo>
                      <a:pt x="742950" y="431483"/>
                      <a:pt x="741045" y="423862"/>
                      <a:pt x="742950" y="431483"/>
                    </a:cubicBezTo>
                    <a:cubicBezTo>
                      <a:pt x="744855" y="440055"/>
                      <a:pt x="744855" y="445770"/>
                      <a:pt x="744855" y="445770"/>
                    </a:cubicBezTo>
                    <a:lnTo>
                      <a:pt x="752475" y="456248"/>
                    </a:lnTo>
                    <a:lnTo>
                      <a:pt x="747713" y="487680"/>
                    </a:lnTo>
                    <a:lnTo>
                      <a:pt x="751523" y="500062"/>
                    </a:lnTo>
                    <a:cubicBezTo>
                      <a:pt x="751523" y="500062"/>
                      <a:pt x="746760" y="501015"/>
                      <a:pt x="751523" y="506730"/>
                    </a:cubicBezTo>
                    <a:cubicBezTo>
                      <a:pt x="755333" y="512445"/>
                      <a:pt x="758190" y="521970"/>
                      <a:pt x="758190" y="521970"/>
                    </a:cubicBezTo>
                    <a:cubicBezTo>
                      <a:pt x="758190" y="521970"/>
                      <a:pt x="760095" y="528638"/>
                      <a:pt x="764858" y="536258"/>
                    </a:cubicBezTo>
                    <a:cubicBezTo>
                      <a:pt x="768668" y="542925"/>
                      <a:pt x="762953" y="534352"/>
                      <a:pt x="768668" y="542925"/>
                    </a:cubicBezTo>
                    <a:cubicBezTo>
                      <a:pt x="775335" y="551498"/>
                      <a:pt x="775335" y="551498"/>
                      <a:pt x="775335" y="551498"/>
                    </a:cubicBezTo>
                    <a:cubicBezTo>
                      <a:pt x="775335" y="551498"/>
                      <a:pt x="782003" y="554355"/>
                      <a:pt x="785813" y="559118"/>
                    </a:cubicBezTo>
                    <a:cubicBezTo>
                      <a:pt x="789623" y="562927"/>
                      <a:pt x="792480" y="564833"/>
                      <a:pt x="794385" y="568643"/>
                    </a:cubicBezTo>
                    <a:cubicBezTo>
                      <a:pt x="796290" y="572452"/>
                      <a:pt x="801053" y="580073"/>
                      <a:pt x="801053" y="580073"/>
                    </a:cubicBezTo>
                    <a:cubicBezTo>
                      <a:pt x="801053" y="580073"/>
                      <a:pt x="801053" y="579120"/>
                      <a:pt x="804863" y="585788"/>
                    </a:cubicBezTo>
                    <a:cubicBezTo>
                      <a:pt x="808673" y="592455"/>
                      <a:pt x="802958" y="585788"/>
                      <a:pt x="808673" y="592455"/>
                    </a:cubicBezTo>
                    <a:cubicBezTo>
                      <a:pt x="815340" y="599123"/>
                      <a:pt x="815340" y="599123"/>
                      <a:pt x="815340" y="599123"/>
                    </a:cubicBezTo>
                    <a:cubicBezTo>
                      <a:pt x="815340" y="599123"/>
                      <a:pt x="820103" y="598170"/>
                      <a:pt x="825818" y="601980"/>
                    </a:cubicBezTo>
                    <a:cubicBezTo>
                      <a:pt x="832485" y="606743"/>
                      <a:pt x="832485" y="606743"/>
                      <a:pt x="832485" y="606743"/>
                    </a:cubicBezTo>
                    <a:lnTo>
                      <a:pt x="843915" y="609600"/>
                    </a:lnTo>
                    <a:cubicBezTo>
                      <a:pt x="843915" y="609600"/>
                      <a:pt x="845820" y="606743"/>
                      <a:pt x="852488" y="612458"/>
                    </a:cubicBezTo>
                    <a:cubicBezTo>
                      <a:pt x="859155" y="618173"/>
                      <a:pt x="859155" y="618173"/>
                      <a:pt x="859155" y="618173"/>
                    </a:cubicBezTo>
                    <a:lnTo>
                      <a:pt x="879158" y="631508"/>
                    </a:lnTo>
                    <a:lnTo>
                      <a:pt x="885825" y="643890"/>
                    </a:lnTo>
                    <a:cubicBezTo>
                      <a:pt x="885825" y="643890"/>
                      <a:pt x="881063" y="643890"/>
                      <a:pt x="889635" y="650558"/>
                    </a:cubicBezTo>
                    <a:cubicBezTo>
                      <a:pt x="898208" y="658177"/>
                      <a:pt x="900113" y="661035"/>
                      <a:pt x="902018" y="665798"/>
                    </a:cubicBezTo>
                    <a:cubicBezTo>
                      <a:pt x="903923" y="671513"/>
                      <a:pt x="897255" y="662940"/>
                      <a:pt x="903923" y="671513"/>
                    </a:cubicBezTo>
                    <a:cubicBezTo>
                      <a:pt x="910590" y="680085"/>
                      <a:pt x="917258" y="685800"/>
                      <a:pt x="917258" y="685800"/>
                    </a:cubicBezTo>
                    <a:lnTo>
                      <a:pt x="923925" y="701040"/>
                    </a:lnTo>
                    <a:cubicBezTo>
                      <a:pt x="934403" y="706755"/>
                      <a:pt x="945833" y="711518"/>
                      <a:pt x="945833" y="711518"/>
                    </a:cubicBezTo>
                    <a:cubicBezTo>
                      <a:pt x="945833" y="711518"/>
                      <a:pt x="954405" y="713423"/>
                      <a:pt x="956310" y="717233"/>
                    </a:cubicBezTo>
                    <a:cubicBezTo>
                      <a:pt x="958215" y="721995"/>
                      <a:pt x="969645" y="725805"/>
                      <a:pt x="969645" y="725805"/>
                    </a:cubicBezTo>
                    <a:lnTo>
                      <a:pt x="980123" y="731520"/>
                    </a:lnTo>
                    <a:lnTo>
                      <a:pt x="993458" y="731520"/>
                    </a:lnTo>
                    <a:lnTo>
                      <a:pt x="990600" y="722948"/>
                    </a:lnTo>
                    <a:lnTo>
                      <a:pt x="982028" y="717233"/>
                    </a:lnTo>
                    <a:lnTo>
                      <a:pt x="968693" y="706755"/>
                    </a:lnTo>
                    <a:lnTo>
                      <a:pt x="960120" y="698183"/>
                    </a:lnTo>
                    <a:lnTo>
                      <a:pt x="953453" y="692468"/>
                    </a:lnTo>
                    <a:lnTo>
                      <a:pt x="949643" y="686752"/>
                    </a:lnTo>
                    <a:lnTo>
                      <a:pt x="945833" y="678180"/>
                    </a:lnTo>
                    <a:lnTo>
                      <a:pt x="939165" y="672465"/>
                    </a:lnTo>
                    <a:lnTo>
                      <a:pt x="935355" y="663893"/>
                    </a:lnTo>
                    <a:lnTo>
                      <a:pt x="923925" y="655320"/>
                    </a:lnTo>
                    <a:lnTo>
                      <a:pt x="923925" y="648652"/>
                    </a:lnTo>
                    <a:lnTo>
                      <a:pt x="935355" y="645795"/>
                    </a:lnTo>
                    <a:cubicBezTo>
                      <a:pt x="943928" y="651510"/>
                      <a:pt x="931545" y="633413"/>
                      <a:pt x="943928" y="651510"/>
                    </a:cubicBezTo>
                    <a:cubicBezTo>
                      <a:pt x="956310" y="669608"/>
                      <a:pt x="962978" y="677227"/>
                      <a:pt x="962978" y="677227"/>
                    </a:cubicBezTo>
                    <a:cubicBezTo>
                      <a:pt x="962978" y="677227"/>
                      <a:pt x="978218" y="685800"/>
                      <a:pt x="980123" y="690563"/>
                    </a:cubicBezTo>
                    <a:cubicBezTo>
                      <a:pt x="982028" y="694373"/>
                      <a:pt x="997268" y="701040"/>
                      <a:pt x="997268" y="701040"/>
                    </a:cubicBezTo>
                    <a:lnTo>
                      <a:pt x="1012508" y="712470"/>
                    </a:lnTo>
                    <a:cubicBezTo>
                      <a:pt x="1012508" y="712470"/>
                      <a:pt x="1014413" y="715327"/>
                      <a:pt x="1019175" y="719138"/>
                    </a:cubicBezTo>
                    <a:cubicBezTo>
                      <a:pt x="1023938" y="722948"/>
                      <a:pt x="1034415" y="733425"/>
                      <a:pt x="1034415" y="733425"/>
                    </a:cubicBezTo>
                    <a:cubicBezTo>
                      <a:pt x="1044893" y="739140"/>
                      <a:pt x="1044893" y="739140"/>
                      <a:pt x="1044893" y="739140"/>
                    </a:cubicBezTo>
                    <a:cubicBezTo>
                      <a:pt x="1044893" y="739140"/>
                      <a:pt x="1042988" y="741998"/>
                      <a:pt x="1048703" y="745808"/>
                    </a:cubicBezTo>
                    <a:cubicBezTo>
                      <a:pt x="1055370" y="750570"/>
                      <a:pt x="1048703" y="743902"/>
                      <a:pt x="1055370" y="750570"/>
                    </a:cubicBezTo>
                    <a:cubicBezTo>
                      <a:pt x="1062038" y="756285"/>
                      <a:pt x="1055370" y="751523"/>
                      <a:pt x="1062038" y="756285"/>
                    </a:cubicBezTo>
                    <a:cubicBezTo>
                      <a:pt x="1068705" y="761048"/>
                      <a:pt x="1063943" y="755333"/>
                      <a:pt x="1068705" y="761048"/>
                    </a:cubicBezTo>
                    <a:cubicBezTo>
                      <a:pt x="1072515" y="766763"/>
                      <a:pt x="1075373" y="761048"/>
                      <a:pt x="1072515" y="766763"/>
                    </a:cubicBezTo>
                    <a:cubicBezTo>
                      <a:pt x="1070610" y="772477"/>
                      <a:pt x="1070610" y="772477"/>
                      <a:pt x="1070610" y="772477"/>
                    </a:cubicBezTo>
                    <a:cubicBezTo>
                      <a:pt x="1070610" y="772477"/>
                      <a:pt x="1068705" y="775335"/>
                      <a:pt x="1074420" y="779145"/>
                    </a:cubicBezTo>
                    <a:cubicBezTo>
                      <a:pt x="1081088" y="783908"/>
                      <a:pt x="1081088" y="783908"/>
                      <a:pt x="1081088" y="783908"/>
                    </a:cubicBezTo>
                    <a:cubicBezTo>
                      <a:pt x="1081088" y="783908"/>
                      <a:pt x="1087755" y="786765"/>
                      <a:pt x="1094423" y="789623"/>
                    </a:cubicBezTo>
                    <a:cubicBezTo>
                      <a:pt x="1101090" y="792480"/>
                      <a:pt x="1101090" y="792480"/>
                      <a:pt x="1101090" y="792480"/>
                    </a:cubicBezTo>
                    <a:cubicBezTo>
                      <a:pt x="1101090" y="792480"/>
                      <a:pt x="1112520" y="794385"/>
                      <a:pt x="1116330" y="798195"/>
                    </a:cubicBezTo>
                    <a:cubicBezTo>
                      <a:pt x="1121093" y="802005"/>
                      <a:pt x="1111568" y="795338"/>
                      <a:pt x="1121093" y="802005"/>
                    </a:cubicBezTo>
                    <a:cubicBezTo>
                      <a:pt x="1122998" y="803910"/>
                      <a:pt x="1124903" y="804863"/>
                      <a:pt x="1125855" y="805815"/>
                    </a:cubicBezTo>
                    <a:cubicBezTo>
                      <a:pt x="1129665" y="808673"/>
                      <a:pt x="1129665" y="808673"/>
                      <a:pt x="1129665" y="808673"/>
                    </a:cubicBezTo>
                    <a:cubicBezTo>
                      <a:pt x="1138238" y="816293"/>
                      <a:pt x="1151573" y="820102"/>
                      <a:pt x="1151573" y="820102"/>
                    </a:cubicBezTo>
                    <a:lnTo>
                      <a:pt x="1168718" y="827723"/>
                    </a:lnTo>
                    <a:lnTo>
                      <a:pt x="1180148" y="827723"/>
                    </a:lnTo>
                    <a:lnTo>
                      <a:pt x="1193483" y="827723"/>
                    </a:lnTo>
                    <a:cubicBezTo>
                      <a:pt x="1193483" y="827723"/>
                      <a:pt x="1200150" y="827723"/>
                      <a:pt x="1213485" y="827723"/>
                    </a:cubicBezTo>
                    <a:cubicBezTo>
                      <a:pt x="1226820" y="827723"/>
                      <a:pt x="1235393" y="827723"/>
                      <a:pt x="1235393" y="827723"/>
                    </a:cubicBezTo>
                    <a:lnTo>
                      <a:pt x="1250633" y="826770"/>
                    </a:lnTo>
                    <a:cubicBezTo>
                      <a:pt x="1250633" y="826770"/>
                      <a:pt x="1265873" y="823913"/>
                      <a:pt x="1272540" y="826770"/>
                    </a:cubicBezTo>
                    <a:cubicBezTo>
                      <a:pt x="1279208" y="829627"/>
                      <a:pt x="1279208" y="829627"/>
                      <a:pt x="1279208" y="829627"/>
                    </a:cubicBezTo>
                    <a:cubicBezTo>
                      <a:pt x="1279208" y="829627"/>
                      <a:pt x="1283970" y="828675"/>
                      <a:pt x="1290638" y="829627"/>
                    </a:cubicBezTo>
                    <a:cubicBezTo>
                      <a:pt x="1297305" y="831533"/>
                      <a:pt x="1292543" y="825818"/>
                      <a:pt x="1297305" y="831533"/>
                    </a:cubicBezTo>
                    <a:cubicBezTo>
                      <a:pt x="1302068" y="837248"/>
                      <a:pt x="1288733" y="828675"/>
                      <a:pt x="1302068" y="837248"/>
                    </a:cubicBezTo>
                    <a:cubicBezTo>
                      <a:pt x="1315403" y="845820"/>
                      <a:pt x="1323975" y="853440"/>
                      <a:pt x="1323975" y="853440"/>
                    </a:cubicBezTo>
                    <a:lnTo>
                      <a:pt x="1341120" y="853440"/>
                    </a:lnTo>
                    <a:lnTo>
                      <a:pt x="1354455" y="855345"/>
                    </a:lnTo>
                    <a:lnTo>
                      <a:pt x="1369695" y="863918"/>
                    </a:lnTo>
                    <a:lnTo>
                      <a:pt x="1383030" y="869633"/>
                    </a:lnTo>
                    <a:lnTo>
                      <a:pt x="1391603" y="875348"/>
                    </a:lnTo>
                    <a:lnTo>
                      <a:pt x="1402080" y="885825"/>
                    </a:lnTo>
                    <a:cubicBezTo>
                      <a:pt x="1402080" y="885825"/>
                      <a:pt x="1406843" y="887730"/>
                      <a:pt x="1410653" y="891540"/>
                    </a:cubicBezTo>
                    <a:cubicBezTo>
                      <a:pt x="1415415" y="896302"/>
                      <a:pt x="1423988" y="900113"/>
                      <a:pt x="1423988" y="900113"/>
                    </a:cubicBezTo>
                    <a:lnTo>
                      <a:pt x="1435418" y="902970"/>
                    </a:lnTo>
                    <a:cubicBezTo>
                      <a:pt x="1435418" y="902970"/>
                      <a:pt x="1437323" y="905827"/>
                      <a:pt x="1437323" y="909638"/>
                    </a:cubicBezTo>
                    <a:cubicBezTo>
                      <a:pt x="1437323" y="913448"/>
                      <a:pt x="1423988" y="906780"/>
                      <a:pt x="1437323" y="913448"/>
                    </a:cubicBezTo>
                    <a:cubicBezTo>
                      <a:pt x="1450658" y="921068"/>
                      <a:pt x="1450658" y="921068"/>
                      <a:pt x="1450658" y="921068"/>
                    </a:cubicBezTo>
                    <a:cubicBezTo>
                      <a:pt x="1450658" y="921068"/>
                      <a:pt x="1452563" y="921068"/>
                      <a:pt x="1459230" y="923925"/>
                    </a:cubicBezTo>
                    <a:cubicBezTo>
                      <a:pt x="1465898" y="926783"/>
                      <a:pt x="1481138" y="923925"/>
                      <a:pt x="1481138" y="923925"/>
                    </a:cubicBezTo>
                    <a:lnTo>
                      <a:pt x="1489710" y="923925"/>
                    </a:lnTo>
                    <a:lnTo>
                      <a:pt x="1498283" y="922973"/>
                    </a:lnTo>
                    <a:lnTo>
                      <a:pt x="1506855" y="922973"/>
                    </a:lnTo>
                    <a:lnTo>
                      <a:pt x="1520190" y="922973"/>
                    </a:lnTo>
                    <a:lnTo>
                      <a:pt x="1533525" y="922973"/>
                    </a:lnTo>
                    <a:lnTo>
                      <a:pt x="1550670" y="922973"/>
                    </a:lnTo>
                    <a:lnTo>
                      <a:pt x="1547813" y="938213"/>
                    </a:lnTo>
                    <a:lnTo>
                      <a:pt x="1547813" y="955358"/>
                    </a:lnTo>
                    <a:cubicBezTo>
                      <a:pt x="1547813" y="955358"/>
                      <a:pt x="1543050" y="961073"/>
                      <a:pt x="1544955" y="964883"/>
                    </a:cubicBezTo>
                    <a:cubicBezTo>
                      <a:pt x="1546860" y="968693"/>
                      <a:pt x="1546860" y="968693"/>
                      <a:pt x="1546860" y="968693"/>
                    </a:cubicBezTo>
                    <a:cubicBezTo>
                      <a:pt x="1546860" y="968693"/>
                      <a:pt x="1544955" y="971550"/>
                      <a:pt x="1542098" y="975360"/>
                    </a:cubicBezTo>
                    <a:cubicBezTo>
                      <a:pt x="1540193" y="979170"/>
                      <a:pt x="1533525" y="979170"/>
                      <a:pt x="1528763" y="984885"/>
                    </a:cubicBezTo>
                    <a:cubicBezTo>
                      <a:pt x="1524000" y="990600"/>
                      <a:pt x="1508760" y="990600"/>
                      <a:pt x="1508760" y="994410"/>
                    </a:cubicBezTo>
                    <a:cubicBezTo>
                      <a:pt x="1508760" y="998220"/>
                      <a:pt x="1508760" y="998220"/>
                      <a:pt x="1508760" y="998220"/>
                    </a:cubicBezTo>
                    <a:cubicBezTo>
                      <a:pt x="1508760" y="998220"/>
                      <a:pt x="1495425" y="1003935"/>
                      <a:pt x="1495425" y="1007745"/>
                    </a:cubicBezTo>
                    <a:cubicBezTo>
                      <a:pt x="1495425" y="1011555"/>
                      <a:pt x="1482090" y="1016318"/>
                      <a:pt x="1482090" y="1016318"/>
                    </a:cubicBezTo>
                    <a:lnTo>
                      <a:pt x="1479233" y="1031557"/>
                    </a:lnTo>
                    <a:lnTo>
                      <a:pt x="1485900" y="1043940"/>
                    </a:lnTo>
                    <a:cubicBezTo>
                      <a:pt x="1485900" y="1049655"/>
                      <a:pt x="1483995" y="1049655"/>
                      <a:pt x="1483043" y="1055370"/>
                    </a:cubicBezTo>
                    <a:cubicBezTo>
                      <a:pt x="1483043" y="1061085"/>
                      <a:pt x="1483043" y="1061085"/>
                      <a:pt x="1483043" y="1061085"/>
                    </a:cubicBezTo>
                    <a:cubicBezTo>
                      <a:pt x="1483043" y="1061085"/>
                      <a:pt x="1480185" y="1070610"/>
                      <a:pt x="1483043" y="1075373"/>
                    </a:cubicBezTo>
                    <a:cubicBezTo>
                      <a:pt x="1484948" y="1079183"/>
                      <a:pt x="1474470" y="1075373"/>
                      <a:pt x="1484948" y="1079183"/>
                    </a:cubicBezTo>
                    <a:cubicBezTo>
                      <a:pt x="1495425" y="1083945"/>
                      <a:pt x="1495425" y="1083945"/>
                      <a:pt x="1495425" y="1083945"/>
                    </a:cubicBezTo>
                    <a:cubicBezTo>
                      <a:pt x="1495425" y="1083945"/>
                      <a:pt x="1506855" y="1085850"/>
                      <a:pt x="1508760" y="1091565"/>
                    </a:cubicBezTo>
                    <a:cubicBezTo>
                      <a:pt x="1510665" y="1097280"/>
                      <a:pt x="1508760" y="1095375"/>
                      <a:pt x="1515428" y="1103948"/>
                    </a:cubicBezTo>
                    <a:cubicBezTo>
                      <a:pt x="1522095" y="1112520"/>
                      <a:pt x="1515428" y="1110615"/>
                      <a:pt x="1524000" y="1118235"/>
                    </a:cubicBezTo>
                    <a:cubicBezTo>
                      <a:pt x="1532573" y="1125855"/>
                      <a:pt x="1547813" y="1141095"/>
                      <a:pt x="1547813" y="1141095"/>
                    </a:cubicBezTo>
                    <a:cubicBezTo>
                      <a:pt x="1547813" y="1141095"/>
                      <a:pt x="1552575" y="1143000"/>
                      <a:pt x="1554480" y="1146810"/>
                    </a:cubicBezTo>
                    <a:cubicBezTo>
                      <a:pt x="1556385" y="1150620"/>
                      <a:pt x="1541145" y="1139190"/>
                      <a:pt x="1556385" y="1150620"/>
                    </a:cubicBezTo>
                    <a:cubicBezTo>
                      <a:pt x="1571625" y="1162050"/>
                      <a:pt x="1569720" y="1155383"/>
                      <a:pt x="1571625" y="1162050"/>
                    </a:cubicBezTo>
                    <a:cubicBezTo>
                      <a:pt x="1573530" y="1168718"/>
                      <a:pt x="1582103" y="1169670"/>
                      <a:pt x="1586865" y="1173480"/>
                    </a:cubicBezTo>
                    <a:cubicBezTo>
                      <a:pt x="1591628" y="1178243"/>
                      <a:pt x="1600200" y="1181100"/>
                      <a:pt x="1600200" y="1181100"/>
                    </a:cubicBezTo>
                    <a:lnTo>
                      <a:pt x="1608773" y="1183958"/>
                    </a:lnTo>
                    <a:lnTo>
                      <a:pt x="1624013" y="1191578"/>
                    </a:lnTo>
                    <a:lnTo>
                      <a:pt x="1634490" y="1197293"/>
                    </a:lnTo>
                    <a:lnTo>
                      <a:pt x="1651635" y="1204913"/>
                    </a:lnTo>
                    <a:cubicBezTo>
                      <a:pt x="1651635" y="1204913"/>
                      <a:pt x="1651635" y="1204913"/>
                      <a:pt x="1655445" y="1210628"/>
                    </a:cubicBezTo>
                    <a:cubicBezTo>
                      <a:pt x="1659255" y="1216343"/>
                      <a:pt x="1660208" y="1210628"/>
                      <a:pt x="1659255" y="1216343"/>
                    </a:cubicBezTo>
                    <a:cubicBezTo>
                      <a:pt x="1659255" y="1217295"/>
                      <a:pt x="1659255" y="1218248"/>
                      <a:pt x="1659255" y="1218248"/>
                    </a:cubicBezTo>
                    <a:cubicBezTo>
                      <a:pt x="1659255" y="1218248"/>
                      <a:pt x="1659255" y="1218248"/>
                      <a:pt x="1659255" y="1218248"/>
                    </a:cubicBezTo>
                    <a:cubicBezTo>
                      <a:pt x="1659255" y="1218248"/>
                      <a:pt x="1659255" y="1219200"/>
                      <a:pt x="1659255" y="1221105"/>
                    </a:cubicBezTo>
                    <a:cubicBezTo>
                      <a:pt x="1659255" y="1227773"/>
                      <a:pt x="1663065" y="1259205"/>
                      <a:pt x="1663065" y="1259205"/>
                    </a:cubicBezTo>
                    <a:cubicBezTo>
                      <a:pt x="1663065" y="1259205"/>
                      <a:pt x="1663065" y="1262063"/>
                      <a:pt x="1664970" y="1273493"/>
                    </a:cubicBezTo>
                    <a:cubicBezTo>
                      <a:pt x="1666875" y="1284923"/>
                      <a:pt x="1664970" y="1293495"/>
                      <a:pt x="1664970" y="1293495"/>
                    </a:cubicBezTo>
                    <a:cubicBezTo>
                      <a:pt x="1664970" y="1293495"/>
                      <a:pt x="1663065" y="1291590"/>
                      <a:pt x="1664970" y="1299210"/>
                    </a:cubicBezTo>
                    <a:cubicBezTo>
                      <a:pt x="1666875" y="1305878"/>
                      <a:pt x="1662113" y="1308735"/>
                      <a:pt x="1664970" y="1313498"/>
                    </a:cubicBezTo>
                    <a:cubicBezTo>
                      <a:pt x="1666875" y="1317308"/>
                      <a:pt x="1671638" y="1309688"/>
                      <a:pt x="1666875" y="1317308"/>
                    </a:cubicBezTo>
                    <a:cubicBezTo>
                      <a:pt x="1662113" y="1325880"/>
                      <a:pt x="1660208" y="1328738"/>
                      <a:pt x="1657350" y="1332548"/>
                    </a:cubicBezTo>
                    <a:cubicBezTo>
                      <a:pt x="1655445" y="1336358"/>
                      <a:pt x="1655445" y="1336358"/>
                      <a:pt x="1655445" y="1336358"/>
                    </a:cubicBezTo>
                    <a:lnTo>
                      <a:pt x="1646873" y="1345883"/>
                    </a:lnTo>
                    <a:lnTo>
                      <a:pt x="1642110" y="1351598"/>
                    </a:lnTo>
                    <a:cubicBezTo>
                      <a:pt x="1639253" y="1360170"/>
                      <a:pt x="1639253" y="1360170"/>
                      <a:pt x="1639253" y="1360170"/>
                    </a:cubicBezTo>
                    <a:lnTo>
                      <a:pt x="1637348" y="1365885"/>
                    </a:lnTo>
                    <a:lnTo>
                      <a:pt x="1644015" y="1375410"/>
                    </a:lnTo>
                    <a:cubicBezTo>
                      <a:pt x="1644015" y="1375410"/>
                      <a:pt x="1644015" y="1379220"/>
                      <a:pt x="1644015" y="1383983"/>
                    </a:cubicBezTo>
                    <a:cubicBezTo>
                      <a:pt x="1644015" y="1387793"/>
                      <a:pt x="1644015" y="1387793"/>
                      <a:pt x="1644015" y="1387793"/>
                    </a:cubicBezTo>
                    <a:cubicBezTo>
                      <a:pt x="1644015" y="1387793"/>
                      <a:pt x="1637348" y="1387793"/>
                      <a:pt x="1635443" y="1391603"/>
                    </a:cubicBezTo>
                    <a:cubicBezTo>
                      <a:pt x="1633538" y="1395413"/>
                      <a:pt x="1637348" y="1388745"/>
                      <a:pt x="1633538" y="1395413"/>
                    </a:cubicBezTo>
                    <a:cubicBezTo>
                      <a:pt x="1628775" y="1402080"/>
                      <a:pt x="1628775" y="1402080"/>
                      <a:pt x="1628775" y="1402080"/>
                    </a:cubicBezTo>
                    <a:lnTo>
                      <a:pt x="1622108" y="1407795"/>
                    </a:lnTo>
                    <a:cubicBezTo>
                      <a:pt x="1622108" y="1407795"/>
                      <a:pt x="1612583" y="1423035"/>
                      <a:pt x="1612583" y="1427798"/>
                    </a:cubicBezTo>
                    <a:cubicBezTo>
                      <a:pt x="1612583" y="1431608"/>
                      <a:pt x="1614488" y="1448753"/>
                      <a:pt x="1614488" y="1448753"/>
                    </a:cubicBezTo>
                    <a:cubicBezTo>
                      <a:pt x="1614488" y="1448753"/>
                      <a:pt x="1616393" y="1463040"/>
                      <a:pt x="1616393" y="1468755"/>
                    </a:cubicBezTo>
                    <a:cubicBezTo>
                      <a:pt x="1616393" y="1474470"/>
                      <a:pt x="1613535" y="1480185"/>
                      <a:pt x="1613535" y="1480185"/>
                    </a:cubicBezTo>
                    <a:lnTo>
                      <a:pt x="1602105" y="1486853"/>
                    </a:lnTo>
                    <a:lnTo>
                      <a:pt x="1593533" y="1490663"/>
                    </a:lnTo>
                    <a:lnTo>
                      <a:pt x="1588770" y="1497330"/>
                    </a:lnTo>
                    <a:lnTo>
                      <a:pt x="1597343" y="1503045"/>
                    </a:lnTo>
                    <a:lnTo>
                      <a:pt x="1599248" y="1523048"/>
                    </a:lnTo>
                    <a:lnTo>
                      <a:pt x="1601153" y="1529715"/>
                    </a:lnTo>
                    <a:lnTo>
                      <a:pt x="1601153" y="1535430"/>
                    </a:lnTo>
                    <a:cubicBezTo>
                      <a:pt x="1594485" y="1541145"/>
                      <a:pt x="1585913" y="1542098"/>
                      <a:pt x="1585913" y="1542098"/>
                    </a:cubicBezTo>
                    <a:cubicBezTo>
                      <a:pt x="1585913" y="1547813"/>
                      <a:pt x="1574483" y="1564958"/>
                      <a:pt x="1574483" y="1564958"/>
                    </a:cubicBezTo>
                    <a:cubicBezTo>
                      <a:pt x="1574483" y="1564958"/>
                      <a:pt x="1574483" y="1568768"/>
                      <a:pt x="1578293" y="1573530"/>
                    </a:cubicBezTo>
                    <a:cubicBezTo>
                      <a:pt x="1583055" y="1577340"/>
                      <a:pt x="1584960" y="1579245"/>
                      <a:pt x="1584960" y="1583055"/>
                    </a:cubicBezTo>
                    <a:cubicBezTo>
                      <a:pt x="1584960" y="1586865"/>
                      <a:pt x="1583055" y="1580198"/>
                      <a:pt x="1584960" y="1586865"/>
                    </a:cubicBezTo>
                    <a:cubicBezTo>
                      <a:pt x="1586865" y="1593533"/>
                      <a:pt x="1586865" y="1593533"/>
                      <a:pt x="1586865" y="1593533"/>
                    </a:cubicBezTo>
                    <a:cubicBezTo>
                      <a:pt x="1586865" y="1593533"/>
                      <a:pt x="1582103" y="1597343"/>
                      <a:pt x="1586865" y="1602105"/>
                    </a:cubicBezTo>
                    <a:cubicBezTo>
                      <a:pt x="1590675" y="1605915"/>
                      <a:pt x="1586865" y="1610678"/>
                      <a:pt x="1586865" y="1614488"/>
                    </a:cubicBezTo>
                    <a:cubicBezTo>
                      <a:pt x="1586865" y="1618298"/>
                      <a:pt x="1576388" y="1609725"/>
                      <a:pt x="1586865" y="1618298"/>
                    </a:cubicBezTo>
                    <a:cubicBezTo>
                      <a:pt x="1597343" y="1626870"/>
                      <a:pt x="1600200" y="1632585"/>
                      <a:pt x="1600200" y="1632585"/>
                    </a:cubicBezTo>
                    <a:cubicBezTo>
                      <a:pt x="1600200" y="1632585"/>
                      <a:pt x="1604010" y="1638300"/>
                      <a:pt x="1610678" y="1642110"/>
                    </a:cubicBezTo>
                    <a:cubicBezTo>
                      <a:pt x="1617345" y="1646873"/>
                      <a:pt x="1607820" y="1656398"/>
                      <a:pt x="1607820" y="1656398"/>
                    </a:cubicBezTo>
                    <a:lnTo>
                      <a:pt x="1611630" y="1662113"/>
                    </a:lnTo>
                    <a:cubicBezTo>
                      <a:pt x="1611630" y="1662113"/>
                      <a:pt x="1604963" y="1663065"/>
                      <a:pt x="1615440" y="1668780"/>
                    </a:cubicBezTo>
                    <a:cubicBezTo>
                      <a:pt x="1625918" y="1674495"/>
                      <a:pt x="1637348" y="1679258"/>
                      <a:pt x="1637348" y="1679258"/>
                    </a:cubicBezTo>
                    <a:lnTo>
                      <a:pt x="1652588" y="1682115"/>
                    </a:lnTo>
                    <a:cubicBezTo>
                      <a:pt x="1652588" y="1682115"/>
                      <a:pt x="1645920" y="1678305"/>
                      <a:pt x="1661160" y="1682115"/>
                    </a:cubicBezTo>
                    <a:cubicBezTo>
                      <a:pt x="1676400" y="1686878"/>
                      <a:pt x="1678305" y="1684020"/>
                      <a:pt x="1689735" y="1684973"/>
                    </a:cubicBezTo>
                    <a:cubicBezTo>
                      <a:pt x="1701165" y="1686878"/>
                      <a:pt x="1704975" y="1687830"/>
                      <a:pt x="1711643" y="1684973"/>
                    </a:cubicBezTo>
                    <a:cubicBezTo>
                      <a:pt x="1718310" y="1682115"/>
                      <a:pt x="1718310" y="1682115"/>
                      <a:pt x="1718310" y="1682115"/>
                    </a:cubicBezTo>
                    <a:lnTo>
                      <a:pt x="1726883" y="1676400"/>
                    </a:lnTo>
                    <a:lnTo>
                      <a:pt x="1728788" y="1670685"/>
                    </a:lnTo>
                    <a:lnTo>
                      <a:pt x="1713548" y="1667828"/>
                    </a:lnTo>
                    <a:lnTo>
                      <a:pt x="1700213" y="1662113"/>
                    </a:lnTo>
                    <a:lnTo>
                      <a:pt x="1683068" y="1644968"/>
                    </a:lnTo>
                    <a:lnTo>
                      <a:pt x="1681163" y="1633538"/>
                    </a:lnTo>
                    <a:lnTo>
                      <a:pt x="1684020" y="1619250"/>
                    </a:lnTo>
                    <a:lnTo>
                      <a:pt x="1690688" y="1609725"/>
                    </a:lnTo>
                    <a:lnTo>
                      <a:pt x="1702118" y="1597343"/>
                    </a:lnTo>
                    <a:lnTo>
                      <a:pt x="1710690" y="1591628"/>
                    </a:lnTo>
                    <a:lnTo>
                      <a:pt x="1725930" y="1585913"/>
                    </a:lnTo>
                    <a:lnTo>
                      <a:pt x="1734503" y="1579245"/>
                    </a:lnTo>
                    <a:lnTo>
                      <a:pt x="1734503" y="1573530"/>
                    </a:lnTo>
                    <a:lnTo>
                      <a:pt x="1734503" y="1567815"/>
                    </a:lnTo>
                    <a:lnTo>
                      <a:pt x="1727835" y="1562100"/>
                    </a:lnTo>
                    <a:lnTo>
                      <a:pt x="1725930" y="1552575"/>
                    </a:lnTo>
                    <a:lnTo>
                      <a:pt x="1725930" y="1545908"/>
                    </a:lnTo>
                    <a:lnTo>
                      <a:pt x="1727835" y="1540193"/>
                    </a:lnTo>
                    <a:lnTo>
                      <a:pt x="1745933" y="1528763"/>
                    </a:lnTo>
                    <a:lnTo>
                      <a:pt x="1752600" y="1523048"/>
                    </a:lnTo>
                    <a:lnTo>
                      <a:pt x="1757363" y="1511618"/>
                    </a:lnTo>
                    <a:lnTo>
                      <a:pt x="1759268" y="1504950"/>
                    </a:lnTo>
                    <a:lnTo>
                      <a:pt x="1764030" y="1499235"/>
                    </a:lnTo>
                    <a:lnTo>
                      <a:pt x="1768793" y="1490663"/>
                    </a:lnTo>
                    <a:lnTo>
                      <a:pt x="1770698" y="1484948"/>
                    </a:lnTo>
                    <a:lnTo>
                      <a:pt x="1779270" y="1482090"/>
                    </a:lnTo>
                    <a:lnTo>
                      <a:pt x="1787843" y="1479233"/>
                    </a:lnTo>
                    <a:cubicBezTo>
                      <a:pt x="1787843" y="1479233"/>
                      <a:pt x="1789748" y="1475423"/>
                      <a:pt x="1796415" y="1470660"/>
                    </a:cubicBezTo>
                    <a:cubicBezTo>
                      <a:pt x="1803083" y="1466850"/>
                      <a:pt x="1803083" y="1466850"/>
                      <a:pt x="1803083" y="1466850"/>
                    </a:cubicBezTo>
                    <a:lnTo>
                      <a:pt x="1807845" y="1460183"/>
                    </a:lnTo>
                    <a:lnTo>
                      <a:pt x="1823085" y="1460183"/>
                    </a:lnTo>
                    <a:cubicBezTo>
                      <a:pt x="1823085" y="1460183"/>
                      <a:pt x="1834515" y="1460183"/>
                      <a:pt x="1841183" y="1459230"/>
                    </a:cubicBezTo>
                    <a:cubicBezTo>
                      <a:pt x="1847850" y="1458278"/>
                      <a:pt x="1834515" y="1463040"/>
                      <a:pt x="1847850" y="1458278"/>
                    </a:cubicBezTo>
                    <a:cubicBezTo>
                      <a:pt x="1861185" y="1452563"/>
                      <a:pt x="1861185" y="1452563"/>
                      <a:pt x="1861185" y="1452563"/>
                    </a:cubicBezTo>
                    <a:lnTo>
                      <a:pt x="1883093" y="1445895"/>
                    </a:lnTo>
                    <a:lnTo>
                      <a:pt x="1892618" y="1434465"/>
                    </a:lnTo>
                    <a:lnTo>
                      <a:pt x="1892618" y="1422083"/>
                    </a:lnTo>
                    <a:lnTo>
                      <a:pt x="1901190" y="1413510"/>
                    </a:lnTo>
                    <a:lnTo>
                      <a:pt x="1905953" y="1407795"/>
                    </a:lnTo>
                    <a:lnTo>
                      <a:pt x="1919288" y="1406843"/>
                    </a:lnTo>
                    <a:lnTo>
                      <a:pt x="1927860" y="1408748"/>
                    </a:lnTo>
                    <a:lnTo>
                      <a:pt x="1943100" y="1403033"/>
                    </a:lnTo>
                    <a:lnTo>
                      <a:pt x="1951673" y="1397318"/>
                    </a:lnTo>
                    <a:lnTo>
                      <a:pt x="1965008" y="1387793"/>
                    </a:lnTo>
                    <a:lnTo>
                      <a:pt x="1980248" y="1376363"/>
                    </a:lnTo>
                    <a:lnTo>
                      <a:pt x="1980248" y="1370648"/>
                    </a:lnTo>
                    <a:cubicBezTo>
                      <a:pt x="1980248" y="1370648"/>
                      <a:pt x="1985010" y="1361123"/>
                      <a:pt x="1991678" y="1358265"/>
                    </a:cubicBezTo>
                    <a:cubicBezTo>
                      <a:pt x="1998345" y="1355408"/>
                      <a:pt x="1993583" y="1351598"/>
                      <a:pt x="2003108" y="1349693"/>
                    </a:cubicBezTo>
                    <a:cubicBezTo>
                      <a:pt x="2011680" y="1348740"/>
                      <a:pt x="2021205" y="1343978"/>
                      <a:pt x="2021205" y="1343978"/>
                    </a:cubicBezTo>
                    <a:lnTo>
                      <a:pt x="2032635" y="1334453"/>
                    </a:lnTo>
                    <a:lnTo>
                      <a:pt x="2034540" y="1327785"/>
                    </a:lnTo>
                    <a:lnTo>
                      <a:pt x="2034540" y="1319213"/>
                    </a:lnTo>
                    <a:lnTo>
                      <a:pt x="2045970" y="1306830"/>
                    </a:lnTo>
                    <a:lnTo>
                      <a:pt x="2047875" y="1301115"/>
                    </a:lnTo>
                    <a:cubicBezTo>
                      <a:pt x="2047875" y="1301115"/>
                      <a:pt x="2047875" y="1295400"/>
                      <a:pt x="2054543" y="1294448"/>
                    </a:cubicBezTo>
                    <a:cubicBezTo>
                      <a:pt x="2061210" y="1293495"/>
                      <a:pt x="2061210" y="1293495"/>
                      <a:pt x="2061210" y="1293495"/>
                    </a:cubicBezTo>
                    <a:cubicBezTo>
                      <a:pt x="2061210" y="1293495"/>
                      <a:pt x="2063115" y="1286828"/>
                      <a:pt x="2069783" y="1284923"/>
                    </a:cubicBezTo>
                    <a:cubicBezTo>
                      <a:pt x="2076450" y="1283970"/>
                      <a:pt x="2063115" y="1287780"/>
                      <a:pt x="2076450" y="1283970"/>
                    </a:cubicBezTo>
                    <a:cubicBezTo>
                      <a:pt x="2089785" y="1280160"/>
                      <a:pt x="2083118" y="1275398"/>
                      <a:pt x="2096453" y="1274445"/>
                    </a:cubicBezTo>
                    <a:cubicBezTo>
                      <a:pt x="2109788" y="1273493"/>
                      <a:pt x="2121218" y="1270635"/>
                      <a:pt x="2121218" y="1270635"/>
                    </a:cubicBezTo>
                    <a:lnTo>
                      <a:pt x="2132648" y="1266825"/>
                    </a:lnTo>
                    <a:cubicBezTo>
                      <a:pt x="2132648" y="1266825"/>
                      <a:pt x="2144078" y="1263015"/>
                      <a:pt x="2152650" y="1261110"/>
                    </a:cubicBezTo>
                    <a:cubicBezTo>
                      <a:pt x="2161223" y="1260158"/>
                      <a:pt x="2174558" y="1252538"/>
                      <a:pt x="2174558" y="1252538"/>
                    </a:cubicBezTo>
                    <a:lnTo>
                      <a:pt x="2181225" y="1245870"/>
                    </a:lnTo>
                    <a:lnTo>
                      <a:pt x="2187893" y="1236345"/>
                    </a:lnTo>
                    <a:lnTo>
                      <a:pt x="2201228" y="1224915"/>
                    </a:lnTo>
                    <a:lnTo>
                      <a:pt x="2204085" y="1203960"/>
                    </a:lnTo>
                    <a:lnTo>
                      <a:pt x="2206943" y="1194435"/>
                    </a:lnTo>
                    <a:lnTo>
                      <a:pt x="2216468" y="1182053"/>
                    </a:lnTo>
                    <a:lnTo>
                      <a:pt x="2216468" y="1172528"/>
                    </a:lnTo>
                    <a:lnTo>
                      <a:pt x="2214563" y="1165860"/>
                    </a:lnTo>
                    <a:lnTo>
                      <a:pt x="2214563" y="1160145"/>
                    </a:lnTo>
                    <a:cubicBezTo>
                      <a:pt x="2214563" y="1160145"/>
                      <a:pt x="2221230" y="1156335"/>
                      <a:pt x="2225993" y="1151573"/>
                    </a:cubicBezTo>
                    <a:cubicBezTo>
                      <a:pt x="2230755" y="1147763"/>
                      <a:pt x="2237423" y="1127760"/>
                      <a:pt x="2237423" y="1127760"/>
                    </a:cubicBezTo>
                    <a:lnTo>
                      <a:pt x="2235518" y="1113473"/>
                    </a:lnTo>
                    <a:lnTo>
                      <a:pt x="2242185" y="1098233"/>
                    </a:lnTo>
                    <a:close/>
                    <a:moveTo>
                      <a:pt x="1526858" y="497205"/>
                    </a:moveTo>
                    <a:lnTo>
                      <a:pt x="1528763" y="494348"/>
                    </a:lnTo>
                    <a:lnTo>
                      <a:pt x="1531620" y="491490"/>
                    </a:lnTo>
                    <a:lnTo>
                      <a:pt x="1540193" y="491490"/>
                    </a:lnTo>
                    <a:lnTo>
                      <a:pt x="1545908" y="490537"/>
                    </a:lnTo>
                    <a:lnTo>
                      <a:pt x="1553528" y="490537"/>
                    </a:lnTo>
                    <a:lnTo>
                      <a:pt x="1561148" y="490537"/>
                    </a:lnTo>
                    <a:lnTo>
                      <a:pt x="1576388" y="489585"/>
                    </a:lnTo>
                    <a:lnTo>
                      <a:pt x="1578293" y="493395"/>
                    </a:lnTo>
                    <a:lnTo>
                      <a:pt x="1578293" y="494348"/>
                    </a:lnTo>
                    <a:lnTo>
                      <a:pt x="1576388" y="497205"/>
                    </a:lnTo>
                    <a:cubicBezTo>
                      <a:pt x="1576388" y="497205"/>
                      <a:pt x="1573530" y="498158"/>
                      <a:pt x="1571625" y="498158"/>
                    </a:cubicBezTo>
                    <a:cubicBezTo>
                      <a:pt x="1569720" y="498158"/>
                      <a:pt x="1565910" y="499110"/>
                      <a:pt x="1564005" y="499110"/>
                    </a:cubicBezTo>
                    <a:cubicBezTo>
                      <a:pt x="1562100" y="499110"/>
                      <a:pt x="1558290" y="500062"/>
                      <a:pt x="1557338" y="500062"/>
                    </a:cubicBezTo>
                    <a:cubicBezTo>
                      <a:pt x="1555433" y="500062"/>
                      <a:pt x="1550670" y="501015"/>
                      <a:pt x="1550670" y="501015"/>
                    </a:cubicBezTo>
                    <a:cubicBezTo>
                      <a:pt x="1550670" y="501015"/>
                      <a:pt x="1541145" y="501968"/>
                      <a:pt x="1539240" y="501968"/>
                    </a:cubicBezTo>
                    <a:cubicBezTo>
                      <a:pt x="1537335" y="501968"/>
                      <a:pt x="1534478" y="502920"/>
                      <a:pt x="1534478" y="502920"/>
                    </a:cubicBezTo>
                    <a:lnTo>
                      <a:pt x="1528763" y="503873"/>
                    </a:lnTo>
                    <a:cubicBezTo>
                      <a:pt x="1528763" y="503873"/>
                      <a:pt x="1524000" y="507683"/>
                      <a:pt x="1521143" y="508635"/>
                    </a:cubicBezTo>
                    <a:cubicBezTo>
                      <a:pt x="1519238" y="508635"/>
                      <a:pt x="1515428" y="513398"/>
                      <a:pt x="1510665" y="514350"/>
                    </a:cubicBezTo>
                    <a:cubicBezTo>
                      <a:pt x="1505903" y="515302"/>
                      <a:pt x="1510665" y="514350"/>
                      <a:pt x="1501140" y="515302"/>
                    </a:cubicBezTo>
                    <a:cubicBezTo>
                      <a:pt x="1495425" y="516255"/>
                      <a:pt x="1495425" y="516255"/>
                      <a:pt x="1495425" y="516255"/>
                    </a:cubicBezTo>
                    <a:cubicBezTo>
                      <a:pt x="1495425" y="516255"/>
                      <a:pt x="1495425" y="516255"/>
                      <a:pt x="1495425" y="516255"/>
                    </a:cubicBezTo>
                    <a:cubicBezTo>
                      <a:pt x="1496378" y="516255"/>
                      <a:pt x="1495425" y="516255"/>
                      <a:pt x="1495425" y="516255"/>
                    </a:cubicBezTo>
                    <a:cubicBezTo>
                      <a:pt x="1493520" y="516255"/>
                      <a:pt x="1483995" y="518160"/>
                      <a:pt x="1483995" y="518160"/>
                    </a:cubicBezTo>
                    <a:lnTo>
                      <a:pt x="1474470" y="516255"/>
                    </a:lnTo>
                    <a:lnTo>
                      <a:pt x="1467803" y="514350"/>
                    </a:lnTo>
                    <a:cubicBezTo>
                      <a:pt x="1467803" y="514350"/>
                      <a:pt x="1466850" y="511493"/>
                      <a:pt x="1467803" y="510540"/>
                    </a:cubicBezTo>
                    <a:cubicBezTo>
                      <a:pt x="1468755" y="509587"/>
                      <a:pt x="1470660" y="504825"/>
                      <a:pt x="1471613" y="503873"/>
                    </a:cubicBezTo>
                    <a:cubicBezTo>
                      <a:pt x="1472565" y="502920"/>
                      <a:pt x="1477328" y="502920"/>
                      <a:pt x="1477328" y="502920"/>
                    </a:cubicBezTo>
                    <a:lnTo>
                      <a:pt x="1488758" y="502920"/>
                    </a:lnTo>
                    <a:lnTo>
                      <a:pt x="1491615" y="502920"/>
                    </a:lnTo>
                    <a:lnTo>
                      <a:pt x="1502093" y="502920"/>
                    </a:lnTo>
                    <a:cubicBezTo>
                      <a:pt x="1502093" y="502920"/>
                      <a:pt x="1507808" y="501968"/>
                      <a:pt x="1509713" y="501968"/>
                    </a:cubicBezTo>
                    <a:cubicBezTo>
                      <a:pt x="1511618" y="501968"/>
                      <a:pt x="1516380" y="501968"/>
                      <a:pt x="1518285" y="501015"/>
                    </a:cubicBezTo>
                    <a:cubicBezTo>
                      <a:pt x="1520190" y="500062"/>
                      <a:pt x="1524000" y="498158"/>
                      <a:pt x="1524000" y="498158"/>
                    </a:cubicBezTo>
                    <a:lnTo>
                      <a:pt x="1526858" y="497205"/>
                    </a:lnTo>
                    <a:close/>
                    <a:moveTo>
                      <a:pt x="1446848" y="462915"/>
                    </a:moveTo>
                    <a:cubicBezTo>
                      <a:pt x="1448753" y="462915"/>
                      <a:pt x="1453515" y="462915"/>
                      <a:pt x="1453515" y="462915"/>
                    </a:cubicBezTo>
                    <a:cubicBezTo>
                      <a:pt x="1453515" y="462915"/>
                      <a:pt x="1462088" y="462915"/>
                      <a:pt x="1463993" y="462915"/>
                    </a:cubicBezTo>
                    <a:cubicBezTo>
                      <a:pt x="1465898" y="462915"/>
                      <a:pt x="1468755" y="461962"/>
                      <a:pt x="1468755" y="461962"/>
                    </a:cubicBezTo>
                    <a:lnTo>
                      <a:pt x="1479233" y="461010"/>
                    </a:lnTo>
                    <a:cubicBezTo>
                      <a:pt x="1479233" y="461010"/>
                      <a:pt x="1488758" y="460058"/>
                      <a:pt x="1490663" y="460058"/>
                    </a:cubicBezTo>
                    <a:cubicBezTo>
                      <a:pt x="1492568" y="460058"/>
                      <a:pt x="1502093" y="461010"/>
                      <a:pt x="1502093" y="461010"/>
                    </a:cubicBezTo>
                    <a:lnTo>
                      <a:pt x="1513523" y="461010"/>
                    </a:lnTo>
                    <a:lnTo>
                      <a:pt x="1515428" y="466725"/>
                    </a:lnTo>
                    <a:cubicBezTo>
                      <a:pt x="1515428" y="466725"/>
                      <a:pt x="1515428" y="466725"/>
                      <a:pt x="1518285" y="466725"/>
                    </a:cubicBezTo>
                    <a:lnTo>
                      <a:pt x="1521143" y="467677"/>
                    </a:lnTo>
                    <a:lnTo>
                      <a:pt x="1520190" y="469583"/>
                    </a:lnTo>
                    <a:cubicBezTo>
                      <a:pt x="1520190" y="469583"/>
                      <a:pt x="1518285" y="471487"/>
                      <a:pt x="1515428" y="472440"/>
                    </a:cubicBezTo>
                    <a:cubicBezTo>
                      <a:pt x="1513523" y="472440"/>
                      <a:pt x="1511618" y="473393"/>
                      <a:pt x="1511618" y="473393"/>
                    </a:cubicBezTo>
                    <a:lnTo>
                      <a:pt x="1504950" y="473393"/>
                    </a:lnTo>
                    <a:cubicBezTo>
                      <a:pt x="1504950" y="473393"/>
                      <a:pt x="1502093" y="473393"/>
                      <a:pt x="1498283" y="473393"/>
                    </a:cubicBezTo>
                    <a:cubicBezTo>
                      <a:pt x="1494473" y="473393"/>
                      <a:pt x="1495425" y="474345"/>
                      <a:pt x="1495425" y="474345"/>
                    </a:cubicBezTo>
                    <a:lnTo>
                      <a:pt x="1493520" y="478155"/>
                    </a:lnTo>
                    <a:lnTo>
                      <a:pt x="1492568" y="485775"/>
                    </a:lnTo>
                    <a:cubicBezTo>
                      <a:pt x="1492568" y="485775"/>
                      <a:pt x="1486853" y="488633"/>
                      <a:pt x="1483043" y="488633"/>
                    </a:cubicBezTo>
                    <a:cubicBezTo>
                      <a:pt x="1479233" y="488633"/>
                      <a:pt x="1480185" y="488633"/>
                      <a:pt x="1477328" y="488633"/>
                    </a:cubicBezTo>
                    <a:cubicBezTo>
                      <a:pt x="1474470" y="488633"/>
                      <a:pt x="1474470" y="487680"/>
                      <a:pt x="1471613" y="484823"/>
                    </a:cubicBezTo>
                    <a:cubicBezTo>
                      <a:pt x="1468755" y="481965"/>
                      <a:pt x="1466850" y="483870"/>
                      <a:pt x="1464945" y="482918"/>
                    </a:cubicBezTo>
                    <a:cubicBezTo>
                      <a:pt x="1463040" y="481965"/>
                      <a:pt x="1462088" y="481012"/>
                      <a:pt x="1460183" y="478155"/>
                    </a:cubicBezTo>
                    <a:cubicBezTo>
                      <a:pt x="1458278" y="475298"/>
                      <a:pt x="1460183" y="478155"/>
                      <a:pt x="1460183" y="476250"/>
                    </a:cubicBezTo>
                    <a:cubicBezTo>
                      <a:pt x="1459230" y="474345"/>
                      <a:pt x="1458278" y="474345"/>
                      <a:pt x="1457325" y="473393"/>
                    </a:cubicBezTo>
                    <a:cubicBezTo>
                      <a:pt x="1455420" y="471487"/>
                      <a:pt x="1455420" y="471487"/>
                      <a:pt x="1450658" y="469583"/>
                    </a:cubicBezTo>
                    <a:cubicBezTo>
                      <a:pt x="1445895" y="467677"/>
                      <a:pt x="1444943" y="469583"/>
                      <a:pt x="1444943" y="469583"/>
                    </a:cubicBezTo>
                    <a:cubicBezTo>
                      <a:pt x="1444943" y="469583"/>
                      <a:pt x="1439228" y="469583"/>
                      <a:pt x="1436370" y="469583"/>
                    </a:cubicBezTo>
                    <a:cubicBezTo>
                      <a:pt x="1434465" y="469583"/>
                      <a:pt x="1431608" y="469583"/>
                      <a:pt x="1431608" y="469583"/>
                    </a:cubicBezTo>
                    <a:cubicBezTo>
                      <a:pt x="1431608" y="469583"/>
                      <a:pt x="1429703" y="470535"/>
                      <a:pt x="1425893" y="472440"/>
                    </a:cubicBezTo>
                    <a:cubicBezTo>
                      <a:pt x="1422083" y="473393"/>
                      <a:pt x="1421130" y="474345"/>
                      <a:pt x="1421130" y="474345"/>
                    </a:cubicBezTo>
                    <a:cubicBezTo>
                      <a:pt x="1421130" y="474345"/>
                      <a:pt x="1417320" y="477202"/>
                      <a:pt x="1416368" y="478155"/>
                    </a:cubicBezTo>
                    <a:cubicBezTo>
                      <a:pt x="1414463" y="479108"/>
                      <a:pt x="1415415" y="480060"/>
                      <a:pt x="1415415" y="480060"/>
                    </a:cubicBezTo>
                    <a:lnTo>
                      <a:pt x="1414463" y="484823"/>
                    </a:lnTo>
                    <a:cubicBezTo>
                      <a:pt x="1414463" y="484823"/>
                      <a:pt x="1412558" y="486727"/>
                      <a:pt x="1410653" y="486727"/>
                    </a:cubicBezTo>
                    <a:cubicBezTo>
                      <a:pt x="1408748" y="486727"/>
                      <a:pt x="1409700" y="492443"/>
                      <a:pt x="1409700" y="492443"/>
                    </a:cubicBezTo>
                    <a:cubicBezTo>
                      <a:pt x="1409700" y="492443"/>
                      <a:pt x="1407795" y="498158"/>
                      <a:pt x="1407795" y="499110"/>
                    </a:cubicBezTo>
                    <a:cubicBezTo>
                      <a:pt x="1406843" y="500062"/>
                      <a:pt x="1407795" y="501968"/>
                      <a:pt x="1406843" y="502920"/>
                    </a:cubicBezTo>
                    <a:cubicBezTo>
                      <a:pt x="1405890" y="503873"/>
                      <a:pt x="1405890" y="504825"/>
                      <a:pt x="1405890" y="504825"/>
                    </a:cubicBezTo>
                    <a:cubicBezTo>
                      <a:pt x="1405890" y="504825"/>
                      <a:pt x="1403033" y="504825"/>
                      <a:pt x="1400175" y="504825"/>
                    </a:cubicBezTo>
                    <a:cubicBezTo>
                      <a:pt x="1397318" y="504825"/>
                      <a:pt x="1396365" y="504825"/>
                      <a:pt x="1396365" y="504825"/>
                    </a:cubicBezTo>
                    <a:cubicBezTo>
                      <a:pt x="1396365" y="504825"/>
                      <a:pt x="1393508" y="503873"/>
                      <a:pt x="1391603" y="502920"/>
                    </a:cubicBezTo>
                    <a:cubicBezTo>
                      <a:pt x="1389698" y="502920"/>
                      <a:pt x="1389698" y="501015"/>
                      <a:pt x="1388745" y="500062"/>
                    </a:cubicBezTo>
                    <a:cubicBezTo>
                      <a:pt x="1387793" y="498158"/>
                      <a:pt x="1389698" y="495300"/>
                      <a:pt x="1389698" y="493395"/>
                    </a:cubicBezTo>
                    <a:cubicBezTo>
                      <a:pt x="1389698" y="491490"/>
                      <a:pt x="1387793" y="487680"/>
                      <a:pt x="1387793" y="486727"/>
                    </a:cubicBezTo>
                    <a:cubicBezTo>
                      <a:pt x="1387793" y="485775"/>
                      <a:pt x="1387793" y="483870"/>
                      <a:pt x="1387793" y="483870"/>
                    </a:cubicBezTo>
                    <a:cubicBezTo>
                      <a:pt x="1387793" y="483870"/>
                      <a:pt x="1388745" y="478155"/>
                      <a:pt x="1387793" y="477202"/>
                    </a:cubicBezTo>
                    <a:cubicBezTo>
                      <a:pt x="1386840" y="476250"/>
                      <a:pt x="1390650" y="475298"/>
                      <a:pt x="1391603" y="473393"/>
                    </a:cubicBezTo>
                    <a:cubicBezTo>
                      <a:pt x="1392555" y="471487"/>
                      <a:pt x="1393508" y="470535"/>
                      <a:pt x="1395413" y="469583"/>
                    </a:cubicBezTo>
                    <a:cubicBezTo>
                      <a:pt x="1395413" y="469583"/>
                      <a:pt x="1402080" y="468630"/>
                      <a:pt x="1403985" y="467677"/>
                    </a:cubicBezTo>
                    <a:cubicBezTo>
                      <a:pt x="1405890" y="466725"/>
                      <a:pt x="1409700" y="465773"/>
                      <a:pt x="1413510" y="464820"/>
                    </a:cubicBezTo>
                    <a:cubicBezTo>
                      <a:pt x="1417320" y="463868"/>
                      <a:pt x="1413510" y="464820"/>
                      <a:pt x="1414463" y="462915"/>
                    </a:cubicBezTo>
                    <a:cubicBezTo>
                      <a:pt x="1415415" y="461010"/>
                      <a:pt x="1422083" y="460058"/>
                      <a:pt x="1422083" y="460058"/>
                    </a:cubicBezTo>
                    <a:cubicBezTo>
                      <a:pt x="1422083" y="460058"/>
                      <a:pt x="1422083" y="460058"/>
                      <a:pt x="1423988" y="460058"/>
                    </a:cubicBezTo>
                    <a:cubicBezTo>
                      <a:pt x="1425893" y="460058"/>
                      <a:pt x="1429703" y="460058"/>
                      <a:pt x="1429703" y="460058"/>
                    </a:cubicBezTo>
                    <a:lnTo>
                      <a:pt x="1434465" y="460058"/>
                    </a:lnTo>
                    <a:cubicBezTo>
                      <a:pt x="1434465" y="461010"/>
                      <a:pt x="1444943" y="462915"/>
                      <a:pt x="1446848" y="462915"/>
                    </a:cubicBezTo>
                    <a:close/>
                    <a:moveTo>
                      <a:pt x="1322070" y="445770"/>
                    </a:moveTo>
                    <a:cubicBezTo>
                      <a:pt x="1323975" y="445770"/>
                      <a:pt x="1322070" y="444818"/>
                      <a:pt x="1324928" y="443865"/>
                    </a:cubicBezTo>
                    <a:cubicBezTo>
                      <a:pt x="1327785" y="442912"/>
                      <a:pt x="1327785" y="441960"/>
                      <a:pt x="1329690" y="441960"/>
                    </a:cubicBezTo>
                    <a:cubicBezTo>
                      <a:pt x="1331595" y="441960"/>
                      <a:pt x="1333500" y="439102"/>
                      <a:pt x="1333500" y="439102"/>
                    </a:cubicBezTo>
                    <a:lnTo>
                      <a:pt x="1334453" y="437198"/>
                    </a:lnTo>
                    <a:cubicBezTo>
                      <a:pt x="1338263" y="436245"/>
                      <a:pt x="1331595" y="437198"/>
                      <a:pt x="1338263" y="436245"/>
                    </a:cubicBezTo>
                    <a:cubicBezTo>
                      <a:pt x="1343978" y="434340"/>
                      <a:pt x="1346835" y="432435"/>
                      <a:pt x="1348740" y="432435"/>
                    </a:cubicBezTo>
                    <a:cubicBezTo>
                      <a:pt x="1350645" y="432435"/>
                      <a:pt x="1350645" y="430530"/>
                      <a:pt x="1353503" y="429577"/>
                    </a:cubicBezTo>
                    <a:cubicBezTo>
                      <a:pt x="1355408" y="428625"/>
                      <a:pt x="1355408" y="428625"/>
                      <a:pt x="1355408" y="428625"/>
                    </a:cubicBezTo>
                    <a:cubicBezTo>
                      <a:pt x="1355408" y="428625"/>
                      <a:pt x="1355408" y="428625"/>
                      <a:pt x="1357313" y="428625"/>
                    </a:cubicBezTo>
                    <a:cubicBezTo>
                      <a:pt x="1359218" y="428625"/>
                      <a:pt x="1363980" y="428625"/>
                      <a:pt x="1363980" y="428625"/>
                    </a:cubicBezTo>
                    <a:cubicBezTo>
                      <a:pt x="1363980" y="428625"/>
                      <a:pt x="1361123" y="428625"/>
                      <a:pt x="1366838" y="428625"/>
                    </a:cubicBezTo>
                    <a:cubicBezTo>
                      <a:pt x="1372553" y="428625"/>
                      <a:pt x="1374458" y="427673"/>
                      <a:pt x="1376363" y="427673"/>
                    </a:cubicBezTo>
                    <a:cubicBezTo>
                      <a:pt x="1378268" y="427673"/>
                      <a:pt x="1381125" y="425768"/>
                      <a:pt x="1381125" y="425768"/>
                    </a:cubicBezTo>
                    <a:lnTo>
                      <a:pt x="1384935" y="424815"/>
                    </a:lnTo>
                    <a:lnTo>
                      <a:pt x="1387793" y="423862"/>
                    </a:lnTo>
                    <a:lnTo>
                      <a:pt x="1392555" y="424815"/>
                    </a:lnTo>
                    <a:cubicBezTo>
                      <a:pt x="1392555" y="424815"/>
                      <a:pt x="1395413" y="424815"/>
                      <a:pt x="1397318" y="425768"/>
                    </a:cubicBezTo>
                    <a:cubicBezTo>
                      <a:pt x="1399223" y="426720"/>
                      <a:pt x="1402080" y="427673"/>
                      <a:pt x="1403033" y="428625"/>
                    </a:cubicBezTo>
                    <a:cubicBezTo>
                      <a:pt x="1403985" y="429577"/>
                      <a:pt x="1408748" y="431483"/>
                      <a:pt x="1408748" y="431483"/>
                    </a:cubicBezTo>
                    <a:cubicBezTo>
                      <a:pt x="1408748" y="431483"/>
                      <a:pt x="1409700" y="432435"/>
                      <a:pt x="1411605" y="433387"/>
                    </a:cubicBezTo>
                    <a:cubicBezTo>
                      <a:pt x="1413510" y="434340"/>
                      <a:pt x="1418273" y="435293"/>
                      <a:pt x="1418273" y="435293"/>
                    </a:cubicBezTo>
                    <a:cubicBezTo>
                      <a:pt x="1418273" y="435293"/>
                      <a:pt x="1419225" y="435293"/>
                      <a:pt x="1421130" y="436245"/>
                    </a:cubicBezTo>
                    <a:cubicBezTo>
                      <a:pt x="1423035" y="437198"/>
                      <a:pt x="1423035" y="437198"/>
                      <a:pt x="1423035" y="437198"/>
                    </a:cubicBezTo>
                    <a:cubicBezTo>
                      <a:pt x="1423035" y="437198"/>
                      <a:pt x="1423988" y="437198"/>
                      <a:pt x="1424940" y="439102"/>
                    </a:cubicBezTo>
                    <a:cubicBezTo>
                      <a:pt x="1425893" y="440055"/>
                      <a:pt x="1423988" y="440055"/>
                      <a:pt x="1425893" y="440055"/>
                    </a:cubicBezTo>
                    <a:cubicBezTo>
                      <a:pt x="1427798" y="441008"/>
                      <a:pt x="1432560" y="446723"/>
                      <a:pt x="1432560" y="446723"/>
                    </a:cubicBezTo>
                    <a:cubicBezTo>
                      <a:pt x="1432560" y="446723"/>
                      <a:pt x="1430655" y="445770"/>
                      <a:pt x="1429703" y="446723"/>
                    </a:cubicBezTo>
                    <a:cubicBezTo>
                      <a:pt x="1427798" y="447675"/>
                      <a:pt x="1411605" y="447675"/>
                      <a:pt x="1411605" y="447675"/>
                    </a:cubicBezTo>
                    <a:lnTo>
                      <a:pt x="1404938" y="447675"/>
                    </a:lnTo>
                    <a:lnTo>
                      <a:pt x="1399223" y="447675"/>
                    </a:lnTo>
                    <a:lnTo>
                      <a:pt x="1393508" y="447675"/>
                    </a:lnTo>
                    <a:cubicBezTo>
                      <a:pt x="1393508" y="447675"/>
                      <a:pt x="1390650" y="447675"/>
                      <a:pt x="1388745" y="447675"/>
                    </a:cubicBezTo>
                    <a:cubicBezTo>
                      <a:pt x="1386840" y="447675"/>
                      <a:pt x="1381125" y="447675"/>
                      <a:pt x="1381125" y="447675"/>
                    </a:cubicBezTo>
                    <a:lnTo>
                      <a:pt x="1373505" y="449580"/>
                    </a:lnTo>
                    <a:lnTo>
                      <a:pt x="1360170" y="449580"/>
                    </a:lnTo>
                    <a:cubicBezTo>
                      <a:pt x="1360170" y="449580"/>
                      <a:pt x="1360170" y="447675"/>
                      <a:pt x="1354455" y="449580"/>
                    </a:cubicBezTo>
                    <a:cubicBezTo>
                      <a:pt x="1348740" y="451485"/>
                      <a:pt x="1342073" y="452437"/>
                      <a:pt x="1342073" y="452437"/>
                    </a:cubicBezTo>
                    <a:cubicBezTo>
                      <a:pt x="1342073" y="452437"/>
                      <a:pt x="1340168" y="452437"/>
                      <a:pt x="1339215" y="453390"/>
                    </a:cubicBezTo>
                    <a:cubicBezTo>
                      <a:pt x="1338263" y="454343"/>
                      <a:pt x="1331595" y="455295"/>
                      <a:pt x="1331595" y="455295"/>
                    </a:cubicBezTo>
                    <a:lnTo>
                      <a:pt x="1325880" y="455295"/>
                    </a:lnTo>
                    <a:lnTo>
                      <a:pt x="1322070" y="455295"/>
                    </a:lnTo>
                    <a:lnTo>
                      <a:pt x="1320165" y="452437"/>
                    </a:lnTo>
                    <a:lnTo>
                      <a:pt x="1320165" y="449580"/>
                    </a:lnTo>
                    <a:cubicBezTo>
                      <a:pt x="1321118" y="448627"/>
                      <a:pt x="1320165" y="446723"/>
                      <a:pt x="1322070" y="445770"/>
                    </a:cubicBezTo>
                    <a:close/>
                    <a:moveTo>
                      <a:pt x="1762125" y="147637"/>
                    </a:moveTo>
                    <a:cubicBezTo>
                      <a:pt x="1762125" y="147637"/>
                      <a:pt x="1762125" y="147637"/>
                      <a:pt x="1762125" y="147637"/>
                    </a:cubicBezTo>
                    <a:cubicBezTo>
                      <a:pt x="1762125" y="147637"/>
                      <a:pt x="1762125" y="147637"/>
                      <a:pt x="1762125" y="147637"/>
                    </a:cubicBezTo>
                    <a:close/>
                    <a:moveTo>
                      <a:pt x="870585" y="141923"/>
                    </a:moveTo>
                    <a:cubicBezTo>
                      <a:pt x="870585" y="141923"/>
                      <a:pt x="865823" y="145733"/>
                      <a:pt x="862965" y="145733"/>
                    </a:cubicBezTo>
                    <a:cubicBezTo>
                      <a:pt x="861060" y="145733"/>
                      <a:pt x="854393" y="146685"/>
                      <a:pt x="854393" y="146685"/>
                    </a:cubicBezTo>
                    <a:lnTo>
                      <a:pt x="851535" y="146685"/>
                    </a:lnTo>
                    <a:lnTo>
                      <a:pt x="844868" y="146685"/>
                    </a:lnTo>
                    <a:lnTo>
                      <a:pt x="840105" y="147637"/>
                    </a:lnTo>
                    <a:lnTo>
                      <a:pt x="834390" y="149542"/>
                    </a:lnTo>
                    <a:lnTo>
                      <a:pt x="829628" y="147637"/>
                    </a:lnTo>
                    <a:lnTo>
                      <a:pt x="826770" y="145733"/>
                    </a:lnTo>
                    <a:lnTo>
                      <a:pt x="819150" y="144780"/>
                    </a:lnTo>
                    <a:cubicBezTo>
                      <a:pt x="819150" y="144780"/>
                      <a:pt x="814388" y="143828"/>
                      <a:pt x="811530" y="144780"/>
                    </a:cubicBezTo>
                    <a:cubicBezTo>
                      <a:pt x="809625" y="145733"/>
                      <a:pt x="804863" y="144780"/>
                      <a:pt x="804863" y="144780"/>
                    </a:cubicBezTo>
                    <a:cubicBezTo>
                      <a:pt x="804863" y="144780"/>
                      <a:pt x="805815" y="142875"/>
                      <a:pt x="800100" y="142875"/>
                    </a:cubicBezTo>
                    <a:cubicBezTo>
                      <a:pt x="795338" y="142875"/>
                      <a:pt x="792480" y="141923"/>
                      <a:pt x="788670" y="142875"/>
                    </a:cubicBezTo>
                    <a:cubicBezTo>
                      <a:pt x="784860" y="142875"/>
                      <a:pt x="789623" y="142875"/>
                      <a:pt x="784860" y="142875"/>
                    </a:cubicBezTo>
                    <a:cubicBezTo>
                      <a:pt x="780098" y="142875"/>
                      <a:pt x="780098" y="141923"/>
                      <a:pt x="776288" y="141923"/>
                    </a:cubicBezTo>
                    <a:cubicBezTo>
                      <a:pt x="771525" y="141923"/>
                      <a:pt x="768668" y="140970"/>
                      <a:pt x="764858" y="140970"/>
                    </a:cubicBezTo>
                    <a:cubicBezTo>
                      <a:pt x="761048" y="140970"/>
                      <a:pt x="756285" y="140017"/>
                      <a:pt x="756285" y="140017"/>
                    </a:cubicBezTo>
                    <a:lnTo>
                      <a:pt x="750570" y="135255"/>
                    </a:lnTo>
                    <a:lnTo>
                      <a:pt x="751523" y="133350"/>
                    </a:lnTo>
                    <a:cubicBezTo>
                      <a:pt x="751523" y="133350"/>
                      <a:pt x="748665" y="132398"/>
                      <a:pt x="754380" y="131445"/>
                    </a:cubicBezTo>
                    <a:cubicBezTo>
                      <a:pt x="760095" y="131445"/>
                      <a:pt x="749618" y="130492"/>
                      <a:pt x="760095" y="131445"/>
                    </a:cubicBezTo>
                    <a:cubicBezTo>
                      <a:pt x="771525" y="131445"/>
                      <a:pt x="771525" y="131445"/>
                      <a:pt x="771525" y="131445"/>
                    </a:cubicBezTo>
                    <a:cubicBezTo>
                      <a:pt x="771525" y="131445"/>
                      <a:pt x="774383" y="130492"/>
                      <a:pt x="776288" y="131445"/>
                    </a:cubicBezTo>
                    <a:cubicBezTo>
                      <a:pt x="778193" y="132398"/>
                      <a:pt x="781050" y="131445"/>
                      <a:pt x="783908" y="131445"/>
                    </a:cubicBezTo>
                    <a:cubicBezTo>
                      <a:pt x="786765" y="131445"/>
                      <a:pt x="789623" y="129540"/>
                      <a:pt x="792480" y="129540"/>
                    </a:cubicBezTo>
                    <a:cubicBezTo>
                      <a:pt x="794385" y="129540"/>
                      <a:pt x="794385" y="129540"/>
                      <a:pt x="794385" y="129540"/>
                    </a:cubicBezTo>
                    <a:cubicBezTo>
                      <a:pt x="794385" y="129540"/>
                      <a:pt x="794385" y="129540"/>
                      <a:pt x="793433" y="129540"/>
                    </a:cubicBezTo>
                    <a:cubicBezTo>
                      <a:pt x="793433" y="129540"/>
                      <a:pt x="793433" y="129540"/>
                      <a:pt x="793433" y="129540"/>
                    </a:cubicBezTo>
                    <a:cubicBezTo>
                      <a:pt x="793433" y="129540"/>
                      <a:pt x="792480" y="129540"/>
                      <a:pt x="792480" y="129540"/>
                    </a:cubicBezTo>
                    <a:cubicBezTo>
                      <a:pt x="792480" y="129540"/>
                      <a:pt x="793433" y="129540"/>
                      <a:pt x="793433" y="129540"/>
                    </a:cubicBezTo>
                    <a:cubicBezTo>
                      <a:pt x="793433" y="129540"/>
                      <a:pt x="793433" y="129540"/>
                      <a:pt x="793433" y="129540"/>
                    </a:cubicBezTo>
                    <a:cubicBezTo>
                      <a:pt x="793433" y="129540"/>
                      <a:pt x="793433" y="129540"/>
                      <a:pt x="794385" y="129540"/>
                    </a:cubicBezTo>
                    <a:cubicBezTo>
                      <a:pt x="799148" y="129540"/>
                      <a:pt x="802958" y="128587"/>
                      <a:pt x="802958" y="128587"/>
                    </a:cubicBezTo>
                    <a:cubicBezTo>
                      <a:pt x="802958" y="128587"/>
                      <a:pt x="801053" y="127635"/>
                      <a:pt x="805815" y="128587"/>
                    </a:cubicBezTo>
                    <a:cubicBezTo>
                      <a:pt x="810578" y="129540"/>
                      <a:pt x="813435" y="127635"/>
                      <a:pt x="815340" y="128587"/>
                    </a:cubicBezTo>
                    <a:cubicBezTo>
                      <a:pt x="817245" y="129540"/>
                      <a:pt x="822008" y="128587"/>
                      <a:pt x="822008" y="128587"/>
                    </a:cubicBezTo>
                    <a:lnTo>
                      <a:pt x="827723" y="129540"/>
                    </a:lnTo>
                    <a:cubicBezTo>
                      <a:pt x="827723" y="129540"/>
                      <a:pt x="832485" y="129540"/>
                      <a:pt x="832485" y="130492"/>
                    </a:cubicBezTo>
                    <a:cubicBezTo>
                      <a:pt x="832485" y="131445"/>
                      <a:pt x="830580" y="128587"/>
                      <a:pt x="832485" y="131445"/>
                    </a:cubicBezTo>
                    <a:cubicBezTo>
                      <a:pt x="834390" y="134303"/>
                      <a:pt x="837248" y="134303"/>
                      <a:pt x="840105" y="135255"/>
                    </a:cubicBezTo>
                    <a:cubicBezTo>
                      <a:pt x="842963" y="136208"/>
                      <a:pt x="838200" y="137160"/>
                      <a:pt x="842963" y="136208"/>
                    </a:cubicBezTo>
                    <a:cubicBezTo>
                      <a:pt x="847725" y="135255"/>
                      <a:pt x="850583" y="131445"/>
                      <a:pt x="852488" y="131445"/>
                    </a:cubicBezTo>
                    <a:cubicBezTo>
                      <a:pt x="854393" y="132398"/>
                      <a:pt x="857250" y="132398"/>
                      <a:pt x="857250" y="132398"/>
                    </a:cubicBezTo>
                    <a:lnTo>
                      <a:pt x="862013" y="131445"/>
                    </a:lnTo>
                    <a:lnTo>
                      <a:pt x="869633" y="132398"/>
                    </a:lnTo>
                    <a:cubicBezTo>
                      <a:pt x="869633" y="132398"/>
                      <a:pt x="871538" y="132398"/>
                      <a:pt x="872490" y="134303"/>
                    </a:cubicBezTo>
                    <a:cubicBezTo>
                      <a:pt x="873443" y="136208"/>
                      <a:pt x="873443" y="136208"/>
                      <a:pt x="873443" y="136208"/>
                    </a:cubicBezTo>
                    <a:lnTo>
                      <a:pt x="870585" y="141923"/>
                    </a:lnTo>
                    <a:close/>
                    <a:moveTo>
                      <a:pt x="1010603" y="202883"/>
                    </a:moveTo>
                    <a:cubicBezTo>
                      <a:pt x="1004888" y="205740"/>
                      <a:pt x="1008698" y="204787"/>
                      <a:pt x="1005840" y="204787"/>
                    </a:cubicBezTo>
                    <a:cubicBezTo>
                      <a:pt x="1003935" y="204787"/>
                      <a:pt x="1002983" y="206692"/>
                      <a:pt x="1000125" y="206692"/>
                    </a:cubicBezTo>
                    <a:cubicBezTo>
                      <a:pt x="997268" y="206692"/>
                      <a:pt x="992505" y="206692"/>
                      <a:pt x="992505" y="206692"/>
                    </a:cubicBezTo>
                    <a:cubicBezTo>
                      <a:pt x="992505" y="206692"/>
                      <a:pt x="987743" y="207645"/>
                      <a:pt x="984885" y="207645"/>
                    </a:cubicBezTo>
                    <a:cubicBezTo>
                      <a:pt x="982028" y="207645"/>
                      <a:pt x="980123" y="209550"/>
                      <a:pt x="977265" y="209550"/>
                    </a:cubicBezTo>
                    <a:cubicBezTo>
                      <a:pt x="975360" y="209550"/>
                      <a:pt x="972503" y="211455"/>
                      <a:pt x="969645" y="212408"/>
                    </a:cubicBezTo>
                    <a:cubicBezTo>
                      <a:pt x="966788" y="212408"/>
                      <a:pt x="965835" y="213360"/>
                      <a:pt x="963930" y="213360"/>
                    </a:cubicBezTo>
                    <a:cubicBezTo>
                      <a:pt x="962025" y="213360"/>
                      <a:pt x="961073" y="217170"/>
                      <a:pt x="961073" y="217170"/>
                    </a:cubicBezTo>
                    <a:cubicBezTo>
                      <a:pt x="961073" y="217170"/>
                      <a:pt x="956310" y="219075"/>
                      <a:pt x="953453" y="219075"/>
                    </a:cubicBezTo>
                    <a:cubicBezTo>
                      <a:pt x="950595" y="219075"/>
                      <a:pt x="948690" y="220028"/>
                      <a:pt x="943928" y="220980"/>
                    </a:cubicBezTo>
                    <a:cubicBezTo>
                      <a:pt x="939165" y="220980"/>
                      <a:pt x="938213" y="220980"/>
                      <a:pt x="935355" y="220980"/>
                    </a:cubicBezTo>
                    <a:cubicBezTo>
                      <a:pt x="933450" y="220980"/>
                      <a:pt x="929640" y="220980"/>
                      <a:pt x="925830" y="220980"/>
                    </a:cubicBezTo>
                    <a:cubicBezTo>
                      <a:pt x="922020" y="220980"/>
                      <a:pt x="917258" y="220980"/>
                      <a:pt x="917258" y="220980"/>
                    </a:cubicBezTo>
                    <a:lnTo>
                      <a:pt x="910590" y="221933"/>
                    </a:lnTo>
                    <a:cubicBezTo>
                      <a:pt x="910590" y="221933"/>
                      <a:pt x="906780" y="223837"/>
                      <a:pt x="903923" y="224790"/>
                    </a:cubicBezTo>
                    <a:cubicBezTo>
                      <a:pt x="901065" y="225742"/>
                      <a:pt x="899160" y="225742"/>
                      <a:pt x="895350" y="226695"/>
                    </a:cubicBezTo>
                    <a:cubicBezTo>
                      <a:pt x="890588" y="227648"/>
                      <a:pt x="890588" y="227648"/>
                      <a:pt x="887730" y="227648"/>
                    </a:cubicBezTo>
                    <a:cubicBezTo>
                      <a:pt x="883920" y="226695"/>
                      <a:pt x="887730" y="227648"/>
                      <a:pt x="886778" y="221933"/>
                    </a:cubicBezTo>
                    <a:cubicBezTo>
                      <a:pt x="885825" y="216217"/>
                      <a:pt x="886778" y="221933"/>
                      <a:pt x="887730" y="220980"/>
                    </a:cubicBezTo>
                    <a:cubicBezTo>
                      <a:pt x="888683" y="220028"/>
                      <a:pt x="890588" y="220980"/>
                      <a:pt x="892493" y="220028"/>
                    </a:cubicBezTo>
                    <a:cubicBezTo>
                      <a:pt x="894398" y="219075"/>
                      <a:pt x="895350" y="219075"/>
                      <a:pt x="895350" y="219075"/>
                    </a:cubicBezTo>
                    <a:cubicBezTo>
                      <a:pt x="895350" y="219075"/>
                      <a:pt x="900113" y="218123"/>
                      <a:pt x="902018" y="216217"/>
                    </a:cubicBezTo>
                    <a:cubicBezTo>
                      <a:pt x="903923" y="215265"/>
                      <a:pt x="910590" y="214312"/>
                      <a:pt x="910590" y="214312"/>
                    </a:cubicBezTo>
                    <a:lnTo>
                      <a:pt x="918210" y="211455"/>
                    </a:lnTo>
                    <a:cubicBezTo>
                      <a:pt x="918210" y="211455"/>
                      <a:pt x="922973" y="208598"/>
                      <a:pt x="922020" y="206692"/>
                    </a:cubicBezTo>
                    <a:cubicBezTo>
                      <a:pt x="921068" y="205740"/>
                      <a:pt x="928688" y="206692"/>
                      <a:pt x="928688" y="206692"/>
                    </a:cubicBezTo>
                    <a:lnTo>
                      <a:pt x="931545" y="206692"/>
                    </a:lnTo>
                    <a:lnTo>
                      <a:pt x="942975" y="205740"/>
                    </a:lnTo>
                    <a:lnTo>
                      <a:pt x="949643" y="206692"/>
                    </a:lnTo>
                    <a:lnTo>
                      <a:pt x="956310" y="206692"/>
                    </a:lnTo>
                    <a:cubicBezTo>
                      <a:pt x="956310" y="206692"/>
                      <a:pt x="963930" y="206692"/>
                      <a:pt x="965835" y="204787"/>
                    </a:cubicBezTo>
                    <a:cubicBezTo>
                      <a:pt x="967740" y="202883"/>
                      <a:pt x="969645" y="203835"/>
                      <a:pt x="971550" y="201930"/>
                    </a:cubicBezTo>
                    <a:cubicBezTo>
                      <a:pt x="973455" y="200025"/>
                      <a:pt x="975360" y="201930"/>
                      <a:pt x="977265" y="199073"/>
                    </a:cubicBezTo>
                    <a:cubicBezTo>
                      <a:pt x="979170" y="197167"/>
                      <a:pt x="982028" y="197167"/>
                      <a:pt x="982028" y="197167"/>
                    </a:cubicBezTo>
                    <a:lnTo>
                      <a:pt x="986790" y="196215"/>
                    </a:lnTo>
                    <a:cubicBezTo>
                      <a:pt x="986790" y="196215"/>
                      <a:pt x="994410" y="196215"/>
                      <a:pt x="997268" y="195262"/>
                    </a:cubicBezTo>
                    <a:cubicBezTo>
                      <a:pt x="999173" y="194310"/>
                      <a:pt x="1002030" y="193358"/>
                      <a:pt x="1002030" y="193358"/>
                    </a:cubicBezTo>
                    <a:cubicBezTo>
                      <a:pt x="1002030" y="193358"/>
                      <a:pt x="1011555" y="192405"/>
                      <a:pt x="1013460" y="192405"/>
                    </a:cubicBezTo>
                    <a:cubicBezTo>
                      <a:pt x="1015365" y="192405"/>
                      <a:pt x="1015365" y="194310"/>
                      <a:pt x="1015365" y="194310"/>
                    </a:cubicBezTo>
                    <a:cubicBezTo>
                      <a:pt x="1015365" y="194310"/>
                      <a:pt x="1016318" y="200025"/>
                      <a:pt x="1010603" y="202883"/>
                    </a:cubicBezTo>
                    <a:close/>
                    <a:moveTo>
                      <a:pt x="1220153" y="380048"/>
                    </a:moveTo>
                    <a:cubicBezTo>
                      <a:pt x="1220153" y="377190"/>
                      <a:pt x="1220153" y="379095"/>
                      <a:pt x="1218248" y="374333"/>
                    </a:cubicBezTo>
                    <a:cubicBezTo>
                      <a:pt x="1216343" y="370523"/>
                      <a:pt x="1216343" y="372427"/>
                      <a:pt x="1212533" y="371475"/>
                    </a:cubicBezTo>
                    <a:cubicBezTo>
                      <a:pt x="1209675" y="369570"/>
                      <a:pt x="1212533" y="371475"/>
                      <a:pt x="1210628" y="369570"/>
                    </a:cubicBezTo>
                    <a:cubicBezTo>
                      <a:pt x="1208723" y="367665"/>
                      <a:pt x="1210628" y="367665"/>
                      <a:pt x="1210628" y="367665"/>
                    </a:cubicBezTo>
                    <a:lnTo>
                      <a:pt x="1208723" y="364808"/>
                    </a:lnTo>
                    <a:lnTo>
                      <a:pt x="1203960" y="362903"/>
                    </a:lnTo>
                    <a:lnTo>
                      <a:pt x="1200150" y="362903"/>
                    </a:lnTo>
                    <a:cubicBezTo>
                      <a:pt x="1200150" y="362903"/>
                      <a:pt x="1195388" y="361950"/>
                      <a:pt x="1193483" y="360998"/>
                    </a:cubicBezTo>
                    <a:cubicBezTo>
                      <a:pt x="1190625" y="360045"/>
                      <a:pt x="1188720" y="358140"/>
                      <a:pt x="1188720" y="358140"/>
                    </a:cubicBezTo>
                    <a:lnTo>
                      <a:pt x="1185863" y="355283"/>
                    </a:lnTo>
                    <a:lnTo>
                      <a:pt x="1184910" y="353378"/>
                    </a:lnTo>
                    <a:lnTo>
                      <a:pt x="1185863" y="351473"/>
                    </a:lnTo>
                    <a:lnTo>
                      <a:pt x="1187768" y="347662"/>
                    </a:lnTo>
                    <a:lnTo>
                      <a:pt x="1190625" y="346710"/>
                    </a:lnTo>
                    <a:lnTo>
                      <a:pt x="1196340" y="345758"/>
                    </a:lnTo>
                    <a:lnTo>
                      <a:pt x="1200150" y="345758"/>
                    </a:lnTo>
                    <a:lnTo>
                      <a:pt x="1203960" y="345758"/>
                    </a:lnTo>
                    <a:cubicBezTo>
                      <a:pt x="1203960" y="345758"/>
                      <a:pt x="1207770" y="344805"/>
                      <a:pt x="1207770" y="343853"/>
                    </a:cubicBezTo>
                    <a:cubicBezTo>
                      <a:pt x="1207770" y="342900"/>
                      <a:pt x="1213485" y="343853"/>
                      <a:pt x="1213485" y="343853"/>
                    </a:cubicBezTo>
                    <a:lnTo>
                      <a:pt x="1218248" y="343853"/>
                    </a:lnTo>
                    <a:lnTo>
                      <a:pt x="1221105" y="344805"/>
                    </a:lnTo>
                    <a:lnTo>
                      <a:pt x="1225868" y="348615"/>
                    </a:lnTo>
                    <a:lnTo>
                      <a:pt x="1226820" y="350520"/>
                    </a:lnTo>
                    <a:lnTo>
                      <a:pt x="1227773" y="352425"/>
                    </a:lnTo>
                    <a:cubicBezTo>
                      <a:pt x="1227773" y="352425"/>
                      <a:pt x="1227773" y="352425"/>
                      <a:pt x="1226820" y="356235"/>
                    </a:cubicBezTo>
                    <a:cubicBezTo>
                      <a:pt x="1225868" y="360045"/>
                      <a:pt x="1226820" y="359093"/>
                      <a:pt x="1226820" y="359093"/>
                    </a:cubicBezTo>
                    <a:lnTo>
                      <a:pt x="1232535" y="362903"/>
                    </a:lnTo>
                    <a:cubicBezTo>
                      <a:pt x="1232535" y="362903"/>
                      <a:pt x="1237298" y="364808"/>
                      <a:pt x="1239203" y="364808"/>
                    </a:cubicBezTo>
                    <a:cubicBezTo>
                      <a:pt x="1241108" y="365760"/>
                      <a:pt x="1244918" y="368618"/>
                      <a:pt x="1244918" y="368618"/>
                    </a:cubicBezTo>
                    <a:lnTo>
                      <a:pt x="1245870" y="372427"/>
                    </a:lnTo>
                    <a:lnTo>
                      <a:pt x="1246823" y="375285"/>
                    </a:lnTo>
                    <a:lnTo>
                      <a:pt x="1249680" y="378143"/>
                    </a:lnTo>
                    <a:lnTo>
                      <a:pt x="1250633" y="380048"/>
                    </a:lnTo>
                    <a:lnTo>
                      <a:pt x="1249680" y="384810"/>
                    </a:lnTo>
                    <a:lnTo>
                      <a:pt x="1247775" y="389573"/>
                    </a:lnTo>
                    <a:lnTo>
                      <a:pt x="1244918" y="392430"/>
                    </a:lnTo>
                    <a:cubicBezTo>
                      <a:pt x="1244918" y="392430"/>
                      <a:pt x="1240155" y="392430"/>
                      <a:pt x="1237298" y="392430"/>
                    </a:cubicBezTo>
                    <a:cubicBezTo>
                      <a:pt x="1234440" y="392430"/>
                      <a:pt x="1231583" y="392430"/>
                      <a:pt x="1231583" y="392430"/>
                    </a:cubicBezTo>
                    <a:lnTo>
                      <a:pt x="1225868" y="390525"/>
                    </a:lnTo>
                    <a:cubicBezTo>
                      <a:pt x="1224915" y="391477"/>
                      <a:pt x="1220153" y="382905"/>
                      <a:pt x="1220153" y="380048"/>
                    </a:cubicBezTo>
                    <a:close/>
                  </a:path>
                </a:pathLst>
              </a:custGeom>
              <a:grpFill/>
              <a:ln w="9525" cap="flat">
                <a:noFill/>
                <a:prstDash val="solid"/>
                <a:miter/>
              </a:ln>
            </p:spPr>
            <p:txBody>
              <a:bodyPr rtlCol="0" anchor="ctr"/>
              <a:lstStyle/>
              <a:p>
                <a:endParaRPr lang="en-US" sz="1765"/>
              </a:p>
            </p:txBody>
          </p:sp>
          <p:sp>
            <p:nvSpPr>
              <p:cNvPr id="290" name="Freeform: Shape 289">
                <a:extLst>
                  <a:ext uri="{FF2B5EF4-FFF2-40B4-BE49-F238E27FC236}">
                    <a16:creationId xmlns:a16="http://schemas.microsoft.com/office/drawing/2014/main" id="{72FE4C70-C306-4789-8640-84BD0E1AB4C1}"/>
                  </a:ext>
                </a:extLst>
              </p:cNvPr>
              <p:cNvSpPr/>
              <p:nvPr/>
            </p:nvSpPr>
            <p:spPr>
              <a:xfrm>
                <a:off x="5442614" y="3186793"/>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cubicBezTo>
                      <a:pt x="0" y="0"/>
                      <a:pt x="0" y="0"/>
                      <a:pt x="0" y="0"/>
                    </a:cubicBezTo>
                    <a:cubicBezTo>
                      <a:pt x="0" y="0"/>
                      <a:pt x="0" y="0"/>
                      <a:pt x="0" y="0"/>
                    </a:cubicBezTo>
                    <a:close/>
                  </a:path>
                </a:pathLst>
              </a:custGeom>
              <a:grpFill/>
              <a:ln w="9525" cap="flat">
                <a:noFill/>
                <a:prstDash val="solid"/>
                <a:miter/>
              </a:ln>
            </p:spPr>
            <p:txBody>
              <a:bodyPr rtlCol="0" anchor="ctr"/>
              <a:lstStyle/>
              <a:p>
                <a:endParaRPr lang="en-US" sz="1765"/>
              </a:p>
            </p:txBody>
          </p:sp>
          <p:sp>
            <p:nvSpPr>
              <p:cNvPr id="291" name="Freeform: Shape 290">
                <a:extLst>
                  <a:ext uri="{FF2B5EF4-FFF2-40B4-BE49-F238E27FC236}">
                    <a16:creationId xmlns:a16="http://schemas.microsoft.com/office/drawing/2014/main" id="{720A5609-A12A-43A5-BAE5-BA762821B16E}"/>
                  </a:ext>
                </a:extLst>
              </p:cNvPr>
              <p:cNvSpPr/>
              <p:nvPr/>
            </p:nvSpPr>
            <p:spPr>
              <a:xfrm>
                <a:off x="9863258" y="4006744"/>
                <a:ext cx="178025" cy="117584"/>
              </a:xfrm>
              <a:custGeom>
                <a:avLst/>
                <a:gdLst>
                  <a:gd name="connsiteX0" fmla="*/ 38008 w 178025"/>
                  <a:gd name="connsiteY0" fmla="*/ 1105 h 117584"/>
                  <a:gd name="connsiteX1" fmla="*/ 28483 w 178025"/>
                  <a:gd name="connsiteY1" fmla="*/ 1105 h 117584"/>
                  <a:gd name="connsiteX2" fmla="*/ 20863 w 178025"/>
                  <a:gd name="connsiteY2" fmla="*/ 1105 h 117584"/>
                  <a:gd name="connsiteX3" fmla="*/ 8480 w 178025"/>
                  <a:gd name="connsiteY3" fmla="*/ 152 h 117584"/>
                  <a:gd name="connsiteX4" fmla="*/ 2765 w 178025"/>
                  <a:gd name="connsiteY4" fmla="*/ 2057 h 117584"/>
                  <a:gd name="connsiteX5" fmla="*/ 2765 w 178025"/>
                  <a:gd name="connsiteY5" fmla="*/ 10630 h 117584"/>
                  <a:gd name="connsiteX6" fmla="*/ 12290 w 178025"/>
                  <a:gd name="connsiteY6" fmla="*/ 15392 h 117584"/>
                  <a:gd name="connsiteX7" fmla="*/ 14195 w 178025"/>
                  <a:gd name="connsiteY7" fmla="*/ 17297 h 117584"/>
                  <a:gd name="connsiteX8" fmla="*/ 29435 w 178025"/>
                  <a:gd name="connsiteY8" fmla="*/ 32537 h 117584"/>
                  <a:gd name="connsiteX9" fmla="*/ 42770 w 178025"/>
                  <a:gd name="connsiteY9" fmla="*/ 38252 h 117584"/>
                  <a:gd name="connsiteX10" fmla="*/ 52295 w 178025"/>
                  <a:gd name="connsiteY10" fmla="*/ 43015 h 117584"/>
                  <a:gd name="connsiteX11" fmla="*/ 58963 w 178025"/>
                  <a:gd name="connsiteY11" fmla="*/ 50635 h 117584"/>
                  <a:gd name="connsiteX12" fmla="*/ 65630 w 178025"/>
                  <a:gd name="connsiteY12" fmla="*/ 61112 h 117584"/>
                  <a:gd name="connsiteX13" fmla="*/ 74203 w 178025"/>
                  <a:gd name="connsiteY13" fmla="*/ 70637 h 117584"/>
                  <a:gd name="connsiteX14" fmla="*/ 84680 w 178025"/>
                  <a:gd name="connsiteY14" fmla="*/ 79210 h 117584"/>
                  <a:gd name="connsiteX15" fmla="*/ 95158 w 178025"/>
                  <a:gd name="connsiteY15" fmla="*/ 84925 h 117584"/>
                  <a:gd name="connsiteX16" fmla="*/ 105635 w 178025"/>
                  <a:gd name="connsiteY16" fmla="*/ 93497 h 117584"/>
                  <a:gd name="connsiteX17" fmla="*/ 119923 w 178025"/>
                  <a:gd name="connsiteY17" fmla="*/ 105880 h 117584"/>
                  <a:gd name="connsiteX18" fmla="*/ 125638 w 178025"/>
                  <a:gd name="connsiteY18" fmla="*/ 109690 h 117584"/>
                  <a:gd name="connsiteX19" fmla="*/ 138020 w 178025"/>
                  <a:gd name="connsiteY19" fmla="*/ 112547 h 117584"/>
                  <a:gd name="connsiteX20" fmla="*/ 145640 w 178025"/>
                  <a:gd name="connsiteY20" fmla="*/ 114452 h 117584"/>
                  <a:gd name="connsiteX21" fmla="*/ 153260 w 178025"/>
                  <a:gd name="connsiteY21" fmla="*/ 116357 h 117584"/>
                  <a:gd name="connsiteX22" fmla="*/ 156118 w 178025"/>
                  <a:gd name="connsiteY22" fmla="*/ 117310 h 117584"/>
                  <a:gd name="connsiteX23" fmla="*/ 167548 w 178025"/>
                  <a:gd name="connsiteY23" fmla="*/ 117310 h 117584"/>
                  <a:gd name="connsiteX24" fmla="*/ 175168 w 178025"/>
                  <a:gd name="connsiteY24" fmla="*/ 116357 h 117584"/>
                  <a:gd name="connsiteX25" fmla="*/ 178025 w 178025"/>
                  <a:gd name="connsiteY25" fmla="*/ 106832 h 117584"/>
                  <a:gd name="connsiteX26" fmla="*/ 175168 w 178025"/>
                  <a:gd name="connsiteY26" fmla="*/ 95402 h 117584"/>
                  <a:gd name="connsiteX27" fmla="*/ 175168 w 178025"/>
                  <a:gd name="connsiteY27" fmla="*/ 90640 h 117584"/>
                  <a:gd name="connsiteX28" fmla="*/ 167548 w 178025"/>
                  <a:gd name="connsiteY28" fmla="*/ 80162 h 117584"/>
                  <a:gd name="connsiteX29" fmla="*/ 155165 w 178025"/>
                  <a:gd name="connsiteY29" fmla="*/ 73495 h 117584"/>
                  <a:gd name="connsiteX30" fmla="*/ 147545 w 178025"/>
                  <a:gd name="connsiteY30" fmla="*/ 68732 h 117584"/>
                  <a:gd name="connsiteX31" fmla="*/ 135163 w 178025"/>
                  <a:gd name="connsiteY31" fmla="*/ 63017 h 117584"/>
                  <a:gd name="connsiteX32" fmla="*/ 125638 w 178025"/>
                  <a:gd name="connsiteY32" fmla="*/ 58255 h 117584"/>
                  <a:gd name="connsiteX33" fmla="*/ 115160 w 178025"/>
                  <a:gd name="connsiteY33" fmla="*/ 51587 h 117584"/>
                  <a:gd name="connsiteX34" fmla="*/ 108493 w 178025"/>
                  <a:gd name="connsiteY34" fmla="*/ 44920 h 117584"/>
                  <a:gd name="connsiteX35" fmla="*/ 98015 w 178025"/>
                  <a:gd name="connsiteY35" fmla="*/ 38252 h 117584"/>
                  <a:gd name="connsiteX36" fmla="*/ 88490 w 178025"/>
                  <a:gd name="connsiteY36" fmla="*/ 32537 h 117584"/>
                  <a:gd name="connsiteX37" fmla="*/ 81823 w 178025"/>
                  <a:gd name="connsiteY37" fmla="*/ 26822 h 117584"/>
                  <a:gd name="connsiteX38" fmla="*/ 69440 w 178025"/>
                  <a:gd name="connsiteY38" fmla="*/ 19202 h 117584"/>
                  <a:gd name="connsiteX39" fmla="*/ 63725 w 178025"/>
                  <a:gd name="connsiteY39" fmla="*/ 17297 h 117584"/>
                  <a:gd name="connsiteX40" fmla="*/ 53248 w 178025"/>
                  <a:gd name="connsiteY40" fmla="*/ 11582 h 117584"/>
                  <a:gd name="connsiteX41" fmla="*/ 50390 w 178025"/>
                  <a:gd name="connsiteY41" fmla="*/ 8725 h 117584"/>
                  <a:gd name="connsiteX42" fmla="*/ 47533 w 178025"/>
                  <a:gd name="connsiteY42" fmla="*/ 4915 h 117584"/>
                  <a:gd name="connsiteX43" fmla="*/ 38008 w 178025"/>
                  <a:gd name="connsiteY43" fmla="*/ 1105 h 11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8025" h="117584">
                    <a:moveTo>
                      <a:pt x="38008" y="1105"/>
                    </a:moveTo>
                    <a:lnTo>
                      <a:pt x="28483" y="1105"/>
                    </a:lnTo>
                    <a:cubicBezTo>
                      <a:pt x="28483" y="1105"/>
                      <a:pt x="25625" y="1105"/>
                      <a:pt x="20863" y="1105"/>
                    </a:cubicBezTo>
                    <a:cubicBezTo>
                      <a:pt x="16100" y="1105"/>
                      <a:pt x="8480" y="152"/>
                      <a:pt x="8480" y="152"/>
                    </a:cubicBezTo>
                    <a:cubicBezTo>
                      <a:pt x="8480" y="152"/>
                      <a:pt x="3718" y="-800"/>
                      <a:pt x="2765" y="2057"/>
                    </a:cubicBezTo>
                    <a:cubicBezTo>
                      <a:pt x="1813" y="4915"/>
                      <a:pt x="-2950" y="6820"/>
                      <a:pt x="2765" y="10630"/>
                    </a:cubicBezTo>
                    <a:cubicBezTo>
                      <a:pt x="8480" y="14440"/>
                      <a:pt x="10385" y="12535"/>
                      <a:pt x="12290" y="15392"/>
                    </a:cubicBezTo>
                    <a:cubicBezTo>
                      <a:pt x="14195" y="17297"/>
                      <a:pt x="9433" y="12535"/>
                      <a:pt x="14195" y="17297"/>
                    </a:cubicBezTo>
                    <a:cubicBezTo>
                      <a:pt x="19910" y="22060"/>
                      <a:pt x="29435" y="32537"/>
                      <a:pt x="29435" y="32537"/>
                    </a:cubicBezTo>
                    <a:cubicBezTo>
                      <a:pt x="29435" y="32537"/>
                      <a:pt x="38960" y="35395"/>
                      <a:pt x="42770" y="38252"/>
                    </a:cubicBezTo>
                    <a:cubicBezTo>
                      <a:pt x="45628" y="41110"/>
                      <a:pt x="50390" y="40157"/>
                      <a:pt x="52295" y="43015"/>
                    </a:cubicBezTo>
                    <a:cubicBezTo>
                      <a:pt x="54200" y="46825"/>
                      <a:pt x="57058" y="45872"/>
                      <a:pt x="58963" y="50635"/>
                    </a:cubicBezTo>
                    <a:cubicBezTo>
                      <a:pt x="60868" y="54445"/>
                      <a:pt x="64678" y="59207"/>
                      <a:pt x="65630" y="61112"/>
                    </a:cubicBezTo>
                    <a:cubicBezTo>
                      <a:pt x="66583" y="63017"/>
                      <a:pt x="72298" y="66827"/>
                      <a:pt x="74203" y="70637"/>
                    </a:cubicBezTo>
                    <a:cubicBezTo>
                      <a:pt x="76108" y="74447"/>
                      <a:pt x="84680" y="79210"/>
                      <a:pt x="84680" y="79210"/>
                    </a:cubicBezTo>
                    <a:cubicBezTo>
                      <a:pt x="84680" y="79210"/>
                      <a:pt x="92300" y="83020"/>
                      <a:pt x="95158" y="84925"/>
                    </a:cubicBezTo>
                    <a:cubicBezTo>
                      <a:pt x="98015" y="86830"/>
                      <a:pt x="100873" y="86830"/>
                      <a:pt x="105635" y="93497"/>
                    </a:cubicBezTo>
                    <a:cubicBezTo>
                      <a:pt x="111350" y="100165"/>
                      <a:pt x="119923" y="105880"/>
                      <a:pt x="119923" y="105880"/>
                    </a:cubicBezTo>
                    <a:cubicBezTo>
                      <a:pt x="119923" y="105880"/>
                      <a:pt x="121828" y="107785"/>
                      <a:pt x="125638" y="109690"/>
                    </a:cubicBezTo>
                    <a:cubicBezTo>
                      <a:pt x="128495" y="111595"/>
                      <a:pt x="138020" y="112547"/>
                      <a:pt x="138020" y="112547"/>
                    </a:cubicBezTo>
                    <a:cubicBezTo>
                      <a:pt x="138020" y="112547"/>
                      <a:pt x="142783" y="113500"/>
                      <a:pt x="145640" y="114452"/>
                    </a:cubicBezTo>
                    <a:cubicBezTo>
                      <a:pt x="148498" y="115405"/>
                      <a:pt x="150403" y="114452"/>
                      <a:pt x="153260" y="116357"/>
                    </a:cubicBezTo>
                    <a:cubicBezTo>
                      <a:pt x="156118" y="117310"/>
                      <a:pt x="151355" y="117310"/>
                      <a:pt x="156118" y="117310"/>
                    </a:cubicBezTo>
                    <a:cubicBezTo>
                      <a:pt x="161833" y="118262"/>
                      <a:pt x="163738" y="116357"/>
                      <a:pt x="167548" y="117310"/>
                    </a:cubicBezTo>
                    <a:cubicBezTo>
                      <a:pt x="170405" y="118262"/>
                      <a:pt x="175168" y="116357"/>
                      <a:pt x="175168" y="116357"/>
                    </a:cubicBezTo>
                    <a:cubicBezTo>
                      <a:pt x="175168" y="116357"/>
                      <a:pt x="178025" y="108737"/>
                      <a:pt x="178025" y="106832"/>
                    </a:cubicBezTo>
                    <a:cubicBezTo>
                      <a:pt x="178025" y="104927"/>
                      <a:pt x="175168" y="95402"/>
                      <a:pt x="175168" y="95402"/>
                    </a:cubicBezTo>
                    <a:cubicBezTo>
                      <a:pt x="175168" y="95402"/>
                      <a:pt x="177073" y="94450"/>
                      <a:pt x="175168" y="90640"/>
                    </a:cubicBezTo>
                    <a:cubicBezTo>
                      <a:pt x="173263" y="86830"/>
                      <a:pt x="167548" y="80162"/>
                      <a:pt x="167548" y="80162"/>
                    </a:cubicBezTo>
                    <a:lnTo>
                      <a:pt x="155165" y="73495"/>
                    </a:lnTo>
                    <a:cubicBezTo>
                      <a:pt x="155165" y="73495"/>
                      <a:pt x="152308" y="71590"/>
                      <a:pt x="147545" y="68732"/>
                    </a:cubicBezTo>
                    <a:cubicBezTo>
                      <a:pt x="142783" y="66827"/>
                      <a:pt x="140878" y="65875"/>
                      <a:pt x="135163" y="63017"/>
                    </a:cubicBezTo>
                    <a:cubicBezTo>
                      <a:pt x="129448" y="60160"/>
                      <a:pt x="125638" y="58255"/>
                      <a:pt x="125638" y="58255"/>
                    </a:cubicBezTo>
                    <a:lnTo>
                      <a:pt x="115160" y="51587"/>
                    </a:lnTo>
                    <a:lnTo>
                      <a:pt x="108493" y="44920"/>
                    </a:lnTo>
                    <a:lnTo>
                      <a:pt x="98015" y="38252"/>
                    </a:lnTo>
                    <a:cubicBezTo>
                      <a:pt x="98015" y="38252"/>
                      <a:pt x="88490" y="34442"/>
                      <a:pt x="88490" y="32537"/>
                    </a:cubicBezTo>
                    <a:cubicBezTo>
                      <a:pt x="88490" y="30632"/>
                      <a:pt x="81823" y="28727"/>
                      <a:pt x="81823" y="26822"/>
                    </a:cubicBezTo>
                    <a:cubicBezTo>
                      <a:pt x="81823" y="24917"/>
                      <a:pt x="69440" y="19202"/>
                      <a:pt x="69440" y="19202"/>
                    </a:cubicBezTo>
                    <a:lnTo>
                      <a:pt x="63725" y="17297"/>
                    </a:lnTo>
                    <a:lnTo>
                      <a:pt x="53248" y="11582"/>
                    </a:lnTo>
                    <a:lnTo>
                      <a:pt x="50390" y="8725"/>
                    </a:lnTo>
                    <a:lnTo>
                      <a:pt x="47533" y="4915"/>
                    </a:lnTo>
                    <a:lnTo>
                      <a:pt x="38008" y="1105"/>
                    </a:lnTo>
                    <a:close/>
                  </a:path>
                </a:pathLst>
              </a:custGeom>
              <a:grpFill/>
              <a:ln w="9525" cap="flat">
                <a:noFill/>
                <a:prstDash val="solid"/>
                <a:miter/>
              </a:ln>
            </p:spPr>
            <p:txBody>
              <a:bodyPr rtlCol="0" anchor="ctr"/>
              <a:lstStyle/>
              <a:p>
                <a:endParaRPr lang="en-US" sz="1765"/>
              </a:p>
            </p:txBody>
          </p:sp>
          <p:sp>
            <p:nvSpPr>
              <p:cNvPr id="292" name="Freeform: Shape 291">
                <a:extLst>
                  <a:ext uri="{FF2B5EF4-FFF2-40B4-BE49-F238E27FC236}">
                    <a16:creationId xmlns:a16="http://schemas.microsoft.com/office/drawing/2014/main" id="{CA0C68FD-68F2-428E-850F-176370E3B585}"/>
                  </a:ext>
                </a:extLst>
              </p:cNvPr>
              <p:cNvSpPr/>
              <p:nvPr/>
            </p:nvSpPr>
            <p:spPr>
              <a:xfrm>
                <a:off x="10029642" y="4134861"/>
                <a:ext cx="180234" cy="32329"/>
              </a:xfrm>
              <a:custGeom>
                <a:avLst/>
                <a:gdLst>
                  <a:gd name="connsiteX0" fmla="*/ 68792 w 180234"/>
                  <a:gd name="connsiteY0" fmla="*/ 6337 h 32329"/>
                  <a:gd name="connsiteX1" fmla="*/ 62124 w 180234"/>
                  <a:gd name="connsiteY1" fmla="*/ 4432 h 32329"/>
                  <a:gd name="connsiteX2" fmla="*/ 34502 w 180234"/>
                  <a:gd name="connsiteY2" fmla="*/ 1575 h 32329"/>
                  <a:gd name="connsiteX3" fmla="*/ 24977 w 180234"/>
                  <a:gd name="connsiteY3" fmla="*/ 622 h 32329"/>
                  <a:gd name="connsiteX4" fmla="*/ 17357 w 180234"/>
                  <a:gd name="connsiteY4" fmla="*/ 622 h 32329"/>
                  <a:gd name="connsiteX5" fmla="*/ 5927 w 180234"/>
                  <a:gd name="connsiteY5" fmla="*/ 1575 h 32329"/>
                  <a:gd name="connsiteX6" fmla="*/ 2117 w 180234"/>
                  <a:gd name="connsiteY6" fmla="*/ 8242 h 32329"/>
                  <a:gd name="connsiteX7" fmla="*/ 2117 w 180234"/>
                  <a:gd name="connsiteY7" fmla="*/ 12052 h 32329"/>
                  <a:gd name="connsiteX8" fmla="*/ 2117 w 180234"/>
                  <a:gd name="connsiteY8" fmla="*/ 12052 h 32329"/>
                  <a:gd name="connsiteX9" fmla="*/ 10689 w 180234"/>
                  <a:gd name="connsiteY9" fmla="*/ 13957 h 32329"/>
                  <a:gd name="connsiteX10" fmla="*/ 13547 w 180234"/>
                  <a:gd name="connsiteY10" fmla="*/ 14910 h 32329"/>
                  <a:gd name="connsiteX11" fmla="*/ 26882 w 180234"/>
                  <a:gd name="connsiteY11" fmla="*/ 17767 h 32329"/>
                  <a:gd name="connsiteX12" fmla="*/ 39264 w 180234"/>
                  <a:gd name="connsiteY12" fmla="*/ 19672 h 32329"/>
                  <a:gd name="connsiteX13" fmla="*/ 60219 w 180234"/>
                  <a:gd name="connsiteY13" fmla="*/ 19672 h 32329"/>
                  <a:gd name="connsiteX14" fmla="*/ 70697 w 180234"/>
                  <a:gd name="connsiteY14" fmla="*/ 22530 h 32329"/>
                  <a:gd name="connsiteX15" fmla="*/ 86889 w 180234"/>
                  <a:gd name="connsiteY15" fmla="*/ 28245 h 32329"/>
                  <a:gd name="connsiteX16" fmla="*/ 115464 w 180234"/>
                  <a:gd name="connsiteY16" fmla="*/ 30150 h 32329"/>
                  <a:gd name="connsiteX17" fmla="*/ 127847 w 180234"/>
                  <a:gd name="connsiteY17" fmla="*/ 30150 h 32329"/>
                  <a:gd name="connsiteX18" fmla="*/ 150707 w 180234"/>
                  <a:gd name="connsiteY18" fmla="*/ 32055 h 32329"/>
                  <a:gd name="connsiteX19" fmla="*/ 164042 w 180234"/>
                  <a:gd name="connsiteY19" fmla="*/ 32055 h 32329"/>
                  <a:gd name="connsiteX20" fmla="*/ 176424 w 180234"/>
                  <a:gd name="connsiteY20" fmla="*/ 30150 h 32329"/>
                  <a:gd name="connsiteX21" fmla="*/ 179282 w 180234"/>
                  <a:gd name="connsiteY21" fmla="*/ 29197 h 32329"/>
                  <a:gd name="connsiteX22" fmla="*/ 180234 w 180234"/>
                  <a:gd name="connsiteY22" fmla="*/ 25387 h 32329"/>
                  <a:gd name="connsiteX23" fmla="*/ 180234 w 180234"/>
                  <a:gd name="connsiteY23" fmla="*/ 21577 h 32329"/>
                  <a:gd name="connsiteX24" fmla="*/ 163089 w 180234"/>
                  <a:gd name="connsiteY24" fmla="*/ 17767 h 32329"/>
                  <a:gd name="connsiteX25" fmla="*/ 151659 w 180234"/>
                  <a:gd name="connsiteY25" fmla="*/ 16814 h 32329"/>
                  <a:gd name="connsiteX26" fmla="*/ 128799 w 180234"/>
                  <a:gd name="connsiteY26" fmla="*/ 12052 h 32329"/>
                  <a:gd name="connsiteX27" fmla="*/ 117369 w 180234"/>
                  <a:gd name="connsiteY27" fmla="*/ 11100 h 32329"/>
                  <a:gd name="connsiteX28" fmla="*/ 103082 w 180234"/>
                  <a:gd name="connsiteY28" fmla="*/ 12052 h 32329"/>
                  <a:gd name="connsiteX29" fmla="*/ 68792 w 180234"/>
                  <a:gd name="connsiteY29" fmla="*/ 6337 h 3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234" h="32329">
                    <a:moveTo>
                      <a:pt x="68792" y="6337"/>
                    </a:moveTo>
                    <a:lnTo>
                      <a:pt x="62124" y="4432"/>
                    </a:lnTo>
                    <a:lnTo>
                      <a:pt x="34502" y="1575"/>
                    </a:lnTo>
                    <a:cubicBezTo>
                      <a:pt x="34502" y="1575"/>
                      <a:pt x="27834" y="-330"/>
                      <a:pt x="24977" y="622"/>
                    </a:cubicBezTo>
                    <a:cubicBezTo>
                      <a:pt x="22119" y="1575"/>
                      <a:pt x="17357" y="622"/>
                      <a:pt x="17357" y="622"/>
                    </a:cubicBezTo>
                    <a:cubicBezTo>
                      <a:pt x="17357" y="622"/>
                      <a:pt x="5927" y="-1283"/>
                      <a:pt x="5927" y="1575"/>
                    </a:cubicBezTo>
                    <a:cubicBezTo>
                      <a:pt x="5927" y="3480"/>
                      <a:pt x="2117" y="4432"/>
                      <a:pt x="2117" y="8242"/>
                    </a:cubicBezTo>
                    <a:cubicBezTo>
                      <a:pt x="2117" y="12052"/>
                      <a:pt x="2117" y="12052"/>
                      <a:pt x="2117" y="12052"/>
                    </a:cubicBezTo>
                    <a:cubicBezTo>
                      <a:pt x="2117" y="12052"/>
                      <a:pt x="-2646" y="10147"/>
                      <a:pt x="2117" y="12052"/>
                    </a:cubicBezTo>
                    <a:cubicBezTo>
                      <a:pt x="6879" y="13957"/>
                      <a:pt x="7832" y="13005"/>
                      <a:pt x="10689" y="13957"/>
                    </a:cubicBezTo>
                    <a:cubicBezTo>
                      <a:pt x="13547" y="14910"/>
                      <a:pt x="8784" y="14910"/>
                      <a:pt x="13547" y="14910"/>
                    </a:cubicBezTo>
                    <a:cubicBezTo>
                      <a:pt x="19262" y="14910"/>
                      <a:pt x="22119" y="15862"/>
                      <a:pt x="26882" y="17767"/>
                    </a:cubicBezTo>
                    <a:cubicBezTo>
                      <a:pt x="31644" y="19672"/>
                      <a:pt x="35454" y="19672"/>
                      <a:pt x="39264" y="19672"/>
                    </a:cubicBezTo>
                    <a:cubicBezTo>
                      <a:pt x="42122" y="20625"/>
                      <a:pt x="58314" y="17767"/>
                      <a:pt x="60219" y="19672"/>
                    </a:cubicBezTo>
                    <a:cubicBezTo>
                      <a:pt x="62124" y="21577"/>
                      <a:pt x="67839" y="20625"/>
                      <a:pt x="70697" y="22530"/>
                    </a:cubicBezTo>
                    <a:cubicBezTo>
                      <a:pt x="73554" y="24435"/>
                      <a:pt x="81174" y="27292"/>
                      <a:pt x="86889" y="28245"/>
                    </a:cubicBezTo>
                    <a:cubicBezTo>
                      <a:pt x="92604" y="29197"/>
                      <a:pt x="115464" y="30150"/>
                      <a:pt x="115464" y="30150"/>
                    </a:cubicBezTo>
                    <a:cubicBezTo>
                      <a:pt x="115464" y="30150"/>
                      <a:pt x="110702" y="28245"/>
                      <a:pt x="127847" y="30150"/>
                    </a:cubicBezTo>
                    <a:cubicBezTo>
                      <a:pt x="144039" y="32055"/>
                      <a:pt x="146897" y="32055"/>
                      <a:pt x="150707" y="32055"/>
                    </a:cubicBezTo>
                    <a:cubicBezTo>
                      <a:pt x="155469" y="33007"/>
                      <a:pt x="160232" y="31102"/>
                      <a:pt x="164042" y="32055"/>
                    </a:cubicBezTo>
                    <a:cubicBezTo>
                      <a:pt x="166899" y="33007"/>
                      <a:pt x="172614" y="31102"/>
                      <a:pt x="176424" y="30150"/>
                    </a:cubicBezTo>
                    <a:cubicBezTo>
                      <a:pt x="179282" y="29197"/>
                      <a:pt x="179282" y="29197"/>
                      <a:pt x="179282" y="29197"/>
                    </a:cubicBezTo>
                    <a:lnTo>
                      <a:pt x="180234" y="25387"/>
                    </a:lnTo>
                    <a:lnTo>
                      <a:pt x="180234" y="21577"/>
                    </a:lnTo>
                    <a:lnTo>
                      <a:pt x="163089" y="17767"/>
                    </a:lnTo>
                    <a:lnTo>
                      <a:pt x="151659" y="16814"/>
                    </a:lnTo>
                    <a:cubicBezTo>
                      <a:pt x="151659" y="16814"/>
                      <a:pt x="134514" y="12052"/>
                      <a:pt x="128799" y="12052"/>
                    </a:cubicBezTo>
                    <a:cubicBezTo>
                      <a:pt x="123084" y="12052"/>
                      <a:pt x="123084" y="11100"/>
                      <a:pt x="117369" y="11100"/>
                    </a:cubicBezTo>
                    <a:cubicBezTo>
                      <a:pt x="111654" y="11100"/>
                      <a:pt x="103082" y="12052"/>
                      <a:pt x="103082" y="12052"/>
                    </a:cubicBezTo>
                    <a:lnTo>
                      <a:pt x="68792" y="6337"/>
                    </a:lnTo>
                    <a:close/>
                  </a:path>
                </a:pathLst>
              </a:custGeom>
              <a:grpFill/>
              <a:ln w="9525" cap="flat">
                <a:noFill/>
                <a:prstDash val="solid"/>
                <a:miter/>
              </a:ln>
            </p:spPr>
            <p:txBody>
              <a:bodyPr rtlCol="0" anchor="ctr"/>
              <a:lstStyle/>
              <a:p>
                <a:endParaRPr lang="en-US" sz="1765"/>
              </a:p>
            </p:txBody>
          </p:sp>
          <p:sp>
            <p:nvSpPr>
              <p:cNvPr id="293" name="Freeform: Shape 292">
                <a:extLst>
                  <a:ext uri="{FF2B5EF4-FFF2-40B4-BE49-F238E27FC236}">
                    <a16:creationId xmlns:a16="http://schemas.microsoft.com/office/drawing/2014/main" id="{1D992290-9F44-48B2-8D74-16580ED48FB9}"/>
                  </a:ext>
                </a:extLst>
              </p:cNvPr>
              <p:cNvSpPr/>
              <p:nvPr/>
            </p:nvSpPr>
            <p:spPr>
              <a:xfrm>
                <a:off x="10098539" y="3994514"/>
                <a:ext cx="184679" cy="121708"/>
              </a:xfrm>
              <a:custGeom>
                <a:avLst/>
                <a:gdLst>
                  <a:gd name="connsiteX0" fmla="*/ 36089 w 184679"/>
                  <a:gd name="connsiteY0" fmla="*/ 51435 h 121708"/>
                  <a:gd name="connsiteX1" fmla="*/ 20849 w 184679"/>
                  <a:gd name="connsiteY1" fmla="*/ 56198 h 121708"/>
                  <a:gd name="connsiteX2" fmla="*/ 11324 w 184679"/>
                  <a:gd name="connsiteY2" fmla="*/ 56198 h 121708"/>
                  <a:gd name="connsiteX3" fmla="*/ 8467 w 184679"/>
                  <a:gd name="connsiteY3" fmla="*/ 57150 h 121708"/>
                  <a:gd name="connsiteX4" fmla="*/ 847 w 184679"/>
                  <a:gd name="connsiteY4" fmla="*/ 67627 h 121708"/>
                  <a:gd name="connsiteX5" fmla="*/ 847 w 184679"/>
                  <a:gd name="connsiteY5" fmla="*/ 74295 h 121708"/>
                  <a:gd name="connsiteX6" fmla="*/ 2752 w 184679"/>
                  <a:gd name="connsiteY6" fmla="*/ 77152 h 121708"/>
                  <a:gd name="connsiteX7" fmla="*/ 9419 w 184679"/>
                  <a:gd name="connsiteY7" fmla="*/ 83820 h 121708"/>
                  <a:gd name="connsiteX8" fmla="*/ 12277 w 184679"/>
                  <a:gd name="connsiteY8" fmla="*/ 91440 h 121708"/>
                  <a:gd name="connsiteX9" fmla="*/ 11324 w 184679"/>
                  <a:gd name="connsiteY9" fmla="*/ 100965 h 121708"/>
                  <a:gd name="connsiteX10" fmla="*/ 17039 w 184679"/>
                  <a:gd name="connsiteY10" fmla="*/ 106680 h 121708"/>
                  <a:gd name="connsiteX11" fmla="*/ 33232 w 184679"/>
                  <a:gd name="connsiteY11" fmla="*/ 112395 h 121708"/>
                  <a:gd name="connsiteX12" fmla="*/ 38947 w 184679"/>
                  <a:gd name="connsiteY12" fmla="*/ 114300 h 121708"/>
                  <a:gd name="connsiteX13" fmla="*/ 54187 w 184679"/>
                  <a:gd name="connsiteY13" fmla="*/ 113348 h 121708"/>
                  <a:gd name="connsiteX14" fmla="*/ 57997 w 184679"/>
                  <a:gd name="connsiteY14" fmla="*/ 113348 h 121708"/>
                  <a:gd name="connsiteX15" fmla="*/ 67522 w 184679"/>
                  <a:gd name="connsiteY15" fmla="*/ 112395 h 121708"/>
                  <a:gd name="connsiteX16" fmla="*/ 80857 w 184679"/>
                  <a:gd name="connsiteY16" fmla="*/ 114300 h 121708"/>
                  <a:gd name="connsiteX17" fmla="*/ 89429 w 184679"/>
                  <a:gd name="connsiteY17" fmla="*/ 119062 h 121708"/>
                  <a:gd name="connsiteX18" fmla="*/ 95144 w 184679"/>
                  <a:gd name="connsiteY18" fmla="*/ 120015 h 121708"/>
                  <a:gd name="connsiteX19" fmla="*/ 110384 w 184679"/>
                  <a:gd name="connsiteY19" fmla="*/ 120015 h 121708"/>
                  <a:gd name="connsiteX20" fmla="*/ 116099 w 184679"/>
                  <a:gd name="connsiteY20" fmla="*/ 120015 h 121708"/>
                  <a:gd name="connsiteX21" fmla="*/ 120862 w 184679"/>
                  <a:gd name="connsiteY21" fmla="*/ 108585 h 121708"/>
                  <a:gd name="connsiteX22" fmla="*/ 120862 w 184679"/>
                  <a:gd name="connsiteY22" fmla="*/ 100965 h 121708"/>
                  <a:gd name="connsiteX23" fmla="*/ 127529 w 184679"/>
                  <a:gd name="connsiteY23" fmla="*/ 97155 h 121708"/>
                  <a:gd name="connsiteX24" fmla="*/ 141817 w 184679"/>
                  <a:gd name="connsiteY24" fmla="*/ 89535 h 121708"/>
                  <a:gd name="connsiteX25" fmla="*/ 147532 w 184679"/>
                  <a:gd name="connsiteY25" fmla="*/ 80962 h 121708"/>
                  <a:gd name="connsiteX26" fmla="*/ 148484 w 184679"/>
                  <a:gd name="connsiteY26" fmla="*/ 77152 h 121708"/>
                  <a:gd name="connsiteX27" fmla="*/ 153247 w 184679"/>
                  <a:gd name="connsiteY27" fmla="*/ 75248 h 121708"/>
                  <a:gd name="connsiteX28" fmla="*/ 159914 w 184679"/>
                  <a:gd name="connsiteY28" fmla="*/ 68580 h 121708"/>
                  <a:gd name="connsiteX29" fmla="*/ 161819 w 184679"/>
                  <a:gd name="connsiteY29" fmla="*/ 61912 h 121708"/>
                  <a:gd name="connsiteX30" fmla="*/ 160867 w 184679"/>
                  <a:gd name="connsiteY30" fmla="*/ 53340 h 121708"/>
                  <a:gd name="connsiteX31" fmla="*/ 157057 w 184679"/>
                  <a:gd name="connsiteY31" fmla="*/ 44768 h 121708"/>
                  <a:gd name="connsiteX32" fmla="*/ 155151 w 184679"/>
                  <a:gd name="connsiteY32" fmla="*/ 40005 h 121708"/>
                  <a:gd name="connsiteX33" fmla="*/ 157057 w 184679"/>
                  <a:gd name="connsiteY33" fmla="*/ 35243 h 121708"/>
                  <a:gd name="connsiteX34" fmla="*/ 162772 w 184679"/>
                  <a:gd name="connsiteY34" fmla="*/ 31432 h 121708"/>
                  <a:gd name="connsiteX35" fmla="*/ 167534 w 184679"/>
                  <a:gd name="connsiteY35" fmla="*/ 29527 h 121708"/>
                  <a:gd name="connsiteX36" fmla="*/ 175154 w 184679"/>
                  <a:gd name="connsiteY36" fmla="*/ 26670 h 121708"/>
                  <a:gd name="connsiteX37" fmla="*/ 183726 w 184679"/>
                  <a:gd name="connsiteY37" fmla="*/ 22860 h 121708"/>
                  <a:gd name="connsiteX38" fmla="*/ 184679 w 184679"/>
                  <a:gd name="connsiteY38" fmla="*/ 16193 h 121708"/>
                  <a:gd name="connsiteX39" fmla="*/ 177059 w 184679"/>
                  <a:gd name="connsiteY39" fmla="*/ 12382 h 121708"/>
                  <a:gd name="connsiteX40" fmla="*/ 169439 w 184679"/>
                  <a:gd name="connsiteY40" fmla="*/ 12382 h 121708"/>
                  <a:gd name="connsiteX41" fmla="*/ 156104 w 184679"/>
                  <a:gd name="connsiteY41" fmla="*/ 5715 h 121708"/>
                  <a:gd name="connsiteX42" fmla="*/ 154199 w 184679"/>
                  <a:gd name="connsiteY42" fmla="*/ 1905 h 121708"/>
                  <a:gd name="connsiteX43" fmla="*/ 141817 w 184679"/>
                  <a:gd name="connsiteY43" fmla="*/ 0 h 121708"/>
                  <a:gd name="connsiteX44" fmla="*/ 131339 w 184679"/>
                  <a:gd name="connsiteY44" fmla="*/ 4763 h 121708"/>
                  <a:gd name="connsiteX45" fmla="*/ 126576 w 184679"/>
                  <a:gd name="connsiteY45" fmla="*/ 8573 h 121708"/>
                  <a:gd name="connsiteX46" fmla="*/ 118957 w 184679"/>
                  <a:gd name="connsiteY46" fmla="*/ 19050 h 121708"/>
                  <a:gd name="connsiteX47" fmla="*/ 98954 w 184679"/>
                  <a:gd name="connsiteY47" fmla="*/ 27623 h 121708"/>
                  <a:gd name="connsiteX48" fmla="*/ 90382 w 184679"/>
                  <a:gd name="connsiteY48" fmla="*/ 33337 h 121708"/>
                  <a:gd name="connsiteX49" fmla="*/ 85619 w 184679"/>
                  <a:gd name="connsiteY49" fmla="*/ 36195 h 121708"/>
                  <a:gd name="connsiteX50" fmla="*/ 63712 w 184679"/>
                  <a:gd name="connsiteY50" fmla="*/ 39052 h 121708"/>
                  <a:gd name="connsiteX51" fmla="*/ 58949 w 184679"/>
                  <a:gd name="connsiteY51" fmla="*/ 42862 h 121708"/>
                  <a:gd name="connsiteX52" fmla="*/ 57997 w 184679"/>
                  <a:gd name="connsiteY52" fmla="*/ 45720 h 121708"/>
                  <a:gd name="connsiteX53" fmla="*/ 50377 w 184679"/>
                  <a:gd name="connsiteY53" fmla="*/ 52387 h 121708"/>
                  <a:gd name="connsiteX54" fmla="*/ 36089 w 184679"/>
                  <a:gd name="connsiteY54" fmla="*/ 51435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79" h="121708">
                    <a:moveTo>
                      <a:pt x="36089" y="51435"/>
                    </a:moveTo>
                    <a:lnTo>
                      <a:pt x="20849" y="56198"/>
                    </a:lnTo>
                    <a:cubicBezTo>
                      <a:pt x="20849" y="56198"/>
                      <a:pt x="14182" y="55245"/>
                      <a:pt x="11324" y="56198"/>
                    </a:cubicBezTo>
                    <a:cubicBezTo>
                      <a:pt x="8467" y="57150"/>
                      <a:pt x="10372" y="54293"/>
                      <a:pt x="8467" y="57150"/>
                    </a:cubicBezTo>
                    <a:cubicBezTo>
                      <a:pt x="6562" y="60007"/>
                      <a:pt x="847" y="65723"/>
                      <a:pt x="847" y="67627"/>
                    </a:cubicBezTo>
                    <a:cubicBezTo>
                      <a:pt x="847" y="69532"/>
                      <a:pt x="-1058" y="71437"/>
                      <a:pt x="847" y="74295"/>
                    </a:cubicBezTo>
                    <a:cubicBezTo>
                      <a:pt x="2752" y="77152"/>
                      <a:pt x="-1058" y="72390"/>
                      <a:pt x="2752" y="77152"/>
                    </a:cubicBezTo>
                    <a:cubicBezTo>
                      <a:pt x="6562" y="80962"/>
                      <a:pt x="8467" y="80010"/>
                      <a:pt x="9419" y="83820"/>
                    </a:cubicBezTo>
                    <a:cubicBezTo>
                      <a:pt x="10372" y="87630"/>
                      <a:pt x="12277" y="86677"/>
                      <a:pt x="12277" y="91440"/>
                    </a:cubicBezTo>
                    <a:cubicBezTo>
                      <a:pt x="12277" y="96202"/>
                      <a:pt x="11324" y="100965"/>
                      <a:pt x="11324" y="100965"/>
                    </a:cubicBezTo>
                    <a:lnTo>
                      <a:pt x="17039" y="106680"/>
                    </a:lnTo>
                    <a:cubicBezTo>
                      <a:pt x="17039" y="106680"/>
                      <a:pt x="27517" y="111443"/>
                      <a:pt x="33232" y="112395"/>
                    </a:cubicBezTo>
                    <a:cubicBezTo>
                      <a:pt x="38947" y="114300"/>
                      <a:pt x="38947" y="114300"/>
                      <a:pt x="38947" y="114300"/>
                    </a:cubicBezTo>
                    <a:cubicBezTo>
                      <a:pt x="38947" y="114300"/>
                      <a:pt x="51329" y="113348"/>
                      <a:pt x="54187" y="113348"/>
                    </a:cubicBezTo>
                    <a:cubicBezTo>
                      <a:pt x="57997" y="113348"/>
                      <a:pt x="52282" y="114300"/>
                      <a:pt x="57997" y="113348"/>
                    </a:cubicBezTo>
                    <a:cubicBezTo>
                      <a:pt x="63712" y="112395"/>
                      <a:pt x="67522" y="112395"/>
                      <a:pt x="67522" y="112395"/>
                    </a:cubicBezTo>
                    <a:lnTo>
                      <a:pt x="80857" y="114300"/>
                    </a:lnTo>
                    <a:lnTo>
                      <a:pt x="89429" y="119062"/>
                    </a:lnTo>
                    <a:cubicBezTo>
                      <a:pt x="89429" y="119062"/>
                      <a:pt x="91334" y="119062"/>
                      <a:pt x="95144" y="120015"/>
                    </a:cubicBezTo>
                    <a:cubicBezTo>
                      <a:pt x="98002" y="120968"/>
                      <a:pt x="104669" y="120015"/>
                      <a:pt x="110384" y="120015"/>
                    </a:cubicBezTo>
                    <a:cubicBezTo>
                      <a:pt x="116099" y="120015"/>
                      <a:pt x="112289" y="123825"/>
                      <a:pt x="116099" y="120015"/>
                    </a:cubicBezTo>
                    <a:cubicBezTo>
                      <a:pt x="119909" y="116205"/>
                      <a:pt x="120862" y="108585"/>
                      <a:pt x="120862" y="108585"/>
                    </a:cubicBezTo>
                    <a:lnTo>
                      <a:pt x="120862" y="100965"/>
                    </a:lnTo>
                    <a:lnTo>
                      <a:pt x="127529" y="97155"/>
                    </a:lnTo>
                    <a:cubicBezTo>
                      <a:pt x="134197" y="93345"/>
                      <a:pt x="138959" y="91440"/>
                      <a:pt x="141817" y="89535"/>
                    </a:cubicBezTo>
                    <a:cubicBezTo>
                      <a:pt x="145626" y="87630"/>
                      <a:pt x="147532" y="80962"/>
                      <a:pt x="147532" y="80962"/>
                    </a:cubicBezTo>
                    <a:lnTo>
                      <a:pt x="148484" y="77152"/>
                    </a:lnTo>
                    <a:cubicBezTo>
                      <a:pt x="148484" y="77152"/>
                      <a:pt x="148484" y="76200"/>
                      <a:pt x="153247" y="75248"/>
                    </a:cubicBezTo>
                    <a:cubicBezTo>
                      <a:pt x="158009" y="74295"/>
                      <a:pt x="158962" y="70485"/>
                      <a:pt x="159914" y="68580"/>
                    </a:cubicBezTo>
                    <a:cubicBezTo>
                      <a:pt x="160867" y="66675"/>
                      <a:pt x="161819" y="64770"/>
                      <a:pt x="161819" y="61912"/>
                    </a:cubicBezTo>
                    <a:cubicBezTo>
                      <a:pt x="161819" y="59055"/>
                      <a:pt x="160867" y="53340"/>
                      <a:pt x="160867" y="53340"/>
                    </a:cubicBezTo>
                    <a:lnTo>
                      <a:pt x="157057" y="44768"/>
                    </a:lnTo>
                    <a:lnTo>
                      <a:pt x="155151" y="40005"/>
                    </a:lnTo>
                    <a:cubicBezTo>
                      <a:pt x="155151" y="40005"/>
                      <a:pt x="152294" y="38100"/>
                      <a:pt x="157057" y="35243"/>
                    </a:cubicBezTo>
                    <a:cubicBezTo>
                      <a:pt x="162772" y="31432"/>
                      <a:pt x="162772" y="31432"/>
                      <a:pt x="162772" y="31432"/>
                    </a:cubicBezTo>
                    <a:cubicBezTo>
                      <a:pt x="162772" y="31432"/>
                      <a:pt x="163724" y="30480"/>
                      <a:pt x="167534" y="29527"/>
                    </a:cubicBezTo>
                    <a:cubicBezTo>
                      <a:pt x="170392" y="28575"/>
                      <a:pt x="172297" y="26670"/>
                      <a:pt x="175154" y="26670"/>
                    </a:cubicBezTo>
                    <a:cubicBezTo>
                      <a:pt x="178012" y="26670"/>
                      <a:pt x="182774" y="26670"/>
                      <a:pt x="183726" y="22860"/>
                    </a:cubicBezTo>
                    <a:cubicBezTo>
                      <a:pt x="184679" y="19050"/>
                      <a:pt x="184679" y="16193"/>
                      <a:pt x="184679" y="16193"/>
                    </a:cubicBezTo>
                    <a:cubicBezTo>
                      <a:pt x="181822" y="13335"/>
                      <a:pt x="177059" y="12382"/>
                      <a:pt x="177059" y="12382"/>
                    </a:cubicBezTo>
                    <a:cubicBezTo>
                      <a:pt x="177059" y="12382"/>
                      <a:pt x="172297" y="12382"/>
                      <a:pt x="169439" y="12382"/>
                    </a:cubicBezTo>
                    <a:cubicBezTo>
                      <a:pt x="166582" y="12382"/>
                      <a:pt x="156104" y="5715"/>
                      <a:pt x="156104" y="5715"/>
                    </a:cubicBezTo>
                    <a:lnTo>
                      <a:pt x="154199" y="1905"/>
                    </a:lnTo>
                    <a:lnTo>
                      <a:pt x="141817" y="0"/>
                    </a:lnTo>
                    <a:lnTo>
                      <a:pt x="131339" y="4763"/>
                    </a:lnTo>
                    <a:cubicBezTo>
                      <a:pt x="131339" y="4763"/>
                      <a:pt x="126576" y="4763"/>
                      <a:pt x="126576" y="8573"/>
                    </a:cubicBezTo>
                    <a:cubicBezTo>
                      <a:pt x="126576" y="12382"/>
                      <a:pt x="125624" y="15240"/>
                      <a:pt x="118957" y="19050"/>
                    </a:cubicBezTo>
                    <a:cubicBezTo>
                      <a:pt x="112289" y="22860"/>
                      <a:pt x="98954" y="27623"/>
                      <a:pt x="98954" y="27623"/>
                    </a:cubicBezTo>
                    <a:cubicBezTo>
                      <a:pt x="97049" y="31432"/>
                      <a:pt x="94192" y="30480"/>
                      <a:pt x="90382" y="33337"/>
                    </a:cubicBezTo>
                    <a:cubicBezTo>
                      <a:pt x="85619" y="36195"/>
                      <a:pt x="98002" y="34290"/>
                      <a:pt x="85619" y="36195"/>
                    </a:cubicBezTo>
                    <a:cubicBezTo>
                      <a:pt x="73237" y="38100"/>
                      <a:pt x="63712" y="37148"/>
                      <a:pt x="63712" y="39052"/>
                    </a:cubicBezTo>
                    <a:cubicBezTo>
                      <a:pt x="63712" y="40957"/>
                      <a:pt x="60854" y="40005"/>
                      <a:pt x="58949" y="42862"/>
                    </a:cubicBezTo>
                    <a:cubicBezTo>
                      <a:pt x="57997" y="45720"/>
                      <a:pt x="65617" y="39052"/>
                      <a:pt x="57997" y="45720"/>
                    </a:cubicBezTo>
                    <a:cubicBezTo>
                      <a:pt x="50377" y="52387"/>
                      <a:pt x="50377" y="52387"/>
                      <a:pt x="50377" y="52387"/>
                    </a:cubicBezTo>
                    <a:lnTo>
                      <a:pt x="36089" y="51435"/>
                    </a:lnTo>
                    <a:close/>
                  </a:path>
                </a:pathLst>
              </a:custGeom>
              <a:grpFill/>
              <a:ln w="9525" cap="flat">
                <a:noFill/>
                <a:prstDash val="solid"/>
                <a:miter/>
              </a:ln>
            </p:spPr>
            <p:txBody>
              <a:bodyPr rtlCol="0" anchor="ctr"/>
              <a:lstStyle/>
              <a:p>
                <a:endParaRPr lang="en-US" sz="1765"/>
              </a:p>
            </p:txBody>
          </p:sp>
          <p:sp>
            <p:nvSpPr>
              <p:cNvPr id="294" name="Freeform: Shape 293">
                <a:extLst>
                  <a:ext uri="{FF2B5EF4-FFF2-40B4-BE49-F238E27FC236}">
                    <a16:creationId xmlns:a16="http://schemas.microsoft.com/office/drawing/2014/main" id="{747B30C2-255F-4DA3-9387-C98AF164E378}"/>
                  </a:ext>
                </a:extLst>
              </p:cNvPr>
              <p:cNvSpPr/>
              <p:nvPr/>
            </p:nvSpPr>
            <p:spPr>
              <a:xfrm>
                <a:off x="10261229" y="4082144"/>
                <a:ext cx="82949" cy="53339"/>
              </a:xfrm>
              <a:custGeom>
                <a:avLst/>
                <a:gdLst>
                  <a:gd name="connsiteX0" fmla="*/ 76282 w 82949"/>
                  <a:gd name="connsiteY0" fmla="*/ 0 h 53339"/>
                  <a:gd name="connsiteX1" fmla="*/ 53422 w 82949"/>
                  <a:gd name="connsiteY1" fmla="*/ 2857 h 53339"/>
                  <a:gd name="connsiteX2" fmla="*/ 41992 w 82949"/>
                  <a:gd name="connsiteY2" fmla="*/ 3810 h 53339"/>
                  <a:gd name="connsiteX3" fmla="*/ 16274 w 82949"/>
                  <a:gd name="connsiteY3" fmla="*/ 3810 h 53339"/>
                  <a:gd name="connsiteX4" fmla="*/ 7702 w 82949"/>
                  <a:gd name="connsiteY4" fmla="*/ 8572 h 53339"/>
                  <a:gd name="connsiteX5" fmla="*/ 82 w 82949"/>
                  <a:gd name="connsiteY5" fmla="*/ 18097 h 53339"/>
                  <a:gd name="connsiteX6" fmla="*/ 1035 w 82949"/>
                  <a:gd name="connsiteY6" fmla="*/ 20002 h 53339"/>
                  <a:gd name="connsiteX7" fmla="*/ 8654 w 82949"/>
                  <a:gd name="connsiteY7" fmla="*/ 26670 h 53339"/>
                  <a:gd name="connsiteX8" fmla="*/ 10560 w 82949"/>
                  <a:gd name="connsiteY8" fmla="*/ 31432 h 53339"/>
                  <a:gd name="connsiteX9" fmla="*/ 8654 w 82949"/>
                  <a:gd name="connsiteY9" fmla="*/ 38100 h 53339"/>
                  <a:gd name="connsiteX10" fmla="*/ 4845 w 82949"/>
                  <a:gd name="connsiteY10" fmla="*/ 45720 h 53339"/>
                  <a:gd name="connsiteX11" fmla="*/ 3892 w 82949"/>
                  <a:gd name="connsiteY11" fmla="*/ 50482 h 53339"/>
                  <a:gd name="connsiteX12" fmla="*/ 10560 w 82949"/>
                  <a:gd name="connsiteY12" fmla="*/ 53340 h 53339"/>
                  <a:gd name="connsiteX13" fmla="*/ 19132 w 82949"/>
                  <a:gd name="connsiteY13" fmla="*/ 53340 h 53339"/>
                  <a:gd name="connsiteX14" fmla="*/ 23895 w 82949"/>
                  <a:gd name="connsiteY14" fmla="*/ 52388 h 53339"/>
                  <a:gd name="connsiteX15" fmla="*/ 21990 w 82949"/>
                  <a:gd name="connsiteY15" fmla="*/ 44767 h 53339"/>
                  <a:gd name="connsiteX16" fmla="*/ 24847 w 82949"/>
                  <a:gd name="connsiteY16" fmla="*/ 36195 h 53339"/>
                  <a:gd name="connsiteX17" fmla="*/ 28657 w 82949"/>
                  <a:gd name="connsiteY17" fmla="*/ 32385 h 53339"/>
                  <a:gd name="connsiteX18" fmla="*/ 37229 w 82949"/>
                  <a:gd name="connsiteY18" fmla="*/ 32385 h 53339"/>
                  <a:gd name="connsiteX19" fmla="*/ 42945 w 82949"/>
                  <a:gd name="connsiteY19" fmla="*/ 31432 h 53339"/>
                  <a:gd name="connsiteX20" fmla="*/ 45802 w 82949"/>
                  <a:gd name="connsiteY20" fmla="*/ 35242 h 53339"/>
                  <a:gd name="connsiteX21" fmla="*/ 49612 w 82949"/>
                  <a:gd name="connsiteY21" fmla="*/ 41910 h 53339"/>
                  <a:gd name="connsiteX22" fmla="*/ 57232 w 82949"/>
                  <a:gd name="connsiteY22" fmla="*/ 48577 h 53339"/>
                  <a:gd name="connsiteX23" fmla="*/ 62947 w 82949"/>
                  <a:gd name="connsiteY23" fmla="*/ 50482 h 53339"/>
                  <a:gd name="connsiteX24" fmla="*/ 67710 w 82949"/>
                  <a:gd name="connsiteY24" fmla="*/ 50482 h 53339"/>
                  <a:gd name="connsiteX25" fmla="*/ 69615 w 82949"/>
                  <a:gd name="connsiteY25" fmla="*/ 43815 h 53339"/>
                  <a:gd name="connsiteX26" fmla="*/ 75329 w 82949"/>
                  <a:gd name="connsiteY26" fmla="*/ 42863 h 53339"/>
                  <a:gd name="connsiteX27" fmla="*/ 81045 w 82949"/>
                  <a:gd name="connsiteY27" fmla="*/ 41910 h 53339"/>
                  <a:gd name="connsiteX28" fmla="*/ 81997 w 82949"/>
                  <a:gd name="connsiteY28" fmla="*/ 32385 h 53339"/>
                  <a:gd name="connsiteX29" fmla="*/ 82949 w 82949"/>
                  <a:gd name="connsiteY29" fmla="*/ 28575 h 53339"/>
                  <a:gd name="connsiteX30" fmla="*/ 81045 w 82949"/>
                  <a:gd name="connsiteY30" fmla="*/ 24765 h 53339"/>
                  <a:gd name="connsiteX31" fmla="*/ 70567 w 82949"/>
                  <a:gd name="connsiteY31" fmla="*/ 20002 h 53339"/>
                  <a:gd name="connsiteX32" fmla="*/ 64852 w 82949"/>
                  <a:gd name="connsiteY32" fmla="*/ 14288 h 53339"/>
                  <a:gd name="connsiteX33" fmla="*/ 71520 w 82949"/>
                  <a:gd name="connsiteY33" fmla="*/ 8572 h 53339"/>
                  <a:gd name="connsiteX34" fmla="*/ 76282 w 82949"/>
                  <a:gd name="connsiteY34" fmla="*/ 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949" h="53339">
                    <a:moveTo>
                      <a:pt x="76282" y="0"/>
                    </a:moveTo>
                    <a:cubicBezTo>
                      <a:pt x="76282" y="0"/>
                      <a:pt x="56279" y="1905"/>
                      <a:pt x="53422" y="2857"/>
                    </a:cubicBezTo>
                    <a:cubicBezTo>
                      <a:pt x="49612" y="3810"/>
                      <a:pt x="41992" y="3810"/>
                      <a:pt x="41992" y="3810"/>
                    </a:cubicBezTo>
                    <a:lnTo>
                      <a:pt x="16274" y="3810"/>
                    </a:lnTo>
                    <a:cubicBezTo>
                      <a:pt x="10560" y="4763"/>
                      <a:pt x="8654" y="5715"/>
                      <a:pt x="7702" y="8572"/>
                    </a:cubicBezTo>
                    <a:cubicBezTo>
                      <a:pt x="6749" y="11430"/>
                      <a:pt x="-871" y="15240"/>
                      <a:pt x="82" y="18097"/>
                    </a:cubicBezTo>
                    <a:cubicBezTo>
                      <a:pt x="1035" y="20002"/>
                      <a:pt x="1035" y="20002"/>
                      <a:pt x="1035" y="20002"/>
                    </a:cubicBezTo>
                    <a:lnTo>
                      <a:pt x="8654" y="26670"/>
                    </a:lnTo>
                    <a:lnTo>
                      <a:pt x="10560" y="31432"/>
                    </a:lnTo>
                    <a:cubicBezTo>
                      <a:pt x="10560" y="31432"/>
                      <a:pt x="10560" y="34290"/>
                      <a:pt x="8654" y="38100"/>
                    </a:cubicBezTo>
                    <a:cubicBezTo>
                      <a:pt x="6749" y="41910"/>
                      <a:pt x="6749" y="43815"/>
                      <a:pt x="4845" y="45720"/>
                    </a:cubicBezTo>
                    <a:cubicBezTo>
                      <a:pt x="3892" y="47625"/>
                      <a:pt x="3892" y="50482"/>
                      <a:pt x="3892" y="50482"/>
                    </a:cubicBezTo>
                    <a:lnTo>
                      <a:pt x="10560" y="53340"/>
                    </a:lnTo>
                    <a:lnTo>
                      <a:pt x="19132" y="53340"/>
                    </a:lnTo>
                    <a:lnTo>
                      <a:pt x="23895" y="52388"/>
                    </a:lnTo>
                    <a:lnTo>
                      <a:pt x="21990" y="44767"/>
                    </a:lnTo>
                    <a:lnTo>
                      <a:pt x="24847" y="36195"/>
                    </a:lnTo>
                    <a:lnTo>
                      <a:pt x="28657" y="32385"/>
                    </a:lnTo>
                    <a:lnTo>
                      <a:pt x="37229" y="32385"/>
                    </a:lnTo>
                    <a:lnTo>
                      <a:pt x="42945" y="31432"/>
                    </a:lnTo>
                    <a:cubicBezTo>
                      <a:pt x="42945" y="31432"/>
                      <a:pt x="44849" y="33338"/>
                      <a:pt x="45802" y="35242"/>
                    </a:cubicBezTo>
                    <a:cubicBezTo>
                      <a:pt x="46754" y="37147"/>
                      <a:pt x="47707" y="39052"/>
                      <a:pt x="49612" y="41910"/>
                    </a:cubicBezTo>
                    <a:cubicBezTo>
                      <a:pt x="51517" y="45720"/>
                      <a:pt x="57232" y="48577"/>
                      <a:pt x="57232" y="48577"/>
                    </a:cubicBezTo>
                    <a:lnTo>
                      <a:pt x="62947" y="50482"/>
                    </a:lnTo>
                    <a:lnTo>
                      <a:pt x="67710" y="50482"/>
                    </a:lnTo>
                    <a:cubicBezTo>
                      <a:pt x="67710" y="50482"/>
                      <a:pt x="64852" y="45720"/>
                      <a:pt x="69615" y="43815"/>
                    </a:cubicBezTo>
                    <a:cubicBezTo>
                      <a:pt x="75329" y="42863"/>
                      <a:pt x="75329" y="42863"/>
                      <a:pt x="75329" y="42863"/>
                    </a:cubicBezTo>
                    <a:lnTo>
                      <a:pt x="81045" y="41910"/>
                    </a:lnTo>
                    <a:lnTo>
                      <a:pt x="81997" y="32385"/>
                    </a:lnTo>
                    <a:lnTo>
                      <a:pt x="82949" y="28575"/>
                    </a:lnTo>
                    <a:lnTo>
                      <a:pt x="81045" y="24765"/>
                    </a:lnTo>
                    <a:lnTo>
                      <a:pt x="70567" y="20002"/>
                    </a:lnTo>
                    <a:lnTo>
                      <a:pt x="64852" y="14288"/>
                    </a:lnTo>
                    <a:cubicBezTo>
                      <a:pt x="64852" y="14288"/>
                      <a:pt x="68662" y="10477"/>
                      <a:pt x="71520" y="8572"/>
                    </a:cubicBezTo>
                    <a:cubicBezTo>
                      <a:pt x="73424" y="6667"/>
                      <a:pt x="76282" y="0"/>
                      <a:pt x="76282" y="0"/>
                    </a:cubicBezTo>
                    <a:close/>
                  </a:path>
                </a:pathLst>
              </a:custGeom>
              <a:grpFill/>
              <a:ln w="9525" cap="flat">
                <a:noFill/>
                <a:prstDash val="solid"/>
                <a:miter/>
              </a:ln>
            </p:spPr>
            <p:txBody>
              <a:bodyPr rtlCol="0" anchor="ctr"/>
              <a:lstStyle/>
              <a:p>
                <a:endParaRPr lang="en-US" sz="1765"/>
              </a:p>
            </p:txBody>
          </p:sp>
          <p:sp>
            <p:nvSpPr>
              <p:cNvPr id="295" name="Freeform: Shape 294">
                <a:extLst>
                  <a:ext uri="{FF2B5EF4-FFF2-40B4-BE49-F238E27FC236}">
                    <a16:creationId xmlns:a16="http://schemas.microsoft.com/office/drawing/2014/main" id="{3FB6EEC8-4E53-4AA4-A41A-5F679E531214}"/>
                  </a:ext>
                </a:extLst>
              </p:cNvPr>
              <p:cNvSpPr/>
              <p:nvPr/>
            </p:nvSpPr>
            <p:spPr>
              <a:xfrm>
                <a:off x="10282596" y="4057140"/>
                <a:ext cx="88252" cy="16430"/>
              </a:xfrm>
              <a:custGeom>
                <a:avLst/>
                <a:gdLst>
                  <a:gd name="connsiteX0" fmla="*/ 83490 w 88252"/>
                  <a:gd name="connsiteY0" fmla="*/ 7858 h 16430"/>
                  <a:gd name="connsiteX1" fmla="*/ 69202 w 88252"/>
                  <a:gd name="connsiteY1" fmla="*/ 12621 h 16430"/>
                  <a:gd name="connsiteX2" fmla="*/ 51105 w 88252"/>
                  <a:gd name="connsiteY2" fmla="*/ 13573 h 16430"/>
                  <a:gd name="connsiteX3" fmla="*/ 34912 w 88252"/>
                  <a:gd name="connsiteY3" fmla="*/ 13573 h 16430"/>
                  <a:gd name="connsiteX4" fmla="*/ 16815 w 88252"/>
                  <a:gd name="connsiteY4" fmla="*/ 16431 h 16430"/>
                  <a:gd name="connsiteX5" fmla="*/ 4432 w 88252"/>
                  <a:gd name="connsiteY5" fmla="*/ 16431 h 16430"/>
                  <a:gd name="connsiteX6" fmla="*/ 622 w 88252"/>
                  <a:gd name="connsiteY6" fmla="*/ 10716 h 16430"/>
                  <a:gd name="connsiteX7" fmla="*/ 1574 w 88252"/>
                  <a:gd name="connsiteY7" fmla="*/ 7858 h 16430"/>
                  <a:gd name="connsiteX8" fmla="*/ 4432 w 88252"/>
                  <a:gd name="connsiteY8" fmla="*/ 7858 h 16430"/>
                  <a:gd name="connsiteX9" fmla="*/ 15862 w 88252"/>
                  <a:gd name="connsiteY9" fmla="*/ 5953 h 16430"/>
                  <a:gd name="connsiteX10" fmla="*/ 32055 w 88252"/>
                  <a:gd name="connsiteY10" fmla="*/ 4048 h 16430"/>
                  <a:gd name="connsiteX11" fmla="*/ 45390 w 88252"/>
                  <a:gd name="connsiteY11" fmla="*/ 238 h 16430"/>
                  <a:gd name="connsiteX12" fmla="*/ 53962 w 88252"/>
                  <a:gd name="connsiteY12" fmla="*/ 1191 h 16430"/>
                  <a:gd name="connsiteX13" fmla="*/ 68249 w 88252"/>
                  <a:gd name="connsiteY13" fmla="*/ 2143 h 16430"/>
                  <a:gd name="connsiteX14" fmla="*/ 80632 w 88252"/>
                  <a:gd name="connsiteY14" fmla="*/ 238 h 16430"/>
                  <a:gd name="connsiteX15" fmla="*/ 88252 w 88252"/>
                  <a:gd name="connsiteY15" fmla="*/ 238 h 16430"/>
                  <a:gd name="connsiteX16" fmla="*/ 83490 w 88252"/>
                  <a:gd name="connsiteY16" fmla="*/ 7858 h 1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252" h="16430">
                    <a:moveTo>
                      <a:pt x="83490" y="7858"/>
                    </a:moveTo>
                    <a:cubicBezTo>
                      <a:pt x="83490" y="7858"/>
                      <a:pt x="74917" y="11668"/>
                      <a:pt x="69202" y="12621"/>
                    </a:cubicBezTo>
                    <a:cubicBezTo>
                      <a:pt x="63487" y="13573"/>
                      <a:pt x="56819" y="13573"/>
                      <a:pt x="51105" y="13573"/>
                    </a:cubicBezTo>
                    <a:cubicBezTo>
                      <a:pt x="45390" y="13573"/>
                      <a:pt x="38722" y="12621"/>
                      <a:pt x="34912" y="13573"/>
                    </a:cubicBezTo>
                    <a:cubicBezTo>
                      <a:pt x="30149" y="14526"/>
                      <a:pt x="16815" y="16431"/>
                      <a:pt x="16815" y="16431"/>
                    </a:cubicBezTo>
                    <a:lnTo>
                      <a:pt x="4432" y="16431"/>
                    </a:lnTo>
                    <a:lnTo>
                      <a:pt x="622" y="10716"/>
                    </a:lnTo>
                    <a:cubicBezTo>
                      <a:pt x="622" y="10716"/>
                      <a:pt x="-1283" y="7858"/>
                      <a:pt x="1574" y="7858"/>
                    </a:cubicBezTo>
                    <a:cubicBezTo>
                      <a:pt x="4432" y="7858"/>
                      <a:pt x="622" y="8811"/>
                      <a:pt x="4432" y="7858"/>
                    </a:cubicBezTo>
                    <a:cubicBezTo>
                      <a:pt x="9194" y="6906"/>
                      <a:pt x="15862" y="5953"/>
                      <a:pt x="15862" y="5953"/>
                    </a:cubicBezTo>
                    <a:lnTo>
                      <a:pt x="32055" y="4048"/>
                    </a:lnTo>
                    <a:lnTo>
                      <a:pt x="45390" y="238"/>
                    </a:lnTo>
                    <a:cubicBezTo>
                      <a:pt x="45390" y="238"/>
                      <a:pt x="47294" y="-714"/>
                      <a:pt x="53962" y="1191"/>
                    </a:cubicBezTo>
                    <a:cubicBezTo>
                      <a:pt x="60630" y="3096"/>
                      <a:pt x="62535" y="2143"/>
                      <a:pt x="68249" y="2143"/>
                    </a:cubicBezTo>
                    <a:cubicBezTo>
                      <a:pt x="73965" y="2143"/>
                      <a:pt x="80632" y="238"/>
                      <a:pt x="80632" y="238"/>
                    </a:cubicBezTo>
                    <a:lnTo>
                      <a:pt x="88252" y="238"/>
                    </a:lnTo>
                    <a:lnTo>
                      <a:pt x="83490" y="7858"/>
                    </a:lnTo>
                    <a:close/>
                  </a:path>
                </a:pathLst>
              </a:custGeom>
              <a:grpFill/>
              <a:ln w="9525" cap="flat">
                <a:noFill/>
                <a:prstDash val="solid"/>
                <a:miter/>
              </a:ln>
            </p:spPr>
            <p:txBody>
              <a:bodyPr rtlCol="0" anchor="ctr"/>
              <a:lstStyle/>
              <a:p>
                <a:endParaRPr lang="en-US" sz="1765"/>
              </a:p>
            </p:txBody>
          </p:sp>
          <p:sp>
            <p:nvSpPr>
              <p:cNvPr id="296" name="Freeform: Shape 295">
                <a:extLst>
                  <a:ext uri="{FF2B5EF4-FFF2-40B4-BE49-F238E27FC236}">
                    <a16:creationId xmlns:a16="http://schemas.microsoft.com/office/drawing/2014/main" id="{F3225C24-2F83-47FA-83EE-6249F9B5675C}"/>
                  </a:ext>
                </a:extLst>
              </p:cNvPr>
              <p:cNvSpPr/>
              <p:nvPr/>
            </p:nvSpPr>
            <p:spPr>
              <a:xfrm>
                <a:off x="10345817" y="4157391"/>
                <a:ext cx="73609" cy="38100"/>
              </a:xfrm>
              <a:custGeom>
                <a:avLst/>
                <a:gdLst>
                  <a:gd name="connsiteX0" fmla="*/ 54559 w 73609"/>
                  <a:gd name="connsiteY0" fmla="*/ 4763 h 38100"/>
                  <a:gd name="connsiteX1" fmla="*/ 45986 w 73609"/>
                  <a:gd name="connsiteY1" fmla="*/ 8572 h 38100"/>
                  <a:gd name="connsiteX2" fmla="*/ 37414 w 73609"/>
                  <a:gd name="connsiteY2" fmla="*/ 10478 h 38100"/>
                  <a:gd name="connsiteX3" fmla="*/ 34557 w 73609"/>
                  <a:gd name="connsiteY3" fmla="*/ 10478 h 38100"/>
                  <a:gd name="connsiteX4" fmla="*/ 29794 w 73609"/>
                  <a:gd name="connsiteY4" fmla="*/ 14288 h 38100"/>
                  <a:gd name="connsiteX5" fmla="*/ 9792 w 73609"/>
                  <a:gd name="connsiteY5" fmla="*/ 20003 h 38100"/>
                  <a:gd name="connsiteX6" fmla="*/ 8839 w 73609"/>
                  <a:gd name="connsiteY6" fmla="*/ 21908 h 38100"/>
                  <a:gd name="connsiteX7" fmla="*/ 1219 w 73609"/>
                  <a:gd name="connsiteY7" fmla="*/ 28575 h 38100"/>
                  <a:gd name="connsiteX8" fmla="*/ 267 w 73609"/>
                  <a:gd name="connsiteY8" fmla="*/ 32385 h 38100"/>
                  <a:gd name="connsiteX9" fmla="*/ 8839 w 73609"/>
                  <a:gd name="connsiteY9" fmla="*/ 38100 h 38100"/>
                  <a:gd name="connsiteX10" fmla="*/ 17411 w 73609"/>
                  <a:gd name="connsiteY10" fmla="*/ 35242 h 38100"/>
                  <a:gd name="connsiteX11" fmla="*/ 23127 w 73609"/>
                  <a:gd name="connsiteY11" fmla="*/ 25717 h 38100"/>
                  <a:gd name="connsiteX12" fmla="*/ 29794 w 73609"/>
                  <a:gd name="connsiteY12" fmla="*/ 19050 h 38100"/>
                  <a:gd name="connsiteX13" fmla="*/ 36461 w 73609"/>
                  <a:gd name="connsiteY13" fmla="*/ 19050 h 38100"/>
                  <a:gd name="connsiteX14" fmla="*/ 55511 w 73609"/>
                  <a:gd name="connsiteY14" fmla="*/ 15240 h 38100"/>
                  <a:gd name="connsiteX15" fmla="*/ 59322 w 73609"/>
                  <a:gd name="connsiteY15" fmla="*/ 12383 h 38100"/>
                  <a:gd name="connsiteX16" fmla="*/ 72657 w 73609"/>
                  <a:gd name="connsiteY16" fmla="*/ 8572 h 38100"/>
                  <a:gd name="connsiteX17" fmla="*/ 73609 w 73609"/>
                  <a:gd name="connsiteY17" fmla="*/ 4763 h 38100"/>
                  <a:gd name="connsiteX18" fmla="*/ 66942 w 73609"/>
                  <a:gd name="connsiteY18" fmla="*/ 0 h 38100"/>
                  <a:gd name="connsiteX19" fmla="*/ 54559 w 73609"/>
                  <a:gd name="connsiteY19" fmla="*/ 47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09" h="38100">
                    <a:moveTo>
                      <a:pt x="54559" y="4763"/>
                    </a:moveTo>
                    <a:cubicBezTo>
                      <a:pt x="54559" y="4763"/>
                      <a:pt x="47892" y="5715"/>
                      <a:pt x="45986" y="8572"/>
                    </a:cubicBezTo>
                    <a:cubicBezTo>
                      <a:pt x="44082" y="10478"/>
                      <a:pt x="40272" y="10478"/>
                      <a:pt x="37414" y="10478"/>
                    </a:cubicBezTo>
                    <a:cubicBezTo>
                      <a:pt x="34557" y="10478"/>
                      <a:pt x="38367" y="6667"/>
                      <a:pt x="34557" y="10478"/>
                    </a:cubicBezTo>
                    <a:cubicBezTo>
                      <a:pt x="29794" y="14288"/>
                      <a:pt x="41224" y="12383"/>
                      <a:pt x="29794" y="14288"/>
                    </a:cubicBezTo>
                    <a:cubicBezTo>
                      <a:pt x="18364" y="17145"/>
                      <a:pt x="10744" y="18097"/>
                      <a:pt x="9792" y="20003"/>
                    </a:cubicBezTo>
                    <a:cubicBezTo>
                      <a:pt x="8839" y="21908"/>
                      <a:pt x="12649" y="19050"/>
                      <a:pt x="8839" y="21908"/>
                    </a:cubicBezTo>
                    <a:cubicBezTo>
                      <a:pt x="4077" y="24765"/>
                      <a:pt x="1219" y="28575"/>
                      <a:pt x="1219" y="28575"/>
                    </a:cubicBezTo>
                    <a:cubicBezTo>
                      <a:pt x="1219" y="28575"/>
                      <a:pt x="-686" y="28575"/>
                      <a:pt x="267" y="32385"/>
                    </a:cubicBezTo>
                    <a:cubicBezTo>
                      <a:pt x="1219" y="36195"/>
                      <a:pt x="8839" y="38100"/>
                      <a:pt x="8839" y="38100"/>
                    </a:cubicBezTo>
                    <a:cubicBezTo>
                      <a:pt x="8839" y="38100"/>
                      <a:pt x="15507" y="38100"/>
                      <a:pt x="17411" y="35242"/>
                    </a:cubicBezTo>
                    <a:cubicBezTo>
                      <a:pt x="19317" y="32385"/>
                      <a:pt x="21222" y="29528"/>
                      <a:pt x="23127" y="25717"/>
                    </a:cubicBezTo>
                    <a:cubicBezTo>
                      <a:pt x="25032" y="21908"/>
                      <a:pt x="29794" y="19050"/>
                      <a:pt x="29794" y="19050"/>
                    </a:cubicBezTo>
                    <a:lnTo>
                      <a:pt x="36461" y="19050"/>
                    </a:lnTo>
                    <a:lnTo>
                      <a:pt x="55511" y="15240"/>
                    </a:lnTo>
                    <a:lnTo>
                      <a:pt x="59322" y="12383"/>
                    </a:lnTo>
                    <a:lnTo>
                      <a:pt x="72657" y="8572"/>
                    </a:lnTo>
                    <a:lnTo>
                      <a:pt x="73609" y="4763"/>
                    </a:lnTo>
                    <a:lnTo>
                      <a:pt x="66942" y="0"/>
                    </a:lnTo>
                    <a:lnTo>
                      <a:pt x="54559" y="4763"/>
                    </a:lnTo>
                    <a:close/>
                  </a:path>
                </a:pathLst>
              </a:custGeom>
              <a:grpFill/>
              <a:ln w="9525" cap="flat">
                <a:noFill/>
                <a:prstDash val="solid"/>
                <a:miter/>
              </a:ln>
            </p:spPr>
            <p:txBody>
              <a:bodyPr rtlCol="0" anchor="ctr"/>
              <a:lstStyle/>
              <a:p>
                <a:endParaRPr lang="en-US" sz="1765"/>
              </a:p>
            </p:txBody>
          </p:sp>
          <p:sp>
            <p:nvSpPr>
              <p:cNvPr id="297" name="Freeform: Shape 296">
                <a:extLst>
                  <a:ext uri="{FF2B5EF4-FFF2-40B4-BE49-F238E27FC236}">
                    <a16:creationId xmlns:a16="http://schemas.microsoft.com/office/drawing/2014/main" id="{C9055B71-00D6-445C-B297-85D4C3FFE331}"/>
                  </a:ext>
                </a:extLst>
              </p:cNvPr>
              <p:cNvSpPr/>
              <p:nvPr/>
            </p:nvSpPr>
            <p:spPr>
              <a:xfrm>
                <a:off x="10318778" y="3951228"/>
                <a:ext cx="81597" cy="61383"/>
              </a:xfrm>
              <a:custGeom>
                <a:avLst/>
                <a:gdLst>
                  <a:gd name="connsiteX0" fmla="*/ 79692 w 81597"/>
                  <a:gd name="connsiteY0" fmla="*/ 49001 h 61383"/>
                  <a:gd name="connsiteX1" fmla="*/ 74930 w 81597"/>
                  <a:gd name="connsiteY1" fmla="*/ 53763 h 61383"/>
                  <a:gd name="connsiteX2" fmla="*/ 70167 w 81597"/>
                  <a:gd name="connsiteY2" fmla="*/ 59478 h 61383"/>
                  <a:gd name="connsiteX3" fmla="*/ 56833 w 81597"/>
                  <a:gd name="connsiteY3" fmla="*/ 61383 h 61383"/>
                  <a:gd name="connsiteX4" fmla="*/ 50165 w 81597"/>
                  <a:gd name="connsiteY4" fmla="*/ 58526 h 61383"/>
                  <a:gd name="connsiteX5" fmla="*/ 49212 w 81597"/>
                  <a:gd name="connsiteY5" fmla="*/ 54716 h 61383"/>
                  <a:gd name="connsiteX6" fmla="*/ 45403 w 81597"/>
                  <a:gd name="connsiteY6" fmla="*/ 49001 h 61383"/>
                  <a:gd name="connsiteX7" fmla="*/ 42545 w 81597"/>
                  <a:gd name="connsiteY7" fmla="*/ 43286 h 61383"/>
                  <a:gd name="connsiteX8" fmla="*/ 37783 w 81597"/>
                  <a:gd name="connsiteY8" fmla="*/ 41381 h 61383"/>
                  <a:gd name="connsiteX9" fmla="*/ 31115 w 81597"/>
                  <a:gd name="connsiteY9" fmla="*/ 41381 h 61383"/>
                  <a:gd name="connsiteX10" fmla="*/ 23495 w 81597"/>
                  <a:gd name="connsiteY10" fmla="*/ 44238 h 61383"/>
                  <a:gd name="connsiteX11" fmla="*/ 12065 w 81597"/>
                  <a:gd name="connsiteY11" fmla="*/ 44238 h 61383"/>
                  <a:gd name="connsiteX12" fmla="*/ 2540 w 81597"/>
                  <a:gd name="connsiteY12" fmla="*/ 40428 h 61383"/>
                  <a:gd name="connsiteX13" fmla="*/ 2540 w 81597"/>
                  <a:gd name="connsiteY13" fmla="*/ 30903 h 61383"/>
                  <a:gd name="connsiteX14" fmla="*/ 14923 w 81597"/>
                  <a:gd name="connsiteY14" fmla="*/ 28998 h 61383"/>
                  <a:gd name="connsiteX15" fmla="*/ 20637 w 81597"/>
                  <a:gd name="connsiteY15" fmla="*/ 28998 h 61383"/>
                  <a:gd name="connsiteX16" fmla="*/ 19685 w 81597"/>
                  <a:gd name="connsiteY16" fmla="*/ 19473 h 61383"/>
                  <a:gd name="connsiteX17" fmla="*/ 13017 w 81597"/>
                  <a:gd name="connsiteY17" fmla="*/ 12806 h 61383"/>
                  <a:gd name="connsiteX18" fmla="*/ 2540 w 81597"/>
                  <a:gd name="connsiteY18" fmla="*/ 6138 h 61383"/>
                  <a:gd name="connsiteX19" fmla="*/ 1587 w 81597"/>
                  <a:gd name="connsiteY19" fmla="*/ 2328 h 61383"/>
                  <a:gd name="connsiteX20" fmla="*/ 9208 w 81597"/>
                  <a:gd name="connsiteY20" fmla="*/ 423 h 61383"/>
                  <a:gd name="connsiteX21" fmla="*/ 13970 w 81597"/>
                  <a:gd name="connsiteY21" fmla="*/ 423 h 61383"/>
                  <a:gd name="connsiteX22" fmla="*/ 29210 w 81597"/>
                  <a:gd name="connsiteY22" fmla="*/ 1376 h 61383"/>
                  <a:gd name="connsiteX23" fmla="*/ 31115 w 81597"/>
                  <a:gd name="connsiteY23" fmla="*/ 5186 h 61383"/>
                  <a:gd name="connsiteX24" fmla="*/ 40640 w 81597"/>
                  <a:gd name="connsiteY24" fmla="*/ 13758 h 61383"/>
                  <a:gd name="connsiteX25" fmla="*/ 54928 w 81597"/>
                  <a:gd name="connsiteY25" fmla="*/ 15663 h 61383"/>
                  <a:gd name="connsiteX26" fmla="*/ 64453 w 81597"/>
                  <a:gd name="connsiteY26" fmla="*/ 15663 h 61383"/>
                  <a:gd name="connsiteX27" fmla="*/ 72073 w 81597"/>
                  <a:gd name="connsiteY27" fmla="*/ 16616 h 61383"/>
                  <a:gd name="connsiteX28" fmla="*/ 81598 w 81597"/>
                  <a:gd name="connsiteY28" fmla="*/ 24236 h 61383"/>
                  <a:gd name="connsiteX29" fmla="*/ 81598 w 81597"/>
                  <a:gd name="connsiteY29" fmla="*/ 29951 h 61383"/>
                  <a:gd name="connsiteX30" fmla="*/ 81598 w 81597"/>
                  <a:gd name="connsiteY30" fmla="*/ 33761 h 61383"/>
                  <a:gd name="connsiteX31" fmla="*/ 79692 w 81597"/>
                  <a:gd name="connsiteY31" fmla="*/ 39476 h 61383"/>
                  <a:gd name="connsiteX32" fmla="*/ 79692 w 81597"/>
                  <a:gd name="connsiteY32" fmla="*/ 49001 h 6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597" h="61383">
                    <a:moveTo>
                      <a:pt x="79692" y="49001"/>
                    </a:moveTo>
                    <a:cubicBezTo>
                      <a:pt x="79692" y="49001"/>
                      <a:pt x="74930" y="50906"/>
                      <a:pt x="74930" y="53763"/>
                    </a:cubicBezTo>
                    <a:cubicBezTo>
                      <a:pt x="74930" y="56621"/>
                      <a:pt x="76835" y="57573"/>
                      <a:pt x="70167" y="59478"/>
                    </a:cubicBezTo>
                    <a:cubicBezTo>
                      <a:pt x="63500" y="61383"/>
                      <a:pt x="56833" y="61383"/>
                      <a:pt x="56833" y="61383"/>
                    </a:cubicBezTo>
                    <a:lnTo>
                      <a:pt x="50165" y="58526"/>
                    </a:lnTo>
                    <a:lnTo>
                      <a:pt x="49212" y="54716"/>
                    </a:lnTo>
                    <a:lnTo>
                      <a:pt x="45403" y="49001"/>
                    </a:lnTo>
                    <a:lnTo>
                      <a:pt x="42545" y="43286"/>
                    </a:lnTo>
                    <a:lnTo>
                      <a:pt x="37783" y="41381"/>
                    </a:lnTo>
                    <a:lnTo>
                      <a:pt x="31115" y="41381"/>
                    </a:lnTo>
                    <a:lnTo>
                      <a:pt x="23495" y="44238"/>
                    </a:lnTo>
                    <a:lnTo>
                      <a:pt x="12065" y="44238"/>
                    </a:lnTo>
                    <a:cubicBezTo>
                      <a:pt x="12065" y="44238"/>
                      <a:pt x="2540" y="42333"/>
                      <a:pt x="2540" y="40428"/>
                    </a:cubicBezTo>
                    <a:cubicBezTo>
                      <a:pt x="2540" y="38523"/>
                      <a:pt x="-3175" y="30903"/>
                      <a:pt x="2540" y="30903"/>
                    </a:cubicBezTo>
                    <a:cubicBezTo>
                      <a:pt x="8255" y="30903"/>
                      <a:pt x="9208" y="28998"/>
                      <a:pt x="14923" y="28998"/>
                    </a:cubicBezTo>
                    <a:cubicBezTo>
                      <a:pt x="20637" y="28998"/>
                      <a:pt x="20637" y="28998"/>
                      <a:pt x="20637" y="28998"/>
                    </a:cubicBezTo>
                    <a:lnTo>
                      <a:pt x="19685" y="19473"/>
                    </a:lnTo>
                    <a:lnTo>
                      <a:pt x="13017" y="12806"/>
                    </a:lnTo>
                    <a:lnTo>
                      <a:pt x="2540" y="6138"/>
                    </a:lnTo>
                    <a:lnTo>
                      <a:pt x="1587" y="2328"/>
                    </a:lnTo>
                    <a:lnTo>
                      <a:pt x="9208" y="423"/>
                    </a:lnTo>
                    <a:cubicBezTo>
                      <a:pt x="9208" y="423"/>
                      <a:pt x="8255" y="-529"/>
                      <a:pt x="13970" y="423"/>
                    </a:cubicBezTo>
                    <a:cubicBezTo>
                      <a:pt x="19685" y="1376"/>
                      <a:pt x="29210" y="1376"/>
                      <a:pt x="29210" y="1376"/>
                    </a:cubicBezTo>
                    <a:cubicBezTo>
                      <a:pt x="29210" y="1376"/>
                      <a:pt x="28258" y="2328"/>
                      <a:pt x="31115" y="5186"/>
                    </a:cubicBezTo>
                    <a:cubicBezTo>
                      <a:pt x="33973" y="8043"/>
                      <a:pt x="36830" y="12806"/>
                      <a:pt x="40640" y="13758"/>
                    </a:cubicBezTo>
                    <a:cubicBezTo>
                      <a:pt x="45403" y="14711"/>
                      <a:pt x="54928" y="15663"/>
                      <a:pt x="54928" y="15663"/>
                    </a:cubicBezTo>
                    <a:lnTo>
                      <a:pt x="64453" y="15663"/>
                    </a:lnTo>
                    <a:cubicBezTo>
                      <a:pt x="64453" y="15663"/>
                      <a:pt x="65405" y="13758"/>
                      <a:pt x="72073" y="16616"/>
                    </a:cubicBezTo>
                    <a:cubicBezTo>
                      <a:pt x="78740" y="19473"/>
                      <a:pt x="81598" y="21378"/>
                      <a:pt x="81598" y="24236"/>
                    </a:cubicBezTo>
                    <a:cubicBezTo>
                      <a:pt x="81598" y="27093"/>
                      <a:pt x="81598" y="25188"/>
                      <a:pt x="81598" y="29951"/>
                    </a:cubicBezTo>
                    <a:cubicBezTo>
                      <a:pt x="81598" y="33761"/>
                      <a:pt x="81598" y="33761"/>
                      <a:pt x="81598" y="33761"/>
                    </a:cubicBezTo>
                    <a:cubicBezTo>
                      <a:pt x="81598" y="33761"/>
                      <a:pt x="79692" y="37571"/>
                      <a:pt x="79692" y="39476"/>
                    </a:cubicBezTo>
                    <a:cubicBezTo>
                      <a:pt x="79692" y="40428"/>
                      <a:pt x="79692" y="49001"/>
                      <a:pt x="79692" y="49001"/>
                    </a:cubicBezTo>
                    <a:close/>
                  </a:path>
                </a:pathLst>
              </a:custGeom>
              <a:grpFill/>
              <a:ln w="9525" cap="flat">
                <a:noFill/>
                <a:prstDash val="solid"/>
                <a:miter/>
              </a:ln>
            </p:spPr>
            <p:txBody>
              <a:bodyPr rtlCol="0" anchor="ctr"/>
              <a:lstStyle/>
              <a:p>
                <a:endParaRPr lang="en-US" sz="1765"/>
              </a:p>
            </p:txBody>
          </p:sp>
          <p:sp>
            <p:nvSpPr>
              <p:cNvPr id="298" name="Freeform: Shape 297">
                <a:extLst>
                  <a:ext uri="{FF2B5EF4-FFF2-40B4-BE49-F238E27FC236}">
                    <a16:creationId xmlns:a16="http://schemas.microsoft.com/office/drawing/2014/main" id="{B41A90DC-ED2D-47D0-A0F7-B9C0F67CEDC0}"/>
                  </a:ext>
                </a:extLst>
              </p:cNvPr>
              <p:cNvSpPr/>
              <p:nvPr/>
            </p:nvSpPr>
            <p:spPr>
              <a:xfrm>
                <a:off x="10338390" y="3909741"/>
                <a:ext cx="57223" cy="41910"/>
              </a:xfrm>
              <a:custGeom>
                <a:avLst/>
                <a:gdLst>
                  <a:gd name="connsiteX0" fmla="*/ 57224 w 57223"/>
                  <a:gd name="connsiteY0" fmla="*/ 40958 h 41910"/>
                  <a:gd name="connsiteX1" fmla="*/ 57224 w 57223"/>
                  <a:gd name="connsiteY1" fmla="*/ 34290 h 41910"/>
                  <a:gd name="connsiteX2" fmla="*/ 57224 w 57223"/>
                  <a:gd name="connsiteY2" fmla="*/ 27623 h 41910"/>
                  <a:gd name="connsiteX3" fmla="*/ 52461 w 57223"/>
                  <a:gd name="connsiteY3" fmla="*/ 22860 h 41910"/>
                  <a:gd name="connsiteX4" fmla="*/ 41984 w 57223"/>
                  <a:gd name="connsiteY4" fmla="*/ 18098 h 41910"/>
                  <a:gd name="connsiteX5" fmla="*/ 38174 w 57223"/>
                  <a:gd name="connsiteY5" fmla="*/ 11430 h 41910"/>
                  <a:gd name="connsiteX6" fmla="*/ 38174 w 57223"/>
                  <a:gd name="connsiteY6" fmla="*/ 8573 h 41910"/>
                  <a:gd name="connsiteX7" fmla="*/ 29601 w 57223"/>
                  <a:gd name="connsiteY7" fmla="*/ 1905 h 41910"/>
                  <a:gd name="connsiteX8" fmla="*/ 21981 w 57223"/>
                  <a:gd name="connsiteY8" fmla="*/ 0 h 41910"/>
                  <a:gd name="connsiteX9" fmla="*/ 12456 w 57223"/>
                  <a:gd name="connsiteY9" fmla="*/ 952 h 41910"/>
                  <a:gd name="connsiteX10" fmla="*/ 7694 w 57223"/>
                  <a:gd name="connsiteY10" fmla="*/ 3810 h 41910"/>
                  <a:gd name="connsiteX11" fmla="*/ 74 w 57223"/>
                  <a:gd name="connsiteY11" fmla="*/ 4763 h 41910"/>
                  <a:gd name="connsiteX12" fmla="*/ 10551 w 57223"/>
                  <a:gd name="connsiteY12" fmla="*/ 15240 h 41910"/>
                  <a:gd name="connsiteX13" fmla="*/ 11504 w 57223"/>
                  <a:gd name="connsiteY13" fmla="*/ 19050 h 41910"/>
                  <a:gd name="connsiteX14" fmla="*/ 11504 w 57223"/>
                  <a:gd name="connsiteY14" fmla="*/ 25717 h 41910"/>
                  <a:gd name="connsiteX15" fmla="*/ 18172 w 57223"/>
                  <a:gd name="connsiteY15" fmla="*/ 27623 h 41910"/>
                  <a:gd name="connsiteX16" fmla="*/ 21029 w 57223"/>
                  <a:gd name="connsiteY16" fmla="*/ 31433 h 41910"/>
                  <a:gd name="connsiteX17" fmla="*/ 24839 w 57223"/>
                  <a:gd name="connsiteY17" fmla="*/ 39052 h 41910"/>
                  <a:gd name="connsiteX18" fmla="*/ 29601 w 57223"/>
                  <a:gd name="connsiteY18" fmla="*/ 40958 h 41910"/>
                  <a:gd name="connsiteX19" fmla="*/ 38174 w 57223"/>
                  <a:gd name="connsiteY19" fmla="*/ 41910 h 41910"/>
                  <a:gd name="connsiteX20" fmla="*/ 44841 w 57223"/>
                  <a:gd name="connsiteY20" fmla="*/ 41910 h 41910"/>
                  <a:gd name="connsiteX21" fmla="*/ 57224 w 57223"/>
                  <a:gd name="connsiteY21" fmla="*/ 40958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23" h="41910">
                    <a:moveTo>
                      <a:pt x="57224" y="40958"/>
                    </a:moveTo>
                    <a:lnTo>
                      <a:pt x="57224" y="34290"/>
                    </a:lnTo>
                    <a:lnTo>
                      <a:pt x="57224" y="27623"/>
                    </a:lnTo>
                    <a:lnTo>
                      <a:pt x="52461" y="22860"/>
                    </a:lnTo>
                    <a:lnTo>
                      <a:pt x="41984" y="18098"/>
                    </a:lnTo>
                    <a:lnTo>
                      <a:pt x="38174" y="11430"/>
                    </a:lnTo>
                    <a:lnTo>
                      <a:pt x="38174" y="8573"/>
                    </a:lnTo>
                    <a:lnTo>
                      <a:pt x="29601" y="1905"/>
                    </a:lnTo>
                    <a:lnTo>
                      <a:pt x="21981" y="0"/>
                    </a:lnTo>
                    <a:lnTo>
                      <a:pt x="12456" y="952"/>
                    </a:lnTo>
                    <a:lnTo>
                      <a:pt x="7694" y="3810"/>
                    </a:lnTo>
                    <a:cubicBezTo>
                      <a:pt x="7694" y="3810"/>
                      <a:pt x="-878" y="-952"/>
                      <a:pt x="74" y="4763"/>
                    </a:cubicBezTo>
                    <a:cubicBezTo>
                      <a:pt x="1026" y="10477"/>
                      <a:pt x="10551" y="15240"/>
                      <a:pt x="10551" y="15240"/>
                    </a:cubicBezTo>
                    <a:cubicBezTo>
                      <a:pt x="10551" y="15240"/>
                      <a:pt x="11504" y="16192"/>
                      <a:pt x="11504" y="19050"/>
                    </a:cubicBezTo>
                    <a:cubicBezTo>
                      <a:pt x="11504" y="21908"/>
                      <a:pt x="4836" y="22860"/>
                      <a:pt x="11504" y="25717"/>
                    </a:cubicBezTo>
                    <a:cubicBezTo>
                      <a:pt x="18172" y="27623"/>
                      <a:pt x="18172" y="27623"/>
                      <a:pt x="18172" y="27623"/>
                    </a:cubicBezTo>
                    <a:cubicBezTo>
                      <a:pt x="18172" y="27623"/>
                      <a:pt x="20076" y="29527"/>
                      <a:pt x="21029" y="31433"/>
                    </a:cubicBezTo>
                    <a:cubicBezTo>
                      <a:pt x="21981" y="33338"/>
                      <a:pt x="24839" y="39052"/>
                      <a:pt x="24839" y="39052"/>
                    </a:cubicBezTo>
                    <a:lnTo>
                      <a:pt x="29601" y="40958"/>
                    </a:lnTo>
                    <a:lnTo>
                      <a:pt x="38174" y="41910"/>
                    </a:lnTo>
                    <a:lnTo>
                      <a:pt x="44841" y="41910"/>
                    </a:lnTo>
                    <a:lnTo>
                      <a:pt x="57224" y="40958"/>
                    </a:lnTo>
                    <a:close/>
                  </a:path>
                </a:pathLst>
              </a:custGeom>
              <a:grpFill/>
              <a:ln w="9525" cap="flat">
                <a:noFill/>
                <a:prstDash val="solid"/>
                <a:miter/>
              </a:ln>
            </p:spPr>
            <p:txBody>
              <a:bodyPr rtlCol="0" anchor="ctr"/>
              <a:lstStyle/>
              <a:p>
                <a:endParaRPr lang="en-US" sz="1765"/>
              </a:p>
            </p:txBody>
          </p:sp>
          <p:sp>
            <p:nvSpPr>
              <p:cNvPr id="299" name="Freeform: Shape 298">
                <a:extLst>
                  <a:ext uri="{FF2B5EF4-FFF2-40B4-BE49-F238E27FC236}">
                    <a16:creationId xmlns:a16="http://schemas.microsoft.com/office/drawing/2014/main" id="{3A4CAF5A-E548-434D-A898-395A4F73F46E}"/>
                  </a:ext>
                </a:extLst>
              </p:cNvPr>
              <p:cNvSpPr/>
              <p:nvPr/>
            </p:nvSpPr>
            <p:spPr>
              <a:xfrm>
                <a:off x="10279408" y="3862116"/>
                <a:ext cx="55244" cy="53339"/>
              </a:xfrm>
              <a:custGeom>
                <a:avLst/>
                <a:gdLst>
                  <a:gd name="connsiteX0" fmla="*/ 34290 w 55244"/>
                  <a:gd name="connsiteY0" fmla="*/ 53340 h 53339"/>
                  <a:gd name="connsiteX1" fmla="*/ 40005 w 55244"/>
                  <a:gd name="connsiteY1" fmla="*/ 50483 h 53339"/>
                  <a:gd name="connsiteX2" fmla="*/ 40957 w 55244"/>
                  <a:gd name="connsiteY2" fmla="*/ 44767 h 53339"/>
                  <a:gd name="connsiteX3" fmla="*/ 48578 w 55244"/>
                  <a:gd name="connsiteY3" fmla="*/ 35242 h 53339"/>
                  <a:gd name="connsiteX4" fmla="*/ 51435 w 55244"/>
                  <a:gd name="connsiteY4" fmla="*/ 24765 h 53339"/>
                  <a:gd name="connsiteX5" fmla="*/ 51435 w 55244"/>
                  <a:gd name="connsiteY5" fmla="*/ 19050 h 53339"/>
                  <a:gd name="connsiteX6" fmla="*/ 55245 w 55244"/>
                  <a:gd name="connsiteY6" fmla="*/ 7620 h 53339"/>
                  <a:gd name="connsiteX7" fmla="*/ 54293 w 55244"/>
                  <a:gd name="connsiteY7" fmla="*/ 3810 h 53339"/>
                  <a:gd name="connsiteX8" fmla="*/ 44768 w 55244"/>
                  <a:gd name="connsiteY8" fmla="*/ 0 h 53339"/>
                  <a:gd name="connsiteX9" fmla="*/ 36195 w 55244"/>
                  <a:gd name="connsiteY9" fmla="*/ 0 h 53339"/>
                  <a:gd name="connsiteX10" fmla="*/ 19050 w 55244"/>
                  <a:gd name="connsiteY10" fmla="*/ 13335 h 53339"/>
                  <a:gd name="connsiteX11" fmla="*/ 14288 w 55244"/>
                  <a:gd name="connsiteY11" fmla="*/ 20002 h 53339"/>
                  <a:gd name="connsiteX12" fmla="*/ 5715 w 55244"/>
                  <a:gd name="connsiteY12" fmla="*/ 23813 h 53339"/>
                  <a:gd name="connsiteX13" fmla="*/ 3810 w 55244"/>
                  <a:gd name="connsiteY13" fmla="*/ 27623 h 53339"/>
                  <a:gd name="connsiteX14" fmla="*/ 0 w 55244"/>
                  <a:gd name="connsiteY14" fmla="*/ 34290 h 53339"/>
                  <a:gd name="connsiteX15" fmla="*/ 2857 w 55244"/>
                  <a:gd name="connsiteY15" fmla="*/ 40005 h 53339"/>
                  <a:gd name="connsiteX16" fmla="*/ 10478 w 55244"/>
                  <a:gd name="connsiteY16" fmla="*/ 41910 h 53339"/>
                  <a:gd name="connsiteX17" fmla="*/ 19050 w 55244"/>
                  <a:gd name="connsiteY17" fmla="*/ 43815 h 53339"/>
                  <a:gd name="connsiteX18" fmla="*/ 21907 w 55244"/>
                  <a:gd name="connsiteY18" fmla="*/ 47625 h 53339"/>
                  <a:gd name="connsiteX19" fmla="*/ 34290 w 55244"/>
                  <a:gd name="connsiteY19" fmla="*/ 5334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244" h="53339">
                    <a:moveTo>
                      <a:pt x="34290" y="53340"/>
                    </a:moveTo>
                    <a:lnTo>
                      <a:pt x="40005" y="50483"/>
                    </a:lnTo>
                    <a:cubicBezTo>
                      <a:pt x="40005" y="50483"/>
                      <a:pt x="38100" y="46673"/>
                      <a:pt x="40957" y="44767"/>
                    </a:cubicBezTo>
                    <a:cubicBezTo>
                      <a:pt x="43815" y="43815"/>
                      <a:pt x="48578" y="35242"/>
                      <a:pt x="48578" y="35242"/>
                    </a:cubicBezTo>
                    <a:cubicBezTo>
                      <a:pt x="48578" y="35242"/>
                      <a:pt x="48578" y="26670"/>
                      <a:pt x="51435" y="24765"/>
                    </a:cubicBezTo>
                    <a:cubicBezTo>
                      <a:pt x="53340" y="22860"/>
                      <a:pt x="49530" y="20955"/>
                      <a:pt x="51435" y="19050"/>
                    </a:cubicBezTo>
                    <a:cubicBezTo>
                      <a:pt x="53340" y="17145"/>
                      <a:pt x="55245" y="7620"/>
                      <a:pt x="55245" y="7620"/>
                    </a:cubicBezTo>
                    <a:lnTo>
                      <a:pt x="54293" y="3810"/>
                    </a:lnTo>
                    <a:lnTo>
                      <a:pt x="44768" y="0"/>
                    </a:lnTo>
                    <a:lnTo>
                      <a:pt x="36195" y="0"/>
                    </a:lnTo>
                    <a:cubicBezTo>
                      <a:pt x="27623" y="9525"/>
                      <a:pt x="19050" y="9525"/>
                      <a:pt x="19050" y="13335"/>
                    </a:cubicBezTo>
                    <a:cubicBezTo>
                      <a:pt x="19050" y="17145"/>
                      <a:pt x="14288" y="17145"/>
                      <a:pt x="14288" y="20002"/>
                    </a:cubicBezTo>
                    <a:cubicBezTo>
                      <a:pt x="14288" y="22860"/>
                      <a:pt x="5715" y="23813"/>
                      <a:pt x="5715" y="23813"/>
                    </a:cubicBezTo>
                    <a:cubicBezTo>
                      <a:pt x="3810" y="27623"/>
                      <a:pt x="6668" y="22860"/>
                      <a:pt x="3810" y="27623"/>
                    </a:cubicBezTo>
                    <a:cubicBezTo>
                      <a:pt x="0" y="31433"/>
                      <a:pt x="0" y="31433"/>
                      <a:pt x="0" y="34290"/>
                    </a:cubicBezTo>
                    <a:cubicBezTo>
                      <a:pt x="0" y="37148"/>
                      <a:pt x="2857" y="40005"/>
                      <a:pt x="2857" y="40005"/>
                    </a:cubicBezTo>
                    <a:lnTo>
                      <a:pt x="10478" y="41910"/>
                    </a:lnTo>
                    <a:lnTo>
                      <a:pt x="19050" y="43815"/>
                    </a:lnTo>
                    <a:cubicBezTo>
                      <a:pt x="21907" y="47625"/>
                      <a:pt x="21907" y="43815"/>
                      <a:pt x="21907" y="47625"/>
                    </a:cubicBezTo>
                    <a:cubicBezTo>
                      <a:pt x="21907" y="49530"/>
                      <a:pt x="34290" y="53340"/>
                      <a:pt x="34290" y="53340"/>
                    </a:cubicBezTo>
                    <a:close/>
                  </a:path>
                </a:pathLst>
              </a:custGeom>
              <a:grpFill/>
              <a:ln w="9525" cap="flat">
                <a:noFill/>
                <a:prstDash val="solid"/>
                <a:miter/>
              </a:ln>
            </p:spPr>
            <p:txBody>
              <a:bodyPr rtlCol="0" anchor="ctr"/>
              <a:lstStyle/>
              <a:p>
                <a:endParaRPr lang="en-US" sz="1765"/>
              </a:p>
            </p:txBody>
          </p:sp>
          <p:sp>
            <p:nvSpPr>
              <p:cNvPr id="300" name="Freeform: Shape 299">
                <a:extLst>
                  <a:ext uri="{FF2B5EF4-FFF2-40B4-BE49-F238E27FC236}">
                    <a16:creationId xmlns:a16="http://schemas.microsoft.com/office/drawing/2014/main" id="{274471AC-7B17-4572-A2DE-343AB7E9FD7F}"/>
                  </a:ext>
                </a:extLst>
              </p:cNvPr>
              <p:cNvSpPr/>
              <p:nvPr/>
            </p:nvSpPr>
            <p:spPr>
              <a:xfrm>
                <a:off x="10294158" y="3778011"/>
                <a:ext cx="34890" cy="41242"/>
              </a:xfrm>
              <a:custGeom>
                <a:avLst/>
                <a:gdLst>
                  <a:gd name="connsiteX0" fmla="*/ 32875 w 34890"/>
                  <a:gd name="connsiteY0" fmla="*/ 16477 h 41242"/>
                  <a:gd name="connsiteX1" fmla="*/ 29066 w 34890"/>
                  <a:gd name="connsiteY1" fmla="*/ 24097 h 41242"/>
                  <a:gd name="connsiteX2" fmla="*/ 25255 w 34890"/>
                  <a:gd name="connsiteY2" fmla="*/ 29812 h 41242"/>
                  <a:gd name="connsiteX3" fmla="*/ 23350 w 34890"/>
                  <a:gd name="connsiteY3" fmla="*/ 31717 h 41242"/>
                  <a:gd name="connsiteX4" fmla="*/ 16683 w 34890"/>
                  <a:gd name="connsiteY4" fmla="*/ 41242 h 41242"/>
                  <a:gd name="connsiteX5" fmla="*/ 7158 w 34890"/>
                  <a:gd name="connsiteY5" fmla="*/ 40290 h 41242"/>
                  <a:gd name="connsiteX6" fmla="*/ 491 w 34890"/>
                  <a:gd name="connsiteY6" fmla="*/ 27907 h 41242"/>
                  <a:gd name="connsiteX7" fmla="*/ 1443 w 34890"/>
                  <a:gd name="connsiteY7" fmla="*/ 20287 h 41242"/>
                  <a:gd name="connsiteX8" fmla="*/ 2395 w 34890"/>
                  <a:gd name="connsiteY8" fmla="*/ 11715 h 41242"/>
                  <a:gd name="connsiteX9" fmla="*/ 11920 w 34890"/>
                  <a:gd name="connsiteY9" fmla="*/ 8857 h 41242"/>
                  <a:gd name="connsiteX10" fmla="*/ 23350 w 34890"/>
                  <a:gd name="connsiteY10" fmla="*/ 2190 h 41242"/>
                  <a:gd name="connsiteX11" fmla="*/ 30970 w 34890"/>
                  <a:gd name="connsiteY11" fmla="*/ 1237 h 41242"/>
                  <a:gd name="connsiteX12" fmla="*/ 33828 w 34890"/>
                  <a:gd name="connsiteY12" fmla="*/ 9810 h 41242"/>
                  <a:gd name="connsiteX13" fmla="*/ 32875 w 34890"/>
                  <a:gd name="connsiteY13" fmla="*/ 16477 h 4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90" h="41242">
                    <a:moveTo>
                      <a:pt x="32875" y="16477"/>
                    </a:moveTo>
                    <a:cubicBezTo>
                      <a:pt x="32875" y="16477"/>
                      <a:pt x="29066" y="22192"/>
                      <a:pt x="29066" y="24097"/>
                    </a:cubicBezTo>
                    <a:cubicBezTo>
                      <a:pt x="29066" y="26002"/>
                      <a:pt x="28113" y="27907"/>
                      <a:pt x="25255" y="29812"/>
                    </a:cubicBezTo>
                    <a:cubicBezTo>
                      <a:pt x="23350" y="31717"/>
                      <a:pt x="25255" y="26002"/>
                      <a:pt x="23350" y="31717"/>
                    </a:cubicBezTo>
                    <a:cubicBezTo>
                      <a:pt x="21445" y="38385"/>
                      <a:pt x="16683" y="41242"/>
                      <a:pt x="16683" y="41242"/>
                    </a:cubicBezTo>
                    <a:lnTo>
                      <a:pt x="7158" y="40290"/>
                    </a:lnTo>
                    <a:cubicBezTo>
                      <a:pt x="4300" y="37432"/>
                      <a:pt x="491" y="27907"/>
                      <a:pt x="491" y="27907"/>
                    </a:cubicBezTo>
                    <a:lnTo>
                      <a:pt x="1443" y="20287"/>
                    </a:lnTo>
                    <a:cubicBezTo>
                      <a:pt x="1443" y="20287"/>
                      <a:pt x="-2367" y="13620"/>
                      <a:pt x="2395" y="11715"/>
                    </a:cubicBezTo>
                    <a:cubicBezTo>
                      <a:pt x="8111" y="10762"/>
                      <a:pt x="11920" y="8857"/>
                      <a:pt x="11920" y="8857"/>
                    </a:cubicBezTo>
                    <a:cubicBezTo>
                      <a:pt x="11920" y="8857"/>
                      <a:pt x="15730" y="4095"/>
                      <a:pt x="23350" y="2190"/>
                    </a:cubicBezTo>
                    <a:cubicBezTo>
                      <a:pt x="30970" y="1237"/>
                      <a:pt x="28113" y="-1620"/>
                      <a:pt x="30970" y="1237"/>
                    </a:cubicBezTo>
                    <a:cubicBezTo>
                      <a:pt x="33828" y="4095"/>
                      <a:pt x="32875" y="5047"/>
                      <a:pt x="33828" y="9810"/>
                    </a:cubicBezTo>
                    <a:cubicBezTo>
                      <a:pt x="36686" y="13620"/>
                      <a:pt x="32875" y="16477"/>
                      <a:pt x="32875" y="16477"/>
                    </a:cubicBezTo>
                    <a:close/>
                  </a:path>
                </a:pathLst>
              </a:custGeom>
              <a:grpFill/>
              <a:ln w="9525" cap="flat">
                <a:noFill/>
                <a:prstDash val="solid"/>
                <a:miter/>
              </a:ln>
            </p:spPr>
            <p:txBody>
              <a:bodyPr rtlCol="0" anchor="ctr"/>
              <a:lstStyle/>
              <a:p>
                <a:endParaRPr lang="en-US" sz="1765"/>
              </a:p>
            </p:txBody>
          </p:sp>
          <p:sp>
            <p:nvSpPr>
              <p:cNvPr id="301" name="Freeform: Shape 300">
                <a:extLst>
                  <a:ext uri="{FF2B5EF4-FFF2-40B4-BE49-F238E27FC236}">
                    <a16:creationId xmlns:a16="http://schemas.microsoft.com/office/drawing/2014/main" id="{21CFC959-034B-485B-B937-009F38DCA364}"/>
                  </a:ext>
                </a:extLst>
              </p:cNvPr>
              <p:cNvSpPr/>
              <p:nvPr/>
            </p:nvSpPr>
            <p:spPr>
              <a:xfrm>
                <a:off x="10418474" y="4045949"/>
                <a:ext cx="23134" cy="26670"/>
              </a:xfrm>
              <a:custGeom>
                <a:avLst/>
                <a:gdLst>
                  <a:gd name="connsiteX0" fmla="*/ 22860 w 23134"/>
                  <a:gd name="connsiteY0" fmla="*/ 26670 h 26670"/>
                  <a:gd name="connsiteX1" fmla="*/ 8572 w 23134"/>
                  <a:gd name="connsiteY1" fmla="*/ 26670 h 26670"/>
                  <a:gd name="connsiteX2" fmla="*/ 0 w 23134"/>
                  <a:gd name="connsiteY2" fmla="*/ 21908 h 26670"/>
                  <a:gd name="connsiteX3" fmla="*/ 952 w 23134"/>
                  <a:gd name="connsiteY3" fmla="*/ 16192 h 26670"/>
                  <a:gd name="connsiteX4" fmla="*/ 1905 w 23134"/>
                  <a:gd name="connsiteY4" fmla="*/ 7620 h 26670"/>
                  <a:gd name="connsiteX5" fmla="*/ 1905 w 23134"/>
                  <a:gd name="connsiteY5" fmla="*/ 1905 h 26670"/>
                  <a:gd name="connsiteX6" fmla="*/ 14288 w 23134"/>
                  <a:gd name="connsiteY6" fmla="*/ 0 h 26670"/>
                  <a:gd name="connsiteX7" fmla="*/ 20002 w 23134"/>
                  <a:gd name="connsiteY7" fmla="*/ 2858 h 26670"/>
                  <a:gd name="connsiteX8" fmla="*/ 22860 w 23134"/>
                  <a:gd name="connsiteY8" fmla="*/ 6667 h 26670"/>
                  <a:gd name="connsiteX9" fmla="*/ 22860 w 23134"/>
                  <a:gd name="connsiteY9" fmla="*/ 12383 h 26670"/>
                  <a:gd name="connsiteX10" fmla="*/ 21907 w 23134"/>
                  <a:gd name="connsiteY10" fmla="*/ 18097 h 26670"/>
                  <a:gd name="connsiteX11" fmla="*/ 22860 w 23134"/>
                  <a:gd name="connsiteY11" fmla="*/ 26670 h 2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4" h="26670">
                    <a:moveTo>
                      <a:pt x="22860" y="26670"/>
                    </a:moveTo>
                    <a:lnTo>
                      <a:pt x="8572" y="26670"/>
                    </a:lnTo>
                    <a:lnTo>
                      <a:pt x="0" y="21908"/>
                    </a:lnTo>
                    <a:lnTo>
                      <a:pt x="952" y="16192"/>
                    </a:lnTo>
                    <a:lnTo>
                      <a:pt x="1905" y="7620"/>
                    </a:lnTo>
                    <a:lnTo>
                      <a:pt x="1905" y="1905"/>
                    </a:lnTo>
                    <a:lnTo>
                      <a:pt x="14288" y="0"/>
                    </a:lnTo>
                    <a:lnTo>
                      <a:pt x="20002" y="2858"/>
                    </a:lnTo>
                    <a:cubicBezTo>
                      <a:pt x="20002" y="2858"/>
                      <a:pt x="21907" y="3810"/>
                      <a:pt x="22860" y="6667"/>
                    </a:cubicBezTo>
                    <a:cubicBezTo>
                      <a:pt x="23813" y="9525"/>
                      <a:pt x="21907" y="9525"/>
                      <a:pt x="22860" y="12383"/>
                    </a:cubicBezTo>
                    <a:cubicBezTo>
                      <a:pt x="23813" y="15240"/>
                      <a:pt x="21907" y="18097"/>
                      <a:pt x="21907" y="18097"/>
                    </a:cubicBezTo>
                    <a:lnTo>
                      <a:pt x="22860" y="26670"/>
                    </a:lnTo>
                    <a:close/>
                  </a:path>
                </a:pathLst>
              </a:custGeom>
              <a:grpFill/>
              <a:ln w="9525" cap="flat">
                <a:noFill/>
                <a:prstDash val="solid"/>
                <a:miter/>
              </a:ln>
            </p:spPr>
            <p:txBody>
              <a:bodyPr rtlCol="0" anchor="ctr"/>
              <a:lstStyle/>
              <a:p>
                <a:endParaRPr lang="en-US" sz="1765"/>
              </a:p>
            </p:txBody>
          </p:sp>
          <p:sp>
            <p:nvSpPr>
              <p:cNvPr id="302" name="Freeform: Shape 301">
                <a:extLst>
                  <a:ext uri="{FF2B5EF4-FFF2-40B4-BE49-F238E27FC236}">
                    <a16:creationId xmlns:a16="http://schemas.microsoft.com/office/drawing/2014/main" id="{8BEA2459-8ECE-4B62-B8EB-2C2D385E9060}"/>
                  </a:ext>
                </a:extLst>
              </p:cNvPr>
              <p:cNvSpPr/>
              <p:nvPr/>
            </p:nvSpPr>
            <p:spPr>
              <a:xfrm>
                <a:off x="10452340" y="3586843"/>
                <a:ext cx="219608" cy="131445"/>
              </a:xfrm>
              <a:custGeom>
                <a:avLst/>
                <a:gdLst>
                  <a:gd name="connsiteX0" fmla="*/ 39475 w 219608"/>
                  <a:gd name="connsiteY0" fmla="*/ 98108 h 131445"/>
                  <a:gd name="connsiteX1" fmla="*/ 28046 w 219608"/>
                  <a:gd name="connsiteY1" fmla="*/ 99060 h 131445"/>
                  <a:gd name="connsiteX2" fmla="*/ 20425 w 219608"/>
                  <a:gd name="connsiteY2" fmla="*/ 99060 h 131445"/>
                  <a:gd name="connsiteX3" fmla="*/ 15663 w 219608"/>
                  <a:gd name="connsiteY3" fmla="*/ 100013 h 131445"/>
                  <a:gd name="connsiteX4" fmla="*/ 4233 w 219608"/>
                  <a:gd name="connsiteY4" fmla="*/ 103823 h 131445"/>
                  <a:gd name="connsiteX5" fmla="*/ 423 w 219608"/>
                  <a:gd name="connsiteY5" fmla="*/ 108585 h 131445"/>
                  <a:gd name="connsiteX6" fmla="*/ 423 w 219608"/>
                  <a:gd name="connsiteY6" fmla="*/ 111443 h 131445"/>
                  <a:gd name="connsiteX7" fmla="*/ 8996 w 219608"/>
                  <a:gd name="connsiteY7" fmla="*/ 118110 h 131445"/>
                  <a:gd name="connsiteX8" fmla="*/ 13758 w 219608"/>
                  <a:gd name="connsiteY8" fmla="*/ 120015 h 131445"/>
                  <a:gd name="connsiteX9" fmla="*/ 20425 w 219608"/>
                  <a:gd name="connsiteY9" fmla="*/ 130493 h 131445"/>
                  <a:gd name="connsiteX10" fmla="*/ 28046 w 219608"/>
                  <a:gd name="connsiteY10" fmla="*/ 131445 h 131445"/>
                  <a:gd name="connsiteX11" fmla="*/ 37571 w 219608"/>
                  <a:gd name="connsiteY11" fmla="*/ 130493 h 131445"/>
                  <a:gd name="connsiteX12" fmla="*/ 43286 w 219608"/>
                  <a:gd name="connsiteY12" fmla="*/ 127635 h 131445"/>
                  <a:gd name="connsiteX13" fmla="*/ 45191 w 219608"/>
                  <a:gd name="connsiteY13" fmla="*/ 120968 h 131445"/>
                  <a:gd name="connsiteX14" fmla="*/ 46143 w 219608"/>
                  <a:gd name="connsiteY14" fmla="*/ 114300 h 131445"/>
                  <a:gd name="connsiteX15" fmla="*/ 49953 w 219608"/>
                  <a:gd name="connsiteY15" fmla="*/ 109538 h 131445"/>
                  <a:gd name="connsiteX16" fmla="*/ 50906 w 219608"/>
                  <a:gd name="connsiteY16" fmla="*/ 105727 h 131445"/>
                  <a:gd name="connsiteX17" fmla="*/ 54716 w 219608"/>
                  <a:gd name="connsiteY17" fmla="*/ 104775 h 131445"/>
                  <a:gd name="connsiteX18" fmla="*/ 60431 w 219608"/>
                  <a:gd name="connsiteY18" fmla="*/ 103823 h 131445"/>
                  <a:gd name="connsiteX19" fmla="*/ 73766 w 219608"/>
                  <a:gd name="connsiteY19" fmla="*/ 104775 h 131445"/>
                  <a:gd name="connsiteX20" fmla="*/ 87101 w 219608"/>
                  <a:gd name="connsiteY20" fmla="*/ 104775 h 131445"/>
                  <a:gd name="connsiteX21" fmla="*/ 94721 w 219608"/>
                  <a:gd name="connsiteY21" fmla="*/ 103823 h 131445"/>
                  <a:gd name="connsiteX22" fmla="*/ 96626 w 219608"/>
                  <a:gd name="connsiteY22" fmla="*/ 100013 h 131445"/>
                  <a:gd name="connsiteX23" fmla="*/ 100436 w 219608"/>
                  <a:gd name="connsiteY23" fmla="*/ 96202 h 131445"/>
                  <a:gd name="connsiteX24" fmla="*/ 108056 w 219608"/>
                  <a:gd name="connsiteY24" fmla="*/ 96202 h 131445"/>
                  <a:gd name="connsiteX25" fmla="*/ 109008 w 219608"/>
                  <a:gd name="connsiteY25" fmla="*/ 100013 h 131445"/>
                  <a:gd name="connsiteX26" fmla="*/ 123296 w 219608"/>
                  <a:gd name="connsiteY26" fmla="*/ 101918 h 131445"/>
                  <a:gd name="connsiteX27" fmla="*/ 130916 w 219608"/>
                  <a:gd name="connsiteY27" fmla="*/ 98108 h 131445"/>
                  <a:gd name="connsiteX28" fmla="*/ 134726 w 219608"/>
                  <a:gd name="connsiteY28" fmla="*/ 89535 h 131445"/>
                  <a:gd name="connsiteX29" fmla="*/ 140441 w 219608"/>
                  <a:gd name="connsiteY29" fmla="*/ 87630 h 131445"/>
                  <a:gd name="connsiteX30" fmla="*/ 144251 w 219608"/>
                  <a:gd name="connsiteY30" fmla="*/ 87630 h 131445"/>
                  <a:gd name="connsiteX31" fmla="*/ 180446 w 219608"/>
                  <a:gd name="connsiteY31" fmla="*/ 89535 h 131445"/>
                  <a:gd name="connsiteX32" fmla="*/ 189971 w 219608"/>
                  <a:gd name="connsiteY32" fmla="*/ 89535 h 131445"/>
                  <a:gd name="connsiteX33" fmla="*/ 201401 w 219608"/>
                  <a:gd name="connsiteY33" fmla="*/ 86677 h 131445"/>
                  <a:gd name="connsiteX34" fmla="*/ 207116 w 219608"/>
                  <a:gd name="connsiteY34" fmla="*/ 84773 h 131445"/>
                  <a:gd name="connsiteX35" fmla="*/ 208068 w 219608"/>
                  <a:gd name="connsiteY35" fmla="*/ 72390 h 131445"/>
                  <a:gd name="connsiteX36" fmla="*/ 209021 w 219608"/>
                  <a:gd name="connsiteY36" fmla="*/ 65723 h 131445"/>
                  <a:gd name="connsiteX37" fmla="*/ 211878 w 219608"/>
                  <a:gd name="connsiteY37" fmla="*/ 59055 h 131445"/>
                  <a:gd name="connsiteX38" fmla="*/ 213783 w 219608"/>
                  <a:gd name="connsiteY38" fmla="*/ 54293 h 131445"/>
                  <a:gd name="connsiteX39" fmla="*/ 218546 w 219608"/>
                  <a:gd name="connsiteY39" fmla="*/ 38100 h 131445"/>
                  <a:gd name="connsiteX40" fmla="*/ 217593 w 219608"/>
                  <a:gd name="connsiteY40" fmla="*/ 19050 h 131445"/>
                  <a:gd name="connsiteX41" fmla="*/ 216641 w 219608"/>
                  <a:gd name="connsiteY41" fmla="*/ 15240 h 131445"/>
                  <a:gd name="connsiteX42" fmla="*/ 212831 w 219608"/>
                  <a:gd name="connsiteY42" fmla="*/ 952 h 131445"/>
                  <a:gd name="connsiteX43" fmla="*/ 207116 w 219608"/>
                  <a:gd name="connsiteY43" fmla="*/ 0 h 131445"/>
                  <a:gd name="connsiteX44" fmla="*/ 198543 w 219608"/>
                  <a:gd name="connsiteY44" fmla="*/ 6668 h 131445"/>
                  <a:gd name="connsiteX45" fmla="*/ 189971 w 219608"/>
                  <a:gd name="connsiteY45" fmla="*/ 13335 h 131445"/>
                  <a:gd name="connsiteX46" fmla="*/ 189018 w 219608"/>
                  <a:gd name="connsiteY46" fmla="*/ 16193 h 131445"/>
                  <a:gd name="connsiteX47" fmla="*/ 185208 w 219608"/>
                  <a:gd name="connsiteY47" fmla="*/ 20955 h 131445"/>
                  <a:gd name="connsiteX48" fmla="*/ 174731 w 219608"/>
                  <a:gd name="connsiteY48" fmla="*/ 30480 h 131445"/>
                  <a:gd name="connsiteX49" fmla="*/ 172826 w 219608"/>
                  <a:gd name="connsiteY49" fmla="*/ 34290 h 131445"/>
                  <a:gd name="connsiteX50" fmla="*/ 170921 w 219608"/>
                  <a:gd name="connsiteY50" fmla="*/ 36195 h 131445"/>
                  <a:gd name="connsiteX51" fmla="*/ 170921 w 219608"/>
                  <a:gd name="connsiteY51" fmla="*/ 36195 h 131445"/>
                  <a:gd name="connsiteX52" fmla="*/ 169016 w 219608"/>
                  <a:gd name="connsiteY52" fmla="*/ 41910 h 131445"/>
                  <a:gd name="connsiteX53" fmla="*/ 165206 w 219608"/>
                  <a:gd name="connsiteY53" fmla="*/ 48577 h 131445"/>
                  <a:gd name="connsiteX54" fmla="*/ 153776 w 219608"/>
                  <a:gd name="connsiteY54" fmla="*/ 50483 h 131445"/>
                  <a:gd name="connsiteX55" fmla="*/ 135678 w 219608"/>
                  <a:gd name="connsiteY55" fmla="*/ 54293 h 131445"/>
                  <a:gd name="connsiteX56" fmla="*/ 130916 w 219608"/>
                  <a:gd name="connsiteY56" fmla="*/ 55245 h 131445"/>
                  <a:gd name="connsiteX57" fmla="*/ 123296 w 219608"/>
                  <a:gd name="connsiteY57" fmla="*/ 60008 h 131445"/>
                  <a:gd name="connsiteX58" fmla="*/ 123296 w 219608"/>
                  <a:gd name="connsiteY58" fmla="*/ 63818 h 131445"/>
                  <a:gd name="connsiteX59" fmla="*/ 116628 w 219608"/>
                  <a:gd name="connsiteY59" fmla="*/ 67627 h 131445"/>
                  <a:gd name="connsiteX60" fmla="*/ 106151 w 219608"/>
                  <a:gd name="connsiteY60" fmla="*/ 73343 h 131445"/>
                  <a:gd name="connsiteX61" fmla="*/ 97578 w 219608"/>
                  <a:gd name="connsiteY61" fmla="*/ 74295 h 131445"/>
                  <a:gd name="connsiteX62" fmla="*/ 84243 w 219608"/>
                  <a:gd name="connsiteY62" fmla="*/ 74295 h 131445"/>
                  <a:gd name="connsiteX63" fmla="*/ 71861 w 219608"/>
                  <a:gd name="connsiteY63" fmla="*/ 75248 h 131445"/>
                  <a:gd name="connsiteX64" fmla="*/ 63288 w 219608"/>
                  <a:gd name="connsiteY64" fmla="*/ 75248 h 131445"/>
                  <a:gd name="connsiteX65" fmla="*/ 59478 w 219608"/>
                  <a:gd name="connsiteY65" fmla="*/ 77152 h 131445"/>
                  <a:gd name="connsiteX66" fmla="*/ 50906 w 219608"/>
                  <a:gd name="connsiteY66" fmla="*/ 78105 h 131445"/>
                  <a:gd name="connsiteX67" fmla="*/ 49000 w 219608"/>
                  <a:gd name="connsiteY67" fmla="*/ 80963 h 131445"/>
                  <a:gd name="connsiteX68" fmla="*/ 49000 w 219608"/>
                  <a:gd name="connsiteY68" fmla="*/ 83820 h 131445"/>
                  <a:gd name="connsiteX69" fmla="*/ 49000 w 219608"/>
                  <a:gd name="connsiteY69" fmla="*/ 87630 h 131445"/>
                  <a:gd name="connsiteX70" fmla="*/ 45191 w 219608"/>
                  <a:gd name="connsiteY70" fmla="*/ 94298 h 131445"/>
                  <a:gd name="connsiteX71" fmla="*/ 39475 w 219608"/>
                  <a:gd name="connsiteY71" fmla="*/ 98108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9608" h="131445">
                    <a:moveTo>
                      <a:pt x="39475" y="98108"/>
                    </a:moveTo>
                    <a:lnTo>
                      <a:pt x="28046" y="99060"/>
                    </a:lnTo>
                    <a:lnTo>
                      <a:pt x="20425" y="99060"/>
                    </a:lnTo>
                    <a:cubicBezTo>
                      <a:pt x="20425" y="99060"/>
                      <a:pt x="18521" y="97155"/>
                      <a:pt x="15663" y="100013"/>
                    </a:cubicBezTo>
                    <a:cubicBezTo>
                      <a:pt x="13758" y="102870"/>
                      <a:pt x="8996" y="98108"/>
                      <a:pt x="4233" y="103823"/>
                    </a:cubicBezTo>
                    <a:cubicBezTo>
                      <a:pt x="423" y="108585"/>
                      <a:pt x="423" y="105727"/>
                      <a:pt x="423" y="108585"/>
                    </a:cubicBezTo>
                    <a:cubicBezTo>
                      <a:pt x="423" y="111443"/>
                      <a:pt x="-529" y="108585"/>
                      <a:pt x="423" y="111443"/>
                    </a:cubicBezTo>
                    <a:cubicBezTo>
                      <a:pt x="1375" y="114300"/>
                      <a:pt x="8996" y="118110"/>
                      <a:pt x="8996" y="118110"/>
                    </a:cubicBezTo>
                    <a:cubicBezTo>
                      <a:pt x="8996" y="118110"/>
                      <a:pt x="10900" y="117158"/>
                      <a:pt x="13758" y="120015"/>
                    </a:cubicBezTo>
                    <a:cubicBezTo>
                      <a:pt x="15663" y="122873"/>
                      <a:pt x="20425" y="130493"/>
                      <a:pt x="20425" y="130493"/>
                    </a:cubicBezTo>
                    <a:cubicBezTo>
                      <a:pt x="20425" y="130493"/>
                      <a:pt x="22331" y="131445"/>
                      <a:pt x="28046" y="131445"/>
                    </a:cubicBezTo>
                    <a:cubicBezTo>
                      <a:pt x="33761" y="131445"/>
                      <a:pt x="37571" y="130493"/>
                      <a:pt x="37571" y="130493"/>
                    </a:cubicBezTo>
                    <a:lnTo>
                      <a:pt x="43286" y="127635"/>
                    </a:lnTo>
                    <a:lnTo>
                      <a:pt x="45191" y="120968"/>
                    </a:lnTo>
                    <a:lnTo>
                      <a:pt x="46143" y="114300"/>
                    </a:lnTo>
                    <a:lnTo>
                      <a:pt x="49953" y="109538"/>
                    </a:lnTo>
                    <a:cubicBezTo>
                      <a:pt x="49953" y="109538"/>
                      <a:pt x="48048" y="105727"/>
                      <a:pt x="50906" y="105727"/>
                    </a:cubicBezTo>
                    <a:cubicBezTo>
                      <a:pt x="54716" y="104775"/>
                      <a:pt x="54716" y="104775"/>
                      <a:pt x="54716" y="104775"/>
                    </a:cubicBezTo>
                    <a:cubicBezTo>
                      <a:pt x="54716" y="104775"/>
                      <a:pt x="56621" y="103823"/>
                      <a:pt x="60431" y="103823"/>
                    </a:cubicBezTo>
                    <a:cubicBezTo>
                      <a:pt x="63288" y="103823"/>
                      <a:pt x="73766" y="104775"/>
                      <a:pt x="73766" y="104775"/>
                    </a:cubicBezTo>
                    <a:lnTo>
                      <a:pt x="87101" y="104775"/>
                    </a:lnTo>
                    <a:lnTo>
                      <a:pt x="94721" y="103823"/>
                    </a:lnTo>
                    <a:lnTo>
                      <a:pt x="96626" y="100013"/>
                    </a:lnTo>
                    <a:lnTo>
                      <a:pt x="100436" y="96202"/>
                    </a:lnTo>
                    <a:cubicBezTo>
                      <a:pt x="100436" y="96202"/>
                      <a:pt x="107103" y="92393"/>
                      <a:pt x="108056" y="96202"/>
                    </a:cubicBezTo>
                    <a:cubicBezTo>
                      <a:pt x="109008" y="100013"/>
                      <a:pt x="109008" y="100013"/>
                      <a:pt x="109008" y="100013"/>
                    </a:cubicBezTo>
                    <a:lnTo>
                      <a:pt x="123296" y="101918"/>
                    </a:lnTo>
                    <a:lnTo>
                      <a:pt x="130916" y="98108"/>
                    </a:lnTo>
                    <a:lnTo>
                      <a:pt x="134726" y="89535"/>
                    </a:lnTo>
                    <a:cubicBezTo>
                      <a:pt x="134726" y="89535"/>
                      <a:pt x="136631" y="87630"/>
                      <a:pt x="140441" y="87630"/>
                    </a:cubicBezTo>
                    <a:cubicBezTo>
                      <a:pt x="144251" y="87630"/>
                      <a:pt x="135678" y="87630"/>
                      <a:pt x="144251" y="87630"/>
                    </a:cubicBezTo>
                    <a:cubicBezTo>
                      <a:pt x="151871" y="87630"/>
                      <a:pt x="175683" y="89535"/>
                      <a:pt x="180446" y="89535"/>
                    </a:cubicBezTo>
                    <a:cubicBezTo>
                      <a:pt x="185208" y="89535"/>
                      <a:pt x="186161" y="89535"/>
                      <a:pt x="189971" y="89535"/>
                    </a:cubicBezTo>
                    <a:cubicBezTo>
                      <a:pt x="194733" y="89535"/>
                      <a:pt x="201401" y="86677"/>
                      <a:pt x="201401" y="86677"/>
                    </a:cubicBezTo>
                    <a:lnTo>
                      <a:pt x="207116" y="84773"/>
                    </a:lnTo>
                    <a:lnTo>
                      <a:pt x="208068" y="72390"/>
                    </a:lnTo>
                    <a:cubicBezTo>
                      <a:pt x="208068" y="72390"/>
                      <a:pt x="208068" y="67627"/>
                      <a:pt x="209021" y="65723"/>
                    </a:cubicBezTo>
                    <a:cubicBezTo>
                      <a:pt x="209973" y="63818"/>
                      <a:pt x="211878" y="59055"/>
                      <a:pt x="211878" y="59055"/>
                    </a:cubicBezTo>
                    <a:lnTo>
                      <a:pt x="213783" y="54293"/>
                    </a:lnTo>
                    <a:cubicBezTo>
                      <a:pt x="213783" y="54293"/>
                      <a:pt x="215688" y="49530"/>
                      <a:pt x="218546" y="38100"/>
                    </a:cubicBezTo>
                    <a:cubicBezTo>
                      <a:pt x="221403" y="26670"/>
                      <a:pt x="217593" y="19050"/>
                      <a:pt x="217593" y="19050"/>
                    </a:cubicBezTo>
                    <a:cubicBezTo>
                      <a:pt x="217593" y="19050"/>
                      <a:pt x="216641" y="17145"/>
                      <a:pt x="216641" y="15240"/>
                    </a:cubicBezTo>
                    <a:cubicBezTo>
                      <a:pt x="216641" y="13335"/>
                      <a:pt x="212831" y="952"/>
                      <a:pt x="212831" y="952"/>
                    </a:cubicBezTo>
                    <a:lnTo>
                      <a:pt x="207116" y="0"/>
                    </a:lnTo>
                    <a:cubicBezTo>
                      <a:pt x="207116" y="0"/>
                      <a:pt x="198543" y="3810"/>
                      <a:pt x="198543" y="6668"/>
                    </a:cubicBezTo>
                    <a:cubicBezTo>
                      <a:pt x="198543" y="8573"/>
                      <a:pt x="190923" y="10477"/>
                      <a:pt x="189971" y="13335"/>
                    </a:cubicBezTo>
                    <a:cubicBezTo>
                      <a:pt x="189018" y="16193"/>
                      <a:pt x="191876" y="11430"/>
                      <a:pt x="189018" y="16193"/>
                    </a:cubicBezTo>
                    <a:cubicBezTo>
                      <a:pt x="185208" y="20955"/>
                      <a:pt x="188066" y="14288"/>
                      <a:pt x="185208" y="20955"/>
                    </a:cubicBezTo>
                    <a:cubicBezTo>
                      <a:pt x="183303" y="27623"/>
                      <a:pt x="177588" y="26670"/>
                      <a:pt x="174731" y="30480"/>
                    </a:cubicBezTo>
                    <a:cubicBezTo>
                      <a:pt x="172826" y="34290"/>
                      <a:pt x="174731" y="32385"/>
                      <a:pt x="172826" y="34290"/>
                    </a:cubicBezTo>
                    <a:cubicBezTo>
                      <a:pt x="170921" y="36195"/>
                      <a:pt x="170921" y="36195"/>
                      <a:pt x="170921" y="36195"/>
                    </a:cubicBezTo>
                    <a:cubicBezTo>
                      <a:pt x="170921" y="36195"/>
                      <a:pt x="172826" y="30480"/>
                      <a:pt x="170921" y="36195"/>
                    </a:cubicBezTo>
                    <a:cubicBezTo>
                      <a:pt x="169016" y="41910"/>
                      <a:pt x="171873" y="35243"/>
                      <a:pt x="169016" y="41910"/>
                    </a:cubicBezTo>
                    <a:cubicBezTo>
                      <a:pt x="165206" y="48577"/>
                      <a:pt x="165206" y="48577"/>
                      <a:pt x="165206" y="48577"/>
                    </a:cubicBezTo>
                    <a:cubicBezTo>
                      <a:pt x="165206" y="48577"/>
                      <a:pt x="171873" y="46673"/>
                      <a:pt x="153776" y="50483"/>
                    </a:cubicBezTo>
                    <a:cubicBezTo>
                      <a:pt x="135678" y="54293"/>
                      <a:pt x="135678" y="54293"/>
                      <a:pt x="135678" y="54293"/>
                    </a:cubicBezTo>
                    <a:lnTo>
                      <a:pt x="130916" y="55245"/>
                    </a:lnTo>
                    <a:cubicBezTo>
                      <a:pt x="130916" y="55245"/>
                      <a:pt x="123296" y="56198"/>
                      <a:pt x="123296" y="60008"/>
                    </a:cubicBezTo>
                    <a:cubicBezTo>
                      <a:pt x="123296" y="63818"/>
                      <a:pt x="123296" y="63818"/>
                      <a:pt x="123296" y="63818"/>
                    </a:cubicBezTo>
                    <a:lnTo>
                      <a:pt x="116628" y="67627"/>
                    </a:lnTo>
                    <a:cubicBezTo>
                      <a:pt x="116628" y="67627"/>
                      <a:pt x="109961" y="71438"/>
                      <a:pt x="106151" y="73343"/>
                    </a:cubicBezTo>
                    <a:cubicBezTo>
                      <a:pt x="103293" y="74295"/>
                      <a:pt x="103293" y="73343"/>
                      <a:pt x="97578" y="74295"/>
                    </a:cubicBezTo>
                    <a:cubicBezTo>
                      <a:pt x="91863" y="75248"/>
                      <a:pt x="84243" y="74295"/>
                      <a:pt x="84243" y="74295"/>
                    </a:cubicBezTo>
                    <a:lnTo>
                      <a:pt x="71861" y="75248"/>
                    </a:lnTo>
                    <a:cubicBezTo>
                      <a:pt x="71861" y="75248"/>
                      <a:pt x="66146" y="73343"/>
                      <a:pt x="63288" y="75248"/>
                    </a:cubicBezTo>
                    <a:cubicBezTo>
                      <a:pt x="59478" y="77152"/>
                      <a:pt x="59478" y="77152"/>
                      <a:pt x="59478" y="77152"/>
                    </a:cubicBezTo>
                    <a:lnTo>
                      <a:pt x="50906" y="78105"/>
                    </a:lnTo>
                    <a:cubicBezTo>
                      <a:pt x="50906" y="78105"/>
                      <a:pt x="49000" y="78105"/>
                      <a:pt x="49000" y="80963"/>
                    </a:cubicBezTo>
                    <a:cubicBezTo>
                      <a:pt x="49000" y="83820"/>
                      <a:pt x="49000" y="80010"/>
                      <a:pt x="49000" y="83820"/>
                    </a:cubicBezTo>
                    <a:cubicBezTo>
                      <a:pt x="49000" y="87630"/>
                      <a:pt x="52811" y="81915"/>
                      <a:pt x="49000" y="87630"/>
                    </a:cubicBezTo>
                    <a:cubicBezTo>
                      <a:pt x="45191" y="94298"/>
                      <a:pt x="45191" y="94298"/>
                      <a:pt x="45191" y="94298"/>
                    </a:cubicBezTo>
                    <a:lnTo>
                      <a:pt x="39475" y="98108"/>
                    </a:lnTo>
                    <a:close/>
                  </a:path>
                </a:pathLst>
              </a:custGeom>
              <a:grpFill/>
              <a:ln w="9525" cap="flat">
                <a:noFill/>
                <a:prstDash val="solid"/>
                <a:miter/>
              </a:ln>
            </p:spPr>
            <p:txBody>
              <a:bodyPr rtlCol="0" anchor="ctr"/>
              <a:lstStyle/>
              <a:p>
                <a:endParaRPr lang="en-US" sz="1765"/>
              </a:p>
            </p:txBody>
          </p:sp>
          <p:sp>
            <p:nvSpPr>
              <p:cNvPr id="303" name="Freeform: Shape 302">
                <a:extLst>
                  <a:ext uri="{FF2B5EF4-FFF2-40B4-BE49-F238E27FC236}">
                    <a16:creationId xmlns:a16="http://schemas.microsoft.com/office/drawing/2014/main" id="{90DA3CDD-069A-4169-B672-F6BBDC9082CC}"/>
                  </a:ext>
                </a:extLst>
              </p:cNvPr>
              <p:cNvSpPr/>
              <p:nvPr/>
            </p:nvSpPr>
            <p:spPr>
              <a:xfrm>
                <a:off x="10638501" y="3539007"/>
                <a:ext cx="108254" cy="38311"/>
              </a:xfrm>
              <a:custGeom>
                <a:avLst/>
                <a:gdLst>
                  <a:gd name="connsiteX0" fmla="*/ 54293 w 108254"/>
                  <a:gd name="connsiteY0" fmla="*/ 7832 h 38311"/>
                  <a:gd name="connsiteX1" fmla="*/ 49530 w 108254"/>
                  <a:gd name="connsiteY1" fmla="*/ 4022 h 38311"/>
                  <a:gd name="connsiteX2" fmla="*/ 44768 w 108254"/>
                  <a:gd name="connsiteY2" fmla="*/ 2117 h 38311"/>
                  <a:gd name="connsiteX3" fmla="*/ 32385 w 108254"/>
                  <a:gd name="connsiteY3" fmla="*/ 2117 h 38311"/>
                  <a:gd name="connsiteX4" fmla="*/ 28575 w 108254"/>
                  <a:gd name="connsiteY4" fmla="*/ 6879 h 38311"/>
                  <a:gd name="connsiteX5" fmla="*/ 23813 w 108254"/>
                  <a:gd name="connsiteY5" fmla="*/ 16404 h 38311"/>
                  <a:gd name="connsiteX6" fmla="*/ 19050 w 108254"/>
                  <a:gd name="connsiteY6" fmla="*/ 18309 h 38311"/>
                  <a:gd name="connsiteX7" fmla="*/ 11430 w 108254"/>
                  <a:gd name="connsiteY7" fmla="*/ 20214 h 38311"/>
                  <a:gd name="connsiteX8" fmla="*/ 6668 w 108254"/>
                  <a:gd name="connsiteY8" fmla="*/ 21167 h 38311"/>
                  <a:gd name="connsiteX9" fmla="*/ 1905 w 108254"/>
                  <a:gd name="connsiteY9" fmla="*/ 22119 h 38311"/>
                  <a:gd name="connsiteX10" fmla="*/ 0 w 108254"/>
                  <a:gd name="connsiteY10" fmla="*/ 28787 h 38311"/>
                  <a:gd name="connsiteX11" fmla="*/ 0 w 108254"/>
                  <a:gd name="connsiteY11" fmla="*/ 31644 h 38311"/>
                  <a:gd name="connsiteX12" fmla="*/ 4763 w 108254"/>
                  <a:gd name="connsiteY12" fmla="*/ 35454 h 38311"/>
                  <a:gd name="connsiteX13" fmla="*/ 9525 w 108254"/>
                  <a:gd name="connsiteY13" fmla="*/ 36407 h 38311"/>
                  <a:gd name="connsiteX14" fmla="*/ 22860 w 108254"/>
                  <a:gd name="connsiteY14" fmla="*/ 33549 h 38311"/>
                  <a:gd name="connsiteX15" fmla="*/ 34290 w 108254"/>
                  <a:gd name="connsiteY15" fmla="*/ 32597 h 38311"/>
                  <a:gd name="connsiteX16" fmla="*/ 40005 w 108254"/>
                  <a:gd name="connsiteY16" fmla="*/ 34502 h 38311"/>
                  <a:gd name="connsiteX17" fmla="*/ 44768 w 108254"/>
                  <a:gd name="connsiteY17" fmla="*/ 36407 h 38311"/>
                  <a:gd name="connsiteX18" fmla="*/ 60960 w 108254"/>
                  <a:gd name="connsiteY18" fmla="*/ 38312 h 38311"/>
                  <a:gd name="connsiteX19" fmla="*/ 68580 w 108254"/>
                  <a:gd name="connsiteY19" fmla="*/ 35454 h 38311"/>
                  <a:gd name="connsiteX20" fmla="*/ 72390 w 108254"/>
                  <a:gd name="connsiteY20" fmla="*/ 32597 h 38311"/>
                  <a:gd name="connsiteX21" fmla="*/ 78105 w 108254"/>
                  <a:gd name="connsiteY21" fmla="*/ 28787 h 38311"/>
                  <a:gd name="connsiteX22" fmla="*/ 90488 w 108254"/>
                  <a:gd name="connsiteY22" fmla="*/ 25929 h 38311"/>
                  <a:gd name="connsiteX23" fmla="*/ 99060 w 108254"/>
                  <a:gd name="connsiteY23" fmla="*/ 25929 h 38311"/>
                  <a:gd name="connsiteX24" fmla="*/ 105727 w 108254"/>
                  <a:gd name="connsiteY24" fmla="*/ 24024 h 38311"/>
                  <a:gd name="connsiteX25" fmla="*/ 107632 w 108254"/>
                  <a:gd name="connsiteY25" fmla="*/ 20214 h 38311"/>
                  <a:gd name="connsiteX26" fmla="*/ 107632 w 108254"/>
                  <a:gd name="connsiteY26" fmla="*/ 15452 h 38311"/>
                  <a:gd name="connsiteX27" fmla="*/ 107632 w 108254"/>
                  <a:gd name="connsiteY27" fmla="*/ 11642 h 38311"/>
                  <a:gd name="connsiteX28" fmla="*/ 106680 w 108254"/>
                  <a:gd name="connsiteY28" fmla="*/ 7832 h 38311"/>
                  <a:gd name="connsiteX29" fmla="*/ 91440 w 108254"/>
                  <a:gd name="connsiteY29" fmla="*/ 6879 h 38311"/>
                  <a:gd name="connsiteX30" fmla="*/ 83820 w 108254"/>
                  <a:gd name="connsiteY30" fmla="*/ 7832 h 38311"/>
                  <a:gd name="connsiteX31" fmla="*/ 69532 w 108254"/>
                  <a:gd name="connsiteY31" fmla="*/ 8784 h 38311"/>
                  <a:gd name="connsiteX32" fmla="*/ 63818 w 108254"/>
                  <a:gd name="connsiteY32" fmla="*/ 8784 h 38311"/>
                  <a:gd name="connsiteX33" fmla="*/ 54293 w 108254"/>
                  <a:gd name="connsiteY33" fmla="*/ 7832 h 3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8254" h="38311">
                    <a:moveTo>
                      <a:pt x="54293" y="7832"/>
                    </a:moveTo>
                    <a:lnTo>
                      <a:pt x="49530" y="4022"/>
                    </a:lnTo>
                    <a:lnTo>
                      <a:pt x="44768" y="2117"/>
                    </a:lnTo>
                    <a:cubicBezTo>
                      <a:pt x="44768" y="2117"/>
                      <a:pt x="36195" y="-2646"/>
                      <a:pt x="32385" y="2117"/>
                    </a:cubicBezTo>
                    <a:cubicBezTo>
                      <a:pt x="28575" y="6879"/>
                      <a:pt x="31432" y="2117"/>
                      <a:pt x="28575" y="6879"/>
                    </a:cubicBezTo>
                    <a:cubicBezTo>
                      <a:pt x="26670" y="11642"/>
                      <a:pt x="23813" y="16404"/>
                      <a:pt x="23813" y="16404"/>
                    </a:cubicBezTo>
                    <a:lnTo>
                      <a:pt x="19050" y="18309"/>
                    </a:lnTo>
                    <a:lnTo>
                      <a:pt x="11430" y="20214"/>
                    </a:lnTo>
                    <a:lnTo>
                      <a:pt x="6668" y="21167"/>
                    </a:lnTo>
                    <a:cubicBezTo>
                      <a:pt x="6668" y="21167"/>
                      <a:pt x="1905" y="20214"/>
                      <a:pt x="1905" y="22119"/>
                    </a:cubicBezTo>
                    <a:cubicBezTo>
                      <a:pt x="1905" y="24024"/>
                      <a:pt x="0" y="28787"/>
                      <a:pt x="0" y="28787"/>
                    </a:cubicBezTo>
                    <a:lnTo>
                      <a:pt x="0" y="31644"/>
                    </a:lnTo>
                    <a:lnTo>
                      <a:pt x="4763" y="35454"/>
                    </a:lnTo>
                    <a:cubicBezTo>
                      <a:pt x="4763" y="35454"/>
                      <a:pt x="5715" y="36407"/>
                      <a:pt x="9525" y="36407"/>
                    </a:cubicBezTo>
                    <a:cubicBezTo>
                      <a:pt x="12382" y="36407"/>
                      <a:pt x="22860" y="33549"/>
                      <a:pt x="22860" y="33549"/>
                    </a:cubicBezTo>
                    <a:lnTo>
                      <a:pt x="34290" y="32597"/>
                    </a:lnTo>
                    <a:lnTo>
                      <a:pt x="40005" y="34502"/>
                    </a:lnTo>
                    <a:lnTo>
                      <a:pt x="44768" y="36407"/>
                    </a:lnTo>
                    <a:cubicBezTo>
                      <a:pt x="52388" y="37359"/>
                      <a:pt x="60960" y="38312"/>
                      <a:pt x="60960" y="38312"/>
                    </a:cubicBezTo>
                    <a:lnTo>
                      <a:pt x="68580" y="35454"/>
                    </a:lnTo>
                    <a:lnTo>
                      <a:pt x="72390" y="32597"/>
                    </a:lnTo>
                    <a:cubicBezTo>
                      <a:pt x="72390" y="32597"/>
                      <a:pt x="73343" y="28787"/>
                      <a:pt x="78105" y="28787"/>
                    </a:cubicBezTo>
                    <a:cubicBezTo>
                      <a:pt x="82868" y="28787"/>
                      <a:pt x="85725" y="25929"/>
                      <a:pt x="90488" y="25929"/>
                    </a:cubicBezTo>
                    <a:cubicBezTo>
                      <a:pt x="95250" y="25929"/>
                      <a:pt x="99060" y="25929"/>
                      <a:pt x="99060" y="25929"/>
                    </a:cubicBezTo>
                    <a:lnTo>
                      <a:pt x="105727" y="24024"/>
                    </a:lnTo>
                    <a:lnTo>
                      <a:pt x="107632" y="20214"/>
                    </a:lnTo>
                    <a:lnTo>
                      <a:pt x="107632" y="15452"/>
                    </a:lnTo>
                    <a:lnTo>
                      <a:pt x="107632" y="11642"/>
                    </a:lnTo>
                    <a:cubicBezTo>
                      <a:pt x="107632" y="11642"/>
                      <a:pt x="109538" y="7832"/>
                      <a:pt x="106680" y="7832"/>
                    </a:cubicBezTo>
                    <a:cubicBezTo>
                      <a:pt x="103823" y="8784"/>
                      <a:pt x="91440" y="6879"/>
                      <a:pt x="91440" y="6879"/>
                    </a:cubicBezTo>
                    <a:lnTo>
                      <a:pt x="83820" y="7832"/>
                    </a:lnTo>
                    <a:lnTo>
                      <a:pt x="69532" y="8784"/>
                    </a:lnTo>
                    <a:lnTo>
                      <a:pt x="63818" y="8784"/>
                    </a:lnTo>
                    <a:lnTo>
                      <a:pt x="54293" y="7832"/>
                    </a:lnTo>
                    <a:close/>
                  </a:path>
                </a:pathLst>
              </a:custGeom>
              <a:grpFill/>
              <a:ln w="9525" cap="flat">
                <a:noFill/>
                <a:prstDash val="solid"/>
                <a:miter/>
              </a:ln>
            </p:spPr>
            <p:txBody>
              <a:bodyPr rtlCol="0" anchor="ctr"/>
              <a:lstStyle/>
              <a:p>
                <a:endParaRPr lang="en-US" sz="1765"/>
              </a:p>
            </p:txBody>
          </p:sp>
          <p:sp>
            <p:nvSpPr>
              <p:cNvPr id="304" name="Freeform: Shape 303">
                <a:extLst>
                  <a:ext uri="{FF2B5EF4-FFF2-40B4-BE49-F238E27FC236}">
                    <a16:creationId xmlns:a16="http://schemas.microsoft.com/office/drawing/2014/main" id="{C04F8238-2AA5-4CE2-B799-40350D19550A}"/>
                  </a:ext>
                </a:extLst>
              </p:cNvPr>
              <p:cNvSpPr/>
              <p:nvPr/>
            </p:nvSpPr>
            <p:spPr>
              <a:xfrm>
                <a:off x="10664219" y="3419204"/>
                <a:ext cx="51434" cy="105727"/>
              </a:xfrm>
              <a:custGeom>
                <a:avLst/>
                <a:gdLst>
                  <a:gd name="connsiteX0" fmla="*/ 0 w 51434"/>
                  <a:gd name="connsiteY0" fmla="*/ 20002 h 105727"/>
                  <a:gd name="connsiteX1" fmla="*/ 7620 w 51434"/>
                  <a:gd name="connsiteY1" fmla="*/ 29527 h 105727"/>
                  <a:gd name="connsiteX2" fmla="*/ 7620 w 51434"/>
                  <a:gd name="connsiteY2" fmla="*/ 39052 h 105727"/>
                  <a:gd name="connsiteX3" fmla="*/ 7620 w 51434"/>
                  <a:gd name="connsiteY3" fmla="*/ 45720 h 105727"/>
                  <a:gd name="connsiteX4" fmla="*/ 6668 w 51434"/>
                  <a:gd name="connsiteY4" fmla="*/ 53340 h 105727"/>
                  <a:gd name="connsiteX5" fmla="*/ 13335 w 51434"/>
                  <a:gd name="connsiteY5" fmla="*/ 65723 h 105727"/>
                  <a:gd name="connsiteX6" fmla="*/ 13335 w 51434"/>
                  <a:gd name="connsiteY6" fmla="*/ 72390 h 105727"/>
                  <a:gd name="connsiteX7" fmla="*/ 10477 w 51434"/>
                  <a:gd name="connsiteY7" fmla="*/ 81915 h 105727"/>
                  <a:gd name="connsiteX8" fmla="*/ 13335 w 51434"/>
                  <a:gd name="connsiteY8" fmla="*/ 96202 h 105727"/>
                  <a:gd name="connsiteX9" fmla="*/ 18097 w 51434"/>
                  <a:gd name="connsiteY9" fmla="*/ 100965 h 105727"/>
                  <a:gd name="connsiteX10" fmla="*/ 35243 w 51434"/>
                  <a:gd name="connsiteY10" fmla="*/ 105727 h 105727"/>
                  <a:gd name="connsiteX11" fmla="*/ 44768 w 51434"/>
                  <a:gd name="connsiteY11" fmla="*/ 104775 h 105727"/>
                  <a:gd name="connsiteX12" fmla="*/ 48577 w 51434"/>
                  <a:gd name="connsiteY12" fmla="*/ 98108 h 105727"/>
                  <a:gd name="connsiteX13" fmla="*/ 44768 w 51434"/>
                  <a:gd name="connsiteY13" fmla="*/ 85725 h 105727"/>
                  <a:gd name="connsiteX14" fmla="*/ 40005 w 51434"/>
                  <a:gd name="connsiteY14" fmla="*/ 80963 h 105727"/>
                  <a:gd name="connsiteX15" fmla="*/ 37147 w 51434"/>
                  <a:gd name="connsiteY15" fmla="*/ 71438 h 105727"/>
                  <a:gd name="connsiteX16" fmla="*/ 42863 w 51434"/>
                  <a:gd name="connsiteY16" fmla="*/ 66675 h 105727"/>
                  <a:gd name="connsiteX17" fmla="*/ 47625 w 51434"/>
                  <a:gd name="connsiteY17" fmla="*/ 62865 h 105727"/>
                  <a:gd name="connsiteX18" fmla="*/ 51435 w 51434"/>
                  <a:gd name="connsiteY18" fmla="*/ 58102 h 105727"/>
                  <a:gd name="connsiteX19" fmla="*/ 51435 w 51434"/>
                  <a:gd name="connsiteY19" fmla="*/ 48577 h 105727"/>
                  <a:gd name="connsiteX20" fmla="*/ 45720 w 51434"/>
                  <a:gd name="connsiteY20" fmla="*/ 38100 h 105727"/>
                  <a:gd name="connsiteX21" fmla="*/ 39052 w 51434"/>
                  <a:gd name="connsiteY21" fmla="*/ 27623 h 105727"/>
                  <a:gd name="connsiteX22" fmla="*/ 35243 w 51434"/>
                  <a:gd name="connsiteY22" fmla="*/ 13335 h 105727"/>
                  <a:gd name="connsiteX23" fmla="*/ 33338 w 51434"/>
                  <a:gd name="connsiteY23" fmla="*/ 6667 h 105727"/>
                  <a:gd name="connsiteX24" fmla="*/ 34290 w 51434"/>
                  <a:gd name="connsiteY24" fmla="*/ 4763 h 105727"/>
                  <a:gd name="connsiteX25" fmla="*/ 25718 w 51434"/>
                  <a:gd name="connsiteY25" fmla="*/ 0 h 105727"/>
                  <a:gd name="connsiteX26" fmla="*/ 19050 w 51434"/>
                  <a:gd name="connsiteY26" fmla="*/ 0 h 105727"/>
                  <a:gd name="connsiteX27" fmla="*/ 12382 w 51434"/>
                  <a:gd name="connsiteY27" fmla="*/ 0 h 105727"/>
                  <a:gd name="connsiteX28" fmla="*/ 5715 w 51434"/>
                  <a:gd name="connsiteY28" fmla="*/ 3810 h 105727"/>
                  <a:gd name="connsiteX29" fmla="*/ 2857 w 51434"/>
                  <a:gd name="connsiteY29" fmla="*/ 9525 h 105727"/>
                  <a:gd name="connsiteX30" fmla="*/ 0 w 51434"/>
                  <a:gd name="connsiteY30" fmla="*/ 20002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434" h="105727">
                    <a:moveTo>
                      <a:pt x="0" y="20002"/>
                    </a:moveTo>
                    <a:cubicBezTo>
                      <a:pt x="0" y="20002"/>
                      <a:pt x="6668" y="26670"/>
                      <a:pt x="7620" y="29527"/>
                    </a:cubicBezTo>
                    <a:cubicBezTo>
                      <a:pt x="8572" y="33338"/>
                      <a:pt x="6668" y="35242"/>
                      <a:pt x="7620" y="39052"/>
                    </a:cubicBezTo>
                    <a:cubicBezTo>
                      <a:pt x="8572" y="42863"/>
                      <a:pt x="8572" y="42863"/>
                      <a:pt x="7620" y="45720"/>
                    </a:cubicBezTo>
                    <a:cubicBezTo>
                      <a:pt x="6668" y="48577"/>
                      <a:pt x="6668" y="51435"/>
                      <a:pt x="6668" y="53340"/>
                    </a:cubicBezTo>
                    <a:cubicBezTo>
                      <a:pt x="6668" y="55245"/>
                      <a:pt x="12382" y="62865"/>
                      <a:pt x="13335" y="65723"/>
                    </a:cubicBezTo>
                    <a:cubicBezTo>
                      <a:pt x="14288" y="68580"/>
                      <a:pt x="12382" y="69533"/>
                      <a:pt x="13335" y="72390"/>
                    </a:cubicBezTo>
                    <a:cubicBezTo>
                      <a:pt x="14288" y="75248"/>
                      <a:pt x="11430" y="79058"/>
                      <a:pt x="10477" y="81915"/>
                    </a:cubicBezTo>
                    <a:cubicBezTo>
                      <a:pt x="10477" y="84773"/>
                      <a:pt x="9525" y="91440"/>
                      <a:pt x="13335" y="96202"/>
                    </a:cubicBezTo>
                    <a:cubicBezTo>
                      <a:pt x="18097" y="100965"/>
                      <a:pt x="18097" y="100965"/>
                      <a:pt x="18097" y="100965"/>
                    </a:cubicBezTo>
                    <a:lnTo>
                      <a:pt x="35243" y="105727"/>
                    </a:lnTo>
                    <a:lnTo>
                      <a:pt x="44768" y="104775"/>
                    </a:lnTo>
                    <a:cubicBezTo>
                      <a:pt x="44768" y="104775"/>
                      <a:pt x="46672" y="100965"/>
                      <a:pt x="48577" y="98108"/>
                    </a:cubicBezTo>
                    <a:cubicBezTo>
                      <a:pt x="49530" y="95250"/>
                      <a:pt x="44768" y="85725"/>
                      <a:pt x="44768" y="85725"/>
                    </a:cubicBezTo>
                    <a:cubicBezTo>
                      <a:pt x="44768" y="85725"/>
                      <a:pt x="39052" y="83820"/>
                      <a:pt x="40005" y="80963"/>
                    </a:cubicBezTo>
                    <a:cubicBezTo>
                      <a:pt x="40957" y="78105"/>
                      <a:pt x="37147" y="71438"/>
                      <a:pt x="37147" y="71438"/>
                    </a:cubicBezTo>
                    <a:lnTo>
                      <a:pt x="42863" y="66675"/>
                    </a:lnTo>
                    <a:lnTo>
                      <a:pt x="47625" y="62865"/>
                    </a:lnTo>
                    <a:cubicBezTo>
                      <a:pt x="47625" y="62865"/>
                      <a:pt x="50482" y="66675"/>
                      <a:pt x="51435" y="58102"/>
                    </a:cubicBezTo>
                    <a:cubicBezTo>
                      <a:pt x="51435" y="48577"/>
                      <a:pt x="51435" y="53340"/>
                      <a:pt x="51435" y="48577"/>
                    </a:cubicBezTo>
                    <a:cubicBezTo>
                      <a:pt x="51435" y="44767"/>
                      <a:pt x="47625" y="40005"/>
                      <a:pt x="45720" y="38100"/>
                    </a:cubicBezTo>
                    <a:cubicBezTo>
                      <a:pt x="44768" y="36195"/>
                      <a:pt x="38100" y="29527"/>
                      <a:pt x="39052" y="27623"/>
                    </a:cubicBezTo>
                    <a:cubicBezTo>
                      <a:pt x="40005" y="25717"/>
                      <a:pt x="34290" y="15240"/>
                      <a:pt x="35243" y="13335"/>
                    </a:cubicBezTo>
                    <a:cubicBezTo>
                      <a:pt x="36195" y="11430"/>
                      <a:pt x="32385" y="8573"/>
                      <a:pt x="33338" y="6667"/>
                    </a:cubicBezTo>
                    <a:cubicBezTo>
                      <a:pt x="34290" y="4763"/>
                      <a:pt x="34290" y="4763"/>
                      <a:pt x="34290" y="4763"/>
                    </a:cubicBezTo>
                    <a:lnTo>
                      <a:pt x="25718" y="0"/>
                    </a:lnTo>
                    <a:lnTo>
                      <a:pt x="19050" y="0"/>
                    </a:lnTo>
                    <a:lnTo>
                      <a:pt x="12382" y="0"/>
                    </a:lnTo>
                    <a:cubicBezTo>
                      <a:pt x="12382" y="0"/>
                      <a:pt x="6668" y="1905"/>
                      <a:pt x="5715" y="3810"/>
                    </a:cubicBezTo>
                    <a:cubicBezTo>
                      <a:pt x="4763" y="5715"/>
                      <a:pt x="5715" y="7620"/>
                      <a:pt x="2857" y="9525"/>
                    </a:cubicBezTo>
                    <a:cubicBezTo>
                      <a:pt x="952" y="10477"/>
                      <a:pt x="0" y="20002"/>
                      <a:pt x="0" y="20002"/>
                    </a:cubicBezTo>
                    <a:close/>
                  </a:path>
                </a:pathLst>
              </a:custGeom>
              <a:grpFill/>
              <a:ln w="9525" cap="flat">
                <a:noFill/>
                <a:prstDash val="solid"/>
                <a:miter/>
              </a:ln>
            </p:spPr>
            <p:txBody>
              <a:bodyPr rtlCol="0" anchor="ctr"/>
              <a:lstStyle/>
              <a:p>
                <a:endParaRPr lang="en-US" sz="1765"/>
              </a:p>
            </p:txBody>
          </p:sp>
          <p:sp>
            <p:nvSpPr>
              <p:cNvPr id="305" name="Freeform: Shape 304">
                <a:extLst>
                  <a:ext uri="{FF2B5EF4-FFF2-40B4-BE49-F238E27FC236}">
                    <a16:creationId xmlns:a16="http://schemas.microsoft.com/office/drawing/2014/main" id="{58A62611-E9B3-4311-8485-9A7BC22A80F3}"/>
                  </a:ext>
                </a:extLst>
              </p:cNvPr>
              <p:cNvSpPr/>
              <p:nvPr/>
            </p:nvSpPr>
            <p:spPr>
              <a:xfrm>
                <a:off x="10452354" y="4072619"/>
                <a:ext cx="355903" cy="121919"/>
              </a:xfrm>
              <a:custGeom>
                <a:avLst/>
                <a:gdLst>
                  <a:gd name="connsiteX0" fmla="*/ 101374 w 355903"/>
                  <a:gd name="connsiteY0" fmla="*/ 29527 h 121919"/>
                  <a:gd name="connsiteX1" fmla="*/ 96612 w 355903"/>
                  <a:gd name="connsiteY1" fmla="*/ 30480 h 121919"/>
                  <a:gd name="connsiteX2" fmla="*/ 83277 w 355903"/>
                  <a:gd name="connsiteY2" fmla="*/ 29527 h 121919"/>
                  <a:gd name="connsiteX3" fmla="*/ 78515 w 355903"/>
                  <a:gd name="connsiteY3" fmla="*/ 26670 h 121919"/>
                  <a:gd name="connsiteX4" fmla="*/ 73752 w 355903"/>
                  <a:gd name="connsiteY4" fmla="*/ 22860 h 121919"/>
                  <a:gd name="connsiteX5" fmla="*/ 72799 w 355903"/>
                  <a:gd name="connsiteY5" fmla="*/ 14288 h 121919"/>
                  <a:gd name="connsiteX6" fmla="*/ 72799 w 355903"/>
                  <a:gd name="connsiteY6" fmla="*/ 10477 h 121919"/>
                  <a:gd name="connsiteX7" fmla="*/ 72799 w 355903"/>
                  <a:gd name="connsiteY7" fmla="*/ 2857 h 121919"/>
                  <a:gd name="connsiteX8" fmla="*/ 67085 w 355903"/>
                  <a:gd name="connsiteY8" fmla="*/ 0 h 121919"/>
                  <a:gd name="connsiteX9" fmla="*/ 54702 w 355903"/>
                  <a:gd name="connsiteY9" fmla="*/ 952 h 121919"/>
                  <a:gd name="connsiteX10" fmla="*/ 48035 w 355903"/>
                  <a:gd name="connsiteY10" fmla="*/ 1905 h 121919"/>
                  <a:gd name="connsiteX11" fmla="*/ 35652 w 355903"/>
                  <a:gd name="connsiteY11" fmla="*/ 4763 h 121919"/>
                  <a:gd name="connsiteX12" fmla="*/ 24222 w 355903"/>
                  <a:gd name="connsiteY12" fmla="*/ 3810 h 121919"/>
                  <a:gd name="connsiteX13" fmla="*/ 17555 w 355903"/>
                  <a:gd name="connsiteY13" fmla="*/ 5715 h 121919"/>
                  <a:gd name="connsiteX14" fmla="*/ 5172 w 355903"/>
                  <a:gd name="connsiteY14" fmla="*/ 9525 h 121919"/>
                  <a:gd name="connsiteX15" fmla="*/ 3267 w 355903"/>
                  <a:gd name="connsiteY15" fmla="*/ 12382 h 121919"/>
                  <a:gd name="connsiteX16" fmla="*/ 2315 w 355903"/>
                  <a:gd name="connsiteY16" fmla="*/ 15240 h 121919"/>
                  <a:gd name="connsiteX17" fmla="*/ 13745 w 355903"/>
                  <a:gd name="connsiteY17" fmla="*/ 17145 h 121919"/>
                  <a:gd name="connsiteX18" fmla="*/ 22317 w 355903"/>
                  <a:gd name="connsiteY18" fmla="*/ 14288 h 121919"/>
                  <a:gd name="connsiteX19" fmla="*/ 38510 w 355903"/>
                  <a:gd name="connsiteY19" fmla="*/ 20002 h 121919"/>
                  <a:gd name="connsiteX20" fmla="*/ 39462 w 355903"/>
                  <a:gd name="connsiteY20" fmla="*/ 31432 h 121919"/>
                  <a:gd name="connsiteX21" fmla="*/ 37557 w 355903"/>
                  <a:gd name="connsiteY21" fmla="*/ 38100 h 121919"/>
                  <a:gd name="connsiteX22" fmla="*/ 50892 w 355903"/>
                  <a:gd name="connsiteY22" fmla="*/ 45720 h 121919"/>
                  <a:gd name="connsiteX23" fmla="*/ 57560 w 355903"/>
                  <a:gd name="connsiteY23" fmla="*/ 45720 h 121919"/>
                  <a:gd name="connsiteX24" fmla="*/ 58512 w 355903"/>
                  <a:gd name="connsiteY24" fmla="*/ 47625 h 121919"/>
                  <a:gd name="connsiteX25" fmla="*/ 79467 w 355903"/>
                  <a:gd name="connsiteY25" fmla="*/ 49530 h 121919"/>
                  <a:gd name="connsiteX26" fmla="*/ 93755 w 355903"/>
                  <a:gd name="connsiteY26" fmla="*/ 48577 h 121919"/>
                  <a:gd name="connsiteX27" fmla="*/ 108995 w 355903"/>
                  <a:gd name="connsiteY27" fmla="*/ 50482 h 121919"/>
                  <a:gd name="connsiteX28" fmla="*/ 115662 w 355903"/>
                  <a:gd name="connsiteY28" fmla="*/ 49530 h 121919"/>
                  <a:gd name="connsiteX29" fmla="*/ 118520 w 355903"/>
                  <a:gd name="connsiteY29" fmla="*/ 51435 h 121919"/>
                  <a:gd name="connsiteX30" fmla="*/ 128045 w 355903"/>
                  <a:gd name="connsiteY30" fmla="*/ 57150 h 121919"/>
                  <a:gd name="connsiteX31" fmla="*/ 137570 w 355903"/>
                  <a:gd name="connsiteY31" fmla="*/ 61913 h 121919"/>
                  <a:gd name="connsiteX32" fmla="*/ 147095 w 355903"/>
                  <a:gd name="connsiteY32" fmla="*/ 70485 h 121919"/>
                  <a:gd name="connsiteX33" fmla="*/ 147095 w 355903"/>
                  <a:gd name="connsiteY33" fmla="*/ 77152 h 121919"/>
                  <a:gd name="connsiteX34" fmla="*/ 142332 w 355903"/>
                  <a:gd name="connsiteY34" fmla="*/ 81915 h 121919"/>
                  <a:gd name="connsiteX35" fmla="*/ 141380 w 355903"/>
                  <a:gd name="connsiteY35" fmla="*/ 84772 h 121919"/>
                  <a:gd name="connsiteX36" fmla="*/ 135665 w 355903"/>
                  <a:gd name="connsiteY36" fmla="*/ 85725 h 121919"/>
                  <a:gd name="connsiteX37" fmla="*/ 134712 w 355903"/>
                  <a:gd name="connsiteY37" fmla="*/ 87630 h 121919"/>
                  <a:gd name="connsiteX38" fmla="*/ 128997 w 355903"/>
                  <a:gd name="connsiteY38" fmla="*/ 94297 h 121919"/>
                  <a:gd name="connsiteX39" fmla="*/ 148047 w 355903"/>
                  <a:gd name="connsiteY39" fmla="*/ 99060 h 121919"/>
                  <a:gd name="connsiteX40" fmla="*/ 150905 w 355903"/>
                  <a:gd name="connsiteY40" fmla="*/ 99060 h 121919"/>
                  <a:gd name="connsiteX41" fmla="*/ 159477 w 355903"/>
                  <a:gd name="connsiteY41" fmla="*/ 93345 h 121919"/>
                  <a:gd name="connsiteX42" fmla="*/ 175670 w 355903"/>
                  <a:gd name="connsiteY42" fmla="*/ 95250 h 121919"/>
                  <a:gd name="connsiteX43" fmla="*/ 183290 w 355903"/>
                  <a:gd name="connsiteY43" fmla="*/ 99060 h 121919"/>
                  <a:gd name="connsiteX44" fmla="*/ 186147 w 355903"/>
                  <a:gd name="connsiteY44" fmla="*/ 104775 h 121919"/>
                  <a:gd name="connsiteX45" fmla="*/ 189005 w 355903"/>
                  <a:gd name="connsiteY45" fmla="*/ 109538 h 121919"/>
                  <a:gd name="connsiteX46" fmla="*/ 209007 w 355903"/>
                  <a:gd name="connsiteY46" fmla="*/ 112395 h 121919"/>
                  <a:gd name="connsiteX47" fmla="*/ 217580 w 355903"/>
                  <a:gd name="connsiteY47" fmla="*/ 110490 h 121919"/>
                  <a:gd name="connsiteX48" fmla="*/ 226152 w 355903"/>
                  <a:gd name="connsiteY48" fmla="*/ 109538 h 121919"/>
                  <a:gd name="connsiteX49" fmla="*/ 233772 w 355903"/>
                  <a:gd name="connsiteY49" fmla="*/ 105727 h 121919"/>
                  <a:gd name="connsiteX50" fmla="*/ 237582 w 355903"/>
                  <a:gd name="connsiteY50" fmla="*/ 97155 h 121919"/>
                  <a:gd name="connsiteX51" fmla="*/ 239487 w 355903"/>
                  <a:gd name="connsiteY51" fmla="*/ 93345 h 121919"/>
                  <a:gd name="connsiteX52" fmla="*/ 259490 w 355903"/>
                  <a:gd name="connsiteY52" fmla="*/ 90488 h 121919"/>
                  <a:gd name="connsiteX53" fmla="*/ 270920 w 355903"/>
                  <a:gd name="connsiteY53" fmla="*/ 90488 h 121919"/>
                  <a:gd name="connsiteX54" fmla="*/ 275682 w 355903"/>
                  <a:gd name="connsiteY54" fmla="*/ 93345 h 121919"/>
                  <a:gd name="connsiteX55" fmla="*/ 283302 w 355903"/>
                  <a:gd name="connsiteY55" fmla="*/ 100013 h 121919"/>
                  <a:gd name="connsiteX56" fmla="*/ 289017 w 355903"/>
                  <a:gd name="connsiteY56" fmla="*/ 105727 h 121919"/>
                  <a:gd name="connsiteX57" fmla="*/ 295685 w 355903"/>
                  <a:gd name="connsiteY57" fmla="*/ 109538 h 121919"/>
                  <a:gd name="connsiteX58" fmla="*/ 297590 w 355903"/>
                  <a:gd name="connsiteY58" fmla="*/ 112395 h 121919"/>
                  <a:gd name="connsiteX59" fmla="*/ 313782 w 355903"/>
                  <a:gd name="connsiteY59" fmla="*/ 120015 h 121919"/>
                  <a:gd name="connsiteX60" fmla="*/ 319497 w 355903"/>
                  <a:gd name="connsiteY60" fmla="*/ 121920 h 121919"/>
                  <a:gd name="connsiteX61" fmla="*/ 324260 w 355903"/>
                  <a:gd name="connsiteY61" fmla="*/ 121920 h 121919"/>
                  <a:gd name="connsiteX62" fmla="*/ 340452 w 355903"/>
                  <a:gd name="connsiteY62" fmla="*/ 121920 h 121919"/>
                  <a:gd name="connsiteX63" fmla="*/ 346167 w 355903"/>
                  <a:gd name="connsiteY63" fmla="*/ 119063 h 121919"/>
                  <a:gd name="connsiteX64" fmla="*/ 349977 w 355903"/>
                  <a:gd name="connsiteY64" fmla="*/ 119063 h 121919"/>
                  <a:gd name="connsiteX65" fmla="*/ 353787 w 355903"/>
                  <a:gd name="connsiteY65" fmla="*/ 115252 h 121919"/>
                  <a:gd name="connsiteX66" fmla="*/ 353787 w 355903"/>
                  <a:gd name="connsiteY66" fmla="*/ 111442 h 121919"/>
                  <a:gd name="connsiteX67" fmla="*/ 349024 w 355903"/>
                  <a:gd name="connsiteY67" fmla="*/ 109538 h 121919"/>
                  <a:gd name="connsiteX68" fmla="*/ 338547 w 355903"/>
                  <a:gd name="connsiteY68" fmla="*/ 101917 h 121919"/>
                  <a:gd name="connsiteX69" fmla="*/ 332832 w 355903"/>
                  <a:gd name="connsiteY69" fmla="*/ 94297 h 121919"/>
                  <a:gd name="connsiteX70" fmla="*/ 329022 w 355903"/>
                  <a:gd name="connsiteY70" fmla="*/ 89535 h 121919"/>
                  <a:gd name="connsiteX71" fmla="*/ 317592 w 355903"/>
                  <a:gd name="connsiteY71" fmla="*/ 84772 h 121919"/>
                  <a:gd name="connsiteX72" fmla="*/ 301399 w 355903"/>
                  <a:gd name="connsiteY72" fmla="*/ 76200 h 121919"/>
                  <a:gd name="connsiteX73" fmla="*/ 293780 w 355903"/>
                  <a:gd name="connsiteY73" fmla="*/ 68580 h 121919"/>
                  <a:gd name="connsiteX74" fmla="*/ 284255 w 355903"/>
                  <a:gd name="connsiteY74" fmla="*/ 60960 h 121919"/>
                  <a:gd name="connsiteX75" fmla="*/ 273777 w 355903"/>
                  <a:gd name="connsiteY75" fmla="*/ 56197 h 121919"/>
                  <a:gd name="connsiteX76" fmla="*/ 251870 w 355903"/>
                  <a:gd name="connsiteY76" fmla="*/ 49530 h 121919"/>
                  <a:gd name="connsiteX77" fmla="*/ 242345 w 355903"/>
                  <a:gd name="connsiteY77" fmla="*/ 44767 h 121919"/>
                  <a:gd name="connsiteX78" fmla="*/ 229962 w 355903"/>
                  <a:gd name="connsiteY78" fmla="*/ 37147 h 121919"/>
                  <a:gd name="connsiteX79" fmla="*/ 220437 w 355903"/>
                  <a:gd name="connsiteY79" fmla="*/ 32385 h 121919"/>
                  <a:gd name="connsiteX80" fmla="*/ 203292 w 355903"/>
                  <a:gd name="connsiteY80" fmla="*/ 26670 h 121919"/>
                  <a:gd name="connsiteX81" fmla="*/ 187099 w 355903"/>
                  <a:gd name="connsiteY81" fmla="*/ 22860 h 121919"/>
                  <a:gd name="connsiteX82" fmla="*/ 168049 w 355903"/>
                  <a:gd name="connsiteY82" fmla="*/ 19050 h 121919"/>
                  <a:gd name="connsiteX83" fmla="*/ 153762 w 355903"/>
                  <a:gd name="connsiteY83" fmla="*/ 19050 h 121919"/>
                  <a:gd name="connsiteX84" fmla="*/ 142332 w 355903"/>
                  <a:gd name="connsiteY84" fmla="*/ 17145 h 121919"/>
                  <a:gd name="connsiteX85" fmla="*/ 128045 w 355903"/>
                  <a:gd name="connsiteY85" fmla="*/ 18097 h 121919"/>
                  <a:gd name="connsiteX86" fmla="*/ 118520 w 355903"/>
                  <a:gd name="connsiteY86" fmla="*/ 20002 h 121919"/>
                  <a:gd name="connsiteX87" fmla="*/ 116615 w 355903"/>
                  <a:gd name="connsiteY87" fmla="*/ 21907 h 121919"/>
                  <a:gd name="connsiteX88" fmla="*/ 101374 w 355903"/>
                  <a:gd name="connsiteY88" fmla="*/ 29527 h 1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55903" h="121919">
                    <a:moveTo>
                      <a:pt x="101374" y="29527"/>
                    </a:moveTo>
                    <a:cubicBezTo>
                      <a:pt x="101374" y="29527"/>
                      <a:pt x="100422" y="30480"/>
                      <a:pt x="96612" y="30480"/>
                    </a:cubicBezTo>
                    <a:cubicBezTo>
                      <a:pt x="93755" y="30480"/>
                      <a:pt x="83277" y="29527"/>
                      <a:pt x="83277" y="29527"/>
                    </a:cubicBezTo>
                    <a:lnTo>
                      <a:pt x="78515" y="26670"/>
                    </a:lnTo>
                    <a:lnTo>
                      <a:pt x="73752" y="22860"/>
                    </a:lnTo>
                    <a:lnTo>
                      <a:pt x="72799" y="14288"/>
                    </a:lnTo>
                    <a:lnTo>
                      <a:pt x="72799" y="10477"/>
                    </a:lnTo>
                    <a:lnTo>
                      <a:pt x="72799" y="2857"/>
                    </a:lnTo>
                    <a:lnTo>
                      <a:pt x="67085" y="0"/>
                    </a:lnTo>
                    <a:lnTo>
                      <a:pt x="54702" y="952"/>
                    </a:lnTo>
                    <a:cubicBezTo>
                      <a:pt x="54702" y="952"/>
                      <a:pt x="51845" y="-953"/>
                      <a:pt x="48035" y="1905"/>
                    </a:cubicBezTo>
                    <a:cubicBezTo>
                      <a:pt x="44224" y="4763"/>
                      <a:pt x="40415" y="3810"/>
                      <a:pt x="35652" y="4763"/>
                    </a:cubicBezTo>
                    <a:cubicBezTo>
                      <a:pt x="30890" y="5715"/>
                      <a:pt x="24222" y="3810"/>
                      <a:pt x="24222" y="3810"/>
                    </a:cubicBezTo>
                    <a:lnTo>
                      <a:pt x="17555" y="5715"/>
                    </a:lnTo>
                    <a:lnTo>
                      <a:pt x="5172" y="9525"/>
                    </a:lnTo>
                    <a:lnTo>
                      <a:pt x="3267" y="12382"/>
                    </a:lnTo>
                    <a:cubicBezTo>
                      <a:pt x="3267" y="12382"/>
                      <a:pt x="-3401" y="13335"/>
                      <a:pt x="2315" y="15240"/>
                    </a:cubicBezTo>
                    <a:cubicBezTo>
                      <a:pt x="8030" y="17145"/>
                      <a:pt x="13745" y="17145"/>
                      <a:pt x="13745" y="17145"/>
                    </a:cubicBezTo>
                    <a:lnTo>
                      <a:pt x="22317" y="14288"/>
                    </a:lnTo>
                    <a:cubicBezTo>
                      <a:pt x="28985" y="19050"/>
                      <a:pt x="37557" y="8572"/>
                      <a:pt x="38510" y="20002"/>
                    </a:cubicBezTo>
                    <a:cubicBezTo>
                      <a:pt x="39462" y="31432"/>
                      <a:pt x="40415" y="27622"/>
                      <a:pt x="39462" y="31432"/>
                    </a:cubicBezTo>
                    <a:cubicBezTo>
                      <a:pt x="38510" y="35242"/>
                      <a:pt x="37557" y="38100"/>
                      <a:pt x="37557" y="38100"/>
                    </a:cubicBezTo>
                    <a:lnTo>
                      <a:pt x="50892" y="45720"/>
                    </a:lnTo>
                    <a:cubicBezTo>
                      <a:pt x="50892" y="45720"/>
                      <a:pt x="56607" y="43815"/>
                      <a:pt x="57560" y="45720"/>
                    </a:cubicBezTo>
                    <a:cubicBezTo>
                      <a:pt x="58512" y="47625"/>
                      <a:pt x="58512" y="47625"/>
                      <a:pt x="58512" y="47625"/>
                    </a:cubicBezTo>
                    <a:lnTo>
                      <a:pt x="79467" y="49530"/>
                    </a:lnTo>
                    <a:lnTo>
                      <a:pt x="93755" y="48577"/>
                    </a:lnTo>
                    <a:lnTo>
                      <a:pt x="108995" y="50482"/>
                    </a:lnTo>
                    <a:cubicBezTo>
                      <a:pt x="108995" y="50482"/>
                      <a:pt x="111852" y="48577"/>
                      <a:pt x="115662" y="49530"/>
                    </a:cubicBezTo>
                    <a:cubicBezTo>
                      <a:pt x="118520" y="51435"/>
                      <a:pt x="115662" y="48577"/>
                      <a:pt x="118520" y="51435"/>
                    </a:cubicBezTo>
                    <a:cubicBezTo>
                      <a:pt x="121377" y="54292"/>
                      <a:pt x="127092" y="53340"/>
                      <a:pt x="128045" y="57150"/>
                    </a:cubicBezTo>
                    <a:cubicBezTo>
                      <a:pt x="128997" y="60960"/>
                      <a:pt x="128045" y="53340"/>
                      <a:pt x="137570" y="61913"/>
                    </a:cubicBezTo>
                    <a:cubicBezTo>
                      <a:pt x="147095" y="70485"/>
                      <a:pt x="147095" y="66675"/>
                      <a:pt x="147095" y="70485"/>
                    </a:cubicBezTo>
                    <a:cubicBezTo>
                      <a:pt x="147095" y="74295"/>
                      <a:pt x="147095" y="77152"/>
                      <a:pt x="147095" y="77152"/>
                    </a:cubicBezTo>
                    <a:cubicBezTo>
                      <a:pt x="147095" y="77152"/>
                      <a:pt x="143285" y="79057"/>
                      <a:pt x="142332" y="81915"/>
                    </a:cubicBezTo>
                    <a:cubicBezTo>
                      <a:pt x="141380" y="84772"/>
                      <a:pt x="141380" y="84772"/>
                      <a:pt x="141380" y="84772"/>
                    </a:cubicBezTo>
                    <a:cubicBezTo>
                      <a:pt x="141380" y="84772"/>
                      <a:pt x="136617" y="83820"/>
                      <a:pt x="135665" y="85725"/>
                    </a:cubicBezTo>
                    <a:cubicBezTo>
                      <a:pt x="134712" y="87630"/>
                      <a:pt x="140427" y="80963"/>
                      <a:pt x="134712" y="87630"/>
                    </a:cubicBezTo>
                    <a:cubicBezTo>
                      <a:pt x="128997" y="94297"/>
                      <a:pt x="128997" y="94297"/>
                      <a:pt x="128997" y="94297"/>
                    </a:cubicBezTo>
                    <a:cubicBezTo>
                      <a:pt x="128997" y="94297"/>
                      <a:pt x="144237" y="99060"/>
                      <a:pt x="148047" y="99060"/>
                    </a:cubicBezTo>
                    <a:cubicBezTo>
                      <a:pt x="150905" y="99060"/>
                      <a:pt x="150905" y="99060"/>
                      <a:pt x="150905" y="99060"/>
                    </a:cubicBezTo>
                    <a:cubicBezTo>
                      <a:pt x="150905" y="99060"/>
                      <a:pt x="143285" y="91440"/>
                      <a:pt x="159477" y="93345"/>
                    </a:cubicBezTo>
                    <a:cubicBezTo>
                      <a:pt x="175670" y="95250"/>
                      <a:pt x="175670" y="95250"/>
                      <a:pt x="175670" y="95250"/>
                    </a:cubicBezTo>
                    <a:lnTo>
                      <a:pt x="183290" y="99060"/>
                    </a:lnTo>
                    <a:cubicBezTo>
                      <a:pt x="183290" y="99060"/>
                      <a:pt x="183290" y="100013"/>
                      <a:pt x="186147" y="104775"/>
                    </a:cubicBezTo>
                    <a:cubicBezTo>
                      <a:pt x="189005" y="109538"/>
                      <a:pt x="177574" y="104775"/>
                      <a:pt x="189005" y="109538"/>
                    </a:cubicBezTo>
                    <a:cubicBezTo>
                      <a:pt x="201387" y="114300"/>
                      <a:pt x="205197" y="112395"/>
                      <a:pt x="209007" y="112395"/>
                    </a:cubicBezTo>
                    <a:cubicBezTo>
                      <a:pt x="211865" y="112395"/>
                      <a:pt x="217580" y="110490"/>
                      <a:pt x="217580" y="110490"/>
                    </a:cubicBezTo>
                    <a:cubicBezTo>
                      <a:pt x="217580" y="110490"/>
                      <a:pt x="219485" y="108585"/>
                      <a:pt x="226152" y="109538"/>
                    </a:cubicBezTo>
                    <a:cubicBezTo>
                      <a:pt x="232820" y="110490"/>
                      <a:pt x="233772" y="105727"/>
                      <a:pt x="233772" y="105727"/>
                    </a:cubicBezTo>
                    <a:lnTo>
                      <a:pt x="237582" y="97155"/>
                    </a:lnTo>
                    <a:lnTo>
                      <a:pt x="239487" y="93345"/>
                    </a:lnTo>
                    <a:cubicBezTo>
                      <a:pt x="254727" y="91440"/>
                      <a:pt x="259490" y="90488"/>
                      <a:pt x="259490" y="90488"/>
                    </a:cubicBezTo>
                    <a:lnTo>
                      <a:pt x="270920" y="90488"/>
                    </a:lnTo>
                    <a:cubicBezTo>
                      <a:pt x="270920" y="90488"/>
                      <a:pt x="273777" y="91440"/>
                      <a:pt x="275682" y="93345"/>
                    </a:cubicBezTo>
                    <a:cubicBezTo>
                      <a:pt x="276635" y="95250"/>
                      <a:pt x="282349" y="98107"/>
                      <a:pt x="283302" y="100013"/>
                    </a:cubicBezTo>
                    <a:cubicBezTo>
                      <a:pt x="284255" y="101917"/>
                      <a:pt x="289017" y="105727"/>
                      <a:pt x="289017" y="105727"/>
                    </a:cubicBezTo>
                    <a:cubicBezTo>
                      <a:pt x="289017" y="105727"/>
                      <a:pt x="293780" y="106680"/>
                      <a:pt x="295685" y="109538"/>
                    </a:cubicBezTo>
                    <a:cubicBezTo>
                      <a:pt x="297590" y="112395"/>
                      <a:pt x="290922" y="109538"/>
                      <a:pt x="297590" y="112395"/>
                    </a:cubicBezTo>
                    <a:cubicBezTo>
                      <a:pt x="304257" y="115252"/>
                      <a:pt x="308067" y="117157"/>
                      <a:pt x="313782" y="120015"/>
                    </a:cubicBezTo>
                    <a:cubicBezTo>
                      <a:pt x="319497" y="121920"/>
                      <a:pt x="314735" y="121920"/>
                      <a:pt x="319497" y="121920"/>
                    </a:cubicBezTo>
                    <a:cubicBezTo>
                      <a:pt x="324260" y="121920"/>
                      <a:pt x="317592" y="121920"/>
                      <a:pt x="324260" y="121920"/>
                    </a:cubicBezTo>
                    <a:cubicBezTo>
                      <a:pt x="330927" y="121920"/>
                      <a:pt x="340452" y="121920"/>
                      <a:pt x="340452" y="121920"/>
                    </a:cubicBezTo>
                    <a:cubicBezTo>
                      <a:pt x="340452" y="121920"/>
                      <a:pt x="342357" y="119063"/>
                      <a:pt x="346167" y="119063"/>
                    </a:cubicBezTo>
                    <a:cubicBezTo>
                      <a:pt x="349977" y="119063"/>
                      <a:pt x="349977" y="119063"/>
                      <a:pt x="349977" y="119063"/>
                    </a:cubicBezTo>
                    <a:lnTo>
                      <a:pt x="353787" y="115252"/>
                    </a:lnTo>
                    <a:cubicBezTo>
                      <a:pt x="353787" y="115252"/>
                      <a:pt x="358549" y="112395"/>
                      <a:pt x="353787" y="111442"/>
                    </a:cubicBezTo>
                    <a:cubicBezTo>
                      <a:pt x="349024" y="109538"/>
                      <a:pt x="354740" y="112395"/>
                      <a:pt x="349024" y="109538"/>
                    </a:cubicBezTo>
                    <a:cubicBezTo>
                      <a:pt x="343310" y="106680"/>
                      <a:pt x="338547" y="104775"/>
                      <a:pt x="338547" y="101917"/>
                    </a:cubicBezTo>
                    <a:cubicBezTo>
                      <a:pt x="338547" y="100013"/>
                      <a:pt x="335690" y="96202"/>
                      <a:pt x="332832" y="94297"/>
                    </a:cubicBezTo>
                    <a:cubicBezTo>
                      <a:pt x="330927" y="92392"/>
                      <a:pt x="333785" y="90488"/>
                      <a:pt x="329022" y="89535"/>
                    </a:cubicBezTo>
                    <a:cubicBezTo>
                      <a:pt x="323307" y="87630"/>
                      <a:pt x="321402" y="85725"/>
                      <a:pt x="317592" y="84772"/>
                    </a:cubicBezTo>
                    <a:cubicBezTo>
                      <a:pt x="314735" y="83820"/>
                      <a:pt x="301399" y="76200"/>
                      <a:pt x="301399" y="76200"/>
                    </a:cubicBezTo>
                    <a:lnTo>
                      <a:pt x="293780" y="68580"/>
                    </a:lnTo>
                    <a:lnTo>
                      <a:pt x="284255" y="60960"/>
                    </a:lnTo>
                    <a:cubicBezTo>
                      <a:pt x="284255" y="60960"/>
                      <a:pt x="276635" y="56197"/>
                      <a:pt x="273777" y="56197"/>
                    </a:cubicBezTo>
                    <a:cubicBezTo>
                      <a:pt x="270920" y="56197"/>
                      <a:pt x="256632" y="50482"/>
                      <a:pt x="251870" y="49530"/>
                    </a:cubicBezTo>
                    <a:cubicBezTo>
                      <a:pt x="247107" y="48577"/>
                      <a:pt x="242345" y="44767"/>
                      <a:pt x="242345" y="44767"/>
                    </a:cubicBezTo>
                    <a:lnTo>
                      <a:pt x="229962" y="37147"/>
                    </a:lnTo>
                    <a:lnTo>
                      <a:pt x="220437" y="32385"/>
                    </a:lnTo>
                    <a:cubicBezTo>
                      <a:pt x="220437" y="32385"/>
                      <a:pt x="207102" y="27622"/>
                      <a:pt x="203292" y="26670"/>
                    </a:cubicBezTo>
                    <a:cubicBezTo>
                      <a:pt x="198530" y="25717"/>
                      <a:pt x="187099" y="22860"/>
                      <a:pt x="187099" y="22860"/>
                    </a:cubicBezTo>
                    <a:lnTo>
                      <a:pt x="168049" y="19050"/>
                    </a:lnTo>
                    <a:lnTo>
                      <a:pt x="153762" y="19050"/>
                    </a:lnTo>
                    <a:cubicBezTo>
                      <a:pt x="153762" y="19050"/>
                      <a:pt x="151857" y="17145"/>
                      <a:pt x="142332" y="17145"/>
                    </a:cubicBezTo>
                    <a:cubicBezTo>
                      <a:pt x="133760" y="18097"/>
                      <a:pt x="128045" y="18097"/>
                      <a:pt x="128045" y="18097"/>
                    </a:cubicBezTo>
                    <a:cubicBezTo>
                      <a:pt x="128045" y="18097"/>
                      <a:pt x="120424" y="18097"/>
                      <a:pt x="118520" y="20002"/>
                    </a:cubicBezTo>
                    <a:cubicBezTo>
                      <a:pt x="116615" y="21907"/>
                      <a:pt x="116615" y="21907"/>
                      <a:pt x="116615" y="21907"/>
                    </a:cubicBezTo>
                    <a:lnTo>
                      <a:pt x="101374" y="29527"/>
                    </a:lnTo>
                    <a:close/>
                  </a:path>
                </a:pathLst>
              </a:custGeom>
              <a:grpFill/>
              <a:ln w="9525" cap="flat">
                <a:noFill/>
                <a:prstDash val="solid"/>
                <a:miter/>
              </a:ln>
            </p:spPr>
            <p:txBody>
              <a:bodyPr rtlCol="0" anchor="ctr"/>
              <a:lstStyle/>
              <a:p>
                <a:endParaRPr lang="en-US" sz="1765"/>
              </a:p>
            </p:txBody>
          </p:sp>
          <p:sp>
            <p:nvSpPr>
              <p:cNvPr id="306" name="Freeform: Shape 305">
                <a:extLst>
                  <a:ext uri="{FF2B5EF4-FFF2-40B4-BE49-F238E27FC236}">
                    <a16:creationId xmlns:a16="http://schemas.microsoft.com/office/drawing/2014/main" id="{EDAFFD90-C02B-4FEE-8A81-F2B558747201}"/>
                  </a:ext>
                </a:extLst>
              </p:cNvPr>
              <p:cNvSpPr/>
              <p:nvPr/>
            </p:nvSpPr>
            <p:spPr>
              <a:xfrm>
                <a:off x="10779471" y="4121196"/>
                <a:ext cx="65722" cy="27622"/>
              </a:xfrm>
              <a:custGeom>
                <a:avLst/>
                <a:gdLst>
                  <a:gd name="connsiteX0" fmla="*/ 65723 w 65722"/>
                  <a:gd name="connsiteY0" fmla="*/ 4763 h 27622"/>
                  <a:gd name="connsiteX1" fmla="*/ 58103 w 65722"/>
                  <a:gd name="connsiteY1" fmla="*/ 16192 h 27622"/>
                  <a:gd name="connsiteX2" fmla="*/ 56198 w 65722"/>
                  <a:gd name="connsiteY2" fmla="*/ 20003 h 27622"/>
                  <a:gd name="connsiteX3" fmla="*/ 44768 w 65722"/>
                  <a:gd name="connsiteY3" fmla="*/ 27623 h 27622"/>
                  <a:gd name="connsiteX4" fmla="*/ 36195 w 65722"/>
                  <a:gd name="connsiteY4" fmla="*/ 26670 h 27622"/>
                  <a:gd name="connsiteX5" fmla="*/ 31432 w 65722"/>
                  <a:gd name="connsiteY5" fmla="*/ 24765 h 27622"/>
                  <a:gd name="connsiteX6" fmla="*/ 24765 w 65722"/>
                  <a:gd name="connsiteY6" fmla="*/ 24765 h 27622"/>
                  <a:gd name="connsiteX7" fmla="*/ 15240 w 65722"/>
                  <a:gd name="connsiteY7" fmla="*/ 25717 h 27622"/>
                  <a:gd name="connsiteX8" fmla="*/ 8573 w 65722"/>
                  <a:gd name="connsiteY8" fmla="*/ 26670 h 27622"/>
                  <a:gd name="connsiteX9" fmla="*/ 0 w 65722"/>
                  <a:gd name="connsiteY9" fmla="*/ 18098 h 27622"/>
                  <a:gd name="connsiteX10" fmla="*/ 5715 w 65722"/>
                  <a:gd name="connsiteY10" fmla="*/ 16192 h 27622"/>
                  <a:gd name="connsiteX11" fmla="*/ 18098 w 65722"/>
                  <a:gd name="connsiteY11" fmla="*/ 16192 h 27622"/>
                  <a:gd name="connsiteX12" fmla="*/ 29528 w 65722"/>
                  <a:gd name="connsiteY12" fmla="*/ 16192 h 27622"/>
                  <a:gd name="connsiteX13" fmla="*/ 38100 w 65722"/>
                  <a:gd name="connsiteY13" fmla="*/ 13335 h 27622"/>
                  <a:gd name="connsiteX14" fmla="*/ 48578 w 65722"/>
                  <a:gd name="connsiteY14" fmla="*/ 7620 h 27622"/>
                  <a:gd name="connsiteX15" fmla="*/ 49530 w 65722"/>
                  <a:gd name="connsiteY15" fmla="*/ 3810 h 27622"/>
                  <a:gd name="connsiteX16" fmla="*/ 53340 w 65722"/>
                  <a:gd name="connsiteY16" fmla="*/ 0 h 27622"/>
                  <a:gd name="connsiteX17" fmla="*/ 65723 w 65722"/>
                  <a:gd name="connsiteY17" fmla="*/ 4763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722" h="27622">
                    <a:moveTo>
                      <a:pt x="65723" y="4763"/>
                    </a:moveTo>
                    <a:lnTo>
                      <a:pt x="58103" y="16192"/>
                    </a:lnTo>
                    <a:cubicBezTo>
                      <a:pt x="58103" y="16192"/>
                      <a:pt x="56198" y="12383"/>
                      <a:pt x="56198" y="20003"/>
                    </a:cubicBezTo>
                    <a:cubicBezTo>
                      <a:pt x="56198" y="27623"/>
                      <a:pt x="44768" y="27623"/>
                      <a:pt x="44768" y="27623"/>
                    </a:cubicBezTo>
                    <a:lnTo>
                      <a:pt x="36195" y="26670"/>
                    </a:lnTo>
                    <a:lnTo>
                      <a:pt x="31432" y="24765"/>
                    </a:lnTo>
                    <a:lnTo>
                      <a:pt x="24765" y="24765"/>
                    </a:lnTo>
                    <a:lnTo>
                      <a:pt x="15240" y="25717"/>
                    </a:lnTo>
                    <a:lnTo>
                      <a:pt x="8573" y="26670"/>
                    </a:lnTo>
                    <a:lnTo>
                      <a:pt x="0" y="18098"/>
                    </a:lnTo>
                    <a:lnTo>
                      <a:pt x="5715" y="16192"/>
                    </a:lnTo>
                    <a:lnTo>
                      <a:pt x="18098" y="16192"/>
                    </a:lnTo>
                    <a:cubicBezTo>
                      <a:pt x="18098" y="16192"/>
                      <a:pt x="23813" y="16192"/>
                      <a:pt x="29528" y="16192"/>
                    </a:cubicBezTo>
                    <a:cubicBezTo>
                      <a:pt x="35243" y="16192"/>
                      <a:pt x="34290" y="13335"/>
                      <a:pt x="38100" y="13335"/>
                    </a:cubicBezTo>
                    <a:cubicBezTo>
                      <a:pt x="42863" y="13335"/>
                      <a:pt x="48578" y="7620"/>
                      <a:pt x="48578" y="7620"/>
                    </a:cubicBezTo>
                    <a:lnTo>
                      <a:pt x="49530" y="3810"/>
                    </a:lnTo>
                    <a:lnTo>
                      <a:pt x="53340" y="0"/>
                    </a:lnTo>
                    <a:lnTo>
                      <a:pt x="65723" y="4763"/>
                    </a:lnTo>
                    <a:close/>
                  </a:path>
                </a:pathLst>
              </a:custGeom>
              <a:grpFill/>
              <a:ln w="9525" cap="flat">
                <a:noFill/>
                <a:prstDash val="solid"/>
                <a:miter/>
              </a:ln>
            </p:spPr>
            <p:txBody>
              <a:bodyPr rtlCol="0" anchor="ctr"/>
              <a:lstStyle/>
              <a:p>
                <a:endParaRPr lang="en-US" sz="1765"/>
              </a:p>
            </p:txBody>
          </p:sp>
          <p:sp>
            <p:nvSpPr>
              <p:cNvPr id="307" name="Freeform: Shape 306">
                <a:extLst>
                  <a:ext uri="{FF2B5EF4-FFF2-40B4-BE49-F238E27FC236}">
                    <a16:creationId xmlns:a16="http://schemas.microsoft.com/office/drawing/2014/main" id="{5BB6C6DC-18FC-46B3-B253-F60D9DAD638B}"/>
                  </a:ext>
                </a:extLst>
              </p:cNvPr>
              <p:cNvSpPr/>
              <p:nvPr/>
            </p:nvSpPr>
            <p:spPr>
              <a:xfrm>
                <a:off x="10158723" y="4197694"/>
                <a:ext cx="696948" cy="329267"/>
              </a:xfrm>
              <a:custGeom>
                <a:avLst/>
                <a:gdLst>
                  <a:gd name="connsiteX0" fmla="*/ 495018 w 696948"/>
                  <a:gd name="connsiteY0" fmla="*/ 18752 h 329267"/>
                  <a:gd name="connsiteX1" fmla="*/ 494066 w 696948"/>
                  <a:gd name="connsiteY1" fmla="*/ 30182 h 329267"/>
                  <a:gd name="connsiteX2" fmla="*/ 493113 w 696948"/>
                  <a:gd name="connsiteY2" fmla="*/ 38755 h 329267"/>
                  <a:gd name="connsiteX3" fmla="*/ 488351 w 696948"/>
                  <a:gd name="connsiteY3" fmla="*/ 53995 h 329267"/>
                  <a:gd name="connsiteX4" fmla="*/ 476921 w 696948"/>
                  <a:gd name="connsiteY4" fmla="*/ 61615 h 329267"/>
                  <a:gd name="connsiteX5" fmla="*/ 471206 w 696948"/>
                  <a:gd name="connsiteY5" fmla="*/ 65425 h 329267"/>
                  <a:gd name="connsiteX6" fmla="*/ 456918 w 696948"/>
                  <a:gd name="connsiteY6" fmla="*/ 66377 h 329267"/>
                  <a:gd name="connsiteX7" fmla="*/ 447393 w 696948"/>
                  <a:gd name="connsiteY7" fmla="*/ 66377 h 329267"/>
                  <a:gd name="connsiteX8" fmla="*/ 444536 w 696948"/>
                  <a:gd name="connsiteY8" fmla="*/ 59710 h 329267"/>
                  <a:gd name="connsiteX9" fmla="*/ 439773 w 696948"/>
                  <a:gd name="connsiteY9" fmla="*/ 57805 h 329267"/>
                  <a:gd name="connsiteX10" fmla="*/ 435011 w 696948"/>
                  <a:gd name="connsiteY10" fmla="*/ 54947 h 329267"/>
                  <a:gd name="connsiteX11" fmla="*/ 428343 w 696948"/>
                  <a:gd name="connsiteY11" fmla="*/ 52090 h 329267"/>
                  <a:gd name="connsiteX12" fmla="*/ 415008 w 696948"/>
                  <a:gd name="connsiteY12" fmla="*/ 49232 h 329267"/>
                  <a:gd name="connsiteX13" fmla="*/ 401673 w 696948"/>
                  <a:gd name="connsiteY13" fmla="*/ 44470 h 329267"/>
                  <a:gd name="connsiteX14" fmla="*/ 396911 w 696948"/>
                  <a:gd name="connsiteY14" fmla="*/ 40660 h 329267"/>
                  <a:gd name="connsiteX15" fmla="*/ 395006 w 696948"/>
                  <a:gd name="connsiteY15" fmla="*/ 33992 h 329267"/>
                  <a:gd name="connsiteX16" fmla="*/ 402626 w 696948"/>
                  <a:gd name="connsiteY16" fmla="*/ 29230 h 329267"/>
                  <a:gd name="connsiteX17" fmla="*/ 413103 w 696948"/>
                  <a:gd name="connsiteY17" fmla="*/ 25420 h 329267"/>
                  <a:gd name="connsiteX18" fmla="*/ 421676 w 696948"/>
                  <a:gd name="connsiteY18" fmla="*/ 21610 h 329267"/>
                  <a:gd name="connsiteX19" fmla="*/ 427391 w 696948"/>
                  <a:gd name="connsiteY19" fmla="*/ 12085 h 329267"/>
                  <a:gd name="connsiteX20" fmla="*/ 425486 w 696948"/>
                  <a:gd name="connsiteY20" fmla="*/ 8275 h 329267"/>
                  <a:gd name="connsiteX21" fmla="*/ 416913 w 696948"/>
                  <a:gd name="connsiteY21" fmla="*/ 5417 h 329267"/>
                  <a:gd name="connsiteX22" fmla="*/ 398816 w 696948"/>
                  <a:gd name="connsiteY22" fmla="*/ 6370 h 329267"/>
                  <a:gd name="connsiteX23" fmla="*/ 389291 w 696948"/>
                  <a:gd name="connsiteY23" fmla="*/ 5417 h 329267"/>
                  <a:gd name="connsiteX24" fmla="*/ 379766 w 696948"/>
                  <a:gd name="connsiteY24" fmla="*/ 3512 h 329267"/>
                  <a:gd name="connsiteX25" fmla="*/ 367383 w 696948"/>
                  <a:gd name="connsiteY25" fmla="*/ 1607 h 329267"/>
                  <a:gd name="connsiteX26" fmla="*/ 339761 w 696948"/>
                  <a:gd name="connsiteY26" fmla="*/ 655 h 329267"/>
                  <a:gd name="connsiteX27" fmla="*/ 328331 w 696948"/>
                  <a:gd name="connsiteY27" fmla="*/ 4465 h 329267"/>
                  <a:gd name="connsiteX28" fmla="*/ 322616 w 696948"/>
                  <a:gd name="connsiteY28" fmla="*/ 8275 h 329267"/>
                  <a:gd name="connsiteX29" fmla="*/ 314996 w 696948"/>
                  <a:gd name="connsiteY29" fmla="*/ 12085 h 329267"/>
                  <a:gd name="connsiteX30" fmla="*/ 306423 w 696948"/>
                  <a:gd name="connsiteY30" fmla="*/ 15895 h 329267"/>
                  <a:gd name="connsiteX31" fmla="*/ 299756 w 696948"/>
                  <a:gd name="connsiteY31" fmla="*/ 20657 h 329267"/>
                  <a:gd name="connsiteX32" fmla="*/ 294041 w 696948"/>
                  <a:gd name="connsiteY32" fmla="*/ 24467 h 329267"/>
                  <a:gd name="connsiteX33" fmla="*/ 293088 w 696948"/>
                  <a:gd name="connsiteY33" fmla="*/ 31135 h 329267"/>
                  <a:gd name="connsiteX34" fmla="*/ 287373 w 696948"/>
                  <a:gd name="connsiteY34" fmla="*/ 37802 h 329267"/>
                  <a:gd name="connsiteX35" fmla="*/ 284516 w 696948"/>
                  <a:gd name="connsiteY35" fmla="*/ 38755 h 329267"/>
                  <a:gd name="connsiteX36" fmla="*/ 268323 w 696948"/>
                  <a:gd name="connsiteY36" fmla="*/ 38755 h 329267"/>
                  <a:gd name="connsiteX37" fmla="*/ 265466 w 696948"/>
                  <a:gd name="connsiteY37" fmla="*/ 29230 h 329267"/>
                  <a:gd name="connsiteX38" fmla="*/ 250226 w 696948"/>
                  <a:gd name="connsiteY38" fmla="*/ 27325 h 329267"/>
                  <a:gd name="connsiteX39" fmla="*/ 242605 w 696948"/>
                  <a:gd name="connsiteY39" fmla="*/ 28277 h 329267"/>
                  <a:gd name="connsiteX40" fmla="*/ 227366 w 696948"/>
                  <a:gd name="connsiteY40" fmla="*/ 29230 h 329267"/>
                  <a:gd name="connsiteX41" fmla="*/ 218793 w 696948"/>
                  <a:gd name="connsiteY41" fmla="*/ 33040 h 329267"/>
                  <a:gd name="connsiteX42" fmla="*/ 208316 w 696948"/>
                  <a:gd name="connsiteY42" fmla="*/ 42565 h 329267"/>
                  <a:gd name="connsiteX43" fmla="*/ 208316 w 696948"/>
                  <a:gd name="connsiteY43" fmla="*/ 46375 h 329267"/>
                  <a:gd name="connsiteX44" fmla="*/ 202601 w 696948"/>
                  <a:gd name="connsiteY44" fmla="*/ 53995 h 329267"/>
                  <a:gd name="connsiteX45" fmla="*/ 190218 w 696948"/>
                  <a:gd name="connsiteY45" fmla="*/ 57805 h 329267"/>
                  <a:gd name="connsiteX46" fmla="*/ 169263 w 696948"/>
                  <a:gd name="connsiteY46" fmla="*/ 58757 h 329267"/>
                  <a:gd name="connsiteX47" fmla="*/ 157833 w 696948"/>
                  <a:gd name="connsiteY47" fmla="*/ 63520 h 329267"/>
                  <a:gd name="connsiteX48" fmla="*/ 155928 w 696948"/>
                  <a:gd name="connsiteY48" fmla="*/ 68282 h 329267"/>
                  <a:gd name="connsiteX49" fmla="*/ 142593 w 696948"/>
                  <a:gd name="connsiteY49" fmla="*/ 85427 h 329267"/>
                  <a:gd name="connsiteX50" fmla="*/ 137830 w 696948"/>
                  <a:gd name="connsiteY50" fmla="*/ 86380 h 329267"/>
                  <a:gd name="connsiteX51" fmla="*/ 128305 w 696948"/>
                  <a:gd name="connsiteY51" fmla="*/ 89237 h 329267"/>
                  <a:gd name="connsiteX52" fmla="*/ 122591 w 696948"/>
                  <a:gd name="connsiteY52" fmla="*/ 90190 h 329267"/>
                  <a:gd name="connsiteX53" fmla="*/ 107351 w 696948"/>
                  <a:gd name="connsiteY53" fmla="*/ 96857 h 329267"/>
                  <a:gd name="connsiteX54" fmla="*/ 100683 w 696948"/>
                  <a:gd name="connsiteY54" fmla="*/ 100667 h 329267"/>
                  <a:gd name="connsiteX55" fmla="*/ 89253 w 696948"/>
                  <a:gd name="connsiteY55" fmla="*/ 101620 h 329267"/>
                  <a:gd name="connsiteX56" fmla="*/ 73061 w 696948"/>
                  <a:gd name="connsiteY56" fmla="*/ 101620 h 329267"/>
                  <a:gd name="connsiteX57" fmla="*/ 63536 w 696948"/>
                  <a:gd name="connsiteY57" fmla="*/ 101620 h 329267"/>
                  <a:gd name="connsiteX58" fmla="*/ 52106 w 696948"/>
                  <a:gd name="connsiteY58" fmla="*/ 105430 h 329267"/>
                  <a:gd name="connsiteX59" fmla="*/ 39723 w 696948"/>
                  <a:gd name="connsiteY59" fmla="*/ 116860 h 329267"/>
                  <a:gd name="connsiteX60" fmla="*/ 16863 w 696948"/>
                  <a:gd name="connsiteY60" fmla="*/ 120670 h 329267"/>
                  <a:gd name="connsiteX61" fmla="*/ 9243 w 696948"/>
                  <a:gd name="connsiteY61" fmla="*/ 121622 h 329267"/>
                  <a:gd name="connsiteX62" fmla="*/ 1623 w 696948"/>
                  <a:gd name="connsiteY62" fmla="*/ 128290 h 329267"/>
                  <a:gd name="connsiteX63" fmla="*/ 671 w 696948"/>
                  <a:gd name="connsiteY63" fmla="*/ 134957 h 329267"/>
                  <a:gd name="connsiteX64" fmla="*/ 671 w 696948"/>
                  <a:gd name="connsiteY64" fmla="*/ 140672 h 329267"/>
                  <a:gd name="connsiteX65" fmla="*/ 3528 w 696948"/>
                  <a:gd name="connsiteY65" fmla="*/ 145435 h 329267"/>
                  <a:gd name="connsiteX66" fmla="*/ 10196 w 696948"/>
                  <a:gd name="connsiteY66" fmla="*/ 156865 h 329267"/>
                  <a:gd name="connsiteX67" fmla="*/ 10196 w 696948"/>
                  <a:gd name="connsiteY67" fmla="*/ 156865 h 329267"/>
                  <a:gd name="connsiteX68" fmla="*/ 14006 w 696948"/>
                  <a:gd name="connsiteY68" fmla="*/ 165437 h 329267"/>
                  <a:gd name="connsiteX69" fmla="*/ 10196 w 696948"/>
                  <a:gd name="connsiteY69" fmla="*/ 174962 h 329267"/>
                  <a:gd name="connsiteX70" fmla="*/ 7338 w 696948"/>
                  <a:gd name="connsiteY70" fmla="*/ 183535 h 329267"/>
                  <a:gd name="connsiteX71" fmla="*/ 17816 w 696948"/>
                  <a:gd name="connsiteY71" fmla="*/ 189250 h 329267"/>
                  <a:gd name="connsiteX72" fmla="*/ 23531 w 696948"/>
                  <a:gd name="connsiteY72" fmla="*/ 196870 h 329267"/>
                  <a:gd name="connsiteX73" fmla="*/ 25436 w 696948"/>
                  <a:gd name="connsiteY73" fmla="*/ 199727 h 329267"/>
                  <a:gd name="connsiteX74" fmla="*/ 34961 w 696948"/>
                  <a:gd name="connsiteY74" fmla="*/ 210205 h 329267"/>
                  <a:gd name="connsiteX75" fmla="*/ 34008 w 696948"/>
                  <a:gd name="connsiteY75" fmla="*/ 219730 h 329267"/>
                  <a:gd name="connsiteX76" fmla="*/ 34008 w 696948"/>
                  <a:gd name="connsiteY76" fmla="*/ 229255 h 329267"/>
                  <a:gd name="connsiteX77" fmla="*/ 34008 w 696948"/>
                  <a:gd name="connsiteY77" fmla="*/ 235922 h 329267"/>
                  <a:gd name="connsiteX78" fmla="*/ 35913 w 696948"/>
                  <a:gd name="connsiteY78" fmla="*/ 244495 h 329267"/>
                  <a:gd name="connsiteX79" fmla="*/ 35913 w 696948"/>
                  <a:gd name="connsiteY79" fmla="*/ 250210 h 329267"/>
                  <a:gd name="connsiteX80" fmla="*/ 30198 w 696948"/>
                  <a:gd name="connsiteY80" fmla="*/ 257830 h 329267"/>
                  <a:gd name="connsiteX81" fmla="*/ 40676 w 696948"/>
                  <a:gd name="connsiteY81" fmla="*/ 268307 h 329267"/>
                  <a:gd name="connsiteX82" fmla="*/ 54011 w 696948"/>
                  <a:gd name="connsiteY82" fmla="*/ 273070 h 329267"/>
                  <a:gd name="connsiteX83" fmla="*/ 63536 w 696948"/>
                  <a:gd name="connsiteY83" fmla="*/ 273070 h 329267"/>
                  <a:gd name="connsiteX84" fmla="*/ 72108 w 696948"/>
                  <a:gd name="connsiteY84" fmla="*/ 271165 h 329267"/>
                  <a:gd name="connsiteX85" fmla="*/ 94016 w 696948"/>
                  <a:gd name="connsiteY85" fmla="*/ 270212 h 329267"/>
                  <a:gd name="connsiteX86" fmla="*/ 113066 w 696948"/>
                  <a:gd name="connsiteY86" fmla="*/ 274975 h 329267"/>
                  <a:gd name="connsiteX87" fmla="*/ 129258 w 696948"/>
                  <a:gd name="connsiteY87" fmla="*/ 269260 h 329267"/>
                  <a:gd name="connsiteX88" fmla="*/ 136878 w 696948"/>
                  <a:gd name="connsiteY88" fmla="*/ 265450 h 329267"/>
                  <a:gd name="connsiteX89" fmla="*/ 151166 w 696948"/>
                  <a:gd name="connsiteY89" fmla="*/ 264497 h 329267"/>
                  <a:gd name="connsiteX90" fmla="*/ 160691 w 696948"/>
                  <a:gd name="connsiteY90" fmla="*/ 266402 h 329267"/>
                  <a:gd name="connsiteX91" fmla="*/ 167358 w 696948"/>
                  <a:gd name="connsiteY91" fmla="*/ 269260 h 329267"/>
                  <a:gd name="connsiteX92" fmla="*/ 176883 w 696948"/>
                  <a:gd name="connsiteY92" fmla="*/ 269260 h 329267"/>
                  <a:gd name="connsiteX93" fmla="*/ 192123 w 696948"/>
                  <a:gd name="connsiteY93" fmla="*/ 267355 h 329267"/>
                  <a:gd name="connsiteX94" fmla="*/ 198791 w 696948"/>
                  <a:gd name="connsiteY94" fmla="*/ 263545 h 329267"/>
                  <a:gd name="connsiteX95" fmla="*/ 200696 w 696948"/>
                  <a:gd name="connsiteY95" fmla="*/ 256877 h 329267"/>
                  <a:gd name="connsiteX96" fmla="*/ 213078 w 696948"/>
                  <a:gd name="connsiteY96" fmla="*/ 248305 h 329267"/>
                  <a:gd name="connsiteX97" fmla="*/ 226413 w 696948"/>
                  <a:gd name="connsiteY97" fmla="*/ 244495 h 329267"/>
                  <a:gd name="connsiteX98" fmla="*/ 239748 w 696948"/>
                  <a:gd name="connsiteY98" fmla="*/ 243542 h 329267"/>
                  <a:gd name="connsiteX99" fmla="*/ 254988 w 696948"/>
                  <a:gd name="connsiteY99" fmla="*/ 238780 h 329267"/>
                  <a:gd name="connsiteX100" fmla="*/ 271181 w 696948"/>
                  <a:gd name="connsiteY100" fmla="*/ 238780 h 329267"/>
                  <a:gd name="connsiteX101" fmla="*/ 283563 w 696948"/>
                  <a:gd name="connsiteY101" fmla="*/ 241637 h 329267"/>
                  <a:gd name="connsiteX102" fmla="*/ 312138 w 696948"/>
                  <a:gd name="connsiteY102" fmla="*/ 245447 h 329267"/>
                  <a:gd name="connsiteX103" fmla="*/ 330236 w 696948"/>
                  <a:gd name="connsiteY103" fmla="*/ 244495 h 329267"/>
                  <a:gd name="connsiteX104" fmla="*/ 344523 w 696948"/>
                  <a:gd name="connsiteY104" fmla="*/ 243542 h 329267"/>
                  <a:gd name="connsiteX105" fmla="*/ 365478 w 696948"/>
                  <a:gd name="connsiteY105" fmla="*/ 248305 h 329267"/>
                  <a:gd name="connsiteX106" fmla="*/ 373098 w 696948"/>
                  <a:gd name="connsiteY106" fmla="*/ 254972 h 329267"/>
                  <a:gd name="connsiteX107" fmla="*/ 373098 w 696948"/>
                  <a:gd name="connsiteY107" fmla="*/ 261640 h 329267"/>
                  <a:gd name="connsiteX108" fmla="*/ 374051 w 696948"/>
                  <a:gd name="connsiteY108" fmla="*/ 268307 h 329267"/>
                  <a:gd name="connsiteX109" fmla="*/ 387386 w 696948"/>
                  <a:gd name="connsiteY109" fmla="*/ 273070 h 329267"/>
                  <a:gd name="connsiteX110" fmla="*/ 395958 w 696948"/>
                  <a:gd name="connsiteY110" fmla="*/ 273070 h 329267"/>
                  <a:gd name="connsiteX111" fmla="*/ 400721 w 696948"/>
                  <a:gd name="connsiteY111" fmla="*/ 269260 h 329267"/>
                  <a:gd name="connsiteX112" fmla="*/ 404531 w 696948"/>
                  <a:gd name="connsiteY112" fmla="*/ 265450 h 329267"/>
                  <a:gd name="connsiteX113" fmla="*/ 412151 w 696948"/>
                  <a:gd name="connsiteY113" fmla="*/ 264497 h 329267"/>
                  <a:gd name="connsiteX114" fmla="*/ 415008 w 696948"/>
                  <a:gd name="connsiteY114" fmla="*/ 265450 h 329267"/>
                  <a:gd name="connsiteX115" fmla="*/ 415961 w 696948"/>
                  <a:gd name="connsiteY115" fmla="*/ 273070 h 329267"/>
                  <a:gd name="connsiteX116" fmla="*/ 419771 w 696948"/>
                  <a:gd name="connsiteY116" fmla="*/ 281642 h 329267"/>
                  <a:gd name="connsiteX117" fmla="*/ 430248 w 696948"/>
                  <a:gd name="connsiteY117" fmla="*/ 288310 h 329267"/>
                  <a:gd name="connsiteX118" fmla="*/ 442631 w 696948"/>
                  <a:gd name="connsiteY118" fmla="*/ 290215 h 329267"/>
                  <a:gd name="connsiteX119" fmla="*/ 451203 w 696948"/>
                  <a:gd name="connsiteY119" fmla="*/ 290215 h 329267"/>
                  <a:gd name="connsiteX120" fmla="*/ 456918 w 696948"/>
                  <a:gd name="connsiteY120" fmla="*/ 294025 h 329267"/>
                  <a:gd name="connsiteX121" fmla="*/ 458823 w 696948"/>
                  <a:gd name="connsiteY121" fmla="*/ 299740 h 329267"/>
                  <a:gd name="connsiteX122" fmla="*/ 458823 w 696948"/>
                  <a:gd name="connsiteY122" fmla="*/ 310217 h 329267"/>
                  <a:gd name="connsiteX123" fmla="*/ 458823 w 696948"/>
                  <a:gd name="connsiteY123" fmla="*/ 314027 h 329267"/>
                  <a:gd name="connsiteX124" fmla="*/ 470253 w 696948"/>
                  <a:gd name="connsiteY124" fmla="*/ 324505 h 329267"/>
                  <a:gd name="connsiteX125" fmla="*/ 478826 w 696948"/>
                  <a:gd name="connsiteY125" fmla="*/ 326410 h 329267"/>
                  <a:gd name="connsiteX126" fmla="*/ 490256 w 696948"/>
                  <a:gd name="connsiteY126" fmla="*/ 325457 h 329267"/>
                  <a:gd name="connsiteX127" fmla="*/ 505496 w 696948"/>
                  <a:gd name="connsiteY127" fmla="*/ 324505 h 329267"/>
                  <a:gd name="connsiteX128" fmla="*/ 514068 w 696948"/>
                  <a:gd name="connsiteY128" fmla="*/ 326410 h 329267"/>
                  <a:gd name="connsiteX129" fmla="*/ 536928 w 696948"/>
                  <a:gd name="connsiteY129" fmla="*/ 328315 h 329267"/>
                  <a:gd name="connsiteX130" fmla="*/ 549311 w 696948"/>
                  <a:gd name="connsiteY130" fmla="*/ 321647 h 329267"/>
                  <a:gd name="connsiteX131" fmla="*/ 555978 w 696948"/>
                  <a:gd name="connsiteY131" fmla="*/ 321647 h 329267"/>
                  <a:gd name="connsiteX132" fmla="*/ 564551 w 696948"/>
                  <a:gd name="connsiteY132" fmla="*/ 326410 h 329267"/>
                  <a:gd name="connsiteX133" fmla="*/ 572171 w 696948"/>
                  <a:gd name="connsiteY133" fmla="*/ 329267 h 329267"/>
                  <a:gd name="connsiteX134" fmla="*/ 583601 w 696948"/>
                  <a:gd name="connsiteY134" fmla="*/ 329267 h 329267"/>
                  <a:gd name="connsiteX135" fmla="*/ 596936 w 696948"/>
                  <a:gd name="connsiteY135" fmla="*/ 321647 h 329267"/>
                  <a:gd name="connsiteX136" fmla="*/ 601698 w 696948"/>
                  <a:gd name="connsiteY136" fmla="*/ 320695 h 329267"/>
                  <a:gd name="connsiteX137" fmla="*/ 615033 w 696948"/>
                  <a:gd name="connsiteY137" fmla="*/ 317837 h 329267"/>
                  <a:gd name="connsiteX138" fmla="*/ 630273 w 696948"/>
                  <a:gd name="connsiteY138" fmla="*/ 311170 h 329267"/>
                  <a:gd name="connsiteX139" fmla="*/ 637893 w 696948"/>
                  <a:gd name="connsiteY139" fmla="*/ 304502 h 329267"/>
                  <a:gd name="connsiteX140" fmla="*/ 639798 w 696948"/>
                  <a:gd name="connsiteY140" fmla="*/ 295930 h 329267"/>
                  <a:gd name="connsiteX141" fmla="*/ 644561 w 696948"/>
                  <a:gd name="connsiteY141" fmla="*/ 289262 h 329267"/>
                  <a:gd name="connsiteX142" fmla="*/ 652181 w 696948"/>
                  <a:gd name="connsiteY142" fmla="*/ 285452 h 329267"/>
                  <a:gd name="connsiteX143" fmla="*/ 655991 w 696948"/>
                  <a:gd name="connsiteY143" fmla="*/ 280690 h 329267"/>
                  <a:gd name="connsiteX144" fmla="*/ 656943 w 696948"/>
                  <a:gd name="connsiteY144" fmla="*/ 269260 h 329267"/>
                  <a:gd name="connsiteX145" fmla="*/ 657896 w 696948"/>
                  <a:gd name="connsiteY145" fmla="*/ 267355 h 329267"/>
                  <a:gd name="connsiteX146" fmla="*/ 664563 w 696948"/>
                  <a:gd name="connsiteY146" fmla="*/ 259735 h 329267"/>
                  <a:gd name="connsiteX147" fmla="*/ 673136 w 696948"/>
                  <a:gd name="connsiteY147" fmla="*/ 255925 h 329267"/>
                  <a:gd name="connsiteX148" fmla="*/ 683613 w 696948"/>
                  <a:gd name="connsiteY148" fmla="*/ 243542 h 329267"/>
                  <a:gd name="connsiteX149" fmla="*/ 687423 w 696948"/>
                  <a:gd name="connsiteY149" fmla="*/ 230207 h 329267"/>
                  <a:gd name="connsiteX150" fmla="*/ 691233 w 696948"/>
                  <a:gd name="connsiteY150" fmla="*/ 223540 h 329267"/>
                  <a:gd name="connsiteX151" fmla="*/ 695043 w 696948"/>
                  <a:gd name="connsiteY151" fmla="*/ 207347 h 329267"/>
                  <a:gd name="connsiteX152" fmla="*/ 695043 w 696948"/>
                  <a:gd name="connsiteY152" fmla="*/ 197822 h 329267"/>
                  <a:gd name="connsiteX153" fmla="*/ 696948 w 696948"/>
                  <a:gd name="connsiteY153" fmla="*/ 182582 h 329267"/>
                  <a:gd name="connsiteX154" fmla="*/ 696948 w 696948"/>
                  <a:gd name="connsiteY154" fmla="*/ 176867 h 329267"/>
                  <a:gd name="connsiteX155" fmla="*/ 694091 w 696948"/>
                  <a:gd name="connsiteY155" fmla="*/ 169247 h 329267"/>
                  <a:gd name="connsiteX156" fmla="*/ 691233 w 696948"/>
                  <a:gd name="connsiteY156" fmla="*/ 162580 h 329267"/>
                  <a:gd name="connsiteX157" fmla="*/ 683613 w 696948"/>
                  <a:gd name="connsiteY157" fmla="*/ 154960 h 329267"/>
                  <a:gd name="connsiteX158" fmla="*/ 675041 w 696948"/>
                  <a:gd name="connsiteY158" fmla="*/ 147340 h 329267"/>
                  <a:gd name="connsiteX159" fmla="*/ 667421 w 696948"/>
                  <a:gd name="connsiteY159" fmla="*/ 142577 h 329267"/>
                  <a:gd name="connsiteX160" fmla="*/ 650276 w 696948"/>
                  <a:gd name="connsiteY160" fmla="*/ 130195 h 329267"/>
                  <a:gd name="connsiteX161" fmla="*/ 637893 w 696948"/>
                  <a:gd name="connsiteY161" fmla="*/ 120670 h 329267"/>
                  <a:gd name="connsiteX162" fmla="*/ 628368 w 696948"/>
                  <a:gd name="connsiteY162" fmla="*/ 105430 h 329267"/>
                  <a:gd name="connsiteX163" fmla="*/ 612176 w 696948"/>
                  <a:gd name="connsiteY163" fmla="*/ 96857 h 329267"/>
                  <a:gd name="connsiteX164" fmla="*/ 597888 w 696948"/>
                  <a:gd name="connsiteY164" fmla="*/ 94952 h 329267"/>
                  <a:gd name="connsiteX165" fmla="*/ 580743 w 696948"/>
                  <a:gd name="connsiteY165" fmla="*/ 79712 h 329267"/>
                  <a:gd name="connsiteX166" fmla="*/ 573123 w 696948"/>
                  <a:gd name="connsiteY166" fmla="*/ 74950 h 329267"/>
                  <a:gd name="connsiteX167" fmla="*/ 565503 w 696948"/>
                  <a:gd name="connsiteY167" fmla="*/ 68282 h 329267"/>
                  <a:gd name="connsiteX168" fmla="*/ 563598 w 696948"/>
                  <a:gd name="connsiteY168" fmla="*/ 58757 h 329267"/>
                  <a:gd name="connsiteX169" fmla="*/ 557883 w 696948"/>
                  <a:gd name="connsiteY169" fmla="*/ 53042 h 329267"/>
                  <a:gd name="connsiteX170" fmla="*/ 555026 w 696948"/>
                  <a:gd name="connsiteY170" fmla="*/ 42565 h 329267"/>
                  <a:gd name="connsiteX171" fmla="*/ 552168 w 696948"/>
                  <a:gd name="connsiteY171" fmla="*/ 35897 h 329267"/>
                  <a:gd name="connsiteX172" fmla="*/ 546453 w 696948"/>
                  <a:gd name="connsiteY172" fmla="*/ 31135 h 329267"/>
                  <a:gd name="connsiteX173" fmla="*/ 541691 w 696948"/>
                  <a:gd name="connsiteY173" fmla="*/ 28277 h 329267"/>
                  <a:gd name="connsiteX174" fmla="*/ 535976 w 696948"/>
                  <a:gd name="connsiteY174" fmla="*/ 22562 h 329267"/>
                  <a:gd name="connsiteX175" fmla="*/ 532166 w 696948"/>
                  <a:gd name="connsiteY175" fmla="*/ 16847 h 329267"/>
                  <a:gd name="connsiteX176" fmla="*/ 523593 w 696948"/>
                  <a:gd name="connsiteY176" fmla="*/ 13990 h 329267"/>
                  <a:gd name="connsiteX177" fmla="*/ 517878 w 696948"/>
                  <a:gd name="connsiteY177" fmla="*/ 13990 h 329267"/>
                  <a:gd name="connsiteX178" fmla="*/ 504543 w 696948"/>
                  <a:gd name="connsiteY178" fmla="*/ 16847 h 329267"/>
                  <a:gd name="connsiteX179" fmla="*/ 499781 w 696948"/>
                  <a:gd name="connsiteY179" fmla="*/ 16847 h 329267"/>
                  <a:gd name="connsiteX180" fmla="*/ 495018 w 696948"/>
                  <a:gd name="connsiteY180" fmla="*/ 18752 h 32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696948" h="329267">
                    <a:moveTo>
                      <a:pt x="495018" y="18752"/>
                    </a:moveTo>
                    <a:cubicBezTo>
                      <a:pt x="495018" y="18752"/>
                      <a:pt x="494066" y="26372"/>
                      <a:pt x="494066" y="30182"/>
                    </a:cubicBezTo>
                    <a:cubicBezTo>
                      <a:pt x="494066" y="33992"/>
                      <a:pt x="494066" y="33992"/>
                      <a:pt x="493113" y="38755"/>
                    </a:cubicBezTo>
                    <a:cubicBezTo>
                      <a:pt x="492161" y="43517"/>
                      <a:pt x="490256" y="51137"/>
                      <a:pt x="488351" y="53995"/>
                    </a:cubicBezTo>
                    <a:cubicBezTo>
                      <a:pt x="486446" y="56852"/>
                      <a:pt x="476921" y="59710"/>
                      <a:pt x="476921" y="61615"/>
                    </a:cubicBezTo>
                    <a:cubicBezTo>
                      <a:pt x="476921" y="63520"/>
                      <a:pt x="477873" y="64472"/>
                      <a:pt x="471206" y="65425"/>
                    </a:cubicBezTo>
                    <a:cubicBezTo>
                      <a:pt x="464538" y="66377"/>
                      <a:pt x="456918" y="66377"/>
                      <a:pt x="456918" y="66377"/>
                    </a:cubicBezTo>
                    <a:lnTo>
                      <a:pt x="447393" y="66377"/>
                    </a:lnTo>
                    <a:lnTo>
                      <a:pt x="444536" y="59710"/>
                    </a:lnTo>
                    <a:lnTo>
                      <a:pt x="439773" y="57805"/>
                    </a:lnTo>
                    <a:lnTo>
                      <a:pt x="435011" y="54947"/>
                    </a:lnTo>
                    <a:cubicBezTo>
                      <a:pt x="435011" y="54947"/>
                      <a:pt x="432153" y="53042"/>
                      <a:pt x="428343" y="52090"/>
                    </a:cubicBezTo>
                    <a:cubicBezTo>
                      <a:pt x="425486" y="51137"/>
                      <a:pt x="415008" y="49232"/>
                      <a:pt x="415008" y="49232"/>
                    </a:cubicBezTo>
                    <a:lnTo>
                      <a:pt x="401673" y="44470"/>
                    </a:lnTo>
                    <a:lnTo>
                      <a:pt x="396911" y="40660"/>
                    </a:lnTo>
                    <a:cubicBezTo>
                      <a:pt x="396911" y="40660"/>
                      <a:pt x="390243" y="35897"/>
                      <a:pt x="395006" y="33992"/>
                    </a:cubicBezTo>
                    <a:cubicBezTo>
                      <a:pt x="399768" y="32087"/>
                      <a:pt x="402626" y="29230"/>
                      <a:pt x="402626" y="29230"/>
                    </a:cubicBezTo>
                    <a:cubicBezTo>
                      <a:pt x="402626" y="29230"/>
                      <a:pt x="409293" y="25420"/>
                      <a:pt x="413103" y="25420"/>
                    </a:cubicBezTo>
                    <a:cubicBezTo>
                      <a:pt x="415961" y="24467"/>
                      <a:pt x="415961" y="31135"/>
                      <a:pt x="421676" y="21610"/>
                    </a:cubicBezTo>
                    <a:cubicBezTo>
                      <a:pt x="427391" y="12085"/>
                      <a:pt x="427391" y="12085"/>
                      <a:pt x="427391" y="12085"/>
                    </a:cubicBezTo>
                    <a:lnTo>
                      <a:pt x="425486" y="8275"/>
                    </a:lnTo>
                    <a:cubicBezTo>
                      <a:pt x="425486" y="8275"/>
                      <a:pt x="419771" y="4465"/>
                      <a:pt x="416913" y="5417"/>
                    </a:cubicBezTo>
                    <a:cubicBezTo>
                      <a:pt x="413103" y="6370"/>
                      <a:pt x="398816" y="6370"/>
                      <a:pt x="398816" y="6370"/>
                    </a:cubicBezTo>
                    <a:lnTo>
                      <a:pt x="389291" y="5417"/>
                    </a:lnTo>
                    <a:lnTo>
                      <a:pt x="379766" y="3512"/>
                    </a:lnTo>
                    <a:cubicBezTo>
                      <a:pt x="379766" y="3512"/>
                      <a:pt x="388338" y="1607"/>
                      <a:pt x="367383" y="1607"/>
                    </a:cubicBezTo>
                    <a:cubicBezTo>
                      <a:pt x="346428" y="1607"/>
                      <a:pt x="339761" y="-1250"/>
                      <a:pt x="339761" y="655"/>
                    </a:cubicBezTo>
                    <a:cubicBezTo>
                      <a:pt x="339761" y="2560"/>
                      <a:pt x="328331" y="4465"/>
                      <a:pt x="328331" y="4465"/>
                    </a:cubicBezTo>
                    <a:cubicBezTo>
                      <a:pt x="328331" y="4465"/>
                      <a:pt x="323568" y="5417"/>
                      <a:pt x="322616" y="8275"/>
                    </a:cubicBezTo>
                    <a:cubicBezTo>
                      <a:pt x="321663" y="10180"/>
                      <a:pt x="317853" y="8275"/>
                      <a:pt x="314996" y="12085"/>
                    </a:cubicBezTo>
                    <a:cubicBezTo>
                      <a:pt x="311186" y="15895"/>
                      <a:pt x="308328" y="13037"/>
                      <a:pt x="306423" y="15895"/>
                    </a:cubicBezTo>
                    <a:cubicBezTo>
                      <a:pt x="304518" y="19705"/>
                      <a:pt x="299756" y="20657"/>
                      <a:pt x="299756" y="20657"/>
                    </a:cubicBezTo>
                    <a:lnTo>
                      <a:pt x="294041" y="24467"/>
                    </a:lnTo>
                    <a:cubicBezTo>
                      <a:pt x="294041" y="24467"/>
                      <a:pt x="294041" y="28277"/>
                      <a:pt x="293088" y="31135"/>
                    </a:cubicBezTo>
                    <a:cubicBezTo>
                      <a:pt x="292136" y="33992"/>
                      <a:pt x="291183" y="36850"/>
                      <a:pt x="287373" y="37802"/>
                    </a:cubicBezTo>
                    <a:cubicBezTo>
                      <a:pt x="284516" y="38755"/>
                      <a:pt x="284516" y="38755"/>
                      <a:pt x="284516" y="38755"/>
                    </a:cubicBezTo>
                    <a:lnTo>
                      <a:pt x="268323" y="38755"/>
                    </a:lnTo>
                    <a:cubicBezTo>
                      <a:pt x="268323" y="38755"/>
                      <a:pt x="273086" y="30182"/>
                      <a:pt x="265466" y="29230"/>
                    </a:cubicBezTo>
                    <a:cubicBezTo>
                      <a:pt x="257846" y="28277"/>
                      <a:pt x="250226" y="27325"/>
                      <a:pt x="250226" y="27325"/>
                    </a:cubicBezTo>
                    <a:lnTo>
                      <a:pt x="242605" y="28277"/>
                    </a:lnTo>
                    <a:lnTo>
                      <a:pt x="227366" y="29230"/>
                    </a:lnTo>
                    <a:cubicBezTo>
                      <a:pt x="227366" y="29230"/>
                      <a:pt x="219746" y="30182"/>
                      <a:pt x="218793" y="33040"/>
                    </a:cubicBezTo>
                    <a:cubicBezTo>
                      <a:pt x="217841" y="34945"/>
                      <a:pt x="208316" y="38755"/>
                      <a:pt x="208316" y="42565"/>
                    </a:cubicBezTo>
                    <a:cubicBezTo>
                      <a:pt x="208316" y="46375"/>
                      <a:pt x="209268" y="43517"/>
                      <a:pt x="208316" y="46375"/>
                    </a:cubicBezTo>
                    <a:cubicBezTo>
                      <a:pt x="207363" y="50185"/>
                      <a:pt x="210221" y="50185"/>
                      <a:pt x="202601" y="53995"/>
                    </a:cubicBezTo>
                    <a:cubicBezTo>
                      <a:pt x="194980" y="57805"/>
                      <a:pt x="199743" y="54947"/>
                      <a:pt x="190218" y="57805"/>
                    </a:cubicBezTo>
                    <a:cubicBezTo>
                      <a:pt x="181646" y="59710"/>
                      <a:pt x="169263" y="58757"/>
                      <a:pt x="169263" y="58757"/>
                    </a:cubicBezTo>
                    <a:lnTo>
                      <a:pt x="157833" y="63520"/>
                    </a:lnTo>
                    <a:lnTo>
                      <a:pt x="155928" y="68282"/>
                    </a:lnTo>
                    <a:lnTo>
                      <a:pt x="142593" y="85427"/>
                    </a:lnTo>
                    <a:lnTo>
                      <a:pt x="137830" y="86380"/>
                    </a:lnTo>
                    <a:lnTo>
                      <a:pt x="128305" y="89237"/>
                    </a:lnTo>
                    <a:lnTo>
                      <a:pt x="122591" y="90190"/>
                    </a:lnTo>
                    <a:cubicBezTo>
                      <a:pt x="122591" y="90190"/>
                      <a:pt x="106398" y="94000"/>
                      <a:pt x="107351" y="96857"/>
                    </a:cubicBezTo>
                    <a:cubicBezTo>
                      <a:pt x="108303" y="99715"/>
                      <a:pt x="100683" y="100667"/>
                      <a:pt x="100683" y="100667"/>
                    </a:cubicBezTo>
                    <a:lnTo>
                      <a:pt x="89253" y="101620"/>
                    </a:lnTo>
                    <a:lnTo>
                      <a:pt x="73061" y="101620"/>
                    </a:lnTo>
                    <a:lnTo>
                      <a:pt x="63536" y="101620"/>
                    </a:lnTo>
                    <a:cubicBezTo>
                      <a:pt x="63536" y="101620"/>
                      <a:pt x="56868" y="102572"/>
                      <a:pt x="52106" y="105430"/>
                    </a:cubicBezTo>
                    <a:cubicBezTo>
                      <a:pt x="47343" y="108287"/>
                      <a:pt x="39723" y="116860"/>
                      <a:pt x="39723" y="116860"/>
                    </a:cubicBezTo>
                    <a:lnTo>
                      <a:pt x="16863" y="120670"/>
                    </a:lnTo>
                    <a:lnTo>
                      <a:pt x="9243" y="121622"/>
                    </a:lnTo>
                    <a:lnTo>
                      <a:pt x="1623" y="128290"/>
                    </a:lnTo>
                    <a:cubicBezTo>
                      <a:pt x="1623" y="128290"/>
                      <a:pt x="-282" y="132100"/>
                      <a:pt x="671" y="134957"/>
                    </a:cubicBezTo>
                    <a:cubicBezTo>
                      <a:pt x="1623" y="137815"/>
                      <a:pt x="-1234" y="138767"/>
                      <a:pt x="671" y="140672"/>
                    </a:cubicBezTo>
                    <a:cubicBezTo>
                      <a:pt x="2576" y="142577"/>
                      <a:pt x="-2187" y="134005"/>
                      <a:pt x="3528" y="145435"/>
                    </a:cubicBezTo>
                    <a:cubicBezTo>
                      <a:pt x="10196" y="156865"/>
                      <a:pt x="10196" y="156865"/>
                      <a:pt x="10196" y="156865"/>
                    </a:cubicBezTo>
                    <a:cubicBezTo>
                      <a:pt x="10196" y="156865"/>
                      <a:pt x="5433" y="152102"/>
                      <a:pt x="10196" y="156865"/>
                    </a:cubicBezTo>
                    <a:cubicBezTo>
                      <a:pt x="14958" y="161627"/>
                      <a:pt x="13053" y="162580"/>
                      <a:pt x="14006" y="165437"/>
                    </a:cubicBezTo>
                    <a:cubicBezTo>
                      <a:pt x="14958" y="168295"/>
                      <a:pt x="10196" y="172105"/>
                      <a:pt x="10196" y="174962"/>
                    </a:cubicBezTo>
                    <a:cubicBezTo>
                      <a:pt x="10196" y="176867"/>
                      <a:pt x="4481" y="180677"/>
                      <a:pt x="7338" y="183535"/>
                    </a:cubicBezTo>
                    <a:cubicBezTo>
                      <a:pt x="10196" y="186392"/>
                      <a:pt x="14958" y="185440"/>
                      <a:pt x="17816" y="189250"/>
                    </a:cubicBezTo>
                    <a:cubicBezTo>
                      <a:pt x="20673" y="193060"/>
                      <a:pt x="23531" y="196870"/>
                      <a:pt x="23531" y="196870"/>
                    </a:cubicBezTo>
                    <a:cubicBezTo>
                      <a:pt x="23531" y="196870"/>
                      <a:pt x="25436" y="197822"/>
                      <a:pt x="25436" y="199727"/>
                    </a:cubicBezTo>
                    <a:cubicBezTo>
                      <a:pt x="25436" y="201632"/>
                      <a:pt x="34961" y="210205"/>
                      <a:pt x="34961" y="210205"/>
                    </a:cubicBezTo>
                    <a:cubicBezTo>
                      <a:pt x="34961" y="210205"/>
                      <a:pt x="34008" y="215920"/>
                      <a:pt x="34008" y="219730"/>
                    </a:cubicBezTo>
                    <a:cubicBezTo>
                      <a:pt x="34008" y="223540"/>
                      <a:pt x="34008" y="229255"/>
                      <a:pt x="34008" y="229255"/>
                    </a:cubicBezTo>
                    <a:cubicBezTo>
                      <a:pt x="34008" y="229255"/>
                      <a:pt x="29246" y="231160"/>
                      <a:pt x="34008" y="235922"/>
                    </a:cubicBezTo>
                    <a:cubicBezTo>
                      <a:pt x="38771" y="240685"/>
                      <a:pt x="35913" y="244495"/>
                      <a:pt x="35913" y="244495"/>
                    </a:cubicBezTo>
                    <a:cubicBezTo>
                      <a:pt x="35913" y="244495"/>
                      <a:pt x="37818" y="247352"/>
                      <a:pt x="35913" y="250210"/>
                    </a:cubicBezTo>
                    <a:cubicBezTo>
                      <a:pt x="34008" y="253067"/>
                      <a:pt x="30198" y="254020"/>
                      <a:pt x="30198" y="257830"/>
                    </a:cubicBezTo>
                    <a:cubicBezTo>
                      <a:pt x="30198" y="261640"/>
                      <a:pt x="36866" y="266402"/>
                      <a:pt x="40676" y="268307"/>
                    </a:cubicBezTo>
                    <a:cubicBezTo>
                      <a:pt x="45438" y="270212"/>
                      <a:pt x="54011" y="273070"/>
                      <a:pt x="54011" y="273070"/>
                    </a:cubicBezTo>
                    <a:cubicBezTo>
                      <a:pt x="54011" y="273070"/>
                      <a:pt x="60678" y="272117"/>
                      <a:pt x="63536" y="273070"/>
                    </a:cubicBezTo>
                    <a:cubicBezTo>
                      <a:pt x="66393" y="274022"/>
                      <a:pt x="69251" y="270212"/>
                      <a:pt x="72108" y="271165"/>
                    </a:cubicBezTo>
                    <a:cubicBezTo>
                      <a:pt x="74966" y="272117"/>
                      <a:pt x="91158" y="267355"/>
                      <a:pt x="94016" y="270212"/>
                    </a:cubicBezTo>
                    <a:cubicBezTo>
                      <a:pt x="96873" y="272117"/>
                      <a:pt x="113066" y="274975"/>
                      <a:pt x="113066" y="274975"/>
                    </a:cubicBezTo>
                    <a:lnTo>
                      <a:pt x="129258" y="269260"/>
                    </a:lnTo>
                    <a:lnTo>
                      <a:pt x="136878" y="265450"/>
                    </a:lnTo>
                    <a:cubicBezTo>
                      <a:pt x="136878" y="265450"/>
                      <a:pt x="146403" y="264497"/>
                      <a:pt x="151166" y="264497"/>
                    </a:cubicBezTo>
                    <a:cubicBezTo>
                      <a:pt x="155928" y="264497"/>
                      <a:pt x="160691" y="266402"/>
                      <a:pt x="160691" y="266402"/>
                    </a:cubicBezTo>
                    <a:cubicBezTo>
                      <a:pt x="160691" y="266402"/>
                      <a:pt x="163548" y="269260"/>
                      <a:pt x="167358" y="269260"/>
                    </a:cubicBezTo>
                    <a:cubicBezTo>
                      <a:pt x="170216" y="269260"/>
                      <a:pt x="172121" y="270212"/>
                      <a:pt x="176883" y="269260"/>
                    </a:cubicBezTo>
                    <a:cubicBezTo>
                      <a:pt x="182598" y="268307"/>
                      <a:pt x="192123" y="267355"/>
                      <a:pt x="192123" y="267355"/>
                    </a:cubicBezTo>
                    <a:lnTo>
                      <a:pt x="198791" y="263545"/>
                    </a:lnTo>
                    <a:lnTo>
                      <a:pt x="200696" y="256877"/>
                    </a:lnTo>
                    <a:cubicBezTo>
                      <a:pt x="200696" y="256877"/>
                      <a:pt x="207363" y="250210"/>
                      <a:pt x="213078" y="248305"/>
                    </a:cubicBezTo>
                    <a:cubicBezTo>
                      <a:pt x="218793" y="247352"/>
                      <a:pt x="226413" y="244495"/>
                      <a:pt x="226413" y="244495"/>
                    </a:cubicBezTo>
                    <a:cubicBezTo>
                      <a:pt x="226413" y="244495"/>
                      <a:pt x="235938" y="244495"/>
                      <a:pt x="239748" y="243542"/>
                    </a:cubicBezTo>
                    <a:cubicBezTo>
                      <a:pt x="242605" y="242590"/>
                      <a:pt x="248321" y="238780"/>
                      <a:pt x="254988" y="238780"/>
                    </a:cubicBezTo>
                    <a:cubicBezTo>
                      <a:pt x="261655" y="238780"/>
                      <a:pt x="268323" y="237827"/>
                      <a:pt x="271181" y="238780"/>
                    </a:cubicBezTo>
                    <a:cubicBezTo>
                      <a:pt x="274038" y="239732"/>
                      <a:pt x="277848" y="240685"/>
                      <a:pt x="283563" y="241637"/>
                    </a:cubicBezTo>
                    <a:cubicBezTo>
                      <a:pt x="289278" y="243542"/>
                      <a:pt x="305471" y="245447"/>
                      <a:pt x="312138" y="245447"/>
                    </a:cubicBezTo>
                    <a:cubicBezTo>
                      <a:pt x="318806" y="245447"/>
                      <a:pt x="323568" y="243542"/>
                      <a:pt x="330236" y="244495"/>
                    </a:cubicBezTo>
                    <a:cubicBezTo>
                      <a:pt x="336903" y="245447"/>
                      <a:pt x="329283" y="240685"/>
                      <a:pt x="344523" y="243542"/>
                    </a:cubicBezTo>
                    <a:cubicBezTo>
                      <a:pt x="359763" y="247352"/>
                      <a:pt x="365478" y="248305"/>
                      <a:pt x="365478" y="248305"/>
                    </a:cubicBezTo>
                    <a:cubicBezTo>
                      <a:pt x="365478" y="248305"/>
                      <a:pt x="373098" y="253067"/>
                      <a:pt x="373098" y="254972"/>
                    </a:cubicBezTo>
                    <a:cubicBezTo>
                      <a:pt x="373098" y="257830"/>
                      <a:pt x="373098" y="259735"/>
                      <a:pt x="373098" y="261640"/>
                    </a:cubicBezTo>
                    <a:cubicBezTo>
                      <a:pt x="373098" y="263545"/>
                      <a:pt x="371193" y="267355"/>
                      <a:pt x="374051" y="268307"/>
                    </a:cubicBezTo>
                    <a:cubicBezTo>
                      <a:pt x="376908" y="269260"/>
                      <a:pt x="383576" y="273070"/>
                      <a:pt x="387386" y="273070"/>
                    </a:cubicBezTo>
                    <a:cubicBezTo>
                      <a:pt x="390243" y="273070"/>
                      <a:pt x="395958" y="273070"/>
                      <a:pt x="395958" y="273070"/>
                    </a:cubicBezTo>
                    <a:lnTo>
                      <a:pt x="400721" y="269260"/>
                    </a:lnTo>
                    <a:lnTo>
                      <a:pt x="404531" y="265450"/>
                    </a:lnTo>
                    <a:cubicBezTo>
                      <a:pt x="404531" y="265450"/>
                      <a:pt x="409293" y="264497"/>
                      <a:pt x="412151" y="264497"/>
                    </a:cubicBezTo>
                    <a:cubicBezTo>
                      <a:pt x="415008" y="265450"/>
                      <a:pt x="413103" y="260687"/>
                      <a:pt x="415008" y="265450"/>
                    </a:cubicBezTo>
                    <a:cubicBezTo>
                      <a:pt x="416913" y="270212"/>
                      <a:pt x="415961" y="273070"/>
                      <a:pt x="415961" y="273070"/>
                    </a:cubicBezTo>
                    <a:cubicBezTo>
                      <a:pt x="415961" y="273070"/>
                      <a:pt x="418818" y="278785"/>
                      <a:pt x="419771" y="281642"/>
                    </a:cubicBezTo>
                    <a:cubicBezTo>
                      <a:pt x="420723" y="284500"/>
                      <a:pt x="430248" y="288310"/>
                      <a:pt x="430248" y="288310"/>
                    </a:cubicBezTo>
                    <a:lnTo>
                      <a:pt x="442631" y="290215"/>
                    </a:lnTo>
                    <a:lnTo>
                      <a:pt x="451203" y="290215"/>
                    </a:lnTo>
                    <a:cubicBezTo>
                      <a:pt x="451203" y="290215"/>
                      <a:pt x="455966" y="292120"/>
                      <a:pt x="456918" y="294025"/>
                    </a:cubicBezTo>
                    <a:cubicBezTo>
                      <a:pt x="457871" y="295930"/>
                      <a:pt x="457871" y="295930"/>
                      <a:pt x="458823" y="299740"/>
                    </a:cubicBezTo>
                    <a:cubicBezTo>
                      <a:pt x="459776" y="303550"/>
                      <a:pt x="458823" y="306407"/>
                      <a:pt x="458823" y="310217"/>
                    </a:cubicBezTo>
                    <a:cubicBezTo>
                      <a:pt x="458823" y="314027"/>
                      <a:pt x="457871" y="309265"/>
                      <a:pt x="458823" y="314027"/>
                    </a:cubicBezTo>
                    <a:cubicBezTo>
                      <a:pt x="459776" y="317837"/>
                      <a:pt x="470253" y="324505"/>
                      <a:pt x="470253" y="324505"/>
                    </a:cubicBezTo>
                    <a:lnTo>
                      <a:pt x="478826" y="326410"/>
                    </a:lnTo>
                    <a:lnTo>
                      <a:pt x="490256" y="325457"/>
                    </a:lnTo>
                    <a:lnTo>
                      <a:pt x="505496" y="324505"/>
                    </a:lnTo>
                    <a:cubicBezTo>
                      <a:pt x="505496" y="324505"/>
                      <a:pt x="502638" y="323552"/>
                      <a:pt x="514068" y="326410"/>
                    </a:cubicBezTo>
                    <a:cubicBezTo>
                      <a:pt x="526451" y="329267"/>
                      <a:pt x="536928" y="328315"/>
                      <a:pt x="536928" y="328315"/>
                    </a:cubicBezTo>
                    <a:lnTo>
                      <a:pt x="549311" y="321647"/>
                    </a:lnTo>
                    <a:lnTo>
                      <a:pt x="555978" y="321647"/>
                    </a:lnTo>
                    <a:lnTo>
                      <a:pt x="564551" y="326410"/>
                    </a:lnTo>
                    <a:lnTo>
                      <a:pt x="572171" y="329267"/>
                    </a:lnTo>
                    <a:lnTo>
                      <a:pt x="583601" y="329267"/>
                    </a:lnTo>
                    <a:cubicBezTo>
                      <a:pt x="583601" y="329267"/>
                      <a:pt x="592173" y="322600"/>
                      <a:pt x="596936" y="321647"/>
                    </a:cubicBezTo>
                    <a:cubicBezTo>
                      <a:pt x="601698" y="320695"/>
                      <a:pt x="588363" y="323552"/>
                      <a:pt x="601698" y="320695"/>
                    </a:cubicBezTo>
                    <a:cubicBezTo>
                      <a:pt x="615033" y="317837"/>
                      <a:pt x="608366" y="319742"/>
                      <a:pt x="615033" y="317837"/>
                    </a:cubicBezTo>
                    <a:cubicBezTo>
                      <a:pt x="621701" y="316885"/>
                      <a:pt x="626463" y="312122"/>
                      <a:pt x="630273" y="311170"/>
                    </a:cubicBezTo>
                    <a:cubicBezTo>
                      <a:pt x="635036" y="310217"/>
                      <a:pt x="637893" y="304502"/>
                      <a:pt x="637893" y="304502"/>
                    </a:cubicBezTo>
                    <a:lnTo>
                      <a:pt x="639798" y="295930"/>
                    </a:lnTo>
                    <a:lnTo>
                      <a:pt x="644561" y="289262"/>
                    </a:lnTo>
                    <a:lnTo>
                      <a:pt x="652181" y="285452"/>
                    </a:lnTo>
                    <a:lnTo>
                      <a:pt x="655991" y="280690"/>
                    </a:lnTo>
                    <a:cubicBezTo>
                      <a:pt x="655991" y="280690"/>
                      <a:pt x="655991" y="271165"/>
                      <a:pt x="656943" y="269260"/>
                    </a:cubicBezTo>
                    <a:cubicBezTo>
                      <a:pt x="657896" y="267355"/>
                      <a:pt x="657896" y="267355"/>
                      <a:pt x="657896" y="267355"/>
                    </a:cubicBezTo>
                    <a:cubicBezTo>
                      <a:pt x="657896" y="267355"/>
                      <a:pt x="661706" y="260687"/>
                      <a:pt x="664563" y="259735"/>
                    </a:cubicBezTo>
                    <a:cubicBezTo>
                      <a:pt x="668373" y="258782"/>
                      <a:pt x="667421" y="263545"/>
                      <a:pt x="673136" y="255925"/>
                    </a:cubicBezTo>
                    <a:cubicBezTo>
                      <a:pt x="678851" y="249257"/>
                      <a:pt x="683613" y="243542"/>
                      <a:pt x="683613" y="243542"/>
                    </a:cubicBezTo>
                    <a:lnTo>
                      <a:pt x="687423" y="230207"/>
                    </a:lnTo>
                    <a:lnTo>
                      <a:pt x="691233" y="223540"/>
                    </a:lnTo>
                    <a:lnTo>
                      <a:pt x="695043" y="207347"/>
                    </a:lnTo>
                    <a:cubicBezTo>
                      <a:pt x="695043" y="207347"/>
                      <a:pt x="693138" y="202585"/>
                      <a:pt x="695043" y="197822"/>
                    </a:cubicBezTo>
                    <a:cubicBezTo>
                      <a:pt x="696948" y="194012"/>
                      <a:pt x="696948" y="182582"/>
                      <a:pt x="696948" y="182582"/>
                    </a:cubicBezTo>
                    <a:lnTo>
                      <a:pt x="696948" y="176867"/>
                    </a:lnTo>
                    <a:lnTo>
                      <a:pt x="694091" y="169247"/>
                    </a:lnTo>
                    <a:lnTo>
                      <a:pt x="691233" y="162580"/>
                    </a:lnTo>
                    <a:cubicBezTo>
                      <a:pt x="691233" y="162580"/>
                      <a:pt x="684566" y="157817"/>
                      <a:pt x="683613" y="154960"/>
                    </a:cubicBezTo>
                    <a:cubicBezTo>
                      <a:pt x="682661" y="152102"/>
                      <a:pt x="675041" y="147340"/>
                      <a:pt x="675041" y="147340"/>
                    </a:cubicBezTo>
                    <a:lnTo>
                      <a:pt x="667421" y="142577"/>
                    </a:lnTo>
                    <a:lnTo>
                      <a:pt x="650276" y="130195"/>
                    </a:lnTo>
                    <a:cubicBezTo>
                      <a:pt x="650276" y="130195"/>
                      <a:pt x="637893" y="122575"/>
                      <a:pt x="637893" y="120670"/>
                    </a:cubicBezTo>
                    <a:cubicBezTo>
                      <a:pt x="637893" y="118765"/>
                      <a:pt x="628368" y="105430"/>
                      <a:pt x="628368" y="105430"/>
                    </a:cubicBezTo>
                    <a:lnTo>
                      <a:pt x="612176" y="96857"/>
                    </a:lnTo>
                    <a:lnTo>
                      <a:pt x="597888" y="94952"/>
                    </a:lnTo>
                    <a:lnTo>
                      <a:pt x="580743" y="79712"/>
                    </a:lnTo>
                    <a:cubicBezTo>
                      <a:pt x="580743" y="79712"/>
                      <a:pt x="575981" y="75902"/>
                      <a:pt x="573123" y="74950"/>
                    </a:cubicBezTo>
                    <a:cubicBezTo>
                      <a:pt x="570266" y="73045"/>
                      <a:pt x="566456" y="71140"/>
                      <a:pt x="565503" y="68282"/>
                    </a:cubicBezTo>
                    <a:cubicBezTo>
                      <a:pt x="564551" y="65425"/>
                      <a:pt x="563598" y="58757"/>
                      <a:pt x="563598" y="58757"/>
                    </a:cubicBezTo>
                    <a:lnTo>
                      <a:pt x="557883" y="53042"/>
                    </a:lnTo>
                    <a:lnTo>
                      <a:pt x="555026" y="42565"/>
                    </a:lnTo>
                    <a:lnTo>
                      <a:pt x="552168" y="35897"/>
                    </a:lnTo>
                    <a:lnTo>
                      <a:pt x="546453" y="31135"/>
                    </a:lnTo>
                    <a:lnTo>
                      <a:pt x="541691" y="28277"/>
                    </a:lnTo>
                    <a:lnTo>
                      <a:pt x="535976" y="22562"/>
                    </a:lnTo>
                    <a:lnTo>
                      <a:pt x="532166" y="16847"/>
                    </a:lnTo>
                    <a:lnTo>
                      <a:pt x="523593" y="13990"/>
                    </a:lnTo>
                    <a:lnTo>
                      <a:pt x="517878" y="13990"/>
                    </a:lnTo>
                    <a:lnTo>
                      <a:pt x="504543" y="16847"/>
                    </a:lnTo>
                    <a:lnTo>
                      <a:pt x="499781" y="16847"/>
                    </a:lnTo>
                    <a:lnTo>
                      <a:pt x="495018" y="18752"/>
                    </a:lnTo>
                    <a:close/>
                  </a:path>
                </a:pathLst>
              </a:custGeom>
              <a:grpFill/>
              <a:ln w="9525" cap="flat">
                <a:noFill/>
                <a:prstDash val="solid"/>
                <a:miter/>
              </a:ln>
            </p:spPr>
            <p:txBody>
              <a:bodyPr rtlCol="0" anchor="ctr"/>
              <a:lstStyle/>
              <a:p>
                <a:endParaRPr lang="en-US" sz="1765"/>
              </a:p>
            </p:txBody>
          </p:sp>
          <p:sp>
            <p:nvSpPr>
              <p:cNvPr id="308" name="Freeform: Shape 307">
                <a:extLst>
                  <a:ext uri="{FF2B5EF4-FFF2-40B4-BE49-F238E27FC236}">
                    <a16:creationId xmlns:a16="http://schemas.microsoft.com/office/drawing/2014/main" id="{30610D34-9A51-4314-8F63-056538CA0BF7}"/>
                  </a:ext>
                </a:extLst>
              </p:cNvPr>
              <p:cNvSpPr/>
              <p:nvPr/>
            </p:nvSpPr>
            <p:spPr>
              <a:xfrm>
                <a:off x="10716339" y="4552679"/>
                <a:ext cx="49796" cy="30856"/>
              </a:xfrm>
              <a:custGeom>
                <a:avLst/>
                <a:gdLst>
                  <a:gd name="connsiteX0" fmla="*/ 43129 w 49796"/>
                  <a:gd name="connsiteY0" fmla="*/ 0 h 30856"/>
                  <a:gd name="connsiteX1" fmla="*/ 34557 w 49796"/>
                  <a:gd name="connsiteY1" fmla="*/ 953 h 30856"/>
                  <a:gd name="connsiteX2" fmla="*/ 16459 w 49796"/>
                  <a:gd name="connsiteY2" fmla="*/ 953 h 30856"/>
                  <a:gd name="connsiteX3" fmla="*/ 8839 w 49796"/>
                  <a:gd name="connsiteY3" fmla="*/ 953 h 30856"/>
                  <a:gd name="connsiteX4" fmla="*/ 2172 w 49796"/>
                  <a:gd name="connsiteY4" fmla="*/ 3810 h 30856"/>
                  <a:gd name="connsiteX5" fmla="*/ 1219 w 49796"/>
                  <a:gd name="connsiteY5" fmla="*/ 7620 h 30856"/>
                  <a:gd name="connsiteX6" fmla="*/ 267 w 49796"/>
                  <a:gd name="connsiteY6" fmla="*/ 17145 h 30856"/>
                  <a:gd name="connsiteX7" fmla="*/ 1219 w 49796"/>
                  <a:gd name="connsiteY7" fmla="*/ 20955 h 30856"/>
                  <a:gd name="connsiteX8" fmla="*/ 2172 w 49796"/>
                  <a:gd name="connsiteY8" fmla="*/ 27622 h 30856"/>
                  <a:gd name="connsiteX9" fmla="*/ 18364 w 49796"/>
                  <a:gd name="connsiteY9" fmla="*/ 30480 h 30856"/>
                  <a:gd name="connsiteX10" fmla="*/ 23127 w 49796"/>
                  <a:gd name="connsiteY10" fmla="*/ 26670 h 30856"/>
                  <a:gd name="connsiteX11" fmla="*/ 26937 w 49796"/>
                  <a:gd name="connsiteY11" fmla="*/ 26670 h 30856"/>
                  <a:gd name="connsiteX12" fmla="*/ 39319 w 49796"/>
                  <a:gd name="connsiteY12" fmla="*/ 22860 h 30856"/>
                  <a:gd name="connsiteX13" fmla="*/ 44082 w 49796"/>
                  <a:gd name="connsiteY13" fmla="*/ 21908 h 30856"/>
                  <a:gd name="connsiteX14" fmla="*/ 48844 w 49796"/>
                  <a:gd name="connsiteY14" fmla="*/ 19050 h 30856"/>
                  <a:gd name="connsiteX15" fmla="*/ 49797 w 49796"/>
                  <a:gd name="connsiteY15" fmla="*/ 12383 h 30856"/>
                  <a:gd name="connsiteX16" fmla="*/ 46939 w 49796"/>
                  <a:gd name="connsiteY16" fmla="*/ 4763 h 30856"/>
                  <a:gd name="connsiteX17" fmla="*/ 43129 w 49796"/>
                  <a:gd name="connsiteY17" fmla="*/ 0 h 3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796" h="30856">
                    <a:moveTo>
                      <a:pt x="43129" y="0"/>
                    </a:moveTo>
                    <a:lnTo>
                      <a:pt x="34557" y="953"/>
                    </a:lnTo>
                    <a:lnTo>
                      <a:pt x="16459" y="953"/>
                    </a:lnTo>
                    <a:lnTo>
                      <a:pt x="8839" y="953"/>
                    </a:lnTo>
                    <a:cubicBezTo>
                      <a:pt x="8839" y="953"/>
                      <a:pt x="3124" y="0"/>
                      <a:pt x="2172" y="3810"/>
                    </a:cubicBezTo>
                    <a:cubicBezTo>
                      <a:pt x="1219" y="7620"/>
                      <a:pt x="1219" y="2858"/>
                      <a:pt x="1219" y="7620"/>
                    </a:cubicBezTo>
                    <a:cubicBezTo>
                      <a:pt x="1219" y="12383"/>
                      <a:pt x="-686" y="14288"/>
                      <a:pt x="267" y="17145"/>
                    </a:cubicBezTo>
                    <a:cubicBezTo>
                      <a:pt x="1219" y="20955"/>
                      <a:pt x="267" y="14288"/>
                      <a:pt x="1219" y="20955"/>
                    </a:cubicBezTo>
                    <a:cubicBezTo>
                      <a:pt x="2172" y="27622"/>
                      <a:pt x="-1638" y="21908"/>
                      <a:pt x="2172" y="27622"/>
                    </a:cubicBezTo>
                    <a:cubicBezTo>
                      <a:pt x="5982" y="32385"/>
                      <a:pt x="18364" y="30480"/>
                      <a:pt x="18364" y="30480"/>
                    </a:cubicBezTo>
                    <a:cubicBezTo>
                      <a:pt x="18364" y="30480"/>
                      <a:pt x="19317" y="26670"/>
                      <a:pt x="23127" y="26670"/>
                    </a:cubicBezTo>
                    <a:cubicBezTo>
                      <a:pt x="26937" y="26670"/>
                      <a:pt x="21222" y="24765"/>
                      <a:pt x="26937" y="26670"/>
                    </a:cubicBezTo>
                    <a:cubicBezTo>
                      <a:pt x="32652" y="28575"/>
                      <a:pt x="39319" y="22860"/>
                      <a:pt x="39319" y="22860"/>
                    </a:cubicBezTo>
                    <a:lnTo>
                      <a:pt x="44082" y="21908"/>
                    </a:lnTo>
                    <a:cubicBezTo>
                      <a:pt x="44082" y="21908"/>
                      <a:pt x="47892" y="20955"/>
                      <a:pt x="48844" y="19050"/>
                    </a:cubicBezTo>
                    <a:cubicBezTo>
                      <a:pt x="49797" y="17145"/>
                      <a:pt x="49797" y="12383"/>
                      <a:pt x="49797" y="12383"/>
                    </a:cubicBezTo>
                    <a:lnTo>
                      <a:pt x="46939" y="4763"/>
                    </a:lnTo>
                    <a:lnTo>
                      <a:pt x="43129" y="0"/>
                    </a:lnTo>
                    <a:close/>
                  </a:path>
                </a:pathLst>
              </a:custGeom>
              <a:grpFill/>
              <a:ln w="9525" cap="flat">
                <a:noFill/>
                <a:prstDash val="solid"/>
                <a:miter/>
              </a:ln>
            </p:spPr>
            <p:txBody>
              <a:bodyPr rtlCol="0" anchor="ctr"/>
              <a:lstStyle/>
              <a:p>
                <a:endParaRPr lang="en-US" sz="1765"/>
              </a:p>
            </p:txBody>
          </p:sp>
          <p:sp>
            <p:nvSpPr>
              <p:cNvPr id="309" name="Freeform: Shape 308">
                <a:extLst>
                  <a:ext uri="{FF2B5EF4-FFF2-40B4-BE49-F238E27FC236}">
                    <a16:creationId xmlns:a16="http://schemas.microsoft.com/office/drawing/2014/main" id="{E31CE1C3-EBF9-4ECE-92CC-8C107CA002AB}"/>
                  </a:ext>
                </a:extLst>
              </p:cNvPr>
              <p:cNvSpPr/>
              <p:nvPr/>
            </p:nvSpPr>
            <p:spPr>
              <a:xfrm>
                <a:off x="11071889" y="4560299"/>
                <a:ext cx="126682" cy="72389"/>
              </a:xfrm>
              <a:custGeom>
                <a:avLst/>
                <a:gdLst>
                  <a:gd name="connsiteX0" fmla="*/ 126682 w 126682"/>
                  <a:gd name="connsiteY0" fmla="*/ 1905 h 72389"/>
                  <a:gd name="connsiteX1" fmla="*/ 123825 w 126682"/>
                  <a:gd name="connsiteY1" fmla="*/ 10477 h 72389"/>
                  <a:gd name="connsiteX2" fmla="*/ 120968 w 126682"/>
                  <a:gd name="connsiteY2" fmla="*/ 20002 h 72389"/>
                  <a:gd name="connsiteX3" fmla="*/ 114300 w 126682"/>
                  <a:gd name="connsiteY3" fmla="*/ 29527 h 72389"/>
                  <a:gd name="connsiteX4" fmla="*/ 96202 w 126682"/>
                  <a:gd name="connsiteY4" fmla="*/ 37147 h 72389"/>
                  <a:gd name="connsiteX5" fmla="*/ 90488 w 126682"/>
                  <a:gd name="connsiteY5" fmla="*/ 40005 h 72389"/>
                  <a:gd name="connsiteX6" fmla="*/ 83820 w 126682"/>
                  <a:gd name="connsiteY6" fmla="*/ 43815 h 72389"/>
                  <a:gd name="connsiteX7" fmla="*/ 83820 w 126682"/>
                  <a:gd name="connsiteY7" fmla="*/ 47625 h 72389"/>
                  <a:gd name="connsiteX8" fmla="*/ 80010 w 126682"/>
                  <a:gd name="connsiteY8" fmla="*/ 57150 h 72389"/>
                  <a:gd name="connsiteX9" fmla="*/ 75248 w 126682"/>
                  <a:gd name="connsiteY9" fmla="*/ 61913 h 72389"/>
                  <a:gd name="connsiteX10" fmla="*/ 64770 w 126682"/>
                  <a:gd name="connsiteY10" fmla="*/ 67627 h 72389"/>
                  <a:gd name="connsiteX11" fmla="*/ 57150 w 126682"/>
                  <a:gd name="connsiteY11" fmla="*/ 69533 h 72389"/>
                  <a:gd name="connsiteX12" fmla="*/ 40957 w 126682"/>
                  <a:gd name="connsiteY12" fmla="*/ 71438 h 72389"/>
                  <a:gd name="connsiteX13" fmla="*/ 25718 w 126682"/>
                  <a:gd name="connsiteY13" fmla="*/ 72390 h 72389"/>
                  <a:gd name="connsiteX14" fmla="*/ 14288 w 126682"/>
                  <a:gd name="connsiteY14" fmla="*/ 72390 h 72389"/>
                  <a:gd name="connsiteX15" fmla="*/ 1905 w 126682"/>
                  <a:gd name="connsiteY15" fmla="*/ 70485 h 72389"/>
                  <a:gd name="connsiteX16" fmla="*/ 0 w 126682"/>
                  <a:gd name="connsiteY16" fmla="*/ 61913 h 72389"/>
                  <a:gd name="connsiteX17" fmla="*/ 0 w 126682"/>
                  <a:gd name="connsiteY17" fmla="*/ 55245 h 72389"/>
                  <a:gd name="connsiteX18" fmla="*/ 5715 w 126682"/>
                  <a:gd name="connsiteY18" fmla="*/ 48577 h 72389"/>
                  <a:gd name="connsiteX19" fmla="*/ 16193 w 126682"/>
                  <a:gd name="connsiteY19" fmla="*/ 43815 h 72389"/>
                  <a:gd name="connsiteX20" fmla="*/ 24765 w 126682"/>
                  <a:gd name="connsiteY20" fmla="*/ 42863 h 72389"/>
                  <a:gd name="connsiteX21" fmla="*/ 40957 w 126682"/>
                  <a:gd name="connsiteY21" fmla="*/ 39052 h 72389"/>
                  <a:gd name="connsiteX22" fmla="*/ 60007 w 126682"/>
                  <a:gd name="connsiteY22" fmla="*/ 32385 h 72389"/>
                  <a:gd name="connsiteX23" fmla="*/ 73343 w 126682"/>
                  <a:gd name="connsiteY23" fmla="*/ 22860 h 72389"/>
                  <a:gd name="connsiteX24" fmla="*/ 84773 w 126682"/>
                  <a:gd name="connsiteY24" fmla="*/ 9525 h 72389"/>
                  <a:gd name="connsiteX25" fmla="*/ 91440 w 126682"/>
                  <a:gd name="connsiteY25" fmla="*/ 6667 h 72389"/>
                  <a:gd name="connsiteX26" fmla="*/ 97155 w 126682"/>
                  <a:gd name="connsiteY26" fmla="*/ 2858 h 72389"/>
                  <a:gd name="connsiteX27" fmla="*/ 108585 w 126682"/>
                  <a:gd name="connsiteY27" fmla="*/ 0 h 72389"/>
                  <a:gd name="connsiteX28" fmla="*/ 116205 w 126682"/>
                  <a:gd name="connsiteY28" fmla="*/ 0 h 72389"/>
                  <a:gd name="connsiteX29" fmla="*/ 126682 w 126682"/>
                  <a:gd name="connsiteY29" fmla="*/ 1905 h 7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6682" h="72389">
                    <a:moveTo>
                      <a:pt x="126682" y="1905"/>
                    </a:moveTo>
                    <a:cubicBezTo>
                      <a:pt x="126682" y="1905"/>
                      <a:pt x="124777" y="7620"/>
                      <a:pt x="123825" y="10477"/>
                    </a:cubicBezTo>
                    <a:cubicBezTo>
                      <a:pt x="123825" y="13335"/>
                      <a:pt x="122873" y="15240"/>
                      <a:pt x="120968" y="20002"/>
                    </a:cubicBezTo>
                    <a:cubicBezTo>
                      <a:pt x="120015" y="23813"/>
                      <a:pt x="122873" y="23813"/>
                      <a:pt x="114300" y="29527"/>
                    </a:cubicBezTo>
                    <a:cubicBezTo>
                      <a:pt x="105727" y="35242"/>
                      <a:pt x="96202" y="37147"/>
                      <a:pt x="96202" y="37147"/>
                    </a:cubicBezTo>
                    <a:cubicBezTo>
                      <a:pt x="96202" y="37147"/>
                      <a:pt x="91440" y="38100"/>
                      <a:pt x="90488" y="40005"/>
                    </a:cubicBezTo>
                    <a:cubicBezTo>
                      <a:pt x="89535" y="41910"/>
                      <a:pt x="83820" y="40005"/>
                      <a:pt x="83820" y="43815"/>
                    </a:cubicBezTo>
                    <a:cubicBezTo>
                      <a:pt x="83820" y="47625"/>
                      <a:pt x="84773" y="42863"/>
                      <a:pt x="83820" y="47625"/>
                    </a:cubicBezTo>
                    <a:cubicBezTo>
                      <a:pt x="82868" y="51435"/>
                      <a:pt x="80010" y="57150"/>
                      <a:pt x="80010" y="57150"/>
                    </a:cubicBezTo>
                    <a:cubicBezTo>
                      <a:pt x="80010" y="57150"/>
                      <a:pt x="80963" y="58102"/>
                      <a:pt x="75248" y="61913"/>
                    </a:cubicBezTo>
                    <a:cubicBezTo>
                      <a:pt x="69532" y="65722"/>
                      <a:pt x="73343" y="65722"/>
                      <a:pt x="64770" y="67627"/>
                    </a:cubicBezTo>
                    <a:cubicBezTo>
                      <a:pt x="57150" y="69533"/>
                      <a:pt x="63818" y="68580"/>
                      <a:pt x="57150" y="69533"/>
                    </a:cubicBezTo>
                    <a:cubicBezTo>
                      <a:pt x="50482" y="70485"/>
                      <a:pt x="40957" y="71438"/>
                      <a:pt x="40957" y="71438"/>
                    </a:cubicBezTo>
                    <a:lnTo>
                      <a:pt x="25718" y="72390"/>
                    </a:lnTo>
                    <a:lnTo>
                      <a:pt x="14288" y="72390"/>
                    </a:lnTo>
                    <a:lnTo>
                      <a:pt x="1905" y="70485"/>
                    </a:lnTo>
                    <a:cubicBezTo>
                      <a:pt x="1905" y="70485"/>
                      <a:pt x="0" y="63817"/>
                      <a:pt x="0" y="61913"/>
                    </a:cubicBezTo>
                    <a:cubicBezTo>
                      <a:pt x="0" y="60008"/>
                      <a:pt x="0" y="55245"/>
                      <a:pt x="0" y="55245"/>
                    </a:cubicBezTo>
                    <a:lnTo>
                      <a:pt x="5715" y="48577"/>
                    </a:lnTo>
                    <a:lnTo>
                      <a:pt x="16193" y="43815"/>
                    </a:lnTo>
                    <a:cubicBezTo>
                      <a:pt x="16193" y="43815"/>
                      <a:pt x="20955" y="42863"/>
                      <a:pt x="24765" y="42863"/>
                    </a:cubicBezTo>
                    <a:cubicBezTo>
                      <a:pt x="29527" y="42863"/>
                      <a:pt x="36195" y="40005"/>
                      <a:pt x="40957" y="39052"/>
                    </a:cubicBezTo>
                    <a:cubicBezTo>
                      <a:pt x="46673" y="38100"/>
                      <a:pt x="56198" y="32385"/>
                      <a:pt x="60007" y="32385"/>
                    </a:cubicBezTo>
                    <a:cubicBezTo>
                      <a:pt x="62865" y="31433"/>
                      <a:pt x="71438" y="25717"/>
                      <a:pt x="73343" y="22860"/>
                    </a:cubicBezTo>
                    <a:cubicBezTo>
                      <a:pt x="75248" y="20002"/>
                      <a:pt x="84773" y="9525"/>
                      <a:pt x="84773" y="9525"/>
                    </a:cubicBezTo>
                    <a:lnTo>
                      <a:pt x="91440" y="6667"/>
                    </a:lnTo>
                    <a:cubicBezTo>
                      <a:pt x="91440" y="6667"/>
                      <a:pt x="85725" y="4763"/>
                      <a:pt x="97155" y="2858"/>
                    </a:cubicBezTo>
                    <a:cubicBezTo>
                      <a:pt x="108585" y="0"/>
                      <a:pt x="108585" y="0"/>
                      <a:pt x="108585" y="0"/>
                    </a:cubicBezTo>
                    <a:lnTo>
                      <a:pt x="116205" y="0"/>
                    </a:lnTo>
                    <a:lnTo>
                      <a:pt x="126682" y="1905"/>
                    </a:lnTo>
                    <a:close/>
                  </a:path>
                </a:pathLst>
              </a:custGeom>
              <a:grpFill/>
              <a:ln w="9525" cap="flat">
                <a:noFill/>
                <a:prstDash val="solid"/>
                <a:miter/>
              </a:ln>
            </p:spPr>
            <p:txBody>
              <a:bodyPr rtlCol="0" anchor="ctr"/>
              <a:lstStyle/>
              <a:p>
                <a:endParaRPr lang="en-US" sz="1765"/>
              </a:p>
            </p:txBody>
          </p:sp>
          <p:sp>
            <p:nvSpPr>
              <p:cNvPr id="310" name="Freeform: Shape 309">
                <a:extLst>
                  <a:ext uri="{FF2B5EF4-FFF2-40B4-BE49-F238E27FC236}">
                    <a16:creationId xmlns:a16="http://schemas.microsoft.com/office/drawing/2014/main" id="{680BC5FF-6821-4DE0-B189-FDF5745C9540}"/>
                  </a:ext>
                </a:extLst>
              </p:cNvPr>
              <p:cNvSpPr/>
              <p:nvPr/>
            </p:nvSpPr>
            <p:spPr>
              <a:xfrm>
                <a:off x="11193808" y="4475526"/>
                <a:ext cx="84894" cy="90381"/>
              </a:xfrm>
              <a:custGeom>
                <a:avLst/>
                <a:gdLst>
                  <a:gd name="connsiteX0" fmla="*/ 4763 w 84894"/>
                  <a:gd name="connsiteY0" fmla="*/ 953 h 90381"/>
                  <a:gd name="connsiteX1" fmla="*/ 3810 w 84894"/>
                  <a:gd name="connsiteY1" fmla="*/ 4763 h 90381"/>
                  <a:gd name="connsiteX2" fmla="*/ 6668 w 84894"/>
                  <a:gd name="connsiteY2" fmla="*/ 12383 h 90381"/>
                  <a:gd name="connsiteX3" fmla="*/ 953 w 84894"/>
                  <a:gd name="connsiteY3" fmla="*/ 20003 h 90381"/>
                  <a:gd name="connsiteX4" fmla="*/ 6668 w 84894"/>
                  <a:gd name="connsiteY4" fmla="*/ 27623 h 90381"/>
                  <a:gd name="connsiteX5" fmla="*/ 14288 w 84894"/>
                  <a:gd name="connsiteY5" fmla="*/ 30480 h 90381"/>
                  <a:gd name="connsiteX6" fmla="*/ 19050 w 84894"/>
                  <a:gd name="connsiteY6" fmla="*/ 34290 h 90381"/>
                  <a:gd name="connsiteX7" fmla="*/ 19050 w 84894"/>
                  <a:gd name="connsiteY7" fmla="*/ 45720 h 90381"/>
                  <a:gd name="connsiteX8" fmla="*/ 18098 w 84894"/>
                  <a:gd name="connsiteY8" fmla="*/ 50483 h 90381"/>
                  <a:gd name="connsiteX9" fmla="*/ 12382 w 84894"/>
                  <a:gd name="connsiteY9" fmla="*/ 53340 h 90381"/>
                  <a:gd name="connsiteX10" fmla="*/ 9525 w 84894"/>
                  <a:gd name="connsiteY10" fmla="*/ 60008 h 90381"/>
                  <a:gd name="connsiteX11" fmla="*/ 23813 w 84894"/>
                  <a:gd name="connsiteY11" fmla="*/ 68580 h 90381"/>
                  <a:gd name="connsiteX12" fmla="*/ 24765 w 84894"/>
                  <a:gd name="connsiteY12" fmla="*/ 72390 h 90381"/>
                  <a:gd name="connsiteX13" fmla="*/ 24765 w 84894"/>
                  <a:gd name="connsiteY13" fmla="*/ 79058 h 90381"/>
                  <a:gd name="connsiteX14" fmla="*/ 27623 w 84894"/>
                  <a:gd name="connsiteY14" fmla="*/ 85725 h 90381"/>
                  <a:gd name="connsiteX15" fmla="*/ 35243 w 84894"/>
                  <a:gd name="connsiteY15" fmla="*/ 87630 h 90381"/>
                  <a:gd name="connsiteX16" fmla="*/ 47625 w 84894"/>
                  <a:gd name="connsiteY16" fmla="*/ 89535 h 90381"/>
                  <a:gd name="connsiteX17" fmla="*/ 55245 w 84894"/>
                  <a:gd name="connsiteY17" fmla="*/ 89535 h 90381"/>
                  <a:gd name="connsiteX18" fmla="*/ 60007 w 84894"/>
                  <a:gd name="connsiteY18" fmla="*/ 82868 h 90381"/>
                  <a:gd name="connsiteX19" fmla="*/ 62865 w 84894"/>
                  <a:gd name="connsiteY19" fmla="*/ 73343 h 90381"/>
                  <a:gd name="connsiteX20" fmla="*/ 69532 w 84894"/>
                  <a:gd name="connsiteY20" fmla="*/ 69533 h 90381"/>
                  <a:gd name="connsiteX21" fmla="*/ 78105 w 84894"/>
                  <a:gd name="connsiteY21" fmla="*/ 61913 h 90381"/>
                  <a:gd name="connsiteX22" fmla="*/ 79057 w 84894"/>
                  <a:gd name="connsiteY22" fmla="*/ 50483 h 90381"/>
                  <a:gd name="connsiteX23" fmla="*/ 84773 w 84894"/>
                  <a:gd name="connsiteY23" fmla="*/ 38100 h 90381"/>
                  <a:gd name="connsiteX24" fmla="*/ 75248 w 84894"/>
                  <a:gd name="connsiteY24" fmla="*/ 30480 h 90381"/>
                  <a:gd name="connsiteX25" fmla="*/ 60960 w 84894"/>
                  <a:gd name="connsiteY25" fmla="*/ 30480 h 90381"/>
                  <a:gd name="connsiteX26" fmla="*/ 44768 w 84894"/>
                  <a:gd name="connsiteY26" fmla="*/ 19050 h 90381"/>
                  <a:gd name="connsiteX27" fmla="*/ 33338 w 84894"/>
                  <a:gd name="connsiteY27" fmla="*/ 17145 h 90381"/>
                  <a:gd name="connsiteX28" fmla="*/ 26670 w 84894"/>
                  <a:gd name="connsiteY28" fmla="*/ 14288 h 90381"/>
                  <a:gd name="connsiteX29" fmla="*/ 20955 w 84894"/>
                  <a:gd name="connsiteY29" fmla="*/ 6668 h 90381"/>
                  <a:gd name="connsiteX30" fmla="*/ 16193 w 84894"/>
                  <a:gd name="connsiteY30" fmla="*/ 4763 h 90381"/>
                  <a:gd name="connsiteX31" fmla="*/ 0 w 84894"/>
                  <a:gd name="connsiteY31" fmla="*/ 0 h 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894" h="90381">
                    <a:moveTo>
                      <a:pt x="4763" y="953"/>
                    </a:moveTo>
                    <a:cubicBezTo>
                      <a:pt x="4763" y="953"/>
                      <a:pt x="1905" y="0"/>
                      <a:pt x="3810" y="4763"/>
                    </a:cubicBezTo>
                    <a:cubicBezTo>
                      <a:pt x="5715" y="9525"/>
                      <a:pt x="6668" y="9525"/>
                      <a:pt x="6668" y="12383"/>
                    </a:cubicBezTo>
                    <a:cubicBezTo>
                      <a:pt x="6668" y="15240"/>
                      <a:pt x="0" y="16193"/>
                      <a:pt x="953" y="20003"/>
                    </a:cubicBezTo>
                    <a:cubicBezTo>
                      <a:pt x="1905" y="23813"/>
                      <a:pt x="6668" y="27623"/>
                      <a:pt x="6668" y="27623"/>
                    </a:cubicBezTo>
                    <a:lnTo>
                      <a:pt x="14288" y="30480"/>
                    </a:lnTo>
                    <a:lnTo>
                      <a:pt x="19050" y="34290"/>
                    </a:lnTo>
                    <a:cubicBezTo>
                      <a:pt x="19050" y="34290"/>
                      <a:pt x="19050" y="43815"/>
                      <a:pt x="19050" y="45720"/>
                    </a:cubicBezTo>
                    <a:cubicBezTo>
                      <a:pt x="19050" y="47625"/>
                      <a:pt x="18098" y="50483"/>
                      <a:pt x="18098" y="50483"/>
                    </a:cubicBezTo>
                    <a:cubicBezTo>
                      <a:pt x="18098" y="50483"/>
                      <a:pt x="12382" y="50483"/>
                      <a:pt x="12382" y="53340"/>
                    </a:cubicBezTo>
                    <a:cubicBezTo>
                      <a:pt x="12382" y="56198"/>
                      <a:pt x="8573" y="57150"/>
                      <a:pt x="9525" y="60008"/>
                    </a:cubicBezTo>
                    <a:cubicBezTo>
                      <a:pt x="10478" y="61913"/>
                      <a:pt x="23813" y="68580"/>
                      <a:pt x="23813" y="68580"/>
                    </a:cubicBezTo>
                    <a:cubicBezTo>
                      <a:pt x="23813" y="68580"/>
                      <a:pt x="24765" y="67628"/>
                      <a:pt x="24765" y="72390"/>
                    </a:cubicBezTo>
                    <a:cubicBezTo>
                      <a:pt x="24765" y="76200"/>
                      <a:pt x="20955" y="73343"/>
                      <a:pt x="24765" y="79058"/>
                    </a:cubicBezTo>
                    <a:cubicBezTo>
                      <a:pt x="27623" y="85725"/>
                      <a:pt x="27623" y="85725"/>
                      <a:pt x="27623" y="85725"/>
                    </a:cubicBezTo>
                    <a:cubicBezTo>
                      <a:pt x="27623" y="85725"/>
                      <a:pt x="32385" y="85725"/>
                      <a:pt x="35243" y="87630"/>
                    </a:cubicBezTo>
                    <a:cubicBezTo>
                      <a:pt x="38100" y="89535"/>
                      <a:pt x="47625" y="89535"/>
                      <a:pt x="47625" y="89535"/>
                    </a:cubicBezTo>
                    <a:cubicBezTo>
                      <a:pt x="47625" y="89535"/>
                      <a:pt x="52388" y="91440"/>
                      <a:pt x="55245" y="89535"/>
                    </a:cubicBezTo>
                    <a:cubicBezTo>
                      <a:pt x="58103" y="87630"/>
                      <a:pt x="60007" y="82868"/>
                      <a:pt x="60007" y="82868"/>
                    </a:cubicBezTo>
                    <a:lnTo>
                      <a:pt x="62865" y="73343"/>
                    </a:lnTo>
                    <a:cubicBezTo>
                      <a:pt x="62865" y="73343"/>
                      <a:pt x="66675" y="70485"/>
                      <a:pt x="69532" y="69533"/>
                    </a:cubicBezTo>
                    <a:cubicBezTo>
                      <a:pt x="72390" y="68580"/>
                      <a:pt x="77153" y="63818"/>
                      <a:pt x="78105" y="61913"/>
                    </a:cubicBezTo>
                    <a:cubicBezTo>
                      <a:pt x="79057" y="60008"/>
                      <a:pt x="79057" y="50483"/>
                      <a:pt x="79057" y="50483"/>
                    </a:cubicBezTo>
                    <a:cubicBezTo>
                      <a:pt x="82868" y="45720"/>
                      <a:pt x="83820" y="40958"/>
                      <a:pt x="84773" y="38100"/>
                    </a:cubicBezTo>
                    <a:cubicBezTo>
                      <a:pt x="85725" y="36195"/>
                      <a:pt x="80963" y="29528"/>
                      <a:pt x="75248" y="30480"/>
                    </a:cubicBezTo>
                    <a:cubicBezTo>
                      <a:pt x="69532" y="31433"/>
                      <a:pt x="60960" y="30480"/>
                      <a:pt x="60960" y="30480"/>
                    </a:cubicBezTo>
                    <a:lnTo>
                      <a:pt x="44768" y="19050"/>
                    </a:lnTo>
                    <a:lnTo>
                      <a:pt x="33338" y="17145"/>
                    </a:lnTo>
                    <a:lnTo>
                      <a:pt x="26670" y="14288"/>
                    </a:lnTo>
                    <a:lnTo>
                      <a:pt x="20955" y="6668"/>
                    </a:lnTo>
                    <a:lnTo>
                      <a:pt x="16193" y="4763"/>
                    </a:lnTo>
                    <a:lnTo>
                      <a:pt x="0" y="0"/>
                    </a:lnTo>
                  </a:path>
                </a:pathLst>
              </a:custGeom>
              <a:grpFill/>
              <a:ln w="9525" cap="flat">
                <a:noFill/>
                <a:prstDash val="solid"/>
                <a:miter/>
              </a:ln>
            </p:spPr>
            <p:txBody>
              <a:bodyPr rtlCol="0" anchor="ctr"/>
              <a:lstStyle/>
              <a:p>
                <a:endParaRPr lang="en-US" sz="1765"/>
              </a:p>
            </p:txBody>
          </p:sp>
          <p:sp>
            <p:nvSpPr>
              <p:cNvPr id="311" name="Freeform: Shape 310">
                <a:extLst>
                  <a:ext uri="{FF2B5EF4-FFF2-40B4-BE49-F238E27FC236}">
                    <a16:creationId xmlns:a16="http://schemas.microsoft.com/office/drawing/2014/main" id="{ABB82C9D-3F92-42E0-8CD1-1C58E292DE4B}"/>
                  </a:ext>
                </a:extLst>
              </p:cNvPr>
              <p:cNvSpPr/>
              <p:nvPr/>
            </p:nvSpPr>
            <p:spPr>
              <a:xfrm>
                <a:off x="10425141" y="4101908"/>
                <a:ext cx="44767" cy="14525"/>
              </a:xfrm>
              <a:custGeom>
                <a:avLst/>
                <a:gdLst>
                  <a:gd name="connsiteX0" fmla="*/ 3810 w 44767"/>
                  <a:gd name="connsiteY0" fmla="*/ 6906 h 14525"/>
                  <a:gd name="connsiteX1" fmla="*/ 5715 w 44767"/>
                  <a:gd name="connsiteY1" fmla="*/ 4048 h 14525"/>
                  <a:gd name="connsiteX2" fmla="*/ 10478 w 44767"/>
                  <a:gd name="connsiteY2" fmla="*/ 1191 h 14525"/>
                  <a:gd name="connsiteX3" fmla="*/ 24765 w 44767"/>
                  <a:gd name="connsiteY3" fmla="*/ 238 h 14525"/>
                  <a:gd name="connsiteX4" fmla="*/ 37148 w 44767"/>
                  <a:gd name="connsiteY4" fmla="*/ 2143 h 14525"/>
                  <a:gd name="connsiteX5" fmla="*/ 43815 w 44767"/>
                  <a:gd name="connsiteY5" fmla="*/ 3096 h 14525"/>
                  <a:gd name="connsiteX6" fmla="*/ 44768 w 44767"/>
                  <a:gd name="connsiteY6" fmla="*/ 10716 h 14525"/>
                  <a:gd name="connsiteX7" fmla="*/ 37148 w 44767"/>
                  <a:gd name="connsiteY7" fmla="*/ 11668 h 14525"/>
                  <a:gd name="connsiteX8" fmla="*/ 29528 w 44767"/>
                  <a:gd name="connsiteY8" fmla="*/ 11668 h 14525"/>
                  <a:gd name="connsiteX9" fmla="*/ 18098 w 44767"/>
                  <a:gd name="connsiteY9" fmla="*/ 13573 h 14525"/>
                  <a:gd name="connsiteX10" fmla="*/ 6668 w 44767"/>
                  <a:gd name="connsiteY10" fmla="*/ 14526 h 14525"/>
                  <a:gd name="connsiteX11" fmla="*/ 0 w 44767"/>
                  <a:gd name="connsiteY11" fmla="*/ 10716 h 14525"/>
                  <a:gd name="connsiteX12" fmla="*/ 3810 w 44767"/>
                  <a:gd name="connsiteY12" fmla="*/ 6906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 h="14525">
                    <a:moveTo>
                      <a:pt x="3810" y="6906"/>
                    </a:moveTo>
                    <a:cubicBezTo>
                      <a:pt x="3810" y="6906"/>
                      <a:pt x="3810" y="6906"/>
                      <a:pt x="5715" y="4048"/>
                    </a:cubicBezTo>
                    <a:cubicBezTo>
                      <a:pt x="7620" y="1191"/>
                      <a:pt x="10478" y="3096"/>
                      <a:pt x="10478" y="1191"/>
                    </a:cubicBezTo>
                    <a:cubicBezTo>
                      <a:pt x="10478" y="-714"/>
                      <a:pt x="20003" y="238"/>
                      <a:pt x="24765" y="238"/>
                    </a:cubicBezTo>
                    <a:cubicBezTo>
                      <a:pt x="29528" y="238"/>
                      <a:pt x="37148" y="2143"/>
                      <a:pt x="37148" y="2143"/>
                    </a:cubicBezTo>
                    <a:lnTo>
                      <a:pt x="43815" y="3096"/>
                    </a:lnTo>
                    <a:lnTo>
                      <a:pt x="44768" y="10716"/>
                    </a:lnTo>
                    <a:lnTo>
                      <a:pt x="37148" y="11668"/>
                    </a:lnTo>
                    <a:cubicBezTo>
                      <a:pt x="37148" y="11668"/>
                      <a:pt x="32385" y="11668"/>
                      <a:pt x="29528" y="11668"/>
                    </a:cubicBezTo>
                    <a:cubicBezTo>
                      <a:pt x="26670" y="11668"/>
                      <a:pt x="18098" y="13573"/>
                      <a:pt x="18098" y="13573"/>
                    </a:cubicBezTo>
                    <a:lnTo>
                      <a:pt x="6668" y="14526"/>
                    </a:lnTo>
                    <a:lnTo>
                      <a:pt x="0" y="10716"/>
                    </a:lnTo>
                    <a:lnTo>
                      <a:pt x="3810" y="6906"/>
                    </a:lnTo>
                    <a:close/>
                  </a:path>
                </a:pathLst>
              </a:custGeom>
              <a:grpFill/>
              <a:ln w="9525" cap="flat">
                <a:noFill/>
                <a:prstDash val="solid"/>
                <a:miter/>
              </a:ln>
            </p:spPr>
            <p:txBody>
              <a:bodyPr rtlCol="0" anchor="ctr"/>
              <a:lstStyle/>
              <a:p>
                <a:endParaRPr lang="en-US" sz="1765"/>
              </a:p>
            </p:txBody>
          </p:sp>
          <p:sp>
            <p:nvSpPr>
              <p:cNvPr id="312" name="Freeform: Shape 311">
                <a:extLst>
                  <a:ext uri="{FF2B5EF4-FFF2-40B4-BE49-F238E27FC236}">
                    <a16:creationId xmlns:a16="http://schemas.microsoft.com/office/drawing/2014/main" id="{49FFB065-3457-49E4-833A-C927479488C7}"/>
                  </a:ext>
                </a:extLst>
              </p:cNvPr>
              <p:cNvSpPr/>
              <p:nvPr/>
            </p:nvSpPr>
            <p:spPr>
              <a:xfrm>
                <a:off x="10377374" y="4105004"/>
                <a:ext cx="31575" cy="9525"/>
              </a:xfrm>
              <a:custGeom>
                <a:avLst/>
                <a:gdLst>
                  <a:gd name="connsiteX0" fmla="*/ 21097 w 31575"/>
                  <a:gd name="connsiteY0" fmla="*/ 0 h 9525"/>
                  <a:gd name="connsiteX1" fmla="*/ 14430 w 31575"/>
                  <a:gd name="connsiteY1" fmla="*/ 0 h 9525"/>
                  <a:gd name="connsiteX2" fmla="*/ 2047 w 31575"/>
                  <a:gd name="connsiteY2" fmla="*/ 3810 h 9525"/>
                  <a:gd name="connsiteX3" fmla="*/ 3000 w 31575"/>
                  <a:gd name="connsiteY3" fmla="*/ 5715 h 9525"/>
                  <a:gd name="connsiteX4" fmla="*/ 9667 w 31575"/>
                  <a:gd name="connsiteY4" fmla="*/ 9525 h 9525"/>
                  <a:gd name="connsiteX5" fmla="*/ 18240 w 31575"/>
                  <a:gd name="connsiteY5" fmla="*/ 9525 h 9525"/>
                  <a:gd name="connsiteX6" fmla="*/ 25860 w 31575"/>
                  <a:gd name="connsiteY6" fmla="*/ 9525 h 9525"/>
                  <a:gd name="connsiteX7" fmla="*/ 31575 w 31575"/>
                  <a:gd name="connsiteY7" fmla="*/ 4763 h 9525"/>
                  <a:gd name="connsiteX8" fmla="*/ 24907 w 31575"/>
                  <a:gd name="connsiteY8" fmla="*/ 0 h 9525"/>
                  <a:gd name="connsiteX9" fmla="*/ 21097 w 31575"/>
                  <a:gd name="connsiteY9"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5" h="9525">
                    <a:moveTo>
                      <a:pt x="21097" y="0"/>
                    </a:moveTo>
                    <a:lnTo>
                      <a:pt x="14430" y="0"/>
                    </a:lnTo>
                    <a:cubicBezTo>
                      <a:pt x="14430" y="0"/>
                      <a:pt x="1095" y="1905"/>
                      <a:pt x="2047" y="3810"/>
                    </a:cubicBezTo>
                    <a:cubicBezTo>
                      <a:pt x="3000" y="5715"/>
                      <a:pt x="-3668" y="1905"/>
                      <a:pt x="3000" y="5715"/>
                    </a:cubicBezTo>
                    <a:cubicBezTo>
                      <a:pt x="9667" y="9525"/>
                      <a:pt x="9667" y="9525"/>
                      <a:pt x="9667" y="9525"/>
                    </a:cubicBezTo>
                    <a:lnTo>
                      <a:pt x="18240" y="9525"/>
                    </a:lnTo>
                    <a:lnTo>
                      <a:pt x="25860" y="9525"/>
                    </a:lnTo>
                    <a:lnTo>
                      <a:pt x="31575" y="4763"/>
                    </a:lnTo>
                    <a:lnTo>
                      <a:pt x="24907" y="0"/>
                    </a:lnTo>
                    <a:lnTo>
                      <a:pt x="21097" y="0"/>
                    </a:lnTo>
                    <a:close/>
                  </a:path>
                </a:pathLst>
              </a:custGeom>
              <a:grpFill/>
              <a:ln w="9525" cap="flat">
                <a:noFill/>
                <a:prstDash val="solid"/>
                <a:miter/>
              </a:ln>
            </p:spPr>
            <p:txBody>
              <a:bodyPr rtlCol="0" anchor="ctr"/>
              <a:lstStyle/>
              <a:p>
                <a:endParaRPr lang="en-US" sz="1765"/>
              </a:p>
            </p:txBody>
          </p:sp>
          <p:sp>
            <p:nvSpPr>
              <p:cNvPr id="313" name="Freeform: Shape 312">
                <a:extLst>
                  <a:ext uri="{FF2B5EF4-FFF2-40B4-BE49-F238E27FC236}">
                    <a16:creationId xmlns:a16="http://schemas.microsoft.com/office/drawing/2014/main" id="{44F1CF36-7130-4F1D-A424-E1FB76058D07}"/>
                  </a:ext>
                </a:extLst>
              </p:cNvPr>
              <p:cNvSpPr/>
              <p:nvPr/>
            </p:nvSpPr>
            <p:spPr>
              <a:xfrm>
                <a:off x="10232211" y="4156996"/>
                <a:ext cx="22559" cy="13729"/>
              </a:xfrm>
              <a:custGeom>
                <a:avLst/>
                <a:gdLst>
                  <a:gd name="connsiteX0" fmla="*/ 21480 w 22559"/>
                  <a:gd name="connsiteY0" fmla="*/ 6110 h 13729"/>
                  <a:gd name="connsiteX1" fmla="*/ 14813 w 22559"/>
                  <a:gd name="connsiteY1" fmla="*/ 13730 h 13729"/>
                  <a:gd name="connsiteX2" fmla="*/ 2430 w 22559"/>
                  <a:gd name="connsiteY2" fmla="*/ 13730 h 13729"/>
                  <a:gd name="connsiteX3" fmla="*/ 1477 w 22559"/>
                  <a:gd name="connsiteY3" fmla="*/ 2300 h 13729"/>
                  <a:gd name="connsiteX4" fmla="*/ 6240 w 22559"/>
                  <a:gd name="connsiteY4" fmla="*/ 1347 h 13729"/>
                  <a:gd name="connsiteX5" fmla="*/ 15765 w 22559"/>
                  <a:gd name="connsiteY5" fmla="*/ 395 h 13729"/>
                  <a:gd name="connsiteX6" fmla="*/ 21480 w 22559"/>
                  <a:gd name="connsiteY6" fmla="*/ 6110 h 1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9" h="13729">
                    <a:moveTo>
                      <a:pt x="21480" y="6110"/>
                    </a:moveTo>
                    <a:lnTo>
                      <a:pt x="14813" y="13730"/>
                    </a:lnTo>
                    <a:lnTo>
                      <a:pt x="2430" y="13730"/>
                    </a:lnTo>
                    <a:cubicBezTo>
                      <a:pt x="2430" y="13730"/>
                      <a:pt x="-2333" y="3252"/>
                      <a:pt x="1477" y="2300"/>
                    </a:cubicBezTo>
                    <a:cubicBezTo>
                      <a:pt x="6240" y="1347"/>
                      <a:pt x="-4237" y="3252"/>
                      <a:pt x="6240" y="1347"/>
                    </a:cubicBezTo>
                    <a:cubicBezTo>
                      <a:pt x="15765" y="395"/>
                      <a:pt x="6240" y="-558"/>
                      <a:pt x="15765" y="395"/>
                    </a:cubicBezTo>
                    <a:cubicBezTo>
                      <a:pt x="26242" y="395"/>
                      <a:pt x="21480" y="6110"/>
                      <a:pt x="21480" y="6110"/>
                    </a:cubicBezTo>
                    <a:close/>
                  </a:path>
                </a:pathLst>
              </a:custGeom>
              <a:grpFill/>
              <a:ln w="9525" cap="flat">
                <a:noFill/>
                <a:prstDash val="solid"/>
                <a:miter/>
              </a:ln>
            </p:spPr>
            <p:txBody>
              <a:bodyPr rtlCol="0" anchor="ctr"/>
              <a:lstStyle/>
              <a:p>
                <a:endParaRPr lang="en-US" sz="1765"/>
              </a:p>
            </p:txBody>
          </p:sp>
          <p:sp>
            <p:nvSpPr>
              <p:cNvPr id="314" name="Freeform: Shape 313">
                <a:extLst>
                  <a:ext uri="{FF2B5EF4-FFF2-40B4-BE49-F238E27FC236}">
                    <a16:creationId xmlns:a16="http://schemas.microsoft.com/office/drawing/2014/main" id="{465FF0FC-2738-4619-A200-AAD48DEF02AB}"/>
                  </a:ext>
                </a:extLst>
              </p:cNvPr>
              <p:cNvSpPr/>
              <p:nvPr/>
            </p:nvSpPr>
            <p:spPr>
              <a:xfrm>
                <a:off x="10269928" y="4156438"/>
                <a:ext cx="60915" cy="25479"/>
              </a:xfrm>
              <a:custGeom>
                <a:avLst/>
                <a:gdLst>
                  <a:gd name="connsiteX0" fmla="*/ 35198 w 60915"/>
                  <a:gd name="connsiteY0" fmla="*/ 0 h 25479"/>
                  <a:gd name="connsiteX1" fmla="*/ 28530 w 60915"/>
                  <a:gd name="connsiteY1" fmla="*/ 953 h 25479"/>
                  <a:gd name="connsiteX2" fmla="*/ 16148 w 60915"/>
                  <a:gd name="connsiteY2" fmla="*/ 4763 h 25479"/>
                  <a:gd name="connsiteX3" fmla="*/ 10433 w 60915"/>
                  <a:gd name="connsiteY3" fmla="*/ 13335 h 25479"/>
                  <a:gd name="connsiteX4" fmla="*/ 1860 w 60915"/>
                  <a:gd name="connsiteY4" fmla="*/ 20003 h 25479"/>
                  <a:gd name="connsiteX5" fmla="*/ 2813 w 60915"/>
                  <a:gd name="connsiteY5" fmla="*/ 24765 h 25479"/>
                  <a:gd name="connsiteX6" fmla="*/ 15196 w 60915"/>
                  <a:gd name="connsiteY6" fmla="*/ 24765 h 25479"/>
                  <a:gd name="connsiteX7" fmla="*/ 27578 w 60915"/>
                  <a:gd name="connsiteY7" fmla="*/ 20003 h 25479"/>
                  <a:gd name="connsiteX8" fmla="*/ 35198 w 60915"/>
                  <a:gd name="connsiteY8" fmla="*/ 14288 h 25479"/>
                  <a:gd name="connsiteX9" fmla="*/ 45675 w 60915"/>
                  <a:gd name="connsiteY9" fmla="*/ 10478 h 25479"/>
                  <a:gd name="connsiteX10" fmla="*/ 48533 w 60915"/>
                  <a:gd name="connsiteY10" fmla="*/ 10478 h 25479"/>
                  <a:gd name="connsiteX11" fmla="*/ 59010 w 60915"/>
                  <a:gd name="connsiteY11" fmla="*/ 5715 h 25479"/>
                  <a:gd name="connsiteX12" fmla="*/ 60916 w 60915"/>
                  <a:gd name="connsiteY12" fmla="*/ 1905 h 25479"/>
                  <a:gd name="connsiteX13" fmla="*/ 52343 w 60915"/>
                  <a:gd name="connsiteY13" fmla="*/ 0 h 25479"/>
                  <a:gd name="connsiteX14" fmla="*/ 35198 w 60915"/>
                  <a:gd name="connsiteY14" fmla="*/ 0 h 2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15" h="25479">
                    <a:moveTo>
                      <a:pt x="35198" y="0"/>
                    </a:moveTo>
                    <a:lnTo>
                      <a:pt x="28530" y="953"/>
                    </a:lnTo>
                    <a:cubicBezTo>
                      <a:pt x="21863" y="4763"/>
                      <a:pt x="16148" y="4763"/>
                      <a:pt x="16148" y="4763"/>
                    </a:cubicBezTo>
                    <a:lnTo>
                      <a:pt x="10433" y="13335"/>
                    </a:lnTo>
                    <a:lnTo>
                      <a:pt x="1860" y="20003"/>
                    </a:lnTo>
                    <a:cubicBezTo>
                      <a:pt x="1860" y="20003"/>
                      <a:pt x="-2902" y="23813"/>
                      <a:pt x="2813" y="24765"/>
                    </a:cubicBezTo>
                    <a:cubicBezTo>
                      <a:pt x="8528" y="25718"/>
                      <a:pt x="10433" y="25718"/>
                      <a:pt x="15196" y="24765"/>
                    </a:cubicBezTo>
                    <a:cubicBezTo>
                      <a:pt x="19958" y="23813"/>
                      <a:pt x="27578" y="20003"/>
                      <a:pt x="27578" y="20003"/>
                    </a:cubicBezTo>
                    <a:lnTo>
                      <a:pt x="35198" y="14288"/>
                    </a:lnTo>
                    <a:cubicBezTo>
                      <a:pt x="35198" y="14288"/>
                      <a:pt x="41866" y="10478"/>
                      <a:pt x="45675" y="10478"/>
                    </a:cubicBezTo>
                    <a:cubicBezTo>
                      <a:pt x="48533" y="10478"/>
                      <a:pt x="48533" y="10478"/>
                      <a:pt x="48533" y="10478"/>
                    </a:cubicBezTo>
                    <a:lnTo>
                      <a:pt x="59010" y="5715"/>
                    </a:lnTo>
                    <a:lnTo>
                      <a:pt x="60916" y="1905"/>
                    </a:lnTo>
                    <a:lnTo>
                      <a:pt x="52343" y="0"/>
                    </a:lnTo>
                    <a:lnTo>
                      <a:pt x="35198" y="0"/>
                    </a:lnTo>
                    <a:close/>
                  </a:path>
                </a:pathLst>
              </a:custGeom>
              <a:grpFill/>
              <a:ln w="9525" cap="flat">
                <a:noFill/>
                <a:prstDash val="solid"/>
                <a:miter/>
              </a:ln>
            </p:spPr>
            <p:txBody>
              <a:bodyPr rtlCol="0" anchor="ctr"/>
              <a:lstStyle/>
              <a:p>
                <a:endParaRPr lang="en-US" sz="1765"/>
              </a:p>
            </p:txBody>
          </p:sp>
          <p:sp>
            <p:nvSpPr>
              <p:cNvPr id="315" name="Freeform: Shape 314">
                <a:extLst>
                  <a:ext uri="{FF2B5EF4-FFF2-40B4-BE49-F238E27FC236}">
                    <a16:creationId xmlns:a16="http://schemas.microsoft.com/office/drawing/2014/main" id="{A9F40CEC-0722-405A-BC9E-5A16E4AE3FCA}"/>
                  </a:ext>
                </a:extLst>
              </p:cNvPr>
              <p:cNvSpPr/>
              <p:nvPr/>
            </p:nvSpPr>
            <p:spPr>
              <a:xfrm>
                <a:off x="8451561" y="3612561"/>
                <a:ext cx="49530" cy="14525"/>
              </a:xfrm>
              <a:custGeom>
                <a:avLst/>
                <a:gdLst>
                  <a:gd name="connsiteX0" fmla="*/ 49530 w 49530"/>
                  <a:gd name="connsiteY0" fmla="*/ 2857 h 14525"/>
                  <a:gd name="connsiteX1" fmla="*/ 39053 w 49530"/>
                  <a:gd name="connsiteY1" fmla="*/ 13335 h 14525"/>
                  <a:gd name="connsiteX2" fmla="*/ 17145 w 49530"/>
                  <a:gd name="connsiteY2" fmla="*/ 14288 h 14525"/>
                  <a:gd name="connsiteX3" fmla="*/ 7620 w 49530"/>
                  <a:gd name="connsiteY3" fmla="*/ 13335 h 14525"/>
                  <a:gd name="connsiteX4" fmla="*/ 1905 w 49530"/>
                  <a:gd name="connsiteY4" fmla="*/ 11430 h 14525"/>
                  <a:gd name="connsiteX5" fmla="*/ 0 w 49530"/>
                  <a:gd name="connsiteY5" fmla="*/ 5715 h 14525"/>
                  <a:gd name="connsiteX6" fmla="*/ 3810 w 49530"/>
                  <a:gd name="connsiteY6" fmla="*/ 1905 h 14525"/>
                  <a:gd name="connsiteX7" fmla="*/ 11430 w 49530"/>
                  <a:gd name="connsiteY7" fmla="*/ 952 h 14525"/>
                  <a:gd name="connsiteX8" fmla="*/ 17145 w 49530"/>
                  <a:gd name="connsiteY8" fmla="*/ 952 h 14525"/>
                  <a:gd name="connsiteX9" fmla="*/ 31433 w 49530"/>
                  <a:gd name="connsiteY9" fmla="*/ 952 h 14525"/>
                  <a:gd name="connsiteX10" fmla="*/ 38100 w 49530"/>
                  <a:gd name="connsiteY10" fmla="*/ 0 h 14525"/>
                  <a:gd name="connsiteX11" fmla="*/ 45720 w 49530"/>
                  <a:gd name="connsiteY11" fmla="*/ 952 h 14525"/>
                  <a:gd name="connsiteX12" fmla="*/ 49530 w 49530"/>
                  <a:gd name="connsiteY12" fmla="*/ 2857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 h="14525">
                    <a:moveTo>
                      <a:pt x="49530" y="2857"/>
                    </a:moveTo>
                    <a:lnTo>
                      <a:pt x="39053" y="13335"/>
                    </a:lnTo>
                    <a:cubicBezTo>
                      <a:pt x="31433" y="15240"/>
                      <a:pt x="17145" y="14288"/>
                      <a:pt x="17145" y="14288"/>
                    </a:cubicBezTo>
                    <a:lnTo>
                      <a:pt x="7620" y="13335"/>
                    </a:lnTo>
                    <a:lnTo>
                      <a:pt x="1905" y="11430"/>
                    </a:lnTo>
                    <a:lnTo>
                      <a:pt x="0" y="5715"/>
                    </a:lnTo>
                    <a:lnTo>
                      <a:pt x="3810" y="1905"/>
                    </a:lnTo>
                    <a:lnTo>
                      <a:pt x="11430" y="952"/>
                    </a:lnTo>
                    <a:lnTo>
                      <a:pt x="17145" y="952"/>
                    </a:lnTo>
                    <a:lnTo>
                      <a:pt x="31433" y="952"/>
                    </a:lnTo>
                    <a:lnTo>
                      <a:pt x="38100" y="0"/>
                    </a:lnTo>
                    <a:lnTo>
                      <a:pt x="45720" y="952"/>
                    </a:lnTo>
                    <a:lnTo>
                      <a:pt x="49530" y="2857"/>
                    </a:lnTo>
                    <a:close/>
                  </a:path>
                </a:pathLst>
              </a:custGeom>
              <a:grpFill/>
              <a:ln w="9525" cap="flat">
                <a:noFill/>
                <a:prstDash val="solid"/>
                <a:miter/>
              </a:ln>
            </p:spPr>
            <p:txBody>
              <a:bodyPr rtlCol="0" anchor="ctr"/>
              <a:lstStyle/>
              <a:p>
                <a:endParaRPr lang="en-US" sz="1765"/>
              </a:p>
            </p:txBody>
          </p:sp>
          <p:sp>
            <p:nvSpPr>
              <p:cNvPr id="316" name="Freeform: Shape 315">
                <a:extLst>
                  <a:ext uri="{FF2B5EF4-FFF2-40B4-BE49-F238E27FC236}">
                    <a16:creationId xmlns:a16="http://schemas.microsoft.com/office/drawing/2014/main" id="{02842820-E647-4077-9457-095105374871}"/>
                  </a:ext>
                </a:extLst>
              </p:cNvPr>
              <p:cNvSpPr/>
              <p:nvPr/>
            </p:nvSpPr>
            <p:spPr>
              <a:xfrm>
                <a:off x="8375130" y="3570651"/>
                <a:ext cx="29758" cy="24129"/>
              </a:xfrm>
              <a:custGeom>
                <a:avLst/>
                <a:gdLst>
                  <a:gd name="connsiteX0" fmla="*/ 18328 w 29758"/>
                  <a:gd name="connsiteY0" fmla="*/ 20955 h 24129"/>
                  <a:gd name="connsiteX1" fmla="*/ 6899 w 29758"/>
                  <a:gd name="connsiteY1" fmla="*/ 22860 h 24129"/>
                  <a:gd name="connsiteX2" fmla="*/ 4041 w 29758"/>
                  <a:gd name="connsiteY2" fmla="*/ 22860 h 24129"/>
                  <a:gd name="connsiteX3" fmla="*/ 1184 w 29758"/>
                  <a:gd name="connsiteY3" fmla="*/ 11430 h 24129"/>
                  <a:gd name="connsiteX4" fmla="*/ 4041 w 29758"/>
                  <a:gd name="connsiteY4" fmla="*/ 3810 h 24129"/>
                  <a:gd name="connsiteX5" fmla="*/ 22139 w 29758"/>
                  <a:gd name="connsiteY5" fmla="*/ 0 h 24129"/>
                  <a:gd name="connsiteX6" fmla="*/ 27853 w 29758"/>
                  <a:gd name="connsiteY6" fmla="*/ 1905 h 24129"/>
                  <a:gd name="connsiteX7" fmla="*/ 28806 w 29758"/>
                  <a:gd name="connsiteY7" fmla="*/ 7620 h 24129"/>
                  <a:gd name="connsiteX8" fmla="*/ 29759 w 29758"/>
                  <a:gd name="connsiteY8" fmla="*/ 12382 h 24129"/>
                  <a:gd name="connsiteX9" fmla="*/ 18328 w 29758"/>
                  <a:gd name="connsiteY9" fmla="*/ 20955 h 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58" h="24129">
                    <a:moveTo>
                      <a:pt x="18328" y="20955"/>
                    </a:moveTo>
                    <a:cubicBezTo>
                      <a:pt x="18328" y="20955"/>
                      <a:pt x="10709" y="22860"/>
                      <a:pt x="6899" y="22860"/>
                    </a:cubicBezTo>
                    <a:cubicBezTo>
                      <a:pt x="4041" y="22860"/>
                      <a:pt x="6899" y="25717"/>
                      <a:pt x="4041" y="22860"/>
                    </a:cubicBezTo>
                    <a:cubicBezTo>
                      <a:pt x="1184" y="20002"/>
                      <a:pt x="-1674" y="13335"/>
                      <a:pt x="1184" y="11430"/>
                    </a:cubicBezTo>
                    <a:cubicBezTo>
                      <a:pt x="3089" y="9525"/>
                      <a:pt x="4041" y="3810"/>
                      <a:pt x="4041" y="3810"/>
                    </a:cubicBezTo>
                    <a:lnTo>
                      <a:pt x="22139" y="0"/>
                    </a:lnTo>
                    <a:lnTo>
                      <a:pt x="27853" y="1905"/>
                    </a:lnTo>
                    <a:lnTo>
                      <a:pt x="28806" y="7620"/>
                    </a:lnTo>
                    <a:cubicBezTo>
                      <a:pt x="28806" y="7620"/>
                      <a:pt x="28806" y="9525"/>
                      <a:pt x="29759" y="12382"/>
                    </a:cubicBezTo>
                    <a:cubicBezTo>
                      <a:pt x="29759" y="15240"/>
                      <a:pt x="18328" y="20955"/>
                      <a:pt x="18328" y="20955"/>
                    </a:cubicBezTo>
                    <a:close/>
                  </a:path>
                </a:pathLst>
              </a:custGeom>
              <a:grpFill/>
              <a:ln w="9525" cap="flat">
                <a:noFill/>
                <a:prstDash val="solid"/>
                <a:miter/>
              </a:ln>
            </p:spPr>
            <p:txBody>
              <a:bodyPr rtlCol="0" anchor="ctr"/>
              <a:lstStyle/>
              <a:p>
                <a:endParaRPr lang="en-US" sz="1765"/>
              </a:p>
            </p:txBody>
          </p:sp>
          <p:sp>
            <p:nvSpPr>
              <p:cNvPr id="317" name="Freeform: Shape 316">
                <a:extLst>
                  <a:ext uri="{FF2B5EF4-FFF2-40B4-BE49-F238E27FC236}">
                    <a16:creationId xmlns:a16="http://schemas.microsoft.com/office/drawing/2014/main" id="{54D16356-16E2-4C35-AD5B-344C20526B64}"/>
                  </a:ext>
                </a:extLst>
              </p:cNvPr>
              <p:cNvSpPr/>
              <p:nvPr/>
            </p:nvSpPr>
            <p:spPr>
              <a:xfrm>
                <a:off x="8062028" y="3367509"/>
                <a:ext cx="76199" cy="55504"/>
              </a:xfrm>
              <a:custGeom>
                <a:avLst/>
                <a:gdLst>
                  <a:gd name="connsiteX0" fmla="*/ 43776 w 76199"/>
                  <a:gd name="connsiteY0" fmla="*/ 48837 h 55504"/>
                  <a:gd name="connsiteX1" fmla="*/ 39013 w 76199"/>
                  <a:gd name="connsiteY1" fmla="*/ 49790 h 55504"/>
                  <a:gd name="connsiteX2" fmla="*/ 32346 w 76199"/>
                  <a:gd name="connsiteY2" fmla="*/ 53600 h 55504"/>
                  <a:gd name="connsiteX3" fmla="*/ 25678 w 76199"/>
                  <a:gd name="connsiteY3" fmla="*/ 55505 h 55504"/>
                  <a:gd name="connsiteX4" fmla="*/ 17105 w 76199"/>
                  <a:gd name="connsiteY4" fmla="*/ 55505 h 55504"/>
                  <a:gd name="connsiteX5" fmla="*/ 10438 w 76199"/>
                  <a:gd name="connsiteY5" fmla="*/ 55505 h 55504"/>
                  <a:gd name="connsiteX6" fmla="*/ 2818 w 76199"/>
                  <a:gd name="connsiteY6" fmla="*/ 54552 h 55504"/>
                  <a:gd name="connsiteX7" fmla="*/ 913 w 76199"/>
                  <a:gd name="connsiteY7" fmla="*/ 40265 h 55504"/>
                  <a:gd name="connsiteX8" fmla="*/ 3771 w 76199"/>
                  <a:gd name="connsiteY8" fmla="*/ 39312 h 55504"/>
                  <a:gd name="connsiteX9" fmla="*/ 11391 w 76199"/>
                  <a:gd name="connsiteY9" fmla="*/ 37407 h 55504"/>
                  <a:gd name="connsiteX10" fmla="*/ 16153 w 76199"/>
                  <a:gd name="connsiteY10" fmla="*/ 29787 h 55504"/>
                  <a:gd name="connsiteX11" fmla="*/ 16153 w 76199"/>
                  <a:gd name="connsiteY11" fmla="*/ 25977 h 55504"/>
                  <a:gd name="connsiteX12" fmla="*/ 10438 w 76199"/>
                  <a:gd name="connsiteY12" fmla="*/ 23120 h 55504"/>
                  <a:gd name="connsiteX13" fmla="*/ 6628 w 76199"/>
                  <a:gd name="connsiteY13" fmla="*/ 16452 h 55504"/>
                  <a:gd name="connsiteX14" fmla="*/ 18058 w 76199"/>
                  <a:gd name="connsiteY14" fmla="*/ 14547 h 55504"/>
                  <a:gd name="connsiteX15" fmla="*/ 23773 w 76199"/>
                  <a:gd name="connsiteY15" fmla="*/ 14547 h 55504"/>
                  <a:gd name="connsiteX16" fmla="*/ 30441 w 76199"/>
                  <a:gd name="connsiteY16" fmla="*/ 5022 h 55504"/>
                  <a:gd name="connsiteX17" fmla="*/ 32346 w 76199"/>
                  <a:gd name="connsiteY17" fmla="*/ 2165 h 55504"/>
                  <a:gd name="connsiteX18" fmla="*/ 47586 w 76199"/>
                  <a:gd name="connsiteY18" fmla="*/ 260 h 55504"/>
                  <a:gd name="connsiteX19" fmla="*/ 53301 w 76199"/>
                  <a:gd name="connsiteY19" fmla="*/ 1212 h 55504"/>
                  <a:gd name="connsiteX20" fmla="*/ 60921 w 76199"/>
                  <a:gd name="connsiteY20" fmla="*/ 260 h 55504"/>
                  <a:gd name="connsiteX21" fmla="*/ 65683 w 76199"/>
                  <a:gd name="connsiteY21" fmla="*/ 1212 h 55504"/>
                  <a:gd name="connsiteX22" fmla="*/ 73303 w 76199"/>
                  <a:gd name="connsiteY22" fmla="*/ 3117 h 55504"/>
                  <a:gd name="connsiteX23" fmla="*/ 75208 w 76199"/>
                  <a:gd name="connsiteY23" fmla="*/ 17405 h 55504"/>
                  <a:gd name="connsiteX24" fmla="*/ 73303 w 76199"/>
                  <a:gd name="connsiteY24" fmla="*/ 23120 h 55504"/>
                  <a:gd name="connsiteX25" fmla="*/ 68541 w 76199"/>
                  <a:gd name="connsiteY25" fmla="*/ 27882 h 55504"/>
                  <a:gd name="connsiteX26" fmla="*/ 64730 w 76199"/>
                  <a:gd name="connsiteY26" fmla="*/ 30740 h 55504"/>
                  <a:gd name="connsiteX27" fmla="*/ 64730 w 76199"/>
                  <a:gd name="connsiteY27" fmla="*/ 40265 h 55504"/>
                  <a:gd name="connsiteX28" fmla="*/ 58063 w 76199"/>
                  <a:gd name="connsiteY28" fmla="*/ 44075 h 55504"/>
                  <a:gd name="connsiteX29" fmla="*/ 43776 w 76199"/>
                  <a:gd name="connsiteY29" fmla="*/ 48837 h 5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199" h="55504">
                    <a:moveTo>
                      <a:pt x="43776" y="48837"/>
                    </a:moveTo>
                    <a:lnTo>
                      <a:pt x="39013" y="49790"/>
                    </a:lnTo>
                    <a:lnTo>
                      <a:pt x="32346" y="53600"/>
                    </a:lnTo>
                    <a:lnTo>
                      <a:pt x="25678" y="55505"/>
                    </a:lnTo>
                    <a:lnTo>
                      <a:pt x="17105" y="55505"/>
                    </a:lnTo>
                    <a:lnTo>
                      <a:pt x="10438" y="55505"/>
                    </a:lnTo>
                    <a:cubicBezTo>
                      <a:pt x="2818" y="54552"/>
                      <a:pt x="2818" y="54552"/>
                      <a:pt x="2818" y="54552"/>
                    </a:cubicBezTo>
                    <a:cubicBezTo>
                      <a:pt x="2818" y="54552"/>
                      <a:pt x="-1945" y="41217"/>
                      <a:pt x="913" y="40265"/>
                    </a:cubicBezTo>
                    <a:cubicBezTo>
                      <a:pt x="3771" y="39312"/>
                      <a:pt x="-3849" y="41217"/>
                      <a:pt x="3771" y="39312"/>
                    </a:cubicBezTo>
                    <a:cubicBezTo>
                      <a:pt x="11391" y="37407"/>
                      <a:pt x="11391" y="37407"/>
                      <a:pt x="11391" y="37407"/>
                    </a:cubicBezTo>
                    <a:lnTo>
                      <a:pt x="16153" y="29787"/>
                    </a:lnTo>
                    <a:lnTo>
                      <a:pt x="16153" y="25977"/>
                    </a:lnTo>
                    <a:lnTo>
                      <a:pt x="10438" y="23120"/>
                    </a:lnTo>
                    <a:cubicBezTo>
                      <a:pt x="10438" y="23120"/>
                      <a:pt x="-4802" y="18357"/>
                      <a:pt x="6628" y="16452"/>
                    </a:cubicBezTo>
                    <a:cubicBezTo>
                      <a:pt x="18058" y="14547"/>
                      <a:pt x="12343" y="14547"/>
                      <a:pt x="18058" y="14547"/>
                    </a:cubicBezTo>
                    <a:cubicBezTo>
                      <a:pt x="23773" y="14547"/>
                      <a:pt x="18058" y="17405"/>
                      <a:pt x="23773" y="14547"/>
                    </a:cubicBezTo>
                    <a:cubicBezTo>
                      <a:pt x="29488" y="11690"/>
                      <a:pt x="30441" y="5022"/>
                      <a:pt x="30441" y="5022"/>
                    </a:cubicBezTo>
                    <a:cubicBezTo>
                      <a:pt x="30441" y="5022"/>
                      <a:pt x="27583" y="3117"/>
                      <a:pt x="32346" y="2165"/>
                    </a:cubicBezTo>
                    <a:cubicBezTo>
                      <a:pt x="38061" y="1212"/>
                      <a:pt x="41871" y="-693"/>
                      <a:pt x="47586" y="260"/>
                    </a:cubicBezTo>
                    <a:cubicBezTo>
                      <a:pt x="53301" y="1212"/>
                      <a:pt x="53301" y="1212"/>
                      <a:pt x="53301" y="1212"/>
                    </a:cubicBezTo>
                    <a:cubicBezTo>
                      <a:pt x="53301" y="1212"/>
                      <a:pt x="56158" y="260"/>
                      <a:pt x="60921" y="260"/>
                    </a:cubicBezTo>
                    <a:cubicBezTo>
                      <a:pt x="65683" y="1212"/>
                      <a:pt x="58063" y="-693"/>
                      <a:pt x="65683" y="1212"/>
                    </a:cubicBezTo>
                    <a:cubicBezTo>
                      <a:pt x="73303" y="3117"/>
                      <a:pt x="70446" y="-3550"/>
                      <a:pt x="73303" y="3117"/>
                    </a:cubicBezTo>
                    <a:cubicBezTo>
                      <a:pt x="76161" y="9785"/>
                      <a:pt x="77113" y="11690"/>
                      <a:pt x="75208" y="17405"/>
                    </a:cubicBezTo>
                    <a:cubicBezTo>
                      <a:pt x="73303" y="23120"/>
                      <a:pt x="77113" y="18357"/>
                      <a:pt x="73303" y="23120"/>
                    </a:cubicBezTo>
                    <a:cubicBezTo>
                      <a:pt x="68541" y="27882"/>
                      <a:pt x="72351" y="25025"/>
                      <a:pt x="68541" y="27882"/>
                    </a:cubicBezTo>
                    <a:cubicBezTo>
                      <a:pt x="64730" y="30740"/>
                      <a:pt x="65683" y="21215"/>
                      <a:pt x="64730" y="30740"/>
                    </a:cubicBezTo>
                    <a:cubicBezTo>
                      <a:pt x="64730" y="40265"/>
                      <a:pt x="65683" y="37407"/>
                      <a:pt x="64730" y="40265"/>
                    </a:cubicBezTo>
                    <a:cubicBezTo>
                      <a:pt x="63778" y="43122"/>
                      <a:pt x="58063" y="44075"/>
                      <a:pt x="58063" y="44075"/>
                    </a:cubicBezTo>
                    <a:lnTo>
                      <a:pt x="43776" y="48837"/>
                    </a:lnTo>
                    <a:close/>
                  </a:path>
                </a:pathLst>
              </a:custGeom>
              <a:grpFill/>
              <a:ln w="9525" cap="flat">
                <a:noFill/>
                <a:prstDash val="solid"/>
                <a:miter/>
              </a:ln>
            </p:spPr>
            <p:txBody>
              <a:bodyPr rtlCol="0" anchor="ctr"/>
              <a:lstStyle/>
              <a:p>
                <a:endParaRPr lang="en-US" sz="1765"/>
              </a:p>
            </p:txBody>
          </p:sp>
          <p:sp>
            <p:nvSpPr>
              <p:cNvPr id="318" name="Freeform: Shape 317">
                <a:extLst>
                  <a:ext uri="{FF2B5EF4-FFF2-40B4-BE49-F238E27FC236}">
                    <a16:creationId xmlns:a16="http://schemas.microsoft.com/office/drawing/2014/main" id="{00D6B00D-D5BA-4443-8124-CF2C6FE219B9}"/>
                  </a:ext>
                </a:extLst>
              </p:cNvPr>
              <p:cNvSpPr/>
              <p:nvPr/>
            </p:nvSpPr>
            <p:spPr>
              <a:xfrm>
                <a:off x="8121996" y="3315381"/>
                <a:ext cx="139254" cy="131445"/>
              </a:xfrm>
              <a:custGeom>
                <a:avLst/>
                <a:gdLst>
                  <a:gd name="connsiteX0" fmla="*/ 51435 w 139254"/>
                  <a:gd name="connsiteY0" fmla="*/ 81915 h 131445"/>
                  <a:gd name="connsiteX1" fmla="*/ 52388 w 139254"/>
                  <a:gd name="connsiteY1" fmla="*/ 72390 h 131445"/>
                  <a:gd name="connsiteX2" fmla="*/ 52388 w 139254"/>
                  <a:gd name="connsiteY2" fmla="*/ 68580 h 131445"/>
                  <a:gd name="connsiteX3" fmla="*/ 47625 w 139254"/>
                  <a:gd name="connsiteY3" fmla="*/ 63818 h 131445"/>
                  <a:gd name="connsiteX4" fmla="*/ 41910 w 139254"/>
                  <a:gd name="connsiteY4" fmla="*/ 60008 h 131445"/>
                  <a:gd name="connsiteX5" fmla="*/ 35243 w 139254"/>
                  <a:gd name="connsiteY5" fmla="*/ 56198 h 131445"/>
                  <a:gd name="connsiteX6" fmla="*/ 34290 w 139254"/>
                  <a:gd name="connsiteY6" fmla="*/ 52388 h 131445"/>
                  <a:gd name="connsiteX7" fmla="*/ 21908 w 139254"/>
                  <a:gd name="connsiteY7" fmla="*/ 46673 h 131445"/>
                  <a:gd name="connsiteX8" fmla="*/ 17145 w 139254"/>
                  <a:gd name="connsiteY8" fmla="*/ 33338 h 131445"/>
                  <a:gd name="connsiteX9" fmla="*/ 17145 w 139254"/>
                  <a:gd name="connsiteY9" fmla="*/ 25718 h 131445"/>
                  <a:gd name="connsiteX10" fmla="*/ 16193 w 139254"/>
                  <a:gd name="connsiteY10" fmla="*/ 22860 h 131445"/>
                  <a:gd name="connsiteX11" fmla="*/ 10478 w 139254"/>
                  <a:gd name="connsiteY11" fmla="*/ 19050 h 131445"/>
                  <a:gd name="connsiteX12" fmla="*/ 0 w 139254"/>
                  <a:gd name="connsiteY12" fmla="*/ 12383 h 131445"/>
                  <a:gd name="connsiteX13" fmla="*/ 0 w 139254"/>
                  <a:gd name="connsiteY13" fmla="*/ 9525 h 131445"/>
                  <a:gd name="connsiteX14" fmla="*/ 1905 w 139254"/>
                  <a:gd name="connsiteY14" fmla="*/ 6668 h 131445"/>
                  <a:gd name="connsiteX15" fmla="*/ 15240 w 139254"/>
                  <a:gd name="connsiteY15" fmla="*/ 6668 h 131445"/>
                  <a:gd name="connsiteX16" fmla="*/ 18098 w 139254"/>
                  <a:gd name="connsiteY16" fmla="*/ 6668 h 131445"/>
                  <a:gd name="connsiteX17" fmla="*/ 25718 w 139254"/>
                  <a:gd name="connsiteY17" fmla="*/ 1905 h 131445"/>
                  <a:gd name="connsiteX18" fmla="*/ 40958 w 139254"/>
                  <a:gd name="connsiteY18" fmla="*/ 0 h 131445"/>
                  <a:gd name="connsiteX19" fmla="*/ 46673 w 139254"/>
                  <a:gd name="connsiteY19" fmla="*/ 0 h 131445"/>
                  <a:gd name="connsiteX20" fmla="*/ 51435 w 139254"/>
                  <a:gd name="connsiteY20" fmla="*/ 4763 h 131445"/>
                  <a:gd name="connsiteX21" fmla="*/ 62865 w 139254"/>
                  <a:gd name="connsiteY21" fmla="*/ 4763 h 131445"/>
                  <a:gd name="connsiteX22" fmla="*/ 65723 w 139254"/>
                  <a:gd name="connsiteY22" fmla="*/ 9525 h 131445"/>
                  <a:gd name="connsiteX23" fmla="*/ 65723 w 139254"/>
                  <a:gd name="connsiteY23" fmla="*/ 13335 h 131445"/>
                  <a:gd name="connsiteX24" fmla="*/ 72390 w 139254"/>
                  <a:gd name="connsiteY24" fmla="*/ 18098 h 131445"/>
                  <a:gd name="connsiteX25" fmla="*/ 78105 w 139254"/>
                  <a:gd name="connsiteY25" fmla="*/ 20003 h 131445"/>
                  <a:gd name="connsiteX26" fmla="*/ 84773 w 139254"/>
                  <a:gd name="connsiteY26" fmla="*/ 24765 h 131445"/>
                  <a:gd name="connsiteX27" fmla="*/ 73343 w 139254"/>
                  <a:gd name="connsiteY27" fmla="*/ 34290 h 131445"/>
                  <a:gd name="connsiteX28" fmla="*/ 61913 w 139254"/>
                  <a:gd name="connsiteY28" fmla="*/ 35243 h 131445"/>
                  <a:gd name="connsiteX29" fmla="*/ 62865 w 139254"/>
                  <a:gd name="connsiteY29" fmla="*/ 39053 h 131445"/>
                  <a:gd name="connsiteX30" fmla="*/ 76200 w 139254"/>
                  <a:gd name="connsiteY30" fmla="*/ 43815 h 131445"/>
                  <a:gd name="connsiteX31" fmla="*/ 86678 w 139254"/>
                  <a:gd name="connsiteY31" fmla="*/ 54293 h 131445"/>
                  <a:gd name="connsiteX32" fmla="*/ 92393 w 139254"/>
                  <a:gd name="connsiteY32" fmla="*/ 58103 h 131445"/>
                  <a:gd name="connsiteX33" fmla="*/ 101918 w 139254"/>
                  <a:gd name="connsiteY33" fmla="*/ 63818 h 131445"/>
                  <a:gd name="connsiteX34" fmla="*/ 104775 w 139254"/>
                  <a:gd name="connsiteY34" fmla="*/ 71438 h 131445"/>
                  <a:gd name="connsiteX35" fmla="*/ 113348 w 139254"/>
                  <a:gd name="connsiteY35" fmla="*/ 79058 h 131445"/>
                  <a:gd name="connsiteX36" fmla="*/ 135255 w 139254"/>
                  <a:gd name="connsiteY36" fmla="*/ 85725 h 131445"/>
                  <a:gd name="connsiteX37" fmla="*/ 136208 w 139254"/>
                  <a:gd name="connsiteY37" fmla="*/ 88583 h 131445"/>
                  <a:gd name="connsiteX38" fmla="*/ 138113 w 139254"/>
                  <a:gd name="connsiteY38" fmla="*/ 95250 h 131445"/>
                  <a:gd name="connsiteX39" fmla="*/ 139065 w 139254"/>
                  <a:gd name="connsiteY39" fmla="*/ 103823 h 131445"/>
                  <a:gd name="connsiteX40" fmla="*/ 135255 w 139254"/>
                  <a:gd name="connsiteY40" fmla="*/ 111443 h 131445"/>
                  <a:gd name="connsiteX41" fmla="*/ 128588 w 139254"/>
                  <a:gd name="connsiteY41" fmla="*/ 115252 h 131445"/>
                  <a:gd name="connsiteX42" fmla="*/ 121920 w 139254"/>
                  <a:gd name="connsiteY42" fmla="*/ 118110 h 131445"/>
                  <a:gd name="connsiteX43" fmla="*/ 86678 w 139254"/>
                  <a:gd name="connsiteY43" fmla="*/ 121920 h 131445"/>
                  <a:gd name="connsiteX44" fmla="*/ 65723 w 139254"/>
                  <a:gd name="connsiteY44" fmla="*/ 121920 h 131445"/>
                  <a:gd name="connsiteX45" fmla="*/ 60960 w 139254"/>
                  <a:gd name="connsiteY45" fmla="*/ 122873 h 131445"/>
                  <a:gd name="connsiteX46" fmla="*/ 52388 w 139254"/>
                  <a:gd name="connsiteY46" fmla="*/ 125730 h 131445"/>
                  <a:gd name="connsiteX47" fmla="*/ 43815 w 139254"/>
                  <a:gd name="connsiteY47" fmla="*/ 129540 h 131445"/>
                  <a:gd name="connsiteX48" fmla="*/ 29528 w 139254"/>
                  <a:gd name="connsiteY48" fmla="*/ 130493 h 131445"/>
                  <a:gd name="connsiteX49" fmla="*/ 25718 w 139254"/>
                  <a:gd name="connsiteY49" fmla="*/ 131445 h 131445"/>
                  <a:gd name="connsiteX50" fmla="*/ 20003 w 139254"/>
                  <a:gd name="connsiteY50" fmla="*/ 128588 h 131445"/>
                  <a:gd name="connsiteX51" fmla="*/ 20955 w 139254"/>
                  <a:gd name="connsiteY51" fmla="*/ 121920 h 131445"/>
                  <a:gd name="connsiteX52" fmla="*/ 23813 w 139254"/>
                  <a:gd name="connsiteY52" fmla="*/ 121920 h 131445"/>
                  <a:gd name="connsiteX53" fmla="*/ 31433 w 139254"/>
                  <a:gd name="connsiteY53" fmla="*/ 120015 h 131445"/>
                  <a:gd name="connsiteX54" fmla="*/ 37148 w 139254"/>
                  <a:gd name="connsiteY54" fmla="*/ 116205 h 131445"/>
                  <a:gd name="connsiteX55" fmla="*/ 37148 w 139254"/>
                  <a:gd name="connsiteY55" fmla="*/ 112395 h 131445"/>
                  <a:gd name="connsiteX56" fmla="*/ 32385 w 139254"/>
                  <a:gd name="connsiteY56" fmla="*/ 110490 h 131445"/>
                  <a:gd name="connsiteX57" fmla="*/ 27623 w 139254"/>
                  <a:gd name="connsiteY57" fmla="*/ 105727 h 131445"/>
                  <a:gd name="connsiteX58" fmla="*/ 26670 w 139254"/>
                  <a:gd name="connsiteY58" fmla="*/ 101918 h 131445"/>
                  <a:gd name="connsiteX59" fmla="*/ 31433 w 139254"/>
                  <a:gd name="connsiteY59" fmla="*/ 97155 h 131445"/>
                  <a:gd name="connsiteX60" fmla="*/ 35243 w 139254"/>
                  <a:gd name="connsiteY60" fmla="*/ 90488 h 131445"/>
                  <a:gd name="connsiteX61" fmla="*/ 35243 w 139254"/>
                  <a:gd name="connsiteY61" fmla="*/ 88583 h 131445"/>
                  <a:gd name="connsiteX62" fmla="*/ 35243 w 139254"/>
                  <a:gd name="connsiteY62" fmla="*/ 84773 h 131445"/>
                  <a:gd name="connsiteX63" fmla="*/ 51435 w 139254"/>
                  <a:gd name="connsiteY63" fmla="*/ 8191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9254" h="131445">
                    <a:moveTo>
                      <a:pt x="51435" y="81915"/>
                    </a:moveTo>
                    <a:lnTo>
                      <a:pt x="52388" y="72390"/>
                    </a:lnTo>
                    <a:lnTo>
                      <a:pt x="52388" y="68580"/>
                    </a:lnTo>
                    <a:lnTo>
                      <a:pt x="47625" y="63818"/>
                    </a:lnTo>
                    <a:lnTo>
                      <a:pt x="41910" y="60008"/>
                    </a:lnTo>
                    <a:lnTo>
                      <a:pt x="35243" y="56198"/>
                    </a:lnTo>
                    <a:lnTo>
                      <a:pt x="34290" y="52388"/>
                    </a:lnTo>
                    <a:cubicBezTo>
                      <a:pt x="34290" y="52388"/>
                      <a:pt x="25718" y="53340"/>
                      <a:pt x="21908" y="46673"/>
                    </a:cubicBezTo>
                    <a:cubicBezTo>
                      <a:pt x="19050" y="40005"/>
                      <a:pt x="17145" y="33338"/>
                      <a:pt x="17145" y="33338"/>
                    </a:cubicBezTo>
                    <a:lnTo>
                      <a:pt x="17145" y="25718"/>
                    </a:lnTo>
                    <a:lnTo>
                      <a:pt x="16193" y="22860"/>
                    </a:lnTo>
                    <a:lnTo>
                      <a:pt x="10478" y="19050"/>
                    </a:lnTo>
                    <a:lnTo>
                      <a:pt x="0" y="12383"/>
                    </a:lnTo>
                    <a:lnTo>
                      <a:pt x="0" y="9525"/>
                    </a:lnTo>
                    <a:lnTo>
                      <a:pt x="1905" y="6668"/>
                    </a:lnTo>
                    <a:cubicBezTo>
                      <a:pt x="7620" y="6668"/>
                      <a:pt x="11430" y="6668"/>
                      <a:pt x="15240" y="6668"/>
                    </a:cubicBezTo>
                    <a:cubicBezTo>
                      <a:pt x="18098" y="6668"/>
                      <a:pt x="14288" y="8573"/>
                      <a:pt x="18098" y="6668"/>
                    </a:cubicBezTo>
                    <a:cubicBezTo>
                      <a:pt x="22860" y="4763"/>
                      <a:pt x="22860" y="2858"/>
                      <a:pt x="25718" y="1905"/>
                    </a:cubicBezTo>
                    <a:cubicBezTo>
                      <a:pt x="28575" y="953"/>
                      <a:pt x="40958" y="0"/>
                      <a:pt x="40958" y="0"/>
                    </a:cubicBezTo>
                    <a:lnTo>
                      <a:pt x="46673" y="0"/>
                    </a:lnTo>
                    <a:cubicBezTo>
                      <a:pt x="46673" y="0"/>
                      <a:pt x="46673" y="3810"/>
                      <a:pt x="51435" y="4763"/>
                    </a:cubicBezTo>
                    <a:cubicBezTo>
                      <a:pt x="56198" y="5715"/>
                      <a:pt x="60960" y="2858"/>
                      <a:pt x="62865" y="4763"/>
                    </a:cubicBezTo>
                    <a:cubicBezTo>
                      <a:pt x="63818" y="6668"/>
                      <a:pt x="65723" y="6668"/>
                      <a:pt x="65723" y="9525"/>
                    </a:cubicBezTo>
                    <a:cubicBezTo>
                      <a:pt x="65723" y="13335"/>
                      <a:pt x="65723" y="8573"/>
                      <a:pt x="65723" y="13335"/>
                    </a:cubicBezTo>
                    <a:cubicBezTo>
                      <a:pt x="65723" y="17145"/>
                      <a:pt x="66675" y="17145"/>
                      <a:pt x="72390" y="18098"/>
                    </a:cubicBezTo>
                    <a:cubicBezTo>
                      <a:pt x="78105" y="20003"/>
                      <a:pt x="78105" y="20003"/>
                      <a:pt x="78105" y="20003"/>
                    </a:cubicBezTo>
                    <a:cubicBezTo>
                      <a:pt x="78105" y="20003"/>
                      <a:pt x="84773" y="21908"/>
                      <a:pt x="84773" y="24765"/>
                    </a:cubicBezTo>
                    <a:cubicBezTo>
                      <a:pt x="84773" y="26670"/>
                      <a:pt x="73343" y="34290"/>
                      <a:pt x="73343" y="34290"/>
                    </a:cubicBezTo>
                    <a:lnTo>
                      <a:pt x="61913" y="35243"/>
                    </a:lnTo>
                    <a:cubicBezTo>
                      <a:pt x="61913" y="35243"/>
                      <a:pt x="60960" y="36195"/>
                      <a:pt x="62865" y="39053"/>
                    </a:cubicBezTo>
                    <a:cubicBezTo>
                      <a:pt x="64770" y="41910"/>
                      <a:pt x="76200" y="43815"/>
                      <a:pt x="76200" y="43815"/>
                    </a:cubicBezTo>
                    <a:cubicBezTo>
                      <a:pt x="80963" y="48578"/>
                      <a:pt x="85725" y="51435"/>
                      <a:pt x="86678" y="54293"/>
                    </a:cubicBezTo>
                    <a:cubicBezTo>
                      <a:pt x="87630" y="56198"/>
                      <a:pt x="88583" y="55245"/>
                      <a:pt x="92393" y="58103"/>
                    </a:cubicBezTo>
                    <a:cubicBezTo>
                      <a:pt x="95250" y="60960"/>
                      <a:pt x="100013" y="60960"/>
                      <a:pt x="101918" y="63818"/>
                    </a:cubicBezTo>
                    <a:cubicBezTo>
                      <a:pt x="103823" y="66675"/>
                      <a:pt x="96203" y="63818"/>
                      <a:pt x="104775" y="71438"/>
                    </a:cubicBezTo>
                    <a:cubicBezTo>
                      <a:pt x="113348" y="79058"/>
                      <a:pt x="106680" y="77153"/>
                      <a:pt x="113348" y="79058"/>
                    </a:cubicBezTo>
                    <a:cubicBezTo>
                      <a:pt x="120015" y="80963"/>
                      <a:pt x="134303" y="82868"/>
                      <a:pt x="135255" y="85725"/>
                    </a:cubicBezTo>
                    <a:cubicBezTo>
                      <a:pt x="136208" y="88583"/>
                      <a:pt x="136208" y="88583"/>
                      <a:pt x="136208" y="88583"/>
                    </a:cubicBezTo>
                    <a:cubicBezTo>
                      <a:pt x="136208" y="88583"/>
                      <a:pt x="137160" y="92393"/>
                      <a:pt x="138113" y="95250"/>
                    </a:cubicBezTo>
                    <a:cubicBezTo>
                      <a:pt x="139065" y="98108"/>
                      <a:pt x="138113" y="101918"/>
                      <a:pt x="139065" y="103823"/>
                    </a:cubicBezTo>
                    <a:cubicBezTo>
                      <a:pt x="140018" y="105727"/>
                      <a:pt x="137160" y="109538"/>
                      <a:pt x="135255" y="111443"/>
                    </a:cubicBezTo>
                    <a:cubicBezTo>
                      <a:pt x="134303" y="113348"/>
                      <a:pt x="128588" y="115252"/>
                      <a:pt x="128588" y="115252"/>
                    </a:cubicBezTo>
                    <a:cubicBezTo>
                      <a:pt x="128588" y="115252"/>
                      <a:pt x="128588" y="116205"/>
                      <a:pt x="121920" y="118110"/>
                    </a:cubicBezTo>
                    <a:cubicBezTo>
                      <a:pt x="115253" y="120015"/>
                      <a:pt x="100013" y="122873"/>
                      <a:pt x="86678" y="121920"/>
                    </a:cubicBezTo>
                    <a:cubicBezTo>
                      <a:pt x="73343" y="120968"/>
                      <a:pt x="65723" y="121920"/>
                      <a:pt x="65723" y="121920"/>
                    </a:cubicBezTo>
                    <a:lnTo>
                      <a:pt x="60960" y="122873"/>
                    </a:lnTo>
                    <a:lnTo>
                      <a:pt x="52388" y="125730"/>
                    </a:lnTo>
                    <a:lnTo>
                      <a:pt x="43815" y="129540"/>
                    </a:lnTo>
                    <a:cubicBezTo>
                      <a:pt x="43815" y="129540"/>
                      <a:pt x="32385" y="128588"/>
                      <a:pt x="29528" y="130493"/>
                    </a:cubicBezTo>
                    <a:cubicBezTo>
                      <a:pt x="25718" y="131445"/>
                      <a:pt x="25718" y="131445"/>
                      <a:pt x="25718" y="131445"/>
                    </a:cubicBezTo>
                    <a:lnTo>
                      <a:pt x="20003" y="128588"/>
                    </a:lnTo>
                    <a:cubicBezTo>
                      <a:pt x="20003" y="128588"/>
                      <a:pt x="18098" y="121920"/>
                      <a:pt x="20955" y="121920"/>
                    </a:cubicBezTo>
                    <a:cubicBezTo>
                      <a:pt x="23813" y="121920"/>
                      <a:pt x="23813" y="121920"/>
                      <a:pt x="23813" y="121920"/>
                    </a:cubicBezTo>
                    <a:lnTo>
                      <a:pt x="31433" y="120015"/>
                    </a:lnTo>
                    <a:lnTo>
                      <a:pt x="37148" y="116205"/>
                    </a:lnTo>
                    <a:lnTo>
                      <a:pt x="37148" y="112395"/>
                    </a:lnTo>
                    <a:lnTo>
                      <a:pt x="32385" y="110490"/>
                    </a:lnTo>
                    <a:lnTo>
                      <a:pt x="27623" y="105727"/>
                    </a:lnTo>
                    <a:lnTo>
                      <a:pt x="26670" y="101918"/>
                    </a:lnTo>
                    <a:lnTo>
                      <a:pt x="31433" y="97155"/>
                    </a:lnTo>
                    <a:cubicBezTo>
                      <a:pt x="31433" y="97155"/>
                      <a:pt x="35243" y="93345"/>
                      <a:pt x="35243" y="90488"/>
                    </a:cubicBezTo>
                    <a:cubicBezTo>
                      <a:pt x="35243" y="88583"/>
                      <a:pt x="35243" y="91440"/>
                      <a:pt x="35243" y="88583"/>
                    </a:cubicBezTo>
                    <a:cubicBezTo>
                      <a:pt x="35243" y="84773"/>
                      <a:pt x="35243" y="84773"/>
                      <a:pt x="35243" y="84773"/>
                    </a:cubicBezTo>
                    <a:lnTo>
                      <a:pt x="51435" y="81915"/>
                    </a:lnTo>
                    <a:close/>
                  </a:path>
                </a:pathLst>
              </a:custGeom>
              <a:grpFill/>
              <a:ln w="9525" cap="flat">
                <a:noFill/>
                <a:prstDash val="solid"/>
                <a:miter/>
              </a:ln>
            </p:spPr>
            <p:txBody>
              <a:bodyPr rtlCol="0" anchor="ctr"/>
              <a:lstStyle/>
              <a:p>
                <a:endParaRPr lang="en-US" sz="1765"/>
              </a:p>
            </p:txBody>
          </p:sp>
          <p:sp>
            <p:nvSpPr>
              <p:cNvPr id="319" name="Freeform: Shape 318">
                <a:extLst>
                  <a:ext uri="{FF2B5EF4-FFF2-40B4-BE49-F238E27FC236}">
                    <a16:creationId xmlns:a16="http://schemas.microsoft.com/office/drawing/2014/main" id="{4E78B75D-322F-4E2D-9AA2-F49EC436BABA}"/>
                  </a:ext>
                </a:extLst>
              </p:cNvPr>
              <p:cNvSpPr/>
              <p:nvPr/>
            </p:nvSpPr>
            <p:spPr>
              <a:xfrm>
                <a:off x="8785412" y="3643993"/>
                <a:ext cx="34766" cy="12382"/>
              </a:xfrm>
              <a:custGeom>
                <a:avLst/>
                <a:gdLst>
                  <a:gd name="connsiteX0" fmla="*/ 25241 w 34766"/>
                  <a:gd name="connsiteY0" fmla="*/ 11430 h 12382"/>
                  <a:gd name="connsiteX1" fmla="*/ 13811 w 34766"/>
                  <a:gd name="connsiteY1" fmla="*/ 12383 h 12382"/>
                  <a:gd name="connsiteX2" fmla="*/ 7144 w 34766"/>
                  <a:gd name="connsiteY2" fmla="*/ 12383 h 12382"/>
                  <a:gd name="connsiteX3" fmla="*/ 476 w 34766"/>
                  <a:gd name="connsiteY3" fmla="*/ 9525 h 12382"/>
                  <a:gd name="connsiteX4" fmla="*/ 2381 w 34766"/>
                  <a:gd name="connsiteY4" fmla="*/ 4763 h 12382"/>
                  <a:gd name="connsiteX5" fmla="*/ 7144 w 34766"/>
                  <a:gd name="connsiteY5" fmla="*/ 5715 h 12382"/>
                  <a:gd name="connsiteX6" fmla="*/ 14764 w 34766"/>
                  <a:gd name="connsiteY6" fmla="*/ 1905 h 12382"/>
                  <a:gd name="connsiteX7" fmla="*/ 22384 w 34766"/>
                  <a:gd name="connsiteY7" fmla="*/ 952 h 12382"/>
                  <a:gd name="connsiteX8" fmla="*/ 28099 w 34766"/>
                  <a:gd name="connsiteY8" fmla="*/ 0 h 12382"/>
                  <a:gd name="connsiteX9" fmla="*/ 33814 w 34766"/>
                  <a:gd name="connsiteY9" fmla="*/ 1905 h 12382"/>
                  <a:gd name="connsiteX10" fmla="*/ 34766 w 34766"/>
                  <a:gd name="connsiteY10" fmla="*/ 6668 h 12382"/>
                  <a:gd name="connsiteX11" fmla="*/ 30004 w 34766"/>
                  <a:gd name="connsiteY11" fmla="*/ 9525 h 12382"/>
                  <a:gd name="connsiteX12" fmla="*/ 25241 w 34766"/>
                  <a:gd name="connsiteY12" fmla="*/ 11430 h 1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6" h="12382">
                    <a:moveTo>
                      <a:pt x="25241" y="11430"/>
                    </a:moveTo>
                    <a:lnTo>
                      <a:pt x="13811" y="12383"/>
                    </a:lnTo>
                    <a:lnTo>
                      <a:pt x="7144" y="12383"/>
                    </a:lnTo>
                    <a:lnTo>
                      <a:pt x="476" y="9525"/>
                    </a:lnTo>
                    <a:cubicBezTo>
                      <a:pt x="476" y="9525"/>
                      <a:pt x="-1429" y="3810"/>
                      <a:pt x="2381" y="4763"/>
                    </a:cubicBezTo>
                    <a:cubicBezTo>
                      <a:pt x="7144" y="5715"/>
                      <a:pt x="7144" y="5715"/>
                      <a:pt x="7144" y="5715"/>
                    </a:cubicBezTo>
                    <a:cubicBezTo>
                      <a:pt x="7144" y="5715"/>
                      <a:pt x="11906" y="952"/>
                      <a:pt x="14764" y="1905"/>
                    </a:cubicBezTo>
                    <a:cubicBezTo>
                      <a:pt x="17621" y="2858"/>
                      <a:pt x="22384" y="952"/>
                      <a:pt x="22384" y="952"/>
                    </a:cubicBezTo>
                    <a:lnTo>
                      <a:pt x="28099" y="0"/>
                    </a:lnTo>
                    <a:cubicBezTo>
                      <a:pt x="28099" y="0"/>
                      <a:pt x="33814" y="0"/>
                      <a:pt x="33814" y="1905"/>
                    </a:cubicBezTo>
                    <a:cubicBezTo>
                      <a:pt x="33814" y="3810"/>
                      <a:pt x="34766" y="4763"/>
                      <a:pt x="34766" y="6668"/>
                    </a:cubicBezTo>
                    <a:cubicBezTo>
                      <a:pt x="34766" y="8573"/>
                      <a:pt x="30004" y="9525"/>
                      <a:pt x="30004" y="9525"/>
                    </a:cubicBezTo>
                    <a:lnTo>
                      <a:pt x="25241" y="11430"/>
                    </a:lnTo>
                    <a:close/>
                  </a:path>
                </a:pathLst>
              </a:custGeom>
              <a:grpFill/>
              <a:ln w="9525" cap="flat">
                <a:noFill/>
                <a:prstDash val="solid"/>
                <a:miter/>
              </a:ln>
            </p:spPr>
            <p:txBody>
              <a:bodyPr rtlCol="0" anchor="ctr"/>
              <a:lstStyle/>
              <a:p>
                <a:endParaRPr lang="en-US" sz="1765"/>
              </a:p>
            </p:txBody>
          </p:sp>
          <p:sp>
            <p:nvSpPr>
              <p:cNvPr id="320" name="Freeform: Shape 319">
                <a:extLst>
                  <a:ext uri="{FF2B5EF4-FFF2-40B4-BE49-F238E27FC236}">
                    <a16:creationId xmlns:a16="http://schemas.microsoft.com/office/drawing/2014/main" id="{15A000FA-FB8B-4A6E-AE72-3629167D4733}"/>
                  </a:ext>
                </a:extLst>
              </p:cNvPr>
              <p:cNvSpPr/>
              <p:nvPr/>
            </p:nvSpPr>
            <p:spPr>
              <a:xfrm>
                <a:off x="8447641" y="2877241"/>
                <a:ext cx="251759" cy="93335"/>
              </a:xfrm>
              <a:custGeom>
                <a:avLst/>
                <a:gdLst>
                  <a:gd name="connsiteX0" fmla="*/ 176323 w 251759"/>
                  <a:gd name="connsiteY0" fmla="*/ 76190 h 93335"/>
                  <a:gd name="connsiteX1" fmla="*/ 163940 w 251759"/>
                  <a:gd name="connsiteY1" fmla="*/ 74285 h 93335"/>
                  <a:gd name="connsiteX2" fmla="*/ 156320 w 251759"/>
                  <a:gd name="connsiteY2" fmla="*/ 71428 h 93335"/>
                  <a:gd name="connsiteX3" fmla="*/ 156320 w 251759"/>
                  <a:gd name="connsiteY3" fmla="*/ 64760 h 93335"/>
                  <a:gd name="connsiteX4" fmla="*/ 156320 w 251759"/>
                  <a:gd name="connsiteY4" fmla="*/ 61903 h 93335"/>
                  <a:gd name="connsiteX5" fmla="*/ 142033 w 251759"/>
                  <a:gd name="connsiteY5" fmla="*/ 59998 h 93335"/>
                  <a:gd name="connsiteX6" fmla="*/ 132508 w 251759"/>
                  <a:gd name="connsiteY6" fmla="*/ 60950 h 93335"/>
                  <a:gd name="connsiteX7" fmla="*/ 125840 w 251759"/>
                  <a:gd name="connsiteY7" fmla="*/ 63808 h 93335"/>
                  <a:gd name="connsiteX8" fmla="*/ 121078 w 251759"/>
                  <a:gd name="connsiteY8" fmla="*/ 68570 h 93335"/>
                  <a:gd name="connsiteX9" fmla="*/ 104885 w 251759"/>
                  <a:gd name="connsiteY9" fmla="*/ 73333 h 93335"/>
                  <a:gd name="connsiteX10" fmla="*/ 95360 w 251759"/>
                  <a:gd name="connsiteY10" fmla="*/ 82858 h 93335"/>
                  <a:gd name="connsiteX11" fmla="*/ 95360 w 251759"/>
                  <a:gd name="connsiteY11" fmla="*/ 88573 h 93335"/>
                  <a:gd name="connsiteX12" fmla="*/ 86788 w 251759"/>
                  <a:gd name="connsiteY12" fmla="*/ 92383 h 93335"/>
                  <a:gd name="connsiteX13" fmla="*/ 74405 w 251759"/>
                  <a:gd name="connsiteY13" fmla="*/ 93335 h 93335"/>
                  <a:gd name="connsiteX14" fmla="*/ 62975 w 251759"/>
                  <a:gd name="connsiteY14" fmla="*/ 93335 h 93335"/>
                  <a:gd name="connsiteX15" fmla="*/ 53450 w 251759"/>
                  <a:gd name="connsiteY15" fmla="*/ 91430 h 93335"/>
                  <a:gd name="connsiteX16" fmla="*/ 52498 w 251759"/>
                  <a:gd name="connsiteY16" fmla="*/ 88573 h 93335"/>
                  <a:gd name="connsiteX17" fmla="*/ 51545 w 251759"/>
                  <a:gd name="connsiteY17" fmla="*/ 83810 h 93335"/>
                  <a:gd name="connsiteX18" fmla="*/ 49640 w 251759"/>
                  <a:gd name="connsiteY18" fmla="*/ 77143 h 93335"/>
                  <a:gd name="connsiteX19" fmla="*/ 48688 w 251759"/>
                  <a:gd name="connsiteY19" fmla="*/ 73333 h 93335"/>
                  <a:gd name="connsiteX20" fmla="*/ 49640 w 251759"/>
                  <a:gd name="connsiteY20" fmla="*/ 66665 h 93335"/>
                  <a:gd name="connsiteX21" fmla="*/ 51545 w 251759"/>
                  <a:gd name="connsiteY21" fmla="*/ 62855 h 93335"/>
                  <a:gd name="connsiteX22" fmla="*/ 54403 w 251759"/>
                  <a:gd name="connsiteY22" fmla="*/ 62855 h 93335"/>
                  <a:gd name="connsiteX23" fmla="*/ 58213 w 251759"/>
                  <a:gd name="connsiteY23" fmla="*/ 56188 h 93335"/>
                  <a:gd name="connsiteX24" fmla="*/ 58213 w 251759"/>
                  <a:gd name="connsiteY24" fmla="*/ 52378 h 93335"/>
                  <a:gd name="connsiteX25" fmla="*/ 58213 w 251759"/>
                  <a:gd name="connsiteY25" fmla="*/ 48568 h 93335"/>
                  <a:gd name="connsiteX26" fmla="*/ 44878 w 251759"/>
                  <a:gd name="connsiteY26" fmla="*/ 52378 h 93335"/>
                  <a:gd name="connsiteX27" fmla="*/ 43925 w 251759"/>
                  <a:gd name="connsiteY27" fmla="*/ 55235 h 93335"/>
                  <a:gd name="connsiteX28" fmla="*/ 19160 w 251759"/>
                  <a:gd name="connsiteY28" fmla="*/ 59045 h 93335"/>
                  <a:gd name="connsiteX29" fmla="*/ 11540 w 251759"/>
                  <a:gd name="connsiteY29" fmla="*/ 59045 h 93335"/>
                  <a:gd name="connsiteX30" fmla="*/ 2015 w 251759"/>
                  <a:gd name="connsiteY30" fmla="*/ 57140 h 93335"/>
                  <a:gd name="connsiteX31" fmla="*/ 1063 w 251759"/>
                  <a:gd name="connsiteY31" fmla="*/ 46663 h 93335"/>
                  <a:gd name="connsiteX32" fmla="*/ 5825 w 251759"/>
                  <a:gd name="connsiteY32" fmla="*/ 38090 h 93335"/>
                  <a:gd name="connsiteX33" fmla="*/ 5825 w 251759"/>
                  <a:gd name="connsiteY33" fmla="*/ 30470 h 93335"/>
                  <a:gd name="connsiteX34" fmla="*/ 4873 w 251759"/>
                  <a:gd name="connsiteY34" fmla="*/ 27613 h 93335"/>
                  <a:gd name="connsiteX35" fmla="*/ 12493 w 251759"/>
                  <a:gd name="connsiteY35" fmla="*/ 22850 h 93335"/>
                  <a:gd name="connsiteX36" fmla="*/ 26780 w 251759"/>
                  <a:gd name="connsiteY36" fmla="*/ 20945 h 93335"/>
                  <a:gd name="connsiteX37" fmla="*/ 42973 w 251759"/>
                  <a:gd name="connsiteY37" fmla="*/ 19993 h 93335"/>
                  <a:gd name="connsiteX38" fmla="*/ 64880 w 251759"/>
                  <a:gd name="connsiteY38" fmla="*/ 19040 h 93335"/>
                  <a:gd name="connsiteX39" fmla="*/ 87740 w 251759"/>
                  <a:gd name="connsiteY39" fmla="*/ 14278 h 93335"/>
                  <a:gd name="connsiteX40" fmla="*/ 115363 w 251759"/>
                  <a:gd name="connsiteY40" fmla="*/ 14278 h 93335"/>
                  <a:gd name="connsiteX41" fmla="*/ 129650 w 251759"/>
                  <a:gd name="connsiteY41" fmla="*/ 7610 h 93335"/>
                  <a:gd name="connsiteX42" fmla="*/ 138223 w 251759"/>
                  <a:gd name="connsiteY42" fmla="*/ 2848 h 93335"/>
                  <a:gd name="connsiteX43" fmla="*/ 149653 w 251759"/>
                  <a:gd name="connsiteY43" fmla="*/ 1895 h 93335"/>
                  <a:gd name="connsiteX44" fmla="*/ 165845 w 251759"/>
                  <a:gd name="connsiteY44" fmla="*/ 6658 h 93335"/>
                  <a:gd name="connsiteX45" fmla="*/ 182038 w 251759"/>
                  <a:gd name="connsiteY45" fmla="*/ 9515 h 93335"/>
                  <a:gd name="connsiteX46" fmla="*/ 203945 w 251759"/>
                  <a:gd name="connsiteY46" fmla="*/ 8563 h 93335"/>
                  <a:gd name="connsiteX47" fmla="*/ 215375 w 251759"/>
                  <a:gd name="connsiteY47" fmla="*/ 8563 h 93335"/>
                  <a:gd name="connsiteX48" fmla="*/ 241093 w 251759"/>
                  <a:gd name="connsiteY48" fmla="*/ 8563 h 93335"/>
                  <a:gd name="connsiteX49" fmla="*/ 249665 w 251759"/>
                  <a:gd name="connsiteY49" fmla="*/ 10468 h 93335"/>
                  <a:gd name="connsiteX50" fmla="*/ 251570 w 251759"/>
                  <a:gd name="connsiteY50" fmla="*/ 17135 h 93335"/>
                  <a:gd name="connsiteX51" fmla="*/ 247760 w 251759"/>
                  <a:gd name="connsiteY51" fmla="*/ 23803 h 93335"/>
                  <a:gd name="connsiteX52" fmla="*/ 239188 w 251759"/>
                  <a:gd name="connsiteY52" fmla="*/ 26660 h 93335"/>
                  <a:gd name="connsiteX53" fmla="*/ 216328 w 251759"/>
                  <a:gd name="connsiteY53" fmla="*/ 27613 h 93335"/>
                  <a:gd name="connsiteX54" fmla="*/ 203945 w 251759"/>
                  <a:gd name="connsiteY54" fmla="*/ 30470 h 93335"/>
                  <a:gd name="connsiteX55" fmla="*/ 175370 w 251759"/>
                  <a:gd name="connsiteY55" fmla="*/ 30470 h 93335"/>
                  <a:gd name="connsiteX56" fmla="*/ 162035 w 251759"/>
                  <a:gd name="connsiteY56" fmla="*/ 28565 h 93335"/>
                  <a:gd name="connsiteX57" fmla="*/ 148700 w 251759"/>
                  <a:gd name="connsiteY57" fmla="*/ 21898 h 93335"/>
                  <a:gd name="connsiteX58" fmla="*/ 134413 w 251759"/>
                  <a:gd name="connsiteY58" fmla="*/ 22850 h 93335"/>
                  <a:gd name="connsiteX59" fmla="*/ 134413 w 251759"/>
                  <a:gd name="connsiteY59" fmla="*/ 24755 h 93335"/>
                  <a:gd name="connsiteX60" fmla="*/ 134413 w 251759"/>
                  <a:gd name="connsiteY60" fmla="*/ 27613 h 93335"/>
                  <a:gd name="connsiteX61" fmla="*/ 147748 w 251759"/>
                  <a:gd name="connsiteY61" fmla="*/ 29518 h 93335"/>
                  <a:gd name="connsiteX62" fmla="*/ 157273 w 251759"/>
                  <a:gd name="connsiteY62" fmla="*/ 34280 h 93335"/>
                  <a:gd name="connsiteX63" fmla="*/ 165845 w 251759"/>
                  <a:gd name="connsiteY63" fmla="*/ 39043 h 93335"/>
                  <a:gd name="connsiteX64" fmla="*/ 179180 w 251759"/>
                  <a:gd name="connsiteY64" fmla="*/ 39995 h 93335"/>
                  <a:gd name="connsiteX65" fmla="*/ 183943 w 251759"/>
                  <a:gd name="connsiteY65" fmla="*/ 43805 h 93335"/>
                  <a:gd name="connsiteX66" fmla="*/ 187753 w 251759"/>
                  <a:gd name="connsiteY66" fmla="*/ 52378 h 93335"/>
                  <a:gd name="connsiteX67" fmla="*/ 201088 w 251759"/>
                  <a:gd name="connsiteY67" fmla="*/ 58093 h 93335"/>
                  <a:gd name="connsiteX68" fmla="*/ 220138 w 251759"/>
                  <a:gd name="connsiteY68" fmla="*/ 59998 h 93335"/>
                  <a:gd name="connsiteX69" fmla="*/ 227758 w 251759"/>
                  <a:gd name="connsiteY69" fmla="*/ 61903 h 93335"/>
                  <a:gd name="connsiteX70" fmla="*/ 229663 w 251759"/>
                  <a:gd name="connsiteY70" fmla="*/ 64760 h 93335"/>
                  <a:gd name="connsiteX71" fmla="*/ 232520 w 251759"/>
                  <a:gd name="connsiteY71" fmla="*/ 68570 h 93335"/>
                  <a:gd name="connsiteX72" fmla="*/ 222995 w 251759"/>
                  <a:gd name="connsiteY72" fmla="*/ 72380 h 93335"/>
                  <a:gd name="connsiteX73" fmla="*/ 211565 w 251759"/>
                  <a:gd name="connsiteY73" fmla="*/ 73333 h 93335"/>
                  <a:gd name="connsiteX74" fmla="*/ 202993 w 251759"/>
                  <a:gd name="connsiteY74" fmla="*/ 72380 h 93335"/>
                  <a:gd name="connsiteX75" fmla="*/ 182038 w 251759"/>
                  <a:gd name="connsiteY75" fmla="*/ 76190 h 93335"/>
                  <a:gd name="connsiteX76" fmla="*/ 176323 w 251759"/>
                  <a:gd name="connsiteY76" fmla="*/ 76190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1759" h="93335">
                    <a:moveTo>
                      <a:pt x="176323" y="76190"/>
                    </a:moveTo>
                    <a:cubicBezTo>
                      <a:pt x="176323" y="76190"/>
                      <a:pt x="167750" y="74285"/>
                      <a:pt x="163940" y="74285"/>
                    </a:cubicBezTo>
                    <a:cubicBezTo>
                      <a:pt x="161083" y="73333"/>
                      <a:pt x="156320" y="71428"/>
                      <a:pt x="156320" y="71428"/>
                    </a:cubicBezTo>
                    <a:lnTo>
                      <a:pt x="156320" y="64760"/>
                    </a:lnTo>
                    <a:lnTo>
                      <a:pt x="156320" y="61903"/>
                    </a:lnTo>
                    <a:cubicBezTo>
                      <a:pt x="148700" y="59998"/>
                      <a:pt x="145843" y="58093"/>
                      <a:pt x="142033" y="59998"/>
                    </a:cubicBezTo>
                    <a:cubicBezTo>
                      <a:pt x="139175" y="60950"/>
                      <a:pt x="132508" y="60950"/>
                      <a:pt x="132508" y="60950"/>
                    </a:cubicBezTo>
                    <a:lnTo>
                      <a:pt x="125840" y="63808"/>
                    </a:lnTo>
                    <a:cubicBezTo>
                      <a:pt x="125840" y="63808"/>
                      <a:pt x="124888" y="65713"/>
                      <a:pt x="121078" y="68570"/>
                    </a:cubicBezTo>
                    <a:cubicBezTo>
                      <a:pt x="117268" y="71428"/>
                      <a:pt x="108695" y="66665"/>
                      <a:pt x="104885" y="73333"/>
                    </a:cubicBezTo>
                    <a:cubicBezTo>
                      <a:pt x="100123" y="80000"/>
                      <a:pt x="95360" y="82858"/>
                      <a:pt x="95360" y="82858"/>
                    </a:cubicBezTo>
                    <a:lnTo>
                      <a:pt x="95360" y="88573"/>
                    </a:lnTo>
                    <a:lnTo>
                      <a:pt x="86788" y="92383"/>
                    </a:lnTo>
                    <a:lnTo>
                      <a:pt x="74405" y="93335"/>
                    </a:lnTo>
                    <a:lnTo>
                      <a:pt x="62975" y="93335"/>
                    </a:lnTo>
                    <a:lnTo>
                      <a:pt x="53450" y="91430"/>
                    </a:lnTo>
                    <a:lnTo>
                      <a:pt x="52498" y="88573"/>
                    </a:lnTo>
                    <a:lnTo>
                      <a:pt x="51545" y="83810"/>
                    </a:lnTo>
                    <a:lnTo>
                      <a:pt x="49640" y="77143"/>
                    </a:lnTo>
                    <a:lnTo>
                      <a:pt x="48688" y="73333"/>
                    </a:lnTo>
                    <a:lnTo>
                      <a:pt x="49640" y="66665"/>
                    </a:lnTo>
                    <a:cubicBezTo>
                      <a:pt x="49640" y="66665"/>
                      <a:pt x="48688" y="62855"/>
                      <a:pt x="51545" y="62855"/>
                    </a:cubicBezTo>
                    <a:cubicBezTo>
                      <a:pt x="54403" y="62855"/>
                      <a:pt x="54403" y="62855"/>
                      <a:pt x="54403" y="62855"/>
                    </a:cubicBezTo>
                    <a:lnTo>
                      <a:pt x="58213" y="56188"/>
                    </a:lnTo>
                    <a:lnTo>
                      <a:pt x="58213" y="52378"/>
                    </a:lnTo>
                    <a:lnTo>
                      <a:pt x="58213" y="48568"/>
                    </a:lnTo>
                    <a:cubicBezTo>
                      <a:pt x="50593" y="49520"/>
                      <a:pt x="45830" y="49520"/>
                      <a:pt x="44878" y="52378"/>
                    </a:cubicBezTo>
                    <a:cubicBezTo>
                      <a:pt x="43925" y="55235"/>
                      <a:pt x="43925" y="55235"/>
                      <a:pt x="43925" y="55235"/>
                    </a:cubicBezTo>
                    <a:lnTo>
                      <a:pt x="19160" y="59045"/>
                    </a:lnTo>
                    <a:cubicBezTo>
                      <a:pt x="19160" y="59045"/>
                      <a:pt x="14398" y="59045"/>
                      <a:pt x="11540" y="59045"/>
                    </a:cubicBezTo>
                    <a:cubicBezTo>
                      <a:pt x="8683" y="59045"/>
                      <a:pt x="2015" y="57140"/>
                      <a:pt x="2015" y="57140"/>
                    </a:cubicBezTo>
                    <a:cubicBezTo>
                      <a:pt x="2015" y="57140"/>
                      <a:pt x="-1795" y="49520"/>
                      <a:pt x="1063" y="46663"/>
                    </a:cubicBezTo>
                    <a:cubicBezTo>
                      <a:pt x="4873" y="43805"/>
                      <a:pt x="4873" y="39995"/>
                      <a:pt x="5825" y="38090"/>
                    </a:cubicBezTo>
                    <a:cubicBezTo>
                      <a:pt x="6778" y="36185"/>
                      <a:pt x="5825" y="30470"/>
                      <a:pt x="5825" y="30470"/>
                    </a:cubicBezTo>
                    <a:lnTo>
                      <a:pt x="4873" y="27613"/>
                    </a:lnTo>
                    <a:cubicBezTo>
                      <a:pt x="4873" y="27613"/>
                      <a:pt x="6778" y="22850"/>
                      <a:pt x="12493" y="22850"/>
                    </a:cubicBezTo>
                    <a:cubicBezTo>
                      <a:pt x="18208" y="22850"/>
                      <a:pt x="22018" y="20945"/>
                      <a:pt x="26780" y="20945"/>
                    </a:cubicBezTo>
                    <a:cubicBezTo>
                      <a:pt x="31543" y="20945"/>
                      <a:pt x="35353" y="19993"/>
                      <a:pt x="42973" y="19993"/>
                    </a:cubicBezTo>
                    <a:cubicBezTo>
                      <a:pt x="50593" y="20945"/>
                      <a:pt x="58213" y="19040"/>
                      <a:pt x="64880" y="19040"/>
                    </a:cubicBezTo>
                    <a:cubicBezTo>
                      <a:pt x="71548" y="19993"/>
                      <a:pt x="80120" y="14278"/>
                      <a:pt x="87740" y="14278"/>
                    </a:cubicBezTo>
                    <a:cubicBezTo>
                      <a:pt x="95360" y="14278"/>
                      <a:pt x="107743" y="13325"/>
                      <a:pt x="115363" y="14278"/>
                    </a:cubicBezTo>
                    <a:cubicBezTo>
                      <a:pt x="122983" y="15230"/>
                      <a:pt x="129650" y="7610"/>
                      <a:pt x="129650" y="7610"/>
                    </a:cubicBezTo>
                    <a:cubicBezTo>
                      <a:pt x="129650" y="7610"/>
                      <a:pt x="133460" y="2848"/>
                      <a:pt x="138223" y="2848"/>
                    </a:cubicBezTo>
                    <a:cubicBezTo>
                      <a:pt x="143938" y="2848"/>
                      <a:pt x="132508" y="-2867"/>
                      <a:pt x="149653" y="1895"/>
                    </a:cubicBezTo>
                    <a:cubicBezTo>
                      <a:pt x="165845" y="6658"/>
                      <a:pt x="165845" y="6658"/>
                      <a:pt x="165845" y="6658"/>
                    </a:cubicBezTo>
                    <a:cubicBezTo>
                      <a:pt x="165845" y="6658"/>
                      <a:pt x="176323" y="9515"/>
                      <a:pt x="182038" y="9515"/>
                    </a:cubicBezTo>
                    <a:cubicBezTo>
                      <a:pt x="187753" y="9515"/>
                      <a:pt x="203945" y="8563"/>
                      <a:pt x="203945" y="8563"/>
                    </a:cubicBezTo>
                    <a:cubicBezTo>
                      <a:pt x="203945" y="8563"/>
                      <a:pt x="209660" y="7610"/>
                      <a:pt x="215375" y="8563"/>
                    </a:cubicBezTo>
                    <a:cubicBezTo>
                      <a:pt x="221090" y="9515"/>
                      <a:pt x="236330" y="7610"/>
                      <a:pt x="241093" y="8563"/>
                    </a:cubicBezTo>
                    <a:cubicBezTo>
                      <a:pt x="245855" y="9515"/>
                      <a:pt x="249665" y="10468"/>
                      <a:pt x="249665" y="10468"/>
                    </a:cubicBezTo>
                    <a:cubicBezTo>
                      <a:pt x="249665" y="10468"/>
                      <a:pt x="250618" y="14278"/>
                      <a:pt x="251570" y="17135"/>
                    </a:cubicBezTo>
                    <a:cubicBezTo>
                      <a:pt x="252523" y="20945"/>
                      <a:pt x="249665" y="21898"/>
                      <a:pt x="247760" y="23803"/>
                    </a:cubicBezTo>
                    <a:cubicBezTo>
                      <a:pt x="246808" y="25708"/>
                      <a:pt x="239188" y="26660"/>
                      <a:pt x="239188" y="26660"/>
                    </a:cubicBezTo>
                    <a:lnTo>
                      <a:pt x="216328" y="27613"/>
                    </a:lnTo>
                    <a:lnTo>
                      <a:pt x="203945" y="30470"/>
                    </a:lnTo>
                    <a:lnTo>
                      <a:pt x="175370" y="30470"/>
                    </a:lnTo>
                    <a:lnTo>
                      <a:pt x="162035" y="28565"/>
                    </a:lnTo>
                    <a:lnTo>
                      <a:pt x="148700" y="21898"/>
                    </a:lnTo>
                    <a:cubicBezTo>
                      <a:pt x="148700" y="21898"/>
                      <a:pt x="134413" y="19993"/>
                      <a:pt x="134413" y="22850"/>
                    </a:cubicBezTo>
                    <a:cubicBezTo>
                      <a:pt x="134413" y="24755"/>
                      <a:pt x="134413" y="24755"/>
                      <a:pt x="134413" y="24755"/>
                    </a:cubicBezTo>
                    <a:cubicBezTo>
                      <a:pt x="134413" y="24755"/>
                      <a:pt x="129650" y="25708"/>
                      <a:pt x="134413" y="27613"/>
                    </a:cubicBezTo>
                    <a:cubicBezTo>
                      <a:pt x="139175" y="29518"/>
                      <a:pt x="143938" y="27613"/>
                      <a:pt x="147748" y="29518"/>
                    </a:cubicBezTo>
                    <a:cubicBezTo>
                      <a:pt x="150605" y="31423"/>
                      <a:pt x="153463" y="31423"/>
                      <a:pt x="157273" y="34280"/>
                    </a:cubicBezTo>
                    <a:cubicBezTo>
                      <a:pt x="162035" y="36185"/>
                      <a:pt x="159178" y="38090"/>
                      <a:pt x="165845" y="39043"/>
                    </a:cubicBezTo>
                    <a:cubicBezTo>
                      <a:pt x="172513" y="39995"/>
                      <a:pt x="174418" y="35233"/>
                      <a:pt x="179180" y="39995"/>
                    </a:cubicBezTo>
                    <a:cubicBezTo>
                      <a:pt x="183943" y="43805"/>
                      <a:pt x="182990" y="39043"/>
                      <a:pt x="183943" y="43805"/>
                    </a:cubicBezTo>
                    <a:cubicBezTo>
                      <a:pt x="184895" y="49520"/>
                      <a:pt x="184895" y="50473"/>
                      <a:pt x="187753" y="52378"/>
                    </a:cubicBezTo>
                    <a:cubicBezTo>
                      <a:pt x="190610" y="54283"/>
                      <a:pt x="201088" y="58093"/>
                      <a:pt x="201088" y="58093"/>
                    </a:cubicBezTo>
                    <a:lnTo>
                      <a:pt x="220138" y="59998"/>
                    </a:lnTo>
                    <a:cubicBezTo>
                      <a:pt x="220138" y="59998"/>
                      <a:pt x="225853" y="59045"/>
                      <a:pt x="227758" y="61903"/>
                    </a:cubicBezTo>
                    <a:cubicBezTo>
                      <a:pt x="229663" y="64760"/>
                      <a:pt x="226805" y="60950"/>
                      <a:pt x="229663" y="64760"/>
                    </a:cubicBezTo>
                    <a:cubicBezTo>
                      <a:pt x="232520" y="68570"/>
                      <a:pt x="232520" y="65713"/>
                      <a:pt x="232520" y="68570"/>
                    </a:cubicBezTo>
                    <a:cubicBezTo>
                      <a:pt x="232520" y="71428"/>
                      <a:pt x="226805" y="71428"/>
                      <a:pt x="222995" y="72380"/>
                    </a:cubicBezTo>
                    <a:cubicBezTo>
                      <a:pt x="218233" y="73333"/>
                      <a:pt x="211565" y="73333"/>
                      <a:pt x="211565" y="73333"/>
                    </a:cubicBezTo>
                    <a:lnTo>
                      <a:pt x="202993" y="72380"/>
                    </a:lnTo>
                    <a:lnTo>
                      <a:pt x="182038" y="76190"/>
                    </a:lnTo>
                    <a:lnTo>
                      <a:pt x="176323" y="76190"/>
                    </a:lnTo>
                    <a:close/>
                  </a:path>
                </a:pathLst>
              </a:custGeom>
              <a:grpFill/>
              <a:ln w="9525" cap="flat">
                <a:noFill/>
                <a:prstDash val="solid"/>
                <a:miter/>
              </a:ln>
            </p:spPr>
            <p:txBody>
              <a:bodyPr rtlCol="0" anchor="ctr"/>
              <a:lstStyle/>
              <a:p>
                <a:endParaRPr lang="en-US" sz="1765"/>
              </a:p>
            </p:txBody>
          </p:sp>
          <p:sp>
            <p:nvSpPr>
              <p:cNvPr id="321" name="Freeform: Shape 320">
                <a:extLst>
                  <a:ext uri="{FF2B5EF4-FFF2-40B4-BE49-F238E27FC236}">
                    <a16:creationId xmlns:a16="http://schemas.microsoft.com/office/drawing/2014/main" id="{E66DAB7E-29B1-4EF9-94F8-8C450CDB8D43}"/>
                  </a:ext>
                </a:extLst>
              </p:cNvPr>
              <p:cNvSpPr/>
              <p:nvPr/>
            </p:nvSpPr>
            <p:spPr>
              <a:xfrm>
                <a:off x="9058304" y="2871622"/>
                <a:ext cx="56780" cy="22754"/>
              </a:xfrm>
              <a:custGeom>
                <a:avLst/>
                <a:gdLst>
                  <a:gd name="connsiteX0" fmla="*/ 50482 w 56780"/>
                  <a:gd name="connsiteY0" fmla="*/ 17039 h 22754"/>
                  <a:gd name="connsiteX1" fmla="*/ 45720 w 56780"/>
                  <a:gd name="connsiteY1" fmla="*/ 21802 h 22754"/>
                  <a:gd name="connsiteX2" fmla="*/ 33338 w 56780"/>
                  <a:gd name="connsiteY2" fmla="*/ 22754 h 22754"/>
                  <a:gd name="connsiteX3" fmla="*/ 24765 w 56780"/>
                  <a:gd name="connsiteY3" fmla="*/ 21802 h 22754"/>
                  <a:gd name="connsiteX4" fmla="*/ 11430 w 56780"/>
                  <a:gd name="connsiteY4" fmla="*/ 19897 h 22754"/>
                  <a:gd name="connsiteX5" fmla="*/ 5715 w 56780"/>
                  <a:gd name="connsiteY5" fmla="*/ 16087 h 22754"/>
                  <a:gd name="connsiteX6" fmla="*/ 5715 w 56780"/>
                  <a:gd name="connsiteY6" fmla="*/ 9419 h 22754"/>
                  <a:gd name="connsiteX7" fmla="*/ 0 w 56780"/>
                  <a:gd name="connsiteY7" fmla="*/ 6562 h 22754"/>
                  <a:gd name="connsiteX8" fmla="*/ 12382 w 56780"/>
                  <a:gd name="connsiteY8" fmla="*/ 2752 h 22754"/>
                  <a:gd name="connsiteX9" fmla="*/ 32385 w 56780"/>
                  <a:gd name="connsiteY9" fmla="*/ 847 h 22754"/>
                  <a:gd name="connsiteX10" fmla="*/ 55245 w 56780"/>
                  <a:gd name="connsiteY10" fmla="*/ 847 h 22754"/>
                  <a:gd name="connsiteX11" fmla="*/ 56197 w 56780"/>
                  <a:gd name="connsiteY11" fmla="*/ 5609 h 22754"/>
                  <a:gd name="connsiteX12" fmla="*/ 50482 w 56780"/>
                  <a:gd name="connsiteY12" fmla="*/ 17039 h 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80" h="22754">
                    <a:moveTo>
                      <a:pt x="50482" y="17039"/>
                    </a:moveTo>
                    <a:cubicBezTo>
                      <a:pt x="50482" y="17039"/>
                      <a:pt x="51435" y="20849"/>
                      <a:pt x="45720" y="21802"/>
                    </a:cubicBezTo>
                    <a:cubicBezTo>
                      <a:pt x="40005" y="22754"/>
                      <a:pt x="33338" y="22754"/>
                      <a:pt x="33338" y="22754"/>
                    </a:cubicBezTo>
                    <a:lnTo>
                      <a:pt x="24765" y="21802"/>
                    </a:lnTo>
                    <a:lnTo>
                      <a:pt x="11430" y="19897"/>
                    </a:lnTo>
                    <a:lnTo>
                      <a:pt x="5715" y="16087"/>
                    </a:lnTo>
                    <a:lnTo>
                      <a:pt x="5715" y="9419"/>
                    </a:lnTo>
                    <a:lnTo>
                      <a:pt x="0" y="6562"/>
                    </a:lnTo>
                    <a:cubicBezTo>
                      <a:pt x="0" y="6562"/>
                      <a:pt x="5715" y="3704"/>
                      <a:pt x="12382" y="2752"/>
                    </a:cubicBezTo>
                    <a:cubicBezTo>
                      <a:pt x="19050" y="1799"/>
                      <a:pt x="32385" y="847"/>
                      <a:pt x="32385" y="847"/>
                    </a:cubicBezTo>
                    <a:cubicBezTo>
                      <a:pt x="32385" y="847"/>
                      <a:pt x="53340" y="-1058"/>
                      <a:pt x="55245" y="847"/>
                    </a:cubicBezTo>
                    <a:cubicBezTo>
                      <a:pt x="57150" y="2752"/>
                      <a:pt x="55245" y="3704"/>
                      <a:pt x="56197" y="5609"/>
                    </a:cubicBezTo>
                    <a:cubicBezTo>
                      <a:pt x="59055" y="8467"/>
                      <a:pt x="50482" y="17039"/>
                      <a:pt x="50482" y="17039"/>
                    </a:cubicBezTo>
                    <a:close/>
                  </a:path>
                </a:pathLst>
              </a:custGeom>
              <a:grpFill/>
              <a:ln w="9525" cap="flat">
                <a:noFill/>
                <a:prstDash val="solid"/>
                <a:miter/>
              </a:ln>
            </p:spPr>
            <p:txBody>
              <a:bodyPr rtlCol="0" anchor="ctr"/>
              <a:lstStyle/>
              <a:p>
                <a:endParaRPr lang="en-US" sz="1765"/>
              </a:p>
            </p:txBody>
          </p:sp>
          <p:sp>
            <p:nvSpPr>
              <p:cNvPr id="322" name="Freeform: Shape 321">
                <a:extLst>
                  <a:ext uri="{FF2B5EF4-FFF2-40B4-BE49-F238E27FC236}">
                    <a16:creationId xmlns:a16="http://schemas.microsoft.com/office/drawing/2014/main" id="{9206AFD0-B81D-4227-865B-8C11ABDDD5A9}"/>
                  </a:ext>
                </a:extLst>
              </p:cNvPr>
              <p:cNvSpPr/>
              <p:nvPr/>
            </p:nvSpPr>
            <p:spPr>
              <a:xfrm>
                <a:off x="9201686" y="2869293"/>
                <a:ext cx="54949" cy="34309"/>
              </a:xfrm>
              <a:custGeom>
                <a:avLst/>
                <a:gdLst>
                  <a:gd name="connsiteX0" fmla="*/ 26163 w 54949"/>
                  <a:gd name="connsiteY0" fmla="*/ 6985 h 34309"/>
                  <a:gd name="connsiteX1" fmla="*/ 9971 w 54949"/>
                  <a:gd name="connsiteY1" fmla="*/ 1270 h 34309"/>
                  <a:gd name="connsiteX2" fmla="*/ 4255 w 54949"/>
                  <a:gd name="connsiteY2" fmla="*/ 1270 h 34309"/>
                  <a:gd name="connsiteX3" fmla="*/ 446 w 54949"/>
                  <a:gd name="connsiteY3" fmla="*/ 7938 h 34309"/>
                  <a:gd name="connsiteX4" fmla="*/ 2350 w 54949"/>
                  <a:gd name="connsiteY4" fmla="*/ 10795 h 34309"/>
                  <a:gd name="connsiteX5" fmla="*/ 7113 w 54949"/>
                  <a:gd name="connsiteY5" fmla="*/ 13652 h 34309"/>
                  <a:gd name="connsiteX6" fmla="*/ 8065 w 54949"/>
                  <a:gd name="connsiteY6" fmla="*/ 20320 h 34309"/>
                  <a:gd name="connsiteX7" fmla="*/ 3303 w 54949"/>
                  <a:gd name="connsiteY7" fmla="*/ 33655 h 34309"/>
                  <a:gd name="connsiteX8" fmla="*/ 15685 w 54949"/>
                  <a:gd name="connsiteY8" fmla="*/ 32702 h 34309"/>
                  <a:gd name="connsiteX9" fmla="*/ 29973 w 54949"/>
                  <a:gd name="connsiteY9" fmla="*/ 31750 h 34309"/>
                  <a:gd name="connsiteX10" fmla="*/ 35688 w 54949"/>
                  <a:gd name="connsiteY10" fmla="*/ 29845 h 34309"/>
                  <a:gd name="connsiteX11" fmla="*/ 43308 w 54949"/>
                  <a:gd name="connsiteY11" fmla="*/ 31750 h 34309"/>
                  <a:gd name="connsiteX12" fmla="*/ 48071 w 54949"/>
                  <a:gd name="connsiteY12" fmla="*/ 31750 h 34309"/>
                  <a:gd name="connsiteX13" fmla="*/ 52833 w 54949"/>
                  <a:gd name="connsiteY13" fmla="*/ 24130 h 34309"/>
                  <a:gd name="connsiteX14" fmla="*/ 52833 w 54949"/>
                  <a:gd name="connsiteY14" fmla="*/ 16510 h 34309"/>
                  <a:gd name="connsiteX15" fmla="*/ 44260 w 54949"/>
                  <a:gd name="connsiteY15" fmla="*/ 13652 h 34309"/>
                  <a:gd name="connsiteX16" fmla="*/ 30925 w 54949"/>
                  <a:gd name="connsiteY16" fmla="*/ 14605 h 34309"/>
                  <a:gd name="connsiteX17" fmla="*/ 26163 w 54949"/>
                  <a:gd name="connsiteY17" fmla="*/ 6985 h 3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949" h="34309">
                    <a:moveTo>
                      <a:pt x="26163" y="6985"/>
                    </a:moveTo>
                    <a:lnTo>
                      <a:pt x="9971" y="1270"/>
                    </a:lnTo>
                    <a:cubicBezTo>
                      <a:pt x="9971" y="1270"/>
                      <a:pt x="5208" y="-1587"/>
                      <a:pt x="4255" y="1270"/>
                    </a:cubicBezTo>
                    <a:cubicBezTo>
                      <a:pt x="3303" y="4127"/>
                      <a:pt x="-1460" y="5080"/>
                      <a:pt x="446" y="7938"/>
                    </a:cubicBezTo>
                    <a:cubicBezTo>
                      <a:pt x="2350" y="10795"/>
                      <a:pt x="-1460" y="7938"/>
                      <a:pt x="2350" y="10795"/>
                    </a:cubicBezTo>
                    <a:cubicBezTo>
                      <a:pt x="7113" y="13652"/>
                      <a:pt x="7113" y="13652"/>
                      <a:pt x="7113" y="13652"/>
                    </a:cubicBezTo>
                    <a:cubicBezTo>
                      <a:pt x="7113" y="13652"/>
                      <a:pt x="9971" y="16510"/>
                      <a:pt x="8065" y="20320"/>
                    </a:cubicBezTo>
                    <a:cubicBezTo>
                      <a:pt x="6160" y="24130"/>
                      <a:pt x="-2412" y="32702"/>
                      <a:pt x="3303" y="33655"/>
                    </a:cubicBezTo>
                    <a:cubicBezTo>
                      <a:pt x="9018" y="35560"/>
                      <a:pt x="9018" y="32702"/>
                      <a:pt x="15685" y="32702"/>
                    </a:cubicBezTo>
                    <a:cubicBezTo>
                      <a:pt x="22353" y="33655"/>
                      <a:pt x="29973" y="31750"/>
                      <a:pt x="29973" y="31750"/>
                    </a:cubicBezTo>
                    <a:cubicBezTo>
                      <a:pt x="29973" y="31750"/>
                      <a:pt x="31878" y="27940"/>
                      <a:pt x="35688" y="29845"/>
                    </a:cubicBezTo>
                    <a:cubicBezTo>
                      <a:pt x="38546" y="31750"/>
                      <a:pt x="43308" y="31750"/>
                      <a:pt x="43308" y="31750"/>
                    </a:cubicBezTo>
                    <a:cubicBezTo>
                      <a:pt x="43308" y="31750"/>
                      <a:pt x="43308" y="34607"/>
                      <a:pt x="48071" y="31750"/>
                    </a:cubicBezTo>
                    <a:cubicBezTo>
                      <a:pt x="52833" y="28893"/>
                      <a:pt x="52833" y="24130"/>
                      <a:pt x="52833" y="24130"/>
                    </a:cubicBezTo>
                    <a:cubicBezTo>
                      <a:pt x="52833" y="24130"/>
                      <a:pt x="57596" y="18415"/>
                      <a:pt x="52833" y="16510"/>
                    </a:cubicBezTo>
                    <a:cubicBezTo>
                      <a:pt x="48071" y="14605"/>
                      <a:pt x="52833" y="13652"/>
                      <a:pt x="44260" y="13652"/>
                    </a:cubicBezTo>
                    <a:cubicBezTo>
                      <a:pt x="35688" y="13652"/>
                      <a:pt x="30925" y="14605"/>
                      <a:pt x="30925" y="14605"/>
                    </a:cubicBezTo>
                    <a:lnTo>
                      <a:pt x="26163" y="6985"/>
                    </a:lnTo>
                    <a:close/>
                  </a:path>
                </a:pathLst>
              </a:custGeom>
              <a:grpFill/>
              <a:ln w="9525" cap="flat">
                <a:noFill/>
                <a:prstDash val="solid"/>
                <a:miter/>
              </a:ln>
            </p:spPr>
            <p:txBody>
              <a:bodyPr rtlCol="0" anchor="ctr"/>
              <a:lstStyle/>
              <a:p>
                <a:endParaRPr lang="en-US" sz="1765"/>
              </a:p>
            </p:txBody>
          </p:sp>
          <p:sp>
            <p:nvSpPr>
              <p:cNvPr id="323" name="Freeform: Shape 322">
                <a:extLst>
                  <a:ext uri="{FF2B5EF4-FFF2-40B4-BE49-F238E27FC236}">
                    <a16:creationId xmlns:a16="http://schemas.microsoft.com/office/drawing/2014/main" id="{8C80799B-EF17-4D93-8B06-FC4F2B02F4E0}"/>
                  </a:ext>
                </a:extLst>
              </p:cNvPr>
              <p:cNvSpPr/>
              <p:nvPr/>
            </p:nvSpPr>
            <p:spPr>
              <a:xfrm>
                <a:off x="9276426" y="2869611"/>
                <a:ext cx="103883" cy="23812"/>
              </a:xfrm>
              <a:custGeom>
                <a:avLst/>
                <a:gdLst>
                  <a:gd name="connsiteX0" fmla="*/ 94297 w 103883"/>
                  <a:gd name="connsiteY0" fmla="*/ 17145 h 23812"/>
                  <a:gd name="connsiteX1" fmla="*/ 82868 w 103883"/>
                  <a:gd name="connsiteY1" fmla="*/ 20955 h 23812"/>
                  <a:gd name="connsiteX2" fmla="*/ 61913 w 103883"/>
                  <a:gd name="connsiteY2" fmla="*/ 20955 h 23812"/>
                  <a:gd name="connsiteX3" fmla="*/ 53340 w 103883"/>
                  <a:gd name="connsiteY3" fmla="*/ 20955 h 23812"/>
                  <a:gd name="connsiteX4" fmla="*/ 44768 w 103883"/>
                  <a:gd name="connsiteY4" fmla="*/ 21908 h 23812"/>
                  <a:gd name="connsiteX5" fmla="*/ 32385 w 103883"/>
                  <a:gd name="connsiteY5" fmla="*/ 22860 h 23812"/>
                  <a:gd name="connsiteX6" fmla="*/ 22860 w 103883"/>
                  <a:gd name="connsiteY6" fmla="*/ 23813 h 23812"/>
                  <a:gd name="connsiteX7" fmla="*/ 10478 w 103883"/>
                  <a:gd name="connsiteY7" fmla="*/ 21908 h 23812"/>
                  <a:gd name="connsiteX8" fmla="*/ 4763 w 103883"/>
                  <a:gd name="connsiteY8" fmla="*/ 20002 h 23812"/>
                  <a:gd name="connsiteX9" fmla="*/ 0 w 103883"/>
                  <a:gd name="connsiteY9" fmla="*/ 18097 h 23812"/>
                  <a:gd name="connsiteX10" fmla="*/ 1905 w 103883"/>
                  <a:gd name="connsiteY10" fmla="*/ 13335 h 23812"/>
                  <a:gd name="connsiteX11" fmla="*/ 7620 w 103883"/>
                  <a:gd name="connsiteY11" fmla="*/ 11430 h 23812"/>
                  <a:gd name="connsiteX12" fmla="*/ 12382 w 103883"/>
                  <a:gd name="connsiteY12" fmla="*/ 6667 h 23812"/>
                  <a:gd name="connsiteX13" fmla="*/ 30480 w 103883"/>
                  <a:gd name="connsiteY13" fmla="*/ 3810 h 23812"/>
                  <a:gd name="connsiteX14" fmla="*/ 46672 w 103883"/>
                  <a:gd name="connsiteY14" fmla="*/ 2858 h 23812"/>
                  <a:gd name="connsiteX15" fmla="*/ 66675 w 103883"/>
                  <a:gd name="connsiteY15" fmla="*/ 1905 h 23812"/>
                  <a:gd name="connsiteX16" fmla="*/ 80010 w 103883"/>
                  <a:gd name="connsiteY16" fmla="*/ 952 h 23812"/>
                  <a:gd name="connsiteX17" fmla="*/ 89535 w 103883"/>
                  <a:gd name="connsiteY17" fmla="*/ 0 h 23812"/>
                  <a:gd name="connsiteX18" fmla="*/ 101918 w 103883"/>
                  <a:gd name="connsiteY18" fmla="*/ 1905 h 23812"/>
                  <a:gd name="connsiteX19" fmla="*/ 103822 w 103883"/>
                  <a:gd name="connsiteY19" fmla="*/ 8572 h 23812"/>
                  <a:gd name="connsiteX20" fmla="*/ 94297 w 103883"/>
                  <a:gd name="connsiteY20" fmla="*/ 17145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883" h="23812">
                    <a:moveTo>
                      <a:pt x="94297" y="17145"/>
                    </a:moveTo>
                    <a:cubicBezTo>
                      <a:pt x="82868" y="20955"/>
                      <a:pt x="89535" y="20002"/>
                      <a:pt x="82868" y="20955"/>
                    </a:cubicBezTo>
                    <a:cubicBezTo>
                      <a:pt x="76200" y="21908"/>
                      <a:pt x="61913" y="20955"/>
                      <a:pt x="61913" y="20955"/>
                    </a:cubicBezTo>
                    <a:lnTo>
                      <a:pt x="53340" y="20955"/>
                    </a:lnTo>
                    <a:lnTo>
                      <a:pt x="44768" y="21908"/>
                    </a:lnTo>
                    <a:lnTo>
                      <a:pt x="32385" y="22860"/>
                    </a:lnTo>
                    <a:lnTo>
                      <a:pt x="22860" y="23813"/>
                    </a:lnTo>
                    <a:lnTo>
                      <a:pt x="10478" y="21908"/>
                    </a:lnTo>
                    <a:lnTo>
                      <a:pt x="4763" y="20002"/>
                    </a:lnTo>
                    <a:lnTo>
                      <a:pt x="0" y="18097"/>
                    </a:lnTo>
                    <a:lnTo>
                      <a:pt x="1905" y="13335"/>
                    </a:lnTo>
                    <a:cubicBezTo>
                      <a:pt x="7620" y="11430"/>
                      <a:pt x="7620" y="11430"/>
                      <a:pt x="7620" y="11430"/>
                    </a:cubicBezTo>
                    <a:cubicBezTo>
                      <a:pt x="7620" y="11430"/>
                      <a:pt x="-953" y="8572"/>
                      <a:pt x="12382" y="6667"/>
                    </a:cubicBezTo>
                    <a:cubicBezTo>
                      <a:pt x="25718" y="4763"/>
                      <a:pt x="26670" y="3810"/>
                      <a:pt x="30480" y="3810"/>
                    </a:cubicBezTo>
                    <a:cubicBezTo>
                      <a:pt x="33338" y="3810"/>
                      <a:pt x="42863" y="1905"/>
                      <a:pt x="46672" y="2858"/>
                    </a:cubicBezTo>
                    <a:cubicBezTo>
                      <a:pt x="51435" y="3810"/>
                      <a:pt x="66675" y="1905"/>
                      <a:pt x="66675" y="1905"/>
                    </a:cubicBezTo>
                    <a:lnTo>
                      <a:pt x="80010" y="952"/>
                    </a:lnTo>
                    <a:cubicBezTo>
                      <a:pt x="80010" y="952"/>
                      <a:pt x="86678" y="0"/>
                      <a:pt x="89535" y="0"/>
                    </a:cubicBezTo>
                    <a:cubicBezTo>
                      <a:pt x="92393" y="0"/>
                      <a:pt x="101918" y="1905"/>
                      <a:pt x="101918" y="1905"/>
                    </a:cubicBezTo>
                    <a:cubicBezTo>
                      <a:pt x="101918" y="1905"/>
                      <a:pt x="103822" y="3810"/>
                      <a:pt x="103822" y="8572"/>
                    </a:cubicBezTo>
                    <a:cubicBezTo>
                      <a:pt x="104775" y="12383"/>
                      <a:pt x="94297" y="17145"/>
                      <a:pt x="94297" y="17145"/>
                    </a:cubicBezTo>
                    <a:close/>
                  </a:path>
                </a:pathLst>
              </a:custGeom>
              <a:grpFill/>
              <a:ln w="9525" cap="flat">
                <a:noFill/>
                <a:prstDash val="solid"/>
                <a:miter/>
              </a:ln>
            </p:spPr>
            <p:txBody>
              <a:bodyPr rtlCol="0" anchor="ctr"/>
              <a:lstStyle/>
              <a:p>
                <a:endParaRPr lang="en-US" sz="1765"/>
              </a:p>
            </p:txBody>
          </p:sp>
          <p:sp>
            <p:nvSpPr>
              <p:cNvPr id="324" name="Freeform: Shape 323">
                <a:extLst>
                  <a:ext uri="{FF2B5EF4-FFF2-40B4-BE49-F238E27FC236}">
                    <a16:creationId xmlns:a16="http://schemas.microsoft.com/office/drawing/2014/main" id="{26361282-203F-476B-AD86-5469E831C108}"/>
                  </a:ext>
                </a:extLst>
              </p:cNvPr>
              <p:cNvSpPr/>
              <p:nvPr/>
            </p:nvSpPr>
            <p:spPr>
              <a:xfrm>
                <a:off x="9131646" y="2973963"/>
                <a:ext cx="307657" cy="137583"/>
              </a:xfrm>
              <a:custGeom>
                <a:avLst/>
                <a:gdLst>
                  <a:gd name="connsiteX0" fmla="*/ 307658 w 307657"/>
                  <a:gd name="connsiteY0" fmla="*/ 7091 h 137583"/>
                  <a:gd name="connsiteX1" fmla="*/ 303848 w 307657"/>
                  <a:gd name="connsiteY1" fmla="*/ 12806 h 137583"/>
                  <a:gd name="connsiteX2" fmla="*/ 296228 w 307657"/>
                  <a:gd name="connsiteY2" fmla="*/ 16616 h 137583"/>
                  <a:gd name="connsiteX3" fmla="*/ 269558 w 307657"/>
                  <a:gd name="connsiteY3" fmla="*/ 18521 h 137583"/>
                  <a:gd name="connsiteX4" fmla="*/ 261938 w 307657"/>
                  <a:gd name="connsiteY4" fmla="*/ 18521 h 137583"/>
                  <a:gd name="connsiteX5" fmla="*/ 252413 w 307657"/>
                  <a:gd name="connsiteY5" fmla="*/ 19473 h 137583"/>
                  <a:gd name="connsiteX6" fmla="*/ 243840 w 307657"/>
                  <a:gd name="connsiteY6" fmla="*/ 21378 h 137583"/>
                  <a:gd name="connsiteX7" fmla="*/ 239078 w 307657"/>
                  <a:gd name="connsiteY7" fmla="*/ 25188 h 137583"/>
                  <a:gd name="connsiteX8" fmla="*/ 232410 w 307657"/>
                  <a:gd name="connsiteY8" fmla="*/ 28998 h 137583"/>
                  <a:gd name="connsiteX9" fmla="*/ 210503 w 307657"/>
                  <a:gd name="connsiteY9" fmla="*/ 29951 h 137583"/>
                  <a:gd name="connsiteX10" fmla="*/ 182880 w 307657"/>
                  <a:gd name="connsiteY10" fmla="*/ 30903 h 137583"/>
                  <a:gd name="connsiteX11" fmla="*/ 171450 w 307657"/>
                  <a:gd name="connsiteY11" fmla="*/ 34713 h 137583"/>
                  <a:gd name="connsiteX12" fmla="*/ 159068 w 307657"/>
                  <a:gd name="connsiteY12" fmla="*/ 41381 h 137583"/>
                  <a:gd name="connsiteX13" fmla="*/ 141923 w 307657"/>
                  <a:gd name="connsiteY13" fmla="*/ 55668 h 137583"/>
                  <a:gd name="connsiteX14" fmla="*/ 135255 w 307657"/>
                  <a:gd name="connsiteY14" fmla="*/ 58526 h 137583"/>
                  <a:gd name="connsiteX15" fmla="*/ 125730 w 307657"/>
                  <a:gd name="connsiteY15" fmla="*/ 62336 h 137583"/>
                  <a:gd name="connsiteX16" fmla="*/ 110490 w 307657"/>
                  <a:gd name="connsiteY16" fmla="*/ 69956 h 137583"/>
                  <a:gd name="connsiteX17" fmla="*/ 100013 w 307657"/>
                  <a:gd name="connsiteY17" fmla="*/ 74718 h 137583"/>
                  <a:gd name="connsiteX18" fmla="*/ 93345 w 307657"/>
                  <a:gd name="connsiteY18" fmla="*/ 76623 h 137583"/>
                  <a:gd name="connsiteX19" fmla="*/ 86678 w 307657"/>
                  <a:gd name="connsiteY19" fmla="*/ 78528 h 137583"/>
                  <a:gd name="connsiteX20" fmla="*/ 80010 w 307657"/>
                  <a:gd name="connsiteY20" fmla="*/ 83291 h 137583"/>
                  <a:gd name="connsiteX21" fmla="*/ 74295 w 307657"/>
                  <a:gd name="connsiteY21" fmla="*/ 87101 h 137583"/>
                  <a:gd name="connsiteX22" fmla="*/ 69533 w 307657"/>
                  <a:gd name="connsiteY22" fmla="*/ 91863 h 137583"/>
                  <a:gd name="connsiteX23" fmla="*/ 68580 w 307657"/>
                  <a:gd name="connsiteY23" fmla="*/ 104246 h 137583"/>
                  <a:gd name="connsiteX24" fmla="*/ 70485 w 307657"/>
                  <a:gd name="connsiteY24" fmla="*/ 110913 h 137583"/>
                  <a:gd name="connsiteX25" fmla="*/ 83820 w 307657"/>
                  <a:gd name="connsiteY25" fmla="*/ 118533 h 137583"/>
                  <a:gd name="connsiteX26" fmla="*/ 87630 w 307657"/>
                  <a:gd name="connsiteY26" fmla="*/ 128058 h 137583"/>
                  <a:gd name="connsiteX27" fmla="*/ 90488 w 307657"/>
                  <a:gd name="connsiteY27" fmla="*/ 129963 h 137583"/>
                  <a:gd name="connsiteX28" fmla="*/ 89535 w 307657"/>
                  <a:gd name="connsiteY28" fmla="*/ 134726 h 137583"/>
                  <a:gd name="connsiteX29" fmla="*/ 80010 w 307657"/>
                  <a:gd name="connsiteY29" fmla="*/ 136631 h 137583"/>
                  <a:gd name="connsiteX30" fmla="*/ 71438 w 307657"/>
                  <a:gd name="connsiteY30" fmla="*/ 137583 h 137583"/>
                  <a:gd name="connsiteX31" fmla="*/ 56198 w 307657"/>
                  <a:gd name="connsiteY31" fmla="*/ 135678 h 137583"/>
                  <a:gd name="connsiteX32" fmla="*/ 36195 w 307657"/>
                  <a:gd name="connsiteY32" fmla="*/ 128058 h 137583"/>
                  <a:gd name="connsiteX33" fmla="*/ 20955 w 307657"/>
                  <a:gd name="connsiteY33" fmla="*/ 125201 h 137583"/>
                  <a:gd name="connsiteX34" fmla="*/ 11430 w 307657"/>
                  <a:gd name="connsiteY34" fmla="*/ 125201 h 137583"/>
                  <a:gd name="connsiteX35" fmla="*/ 4763 w 307657"/>
                  <a:gd name="connsiteY35" fmla="*/ 123296 h 137583"/>
                  <a:gd name="connsiteX36" fmla="*/ 3810 w 307657"/>
                  <a:gd name="connsiteY36" fmla="*/ 120438 h 137583"/>
                  <a:gd name="connsiteX37" fmla="*/ 0 w 307657"/>
                  <a:gd name="connsiteY37" fmla="*/ 105198 h 137583"/>
                  <a:gd name="connsiteX38" fmla="*/ 4763 w 307657"/>
                  <a:gd name="connsiteY38" fmla="*/ 98531 h 137583"/>
                  <a:gd name="connsiteX39" fmla="*/ 11430 w 307657"/>
                  <a:gd name="connsiteY39" fmla="*/ 92816 h 137583"/>
                  <a:gd name="connsiteX40" fmla="*/ 19050 w 307657"/>
                  <a:gd name="connsiteY40" fmla="*/ 89006 h 137583"/>
                  <a:gd name="connsiteX41" fmla="*/ 23813 w 307657"/>
                  <a:gd name="connsiteY41" fmla="*/ 88053 h 137583"/>
                  <a:gd name="connsiteX42" fmla="*/ 47625 w 307657"/>
                  <a:gd name="connsiteY42" fmla="*/ 75671 h 137583"/>
                  <a:gd name="connsiteX43" fmla="*/ 60008 w 307657"/>
                  <a:gd name="connsiteY43" fmla="*/ 67098 h 137583"/>
                  <a:gd name="connsiteX44" fmla="*/ 71438 w 307657"/>
                  <a:gd name="connsiteY44" fmla="*/ 50906 h 137583"/>
                  <a:gd name="connsiteX45" fmla="*/ 80010 w 307657"/>
                  <a:gd name="connsiteY45" fmla="*/ 45191 h 137583"/>
                  <a:gd name="connsiteX46" fmla="*/ 90488 w 307657"/>
                  <a:gd name="connsiteY46" fmla="*/ 40428 h 137583"/>
                  <a:gd name="connsiteX47" fmla="*/ 98108 w 307657"/>
                  <a:gd name="connsiteY47" fmla="*/ 40428 h 137583"/>
                  <a:gd name="connsiteX48" fmla="*/ 112395 w 307657"/>
                  <a:gd name="connsiteY48" fmla="*/ 35666 h 137583"/>
                  <a:gd name="connsiteX49" fmla="*/ 121920 w 307657"/>
                  <a:gd name="connsiteY49" fmla="*/ 32808 h 137583"/>
                  <a:gd name="connsiteX50" fmla="*/ 137160 w 307657"/>
                  <a:gd name="connsiteY50" fmla="*/ 26141 h 137583"/>
                  <a:gd name="connsiteX51" fmla="*/ 148590 w 307657"/>
                  <a:gd name="connsiteY51" fmla="*/ 22331 h 137583"/>
                  <a:gd name="connsiteX52" fmla="*/ 157163 w 307657"/>
                  <a:gd name="connsiteY52" fmla="*/ 20426 h 137583"/>
                  <a:gd name="connsiteX53" fmla="*/ 171450 w 307657"/>
                  <a:gd name="connsiteY53" fmla="*/ 18521 h 137583"/>
                  <a:gd name="connsiteX54" fmla="*/ 183833 w 307657"/>
                  <a:gd name="connsiteY54" fmla="*/ 18521 h 137583"/>
                  <a:gd name="connsiteX55" fmla="*/ 208598 w 307657"/>
                  <a:gd name="connsiteY55" fmla="*/ 15663 h 137583"/>
                  <a:gd name="connsiteX56" fmla="*/ 220980 w 307657"/>
                  <a:gd name="connsiteY56" fmla="*/ 11853 h 137583"/>
                  <a:gd name="connsiteX57" fmla="*/ 234315 w 307657"/>
                  <a:gd name="connsiteY57" fmla="*/ 8043 h 137583"/>
                  <a:gd name="connsiteX58" fmla="*/ 237173 w 307657"/>
                  <a:gd name="connsiteY58" fmla="*/ 7091 h 137583"/>
                  <a:gd name="connsiteX59" fmla="*/ 241935 w 307657"/>
                  <a:gd name="connsiteY59" fmla="*/ 3281 h 137583"/>
                  <a:gd name="connsiteX60" fmla="*/ 262890 w 307657"/>
                  <a:gd name="connsiteY60" fmla="*/ 3281 h 137583"/>
                  <a:gd name="connsiteX61" fmla="*/ 268605 w 307657"/>
                  <a:gd name="connsiteY61" fmla="*/ 2328 h 137583"/>
                  <a:gd name="connsiteX62" fmla="*/ 293370 w 307657"/>
                  <a:gd name="connsiteY62" fmla="*/ 423 h 137583"/>
                  <a:gd name="connsiteX63" fmla="*/ 300990 w 307657"/>
                  <a:gd name="connsiteY63" fmla="*/ 423 h 137583"/>
                  <a:gd name="connsiteX64" fmla="*/ 307658 w 307657"/>
                  <a:gd name="connsiteY64" fmla="*/ 7091 h 13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07657" h="137583">
                    <a:moveTo>
                      <a:pt x="307658" y="7091"/>
                    </a:moveTo>
                    <a:cubicBezTo>
                      <a:pt x="307658" y="8996"/>
                      <a:pt x="303848" y="12806"/>
                      <a:pt x="303848" y="12806"/>
                    </a:cubicBezTo>
                    <a:cubicBezTo>
                      <a:pt x="303848" y="12806"/>
                      <a:pt x="302895" y="14711"/>
                      <a:pt x="296228" y="16616"/>
                    </a:cubicBezTo>
                    <a:cubicBezTo>
                      <a:pt x="289560" y="18521"/>
                      <a:pt x="269558" y="18521"/>
                      <a:pt x="269558" y="18521"/>
                    </a:cubicBezTo>
                    <a:lnTo>
                      <a:pt x="261938" y="18521"/>
                    </a:lnTo>
                    <a:lnTo>
                      <a:pt x="252413" y="19473"/>
                    </a:lnTo>
                    <a:cubicBezTo>
                      <a:pt x="252413" y="19473"/>
                      <a:pt x="247650" y="17568"/>
                      <a:pt x="243840" y="21378"/>
                    </a:cubicBezTo>
                    <a:cubicBezTo>
                      <a:pt x="239078" y="25188"/>
                      <a:pt x="239078" y="25188"/>
                      <a:pt x="239078" y="25188"/>
                    </a:cubicBezTo>
                    <a:lnTo>
                      <a:pt x="232410" y="28998"/>
                    </a:lnTo>
                    <a:cubicBezTo>
                      <a:pt x="232410" y="28998"/>
                      <a:pt x="213360" y="29951"/>
                      <a:pt x="210503" y="29951"/>
                    </a:cubicBezTo>
                    <a:cubicBezTo>
                      <a:pt x="207645" y="29951"/>
                      <a:pt x="182880" y="30903"/>
                      <a:pt x="182880" y="30903"/>
                    </a:cubicBezTo>
                    <a:lnTo>
                      <a:pt x="171450" y="34713"/>
                    </a:lnTo>
                    <a:lnTo>
                      <a:pt x="159068" y="41381"/>
                    </a:lnTo>
                    <a:cubicBezTo>
                      <a:pt x="159068" y="41381"/>
                      <a:pt x="144780" y="53763"/>
                      <a:pt x="141923" y="55668"/>
                    </a:cubicBezTo>
                    <a:cubicBezTo>
                      <a:pt x="140018" y="57573"/>
                      <a:pt x="137160" y="56621"/>
                      <a:pt x="135255" y="58526"/>
                    </a:cubicBezTo>
                    <a:cubicBezTo>
                      <a:pt x="133350" y="60431"/>
                      <a:pt x="126683" y="59478"/>
                      <a:pt x="125730" y="62336"/>
                    </a:cubicBezTo>
                    <a:cubicBezTo>
                      <a:pt x="124778" y="65193"/>
                      <a:pt x="111443" y="68051"/>
                      <a:pt x="110490" y="69956"/>
                    </a:cubicBezTo>
                    <a:cubicBezTo>
                      <a:pt x="109538" y="71861"/>
                      <a:pt x="100013" y="74718"/>
                      <a:pt x="100013" y="74718"/>
                    </a:cubicBezTo>
                    <a:lnTo>
                      <a:pt x="93345" y="76623"/>
                    </a:lnTo>
                    <a:cubicBezTo>
                      <a:pt x="93345" y="76623"/>
                      <a:pt x="88583" y="75671"/>
                      <a:pt x="86678" y="78528"/>
                    </a:cubicBezTo>
                    <a:cubicBezTo>
                      <a:pt x="84773" y="81386"/>
                      <a:pt x="85725" y="79481"/>
                      <a:pt x="80010" y="83291"/>
                    </a:cubicBezTo>
                    <a:cubicBezTo>
                      <a:pt x="74295" y="87101"/>
                      <a:pt x="79058" y="82338"/>
                      <a:pt x="74295" y="87101"/>
                    </a:cubicBezTo>
                    <a:cubicBezTo>
                      <a:pt x="69533" y="91863"/>
                      <a:pt x="73343" y="86148"/>
                      <a:pt x="69533" y="91863"/>
                    </a:cubicBezTo>
                    <a:cubicBezTo>
                      <a:pt x="65723" y="98531"/>
                      <a:pt x="65723" y="97578"/>
                      <a:pt x="68580" y="104246"/>
                    </a:cubicBezTo>
                    <a:cubicBezTo>
                      <a:pt x="70485" y="110913"/>
                      <a:pt x="70485" y="110913"/>
                      <a:pt x="70485" y="110913"/>
                    </a:cubicBezTo>
                    <a:lnTo>
                      <a:pt x="83820" y="118533"/>
                    </a:lnTo>
                    <a:cubicBezTo>
                      <a:pt x="83820" y="118533"/>
                      <a:pt x="84773" y="126153"/>
                      <a:pt x="87630" y="128058"/>
                    </a:cubicBezTo>
                    <a:cubicBezTo>
                      <a:pt x="90488" y="129963"/>
                      <a:pt x="89535" y="128058"/>
                      <a:pt x="90488" y="129963"/>
                    </a:cubicBezTo>
                    <a:cubicBezTo>
                      <a:pt x="91440" y="130916"/>
                      <a:pt x="89535" y="134726"/>
                      <a:pt x="89535" y="134726"/>
                    </a:cubicBezTo>
                    <a:lnTo>
                      <a:pt x="80010" y="136631"/>
                    </a:lnTo>
                    <a:lnTo>
                      <a:pt x="71438" y="137583"/>
                    </a:lnTo>
                    <a:lnTo>
                      <a:pt x="56198" y="135678"/>
                    </a:lnTo>
                    <a:lnTo>
                      <a:pt x="36195" y="128058"/>
                    </a:lnTo>
                    <a:cubicBezTo>
                      <a:pt x="30480" y="125201"/>
                      <a:pt x="26670" y="125201"/>
                      <a:pt x="20955" y="125201"/>
                    </a:cubicBezTo>
                    <a:cubicBezTo>
                      <a:pt x="15240" y="125201"/>
                      <a:pt x="11430" y="125201"/>
                      <a:pt x="11430" y="125201"/>
                    </a:cubicBezTo>
                    <a:lnTo>
                      <a:pt x="4763" y="123296"/>
                    </a:lnTo>
                    <a:cubicBezTo>
                      <a:pt x="4763" y="123296"/>
                      <a:pt x="6668" y="129963"/>
                      <a:pt x="3810" y="120438"/>
                    </a:cubicBezTo>
                    <a:cubicBezTo>
                      <a:pt x="953" y="110913"/>
                      <a:pt x="0" y="105198"/>
                      <a:pt x="0" y="105198"/>
                    </a:cubicBezTo>
                    <a:cubicBezTo>
                      <a:pt x="0" y="105198"/>
                      <a:pt x="953" y="98531"/>
                      <a:pt x="4763" y="98531"/>
                    </a:cubicBezTo>
                    <a:cubicBezTo>
                      <a:pt x="7620" y="98531"/>
                      <a:pt x="8573" y="92816"/>
                      <a:pt x="11430" y="92816"/>
                    </a:cubicBezTo>
                    <a:cubicBezTo>
                      <a:pt x="14288" y="92816"/>
                      <a:pt x="14288" y="90911"/>
                      <a:pt x="19050" y="89006"/>
                    </a:cubicBezTo>
                    <a:cubicBezTo>
                      <a:pt x="23813" y="88053"/>
                      <a:pt x="14288" y="89958"/>
                      <a:pt x="23813" y="88053"/>
                    </a:cubicBezTo>
                    <a:cubicBezTo>
                      <a:pt x="32385" y="85196"/>
                      <a:pt x="40958" y="78528"/>
                      <a:pt x="47625" y="75671"/>
                    </a:cubicBezTo>
                    <a:cubicBezTo>
                      <a:pt x="54293" y="72813"/>
                      <a:pt x="55245" y="69003"/>
                      <a:pt x="60008" y="67098"/>
                    </a:cubicBezTo>
                    <a:cubicBezTo>
                      <a:pt x="64770" y="65193"/>
                      <a:pt x="71438" y="50906"/>
                      <a:pt x="71438" y="50906"/>
                    </a:cubicBezTo>
                    <a:cubicBezTo>
                      <a:pt x="71438" y="50906"/>
                      <a:pt x="76200" y="47096"/>
                      <a:pt x="80010" y="45191"/>
                    </a:cubicBezTo>
                    <a:cubicBezTo>
                      <a:pt x="84773" y="43286"/>
                      <a:pt x="81915" y="40428"/>
                      <a:pt x="90488" y="40428"/>
                    </a:cubicBezTo>
                    <a:cubicBezTo>
                      <a:pt x="98108" y="40428"/>
                      <a:pt x="90488" y="43286"/>
                      <a:pt x="98108" y="40428"/>
                    </a:cubicBezTo>
                    <a:cubicBezTo>
                      <a:pt x="105728" y="37571"/>
                      <a:pt x="112395" y="35666"/>
                      <a:pt x="112395" y="35666"/>
                    </a:cubicBezTo>
                    <a:lnTo>
                      <a:pt x="121920" y="32808"/>
                    </a:lnTo>
                    <a:cubicBezTo>
                      <a:pt x="121920" y="32808"/>
                      <a:pt x="132398" y="26141"/>
                      <a:pt x="137160" y="26141"/>
                    </a:cubicBezTo>
                    <a:cubicBezTo>
                      <a:pt x="142875" y="25188"/>
                      <a:pt x="144780" y="24236"/>
                      <a:pt x="148590" y="22331"/>
                    </a:cubicBezTo>
                    <a:cubicBezTo>
                      <a:pt x="151448" y="21378"/>
                      <a:pt x="154305" y="20426"/>
                      <a:pt x="157163" y="20426"/>
                    </a:cubicBezTo>
                    <a:cubicBezTo>
                      <a:pt x="160020" y="20426"/>
                      <a:pt x="168593" y="17568"/>
                      <a:pt x="171450" y="18521"/>
                    </a:cubicBezTo>
                    <a:cubicBezTo>
                      <a:pt x="174308" y="19473"/>
                      <a:pt x="183833" y="18521"/>
                      <a:pt x="183833" y="18521"/>
                    </a:cubicBezTo>
                    <a:cubicBezTo>
                      <a:pt x="183833" y="18521"/>
                      <a:pt x="203835" y="14711"/>
                      <a:pt x="208598" y="15663"/>
                    </a:cubicBezTo>
                    <a:cubicBezTo>
                      <a:pt x="213360" y="15663"/>
                      <a:pt x="215265" y="11853"/>
                      <a:pt x="220980" y="11853"/>
                    </a:cubicBezTo>
                    <a:cubicBezTo>
                      <a:pt x="226695" y="11853"/>
                      <a:pt x="230505" y="8043"/>
                      <a:pt x="234315" y="8043"/>
                    </a:cubicBezTo>
                    <a:cubicBezTo>
                      <a:pt x="237173" y="7091"/>
                      <a:pt x="237173" y="7091"/>
                      <a:pt x="237173" y="7091"/>
                    </a:cubicBezTo>
                    <a:lnTo>
                      <a:pt x="241935" y="3281"/>
                    </a:lnTo>
                    <a:lnTo>
                      <a:pt x="262890" y="3281"/>
                    </a:lnTo>
                    <a:lnTo>
                      <a:pt x="268605" y="2328"/>
                    </a:lnTo>
                    <a:lnTo>
                      <a:pt x="293370" y="423"/>
                    </a:lnTo>
                    <a:cubicBezTo>
                      <a:pt x="293370" y="423"/>
                      <a:pt x="296228" y="-529"/>
                      <a:pt x="300990" y="423"/>
                    </a:cubicBezTo>
                    <a:cubicBezTo>
                      <a:pt x="303848" y="423"/>
                      <a:pt x="307658" y="7091"/>
                      <a:pt x="307658" y="7091"/>
                    </a:cubicBezTo>
                    <a:close/>
                  </a:path>
                </a:pathLst>
              </a:custGeom>
              <a:grpFill/>
              <a:ln w="9525" cap="flat">
                <a:noFill/>
                <a:prstDash val="solid"/>
                <a:miter/>
              </a:ln>
            </p:spPr>
            <p:txBody>
              <a:bodyPr rtlCol="0" anchor="ctr"/>
              <a:lstStyle/>
              <a:p>
                <a:endParaRPr lang="en-US" sz="1765"/>
              </a:p>
            </p:txBody>
          </p:sp>
          <p:sp>
            <p:nvSpPr>
              <p:cNvPr id="325" name="Freeform: Shape 324">
                <a:extLst>
                  <a:ext uri="{FF2B5EF4-FFF2-40B4-BE49-F238E27FC236}">
                    <a16:creationId xmlns:a16="http://schemas.microsoft.com/office/drawing/2014/main" id="{A2E28A12-018E-41A9-907A-443B736B7D27}"/>
                  </a:ext>
                </a:extLst>
              </p:cNvPr>
              <p:cNvSpPr/>
              <p:nvPr/>
            </p:nvSpPr>
            <p:spPr>
              <a:xfrm>
                <a:off x="9073544" y="3125834"/>
                <a:ext cx="28769" cy="20002"/>
              </a:xfrm>
              <a:custGeom>
                <a:avLst/>
                <a:gdLst>
                  <a:gd name="connsiteX0" fmla="*/ 26670 w 28769"/>
                  <a:gd name="connsiteY0" fmla="*/ 16193 h 20002"/>
                  <a:gd name="connsiteX1" fmla="*/ 18097 w 28769"/>
                  <a:gd name="connsiteY1" fmla="*/ 17145 h 20002"/>
                  <a:gd name="connsiteX2" fmla="*/ 9525 w 28769"/>
                  <a:gd name="connsiteY2" fmla="*/ 20002 h 20002"/>
                  <a:gd name="connsiteX3" fmla="*/ 952 w 28769"/>
                  <a:gd name="connsiteY3" fmla="*/ 18097 h 20002"/>
                  <a:gd name="connsiteX4" fmla="*/ 0 w 28769"/>
                  <a:gd name="connsiteY4" fmla="*/ 12382 h 20002"/>
                  <a:gd name="connsiteX5" fmla="*/ 1905 w 28769"/>
                  <a:gd name="connsiteY5" fmla="*/ 8572 h 20002"/>
                  <a:gd name="connsiteX6" fmla="*/ 5715 w 28769"/>
                  <a:gd name="connsiteY6" fmla="*/ 5715 h 20002"/>
                  <a:gd name="connsiteX7" fmla="*/ 6667 w 28769"/>
                  <a:gd name="connsiteY7" fmla="*/ 1905 h 20002"/>
                  <a:gd name="connsiteX8" fmla="*/ 16192 w 28769"/>
                  <a:gd name="connsiteY8" fmla="*/ 0 h 20002"/>
                  <a:gd name="connsiteX9" fmla="*/ 28575 w 28769"/>
                  <a:gd name="connsiteY9" fmla="*/ 3810 h 20002"/>
                  <a:gd name="connsiteX10" fmla="*/ 26670 w 28769"/>
                  <a:gd name="connsiteY10" fmla="*/ 16193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69" h="20002">
                    <a:moveTo>
                      <a:pt x="26670" y="16193"/>
                    </a:moveTo>
                    <a:cubicBezTo>
                      <a:pt x="26670" y="16193"/>
                      <a:pt x="26670" y="15240"/>
                      <a:pt x="18097" y="17145"/>
                    </a:cubicBezTo>
                    <a:cubicBezTo>
                      <a:pt x="9525" y="20002"/>
                      <a:pt x="9525" y="20002"/>
                      <a:pt x="9525" y="20002"/>
                    </a:cubicBezTo>
                    <a:lnTo>
                      <a:pt x="952" y="18097"/>
                    </a:lnTo>
                    <a:lnTo>
                      <a:pt x="0" y="12382"/>
                    </a:lnTo>
                    <a:lnTo>
                      <a:pt x="1905" y="8572"/>
                    </a:lnTo>
                    <a:lnTo>
                      <a:pt x="5715" y="5715"/>
                    </a:lnTo>
                    <a:cubicBezTo>
                      <a:pt x="5715" y="5715"/>
                      <a:pt x="2857" y="1905"/>
                      <a:pt x="6667" y="1905"/>
                    </a:cubicBezTo>
                    <a:cubicBezTo>
                      <a:pt x="11430" y="952"/>
                      <a:pt x="16192" y="0"/>
                      <a:pt x="16192" y="0"/>
                    </a:cubicBezTo>
                    <a:lnTo>
                      <a:pt x="28575" y="3810"/>
                    </a:lnTo>
                    <a:cubicBezTo>
                      <a:pt x="29527" y="6668"/>
                      <a:pt x="26670" y="16193"/>
                      <a:pt x="26670" y="16193"/>
                    </a:cubicBezTo>
                    <a:close/>
                  </a:path>
                </a:pathLst>
              </a:custGeom>
              <a:grpFill/>
              <a:ln w="9525" cap="flat">
                <a:noFill/>
                <a:prstDash val="solid"/>
                <a:miter/>
              </a:ln>
            </p:spPr>
            <p:txBody>
              <a:bodyPr rtlCol="0" anchor="ctr"/>
              <a:lstStyle/>
              <a:p>
                <a:endParaRPr lang="en-US" sz="1765"/>
              </a:p>
            </p:txBody>
          </p:sp>
          <p:sp>
            <p:nvSpPr>
              <p:cNvPr id="326" name="Freeform: Shape 325">
                <a:extLst>
                  <a:ext uri="{FF2B5EF4-FFF2-40B4-BE49-F238E27FC236}">
                    <a16:creationId xmlns:a16="http://schemas.microsoft.com/office/drawing/2014/main" id="{862CA02D-A981-473C-A2F1-9911C45923A0}"/>
                  </a:ext>
                </a:extLst>
              </p:cNvPr>
              <p:cNvSpPr/>
              <p:nvPr/>
            </p:nvSpPr>
            <p:spPr>
              <a:xfrm>
                <a:off x="9956437" y="2920199"/>
                <a:ext cx="107142" cy="38946"/>
              </a:xfrm>
              <a:custGeom>
                <a:avLst/>
                <a:gdLst>
                  <a:gd name="connsiteX0" fmla="*/ 102944 w 107142"/>
                  <a:gd name="connsiteY0" fmla="*/ 29422 h 38946"/>
                  <a:gd name="connsiteX1" fmla="*/ 86751 w 107142"/>
                  <a:gd name="connsiteY1" fmla="*/ 32279 h 38946"/>
                  <a:gd name="connsiteX2" fmla="*/ 68654 w 107142"/>
                  <a:gd name="connsiteY2" fmla="*/ 32279 h 38946"/>
                  <a:gd name="connsiteX3" fmla="*/ 53414 w 107142"/>
                  <a:gd name="connsiteY3" fmla="*/ 33232 h 38946"/>
                  <a:gd name="connsiteX4" fmla="*/ 38174 w 107142"/>
                  <a:gd name="connsiteY4" fmla="*/ 33232 h 38946"/>
                  <a:gd name="connsiteX5" fmla="*/ 24839 w 107142"/>
                  <a:gd name="connsiteY5" fmla="*/ 36089 h 38946"/>
                  <a:gd name="connsiteX6" fmla="*/ 16267 w 107142"/>
                  <a:gd name="connsiteY6" fmla="*/ 37042 h 38946"/>
                  <a:gd name="connsiteX7" fmla="*/ 7694 w 107142"/>
                  <a:gd name="connsiteY7" fmla="*/ 38947 h 38946"/>
                  <a:gd name="connsiteX8" fmla="*/ 74 w 107142"/>
                  <a:gd name="connsiteY8" fmla="*/ 35137 h 38946"/>
                  <a:gd name="connsiteX9" fmla="*/ 5789 w 107142"/>
                  <a:gd name="connsiteY9" fmla="*/ 27517 h 38946"/>
                  <a:gd name="connsiteX10" fmla="*/ 19124 w 107142"/>
                  <a:gd name="connsiteY10" fmla="*/ 22754 h 38946"/>
                  <a:gd name="connsiteX11" fmla="*/ 22934 w 107142"/>
                  <a:gd name="connsiteY11" fmla="*/ 14182 h 38946"/>
                  <a:gd name="connsiteX12" fmla="*/ 29601 w 107142"/>
                  <a:gd name="connsiteY12" fmla="*/ 10372 h 38946"/>
                  <a:gd name="connsiteX13" fmla="*/ 35317 w 107142"/>
                  <a:gd name="connsiteY13" fmla="*/ 8467 h 38946"/>
                  <a:gd name="connsiteX14" fmla="*/ 43889 w 107142"/>
                  <a:gd name="connsiteY14" fmla="*/ 2752 h 38946"/>
                  <a:gd name="connsiteX15" fmla="*/ 66749 w 107142"/>
                  <a:gd name="connsiteY15" fmla="*/ 847 h 38946"/>
                  <a:gd name="connsiteX16" fmla="*/ 73417 w 107142"/>
                  <a:gd name="connsiteY16" fmla="*/ 847 h 38946"/>
                  <a:gd name="connsiteX17" fmla="*/ 79132 w 107142"/>
                  <a:gd name="connsiteY17" fmla="*/ 2752 h 38946"/>
                  <a:gd name="connsiteX18" fmla="*/ 83894 w 107142"/>
                  <a:gd name="connsiteY18" fmla="*/ 7514 h 38946"/>
                  <a:gd name="connsiteX19" fmla="*/ 92467 w 107142"/>
                  <a:gd name="connsiteY19" fmla="*/ 12277 h 38946"/>
                  <a:gd name="connsiteX20" fmla="*/ 100086 w 107142"/>
                  <a:gd name="connsiteY20" fmla="*/ 14182 h 38946"/>
                  <a:gd name="connsiteX21" fmla="*/ 104849 w 107142"/>
                  <a:gd name="connsiteY21" fmla="*/ 17039 h 38946"/>
                  <a:gd name="connsiteX22" fmla="*/ 106754 w 107142"/>
                  <a:gd name="connsiteY22" fmla="*/ 20849 h 38946"/>
                  <a:gd name="connsiteX23" fmla="*/ 102944 w 107142"/>
                  <a:gd name="connsiteY23" fmla="*/ 29422 h 3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142" h="38946">
                    <a:moveTo>
                      <a:pt x="102944" y="29422"/>
                    </a:moveTo>
                    <a:lnTo>
                      <a:pt x="86751" y="32279"/>
                    </a:lnTo>
                    <a:lnTo>
                      <a:pt x="68654" y="32279"/>
                    </a:lnTo>
                    <a:lnTo>
                      <a:pt x="53414" y="33232"/>
                    </a:lnTo>
                    <a:cubicBezTo>
                      <a:pt x="53414" y="33232"/>
                      <a:pt x="38174" y="31327"/>
                      <a:pt x="38174" y="33232"/>
                    </a:cubicBezTo>
                    <a:cubicBezTo>
                      <a:pt x="38174" y="35137"/>
                      <a:pt x="29601" y="34184"/>
                      <a:pt x="24839" y="36089"/>
                    </a:cubicBezTo>
                    <a:cubicBezTo>
                      <a:pt x="20076" y="37994"/>
                      <a:pt x="18171" y="35137"/>
                      <a:pt x="16267" y="37042"/>
                    </a:cubicBezTo>
                    <a:cubicBezTo>
                      <a:pt x="14361" y="38947"/>
                      <a:pt x="7694" y="38947"/>
                      <a:pt x="7694" y="38947"/>
                    </a:cubicBezTo>
                    <a:cubicBezTo>
                      <a:pt x="7694" y="38947"/>
                      <a:pt x="-879" y="37994"/>
                      <a:pt x="74" y="35137"/>
                    </a:cubicBezTo>
                    <a:cubicBezTo>
                      <a:pt x="1026" y="32279"/>
                      <a:pt x="1979" y="29422"/>
                      <a:pt x="5789" y="27517"/>
                    </a:cubicBezTo>
                    <a:cubicBezTo>
                      <a:pt x="9599" y="25612"/>
                      <a:pt x="19124" y="22754"/>
                      <a:pt x="19124" y="22754"/>
                    </a:cubicBezTo>
                    <a:lnTo>
                      <a:pt x="22934" y="14182"/>
                    </a:lnTo>
                    <a:lnTo>
                      <a:pt x="29601" y="10372"/>
                    </a:lnTo>
                    <a:lnTo>
                      <a:pt x="35317" y="8467"/>
                    </a:lnTo>
                    <a:cubicBezTo>
                      <a:pt x="35317" y="8467"/>
                      <a:pt x="34364" y="4657"/>
                      <a:pt x="43889" y="2752"/>
                    </a:cubicBezTo>
                    <a:cubicBezTo>
                      <a:pt x="53414" y="1799"/>
                      <a:pt x="66749" y="847"/>
                      <a:pt x="66749" y="847"/>
                    </a:cubicBezTo>
                    <a:cubicBezTo>
                      <a:pt x="66749" y="847"/>
                      <a:pt x="67701" y="-1058"/>
                      <a:pt x="73417" y="847"/>
                    </a:cubicBezTo>
                    <a:cubicBezTo>
                      <a:pt x="79132" y="2752"/>
                      <a:pt x="74369" y="-1058"/>
                      <a:pt x="79132" y="2752"/>
                    </a:cubicBezTo>
                    <a:cubicBezTo>
                      <a:pt x="83894" y="7514"/>
                      <a:pt x="83894" y="7514"/>
                      <a:pt x="83894" y="7514"/>
                    </a:cubicBezTo>
                    <a:lnTo>
                      <a:pt x="92467" y="12277"/>
                    </a:lnTo>
                    <a:lnTo>
                      <a:pt x="100086" y="14182"/>
                    </a:lnTo>
                    <a:lnTo>
                      <a:pt x="104849" y="17039"/>
                    </a:lnTo>
                    <a:cubicBezTo>
                      <a:pt x="104849" y="17039"/>
                      <a:pt x="103896" y="13229"/>
                      <a:pt x="106754" y="20849"/>
                    </a:cubicBezTo>
                    <a:cubicBezTo>
                      <a:pt x="108659" y="27517"/>
                      <a:pt x="102944" y="29422"/>
                      <a:pt x="102944" y="29422"/>
                    </a:cubicBezTo>
                    <a:close/>
                  </a:path>
                </a:pathLst>
              </a:custGeom>
              <a:grpFill/>
              <a:ln w="9525" cap="flat">
                <a:noFill/>
                <a:prstDash val="solid"/>
                <a:miter/>
              </a:ln>
            </p:spPr>
            <p:txBody>
              <a:bodyPr rtlCol="0" anchor="ctr"/>
              <a:lstStyle/>
              <a:p>
                <a:endParaRPr lang="en-US" sz="1765"/>
              </a:p>
            </p:txBody>
          </p:sp>
          <p:sp>
            <p:nvSpPr>
              <p:cNvPr id="327" name="Freeform: Shape 326">
                <a:extLst>
                  <a:ext uri="{FF2B5EF4-FFF2-40B4-BE49-F238E27FC236}">
                    <a16:creationId xmlns:a16="http://schemas.microsoft.com/office/drawing/2014/main" id="{D9779D6D-F8FE-4858-8D24-116757F64A4A}"/>
                  </a:ext>
                </a:extLst>
              </p:cNvPr>
              <p:cNvSpPr/>
              <p:nvPr/>
            </p:nvSpPr>
            <p:spPr>
              <a:xfrm>
                <a:off x="9831581" y="2868658"/>
                <a:ext cx="121119" cy="65193"/>
              </a:xfrm>
              <a:custGeom>
                <a:avLst/>
                <a:gdLst>
                  <a:gd name="connsiteX0" fmla="*/ 114452 w 121119"/>
                  <a:gd name="connsiteY0" fmla="*/ 63818 h 65193"/>
                  <a:gd name="connsiteX1" fmla="*/ 94450 w 121119"/>
                  <a:gd name="connsiteY1" fmla="*/ 64770 h 65193"/>
                  <a:gd name="connsiteX2" fmla="*/ 79210 w 121119"/>
                  <a:gd name="connsiteY2" fmla="*/ 64770 h 65193"/>
                  <a:gd name="connsiteX3" fmla="*/ 65875 w 121119"/>
                  <a:gd name="connsiteY3" fmla="*/ 64770 h 65193"/>
                  <a:gd name="connsiteX4" fmla="*/ 58255 w 121119"/>
                  <a:gd name="connsiteY4" fmla="*/ 63818 h 65193"/>
                  <a:gd name="connsiteX5" fmla="*/ 44920 w 121119"/>
                  <a:gd name="connsiteY5" fmla="*/ 63818 h 65193"/>
                  <a:gd name="connsiteX6" fmla="*/ 39205 w 121119"/>
                  <a:gd name="connsiteY6" fmla="*/ 63818 h 65193"/>
                  <a:gd name="connsiteX7" fmla="*/ 36348 w 121119"/>
                  <a:gd name="connsiteY7" fmla="*/ 60960 h 65193"/>
                  <a:gd name="connsiteX8" fmla="*/ 33490 w 121119"/>
                  <a:gd name="connsiteY8" fmla="*/ 55245 h 65193"/>
                  <a:gd name="connsiteX9" fmla="*/ 33490 w 121119"/>
                  <a:gd name="connsiteY9" fmla="*/ 51435 h 65193"/>
                  <a:gd name="connsiteX10" fmla="*/ 37300 w 121119"/>
                  <a:gd name="connsiteY10" fmla="*/ 45720 h 65193"/>
                  <a:gd name="connsiteX11" fmla="*/ 41110 w 121119"/>
                  <a:gd name="connsiteY11" fmla="*/ 40958 h 65193"/>
                  <a:gd name="connsiteX12" fmla="*/ 41110 w 121119"/>
                  <a:gd name="connsiteY12" fmla="*/ 37148 h 65193"/>
                  <a:gd name="connsiteX13" fmla="*/ 33490 w 121119"/>
                  <a:gd name="connsiteY13" fmla="*/ 35243 h 65193"/>
                  <a:gd name="connsiteX14" fmla="*/ 24917 w 121119"/>
                  <a:gd name="connsiteY14" fmla="*/ 40005 h 65193"/>
                  <a:gd name="connsiteX15" fmla="*/ 24917 w 121119"/>
                  <a:gd name="connsiteY15" fmla="*/ 41910 h 65193"/>
                  <a:gd name="connsiteX16" fmla="*/ 20155 w 121119"/>
                  <a:gd name="connsiteY16" fmla="*/ 44768 h 65193"/>
                  <a:gd name="connsiteX17" fmla="*/ 9677 w 121119"/>
                  <a:gd name="connsiteY17" fmla="*/ 48578 h 65193"/>
                  <a:gd name="connsiteX18" fmla="*/ 1105 w 121119"/>
                  <a:gd name="connsiteY18" fmla="*/ 46673 h 65193"/>
                  <a:gd name="connsiteX19" fmla="*/ 152 w 121119"/>
                  <a:gd name="connsiteY19" fmla="*/ 41910 h 65193"/>
                  <a:gd name="connsiteX20" fmla="*/ 152 w 121119"/>
                  <a:gd name="connsiteY20" fmla="*/ 36195 h 65193"/>
                  <a:gd name="connsiteX21" fmla="*/ 152 w 121119"/>
                  <a:gd name="connsiteY21" fmla="*/ 29528 h 65193"/>
                  <a:gd name="connsiteX22" fmla="*/ 2057 w 121119"/>
                  <a:gd name="connsiteY22" fmla="*/ 25717 h 65193"/>
                  <a:gd name="connsiteX23" fmla="*/ 9677 w 121119"/>
                  <a:gd name="connsiteY23" fmla="*/ 14288 h 65193"/>
                  <a:gd name="connsiteX24" fmla="*/ 17298 w 121119"/>
                  <a:gd name="connsiteY24" fmla="*/ 4763 h 65193"/>
                  <a:gd name="connsiteX25" fmla="*/ 44920 w 121119"/>
                  <a:gd name="connsiteY25" fmla="*/ 2858 h 65193"/>
                  <a:gd name="connsiteX26" fmla="*/ 56350 w 121119"/>
                  <a:gd name="connsiteY26" fmla="*/ 0 h 65193"/>
                  <a:gd name="connsiteX27" fmla="*/ 72542 w 121119"/>
                  <a:gd name="connsiteY27" fmla="*/ 953 h 65193"/>
                  <a:gd name="connsiteX28" fmla="*/ 81115 w 121119"/>
                  <a:gd name="connsiteY28" fmla="*/ 6667 h 65193"/>
                  <a:gd name="connsiteX29" fmla="*/ 83020 w 121119"/>
                  <a:gd name="connsiteY29" fmla="*/ 12383 h 65193"/>
                  <a:gd name="connsiteX30" fmla="*/ 80163 w 121119"/>
                  <a:gd name="connsiteY30" fmla="*/ 22860 h 65193"/>
                  <a:gd name="connsiteX31" fmla="*/ 73495 w 121119"/>
                  <a:gd name="connsiteY31" fmla="*/ 26670 h 65193"/>
                  <a:gd name="connsiteX32" fmla="*/ 85877 w 121119"/>
                  <a:gd name="connsiteY32" fmla="*/ 31433 h 65193"/>
                  <a:gd name="connsiteX33" fmla="*/ 94450 w 121119"/>
                  <a:gd name="connsiteY33" fmla="*/ 32385 h 65193"/>
                  <a:gd name="connsiteX34" fmla="*/ 108738 w 121119"/>
                  <a:gd name="connsiteY34" fmla="*/ 34290 h 65193"/>
                  <a:gd name="connsiteX35" fmla="*/ 118263 w 121119"/>
                  <a:gd name="connsiteY35" fmla="*/ 37148 h 65193"/>
                  <a:gd name="connsiteX36" fmla="*/ 119215 w 121119"/>
                  <a:gd name="connsiteY36" fmla="*/ 40958 h 65193"/>
                  <a:gd name="connsiteX37" fmla="*/ 121120 w 121119"/>
                  <a:gd name="connsiteY37" fmla="*/ 45720 h 65193"/>
                  <a:gd name="connsiteX38" fmla="*/ 120167 w 121119"/>
                  <a:gd name="connsiteY38" fmla="*/ 52388 h 65193"/>
                  <a:gd name="connsiteX39" fmla="*/ 114452 w 121119"/>
                  <a:gd name="connsiteY39" fmla="*/ 63818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119" h="65193">
                    <a:moveTo>
                      <a:pt x="114452" y="63818"/>
                    </a:moveTo>
                    <a:cubicBezTo>
                      <a:pt x="104927" y="64770"/>
                      <a:pt x="102070" y="64770"/>
                      <a:pt x="94450" y="64770"/>
                    </a:cubicBezTo>
                    <a:cubicBezTo>
                      <a:pt x="86830" y="65723"/>
                      <a:pt x="79210" y="64770"/>
                      <a:pt x="79210" y="64770"/>
                    </a:cubicBezTo>
                    <a:cubicBezTo>
                      <a:pt x="79210" y="64770"/>
                      <a:pt x="69685" y="63818"/>
                      <a:pt x="65875" y="64770"/>
                    </a:cubicBezTo>
                    <a:cubicBezTo>
                      <a:pt x="62065" y="65723"/>
                      <a:pt x="58255" y="63818"/>
                      <a:pt x="58255" y="63818"/>
                    </a:cubicBezTo>
                    <a:lnTo>
                      <a:pt x="44920" y="63818"/>
                    </a:lnTo>
                    <a:lnTo>
                      <a:pt x="39205" y="63818"/>
                    </a:lnTo>
                    <a:lnTo>
                      <a:pt x="36348" y="60960"/>
                    </a:lnTo>
                    <a:lnTo>
                      <a:pt x="33490" y="55245"/>
                    </a:lnTo>
                    <a:lnTo>
                      <a:pt x="33490" y="51435"/>
                    </a:lnTo>
                    <a:lnTo>
                      <a:pt x="37300" y="45720"/>
                    </a:lnTo>
                    <a:lnTo>
                      <a:pt x="41110" y="40958"/>
                    </a:lnTo>
                    <a:lnTo>
                      <a:pt x="41110" y="37148"/>
                    </a:lnTo>
                    <a:lnTo>
                      <a:pt x="33490" y="35243"/>
                    </a:lnTo>
                    <a:cubicBezTo>
                      <a:pt x="33490" y="35243"/>
                      <a:pt x="24917" y="38100"/>
                      <a:pt x="24917" y="40005"/>
                    </a:cubicBezTo>
                    <a:cubicBezTo>
                      <a:pt x="24917" y="41910"/>
                      <a:pt x="29680" y="39053"/>
                      <a:pt x="24917" y="41910"/>
                    </a:cubicBezTo>
                    <a:cubicBezTo>
                      <a:pt x="20155" y="44768"/>
                      <a:pt x="25870" y="40958"/>
                      <a:pt x="20155" y="44768"/>
                    </a:cubicBezTo>
                    <a:cubicBezTo>
                      <a:pt x="14440" y="48578"/>
                      <a:pt x="9677" y="48578"/>
                      <a:pt x="9677" y="48578"/>
                    </a:cubicBezTo>
                    <a:lnTo>
                      <a:pt x="1105" y="46673"/>
                    </a:lnTo>
                    <a:lnTo>
                      <a:pt x="152" y="41910"/>
                    </a:lnTo>
                    <a:lnTo>
                      <a:pt x="152" y="36195"/>
                    </a:lnTo>
                    <a:lnTo>
                      <a:pt x="152" y="29528"/>
                    </a:lnTo>
                    <a:cubicBezTo>
                      <a:pt x="152" y="29528"/>
                      <a:pt x="-800" y="26670"/>
                      <a:pt x="2057" y="25717"/>
                    </a:cubicBezTo>
                    <a:cubicBezTo>
                      <a:pt x="4915" y="24765"/>
                      <a:pt x="9677" y="14288"/>
                      <a:pt x="9677" y="14288"/>
                    </a:cubicBezTo>
                    <a:lnTo>
                      <a:pt x="17298" y="4763"/>
                    </a:lnTo>
                    <a:cubicBezTo>
                      <a:pt x="26823" y="4763"/>
                      <a:pt x="40157" y="2858"/>
                      <a:pt x="44920" y="2858"/>
                    </a:cubicBezTo>
                    <a:cubicBezTo>
                      <a:pt x="49682" y="2858"/>
                      <a:pt x="51588" y="0"/>
                      <a:pt x="56350" y="0"/>
                    </a:cubicBezTo>
                    <a:cubicBezTo>
                      <a:pt x="61113" y="0"/>
                      <a:pt x="72542" y="953"/>
                      <a:pt x="72542" y="953"/>
                    </a:cubicBezTo>
                    <a:lnTo>
                      <a:pt x="81115" y="6667"/>
                    </a:lnTo>
                    <a:cubicBezTo>
                      <a:pt x="81115" y="6667"/>
                      <a:pt x="82067" y="8573"/>
                      <a:pt x="83020" y="12383"/>
                    </a:cubicBezTo>
                    <a:cubicBezTo>
                      <a:pt x="83973" y="16192"/>
                      <a:pt x="80163" y="22860"/>
                      <a:pt x="80163" y="22860"/>
                    </a:cubicBezTo>
                    <a:lnTo>
                      <a:pt x="73495" y="26670"/>
                    </a:lnTo>
                    <a:lnTo>
                      <a:pt x="85877" y="31433"/>
                    </a:lnTo>
                    <a:cubicBezTo>
                      <a:pt x="85877" y="31433"/>
                      <a:pt x="90640" y="31433"/>
                      <a:pt x="94450" y="32385"/>
                    </a:cubicBezTo>
                    <a:cubicBezTo>
                      <a:pt x="99213" y="33338"/>
                      <a:pt x="108738" y="34290"/>
                      <a:pt x="108738" y="34290"/>
                    </a:cubicBezTo>
                    <a:cubicBezTo>
                      <a:pt x="108738" y="34290"/>
                      <a:pt x="117310" y="33338"/>
                      <a:pt x="118263" y="37148"/>
                    </a:cubicBezTo>
                    <a:cubicBezTo>
                      <a:pt x="119215" y="40958"/>
                      <a:pt x="117310" y="36195"/>
                      <a:pt x="119215" y="40958"/>
                    </a:cubicBezTo>
                    <a:cubicBezTo>
                      <a:pt x="121120" y="45720"/>
                      <a:pt x="121120" y="45720"/>
                      <a:pt x="121120" y="45720"/>
                    </a:cubicBezTo>
                    <a:cubicBezTo>
                      <a:pt x="121120" y="45720"/>
                      <a:pt x="121120" y="45720"/>
                      <a:pt x="120167" y="52388"/>
                    </a:cubicBezTo>
                    <a:cubicBezTo>
                      <a:pt x="120167" y="60960"/>
                      <a:pt x="114452" y="63818"/>
                      <a:pt x="114452" y="63818"/>
                    </a:cubicBezTo>
                    <a:close/>
                  </a:path>
                </a:pathLst>
              </a:custGeom>
              <a:grpFill/>
              <a:ln w="9525" cap="flat">
                <a:noFill/>
                <a:prstDash val="solid"/>
                <a:miter/>
              </a:ln>
            </p:spPr>
            <p:txBody>
              <a:bodyPr rtlCol="0" anchor="ctr"/>
              <a:lstStyle/>
              <a:p>
                <a:endParaRPr lang="en-US" sz="1765"/>
              </a:p>
            </p:txBody>
          </p:sp>
          <p:sp>
            <p:nvSpPr>
              <p:cNvPr id="328" name="Freeform: Shape 327">
                <a:extLst>
                  <a:ext uri="{FF2B5EF4-FFF2-40B4-BE49-F238E27FC236}">
                    <a16:creationId xmlns:a16="http://schemas.microsoft.com/office/drawing/2014/main" id="{5E54A568-7E99-4138-BDB2-9E02EFC5D0DE}"/>
                  </a:ext>
                </a:extLst>
              </p:cNvPr>
              <p:cNvSpPr/>
              <p:nvPr/>
            </p:nvSpPr>
            <p:spPr>
              <a:xfrm>
                <a:off x="10608974" y="3005430"/>
                <a:ext cx="90212" cy="42298"/>
              </a:xfrm>
              <a:custGeom>
                <a:avLst/>
                <a:gdLst>
                  <a:gd name="connsiteX0" fmla="*/ 64770 w 90212"/>
                  <a:gd name="connsiteY0" fmla="*/ 27059 h 42298"/>
                  <a:gd name="connsiteX1" fmla="*/ 52388 w 90212"/>
                  <a:gd name="connsiteY1" fmla="*/ 27059 h 42298"/>
                  <a:gd name="connsiteX2" fmla="*/ 45720 w 90212"/>
                  <a:gd name="connsiteY2" fmla="*/ 30869 h 42298"/>
                  <a:gd name="connsiteX3" fmla="*/ 43815 w 90212"/>
                  <a:gd name="connsiteY3" fmla="*/ 37536 h 42298"/>
                  <a:gd name="connsiteX4" fmla="*/ 37147 w 90212"/>
                  <a:gd name="connsiteY4" fmla="*/ 41346 h 42298"/>
                  <a:gd name="connsiteX5" fmla="*/ 29527 w 90212"/>
                  <a:gd name="connsiteY5" fmla="*/ 42299 h 42298"/>
                  <a:gd name="connsiteX6" fmla="*/ 21907 w 90212"/>
                  <a:gd name="connsiteY6" fmla="*/ 38489 h 42298"/>
                  <a:gd name="connsiteX7" fmla="*/ 20002 w 90212"/>
                  <a:gd name="connsiteY7" fmla="*/ 31821 h 42298"/>
                  <a:gd name="connsiteX8" fmla="*/ 6667 w 90212"/>
                  <a:gd name="connsiteY8" fmla="*/ 27059 h 42298"/>
                  <a:gd name="connsiteX9" fmla="*/ 0 w 90212"/>
                  <a:gd name="connsiteY9" fmla="*/ 20391 h 42298"/>
                  <a:gd name="connsiteX10" fmla="*/ 0 w 90212"/>
                  <a:gd name="connsiteY10" fmla="*/ 16581 h 42298"/>
                  <a:gd name="connsiteX11" fmla="*/ 0 w 90212"/>
                  <a:gd name="connsiteY11" fmla="*/ 6104 h 42298"/>
                  <a:gd name="connsiteX12" fmla="*/ 3810 w 90212"/>
                  <a:gd name="connsiteY12" fmla="*/ 2294 h 42298"/>
                  <a:gd name="connsiteX13" fmla="*/ 20002 w 90212"/>
                  <a:gd name="connsiteY13" fmla="*/ 1341 h 42298"/>
                  <a:gd name="connsiteX14" fmla="*/ 37147 w 90212"/>
                  <a:gd name="connsiteY14" fmla="*/ 3246 h 42298"/>
                  <a:gd name="connsiteX15" fmla="*/ 49530 w 90212"/>
                  <a:gd name="connsiteY15" fmla="*/ 4199 h 42298"/>
                  <a:gd name="connsiteX16" fmla="*/ 68580 w 90212"/>
                  <a:gd name="connsiteY16" fmla="*/ 389 h 42298"/>
                  <a:gd name="connsiteX17" fmla="*/ 80963 w 90212"/>
                  <a:gd name="connsiteY17" fmla="*/ 2294 h 42298"/>
                  <a:gd name="connsiteX18" fmla="*/ 86677 w 90212"/>
                  <a:gd name="connsiteY18" fmla="*/ 11819 h 42298"/>
                  <a:gd name="connsiteX19" fmla="*/ 88582 w 90212"/>
                  <a:gd name="connsiteY19" fmla="*/ 18486 h 42298"/>
                  <a:gd name="connsiteX20" fmla="*/ 84772 w 90212"/>
                  <a:gd name="connsiteY20" fmla="*/ 24201 h 42298"/>
                  <a:gd name="connsiteX21" fmla="*/ 64770 w 90212"/>
                  <a:gd name="connsiteY21" fmla="*/ 27059 h 4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12" h="42298">
                    <a:moveTo>
                      <a:pt x="64770" y="27059"/>
                    </a:moveTo>
                    <a:lnTo>
                      <a:pt x="52388" y="27059"/>
                    </a:lnTo>
                    <a:cubicBezTo>
                      <a:pt x="52388" y="27059"/>
                      <a:pt x="46672" y="28011"/>
                      <a:pt x="45720" y="30869"/>
                    </a:cubicBezTo>
                    <a:cubicBezTo>
                      <a:pt x="44767" y="32774"/>
                      <a:pt x="44767" y="34679"/>
                      <a:pt x="43815" y="37536"/>
                    </a:cubicBezTo>
                    <a:cubicBezTo>
                      <a:pt x="42863" y="40394"/>
                      <a:pt x="37147" y="41346"/>
                      <a:pt x="37147" y="41346"/>
                    </a:cubicBezTo>
                    <a:lnTo>
                      <a:pt x="29527" y="42299"/>
                    </a:lnTo>
                    <a:lnTo>
                      <a:pt x="21907" y="38489"/>
                    </a:lnTo>
                    <a:lnTo>
                      <a:pt x="20002" y="31821"/>
                    </a:lnTo>
                    <a:lnTo>
                      <a:pt x="6667" y="27059"/>
                    </a:lnTo>
                    <a:lnTo>
                      <a:pt x="0" y="20391"/>
                    </a:lnTo>
                    <a:lnTo>
                      <a:pt x="0" y="16581"/>
                    </a:lnTo>
                    <a:lnTo>
                      <a:pt x="0" y="6104"/>
                    </a:lnTo>
                    <a:lnTo>
                      <a:pt x="3810" y="2294"/>
                    </a:lnTo>
                    <a:lnTo>
                      <a:pt x="20002" y="1341"/>
                    </a:lnTo>
                    <a:lnTo>
                      <a:pt x="37147" y="3246"/>
                    </a:lnTo>
                    <a:cubicBezTo>
                      <a:pt x="37147" y="3246"/>
                      <a:pt x="44767" y="4199"/>
                      <a:pt x="49530" y="4199"/>
                    </a:cubicBezTo>
                    <a:cubicBezTo>
                      <a:pt x="54292" y="4199"/>
                      <a:pt x="56197" y="-1516"/>
                      <a:pt x="68580" y="389"/>
                    </a:cubicBezTo>
                    <a:cubicBezTo>
                      <a:pt x="80963" y="2294"/>
                      <a:pt x="77152" y="-2469"/>
                      <a:pt x="80963" y="2294"/>
                    </a:cubicBezTo>
                    <a:cubicBezTo>
                      <a:pt x="83820" y="7056"/>
                      <a:pt x="83820" y="6104"/>
                      <a:pt x="86677" y="11819"/>
                    </a:cubicBezTo>
                    <a:cubicBezTo>
                      <a:pt x="88582" y="18486"/>
                      <a:pt x="92392" y="12771"/>
                      <a:pt x="88582" y="18486"/>
                    </a:cubicBezTo>
                    <a:cubicBezTo>
                      <a:pt x="84772" y="24201"/>
                      <a:pt x="84772" y="24201"/>
                      <a:pt x="84772" y="24201"/>
                    </a:cubicBezTo>
                    <a:lnTo>
                      <a:pt x="64770" y="27059"/>
                    </a:lnTo>
                    <a:close/>
                  </a:path>
                </a:pathLst>
              </a:custGeom>
              <a:grpFill/>
              <a:ln w="9525" cap="flat">
                <a:noFill/>
                <a:prstDash val="solid"/>
                <a:miter/>
              </a:ln>
            </p:spPr>
            <p:txBody>
              <a:bodyPr rtlCol="0" anchor="ctr"/>
              <a:lstStyle/>
              <a:p>
                <a:endParaRPr lang="en-US" sz="1765"/>
              </a:p>
            </p:txBody>
          </p:sp>
          <p:sp>
            <p:nvSpPr>
              <p:cNvPr id="329" name="Freeform: Shape 328">
                <a:extLst>
                  <a:ext uri="{FF2B5EF4-FFF2-40B4-BE49-F238E27FC236}">
                    <a16:creationId xmlns:a16="http://schemas.microsoft.com/office/drawing/2014/main" id="{B36F8B17-BCAA-422C-B291-8CA267F86B2A}"/>
                  </a:ext>
                </a:extLst>
              </p:cNvPr>
              <p:cNvSpPr/>
              <p:nvPr/>
            </p:nvSpPr>
            <p:spPr>
              <a:xfrm>
                <a:off x="10709582" y="3014391"/>
                <a:ext cx="41313" cy="23107"/>
              </a:xfrm>
              <a:custGeom>
                <a:avLst/>
                <a:gdLst>
                  <a:gd name="connsiteX0" fmla="*/ 10834 w 41313"/>
                  <a:gd name="connsiteY0" fmla="*/ 0 h 23107"/>
                  <a:gd name="connsiteX1" fmla="*/ 356 w 41313"/>
                  <a:gd name="connsiteY1" fmla="*/ 3810 h 23107"/>
                  <a:gd name="connsiteX2" fmla="*/ 1309 w 41313"/>
                  <a:gd name="connsiteY2" fmla="*/ 11430 h 23107"/>
                  <a:gd name="connsiteX3" fmla="*/ 4167 w 41313"/>
                  <a:gd name="connsiteY3" fmla="*/ 19050 h 23107"/>
                  <a:gd name="connsiteX4" fmla="*/ 17501 w 41313"/>
                  <a:gd name="connsiteY4" fmla="*/ 22860 h 23107"/>
                  <a:gd name="connsiteX5" fmla="*/ 23217 w 41313"/>
                  <a:gd name="connsiteY5" fmla="*/ 21907 h 23107"/>
                  <a:gd name="connsiteX6" fmla="*/ 34646 w 41313"/>
                  <a:gd name="connsiteY6" fmla="*/ 20955 h 23107"/>
                  <a:gd name="connsiteX7" fmla="*/ 41314 w 41313"/>
                  <a:gd name="connsiteY7" fmla="*/ 17145 h 23107"/>
                  <a:gd name="connsiteX8" fmla="*/ 41314 w 41313"/>
                  <a:gd name="connsiteY8" fmla="*/ 12382 h 23107"/>
                  <a:gd name="connsiteX9" fmla="*/ 41314 w 41313"/>
                  <a:gd name="connsiteY9" fmla="*/ 8572 h 23107"/>
                  <a:gd name="connsiteX10" fmla="*/ 41314 w 41313"/>
                  <a:gd name="connsiteY10" fmla="*/ 4763 h 23107"/>
                  <a:gd name="connsiteX11" fmla="*/ 33694 w 41313"/>
                  <a:gd name="connsiteY11" fmla="*/ 2857 h 23107"/>
                  <a:gd name="connsiteX12" fmla="*/ 30836 w 41313"/>
                  <a:gd name="connsiteY12" fmla="*/ 2857 h 23107"/>
                  <a:gd name="connsiteX13" fmla="*/ 22264 w 41313"/>
                  <a:gd name="connsiteY13" fmla="*/ 2857 h 23107"/>
                  <a:gd name="connsiteX14" fmla="*/ 10834 w 41313"/>
                  <a:gd name="connsiteY14" fmla="*/ 0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13" h="23107">
                    <a:moveTo>
                      <a:pt x="10834" y="0"/>
                    </a:moveTo>
                    <a:cubicBezTo>
                      <a:pt x="7976" y="953"/>
                      <a:pt x="-596" y="953"/>
                      <a:pt x="356" y="3810"/>
                    </a:cubicBezTo>
                    <a:cubicBezTo>
                      <a:pt x="1309" y="6668"/>
                      <a:pt x="-1549" y="6668"/>
                      <a:pt x="1309" y="11430"/>
                    </a:cubicBezTo>
                    <a:cubicBezTo>
                      <a:pt x="4167" y="16193"/>
                      <a:pt x="1309" y="16193"/>
                      <a:pt x="4167" y="19050"/>
                    </a:cubicBezTo>
                    <a:cubicBezTo>
                      <a:pt x="7024" y="21907"/>
                      <a:pt x="11786" y="23813"/>
                      <a:pt x="17501" y="22860"/>
                    </a:cubicBezTo>
                    <a:cubicBezTo>
                      <a:pt x="23217" y="21907"/>
                      <a:pt x="23217" y="21907"/>
                      <a:pt x="23217" y="21907"/>
                    </a:cubicBezTo>
                    <a:cubicBezTo>
                      <a:pt x="23217" y="21907"/>
                      <a:pt x="29884" y="20955"/>
                      <a:pt x="34646" y="20955"/>
                    </a:cubicBezTo>
                    <a:cubicBezTo>
                      <a:pt x="39409" y="20955"/>
                      <a:pt x="41314" y="17145"/>
                      <a:pt x="41314" y="17145"/>
                    </a:cubicBezTo>
                    <a:lnTo>
                      <a:pt x="41314" y="12382"/>
                    </a:lnTo>
                    <a:lnTo>
                      <a:pt x="41314" y="8572"/>
                    </a:lnTo>
                    <a:lnTo>
                      <a:pt x="41314" y="4763"/>
                    </a:lnTo>
                    <a:cubicBezTo>
                      <a:pt x="41314" y="4763"/>
                      <a:pt x="37504" y="2857"/>
                      <a:pt x="33694" y="2857"/>
                    </a:cubicBezTo>
                    <a:cubicBezTo>
                      <a:pt x="30836" y="2857"/>
                      <a:pt x="34646" y="2857"/>
                      <a:pt x="30836" y="2857"/>
                    </a:cubicBezTo>
                    <a:cubicBezTo>
                      <a:pt x="26074" y="2857"/>
                      <a:pt x="22264" y="2857"/>
                      <a:pt x="22264" y="2857"/>
                    </a:cubicBezTo>
                    <a:lnTo>
                      <a:pt x="10834" y="0"/>
                    </a:lnTo>
                    <a:close/>
                  </a:path>
                </a:pathLst>
              </a:custGeom>
              <a:grpFill/>
              <a:ln w="9525" cap="flat">
                <a:noFill/>
                <a:prstDash val="solid"/>
                <a:miter/>
              </a:ln>
            </p:spPr>
            <p:txBody>
              <a:bodyPr rtlCol="0" anchor="ctr"/>
              <a:lstStyle/>
              <a:p>
                <a:endParaRPr lang="en-US" sz="1765"/>
              </a:p>
            </p:txBody>
          </p:sp>
          <p:sp>
            <p:nvSpPr>
              <p:cNvPr id="330" name="Freeform: Shape 329">
                <a:extLst>
                  <a:ext uri="{FF2B5EF4-FFF2-40B4-BE49-F238E27FC236}">
                    <a16:creationId xmlns:a16="http://schemas.microsoft.com/office/drawing/2014/main" id="{852A959F-1E68-4BE6-AF33-4DE96CDEF857}"/>
                  </a:ext>
                </a:extLst>
              </p:cNvPr>
              <p:cNvSpPr/>
              <p:nvPr/>
            </p:nvSpPr>
            <p:spPr>
              <a:xfrm>
                <a:off x="10768021" y="3017422"/>
                <a:ext cx="59075" cy="29190"/>
              </a:xfrm>
              <a:custGeom>
                <a:avLst/>
                <a:gdLst>
                  <a:gd name="connsiteX0" fmla="*/ 24786 w 59075"/>
                  <a:gd name="connsiteY0" fmla="*/ 779 h 29190"/>
                  <a:gd name="connsiteX1" fmla="*/ 6688 w 59075"/>
                  <a:gd name="connsiteY1" fmla="*/ 779 h 29190"/>
                  <a:gd name="connsiteX2" fmla="*/ 3830 w 59075"/>
                  <a:gd name="connsiteY2" fmla="*/ 1731 h 29190"/>
                  <a:gd name="connsiteX3" fmla="*/ 1925 w 59075"/>
                  <a:gd name="connsiteY3" fmla="*/ 5541 h 29190"/>
                  <a:gd name="connsiteX4" fmla="*/ 1925 w 59075"/>
                  <a:gd name="connsiteY4" fmla="*/ 14114 h 29190"/>
                  <a:gd name="connsiteX5" fmla="*/ 10498 w 59075"/>
                  <a:gd name="connsiteY5" fmla="*/ 18876 h 29190"/>
                  <a:gd name="connsiteX6" fmla="*/ 12403 w 59075"/>
                  <a:gd name="connsiteY6" fmla="*/ 21734 h 29190"/>
                  <a:gd name="connsiteX7" fmla="*/ 29548 w 59075"/>
                  <a:gd name="connsiteY7" fmla="*/ 26496 h 29190"/>
                  <a:gd name="connsiteX8" fmla="*/ 42883 w 59075"/>
                  <a:gd name="connsiteY8" fmla="*/ 26496 h 29190"/>
                  <a:gd name="connsiteX9" fmla="*/ 45741 w 59075"/>
                  <a:gd name="connsiteY9" fmla="*/ 28401 h 29190"/>
                  <a:gd name="connsiteX10" fmla="*/ 58123 w 59075"/>
                  <a:gd name="connsiteY10" fmla="*/ 19829 h 29190"/>
                  <a:gd name="connsiteX11" fmla="*/ 59075 w 59075"/>
                  <a:gd name="connsiteY11" fmla="*/ 13161 h 29190"/>
                  <a:gd name="connsiteX12" fmla="*/ 52408 w 59075"/>
                  <a:gd name="connsiteY12" fmla="*/ 8399 h 29190"/>
                  <a:gd name="connsiteX13" fmla="*/ 39073 w 59075"/>
                  <a:gd name="connsiteY13" fmla="*/ 9351 h 29190"/>
                  <a:gd name="connsiteX14" fmla="*/ 26691 w 59075"/>
                  <a:gd name="connsiteY14" fmla="*/ 9351 h 29190"/>
                  <a:gd name="connsiteX15" fmla="*/ 24786 w 59075"/>
                  <a:gd name="connsiteY15" fmla="*/ 779 h 2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075" h="29190">
                    <a:moveTo>
                      <a:pt x="24786" y="779"/>
                    </a:moveTo>
                    <a:cubicBezTo>
                      <a:pt x="24786" y="779"/>
                      <a:pt x="10498" y="-174"/>
                      <a:pt x="6688" y="779"/>
                    </a:cubicBezTo>
                    <a:cubicBezTo>
                      <a:pt x="3830" y="1731"/>
                      <a:pt x="5736" y="-2079"/>
                      <a:pt x="3830" y="1731"/>
                    </a:cubicBezTo>
                    <a:cubicBezTo>
                      <a:pt x="1925" y="5541"/>
                      <a:pt x="2878" y="-174"/>
                      <a:pt x="1925" y="5541"/>
                    </a:cubicBezTo>
                    <a:cubicBezTo>
                      <a:pt x="973" y="11256"/>
                      <a:pt x="-1884" y="11256"/>
                      <a:pt x="1925" y="14114"/>
                    </a:cubicBezTo>
                    <a:cubicBezTo>
                      <a:pt x="4783" y="16971"/>
                      <a:pt x="8593" y="16019"/>
                      <a:pt x="10498" y="18876"/>
                    </a:cubicBezTo>
                    <a:cubicBezTo>
                      <a:pt x="12403" y="21734"/>
                      <a:pt x="5736" y="16019"/>
                      <a:pt x="12403" y="21734"/>
                    </a:cubicBezTo>
                    <a:cubicBezTo>
                      <a:pt x="19070" y="27449"/>
                      <a:pt x="29548" y="26496"/>
                      <a:pt x="29548" y="26496"/>
                    </a:cubicBezTo>
                    <a:cubicBezTo>
                      <a:pt x="29548" y="26496"/>
                      <a:pt x="39073" y="25544"/>
                      <a:pt x="42883" y="26496"/>
                    </a:cubicBezTo>
                    <a:cubicBezTo>
                      <a:pt x="45741" y="28401"/>
                      <a:pt x="34311" y="30306"/>
                      <a:pt x="45741" y="28401"/>
                    </a:cubicBezTo>
                    <a:cubicBezTo>
                      <a:pt x="58123" y="25544"/>
                      <a:pt x="58123" y="19829"/>
                      <a:pt x="58123" y="19829"/>
                    </a:cubicBezTo>
                    <a:lnTo>
                      <a:pt x="59075" y="13161"/>
                    </a:lnTo>
                    <a:cubicBezTo>
                      <a:pt x="59075" y="13161"/>
                      <a:pt x="59075" y="7446"/>
                      <a:pt x="52408" y="8399"/>
                    </a:cubicBezTo>
                    <a:cubicBezTo>
                      <a:pt x="45741" y="9351"/>
                      <a:pt x="39073" y="9351"/>
                      <a:pt x="39073" y="9351"/>
                    </a:cubicBezTo>
                    <a:cubicBezTo>
                      <a:pt x="39073" y="9351"/>
                      <a:pt x="27643" y="11256"/>
                      <a:pt x="26691" y="9351"/>
                    </a:cubicBezTo>
                    <a:cubicBezTo>
                      <a:pt x="26691" y="5541"/>
                      <a:pt x="24786" y="779"/>
                      <a:pt x="24786" y="779"/>
                    </a:cubicBezTo>
                    <a:close/>
                  </a:path>
                </a:pathLst>
              </a:custGeom>
              <a:grpFill/>
              <a:ln w="9525" cap="flat">
                <a:noFill/>
                <a:prstDash val="solid"/>
                <a:miter/>
              </a:ln>
            </p:spPr>
            <p:txBody>
              <a:bodyPr rtlCol="0" anchor="ctr"/>
              <a:lstStyle/>
              <a:p>
                <a:endParaRPr lang="en-US" sz="1765"/>
              </a:p>
            </p:txBody>
          </p:sp>
          <p:sp>
            <p:nvSpPr>
              <p:cNvPr id="331" name="Freeform: Shape 330">
                <a:extLst>
                  <a:ext uri="{FF2B5EF4-FFF2-40B4-BE49-F238E27FC236}">
                    <a16:creationId xmlns:a16="http://schemas.microsoft.com/office/drawing/2014/main" id="{4DD87E9C-E33B-46C9-8C0A-65D8A050BE53}"/>
                  </a:ext>
                </a:extLst>
              </p:cNvPr>
              <p:cNvSpPr/>
              <p:nvPr/>
            </p:nvSpPr>
            <p:spPr>
              <a:xfrm>
                <a:off x="10663113" y="3054396"/>
                <a:ext cx="47167" cy="18097"/>
              </a:xfrm>
              <a:custGeom>
                <a:avLst/>
                <a:gdLst>
                  <a:gd name="connsiteX0" fmla="*/ 42063 w 47167"/>
                  <a:gd name="connsiteY0" fmla="*/ 14288 h 18097"/>
                  <a:gd name="connsiteX1" fmla="*/ 37300 w 47167"/>
                  <a:gd name="connsiteY1" fmla="*/ 16192 h 18097"/>
                  <a:gd name="connsiteX2" fmla="*/ 25870 w 47167"/>
                  <a:gd name="connsiteY2" fmla="*/ 18097 h 18097"/>
                  <a:gd name="connsiteX3" fmla="*/ 19202 w 47167"/>
                  <a:gd name="connsiteY3" fmla="*/ 17145 h 18097"/>
                  <a:gd name="connsiteX4" fmla="*/ 11582 w 47167"/>
                  <a:gd name="connsiteY4" fmla="*/ 16192 h 18097"/>
                  <a:gd name="connsiteX5" fmla="*/ 6820 w 47167"/>
                  <a:gd name="connsiteY5" fmla="*/ 14288 h 18097"/>
                  <a:gd name="connsiteX6" fmla="*/ 2057 w 47167"/>
                  <a:gd name="connsiteY6" fmla="*/ 10477 h 18097"/>
                  <a:gd name="connsiteX7" fmla="*/ 152 w 47167"/>
                  <a:gd name="connsiteY7" fmla="*/ 6667 h 18097"/>
                  <a:gd name="connsiteX8" fmla="*/ 2057 w 47167"/>
                  <a:gd name="connsiteY8" fmla="*/ 2857 h 18097"/>
                  <a:gd name="connsiteX9" fmla="*/ 9677 w 47167"/>
                  <a:gd name="connsiteY9" fmla="*/ 952 h 18097"/>
                  <a:gd name="connsiteX10" fmla="*/ 16345 w 47167"/>
                  <a:gd name="connsiteY10" fmla="*/ 0 h 18097"/>
                  <a:gd name="connsiteX11" fmla="*/ 25870 w 47167"/>
                  <a:gd name="connsiteY11" fmla="*/ 1905 h 18097"/>
                  <a:gd name="connsiteX12" fmla="*/ 33490 w 47167"/>
                  <a:gd name="connsiteY12" fmla="*/ 1905 h 18097"/>
                  <a:gd name="connsiteX13" fmla="*/ 44920 w 47167"/>
                  <a:gd name="connsiteY13" fmla="*/ 1905 h 18097"/>
                  <a:gd name="connsiteX14" fmla="*/ 46825 w 47167"/>
                  <a:gd name="connsiteY14" fmla="*/ 3810 h 18097"/>
                  <a:gd name="connsiteX15" fmla="*/ 42063 w 47167"/>
                  <a:gd name="connsiteY15" fmla="*/ 14288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67" h="18097">
                    <a:moveTo>
                      <a:pt x="42063" y="14288"/>
                    </a:moveTo>
                    <a:lnTo>
                      <a:pt x="37300" y="16192"/>
                    </a:lnTo>
                    <a:lnTo>
                      <a:pt x="25870" y="18097"/>
                    </a:lnTo>
                    <a:lnTo>
                      <a:pt x="19202" y="17145"/>
                    </a:lnTo>
                    <a:lnTo>
                      <a:pt x="11582" y="16192"/>
                    </a:lnTo>
                    <a:lnTo>
                      <a:pt x="6820" y="14288"/>
                    </a:lnTo>
                    <a:lnTo>
                      <a:pt x="2057" y="10477"/>
                    </a:lnTo>
                    <a:lnTo>
                      <a:pt x="152" y="6667"/>
                    </a:lnTo>
                    <a:cubicBezTo>
                      <a:pt x="152" y="6667"/>
                      <a:pt x="-800" y="2857"/>
                      <a:pt x="2057" y="2857"/>
                    </a:cubicBezTo>
                    <a:cubicBezTo>
                      <a:pt x="4915" y="2857"/>
                      <a:pt x="9677" y="952"/>
                      <a:pt x="9677" y="952"/>
                    </a:cubicBezTo>
                    <a:lnTo>
                      <a:pt x="16345" y="0"/>
                    </a:lnTo>
                    <a:lnTo>
                      <a:pt x="25870" y="1905"/>
                    </a:lnTo>
                    <a:cubicBezTo>
                      <a:pt x="25870" y="1905"/>
                      <a:pt x="28727" y="952"/>
                      <a:pt x="33490" y="1905"/>
                    </a:cubicBezTo>
                    <a:cubicBezTo>
                      <a:pt x="38252" y="2857"/>
                      <a:pt x="42063" y="0"/>
                      <a:pt x="44920" y="1905"/>
                    </a:cubicBezTo>
                    <a:cubicBezTo>
                      <a:pt x="46825" y="3810"/>
                      <a:pt x="46825" y="0"/>
                      <a:pt x="46825" y="3810"/>
                    </a:cubicBezTo>
                    <a:cubicBezTo>
                      <a:pt x="48730" y="7620"/>
                      <a:pt x="42063" y="14288"/>
                      <a:pt x="42063" y="14288"/>
                    </a:cubicBezTo>
                    <a:close/>
                  </a:path>
                </a:pathLst>
              </a:custGeom>
              <a:grpFill/>
              <a:ln w="9525" cap="flat">
                <a:noFill/>
                <a:prstDash val="solid"/>
                <a:miter/>
              </a:ln>
            </p:spPr>
            <p:txBody>
              <a:bodyPr rtlCol="0" anchor="ctr"/>
              <a:lstStyle/>
              <a:p>
                <a:endParaRPr lang="en-US" sz="1765"/>
              </a:p>
            </p:txBody>
          </p:sp>
          <p:sp>
            <p:nvSpPr>
              <p:cNvPr id="332" name="Freeform: Shape 331">
                <a:extLst>
                  <a:ext uri="{FF2B5EF4-FFF2-40B4-BE49-F238E27FC236}">
                    <a16:creationId xmlns:a16="http://schemas.microsoft.com/office/drawing/2014/main" id="{54FA4A05-9E47-4D3A-93F1-AC9DB88F2F65}"/>
                  </a:ext>
                </a:extLst>
              </p:cNvPr>
              <p:cNvSpPr/>
              <p:nvPr/>
            </p:nvSpPr>
            <p:spPr>
              <a:xfrm>
                <a:off x="9559319" y="3084876"/>
                <a:ext cx="2857" cy="952"/>
              </a:xfrm>
              <a:custGeom>
                <a:avLst/>
                <a:gdLst>
                  <a:gd name="connsiteX0" fmla="*/ 2857 w 2857"/>
                  <a:gd name="connsiteY0" fmla="*/ 0 h 952"/>
                  <a:gd name="connsiteX1" fmla="*/ 0 w 2857"/>
                  <a:gd name="connsiteY1" fmla="*/ 953 h 952"/>
                  <a:gd name="connsiteX2" fmla="*/ 2857 w 2857"/>
                  <a:gd name="connsiteY2" fmla="*/ 0 h 952"/>
                </a:gdLst>
                <a:ahLst/>
                <a:cxnLst>
                  <a:cxn ang="0">
                    <a:pos x="connsiteX0" y="connsiteY0"/>
                  </a:cxn>
                  <a:cxn ang="0">
                    <a:pos x="connsiteX1" y="connsiteY1"/>
                  </a:cxn>
                  <a:cxn ang="0">
                    <a:pos x="connsiteX2" y="connsiteY2"/>
                  </a:cxn>
                </a:cxnLst>
                <a:rect l="l" t="t" r="r" b="b"/>
                <a:pathLst>
                  <a:path w="2857" h="952">
                    <a:moveTo>
                      <a:pt x="2857" y="0"/>
                    </a:moveTo>
                    <a:cubicBezTo>
                      <a:pt x="1905" y="0"/>
                      <a:pt x="952" y="953"/>
                      <a:pt x="0" y="953"/>
                    </a:cubicBezTo>
                    <a:cubicBezTo>
                      <a:pt x="952" y="953"/>
                      <a:pt x="1905" y="953"/>
                      <a:pt x="2857" y="0"/>
                    </a:cubicBezTo>
                    <a:close/>
                  </a:path>
                </a:pathLst>
              </a:custGeom>
              <a:grpFill/>
              <a:ln w="9525" cap="flat">
                <a:noFill/>
                <a:prstDash val="solid"/>
                <a:miter/>
              </a:ln>
            </p:spPr>
            <p:txBody>
              <a:bodyPr rtlCol="0" anchor="ctr"/>
              <a:lstStyle/>
              <a:p>
                <a:endParaRPr lang="en-US" sz="1765"/>
              </a:p>
            </p:txBody>
          </p:sp>
          <p:sp>
            <p:nvSpPr>
              <p:cNvPr id="333" name="Freeform: Shape 332">
                <a:extLst>
                  <a:ext uri="{FF2B5EF4-FFF2-40B4-BE49-F238E27FC236}">
                    <a16:creationId xmlns:a16="http://schemas.microsoft.com/office/drawing/2014/main" id="{2C2A5014-C5D4-4A5F-AD32-DB27641BD7E5}"/>
                  </a:ext>
                </a:extLst>
              </p:cNvPr>
              <p:cNvSpPr/>
              <p:nvPr/>
            </p:nvSpPr>
            <p:spPr>
              <a:xfrm>
                <a:off x="9562705" y="3084876"/>
                <a:ext cx="423" cy="9525"/>
              </a:xfrm>
              <a:custGeom>
                <a:avLst/>
                <a:gdLst>
                  <a:gd name="connsiteX0" fmla="*/ 423 w 423"/>
                  <a:gd name="connsiteY0" fmla="*/ 0 h 9525"/>
                  <a:gd name="connsiteX1" fmla="*/ 423 w 423"/>
                  <a:gd name="connsiteY1" fmla="*/ 0 h 9525"/>
                  <a:gd name="connsiteX2" fmla="*/ 423 w 423"/>
                  <a:gd name="connsiteY2" fmla="*/ 0 h 9525"/>
                </a:gdLst>
                <a:ahLst/>
                <a:cxnLst>
                  <a:cxn ang="0">
                    <a:pos x="connsiteX0" y="connsiteY0"/>
                  </a:cxn>
                  <a:cxn ang="0">
                    <a:pos x="connsiteX1" y="connsiteY1"/>
                  </a:cxn>
                  <a:cxn ang="0">
                    <a:pos x="connsiteX2" y="connsiteY2"/>
                  </a:cxn>
                </a:cxnLst>
                <a:rect l="l" t="t" r="r" b="b"/>
                <a:pathLst>
                  <a:path w="423" h="9525">
                    <a:moveTo>
                      <a:pt x="423" y="0"/>
                    </a:moveTo>
                    <a:cubicBezTo>
                      <a:pt x="423" y="0"/>
                      <a:pt x="-529" y="0"/>
                      <a:pt x="423" y="0"/>
                    </a:cubicBezTo>
                    <a:cubicBezTo>
                      <a:pt x="-529" y="0"/>
                      <a:pt x="423" y="0"/>
                      <a:pt x="423" y="0"/>
                    </a:cubicBezTo>
                    <a:close/>
                  </a:path>
                </a:pathLst>
              </a:custGeom>
              <a:grpFill/>
              <a:ln w="9525" cap="flat">
                <a:noFill/>
                <a:prstDash val="solid"/>
                <a:miter/>
              </a:ln>
            </p:spPr>
            <p:txBody>
              <a:bodyPr rtlCol="0" anchor="ctr"/>
              <a:lstStyle/>
              <a:p>
                <a:endParaRPr lang="en-US" sz="1765"/>
              </a:p>
            </p:txBody>
          </p:sp>
          <p:sp>
            <p:nvSpPr>
              <p:cNvPr id="334" name="Freeform: Shape 333">
                <a:extLst>
                  <a:ext uri="{FF2B5EF4-FFF2-40B4-BE49-F238E27FC236}">
                    <a16:creationId xmlns:a16="http://schemas.microsoft.com/office/drawing/2014/main" id="{E3453EC3-D479-46E6-95DC-B549B87B627A}"/>
                  </a:ext>
                </a:extLst>
              </p:cNvPr>
              <p:cNvSpPr/>
              <p:nvPr/>
            </p:nvSpPr>
            <p:spPr>
              <a:xfrm>
                <a:off x="9558219" y="3085829"/>
                <a:ext cx="1099" cy="423"/>
              </a:xfrm>
              <a:custGeom>
                <a:avLst/>
                <a:gdLst>
                  <a:gd name="connsiteX0" fmla="*/ 1100 w 1099"/>
                  <a:gd name="connsiteY0" fmla="*/ 0 h 423"/>
                  <a:gd name="connsiteX1" fmla="*/ 1100 w 1099"/>
                  <a:gd name="connsiteY1" fmla="*/ 0 h 423"/>
                  <a:gd name="connsiteX2" fmla="*/ 1100 w 1099"/>
                  <a:gd name="connsiteY2" fmla="*/ 0 h 423"/>
                </a:gdLst>
                <a:ahLst/>
                <a:cxnLst>
                  <a:cxn ang="0">
                    <a:pos x="connsiteX0" y="connsiteY0"/>
                  </a:cxn>
                  <a:cxn ang="0">
                    <a:pos x="connsiteX1" y="connsiteY1"/>
                  </a:cxn>
                  <a:cxn ang="0">
                    <a:pos x="connsiteX2" y="connsiteY2"/>
                  </a:cxn>
                </a:cxnLst>
                <a:rect l="l" t="t" r="r" b="b"/>
                <a:pathLst>
                  <a:path w="1099" h="423">
                    <a:moveTo>
                      <a:pt x="1100" y="0"/>
                    </a:moveTo>
                    <a:cubicBezTo>
                      <a:pt x="147" y="0"/>
                      <a:pt x="-805" y="953"/>
                      <a:pt x="1100" y="0"/>
                    </a:cubicBezTo>
                    <a:lnTo>
                      <a:pt x="1100" y="0"/>
                    </a:lnTo>
                    <a:close/>
                  </a:path>
                </a:pathLst>
              </a:custGeom>
              <a:grpFill/>
              <a:ln w="9525" cap="flat">
                <a:noFill/>
                <a:prstDash val="solid"/>
                <a:miter/>
              </a:ln>
            </p:spPr>
            <p:txBody>
              <a:bodyPr rtlCol="0" anchor="ctr"/>
              <a:lstStyle/>
              <a:p>
                <a:endParaRPr lang="en-US" sz="1765"/>
              </a:p>
            </p:txBody>
          </p:sp>
          <p:sp>
            <p:nvSpPr>
              <p:cNvPr id="335" name="Freeform: Shape 334">
                <a:extLst>
                  <a:ext uri="{FF2B5EF4-FFF2-40B4-BE49-F238E27FC236}">
                    <a16:creationId xmlns:a16="http://schemas.microsoft.com/office/drawing/2014/main" id="{A1C5E85A-FA6F-4576-AA82-8BE7ABC0310B}"/>
                  </a:ext>
                </a:extLst>
              </p:cNvPr>
              <p:cNvSpPr/>
              <p:nvPr/>
            </p:nvSpPr>
            <p:spPr>
              <a:xfrm>
                <a:off x="7936258" y="2977201"/>
                <a:ext cx="3574732" cy="1473560"/>
              </a:xfrm>
              <a:custGeom>
                <a:avLst/>
                <a:gdLst>
                  <a:gd name="connsiteX0" fmla="*/ 3568065 w 3574732"/>
                  <a:gd name="connsiteY0" fmla="*/ 231500 h 1473560"/>
                  <a:gd name="connsiteX1" fmla="*/ 3562350 w 3574732"/>
                  <a:gd name="connsiteY1" fmla="*/ 230548 h 1473560"/>
                  <a:gd name="connsiteX2" fmla="*/ 3549015 w 3574732"/>
                  <a:gd name="connsiteY2" fmla="*/ 230548 h 1473560"/>
                  <a:gd name="connsiteX3" fmla="*/ 3529965 w 3574732"/>
                  <a:gd name="connsiteY3" fmla="*/ 230548 h 1473560"/>
                  <a:gd name="connsiteX4" fmla="*/ 3511868 w 3574732"/>
                  <a:gd name="connsiteY4" fmla="*/ 233405 h 1473560"/>
                  <a:gd name="connsiteX5" fmla="*/ 3504248 w 3574732"/>
                  <a:gd name="connsiteY5" fmla="*/ 231500 h 1473560"/>
                  <a:gd name="connsiteX6" fmla="*/ 3489960 w 3574732"/>
                  <a:gd name="connsiteY6" fmla="*/ 225785 h 1473560"/>
                  <a:gd name="connsiteX7" fmla="*/ 3489008 w 3574732"/>
                  <a:gd name="connsiteY7" fmla="*/ 222928 h 1473560"/>
                  <a:gd name="connsiteX8" fmla="*/ 3480435 w 3574732"/>
                  <a:gd name="connsiteY8" fmla="*/ 214355 h 1473560"/>
                  <a:gd name="connsiteX9" fmla="*/ 3476625 w 3574732"/>
                  <a:gd name="connsiteY9" fmla="*/ 206735 h 1473560"/>
                  <a:gd name="connsiteX10" fmla="*/ 3462338 w 3574732"/>
                  <a:gd name="connsiteY10" fmla="*/ 201973 h 1473560"/>
                  <a:gd name="connsiteX11" fmla="*/ 3456623 w 3574732"/>
                  <a:gd name="connsiteY11" fmla="*/ 198163 h 1473560"/>
                  <a:gd name="connsiteX12" fmla="*/ 3442335 w 3574732"/>
                  <a:gd name="connsiteY12" fmla="*/ 194353 h 1473560"/>
                  <a:gd name="connsiteX13" fmla="*/ 3441383 w 3574732"/>
                  <a:gd name="connsiteY13" fmla="*/ 191495 h 1473560"/>
                  <a:gd name="connsiteX14" fmla="*/ 3419475 w 3574732"/>
                  <a:gd name="connsiteY14" fmla="*/ 185780 h 1473560"/>
                  <a:gd name="connsiteX15" fmla="*/ 3406140 w 3574732"/>
                  <a:gd name="connsiteY15" fmla="*/ 180065 h 1473560"/>
                  <a:gd name="connsiteX16" fmla="*/ 3389948 w 3574732"/>
                  <a:gd name="connsiteY16" fmla="*/ 177208 h 1473560"/>
                  <a:gd name="connsiteX17" fmla="*/ 3362325 w 3574732"/>
                  <a:gd name="connsiteY17" fmla="*/ 172445 h 1473560"/>
                  <a:gd name="connsiteX18" fmla="*/ 3348990 w 3574732"/>
                  <a:gd name="connsiteY18" fmla="*/ 172445 h 1473560"/>
                  <a:gd name="connsiteX19" fmla="*/ 3334703 w 3574732"/>
                  <a:gd name="connsiteY19" fmla="*/ 172445 h 1473560"/>
                  <a:gd name="connsiteX20" fmla="*/ 3318510 w 3574732"/>
                  <a:gd name="connsiteY20" fmla="*/ 172445 h 1473560"/>
                  <a:gd name="connsiteX21" fmla="*/ 3301365 w 3574732"/>
                  <a:gd name="connsiteY21" fmla="*/ 170540 h 1473560"/>
                  <a:gd name="connsiteX22" fmla="*/ 3277553 w 3574732"/>
                  <a:gd name="connsiteY22" fmla="*/ 166730 h 1473560"/>
                  <a:gd name="connsiteX23" fmla="*/ 3255645 w 3574732"/>
                  <a:gd name="connsiteY23" fmla="*/ 168635 h 1473560"/>
                  <a:gd name="connsiteX24" fmla="*/ 3247073 w 3574732"/>
                  <a:gd name="connsiteY24" fmla="*/ 170540 h 1473560"/>
                  <a:gd name="connsiteX25" fmla="*/ 3244215 w 3574732"/>
                  <a:gd name="connsiteY25" fmla="*/ 184828 h 1473560"/>
                  <a:gd name="connsiteX26" fmla="*/ 3238500 w 3574732"/>
                  <a:gd name="connsiteY26" fmla="*/ 185780 h 1473560"/>
                  <a:gd name="connsiteX27" fmla="*/ 3219450 w 3574732"/>
                  <a:gd name="connsiteY27" fmla="*/ 180065 h 1473560"/>
                  <a:gd name="connsiteX28" fmla="*/ 3221355 w 3574732"/>
                  <a:gd name="connsiteY28" fmla="*/ 172445 h 1473560"/>
                  <a:gd name="connsiteX29" fmla="*/ 3218498 w 3574732"/>
                  <a:gd name="connsiteY29" fmla="*/ 162920 h 1473560"/>
                  <a:gd name="connsiteX30" fmla="*/ 3197543 w 3574732"/>
                  <a:gd name="connsiteY30" fmla="*/ 162920 h 1473560"/>
                  <a:gd name="connsiteX31" fmla="*/ 3176588 w 3574732"/>
                  <a:gd name="connsiteY31" fmla="*/ 166730 h 1473560"/>
                  <a:gd name="connsiteX32" fmla="*/ 3168015 w 3574732"/>
                  <a:gd name="connsiteY32" fmla="*/ 168635 h 1473560"/>
                  <a:gd name="connsiteX33" fmla="*/ 3148965 w 3574732"/>
                  <a:gd name="connsiteY33" fmla="*/ 169588 h 1473560"/>
                  <a:gd name="connsiteX34" fmla="*/ 3138488 w 3574732"/>
                  <a:gd name="connsiteY34" fmla="*/ 169588 h 1473560"/>
                  <a:gd name="connsiteX35" fmla="*/ 3098483 w 3574732"/>
                  <a:gd name="connsiteY35" fmla="*/ 168635 h 1473560"/>
                  <a:gd name="connsiteX36" fmla="*/ 3076575 w 3574732"/>
                  <a:gd name="connsiteY36" fmla="*/ 165778 h 1473560"/>
                  <a:gd name="connsiteX37" fmla="*/ 3063240 w 3574732"/>
                  <a:gd name="connsiteY37" fmla="*/ 157205 h 1473560"/>
                  <a:gd name="connsiteX38" fmla="*/ 3055620 w 3574732"/>
                  <a:gd name="connsiteY38" fmla="*/ 150538 h 1473560"/>
                  <a:gd name="connsiteX39" fmla="*/ 3049905 w 3574732"/>
                  <a:gd name="connsiteY39" fmla="*/ 147680 h 1473560"/>
                  <a:gd name="connsiteX40" fmla="*/ 3016568 w 3574732"/>
                  <a:gd name="connsiteY40" fmla="*/ 147680 h 1473560"/>
                  <a:gd name="connsiteX41" fmla="*/ 3002280 w 3574732"/>
                  <a:gd name="connsiteY41" fmla="*/ 147680 h 1473560"/>
                  <a:gd name="connsiteX42" fmla="*/ 2980373 w 3574732"/>
                  <a:gd name="connsiteY42" fmla="*/ 144823 h 1473560"/>
                  <a:gd name="connsiteX43" fmla="*/ 2952750 w 3574732"/>
                  <a:gd name="connsiteY43" fmla="*/ 141965 h 1473560"/>
                  <a:gd name="connsiteX44" fmla="*/ 2938463 w 3574732"/>
                  <a:gd name="connsiteY44" fmla="*/ 137203 h 1473560"/>
                  <a:gd name="connsiteX45" fmla="*/ 2919413 w 3574732"/>
                  <a:gd name="connsiteY45" fmla="*/ 131488 h 1473560"/>
                  <a:gd name="connsiteX46" fmla="*/ 2913698 w 3574732"/>
                  <a:gd name="connsiteY46" fmla="*/ 129583 h 1473560"/>
                  <a:gd name="connsiteX47" fmla="*/ 2892743 w 3574732"/>
                  <a:gd name="connsiteY47" fmla="*/ 128630 h 1473560"/>
                  <a:gd name="connsiteX48" fmla="*/ 2873693 w 3574732"/>
                  <a:gd name="connsiteY48" fmla="*/ 126725 h 1473560"/>
                  <a:gd name="connsiteX49" fmla="*/ 2868930 w 3574732"/>
                  <a:gd name="connsiteY49" fmla="*/ 124820 h 1473560"/>
                  <a:gd name="connsiteX50" fmla="*/ 2851785 w 3574732"/>
                  <a:gd name="connsiteY50" fmla="*/ 120058 h 1473560"/>
                  <a:gd name="connsiteX51" fmla="*/ 2834640 w 3574732"/>
                  <a:gd name="connsiteY51" fmla="*/ 115295 h 1473560"/>
                  <a:gd name="connsiteX52" fmla="*/ 2817495 w 3574732"/>
                  <a:gd name="connsiteY52" fmla="*/ 113390 h 1473560"/>
                  <a:gd name="connsiteX53" fmla="*/ 2800350 w 3574732"/>
                  <a:gd name="connsiteY53" fmla="*/ 112438 h 1473560"/>
                  <a:gd name="connsiteX54" fmla="*/ 2785110 w 3574732"/>
                  <a:gd name="connsiteY54" fmla="*/ 114343 h 1473560"/>
                  <a:gd name="connsiteX55" fmla="*/ 2761298 w 3574732"/>
                  <a:gd name="connsiteY55" fmla="*/ 113390 h 1473560"/>
                  <a:gd name="connsiteX56" fmla="*/ 2740343 w 3574732"/>
                  <a:gd name="connsiteY56" fmla="*/ 113390 h 1473560"/>
                  <a:gd name="connsiteX57" fmla="*/ 2718435 w 3574732"/>
                  <a:gd name="connsiteY57" fmla="*/ 121963 h 1473560"/>
                  <a:gd name="connsiteX58" fmla="*/ 2713673 w 3574732"/>
                  <a:gd name="connsiteY58" fmla="*/ 121963 h 1473560"/>
                  <a:gd name="connsiteX59" fmla="*/ 2708910 w 3574732"/>
                  <a:gd name="connsiteY59" fmla="*/ 126725 h 1473560"/>
                  <a:gd name="connsiteX60" fmla="*/ 2704148 w 3574732"/>
                  <a:gd name="connsiteY60" fmla="*/ 133393 h 1473560"/>
                  <a:gd name="connsiteX61" fmla="*/ 2692718 w 3574732"/>
                  <a:gd name="connsiteY61" fmla="*/ 133393 h 1473560"/>
                  <a:gd name="connsiteX62" fmla="*/ 2676525 w 3574732"/>
                  <a:gd name="connsiteY62" fmla="*/ 133393 h 1473560"/>
                  <a:gd name="connsiteX63" fmla="*/ 2654618 w 3574732"/>
                  <a:gd name="connsiteY63" fmla="*/ 133393 h 1473560"/>
                  <a:gd name="connsiteX64" fmla="*/ 2646998 w 3574732"/>
                  <a:gd name="connsiteY64" fmla="*/ 139108 h 1473560"/>
                  <a:gd name="connsiteX65" fmla="*/ 2635568 w 3574732"/>
                  <a:gd name="connsiteY65" fmla="*/ 140060 h 1473560"/>
                  <a:gd name="connsiteX66" fmla="*/ 2616518 w 3574732"/>
                  <a:gd name="connsiteY66" fmla="*/ 140060 h 1473560"/>
                  <a:gd name="connsiteX67" fmla="*/ 2606040 w 3574732"/>
                  <a:gd name="connsiteY67" fmla="*/ 133393 h 1473560"/>
                  <a:gd name="connsiteX68" fmla="*/ 2606040 w 3574732"/>
                  <a:gd name="connsiteY68" fmla="*/ 130535 h 1473560"/>
                  <a:gd name="connsiteX69" fmla="*/ 2597468 w 3574732"/>
                  <a:gd name="connsiteY69" fmla="*/ 128630 h 1473560"/>
                  <a:gd name="connsiteX70" fmla="*/ 2586038 w 3574732"/>
                  <a:gd name="connsiteY70" fmla="*/ 128630 h 1473560"/>
                  <a:gd name="connsiteX71" fmla="*/ 2578418 w 3574732"/>
                  <a:gd name="connsiteY71" fmla="*/ 132440 h 1473560"/>
                  <a:gd name="connsiteX72" fmla="*/ 2572703 w 3574732"/>
                  <a:gd name="connsiteY72" fmla="*/ 141965 h 1473560"/>
                  <a:gd name="connsiteX73" fmla="*/ 2562225 w 3574732"/>
                  <a:gd name="connsiteY73" fmla="*/ 141965 h 1473560"/>
                  <a:gd name="connsiteX74" fmla="*/ 2545080 w 3574732"/>
                  <a:gd name="connsiteY74" fmla="*/ 139108 h 1473560"/>
                  <a:gd name="connsiteX75" fmla="*/ 2530793 w 3574732"/>
                  <a:gd name="connsiteY75" fmla="*/ 130535 h 1473560"/>
                  <a:gd name="connsiteX76" fmla="*/ 2527935 w 3574732"/>
                  <a:gd name="connsiteY76" fmla="*/ 117200 h 1473560"/>
                  <a:gd name="connsiteX77" fmla="*/ 2526983 w 3574732"/>
                  <a:gd name="connsiteY77" fmla="*/ 109580 h 1473560"/>
                  <a:gd name="connsiteX78" fmla="*/ 2521268 w 3574732"/>
                  <a:gd name="connsiteY78" fmla="*/ 104818 h 1473560"/>
                  <a:gd name="connsiteX79" fmla="*/ 2506980 w 3574732"/>
                  <a:gd name="connsiteY79" fmla="*/ 100055 h 1473560"/>
                  <a:gd name="connsiteX80" fmla="*/ 2499360 w 3574732"/>
                  <a:gd name="connsiteY80" fmla="*/ 98150 h 1473560"/>
                  <a:gd name="connsiteX81" fmla="*/ 2480310 w 3574732"/>
                  <a:gd name="connsiteY81" fmla="*/ 95293 h 1473560"/>
                  <a:gd name="connsiteX82" fmla="*/ 2450783 w 3574732"/>
                  <a:gd name="connsiteY82" fmla="*/ 94340 h 1473560"/>
                  <a:gd name="connsiteX83" fmla="*/ 2443163 w 3574732"/>
                  <a:gd name="connsiteY83" fmla="*/ 97198 h 1473560"/>
                  <a:gd name="connsiteX84" fmla="*/ 2430780 w 3574732"/>
                  <a:gd name="connsiteY84" fmla="*/ 104818 h 1473560"/>
                  <a:gd name="connsiteX85" fmla="*/ 2426018 w 3574732"/>
                  <a:gd name="connsiteY85" fmla="*/ 103865 h 1473560"/>
                  <a:gd name="connsiteX86" fmla="*/ 2407920 w 3574732"/>
                  <a:gd name="connsiteY86" fmla="*/ 103865 h 1473560"/>
                  <a:gd name="connsiteX87" fmla="*/ 2391728 w 3574732"/>
                  <a:gd name="connsiteY87" fmla="*/ 101008 h 1473560"/>
                  <a:gd name="connsiteX88" fmla="*/ 2375535 w 3574732"/>
                  <a:gd name="connsiteY88" fmla="*/ 96245 h 1473560"/>
                  <a:gd name="connsiteX89" fmla="*/ 2370773 w 3574732"/>
                  <a:gd name="connsiteY89" fmla="*/ 93388 h 1473560"/>
                  <a:gd name="connsiteX90" fmla="*/ 2359343 w 3574732"/>
                  <a:gd name="connsiteY90" fmla="*/ 90530 h 1473560"/>
                  <a:gd name="connsiteX91" fmla="*/ 2347913 w 3574732"/>
                  <a:gd name="connsiteY91" fmla="*/ 90530 h 1473560"/>
                  <a:gd name="connsiteX92" fmla="*/ 2339340 w 3574732"/>
                  <a:gd name="connsiteY92" fmla="*/ 90530 h 1473560"/>
                  <a:gd name="connsiteX93" fmla="*/ 2328863 w 3574732"/>
                  <a:gd name="connsiteY93" fmla="*/ 90530 h 1473560"/>
                  <a:gd name="connsiteX94" fmla="*/ 2314575 w 3574732"/>
                  <a:gd name="connsiteY94" fmla="*/ 91483 h 1473560"/>
                  <a:gd name="connsiteX95" fmla="*/ 2304098 w 3574732"/>
                  <a:gd name="connsiteY95" fmla="*/ 91483 h 1473560"/>
                  <a:gd name="connsiteX96" fmla="*/ 2292668 w 3574732"/>
                  <a:gd name="connsiteY96" fmla="*/ 91483 h 1473560"/>
                  <a:gd name="connsiteX97" fmla="*/ 2279333 w 3574732"/>
                  <a:gd name="connsiteY97" fmla="*/ 88625 h 1473560"/>
                  <a:gd name="connsiteX98" fmla="*/ 2262188 w 3574732"/>
                  <a:gd name="connsiteY98" fmla="*/ 85768 h 1473560"/>
                  <a:gd name="connsiteX99" fmla="*/ 2237423 w 3574732"/>
                  <a:gd name="connsiteY99" fmla="*/ 84815 h 1473560"/>
                  <a:gd name="connsiteX100" fmla="*/ 2232660 w 3574732"/>
                  <a:gd name="connsiteY100" fmla="*/ 82910 h 1473560"/>
                  <a:gd name="connsiteX101" fmla="*/ 2225040 w 3574732"/>
                  <a:gd name="connsiteY101" fmla="*/ 82910 h 1473560"/>
                  <a:gd name="connsiteX102" fmla="*/ 2213610 w 3574732"/>
                  <a:gd name="connsiteY102" fmla="*/ 85768 h 1473560"/>
                  <a:gd name="connsiteX103" fmla="*/ 2189798 w 3574732"/>
                  <a:gd name="connsiteY103" fmla="*/ 94340 h 1473560"/>
                  <a:gd name="connsiteX104" fmla="*/ 2170748 w 3574732"/>
                  <a:gd name="connsiteY104" fmla="*/ 95293 h 1473560"/>
                  <a:gd name="connsiteX105" fmla="*/ 2159318 w 3574732"/>
                  <a:gd name="connsiteY105" fmla="*/ 99103 h 1473560"/>
                  <a:gd name="connsiteX106" fmla="*/ 2141220 w 3574732"/>
                  <a:gd name="connsiteY106" fmla="*/ 104818 h 1473560"/>
                  <a:gd name="connsiteX107" fmla="*/ 2127885 w 3574732"/>
                  <a:gd name="connsiteY107" fmla="*/ 103865 h 1473560"/>
                  <a:gd name="connsiteX108" fmla="*/ 2117408 w 3574732"/>
                  <a:gd name="connsiteY108" fmla="*/ 101008 h 1473560"/>
                  <a:gd name="connsiteX109" fmla="*/ 2123123 w 3574732"/>
                  <a:gd name="connsiteY109" fmla="*/ 96245 h 1473560"/>
                  <a:gd name="connsiteX110" fmla="*/ 2146935 w 3574732"/>
                  <a:gd name="connsiteY110" fmla="*/ 90530 h 1473560"/>
                  <a:gd name="connsiteX111" fmla="*/ 2162175 w 3574732"/>
                  <a:gd name="connsiteY111" fmla="*/ 84815 h 1473560"/>
                  <a:gd name="connsiteX112" fmla="*/ 2170748 w 3574732"/>
                  <a:gd name="connsiteY112" fmla="*/ 81958 h 1473560"/>
                  <a:gd name="connsiteX113" fmla="*/ 2194560 w 3574732"/>
                  <a:gd name="connsiteY113" fmla="*/ 67670 h 1473560"/>
                  <a:gd name="connsiteX114" fmla="*/ 2205038 w 3574732"/>
                  <a:gd name="connsiteY114" fmla="*/ 67670 h 1473560"/>
                  <a:gd name="connsiteX115" fmla="*/ 2222183 w 3574732"/>
                  <a:gd name="connsiteY115" fmla="*/ 67670 h 1473560"/>
                  <a:gd name="connsiteX116" fmla="*/ 2241233 w 3574732"/>
                  <a:gd name="connsiteY116" fmla="*/ 67670 h 1473560"/>
                  <a:gd name="connsiteX117" fmla="*/ 2265045 w 3574732"/>
                  <a:gd name="connsiteY117" fmla="*/ 61955 h 1473560"/>
                  <a:gd name="connsiteX118" fmla="*/ 2266950 w 3574732"/>
                  <a:gd name="connsiteY118" fmla="*/ 55288 h 1473560"/>
                  <a:gd name="connsiteX119" fmla="*/ 2265998 w 3574732"/>
                  <a:gd name="connsiteY119" fmla="*/ 45763 h 1473560"/>
                  <a:gd name="connsiteX120" fmla="*/ 2263140 w 3574732"/>
                  <a:gd name="connsiteY120" fmla="*/ 38143 h 1473560"/>
                  <a:gd name="connsiteX121" fmla="*/ 2257425 w 3574732"/>
                  <a:gd name="connsiteY121" fmla="*/ 25760 h 1473560"/>
                  <a:gd name="connsiteX122" fmla="*/ 2241233 w 3574732"/>
                  <a:gd name="connsiteY122" fmla="*/ 22903 h 1473560"/>
                  <a:gd name="connsiteX123" fmla="*/ 2225040 w 3574732"/>
                  <a:gd name="connsiteY123" fmla="*/ 19093 h 1473560"/>
                  <a:gd name="connsiteX124" fmla="*/ 2216468 w 3574732"/>
                  <a:gd name="connsiteY124" fmla="*/ 19093 h 1473560"/>
                  <a:gd name="connsiteX125" fmla="*/ 2211705 w 3574732"/>
                  <a:gd name="connsiteY125" fmla="*/ 18140 h 1473560"/>
                  <a:gd name="connsiteX126" fmla="*/ 2195513 w 3574732"/>
                  <a:gd name="connsiteY126" fmla="*/ 19093 h 1473560"/>
                  <a:gd name="connsiteX127" fmla="*/ 2182178 w 3574732"/>
                  <a:gd name="connsiteY127" fmla="*/ 17188 h 1473560"/>
                  <a:gd name="connsiteX128" fmla="*/ 2161223 w 3574732"/>
                  <a:gd name="connsiteY128" fmla="*/ 16235 h 1473560"/>
                  <a:gd name="connsiteX129" fmla="*/ 2142173 w 3574732"/>
                  <a:gd name="connsiteY129" fmla="*/ 16235 h 1473560"/>
                  <a:gd name="connsiteX130" fmla="*/ 2131695 w 3574732"/>
                  <a:gd name="connsiteY130" fmla="*/ 13378 h 1473560"/>
                  <a:gd name="connsiteX131" fmla="*/ 2130743 w 3574732"/>
                  <a:gd name="connsiteY131" fmla="*/ 1948 h 1473560"/>
                  <a:gd name="connsiteX132" fmla="*/ 2120265 w 3574732"/>
                  <a:gd name="connsiteY132" fmla="*/ 995 h 1473560"/>
                  <a:gd name="connsiteX133" fmla="*/ 2093595 w 3574732"/>
                  <a:gd name="connsiteY133" fmla="*/ 1948 h 1473560"/>
                  <a:gd name="connsiteX134" fmla="*/ 2074545 w 3574732"/>
                  <a:gd name="connsiteY134" fmla="*/ 995 h 1473560"/>
                  <a:gd name="connsiteX135" fmla="*/ 2057400 w 3574732"/>
                  <a:gd name="connsiteY135" fmla="*/ 43 h 1473560"/>
                  <a:gd name="connsiteX136" fmla="*/ 2052638 w 3574732"/>
                  <a:gd name="connsiteY136" fmla="*/ 14330 h 1473560"/>
                  <a:gd name="connsiteX137" fmla="*/ 2052638 w 3574732"/>
                  <a:gd name="connsiteY137" fmla="*/ 19093 h 1473560"/>
                  <a:gd name="connsiteX138" fmla="*/ 2049780 w 3574732"/>
                  <a:gd name="connsiteY138" fmla="*/ 22903 h 1473560"/>
                  <a:gd name="connsiteX139" fmla="*/ 2038350 w 3574732"/>
                  <a:gd name="connsiteY139" fmla="*/ 27665 h 1473560"/>
                  <a:gd name="connsiteX140" fmla="*/ 2026920 w 3574732"/>
                  <a:gd name="connsiteY140" fmla="*/ 31475 h 1473560"/>
                  <a:gd name="connsiteX141" fmla="*/ 2010728 w 3574732"/>
                  <a:gd name="connsiteY141" fmla="*/ 33380 h 1473560"/>
                  <a:gd name="connsiteX142" fmla="*/ 1985963 w 3574732"/>
                  <a:gd name="connsiteY142" fmla="*/ 36238 h 1473560"/>
                  <a:gd name="connsiteX143" fmla="*/ 1981200 w 3574732"/>
                  <a:gd name="connsiteY143" fmla="*/ 35285 h 1473560"/>
                  <a:gd name="connsiteX144" fmla="*/ 1960245 w 3574732"/>
                  <a:gd name="connsiteY144" fmla="*/ 34333 h 1473560"/>
                  <a:gd name="connsiteX145" fmla="*/ 1949768 w 3574732"/>
                  <a:gd name="connsiteY145" fmla="*/ 34333 h 1473560"/>
                  <a:gd name="connsiteX146" fmla="*/ 1939290 w 3574732"/>
                  <a:gd name="connsiteY146" fmla="*/ 35285 h 1473560"/>
                  <a:gd name="connsiteX147" fmla="*/ 1918335 w 3574732"/>
                  <a:gd name="connsiteY147" fmla="*/ 39095 h 1473560"/>
                  <a:gd name="connsiteX148" fmla="*/ 1897380 w 3574732"/>
                  <a:gd name="connsiteY148" fmla="*/ 42905 h 1473560"/>
                  <a:gd name="connsiteX149" fmla="*/ 1873568 w 3574732"/>
                  <a:gd name="connsiteY149" fmla="*/ 46715 h 1473560"/>
                  <a:gd name="connsiteX150" fmla="*/ 1855470 w 3574732"/>
                  <a:gd name="connsiteY150" fmla="*/ 47668 h 1473560"/>
                  <a:gd name="connsiteX151" fmla="*/ 1850708 w 3574732"/>
                  <a:gd name="connsiteY151" fmla="*/ 47668 h 1473560"/>
                  <a:gd name="connsiteX152" fmla="*/ 1825943 w 3574732"/>
                  <a:gd name="connsiteY152" fmla="*/ 54335 h 1473560"/>
                  <a:gd name="connsiteX153" fmla="*/ 1812608 w 3574732"/>
                  <a:gd name="connsiteY153" fmla="*/ 58145 h 1473560"/>
                  <a:gd name="connsiteX154" fmla="*/ 1804035 w 3574732"/>
                  <a:gd name="connsiteY154" fmla="*/ 65765 h 1473560"/>
                  <a:gd name="connsiteX155" fmla="*/ 1795463 w 3574732"/>
                  <a:gd name="connsiteY155" fmla="*/ 74338 h 1473560"/>
                  <a:gd name="connsiteX156" fmla="*/ 1786890 w 3574732"/>
                  <a:gd name="connsiteY156" fmla="*/ 76243 h 1473560"/>
                  <a:gd name="connsiteX157" fmla="*/ 1770698 w 3574732"/>
                  <a:gd name="connsiteY157" fmla="*/ 80053 h 1473560"/>
                  <a:gd name="connsiteX158" fmla="*/ 1755458 w 3574732"/>
                  <a:gd name="connsiteY158" fmla="*/ 86720 h 1473560"/>
                  <a:gd name="connsiteX159" fmla="*/ 1728788 w 3574732"/>
                  <a:gd name="connsiteY159" fmla="*/ 87673 h 1473560"/>
                  <a:gd name="connsiteX160" fmla="*/ 1721168 w 3574732"/>
                  <a:gd name="connsiteY160" fmla="*/ 87673 h 1473560"/>
                  <a:gd name="connsiteX161" fmla="*/ 1712595 w 3574732"/>
                  <a:gd name="connsiteY161" fmla="*/ 88625 h 1473560"/>
                  <a:gd name="connsiteX162" fmla="*/ 1709738 w 3574732"/>
                  <a:gd name="connsiteY162" fmla="*/ 93388 h 1473560"/>
                  <a:gd name="connsiteX163" fmla="*/ 1704975 w 3574732"/>
                  <a:gd name="connsiteY163" fmla="*/ 102913 h 1473560"/>
                  <a:gd name="connsiteX164" fmla="*/ 1704975 w 3574732"/>
                  <a:gd name="connsiteY164" fmla="*/ 108628 h 1473560"/>
                  <a:gd name="connsiteX165" fmla="*/ 1703070 w 3574732"/>
                  <a:gd name="connsiteY165" fmla="*/ 115295 h 1473560"/>
                  <a:gd name="connsiteX166" fmla="*/ 1701165 w 3574732"/>
                  <a:gd name="connsiteY166" fmla="*/ 123868 h 1473560"/>
                  <a:gd name="connsiteX167" fmla="*/ 1698308 w 3574732"/>
                  <a:gd name="connsiteY167" fmla="*/ 127678 h 1473560"/>
                  <a:gd name="connsiteX168" fmla="*/ 1675448 w 3574732"/>
                  <a:gd name="connsiteY168" fmla="*/ 121010 h 1473560"/>
                  <a:gd name="connsiteX169" fmla="*/ 1674495 w 3574732"/>
                  <a:gd name="connsiteY169" fmla="*/ 114343 h 1473560"/>
                  <a:gd name="connsiteX170" fmla="*/ 1666875 w 3574732"/>
                  <a:gd name="connsiteY170" fmla="*/ 111485 h 1473560"/>
                  <a:gd name="connsiteX171" fmla="*/ 1652588 w 3574732"/>
                  <a:gd name="connsiteY171" fmla="*/ 111485 h 1473560"/>
                  <a:gd name="connsiteX172" fmla="*/ 1644968 w 3574732"/>
                  <a:gd name="connsiteY172" fmla="*/ 111485 h 1473560"/>
                  <a:gd name="connsiteX173" fmla="*/ 1637348 w 3574732"/>
                  <a:gd name="connsiteY173" fmla="*/ 121963 h 1473560"/>
                  <a:gd name="connsiteX174" fmla="*/ 1626870 w 3574732"/>
                  <a:gd name="connsiteY174" fmla="*/ 124820 h 1473560"/>
                  <a:gd name="connsiteX175" fmla="*/ 1626870 w 3574732"/>
                  <a:gd name="connsiteY175" fmla="*/ 127678 h 1473560"/>
                  <a:gd name="connsiteX176" fmla="*/ 1624013 w 3574732"/>
                  <a:gd name="connsiteY176" fmla="*/ 133393 h 1473560"/>
                  <a:gd name="connsiteX177" fmla="*/ 1609725 w 3574732"/>
                  <a:gd name="connsiteY177" fmla="*/ 130535 h 1473560"/>
                  <a:gd name="connsiteX178" fmla="*/ 1605915 w 3574732"/>
                  <a:gd name="connsiteY178" fmla="*/ 120058 h 1473560"/>
                  <a:gd name="connsiteX179" fmla="*/ 1607820 w 3574732"/>
                  <a:gd name="connsiteY179" fmla="*/ 109580 h 1473560"/>
                  <a:gd name="connsiteX180" fmla="*/ 1606868 w 3574732"/>
                  <a:gd name="connsiteY180" fmla="*/ 103865 h 1473560"/>
                  <a:gd name="connsiteX181" fmla="*/ 1599248 w 3574732"/>
                  <a:gd name="connsiteY181" fmla="*/ 111485 h 1473560"/>
                  <a:gd name="connsiteX182" fmla="*/ 1584008 w 3574732"/>
                  <a:gd name="connsiteY182" fmla="*/ 119105 h 1473560"/>
                  <a:gd name="connsiteX183" fmla="*/ 1575435 w 3574732"/>
                  <a:gd name="connsiteY183" fmla="*/ 128630 h 1473560"/>
                  <a:gd name="connsiteX184" fmla="*/ 1572578 w 3574732"/>
                  <a:gd name="connsiteY184" fmla="*/ 133393 h 1473560"/>
                  <a:gd name="connsiteX185" fmla="*/ 1572578 w 3574732"/>
                  <a:gd name="connsiteY185" fmla="*/ 146728 h 1473560"/>
                  <a:gd name="connsiteX186" fmla="*/ 1585913 w 3574732"/>
                  <a:gd name="connsiteY186" fmla="*/ 154348 h 1473560"/>
                  <a:gd name="connsiteX187" fmla="*/ 1591628 w 3574732"/>
                  <a:gd name="connsiteY187" fmla="*/ 157205 h 1473560"/>
                  <a:gd name="connsiteX188" fmla="*/ 1592580 w 3574732"/>
                  <a:gd name="connsiteY188" fmla="*/ 162920 h 1473560"/>
                  <a:gd name="connsiteX189" fmla="*/ 1589723 w 3574732"/>
                  <a:gd name="connsiteY189" fmla="*/ 168635 h 1473560"/>
                  <a:gd name="connsiteX190" fmla="*/ 1587818 w 3574732"/>
                  <a:gd name="connsiteY190" fmla="*/ 177208 h 1473560"/>
                  <a:gd name="connsiteX191" fmla="*/ 1593533 w 3574732"/>
                  <a:gd name="connsiteY191" fmla="*/ 177208 h 1473560"/>
                  <a:gd name="connsiteX192" fmla="*/ 1604010 w 3574732"/>
                  <a:gd name="connsiteY192" fmla="*/ 180065 h 1473560"/>
                  <a:gd name="connsiteX193" fmla="*/ 1602105 w 3574732"/>
                  <a:gd name="connsiteY193" fmla="*/ 184828 h 1473560"/>
                  <a:gd name="connsiteX194" fmla="*/ 1599248 w 3574732"/>
                  <a:gd name="connsiteY194" fmla="*/ 191495 h 1473560"/>
                  <a:gd name="connsiteX195" fmla="*/ 1589723 w 3574732"/>
                  <a:gd name="connsiteY195" fmla="*/ 202925 h 1473560"/>
                  <a:gd name="connsiteX196" fmla="*/ 1584008 w 3574732"/>
                  <a:gd name="connsiteY196" fmla="*/ 208640 h 1473560"/>
                  <a:gd name="connsiteX197" fmla="*/ 1579245 w 3574732"/>
                  <a:gd name="connsiteY197" fmla="*/ 213403 h 1473560"/>
                  <a:gd name="connsiteX198" fmla="*/ 1574483 w 3574732"/>
                  <a:gd name="connsiteY198" fmla="*/ 215308 h 1473560"/>
                  <a:gd name="connsiteX199" fmla="*/ 1564005 w 3574732"/>
                  <a:gd name="connsiteY199" fmla="*/ 225785 h 1473560"/>
                  <a:gd name="connsiteX200" fmla="*/ 1555433 w 3574732"/>
                  <a:gd name="connsiteY200" fmla="*/ 229595 h 1473560"/>
                  <a:gd name="connsiteX201" fmla="*/ 1542098 w 3574732"/>
                  <a:gd name="connsiteY201" fmla="*/ 234358 h 1473560"/>
                  <a:gd name="connsiteX202" fmla="*/ 1537335 w 3574732"/>
                  <a:gd name="connsiteY202" fmla="*/ 239120 h 1473560"/>
                  <a:gd name="connsiteX203" fmla="*/ 1526858 w 3574732"/>
                  <a:gd name="connsiteY203" fmla="*/ 241025 h 1473560"/>
                  <a:gd name="connsiteX204" fmla="*/ 1521143 w 3574732"/>
                  <a:gd name="connsiteY204" fmla="*/ 237215 h 1473560"/>
                  <a:gd name="connsiteX205" fmla="*/ 1525905 w 3574732"/>
                  <a:gd name="connsiteY205" fmla="*/ 232453 h 1473560"/>
                  <a:gd name="connsiteX206" fmla="*/ 1539240 w 3574732"/>
                  <a:gd name="connsiteY206" fmla="*/ 225785 h 1473560"/>
                  <a:gd name="connsiteX207" fmla="*/ 1552575 w 3574732"/>
                  <a:gd name="connsiteY207" fmla="*/ 218165 h 1473560"/>
                  <a:gd name="connsiteX208" fmla="*/ 1560195 w 3574732"/>
                  <a:gd name="connsiteY208" fmla="*/ 206735 h 1473560"/>
                  <a:gd name="connsiteX209" fmla="*/ 1563053 w 3574732"/>
                  <a:gd name="connsiteY209" fmla="*/ 198163 h 1473560"/>
                  <a:gd name="connsiteX210" fmla="*/ 1562100 w 3574732"/>
                  <a:gd name="connsiteY210" fmla="*/ 193400 h 1473560"/>
                  <a:gd name="connsiteX211" fmla="*/ 1561148 w 3574732"/>
                  <a:gd name="connsiteY211" fmla="*/ 186733 h 1473560"/>
                  <a:gd name="connsiteX212" fmla="*/ 1558290 w 3574732"/>
                  <a:gd name="connsiteY212" fmla="*/ 176255 h 1473560"/>
                  <a:gd name="connsiteX213" fmla="*/ 1561148 w 3574732"/>
                  <a:gd name="connsiteY213" fmla="*/ 166730 h 1473560"/>
                  <a:gd name="connsiteX214" fmla="*/ 1554480 w 3574732"/>
                  <a:gd name="connsiteY214" fmla="*/ 156253 h 1473560"/>
                  <a:gd name="connsiteX215" fmla="*/ 1557338 w 3574732"/>
                  <a:gd name="connsiteY215" fmla="*/ 144823 h 1473560"/>
                  <a:gd name="connsiteX216" fmla="*/ 1550670 w 3574732"/>
                  <a:gd name="connsiteY216" fmla="*/ 130535 h 1473560"/>
                  <a:gd name="connsiteX217" fmla="*/ 1553528 w 3574732"/>
                  <a:gd name="connsiteY217" fmla="*/ 122915 h 1473560"/>
                  <a:gd name="connsiteX218" fmla="*/ 1558290 w 3574732"/>
                  <a:gd name="connsiteY218" fmla="*/ 116248 h 1473560"/>
                  <a:gd name="connsiteX219" fmla="*/ 1557338 w 3574732"/>
                  <a:gd name="connsiteY219" fmla="*/ 107675 h 1473560"/>
                  <a:gd name="connsiteX220" fmla="*/ 1549718 w 3574732"/>
                  <a:gd name="connsiteY220" fmla="*/ 104818 h 1473560"/>
                  <a:gd name="connsiteX221" fmla="*/ 1525905 w 3574732"/>
                  <a:gd name="connsiteY221" fmla="*/ 104818 h 1473560"/>
                  <a:gd name="connsiteX222" fmla="*/ 1517333 w 3574732"/>
                  <a:gd name="connsiteY222" fmla="*/ 107675 h 1473560"/>
                  <a:gd name="connsiteX223" fmla="*/ 1505903 w 3574732"/>
                  <a:gd name="connsiteY223" fmla="*/ 110533 h 1473560"/>
                  <a:gd name="connsiteX224" fmla="*/ 1501140 w 3574732"/>
                  <a:gd name="connsiteY224" fmla="*/ 116248 h 1473560"/>
                  <a:gd name="connsiteX225" fmla="*/ 1485900 w 3574732"/>
                  <a:gd name="connsiteY225" fmla="*/ 128630 h 1473560"/>
                  <a:gd name="connsiteX226" fmla="*/ 1477328 w 3574732"/>
                  <a:gd name="connsiteY226" fmla="*/ 130535 h 1473560"/>
                  <a:gd name="connsiteX227" fmla="*/ 1469708 w 3574732"/>
                  <a:gd name="connsiteY227" fmla="*/ 141013 h 1473560"/>
                  <a:gd name="connsiteX228" fmla="*/ 1462088 w 3574732"/>
                  <a:gd name="connsiteY228" fmla="*/ 150538 h 1473560"/>
                  <a:gd name="connsiteX229" fmla="*/ 1463040 w 3574732"/>
                  <a:gd name="connsiteY229" fmla="*/ 162920 h 1473560"/>
                  <a:gd name="connsiteX230" fmla="*/ 1471613 w 3574732"/>
                  <a:gd name="connsiteY230" fmla="*/ 165778 h 1473560"/>
                  <a:gd name="connsiteX231" fmla="*/ 1474470 w 3574732"/>
                  <a:gd name="connsiteY231" fmla="*/ 174350 h 1473560"/>
                  <a:gd name="connsiteX232" fmla="*/ 1478280 w 3574732"/>
                  <a:gd name="connsiteY232" fmla="*/ 181018 h 1473560"/>
                  <a:gd name="connsiteX233" fmla="*/ 1483043 w 3574732"/>
                  <a:gd name="connsiteY233" fmla="*/ 184828 h 1473560"/>
                  <a:gd name="connsiteX234" fmla="*/ 1497330 w 3574732"/>
                  <a:gd name="connsiteY234" fmla="*/ 188638 h 1473560"/>
                  <a:gd name="connsiteX235" fmla="*/ 1497330 w 3574732"/>
                  <a:gd name="connsiteY235" fmla="*/ 175303 h 1473560"/>
                  <a:gd name="connsiteX236" fmla="*/ 1495425 w 3574732"/>
                  <a:gd name="connsiteY236" fmla="*/ 179113 h 1473560"/>
                  <a:gd name="connsiteX237" fmla="*/ 1479233 w 3574732"/>
                  <a:gd name="connsiteY237" fmla="*/ 177208 h 1473560"/>
                  <a:gd name="connsiteX238" fmla="*/ 1465898 w 3574732"/>
                  <a:gd name="connsiteY238" fmla="*/ 175303 h 1473560"/>
                  <a:gd name="connsiteX239" fmla="*/ 1455420 w 3574732"/>
                  <a:gd name="connsiteY239" fmla="*/ 169588 h 1473560"/>
                  <a:gd name="connsiteX240" fmla="*/ 1449705 w 3574732"/>
                  <a:gd name="connsiteY240" fmla="*/ 164825 h 1473560"/>
                  <a:gd name="connsiteX241" fmla="*/ 1441133 w 3574732"/>
                  <a:gd name="connsiteY241" fmla="*/ 159110 h 1473560"/>
                  <a:gd name="connsiteX242" fmla="*/ 1427798 w 3574732"/>
                  <a:gd name="connsiteY242" fmla="*/ 155300 h 1473560"/>
                  <a:gd name="connsiteX243" fmla="*/ 1403033 w 3574732"/>
                  <a:gd name="connsiteY243" fmla="*/ 150538 h 1473560"/>
                  <a:gd name="connsiteX244" fmla="*/ 1394460 w 3574732"/>
                  <a:gd name="connsiteY244" fmla="*/ 150538 h 1473560"/>
                  <a:gd name="connsiteX245" fmla="*/ 1383983 w 3574732"/>
                  <a:gd name="connsiteY245" fmla="*/ 149585 h 1473560"/>
                  <a:gd name="connsiteX246" fmla="*/ 1369695 w 3574732"/>
                  <a:gd name="connsiteY246" fmla="*/ 148633 h 1473560"/>
                  <a:gd name="connsiteX247" fmla="*/ 1348740 w 3574732"/>
                  <a:gd name="connsiteY247" fmla="*/ 144823 h 1473560"/>
                  <a:gd name="connsiteX248" fmla="*/ 1341120 w 3574732"/>
                  <a:gd name="connsiteY248" fmla="*/ 141013 h 1473560"/>
                  <a:gd name="connsiteX249" fmla="*/ 1330643 w 3574732"/>
                  <a:gd name="connsiteY249" fmla="*/ 141013 h 1473560"/>
                  <a:gd name="connsiteX250" fmla="*/ 1327785 w 3574732"/>
                  <a:gd name="connsiteY250" fmla="*/ 147680 h 1473560"/>
                  <a:gd name="connsiteX251" fmla="*/ 1338263 w 3574732"/>
                  <a:gd name="connsiteY251" fmla="*/ 152443 h 1473560"/>
                  <a:gd name="connsiteX252" fmla="*/ 1346835 w 3574732"/>
                  <a:gd name="connsiteY252" fmla="*/ 158158 h 1473560"/>
                  <a:gd name="connsiteX253" fmla="*/ 1346835 w 3574732"/>
                  <a:gd name="connsiteY253" fmla="*/ 163873 h 1473560"/>
                  <a:gd name="connsiteX254" fmla="*/ 1342073 w 3574732"/>
                  <a:gd name="connsiteY254" fmla="*/ 167683 h 1473560"/>
                  <a:gd name="connsiteX255" fmla="*/ 1331595 w 3574732"/>
                  <a:gd name="connsiteY255" fmla="*/ 168635 h 1473560"/>
                  <a:gd name="connsiteX256" fmla="*/ 1320165 w 3574732"/>
                  <a:gd name="connsiteY256" fmla="*/ 170540 h 1473560"/>
                  <a:gd name="connsiteX257" fmla="*/ 1308735 w 3574732"/>
                  <a:gd name="connsiteY257" fmla="*/ 170540 h 1473560"/>
                  <a:gd name="connsiteX258" fmla="*/ 1292543 w 3574732"/>
                  <a:gd name="connsiteY258" fmla="*/ 171493 h 1473560"/>
                  <a:gd name="connsiteX259" fmla="*/ 1274445 w 3574732"/>
                  <a:gd name="connsiteY259" fmla="*/ 174350 h 1473560"/>
                  <a:gd name="connsiteX260" fmla="*/ 1265873 w 3574732"/>
                  <a:gd name="connsiteY260" fmla="*/ 175303 h 1473560"/>
                  <a:gd name="connsiteX261" fmla="*/ 1255395 w 3574732"/>
                  <a:gd name="connsiteY261" fmla="*/ 176255 h 1473560"/>
                  <a:gd name="connsiteX262" fmla="*/ 1244918 w 3574732"/>
                  <a:gd name="connsiteY262" fmla="*/ 175303 h 1473560"/>
                  <a:gd name="connsiteX263" fmla="*/ 1231583 w 3574732"/>
                  <a:gd name="connsiteY263" fmla="*/ 171493 h 1473560"/>
                  <a:gd name="connsiteX264" fmla="*/ 1226820 w 3574732"/>
                  <a:gd name="connsiteY264" fmla="*/ 168635 h 1473560"/>
                  <a:gd name="connsiteX265" fmla="*/ 1221105 w 3574732"/>
                  <a:gd name="connsiteY265" fmla="*/ 168635 h 1473560"/>
                  <a:gd name="connsiteX266" fmla="*/ 1194435 w 3574732"/>
                  <a:gd name="connsiteY266" fmla="*/ 171493 h 1473560"/>
                  <a:gd name="connsiteX267" fmla="*/ 1185863 w 3574732"/>
                  <a:gd name="connsiteY267" fmla="*/ 177208 h 1473560"/>
                  <a:gd name="connsiteX268" fmla="*/ 1161098 w 3574732"/>
                  <a:gd name="connsiteY268" fmla="*/ 184828 h 1473560"/>
                  <a:gd name="connsiteX269" fmla="*/ 1153478 w 3574732"/>
                  <a:gd name="connsiteY269" fmla="*/ 187685 h 1473560"/>
                  <a:gd name="connsiteX270" fmla="*/ 1134428 w 3574732"/>
                  <a:gd name="connsiteY270" fmla="*/ 196258 h 1473560"/>
                  <a:gd name="connsiteX271" fmla="*/ 1121093 w 3574732"/>
                  <a:gd name="connsiteY271" fmla="*/ 196258 h 1473560"/>
                  <a:gd name="connsiteX272" fmla="*/ 1113473 w 3574732"/>
                  <a:gd name="connsiteY272" fmla="*/ 201973 h 1473560"/>
                  <a:gd name="connsiteX273" fmla="*/ 1097280 w 3574732"/>
                  <a:gd name="connsiteY273" fmla="*/ 199115 h 1473560"/>
                  <a:gd name="connsiteX274" fmla="*/ 1088708 w 3574732"/>
                  <a:gd name="connsiteY274" fmla="*/ 191495 h 1473560"/>
                  <a:gd name="connsiteX275" fmla="*/ 1087755 w 3574732"/>
                  <a:gd name="connsiteY275" fmla="*/ 188638 h 1473560"/>
                  <a:gd name="connsiteX276" fmla="*/ 1099185 w 3574732"/>
                  <a:gd name="connsiteY276" fmla="*/ 188638 h 1473560"/>
                  <a:gd name="connsiteX277" fmla="*/ 1121093 w 3574732"/>
                  <a:gd name="connsiteY277" fmla="*/ 181018 h 1473560"/>
                  <a:gd name="connsiteX278" fmla="*/ 1087755 w 3574732"/>
                  <a:gd name="connsiteY278" fmla="*/ 179113 h 1473560"/>
                  <a:gd name="connsiteX279" fmla="*/ 1071563 w 3574732"/>
                  <a:gd name="connsiteY279" fmla="*/ 179113 h 1473560"/>
                  <a:gd name="connsiteX280" fmla="*/ 1062990 w 3574732"/>
                  <a:gd name="connsiteY280" fmla="*/ 182923 h 1473560"/>
                  <a:gd name="connsiteX281" fmla="*/ 1058228 w 3574732"/>
                  <a:gd name="connsiteY281" fmla="*/ 190543 h 1473560"/>
                  <a:gd name="connsiteX282" fmla="*/ 1055370 w 3574732"/>
                  <a:gd name="connsiteY282" fmla="*/ 203878 h 1473560"/>
                  <a:gd name="connsiteX283" fmla="*/ 1048703 w 3574732"/>
                  <a:gd name="connsiteY283" fmla="*/ 218165 h 1473560"/>
                  <a:gd name="connsiteX284" fmla="*/ 1034415 w 3574732"/>
                  <a:gd name="connsiteY284" fmla="*/ 214355 h 1473560"/>
                  <a:gd name="connsiteX285" fmla="*/ 1025843 w 3574732"/>
                  <a:gd name="connsiteY285" fmla="*/ 216260 h 1473560"/>
                  <a:gd name="connsiteX286" fmla="*/ 1021080 w 3574732"/>
                  <a:gd name="connsiteY286" fmla="*/ 219118 h 1473560"/>
                  <a:gd name="connsiteX287" fmla="*/ 1010603 w 3574732"/>
                  <a:gd name="connsiteY287" fmla="*/ 224833 h 1473560"/>
                  <a:gd name="connsiteX288" fmla="*/ 1002983 w 3574732"/>
                  <a:gd name="connsiteY288" fmla="*/ 225785 h 1473560"/>
                  <a:gd name="connsiteX289" fmla="*/ 997268 w 3574732"/>
                  <a:gd name="connsiteY289" fmla="*/ 227690 h 1473560"/>
                  <a:gd name="connsiteX290" fmla="*/ 995363 w 3574732"/>
                  <a:gd name="connsiteY290" fmla="*/ 233405 h 1473560"/>
                  <a:gd name="connsiteX291" fmla="*/ 990600 w 3574732"/>
                  <a:gd name="connsiteY291" fmla="*/ 240073 h 1473560"/>
                  <a:gd name="connsiteX292" fmla="*/ 980123 w 3574732"/>
                  <a:gd name="connsiteY292" fmla="*/ 246740 h 1473560"/>
                  <a:gd name="connsiteX293" fmla="*/ 969645 w 3574732"/>
                  <a:gd name="connsiteY293" fmla="*/ 245788 h 1473560"/>
                  <a:gd name="connsiteX294" fmla="*/ 958215 w 3574732"/>
                  <a:gd name="connsiteY294" fmla="*/ 241978 h 1473560"/>
                  <a:gd name="connsiteX295" fmla="*/ 950595 w 3574732"/>
                  <a:gd name="connsiteY295" fmla="*/ 239120 h 1473560"/>
                  <a:gd name="connsiteX296" fmla="*/ 940118 w 3574732"/>
                  <a:gd name="connsiteY296" fmla="*/ 238168 h 1473560"/>
                  <a:gd name="connsiteX297" fmla="*/ 932498 w 3574732"/>
                  <a:gd name="connsiteY297" fmla="*/ 241978 h 1473560"/>
                  <a:gd name="connsiteX298" fmla="*/ 933450 w 3574732"/>
                  <a:gd name="connsiteY298" fmla="*/ 250550 h 1473560"/>
                  <a:gd name="connsiteX299" fmla="*/ 949643 w 3574732"/>
                  <a:gd name="connsiteY299" fmla="*/ 258170 h 1473560"/>
                  <a:gd name="connsiteX300" fmla="*/ 925830 w 3574732"/>
                  <a:gd name="connsiteY300" fmla="*/ 257218 h 1473560"/>
                  <a:gd name="connsiteX301" fmla="*/ 908685 w 3574732"/>
                  <a:gd name="connsiteY301" fmla="*/ 248645 h 1473560"/>
                  <a:gd name="connsiteX302" fmla="*/ 908685 w 3574732"/>
                  <a:gd name="connsiteY302" fmla="*/ 245788 h 1473560"/>
                  <a:gd name="connsiteX303" fmla="*/ 907733 w 3574732"/>
                  <a:gd name="connsiteY303" fmla="*/ 238168 h 1473560"/>
                  <a:gd name="connsiteX304" fmla="*/ 907733 w 3574732"/>
                  <a:gd name="connsiteY304" fmla="*/ 231500 h 1473560"/>
                  <a:gd name="connsiteX305" fmla="*/ 907733 w 3574732"/>
                  <a:gd name="connsiteY305" fmla="*/ 225785 h 1473560"/>
                  <a:gd name="connsiteX306" fmla="*/ 887730 w 3574732"/>
                  <a:gd name="connsiteY306" fmla="*/ 215308 h 1473560"/>
                  <a:gd name="connsiteX307" fmla="*/ 892493 w 3574732"/>
                  <a:gd name="connsiteY307" fmla="*/ 215308 h 1473560"/>
                  <a:gd name="connsiteX308" fmla="*/ 895350 w 3574732"/>
                  <a:gd name="connsiteY308" fmla="*/ 215308 h 1473560"/>
                  <a:gd name="connsiteX309" fmla="*/ 902970 w 3574732"/>
                  <a:gd name="connsiteY309" fmla="*/ 216260 h 1473560"/>
                  <a:gd name="connsiteX310" fmla="*/ 923925 w 3574732"/>
                  <a:gd name="connsiteY310" fmla="*/ 218165 h 1473560"/>
                  <a:gd name="connsiteX311" fmla="*/ 942975 w 3574732"/>
                  <a:gd name="connsiteY311" fmla="*/ 215308 h 1473560"/>
                  <a:gd name="connsiteX312" fmla="*/ 951548 w 3574732"/>
                  <a:gd name="connsiteY312" fmla="*/ 215308 h 1473560"/>
                  <a:gd name="connsiteX313" fmla="*/ 962025 w 3574732"/>
                  <a:gd name="connsiteY313" fmla="*/ 217213 h 1473560"/>
                  <a:gd name="connsiteX314" fmla="*/ 983933 w 3574732"/>
                  <a:gd name="connsiteY314" fmla="*/ 219118 h 1473560"/>
                  <a:gd name="connsiteX315" fmla="*/ 1002030 w 3574732"/>
                  <a:gd name="connsiteY315" fmla="*/ 213403 h 1473560"/>
                  <a:gd name="connsiteX316" fmla="*/ 1007745 w 3574732"/>
                  <a:gd name="connsiteY316" fmla="*/ 201973 h 1473560"/>
                  <a:gd name="connsiteX317" fmla="*/ 1001078 w 3574732"/>
                  <a:gd name="connsiteY317" fmla="*/ 189590 h 1473560"/>
                  <a:gd name="connsiteX318" fmla="*/ 984885 w 3574732"/>
                  <a:gd name="connsiteY318" fmla="*/ 185780 h 1473560"/>
                  <a:gd name="connsiteX319" fmla="*/ 968693 w 3574732"/>
                  <a:gd name="connsiteY319" fmla="*/ 179113 h 1473560"/>
                  <a:gd name="connsiteX320" fmla="*/ 952500 w 3574732"/>
                  <a:gd name="connsiteY320" fmla="*/ 173398 h 1473560"/>
                  <a:gd name="connsiteX321" fmla="*/ 942023 w 3574732"/>
                  <a:gd name="connsiteY321" fmla="*/ 169588 h 1473560"/>
                  <a:gd name="connsiteX322" fmla="*/ 927735 w 3574732"/>
                  <a:gd name="connsiteY322" fmla="*/ 166730 h 1473560"/>
                  <a:gd name="connsiteX323" fmla="*/ 916305 w 3574732"/>
                  <a:gd name="connsiteY323" fmla="*/ 163873 h 1473560"/>
                  <a:gd name="connsiteX324" fmla="*/ 896303 w 3574732"/>
                  <a:gd name="connsiteY324" fmla="*/ 159110 h 1473560"/>
                  <a:gd name="connsiteX325" fmla="*/ 887730 w 3574732"/>
                  <a:gd name="connsiteY325" fmla="*/ 155300 h 1473560"/>
                  <a:gd name="connsiteX326" fmla="*/ 868680 w 3574732"/>
                  <a:gd name="connsiteY326" fmla="*/ 151490 h 1473560"/>
                  <a:gd name="connsiteX327" fmla="*/ 851535 w 3574732"/>
                  <a:gd name="connsiteY327" fmla="*/ 146728 h 1473560"/>
                  <a:gd name="connsiteX328" fmla="*/ 834390 w 3574732"/>
                  <a:gd name="connsiteY328" fmla="*/ 139108 h 1473560"/>
                  <a:gd name="connsiteX329" fmla="*/ 818198 w 3574732"/>
                  <a:gd name="connsiteY329" fmla="*/ 137203 h 1473560"/>
                  <a:gd name="connsiteX330" fmla="*/ 787718 w 3574732"/>
                  <a:gd name="connsiteY330" fmla="*/ 136250 h 1473560"/>
                  <a:gd name="connsiteX331" fmla="*/ 760095 w 3574732"/>
                  <a:gd name="connsiteY331" fmla="*/ 133393 h 1473560"/>
                  <a:gd name="connsiteX332" fmla="*/ 754380 w 3574732"/>
                  <a:gd name="connsiteY332" fmla="*/ 133393 h 1473560"/>
                  <a:gd name="connsiteX333" fmla="*/ 736283 w 3574732"/>
                  <a:gd name="connsiteY333" fmla="*/ 134345 h 1473560"/>
                  <a:gd name="connsiteX334" fmla="*/ 715328 w 3574732"/>
                  <a:gd name="connsiteY334" fmla="*/ 135298 h 1473560"/>
                  <a:gd name="connsiteX335" fmla="*/ 701993 w 3574732"/>
                  <a:gd name="connsiteY335" fmla="*/ 140060 h 1473560"/>
                  <a:gd name="connsiteX336" fmla="*/ 690563 w 3574732"/>
                  <a:gd name="connsiteY336" fmla="*/ 140060 h 1473560"/>
                  <a:gd name="connsiteX337" fmla="*/ 684848 w 3574732"/>
                  <a:gd name="connsiteY337" fmla="*/ 140060 h 1473560"/>
                  <a:gd name="connsiteX338" fmla="*/ 670560 w 3574732"/>
                  <a:gd name="connsiteY338" fmla="*/ 141965 h 1473560"/>
                  <a:gd name="connsiteX339" fmla="*/ 662940 w 3574732"/>
                  <a:gd name="connsiteY339" fmla="*/ 142918 h 1473560"/>
                  <a:gd name="connsiteX340" fmla="*/ 652463 w 3574732"/>
                  <a:gd name="connsiteY340" fmla="*/ 147680 h 1473560"/>
                  <a:gd name="connsiteX341" fmla="*/ 637223 w 3574732"/>
                  <a:gd name="connsiteY341" fmla="*/ 153395 h 1473560"/>
                  <a:gd name="connsiteX342" fmla="*/ 619125 w 3574732"/>
                  <a:gd name="connsiteY342" fmla="*/ 158158 h 1473560"/>
                  <a:gd name="connsiteX343" fmla="*/ 605790 w 3574732"/>
                  <a:gd name="connsiteY343" fmla="*/ 161968 h 1473560"/>
                  <a:gd name="connsiteX344" fmla="*/ 598170 w 3574732"/>
                  <a:gd name="connsiteY344" fmla="*/ 165778 h 1473560"/>
                  <a:gd name="connsiteX345" fmla="*/ 587693 w 3574732"/>
                  <a:gd name="connsiteY345" fmla="*/ 170540 h 1473560"/>
                  <a:gd name="connsiteX346" fmla="*/ 579120 w 3574732"/>
                  <a:gd name="connsiteY346" fmla="*/ 180065 h 1473560"/>
                  <a:gd name="connsiteX347" fmla="*/ 576263 w 3574732"/>
                  <a:gd name="connsiteY347" fmla="*/ 183875 h 1473560"/>
                  <a:gd name="connsiteX348" fmla="*/ 560070 w 3574732"/>
                  <a:gd name="connsiteY348" fmla="*/ 195305 h 1473560"/>
                  <a:gd name="connsiteX349" fmla="*/ 551498 w 3574732"/>
                  <a:gd name="connsiteY349" fmla="*/ 200068 h 1473560"/>
                  <a:gd name="connsiteX350" fmla="*/ 535305 w 3574732"/>
                  <a:gd name="connsiteY350" fmla="*/ 208640 h 1473560"/>
                  <a:gd name="connsiteX351" fmla="*/ 524828 w 3574732"/>
                  <a:gd name="connsiteY351" fmla="*/ 220070 h 1473560"/>
                  <a:gd name="connsiteX352" fmla="*/ 520065 w 3574732"/>
                  <a:gd name="connsiteY352" fmla="*/ 227690 h 1473560"/>
                  <a:gd name="connsiteX353" fmla="*/ 512445 w 3574732"/>
                  <a:gd name="connsiteY353" fmla="*/ 237215 h 1473560"/>
                  <a:gd name="connsiteX354" fmla="*/ 494348 w 3574732"/>
                  <a:gd name="connsiteY354" fmla="*/ 245788 h 1473560"/>
                  <a:gd name="connsiteX355" fmla="*/ 478155 w 3574732"/>
                  <a:gd name="connsiteY355" fmla="*/ 257218 h 1473560"/>
                  <a:gd name="connsiteX356" fmla="*/ 467678 w 3574732"/>
                  <a:gd name="connsiteY356" fmla="*/ 259123 h 1473560"/>
                  <a:gd name="connsiteX357" fmla="*/ 457200 w 3574732"/>
                  <a:gd name="connsiteY357" fmla="*/ 265790 h 1473560"/>
                  <a:gd name="connsiteX358" fmla="*/ 439103 w 3574732"/>
                  <a:gd name="connsiteY358" fmla="*/ 268648 h 1473560"/>
                  <a:gd name="connsiteX359" fmla="*/ 428625 w 3574732"/>
                  <a:gd name="connsiteY359" fmla="*/ 274363 h 1473560"/>
                  <a:gd name="connsiteX360" fmla="*/ 422910 w 3574732"/>
                  <a:gd name="connsiteY360" fmla="*/ 278173 h 1473560"/>
                  <a:gd name="connsiteX361" fmla="*/ 415290 w 3574732"/>
                  <a:gd name="connsiteY361" fmla="*/ 283888 h 1473560"/>
                  <a:gd name="connsiteX362" fmla="*/ 409575 w 3574732"/>
                  <a:gd name="connsiteY362" fmla="*/ 286745 h 1473560"/>
                  <a:gd name="connsiteX363" fmla="*/ 401003 w 3574732"/>
                  <a:gd name="connsiteY363" fmla="*/ 295318 h 1473560"/>
                  <a:gd name="connsiteX364" fmla="*/ 395288 w 3574732"/>
                  <a:gd name="connsiteY364" fmla="*/ 304843 h 1473560"/>
                  <a:gd name="connsiteX365" fmla="*/ 398145 w 3574732"/>
                  <a:gd name="connsiteY365" fmla="*/ 317225 h 1473560"/>
                  <a:gd name="connsiteX366" fmla="*/ 401003 w 3574732"/>
                  <a:gd name="connsiteY366" fmla="*/ 329608 h 1473560"/>
                  <a:gd name="connsiteX367" fmla="*/ 401003 w 3574732"/>
                  <a:gd name="connsiteY367" fmla="*/ 334370 h 1473560"/>
                  <a:gd name="connsiteX368" fmla="*/ 405765 w 3574732"/>
                  <a:gd name="connsiteY368" fmla="*/ 338180 h 1473560"/>
                  <a:gd name="connsiteX369" fmla="*/ 411480 w 3574732"/>
                  <a:gd name="connsiteY369" fmla="*/ 342943 h 1473560"/>
                  <a:gd name="connsiteX370" fmla="*/ 414338 w 3574732"/>
                  <a:gd name="connsiteY370" fmla="*/ 351515 h 1473560"/>
                  <a:gd name="connsiteX371" fmla="*/ 420053 w 3574732"/>
                  <a:gd name="connsiteY371" fmla="*/ 361993 h 1473560"/>
                  <a:gd name="connsiteX372" fmla="*/ 427673 w 3574732"/>
                  <a:gd name="connsiteY372" fmla="*/ 361993 h 1473560"/>
                  <a:gd name="connsiteX373" fmla="*/ 443865 w 3574732"/>
                  <a:gd name="connsiteY373" fmla="*/ 360088 h 1473560"/>
                  <a:gd name="connsiteX374" fmla="*/ 452438 w 3574732"/>
                  <a:gd name="connsiteY374" fmla="*/ 355325 h 1473560"/>
                  <a:gd name="connsiteX375" fmla="*/ 460058 w 3574732"/>
                  <a:gd name="connsiteY375" fmla="*/ 352468 h 1473560"/>
                  <a:gd name="connsiteX376" fmla="*/ 462915 w 3574732"/>
                  <a:gd name="connsiteY376" fmla="*/ 348658 h 1473560"/>
                  <a:gd name="connsiteX377" fmla="*/ 467678 w 3574732"/>
                  <a:gd name="connsiteY377" fmla="*/ 343895 h 1473560"/>
                  <a:gd name="connsiteX378" fmla="*/ 478155 w 3574732"/>
                  <a:gd name="connsiteY378" fmla="*/ 341990 h 1473560"/>
                  <a:gd name="connsiteX379" fmla="*/ 483870 w 3574732"/>
                  <a:gd name="connsiteY379" fmla="*/ 341038 h 1473560"/>
                  <a:gd name="connsiteX380" fmla="*/ 492443 w 3574732"/>
                  <a:gd name="connsiteY380" fmla="*/ 341990 h 1473560"/>
                  <a:gd name="connsiteX381" fmla="*/ 493395 w 3574732"/>
                  <a:gd name="connsiteY381" fmla="*/ 351515 h 1473560"/>
                  <a:gd name="connsiteX382" fmla="*/ 499110 w 3574732"/>
                  <a:gd name="connsiteY382" fmla="*/ 358183 h 1473560"/>
                  <a:gd name="connsiteX383" fmla="*/ 504825 w 3574732"/>
                  <a:gd name="connsiteY383" fmla="*/ 363898 h 1473560"/>
                  <a:gd name="connsiteX384" fmla="*/ 512445 w 3574732"/>
                  <a:gd name="connsiteY384" fmla="*/ 367708 h 1473560"/>
                  <a:gd name="connsiteX385" fmla="*/ 522923 w 3574732"/>
                  <a:gd name="connsiteY385" fmla="*/ 377233 h 1473560"/>
                  <a:gd name="connsiteX386" fmla="*/ 521018 w 3574732"/>
                  <a:gd name="connsiteY386" fmla="*/ 384853 h 1473560"/>
                  <a:gd name="connsiteX387" fmla="*/ 523875 w 3574732"/>
                  <a:gd name="connsiteY387" fmla="*/ 395330 h 1473560"/>
                  <a:gd name="connsiteX388" fmla="*/ 538163 w 3574732"/>
                  <a:gd name="connsiteY388" fmla="*/ 399140 h 1473560"/>
                  <a:gd name="connsiteX389" fmla="*/ 549593 w 3574732"/>
                  <a:gd name="connsiteY389" fmla="*/ 398188 h 1473560"/>
                  <a:gd name="connsiteX390" fmla="*/ 558165 w 3574732"/>
                  <a:gd name="connsiteY390" fmla="*/ 393425 h 1473560"/>
                  <a:gd name="connsiteX391" fmla="*/ 569595 w 3574732"/>
                  <a:gd name="connsiteY391" fmla="*/ 389615 h 1473560"/>
                  <a:gd name="connsiteX392" fmla="*/ 580073 w 3574732"/>
                  <a:gd name="connsiteY392" fmla="*/ 382948 h 1473560"/>
                  <a:gd name="connsiteX393" fmla="*/ 585788 w 3574732"/>
                  <a:gd name="connsiteY393" fmla="*/ 379138 h 1473560"/>
                  <a:gd name="connsiteX394" fmla="*/ 585788 w 3574732"/>
                  <a:gd name="connsiteY394" fmla="*/ 373423 h 1473560"/>
                  <a:gd name="connsiteX395" fmla="*/ 596265 w 3574732"/>
                  <a:gd name="connsiteY395" fmla="*/ 361993 h 1473560"/>
                  <a:gd name="connsiteX396" fmla="*/ 601028 w 3574732"/>
                  <a:gd name="connsiteY396" fmla="*/ 355325 h 1473560"/>
                  <a:gd name="connsiteX397" fmla="*/ 606743 w 3574732"/>
                  <a:gd name="connsiteY397" fmla="*/ 348658 h 1473560"/>
                  <a:gd name="connsiteX398" fmla="*/ 614363 w 3574732"/>
                  <a:gd name="connsiteY398" fmla="*/ 341990 h 1473560"/>
                  <a:gd name="connsiteX399" fmla="*/ 620078 w 3574732"/>
                  <a:gd name="connsiteY399" fmla="*/ 337228 h 1473560"/>
                  <a:gd name="connsiteX400" fmla="*/ 621983 w 3574732"/>
                  <a:gd name="connsiteY400" fmla="*/ 323893 h 1473560"/>
                  <a:gd name="connsiteX401" fmla="*/ 621983 w 3574732"/>
                  <a:gd name="connsiteY401" fmla="*/ 319130 h 1473560"/>
                  <a:gd name="connsiteX402" fmla="*/ 616268 w 3574732"/>
                  <a:gd name="connsiteY402" fmla="*/ 318178 h 1473560"/>
                  <a:gd name="connsiteX403" fmla="*/ 604838 w 3574732"/>
                  <a:gd name="connsiteY403" fmla="*/ 317225 h 1473560"/>
                  <a:gd name="connsiteX404" fmla="*/ 599123 w 3574732"/>
                  <a:gd name="connsiteY404" fmla="*/ 314368 h 1473560"/>
                  <a:gd name="connsiteX405" fmla="*/ 599123 w 3574732"/>
                  <a:gd name="connsiteY405" fmla="*/ 307700 h 1473560"/>
                  <a:gd name="connsiteX406" fmla="*/ 601028 w 3574732"/>
                  <a:gd name="connsiteY406" fmla="*/ 301033 h 1473560"/>
                  <a:gd name="connsiteX407" fmla="*/ 614363 w 3574732"/>
                  <a:gd name="connsiteY407" fmla="*/ 291508 h 1473560"/>
                  <a:gd name="connsiteX408" fmla="*/ 622935 w 3574732"/>
                  <a:gd name="connsiteY408" fmla="*/ 287698 h 1473560"/>
                  <a:gd name="connsiteX409" fmla="*/ 636270 w 3574732"/>
                  <a:gd name="connsiteY409" fmla="*/ 277220 h 1473560"/>
                  <a:gd name="connsiteX410" fmla="*/ 641033 w 3574732"/>
                  <a:gd name="connsiteY410" fmla="*/ 273410 h 1473560"/>
                  <a:gd name="connsiteX411" fmla="*/ 649605 w 3574732"/>
                  <a:gd name="connsiteY411" fmla="*/ 265790 h 1473560"/>
                  <a:gd name="connsiteX412" fmla="*/ 658178 w 3574732"/>
                  <a:gd name="connsiteY412" fmla="*/ 260075 h 1473560"/>
                  <a:gd name="connsiteX413" fmla="*/ 661035 w 3574732"/>
                  <a:gd name="connsiteY413" fmla="*/ 250550 h 1473560"/>
                  <a:gd name="connsiteX414" fmla="*/ 662940 w 3574732"/>
                  <a:gd name="connsiteY414" fmla="*/ 245788 h 1473560"/>
                  <a:gd name="connsiteX415" fmla="*/ 668655 w 3574732"/>
                  <a:gd name="connsiteY415" fmla="*/ 240073 h 1473560"/>
                  <a:gd name="connsiteX416" fmla="*/ 680085 w 3574732"/>
                  <a:gd name="connsiteY416" fmla="*/ 233405 h 1473560"/>
                  <a:gd name="connsiteX417" fmla="*/ 688658 w 3574732"/>
                  <a:gd name="connsiteY417" fmla="*/ 231500 h 1473560"/>
                  <a:gd name="connsiteX418" fmla="*/ 696278 w 3574732"/>
                  <a:gd name="connsiteY418" fmla="*/ 228643 h 1473560"/>
                  <a:gd name="connsiteX419" fmla="*/ 707708 w 3574732"/>
                  <a:gd name="connsiteY419" fmla="*/ 227690 h 1473560"/>
                  <a:gd name="connsiteX420" fmla="*/ 719138 w 3574732"/>
                  <a:gd name="connsiteY420" fmla="*/ 228643 h 1473560"/>
                  <a:gd name="connsiteX421" fmla="*/ 733425 w 3574732"/>
                  <a:gd name="connsiteY421" fmla="*/ 231500 h 1473560"/>
                  <a:gd name="connsiteX422" fmla="*/ 733425 w 3574732"/>
                  <a:gd name="connsiteY422" fmla="*/ 237215 h 1473560"/>
                  <a:gd name="connsiteX423" fmla="*/ 730568 w 3574732"/>
                  <a:gd name="connsiteY423" fmla="*/ 244835 h 1473560"/>
                  <a:gd name="connsiteX424" fmla="*/ 727710 w 3574732"/>
                  <a:gd name="connsiteY424" fmla="*/ 251503 h 1473560"/>
                  <a:gd name="connsiteX425" fmla="*/ 724853 w 3574732"/>
                  <a:gd name="connsiteY425" fmla="*/ 256265 h 1473560"/>
                  <a:gd name="connsiteX426" fmla="*/ 720090 w 3574732"/>
                  <a:gd name="connsiteY426" fmla="*/ 261028 h 1473560"/>
                  <a:gd name="connsiteX427" fmla="*/ 701993 w 3574732"/>
                  <a:gd name="connsiteY427" fmla="*/ 266743 h 1473560"/>
                  <a:gd name="connsiteX428" fmla="*/ 685800 w 3574732"/>
                  <a:gd name="connsiteY428" fmla="*/ 271505 h 1473560"/>
                  <a:gd name="connsiteX429" fmla="*/ 678180 w 3574732"/>
                  <a:gd name="connsiteY429" fmla="*/ 275315 h 1473560"/>
                  <a:gd name="connsiteX430" fmla="*/ 678180 w 3574732"/>
                  <a:gd name="connsiteY430" fmla="*/ 281030 h 1473560"/>
                  <a:gd name="connsiteX431" fmla="*/ 676275 w 3574732"/>
                  <a:gd name="connsiteY431" fmla="*/ 291508 h 1473560"/>
                  <a:gd name="connsiteX432" fmla="*/ 677228 w 3574732"/>
                  <a:gd name="connsiteY432" fmla="*/ 301033 h 1473560"/>
                  <a:gd name="connsiteX433" fmla="*/ 672465 w 3574732"/>
                  <a:gd name="connsiteY433" fmla="*/ 311510 h 1473560"/>
                  <a:gd name="connsiteX434" fmla="*/ 678180 w 3574732"/>
                  <a:gd name="connsiteY434" fmla="*/ 321988 h 1473560"/>
                  <a:gd name="connsiteX435" fmla="*/ 683895 w 3574732"/>
                  <a:gd name="connsiteY435" fmla="*/ 324845 h 1473560"/>
                  <a:gd name="connsiteX436" fmla="*/ 695325 w 3574732"/>
                  <a:gd name="connsiteY436" fmla="*/ 324845 h 1473560"/>
                  <a:gd name="connsiteX437" fmla="*/ 705803 w 3574732"/>
                  <a:gd name="connsiteY437" fmla="*/ 328655 h 1473560"/>
                  <a:gd name="connsiteX438" fmla="*/ 720090 w 3574732"/>
                  <a:gd name="connsiteY438" fmla="*/ 329608 h 1473560"/>
                  <a:gd name="connsiteX439" fmla="*/ 733425 w 3574732"/>
                  <a:gd name="connsiteY439" fmla="*/ 328655 h 1473560"/>
                  <a:gd name="connsiteX440" fmla="*/ 743903 w 3574732"/>
                  <a:gd name="connsiteY440" fmla="*/ 326750 h 1473560"/>
                  <a:gd name="connsiteX441" fmla="*/ 752475 w 3574732"/>
                  <a:gd name="connsiteY441" fmla="*/ 323893 h 1473560"/>
                  <a:gd name="connsiteX442" fmla="*/ 760095 w 3574732"/>
                  <a:gd name="connsiteY442" fmla="*/ 323893 h 1473560"/>
                  <a:gd name="connsiteX443" fmla="*/ 779145 w 3574732"/>
                  <a:gd name="connsiteY443" fmla="*/ 323893 h 1473560"/>
                  <a:gd name="connsiteX444" fmla="*/ 793433 w 3574732"/>
                  <a:gd name="connsiteY444" fmla="*/ 324845 h 1473560"/>
                  <a:gd name="connsiteX445" fmla="*/ 796290 w 3574732"/>
                  <a:gd name="connsiteY445" fmla="*/ 328655 h 1473560"/>
                  <a:gd name="connsiteX446" fmla="*/ 790575 w 3574732"/>
                  <a:gd name="connsiteY446" fmla="*/ 337228 h 1473560"/>
                  <a:gd name="connsiteX447" fmla="*/ 782003 w 3574732"/>
                  <a:gd name="connsiteY447" fmla="*/ 337228 h 1473560"/>
                  <a:gd name="connsiteX448" fmla="*/ 776288 w 3574732"/>
                  <a:gd name="connsiteY448" fmla="*/ 339133 h 1473560"/>
                  <a:gd name="connsiteX449" fmla="*/ 758190 w 3574732"/>
                  <a:gd name="connsiteY449" fmla="*/ 340085 h 1473560"/>
                  <a:gd name="connsiteX450" fmla="*/ 740093 w 3574732"/>
                  <a:gd name="connsiteY450" fmla="*/ 341990 h 1473560"/>
                  <a:gd name="connsiteX451" fmla="*/ 725805 w 3574732"/>
                  <a:gd name="connsiteY451" fmla="*/ 343895 h 1473560"/>
                  <a:gd name="connsiteX452" fmla="*/ 721043 w 3574732"/>
                  <a:gd name="connsiteY452" fmla="*/ 347705 h 1473560"/>
                  <a:gd name="connsiteX453" fmla="*/ 719138 w 3574732"/>
                  <a:gd name="connsiteY453" fmla="*/ 353420 h 1473560"/>
                  <a:gd name="connsiteX454" fmla="*/ 713423 w 3574732"/>
                  <a:gd name="connsiteY454" fmla="*/ 360088 h 1473560"/>
                  <a:gd name="connsiteX455" fmla="*/ 705803 w 3574732"/>
                  <a:gd name="connsiteY455" fmla="*/ 368660 h 1473560"/>
                  <a:gd name="connsiteX456" fmla="*/ 695325 w 3574732"/>
                  <a:gd name="connsiteY456" fmla="*/ 370565 h 1473560"/>
                  <a:gd name="connsiteX457" fmla="*/ 687705 w 3574732"/>
                  <a:gd name="connsiteY457" fmla="*/ 370565 h 1473560"/>
                  <a:gd name="connsiteX458" fmla="*/ 674370 w 3574732"/>
                  <a:gd name="connsiteY458" fmla="*/ 372470 h 1473560"/>
                  <a:gd name="connsiteX459" fmla="*/ 669608 w 3574732"/>
                  <a:gd name="connsiteY459" fmla="*/ 378185 h 1473560"/>
                  <a:gd name="connsiteX460" fmla="*/ 664845 w 3574732"/>
                  <a:gd name="connsiteY460" fmla="*/ 382948 h 1473560"/>
                  <a:gd name="connsiteX461" fmla="*/ 662940 w 3574732"/>
                  <a:gd name="connsiteY461" fmla="*/ 388663 h 1473560"/>
                  <a:gd name="connsiteX462" fmla="*/ 657225 w 3574732"/>
                  <a:gd name="connsiteY462" fmla="*/ 398188 h 1473560"/>
                  <a:gd name="connsiteX463" fmla="*/ 649605 w 3574732"/>
                  <a:gd name="connsiteY463" fmla="*/ 404855 h 1473560"/>
                  <a:gd name="connsiteX464" fmla="*/ 627698 w 3574732"/>
                  <a:gd name="connsiteY464" fmla="*/ 409618 h 1473560"/>
                  <a:gd name="connsiteX465" fmla="*/ 600075 w 3574732"/>
                  <a:gd name="connsiteY465" fmla="*/ 414380 h 1473560"/>
                  <a:gd name="connsiteX466" fmla="*/ 594360 w 3574732"/>
                  <a:gd name="connsiteY466" fmla="*/ 414380 h 1473560"/>
                  <a:gd name="connsiteX467" fmla="*/ 578168 w 3574732"/>
                  <a:gd name="connsiteY467" fmla="*/ 415333 h 1473560"/>
                  <a:gd name="connsiteX468" fmla="*/ 560070 w 3574732"/>
                  <a:gd name="connsiteY468" fmla="*/ 417238 h 1473560"/>
                  <a:gd name="connsiteX469" fmla="*/ 551498 w 3574732"/>
                  <a:gd name="connsiteY469" fmla="*/ 418190 h 1473560"/>
                  <a:gd name="connsiteX470" fmla="*/ 540068 w 3574732"/>
                  <a:gd name="connsiteY470" fmla="*/ 417238 h 1473560"/>
                  <a:gd name="connsiteX471" fmla="*/ 523875 w 3574732"/>
                  <a:gd name="connsiteY471" fmla="*/ 414380 h 1473560"/>
                  <a:gd name="connsiteX472" fmla="*/ 506730 w 3574732"/>
                  <a:gd name="connsiteY472" fmla="*/ 413428 h 1473560"/>
                  <a:gd name="connsiteX473" fmla="*/ 498158 w 3574732"/>
                  <a:gd name="connsiteY473" fmla="*/ 413428 h 1473560"/>
                  <a:gd name="connsiteX474" fmla="*/ 486728 w 3574732"/>
                  <a:gd name="connsiteY474" fmla="*/ 413428 h 1473560"/>
                  <a:gd name="connsiteX475" fmla="*/ 481965 w 3574732"/>
                  <a:gd name="connsiteY475" fmla="*/ 407713 h 1473560"/>
                  <a:gd name="connsiteX476" fmla="*/ 498158 w 3574732"/>
                  <a:gd name="connsiteY476" fmla="*/ 401045 h 1473560"/>
                  <a:gd name="connsiteX477" fmla="*/ 493395 w 3574732"/>
                  <a:gd name="connsiteY477" fmla="*/ 395330 h 1473560"/>
                  <a:gd name="connsiteX478" fmla="*/ 484823 w 3574732"/>
                  <a:gd name="connsiteY478" fmla="*/ 391520 h 1473560"/>
                  <a:gd name="connsiteX479" fmla="*/ 484823 w 3574732"/>
                  <a:gd name="connsiteY479" fmla="*/ 386758 h 1473560"/>
                  <a:gd name="connsiteX480" fmla="*/ 477203 w 3574732"/>
                  <a:gd name="connsiteY480" fmla="*/ 376280 h 1473560"/>
                  <a:gd name="connsiteX481" fmla="*/ 474345 w 3574732"/>
                  <a:gd name="connsiteY481" fmla="*/ 369613 h 1473560"/>
                  <a:gd name="connsiteX482" fmla="*/ 466725 w 3574732"/>
                  <a:gd name="connsiteY482" fmla="*/ 368660 h 1473560"/>
                  <a:gd name="connsiteX483" fmla="*/ 461010 w 3574732"/>
                  <a:gd name="connsiteY483" fmla="*/ 374375 h 1473560"/>
                  <a:gd name="connsiteX484" fmla="*/ 450533 w 3574732"/>
                  <a:gd name="connsiteY484" fmla="*/ 377233 h 1473560"/>
                  <a:gd name="connsiteX485" fmla="*/ 445770 w 3574732"/>
                  <a:gd name="connsiteY485" fmla="*/ 381995 h 1473560"/>
                  <a:gd name="connsiteX486" fmla="*/ 443865 w 3574732"/>
                  <a:gd name="connsiteY486" fmla="*/ 390568 h 1473560"/>
                  <a:gd name="connsiteX487" fmla="*/ 443865 w 3574732"/>
                  <a:gd name="connsiteY487" fmla="*/ 399140 h 1473560"/>
                  <a:gd name="connsiteX488" fmla="*/ 446723 w 3574732"/>
                  <a:gd name="connsiteY488" fmla="*/ 408665 h 1473560"/>
                  <a:gd name="connsiteX489" fmla="*/ 449580 w 3574732"/>
                  <a:gd name="connsiteY489" fmla="*/ 403903 h 1473560"/>
                  <a:gd name="connsiteX490" fmla="*/ 446723 w 3574732"/>
                  <a:gd name="connsiteY490" fmla="*/ 414380 h 1473560"/>
                  <a:gd name="connsiteX491" fmla="*/ 435293 w 3574732"/>
                  <a:gd name="connsiteY491" fmla="*/ 416285 h 1473560"/>
                  <a:gd name="connsiteX492" fmla="*/ 430530 w 3574732"/>
                  <a:gd name="connsiteY492" fmla="*/ 416285 h 1473560"/>
                  <a:gd name="connsiteX493" fmla="*/ 420053 w 3574732"/>
                  <a:gd name="connsiteY493" fmla="*/ 417238 h 1473560"/>
                  <a:gd name="connsiteX494" fmla="*/ 411480 w 3574732"/>
                  <a:gd name="connsiteY494" fmla="*/ 417238 h 1473560"/>
                  <a:gd name="connsiteX495" fmla="*/ 389573 w 3574732"/>
                  <a:gd name="connsiteY495" fmla="*/ 421048 h 1473560"/>
                  <a:gd name="connsiteX496" fmla="*/ 383858 w 3574732"/>
                  <a:gd name="connsiteY496" fmla="*/ 427715 h 1473560"/>
                  <a:gd name="connsiteX497" fmla="*/ 379095 w 3574732"/>
                  <a:gd name="connsiteY497" fmla="*/ 433430 h 1473560"/>
                  <a:gd name="connsiteX498" fmla="*/ 376238 w 3574732"/>
                  <a:gd name="connsiteY498" fmla="*/ 440098 h 1473560"/>
                  <a:gd name="connsiteX499" fmla="*/ 362903 w 3574732"/>
                  <a:gd name="connsiteY499" fmla="*/ 447718 h 1473560"/>
                  <a:gd name="connsiteX500" fmla="*/ 348615 w 3574732"/>
                  <a:gd name="connsiteY500" fmla="*/ 451528 h 1473560"/>
                  <a:gd name="connsiteX501" fmla="*/ 340043 w 3574732"/>
                  <a:gd name="connsiteY501" fmla="*/ 457243 h 1473560"/>
                  <a:gd name="connsiteX502" fmla="*/ 334328 w 3574732"/>
                  <a:gd name="connsiteY502" fmla="*/ 464863 h 1473560"/>
                  <a:gd name="connsiteX503" fmla="*/ 328613 w 3574732"/>
                  <a:gd name="connsiteY503" fmla="*/ 468673 h 1473560"/>
                  <a:gd name="connsiteX504" fmla="*/ 312420 w 3574732"/>
                  <a:gd name="connsiteY504" fmla="*/ 472483 h 1473560"/>
                  <a:gd name="connsiteX505" fmla="*/ 299085 w 3574732"/>
                  <a:gd name="connsiteY505" fmla="*/ 477245 h 1473560"/>
                  <a:gd name="connsiteX506" fmla="*/ 293370 w 3574732"/>
                  <a:gd name="connsiteY506" fmla="*/ 480103 h 1473560"/>
                  <a:gd name="connsiteX507" fmla="*/ 282893 w 3574732"/>
                  <a:gd name="connsiteY507" fmla="*/ 481055 h 1473560"/>
                  <a:gd name="connsiteX508" fmla="*/ 275273 w 3574732"/>
                  <a:gd name="connsiteY508" fmla="*/ 484865 h 1473560"/>
                  <a:gd name="connsiteX509" fmla="*/ 260033 w 3574732"/>
                  <a:gd name="connsiteY509" fmla="*/ 489628 h 1473560"/>
                  <a:gd name="connsiteX510" fmla="*/ 248603 w 3574732"/>
                  <a:gd name="connsiteY510" fmla="*/ 489628 h 1473560"/>
                  <a:gd name="connsiteX511" fmla="*/ 224790 w 3574732"/>
                  <a:gd name="connsiteY511" fmla="*/ 490580 h 1473560"/>
                  <a:gd name="connsiteX512" fmla="*/ 214313 w 3574732"/>
                  <a:gd name="connsiteY512" fmla="*/ 496295 h 1473560"/>
                  <a:gd name="connsiteX513" fmla="*/ 217170 w 3574732"/>
                  <a:gd name="connsiteY513" fmla="*/ 500105 h 1473560"/>
                  <a:gd name="connsiteX514" fmla="*/ 222885 w 3574732"/>
                  <a:gd name="connsiteY514" fmla="*/ 502963 h 1473560"/>
                  <a:gd name="connsiteX515" fmla="*/ 228600 w 3574732"/>
                  <a:gd name="connsiteY515" fmla="*/ 505820 h 1473560"/>
                  <a:gd name="connsiteX516" fmla="*/ 234315 w 3574732"/>
                  <a:gd name="connsiteY516" fmla="*/ 506773 h 1473560"/>
                  <a:gd name="connsiteX517" fmla="*/ 245745 w 3574732"/>
                  <a:gd name="connsiteY517" fmla="*/ 508678 h 1473560"/>
                  <a:gd name="connsiteX518" fmla="*/ 254318 w 3574732"/>
                  <a:gd name="connsiteY518" fmla="*/ 509630 h 1473560"/>
                  <a:gd name="connsiteX519" fmla="*/ 273368 w 3574732"/>
                  <a:gd name="connsiteY519" fmla="*/ 520108 h 1473560"/>
                  <a:gd name="connsiteX520" fmla="*/ 276225 w 3574732"/>
                  <a:gd name="connsiteY520" fmla="*/ 524870 h 1473560"/>
                  <a:gd name="connsiteX521" fmla="*/ 276225 w 3574732"/>
                  <a:gd name="connsiteY521" fmla="*/ 532490 h 1473560"/>
                  <a:gd name="connsiteX522" fmla="*/ 276225 w 3574732"/>
                  <a:gd name="connsiteY522" fmla="*/ 538205 h 1473560"/>
                  <a:gd name="connsiteX523" fmla="*/ 273368 w 3574732"/>
                  <a:gd name="connsiteY523" fmla="*/ 550588 h 1473560"/>
                  <a:gd name="connsiteX524" fmla="*/ 268605 w 3574732"/>
                  <a:gd name="connsiteY524" fmla="*/ 561065 h 1473560"/>
                  <a:gd name="connsiteX525" fmla="*/ 262890 w 3574732"/>
                  <a:gd name="connsiteY525" fmla="*/ 562018 h 1473560"/>
                  <a:gd name="connsiteX526" fmla="*/ 257175 w 3574732"/>
                  <a:gd name="connsiteY526" fmla="*/ 562018 h 1473560"/>
                  <a:gd name="connsiteX527" fmla="*/ 246698 w 3574732"/>
                  <a:gd name="connsiteY527" fmla="*/ 564875 h 1473560"/>
                  <a:gd name="connsiteX528" fmla="*/ 236220 w 3574732"/>
                  <a:gd name="connsiteY528" fmla="*/ 564875 h 1473560"/>
                  <a:gd name="connsiteX529" fmla="*/ 225743 w 3574732"/>
                  <a:gd name="connsiteY529" fmla="*/ 564875 h 1473560"/>
                  <a:gd name="connsiteX530" fmla="*/ 206693 w 3574732"/>
                  <a:gd name="connsiteY530" fmla="*/ 564875 h 1473560"/>
                  <a:gd name="connsiteX531" fmla="*/ 192405 w 3574732"/>
                  <a:gd name="connsiteY531" fmla="*/ 563923 h 1473560"/>
                  <a:gd name="connsiteX532" fmla="*/ 186690 w 3574732"/>
                  <a:gd name="connsiteY532" fmla="*/ 561065 h 1473560"/>
                  <a:gd name="connsiteX533" fmla="*/ 178118 w 3574732"/>
                  <a:gd name="connsiteY533" fmla="*/ 560113 h 1473560"/>
                  <a:gd name="connsiteX534" fmla="*/ 170498 w 3574732"/>
                  <a:gd name="connsiteY534" fmla="*/ 560113 h 1473560"/>
                  <a:gd name="connsiteX535" fmla="*/ 161925 w 3574732"/>
                  <a:gd name="connsiteY535" fmla="*/ 562018 h 1473560"/>
                  <a:gd name="connsiteX536" fmla="*/ 153353 w 3574732"/>
                  <a:gd name="connsiteY536" fmla="*/ 564875 h 1473560"/>
                  <a:gd name="connsiteX537" fmla="*/ 151448 w 3574732"/>
                  <a:gd name="connsiteY537" fmla="*/ 570590 h 1473560"/>
                  <a:gd name="connsiteX538" fmla="*/ 149543 w 3574732"/>
                  <a:gd name="connsiteY538" fmla="*/ 581068 h 1473560"/>
                  <a:gd name="connsiteX539" fmla="*/ 144780 w 3574732"/>
                  <a:gd name="connsiteY539" fmla="*/ 586783 h 1473560"/>
                  <a:gd name="connsiteX540" fmla="*/ 141923 w 3574732"/>
                  <a:gd name="connsiteY540" fmla="*/ 592498 h 1473560"/>
                  <a:gd name="connsiteX541" fmla="*/ 144780 w 3574732"/>
                  <a:gd name="connsiteY541" fmla="*/ 602975 h 1473560"/>
                  <a:gd name="connsiteX542" fmla="*/ 145733 w 3574732"/>
                  <a:gd name="connsiteY542" fmla="*/ 611548 h 1473560"/>
                  <a:gd name="connsiteX543" fmla="*/ 143828 w 3574732"/>
                  <a:gd name="connsiteY543" fmla="*/ 624883 h 1473560"/>
                  <a:gd name="connsiteX544" fmla="*/ 144780 w 3574732"/>
                  <a:gd name="connsiteY544" fmla="*/ 631550 h 1473560"/>
                  <a:gd name="connsiteX545" fmla="*/ 145733 w 3574732"/>
                  <a:gd name="connsiteY545" fmla="*/ 642028 h 1473560"/>
                  <a:gd name="connsiteX546" fmla="*/ 167640 w 3574732"/>
                  <a:gd name="connsiteY546" fmla="*/ 647743 h 1473560"/>
                  <a:gd name="connsiteX547" fmla="*/ 188595 w 3574732"/>
                  <a:gd name="connsiteY547" fmla="*/ 649648 h 1473560"/>
                  <a:gd name="connsiteX548" fmla="*/ 204788 w 3574732"/>
                  <a:gd name="connsiteY548" fmla="*/ 648695 h 1473560"/>
                  <a:gd name="connsiteX549" fmla="*/ 223838 w 3574732"/>
                  <a:gd name="connsiteY549" fmla="*/ 646790 h 1473560"/>
                  <a:gd name="connsiteX550" fmla="*/ 237173 w 3574732"/>
                  <a:gd name="connsiteY550" fmla="*/ 647743 h 1473560"/>
                  <a:gd name="connsiteX551" fmla="*/ 251460 w 3574732"/>
                  <a:gd name="connsiteY551" fmla="*/ 644885 h 1473560"/>
                  <a:gd name="connsiteX552" fmla="*/ 260033 w 3574732"/>
                  <a:gd name="connsiteY552" fmla="*/ 642980 h 1473560"/>
                  <a:gd name="connsiteX553" fmla="*/ 265748 w 3574732"/>
                  <a:gd name="connsiteY553" fmla="*/ 642028 h 1473560"/>
                  <a:gd name="connsiteX554" fmla="*/ 280988 w 3574732"/>
                  <a:gd name="connsiteY554" fmla="*/ 635360 h 1473560"/>
                  <a:gd name="connsiteX555" fmla="*/ 286703 w 3574732"/>
                  <a:gd name="connsiteY555" fmla="*/ 633455 h 1473560"/>
                  <a:gd name="connsiteX556" fmla="*/ 292418 w 3574732"/>
                  <a:gd name="connsiteY556" fmla="*/ 629645 h 1473560"/>
                  <a:gd name="connsiteX557" fmla="*/ 302895 w 3574732"/>
                  <a:gd name="connsiteY557" fmla="*/ 622978 h 1473560"/>
                  <a:gd name="connsiteX558" fmla="*/ 302895 w 3574732"/>
                  <a:gd name="connsiteY558" fmla="*/ 617263 h 1473560"/>
                  <a:gd name="connsiteX559" fmla="*/ 305753 w 3574732"/>
                  <a:gd name="connsiteY559" fmla="*/ 608690 h 1473560"/>
                  <a:gd name="connsiteX560" fmla="*/ 313373 w 3574732"/>
                  <a:gd name="connsiteY560" fmla="*/ 607738 h 1473560"/>
                  <a:gd name="connsiteX561" fmla="*/ 319088 w 3574732"/>
                  <a:gd name="connsiteY561" fmla="*/ 602975 h 1473560"/>
                  <a:gd name="connsiteX562" fmla="*/ 320993 w 3574732"/>
                  <a:gd name="connsiteY562" fmla="*/ 597260 h 1473560"/>
                  <a:gd name="connsiteX563" fmla="*/ 326708 w 3574732"/>
                  <a:gd name="connsiteY563" fmla="*/ 593450 h 1473560"/>
                  <a:gd name="connsiteX564" fmla="*/ 344805 w 3574732"/>
                  <a:gd name="connsiteY564" fmla="*/ 589640 h 1473560"/>
                  <a:gd name="connsiteX565" fmla="*/ 353378 w 3574732"/>
                  <a:gd name="connsiteY565" fmla="*/ 582020 h 1473560"/>
                  <a:gd name="connsiteX566" fmla="*/ 359093 w 3574732"/>
                  <a:gd name="connsiteY566" fmla="*/ 579163 h 1473560"/>
                  <a:gd name="connsiteX567" fmla="*/ 361950 w 3574732"/>
                  <a:gd name="connsiteY567" fmla="*/ 574400 h 1473560"/>
                  <a:gd name="connsiteX568" fmla="*/ 366713 w 3574732"/>
                  <a:gd name="connsiteY568" fmla="*/ 570590 h 1473560"/>
                  <a:gd name="connsiteX569" fmla="*/ 368618 w 3574732"/>
                  <a:gd name="connsiteY569" fmla="*/ 566780 h 1473560"/>
                  <a:gd name="connsiteX570" fmla="*/ 374333 w 3574732"/>
                  <a:gd name="connsiteY570" fmla="*/ 562018 h 1473560"/>
                  <a:gd name="connsiteX571" fmla="*/ 382905 w 3574732"/>
                  <a:gd name="connsiteY571" fmla="*/ 563923 h 1473560"/>
                  <a:gd name="connsiteX572" fmla="*/ 388620 w 3574732"/>
                  <a:gd name="connsiteY572" fmla="*/ 563923 h 1473560"/>
                  <a:gd name="connsiteX573" fmla="*/ 391478 w 3574732"/>
                  <a:gd name="connsiteY573" fmla="*/ 568685 h 1473560"/>
                  <a:gd name="connsiteX574" fmla="*/ 397193 w 3574732"/>
                  <a:gd name="connsiteY574" fmla="*/ 571543 h 1473560"/>
                  <a:gd name="connsiteX575" fmla="*/ 404813 w 3574732"/>
                  <a:gd name="connsiteY575" fmla="*/ 573448 h 1473560"/>
                  <a:gd name="connsiteX576" fmla="*/ 410528 w 3574732"/>
                  <a:gd name="connsiteY576" fmla="*/ 572495 h 1473560"/>
                  <a:gd name="connsiteX577" fmla="*/ 416243 w 3574732"/>
                  <a:gd name="connsiteY577" fmla="*/ 571543 h 1473560"/>
                  <a:gd name="connsiteX578" fmla="*/ 426720 w 3574732"/>
                  <a:gd name="connsiteY578" fmla="*/ 565828 h 1473560"/>
                  <a:gd name="connsiteX579" fmla="*/ 434340 w 3574732"/>
                  <a:gd name="connsiteY579" fmla="*/ 560113 h 1473560"/>
                  <a:gd name="connsiteX580" fmla="*/ 440055 w 3574732"/>
                  <a:gd name="connsiteY580" fmla="*/ 557255 h 1473560"/>
                  <a:gd name="connsiteX581" fmla="*/ 447675 w 3574732"/>
                  <a:gd name="connsiteY581" fmla="*/ 553445 h 1473560"/>
                  <a:gd name="connsiteX582" fmla="*/ 455295 w 3574732"/>
                  <a:gd name="connsiteY582" fmla="*/ 554398 h 1473560"/>
                  <a:gd name="connsiteX583" fmla="*/ 462915 w 3574732"/>
                  <a:gd name="connsiteY583" fmla="*/ 554398 h 1473560"/>
                  <a:gd name="connsiteX584" fmla="*/ 468630 w 3574732"/>
                  <a:gd name="connsiteY584" fmla="*/ 556303 h 1473560"/>
                  <a:gd name="connsiteX585" fmla="*/ 474345 w 3574732"/>
                  <a:gd name="connsiteY585" fmla="*/ 558208 h 1473560"/>
                  <a:gd name="connsiteX586" fmla="*/ 482918 w 3574732"/>
                  <a:gd name="connsiteY586" fmla="*/ 562018 h 1473560"/>
                  <a:gd name="connsiteX587" fmla="*/ 493395 w 3574732"/>
                  <a:gd name="connsiteY587" fmla="*/ 568685 h 1473560"/>
                  <a:gd name="connsiteX588" fmla="*/ 496253 w 3574732"/>
                  <a:gd name="connsiteY588" fmla="*/ 574400 h 1473560"/>
                  <a:gd name="connsiteX589" fmla="*/ 504825 w 3574732"/>
                  <a:gd name="connsiteY589" fmla="*/ 580115 h 1473560"/>
                  <a:gd name="connsiteX590" fmla="*/ 512445 w 3574732"/>
                  <a:gd name="connsiteY590" fmla="*/ 585830 h 1473560"/>
                  <a:gd name="connsiteX591" fmla="*/ 521018 w 3574732"/>
                  <a:gd name="connsiteY591" fmla="*/ 592498 h 1473560"/>
                  <a:gd name="connsiteX592" fmla="*/ 526733 w 3574732"/>
                  <a:gd name="connsiteY592" fmla="*/ 594403 h 1473560"/>
                  <a:gd name="connsiteX593" fmla="*/ 537210 w 3574732"/>
                  <a:gd name="connsiteY593" fmla="*/ 598213 h 1473560"/>
                  <a:gd name="connsiteX594" fmla="*/ 551498 w 3574732"/>
                  <a:gd name="connsiteY594" fmla="*/ 603928 h 1473560"/>
                  <a:gd name="connsiteX595" fmla="*/ 560070 w 3574732"/>
                  <a:gd name="connsiteY595" fmla="*/ 605833 h 1473560"/>
                  <a:gd name="connsiteX596" fmla="*/ 561023 w 3574732"/>
                  <a:gd name="connsiteY596" fmla="*/ 610595 h 1473560"/>
                  <a:gd name="connsiteX597" fmla="*/ 563880 w 3574732"/>
                  <a:gd name="connsiteY597" fmla="*/ 615358 h 1473560"/>
                  <a:gd name="connsiteX598" fmla="*/ 566738 w 3574732"/>
                  <a:gd name="connsiteY598" fmla="*/ 620120 h 1473560"/>
                  <a:gd name="connsiteX599" fmla="*/ 567690 w 3574732"/>
                  <a:gd name="connsiteY599" fmla="*/ 626788 h 1473560"/>
                  <a:gd name="connsiteX600" fmla="*/ 575310 w 3574732"/>
                  <a:gd name="connsiteY600" fmla="*/ 629645 h 1473560"/>
                  <a:gd name="connsiteX601" fmla="*/ 581025 w 3574732"/>
                  <a:gd name="connsiteY601" fmla="*/ 630598 h 1473560"/>
                  <a:gd name="connsiteX602" fmla="*/ 589598 w 3574732"/>
                  <a:gd name="connsiteY602" fmla="*/ 627740 h 1473560"/>
                  <a:gd name="connsiteX603" fmla="*/ 589598 w 3574732"/>
                  <a:gd name="connsiteY603" fmla="*/ 620120 h 1473560"/>
                  <a:gd name="connsiteX604" fmla="*/ 589598 w 3574732"/>
                  <a:gd name="connsiteY604" fmla="*/ 612500 h 1473560"/>
                  <a:gd name="connsiteX605" fmla="*/ 589598 w 3574732"/>
                  <a:gd name="connsiteY605" fmla="*/ 609643 h 1473560"/>
                  <a:gd name="connsiteX606" fmla="*/ 589598 w 3574732"/>
                  <a:gd name="connsiteY606" fmla="*/ 608690 h 1473560"/>
                  <a:gd name="connsiteX607" fmla="*/ 589598 w 3574732"/>
                  <a:gd name="connsiteY607" fmla="*/ 608690 h 1473560"/>
                  <a:gd name="connsiteX608" fmla="*/ 588645 w 3574732"/>
                  <a:gd name="connsiteY608" fmla="*/ 604880 h 1473560"/>
                  <a:gd name="connsiteX609" fmla="*/ 594360 w 3574732"/>
                  <a:gd name="connsiteY609" fmla="*/ 602023 h 1473560"/>
                  <a:gd name="connsiteX610" fmla="*/ 601980 w 3574732"/>
                  <a:gd name="connsiteY610" fmla="*/ 597260 h 1473560"/>
                  <a:gd name="connsiteX611" fmla="*/ 598170 w 3574732"/>
                  <a:gd name="connsiteY611" fmla="*/ 590593 h 1473560"/>
                  <a:gd name="connsiteX612" fmla="*/ 592455 w 3574732"/>
                  <a:gd name="connsiteY612" fmla="*/ 589640 h 1473560"/>
                  <a:gd name="connsiteX613" fmla="*/ 584835 w 3574732"/>
                  <a:gd name="connsiteY613" fmla="*/ 587735 h 1473560"/>
                  <a:gd name="connsiteX614" fmla="*/ 579120 w 3574732"/>
                  <a:gd name="connsiteY614" fmla="*/ 586783 h 1473560"/>
                  <a:gd name="connsiteX615" fmla="*/ 573405 w 3574732"/>
                  <a:gd name="connsiteY615" fmla="*/ 584878 h 1473560"/>
                  <a:gd name="connsiteX616" fmla="*/ 561975 w 3574732"/>
                  <a:gd name="connsiteY616" fmla="*/ 578210 h 1473560"/>
                  <a:gd name="connsiteX617" fmla="*/ 557213 w 3574732"/>
                  <a:gd name="connsiteY617" fmla="*/ 576305 h 1473560"/>
                  <a:gd name="connsiteX618" fmla="*/ 549593 w 3574732"/>
                  <a:gd name="connsiteY618" fmla="*/ 571543 h 1473560"/>
                  <a:gd name="connsiteX619" fmla="*/ 532448 w 3574732"/>
                  <a:gd name="connsiteY619" fmla="*/ 562018 h 1473560"/>
                  <a:gd name="connsiteX620" fmla="*/ 521018 w 3574732"/>
                  <a:gd name="connsiteY620" fmla="*/ 556303 h 1473560"/>
                  <a:gd name="connsiteX621" fmla="*/ 514350 w 3574732"/>
                  <a:gd name="connsiteY621" fmla="*/ 545825 h 1473560"/>
                  <a:gd name="connsiteX622" fmla="*/ 514350 w 3574732"/>
                  <a:gd name="connsiteY622" fmla="*/ 541063 h 1473560"/>
                  <a:gd name="connsiteX623" fmla="*/ 519113 w 3574732"/>
                  <a:gd name="connsiteY623" fmla="*/ 536300 h 1473560"/>
                  <a:gd name="connsiteX624" fmla="*/ 541020 w 3574732"/>
                  <a:gd name="connsiteY624" fmla="*/ 540110 h 1473560"/>
                  <a:gd name="connsiteX625" fmla="*/ 546735 w 3574732"/>
                  <a:gd name="connsiteY625" fmla="*/ 542015 h 1473560"/>
                  <a:gd name="connsiteX626" fmla="*/ 554355 w 3574732"/>
                  <a:gd name="connsiteY626" fmla="*/ 545825 h 1473560"/>
                  <a:gd name="connsiteX627" fmla="*/ 560070 w 3574732"/>
                  <a:gd name="connsiteY627" fmla="*/ 549635 h 1473560"/>
                  <a:gd name="connsiteX628" fmla="*/ 574358 w 3574732"/>
                  <a:gd name="connsiteY628" fmla="*/ 554398 h 1473560"/>
                  <a:gd name="connsiteX629" fmla="*/ 584835 w 3574732"/>
                  <a:gd name="connsiteY629" fmla="*/ 559160 h 1473560"/>
                  <a:gd name="connsiteX630" fmla="*/ 592455 w 3574732"/>
                  <a:gd name="connsiteY630" fmla="*/ 563923 h 1473560"/>
                  <a:gd name="connsiteX631" fmla="*/ 608648 w 3574732"/>
                  <a:gd name="connsiteY631" fmla="*/ 569638 h 1473560"/>
                  <a:gd name="connsiteX632" fmla="*/ 617220 w 3574732"/>
                  <a:gd name="connsiteY632" fmla="*/ 578210 h 1473560"/>
                  <a:gd name="connsiteX633" fmla="*/ 621030 w 3574732"/>
                  <a:gd name="connsiteY633" fmla="*/ 584878 h 1473560"/>
                  <a:gd name="connsiteX634" fmla="*/ 628650 w 3574732"/>
                  <a:gd name="connsiteY634" fmla="*/ 591545 h 1473560"/>
                  <a:gd name="connsiteX635" fmla="*/ 632460 w 3574732"/>
                  <a:gd name="connsiteY635" fmla="*/ 597260 h 1473560"/>
                  <a:gd name="connsiteX636" fmla="*/ 637223 w 3574732"/>
                  <a:gd name="connsiteY636" fmla="*/ 603928 h 1473560"/>
                  <a:gd name="connsiteX637" fmla="*/ 638175 w 3574732"/>
                  <a:gd name="connsiteY637" fmla="*/ 611548 h 1473560"/>
                  <a:gd name="connsiteX638" fmla="*/ 641033 w 3574732"/>
                  <a:gd name="connsiteY638" fmla="*/ 616310 h 1473560"/>
                  <a:gd name="connsiteX639" fmla="*/ 649605 w 3574732"/>
                  <a:gd name="connsiteY639" fmla="*/ 622025 h 1473560"/>
                  <a:gd name="connsiteX640" fmla="*/ 653415 w 3574732"/>
                  <a:gd name="connsiteY640" fmla="*/ 626788 h 1473560"/>
                  <a:gd name="connsiteX641" fmla="*/ 661988 w 3574732"/>
                  <a:gd name="connsiteY641" fmla="*/ 631550 h 1473560"/>
                  <a:gd name="connsiteX642" fmla="*/ 667703 w 3574732"/>
                  <a:gd name="connsiteY642" fmla="*/ 636313 h 1473560"/>
                  <a:gd name="connsiteX643" fmla="*/ 667703 w 3574732"/>
                  <a:gd name="connsiteY643" fmla="*/ 642028 h 1473560"/>
                  <a:gd name="connsiteX644" fmla="*/ 670560 w 3574732"/>
                  <a:gd name="connsiteY644" fmla="*/ 650600 h 1473560"/>
                  <a:gd name="connsiteX645" fmla="*/ 678180 w 3574732"/>
                  <a:gd name="connsiteY645" fmla="*/ 652505 h 1473560"/>
                  <a:gd name="connsiteX646" fmla="*/ 688658 w 3574732"/>
                  <a:gd name="connsiteY646" fmla="*/ 652505 h 1473560"/>
                  <a:gd name="connsiteX647" fmla="*/ 701993 w 3574732"/>
                  <a:gd name="connsiteY647" fmla="*/ 648695 h 1473560"/>
                  <a:gd name="connsiteX648" fmla="*/ 704850 w 3574732"/>
                  <a:gd name="connsiteY648" fmla="*/ 645838 h 1473560"/>
                  <a:gd name="connsiteX649" fmla="*/ 710565 w 3574732"/>
                  <a:gd name="connsiteY649" fmla="*/ 642980 h 1473560"/>
                  <a:gd name="connsiteX650" fmla="*/ 715328 w 3574732"/>
                  <a:gd name="connsiteY650" fmla="*/ 638218 h 1473560"/>
                  <a:gd name="connsiteX651" fmla="*/ 715328 w 3574732"/>
                  <a:gd name="connsiteY651" fmla="*/ 632503 h 1473560"/>
                  <a:gd name="connsiteX652" fmla="*/ 715328 w 3574732"/>
                  <a:gd name="connsiteY652" fmla="*/ 625835 h 1473560"/>
                  <a:gd name="connsiteX653" fmla="*/ 712470 w 3574732"/>
                  <a:gd name="connsiteY653" fmla="*/ 621073 h 1473560"/>
                  <a:gd name="connsiteX654" fmla="*/ 712470 w 3574732"/>
                  <a:gd name="connsiteY654" fmla="*/ 616310 h 1473560"/>
                  <a:gd name="connsiteX655" fmla="*/ 711518 w 3574732"/>
                  <a:gd name="connsiteY655" fmla="*/ 611548 h 1473560"/>
                  <a:gd name="connsiteX656" fmla="*/ 713423 w 3574732"/>
                  <a:gd name="connsiteY656" fmla="*/ 604880 h 1473560"/>
                  <a:gd name="connsiteX657" fmla="*/ 719138 w 3574732"/>
                  <a:gd name="connsiteY657" fmla="*/ 601070 h 1473560"/>
                  <a:gd name="connsiteX658" fmla="*/ 741045 w 3574732"/>
                  <a:gd name="connsiteY658" fmla="*/ 602975 h 1473560"/>
                  <a:gd name="connsiteX659" fmla="*/ 748665 w 3574732"/>
                  <a:gd name="connsiteY659" fmla="*/ 607738 h 1473560"/>
                  <a:gd name="connsiteX660" fmla="*/ 749618 w 3574732"/>
                  <a:gd name="connsiteY660" fmla="*/ 612500 h 1473560"/>
                  <a:gd name="connsiteX661" fmla="*/ 753428 w 3574732"/>
                  <a:gd name="connsiteY661" fmla="*/ 623930 h 1473560"/>
                  <a:gd name="connsiteX662" fmla="*/ 756285 w 3574732"/>
                  <a:gd name="connsiteY662" fmla="*/ 630598 h 1473560"/>
                  <a:gd name="connsiteX663" fmla="*/ 763905 w 3574732"/>
                  <a:gd name="connsiteY663" fmla="*/ 637265 h 1473560"/>
                  <a:gd name="connsiteX664" fmla="*/ 772478 w 3574732"/>
                  <a:gd name="connsiteY664" fmla="*/ 641075 h 1473560"/>
                  <a:gd name="connsiteX665" fmla="*/ 773430 w 3574732"/>
                  <a:gd name="connsiteY665" fmla="*/ 644885 h 1473560"/>
                  <a:gd name="connsiteX666" fmla="*/ 783908 w 3574732"/>
                  <a:gd name="connsiteY666" fmla="*/ 646790 h 1473560"/>
                  <a:gd name="connsiteX667" fmla="*/ 801053 w 3574732"/>
                  <a:gd name="connsiteY667" fmla="*/ 650600 h 1473560"/>
                  <a:gd name="connsiteX668" fmla="*/ 812483 w 3574732"/>
                  <a:gd name="connsiteY668" fmla="*/ 651553 h 1473560"/>
                  <a:gd name="connsiteX669" fmla="*/ 826770 w 3574732"/>
                  <a:gd name="connsiteY669" fmla="*/ 651553 h 1473560"/>
                  <a:gd name="connsiteX670" fmla="*/ 840105 w 3574732"/>
                  <a:gd name="connsiteY670" fmla="*/ 651553 h 1473560"/>
                  <a:gd name="connsiteX671" fmla="*/ 848678 w 3574732"/>
                  <a:gd name="connsiteY671" fmla="*/ 651553 h 1473560"/>
                  <a:gd name="connsiteX672" fmla="*/ 862965 w 3574732"/>
                  <a:gd name="connsiteY672" fmla="*/ 650600 h 1473560"/>
                  <a:gd name="connsiteX673" fmla="*/ 874395 w 3574732"/>
                  <a:gd name="connsiteY673" fmla="*/ 650600 h 1473560"/>
                  <a:gd name="connsiteX674" fmla="*/ 887730 w 3574732"/>
                  <a:gd name="connsiteY674" fmla="*/ 650600 h 1473560"/>
                  <a:gd name="connsiteX675" fmla="*/ 896303 w 3574732"/>
                  <a:gd name="connsiteY675" fmla="*/ 653458 h 1473560"/>
                  <a:gd name="connsiteX676" fmla="*/ 904875 w 3574732"/>
                  <a:gd name="connsiteY676" fmla="*/ 660125 h 1473560"/>
                  <a:gd name="connsiteX677" fmla="*/ 918210 w 3574732"/>
                  <a:gd name="connsiteY677" fmla="*/ 662983 h 1473560"/>
                  <a:gd name="connsiteX678" fmla="*/ 918210 w 3574732"/>
                  <a:gd name="connsiteY678" fmla="*/ 666793 h 1473560"/>
                  <a:gd name="connsiteX679" fmla="*/ 918210 w 3574732"/>
                  <a:gd name="connsiteY679" fmla="*/ 673460 h 1473560"/>
                  <a:gd name="connsiteX680" fmla="*/ 912495 w 3574732"/>
                  <a:gd name="connsiteY680" fmla="*/ 677270 h 1473560"/>
                  <a:gd name="connsiteX681" fmla="*/ 904875 w 3574732"/>
                  <a:gd name="connsiteY681" fmla="*/ 681080 h 1473560"/>
                  <a:gd name="connsiteX682" fmla="*/ 902018 w 3574732"/>
                  <a:gd name="connsiteY682" fmla="*/ 684890 h 1473560"/>
                  <a:gd name="connsiteX683" fmla="*/ 896303 w 3574732"/>
                  <a:gd name="connsiteY683" fmla="*/ 691558 h 1473560"/>
                  <a:gd name="connsiteX684" fmla="*/ 894398 w 3574732"/>
                  <a:gd name="connsiteY684" fmla="*/ 702035 h 1473560"/>
                  <a:gd name="connsiteX685" fmla="*/ 894398 w 3574732"/>
                  <a:gd name="connsiteY685" fmla="*/ 711560 h 1473560"/>
                  <a:gd name="connsiteX686" fmla="*/ 889635 w 3574732"/>
                  <a:gd name="connsiteY686" fmla="*/ 717275 h 1473560"/>
                  <a:gd name="connsiteX687" fmla="*/ 881063 w 3574732"/>
                  <a:gd name="connsiteY687" fmla="*/ 720133 h 1473560"/>
                  <a:gd name="connsiteX688" fmla="*/ 862013 w 3574732"/>
                  <a:gd name="connsiteY688" fmla="*/ 722038 h 1473560"/>
                  <a:gd name="connsiteX689" fmla="*/ 850583 w 3574732"/>
                  <a:gd name="connsiteY689" fmla="*/ 722038 h 1473560"/>
                  <a:gd name="connsiteX690" fmla="*/ 842963 w 3574732"/>
                  <a:gd name="connsiteY690" fmla="*/ 721085 h 1473560"/>
                  <a:gd name="connsiteX691" fmla="*/ 834390 w 3574732"/>
                  <a:gd name="connsiteY691" fmla="*/ 724895 h 1473560"/>
                  <a:gd name="connsiteX692" fmla="*/ 807720 w 3574732"/>
                  <a:gd name="connsiteY692" fmla="*/ 727753 h 1473560"/>
                  <a:gd name="connsiteX693" fmla="*/ 793433 w 3574732"/>
                  <a:gd name="connsiteY693" fmla="*/ 727753 h 1473560"/>
                  <a:gd name="connsiteX694" fmla="*/ 771525 w 3574732"/>
                  <a:gd name="connsiteY694" fmla="*/ 725848 h 1473560"/>
                  <a:gd name="connsiteX695" fmla="*/ 758190 w 3574732"/>
                  <a:gd name="connsiteY695" fmla="*/ 723943 h 1473560"/>
                  <a:gd name="connsiteX696" fmla="*/ 750570 w 3574732"/>
                  <a:gd name="connsiteY696" fmla="*/ 722038 h 1473560"/>
                  <a:gd name="connsiteX697" fmla="*/ 734378 w 3574732"/>
                  <a:gd name="connsiteY697" fmla="*/ 720133 h 1473560"/>
                  <a:gd name="connsiteX698" fmla="*/ 718185 w 3574732"/>
                  <a:gd name="connsiteY698" fmla="*/ 715370 h 1473560"/>
                  <a:gd name="connsiteX699" fmla="*/ 706755 w 3574732"/>
                  <a:gd name="connsiteY699" fmla="*/ 714418 h 1473560"/>
                  <a:gd name="connsiteX700" fmla="*/ 684848 w 3574732"/>
                  <a:gd name="connsiteY700" fmla="*/ 711560 h 1473560"/>
                  <a:gd name="connsiteX701" fmla="*/ 667703 w 3574732"/>
                  <a:gd name="connsiteY701" fmla="*/ 711560 h 1473560"/>
                  <a:gd name="connsiteX702" fmla="*/ 651510 w 3574732"/>
                  <a:gd name="connsiteY702" fmla="*/ 713465 h 1473560"/>
                  <a:gd name="connsiteX703" fmla="*/ 648653 w 3574732"/>
                  <a:gd name="connsiteY703" fmla="*/ 719180 h 1473560"/>
                  <a:gd name="connsiteX704" fmla="*/ 632460 w 3574732"/>
                  <a:gd name="connsiteY704" fmla="*/ 728705 h 1473560"/>
                  <a:gd name="connsiteX705" fmla="*/ 607695 w 3574732"/>
                  <a:gd name="connsiteY705" fmla="*/ 726800 h 1473560"/>
                  <a:gd name="connsiteX706" fmla="*/ 596265 w 3574732"/>
                  <a:gd name="connsiteY706" fmla="*/ 723943 h 1473560"/>
                  <a:gd name="connsiteX707" fmla="*/ 585788 w 3574732"/>
                  <a:gd name="connsiteY707" fmla="*/ 721085 h 1473560"/>
                  <a:gd name="connsiteX708" fmla="*/ 571500 w 3574732"/>
                  <a:gd name="connsiteY708" fmla="*/ 717275 h 1473560"/>
                  <a:gd name="connsiteX709" fmla="*/ 560070 w 3574732"/>
                  <a:gd name="connsiteY709" fmla="*/ 714418 h 1473560"/>
                  <a:gd name="connsiteX710" fmla="*/ 548640 w 3574732"/>
                  <a:gd name="connsiteY710" fmla="*/ 710608 h 1473560"/>
                  <a:gd name="connsiteX711" fmla="*/ 537210 w 3574732"/>
                  <a:gd name="connsiteY711" fmla="*/ 707750 h 1473560"/>
                  <a:gd name="connsiteX712" fmla="*/ 521018 w 3574732"/>
                  <a:gd name="connsiteY712" fmla="*/ 704893 h 1473560"/>
                  <a:gd name="connsiteX713" fmla="*/ 515303 w 3574732"/>
                  <a:gd name="connsiteY713" fmla="*/ 701083 h 1473560"/>
                  <a:gd name="connsiteX714" fmla="*/ 507683 w 3574732"/>
                  <a:gd name="connsiteY714" fmla="*/ 697273 h 1473560"/>
                  <a:gd name="connsiteX715" fmla="*/ 501968 w 3574732"/>
                  <a:gd name="connsiteY715" fmla="*/ 697273 h 1473560"/>
                  <a:gd name="connsiteX716" fmla="*/ 494348 w 3574732"/>
                  <a:gd name="connsiteY716" fmla="*/ 694415 h 1473560"/>
                  <a:gd name="connsiteX717" fmla="*/ 488633 w 3574732"/>
                  <a:gd name="connsiteY717" fmla="*/ 689653 h 1473560"/>
                  <a:gd name="connsiteX718" fmla="*/ 482918 w 3574732"/>
                  <a:gd name="connsiteY718" fmla="*/ 681080 h 1473560"/>
                  <a:gd name="connsiteX719" fmla="*/ 482918 w 3574732"/>
                  <a:gd name="connsiteY719" fmla="*/ 675365 h 1473560"/>
                  <a:gd name="connsiteX720" fmla="*/ 485775 w 3574732"/>
                  <a:gd name="connsiteY720" fmla="*/ 662983 h 1473560"/>
                  <a:gd name="connsiteX721" fmla="*/ 484823 w 3574732"/>
                  <a:gd name="connsiteY721" fmla="*/ 655363 h 1473560"/>
                  <a:gd name="connsiteX722" fmla="*/ 480060 w 3574732"/>
                  <a:gd name="connsiteY722" fmla="*/ 651553 h 1473560"/>
                  <a:gd name="connsiteX723" fmla="*/ 461010 w 3574732"/>
                  <a:gd name="connsiteY723" fmla="*/ 652505 h 1473560"/>
                  <a:gd name="connsiteX724" fmla="*/ 450533 w 3574732"/>
                  <a:gd name="connsiteY724" fmla="*/ 652505 h 1473560"/>
                  <a:gd name="connsiteX725" fmla="*/ 440055 w 3574732"/>
                  <a:gd name="connsiteY725" fmla="*/ 652505 h 1473560"/>
                  <a:gd name="connsiteX726" fmla="*/ 421005 w 3574732"/>
                  <a:gd name="connsiteY726" fmla="*/ 651553 h 1473560"/>
                  <a:gd name="connsiteX727" fmla="*/ 410528 w 3574732"/>
                  <a:gd name="connsiteY727" fmla="*/ 651553 h 1473560"/>
                  <a:gd name="connsiteX728" fmla="*/ 402908 w 3574732"/>
                  <a:gd name="connsiteY728" fmla="*/ 650600 h 1473560"/>
                  <a:gd name="connsiteX729" fmla="*/ 392430 w 3574732"/>
                  <a:gd name="connsiteY729" fmla="*/ 650600 h 1473560"/>
                  <a:gd name="connsiteX730" fmla="*/ 373380 w 3574732"/>
                  <a:gd name="connsiteY730" fmla="*/ 650600 h 1473560"/>
                  <a:gd name="connsiteX731" fmla="*/ 365760 w 3574732"/>
                  <a:gd name="connsiteY731" fmla="*/ 650600 h 1473560"/>
                  <a:gd name="connsiteX732" fmla="*/ 352425 w 3574732"/>
                  <a:gd name="connsiteY732" fmla="*/ 650600 h 1473560"/>
                  <a:gd name="connsiteX733" fmla="*/ 339090 w 3574732"/>
                  <a:gd name="connsiteY733" fmla="*/ 650600 h 1473560"/>
                  <a:gd name="connsiteX734" fmla="*/ 330518 w 3574732"/>
                  <a:gd name="connsiteY734" fmla="*/ 653458 h 1473560"/>
                  <a:gd name="connsiteX735" fmla="*/ 324803 w 3574732"/>
                  <a:gd name="connsiteY735" fmla="*/ 658220 h 1473560"/>
                  <a:gd name="connsiteX736" fmla="*/ 316230 w 3574732"/>
                  <a:gd name="connsiteY736" fmla="*/ 659173 h 1473560"/>
                  <a:gd name="connsiteX737" fmla="*/ 304800 w 3574732"/>
                  <a:gd name="connsiteY737" fmla="*/ 662030 h 1473560"/>
                  <a:gd name="connsiteX738" fmla="*/ 294323 w 3574732"/>
                  <a:gd name="connsiteY738" fmla="*/ 662983 h 1473560"/>
                  <a:gd name="connsiteX739" fmla="*/ 288608 w 3574732"/>
                  <a:gd name="connsiteY739" fmla="*/ 663935 h 1473560"/>
                  <a:gd name="connsiteX740" fmla="*/ 280988 w 3574732"/>
                  <a:gd name="connsiteY740" fmla="*/ 667745 h 1473560"/>
                  <a:gd name="connsiteX741" fmla="*/ 261938 w 3574732"/>
                  <a:gd name="connsiteY741" fmla="*/ 670603 h 1473560"/>
                  <a:gd name="connsiteX742" fmla="*/ 254318 w 3574732"/>
                  <a:gd name="connsiteY742" fmla="*/ 671555 h 1473560"/>
                  <a:gd name="connsiteX743" fmla="*/ 238125 w 3574732"/>
                  <a:gd name="connsiteY743" fmla="*/ 679175 h 1473560"/>
                  <a:gd name="connsiteX744" fmla="*/ 219075 w 3574732"/>
                  <a:gd name="connsiteY744" fmla="*/ 674413 h 1473560"/>
                  <a:gd name="connsiteX745" fmla="*/ 205740 w 3574732"/>
                  <a:gd name="connsiteY745" fmla="*/ 674413 h 1473560"/>
                  <a:gd name="connsiteX746" fmla="*/ 200025 w 3574732"/>
                  <a:gd name="connsiteY746" fmla="*/ 678223 h 1473560"/>
                  <a:gd name="connsiteX747" fmla="*/ 188595 w 3574732"/>
                  <a:gd name="connsiteY747" fmla="*/ 681080 h 1473560"/>
                  <a:gd name="connsiteX748" fmla="*/ 177165 w 3574732"/>
                  <a:gd name="connsiteY748" fmla="*/ 684890 h 1473560"/>
                  <a:gd name="connsiteX749" fmla="*/ 168593 w 3574732"/>
                  <a:gd name="connsiteY749" fmla="*/ 691558 h 1473560"/>
                  <a:gd name="connsiteX750" fmla="*/ 160020 w 3574732"/>
                  <a:gd name="connsiteY750" fmla="*/ 692510 h 1473560"/>
                  <a:gd name="connsiteX751" fmla="*/ 155258 w 3574732"/>
                  <a:gd name="connsiteY751" fmla="*/ 693463 h 1473560"/>
                  <a:gd name="connsiteX752" fmla="*/ 149543 w 3574732"/>
                  <a:gd name="connsiteY752" fmla="*/ 695368 h 1473560"/>
                  <a:gd name="connsiteX753" fmla="*/ 146685 w 3574732"/>
                  <a:gd name="connsiteY753" fmla="*/ 701083 h 1473560"/>
                  <a:gd name="connsiteX754" fmla="*/ 141923 w 3574732"/>
                  <a:gd name="connsiteY754" fmla="*/ 706798 h 1473560"/>
                  <a:gd name="connsiteX755" fmla="*/ 136208 w 3574732"/>
                  <a:gd name="connsiteY755" fmla="*/ 711560 h 1473560"/>
                  <a:gd name="connsiteX756" fmla="*/ 131445 w 3574732"/>
                  <a:gd name="connsiteY756" fmla="*/ 721085 h 1473560"/>
                  <a:gd name="connsiteX757" fmla="*/ 128588 w 3574732"/>
                  <a:gd name="connsiteY757" fmla="*/ 729658 h 1473560"/>
                  <a:gd name="connsiteX758" fmla="*/ 122873 w 3574732"/>
                  <a:gd name="connsiteY758" fmla="*/ 740135 h 1473560"/>
                  <a:gd name="connsiteX759" fmla="*/ 115253 w 3574732"/>
                  <a:gd name="connsiteY759" fmla="*/ 744898 h 1473560"/>
                  <a:gd name="connsiteX760" fmla="*/ 104775 w 3574732"/>
                  <a:gd name="connsiteY760" fmla="*/ 749660 h 1473560"/>
                  <a:gd name="connsiteX761" fmla="*/ 97155 w 3574732"/>
                  <a:gd name="connsiteY761" fmla="*/ 746803 h 1473560"/>
                  <a:gd name="connsiteX762" fmla="*/ 81915 w 3574732"/>
                  <a:gd name="connsiteY762" fmla="*/ 754423 h 1473560"/>
                  <a:gd name="connsiteX763" fmla="*/ 76200 w 3574732"/>
                  <a:gd name="connsiteY763" fmla="*/ 756328 h 1473560"/>
                  <a:gd name="connsiteX764" fmla="*/ 68580 w 3574732"/>
                  <a:gd name="connsiteY764" fmla="*/ 762995 h 1473560"/>
                  <a:gd name="connsiteX765" fmla="*/ 63818 w 3574732"/>
                  <a:gd name="connsiteY765" fmla="*/ 767758 h 1473560"/>
                  <a:gd name="connsiteX766" fmla="*/ 56198 w 3574732"/>
                  <a:gd name="connsiteY766" fmla="*/ 781093 h 1473560"/>
                  <a:gd name="connsiteX767" fmla="*/ 51435 w 3574732"/>
                  <a:gd name="connsiteY767" fmla="*/ 782045 h 1473560"/>
                  <a:gd name="connsiteX768" fmla="*/ 40958 w 3574732"/>
                  <a:gd name="connsiteY768" fmla="*/ 787760 h 1473560"/>
                  <a:gd name="connsiteX769" fmla="*/ 25718 w 3574732"/>
                  <a:gd name="connsiteY769" fmla="*/ 794428 h 1473560"/>
                  <a:gd name="connsiteX770" fmla="*/ 18098 w 3574732"/>
                  <a:gd name="connsiteY770" fmla="*/ 802048 h 1473560"/>
                  <a:gd name="connsiteX771" fmla="*/ 12383 w 3574732"/>
                  <a:gd name="connsiteY771" fmla="*/ 815383 h 1473560"/>
                  <a:gd name="connsiteX772" fmla="*/ 6668 w 3574732"/>
                  <a:gd name="connsiteY772" fmla="*/ 823955 h 1473560"/>
                  <a:gd name="connsiteX773" fmla="*/ 6668 w 3574732"/>
                  <a:gd name="connsiteY773" fmla="*/ 834433 h 1473560"/>
                  <a:gd name="connsiteX774" fmla="*/ 6668 w 3574732"/>
                  <a:gd name="connsiteY774" fmla="*/ 839195 h 1473560"/>
                  <a:gd name="connsiteX775" fmla="*/ 6668 w 3574732"/>
                  <a:gd name="connsiteY775" fmla="*/ 850625 h 1473560"/>
                  <a:gd name="connsiteX776" fmla="*/ 9525 w 3574732"/>
                  <a:gd name="connsiteY776" fmla="*/ 864913 h 1473560"/>
                  <a:gd name="connsiteX777" fmla="*/ 9525 w 3574732"/>
                  <a:gd name="connsiteY777" fmla="*/ 874438 h 1473560"/>
                  <a:gd name="connsiteX778" fmla="*/ 7620 w 3574732"/>
                  <a:gd name="connsiteY778" fmla="*/ 888725 h 1473560"/>
                  <a:gd name="connsiteX779" fmla="*/ 5715 w 3574732"/>
                  <a:gd name="connsiteY779" fmla="*/ 894440 h 1473560"/>
                  <a:gd name="connsiteX780" fmla="*/ 2858 w 3574732"/>
                  <a:gd name="connsiteY780" fmla="*/ 908728 h 1473560"/>
                  <a:gd name="connsiteX781" fmla="*/ 0 w 3574732"/>
                  <a:gd name="connsiteY781" fmla="*/ 919205 h 1473560"/>
                  <a:gd name="connsiteX782" fmla="*/ 5715 w 3574732"/>
                  <a:gd name="connsiteY782" fmla="*/ 929683 h 1473560"/>
                  <a:gd name="connsiteX783" fmla="*/ 8573 w 3574732"/>
                  <a:gd name="connsiteY783" fmla="*/ 938255 h 1473560"/>
                  <a:gd name="connsiteX784" fmla="*/ 24765 w 3574732"/>
                  <a:gd name="connsiteY784" fmla="*/ 944923 h 1473560"/>
                  <a:gd name="connsiteX785" fmla="*/ 32385 w 3574732"/>
                  <a:gd name="connsiteY785" fmla="*/ 949685 h 1473560"/>
                  <a:gd name="connsiteX786" fmla="*/ 42863 w 3574732"/>
                  <a:gd name="connsiteY786" fmla="*/ 961115 h 1473560"/>
                  <a:gd name="connsiteX787" fmla="*/ 56198 w 3574732"/>
                  <a:gd name="connsiteY787" fmla="*/ 968735 h 1473560"/>
                  <a:gd name="connsiteX788" fmla="*/ 61913 w 3574732"/>
                  <a:gd name="connsiteY788" fmla="*/ 973498 h 1473560"/>
                  <a:gd name="connsiteX789" fmla="*/ 75248 w 3574732"/>
                  <a:gd name="connsiteY789" fmla="*/ 980165 h 1473560"/>
                  <a:gd name="connsiteX790" fmla="*/ 86678 w 3574732"/>
                  <a:gd name="connsiteY790" fmla="*/ 985880 h 1473560"/>
                  <a:gd name="connsiteX791" fmla="*/ 95250 w 3574732"/>
                  <a:gd name="connsiteY791" fmla="*/ 993500 h 1473560"/>
                  <a:gd name="connsiteX792" fmla="*/ 114300 w 3574732"/>
                  <a:gd name="connsiteY792" fmla="*/ 1001120 h 1473560"/>
                  <a:gd name="connsiteX793" fmla="*/ 120015 w 3574732"/>
                  <a:gd name="connsiteY793" fmla="*/ 1009693 h 1473560"/>
                  <a:gd name="connsiteX794" fmla="*/ 137160 w 3574732"/>
                  <a:gd name="connsiteY794" fmla="*/ 1020170 h 1473560"/>
                  <a:gd name="connsiteX795" fmla="*/ 147638 w 3574732"/>
                  <a:gd name="connsiteY795" fmla="*/ 1026838 h 1473560"/>
                  <a:gd name="connsiteX796" fmla="*/ 165735 w 3574732"/>
                  <a:gd name="connsiteY796" fmla="*/ 1026838 h 1473560"/>
                  <a:gd name="connsiteX797" fmla="*/ 184785 w 3574732"/>
                  <a:gd name="connsiteY797" fmla="*/ 1023028 h 1473560"/>
                  <a:gd name="connsiteX798" fmla="*/ 190500 w 3574732"/>
                  <a:gd name="connsiteY798" fmla="*/ 1021123 h 1473560"/>
                  <a:gd name="connsiteX799" fmla="*/ 201930 w 3574732"/>
                  <a:gd name="connsiteY799" fmla="*/ 1019218 h 1473560"/>
                  <a:gd name="connsiteX800" fmla="*/ 207645 w 3574732"/>
                  <a:gd name="connsiteY800" fmla="*/ 1019218 h 1473560"/>
                  <a:gd name="connsiteX801" fmla="*/ 216218 w 3574732"/>
                  <a:gd name="connsiteY801" fmla="*/ 1019218 h 1473560"/>
                  <a:gd name="connsiteX802" fmla="*/ 224790 w 3574732"/>
                  <a:gd name="connsiteY802" fmla="*/ 1019218 h 1473560"/>
                  <a:gd name="connsiteX803" fmla="*/ 233363 w 3574732"/>
                  <a:gd name="connsiteY803" fmla="*/ 1021123 h 1473560"/>
                  <a:gd name="connsiteX804" fmla="*/ 249555 w 3574732"/>
                  <a:gd name="connsiteY804" fmla="*/ 1021123 h 1473560"/>
                  <a:gd name="connsiteX805" fmla="*/ 258128 w 3574732"/>
                  <a:gd name="connsiteY805" fmla="*/ 1020170 h 1473560"/>
                  <a:gd name="connsiteX806" fmla="*/ 279083 w 3574732"/>
                  <a:gd name="connsiteY806" fmla="*/ 1018265 h 1473560"/>
                  <a:gd name="connsiteX807" fmla="*/ 295275 w 3574732"/>
                  <a:gd name="connsiteY807" fmla="*/ 1013503 h 1473560"/>
                  <a:gd name="connsiteX808" fmla="*/ 306705 w 3574732"/>
                  <a:gd name="connsiteY808" fmla="*/ 1006835 h 1473560"/>
                  <a:gd name="connsiteX809" fmla="*/ 314325 w 3574732"/>
                  <a:gd name="connsiteY809" fmla="*/ 1003025 h 1473560"/>
                  <a:gd name="connsiteX810" fmla="*/ 320040 w 3574732"/>
                  <a:gd name="connsiteY810" fmla="*/ 1002073 h 1473560"/>
                  <a:gd name="connsiteX811" fmla="*/ 334328 w 3574732"/>
                  <a:gd name="connsiteY811" fmla="*/ 1002073 h 1473560"/>
                  <a:gd name="connsiteX812" fmla="*/ 347663 w 3574732"/>
                  <a:gd name="connsiteY812" fmla="*/ 1003978 h 1473560"/>
                  <a:gd name="connsiteX813" fmla="*/ 358140 w 3574732"/>
                  <a:gd name="connsiteY813" fmla="*/ 1005883 h 1473560"/>
                  <a:gd name="connsiteX814" fmla="*/ 366713 w 3574732"/>
                  <a:gd name="connsiteY814" fmla="*/ 1006835 h 1473560"/>
                  <a:gd name="connsiteX815" fmla="*/ 377190 w 3574732"/>
                  <a:gd name="connsiteY815" fmla="*/ 1008740 h 1473560"/>
                  <a:gd name="connsiteX816" fmla="*/ 385763 w 3574732"/>
                  <a:gd name="connsiteY816" fmla="*/ 1014455 h 1473560"/>
                  <a:gd name="connsiteX817" fmla="*/ 394335 w 3574732"/>
                  <a:gd name="connsiteY817" fmla="*/ 1021123 h 1473560"/>
                  <a:gd name="connsiteX818" fmla="*/ 404813 w 3574732"/>
                  <a:gd name="connsiteY818" fmla="*/ 1023980 h 1473560"/>
                  <a:gd name="connsiteX819" fmla="*/ 412433 w 3574732"/>
                  <a:gd name="connsiteY819" fmla="*/ 1025885 h 1473560"/>
                  <a:gd name="connsiteX820" fmla="*/ 429578 w 3574732"/>
                  <a:gd name="connsiteY820" fmla="*/ 1027790 h 1473560"/>
                  <a:gd name="connsiteX821" fmla="*/ 437198 w 3574732"/>
                  <a:gd name="connsiteY821" fmla="*/ 1027790 h 1473560"/>
                  <a:gd name="connsiteX822" fmla="*/ 450533 w 3574732"/>
                  <a:gd name="connsiteY822" fmla="*/ 1030648 h 1473560"/>
                  <a:gd name="connsiteX823" fmla="*/ 451485 w 3574732"/>
                  <a:gd name="connsiteY823" fmla="*/ 1036363 h 1473560"/>
                  <a:gd name="connsiteX824" fmla="*/ 451485 w 3574732"/>
                  <a:gd name="connsiteY824" fmla="*/ 1045888 h 1473560"/>
                  <a:gd name="connsiteX825" fmla="*/ 451485 w 3574732"/>
                  <a:gd name="connsiteY825" fmla="*/ 1055413 h 1473560"/>
                  <a:gd name="connsiteX826" fmla="*/ 451485 w 3574732"/>
                  <a:gd name="connsiteY826" fmla="*/ 1066843 h 1473560"/>
                  <a:gd name="connsiteX827" fmla="*/ 449580 w 3574732"/>
                  <a:gd name="connsiteY827" fmla="*/ 1076368 h 1473560"/>
                  <a:gd name="connsiteX828" fmla="*/ 447675 w 3574732"/>
                  <a:gd name="connsiteY828" fmla="*/ 1087798 h 1473560"/>
                  <a:gd name="connsiteX829" fmla="*/ 447675 w 3574732"/>
                  <a:gd name="connsiteY829" fmla="*/ 1095418 h 1473560"/>
                  <a:gd name="connsiteX830" fmla="*/ 450533 w 3574732"/>
                  <a:gd name="connsiteY830" fmla="*/ 1102085 h 1473560"/>
                  <a:gd name="connsiteX831" fmla="*/ 458153 w 3574732"/>
                  <a:gd name="connsiteY831" fmla="*/ 1108753 h 1473560"/>
                  <a:gd name="connsiteX832" fmla="*/ 465773 w 3574732"/>
                  <a:gd name="connsiteY832" fmla="*/ 1112563 h 1473560"/>
                  <a:gd name="connsiteX833" fmla="*/ 474345 w 3574732"/>
                  <a:gd name="connsiteY833" fmla="*/ 1113515 h 1473560"/>
                  <a:gd name="connsiteX834" fmla="*/ 487680 w 3574732"/>
                  <a:gd name="connsiteY834" fmla="*/ 1123040 h 1473560"/>
                  <a:gd name="connsiteX835" fmla="*/ 493395 w 3574732"/>
                  <a:gd name="connsiteY835" fmla="*/ 1129708 h 1473560"/>
                  <a:gd name="connsiteX836" fmla="*/ 499110 w 3574732"/>
                  <a:gd name="connsiteY836" fmla="*/ 1134470 h 1473560"/>
                  <a:gd name="connsiteX837" fmla="*/ 507683 w 3574732"/>
                  <a:gd name="connsiteY837" fmla="*/ 1150663 h 1473560"/>
                  <a:gd name="connsiteX838" fmla="*/ 510540 w 3574732"/>
                  <a:gd name="connsiteY838" fmla="*/ 1157330 h 1473560"/>
                  <a:gd name="connsiteX839" fmla="*/ 507683 w 3574732"/>
                  <a:gd name="connsiteY839" fmla="*/ 1165903 h 1473560"/>
                  <a:gd name="connsiteX840" fmla="*/ 507683 w 3574732"/>
                  <a:gd name="connsiteY840" fmla="*/ 1173523 h 1473560"/>
                  <a:gd name="connsiteX841" fmla="*/ 518160 w 3574732"/>
                  <a:gd name="connsiteY841" fmla="*/ 1182095 h 1473560"/>
                  <a:gd name="connsiteX842" fmla="*/ 525780 w 3574732"/>
                  <a:gd name="connsiteY842" fmla="*/ 1185905 h 1473560"/>
                  <a:gd name="connsiteX843" fmla="*/ 526733 w 3574732"/>
                  <a:gd name="connsiteY843" fmla="*/ 1192573 h 1473560"/>
                  <a:gd name="connsiteX844" fmla="*/ 523875 w 3574732"/>
                  <a:gd name="connsiteY844" fmla="*/ 1198288 h 1473560"/>
                  <a:gd name="connsiteX845" fmla="*/ 519113 w 3574732"/>
                  <a:gd name="connsiteY845" fmla="*/ 1203050 h 1473560"/>
                  <a:gd name="connsiteX846" fmla="*/ 511493 w 3574732"/>
                  <a:gd name="connsiteY846" fmla="*/ 1214480 h 1473560"/>
                  <a:gd name="connsiteX847" fmla="*/ 506730 w 3574732"/>
                  <a:gd name="connsiteY847" fmla="*/ 1219243 h 1473560"/>
                  <a:gd name="connsiteX848" fmla="*/ 506730 w 3574732"/>
                  <a:gd name="connsiteY848" fmla="*/ 1227815 h 1473560"/>
                  <a:gd name="connsiteX849" fmla="*/ 499110 w 3574732"/>
                  <a:gd name="connsiteY849" fmla="*/ 1233530 h 1473560"/>
                  <a:gd name="connsiteX850" fmla="*/ 491490 w 3574732"/>
                  <a:gd name="connsiteY850" fmla="*/ 1245913 h 1473560"/>
                  <a:gd name="connsiteX851" fmla="*/ 491490 w 3574732"/>
                  <a:gd name="connsiteY851" fmla="*/ 1250675 h 1473560"/>
                  <a:gd name="connsiteX852" fmla="*/ 494348 w 3574732"/>
                  <a:gd name="connsiteY852" fmla="*/ 1260200 h 1473560"/>
                  <a:gd name="connsiteX853" fmla="*/ 495300 w 3574732"/>
                  <a:gd name="connsiteY853" fmla="*/ 1280203 h 1473560"/>
                  <a:gd name="connsiteX854" fmla="*/ 501968 w 3574732"/>
                  <a:gd name="connsiteY854" fmla="*/ 1290680 h 1473560"/>
                  <a:gd name="connsiteX855" fmla="*/ 500063 w 3574732"/>
                  <a:gd name="connsiteY855" fmla="*/ 1304015 h 1473560"/>
                  <a:gd name="connsiteX856" fmla="*/ 502920 w 3574732"/>
                  <a:gd name="connsiteY856" fmla="*/ 1310683 h 1473560"/>
                  <a:gd name="connsiteX857" fmla="*/ 514350 w 3574732"/>
                  <a:gd name="connsiteY857" fmla="*/ 1320208 h 1473560"/>
                  <a:gd name="connsiteX858" fmla="*/ 525780 w 3574732"/>
                  <a:gd name="connsiteY858" fmla="*/ 1326875 h 1473560"/>
                  <a:gd name="connsiteX859" fmla="*/ 534353 w 3574732"/>
                  <a:gd name="connsiteY859" fmla="*/ 1337353 h 1473560"/>
                  <a:gd name="connsiteX860" fmla="*/ 535305 w 3574732"/>
                  <a:gd name="connsiteY860" fmla="*/ 1342115 h 1473560"/>
                  <a:gd name="connsiteX861" fmla="*/ 533400 w 3574732"/>
                  <a:gd name="connsiteY861" fmla="*/ 1349735 h 1473560"/>
                  <a:gd name="connsiteX862" fmla="*/ 533400 w 3574732"/>
                  <a:gd name="connsiteY862" fmla="*/ 1360213 h 1473560"/>
                  <a:gd name="connsiteX863" fmla="*/ 534353 w 3574732"/>
                  <a:gd name="connsiteY863" fmla="*/ 1369738 h 1473560"/>
                  <a:gd name="connsiteX864" fmla="*/ 547688 w 3574732"/>
                  <a:gd name="connsiteY864" fmla="*/ 1380215 h 1473560"/>
                  <a:gd name="connsiteX865" fmla="*/ 553403 w 3574732"/>
                  <a:gd name="connsiteY865" fmla="*/ 1388788 h 1473560"/>
                  <a:gd name="connsiteX866" fmla="*/ 559118 w 3574732"/>
                  <a:gd name="connsiteY866" fmla="*/ 1393550 h 1473560"/>
                  <a:gd name="connsiteX867" fmla="*/ 563880 w 3574732"/>
                  <a:gd name="connsiteY867" fmla="*/ 1398313 h 1473560"/>
                  <a:gd name="connsiteX868" fmla="*/ 573405 w 3574732"/>
                  <a:gd name="connsiteY868" fmla="*/ 1410695 h 1473560"/>
                  <a:gd name="connsiteX869" fmla="*/ 576263 w 3574732"/>
                  <a:gd name="connsiteY869" fmla="*/ 1419268 h 1473560"/>
                  <a:gd name="connsiteX870" fmla="*/ 580073 w 3574732"/>
                  <a:gd name="connsiteY870" fmla="*/ 1425935 h 1473560"/>
                  <a:gd name="connsiteX871" fmla="*/ 588645 w 3574732"/>
                  <a:gd name="connsiteY871" fmla="*/ 1436413 h 1473560"/>
                  <a:gd name="connsiteX872" fmla="*/ 594360 w 3574732"/>
                  <a:gd name="connsiteY872" fmla="*/ 1442128 h 1473560"/>
                  <a:gd name="connsiteX873" fmla="*/ 597218 w 3574732"/>
                  <a:gd name="connsiteY873" fmla="*/ 1451653 h 1473560"/>
                  <a:gd name="connsiteX874" fmla="*/ 597218 w 3574732"/>
                  <a:gd name="connsiteY874" fmla="*/ 1458320 h 1473560"/>
                  <a:gd name="connsiteX875" fmla="*/ 598170 w 3574732"/>
                  <a:gd name="connsiteY875" fmla="*/ 1464035 h 1473560"/>
                  <a:gd name="connsiteX876" fmla="*/ 601980 w 3574732"/>
                  <a:gd name="connsiteY876" fmla="*/ 1473560 h 1473560"/>
                  <a:gd name="connsiteX877" fmla="*/ 612458 w 3574732"/>
                  <a:gd name="connsiteY877" fmla="*/ 1473560 h 1473560"/>
                  <a:gd name="connsiteX878" fmla="*/ 618173 w 3574732"/>
                  <a:gd name="connsiteY878" fmla="*/ 1473560 h 1473560"/>
                  <a:gd name="connsiteX879" fmla="*/ 628650 w 3574732"/>
                  <a:gd name="connsiteY879" fmla="*/ 1473560 h 1473560"/>
                  <a:gd name="connsiteX880" fmla="*/ 639128 w 3574732"/>
                  <a:gd name="connsiteY880" fmla="*/ 1473560 h 1473560"/>
                  <a:gd name="connsiteX881" fmla="*/ 650558 w 3574732"/>
                  <a:gd name="connsiteY881" fmla="*/ 1472608 h 1473560"/>
                  <a:gd name="connsiteX882" fmla="*/ 656273 w 3574732"/>
                  <a:gd name="connsiteY882" fmla="*/ 1470703 h 1473560"/>
                  <a:gd name="connsiteX883" fmla="*/ 667703 w 3574732"/>
                  <a:gd name="connsiteY883" fmla="*/ 1469750 h 1473560"/>
                  <a:gd name="connsiteX884" fmla="*/ 681038 w 3574732"/>
                  <a:gd name="connsiteY884" fmla="*/ 1468798 h 1473560"/>
                  <a:gd name="connsiteX885" fmla="*/ 698183 w 3574732"/>
                  <a:gd name="connsiteY885" fmla="*/ 1468798 h 1473560"/>
                  <a:gd name="connsiteX886" fmla="*/ 719138 w 3574732"/>
                  <a:gd name="connsiteY886" fmla="*/ 1466893 h 1473560"/>
                  <a:gd name="connsiteX887" fmla="*/ 746760 w 3574732"/>
                  <a:gd name="connsiteY887" fmla="*/ 1462130 h 1473560"/>
                  <a:gd name="connsiteX888" fmla="*/ 764858 w 3574732"/>
                  <a:gd name="connsiteY888" fmla="*/ 1456415 h 1473560"/>
                  <a:gd name="connsiteX889" fmla="*/ 775335 w 3574732"/>
                  <a:gd name="connsiteY889" fmla="*/ 1447843 h 1473560"/>
                  <a:gd name="connsiteX890" fmla="*/ 781050 w 3574732"/>
                  <a:gd name="connsiteY890" fmla="*/ 1444033 h 1473560"/>
                  <a:gd name="connsiteX891" fmla="*/ 786765 w 3574732"/>
                  <a:gd name="connsiteY891" fmla="*/ 1440223 h 1473560"/>
                  <a:gd name="connsiteX892" fmla="*/ 802005 w 3574732"/>
                  <a:gd name="connsiteY892" fmla="*/ 1434508 h 1473560"/>
                  <a:gd name="connsiteX893" fmla="*/ 810578 w 3574732"/>
                  <a:gd name="connsiteY893" fmla="*/ 1427840 h 1473560"/>
                  <a:gd name="connsiteX894" fmla="*/ 815340 w 3574732"/>
                  <a:gd name="connsiteY894" fmla="*/ 1424030 h 1473560"/>
                  <a:gd name="connsiteX895" fmla="*/ 821055 w 3574732"/>
                  <a:gd name="connsiteY895" fmla="*/ 1415458 h 1473560"/>
                  <a:gd name="connsiteX896" fmla="*/ 826770 w 3574732"/>
                  <a:gd name="connsiteY896" fmla="*/ 1412600 h 1473560"/>
                  <a:gd name="connsiteX897" fmla="*/ 834390 w 3574732"/>
                  <a:gd name="connsiteY897" fmla="*/ 1406885 h 1473560"/>
                  <a:gd name="connsiteX898" fmla="*/ 836295 w 3574732"/>
                  <a:gd name="connsiteY898" fmla="*/ 1404028 h 1473560"/>
                  <a:gd name="connsiteX899" fmla="*/ 839153 w 3574732"/>
                  <a:gd name="connsiteY899" fmla="*/ 1389740 h 1473560"/>
                  <a:gd name="connsiteX900" fmla="*/ 839153 w 3574732"/>
                  <a:gd name="connsiteY900" fmla="*/ 1381168 h 1473560"/>
                  <a:gd name="connsiteX901" fmla="*/ 843915 w 3574732"/>
                  <a:gd name="connsiteY901" fmla="*/ 1370690 h 1473560"/>
                  <a:gd name="connsiteX902" fmla="*/ 859155 w 3574732"/>
                  <a:gd name="connsiteY902" fmla="*/ 1365928 h 1473560"/>
                  <a:gd name="connsiteX903" fmla="*/ 864870 w 3574732"/>
                  <a:gd name="connsiteY903" fmla="*/ 1364975 h 1473560"/>
                  <a:gd name="connsiteX904" fmla="*/ 870585 w 3574732"/>
                  <a:gd name="connsiteY904" fmla="*/ 1364023 h 1473560"/>
                  <a:gd name="connsiteX905" fmla="*/ 881063 w 3574732"/>
                  <a:gd name="connsiteY905" fmla="*/ 1357355 h 1473560"/>
                  <a:gd name="connsiteX906" fmla="*/ 880110 w 3574732"/>
                  <a:gd name="connsiteY906" fmla="*/ 1354498 h 1473560"/>
                  <a:gd name="connsiteX907" fmla="*/ 880110 w 3574732"/>
                  <a:gd name="connsiteY907" fmla="*/ 1347830 h 1473560"/>
                  <a:gd name="connsiteX908" fmla="*/ 880110 w 3574732"/>
                  <a:gd name="connsiteY908" fmla="*/ 1338305 h 1473560"/>
                  <a:gd name="connsiteX909" fmla="*/ 880110 w 3574732"/>
                  <a:gd name="connsiteY909" fmla="*/ 1329733 h 1473560"/>
                  <a:gd name="connsiteX910" fmla="*/ 880110 w 3574732"/>
                  <a:gd name="connsiteY910" fmla="*/ 1317350 h 1473560"/>
                  <a:gd name="connsiteX911" fmla="*/ 884873 w 3574732"/>
                  <a:gd name="connsiteY911" fmla="*/ 1302110 h 1473560"/>
                  <a:gd name="connsiteX912" fmla="*/ 884873 w 3574732"/>
                  <a:gd name="connsiteY912" fmla="*/ 1298300 h 1473560"/>
                  <a:gd name="connsiteX913" fmla="*/ 902970 w 3574732"/>
                  <a:gd name="connsiteY913" fmla="*/ 1287823 h 1473560"/>
                  <a:gd name="connsiteX914" fmla="*/ 921068 w 3574732"/>
                  <a:gd name="connsiteY914" fmla="*/ 1278298 h 1473560"/>
                  <a:gd name="connsiteX915" fmla="*/ 929640 w 3574732"/>
                  <a:gd name="connsiteY915" fmla="*/ 1275440 h 1473560"/>
                  <a:gd name="connsiteX916" fmla="*/ 935355 w 3574732"/>
                  <a:gd name="connsiteY916" fmla="*/ 1272583 h 1473560"/>
                  <a:gd name="connsiteX917" fmla="*/ 945833 w 3574732"/>
                  <a:gd name="connsiteY917" fmla="*/ 1270678 h 1473560"/>
                  <a:gd name="connsiteX918" fmla="*/ 954405 w 3574732"/>
                  <a:gd name="connsiteY918" fmla="*/ 1267820 h 1473560"/>
                  <a:gd name="connsiteX919" fmla="*/ 962978 w 3574732"/>
                  <a:gd name="connsiteY919" fmla="*/ 1264963 h 1473560"/>
                  <a:gd name="connsiteX920" fmla="*/ 970598 w 3574732"/>
                  <a:gd name="connsiteY920" fmla="*/ 1257343 h 1473560"/>
                  <a:gd name="connsiteX921" fmla="*/ 975360 w 3574732"/>
                  <a:gd name="connsiteY921" fmla="*/ 1243055 h 1473560"/>
                  <a:gd name="connsiteX922" fmla="*/ 975360 w 3574732"/>
                  <a:gd name="connsiteY922" fmla="*/ 1227815 h 1473560"/>
                  <a:gd name="connsiteX923" fmla="*/ 975360 w 3574732"/>
                  <a:gd name="connsiteY923" fmla="*/ 1219243 h 1473560"/>
                  <a:gd name="connsiteX924" fmla="*/ 975360 w 3574732"/>
                  <a:gd name="connsiteY924" fmla="*/ 1204955 h 1473560"/>
                  <a:gd name="connsiteX925" fmla="*/ 975360 w 3574732"/>
                  <a:gd name="connsiteY925" fmla="*/ 1193525 h 1473560"/>
                  <a:gd name="connsiteX926" fmla="*/ 963930 w 3574732"/>
                  <a:gd name="connsiteY926" fmla="*/ 1181143 h 1473560"/>
                  <a:gd name="connsiteX927" fmla="*/ 961073 w 3574732"/>
                  <a:gd name="connsiteY927" fmla="*/ 1170665 h 1473560"/>
                  <a:gd name="connsiteX928" fmla="*/ 960120 w 3574732"/>
                  <a:gd name="connsiteY928" fmla="*/ 1159235 h 1473560"/>
                  <a:gd name="connsiteX929" fmla="*/ 960120 w 3574732"/>
                  <a:gd name="connsiteY929" fmla="*/ 1145900 h 1473560"/>
                  <a:gd name="connsiteX930" fmla="*/ 960120 w 3574732"/>
                  <a:gd name="connsiteY930" fmla="*/ 1132565 h 1473560"/>
                  <a:gd name="connsiteX931" fmla="*/ 965835 w 3574732"/>
                  <a:gd name="connsiteY931" fmla="*/ 1121135 h 1473560"/>
                  <a:gd name="connsiteX932" fmla="*/ 970598 w 3574732"/>
                  <a:gd name="connsiteY932" fmla="*/ 1111610 h 1473560"/>
                  <a:gd name="connsiteX933" fmla="*/ 985838 w 3574732"/>
                  <a:gd name="connsiteY933" fmla="*/ 1100180 h 1473560"/>
                  <a:gd name="connsiteX934" fmla="*/ 1001078 w 3574732"/>
                  <a:gd name="connsiteY934" fmla="*/ 1089703 h 1473560"/>
                  <a:gd name="connsiteX935" fmla="*/ 1011555 w 3574732"/>
                  <a:gd name="connsiteY935" fmla="*/ 1083988 h 1473560"/>
                  <a:gd name="connsiteX936" fmla="*/ 1022985 w 3574732"/>
                  <a:gd name="connsiteY936" fmla="*/ 1077320 h 1473560"/>
                  <a:gd name="connsiteX937" fmla="*/ 1033463 w 3574732"/>
                  <a:gd name="connsiteY937" fmla="*/ 1072558 h 1473560"/>
                  <a:gd name="connsiteX938" fmla="*/ 1051560 w 3574732"/>
                  <a:gd name="connsiteY938" fmla="*/ 1063033 h 1473560"/>
                  <a:gd name="connsiteX939" fmla="*/ 1063943 w 3574732"/>
                  <a:gd name="connsiteY939" fmla="*/ 1055413 h 1473560"/>
                  <a:gd name="connsiteX940" fmla="*/ 1072515 w 3574732"/>
                  <a:gd name="connsiteY940" fmla="*/ 1049698 h 1473560"/>
                  <a:gd name="connsiteX941" fmla="*/ 1094423 w 3574732"/>
                  <a:gd name="connsiteY941" fmla="*/ 1042078 h 1473560"/>
                  <a:gd name="connsiteX942" fmla="*/ 1115378 w 3574732"/>
                  <a:gd name="connsiteY942" fmla="*/ 1027790 h 1473560"/>
                  <a:gd name="connsiteX943" fmla="*/ 1123950 w 3574732"/>
                  <a:gd name="connsiteY943" fmla="*/ 1018265 h 1473560"/>
                  <a:gd name="connsiteX944" fmla="*/ 1125855 w 3574732"/>
                  <a:gd name="connsiteY944" fmla="*/ 1011598 h 1473560"/>
                  <a:gd name="connsiteX945" fmla="*/ 1136333 w 3574732"/>
                  <a:gd name="connsiteY945" fmla="*/ 1002073 h 1473560"/>
                  <a:gd name="connsiteX946" fmla="*/ 1139190 w 3574732"/>
                  <a:gd name="connsiteY946" fmla="*/ 997310 h 1473560"/>
                  <a:gd name="connsiteX947" fmla="*/ 1154430 w 3574732"/>
                  <a:gd name="connsiteY947" fmla="*/ 975403 h 1473560"/>
                  <a:gd name="connsiteX948" fmla="*/ 1156335 w 3574732"/>
                  <a:gd name="connsiteY948" fmla="*/ 963973 h 1473560"/>
                  <a:gd name="connsiteX949" fmla="*/ 1158240 w 3574732"/>
                  <a:gd name="connsiteY949" fmla="*/ 958258 h 1473560"/>
                  <a:gd name="connsiteX950" fmla="*/ 1160145 w 3574732"/>
                  <a:gd name="connsiteY950" fmla="*/ 951590 h 1473560"/>
                  <a:gd name="connsiteX951" fmla="*/ 1141095 w 3574732"/>
                  <a:gd name="connsiteY951" fmla="*/ 955400 h 1473560"/>
                  <a:gd name="connsiteX952" fmla="*/ 1127760 w 3574732"/>
                  <a:gd name="connsiteY952" fmla="*/ 955400 h 1473560"/>
                  <a:gd name="connsiteX953" fmla="*/ 1116330 w 3574732"/>
                  <a:gd name="connsiteY953" fmla="*/ 956353 h 1473560"/>
                  <a:gd name="connsiteX954" fmla="*/ 1095375 w 3574732"/>
                  <a:gd name="connsiteY954" fmla="*/ 955400 h 1473560"/>
                  <a:gd name="connsiteX955" fmla="*/ 1089660 w 3574732"/>
                  <a:gd name="connsiteY955" fmla="*/ 955400 h 1473560"/>
                  <a:gd name="connsiteX956" fmla="*/ 1073468 w 3574732"/>
                  <a:gd name="connsiteY956" fmla="*/ 956353 h 1473560"/>
                  <a:gd name="connsiteX957" fmla="*/ 1067753 w 3574732"/>
                  <a:gd name="connsiteY957" fmla="*/ 957305 h 1473560"/>
                  <a:gd name="connsiteX958" fmla="*/ 1053465 w 3574732"/>
                  <a:gd name="connsiteY958" fmla="*/ 957305 h 1473560"/>
                  <a:gd name="connsiteX959" fmla="*/ 1042035 w 3574732"/>
                  <a:gd name="connsiteY959" fmla="*/ 953495 h 1473560"/>
                  <a:gd name="connsiteX960" fmla="*/ 1030605 w 3574732"/>
                  <a:gd name="connsiteY960" fmla="*/ 946828 h 1473560"/>
                  <a:gd name="connsiteX961" fmla="*/ 1027748 w 3574732"/>
                  <a:gd name="connsiteY961" fmla="*/ 943018 h 1473560"/>
                  <a:gd name="connsiteX962" fmla="*/ 1021080 w 3574732"/>
                  <a:gd name="connsiteY962" fmla="*/ 933493 h 1473560"/>
                  <a:gd name="connsiteX963" fmla="*/ 1004888 w 3574732"/>
                  <a:gd name="connsiteY963" fmla="*/ 923968 h 1473560"/>
                  <a:gd name="connsiteX964" fmla="*/ 993458 w 3574732"/>
                  <a:gd name="connsiteY964" fmla="*/ 921110 h 1473560"/>
                  <a:gd name="connsiteX965" fmla="*/ 984885 w 3574732"/>
                  <a:gd name="connsiteY965" fmla="*/ 912538 h 1473560"/>
                  <a:gd name="connsiteX966" fmla="*/ 976313 w 3574732"/>
                  <a:gd name="connsiteY966" fmla="*/ 908728 h 1473560"/>
                  <a:gd name="connsiteX967" fmla="*/ 963930 w 3574732"/>
                  <a:gd name="connsiteY967" fmla="*/ 908728 h 1473560"/>
                  <a:gd name="connsiteX968" fmla="*/ 953453 w 3574732"/>
                  <a:gd name="connsiteY968" fmla="*/ 896345 h 1473560"/>
                  <a:gd name="connsiteX969" fmla="*/ 949643 w 3574732"/>
                  <a:gd name="connsiteY969" fmla="*/ 885868 h 1473560"/>
                  <a:gd name="connsiteX970" fmla="*/ 942975 w 3574732"/>
                  <a:gd name="connsiteY970" fmla="*/ 872533 h 1473560"/>
                  <a:gd name="connsiteX971" fmla="*/ 934403 w 3574732"/>
                  <a:gd name="connsiteY971" fmla="*/ 862055 h 1473560"/>
                  <a:gd name="connsiteX972" fmla="*/ 930593 w 3574732"/>
                  <a:gd name="connsiteY972" fmla="*/ 847768 h 1473560"/>
                  <a:gd name="connsiteX973" fmla="*/ 924878 w 3574732"/>
                  <a:gd name="connsiteY973" fmla="*/ 838243 h 1473560"/>
                  <a:gd name="connsiteX974" fmla="*/ 917258 w 3574732"/>
                  <a:gd name="connsiteY974" fmla="*/ 833480 h 1473560"/>
                  <a:gd name="connsiteX975" fmla="*/ 901065 w 3574732"/>
                  <a:gd name="connsiteY975" fmla="*/ 820145 h 1473560"/>
                  <a:gd name="connsiteX976" fmla="*/ 893445 w 3574732"/>
                  <a:gd name="connsiteY976" fmla="*/ 815383 h 1473560"/>
                  <a:gd name="connsiteX977" fmla="*/ 884873 w 3574732"/>
                  <a:gd name="connsiteY977" fmla="*/ 812525 h 1473560"/>
                  <a:gd name="connsiteX978" fmla="*/ 881063 w 3574732"/>
                  <a:gd name="connsiteY978" fmla="*/ 799190 h 1473560"/>
                  <a:gd name="connsiteX979" fmla="*/ 882968 w 3574732"/>
                  <a:gd name="connsiteY979" fmla="*/ 790618 h 1473560"/>
                  <a:gd name="connsiteX980" fmla="*/ 880110 w 3574732"/>
                  <a:gd name="connsiteY980" fmla="*/ 778235 h 1473560"/>
                  <a:gd name="connsiteX981" fmla="*/ 880110 w 3574732"/>
                  <a:gd name="connsiteY981" fmla="*/ 774425 h 1473560"/>
                  <a:gd name="connsiteX982" fmla="*/ 880110 w 3574732"/>
                  <a:gd name="connsiteY982" fmla="*/ 766805 h 1473560"/>
                  <a:gd name="connsiteX983" fmla="*/ 884873 w 3574732"/>
                  <a:gd name="connsiteY983" fmla="*/ 761090 h 1473560"/>
                  <a:gd name="connsiteX984" fmla="*/ 895350 w 3574732"/>
                  <a:gd name="connsiteY984" fmla="*/ 761090 h 1473560"/>
                  <a:gd name="connsiteX985" fmla="*/ 905828 w 3574732"/>
                  <a:gd name="connsiteY985" fmla="*/ 762043 h 1473560"/>
                  <a:gd name="connsiteX986" fmla="*/ 916305 w 3574732"/>
                  <a:gd name="connsiteY986" fmla="*/ 767758 h 1473560"/>
                  <a:gd name="connsiteX987" fmla="*/ 921068 w 3574732"/>
                  <a:gd name="connsiteY987" fmla="*/ 773473 h 1473560"/>
                  <a:gd name="connsiteX988" fmla="*/ 924878 w 3574732"/>
                  <a:gd name="connsiteY988" fmla="*/ 779188 h 1473560"/>
                  <a:gd name="connsiteX989" fmla="*/ 930593 w 3574732"/>
                  <a:gd name="connsiteY989" fmla="*/ 783950 h 1473560"/>
                  <a:gd name="connsiteX990" fmla="*/ 930593 w 3574732"/>
                  <a:gd name="connsiteY990" fmla="*/ 790618 h 1473560"/>
                  <a:gd name="connsiteX991" fmla="*/ 930593 w 3574732"/>
                  <a:gd name="connsiteY991" fmla="*/ 798238 h 1473560"/>
                  <a:gd name="connsiteX992" fmla="*/ 944880 w 3574732"/>
                  <a:gd name="connsiteY992" fmla="*/ 814430 h 1473560"/>
                  <a:gd name="connsiteX993" fmla="*/ 956310 w 3574732"/>
                  <a:gd name="connsiteY993" fmla="*/ 831575 h 1473560"/>
                  <a:gd name="connsiteX994" fmla="*/ 973455 w 3574732"/>
                  <a:gd name="connsiteY994" fmla="*/ 843958 h 1473560"/>
                  <a:gd name="connsiteX995" fmla="*/ 990600 w 3574732"/>
                  <a:gd name="connsiteY995" fmla="*/ 853483 h 1473560"/>
                  <a:gd name="connsiteX996" fmla="*/ 993458 w 3574732"/>
                  <a:gd name="connsiteY996" fmla="*/ 864913 h 1473560"/>
                  <a:gd name="connsiteX997" fmla="*/ 1000125 w 3574732"/>
                  <a:gd name="connsiteY997" fmla="*/ 875390 h 1473560"/>
                  <a:gd name="connsiteX998" fmla="*/ 1011555 w 3574732"/>
                  <a:gd name="connsiteY998" fmla="*/ 883963 h 1473560"/>
                  <a:gd name="connsiteX999" fmla="*/ 1027748 w 3574732"/>
                  <a:gd name="connsiteY999" fmla="*/ 893488 h 1473560"/>
                  <a:gd name="connsiteX1000" fmla="*/ 1031558 w 3574732"/>
                  <a:gd name="connsiteY1000" fmla="*/ 901108 h 1473560"/>
                  <a:gd name="connsiteX1001" fmla="*/ 1032510 w 3574732"/>
                  <a:gd name="connsiteY1001" fmla="*/ 913490 h 1473560"/>
                  <a:gd name="connsiteX1002" fmla="*/ 1033463 w 3574732"/>
                  <a:gd name="connsiteY1002" fmla="*/ 921110 h 1473560"/>
                  <a:gd name="connsiteX1003" fmla="*/ 1037273 w 3574732"/>
                  <a:gd name="connsiteY1003" fmla="*/ 927778 h 1473560"/>
                  <a:gd name="connsiteX1004" fmla="*/ 1042035 w 3574732"/>
                  <a:gd name="connsiteY1004" fmla="*/ 931588 h 1473560"/>
                  <a:gd name="connsiteX1005" fmla="*/ 1053465 w 3574732"/>
                  <a:gd name="connsiteY1005" fmla="*/ 935398 h 1473560"/>
                  <a:gd name="connsiteX1006" fmla="*/ 1061085 w 3574732"/>
                  <a:gd name="connsiteY1006" fmla="*/ 936350 h 1473560"/>
                  <a:gd name="connsiteX1007" fmla="*/ 1075373 w 3574732"/>
                  <a:gd name="connsiteY1007" fmla="*/ 936350 h 1473560"/>
                  <a:gd name="connsiteX1008" fmla="*/ 1086803 w 3574732"/>
                  <a:gd name="connsiteY1008" fmla="*/ 935398 h 1473560"/>
                  <a:gd name="connsiteX1009" fmla="*/ 1101090 w 3574732"/>
                  <a:gd name="connsiteY1009" fmla="*/ 934445 h 1473560"/>
                  <a:gd name="connsiteX1010" fmla="*/ 1115378 w 3574732"/>
                  <a:gd name="connsiteY1010" fmla="*/ 930635 h 1473560"/>
                  <a:gd name="connsiteX1011" fmla="*/ 1131570 w 3574732"/>
                  <a:gd name="connsiteY1011" fmla="*/ 926825 h 1473560"/>
                  <a:gd name="connsiteX1012" fmla="*/ 1140143 w 3574732"/>
                  <a:gd name="connsiteY1012" fmla="*/ 925873 h 1473560"/>
                  <a:gd name="connsiteX1013" fmla="*/ 1150620 w 3574732"/>
                  <a:gd name="connsiteY1013" fmla="*/ 923015 h 1473560"/>
                  <a:gd name="connsiteX1014" fmla="*/ 1163955 w 3574732"/>
                  <a:gd name="connsiteY1014" fmla="*/ 915395 h 1473560"/>
                  <a:gd name="connsiteX1015" fmla="*/ 1180148 w 3574732"/>
                  <a:gd name="connsiteY1015" fmla="*/ 906823 h 1473560"/>
                  <a:gd name="connsiteX1016" fmla="*/ 1188720 w 3574732"/>
                  <a:gd name="connsiteY1016" fmla="*/ 903965 h 1473560"/>
                  <a:gd name="connsiteX1017" fmla="*/ 1212533 w 3574732"/>
                  <a:gd name="connsiteY1017" fmla="*/ 900155 h 1473560"/>
                  <a:gd name="connsiteX1018" fmla="*/ 1228725 w 3574732"/>
                  <a:gd name="connsiteY1018" fmla="*/ 895393 h 1473560"/>
                  <a:gd name="connsiteX1019" fmla="*/ 1246823 w 3574732"/>
                  <a:gd name="connsiteY1019" fmla="*/ 882058 h 1473560"/>
                  <a:gd name="connsiteX1020" fmla="*/ 1249680 w 3574732"/>
                  <a:gd name="connsiteY1020" fmla="*/ 879200 h 1473560"/>
                  <a:gd name="connsiteX1021" fmla="*/ 1263015 w 3574732"/>
                  <a:gd name="connsiteY1021" fmla="*/ 877295 h 1473560"/>
                  <a:gd name="connsiteX1022" fmla="*/ 1274445 w 3574732"/>
                  <a:gd name="connsiteY1022" fmla="*/ 872533 h 1473560"/>
                  <a:gd name="connsiteX1023" fmla="*/ 1280160 w 3574732"/>
                  <a:gd name="connsiteY1023" fmla="*/ 869675 h 1473560"/>
                  <a:gd name="connsiteX1024" fmla="*/ 1299210 w 3574732"/>
                  <a:gd name="connsiteY1024" fmla="*/ 861103 h 1473560"/>
                  <a:gd name="connsiteX1025" fmla="*/ 1306830 w 3574732"/>
                  <a:gd name="connsiteY1025" fmla="*/ 852530 h 1473560"/>
                  <a:gd name="connsiteX1026" fmla="*/ 1315403 w 3574732"/>
                  <a:gd name="connsiteY1026" fmla="*/ 843005 h 1473560"/>
                  <a:gd name="connsiteX1027" fmla="*/ 1314450 w 3574732"/>
                  <a:gd name="connsiteY1027" fmla="*/ 829670 h 1473560"/>
                  <a:gd name="connsiteX1028" fmla="*/ 1313498 w 3574732"/>
                  <a:gd name="connsiteY1028" fmla="*/ 824908 h 1473560"/>
                  <a:gd name="connsiteX1029" fmla="*/ 1310640 w 3574732"/>
                  <a:gd name="connsiteY1029" fmla="*/ 822050 h 1473560"/>
                  <a:gd name="connsiteX1030" fmla="*/ 1304925 w 3574732"/>
                  <a:gd name="connsiteY1030" fmla="*/ 817288 h 1473560"/>
                  <a:gd name="connsiteX1031" fmla="*/ 1290638 w 3574732"/>
                  <a:gd name="connsiteY1031" fmla="*/ 813478 h 1473560"/>
                  <a:gd name="connsiteX1032" fmla="*/ 1271588 w 3574732"/>
                  <a:gd name="connsiteY1032" fmla="*/ 804905 h 1473560"/>
                  <a:gd name="connsiteX1033" fmla="*/ 1270635 w 3574732"/>
                  <a:gd name="connsiteY1033" fmla="*/ 800143 h 1473560"/>
                  <a:gd name="connsiteX1034" fmla="*/ 1259205 w 3574732"/>
                  <a:gd name="connsiteY1034" fmla="*/ 795380 h 1473560"/>
                  <a:gd name="connsiteX1035" fmla="*/ 1245870 w 3574732"/>
                  <a:gd name="connsiteY1035" fmla="*/ 793475 h 1473560"/>
                  <a:gd name="connsiteX1036" fmla="*/ 1238250 w 3574732"/>
                  <a:gd name="connsiteY1036" fmla="*/ 793475 h 1473560"/>
                  <a:gd name="connsiteX1037" fmla="*/ 1232535 w 3574732"/>
                  <a:gd name="connsiteY1037" fmla="*/ 793475 h 1473560"/>
                  <a:gd name="connsiteX1038" fmla="*/ 1224915 w 3574732"/>
                  <a:gd name="connsiteY1038" fmla="*/ 793475 h 1473560"/>
                  <a:gd name="connsiteX1039" fmla="*/ 1217295 w 3574732"/>
                  <a:gd name="connsiteY1039" fmla="*/ 797285 h 1473560"/>
                  <a:gd name="connsiteX1040" fmla="*/ 1211580 w 3574732"/>
                  <a:gd name="connsiteY1040" fmla="*/ 801095 h 1473560"/>
                  <a:gd name="connsiteX1041" fmla="*/ 1203960 w 3574732"/>
                  <a:gd name="connsiteY1041" fmla="*/ 802048 h 1473560"/>
                  <a:gd name="connsiteX1042" fmla="*/ 1192530 w 3574732"/>
                  <a:gd name="connsiteY1042" fmla="*/ 798238 h 1473560"/>
                  <a:gd name="connsiteX1043" fmla="*/ 1183958 w 3574732"/>
                  <a:gd name="connsiteY1043" fmla="*/ 793475 h 1473560"/>
                  <a:gd name="connsiteX1044" fmla="*/ 1162050 w 3574732"/>
                  <a:gd name="connsiteY1044" fmla="*/ 777283 h 1473560"/>
                  <a:gd name="connsiteX1045" fmla="*/ 1157288 w 3574732"/>
                  <a:gd name="connsiteY1045" fmla="*/ 776330 h 1473560"/>
                  <a:gd name="connsiteX1046" fmla="*/ 1148715 w 3574732"/>
                  <a:gd name="connsiteY1046" fmla="*/ 769663 h 1473560"/>
                  <a:gd name="connsiteX1047" fmla="*/ 1140143 w 3574732"/>
                  <a:gd name="connsiteY1047" fmla="*/ 759185 h 1473560"/>
                  <a:gd name="connsiteX1048" fmla="*/ 1132523 w 3574732"/>
                  <a:gd name="connsiteY1048" fmla="*/ 751565 h 1473560"/>
                  <a:gd name="connsiteX1049" fmla="*/ 1126808 w 3574732"/>
                  <a:gd name="connsiteY1049" fmla="*/ 741088 h 1473560"/>
                  <a:gd name="connsiteX1050" fmla="*/ 1129665 w 3574732"/>
                  <a:gd name="connsiteY1050" fmla="*/ 733468 h 1473560"/>
                  <a:gd name="connsiteX1051" fmla="*/ 1138238 w 3574732"/>
                  <a:gd name="connsiteY1051" fmla="*/ 733468 h 1473560"/>
                  <a:gd name="connsiteX1052" fmla="*/ 1159193 w 3574732"/>
                  <a:gd name="connsiteY1052" fmla="*/ 736325 h 1473560"/>
                  <a:gd name="connsiteX1053" fmla="*/ 1167765 w 3574732"/>
                  <a:gd name="connsiteY1053" fmla="*/ 743945 h 1473560"/>
                  <a:gd name="connsiteX1054" fmla="*/ 1173480 w 3574732"/>
                  <a:gd name="connsiteY1054" fmla="*/ 748708 h 1473560"/>
                  <a:gd name="connsiteX1055" fmla="*/ 1179195 w 3574732"/>
                  <a:gd name="connsiteY1055" fmla="*/ 755375 h 1473560"/>
                  <a:gd name="connsiteX1056" fmla="*/ 1187768 w 3574732"/>
                  <a:gd name="connsiteY1056" fmla="*/ 765853 h 1473560"/>
                  <a:gd name="connsiteX1057" fmla="*/ 1193483 w 3574732"/>
                  <a:gd name="connsiteY1057" fmla="*/ 768710 h 1473560"/>
                  <a:gd name="connsiteX1058" fmla="*/ 1206818 w 3574732"/>
                  <a:gd name="connsiteY1058" fmla="*/ 774425 h 1473560"/>
                  <a:gd name="connsiteX1059" fmla="*/ 1231583 w 3574732"/>
                  <a:gd name="connsiteY1059" fmla="*/ 775378 h 1473560"/>
                  <a:gd name="connsiteX1060" fmla="*/ 1245870 w 3574732"/>
                  <a:gd name="connsiteY1060" fmla="*/ 776330 h 1473560"/>
                  <a:gd name="connsiteX1061" fmla="*/ 1259205 w 3574732"/>
                  <a:gd name="connsiteY1061" fmla="*/ 777283 h 1473560"/>
                  <a:gd name="connsiteX1062" fmla="*/ 1267778 w 3574732"/>
                  <a:gd name="connsiteY1062" fmla="*/ 781093 h 1473560"/>
                  <a:gd name="connsiteX1063" fmla="*/ 1276350 w 3574732"/>
                  <a:gd name="connsiteY1063" fmla="*/ 784903 h 1473560"/>
                  <a:gd name="connsiteX1064" fmla="*/ 1287780 w 3574732"/>
                  <a:gd name="connsiteY1064" fmla="*/ 789665 h 1473560"/>
                  <a:gd name="connsiteX1065" fmla="*/ 1298258 w 3574732"/>
                  <a:gd name="connsiteY1065" fmla="*/ 791570 h 1473560"/>
                  <a:gd name="connsiteX1066" fmla="*/ 1308735 w 3574732"/>
                  <a:gd name="connsiteY1066" fmla="*/ 793475 h 1473560"/>
                  <a:gd name="connsiteX1067" fmla="*/ 1322070 w 3574732"/>
                  <a:gd name="connsiteY1067" fmla="*/ 796333 h 1473560"/>
                  <a:gd name="connsiteX1068" fmla="*/ 1335405 w 3574732"/>
                  <a:gd name="connsiteY1068" fmla="*/ 798238 h 1473560"/>
                  <a:gd name="connsiteX1069" fmla="*/ 1357313 w 3574732"/>
                  <a:gd name="connsiteY1069" fmla="*/ 798238 h 1473560"/>
                  <a:gd name="connsiteX1070" fmla="*/ 1390650 w 3574732"/>
                  <a:gd name="connsiteY1070" fmla="*/ 798238 h 1473560"/>
                  <a:gd name="connsiteX1071" fmla="*/ 1402080 w 3574732"/>
                  <a:gd name="connsiteY1071" fmla="*/ 797285 h 1473560"/>
                  <a:gd name="connsiteX1072" fmla="*/ 1415415 w 3574732"/>
                  <a:gd name="connsiteY1072" fmla="*/ 797285 h 1473560"/>
                  <a:gd name="connsiteX1073" fmla="*/ 1434465 w 3574732"/>
                  <a:gd name="connsiteY1073" fmla="*/ 798238 h 1473560"/>
                  <a:gd name="connsiteX1074" fmla="*/ 1447800 w 3574732"/>
                  <a:gd name="connsiteY1074" fmla="*/ 803000 h 1473560"/>
                  <a:gd name="connsiteX1075" fmla="*/ 1459230 w 3574732"/>
                  <a:gd name="connsiteY1075" fmla="*/ 814430 h 1473560"/>
                  <a:gd name="connsiteX1076" fmla="*/ 1467803 w 3574732"/>
                  <a:gd name="connsiteY1076" fmla="*/ 821098 h 1473560"/>
                  <a:gd name="connsiteX1077" fmla="*/ 1482090 w 3574732"/>
                  <a:gd name="connsiteY1077" fmla="*/ 828718 h 1473560"/>
                  <a:gd name="connsiteX1078" fmla="*/ 1495425 w 3574732"/>
                  <a:gd name="connsiteY1078" fmla="*/ 842053 h 1473560"/>
                  <a:gd name="connsiteX1079" fmla="*/ 1503998 w 3574732"/>
                  <a:gd name="connsiteY1079" fmla="*/ 845863 h 1473560"/>
                  <a:gd name="connsiteX1080" fmla="*/ 1518285 w 3574732"/>
                  <a:gd name="connsiteY1080" fmla="*/ 843958 h 1473560"/>
                  <a:gd name="connsiteX1081" fmla="*/ 1524000 w 3574732"/>
                  <a:gd name="connsiteY1081" fmla="*/ 838243 h 1473560"/>
                  <a:gd name="connsiteX1082" fmla="*/ 1534478 w 3574732"/>
                  <a:gd name="connsiteY1082" fmla="*/ 837290 h 1473560"/>
                  <a:gd name="connsiteX1083" fmla="*/ 1534478 w 3574732"/>
                  <a:gd name="connsiteY1083" fmla="*/ 841100 h 1473560"/>
                  <a:gd name="connsiteX1084" fmla="*/ 1540193 w 3574732"/>
                  <a:gd name="connsiteY1084" fmla="*/ 856340 h 1473560"/>
                  <a:gd name="connsiteX1085" fmla="*/ 1546860 w 3574732"/>
                  <a:gd name="connsiteY1085" fmla="*/ 871580 h 1473560"/>
                  <a:gd name="connsiteX1086" fmla="*/ 1544955 w 3574732"/>
                  <a:gd name="connsiteY1086" fmla="*/ 887773 h 1473560"/>
                  <a:gd name="connsiteX1087" fmla="*/ 1548765 w 3574732"/>
                  <a:gd name="connsiteY1087" fmla="*/ 895393 h 1473560"/>
                  <a:gd name="connsiteX1088" fmla="*/ 1551623 w 3574732"/>
                  <a:gd name="connsiteY1088" fmla="*/ 900155 h 1473560"/>
                  <a:gd name="connsiteX1089" fmla="*/ 1564005 w 3574732"/>
                  <a:gd name="connsiteY1089" fmla="*/ 919205 h 1473560"/>
                  <a:gd name="connsiteX1090" fmla="*/ 1571625 w 3574732"/>
                  <a:gd name="connsiteY1090" fmla="*/ 923968 h 1473560"/>
                  <a:gd name="connsiteX1091" fmla="*/ 1569720 w 3574732"/>
                  <a:gd name="connsiteY1091" fmla="*/ 933493 h 1473560"/>
                  <a:gd name="connsiteX1092" fmla="*/ 1572578 w 3574732"/>
                  <a:gd name="connsiteY1092" fmla="*/ 940160 h 1473560"/>
                  <a:gd name="connsiteX1093" fmla="*/ 1578293 w 3574732"/>
                  <a:gd name="connsiteY1093" fmla="*/ 946828 h 1473560"/>
                  <a:gd name="connsiteX1094" fmla="*/ 1584960 w 3574732"/>
                  <a:gd name="connsiteY1094" fmla="*/ 958258 h 1473560"/>
                  <a:gd name="connsiteX1095" fmla="*/ 1587818 w 3574732"/>
                  <a:gd name="connsiteY1095" fmla="*/ 970640 h 1473560"/>
                  <a:gd name="connsiteX1096" fmla="*/ 1604963 w 3574732"/>
                  <a:gd name="connsiteY1096" fmla="*/ 980165 h 1473560"/>
                  <a:gd name="connsiteX1097" fmla="*/ 1615440 w 3574732"/>
                  <a:gd name="connsiteY1097" fmla="*/ 982070 h 1473560"/>
                  <a:gd name="connsiteX1098" fmla="*/ 1628775 w 3574732"/>
                  <a:gd name="connsiteY1098" fmla="*/ 982070 h 1473560"/>
                  <a:gd name="connsiteX1099" fmla="*/ 1634490 w 3574732"/>
                  <a:gd name="connsiteY1099" fmla="*/ 981118 h 1473560"/>
                  <a:gd name="connsiteX1100" fmla="*/ 1644968 w 3574732"/>
                  <a:gd name="connsiteY1100" fmla="*/ 974450 h 1473560"/>
                  <a:gd name="connsiteX1101" fmla="*/ 1657350 w 3574732"/>
                  <a:gd name="connsiteY1101" fmla="*/ 961115 h 1473560"/>
                  <a:gd name="connsiteX1102" fmla="*/ 1660208 w 3574732"/>
                  <a:gd name="connsiteY1102" fmla="*/ 954448 h 1473560"/>
                  <a:gd name="connsiteX1103" fmla="*/ 1660208 w 3574732"/>
                  <a:gd name="connsiteY1103" fmla="*/ 943970 h 1473560"/>
                  <a:gd name="connsiteX1104" fmla="*/ 1663065 w 3574732"/>
                  <a:gd name="connsiteY1104" fmla="*/ 940160 h 1473560"/>
                  <a:gd name="connsiteX1105" fmla="*/ 1670685 w 3574732"/>
                  <a:gd name="connsiteY1105" fmla="*/ 932540 h 1473560"/>
                  <a:gd name="connsiteX1106" fmla="*/ 1676400 w 3574732"/>
                  <a:gd name="connsiteY1106" fmla="*/ 922063 h 1473560"/>
                  <a:gd name="connsiteX1107" fmla="*/ 1676400 w 3574732"/>
                  <a:gd name="connsiteY1107" fmla="*/ 914443 h 1473560"/>
                  <a:gd name="connsiteX1108" fmla="*/ 1676400 w 3574732"/>
                  <a:gd name="connsiteY1108" fmla="*/ 904918 h 1473560"/>
                  <a:gd name="connsiteX1109" fmla="*/ 1686878 w 3574732"/>
                  <a:gd name="connsiteY1109" fmla="*/ 903013 h 1473560"/>
                  <a:gd name="connsiteX1110" fmla="*/ 1710690 w 3574732"/>
                  <a:gd name="connsiteY1110" fmla="*/ 890630 h 1473560"/>
                  <a:gd name="connsiteX1111" fmla="*/ 1712595 w 3574732"/>
                  <a:gd name="connsiteY1111" fmla="*/ 886820 h 1473560"/>
                  <a:gd name="connsiteX1112" fmla="*/ 1727835 w 3574732"/>
                  <a:gd name="connsiteY1112" fmla="*/ 872533 h 1473560"/>
                  <a:gd name="connsiteX1113" fmla="*/ 1744028 w 3574732"/>
                  <a:gd name="connsiteY1113" fmla="*/ 866818 h 1473560"/>
                  <a:gd name="connsiteX1114" fmla="*/ 1751648 w 3574732"/>
                  <a:gd name="connsiteY1114" fmla="*/ 862055 h 1473560"/>
                  <a:gd name="connsiteX1115" fmla="*/ 1778318 w 3574732"/>
                  <a:gd name="connsiteY1115" fmla="*/ 847768 h 1473560"/>
                  <a:gd name="connsiteX1116" fmla="*/ 1804988 w 3574732"/>
                  <a:gd name="connsiteY1116" fmla="*/ 838243 h 1473560"/>
                  <a:gd name="connsiteX1117" fmla="*/ 1817370 w 3574732"/>
                  <a:gd name="connsiteY1117" fmla="*/ 833480 h 1473560"/>
                  <a:gd name="connsiteX1118" fmla="*/ 1838325 w 3574732"/>
                  <a:gd name="connsiteY1118" fmla="*/ 829670 h 1473560"/>
                  <a:gd name="connsiteX1119" fmla="*/ 1855470 w 3574732"/>
                  <a:gd name="connsiteY1119" fmla="*/ 830623 h 1473560"/>
                  <a:gd name="connsiteX1120" fmla="*/ 1865948 w 3574732"/>
                  <a:gd name="connsiteY1120" fmla="*/ 833480 h 1473560"/>
                  <a:gd name="connsiteX1121" fmla="*/ 1877378 w 3574732"/>
                  <a:gd name="connsiteY1121" fmla="*/ 836338 h 1473560"/>
                  <a:gd name="connsiteX1122" fmla="*/ 1888808 w 3574732"/>
                  <a:gd name="connsiteY1122" fmla="*/ 848720 h 1473560"/>
                  <a:gd name="connsiteX1123" fmla="*/ 1898333 w 3574732"/>
                  <a:gd name="connsiteY1123" fmla="*/ 869675 h 1473560"/>
                  <a:gd name="connsiteX1124" fmla="*/ 1899285 w 3574732"/>
                  <a:gd name="connsiteY1124" fmla="*/ 883963 h 1473560"/>
                  <a:gd name="connsiteX1125" fmla="*/ 1899285 w 3574732"/>
                  <a:gd name="connsiteY1125" fmla="*/ 895393 h 1473560"/>
                  <a:gd name="connsiteX1126" fmla="*/ 1913573 w 3574732"/>
                  <a:gd name="connsiteY1126" fmla="*/ 908728 h 1473560"/>
                  <a:gd name="connsiteX1127" fmla="*/ 1929765 w 3574732"/>
                  <a:gd name="connsiteY1127" fmla="*/ 905870 h 1473560"/>
                  <a:gd name="connsiteX1128" fmla="*/ 1932623 w 3574732"/>
                  <a:gd name="connsiteY1128" fmla="*/ 901108 h 1473560"/>
                  <a:gd name="connsiteX1129" fmla="*/ 1943100 w 3574732"/>
                  <a:gd name="connsiteY1129" fmla="*/ 896345 h 1473560"/>
                  <a:gd name="connsiteX1130" fmla="*/ 1957388 w 3574732"/>
                  <a:gd name="connsiteY1130" fmla="*/ 895393 h 1473560"/>
                  <a:gd name="connsiteX1131" fmla="*/ 1965008 w 3574732"/>
                  <a:gd name="connsiteY1131" fmla="*/ 903965 h 1473560"/>
                  <a:gd name="connsiteX1132" fmla="*/ 1979295 w 3574732"/>
                  <a:gd name="connsiteY1132" fmla="*/ 913490 h 1473560"/>
                  <a:gd name="connsiteX1133" fmla="*/ 1979295 w 3574732"/>
                  <a:gd name="connsiteY1133" fmla="*/ 919205 h 1473560"/>
                  <a:gd name="connsiteX1134" fmla="*/ 1976438 w 3574732"/>
                  <a:gd name="connsiteY1134" fmla="*/ 925873 h 1473560"/>
                  <a:gd name="connsiteX1135" fmla="*/ 1976438 w 3574732"/>
                  <a:gd name="connsiteY1135" fmla="*/ 938255 h 1473560"/>
                  <a:gd name="connsiteX1136" fmla="*/ 1980248 w 3574732"/>
                  <a:gd name="connsiteY1136" fmla="*/ 947780 h 1473560"/>
                  <a:gd name="connsiteX1137" fmla="*/ 1980248 w 3574732"/>
                  <a:gd name="connsiteY1137" fmla="*/ 957305 h 1473560"/>
                  <a:gd name="connsiteX1138" fmla="*/ 1980248 w 3574732"/>
                  <a:gd name="connsiteY1138" fmla="*/ 973498 h 1473560"/>
                  <a:gd name="connsiteX1139" fmla="*/ 1973580 w 3574732"/>
                  <a:gd name="connsiteY1139" fmla="*/ 989690 h 1473560"/>
                  <a:gd name="connsiteX1140" fmla="*/ 1982153 w 3574732"/>
                  <a:gd name="connsiteY1140" fmla="*/ 1002073 h 1473560"/>
                  <a:gd name="connsiteX1141" fmla="*/ 1983105 w 3574732"/>
                  <a:gd name="connsiteY1141" fmla="*/ 1005883 h 1473560"/>
                  <a:gd name="connsiteX1142" fmla="*/ 1994535 w 3574732"/>
                  <a:gd name="connsiteY1142" fmla="*/ 1011598 h 1473560"/>
                  <a:gd name="connsiteX1143" fmla="*/ 1994535 w 3574732"/>
                  <a:gd name="connsiteY1143" fmla="*/ 1015408 h 1473560"/>
                  <a:gd name="connsiteX1144" fmla="*/ 1998345 w 3574732"/>
                  <a:gd name="connsiteY1144" fmla="*/ 1022075 h 1473560"/>
                  <a:gd name="connsiteX1145" fmla="*/ 2002155 w 3574732"/>
                  <a:gd name="connsiteY1145" fmla="*/ 1029695 h 1473560"/>
                  <a:gd name="connsiteX1146" fmla="*/ 2008823 w 3574732"/>
                  <a:gd name="connsiteY1146" fmla="*/ 1039220 h 1473560"/>
                  <a:gd name="connsiteX1147" fmla="*/ 2013585 w 3574732"/>
                  <a:gd name="connsiteY1147" fmla="*/ 1044935 h 1473560"/>
                  <a:gd name="connsiteX1148" fmla="*/ 2033588 w 3574732"/>
                  <a:gd name="connsiteY1148" fmla="*/ 1048745 h 1473560"/>
                  <a:gd name="connsiteX1149" fmla="*/ 2038350 w 3574732"/>
                  <a:gd name="connsiteY1149" fmla="*/ 1052555 h 1473560"/>
                  <a:gd name="connsiteX1150" fmla="*/ 2049780 w 3574732"/>
                  <a:gd name="connsiteY1150" fmla="*/ 1057318 h 1473560"/>
                  <a:gd name="connsiteX1151" fmla="*/ 2060258 w 3574732"/>
                  <a:gd name="connsiteY1151" fmla="*/ 1059223 h 1473560"/>
                  <a:gd name="connsiteX1152" fmla="*/ 2068830 w 3574732"/>
                  <a:gd name="connsiteY1152" fmla="*/ 1053508 h 1473560"/>
                  <a:gd name="connsiteX1153" fmla="*/ 2067878 w 3574732"/>
                  <a:gd name="connsiteY1153" fmla="*/ 1048745 h 1473560"/>
                  <a:gd name="connsiteX1154" fmla="*/ 2067878 w 3574732"/>
                  <a:gd name="connsiteY1154" fmla="*/ 1039220 h 1473560"/>
                  <a:gd name="connsiteX1155" fmla="*/ 2064068 w 3574732"/>
                  <a:gd name="connsiteY1155" fmla="*/ 1033505 h 1473560"/>
                  <a:gd name="connsiteX1156" fmla="*/ 2056448 w 3574732"/>
                  <a:gd name="connsiteY1156" fmla="*/ 1028743 h 1473560"/>
                  <a:gd name="connsiteX1157" fmla="*/ 2045018 w 3574732"/>
                  <a:gd name="connsiteY1157" fmla="*/ 1022075 h 1473560"/>
                  <a:gd name="connsiteX1158" fmla="*/ 2027873 w 3574732"/>
                  <a:gd name="connsiteY1158" fmla="*/ 1011598 h 1473560"/>
                  <a:gd name="connsiteX1159" fmla="*/ 2017395 w 3574732"/>
                  <a:gd name="connsiteY1159" fmla="*/ 1003025 h 1473560"/>
                  <a:gd name="connsiteX1160" fmla="*/ 2008823 w 3574732"/>
                  <a:gd name="connsiteY1160" fmla="*/ 990643 h 1473560"/>
                  <a:gd name="connsiteX1161" fmla="*/ 2005013 w 3574732"/>
                  <a:gd name="connsiteY1161" fmla="*/ 982070 h 1473560"/>
                  <a:gd name="connsiteX1162" fmla="*/ 2004060 w 3574732"/>
                  <a:gd name="connsiteY1162" fmla="*/ 970640 h 1473560"/>
                  <a:gd name="connsiteX1163" fmla="*/ 2003108 w 3574732"/>
                  <a:gd name="connsiteY1163" fmla="*/ 962068 h 1473560"/>
                  <a:gd name="connsiteX1164" fmla="*/ 2003108 w 3574732"/>
                  <a:gd name="connsiteY1164" fmla="*/ 950638 h 1473560"/>
                  <a:gd name="connsiteX1165" fmla="*/ 2008823 w 3574732"/>
                  <a:gd name="connsiteY1165" fmla="*/ 941113 h 1473560"/>
                  <a:gd name="connsiteX1166" fmla="*/ 2019300 w 3574732"/>
                  <a:gd name="connsiteY1166" fmla="*/ 941113 h 1473560"/>
                  <a:gd name="connsiteX1167" fmla="*/ 2025015 w 3574732"/>
                  <a:gd name="connsiteY1167" fmla="*/ 943018 h 1473560"/>
                  <a:gd name="connsiteX1168" fmla="*/ 2033588 w 3574732"/>
                  <a:gd name="connsiteY1168" fmla="*/ 949685 h 1473560"/>
                  <a:gd name="connsiteX1169" fmla="*/ 2042160 w 3574732"/>
                  <a:gd name="connsiteY1169" fmla="*/ 950638 h 1473560"/>
                  <a:gd name="connsiteX1170" fmla="*/ 2045970 w 3574732"/>
                  <a:gd name="connsiteY1170" fmla="*/ 954448 h 1473560"/>
                  <a:gd name="connsiteX1171" fmla="*/ 2051685 w 3574732"/>
                  <a:gd name="connsiteY1171" fmla="*/ 960163 h 1473560"/>
                  <a:gd name="connsiteX1172" fmla="*/ 2073593 w 3574732"/>
                  <a:gd name="connsiteY1172" fmla="*/ 968735 h 1473560"/>
                  <a:gd name="connsiteX1173" fmla="*/ 2081213 w 3574732"/>
                  <a:gd name="connsiteY1173" fmla="*/ 973498 h 1473560"/>
                  <a:gd name="connsiteX1174" fmla="*/ 2081213 w 3574732"/>
                  <a:gd name="connsiteY1174" fmla="*/ 980165 h 1473560"/>
                  <a:gd name="connsiteX1175" fmla="*/ 2097405 w 3574732"/>
                  <a:gd name="connsiteY1175" fmla="*/ 985880 h 1473560"/>
                  <a:gd name="connsiteX1176" fmla="*/ 2123123 w 3574732"/>
                  <a:gd name="connsiteY1176" fmla="*/ 968735 h 1473560"/>
                  <a:gd name="connsiteX1177" fmla="*/ 2139315 w 3574732"/>
                  <a:gd name="connsiteY1177" fmla="*/ 960163 h 1473560"/>
                  <a:gd name="connsiteX1178" fmla="*/ 2154555 w 3574732"/>
                  <a:gd name="connsiteY1178" fmla="*/ 956353 h 1473560"/>
                  <a:gd name="connsiteX1179" fmla="*/ 2156460 w 3574732"/>
                  <a:gd name="connsiteY1179" fmla="*/ 948733 h 1473560"/>
                  <a:gd name="connsiteX1180" fmla="*/ 2159318 w 3574732"/>
                  <a:gd name="connsiteY1180" fmla="*/ 939208 h 1473560"/>
                  <a:gd name="connsiteX1181" fmla="*/ 2161223 w 3574732"/>
                  <a:gd name="connsiteY1181" fmla="*/ 935398 h 1473560"/>
                  <a:gd name="connsiteX1182" fmla="*/ 2161223 w 3574732"/>
                  <a:gd name="connsiteY1182" fmla="*/ 921110 h 1473560"/>
                  <a:gd name="connsiteX1183" fmla="*/ 2161223 w 3574732"/>
                  <a:gd name="connsiteY1183" fmla="*/ 912538 h 1473560"/>
                  <a:gd name="connsiteX1184" fmla="*/ 2149793 w 3574732"/>
                  <a:gd name="connsiteY1184" fmla="*/ 905870 h 1473560"/>
                  <a:gd name="connsiteX1185" fmla="*/ 2149793 w 3574732"/>
                  <a:gd name="connsiteY1185" fmla="*/ 899203 h 1473560"/>
                  <a:gd name="connsiteX1186" fmla="*/ 2144078 w 3574732"/>
                  <a:gd name="connsiteY1186" fmla="*/ 893488 h 1473560"/>
                  <a:gd name="connsiteX1187" fmla="*/ 2138363 w 3574732"/>
                  <a:gd name="connsiteY1187" fmla="*/ 889678 h 1473560"/>
                  <a:gd name="connsiteX1188" fmla="*/ 2127885 w 3574732"/>
                  <a:gd name="connsiteY1188" fmla="*/ 881105 h 1473560"/>
                  <a:gd name="connsiteX1189" fmla="*/ 2111693 w 3574732"/>
                  <a:gd name="connsiteY1189" fmla="*/ 868723 h 1473560"/>
                  <a:gd name="connsiteX1190" fmla="*/ 2122170 w 3574732"/>
                  <a:gd name="connsiteY1190" fmla="*/ 853483 h 1473560"/>
                  <a:gd name="connsiteX1191" fmla="*/ 2130743 w 3574732"/>
                  <a:gd name="connsiteY1191" fmla="*/ 852530 h 1473560"/>
                  <a:gd name="connsiteX1192" fmla="*/ 2145030 w 3574732"/>
                  <a:gd name="connsiteY1192" fmla="*/ 850625 h 1473560"/>
                  <a:gd name="connsiteX1193" fmla="*/ 2152650 w 3574732"/>
                  <a:gd name="connsiteY1193" fmla="*/ 844910 h 1473560"/>
                  <a:gd name="connsiteX1194" fmla="*/ 2158365 w 3574732"/>
                  <a:gd name="connsiteY1194" fmla="*/ 843005 h 1473560"/>
                  <a:gd name="connsiteX1195" fmla="*/ 2165985 w 3574732"/>
                  <a:gd name="connsiteY1195" fmla="*/ 841100 h 1473560"/>
                  <a:gd name="connsiteX1196" fmla="*/ 2171700 w 3574732"/>
                  <a:gd name="connsiteY1196" fmla="*/ 844910 h 1473560"/>
                  <a:gd name="connsiteX1197" fmla="*/ 2180273 w 3574732"/>
                  <a:gd name="connsiteY1197" fmla="*/ 851578 h 1473560"/>
                  <a:gd name="connsiteX1198" fmla="*/ 2190750 w 3574732"/>
                  <a:gd name="connsiteY1198" fmla="*/ 850625 h 1473560"/>
                  <a:gd name="connsiteX1199" fmla="*/ 2199323 w 3574732"/>
                  <a:gd name="connsiteY1199" fmla="*/ 845863 h 1473560"/>
                  <a:gd name="connsiteX1200" fmla="*/ 2206943 w 3574732"/>
                  <a:gd name="connsiteY1200" fmla="*/ 839195 h 1473560"/>
                  <a:gd name="connsiteX1201" fmla="*/ 2223135 w 3574732"/>
                  <a:gd name="connsiteY1201" fmla="*/ 834433 h 1473560"/>
                  <a:gd name="connsiteX1202" fmla="*/ 2228850 w 3574732"/>
                  <a:gd name="connsiteY1202" fmla="*/ 833480 h 1473560"/>
                  <a:gd name="connsiteX1203" fmla="*/ 2236470 w 3574732"/>
                  <a:gd name="connsiteY1203" fmla="*/ 830623 h 1473560"/>
                  <a:gd name="connsiteX1204" fmla="*/ 2247900 w 3574732"/>
                  <a:gd name="connsiteY1204" fmla="*/ 825860 h 1473560"/>
                  <a:gd name="connsiteX1205" fmla="*/ 2255520 w 3574732"/>
                  <a:gd name="connsiteY1205" fmla="*/ 824908 h 1473560"/>
                  <a:gd name="connsiteX1206" fmla="*/ 2274570 w 3574732"/>
                  <a:gd name="connsiteY1206" fmla="*/ 823955 h 1473560"/>
                  <a:gd name="connsiteX1207" fmla="*/ 2286000 w 3574732"/>
                  <a:gd name="connsiteY1207" fmla="*/ 821098 h 1473560"/>
                  <a:gd name="connsiteX1208" fmla="*/ 2293620 w 3574732"/>
                  <a:gd name="connsiteY1208" fmla="*/ 815383 h 1473560"/>
                  <a:gd name="connsiteX1209" fmla="*/ 2293620 w 3574732"/>
                  <a:gd name="connsiteY1209" fmla="*/ 812525 h 1473560"/>
                  <a:gd name="connsiteX1210" fmla="*/ 2309813 w 3574732"/>
                  <a:gd name="connsiteY1210" fmla="*/ 802048 h 1473560"/>
                  <a:gd name="connsiteX1211" fmla="*/ 2318385 w 3574732"/>
                  <a:gd name="connsiteY1211" fmla="*/ 796333 h 1473560"/>
                  <a:gd name="connsiteX1212" fmla="*/ 2333625 w 3574732"/>
                  <a:gd name="connsiteY1212" fmla="*/ 785855 h 1473560"/>
                  <a:gd name="connsiteX1213" fmla="*/ 2348865 w 3574732"/>
                  <a:gd name="connsiteY1213" fmla="*/ 773473 h 1473560"/>
                  <a:gd name="connsiteX1214" fmla="*/ 2362200 w 3574732"/>
                  <a:gd name="connsiteY1214" fmla="*/ 766805 h 1473560"/>
                  <a:gd name="connsiteX1215" fmla="*/ 2366963 w 3574732"/>
                  <a:gd name="connsiteY1215" fmla="*/ 758233 h 1473560"/>
                  <a:gd name="connsiteX1216" fmla="*/ 2366963 w 3574732"/>
                  <a:gd name="connsiteY1216" fmla="*/ 751565 h 1473560"/>
                  <a:gd name="connsiteX1217" fmla="*/ 2368868 w 3574732"/>
                  <a:gd name="connsiteY1217" fmla="*/ 728705 h 1473560"/>
                  <a:gd name="connsiteX1218" fmla="*/ 2374583 w 3574732"/>
                  <a:gd name="connsiteY1218" fmla="*/ 718228 h 1473560"/>
                  <a:gd name="connsiteX1219" fmla="*/ 2374583 w 3574732"/>
                  <a:gd name="connsiteY1219" fmla="*/ 712513 h 1473560"/>
                  <a:gd name="connsiteX1220" fmla="*/ 2367915 w 3574732"/>
                  <a:gd name="connsiteY1220" fmla="*/ 697273 h 1473560"/>
                  <a:gd name="connsiteX1221" fmla="*/ 2366963 w 3574732"/>
                  <a:gd name="connsiteY1221" fmla="*/ 690605 h 1473560"/>
                  <a:gd name="connsiteX1222" fmla="*/ 2366010 w 3574732"/>
                  <a:gd name="connsiteY1222" fmla="*/ 684890 h 1473560"/>
                  <a:gd name="connsiteX1223" fmla="*/ 2358390 w 3574732"/>
                  <a:gd name="connsiteY1223" fmla="*/ 682985 h 1473560"/>
                  <a:gd name="connsiteX1224" fmla="*/ 2353628 w 3574732"/>
                  <a:gd name="connsiteY1224" fmla="*/ 682033 h 1473560"/>
                  <a:gd name="connsiteX1225" fmla="*/ 2336483 w 3574732"/>
                  <a:gd name="connsiteY1225" fmla="*/ 673460 h 1473560"/>
                  <a:gd name="connsiteX1226" fmla="*/ 2355533 w 3574732"/>
                  <a:gd name="connsiteY1226" fmla="*/ 669650 h 1473560"/>
                  <a:gd name="connsiteX1227" fmla="*/ 2357438 w 3574732"/>
                  <a:gd name="connsiteY1227" fmla="*/ 662983 h 1473560"/>
                  <a:gd name="connsiteX1228" fmla="*/ 2367915 w 3574732"/>
                  <a:gd name="connsiteY1228" fmla="*/ 661078 h 1473560"/>
                  <a:gd name="connsiteX1229" fmla="*/ 2391728 w 3574732"/>
                  <a:gd name="connsiteY1229" fmla="*/ 658220 h 1473560"/>
                  <a:gd name="connsiteX1230" fmla="*/ 2391728 w 3574732"/>
                  <a:gd name="connsiteY1230" fmla="*/ 655363 h 1473560"/>
                  <a:gd name="connsiteX1231" fmla="*/ 2390775 w 3574732"/>
                  <a:gd name="connsiteY1231" fmla="*/ 642028 h 1473560"/>
                  <a:gd name="connsiteX1232" fmla="*/ 2387918 w 3574732"/>
                  <a:gd name="connsiteY1232" fmla="*/ 638218 h 1473560"/>
                  <a:gd name="connsiteX1233" fmla="*/ 2374583 w 3574732"/>
                  <a:gd name="connsiteY1233" fmla="*/ 636313 h 1473560"/>
                  <a:gd name="connsiteX1234" fmla="*/ 2361248 w 3574732"/>
                  <a:gd name="connsiteY1234" fmla="*/ 635360 h 1473560"/>
                  <a:gd name="connsiteX1235" fmla="*/ 2350770 w 3574732"/>
                  <a:gd name="connsiteY1235" fmla="*/ 635360 h 1473560"/>
                  <a:gd name="connsiteX1236" fmla="*/ 2328863 w 3574732"/>
                  <a:gd name="connsiteY1236" fmla="*/ 635360 h 1473560"/>
                  <a:gd name="connsiteX1237" fmla="*/ 2315528 w 3574732"/>
                  <a:gd name="connsiteY1237" fmla="*/ 632503 h 1473560"/>
                  <a:gd name="connsiteX1238" fmla="*/ 2314575 w 3574732"/>
                  <a:gd name="connsiteY1238" fmla="*/ 630598 h 1473560"/>
                  <a:gd name="connsiteX1239" fmla="*/ 2311718 w 3574732"/>
                  <a:gd name="connsiteY1239" fmla="*/ 622025 h 1473560"/>
                  <a:gd name="connsiteX1240" fmla="*/ 2330768 w 3574732"/>
                  <a:gd name="connsiteY1240" fmla="*/ 621073 h 1473560"/>
                  <a:gd name="connsiteX1241" fmla="*/ 2338388 w 3574732"/>
                  <a:gd name="connsiteY1241" fmla="*/ 620120 h 1473560"/>
                  <a:gd name="connsiteX1242" fmla="*/ 2351723 w 3574732"/>
                  <a:gd name="connsiteY1242" fmla="*/ 617263 h 1473560"/>
                  <a:gd name="connsiteX1243" fmla="*/ 2354580 w 3574732"/>
                  <a:gd name="connsiteY1243" fmla="*/ 613453 h 1473560"/>
                  <a:gd name="connsiteX1244" fmla="*/ 2366010 w 3574732"/>
                  <a:gd name="connsiteY1244" fmla="*/ 608690 h 1473560"/>
                  <a:gd name="connsiteX1245" fmla="*/ 2376488 w 3574732"/>
                  <a:gd name="connsiteY1245" fmla="*/ 611548 h 1473560"/>
                  <a:gd name="connsiteX1246" fmla="*/ 2380298 w 3574732"/>
                  <a:gd name="connsiteY1246" fmla="*/ 617263 h 1473560"/>
                  <a:gd name="connsiteX1247" fmla="*/ 2391728 w 3574732"/>
                  <a:gd name="connsiteY1247" fmla="*/ 617263 h 1473560"/>
                  <a:gd name="connsiteX1248" fmla="*/ 2406968 w 3574732"/>
                  <a:gd name="connsiteY1248" fmla="*/ 613453 h 1473560"/>
                  <a:gd name="connsiteX1249" fmla="*/ 2427923 w 3574732"/>
                  <a:gd name="connsiteY1249" fmla="*/ 616310 h 1473560"/>
                  <a:gd name="connsiteX1250" fmla="*/ 2436495 w 3574732"/>
                  <a:gd name="connsiteY1250" fmla="*/ 624883 h 1473560"/>
                  <a:gd name="connsiteX1251" fmla="*/ 2445068 w 3574732"/>
                  <a:gd name="connsiteY1251" fmla="*/ 632503 h 1473560"/>
                  <a:gd name="connsiteX1252" fmla="*/ 2448878 w 3574732"/>
                  <a:gd name="connsiteY1252" fmla="*/ 640123 h 1473560"/>
                  <a:gd name="connsiteX1253" fmla="*/ 2457450 w 3574732"/>
                  <a:gd name="connsiteY1253" fmla="*/ 643933 h 1473560"/>
                  <a:gd name="connsiteX1254" fmla="*/ 2457450 w 3574732"/>
                  <a:gd name="connsiteY1254" fmla="*/ 651553 h 1473560"/>
                  <a:gd name="connsiteX1255" fmla="*/ 2455545 w 3574732"/>
                  <a:gd name="connsiteY1255" fmla="*/ 662030 h 1473560"/>
                  <a:gd name="connsiteX1256" fmla="*/ 2458403 w 3574732"/>
                  <a:gd name="connsiteY1256" fmla="*/ 669650 h 1473560"/>
                  <a:gd name="connsiteX1257" fmla="*/ 2459355 w 3574732"/>
                  <a:gd name="connsiteY1257" fmla="*/ 673460 h 1473560"/>
                  <a:gd name="connsiteX1258" fmla="*/ 2472690 w 3574732"/>
                  <a:gd name="connsiteY1258" fmla="*/ 676318 h 1473560"/>
                  <a:gd name="connsiteX1259" fmla="*/ 2486978 w 3574732"/>
                  <a:gd name="connsiteY1259" fmla="*/ 677270 h 1473560"/>
                  <a:gd name="connsiteX1260" fmla="*/ 2497455 w 3574732"/>
                  <a:gd name="connsiteY1260" fmla="*/ 677270 h 1473560"/>
                  <a:gd name="connsiteX1261" fmla="*/ 2507933 w 3574732"/>
                  <a:gd name="connsiteY1261" fmla="*/ 675365 h 1473560"/>
                  <a:gd name="connsiteX1262" fmla="*/ 2518410 w 3574732"/>
                  <a:gd name="connsiteY1262" fmla="*/ 670603 h 1473560"/>
                  <a:gd name="connsiteX1263" fmla="*/ 2521268 w 3574732"/>
                  <a:gd name="connsiteY1263" fmla="*/ 656315 h 1473560"/>
                  <a:gd name="connsiteX1264" fmla="*/ 2517458 w 3574732"/>
                  <a:gd name="connsiteY1264" fmla="*/ 649648 h 1473560"/>
                  <a:gd name="connsiteX1265" fmla="*/ 2508885 w 3574732"/>
                  <a:gd name="connsiteY1265" fmla="*/ 642028 h 1473560"/>
                  <a:gd name="connsiteX1266" fmla="*/ 2505075 w 3574732"/>
                  <a:gd name="connsiteY1266" fmla="*/ 630598 h 1473560"/>
                  <a:gd name="connsiteX1267" fmla="*/ 2502218 w 3574732"/>
                  <a:gd name="connsiteY1267" fmla="*/ 619168 h 1473560"/>
                  <a:gd name="connsiteX1268" fmla="*/ 2515553 w 3574732"/>
                  <a:gd name="connsiteY1268" fmla="*/ 603928 h 1473560"/>
                  <a:gd name="connsiteX1269" fmla="*/ 2517458 w 3574732"/>
                  <a:gd name="connsiteY1269" fmla="*/ 601070 h 1473560"/>
                  <a:gd name="connsiteX1270" fmla="*/ 2525078 w 3574732"/>
                  <a:gd name="connsiteY1270" fmla="*/ 587735 h 1473560"/>
                  <a:gd name="connsiteX1271" fmla="*/ 2527935 w 3574732"/>
                  <a:gd name="connsiteY1271" fmla="*/ 582973 h 1473560"/>
                  <a:gd name="connsiteX1272" fmla="*/ 2549843 w 3574732"/>
                  <a:gd name="connsiteY1272" fmla="*/ 581068 h 1473560"/>
                  <a:gd name="connsiteX1273" fmla="*/ 2579370 w 3574732"/>
                  <a:gd name="connsiteY1273" fmla="*/ 571543 h 1473560"/>
                  <a:gd name="connsiteX1274" fmla="*/ 2589848 w 3574732"/>
                  <a:gd name="connsiteY1274" fmla="*/ 568685 h 1473560"/>
                  <a:gd name="connsiteX1275" fmla="*/ 2611755 w 3574732"/>
                  <a:gd name="connsiteY1275" fmla="*/ 558208 h 1473560"/>
                  <a:gd name="connsiteX1276" fmla="*/ 2624138 w 3574732"/>
                  <a:gd name="connsiteY1276" fmla="*/ 547730 h 1473560"/>
                  <a:gd name="connsiteX1277" fmla="*/ 2648903 w 3574732"/>
                  <a:gd name="connsiteY1277" fmla="*/ 539158 h 1473560"/>
                  <a:gd name="connsiteX1278" fmla="*/ 2653665 w 3574732"/>
                  <a:gd name="connsiteY1278" fmla="*/ 528680 h 1473560"/>
                  <a:gd name="connsiteX1279" fmla="*/ 2662238 w 3574732"/>
                  <a:gd name="connsiteY1279" fmla="*/ 521060 h 1473560"/>
                  <a:gd name="connsiteX1280" fmla="*/ 2684145 w 3574732"/>
                  <a:gd name="connsiteY1280" fmla="*/ 512488 h 1473560"/>
                  <a:gd name="connsiteX1281" fmla="*/ 2694623 w 3574732"/>
                  <a:gd name="connsiteY1281" fmla="*/ 502010 h 1473560"/>
                  <a:gd name="connsiteX1282" fmla="*/ 2696528 w 3574732"/>
                  <a:gd name="connsiteY1282" fmla="*/ 487723 h 1473560"/>
                  <a:gd name="connsiteX1283" fmla="*/ 2695575 w 3574732"/>
                  <a:gd name="connsiteY1283" fmla="*/ 478198 h 1473560"/>
                  <a:gd name="connsiteX1284" fmla="*/ 2694623 w 3574732"/>
                  <a:gd name="connsiteY1284" fmla="*/ 472483 h 1473560"/>
                  <a:gd name="connsiteX1285" fmla="*/ 2707005 w 3574732"/>
                  <a:gd name="connsiteY1285" fmla="*/ 460100 h 1473560"/>
                  <a:gd name="connsiteX1286" fmla="*/ 2707005 w 3574732"/>
                  <a:gd name="connsiteY1286" fmla="*/ 453433 h 1473560"/>
                  <a:gd name="connsiteX1287" fmla="*/ 2707005 w 3574732"/>
                  <a:gd name="connsiteY1287" fmla="*/ 439145 h 1473560"/>
                  <a:gd name="connsiteX1288" fmla="*/ 2711768 w 3574732"/>
                  <a:gd name="connsiteY1288" fmla="*/ 428668 h 1473560"/>
                  <a:gd name="connsiteX1289" fmla="*/ 2711768 w 3574732"/>
                  <a:gd name="connsiteY1289" fmla="*/ 416285 h 1473560"/>
                  <a:gd name="connsiteX1290" fmla="*/ 2701290 w 3574732"/>
                  <a:gd name="connsiteY1290" fmla="*/ 412475 h 1473560"/>
                  <a:gd name="connsiteX1291" fmla="*/ 2689860 w 3574732"/>
                  <a:gd name="connsiteY1291" fmla="*/ 413428 h 1473560"/>
                  <a:gd name="connsiteX1292" fmla="*/ 2673668 w 3574732"/>
                  <a:gd name="connsiteY1292" fmla="*/ 416285 h 1473560"/>
                  <a:gd name="connsiteX1293" fmla="*/ 2660333 w 3574732"/>
                  <a:gd name="connsiteY1293" fmla="*/ 412475 h 1473560"/>
                  <a:gd name="connsiteX1294" fmla="*/ 2653665 w 3574732"/>
                  <a:gd name="connsiteY1294" fmla="*/ 401998 h 1473560"/>
                  <a:gd name="connsiteX1295" fmla="*/ 2647950 w 3574732"/>
                  <a:gd name="connsiteY1295" fmla="*/ 401998 h 1473560"/>
                  <a:gd name="connsiteX1296" fmla="*/ 2634615 w 3574732"/>
                  <a:gd name="connsiteY1296" fmla="*/ 400093 h 1473560"/>
                  <a:gd name="connsiteX1297" fmla="*/ 2629853 w 3574732"/>
                  <a:gd name="connsiteY1297" fmla="*/ 396283 h 1473560"/>
                  <a:gd name="connsiteX1298" fmla="*/ 2629853 w 3574732"/>
                  <a:gd name="connsiteY1298" fmla="*/ 393425 h 1473560"/>
                  <a:gd name="connsiteX1299" fmla="*/ 2632710 w 3574732"/>
                  <a:gd name="connsiteY1299" fmla="*/ 383900 h 1473560"/>
                  <a:gd name="connsiteX1300" fmla="*/ 2676525 w 3574732"/>
                  <a:gd name="connsiteY1300" fmla="*/ 375328 h 1473560"/>
                  <a:gd name="connsiteX1301" fmla="*/ 2681288 w 3574732"/>
                  <a:gd name="connsiteY1301" fmla="*/ 368660 h 1473560"/>
                  <a:gd name="connsiteX1302" fmla="*/ 2697480 w 3574732"/>
                  <a:gd name="connsiteY1302" fmla="*/ 356278 h 1473560"/>
                  <a:gd name="connsiteX1303" fmla="*/ 2716530 w 3574732"/>
                  <a:gd name="connsiteY1303" fmla="*/ 344848 h 1473560"/>
                  <a:gd name="connsiteX1304" fmla="*/ 2734628 w 3574732"/>
                  <a:gd name="connsiteY1304" fmla="*/ 334370 h 1473560"/>
                  <a:gd name="connsiteX1305" fmla="*/ 2745105 w 3574732"/>
                  <a:gd name="connsiteY1305" fmla="*/ 330560 h 1473560"/>
                  <a:gd name="connsiteX1306" fmla="*/ 2777490 w 3574732"/>
                  <a:gd name="connsiteY1306" fmla="*/ 328655 h 1473560"/>
                  <a:gd name="connsiteX1307" fmla="*/ 2785110 w 3574732"/>
                  <a:gd name="connsiteY1307" fmla="*/ 327703 h 1473560"/>
                  <a:gd name="connsiteX1308" fmla="*/ 2798445 w 3574732"/>
                  <a:gd name="connsiteY1308" fmla="*/ 327703 h 1473560"/>
                  <a:gd name="connsiteX1309" fmla="*/ 2814638 w 3574732"/>
                  <a:gd name="connsiteY1309" fmla="*/ 330560 h 1473560"/>
                  <a:gd name="connsiteX1310" fmla="*/ 2841308 w 3574732"/>
                  <a:gd name="connsiteY1310" fmla="*/ 331513 h 1473560"/>
                  <a:gd name="connsiteX1311" fmla="*/ 2855595 w 3574732"/>
                  <a:gd name="connsiteY1311" fmla="*/ 328655 h 1473560"/>
                  <a:gd name="connsiteX1312" fmla="*/ 2869883 w 3574732"/>
                  <a:gd name="connsiteY1312" fmla="*/ 324845 h 1473560"/>
                  <a:gd name="connsiteX1313" fmla="*/ 2877503 w 3574732"/>
                  <a:gd name="connsiteY1313" fmla="*/ 324845 h 1473560"/>
                  <a:gd name="connsiteX1314" fmla="*/ 2909888 w 3574732"/>
                  <a:gd name="connsiteY1314" fmla="*/ 331513 h 1473560"/>
                  <a:gd name="connsiteX1315" fmla="*/ 2924175 w 3574732"/>
                  <a:gd name="connsiteY1315" fmla="*/ 339133 h 1473560"/>
                  <a:gd name="connsiteX1316" fmla="*/ 2934653 w 3574732"/>
                  <a:gd name="connsiteY1316" fmla="*/ 341038 h 1473560"/>
                  <a:gd name="connsiteX1317" fmla="*/ 2943225 w 3574732"/>
                  <a:gd name="connsiteY1317" fmla="*/ 339133 h 1473560"/>
                  <a:gd name="connsiteX1318" fmla="*/ 2956560 w 3574732"/>
                  <a:gd name="connsiteY1318" fmla="*/ 324845 h 1473560"/>
                  <a:gd name="connsiteX1319" fmla="*/ 2958465 w 3574732"/>
                  <a:gd name="connsiteY1319" fmla="*/ 320083 h 1473560"/>
                  <a:gd name="connsiteX1320" fmla="*/ 2966085 w 3574732"/>
                  <a:gd name="connsiteY1320" fmla="*/ 311510 h 1473560"/>
                  <a:gd name="connsiteX1321" fmla="*/ 2971800 w 3574732"/>
                  <a:gd name="connsiteY1321" fmla="*/ 306748 h 1473560"/>
                  <a:gd name="connsiteX1322" fmla="*/ 2979420 w 3574732"/>
                  <a:gd name="connsiteY1322" fmla="*/ 303890 h 1473560"/>
                  <a:gd name="connsiteX1323" fmla="*/ 2987040 w 3574732"/>
                  <a:gd name="connsiteY1323" fmla="*/ 300080 h 1473560"/>
                  <a:gd name="connsiteX1324" fmla="*/ 2995613 w 3574732"/>
                  <a:gd name="connsiteY1324" fmla="*/ 295318 h 1473560"/>
                  <a:gd name="connsiteX1325" fmla="*/ 3006090 w 3574732"/>
                  <a:gd name="connsiteY1325" fmla="*/ 291508 h 1473560"/>
                  <a:gd name="connsiteX1326" fmla="*/ 3036570 w 3574732"/>
                  <a:gd name="connsiteY1326" fmla="*/ 291508 h 1473560"/>
                  <a:gd name="connsiteX1327" fmla="*/ 3044190 w 3574732"/>
                  <a:gd name="connsiteY1327" fmla="*/ 299128 h 1473560"/>
                  <a:gd name="connsiteX1328" fmla="*/ 3051810 w 3574732"/>
                  <a:gd name="connsiteY1328" fmla="*/ 301985 h 1473560"/>
                  <a:gd name="connsiteX1329" fmla="*/ 3062288 w 3574732"/>
                  <a:gd name="connsiteY1329" fmla="*/ 300080 h 1473560"/>
                  <a:gd name="connsiteX1330" fmla="*/ 3075623 w 3574732"/>
                  <a:gd name="connsiteY1330" fmla="*/ 293413 h 1473560"/>
                  <a:gd name="connsiteX1331" fmla="*/ 3087053 w 3574732"/>
                  <a:gd name="connsiteY1331" fmla="*/ 289603 h 1473560"/>
                  <a:gd name="connsiteX1332" fmla="*/ 3097530 w 3574732"/>
                  <a:gd name="connsiteY1332" fmla="*/ 284840 h 1473560"/>
                  <a:gd name="connsiteX1333" fmla="*/ 3105150 w 3574732"/>
                  <a:gd name="connsiteY1333" fmla="*/ 283888 h 1473560"/>
                  <a:gd name="connsiteX1334" fmla="*/ 3113723 w 3574732"/>
                  <a:gd name="connsiteY1334" fmla="*/ 287698 h 1473560"/>
                  <a:gd name="connsiteX1335" fmla="*/ 3100388 w 3574732"/>
                  <a:gd name="connsiteY1335" fmla="*/ 297223 h 1473560"/>
                  <a:gd name="connsiteX1336" fmla="*/ 3089910 w 3574732"/>
                  <a:gd name="connsiteY1336" fmla="*/ 302938 h 1473560"/>
                  <a:gd name="connsiteX1337" fmla="*/ 3071813 w 3574732"/>
                  <a:gd name="connsiteY1337" fmla="*/ 311510 h 1473560"/>
                  <a:gd name="connsiteX1338" fmla="*/ 3061335 w 3574732"/>
                  <a:gd name="connsiteY1338" fmla="*/ 317225 h 1473560"/>
                  <a:gd name="connsiteX1339" fmla="*/ 3052763 w 3574732"/>
                  <a:gd name="connsiteY1339" fmla="*/ 321988 h 1473560"/>
                  <a:gd name="connsiteX1340" fmla="*/ 3044190 w 3574732"/>
                  <a:gd name="connsiteY1340" fmla="*/ 328655 h 1473560"/>
                  <a:gd name="connsiteX1341" fmla="*/ 3030855 w 3574732"/>
                  <a:gd name="connsiteY1341" fmla="*/ 337228 h 1473560"/>
                  <a:gd name="connsiteX1342" fmla="*/ 3015615 w 3574732"/>
                  <a:gd name="connsiteY1342" fmla="*/ 341990 h 1473560"/>
                  <a:gd name="connsiteX1343" fmla="*/ 2994660 w 3574732"/>
                  <a:gd name="connsiteY1343" fmla="*/ 351515 h 1473560"/>
                  <a:gd name="connsiteX1344" fmla="*/ 2982278 w 3574732"/>
                  <a:gd name="connsiteY1344" fmla="*/ 364850 h 1473560"/>
                  <a:gd name="connsiteX1345" fmla="*/ 2979420 w 3574732"/>
                  <a:gd name="connsiteY1345" fmla="*/ 368660 h 1473560"/>
                  <a:gd name="connsiteX1346" fmla="*/ 2967038 w 3574732"/>
                  <a:gd name="connsiteY1346" fmla="*/ 379138 h 1473560"/>
                  <a:gd name="connsiteX1347" fmla="*/ 2972753 w 3574732"/>
                  <a:gd name="connsiteY1347" fmla="*/ 387710 h 1473560"/>
                  <a:gd name="connsiteX1348" fmla="*/ 2968943 w 3574732"/>
                  <a:gd name="connsiteY1348" fmla="*/ 408665 h 1473560"/>
                  <a:gd name="connsiteX1349" fmla="*/ 2968943 w 3574732"/>
                  <a:gd name="connsiteY1349" fmla="*/ 418190 h 1473560"/>
                  <a:gd name="connsiteX1350" fmla="*/ 2968943 w 3574732"/>
                  <a:gd name="connsiteY1350" fmla="*/ 427715 h 1473560"/>
                  <a:gd name="connsiteX1351" fmla="*/ 2968943 w 3574732"/>
                  <a:gd name="connsiteY1351" fmla="*/ 434383 h 1473560"/>
                  <a:gd name="connsiteX1352" fmla="*/ 2979420 w 3574732"/>
                  <a:gd name="connsiteY1352" fmla="*/ 440098 h 1473560"/>
                  <a:gd name="connsiteX1353" fmla="*/ 2989898 w 3574732"/>
                  <a:gd name="connsiteY1353" fmla="*/ 449623 h 1473560"/>
                  <a:gd name="connsiteX1354" fmla="*/ 2990850 w 3574732"/>
                  <a:gd name="connsiteY1354" fmla="*/ 455338 h 1473560"/>
                  <a:gd name="connsiteX1355" fmla="*/ 3007043 w 3574732"/>
                  <a:gd name="connsiteY1355" fmla="*/ 457243 h 1473560"/>
                  <a:gd name="connsiteX1356" fmla="*/ 3017520 w 3574732"/>
                  <a:gd name="connsiteY1356" fmla="*/ 448670 h 1473560"/>
                  <a:gd name="connsiteX1357" fmla="*/ 3020378 w 3574732"/>
                  <a:gd name="connsiteY1357" fmla="*/ 441050 h 1473560"/>
                  <a:gd name="connsiteX1358" fmla="*/ 3027998 w 3574732"/>
                  <a:gd name="connsiteY1358" fmla="*/ 435335 h 1473560"/>
                  <a:gd name="connsiteX1359" fmla="*/ 3038475 w 3574732"/>
                  <a:gd name="connsiteY1359" fmla="*/ 428668 h 1473560"/>
                  <a:gd name="connsiteX1360" fmla="*/ 3037523 w 3574732"/>
                  <a:gd name="connsiteY1360" fmla="*/ 425810 h 1473560"/>
                  <a:gd name="connsiteX1361" fmla="*/ 3047048 w 3574732"/>
                  <a:gd name="connsiteY1361" fmla="*/ 416285 h 1473560"/>
                  <a:gd name="connsiteX1362" fmla="*/ 3054668 w 3574732"/>
                  <a:gd name="connsiteY1362" fmla="*/ 413428 h 1473560"/>
                  <a:gd name="connsiteX1363" fmla="*/ 3072765 w 3574732"/>
                  <a:gd name="connsiteY1363" fmla="*/ 403903 h 1473560"/>
                  <a:gd name="connsiteX1364" fmla="*/ 3083243 w 3574732"/>
                  <a:gd name="connsiteY1364" fmla="*/ 397235 h 1473560"/>
                  <a:gd name="connsiteX1365" fmla="*/ 3077528 w 3574732"/>
                  <a:gd name="connsiteY1365" fmla="*/ 386758 h 1473560"/>
                  <a:gd name="connsiteX1366" fmla="*/ 3080385 w 3574732"/>
                  <a:gd name="connsiteY1366" fmla="*/ 383900 h 1473560"/>
                  <a:gd name="connsiteX1367" fmla="*/ 3080385 w 3574732"/>
                  <a:gd name="connsiteY1367" fmla="*/ 381043 h 1473560"/>
                  <a:gd name="connsiteX1368" fmla="*/ 3085148 w 3574732"/>
                  <a:gd name="connsiteY1368" fmla="*/ 377233 h 1473560"/>
                  <a:gd name="connsiteX1369" fmla="*/ 3092768 w 3574732"/>
                  <a:gd name="connsiteY1369" fmla="*/ 370565 h 1473560"/>
                  <a:gd name="connsiteX1370" fmla="*/ 3089910 w 3574732"/>
                  <a:gd name="connsiteY1370" fmla="*/ 357230 h 1473560"/>
                  <a:gd name="connsiteX1371" fmla="*/ 3097530 w 3574732"/>
                  <a:gd name="connsiteY1371" fmla="*/ 375328 h 1473560"/>
                  <a:gd name="connsiteX1372" fmla="*/ 3097530 w 3574732"/>
                  <a:gd name="connsiteY1372" fmla="*/ 371518 h 1473560"/>
                  <a:gd name="connsiteX1373" fmla="*/ 3110865 w 3574732"/>
                  <a:gd name="connsiteY1373" fmla="*/ 366755 h 1473560"/>
                  <a:gd name="connsiteX1374" fmla="*/ 3116580 w 3574732"/>
                  <a:gd name="connsiteY1374" fmla="*/ 351515 h 1473560"/>
                  <a:gd name="connsiteX1375" fmla="*/ 3148013 w 3574732"/>
                  <a:gd name="connsiteY1375" fmla="*/ 343895 h 1473560"/>
                  <a:gd name="connsiteX1376" fmla="*/ 3166110 w 3574732"/>
                  <a:gd name="connsiteY1376" fmla="*/ 342943 h 1473560"/>
                  <a:gd name="connsiteX1377" fmla="*/ 3183255 w 3574732"/>
                  <a:gd name="connsiteY1377" fmla="*/ 343895 h 1473560"/>
                  <a:gd name="connsiteX1378" fmla="*/ 3253740 w 3574732"/>
                  <a:gd name="connsiteY1378" fmla="*/ 336275 h 1473560"/>
                  <a:gd name="connsiteX1379" fmla="*/ 3258503 w 3574732"/>
                  <a:gd name="connsiteY1379" fmla="*/ 332465 h 1473560"/>
                  <a:gd name="connsiteX1380" fmla="*/ 3274695 w 3574732"/>
                  <a:gd name="connsiteY1380" fmla="*/ 321988 h 1473560"/>
                  <a:gd name="connsiteX1381" fmla="*/ 3301365 w 3574732"/>
                  <a:gd name="connsiteY1381" fmla="*/ 315320 h 1473560"/>
                  <a:gd name="connsiteX1382" fmla="*/ 3317558 w 3574732"/>
                  <a:gd name="connsiteY1382" fmla="*/ 304843 h 1473560"/>
                  <a:gd name="connsiteX1383" fmla="*/ 3336608 w 3574732"/>
                  <a:gd name="connsiteY1383" fmla="*/ 306748 h 1473560"/>
                  <a:gd name="connsiteX1384" fmla="*/ 3358515 w 3574732"/>
                  <a:gd name="connsiteY1384" fmla="*/ 309605 h 1473560"/>
                  <a:gd name="connsiteX1385" fmla="*/ 3407093 w 3574732"/>
                  <a:gd name="connsiteY1385" fmla="*/ 300080 h 1473560"/>
                  <a:gd name="connsiteX1386" fmla="*/ 3403283 w 3574732"/>
                  <a:gd name="connsiteY1386" fmla="*/ 291508 h 1473560"/>
                  <a:gd name="connsiteX1387" fmla="*/ 3380423 w 3574732"/>
                  <a:gd name="connsiteY1387" fmla="*/ 282935 h 1473560"/>
                  <a:gd name="connsiteX1388" fmla="*/ 3364230 w 3574732"/>
                  <a:gd name="connsiteY1388" fmla="*/ 270553 h 1473560"/>
                  <a:gd name="connsiteX1389" fmla="*/ 3358515 w 3574732"/>
                  <a:gd name="connsiteY1389" fmla="*/ 260075 h 1473560"/>
                  <a:gd name="connsiteX1390" fmla="*/ 3369945 w 3574732"/>
                  <a:gd name="connsiteY1390" fmla="*/ 260075 h 1473560"/>
                  <a:gd name="connsiteX1391" fmla="*/ 3397568 w 3574732"/>
                  <a:gd name="connsiteY1391" fmla="*/ 257218 h 1473560"/>
                  <a:gd name="connsiteX1392" fmla="*/ 3405188 w 3574732"/>
                  <a:gd name="connsiteY1392" fmla="*/ 249598 h 1473560"/>
                  <a:gd name="connsiteX1393" fmla="*/ 3408045 w 3574732"/>
                  <a:gd name="connsiteY1393" fmla="*/ 244835 h 1473560"/>
                  <a:gd name="connsiteX1394" fmla="*/ 3415665 w 3574732"/>
                  <a:gd name="connsiteY1394" fmla="*/ 241025 h 1473560"/>
                  <a:gd name="connsiteX1395" fmla="*/ 3424238 w 3574732"/>
                  <a:gd name="connsiteY1395" fmla="*/ 241025 h 1473560"/>
                  <a:gd name="connsiteX1396" fmla="*/ 3432810 w 3574732"/>
                  <a:gd name="connsiteY1396" fmla="*/ 242930 h 1473560"/>
                  <a:gd name="connsiteX1397" fmla="*/ 3449003 w 3574732"/>
                  <a:gd name="connsiteY1397" fmla="*/ 250550 h 1473560"/>
                  <a:gd name="connsiteX1398" fmla="*/ 3456623 w 3574732"/>
                  <a:gd name="connsiteY1398" fmla="*/ 253408 h 1473560"/>
                  <a:gd name="connsiteX1399" fmla="*/ 3472815 w 3574732"/>
                  <a:gd name="connsiteY1399" fmla="*/ 257218 h 1473560"/>
                  <a:gd name="connsiteX1400" fmla="*/ 3494723 w 3574732"/>
                  <a:gd name="connsiteY1400" fmla="*/ 260075 h 1473560"/>
                  <a:gd name="connsiteX1401" fmla="*/ 3519488 w 3574732"/>
                  <a:gd name="connsiteY1401" fmla="*/ 266743 h 1473560"/>
                  <a:gd name="connsiteX1402" fmla="*/ 3535680 w 3574732"/>
                  <a:gd name="connsiteY1402" fmla="*/ 265790 h 1473560"/>
                  <a:gd name="connsiteX1403" fmla="*/ 3549015 w 3574732"/>
                  <a:gd name="connsiteY1403" fmla="*/ 255313 h 1473560"/>
                  <a:gd name="connsiteX1404" fmla="*/ 3551873 w 3574732"/>
                  <a:gd name="connsiteY1404" fmla="*/ 243883 h 1473560"/>
                  <a:gd name="connsiteX1405" fmla="*/ 3560445 w 3574732"/>
                  <a:gd name="connsiteY1405" fmla="*/ 241025 h 1473560"/>
                  <a:gd name="connsiteX1406" fmla="*/ 3569018 w 3574732"/>
                  <a:gd name="connsiteY1406" fmla="*/ 237215 h 1473560"/>
                  <a:gd name="connsiteX1407" fmla="*/ 3574733 w 3574732"/>
                  <a:gd name="connsiteY1407" fmla="*/ 230548 h 1473560"/>
                  <a:gd name="connsiteX1408" fmla="*/ 3568065 w 3574732"/>
                  <a:gd name="connsiteY1408" fmla="*/ 231500 h 1473560"/>
                  <a:gd name="connsiteX1409" fmla="*/ 601028 w 3574732"/>
                  <a:gd name="connsiteY1409" fmla="*/ 290555 h 1473560"/>
                  <a:gd name="connsiteX1410" fmla="*/ 601028 w 3574732"/>
                  <a:gd name="connsiteY1410" fmla="*/ 290555 h 1473560"/>
                  <a:gd name="connsiteX1411" fmla="*/ 601028 w 3574732"/>
                  <a:gd name="connsiteY1411" fmla="*/ 290555 h 1473560"/>
                  <a:gd name="connsiteX1412" fmla="*/ 874395 w 3574732"/>
                  <a:gd name="connsiteY1412" fmla="*/ 1083035 h 1473560"/>
                  <a:gd name="connsiteX1413" fmla="*/ 867728 w 3574732"/>
                  <a:gd name="connsiteY1413" fmla="*/ 1091608 h 1473560"/>
                  <a:gd name="connsiteX1414" fmla="*/ 861060 w 3574732"/>
                  <a:gd name="connsiteY1414" fmla="*/ 1097323 h 1473560"/>
                  <a:gd name="connsiteX1415" fmla="*/ 849630 w 3574732"/>
                  <a:gd name="connsiteY1415" fmla="*/ 1106848 h 1473560"/>
                  <a:gd name="connsiteX1416" fmla="*/ 838200 w 3574732"/>
                  <a:gd name="connsiteY1416" fmla="*/ 1104943 h 1473560"/>
                  <a:gd name="connsiteX1417" fmla="*/ 841058 w 3574732"/>
                  <a:gd name="connsiteY1417" fmla="*/ 1096370 h 1473560"/>
                  <a:gd name="connsiteX1418" fmla="*/ 839153 w 3574732"/>
                  <a:gd name="connsiteY1418" fmla="*/ 1091608 h 1473560"/>
                  <a:gd name="connsiteX1419" fmla="*/ 845820 w 3574732"/>
                  <a:gd name="connsiteY1419" fmla="*/ 1085893 h 1473560"/>
                  <a:gd name="connsiteX1420" fmla="*/ 859155 w 3574732"/>
                  <a:gd name="connsiteY1420" fmla="*/ 1084940 h 1473560"/>
                  <a:gd name="connsiteX1421" fmla="*/ 874395 w 3574732"/>
                  <a:gd name="connsiteY1421" fmla="*/ 1083035 h 1473560"/>
                  <a:gd name="connsiteX1422" fmla="*/ 1003935 w 3574732"/>
                  <a:gd name="connsiteY1422" fmla="*/ 591545 h 1473560"/>
                  <a:gd name="connsiteX1423" fmla="*/ 995363 w 3574732"/>
                  <a:gd name="connsiteY1423" fmla="*/ 595355 h 1473560"/>
                  <a:gd name="connsiteX1424" fmla="*/ 986790 w 3574732"/>
                  <a:gd name="connsiteY1424" fmla="*/ 595355 h 1473560"/>
                  <a:gd name="connsiteX1425" fmla="*/ 978218 w 3574732"/>
                  <a:gd name="connsiteY1425" fmla="*/ 595355 h 1473560"/>
                  <a:gd name="connsiteX1426" fmla="*/ 958215 w 3574732"/>
                  <a:gd name="connsiteY1426" fmla="*/ 593450 h 1473560"/>
                  <a:gd name="connsiteX1427" fmla="*/ 918210 w 3574732"/>
                  <a:gd name="connsiteY1427" fmla="*/ 588688 h 1473560"/>
                  <a:gd name="connsiteX1428" fmla="*/ 901065 w 3574732"/>
                  <a:gd name="connsiteY1428" fmla="*/ 588688 h 1473560"/>
                  <a:gd name="connsiteX1429" fmla="*/ 885825 w 3574732"/>
                  <a:gd name="connsiteY1429" fmla="*/ 588688 h 1473560"/>
                  <a:gd name="connsiteX1430" fmla="*/ 868680 w 3574732"/>
                  <a:gd name="connsiteY1430" fmla="*/ 585830 h 1473560"/>
                  <a:gd name="connsiteX1431" fmla="*/ 846773 w 3574732"/>
                  <a:gd name="connsiteY1431" fmla="*/ 586783 h 1473560"/>
                  <a:gd name="connsiteX1432" fmla="*/ 824865 w 3574732"/>
                  <a:gd name="connsiteY1432" fmla="*/ 589640 h 1473560"/>
                  <a:gd name="connsiteX1433" fmla="*/ 813435 w 3574732"/>
                  <a:gd name="connsiteY1433" fmla="*/ 589640 h 1473560"/>
                  <a:gd name="connsiteX1434" fmla="*/ 802005 w 3574732"/>
                  <a:gd name="connsiteY1434" fmla="*/ 589640 h 1473560"/>
                  <a:gd name="connsiteX1435" fmla="*/ 791528 w 3574732"/>
                  <a:gd name="connsiteY1435" fmla="*/ 586783 h 1473560"/>
                  <a:gd name="connsiteX1436" fmla="*/ 791528 w 3574732"/>
                  <a:gd name="connsiteY1436" fmla="*/ 577258 h 1473560"/>
                  <a:gd name="connsiteX1437" fmla="*/ 802958 w 3574732"/>
                  <a:gd name="connsiteY1437" fmla="*/ 565828 h 1473560"/>
                  <a:gd name="connsiteX1438" fmla="*/ 807720 w 3574732"/>
                  <a:gd name="connsiteY1438" fmla="*/ 560113 h 1473560"/>
                  <a:gd name="connsiteX1439" fmla="*/ 809625 w 3574732"/>
                  <a:gd name="connsiteY1439" fmla="*/ 553445 h 1473560"/>
                  <a:gd name="connsiteX1440" fmla="*/ 821055 w 3574732"/>
                  <a:gd name="connsiteY1440" fmla="*/ 544873 h 1473560"/>
                  <a:gd name="connsiteX1441" fmla="*/ 827723 w 3574732"/>
                  <a:gd name="connsiteY1441" fmla="*/ 538205 h 1473560"/>
                  <a:gd name="connsiteX1442" fmla="*/ 845820 w 3574732"/>
                  <a:gd name="connsiteY1442" fmla="*/ 529633 h 1473560"/>
                  <a:gd name="connsiteX1443" fmla="*/ 854393 w 3574732"/>
                  <a:gd name="connsiteY1443" fmla="*/ 529633 h 1473560"/>
                  <a:gd name="connsiteX1444" fmla="*/ 867728 w 3574732"/>
                  <a:gd name="connsiteY1444" fmla="*/ 529633 h 1473560"/>
                  <a:gd name="connsiteX1445" fmla="*/ 881063 w 3574732"/>
                  <a:gd name="connsiteY1445" fmla="*/ 537253 h 1473560"/>
                  <a:gd name="connsiteX1446" fmla="*/ 884873 w 3574732"/>
                  <a:gd name="connsiteY1446" fmla="*/ 545825 h 1473560"/>
                  <a:gd name="connsiteX1447" fmla="*/ 906780 w 3574732"/>
                  <a:gd name="connsiteY1447" fmla="*/ 550588 h 1473560"/>
                  <a:gd name="connsiteX1448" fmla="*/ 928688 w 3574732"/>
                  <a:gd name="connsiteY1448" fmla="*/ 546778 h 1473560"/>
                  <a:gd name="connsiteX1449" fmla="*/ 926783 w 3574732"/>
                  <a:gd name="connsiteY1449" fmla="*/ 541063 h 1473560"/>
                  <a:gd name="connsiteX1450" fmla="*/ 926783 w 3574732"/>
                  <a:gd name="connsiteY1450" fmla="*/ 531538 h 1473560"/>
                  <a:gd name="connsiteX1451" fmla="*/ 942023 w 3574732"/>
                  <a:gd name="connsiteY1451" fmla="*/ 519155 h 1473560"/>
                  <a:gd name="connsiteX1452" fmla="*/ 948690 w 3574732"/>
                  <a:gd name="connsiteY1452" fmla="*/ 527728 h 1473560"/>
                  <a:gd name="connsiteX1453" fmla="*/ 948690 w 3574732"/>
                  <a:gd name="connsiteY1453" fmla="*/ 534395 h 1473560"/>
                  <a:gd name="connsiteX1454" fmla="*/ 946785 w 3574732"/>
                  <a:gd name="connsiteY1454" fmla="*/ 538205 h 1473560"/>
                  <a:gd name="connsiteX1455" fmla="*/ 953453 w 3574732"/>
                  <a:gd name="connsiteY1455" fmla="*/ 546778 h 1473560"/>
                  <a:gd name="connsiteX1456" fmla="*/ 972503 w 3574732"/>
                  <a:gd name="connsiteY1456" fmla="*/ 561065 h 1473560"/>
                  <a:gd name="connsiteX1457" fmla="*/ 987743 w 3574732"/>
                  <a:gd name="connsiteY1457" fmla="*/ 571543 h 1473560"/>
                  <a:gd name="connsiteX1458" fmla="*/ 998220 w 3574732"/>
                  <a:gd name="connsiteY1458" fmla="*/ 579163 h 1473560"/>
                  <a:gd name="connsiteX1459" fmla="*/ 1004888 w 3574732"/>
                  <a:gd name="connsiteY1459" fmla="*/ 584878 h 1473560"/>
                  <a:gd name="connsiteX1460" fmla="*/ 1003935 w 3574732"/>
                  <a:gd name="connsiteY1460" fmla="*/ 591545 h 1473560"/>
                  <a:gd name="connsiteX1461" fmla="*/ 1239203 w 3574732"/>
                  <a:gd name="connsiteY1461" fmla="*/ 609643 h 1473560"/>
                  <a:gd name="connsiteX1462" fmla="*/ 1230630 w 3574732"/>
                  <a:gd name="connsiteY1462" fmla="*/ 612500 h 1473560"/>
                  <a:gd name="connsiteX1463" fmla="*/ 1212533 w 3574732"/>
                  <a:gd name="connsiteY1463" fmla="*/ 622025 h 1473560"/>
                  <a:gd name="connsiteX1464" fmla="*/ 1212533 w 3574732"/>
                  <a:gd name="connsiteY1464" fmla="*/ 627740 h 1473560"/>
                  <a:gd name="connsiteX1465" fmla="*/ 1212533 w 3574732"/>
                  <a:gd name="connsiteY1465" fmla="*/ 633455 h 1473560"/>
                  <a:gd name="connsiteX1466" fmla="*/ 1214438 w 3574732"/>
                  <a:gd name="connsiteY1466" fmla="*/ 637265 h 1473560"/>
                  <a:gd name="connsiteX1467" fmla="*/ 1196340 w 3574732"/>
                  <a:gd name="connsiteY1467" fmla="*/ 645838 h 1473560"/>
                  <a:gd name="connsiteX1468" fmla="*/ 1183005 w 3574732"/>
                  <a:gd name="connsiteY1468" fmla="*/ 645838 h 1473560"/>
                  <a:gd name="connsiteX1469" fmla="*/ 1169670 w 3574732"/>
                  <a:gd name="connsiteY1469" fmla="*/ 642980 h 1473560"/>
                  <a:gd name="connsiteX1470" fmla="*/ 1157288 w 3574732"/>
                  <a:gd name="connsiteY1470" fmla="*/ 625835 h 1473560"/>
                  <a:gd name="connsiteX1471" fmla="*/ 1150620 w 3574732"/>
                  <a:gd name="connsiteY1471" fmla="*/ 614405 h 1473560"/>
                  <a:gd name="connsiteX1472" fmla="*/ 1143953 w 3574732"/>
                  <a:gd name="connsiteY1472" fmla="*/ 600118 h 1473560"/>
                  <a:gd name="connsiteX1473" fmla="*/ 1123950 w 3574732"/>
                  <a:gd name="connsiteY1473" fmla="*/ 586783 h 1473560"/>
                  <a:gd name="connsiteX1474" fmla="*/ 1115378 w 3574732"/>
                  <a:gd name="connsiteY1474" fmla="*/ 571543 h 1473560"/>
                  <a:gd name="connsiteX1475" fmla="*/ 1113473 w 3574732"/>
                  <a:gd name="connsiteY1475" fmla="*/ 559160 h 1473560"/>
                  <a:gd name="connsiteX1476" fmla="*/ 1113473 w 3574732"/>
                  <a:gd name="connsiteY1476" fmla="*/ 550588 h 1473560"/>
                  <a:gd name="connsiteX1477" fmla="*/ 1116330 w 3574732"/>
                  <a:gd name="connsiteY1477" fmla="*/ 539158 h 1473560"/>
                  <a:gd name="connsiteX1478" fmla="*/ 1129665 w 3574732"/>
                  <a:gd name="connsiteY1478" fmla="*/ 535348 h 1473560"/>
                  <a:gd name="connsiteX1479" fmla="*/ 1163003 w 3574732"/>
                  <a:gd name="connsiteY1479" fmla="*/ 531538 h 1473560"/>
                  <a:gd name="connsiteX1480" fmla="*/ 1196340 w 3574732"/>
                  <a:gd name="connsiteY1480" fmla="*/ 527728 h 1473560"/>
                  <a:gd name="connsiteX1481" fmla="*/ 1201103 w 3574732"/>
                  <a:gd name="connsiteY1481" fmla="*/ 531538 h 1473560"/>
                  <a:gd name="connsiteX1482" fmla="*/ 1187768 w 3574732"/>
                  <a:gd name="connsiteY1482" fmla="*/ 540110 h 1473560"/>
                  <a:gd name="connsiteX1483" fmla="*/ 1176338 w 3574732"/>
                  <a:gd name="connsiteY1483" fmla="*/ 545825 h 1473560"/>
                  <a:gd name="connsiteX1484" fmla="*/ 1176338 w 3574732"/>
                  <a:gd name="connsiteY1484" fmla="*/ 557255 h 1473560"/>
                  <a:gd name="connsiteX1485" fmla="*/ 1176338 w 3574732"/>
                  <a:gd name="connsiteY1485" fmla="*/ 568685 h 1473560"/>
                  <a:gd name="connsiteX1486" fmla="*/ 1206818 w 3574732"/>
                  <a:gd name="connsiteY1486" fmla="*/ 584878 h 1473560"/>
                  <a:gd name="connsiteX1487" fmla="*/ 1222058 w 3574732"/>
                  <a:gd name="connsiteY1487" fmla="*/ 587735 h 1473560"/>
                  <a:gd name="connsiteX1488" fmla="*/ 1237298 w 3574732"/>
                  <a:gd name="connsiteY1488" fmla="*/ 593450 h 1473560"/>
                  <a:gd name="connsiteX1489" fmla="*/ 1243965 w 3574732"/>
                  <a:gd name="connsiteY1489" fmla="*/ 599165 h 1473560"/>
                  <a:gd name="connsiteX1490" fmla="*/ 1239203 w 3574732"/>
                  <a:gd name="connsiteY1490" fmla="*/ 609643 h 1473560"/>
                  <a:gd name="connsiteX1491" fmla="*/ 1342073 w 3574732"/>
                  <a:gd name="connsiteY1491" fmla="*/ 556303 h 1473560"/>
                  <a:gd name="connsiteX1492" fmla="*/ 1335405 w 3574732"/>
                  <a:gd name="connsiteY1492" fmla="*/ 562970 h 1473560"/>
                  <a:gd name="connsiteX1493" fmla="*/ 1322070 w 3574732"/>
                  <a:gd name="connsiteY1493" fmla="*/ 562970 h 1473560"/>
                  <a:gd name="connsiteX1494" fmla="*/ 1308735 w 3574732"/>
                  <a:gd name="connsiteY1494" fmla="*/ 554398 h 1473560"/>
                  <a:gd name="connsiteX1495" fmla="*/ 1311593 w 3574732"/>
                  <a:gd name="connsiteY1495" fmla="*/ 542015 h 1473560"/>
                  <a:gd name="connsiteX1496" fmla="*/ 1316355 w 3574732"/>
                  <a:gd name="connsiteY1496" fmla="*/ 536300 h 1473560"/>
                  <a:gd name="connsiteX1497" fmla="*/ 1333500 w 3574732"/>
                  <a:gd name="connsiteY1497" fmla="*/ 536300 h 1473560"/>
                  <a:gd name="connsiteX1498" fmla="*/ 1342073 w 3574732"/>
                  <a:gd name="connsiteY1498" fmla="*/ 548683 h 1473560"/>
                  <a:gd name="connsiteX1499" fmla="*/ 1342073 w 3574732"/>
                  <a:gd name="connsiteY1499" fmla="*/ 556303 h 147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Lst>
                <a:rect l="l" t="t" r="r" b="b"/>
                <a:pathLst>
                  <a:path w="3574732" h="1473560">
                    <a:moveTo>
                      <a:pt x="3568065" y="231500"/>
                    </a:moveTo>
                    <a:cubicBezTo>
                      <a:pt x="3568065" y="231500"/>
                      <a:pt x="3568065" y="231500"/>
                      <a:pt x="3562350" y="230548"/>
                    </a:cubicBezTo>
                    <a:cubicBezTo>
                      <a:pt x="3556635" y="229595"/>
                      <a:pt x="3549015" y="230548"/>
                      <a:pt x="3549015" y="230548"/>
                    </a:cubicBezTo>
                    <a:cubicBezTo>
                      <a:pt x="3549015" y="230548"/>
                      <a:pt x="3534728" y="230548"/>
                      <a:pt x="3529965" y="230548"/>
                    </a:cubicBezTo>
                    <a:cubicBezTo>
                      <a:pt x="3525203" y="230548"/>
                      <a:pt x="3516630" y="234358"/>
                      <a:pt x="3511868" y="233405"/>
                    </a:cubicBezTo>
                    <a:cubicBezTo>
                      <a:pt x="3507105" y="232453"/>
                      <a:pt x="3504248" y="231500"/>
                      <a:pt x="3504248" y="231500"/>
                    </a:cubicBezTo>
                    <a:cubicBezTo>
                      <a:pt x="3504248" y="231500"/>
                      <a:pt x="3498533" y="230548"/>
                      <a:pt x="3489960" y="225785"/>
                    </a:cubicBezTo>
                    <a:cubicBezTo>
                      <a:pt x="3481388" y="221023"/>
                      <a:pt x="3489960" y="225785"/>
                      <a:pt x="3489008" y="222928"/>
                    </a:cubicBezTo>
                    <a:cubicBezTo>
                      <a:pt x="3487103" y="220070"/>
                      <a:pt x="3480435" y="214355"/>
                      <a:pt x="3480435" y="214355"/>
                    </a:cubicBezTo>
                    <a:lnTo>
                      <a:pt x="3476625" y="206735"/>
                    </a:lnTo>
                    <a:lnTo>
                      <a:pt x="3462338" y="201973"/>
                    </a:lnTo>
                    <a:lnTo>
                      <a:pt x="3456623" y="198163"/>
                    </a:lnTo>
                    <a:lnTo>
                      <a:pt x="3442335" y="194353"/>
                    </a:lnTo>
                    <a:cubicBezTo>
                      <a:pt x="3442335" y="194353"/>
                      <a:pt x="3442335" y="194353"/>
                      <a:pt x="3441383" y="191495"/>
                    </a:cubicBezTo>
                    <a:cubicBezTo>
                      <a:pt x="3440430" y="188638"/>
                      <a:pt x="3419475" y="185780"/>
                      <a:pt x="3419475" y="185780"/>
                    </a:cubicBezTo>
                    <a:cubicBezTo>
                      <a:pt x="3419475" y="185780"/>
                      <a:pt x="3408998" y="182923"/>
                      <a:pt x="3406140" y="180065"/>
                    </a:cubicBezTo>
                    <a:cubicBezTo>
                      <a:pt x="3403283" y="177208"/>
                      <a:pt x="3389948" y="177208"/>
                      <a:pt x="3389948" y="177208"/>
                    </a:cubicBezTo>
                    <a:cubicBezTo>
                      <a:pt x="3389948" y="177208"/>
                      <a:pt x="3368040" y="175303"/>
                      <a:pt x="3362325" y="172445"/>
                    </a:cubicBezTo>
                    <a:cubicBezTo>
                      <a:pt x="3356610" y="169588"/>
                      <a:pt x="3354705" y="172445"/>
                      <a:pt x="3348990" y="172445"/>
                    </a:cubicBezTo>
                    <a:cubicBezTo>
                      <a:pt x="3343275" y="172445"/>
                      <a:pt x="3340418" y="172445"/>
                      <a:pt x="3334703" y="172445"/>
                    </a:cubicBezTo>
                    <a:cubicBezTo>
                      <a:pt x="3328988" y="172445"/>
                      <a:pt x="3323273" y="172445"/>
                      <a:pt x="3318510" y="172445"/>
                    </a:cubicBezTo>
                    <a:cubicBezTo>
                      <a:pt x="3313748" y="172445"/>
                      <a:pt x="3301365" y="170540"/>
                      <a:pt x="3301365" y="170540"/>
                    </a:cubicBezTo>
                    <a:lnTo>
                      <a:pt x="3277553" y="166730"/>
                    </a:lnTo>
                    <a:lnTo>
                      <a:pt x="3255645" y="168635"/>
                    </a:lnTo>
                    <a:lnTo>
                      <a:pt x="3247073" y="170540"/>
                    </a:lnTo>
                    <a:lnTo>
                      <a:pt x="3244215" y="184828"/>
                    </a:lnTo>
                    <a:lnTo>
                      <a:pt x="3238500" y="185780"/>
                    </a:lnTo>
                    <a:cubicBezTo>
                      <a:pt x="3238500" y="185780"/>
                      <a:pt x="3222308" y="184828"/>
                      <a:pt x="3219450" y="180065"/>
                    </a:cubicBezTo>
                    <a:cubicBezTo>
                      <a:pt x="3216593" y="175303"/>
                      <a:pt x="3219450" y="180065"/>
                      <a:pt x="3221355" y="172445"/>
                    </a:cubicBezTo>
                    <a:lnTo>
                      <a:pt x="3218498" y="162920"/>
                    </a:lnTo>
                    <a:lnTo>
                      <a:pt x="3197543" y="162920"/>
                    </a:lnTo>
                    <a:cubicBezTo>
                      <a:pt x="3197543" y="162920"/>
                      <a:pt x="3189923" y="164825"/>
                      <a:pt x="3176588" y="166730"/>
                    </a:cubicBezTo>
                    <a:cubicBezTo>
                      <a:pt x="3163253" y="168635"/>
                      <a:pt x="3176588" y="166730"/>
                      <a:pt x="3168015" y="168635"/>
                    </a:cubicBezTo>
                    <a:cubicBezTo>
                      <a:pt x="3159443" y="170540"/>
                      <a:pt x="3157538" y="169588"/>
                      <a:pt x="3148965" y="169588"/>
                    </a:cubicBezTo>
                    <a:cubicBezTo>
                      <a:pt x="3140393" y="169588"/>
                      <a:pt x="3138488" y="169588"/>
                      <a:pt x="3138488" y="169588"/>
                    </a:cubicBezTo>
                    <a:cubicBezTo>
                      <a:pt x="3138488" y="169588"/>
                      <a:pt x="3125153" y="169588"/>
                      <a:pt x="3098483" y="168635"/>
                    </a:cubicBezTo>
                    <a:cubicBezTo>
                      <a:pt x="3071813" y="167683"/>
                      <a:pt x="3082290" y="167683"/>
                      <a:pt x="3076575" y="165778"/>
                    </a:cubicBezTo>
                    <a:cubicBezTo>
                      <a:pt x="3070860" y="163873"/>
                      <a:pt x="3070860" y="161968"/>
                      <a:pt x="3063240" y="157205"/>
                    </a:cubicBezTo>
                    <a:cubicBezTo>
                      <a:pt x="3055620" y="152443"/>
                      <a:pt x="3055620" y="150538"/>
                      <a:pt x="3055620" y="150538"/>
                    </a:cubicBezTo>
                    <a:lnTo>
                      <a:pt x="3049905" y="147680"/>
                    </a:lnTo>
                    <a:lnTo>
                      <a:pt x="3016568" y="147680"/>
                    </a:lnTo>
                    <a:lnTo>
                      <a:pt x="3002280" y="147680"/>
                    </a:lnTo>
                    <a:cubicBezTo>
                      <a:pt x="3002280" y="147680"/>
                      <a:pt x="2986088" y="147680"/>
                      <a:pt x="2980373" y="144823"/>
                    </a:cubicBezTo>
                    <a:cubicBezTo>
                      <a:pt x="2974658" y="141965"/>
                      <a:pt x="2963228" y="144823"/>
                      <a:pt x="2952750" y="141965"/>
                    </a:cubicBezTo>
                    <a:cubicBezTo>
                      <a:pt x="2942273" y="139108"/>
                      <a:pt x="2942273" y="139108"/>
                      <a:pt x="2938463" y="137203"/>
                    </a:cubicBezTo>
                    <a:cubicBezTo>
                      <a:pt x="2933700" y="135298"/>
                      <a:pt x="2929890" y="136250"/>
                      <a:pt x="2919413" y="131488"/>
                    </a:cubicBezTo>
                    <a:cubicBezTo>
                      <a:pt x="2908935" y="126725"/>
                      <a:pt x="2919413" y="131488"/>
                      <a:pt x="2913698" y="129583"/>
                    </a:cubicBezTo>
                    <a:cubicBezTo>
                      <a:pt x="2907983" y="127678"/>
                      <a:pt x="2892743" y="128630"/>
                      <a:pt x="2892743" y="128630"/>
                    </a:cubicBezTo>
                    <a:cubicBezTo>
                      <a:pt x="2892743" y="128630"/>
                      <a:pt x="2878455" y="128630"/>
                      <a:pt x="2873693" y="126725"/>
                    </a:cubicBezTo>
                    <a:cubicBezTo>
                      <a:pt x="2868930" y="124820"/>
                      <a:pt x="2873693" y="126725"/>
                      <a:pt x="2868930" y="124820"/>
                    </a:cubicBezTo>
                    <a:cubicBezTo>
                      <a:pt x="2864168" y="122915"/>
                      <a:pt x="2861310" y="123868"/>
                      <a:pt x="2851785" y="120058"/>
                    </a:cubicBezTo>
                    <a:cubicBezTo>
                      <a:pt x="2841308" y="116248"/>
                      <a:pt x="2840355" y="120058"/>
                      <a:pt x="2834640" y="115295"/>
                    </a:cubicBezTo>
                    <a:cubicBezTo>
                      <a:pt x="2828925" y="110533"/>
                      <a:pt x="2821305" y="114343"/>
                      <a:pt x="2817495" y="113390"/>
                    </a:cubicBezTo>
                    <a:cubicBezTo>
                      <a:pt x="2812733" y="112438"/>
                      <a:pt x="2806065" y="112438"/>
                      <a:pt x="2800350" y="112438"/>
                    </a:cubicBezTo>
                    <a:cubicBezTo>
                      <a:pt x="2794635" y="112438"/>
                      <a:pt x="2789873" y="114343"/>
                      <a:pt x="2785110" y="114343"/>
                    </a:cubicBezTo>
                    <a:cubicBezTo>
                      <a:pt x="2780348" y="114343"/>
                      <a:pt x="2767965" y="113390"/>
                      <a:pt x="2761298" y="113390"/>
                    </a:cubicBezTo>
                    <a:cubicBezTo>
                      <a:pt x="2755583" y="113390"/>
                      <a:pt x="2749868" y="113390"/>
                      <a:pt x="2740343" y="113390"/>
                    </a:cubicBezTo>
                    <a:cubicBezTo>
                      <a:pt x="2731770" y="113390"/>
                      <a:pt x="2718435" y="121963"/>
                      <a:pt x="2718435" y="121963"/>
                    </a:cubicBezTo>
                    <a:cubicBezTo>
                      <a:pt x="2718435" y="121963"/>
                      <a:pt x="2718435" y="121963"/>
                      <a:pt x="2713673" y="121963"/>
                    </a:cubicBezTo>
                    <a:cubicBezTo>
                      <a:pt x="2708910" y="121963"/>
                      <a:pt x="2708910" y="126725"/>
                      <a:pt x="2708910" y="126725"/>
                    </a:cubicBezTo>
                    <a:lnTo>
                      <a:pt x="2704148" y="133393"/>
                    </a:lnTo>
                    <a:lnTo>
                      <a:pt x="2692718" y="133393"/>
                    </a:lnTo>
                    <a:lnTo>
                      <a:pt x="2676525" y="133393"/>
                    </a:lnTo>
                    <a:lnTo>
                      <a:pt x="2654618" y="133393"/>
                    </a:lnTo>
                    <a:lnTo>
                      <a:pt x="2646998" y="139108"/>
                    </a:lnTo>
                    <a:cubicBezTo>
                      <a:pt x="2646998" y="139108"/>
                      <a:pt x="2639378" y="140060"/>
                      <a:pt x="2635568" y="140060"/>
                    </a:cubicBezTo>
                    <a:cubicBezTo>
                      <a:pt x="2630805" y="140060"/>
                      <a:pt x="2616518" y="140060"/>
                      <a:pt x="2616518" y="140060"/>
                    </a:cubicBezTo>
                    <a:cubicBezTo>
                      <a:pt x="2616518" y="140060"/>
                      <a:pt x="2610803" y="139108"/>
                      <a:pt x="2606040" y="133393"/>
                    </a:cubicBezTo>
                    <a:cubicBezTo>
                      <a:pt x="2602230" y="127678"/>
                      <a:pt x="2606040" y="133393"/>
                      <a:pt x="2606040" y="130535"/>
                    </a:cubicBezTo>
                    <a:cubicBezTo>
                      <a:pt x="2606040" y="127678"/>
                      <a:pt x="2597468" y="128630"/>
                      <a:pt x="2597468" y="128630"/>
                    </a:cubicBezTo>
                    <a:lnTo>
                      <a:pt x="2586038" y="128630"/>
                    </a:lnTo>
                    <a:lnTo>
                      <a:pt x="2578418" y="132440"/>
                    </a:lnTo>
                    <a:lnTo>
                      <a:pt x="2572703" y="141965"/>
                    </a:lnTo>
                    <a:lnTo>
                      <a:pt x="2562225" y="141965"/>
                    </a:lnTo>
                    <a:cubicBezTo>
                      <a:pt x="2562225" y="141965"/>
                      <a:pt x="2548890" y="140060"/>
                      <a:pt x="2545080" y="139108"/>
                    </a:cubicBezTo>
                    <a:cubicBezTo>
                      <a:pt x="2540318" y="138155"/>
                      <a:pt x="2533650" y="135298"/>
                      <a:pt x="2530793" y="130535"/>
                    </a:cubicBezTo>
                    <a:cubicBezTo>
                      <a:pt x="2527935" y="125773"/>
                      <a:pt x="2527935" y="124820"/>
                      <a:pt x="2527935" y="117200"/>
                    </a:cubicBezTo>
                    <a:cubicBezTo>
                      <a:pt x="2527935" y="109580"/>
                      <a:pt x="2526983" y="109580"/>
                      <a:pt x="2526983" y="109580"/>
                    </a:cubicBezTo>
                    <a:lnTo>
                      <a:pt x="2521268" y="104818"/>
                    </a:lnTo>
                    <a:lnTo>
                      <a:pt x="2506980" y="100055"/>
                    </a:lnTo>
                    <a:lnTo>
                      <a:pt x="2499360" y="98150"/>
                    </a:lnTo>
                    <a:lnTo>
                      <a:pt x="2480310" y="95293"/>
                    </a:lnTo>
                    <a:lnTo>
                      <a:pt x="2450783" y="94340"/>
                    </a:lnTo>
                    <a:lnTo>
                      <a:pt x="2443163" y="97198"/>
                    </a:lnTo>
                    <a:lnTo>
                      <a:pt x="2430780" y="104818"/>
                    </a:lnTo>
                    <a:cubicBezTo>
                      <a:pt x="2430780" y="104818"/>
                      <a:pt x="2430780" y="104818"/>
                      <a:pt x="2426018" y="103865"/>
                    </a:cubicBezTo>
                    <a:cubicBezTo>
                      <a:pt x="2421255" y="102913"/>
                      <a:pt x="2412683" y="104818"/>
                      <a:pt x="2407920" y="103865"/>
                    </a:cubicBezTo>
                    <a:cubicBezTo>
                      <a:pt x="2403158" y="102913"/>
                      <a:pt x="2396490" y="102913"/>
                      <a:pt x="2391728" y="101008"/>
                    </a:cubicBezTo>
                    <a:cubicBezTo>
                      <a:pt x="2386965" y="99103"/>
                      <a:pt x="2375535" y="96245"/>
                      <a:pt x="2375535" y="96245"/>
                    </a:cubicBezTo>
                    <a:cubicBezTo>
                      <a:pt x="2375535" y="96245"/>
                      <a:pt x="2375535" y="96245"/>
                      <a:pt x="2370773" y="93388"/>
                    </a:cubicBezTo>
                    <a:cubicBezTo>
                      <a:pt x="2366010" y="90530"/>
                      <a:pt x="2365058" y="91483"/>
                      <a:pt x="2359343" y="90530"/>
                    </a:cubicBezTo>
                    <a:cubicBezTo>
                      <a:pt x="2353628" y="89578"/>
                      <a:pt x="2351723" y="91483"/>
                      <a:pt x="2347913" y="90530"/>
                    </a:cubicBezTo>
                    <a:cubicBezTo>
                      <a:pt x="2343150" y="89578"/>
                      <a:pt x="2339340" y="90530"/>
                      <a:pt x="2339340" y="90530"/>
                    </a:cubicBezTo>
                    <a:lnTo>
                      <a:pt x="2328863" y="90530"/>
                    </a:lnTo>
                    <a:lnTo>
                      <a:pt x="2314575" y="91483"/>
                    </a:lnTo>
                    <a:cubicBezTo>
                      <a:pt x="2314575" y="91483"/>
                      <a:pt x="2308860" y="91483"/>
                      <a:pt x="2304098" y="91483"/>
                    </a:cubicBezTo>
                    <a:cubicBezTo>
                      <a:pt x="2299335" y="91483"/>
                      <a:pt x="2298383" y="91483"/>
                      <a:pt x="2292668" y="91483"/>
                    </a:cubicBezTo>
                    <a:cubicBezTo>
                      <a:pt x="2286953" y="91483"/>
                      <a:pt x="2279333" y="88625"/>
                      <a:pt x="2279333" y="88625"/>
                    </a:cubicBezTo>
                    <a:cubicBezTo>
                      <a:pt x="2279333" y="88625"/>
                      <a:pt x="2267903" y="88625"/>
                      <a:pt x="2262188" y="85768"/>
                    </a:cubicBezTo>
                    <a:cubicBezTo>
                      <a:pt x="2256473" y="82910"/>
                      <a:pt x="2237423" y="84815"/>
                      <a:pt x="2237423" y="84815"/>
                    </a:cubicBezTo>
                    <a:cubicBezTo>
                      <a:pt x="2237423" y="84815"/>
                      <a:pt x="2237423" y="84815"/>
                      <a:pt x="2232660" y="82910"/>
                    </a:cubicBezTo>
                    <a:cubicBezTo>
                      <a:pt x="2227898" y="81005"/>
                      <a:pt x="2225040" y="82910"/>
                      <a:pt x="2225040" y="82910"/>
                    </a:cubicBezTo>
                    <a:lnTo>
                      <a:pt x="2213610" y="85768"/>
                    </a:lnTo>
                    <a:cubicBezTo>
                      <a:pt x="2213610" y="85768"/>
                      <a:pt x="2197418" y="91483"/>
                      <a:pt x="2189798" y="94340"/>
                    </a:cubicBezTo>
                    <a:cubicBezTo>
                      <a:pt x="2189798" y="94340"/>
                      <a:pt x="2176463" y="94340"/>
                      <a:pt x="2170748" y="95293"/>
                    </a:cubicBezTo>
                    <a:cubicBezTo>
                      <a:pt x="2165033" y="96245"/>
                      <a:pt x="2163128" y="97198"/>
                      <a:pt x="2159318" y="99103"/>
                    </a:cubicBezTo>
                    <a:cubicBezTo>
                      <a:pt x="2154555" y="101008"/>
                      <a:pt x="2148840" y="104818"/>
                      <a:pt x="2141220" y="104818"/>
                    </a:cubicBezTo>
                    <a:cubicBezTo>
                      <a:pt x="2133600" y="104818"/>
                      <a:pt x="2141220" y="104818"/>
                      <a:pt x="2127885" y="103865"/>
                    </a:cubicBezTo>
                    <a:cubicBezTo>
                      <a:pt x="2114550" y="102913"/>
                      <a:pt x="2117408" y="101008"/>
                      <a:pt x="2117408" y="101008"/>
                    </a:cubicBezTo>
                    <a:lnTo>
                      <a:pt x="2123123" y="96245"/>
                    </a:lnTo>
                    <a:cubicBezTo>
                      <a:pt x="2123123" y="96245"/>
                      <a:pt x="2144078" y="93388"/>
                      <a:pt x="2146935" y="90530"/>
                    </a:cubicBezTo>
                    <a:cubicBezTo>
                      <a:pt x="2149793" y="87673"/>
                      <a:pt x="2157413" y="86720"/>
                      <a:pt x="2162175" y="84815"/>
                    </a:cubicBezTo>
                    <a:cubicBezTo>
                      <a:pt x="2166938" y="82910"/>
                      <a:pt x="2167890" y="84815"/>
                      <a:pt x="2170748" y="81958"/>
                    </a:cubicBezTo>
                    <a:cubicBezTo>
                      <a:pt x="2173605" y="79100"/>
                      <a:pt x="2192655" y="75290"/>
                      <a:pt x="2194560" y="67670"/>
                    </a:cubicBezTo>
                    <a:cubicBezTo>
                      <a:pt x="2194560" y="67670"/>
                      <a:pt x="2200275" y="67670"/>
                      <a:pt x="2205038" y="67670"/>
                    </a:cubicBezTo>
                    <a:cubicBezTo>
                      <a:pt x="2209800" y="67670"/>
                      <a:pt x="2216468" y="67670"/>
                      <a:pt x="2222183" y="67670"/>
                    </a:cubicBezTo>
                    <a:cubicBezTo>
                      <a:pt x="2227898" y="67670"/>
                      <a:pt x="2241233" y="67670"/>
                      <a:pt x="2241233" y="67670"/>
                    </a:cubicBezTo>
                    <a:lnTo>
                      <a:pt x="2265045" y="61955"/>
                    </a:lnTo>
                    <a:lnTo>
                      <a:pt x="2266950" y="55288"/>
                    </a:lnTo>
                    <a:cubicBezTo>
                      <a:pt x="2266950" y="55288"/>
                      <a:pt x="2268855" y="51478"/>
                      <a:pt x="2265998" y="45763"/>
                    </a:cubicBezTo>
                    <a:cubicBezTo>
                      <a:pt x="2263140" y="40048"/>
                      <a:pt x="2263140" y="38143"/>
                      <a:pt x="2263140" y="38143"/>
                    </a:cubicBezTo>
                    <a:lnTo>
                      <a:pt x="2257425" y="25760"/>
                    </a:lnTo>
                    <a:lnTo>
                      <a:pt x="2241233" y="22903"/>
                    </a:lnTo>
                    <a:lnTo>
                      <a:pt x="2225040" y="19093"/>
                    </a:lnTo>
                    <a:cubicBezTo>
                      <a:pt x="2225040" y="19093"/>
                      <a:pt x="2225040" y="19093"/>
                      <a:pt x="2216468" y="19093"/>
                    </a:cubicBezTo>
                    <a:cubicBezTo>
                      <a:pt x="2207895" y="19093"/>
                      <a:pt x="2216468" y="19093"/>
                      <a:pt x="2211705" y="18140"/>
                    </a:cubicBezTo>
                    <a:cubicBezTo>
                      <a:pt x="2206943" y="17188"/>
                      <a:pt x="2201228" y="20045"/>
                      <a:pt x="2195513" y="19093"/>
                    </a:cubicBezTo>
                    <a:cubicBezTo>
                      <a:pt x="2189798" y="18140"/>
                      <a:pt x="2182178" y="17188"/>
                      <a:pt x="2182178" y="17188"/>
                    </a:cubicBezTo>
                    <a:cubicBezTo>
                      <a:pt x="2182178" y="17188"/>
                      <a:pt x="2170748" y="17188"/>
                      <a:pt x="2161223" y="16235"/>
                    </a:cubicBezTo>
                    <a:cubicBezTo>
                      <a:pt x="2161223" y="16235"/>
                      <a:pt x="2146935" y="17188"/>
                      <a:pt x="2142173" y="16235"/>
                    </a:cubicBezTo>
                    <a:cubicBezTo>
                      <a:pt x="2137410" y="15283"/>
                      <a:pt x="2134553" y="16235"/>
                      <a:pt x="2131695" y="13378"/>
                    </a:cubicBezTo>
                    <a:cubicBezTo>
                      <a:pt x="2128838" y="10520"/>
                      <a:pt x="2130743" y="1948"/>
                      <a:pt x="2130743" y="1948"/>
                    </a:cubicBezTo>
                    <a:lnTo>
                      <a:pt x="2120265" y="995"/>
                    </a:lnTo>
                    <a:lnTo>
                      <a:pt x="2093595" y="1948"/>
                    </a:lnTo>
                    <a:lnTo>
                      <a:pt x="2074545" y="995"/>
                    </a:lnTo>
                    <a:cubicBezTo>
                      <a:pt x="2074545" y="995"/>
                      <a:pt x="2061210" y="995"/>
                      <a:pt x="2057400" y="43"/>
                    </a:cubicBezTo>
                    <a:cubicBezTo>
                      <a:pt x="2052638" y="-910"/>
                      <a:pt x="2052638" y="14330"/>
                      <a:pt x="2052638" y="14330"/>
                    </a:cubicBezTo>
                    <a:lnTo>
                      <a:pt x="2052638" y="19093"/>
                    </a:lnTo>
                    <a:lnTo>
                      <a:pt x="2049780" y="22903"/>
                    </a:lnTo>
                    <a:cubicBezTo>
                      <a:pt x="2049780" y="22903"/>
                      <a:pt x="2042160" y="25760"/>
                      <a:pt x="2038350" y="27665"/>
                    </a:cubicBezTo>
                    <a:cubicBezTo>
                      <a:pt x="2033588" y="29570"/>
                      <a:pt x="2026920" y="31475"/>
                      <a:pt x="2026920" y="31475"/>
                    </a:cubicBezTo>
                    <a:lnTo>
                      <a:pt x="2010728" y="33380"/>
                    </a:lnTo>
                    <a:lnTo>
                      <a:pt x="1985963" y="36238"/>
                    </a:lnTo>
                    <a:cubicBezTo>
                      <a:pt x="1985963" y="36238"/>
                      <a:pt x="1985963" y="36238"/>
                      <a:pt x="1981200" y="35285"/>
                    </a:cubicBezTo>
                    <a:cubicBezTo>
                      <a:pt x="1976438" y="34333"/>
                      <a:pt x="1960245" y="34333"/>
                      <a:pt x="1960245" y="34333"/>
                    </a:cubicBezTo>
                    <a:lnTo>
                      <a:pt x="1949768" y="34333"/>
                    </a:lnTo>
                    <a:lnTo>
                      <a:pt x="1939290" y="35285"/>
                    </a:lnTo>
                    <a:lnTo>
                      <a:pt x="1918335" y="39095"/>
                    </a:lnTo>
                    <a:lnTo>
                      <a:pt x="1897380" y="42905"/>
                    </a:lnTo>
                    <a:lnTo>
                      <a:pt x="1873568" y="46715"/>
                    </a:lnTo>
                    <a:lnTo>
                      <a:pt x="1855470" y="47668"/>
                    </a:lnTo>
                    <a:cubicBezTo>
                      <a:pt x="1855470" y="47668"/>
                      <a:pt x="1855470" y="47668"/>
                      <a:pt x="1850708" y="47668"/>
                    </a:cubicBezTo>
                    <a:cubicBezTo>
                      <a:pt x="1845945" y="47668"/>
                      <a:pt x="1825943" y="54335"/>
                      <a:pt x="1825943" y="54335"/>
                    </a:cubicBezTo>
                    <a:lnTo>
                      <a:pt x="1812608" y="58145"/>
                    </a:lnTo>
                    <a:cubicBezTo>
                      <a:pt x="1812608" y="58145"/>
                      <a:pt x="1807845" y="65765"/>
                      <a:pt x="1804035" y="65765"/>
                    </a:cubicBezTo>
                    <a:cubicBezTo>
                      <a:pt x="1799273" y="65765"/>
                      <a:pt x="1795463" y="74338"/>
                      <a:pt x="1795463" y="74338"/>
                    </a:cubicBezTo>
                    <a:lnTo>
                      <a:pt x="1786890" y="76243"/>
                    </a:lnTo>
                    <a:cubicBezTo>
                      <a:pt x="1786890" y="76243"/>
                      <a:pt x="1775460" y="80053"/>
                      <a:pt x="1770698" y="80053"/>
                    </a:cubicBezTo>
                    <a:cubicBezTo>
                      <a:pt x="1765935" y="80053"/>
                      <a:pt x="1763078" y="85768"/>
                      <a:pt x="1755458" y="86720"/>
                    </a:cubicBezTo>
                    <a:cubicBezTo>
                      <a:pt x="1747838" y="87673"/>
                      <a:pt x="1733550" y="87673"/>
                      <a:pt x="1728788" y="87673"/>
                    </a:cubicBezTo>
                    <a:cubicBezTo>
                      <a:pt x="1724025" y="87673"/>
                      <a:pt x="1721168" y="87673"/>
                      <a:pt x="1721168" y="87673"/>
                    </a:cubicBezTo>
                    <a:lnTo>
                      <a:pt x="1712595" y="88625"/>
                    </a:lnTo>
                    <a:lnTo>
                      <a:pt x="1709738" y="93388"/>
                    </a:lnTo>
                    <a:lnTo>
                      <a:pt x="1704975" y="102913"/>
                    </a:lnTo>
                    <a:lnTo>
                      <a:pt x="1704975" y="108628"/>
                    </a:lnTo>
                    <a:lnTo>
                      <a:pt x="1703070" y="115295"/>
                    </a:lnTo>
                    <a:lnTo>
                      <a:pt x="1701165" y="123868"/>
                    </a:lnTo>
                    <a:lnTo>
                      <a:pt x="1698308" y="127678"/>
                    </a:lnTo>
                    <a:lnTo>
                      <a:pt x="1675448" y="121010"/>
                    </a:lnTo>
                    <a:lnTo>
                      <a:pt x="1674495" y="114343"/>
                    </a:lnTo>
                    <a:lnTo>
                      <a:pt x="1666875" y="111485"/>
                    </a:lnTo>
                    <a:cubicBezTo>
                      <a:pt x="1666875" y="111485"/>
                      <a:pt x="1658303" y="111485"/>
                      <a:pt x="1652588" y="111485"/>
                    </a:cubicBezTo>
                    <a:cubicBezTo>
                      <a:pt x="1646873" y="111485"/>
                      <a:pt x="1644968" y="111485"/>
                      <a:pt x="1644968" y="111485"/>
                    </a:cubicBezTo>
                    <a:lnTo>
                      <a:pt x="1637348" y="121963"/>
                    </a:lnTo>
                    <a:cubicBezTo>
                      <a:pt x="1637348" y="121963"/>
                      <a:pt x="1637348" y="121963"/>
                      <a:pt x="1626870" y="124820"/>
                    </a:cubicBezTo>
                    <a:cubicBezTo>
                      <a:pt x="1626870" y="124820"/>
                      <a:pt x="1626870" y="124820"/>
                      <a:pt x="1626870" y="127678"/>
                    </a:cubicBezTo>
                    <a:cubicBezTo>
                      <a:pt x="1626870" y="130535"/>
                      <a:pt x="1624013" y="133393"/>
                      <a:pt x="1624013" y="133393"/>
                    </a:cubicBezTo>
                    <a:lnTo>
                      <a:pt x="1609725" y="130535"/>
                    </a:lnTo>
                    <a:cubicBezTo>
                      <a:pt x="1609725" y="130535"/>
                      <a:pt x="1606868" y="125773"/>
                      <a:pt x="1605915" y="120058"/>
                    </a:cubicBezTo>
                    <a:cubicBezTo>
                      <a:pt x="1604963" y="114343"/>
                      <a:pt x="1607820" y="113390"/>
                      <a:pt x="1607820" y="109580"/>
                    </a:cubicBezTo>
                    <a:cubicBezTo>
                      <a:pt x="1607820" y="105770"/>
                      <a:pt x="1606868" y="103865"/>
                      <a:pt x="1606868" y="103865"/>
                    </a:cubicBezTo>
                    <a:lnTo>
                      <a:pt x="1599248" y="111485"/>
                    </a:lnTo>
                    <a:cubicBezTo>
                      <a:pt x="1599248" y="111485"/>
                      <a:pt x="1590675" y="118153"/>
                      <a:pt x="1584008" y="119105"/>
                    </a:cubicBezTo>
                    <a:cubicBezTo>
                      <a:pt x="1578293" y="120058"/>
                      <a:pt x="1575435" y="128630"/>
                      <a:pt x="1575435" y="128630"/>
                    </a:cubicBezTo>
                    <a:lnTo>
                      <a:pt x="1572578" y="133393"/>
                    </a:lnTo>
                    <a:lnTo>
                      <a:pt x="1572578" y="146728"/>
                    </a:lnTo>
                    <a:lnTo>
                      <a:pt x="1585913" y="154348"/>
                    </a:lnTo>
                    <a:lnTo>
                      <a:pt x="1591628" y="157205"/>
                    </a:lnTo>
                    <a:lnTo>
                      <a:pt x="1592580" y="162920"/>
                    </a:lnTo>
                    <a:lnTo>
                      <a:pt x="1589723" y="168635"/>
                    </a:lnTo>
                    <a:lnTo>
                      <a:pt x="1587818" y="177208"/>
                    </a:lnTo>
                    <a:lnTo>
                      <a:pt x="1593533" y="177208"/>
                    </a:lnTo>
                    <a:lnTo>
                      <a:pt x="1604010" y="180065"/>
                    </a:lnTo>
                    <a:lnTo>
                      <a:pt x="1602105" y="184828"/>
                    </a:lnTo>
                    <a:lnTo>
                      <a:pt x="1599248" y="191495"/>
                    </a:lnTo>
                    <a:lnTo>
                      <a:pt x="1589723" y="202925"/>
                    </a:lnTo>
                    <a:lnTo>
                      <a:pt x="1584008" y="208640"/>
                    </a:lnTo>
                    <a:lnTo>
                      <a:pt x="1579245" y="213403"/>
                    </a:lnTo>
                    <a:cubicBezTo>
                      <a:pt x="1579245" y="213403"/>
                      <a:pt x="1579245" y="213403"/>
                      <a:pt x="1574483" y="215308"/>
                    </a:cubicBezTo>
                    <a:cubicBezTo>
                      <a:pt x="1569720" y="217213"/>
                      <a:pt x="1564005" y="225785"/>
                      <a:pt x="1564005" y="225785"/>
                    </a:cubicBezTo>
                    <a:lnTo>
                      <a:pt x="1555433" y="229595"/>
                    </a:lnTo>
                    <a:lnTo>
                      <a:pt x="1542098" y="234358"/>
                    </a:lnTo>
                    <a:lnTo>
                      <a:pt x="1537335" y="239120"/>
                    </a:lnTo>
                    <a:cubicBezTo>
                      <a:pt x="1537335" y="239120"/>
                      <a:pt x="1531620" y="241978"/>
                      <a:pt x="1526858" y="241025"/>
                    </a:cubicBezTo>
                    <a:cubicBezTo>
                      <a:pt x="1522095" y="240073"/>
                      <a:pt x="1521143" y="237215"/>
                      <a:pt x="1521143" y="237215"/>
                    </a:cubicBezTo>
                    <a:lnTo>
                      <a:pt x="1525905" y="232453"/>
                    </a:lnTo>
                    <a:lnTo>
                      <a:pt x="1539240" y="225785"/>
                    </a:lnTo>
                    <a:cubicBezTo>
                      <a:pt x="1539240" y="225785"/>
                      <a:pt x="1546860" y="223880"/>
                      <a:pt x="1552575" y="218165"/>
                    </a:cubicBezTo>
                    <a:cubicBezTo>
                      <a:pt x="1552575" y="218165"/>
                      <a:pt x="1560195" y="209593"/>
                      <a:pt x="1560195" y="206735"/>
                    </a:cubicBezTo>
                    <a:cubicBezTo>
                      <a:pt x="1560195" y="203878"/>
                      <a:pt x="1563053" y="198163"/>
                      <a:pt x="1563053" y="198163"/>
                    </a:cubicBezTo>
                    <a:lnTo>
                      <a:pt x="1562100" y="193400"/>
                    </a:lnTo>
                    <a:lnTo>
                      <a:pt x="1561148" y="186733"/>
                    </a:lnTo>
                    <a:lnTo>
                      <a:pt x="1558290" y="176255"/>
                    </a:lnTo>
                    <a:lnTo>
                      <a:pt x="1561148" y="166730"/>
                    </a:lnTo>
                    <a:cubicBezTo>
                      <a:pt x="1561148" y="166730"/>
                      <a:pt x="1561148" y="166730"/>
                      <a:pt x="1554480" y="156253"/>
                    </a:cubicBezTo>
                    <a:cubicBezTo>
                      <a:pt x="1547813" y="145775"/>
                      <a:pt x="1557338" y="147680"/>
                      <a:pt x="1557338" y="144823"/>
                    </a:cubicBezTo>
                    <a:cubicBezTo>
                      <a:pt x="1557338" y="141965"/>
                      <a:pt x="1550670" y="133393"/>
                      <a:pt x="1550670" y="130535"/>
                    </a:cubicBezTo>
                    <a:cubicBezTo>
                      <a:pt x="1550670" y="127678"/>
                      <a:pt x="1553528" y="122915"/>
                      <a:pt x="1553528" y="122915"/>
                    </a:cubicBezTo>
                    <a:cubicBezTo>
                      <a:pt x="1553528" y="122915"/>
                      <a:pt x="1559243" y="119105"/>
                      <a:pt x="1558290" y="116248"/>
                    </a:cubicBezTo>
                    <a:cubicBezTo>
                      <a:pt x="1557338" y="113390"/>
                      <a:pt x="1560195" y="110533"/>
                      <a:pt x="1557338" y="107675"/>
                    </a:cubicBezTo>
                    <a:cubicBezTo>
                      <a:pt x="1554480" y="104818"/>
                      <a:pt x="1549718" y="104818"/>
                      <a:pt x="1549718" y="104818"/>
                    </a:cubicBezTo>
                    <a:cubicBezTo>
                      <a:pt x="1549718" y="104818"/>
                      <a:pt x="1536383" y="104818"/>
                      <a:pt x="1525905" y="104818"/>
                    </a:cubicBezTo>
                    <a:lnTo>
                      <a:pt x="1517333" y="107675"/>
                    </a:lnTo>
                    <a:cubicBezTo>
                      <a:pt x="1517333" y="107675"/>
                      <a:pt x="1511618" y="109580"/>
                      <a:pt x="1505903" y="110533"/>
                    </a:cubicBezTo>
                    <a:cubicBezTo>
                      <a:pt x="1500188" y="111485"/>
                      <a:pt x="1501140" y="116248"/>
                      <a:pt x="1501140" y="116248"/>
                    </a:cubicBezTo>
                    <a:cubicBezTo>
                      <a:pt x="1501140" y="116248"/>
                      <a:pt x="1493520" y="122915"/>
                      <a:pt x="1485900" y="128630"/>
                    </a:cubicBezTo>
                    <a:cubicBezTo>
                      <a:pt x="1478280" y="134345"/>
                      <a:pt x="1485900" y="128630"/>
                      <a:pt x="1477328" y="130535"/>
                    </a:cubicBezTo>
                    <a:lnTo>
                      <a:pt x="1469708" y="141013"/>
                    </a:lnTo>
                    <a:lnTo>
                      <a:pt x="1462088" y="150538"/>
                    </a:lnTo>
                    <a:lnTo>
                      <a:pt x="1463040" y="162920"/>
                    </a:lnTo>
                    <a:lnTo>
                      <a:pt x="1471613" y="165778"/>
                    </a:lnTo>
                    <a:lnTo>
                      <a:pt x="1474470" y="174350"/>
                    </a:lnTo>
                    <a:lnTo>
                      <a:pt x="1478280" y="181018"/>
                    </a:lnTo>
                    <a:lnTo>
                      <a:pt x="1483043" y="184828"/>
                    </a:lnTo>
                    <a:lnTo>
                      <a:pt x="1497330" y="188638"/>
                    </a:lnTo>
                    <a:lnTo>
                      <a:pt x="1497330" y="175303"/>
                    </a:lnTo>
                    <a:lnTo>
                      <a:pt x="1495425" y="179113"/>
                    </a:lnTo>
                    <a:lnTo>
                      <a:pt x="1479233" y="177208"/>
                    </a:lnTo>
                    <a:cubicBezTo>
                      <a:pt x="1479233" y="177208"/>
                      <a:pt x="1470660" y="177208"/>
                      <a:pt x="1465898" y="175303"/>
                    </a:cubicBezTo>
                    <a:cubicBezTo>
                      <a:pt x="1461135" y="173398"/>
                      <a:pt x="1458278" y="172445"/>
                      <a:pt x="1455420" y="169588"/>
                    </a:cubicBezTo>
                    <a:cubicBezTo>
                      <a:pt x="1452563" y="166730"/>
                      <a:pt x="1449705" y="164825"/>
                      <a:pt x="1449705" y="164825"/>
                    </a:cubicBezTo>
                    <a:lnTo>
                      <a:pt x="1441133" y="159110"/>
                    </a:lnTo>
                    <a:cubicBezTo>
                      <a:pt x="1441133" y="159110"/>
                      <a:pt x="1432560" y="157205"/>
                      <a:pt x="1427798" y="155300"/>
                    </a:cubicBezTo>
                    <a:cubicBezTo>
                      <a:pt x="1423035" y="153395"/>
                      <a:pt x="1411605" y="154348"/>
                      <a:pt x="1403033" y="150538"/>
                    </a:cubicBezTo>
                    <a:lnTo>
                      <a:pt x="1394460" y="150538"/>
                    </a:lnTo>
                    <a:lnTo>
                      <a:pt x="1383983" y="149585"/>
                    </a:lnTo>
                    <a:lnTo>
                      <a:pt x="1369695" y="148633"/>
                    </a:lnTo>
                    <a:cubicBezTo>
                      <a:pt x="1369695" y="148633"/>
                      <a:pt x="1355408" y="145775"/>
                      <a:pt x="1348740" y="144823"/>
                    </a:cubicBezTo>
                    <a:cubicBezTo>
                      <a:pt x="1343025" y="143870"/>
                      <a:pt x="1341120" y="141013"/>
                      <a:pt x="1341120" y="141013"/>
                    </a:cubicBezTo>
                    <a:lnTo>
                      <a:pt x="1330643" y="141013"/>
                    </a:lnTo>
                    <a:lnTo>
                      <a:pt x="1327785" y="147680"/>
                    </a:lnTo>
                    <a:lnTo>
                      <a:pt x="1338263" y="152443"/>
                    </a:lnTo>
                    <a:lnTo>
                      <a:pt x="1346835" y="158158"/>
                    </a:lnTo>
                    <a:lnTo>
                      <a:pt x="1346835" y="163873"/>
                    </a:lnTo>
                    <a:lnTo>
                      <a:pt x="1342073" y="167683"/>
                    </a:lnTo>
                    <a:lnTo>
                      <a:pt x="1331595" y="168635"/>
                    </a:lnTo>
                    <a:lnTo>
                      <a:pt x="1320165" y="170540"/>
                    </a:lnTo>
                    <a:lnTo>
                      <a:pt x="1308735" y="170540"/>
                    </a:lnTo>
                    <a:lnTo>
                      <a:pt x="1292543" y="171493"/>
                    </a:lnTo>
                    <a:lnTo>
                      <a:pt x="1274445" y="174350"/>
                    </a:lnTo>
                    <a:lnTo>
                      <a:pt x="1265873" y="175303"/>
                    </a:lnTo>
                    <a:lnTo>
                      <a:pt x="1255395" y="176255"/>
                    </a:lnTo>
                    <a:lnTo>
                      <a:pt x="1244918" y="175303"/>
                    </a:lnTo>
                    <a:lnTo>
                      <a:pt x="1231583" y="171493"/>
                    </a:lnTo>
                    <a:cubicBezTo>
                      <a:pt x="1231583" y="171493"/>
                      <a:pt x="1231583" y="171493"/>
                      <a:pt x="1226820" y="168635"/>
                    </a:cubicBezTo>
                    <a:cubicBezTo>
                      <a:pt x="1222058" y="165778"/>
                      <a:pt x="1221105" y="168635"/>
                      <a:pt x="1221105" y="168635"/>
                    </a:cubicBezTo>
                    <a:cubicBezTo>
                      <a:pt x="1221105" y="168635"/>
                      <a:pt x="1207770" y="169588"/>
                      <a:pt x="1194435" y="171493"/>
                    </a:cubicBezTo>
                    <a:cubicBezTo>
                      <a:pt x="1181100" y="173398"/>
                      <a:pt x="1185863" y="177208"/>
                      <a:pt x="1185863" y="177208"/>
                    </a:cubicBezTo>
                    <a:lnTo>
                      <a:pt x="1161098" y="184828"/>
                    </a:lnTo>
                    <a:lnTo>
                      <a:pt x="1153478" y="187685"/>
                    </a:lnTo>
                    <a:cubicBezTo>
                      <a:pt x="1153478" y="187685"/>
                      <a:pt x="1140143" y="193400"/>
                      <a:pt x="1134428" y="196258"/>
                    </a:cubicBezTo>
                    <a:cubicBezTo>
                      <a:pt x="1128713" y="199115"/>
                      <a:pt x="1121093" y="196258"/>
                      <a:pt x="1121093" y="196258"/>
                    </a:cubicBezTo>
                    <a:lnTo>
                      <a:pt x="1113473" y="201973"/>
                    </a:lnTo>
                    <a:cubicBezTo>
                      <a:pt x="1113473" y="201973"/>
                      <a:pt x="1102043" y="200068"/>
                      <a:pt x="1097280" y="199115"/>
                    </a:cubicBezTo>
                    <a:cubicBezTo>
                      <a:pt x="1092518" y="198163"/>
                      <a:pt x="1088708" y="191495"/>
                      <a:pt x="1088708" y="191495"/>
                    </a:cubicBezTo>
                    <a:cubicBezTo>
                      <a:pt x="1088708" y="191495"/>
                      <a:pt x="1088708" y="191495"/>
                      <a:pt x="1087755" y="188638"/>
                    </a:cubicBezTo>
                    <a:cubicBezTo>
                      <a:pt x="1085850" y="185780"/>
                      <a:pt x="1099185" y="188638"/>
                      <a:pt x="1099185" y="188638"/>
                    </a:cubicBezTo>
                    <a:lnTo>
                      <a:pt x="1121093" y="181018"/>
                    </a:lnTo>
                    <a:cubicBezTo>
                      <a:pt x="1121093" y="181018"/>
                      <a:pt x="1091565" y="180065"/>
                      <a:pt x="1087755" y="179113"/>
                    </a:cubicBezTo>
                    <a:cubicBezTo>
                      <a:pt x="1082993" y="178160"/>
                      <a:pt x="1077278" y="180065"/>
                      <a:pt x="1071563" y="179113"/>
                    </a:cubicBezTo>
                    <a:cubicBezTo>
                      <a:pt x="1065848" y="178160"/>
                      <a:pt x="1062990" y="182923"/>
                      <a:pt x="1062990" y="182923"/>
                    </a:cubicBezTo>
                    <a:lnTo>
                      <a:pt x="1058228" y="190543"/>
                    </a:lnTo>
                    <a:cubicBezTo>
                      <a:pt x="1058228" y="190543"/>
                      <a:pt x="1056323" y="198163"/>
                      <a:pt x="1055370" y="203878"/>
                    </a:cubicBezTo>
                    <a:cubicBezTo>
                      <a:pt x="1053465" y="209593"/>
                      <a:pt x="1048703" y="218165"/>
                      <a:pt x="1048703" y="218165"/>
                    </a:cubicBezTo>
                    <a:cubicBezTo>
                      <a:pt x="1048703" y="218165"/>
                      <a:pt x="1038225" y="216260"/>
                      <a:pt x="1034415" y="214355"/>
                    </a:cubicBezTo>
                    <a:cubicBezTo>
                      <a:pt x="1029653" y="212450"/>
                      <a:pt x="1025843" y="216260"/>
                      <a:pt x="1025843" y="216260"/>
                    </a:cubicBezTo>
                    <a:cubicBezTo>
                      <a:pt x="1025843" y="216260"/>
                      <a:pt x="1025843" y="216260"/>
                      <a:pt x="1021080" y="219118"/>
                    </a:cubicBezTo>
                    <a:cubicBezTo>
                      <a:pt x="1016318" y="221975"/>
                      <a:pt x="1010603" y="224833"/>
                      <a:pt x="1010603" y="224833"/>
                    </a:cubicBezTo>
                    <a:lnTo>
                      <a:pt x="1002983" y="225785"/>
                    </a:lnTo>
                    <a:lnTo>
                      <a:pt x="997268" y="227690"/>
                    </a:lnTo>
                    <a:lnTo>
                      <a:pt x="995363" y="233405"/>
                    </a:lnTo>
                    <a:lnTo>
                      <a:pt x="990600" y="240073"/>
                    </a:lnTo>
                    <a:lnTo>
                      <a:pt x="980123" y="246740"/>
                    </a:lnTo>
                    <a:lnTo>
                      <a:pt x="969645" y="245788"/>
                    </a:lnTo>
                    <a:lnTo>
                      <a:pt x="958215" y="241978"/>
                    </a:lnTo>
                    <a:lnTo>
                      <a:pt x="950595" y="239120"/>
                    </a:lnTo>
                    <a:cubicBezTo>
                      <a:pt x="950595" y="239120"/>
                      <a:pt x="950595" y="239120"/>
                      <a:pt x="940118" y="238168"/>
                    </a:cubicBezTo>
                    <a:cubicBezTo>
                      <a:pt x="929640" y="237215"/>
                      <a:pt x="932498" y="241978"/>
                      <a:pt x="932498" y="241978"/>
                    </a:cubicBezTo>
                    <a:lnTo>
                      <a:pt x="933450" y="250550"/>
                    </a:lnTo>
                    <a:lnTo>
                      <a:pt x="949643" y="258170"/>
                    </a:lnTo>
                    <a:lnTo>
                      <a:pt x="925830" y="257218"/>
                    </a:lnTo>
                    <a:cubicBezTo>
                      <a:pt x="925830" y="257218"/>
                      <a:pt x="915353" y="254360"/>
                      <a:pt x="908685" y="248645"/>
                    </a:cubicBezTo>
                    <a:cubicBezTo>
                      <a:pt x="901065" y="242930"/>
                      <a:pt x="908685" y="248645"/>
                      <a:pt x="908685" y="245788"/>
                    </a:cubicBezTo>
                    <a:cubicBezTo>
                      <a:pt x="908685" y="242930"/>
                      <a:pt x="907733" y="238168"/>
                      <a:pt x="907733" y="238168"/>
                    </a:cubicBezTo>
                    <a:lnTo>
                      <a:pt x="907733" y="231500"/>
                    </a:lnTo>
                    <a:lnTo>
                      <a:pt x="907733" y="225785"/>
                    </a:lnTo>
                    <a:lnTo>
                      <a:pt x="887730" y="215308"/>
                    </a:lnTo>
                    <a:cubicBezTo>
                      <a:pt x="887730" y="215308"/>
                      <a:pt x="887730" y="215308"/>
                      <a:pt x="892493" y="215308"/>
                    </a:cubicBezTo>
                    <a:cubicBezTo>
                      <a:pt x="893445" y="215308"/>
                      <a:pt x="894398" y="215308"/>
                      <a:pt x="895350" y="215308"/>
                    </a:cubicBezTo>
                    <a:cubicBezTo>
                      <a:pt x="898208" y="216260"/>
                      <a:pt x="899160" y="217213"/>
                      <a:pt x="902970" y="216260"/>
                    </a:cubicBezTo>
                    <a:cubicBezTo>
                      <a:pt x="907733" y="215308"/>
                      <a:pt x="923925" y="218165"/>
                      <a:pt x="923925" y="218165"/>
                    </a:cubicBezTo>
                    <a:cubicBezTo>
                      <a:pt x="923925" y="218165"/>
                      <a:pt x="938213" y="217213"/>
                      <a:pt x="942975" y="215308"/>
                    </a:cubicBezTo>
                    <a:cubicBezTo>
                      <a:pt x="947738" y="213403"/>
                      <a:pt x="951548" y="215308"/>
                      <a:pt x="951548" y="215308"/>
                    </a:cubicBezTo>
                    <a:lnTo>
                      <a:pt x="962025" y="217213"/>
                    </a:lnTo>
                    <a:lnTo>
                      <a:pt x="983933" y="219118"/>
                    </a:lnTo>
                    <a:lnTo>
                      <a:pt x="1002030" y="213403"/>
                    </a:lnTo>
                    <a:lnTo>
                      <a:pt x="1007745" y="201973"/>
                    </a:lnTo>
                    <a:cubicBezTo>
                      <a:pt x="1007745" y="201973"/>
                      <a:pt x="1004888" y="193400"/>
                      <a:pt x="1001078" y="189590"/>
                    </a:cubicBezTo>
                    <a:cubicBezTo>
                      <a:pt x="996315" y="185780"/>
                      <a:pt x="989648" y="186733"/>
                      <a:pt x="984885" y="185780"/>
                    </a:cubicBezTo>
                    <a:cubicBezTo>
                      <a:pt x="980123" y="184828"/>
                      <a:pt x="968693" y="179113"/>
                      <a:pt x="968693" y="179113"/>
                    </a:cubicBezTo>
                    <a:lnTo>
                      <a:pt x="952500" y="173398"/>
                    </a:lnTo>
                    <a:lnTo>
                      <a:pt x="942023" y="169588"/>
                    </a:lnTo>
                    <a:lnTo>
                      <a:pt x="927735" y="166730"/>
                    </a:lnTo>
                    <a:lnTo>
                      <a:pt x="916305" y="163873"/>
                    </a:lnTo>
                    <a:lnTo>
                      <a:pt x="896303" y="159110"/>
                    </a:lnTo>
                    <a:lnTo>
                      <a:pt x="887730" y="155300"/>
                    </a:lnTo>
                    <a:cubicBezTo>
                      <a:pt x="887730" y="155300"/>
                      <a:pt x="873443" y="151490"/>
                      <a:pt x="868680" y="151490"/>
                    </a:cubicBezTo>
                    <a:cubicBezTo>
                      <a:pt x="863918" y="151490"/>
                      <a:pt x="855345" y="147680"/>
                      <a:pt x="851535" y="146728"/>
                    </a:cubicBezTo>
                    <a:cubicBezTo>
                      <a:pt x="846773" y="145775"/>
                      <a:pt x="840105" y="142918"/>
                      <a:pt x="834390" y="139108"/>
                    </a:cubicBezTo>
                    <a:lnTo>
                      <a:pt x="818198" y="137203"/>
                    </a:lnTo>
                    <a:lnTo>
                      <a:pt x="787718" y="136250"/>
                    </a:lnTo>
                    <a:lnTo>
                      <a:pt x="760095" y="133393"/>
                    </a:lnTo>
                    <a:lnTo>
                      <a:pt x="754380" y="133393"/>
                    </a:lnTo>
                    <a:lnTo>
                      <a:pt x="736283" y="134345"/>
                    </a:lnTo>
                    <a:cubicBezTo>
                      <a:pt x="736283" y="134345"/>
                      <a:pt x="720090" y="135298"/>
                      <a:pt x="715328" y="135298"/>
                    </a:cubicBezTo>
                    <a:cubicBezTo>
                      <a:pt x="710565" y="135298"/>
                      <a:pt x="701993" y="140060"/>
                      <a:pt x="701993" y="140060"/>
                    </a:cubicBezTo>
                    <a:lnTo>
                      <a:pt x="690563" y="140060"/>
                    </a:lnTo>
                    <a:lnTo>
                      <a:pt x="684848" y="140060"/>
                    </a:lnTo>
                    <a:lnTo>
                      <a:pt x="670560" y="141965"/>
                    </a:lnTo>
                    <a:lnTo>
                      <a:pt x="662940" y="142918"/>
                    </a:lnTo>
                    <a:lnTo>
                      <a:pt x="652463" y="147680"/>
                    </a:lnTo>
                    <a:cubicBezTo>
                      <a:pt x="652463" y="147680"/>
                      <a:pt x="641985" y="153395"/>
                      <a:pt x="637223" y="153395"/>
                    </a:cubicBezTo>
                    <a:cubicBezTo>
                      <a:pt x="632460" y="153395"/>
                      <a:pt x="619125" y="158158"/>
                      <a:pt x="619125" y="158158"/>
                    </a:cubicBezTo>
                    <a:lnTo>
                      <a:pt x="605790" y="161968"/>
                    </a:lnTo>
                    <a:lnTo>
                      <a:pt x="598170" y="165778"/>
                    </a:lnTo>
                    <a:lnTo>
                      <a:pt x="587693" y="170540"/>
                    </a:lnTo>
                    <a:lnTo>
                      <a:pt x="579120" y="180065"/>
                    </a:lnTo>
                    <a:lnTo>
                      <a:pt x="576263" y="183875"/>
                    </a:lnTo>
                    <a:lnTo>
                      <a:pt x="560070" y="195305"/>
                    </a:lnTo>
                    <a:lnTo>
                      <a:pt x="551498" y="200068"/>
                    </a:lnTo>
                    <a:cubicBezTo>
                      <a:pt x="551498" y="200068"/>
                      <a:pt x="541020" y="206735"/>
                      <a:pt x="535305" y="208640"/>
                    </a:cubicBezTo>
                    <a:cubicBezTo>
                      <a:pt x="529590" y="210545"/>
                      <a:pt x="529590" y="218165"/>
                      <a:pt x="524828" y="220070"/>
                    </a:cubicBezTo>
                    <a:cubicBezTo>
                      <a:pt x="520065" y="221975"/>
                      <a:pt x="520065" y="227690"/>
                      <a:pt x="520065" y="227690"/>
                    </a:cubicBezTo>
                    <a:lnTo>
                      <a:pt x="512445" y="237215"/>
                    </a:lnTo>
                    <a:cubicBezTo>
                      <a:pt x="512445" y="237215"/>
                      <a:pt x="499110" y="244835"/>
                      <a:pt x="494348" y="245788"/>
                    </a:cubicBezTo>
                    <a:cubicBezTo>
                      <a:pt x="489585" y="246740"/>
                      <a:pt x="485775" y="255313"/>
                      <a:pt x="478155" y="257218"/>
                    </a:cubicBezTo>
                    <a:cubicBezTo>
                      <a:pt x="470535" y="259123"/>
                      <a:pt x="478155" y="257218"/>
                      <a:pt x="467678" y="259123"/>
                    </a:cubicBezTo>
                    <a:cubicBezTo>
                      <a:pt x="457200" y="261028"/>
                      <a:pt x="461963" y="263885"/>
                      <a:pt x="457200" y="265790"/>
                    </a:cubicBezTo>
                    <a:cubicBezTo>
                      <a:pt x="452438" y="267695"/>
                      <a:pt x="439103" y="268648"/>
                      <a:pt x="439103" y="268648"/>
                    </a:cubicBezTo>
                    <a:lnTo>
                      <a:pt x="428625" y="274363"/>
                    </a:lnTo>
                    <a:lnTo>
                      <a:pt x="422910" y="278173"/>
                    </a:lnTo>
                    <a:lnTo>
                      <a:pt x="415290" y="283888"/>
                    </a:lnTo>
                    <a:lnTo>
                      <a:pt x="409575" y="286745"/>
                    </a:lnTo>
                    <a:lnTo>
                      <a:pt x="401003" y="295318"/>
                    </a:lnTo>
                    <a:lnTo>
                      <a:pt x="395288" y="304843"/>
                    </a:lnTo>
                    <a:cubicBezTo>
                      <a:pt x="395288" y="304843"/>
                      <a:pt x="399098" y="314368"/>
                      <a:pt x="398145" y="317225"/>
                    </a:cubicBezTo>
                    <a:cubicBezTo>
                      <a:pt x="396240" y="320083"/>
                      <a:pt x="401003" y="329608"/>
                      <a:pt x="401003" y="329608"/>
                    </a:cubicBezTo>
                    <a:lnTo>
                      <a:pt x="401003" y="334370"/>
                    </a:lnTo>
                    <a:lnTo>
                      <a:pt x="405765" y="338180"/>
                    </a:lnTo>
                    <a:lnTo>
                      <a:pt x="411480" y="342943"/>
                    </a:lnTo>
                    <a:lnTo>
                      <a:pt x="414338" y="351515"/>
                    </a:lnTo>
                    <a:lnTo>
                      <a:pt x="420053" y="361993"/>
                    </a:lnTo>
                    <a:lnTo>
                      <a:pt x="427673" y="361993"/>
                    </a:lnTo>
                    <a:lnTo>
                      <a:pt x="443865" y="360088"/>
                    </a:lnTo>
                    <a:lnTo>
                      <a:pt x="452438" y="355325"/>
                    </a:lnTo>
                    <a:lnTo>
                      <a:pt x="460058" y="352468"/>
                    </a:lnTo>
                    <a:lnTo>
                      <a:pt x="462915" y="348658"/>
                    </a:lnTo>
                    <a:lnTo>
                      <a:pt x="467678" y="343895"/>
                    </a:lnTo>
                    <a:lnTo>
                      <a:pt x="478155" y="341990"/>
                    </a:lnTo>
                    <a:lnTo>
                      <a:pt x="483870" y="341038"/>
                    </a:lnTo>
                    <a:lnTo>
                      <a:pt x="492443" y="341990"/>
                    </a:lnTo>
                    <a:lnTo>
                      <a:pt x="493395" y="351515"/>
                    </a:lnTo>
                    <a:lnTo>
                      <a:pt x="499110" y="358183"/>
                    </a:lnTo>
                    <a:lnTo>
                      <a:pt x="504825" y="363898"/>
                    </a:lnTo>
                    <a:lnTo>
                      <a:pt x="512445" y="367708"/>
                    </a:lnTo>
                    <a:lnTo>
                      <a:pt x="522923" y="377233"/>
                    </a:lnTo>
                    <a:lnTo>
                      <a:pt x="521018" y="384853"/>
                    </a:lnTo>
                    <a:lnTo>
                      <a:pt x="523875" y="395330"/>
                    </a:lnTo>
                    <a:lnTo>
                      <a:pt x="538163" y="399140"/>
                    </a:lnTo>
                    <a:lnTo>
                      <a:pt x="549593" y="398188"/>
                    </a:lnTo>
                    <a:lnTo>
                      <a:pt x="558165" y="393425"/>
                    </a:lnTo>
                    <a:lnTo>
                      <a:pt x="569595" y="389615"/>
                    </a:lnTo>
                    <a:cubicBezTo>
                      <a:pt x="569595" y="389615"/>
                      <a:pt x="578168" y="385805"/>
                      <a:pt x="580073" y="382948"/>
                    </a:cubicBezTo>
                    <a:cubicBezTo>
                      <a:pt x="581978" y="380090"/>
                      <a:pt x="585788" y="381995"/>
                      <a:pt x="585788" y="379138"/>
                    </a:cubicBezTo>
                    <a:cubicBezTo>
                      <a:pt x="585788" y="376280"/>
                      <a:pt x="585788" y="373423"/>
                      <a:pt x="585788" y="373423"/>
                    </a:cubicBezTo>
                    <a:lnTo>
                      <a:pt x="596265" y="361993"/>
                    </a:lnTo>
                    <a:lnTo>
                      <a:pt x="601028" y="355325"/>
                    </a:lnTo>
                    <a:cubicBezTo>
                      <a:pt x="601028" y="355325"/>
                      <a:pt x="606743" y="351515"/>
                      <a:pt x="606743" y="348658"/>
                    </a:cubicBezTo>
                    <a:cubicBezTo>
                      <a:pt x="606743" y="345800"/>
                      <a:pt x="614363" y="344848"/>
                      <a:pt x="614363" y="341990"/>
                    </a:cubicBezTo>
                    <a:cubicBezTo>
                      <a:pt x="614363" y="339133"/>
                      <a:pt x="620078" y="337228"/>
                      <a:pt x="620078" y="337228"/>
                    </a:cubicBezTo>
                    <a:lnTo>
                      <a:pt x="621983" y="323893"/>
                    </a:lnTo>
                    <a:lnTo>
                      <a:pt x="621983" y="319130"/>
                    </a:lnTo>
                    <a:lnTo>
                      <a:pt x="616268" y="318178"/>
                    </a:lnTo>
                    <a:lnTo>
                      <a:pt x="604838" y="317225"/>
                    </a:lnTo>
                    <a:lnTo>
                      <a:pt x="599123" y="314368"/>
                    </a:lnTo>
                    <a:lnTo>
                      <a:pt x="599123" y="307700"/>
                    </a:lnTo>
                    <a:cubicBezTo>
                      <a:pt x="599123" y="307700"/>
                      <a:pt x="599123" y="307700"/>
                      <a:pt x="601028" y="301033"/>
                    </a:cubicBezTo>
                    <a:cubicBezTo>
                      <a:pt x="601028" y="301033"/>
                      <a:pt x="601028" y="301033"/>
                      <a:pt x="614363" y="291508"/>
                    </a:cubicBezTo>
                    <a:cubicBezTo>
                      <a:pt x="614363" y="291508"/>
                      <a:pt x="621983" y="290555"/>
                      <a:pt x="622935" y="287698"/>
                    </a:cubicBezTo>
                    <a:cubicBezTo>
                      <a:pt x="624840" y="284840"/>
                      <a:pt x="631508" y="283888"/>
                      <a:pt x="636270" y="277220"/>
                    </a:cubicBezTo>
                    <a:cubicBezTo>
                      <a:pt x="641033" y="270553"/>
                      <a:pt x="636270" y="277220"/>
                      <a:pt x="641033" y="273410"/>
                    </a:cubicBezTo>
                    <a:cubicBezTo>
                      <a:pt x="645795" y="269600"/>
                      <a:pt x="649605" y="269600"/>
                      <a:pt x="649605" y="265790"/>
                    </a:cubicBezTo>
                    <a:cubicBezTo>
                      <a:pt x="649605" y="261980"/>
                      <a:pt x="658178" y="260075"/>
                      <a:pt x="658178" y="260075"/>
                    </a:cubicBezTo>
                    <a:lnTo>
                      <a:pt x="661035" y="250550"/>
                    </a:lnTo>
                    <a:cubicBezTo>
                      <a:pt x="661035" y="250550"/>
                      <a:pt x="661035" y="250550"/>
                      <a:pt x="662940" y="245788"/>
                    </a:cubicBezTo>
                    <a:cubicBezTo>
                      <a:pt x="664845" y="241025"/>
                      <a:pt x="668655" y="240073"/>
                      <a:pt x="668655" y="240073"/>
                    </a:cubicBezTo>
                    <a:lnTo>
                      <a:pt x="680085" y="233405"/>
                    </a:lnTo>
                    <a:lnTo>
                      <a:pt x="688658" y="231500"/>
                    </a:lnTo>
                    <a:lnTo>
                      <a:pt x="696278" y="228643"/>
                    </a:lnTo>
                    <a:lnTo>
                      <a:pt x="707708" y="227690"/>
                    </a:lnTo>
                    <a:cubicBezTo>
                      <a:pt x="707708" y="227690"/>
                      <a:pt x="713423" y="229595"/>
                      <a:pt x="719138" y="228643"/>
                    </a:cubicBezTo>
                    <a:cubicBezTo>
                      <a:pt x="724853" y="227690"/>
                      <a:pt x="733425" y="231500"/>
                      <a:pt x="733425" y="231500"/>
                    </a:cubicBezTo>
                    <a:lnTo>
                      <a:pt x="733425" y="237215"/>
                    </a:lnTo>
                    <a:lnTo>
                      <a:pt x="730568" y="244835"/>
                    </a:lnTo>
                    <a:lnTo>
                      <a:pt x="727710" y="251503"/>
                    </a:lnTo>
                    <a:lnTo>
                      <a:pt x="724853" y="256265"/>
                    </a:lnTo>
                    <a:lnTo>
                      <a:pt x="720090" y="261028"/>
                    </a:lnTo>
                    <a:cubicBezTo>
                      <a:pt x="720090" y="261028"/>
                      <a:pt x="706755" y="266743"/>
                      <a:pt x="701993" y="266743"/>
                    </a:cubicBezTo>
                    <a:cubicBezTo>
                      <a:pt x="697230" y="266743"/>
                      <a:pt x="685800" y="271505"/>
                      <a:pt x="685800" y="271505"/>
                    </a:cubicBezTo>
                    <a:cubicBezTo>
                      <a:pt x="685800" y="271505"/>
                      <a:pt x="682943" y="275315"/>
                      <a:pt x="678180" y="275315"/>
                    </a:cubicBezTo>
                    <a:cubicBezTo>
                      <a:pt x="673418" y="275315"/>
                      <a:pt x="678180" y="281030"/>
                      <a:pt x="678180" y="281030"/>
                    </a:cubicBezTo>
                    <a:lnTo>
                      <a:pt x="676275" y="291508"/>
                    </a:lnTo>
                    <a:lnTo>
                      <a:pt x="677228" y="301033"/>
                    </a:lnTo>
                    <a:lnTo>
                      <a:pt x="672465" y="311510"/>
                    </a:lnTo>
                    <a:lnTo>
                      <a:pt x="678180" y="321988"/>
                    </a:lnTo>
                    <a:lnTo>
                      <a:pt x="683895" y="324845"/>
                    </a:lnTo>
                    <a:lnTo>
                      <a:pt x="695325" y="324845"/>
                    </a:lnTo>
                    <a:lnTo>
                      <a:pt x="705803" y="328655"/>
                    </a:lnTo>
                    <a:lnTo>
                      <a:pt x="720090" y="329608"/>
                    </a:lnTo>
                    <a:lnTo>
                      <a:pt x="733425" y="328655"/>
                    </a:lnTo>
                    <a:lnTo>
                      <a:pt x="743903" y="326750"/>
                    </a:lnTo>
                    <a:lnTo>
                      <a:pt x="752475" y="323893"/>
                    </a:lnTo>
                    <a:lnTo>
                      <a:pt x="760095" y="323893"/>
                    </a:lnTo>
                    <a:lnTo>
                      <a:pt x="779145" y="323893"/>
                    </a:lnTo>
                    <a:lnTo>
                      <a:pt x="793433" y="324845"/>
                    </a:lnTo>
                    <a:lnTo>
                      <a:pt x="796290" y="328655"/>
                    </a:lnTo>
                    <a:lnTo>
                      <a:pt x="790575" y="337228"/>
                    </a:lnTo>
                    <a:lnTo>
                      <a:pt x="782003" y="337228"/>
                    </a:lnTo>
                    <a:lnTo>
                      <a:pt x="776288" y="339133"/>
                    </a:lnTo>
                    <a:lnTo>
                      <a:pt x="758190" y="340085"/>
                    </a:lnTo>
                    <a:lnTo>
                      <a:pt x="740093" y="341990"/>
                    </a:lnTo>
                    <a:lnTo>
                      <a:pt x="725805" y="343895"/>
                    </a:lnTo>
                    <a:lnTo>
                      <a:pt x="721043" y="347705"/>
                    </a:lnTo>
                    <a:lnTo>
                      <a:pt x="719138" y="353420"/>
                    </a:lnTo>
                    <a:lnTo>
                      <a:pt x="713423" y="360088"/>
                    </a:lnTo>
                    <a:lnTo>
                      <a:pt x="705803" y="368660"/>
                    </a:lnTo>
                    <a:lnTo>
                      <a:pt x="695325" y="370565"/>
                    </a:lnTo>
                    <a:lnTo>
                      <a:pt x="687705" y="370565"/>
                    </a:lnTo>
                    <a:lnTo>
                      <a:pt x="674370" y="372470"/>
                    </a:lnTo>
                    <a:lnTo>
                      <a:pt x="669608" y="378185"/>
                    </a:lnTo>
                    <a:lnTo>
                      <a:pt x="664845" y="382948"/>
                    </a:lnTo>
                    <a:lnTo>
                      <a:pt x="662940" y="388663"/>
                    </a:lnTo>
                    <a:lnTo>
                      <a:pt x="657225" y="398188"/>
                    </a:lnTo>
                    <a:lnTo>
                      <a:pt x="649605" y="404855"/>
                    </a:lnTo>
                    <a:lnTo>
                      <a:pt x="627698" y="409618"/>
                    </a:lnTo>
                    <a:lnTo>
                      <a:pt x="600075" y="414380"/>
                    </a:lnTo>
                    <a:lnTo>
                      <a:pt x="594360" y="414380"/>
                    </a:lnTo>
                    <a:cubicBezTo>
                      <a:pt x="594360" y="414380"/>
                      <a:pt x="583883" y="416285"/>
                      <a:pt x="578168" y="415333"/>
                    </a:cubicBezTo>
                    <a:cubicBezTo>
                      <a:pt x="572453" y="414380"/>
                      <a:pt x="564833" y="418190"/>
                      <a:pt x="560070" y="417238"/>
                    </a:cubicBezTo>
                    <a:cubicBezTo>
                      <a:pt x="555308" y="416285"/>
                      <a:pt x="551498" y="418190"/>
                      <a:pt x="551498" y="418190"/>
                    </a:cubicBezTo>
                    <a:lnTo>
                      <a:pt x="540068" y="417238"/>
                    </a:lnTo>
                    <a:lnTo>
                      <a:pt x="523875" y="414380"/>
                    </a:lnTo>
                    <a:cubicBezTo>
                      <a:pt x="523875" y="414380"/>
                      <a:pt x="510540" y="414380"/>
                      <a:pt x="506730" y="413428"/>
                    </a:cubicBezTo>
                    <a:cubicBezTo>
                      <a:pt x="501968" y="412475"/>
                      <a:pt x="498158" y="413428"/>
                      <a:pt x="498158" y="413428"/>
                    </a:cubicBezTo>
                    <a:lnTo>
                      <a:pt x="486728" y="413428"/>
                    </a:lnTo>
                    <a:cubicBezTo>
                      <a:pt x="486728" y="413428"/>
                      <a:pt x="486728" y="413428"/>
                      <a:pt x="481965" y="407713"/>
                    </a:cubicBezTo>
                    <a:lnTo>
                      <a:pt x="498158" y="401045"/>
                    </a:lnTo>
                    <a:lnTo>
                      <a:pt x="493395" y="395330"/>
                    </a:lnTo>
                    <a:lnTo>
                      <a:pt x="484823" y="391520"/>
                    </a:lnTo>
                    <a:lnTo>
                      <a:pt x="484823" y="386758"/>
                    </a:lnTo>
                    <a:lnTo>
                      <a:pt x="477203" y="376280"/>
                    </a:lnTo>
                    <a:lnTo>
                      <a:pt x="474345" y="369613"/>
                    </a:lnTo>
                    <a:lnTo>
                      <a:pt x="466725" y="368660"/>
                    </a:lnTo>
                    <a:lnTo>
                      <a:pt x="461010" y="374375"/>
                    </a:lnTo>
                    <a:lnTo>
                      <a:pt x="450533" y="377233"/>
                    </a:lnTo>
                    <a:lnTo>
                      <a:pt x="445770" y="381995"/>
                    </a:lnTo>
                    <a:lnTo>
                      <a:pt x="443865" y="390568"/>
                    </a:lnTo>
                    <a:lnTo>
                      <a:pt x="443865" y="399140"/>
                    </a:lnTo>
                    <a:lnTo>
                      <a:pt x="446723" y="408665"/>
                    </a:lnTo>
                    <a:lnTo>
                      <a:pt x="449580" y="403903"/>
                    </a:lnTo>
                    <a:lnTo>
                      <a:pt x="446723" y="414380"/>
                    </a:lnTo>
                    <a:lnTo>
                      <a:pt x="435293" y="416285"/>
                    </a:lnTo>
                    <a:cubicBezTo>
                      <a:pt x="435293" y="416285"/>
                      <a:pt x="435293" y="416285"/>
                      <a:pt x="430530" y="416285"/>
                    </a:cubicBezTo>
                    <a:cubicBezTo>
                      <a:pt x="425768" y="416285"/>
                      <a:pt x="424815" y="418190"/>
                      <a:pt x="420053" y="417238"/>
                    </a:cubicBezTo>
                    <a:cubicBezTo>
                      <a:pt x="415290" y="416285"/>
                      <a:pt x="411480" y="417238"/>
                      <a:pt x="411480" y="417238"/>
                    </a:cubicBezTo>
                    <a:lnTo>
                      <a:pt x="389573" y="421048"/>
                    </a:lnTo>
                    <a:cubicBezTo>
                      <a:pt x="389573" y="421048"/>
                      <a:pt x="387668" y="425810"/>
                      <a:pt x="383858" y="427715"/>
                    </a:cubicBezTo>
                    <a:cubicBezTo>
                      <a:pt x="379095" y="429620"/>
                      <a:pt x="379095" y="433430"/>
                      <a:pt x="379095" y="433430"/>
                    </a:cubicBezTo>
                    <a:lnTo>
                      <a:pt x="376238" y="440098"/>
                    </a:lnTo>
                    <a:cubicBezTo>
                      <a:pt x="376238" y="440098"/>
                      <a:pt x="367665" y="446765"/>
                      <a:pt x="362903" y="447718"/>
                    </a:cubicBezTo>
                    <a:cubicBezTo>
                      <a:pt x="358140" y="448670"/>
                      <a:pt x="352425" y="450575"/>
                      <a:pt x="348615" y="451528"/>
                    </a:cubicBezTo>
                    <a:cubicBezTo>
                      <a:pt x="343853" y="452480"/>
                      <a:pt x="340043" y="457243"/>
                      <a:pt x="340043" y="457243"/>
                    </a:cubicBezTo>
                    <a:lnTo>
                      <a:pt x="334328" y="464863"/>
                    </a:lnTo>
                    <a:lnTo>
                      <a:pt x="328613" y="468673"/>
                    </a:lnTo>
                    <a:cubicBezTo>
                      <a:pt x="328613" y="468673"/>
                      <a:pt x="320040" y="471530"/>
                      <a:pt x="312420" y="472483"/>
                    </a:cubicBezTo>
                    <a:cubicBezTo>
                      <a:pt x="304800" y="473435"/>
                      <a:pt x="299085" y="477245"/>
                      <a:pt x="299085" y="477245"/>
                    </a:cubicBezTo>
                    <a:lnTo>
                      <a:pt x="293370" y="480103"/>
                    </a:lnTo>
                    <a:lnTo>
                      <a:pt x="282893" y="481055"/>
                    </a:lnTo>
                    <a:lnTo>
                      <a:pt x="275273" y="484865"/>
                    </a:lnTo>
                    <a:lnTo>
                      <a:pt x="260033" y="489628"/>
                    </a:lnTo>
                    <a:lnTo>
                      <a:pt x="248603" y="489628"/>
                    </a:lnTo>
                    <a:lnTo>
                      <a:pt x="224790" y="490580"/>
                    </a:lnTo>
                    <a:lnTo>
                      <a:pt x="214313" y="496295"/>
                    </a:lnTo>
                    <a:lnTo>
                      <a:pt x="217170" y="500105"/>
                    </a:lnTo>
                    <a:lnTo>
                      <a:pt x="222885" y="502963"/>
                    </a:lnTo>
                    <a:lnTo>
                      <a:pt x="228600" y="505820"/>
                    </a:lnTo>
                    <a:lnTo>
                      <a:pt x="234315" y="506773"/>
                    </a:lnTo>
                    <a:lnTo>
                      <a:pt x="245745" y="508678"/>
                    </a:lnTo>
                    <a:lnTo>
                      <a:pt x="254318" y="509630"/>
                    </a:lnTo>
                    <a:cubicBezTo>
                      <a:pt x="254318" y="509630"/>
                      <a:pt x="260033" y="513440"/>
                      <a:pt x="273368" y="520108"/>
                    </a:cubicBezTo>
                    <a:cubicBezTo>
                      <a:pt x="286703" y="526775"/>
                      <a:pt x="276225" y="524870"/>
                      <a:pt x="276225" y="524870"/>
                    </a:cubicBezTo>
                    <a:cubicBezTo>
                      <a:pt x="276225" y="524870"/>
                      <a:pt x="277178" y="529633"/>
                      <a:pt x="276225" y="532490"/>
                    </a:cubicBezTo>
                    <a:cubicBezTo>
                      <a:pt x="274320" y="535348"/>
                      <a:pt x="276225" y="538205"/>
                      <a:pt x="276225" y="538205"/>
                    </a:cubicBezTo>
                    <a:cubicBezTo>
                      <a:pt x="276225" y="538205"/>
                      <a:pt x="274320" y="547730"/>
                      <a:pt x="273368" y="550588"/>
                    </a:cubicBezTo>
                    <a:cubicBezTo>
                      <a:pt x="271463" y="553445"/>
                      <a:pt x="268605" y="561065"/>
                      <a:pt x="268605" y="561065"/>
                    </a:cubicBezTo>
                    <a:cubicBezTo>
                      <a:pt x="268605" y="561065"/>
                      <a:pt x="268605" y="561065"/>
                      <a:pt x="262890" y="562018"/>
                    </a:cubicBezTo>
                    <a:cubicBezTo>
                      <a:pt x="257175" y="562970"/>
                      <a:pt x="257175" y="562018"/>
                      <a:pt x="257175" y="562018"/>
                    </a:cubicBezTo>
                    <a:cubicBezTo>
                      <a:pt x="257175" y="562018"/>
                      <a:pt x="251460" y="564875"/>
                      <a:pt x="246698" y="564875"/>
                    </a:cubicBezTo>
                    <a:cubicBezTo>
                      <a:pt x="241935" y="564875"/>
                      <a:pt x="236220" y="564875"/>
                      <a:pt x="236220" y="564875"/>
                    </a:cubicBezTo>
                    <a:lnTo>
                      <a:pt x="225743" y="564875"/>
                    </a:lnTo>
                    <a:cubicBezTo>
                      <a:pt x="225743" y="564875"/>
                      <a:pt x="212408" y="564875"/>
                      <a:pt x="206693" y="564875"/>
                    </a:cubicBezTo>
                    <a:cubicBezTo>
                      <a:pt x="200978" y="564875"/>
                      <a:pt x="196215" y="563923"/>
                      <a:pt x="192405" y="563923"/>
                    </a:cubicBezTo>
                    <a:cubicBezTo>
                      <a:pt x="187643" y="563923"/>
                      <a:pt x="186690" y="561065"/>
                      <a:pt x="186690" y="561065"/>
                    </a:cubicBezTo>
                    <a:lnTo>
                      <a:pt x="178118" y="560113"/>
                    </a:lnTo>
                    <a:lnTo>
                      <a:pt x="170498" y="560113"/>
                    </a:lnTo>
                    <a:lnTo>
                      <a:pt x="161925" y="562018"/>
                    </a:lnTo>
                    <a:cubicBezTo>
                      <a:pt x="161925" y="562018"/>
                      <a:pt x="161925" y="562018"/>
                      <a:pt x="153353" y="564875"/>
                    </a:cubicBezTo>
                    <a:lnTo>
                      <a:pt x="151448" y="570590"/>
                    </a:lnTo>
                    <a:lnTo>
                      <a:pt x="149543" y="581068"/>
                    </a:lnTo>
                    <a:lnTo>
                      <a:pt x="144780" y="586783"/>
                    </a:lnTo>
                    <a:lnTo>
                      <a:pt x="141923" y="592498"/>
                    </a:lnTo>
                    <a:lnTo>
                      <a:pt x="144780" y="602975"/>
                    </a:lnTo>
                    <a:lnTo>
                      <a:pt x="145733" y="611548"/>
                    </a:lnTo>
                    <a:cubicBezTo>
                      <a:pt x="145733" y="611548"/>
                      <a:pt x="143828" y="622025"/>
                      <a:pt x="143828" y="624883"/>
                    </a:cubicBezTo>
                    <a:cubicBezTo>
                      <a:pt x="143828" y="627740"/>
                      <a:pt x="144780" y="631550"/>
                      <a:pt x="144780" y="631550"/>
                    </a:cubicBezTo>
                    <a:lnTo>
                      <a:pt x="145733" y="642028"/>
                    </a:lnTo>
                    <a:lnTo>
                      <a:pt x="167640" y="647743"/>
                    </a:lnTo>
                    <a:lnTo>
                      <a:pt x="188595" y="649648"/>
                    </a:lnTo>
                    <a:lnTo>
                      <a:pt x="204788" y="648695"/>
                    </a:lnTo>
                    <a:lnTo>
                      <a:pt x="223838" y="646790"/>
                    </a:lnTo>
                    <a:lnTo>
                      <a:pt x="237173" y="647743"/>
                    </a:lnTo>
                    <a:cubicBezTo>
                      <a:pt x="237173" y="647743"/>
                      <a:pt x="245745" y="646790"/>
                      <a:pt x="251460" y="644885"/>
                    </a:cubicBezTo>
                    <a:cubicBezTo>
                      <a:pt x="257175" y="642980"/>
                      <a:pt x="260033" y="642980"/>
                      <a:pt x="260033" y="642980"/>
                    </a:cubicBezTo>
                    <a:lnTo>
                      <a:pt x="265748" y="642028"/>
                    </a:lnTo>
                    <a:lnTo>
                      <a:pt x="280988" y="635360"/>
                    </a:lnTo>
                    <a:lnTo>
                      <a:pt x="286703" y="633455"/>
                    </a:lnTo>
                    <a:lnTo>
                      <a:pt x="292418" y="629645"/>
                    </a:lnTo>
                    <a:lnTo>
                      <a:pt x="302895" y="622978"/>
                    </a:lnTo>
                    <a:lnTo>
                      <a:pt x="302895" y="617263"/>
                    </a:lnTo>
                    <a:cubicBezTo>
                      <a:pt x="302895" y="617263"/>
                      <a:pt x="302895" y="613453"/>
                      <a:pt x="305753" y="608690"/>
                    </a:cubicBezTo>
                    <a:lnTo>
                      <a:pt x="313373" y="607738"/>
                    </a:lnTo>
                    <a:lnTo>
                      <a:pt x="319088" y="602975"/>
                    </a:lnTo>
                    <a:lnTo>
                      <a:pt x="320993" y="597260"/>
                    </a:lnTo>
                    <a:cubicBezTo>
                      <a:pt x="320993" y="597260"/>
                      <a:pt x="320993" y="597260"/>
                      <a:pt x="326708" y="593450"/>
                    </a:cubicBezTo>
                    <a:lnTo>
                      <a:pt x="344805" y="589640"/>
                    </a:lnTo>
                    <a:lnTo>
                      <a:pt x="353378" y="582020"/>
                    </a:lnTo>
                    <a:lnTo>
                      <a:pt x="359093" y="579163"/>
                    </a:lnTo>
                    <a:lnTo>
                      <a:pt x="361950" y="574400"/>
                    </a:lnTo>
                    <a:lnTo>
                      <a:pt x="366713" y="570590"/>
                    </a:lnTo>
                    <a:lnTo>
                      <a:pt x="368618" y="566780"/>
                    </a:lnTo>
                    <a:lnTo>
                      <a:pt x="374333" y="562018"/>
                    </a:lnTo>
                    <a:lnTo>
                      <a:pt x="382905" y="563923"/>
                    </a:lnTo>
                    <a:lnTo>
                      <a:pt x="388620" y="563923"/>
                    </a:lnTo>
                    <a:lnTo>
                      <a:pt x="391478" y="568685"/>
                    </a:lnTo>
                    <a:lnTo>
                      <a:pt x="397193" y="571543"/>
                    </a:lnTo>
                    <a:lnTo>
                      <a:pt x="404813" y="573448"/>
                    </a:lnTo>
                    <a:lnTo>
                      <a:pt x="410528" y="572495"/>
                    </a:lnTo>
                    <a:lnTo>
                      <a:pt x="416243" y="571543"/>
                    </a:lnTo>
                    <a:lnTo>
                      <a:pt x="426720" y="565828"/>
                    </a:lnTo>
                    <a:lnTo>
                      <a:pt x="434340" y="560113"/>
                    </a:lnTo>
                    <a:lnTo>
                      <a:pt x="440055" y="557255"/>
                    </a:lnTo>
                    <a:lnTo>
                      <a:pt x="447675" y="553445"/>
                    </a:lnTo>
                    <a:lnTo>
                      <a:pt x="455295" y="554398"/>
                    </a:lnTo>
                    <a:lnTo>
                      <a:pt x="462915" y="554398"/>
                    </a:lnTo>
                    <a:lnTo>
                      <a:pt x="468630" y="556303"/>
                    </a:lnTo>
                    <a:lnTo>
                      <a:pt x="474345" y="558208"/>
                    </a:lnTo>
                    <a:lnTo>
                      <a:pt x="482918" y="562018"/>
                    </a:lnTo>
                    <a:lnTo>
                      <a:pt x="493395" y="568685"/>
                    </a:lnTo>
                    <a:lnTo>
                      <a:pt x="496253" y="574400"/>
                    </a:lnTo>
                    <a:lnTo>
                      <a:pt x="504825" y="580115"/>
                    </a:lnTo>
                    <a:lnTo>
                      <a:pt x="512445" y="585830"/>
                    </a:lnTo>
                    <a:lnTo>
                      <a:pt x="521018" y="592498"/>
                    </a:lnTo>
                    <a:lnTo>
                      <a:pt x="526733" y="594403"/>
                    </a:lnTo>
                    <a:lnTo>
                      <a:pt x="537210" y="598213"/>
                    </a:lnTo>
                    <a:lnTo>
                      <a:pt x="551498" y="603928"/>
                    </a:lnTo>
                    <a:lnTo>
                      <a:pt x="560070" y="605833"/>
                    </a:lnTo>
                    <a:lnTo>
                      <a:pt x="561023" y="610595"/>
                    </a:lnTo>
                    <a:lnTo>
                      <a:pt x="563880" y="615358"/>
                    </a:lnTo>
                    <a:lnTo>
                      <a:pt x="566738" y="620120"/>
                    </a:lnTo>
                    <a:lnTo>
                      <a:pt x="567690" y="626788"/>
                    </a:lnTo>
                    <a:lnTo>
                      <a:pt x="575310" y="629645"/>
                    </a:lnTo>
                    <a:lnTo>
                      <a:pt x="581025" y="630598"/>
                    </a:lnTo>
                    <a:lnTo>
                      <a:pt x="589598" y="627740"/>
                    </a:lnTo>
                    <a:cubicBezTo>
                      <a:pt x="589598" y="627740"/>
                      <a:pt x="589598" y="627740"/>
                      <a:pt x="589598" y="620120"/>
                    </a:cubicBezTo>
                    <a:cubicBezTo>
                      <a:pt x="589598" y="612500"/>
                      <a:pt x="589598" y="620120"/>
                      <a:pt x="589598" y="612500"/>
                    </a:cubicBezTo>
                    <a:cubicBezTo>
                      <a:pt x="589598" y="611548"/>
                      <a:pt x="589598" y="610595"/>
                      <a:pt x="589598" y="609643"/>
                    </a:cubicBezTo>
                    <a:cubicBezTo>
                      <a:pt x="589598" y="609643"/>
                      <a:pt x="589598" y="609643"/>
                      <a:pt x="589598" y="608690"/>
                    </a:cubicBezTo>
                    <a:cubicBezTo>
                      <a:pt x="589598" y="608690"/>
                      <a:pt x="589598" y="608690"/>
                      <a:pt x="589598" y="608690"/>
                    </a:cubicBezTo>
                    <a:cubicBezTo>
                      <a:pt x="589598" y="604880"/>
                      <a:pt x="589598" y="608690"/>
                      <a:pt x="588645" y="604880"/>
                    </a:cubicBezTo>
                    <a:cubicBezTo>
                      <a:pt x="587693" y="601070"/>
                      <a:pt x="594360" y="602023"/>
                      <a:pt x="594360" y="602023"/>
                    </a:cubicBezTo>
                    <a:lnTo>
                      <a:pt x="601980" y="597260"/>
                    </a:lnTo>
                    <a:lnTo>
                      <a:pt x="598170" y="590593"/>
                    </a:lnTo>
                    <a:lnTo>
                      <a:pt x="592455" y="589640"/>
                    </a:lnTo>
                    <a:lnTo>
                      <a:pt x="584835" y="587735"/>
                    </a:lnTo>
                    <a:lnTo>
                      <a:pt x="579120" y="586783"/>
                    </a:lnTo>
                    <a:lnTo>
                      <a:pt x="573405" y="584878"/>
                    </a:lnTo>
                    <a:lnTo>
                      <a:pt x="561975" y="578210"/>
                    </a:lnTo>
                    <a:cubicBezTo>
                      <a:pt x="561975" y="578210"/>
                      <a:pt x="561975" y="578210"/>
                      <a:pt x="557213" y="576305"/>
                    </a:cubicBezTo>
                    <a:cubicBezTo>
                      <a:pt x="552450" y="574400"/>
                      <a:pt x="549593" y="571543"/>
                      <a:pt x="549593" y="571543"/>
                    </a:cubicBezTo>
                    <a:lnTo>
                      <a:pt x="532448" y="562018"/>
                    </a:lnTo>
                    <a:lnTo>
                      <a:pt x="521018" y="556303"/>
                    </a:lnTo>
                    <a:cubicBezTo>
                      <a:pt x="521018" y="556303"/>
                      <a:pt x="513398" y="548683"/>
                      <a:pt x="514350" y="545825"/>
                    </a:cubicBezTo>
                    <a:cubicBezTo>
                      <a:pt x="514350" y="542968"/>
                      <a:pt x="514350" y="541063"/>
                      <a:pt x="514350" y="541063"/>
                    </a:cubicBezTo>
                    <a:lnTo>
                      <a:pt x="519113" y="536300"/>
                    </a:lnTo>
                    <a:cubicBezTo>
                      <a:pt x="519113" y="536300"/>
                      <a:pt x="536258" y="539158"/>
                      <a:pt x="541020" y="540110"/>
                    </a:cubicBezTo>
                    <a:cubicBezTo>
                      <a:pt x="545783" y="541063"/>
                      <a:pt x="546735" y="542015"/>
                      <a:pt x="546735" y="542015"/>
                    </a:cubicBezTo>
                    <a:lnTo>
                      <a:pt x="554355" y="545825"/>
                    </a:lnTo>
                    <a:lnTo>
                      <a:pt x="560070" y="549635"/>
                    </a:lnTo>
                    <a:lnTo>
                      <a:pt x="574358" y="554398"/>
                    </a:lnTo>
                    <a:lnTo>
                      <a:pt x="584835" y="559160"/>
                    </a:lnTo>
                    <a:lnTo>
                      <a:pt x="592455" y="563923"/>
                    </a:lnTo>
                    <a:lnTo>
                      <a:pt x="608648" y="569638"/>
                    </a:lnTo>
                    <a:lnTo>
                      <a:pt x="617220" y="578210"/>
                    </a:lnTo>
                    <a:lnTo>
                      <a:pt x="621030" y="584878"/>
                    </a:lnTo>
                    <a:lnTo>
                      <a:pt x="628650" y="591545"/>
                    </a:lnTo>
                    <a:lnTo>
                      <a:pt x="632460" y="597260"/>
                    </a:lnTo>
                    <a:lnTo>
                      <a:pt x="637223" y="603928"/>
                    </a:lnTo>
                    <a:lnTo>
                      <a:pt x="638175" y="611548"/>
                    </a:lnTo>
                    <a:lnTo>
                      <a:pt x="641033" y="616310"/>
                    </a:lnTo>
                    <a:lnTo>
                      <a:pt x="649605" y="622025"/>
                    </a:lnTo>
                    <a:lnTo>
                      <a:pt x="653415" y="626788"/>
                    </a:lnTo>
                    <a:lnTo>
                      <a:pt x="661988" y="631550"/>
                    </a:lnTo>
                    <a:lnTo>
                      <a:pt x="667703" y="636313"/>
                    </a:lnTo>
                    <a:lnTo>
                      <a:pt x="667703" y="642028"/>
                    </a:lnTo>
                    <a:lnTo>
                      <a:pt x="670560" y="650600"/>
                    </a:lnTo>
                    <a:lnTo>
                      <a:pt x="678180" y="652505"/>
                    </a:lnTo>
                    <a:lnTo>
                      <a:pt x="688658" y="652505"/>
                    </a:lnTo>
                    <a:lnTo>
                      <a:pt x="701993" y="648695"/>
                    </a:lnTo>
                    <a:cubicBezTo>
                      <a:pt x="701993" y="648695"/>
                      <a:pt x="701993" y="648695"/>
                      <a:pt x="704850" y="645838"/>
                    </a:cubicBezTo>
                    <a:cubicBezTo>
                      <a:pt x="707708" y="642980"/>
                      <a:pt x="704850" y="645838"/>
                      <a:pt x="710565" y="642980"/>
                    </a:cubicBezTo>
                    <a:lnTo>
                      <a:pt x="715328" y="638218"/>
                    </a:lnTo>
                    <a:lnTo>
                      <a:pt x="715328" y="632503"/>
                    </a:lnTo>
                    <a:lnTo>
                      <a:pt x="715328" y="625835"/>
                    </a:lnTo>
                    <a:lnTo>
                      <a:pt x="712470" y="621073"/>
                    </a:lnTo>
                    <a:cubicBezTo>
                      <a:pt x="712470" y="621073"/>
                      <a:pt x="712470" y="621073"/>
                      <a:pt x="712470" y="616310"/>
                    </a:cubicBezTo>
                    <a:cubicBezTo>
                      <a:pt x="712470" y="611548"/>
                      <a:pt x="712470" y="616310"/>
                      <a:pt x="711518" y="611548"/>
                    </a:cubicBezTo>
                    <a:lnTo>
                      <a:pt x="713423" y="604880"/>
                    </a:lnTo>
                    <a:lnTo>
                      <a:pt x="719138" y="601070"/>
                    </a:lnTo>
                    <a:lnTo>
                      <a:pt x="741045" y="602975"/>
                    </a:lnTo>
                    <a:lnTo>
                      <a:pt x="748665" y="607738"/>
                    </a:lnTo>
                    <a:lnTo>
                      <a:pt x="749618" y="612500"/>
                    </a:lnTo>
                    <a:lnTo>
                      <a:pt x="753428" y="623930"/>
                    </a:lnTo>
                    <a:lnTo>
                      <a:pt x="756285" y="630598"/>
                    </a:lnTo>
                    <a:lnTo>
                      <a:pt x="763905" y="637265"/>
                    </a:lnTo>
                    <a:lnTo>
                      <a:pt x="772478" y="641075"/>
                    </a:lnTo>
                    <a:lnTo>
                      <a:pt x="773430" y="644885"/>
                    </a:lnTo>
                    <a:lnTo>
                      <a:pt x="783908" y="646790"/>
                    </a:lnTo>
                    <a:cubicBezTo>
                      <a:pt x="783908" y="646790"/>
                      <a:pt x="789623" y="648695"/>
                      <a:pt x="801053" y="650600"/>
                    </a:cubicBezTo>
                    <a:cubicBezTo>
                      <a:pt x="812483" y="652505"/>
                      <a:pt x="812483" y="651553"/>
                      <a:pt x="812483" y="651553"/>
                    </a:cubicBezTo>
                    <a:lnTo>
                      <a:pt x="826770" y="651553"/>
                    </a:lnTo>
                    <a:cubicBezTo>
                      <a:pt x="826770" y="651553"/>
                      <a:pt x="835343" y="652505"/>
                      <a:pt x="840105" y="651553"/>
                    </a:cubicBezTo>
                    <a:cubicBezTo>
                      <a:pt x="844868" y="650600"/>
                      <a:pt x="848678" y="651553"/>
                      <a:pt x="848678" y="651553"/>
                    </a:cubicBezTo>
                    <a:lnTo>
                      <a:pt x="862965" y="650600"/>
                    </a:lnTo>
                    <a:lnTo>
                      <a:pt x="874395" y="650600"/>
                    </a:lnTo>
                    <a:cubicBezTo>
                      <a:pt x="874395" y="650600"/>
                      <a:pt x="882015" y="651553"/>
                      <a:pt x="887730" y="650600"/>
                    </a:cubicBezTo>
                    <a:cubicBezTo>
                      <a:pt x="893445" y="649648"/>
                      <a:pt x="896303" y="653458"/>
                      <a:pt x="896303" y="653458"/>
                    </a:cubicBezTo>
                    <a:lnTo>
                      <a:pt x="904875" y="660125"/>
                    </a:lnTo>
                    <a:lnTo>
                      <a:pt x="918210" y="662983"/>
                    </a:lnTo>
                    <a:lnTo>
                      <a:pt x="918210" y="666793"/>
                    </a:lnTo>
                    <a:lnTo>
                      <a:pt x="918210" y="673460"/>
                    </a:lnTo>
                    <a:lnTo>
                      <a:pt x="912495" y="677270"/>
                    </a:lnTo>
                    <a:cubicBezTo>
                      <a:pt x="912495" y="677270"/>
                      <a:pt x="912495" y="677270"/>
                      <a:pt x="904875" y="681080"/>
                    </a:cubicBezTo>
                    <a:lnTo>
                      <a:pt x="902018" y="684890"/>
                    </a:lnTo>
                    <a:cubicBezTo>
                      <a:pt x="902018" y="684890"/>
                      <a:pt x="897255" y="688700"/>
                      <a:pt x="896303" y="691558"/>
                    </a:cubicBezTo>
                    <a:cubicBezTo>
                      <a:pt x="894398" y="694415"/>
                      <a:pt x="896303" y="699178"/>
                      <a:pt x="894398" y="702035"/>
                    </a:cubicBezTo>
                    <a:cubicBezTo>
                      <a:pt x="892493" y="704893"/>
                      <a:pt x="894398" y="711560"/>
                      <a:pt x="894398" y="711560"/>
                    </a:cubicBezTo>
                    <a:lnTo>
                      <a:pt x="889635" y="717275"/>
                    </a:lnTo>
                    <a:lnTo>
                      <a:pt x="881063" y="720133"/>
                    </a:lnTo>
                    <a:lnTo>
                      <a:pt x="862013" y="722038"/>
                    </a:lnTo>
                    <a:cubicBezTo>
                      <a:pt x="862013" y="722038"/>
                      <a:pt x="862013" y="722038"/>
                      <a:pt x="850583" y="722038"/>
                    </a:cubicBezTo>
                    <a:cubicBezTo>
                      <a:pt x="839153" y="722038"/>
                      <a:pt x="850583" y="722038"/>
                      <a:pt x="842963" y="721085"/>
                    </a:cubicBezTo>
                    <a:cubicBezTo>
                      <a:pt x="835343" y="720133"/>
                      <a:pt x="834390" y="724895"/>
                      <a:pt x="834390" y="724895"/>
                    </a:cubicBezTo>
                    <a:cubicBezTo>
                      <a:pt x="834390" y="724895"/>
                      <a:pt x="815340" y="726800"/>
                      <a:pt x="807720" y="727753"/>
                    </a:cubicBezTo>
                    <a:cubicBezTo>
                      <a:pt x="800100" y="728705"/>
                      <a:pt x="793433" y="727753"/>
                      <a:pt x="793433" y="727753"/>
                    </a:cubicBezTo>
                    <a:cubicBezTo>
                      <a:pt x="793433" y="727753"/>
                      <a:pt x="777240" y="725848"/>
                      <a:pt x="771525" y="725848"/>
                    </a:cubicBezTo>
                    <a:cubicBezTo>
                      <a:pt x="765810" y="725848"/>
                      <a:pt x="758190" y="723943"/>
                      <a:pt x="758190" y="723943"/>
                    </a:cubicBezTo>
                    <a:lnTo>
                      <a:pt x="750570" y="722038"/>
                    </a:lnTo>
                    <a:lnTo>
                      <a:pt x="734378" y="720133"/>
                    </a:lnTo>
                    <a:lnTo>
                      <a:pt x="718185" y="715370"/>
                    </a:lnTo>
                    <a:lnTo>
                      <a:pt x="706755" y="714418"/>
                    </a:lnTo>
                    <a:cubicBezTo>
                      <a:pt x="706755" y="714418"/>
                      <a:pt x="688658" y="713465"/>
                      <a:pt x="684848" y="711560"/>
                    </a:cubicBezTo>
                    <a:cubicBezTo>
                      <a:pt x="680085" y="709655"/>
                      <a:pt x="667703" y="711560"/>
                      <a:pt x="667703" y="711560"/>
                    </a:cubicBezTo>
                    <a:cubicBezTo>
                      <a:pt x="667703" y="711560"/>
                      <a:pt x="656273" y="713465"/>
                      <a:pt x="651510" y="713465"/>
                    </a:cubicBezTo>
                    <a:cubicBezTo>
                      <a:pt x="646748" y="713465"/>
                      <a:pt x="648653" y="719180"/>
                      <a:pt x="648653" y="719180"/>
                    </a:cubicBezTo>
                    <a:cubicBezTo>
                      <a:pt x="648653" y="719180"/>
                      <a:pt x="641033" y="727753"/>
                      <a:pt x="632460" y="728705"/>
                    </a:cubicBezTo>
                    <a:cubicBezTo>
                      <a:pt x="623888" y="729658"/>
                      <a:pt x="611505" y="726800"/>
                      <a:pt x="607695" y="726800"/>
                    </a:cubicBezTo>
                    <a:cubicBezTo>
                      <a:pt x="602933" y="726800"/>
                      <a:pt x="601980" y="725848"/>
                      <a:pt x="596265" y="723943"/>
                    </a:cubicBezTo>
                    <a:cubicBezTo>
                      <a:pt x="590550" y="722038"/>
                      <a:pt x="585788" y="721085"/>
                      <a:pt x="585788" y="721085"/>
                    </a:cubicBezTo>
                    <a:lnTo>
                      <a:pt x="571500" y="717275"/>
                    </a:lnTo>
                    <a:cubicBezTo>
                      <a:pt x="571500" y="717275"/>
                      <a:pt x="565785" y="717275"/>
                      <a:pt x="560070" y="714418"/>
                    </a:cubicBezTo>
                    <a:cubicBezTo>
                      <a:pt x="554355" y="711560"/>
                      <a:pt x="548640" y="710608"/>
                      <a:pt x="548640" y="710608"/>
                    </a:cubicBezTo>
                    <a:lnTo>
                      <a:pt x="537210" y="707750"/>
                    </a:lnTo>
                    <a:cubicBezTo>
                      <a:pt x="537210" y="707750"/>
                      <a:pt x="525780" y="705845"/>
                      <a:pt x="521018" y="704893"/>
                    </a:cubicBezTo>
                    <a:cubicBezTo>
                      <a:pt x="516255" y="703940"/>
                      <a:pt x="515303" y="701083"/>
                      <a:pt x="515303" y="701083"/>
                    </a:cubicBezTo>
                    <a:lnTo>
                      <a:pt x="507683" y="697273"/>
                    </a:lnTo>
                    <a:lnTo>
                      <a:pt x="501968" y="697273"/>
                    </a:lnTo>
                    <a:lnTo>
                      <a:pt x="494348" y="694415"/>
                    </a:lnTo>
                    <a:lnTo>
                      <a:pt x="488633" y="689653"/>
                    </a:lnTo>
                    <a:cubicBezTo>
                      <a:pt x="488633" y="689653"/>
                      <a:pt x="484823" y="683938"/>
                      <a:pt x="482918" y="681080"/>
                    </a:cubicBezTo>
                    <a:cubicBezTo>
                      <a:pt x="481965" y="678223"/>
                      <a:pt x="482918" y="675365"/>
                      <a:pt x="482918" y="675365"/>
                    </a:cubicBezTo>
                    <a:lnTo>
                      <a:pt x="485775" y="662983"/>
                    </a:lnTo>
                    <a:cubicBezTo>
                      <a:pt x="485775" y="662983"/>
                      <a:pt x="485775" y="662983"/>
                      <a:pt x="484823" y="655363"/>
                    </a:cubicBezTo>
                    <a:cubicBezTo>
                      <a:pt x="483870" y="647743"/>
                      <a:pt x="484823" y="655363"/>
                      <a:pt x="480060" y="651553"/>
                    </a:cubicBezTo>
                    <a:lnTo>
                      <a:pt x="461010" y="652505"/>
                    </a:lnTo>
                    <a:lnTo>
                      <a:pt x="450533" y="652505"/>
                    </a:lnTo>
                    <a:lnTo>
                      <a:pt x="440055" y="652505"/>
                    </a:lnTo>
                    <a:lnTo>
                      <a:pt x="421005" y="651553"/>
                    </a:lnTo>
                    <a:lnTo>
                      <a:pt x="410528" y="651553"/>
                    </a:lnTo>
                    <a:lnTo>
                      <a:pt x="402908" y="650600"/>
                    </a:lnTo>
                    <a:lnTo>
                      <a:pt x="392430" y="650600"/>
                    </a:lnTo>
                    <a:lnTo>
                      <a:pt x="373380" y="650600"/>
                    </a:lnTo>
                    <a:lnTo>
                      <a:pt x="365760" y="650600"/>
                    </a:lnTo>
                    <a:lnTo>
                      <a:pt x="352425" y="650600"/>
                    </a:lnTo>
                    <a:lnTo>
                      <a:pt x="339090" y="650600"/>
                    </a:lnTo>
                    <a:lnTo>
                      <a:pt x="330518" y="653458"/>
                    </a:lnTo>
                    <a:lnTo>
                      <a:pt x="324803" y="658220"/>
                    </a:lnTo>
                    <a:lnTo>
                      <a:pt x="316230" y="659173"/>
                    </a:lnTo>
                    <a:lnTo>
                      <a:pt x="304800" y="662030"/>
                    </a:lnTo>
                    <a:lnTo>
                      <a:pt x="294323" y="662983"/>
                    </a:lnTo>
                    <a:lnTo>
                      <a:pt x="288608" y="663935"/>
                    </a:lnTo>
                    <a:lnTo>
                      <a:pt x="280988" y="667745"/>
                    </a:lnTo>
                    <a:lnTo>
                      <a:pt x="261938" y="670603"/>
                    </a:lnTo>
                    <a:lnTo>
                      <a:pt x="254318" y="671555"/>
                    </a:lnTo>
                    <a:lnTo>
                      <a:pt x="238125" y="679175"/>
                    </a:lnTo>
                    <a:lnTo>
                      <a:pt x="219075" y="674413"/>
                    </a:lnTo>
                    <a:lnTo>
                      <a:pt x="205740" y="674413"/>
                    </a:lnTo>
                    <a:lnTo>
                      <a:pt x="200025" y="678223"/>
                    </a:lnTo>
                    <a:lnTo>
                      <a:pt x="188595" y="681080"/>
                    </a:lnTo>
                    <a:cubicBezTo>
                      <a:pt x="188595" y="681080"/>
                      <a:pt x="180975" y="684890"/>
                      <a:pt x="177165" y="684890"/>
                    </a:cubicBezTo>
                    <a:cubicBezTo>
                      <a:pt x="172403" y="684890"/>
                      <a:pt x="168593" y="691558"/>
                      <a:pt x="168593" y="691558"/>
                    </a:cubicBezTo>
                    <a:cubicBezTo>
                      <a:pt x="168593" y="691558"/>
                      <a:pt x="168593" y="691558"/>
                      <a:pt x="160020" y="692510"/>
                    </a:cubicBezTo>
                    <a:cubicBezTo>
                      <a:pt x="151448" y="693463"/>
                      <a:pt x="160020" y="692510"/>
                      <a:pt x="155258" y="693463"/>
                    </a:cubicBezTo>
                    <a:cubicBezTo>
                      <a:pt x="150495" y="694415"/>
                      <a:pt x="149543" y="695368"/>
                      <a:pt x="149543" y="695368"/>
                    </a:cubicBezTo>
                    <a:lnTo>
                      <a:pt x="146685" y="701083"/>
                    </a:lnTo>
                    <a:lnTo>
                      <a:pt x="141923" y="706798"/>
                    </a:lnTo>
                    <a:lnTo>
                      <a:pt x="136208" y="711560"/>
                    </a:lnTo>
                    <a:lnTo>
                      <a:pt x="131445" y="721085"/>
                    </a:lnTo>
                    <a:lnTo>
                      <a:pt x="128588" y="729658"/>
                    </a:lnTo>
                    <a:lnTo>
                      <a:pt x="122873" y="740135"/>
                    </a:lnTo>
                    <a:lnTo>
                      <a:pt x="115253" y="744898"/>
                    </a:lnTo>
                    <a:lnTo>
                      <a:pt x="104775" y="749660"/>
                    </a:lnTo>
                    <a:lnTo>
                      <a:pt x="97155" y="746803"/>
                    </a:lnTo>
                    <a:lnTo>
                      <a:pt x="81915" y="754423"/>
                    </a:lnTo>
                    <a:lnTo>
                      <a:pt x="76200" y="756328"/>
                    </a:lnTo>
                    <a:cubicBezTo>
                      <a:pt x="76200" y="756328"/>
                      <a:pt x="71438" y="760138"/>
                      <a:pt x="68580" y="762995"/>
                    </a:cubicBezTo>
                    <a:cubicBezTo>
                      <a:pt x="65723" y="765853"/>
                      <a:pt x="63818" y="767758"/>
                      <a:pt x="63818" y="767758"/>
                    </a:cubicBezTo>
                    <a:cubicBezTo>
                      <a:pt x="63818" y="767758"/>
                      <a:pt x="60960" y="774425"/>
                      <a:pt x="56198" y="781093"/>
                    </a:cubicBezTo>
                    <a:cubicBezTo>
                      <a:pt x="51435" y="787760"/>
                      <a:pt x="56198" y="781093"/>
                      <a:pt x="51435" y="782045"/>
                    </a:cubicBezTo>
                    <a:cubicBezTo>
                      <a:pt x="46673" y="782998"/>
                      <a:pt x="45720" y="786808"/>
                      <a:pt x="40958" y="787760"/>
                    </a:cubicBezTo>
                    <a:cubicBezTo>
                      <a:pt x="36195" y="788713"/>
                      <a:pt x="35243" y="789665"/>
                      <a:pt x="25718" y="794428"/>
                    </a:cubicBezTo>
                    <a:lnTo>
                      <a:pt x="18098" y="802048"/>
                    </a:lnTo>
                    <a:lnTo>
                      <a:pt x="12383" y="815383"/>
                    </a:lnTo>
                    <a:lnTo>
                      <a:pt x="6668" y="823955"/>
                    </a:lnTo>
                    <a:lnTo>
                      <a:pt x="6668" y="834433"/>
                    </a:lnTo>
                    <a:lnTo>
                      <a:pt x="6668" y="839195"/>
                    </a:lnTo>
                    <a:lnTo>
                      <a:pt x="6668" y="850625"/>
                    </a:lnTo>
                    <a:lnTo>
                      <a:pt x="9525" y="864913"/>
                    </a:lnTo>
                    <a:lnTo>
                      <a:pt x="9525" y="874438"/>
                    </a:lnTo>
                    <a:cubicBezTo>
                      <a:pt x="9525" y="874438"/>
                      <a:pt x="10478" y="885868"/>
                      <a:pt x="7620" y="888725"/>
                    </a:cubicBezTo>
                    <a:cubicBezTo>
                      <a:pt x="4763" y="891583"/>
                      <a:pt x="5715" y="894440"/>
                      <a:pt x="5715" y="894440"/>
                    </a:cubicBezTo>
                    <a:lnTo>
                      <a:pt x="2858" y="908728"/>
                    </a:lnTo>
                    <a:lnTo>
                      <a:pt x="0" y="919205"/>
                    </a:lnTo>
                    <a:lnTo>
                      <a:pt x="5715" y="929683"/>
                    </a:lnTo>
                    <a:lnTo>
                      <a:pt x="8573" y="938255"/>
                    </a:lnTo>
                    <a:lnTo>
                      <a:pt x="24765" y="944923"/>
                    </a:lnTo>
                    <a:lnTo>
                      <a:pt x="32385" y="949685"/>
                    </a:lnTo>
                    <a:lnTo>
                      <a:pt x="42863" y="961115"/>
                    </a:lnTo>
                    <a:lnTo>
                      <a:pt x="56198" y="968735"/>
                    </a:lnTo>
                    <a:lnTo>
                      <a:pt x="61913" y="973498"/>
                    </a:lnTo>
                    <a:lnTo>
                      <a:pt x="75248" y="980165"/>
                    </a:lnTo>
                    <a:lnTo>
                      <a:pt x="86678" y="985880"/>
                    </a:lnTo>
                    <a:lnTo>
                      <a:pt x="95250" y="993500"/>
                    </a:lnTo>
                    <a:lnTo>
                      <a:pt x="114300" y="1001120"/>
                    </a:lnTo>
                    <a:lnTo>
                      <a:pt x="120015" y="1009693"/>
                    </a:lnTo>
                    <a:lnTo>
                      <a:pt x="137160" y="1020170"/>
                    </a:lnTo>
                    <a:lnTo>
                      <a:pt x="147638" y="1026838"/>
                    </a:lnTo>
                    <a:cubicBezTo>
                      <a:pt x="147638" y="1026838"/>
                      <a:pt x="153353" y="1026838"/>
                      <a:pt x="165735" y="1026838"/>
                    </a:cubicBezTo>
                    <a:cubicBezTo>
                      <a:pt x="177165" y="1026838"/>
                      <a:pt x="176213" y="1025885"/>
                      <a:pt x="184785" y="1023028"/>
                    </a:cubicBezTo>
                    <a:lnTo>
                      <a:pt x="190500" y="1021123"/>
                    </a:lnTo>
                    <a:lnTo>
                      <a:pt x="201930" y="1019218"/>
                    </a:lnTo>
                    <a:lnTo>
                      <a:pt x="207645" y="1019218"/>
                    </a:lnTo>
                    <a:lnTo>
                      <a:pt x="216218" y="1019218"/>
                    </a:lnTo>
                    <a:lnTo>
                      <a:pt x="224790" y="1019218"/>
                    </a:lnTo>
                    <a:lnTo>
                      <a:pt x="233363" y="1021123"/>
                    </a:lnTo>
                    <a:lnTo>
                      <a:pt x="249555" y="1021123"/>
                    </a:lnTo>
                    <a:lnTo>
                      <a:pt x="258128" y="1020170"/>
                    </a:lnTo>
                    <a:cubicBezTo>
                      <a:pt x="258128" y="1020170"/>
                      <a:pt x="263843" y="1020170"/>
                      <a:pt x="279083" y="1018265"/>
                    </a:cubicBezTo>
                    <a:cubicBezTo>
                      <a:pt x="293370" y="1016360"/>
                      <a:pt x="289560" y="1016360"/>
                      <a:pt x="295275" y="1013503"/>
                    </a:cubicBezTo>
                    <a:cubicBezTo>
                      <a:pt x="295275" y="1013503"/>
                      <a:pt x="303848" y="1009693"/>
                      <a:pt x="306705" y="1006835"/>
                    </a:cubicBezTo>
                    <a:cubicBezTo>
                      <a:pt x="309563" y="1003978"/>
                      <a:pt x="314325" y="1003025"/>
                      <a:pt x="314325" y="1003025"/>
                    </a:cubicBezTo>
                    <a:lnTo>
                      <a:pt x="320040" y="1002073"/>
                    </a:lnTo>
                    <a:lnTo>
                      <a:pt x="334328" y="1002073"/>
                    </a:lnTo>
                    <a:lnTo>
                      <a:pt x="347663" y="1003978"/>
                    </a:lnTo>
                    <a:lnTo>
                      <a:pt x="358140" y="1005883"/>
                    </a:lnTo>
                    <a:lnTo>
                      <a:pt x="366713" y="1006835"/>
                    </a:lnTo>
                    <a:lnTo>
                      <a:pt x="377190" y="1008740"/>
                    </a:lnTo>
                    <a:lnTo>
                      <a:pt x="385763" y="1014455"/>
                    </a:lnTo>
                    <a:lnTo>
                      <a:pt x="394335" y="1021123"/>
                    </a:lnTo>
                    <a:lnTo>
                      <a:pt x="404813" y="1023980"/>
                    </a:lnTo>
                    <a:lnTo>
                      <a:pt x="412433" y="1025885"/>
                    </a:lnTo>
                    <a:lnTo>
                      <a:pt x="429578" y="1027790"/>
                    </a:lnTo>
                    <a:lnTo>
                      <a:pt x="437198" y="1027790"/>
                    </a:lnTo>
                    <a:lnTo>
                      <a:pt x="450533" y="1030648"/>
                    </a:lnTo>
                    <a:lnTo>
                      <a:pt x="451485" y="1036363"/>
                    </a:lnTo>
                    <a:cubicBezTo>
                      <a:pt x="451485" y="1036363"/>
                      <a:pt x="452438" y="1043030"/>
                      <a:pt x="451485" y="1045888"/>
                    </a:cubicBezTo>
                    <a:cubicBezTo>
                      <a:pt x="449580" y="1048745"/>
                      <a:pt x="452438" y="1050650"/>
                      <a:pt x="451485" y="1055413"/>
                    </a:cubicBezTo>
                    <a:cubicBezTo>
                      <a:pt x="449580" y="1060175"/>
                      <a:pt x="451485" y="1066843"/>
                      <a:pt x="451485" y="1066843"/>
                    </a:cubicBezTo>
                    <a:lnTo>
                      <a:pt x="449580" y="1076368"/>
                    </a:lnTo>
                    <a:lnTo>
                      <a:pt x="447675" y="1087798"/>
                    </a:lnTo>
                    <a:lnTo>
                      <a:pt x="447675" y="1095418"/>
                    </a:lnTo>
                    <a:lnTo>
                      <a:pt x="450533" y="1102085"/>
                    </a:lnTo>
                    <a:lnTo>
                      <a:pt x="458153" y="1108753"/>
                    </a:lnTo>
                    <a:lnTo>
                      <a:pt x="465773" y="1112563"/>
                    </a:lnTo>
                    <a:lnTo>
                      <a:pt x="474345" y="1113515"/>
                    </a:lnTo>
                    <a:lnTo>
                      <a:pt x="487680" y="1123040"/>
                    </a:lnTo>
                    <a:lnTo>
                      <a:pt x="493395" y="1129708"/>
                    </a:lnTo>
                    <a:lnTo>
                      <a:pt x="499110" y="1134470"/>
                    </a:lnTo>
                    <a:cubicBezTo>
                      <a:pt x="499110" y="1134470"/>
                      <a:pt x="504825" y="1138280"/>
                      <a:pt x="507683" y="1150663"/>
                    </a:cubicBezTo>
                    <a:cubicBezTo>
                      <a:pt x="510540" y="1163045"/>
                      <a:pt x="507683" y="1150663"/>
                      <a:pt x="510540" y="1157330"/>
                    </a:cubicBezTo>
                    <a:cubicBezTo>
                      <a:pt x="513398" y="1163998"/>
                      <a:pt x="507683" y="1165903"/>
                      <a:pt x="507683" y="1165903"/>
                    </a:cubicBezTo>
                    <a:cubicBezTo>
                      <a:pt x="507683" y="1165903"/>
                      <a:pt x="507683" y="1170665"/>
                      <a:pt x="507683" y="1173523"/>
                    </a:cubicBezTo>
                    <a:cubicBezTo>
                      <a:pt x="507683" y="1176380"/>
                      <a:pt x="518160" y="1182095"/>
                      <a:pt x="518160" y="1182095"/>
                    </a:cubicBezTo>
                    <a:lnTo>
                      <a:pt x="525780" y="1185905"/>
                    </a:lnTo>
                    <a:lnTo>
                      <a:pt x="526733" y="1192573"/>
                    </a:lnTo>
                    <a:lnTo>
                      <a:pt x="523875" y="1198288"/>
                    </a:lnTo>
                    <a:lnTo>
                      <a:pt x="519113" y="1203050"/>
                    </a:lnTo>
                    <a:cubicBezTo>
                      <a:pt x="519113" y="1203050"/>
                      <a:pt x="517208" y="1210670"/>
                      <a:pt x="511493" y="1214480"/>
                    </a:cubicBezTo>
                    <a:cubicBezTo>
                      <a:pt x="505778" y="1218290"/>
                      <a:pt x="511493" y="1214480"/>
                      <a:pt x="506730" y="1219243"/>
                    </a:cubicBezTo>
                    <a:cubicBezTo>
                      <a:pt x="506730" y="1219243"/>
                      <a:pt x="506730" y="1224958"/>
                      <a:pt x="506730" y="1227815"/>
                    </a:cubicBezTo>
                    <a:cubicBezTo>
                      <a:pt x="506730" y="1230673"/>
                      <a:pt x="499110" y="1233530"/>
                      <a:pt x="499110" y="1233530"/>
                    </a:cubicBezTo>
                    <a:cubicBezTo>
                      <a:pt x="499110" y="1233530"/>
                      <a:pt x="496253" y="1243055"/>
                      <a:pt x="491490" y="1245913"/>
                    </a:cubicBezTo>
                    <a:cubicBezTo>
                      <a:pt x="486728" y="1248770"/>
                      <a:pt x="491490" y="1250675"/>
                      <a:pt x="491490" y="1250675"/>
                    </a:cubicBezTo>
                    <a:lnTo>
                      <a:pt x="494348" y="1260200"/>
                    </a:lnTo>
                    <a:cubicBezTo>
                      <a:pt x="494348" y="1260200"/>
                      <a:pt x="497205" y="1273535"/>
                      <a:pt x="495300" y="1280203"/>
                    </a:cubicBezTo>
                    <a:lnTo>
                      <a:pt x="501968" y="1290680"/>
                    </a:lnTo>
                    <a:lnTo>
                      <a:pt x="500063" y="1304015"/>
                    </a:lnTo>
                    <a:lnTo>
                      <a:pt x="502920" y="1310683"/>
                    </a:lnTo>
                    <a:lnTo>
                      <a:pt x="514350" y="1320208"/>
                    </a:lnTo>
                    <a:lnTo>
                      <a:pt x="525780" y="1326875"/>
                    </a:lnTo>
                    <a:cubicBezTo>
                      <a:pt x="525780" y="1326875"/>
                      <a:pt x="531495" y="1333543"/>
                      <a:pt x="534353" y="1337353"/>
                    </a:cubicBezTo>
                    <a:cubicBezTo>
                      <a:pt x="537210" y="1341163"/>
                      <a:pt x="535305" y="1342115"/>
                      <a:pt x="535305" y="1342115"/>
                    </a:cubicBezTo>
                    <a:lnTo>
                      <a:pt x="533400" y="1349735"/>
                    </a:lnTo>
                    <a:lnTo>
                      <a:pt x="533400" y="1360213"/>
                    </a:lnTo>
                    <a:lnTo>
                      <a:pt x="534353" y="1369738"/>
                    </a:lnTo>
                    <a:lnTo>
                      <a:pt x="547688" y="1380215"/>
                    </a:lnTo>
                    <a:lnTo>
                      <a:pt x="553403" y="1388788"/>
                    </a:lnTo>
                    <a:lnTo>
                      <a:pt x="559118" y="1393550"/>
                    </a:lnTo>
                    <a:lnTo>
                      <a:pt x="563880" y="1398313"/>
                    </a:lnTo>
                    <a:lnTo>
                      <a:pt x="573405" y="1410695"/>
                    </a:lnTo>
                    <a:lnTo>
                      <a:pt x="576263" y="1419268"/>
                    </a:lnTo>
                    <a:lnTo>
                      <a:pt x="580073" y="1425935"/>
                    </a:lnTo>
                    <a:lnTo>
                      <a:pt x="588645" y="1436413"/>
                    </a:lnTo>
                    <a:lnTo>
                      <a:pt x="594360" y="1442128"/>
                    </a:lnTo>
                    <a:lnTo>
                      <a:pt x="597218" y="1451653"/>
                    </a:lnTo>
                    <a:lnTo>
                      <a:pt x="597218" y="1458320"/>
                    </a:lnTo>
                    <a:lnTo>
                      <a:pt x="598170" y="1464035"/>
                    </a:lnTo>
                    <a:lnTo>
                      <a:pt x="601980" y="1473560"/>
                    </a:lnTo>
                    <a:lnTo>
                      <a:pt x="612458" y="1473560"/>
                    </a:lnTo>
                    <a:lnTo>
                      <a:pt x="618173" y="1473560"/>
                    </a:lnTo>
                    <a:lnTo>
                      <a:pt x="628650" y="1473560"/>
                    </a:lnTo>
                    <a:lnTo>
                      <a:pt x="639128" y="1473560"/>
                    </a:lnTo>
                    <a:lnTo>
                      <a:pt x="650558" y="1472608"/>
                    </a:lnTo>
                    <a:cubicBezTo>
                      <a:pt x="650558" y="1472608"/>
                      <a:pt x="650558" y="1472608"/>
                      <a:pt x="656273" y="1470703"/>
                    </a:cubicBezTo>
                    <a:cubicBezTo>
                      <a:pt x="661988" y="1468798"/>
                      <a:pt x="667703" y="1469750"/>
                      <a:pt x="667703" y="1469750"/>
                    </a:cubicBezTo>
                    <a:lnTo>
                      <a:pt x="681038" y="1468798"/>
                    </a:lnTo>
                    <a:lnTo>
                      <a:pt x="698183" y="1468798"/>
                    </a:lnTo>
                    <a:lnTo>
                      <a:pt x="719138" y="1466893"/>
                    </a:lnTo>
                    <a:lnTo>
                      <a:pt x="746760" y="1462130"/>
                    </a:lnTo>
                    <a:lnTo>
                      <a:pt x="764858" y="1456415"/>
                    </a:lnTo>
                    <a:cubicBezTo>
                      <a:pt x="764858" y="1456415"/>
                      <a:pt x="773430" y="1452605"/>
                      <a:pt x="775335" y="1447843"/>
                    </a:cubicBezTo>
                    <a:cubicBezTo>
                      <a:pt x="777240" y="1443080"/>
                      <a:pt x="781050" y="1444033"/>
                      <a:pt x="781050" y="1444033"/>
                    </a:cubicBezTo>
                    <a:lnTo>
                      <a:pt x="786765" y="1440223"/>
                    </a:lnTo>
                    <a:cubicBezTo>
                      <a:pt x="786765" y="1440223"/>
                      <a:pt x="795338" y="1438318"/>
                      <a:pt x="802005" y="1434508"/>
                    </a:cubicBezTo>
                    <a:cubicBezTo>
                      <a:pt x="807720" y="1430698"/>
                      <a:pt x="810578" y="1430698"/>
                      <a:pt x="810578" y="1427840"/>
                    </a:cubicBezTo>
                    <a:cubicBezTo>
                      <a:pt x="810578" y="1424983"/>
                      <a:pt x="815340" y="1424030"/>
                      <a:pt x="815340" y="1424030"/>
                    </a:cubicBezTo>
                    <a:cubicBezTo>
                      <a:pt x="815340" y="1424030"/>
                      <a:pt x="820103" y="1418315"/>
                      <a:pt x="821055" y="1415458"/>
                    </a:cubicBezTo>
                    <a:cubicBezTo>
                      <a:pt x="822960" y="1412600"/>
                      <a:pt x="826770" y="1412600"/>
                      <a:pt x="826770" y="1412600"/>
                    </a:cubicBezTo>
                    <a:cubicBezTo>
                      <a:pt x="826770" y="1412600"/>
                      <a:pt x="826770" y="1412600"/>
                      <a:pt x="834390" y="1406885"/>
                    </a:cubicBezTo>
                    <a:cubicBezTo>
                      <a:pt x="842010" y="1401170"/>
                      <a:pt x="834390" y="1406885"/>
                      <a:pt x="836295" y="1404028"/>
                    </a:cubicBezTo>
                    <a:cubicBezTo>
                      <a:pt x="838200" y="1401170"/>
                      <a:pt x="838200" y="1395455"/>
                      <a:pt x="839153" y="1389740"/>
                    </a:cubicBezTo>
                    <a:cubicBezTo>
                      <a:pt x="841058" y="1384025"/>
                      <a:pt x="839153" y="1384978"/>
                      <a:pt x="839153" y="1381168"/>
                    </a:cubicBezTo>
                    <a:cubicBezTo>
                      <a:pt x="839153" y="1377358"/>
                      <a:pt x="843915" y="1373548"/>
                      <a:pt x="843915" y="1370690"/>
                    </a:cubicBezTo>
                    <a:cubicBezTo>
                      <a:pt x="843915" y="1367833"/>
                      <a:pt x="859155" y="1365928"/>
                      <a:pt x="859155" y="1365928"/>
                    </a:cubicBezTo>
                    <a:lnTo>
                      <a:pt x="864870" y="1364975"/>
                    </a:lnTo>
                    <a:lnTo>
                      <a:pt x="870585" y="1364023"/>
                    </a:lnTo>
                    <a:lnTo>
                      <a:pt x="881063" y="1357355"/>
                    </a:lnTo>
                    <a:cubicBezTo>
                      <a:pt x="881063" y="1357355"/>
                      <a:pt x="881063" y="1357355"/>
                      <a:pt x="880110" y="1354498"/>
                    </a:cubicBezTo>
                    <a:cubicBezTo>
                      <a:pt x="879158" y="1351640"/>
                      <a:pt x="882015" y="1350688"/>
                      <a:pt x="880110" y="1347830"/>
                    </a:cubicBezTo>
                    <a:cubicBezTo>
                      <a:pt x="879158" y="1344973"/>
                      <a:pt x="882015" y="1344020"/>
                      <a:pt x="880110" y="1338305"/>
                    </a:cubicBezTo>
                    <a:cubicBezTo>
                      <a:pt x="879158" y="1332590"/>
                      <a:pt x="882015" y="1334495"/>
                      <a:pt x="880110" y="1329733"/>
                    </a:cubicBezTo>
                    <a:cubicBezTo>
                      <a:pt x="879158" y="1324970"/>
                      <a:pt x="882015" y="1325923"/>
                      <a:pt x="880110" y="1317350"/>
                    </a:cubicBezTo>
                    <a:cubicBezTo>
                      <a:pt x="879158" y="1308778"/>
                      <a:pt x="884873" y="1302110"/>
                      <a:pt x="884873" y="1302110"/>
                    </a:cubicBezTo>
                    <a:lnTo>
                      <a:pt x="884873" y="1298300"/>
                    </a:lnTo>
                    <a:cubicBezTo>
                      <a:pt x="884873" y="1298300"/>
                      <a:pt x="897255" y="1290680"/>
                      <a:pt x="902970" y="1287823"/>
                    </a:cubicBezTo>
                    <a:lnTo>
                      <a:pt x="921068" y="1278298"/>
                    </a:lnTo>
                    <a:lnTo>
                      <a:pt x="929640" y="1275440"/>
                    </a:lnTo>
                    <a:lnTo>
                      <a:pt x="935355" y="1272583"/>
                    </a:lnTo>
                    <a:lnTo>
                      <a:pt x="945833" y="1270678"/>
                    </a:lnTo>
                    <a:lnTo>
                      <a:pt x="954405" y="1267820"/>
                    </a:lnTo>
                    <a:lnTo>
                      <a:pt x="962978" y="1264963"/>
                    </a:lnTo>
                    <a:lnTo>
                      <a:pt x="970598" y="1257343"/>
                    </a:lnTo>
                    <a:cubicBezTo>
                      <a:pt x="970598" y="1257343"/>
                      <a:pt x="975360" y="1247818"/>
                      <a:pt x="975360" y="1243055"/>
                    </a:cubicBezTo>
                    <a:cubicBezTo>
                      <a:pt x="975360" y="1238293"/>
                      <a:pt x="977265" y="1231625"/>
                      <a:pt x="975360" y="1227815"/>
                    </a:cubicBezTo>
                    <a:cubicBezTo>
                      <a:pt x="974408" y="1224005"/>
                      <a:pt x="977265" y="1223053"/>
                      <a:pt x="975360" y="1219243"/>
                    </a:cubicBezTo>
                    <a:cubicBezTo>
                      <a:pt x="974408" y="1215433"/>
                      <a:pt x="977265" y="1207813"/>
                      <a:pt x="975360" y="1204955"/>
                    </a:cubicBezTo>
                    <a:cubicBezTo>
                      <a:pt x="974408" y="1202098"/>
                      <a:pt x="975360" y="1193525"/>
                      <a:pt x="975360" y="1193525"/>
                    </a:cubicBezTo>
                    <a:cubicBezTo>
                      <a:pt x="975360" y="1193525"/>
                      <a:pt x="966788" y="1184000"/>
                      <a:pt x="963930" y="1181143"/>
                    </a:cubicBezTo>
                    <a:cubicBezTo>
                      <a:pt x="961073" y="1178285"/>
                      <a:pt x="963930" y="1174475"/>
                      <a:pt x="961073" y="1170665"/>
                    </a:cubicBezTo>
                    <a:cubicBezTo>
                      <a:pt x="958215" y="1166855"/>
                      <a:pt x="962978" y="1165903"/>
                      <a:pt x="960120" y="1159235"/>
                    </a:cubicBezTo>
                    <a:cubicBezTo>
                      <a:pt x="957263" y="1152568"/>
                      <a:pt x="962025" y="1154473"/>
                      <a:pt x="960120" y="1145900"/>
                    </a:cubicBezTo>
                    <a:cubicBezTo>
                      <a:pt x="959168" y="1137328"/>
                      <a:pt x="960120" y="1132565"/>
                      <a:pt x="960120" y="1132565"/>
                    </a:cubicBezTo>
                    <a:lnTo>
                      <a:pt x="965835" y="1121135"/>
                    </a:lnTo>
                    <a:lnTo>
                      <a:pt x="970598" y="1111610"/>
                    </a:lnTo>
                    <a:lnTo>
                      <a:pt x="985838" y="1100180"/>
                    </a:lnTo>
                    <a:lnTo>
                      <a:pt x="1001078" y="1089703"/>
                    </a:lnTo>
                    <a:cubicBezTo>
                      <a:pt x="1001078" y="1089703"/>
                      <a:pt x="1009650" y="1086845"/>
                      <a:pt x="1011555" y="1083988"/>
                    </a:cubicBezTo>
                    <a:cubicBezTo>
                      <a:pt x="1013460" y="1081130"/>
                      <a:pt x="1020128" y="1080178"/>
                      <a:pt x="1022985" y="1077320"/>
                    </a:cubicBezTo>
                    <a:cubicBezTo>
                      <a:pt x="1025843" y="1074463"/>
                      <a:pt x="1033463" y="1072558"/>
                      <a:pt x="1033463" y="1072558"/>
                    </a:cubicBezTo>
                    <a:lnTo>
                      <a:pt x="1051560" y="1063033"/>
                    </a:lnTo>
                    <a:lnTo>
                      <a:pt x="1063943" y="1055413"/>
                    </a:lnTo>
                    <a:lnTo>
                      <a:pt x="1072515" y="1049698"/>
                    </a:lnTo>
                    <a:lnTo>
                      <a:pt x="1094423" y="1042078"/>
                    </a:lnTo>
                    <a:lnTo>
                      <a:pt x="1115378" y="1027790"/>
                    </a:lnTo>
                    <a:lnTo>
                      <a:pt x="1123950" y="1018265"/>
                    </a:lnTo>
                    <a:lnTo>
                      <a:pt x="1125855" y="1011598"/>
                    </a:lnTo>
                    <a:lnTo>
                      <a:pt x="1136333" y="1002073"/>
                    </a:lnTo>
                    <a:lnTo>
                      <a:pt x="1139190" y="997310"/>
                    </a:lnTo>
                    <a:lnTo>
                      <a:pt x="1154430" y="975403"/>
                    </a:lnTo>
                    <a:cubicBezTo>
                      <a:pt x="1154430" y="975403"/>
                      <a:pt x="1157288" y="966830"/>
                      <a:pt x="1156335" y="963973"/>
                    </a:cubicBezTo>
                    <a:cubicBezTo>
                      <a:pt x="1155383" y="961115"/>
                      <a:pt x="1158240" y="958258"/>
                      <a:pt x="1158240" y="958258"/>
                    </a:cubicBezTo>
                    <a:lnTo>
                      <a:pt x="1160145" y="951590"/>
                    </a:lnTo>
                    <a:lnTo>
                      <a:pt x="1141095" y="955400"/>
                    </a:lnTo>
                    <a:lnTo>
                      <a:pt x="1127760" y="955400"/>
                    </a:lnTo>
                    <a:lnTo>
                      <a:pt x="1116330" y="956353"/>
                    </a:lnTo>
                    <a:cubicBezTo>
                      <a:pt x="1116330" y="956353"/>
                      <a:pt x="1102995" y="956353"/>
                      <a:pt x="1095375" y="955400"/>
                    </a:cubicBezTo>
                    <a:cubicBezTo>
                      <a:pt x="1087755" y="954448"/>
                      <a:pt x="1089660" y="955400"/>
                      <a:pt x="1089660" y="955400"/>
                    </a:cubicBezTo>
                    <a:lnTo>
                      <a:pt x="1073468" y="956353"/>
                    </a:lnTo>
                    <a:lnTo>
                      <a:pt x="1067753" y="957305"/>
                    </a:lnTo>
                    <a:lnTo>
                      <a:pt x="1053465" y="957305"/>
                    </a:lnTo>
                    <a:cubicBezTo>
                      <a:pt x="1053465" y="957305"/>
                      <a:pt x="1047750" y="957305"/>
                      <a:pt x="1042035" y="953495"/>
                    </a:cubicBezTo>
                    <a:cubicBezTo>
                      <a:pt x="1042035" y="953495"/>
                      <a:pt x="1036320" y="951590"/>
                      <a:pt x="1030605" y="946828"/>
                    </a:cubicBezTo>
                    <a:cubicBezTo>
                      <a:pt x="1024890" y="942065"/>
                      <a:pt x="1030605" y="946828"/>
                      <a:pt x="1027748" y="943018"/>
                    </a:cubicBezTo>
                    <a:cubicBezTo>
                      <a:pt x="1024890" y="939208"/>
                      <a:pt x="1022033" y="936350"/>
                      <a:pt x="1021080" y="933493"/>
                    </a:cubicBezTo>
                    <a:cubicBezTo>
                      <a:pt x="1020128" y="930635"/>
                      <a:pt x="1004888" y="923968"/>
                      <a:pt x="1004888" y="923968"/>
                    </a:cubicBezTo>
                    <a:lnTo>
                      <a:pt x="993458" y="921110"/>
                    </a:lnTo>
                    <a:lnTo>
                      <a:pt x="984885" y="912538"/>
                    </a:lnTo>
                    <a:lnTo>
                      <a:pt x="976313" y="908728"/>
                    </a:lnTo>
                    <a:lnTo>
                      <a:pt x="963930" y="908728"/>
                    </a:lnTo>
                    <a:cubicBezTo>
                      <a:pt x="963930" y="908728"/>
                      <a:pt x="956310" y="900155"/>
                      <a:pt x="953453" y="896345"/>
                    </a:cubicBezTo>
                    <a:cubicBezTo>
                      <a:pt x="950595" y="892535"/>
                      <a:pt x="949643" y="885868"/>
                      <a:pt x="949643" y="885868"/>
                    </a:cubicBezTo>
                    <a:lnTo>
                      <a:pt x="942975" y="872533"/>
                    </a:lnTo>
                    <a:lnTo>
                      <a:pt x="934403" y="862055"/>
                    </a:lnTo>
                    <a:lnTo>
                      <a:pt x="930593" y="847768"/>
                    </a:lnTo>
                    <a:lnTo>
                      <a:pt x="924878" y="838243"/>
                    </a:lnTo>
                    <a:lnTo>
                      <a:pt x="917258" y="833480"/>
                    </a:lnTo>
                    <a:lnTo>
                      <a:pt x="901065" y="820145"/>
                    </a:lnTo>
                    <a:lnTo>
                      <a:pt x="893445" y="815383"/>
                    </a:lnTo>
                    <a:lnTo>
                      <a:pt x="884873" y="812525"/>
                    </a:lnTo>
                    <a:cubicBezTo>
                      <a:pt x="884873" y="812525"/>
                      <a:pt x="882015" y="802048"/>
                      <a:pt x="881063" y="799190"/>
                    </a:cubicBezTo>
                    <a:cubicBezTo>
                      <a:pt x="880110" y="796333"/>
                      <a:pt x="882968" y="790618"/>
                      <a:pt x="882968" y="790618"/>
                    </a:cubicBezTo>
                    <a:cubicBezTo>
                      <a:pt x="882968" y="790618"/>
                      <a:pt x="882968" y="781093"/>
                      <a:pt x="880110" y="778235"/>
                    </a:cubicBezTo>
                    <a:cubicBezTo>
                      <a:pt x="877253" y="775378"/>
                      <a:pt x="880110" y="774425"/>
                      <a:pt x="880110" y="774425"/>
                    </a:cubicBezTo>
                    <a:cubicBezTo>
                      <a:pt x="880110" y="774425"/>
                      <a:pt x="882015" y="769663"/>
                      <a:pt x="880110" y="766805"/>
                    </a:cubicBezTo>
                    <a:cubicBezTo>
                      <a:pt x="879158" y="763948"/>
                      <a:pt x="884873" y="761090"/>
                      <a:pt x="884873" y="761090"/>
                    </a:cubicBezTo>
                    <a:lnTo>
                      <a:pt x="895350" y="761090"/>
                    </a:lnTo>
                    <a:lnTo>
                      <a:pt x="905828" y="762043"/>
                    </a:lnTo>
                    <a:lnTo>
                      <a:pt x="916305" y="767758"/>
                    </a:lnTo>
                    <a:lnTo>
                      <a:pt x="921068" y="773473"/>
                    </a:lnTo>
                    <a:lnTo>
                      <a:pt x="924878" y="779188"/>
                    </a:lnTo>
                    <a:lnTo>
                      <a:pt x="930593" y="783950"/>
                    </a:lnTo>
                    <a:lnTo>
                      <a:pt x="930593" y="790618"/>
                    </a:lnTo>
                    <a:lnTo>
                      <a:pt x="930593" y="798238"/>
                    </a:lnTo>
                    <a:lnTo>
                      <a:pt x="944880" y="814430"/>
                    </a:lnTo>
                    <a:lnTo>
                      <a:pt x="956310" y="831575"/>
                    </a:lnTo>
                    <a:lnTo>
                      <a:pt x="973455" y="843958"/>
                    </a:lnTo>
                    <a:lnTo>
                      <a:pt x="990600" y="853483"/>
                    </a:lnTo>
                    <a:lnTo>
                      <a:pt x="993458" y="864913"/>
                    </a:lnTo>
                    <a:lnTo>
                      <a:pt x="1000125" y="875390"/>
                    </a:lnTo>
                    <a:lnTo>
                      <a:pt x="1011555" y="883963"/>
                    </a:lnTo>
                    <a:lnTo>
                      <a:pt x="1027748" y="893488"/>
                    </a:lnTo>
                    <a:lnTo>
                      <a:pt x="1031558" y="901108"/>
                    </a:lnTo>
                    <a:lnTo>
                      <a:pt x="1032510" y="913490"/>
                    </a:lnTo>
                    <a:lnTo>
                      <a:pt x="1033463" y="921110"/>
                    </a:lnTo>
                    <a:lnTo>
                      <a:pt x="1037273" y="927778"/>
                    </a:lnTo>
                    <a:lnTo>
                      <a:pt x="1042035" y="931588"/>
                    </a:lnTo>
                    <a:lnTo>
                      <a:pt x="1053465" y="935398"/>
                    </a:lnTo>
                    <a:lnTo>
                      <a:pt x="1061085" y="936350"/>
                    </a:lnTo>
                    <a:lnTo>
                      <a:pt x="1075373" y="936350"/>
                    </a:lnTo>
                    <a:lnTo>
                      <a:pt x="1086803" y="935398"/>
                    </a:lnTo>
                    <a:lnTo>
                      <a:pt x="1101090" y="934445"/>
                    </a:lnTo>
                    <a:cubicBezTo>
                      <a:pt x="1101090" y="934445"/>
                      <a:pt x="1109663" y="934445"/>
                      <a:pt x="1115378" y="930635"/>
                    </a:cubicBezTo>
                    <a:cubicBezTo>
                      <a:pt x="1121093" y="926825"/>
                      <a:pt x="1131570" y="926825"/>
                      <a:pt x="1131570" y="926825"/>
                    </a:cubicBezTo>
                    <a:lnTo>
                      <a:pt x="1140143" y="925873"/>
                    </a:lnTo>
                    <a:cubicBezTo>
                      <a:pt x="1140143" y="925873"/>
                      <a:pt x="1145858" y="925873"/>
                      <a:pt x="1150620" y="923015"/>
                    </a:cubicBezTo>
                    <a:cubicBezTo>
                      <a:pt x="1155383" y="920158"/>
                      <a:pt x="1159193" y="920158"/>
                      <a:pt x="1163955" y="915395"/>
                    </a:cubicBezTo>
                    <a:cubicBezTo>
                      <a:pt x="1168718" y="910633"/>
                      <a:pt x="1180148" y="906823"/>
                      <a:pt x="1180148" y="906823"/>
                    </a:cubicBezTo>
                    <a:lnTo>
                      <a:pt x="1188720" y="903965"/>
                    </a:lnTo>
                    <a:lnTo>
                      <a:pt x="1212533" y="900155"/>
                    </a:lnTo>
                    <a:lnTo>
                      <a:pt x="1228725" y="895393"/>
                    </a:lnTo>
                    <a:cubicBezTo>
                      <a:pt x="1228725" y="895393"/>
                      <a:pt x="1242060" y="887773"/>
                      <a:pt x="1246823" y="882058"/>
                    </a:cubicBezTo>
                    <a:cubicBezTo>
                      <a:pt x="1251585" y="876343"/>
                      <a:pt x="1246823" y="882058"/>
                      <a:pt x="1249680" y="879200"/>
                    </a:cubicBezTo>
                    <a:cubicBezTo>
                      <a:pt x="1252538" y="876343"/>
                      <a:pt x="1263015" y="877295"/>
                      <a:pt x="1263015" y="877295"/>
                    </a:cubicBezTo>
                    <a:lnTo>
                      <a:pt x="1274445" y="872533"/>
                    </a:lnTo>
                    <a:lnTo>
                      <a:pt x="1280160" y="869675"/>
                    </a:lnTo>
                    <a:cubicBezTo>
                      <a:pt x="1280160" y="869675"/>
                      <a:pt x="1298258" y="863960"/>
                      <a:pt x="1299210" y="861103"/>
                    </a:cubicBezTo>
                    <a:cubicBezTo>
                      <a:pt x="1301115" y="858245"/>
                      <a:pt x="1303973" y="857293"/>
                      <a:pt x="1306830" y="852530"/>
                    </a:cubicBezTo>
                    <a:cubicBezTo>
                      <a:pt x="1309688" y="847768"/>
                      <a:pt x="1314450" y="846815"/>
                      <a:pt x="1315403" y="843005"/>
                    </a:cubicBezTo>
                    <a:cubicBezTo>
                      <a:pt x="1317308" y="839195"/>
                      <a:pt x="1314450" y="829670"/>
                      <a:pt x="1314450" y="829670"/>
                    </a:cubicBezTo>
                    <a:cubicBezTo>
                      <a:pt x="1314450" y="829670"/>
                      <a:pt x="1314450" y="829670"/>
                      <a:pt x="1313498" y="824908"/>
                    </a:cubicBezTo>
                    <a:cubicBezTo>
                      <a:pt x="1312545" y="820145"/>
                      <a:pt x="1313498" y="824908"/>
                      <a:pt x="1310640" y="822050"/>
                    </a:cubicBezTo>
                    <a:cubicBezTo>
                      <a:pt x="1307783" y="819193"/>
                      <a:pt x="1304925" y="817288"/>
                      <a:pt x="1304925" y="817288"/>
                    </a:cubicBezTo>
                    <a:cubicBezTo>
                      <a:pt x="1304925" y="817288"/>
                      <a:pt x="1294448" y="813478"/>
                      <a:pt x="1290638" y="813478"/>
                    </a:cubicBezTo>
                    <a:cubicBezTo>
                      <a:pt x="1285875" y="813478"/>
                      <a:pt x="1276350" y="807763"/>
                      <a:pt x="1271588" y="804905"/>
                    </a:cubicBezTo>
                    <a:cubicBezTo>
                      <a:pt x="1266825" y="802048"/>
                      <a:pt x="1271588" y="804905"/>
                      <a:pt x="1270635" y="800143"/>
                    </a:cubicBezTo>
                    <a:cubicBezTo>
                      <a:pt x="1269683" y="795380"/>
                      <a:pt x="1259205" y="795380"/>
                      <a:pt x="1259205" y="795380"/>
                    </a:cubicBezTo>
                    <a:lnTo>
                      <a:pt x="1245870" y="793475"/>
                    </a:lnTo>
                    <a:lnTo>
                      <a:pt x="1238250" y="793475"/>
                    </a:lnTo>
                    <a:lnTo>
                      <a:pt x="1232535" y="793475"/>
                    </a:lnTo>
                    <a:lnTo>
                      <a:pt x="1224915" y="793475"/>
                    </a:lnTo>
                    <a:lnTo>
                      <a:pt x="1217295" y="797285"/>
                    </a:lnTo>
                    <a:lnTo>
                      <a:pt x="1211580" y="801095"/>
                    </a:lnTo>
                    <a:lnTo>
                      <a:pt x="1203960" y="802048"/>
                    </a:lnTo>
                    <a:lnTo>
                      <a:pt x="1192530" y="798238"/>
                    </a:lnTo>
                    <a:cubicBezTo>
                      <a:pt x="1192530" y="798238"/>
                      <a:pt x="1187768" y="794428"/>
                      <a:pt x="1183958" y="793475"/>
                    </a:cubicBezTo>
                    <a:cubicBezTo>
                      <a:pt x="1179195" y="792523"/>
                      <a:pt x="1172528" y="789665"/>
                      <a:pt x="1162050" y="777283"/>
                    </a:cubicBezTo>
                    <a:cubicBezTo>
                      <a:pt x="1152525" y="764900"/>
                      <a:pt x="1162050" y="777283"/>
                      <a:pt x="1157288" y="776330"/>
                    </a:cubicBezTo>
                    <a:cubicBezTo>
                      <a:pt x="1152525" y="775378"/>
                      <a:pt x="1151573" y="772520"/>
                      <a:pt x="1148715" y="769663"/>
                    </a:cubicBezTo>
                    <a:cubicBezTo>
                      <a:pt x="1145858" y="766805"/>
                      <a:pt x="1140143" y="759185"/>
                      <a:pt x="1140143" y="759185"/>
                    </a:cubicBezTo>
                    <a:cubicBezTo>
                      <a:pt x="1140143" y="759185"/>
                      <a:pt x="1136333" y="754423"/>
                      <a:pt x="1132523" y="751565"/>
                    </a:cubicBezTo>
                    <a:cubicBezTo>
                      <a:pt x="1129665" y="748708"/>
                      <a:pt x="1126808" y="741088"/>
                      <a:pt x="1126808" y="741088"/>
                    </a:cubicBezTo>
                    <a:lnTo>
                      <a:pt x="1129665" y="733468"/>
                    </a:lnTo>
                    <a:lnTo>
                      <a:pt x="1138238" y="733468"/>
                    </a:lnTo>
                    <a:lnTo>
                      <a:pt x="1159193" y="736325"/>
                    </a:lnTo>
                    <a:lnTo>
                      <a:pt x="1167765" y="743945"/>
                    </a:lnTo>
                    <a:lnTo>
                      <a:pt x="1173480" y="748708"/>
                    </a:lnTo>
                    <a:lnTo>
                      <a:pt x="1179195" y="755375"/>
                    </a:lnTo>
                    <a:lnTo>
                      <a:pt x="1187768" y="765853"/>
                    </a:lnTo>
                    <a:lnTo>
                      <a:pt x="1193483" y="768710"/>
                    </a:lnTo>
                    <a:lnTo>
                      <a:pt x="1206818" y="774425"/>
                    </a:lnTo>
                    <a:lnTo>
                      <a:pt x="1231583" y="775378"/>
                    </a:lnTo>
                    <a:lnTo>
                      <a:pt x="1245870" y="776330"/>
                    </a:lnTo>
                    <a:lnTo>
                      <a:pt x="1259205" y="777283"/>
                    </a:lnTo>
                    <a:lnTo>
                      <a:pt x="1267778" y="781093"/>
                    </a:lnTo>
                    <a:lnTo>
                      <a:pt x="1276350" y="784903"/>
                    </a:lnTo>
                    <a:lnTo>
                      <a:pt x="1287780" y="789665"/>
                    </a:lnTo>
                    <a:lnTo>
                      <a:pt x="1298258" y="791570"/>
                    </a:lnTo>
                    <a:lnTo>
                      <a:pt x="1308735" y="793475"/>
                    </a:lnTo>
                    <a:lnTo>
                      <a:pt x="1322070" y="796333"/>
                    </a:lnTo>
                    <a:lnTo>
                      <a:pt x="1335405" y="798238"/>
                    </a:lnTo>
                    <a:lnTo>
                      <a:pt x="1357313" y="798238"/>
                    </a:lnTo>
                    <a:lnTo>
                      <a:pt x="1390650" y="798238"/>
                    </a:lnTo>
                    <a:lnTo>
                      <a:pt x="1402080" y="797285"/>
                    </a:lnTo>
                    <a:lnTo>
                      <a:pt x="1415415" y="797285"/>
                    </a:lnTo>
                    <a:lnTo>
                      <a:pt x="1434465" y="798238"/>
                    </a:lnTo>
                    <a:lnTo>
                      <a:pt x="1447800" y="803000"/>
                    </a:lnTo>
                    <a:lnTo>
                      <a:pt x="1459230" y="814430"/>
                    </a:lnTo>
                    <a:lnTo>
                      <a:pt x="1467803" y="821098"/>
                    </a:lnTo>
                    <a:lnTo>
                      <a:pt x="1482090" y="828718"/>
                    </a:lnTo>
                    <a:cubicBezTo>
                      <a:pt x="1482090" y="828718"/>
                      <a:pt x="1489710" y="833480"/>
                      <a:pt x="1495425" y="842053"/>
                    </a:cubicBezTo>
                    <a:cubicBezTo>
                      <a:pt x="1501140" y="850625"/>
                      <a:pt x="1503998" y="845863"/>
                      <a:pt x="1503998" y="845863"/>
                    </a:cubicBezTo>
                    <a:lnTo>
                      <a:pt x="1518285" y="843958"/>
                    </a:lnTo>
                    <a:lnTo>
                      <a:pt x="1524000" y="838243"/>
                    </a:lnTo>
                    <a:lnTo>
                      <a:pt x="1534478" y="837290"/>
                    </a:lnTo>
                    <a:lnTo>
                      <a:pt x="1534478" y="841100"/>
                    </a:lnTo>
                    <a:lnTo>
                      <a:pt x="1540193" y="856340"/>
                    </a:lnTo>
                    <a:cubicBezTo>
                      <a:pt x="1540193" y="856340"/>
                      <a:pt x="1546860" y="868723"/>
                      <a:pt x="1546860" y="871580"/>
                    </a:cubicBezTo>
                    <a:cubicBezTo>
                      <a:pt x="1546860" y="874438"/>
                      <a:pt x="1544955" y="884915"/>
                      <a:pt x="1544955" y="887773"/>
                    </a:cubicBezTo>
                    <a:cubicBezTo>
                      <a:pt x="1544955" y="890630"/>
                      <a:pt x="1548765" y="895393"/>
                      <a:pt x="1548765" y="895393"/>
                    </a:cubicBezTo>
                    <a:lnTo>
                      <a:pt x="1551623" y="900155"/>
                    </a:lnTo>
                    <a:lnTo>
                      <a:pt x="1564005" y="919205"/>
                    </a:lnTo>
                    <a:lnTo>
                      <a:pt x="1571625" y="923968"/>
                    </a:lnTo>
                    <a:cubicBezTo>
                      <a:pt x="1571625" y="923968"/>
                      <a:pt x="1571625" y="930635"/>
                      <a:pt x="1569720" y="933493"/>
                    </a:cubicBezTo>
                    <a:cubicBezTo>
                      <a:pt x="1567815" y="936350"/>
                      <a:pt x="1572578" y="940160"/>
                      <a:pt x="1572578" y="940160"/>
                    </a:cubicBezTo>
                    <a:lnTo>
                      <a:pt x="1578293" y="946828"/>
                    </a:lnTo>
                    <a:lnTo>
                      <a:pt x="1584960" y="958258"/>
                    </a:lnTo>
                    <a:cubicBezTo>
                      <a:pt x="1584960" y="958258"/>
                      <a:pt x="1588770" y="965878"/>
                      <a:pt x="1587818" y="970640"/>
                    </a:cubicBezTo>
                    <a:cubicBezTo>
                      <a:pt x="1585913" y="975403"/>
                      <a:pt x="1604963" y="980165"/>
                      <a:pt x="1604963" y="980165"/>
                    </a:cubicBezTo>
                    <a:cubicBezTo>
                      <a:pt x="1604963" y="980165"/>
                      <a:pt x="1610678" y="982070"/>
                      <a:pt x="1615440" y="982070"/>
                    </a:cubicBezTo>
                    <a:cubicBezTo>
                      <a:pt x="1620203" y="982070"/>
                      <a:pt x="1628775" y="982070"/>
                      <a:pt x="1628775" y="982070"/>
                    </a:cubicBezTo>
                    <a:lnTo>
                      <a:pt x="1634490" y="981118"/>
                    </a:lnTo>
                    <a:lnTo>
                      <a:pt x="1644968" y="974450"/>
                    </a:lnTo>
                    <a:cubicBezTo>
                      <a:pt x="1644968" y="974450"/>
                      <a:pt x="1657350" y="964925"/>
                      <a:pt x="1657350" y="961115"/>
                    </a:cubicBezTo>
                    <a:cubicBezTo>
                      <a:pt x="1657350" y="957305"/>
                      <a:pt x="1660208" y="957305"/>
                      <a:pt x="1660208" y="954448"/>
                    </a:cubicBezTo>
                    <a:cubicBezTo>
                      <a:pt x="1660208" y="951590"/>
                      <a:pt x="1660208" y="947780"/>
                      <a:pt x="1660208" y="943970"/>
                    </a:cubicBezTo>
                    <a:cubicBezTo>
                      <a:pt x="1660208" y="940160"/>
                      <a:pt x="1663065" y="940160"/>
                      <a:pt x="1663065" y="940160"/>
                    </a:cubicBezTo>
                    <a:cubicBezTo>
                      <a:pt x="1663065" y="940160"/>
                      <a:pt x="1667828" y="936350"/>
                      <a:pt x="1670685" y="932540"/>
                    </a:cubicBezTo>
                    <a:cubicBezTo>
                      <a:pt x="1673543" y="928730"/>
                      <a:pt x="1676400" y="922063"/>
                      <a:pt x="1676400" y="922063"/>
                    </a:cubicBezTo>
                    <a:lnTo>
                      <a:pt x="1676400" y="914443"/>
                    </a:lnTo>
                    <a:lnTo>
                      <a:pt x="1676400" y="904918"/>
                    </a:lnTo>
                    <a:lnTo>
                      <a:pt x="1686878" y="903013"/>
                    </a:lnTo>
                    <a:cubicBezTo>
                      <a:pt x="1686878" y="903013"/>
                      <a:pt x="1703070" y="895393"/>
                      <a:pt x="1710690" y="890630"/>
                    </a:cubicBezTo>
                    <a:cubicBezTo>
                      <a:pt x="1718310" y="885868"/>
                      <a:pt x="1710690" y="890630"/>
                      <a:pt x="1712595" y="886820"/>
                    </a:cubicBezTo>
                    <a:cubicBezTo>
                      <a:pt x="1714500" y="883010"/>
                      <a:pt x="1727835" y="875390"/>
                      <a:pt x="1727835" y="872533"/>
                    </a:cubicBezTo>
                    <a:cubicBezTo>
                      <a:pt x="1727835" y="869675"/>
                      <a:pt x="1744028" y="866818"/>
                      <a:pt x="1744028" y="866818"/>
                    </a:cubicBezTo>
                    <a:lnTo>
                      <a:pt x="1751648" y="862055"/>
                    </a:lnTo>
                    <a:lnTo>
                      <a:pt x="1778318" y="847768"/>
                    </a:lnTo>
                    <a:cubicBezTo>
                      <a:pt x="1778318" y="847768"/>
                      <a:pt x="1786890" y="844910"/>
                      <a:pt x="1804988" y="838243"/>
                    </a:cubicBezTo>
                    <a:cubicBezTo>
                      <a:pt x="1813560" y="835385"/>
                      <a:pt x="1816418" y="833480"/>
                      <a:pt x="1817370" y="833480"/>
                    </a:cubicBezTo>
                    <a:lnTo>
                      <a:pt x="1838325" y="829670"/>
                    </a:lnTo>
                    <a:lnTo>
                      <a:pt x="1855470" y="830623"/>
                    </a:lnTo>
                    <a:lnTo>
                      <a:pt x="1865948" y="833480"/>
                    </a:lnTo>
                    <a:lnTo>
                      <a:pt x="1877378" y="836338"/>
                    </a:lnTo>
                    <a:lnTo>
                      <a:pt x="1888808" y="848720"/>
                    </a:lnTo>
                    <a:lnTo>
                      <a:pt x="1898333" y="869675"/>
                    </a:lnTo>
                    <a:lnTo>
                      <a:pt x="1899285" y="883963"/>
                    </a:lnTo>
                    <a:lnTo>
                      <a:pt x="1899285" y="895393"/>
                    </a:lnTo>
                    <a:lnTo>
                      <a:pt x="1913573" y="908728"/>
                    </a:lnTo>
                    <a:lnTo>
                      <a:pt x="1929765" y="905870"/>
                    </a:lnTo>
                    <a:lnTo>
                      <a:pt x="1932623" y="901108"/>
                    </a:lnTo>
                    <a:lnTo>
                      <a:pt x="1943100" y="896345"/>
                    </a:lnTo>
                    <a:lnTo>
                      <a:pt x="1957388" y="895393"/>
                    </a:lnTo>
                    <a:lnTo>
                      <a:pt x="1965008" y="903965"/>
                    </a:lnTo>
                    <a:lnTo>
                      <a:pt x="1979295" y="913490"/>
                    </a:lnTo>
                    <a:lnTo>
                      <a:pt x="1979295" y="919205"/>
                    </a:lnTo>
                    <a:lnTo>
                      <a:pt x="1976438" y="925873"/>
                    </a:lnTo>
                    <a:lnTo>
                      <a:pt x="1976438" y="938255"/>
                    </a:lnTo>
                    <a:lnTo>
                      <a:pt x="1980248" y="947780"/>
                    </a:lnTo>
                    <a:lnTo>
                      <a:pt x="1980248" y="957305"/>
                    </a:lnTo>
                    <a:lnTo>
                      <a:pt x="1980248" y="973498"/>
                    </a:lnTo>
                    <a:cubicBezTo>
                      <a:pt x="1980248" y="973498"/>
                      <a:pt x="1980248" y="980165"/>
                      <a:pt x="1973580" y="989690"/>
                    </a:cubicBezTo>
                    <a:cubicBezTo>
                      <a:pt x="1967865" y="999215"/>
                      <a:pt x="1982153" y="1002073"/>
                      <a:pt x="1982153" y="1002073"/>
                    </a:cubicBezTo>
                    <a:lnTo>
                      <a:pt x="1983105" y="1005883"/>
                    </a:lnTo>
                    <a:lnTo>
                      <a:pt x="1994535" y="1011598"/>
                    </a:lnTo>
                    <a:lnTo>
                      <a:pt x="1994535" y="1015408"/>
                    </a:lnTo>
                    <a:lnTo>
                      <a:pt x="1998345" y="1022075"/>
                    </a:lnTo>
                    <a:lnTo>
                      <a:pt x="2002155" y="1029695"/>
                    </a:lnTo>
                    <a:lnTo>
                      <a:pt x="2008823" y="1039220"/>
                    </a:lnTo>
                    <a:lnTo>
                      <a:pt x="2013585" y="1044935"/>
                    </a:lnTo>
                    <a:cubicBezTo>
                      <a:pt x="2013585" y="1044935"/>
                      <a:pt x="2021205" y="1046840"/>
                      <a:pt x="2033588" y="1048745"/>
                    </a:cubicBezTo>
                    <a:cubicBezTo>
                      <a:pt x="2046923" y="1050650"/>
                      <a:pt x="2038350" y="1052555"/>
                      <a:pt x="2038350" y="1052555"/>
                    </a:cubicBezTo>
                    <a:lnTo>
                      <a:pt x="2049780" y="1057318"/>
                    </a:lnTo>
                    <a:cubicBezTo>
                      <a:pt x="2049780" y="1057318"/>
                      <a:pt x="2055495" y="1059223"/>
                      <a:pt x="2060258" y="1059223"/>
                    </a:cubicBezTo>
                    <a:cubicBezTo>
                      <a:pt x="2065020" y="1059223"/>
                      <a:pt x="2068830" y="1053508"/>
                      <a:pt x="2068830" y="1053508"/>
                    </a:cubicBezTo>
                    <a:cubicBezTo>
                      <a:pt x="2068830" y="1053508"/>
                      <a:pt x="2068830" y="1053508"/>
                      <a:pt x="2067878" y="1048745"/>
                    </a:cubicBezTo>
                    <a:cubicBezTo>
                      <a:pt x="2066925" y="1043983"/>
                      <a:pt x="2069783" y="1043983"/>
                      <a:pt x="2067878" y="1039220"/>
                    </a:cubicBezTo>
                    <a:cubicBezTo>
                      <a:pt x="2066925" y="1034458"/>
                      <a:pt x="2064068" y="1033505"/>
                      <a:pt x="2064068" y="1033505"/>
                    </a:cubicBezTo>
                    <a:lnTo>
                      <a:pt x="2056448" y="1028743"/>
                    </a:lnTo>
                    <a:lnTo>
                      <a:pt x="2045018" y="1022075"/>
                    </a:lnTo>
                    <a:cubicBezTo>
                      <a:pt x="2045018" y="1022075"/>
                      <a:pt x="2045018" y="1022075"/>
                      <a:pt x="2027873" y="1011598"/>
                    </a:cubicBezTo>
                    <a:cubicBezTo>
                      <a:pt x="2027873" y="1011598"/>
                      <a:pt x="2019300" y="1006835"/>
                      <a:pt x="2017395" y="1003025"/>
                    </a:cubicBezTo>
                    <a:cubicBezTo>
                      <a:pt x="2016443" y="999215"/>
                      <a:pt x="2013585" y="993500"/>
                      <a:pt x="2008823" y="990643"/>
                    </a:cubicBezTo>
                    <a:cubicBezTo>
                      <a:pt x="2004060" y="987785"/>
                      <a:pt x="2005013" y="982070"/>
                      <a:pt x="2005013" y="982070"/>
                    </a:cubicBezTo>
                    <a:cubicBezTo>
                      <a:pt x="2005013" y="982070"/>
                      <a:pt x="2006918" y="976355"/>
                      <a:pt x="2004060" y="970640"/>
                    </a:cubicBezTo>
                    <a:cubicBezTo>
                      <a:pt x="2001203" y="964925"/>
                      <a:pt x="2005965" y="964925"/>
                      <a:pt x="2003108" y="962068"/>
                    </a:cubicBezTo>
                    <a:cubicBezTo>
                      <a:pt x="2000250" y="959210"/>
                      <a:pt x="2003108" y="950638"/>
                      <a:pt x="2003108" y="950638"/>
                    </a:cubicBezTo>
                    <a:lnTo>
                      <a:pt x="2008823" y="941113"/>
                    </a:lnTo>
                    <a:lnTo>
                      <a:pt x="2019300" y="941113"/>
                    </a:lnTo>
                    <a:lnTo>
                      <a:pt x="2025015" y="943018"/>
                    </a:lnTo>
                    <a:lnTo>
                      <a:pt x="2033588" y="949685"/>
                    </a:lnTo>
                    <a:lnTo>
                      <a:pt x="2042160" y="950638"/>
                    </a:lnTo>
                    <a:lnTo>
                      <a:pt x="2045970" y="954448"/>
                    </a:lnTo>
                    <a:lnTo>
                      <a:pt x="2051685" y="960163"/>
                    </a:lnTo>
                    <a:lnTo>
                      <a:pt x="2073593" y="968735"/>
                    </a:lnTo>
                    <a:lnTo>
                      <a:pt x="2081213" y="973498"/>
                    </a:lnTo>
                    <a:lnTo>
                      <a:pt x="2081213" y="980165"/>
                    </a:lnTo>
                    <a:lnTo>
                      <a:pt x="2097405" y="985880"/>
                    </a:lnTo>
                    <a:cubicBezTo>
                      <a:pt x="2097405" y="985880"/>
                      <a:pt x="2121218" y="975403"/>
                      <a:pt x="2123123" y="968735"/>
                    </a:cubicBezTo>
                    <a:lnTo>
                      <a:pt x="2139315" y="960163"/>
                    </a:lnTo>
                    <a:lnTo>
                      <a:pt x="2154555" y="956353"/>
                    </a:lnTo>
                    <a:lnTo>
                      <a:pt x="2156460" y="948733"/>
                    </a:lnTo>
                    <a:cubicBezTo>
                      <a:pt x="2156460" y="948733"/>
                      <a:pt x="2158365" y="943970"/>
                      <a:pt x="2159318" y="939208"/>
                    </a:cubicBezTo>
                    <a:cubicBezTo>
                      <a:pt x="2161223" y="934445"/>
                      <a:pt x="2159318" y="939208"/>
                      <a:pt x="2161223" y="935398"/>
                    </a:cubicBezTo>
                    <a:cubicBezTo>
                      <a:pt x="2163128" y="931588"/>
                      <a:pt x="2163128" y="926825"/>
                      <a:pt x="2161223" y="921110"/>
                    </a:cubicBezTo>
                    <a:cubicBezTo>
                      <a:pt x="2160270" y="915395"/>
                      <a:pt x="2163128" y="915395"/>
                      <a:pt x="2161223" y="912538"/>
                    </a:cubicBezTo>
                    <a:cubicBezTo>
                      <a:pt x="2159318" y="909680"/>
                      <a:pt x="2153603" y="908728"/>
                      <a:pt x="2149793" y="905870"/>
                    </a:cubicBezTo>
                    <a:cubicBezTo>
                      <a:pt x="2145030" y="903013"/>
                      <a:pt x="2151698" y="902060"/>
                      <a:pt x="2149793" y="899203"/>
                    </a:cubicBezTo>
                    <a:cubicBezTo>
                      <a:pt x="2148840" y="896345"/>
                      <a:pt x="2144078" y="893488"/>
                      <a:pt x="2144078" y="893488"/>
                    </a:cubicBezTo>
                    <a:lnTo>
                      <a:pt x="2138363" y="889678"/>
                    </a:lnTo>
                    <a:lnTo>
                      <a:pt x="2127885" y="881105"/>
                    </a:lnTo>
                    <a:lnTo>
                      <a:pt x="2111693" y="868723"/>
                    </a:lnTo>
                    <a:cubicBezTo>
                      <a:pt x="2111693" y="868723"/>
                      <a:pt x="2117408" y="860150"/>
                      <a:pt x="2122170" y="853483"/>
                    </a:cubicBezTo>
                    <a:lnTo>
                      <a:pt x="2130743" y="852530"/>
                    </a:lnTo>
                    <a:cubicBezTo>
                      <a:pt x="2130743" y="852530"/>
                      <a:pt x="2136458" y="852530"/>
                      <a:pt x="2145030" y="850625"/>
                    </a:cubicBezTo>
                    <a:cubicBezTo>
                      <a:pt x="2153603" y="848720"/>
                      <a:pt x="2152650" y="849673"/>
                      <a:pt x="2152650" y="844910"/>
                    </a:cubicBezTo>
                    <a:cubicBezTo>
                      <a:pt x="2152650" y="840148"/>
                      <a:pt x="2158365" y="843005"/>
                      <a:pt x="2158365" y="843005"/>
                    </a:cubicBezTo>
                    <a:lnTo>
                      <a:pt x="2165985" y="841100"/>
                    </a:lnTo>
                    <a:lnTo>
                      <a:pt x="2171700" y="844910"/>
                    </a:lnTo>
                    <a:lnTo>
                      <a:pt x="2180273" y="851578"/>
                    </a:lnTo>
                    <a:lnTo>
                      <a:pt x="2190750" y="850625"/>
                    </a:lnTo>
                    <a:lnTo>
                      <a:pt x="2199323" y="845863"/>
                    </a:lnTo>
                    <a:lnTo>
                      <a:pt x="2206943" y="839195"/>
                    </a:lnTo>
                    <a:cubicBezTo>
                      <a:pt x="2206943" y="839195"/>
                      <a:pt x="2214563" y="834433"/>
                      <a:pt x="2223135" y="834433"/>
                    </a:cubicBezTo>
                    <a:cubicBezTo>
                      <a:pt x="2231708" y="834433"/>
                      <a:pt x="2228850" y="833480"/>
                      <a:pt x="2228850" y="833480"/>
                    </a:cubicBezTo>
                    <a:lnTo>
                      <a:pt x="2236470" y="830623"/>
                    </a:lnTo>
                    <a:lnTo>
                      <a:pt x="2247900" y="825860"/>
                    </a:lnTo>
                    <a:lnTo>
                      <a:pt x="2255520" y="824908"/>
                    </a:lnTo>
                    <a:lnTo>
                      <a:pt x="2274570" y="823955"/>
                    </a:lnTo>
                    <a:lnTo>
                      <a:pt x="2286000" y="821098"/>
                    </a:lnTo>
                    <a:lnTo>
                      <a:pt x="2293620" y="815383"/>
                    </a:lnTo>
                    <a:cubicBezTo>
                      <a:pt x="2293620" y="815383"/>
                      <a:pt x="2293620" y="815383"/>
                      <a:pt x="2293620" y="812525"/>
                    </a:cubicBezTo>
                    <a:cubicBezTo>
                      <a:pt x="2293620" y="809668"/>
                      <a:pt x="2308860" y="805858"/>
                      <a:pt x="2309813" y="802048"/>
                    </a:cubicBezTo>
                    <a:cubicBezTo>
                      <a:pt x="2311718" y="798238"/>
                      <a:pt x="2318385" y="796333"/>
                      <a:pt x="2318385" y="796333"/>
                    </a:cubicBezTo>
                    <a:cubicBezTo>
                      <a:pt x="2318385" y="796333"/>
                      <a:pt x="2324100" y="791570"/>
                      <a:pt x="2333625" y="785855"/>
                    </a:cubicBezTo>
                    <a:cubicBezTo>
                      <a:pt x="2342198" y="780140"/>
                      <a:pt x="2348865" y="773473"/>
                      <a:pt x="2348865" y="773473"/>
                    </a:cubicBezTo>
                    <a:lnTo>
                      <a:pt x="2362200" y="766805"/>
                    </a:lnTo>
                    <a:cubicBezTo>
                      <a:pt x="2362200" y="766805"/>
                      <a:pt x="2365058" y="762995"/>
                      <a:pt x="2366963" y="758233"/>
                    </a:cubicBezTo>
                    <a:cubicBezTo>
                      <a:pt x="2368868" y="753470"/>
                      <a:pt x="2366963" y="751565"/>
                      <a:pt x="2366963" y="751565"/>
                    </a:cubicBezTo>
                    <a:cubicBezTo>
                      <a:pt x="2366963" y="751565"/>
                      <a:pt x="2372678" y="742993"/>
                      <a:pt x="2368868" y="728705"/>
                    </a:cubicBezTo>
                    <a:cubicBezTo>
                      <a:pt x="2365058" y="714418"/>
                      <a:pt x="2373630" y="721085"/>
                      <a:pt x="2374583" y="718228"/>
                    </a:cubicBezTo>
                    <a:cubicBezTo>
                      <a:pt x="2376488" y="715370"/>
                      <a:pt x="2374583" y="712513"/>
                      <a:pt x="2374583" y="712513"/>
                    </a:cubicBezTo>
                    <a:cubicBezTo>
                      <a:pt x="2374583" y="712513"/>
                      <a:pt x="2368868" y="700130"/>
                      <a:pt x="2367915" y="697273"/>
                    </a:cubicBezTo>
                    <a:cubicBezTo>
                      <a:pt x="2366963" y="694415"/>
                      <a:pt x="2367915" y="693463"/>
                      <a:pt x="2366963" y="690605"/>
                    </a:cubicBezTo>
                    <a:cubicBezTo>
                      <a:pt x="2365058" y="687748"/>
                      <a:pt x="2366010" y="684890"/>
                      <a:pt x="2366010" y="684890"/>
                    </a:cubicBezTo>
                    <a:cubicBezTo>
                      <a:pt x="2366010" y="684890"/>
                      <a:pt x="2366010" y="684890"/>
                      <a:pt x="2358390" y="682985"/>
                    </a:cubicBezTo>
                    <a:cubicBezTo>
                      <a:pt x="2350770" y="681080"/>
                      <a:pt x="2358390" y="682985"/>
                      <a:pt x="2353628" y="682033"/>
                    </a:cubicBezTo>
                    <a:cubicBezTo>
                      <a:pt x="2348865" y="681080"/>
                      <a:pt x="2337435" y="676318"/>
                      <a:pt x="2336483" y="673460"/>
                    </a:cubicBezTo>
                    <a:cubicBezTo>
                      <a:pt x="2335530" y="670603"/>
                      <a:pt x="2355533" y="669650"/>
                      <a:pt x="2355533" y="669650"/>
                    </a:cubicBezTo>
                    <a:cubicBezTo>
                      <a:pt x="2355533" y="669650"/>
                      <a:pt x="2355533" y="669650"/>
                      <a:pt x="2357438" y="662983"/>
                    </a:cubicBezTo>
                    <a:lnTo>
                      <a:pt x="2367915" y="661078"/>
                    </a:lnTo>
                    <a:cubicBezTo>
                      <a:pt x="2367915" y="661078"/>
                      <a:pt x="2382203" y="662030"/>
                      <a:pt x="2391728" y="658220"/>
                    </a:cubicBezTo>
                    <a:cubicBezTo>
                      <a:pt x="2400300" y="654410"/>
                      <a:pt x="2391728" y="658220"/>
                      <a:pt x="2391728" y="655363"/>
                    </a:cubicBezTo>
                    <a:cubicBezTo>
                      <a:pt x="2391728" y="652505"/>
                      <a:pt x="2393633" y="647743"/>
                      <a:pt x="2390775" y="642028"/>
                    </a:cubicBezTo>
                    <a:cubicBezTo>
                      <a:pt x="2387918" y="636313"/>
                      <a:pt x="2390775" y="642028"/>
                      <a:pt x="2387918" y="638218"/>
                    </a:cubicBezTo>
                    <a:cubicBezTo>
                      <a:pt x="2385060" y="634408"/>
                      <a:pt x="2379345" y="636313"/>
                      <a:pt x="2374583" y="636313"/>
                    </a:cubicBezTo>
                    <a:cubicBezTo>
                      <a:pt x="2369820" y="636313"/>
                      <a:pt x="2361248" y="635360"/>
                      <a:pt x="2361248" y="635360"/>
                    </a:cubicBezTo>
                    <a:lnTo>
                      <a:pt x="2350770" y="635360"/>
                    </a:lnTo>
                    <a:cubicBezTo>
                      <a:pt x="2350770" y="635360"/>
                      <a:pt x="2340293" y="635360"/>
                      <a:pt x="2328863" y="635360"/>
                    </a:cubicBezTo>
                    <a:cubicBezTo>
                      <a:pt x="2317433" y="635360"/>
                      <a:pt x="2328863" y="635360"/>
                      <a:pt x="2315528" y="632503"/>
                    </a:cubicBezTo>
                    <a:cubicBezTo>
                      <a:pt x="2302193" y="629645"/>
                      <a:pt x="2315528" y="632503"/>
                      <a:pt x="2314575" y="630598"/>
                    </a:cubicBezTo>
                    <a:cubicBezTo>
                      <a:pt x="2313623" y="628693"/>
                      <a:pt x="2314575" y="630598"/>
                      <a:pt x="2311718" y="622025"/>
                    </a:cubicBezTo>
                    <a:cubicBezTo>
                      <a:pt x="2308860" y="613453"/>
                      <a:pt x="2330768" y="621073"/>
                      <a:pt x="2330768" y="621073"/>
                    </a:cubicBezTo>
                    <a:lnTo>
                      <a:pt x="2338388" y="620120"/>
                    </a:lnTo>
                    <a:lnTo>
                      <a:pt x="2351723" y="617263"/>
                    </a:lnTo>
                    <a:lnTo>
                      <a:pt x="2354580" y="613453"/>
                    </a:lnTo>
                    <a:lnTo>
                      <a:pt x="2366010" y="608690"/>
                    </a:lnTo>
                    <a:lnTo>
                      <a:pt x="2376488" y="611548"/>
                    </a:lnTo>
                    <a:lnTo>
                      <a:pt x="2380298" y="617263"/>
                    </a:lnTo>
                    <a:lnTo>
                      <a:pt x="2391728" y="617263"/>
                    </a:lnTo>
                    <a:lnTo>
                      <a:pt x="2406968" y="613453"/>
                    </a:lnTo>
                    <a:cubicBezTo>
                      <a:pt x="2406968" y="613453"/>
                      <a:pt x="2412683" y="614405"/>
                      <a:pt x="2427923" y="616310"/>
                    </a:cubicBezTo>
                    <a:cubicBezTo>
                      <a:pt x="2442210" y="618215"/>
                      <a:pt x="2436495" y="624883"/>
                      <a:pt x="2436495" y="624883"/>
                    </a:cubicBezTo>
                    <a:lnTo>
                      <a:pt x="2445068" y="632503"/>
                    </a:lnTo>
                    <a:lnTo>
                      <a:pt x="2448878" y="640123"/>
                    </a:lnTo>
                    <a:lnTo>
                      <a:pt x="2457450" y="643933"/>
                    </a:lnTo>
                    <a:lnTo>
                      <a:pt x="2457450" y="651553"/>
                    </a:lnTo>
                    <a:lnTo>
                      <a:pt x="2455545" y="662030"/>
                    </a:lnTo>
                    <a:lnTo>
                      <a:pt x="2458403" y="669650"/>
                    </a:lnTo>
                    <a:lnTo>
                      <a:pt x="2459355" y="673460"/>
                    </a:lnTo>
                    <a:cubicBezTo>
                      <a:pt x="2459355" y="673460"/>
                      <a:pt x="2467928" y="674413"/>
                      <a:pt x="2472690" y="676318"/>
                    </a:cubicBezTo>
                    <a:cubicBezTo>
                      <a:pt x="2477453" y="678223"/>
                      <a:pt x="2486978" y="677270"/>
                      <a:pt x="2486978" y="677270"/>
                    </a:cubicBezTo>
                    <a:lnTo>
                      <a:pt x="2497455" y="677270"/>
                    </a:lnTo>
                    <a:lnTo>
                      <a:pt x="2507933" y="675365"/>
                    </a:lnTo>
                    <a:lnTo>
                      <a:pt x="2518410" y="670603"/>
                    </a:lnTo>
                    <a:cubicBezTo>
                      <a:pt x="2518410" y="670603"/>
                      <a:pt x="2518410" y="670603"/>
                      <a:pt x="2521268" y="656315"/>
                    </a:cubicBezTo>
                    <a:cubicBezTo>
                      <a:pt x="2521268" y="656315"/>
                      <a:pt x="2516505" y="652505"/>
                      <a:pt x="2517458" y="649648"/>
                    </a:cubicBezTo>
                    <a:cubicBezTo>
                      <a:pt x="2517458" y="646790"/>
                      <a:pt x="2508885" y="642028"/>
                      <a:pt x="2508885" y="642028"/>
                    </a:cubicBezTo>
                    <a:cubicBezTo>
                      <a:pt x="2508885" y="642028"/>
                      <a:pt x="2506028" y="634408"/>
                      <a:pt x="2505075" y="630598"/>
                    </a:cubicBezTo>
                    <a:cubicBezTo>
                      <a:pt x="2504123" y="626788"/>
                      <a:pt x="2504123" y="623930"/>
                      <a:pt x="2502218" y="619168"/>
                    </a:cubicBezTo>
                    <a:cubicBezTo>
                      <a:pt x="2501265" y="614405"/>
                      <a:pt x="2506980" y="612500"/>
                      <a:pt x="2515553" y="603928"/>
                    </a:cubicBezTo>
                    <a:cubicBezTo>
                      <a:pt x="2524125" y="595355"/>
                      <a:pt x="2515553" y="603928"/>
                      <a:pt x="2517458" y="601070"/>
                    </a:cubicBezTo>
                    <a:cubicBezTo>
                      <a:pt x="2519363" y="598213"/>
                      <a:pt x="2522220" y="593450"/>
                      <a:pt x="2525078" y="587735"/>
                    </a:cubicBezTo>
                    <a:cubicBezTo>
                      <a:pt x="2527935" y="582020"/>
                      <a:pt x="2525078" y="587735"/>
                      <a:pt x="2527935" y="582973"/>
                    </a:cubicBezTo>
                    <a:cubicBezTo>
                      <a:pt x="2530793" y="578210"/>
                      <a:pt x="2549843" y="581068"/>
                      <a:pt x="2549843" y="581068"/>
                    </a:cubicBezTo>
                    <a:cubicBezTo>
                      <a:pt x="2549843" y="581068"/>
                      <a:pt x="2566035" y="577258"/>
                      <a:pt x="2579370" y="571543"/>
                    </a:cubicBezTo>
                    <a:cubicBezTo>
                      <a:pt x="2592705" y="565828"/>
                      <a:pt x="2589848" y="568685"/>
                      <a:pt x="2589848" y="568685"/>
                    </a:cubicBezTo>
                    <a:cubicBezTo>
                      <a:pt x="2589848" y="568685"/>
                      <a:pt x="2608898" y="562018"/>
                      <a:pt x="2611755" y="558208"/>
                    </a:cubicBezTo>
                    <a:cubicBezTo>
                      <a:pt x="2614613" y="554398"/>
                      <a:pt x="2620328" y="553445"/>
                      <a:pt x="2624138" y="547730"/>
                    </a:cubicBezTo>
                    <a:cubicBezTo>
                      <a:pt x="2626995" y="542015"/>
                      <a:pt x="2646045" y="542968"/>
                      <a:pt x="2648903" y="539158"/>
                    </a:cubicBezTo>
                    <a:cubicBezTo>
                      <a:pt x="2651760" y="535348"/>
                      <a:pt x="2651760" y="534395"/>
                      <a:pt x="2653665" y="528680"/>
                    </a:cubicBezTo>
                    <a:cubicBezTo>
                      <a:pt x="2655570" y="522965"/>
                      <a:pt x="2662238" y="521060"/>
                      <a:pt x="2662238" y="521060"/>
                    </a:cubicBezTo>
                    <a:lnTo>
                      <a:pt x="2684145" y="512488"/>
                    </a:lnTo>
                    <a:lnTo>
                      <a:pt x="2694623" y="502010"/>
                    </a:lnTo>
                    <a:cubicBezTo>
                      <a:pt x="2694623" y="502010"/>
                      <a:pt x="2696528" y="493438"/>
                      <a:pt x="2696528" y="487723"/>
                    </a:cubicBezTo>
                    <a:cubicBezTo>
                      <a:pt x="2696528" y="482008"/>
                      <a:pt x="2696528" y="481055"/>
                      <a:pt x="2695575" y="478198"/>
                    </a:cubicBezTo>
                    <a:cubicBezTo>
                      <a:pt x="2693670" y="475340"/>
                      <a:pt x="2694623" y="472483"/>
                      <a:pt x="2694623" y="472483"/>
                    </a:cubicBezTo>
                    <a:cubicBezTo>
                      <a:pt x="2694623" y="472483"/>
                      <a:pt x="2702243" y="466768"/>
                      <a:pt x="2707005" y="460100"/>
                    </a:cubicBezTo>
                    <a:cubicBezTo>
                      <a:pt x="2711768" y="453433"/>
                      <a:pt x="2707005" y="460100"/>
                      <a:pt x="2707005" y="453433"/>
                    </a:cubicBezTo>
                    <a:cubicBezTo>
                      <a:pt x="2707005" y="446765"/>
                      <a:pt x="2706053" y="446765"/>
                      <a:pt x="2707005" y="439145"/>
                    </a:cubicBezTo>
                    <a:cubicBezTo>
                      <a:pt x="2708910" y="431525"/>
                      <a:pt x="2712720" y="431525"/>
                      <a:pt x="2711768" y="428668"/>
                    </a:cubicBezTo>
                    <a:cubicBezTo>
                      <a:pt x="2710815" y="425810"/>
                      <a:pt x="2713673" y="422000"/>
                      <a:pt x="2711768" y="416285"/>
                    </a:cubicBezTo>
                    <a:lnTo>
                      <a:pt x="2701290" y="412475"/>
                    </a:lnTo>
                    <a:lnTo>
                      <a:pt x="2689860" y="413428"/>
                    </a:lnTo>
                    <a:cubicBezTo>
                      <a:pt x="2689860" y="413428"/>
                      <a:pt x="2684145" y="414380"/>
                      <a:pt x="2673668" y="416285"/>
                    </a:cubicBezTo>
                    <a:cubicBezTo>
                      <a:pt x="2663190" y="418190"/>
                      <a:pt x="2673668" y="416285"/>
                      <a:pt x="2660333" y="412475"/>
                    </a:cubicBezTo>
                    <a:cubicBezTo>
                      <a:pt x="2646998" y="408665"/>
                      <a:pt x="2657475" y="406760"/>
                      <a:pt x="2653665" y="401998"/>
                    </a:cubicBezTo>
                    <a:cubicBezTo>
                      <a:pt x="2648903" y="397235"/>
                      <a:pt x="2647950" y="401998"/>
                      <a:pt x="2647950" y="401998"/>
                    </a:cubicBezTo>
                    <a:cubicBezTo>
                      <a:pt x="2647950" y="401998"/>
                      <a:pt x="2642235" y="402950"/>
                      <a:pt x="2634615" y="400093"/>
                    </a:cubicBezTo>
                    <a:cubicBezTo>
                      <a:pt x="2626995" y="397235"/>
                      <a:pt x="2634615" y="400093"/>
                      <a:pt x="2629853" y="396283"/>
                    </a:cubicBezTo>
                    <a:cubicBezTo>
                      <a:pt x="2625090" y="392473"/>
                      <a:pt x="2629853" y="396283"/>
                      <a:pt x="2629853" y="393425"/>
                    </a:cubicBezTo>
                    <a:cubicBezTo>
                      <a:pt x="2629853" y="390568"/>
                      <a:pt x="2632710" y="383900"/>
                      <a:pt x="2632710" y="383900"/>
                    </a:cubicBezTo>
                    <a:cubicBezTo>
                      <a:pt x="2632710" y="383900"/>
                      <a:pt x="2653665" y="382948"/>
                      <a:pt x="2676525" y="375328"/>
                    </a:cubicBezTo>
                    <a:cubicBezTo>
                      <a:pt x="2700338" y="366755"/>
                      <a:pt x="2681288" y="368660"/>
                      <a:pt x="2681288" y="368660"/>
                    </a:cubicBezTo>
                    <a:lnTo>
                      <a:pt x="2697480" y="356278"/>
                    </a:lnTo>
                    <a:cubicBezTo>
                      <a:pt x="2697480" y="356278"/>
                      <a:pt x="2716530" y="349610"/>
                      <a:pt x="2716530" y="344848"/>
                    </a:cubicBezTo>
                    <a:cubicBezTo>
                      <a:pt x="2716530" y="340085"/>
                      <a:pt x="2732723" y="338180"/>
                      <a:pt x="2734628" y="334370"/>
                    </a:cubicBezTo>
                    <a:cubicBezTo>
                      <a:pt x="2736533" y="330560"/>
                      <a:pt x="2745105" y="330560"/>
                      <a:pt x="2745105" y="330560"/>
                    </a:cubicBezTo>
                    <a:lnTo>
                      <a:pt x="2777490" y="328655"/>
                    </a:lnTo>
                    <a:lnTo>
                      <a:pt x="2785110" y="327703"/>
                    </a:lnTo>
                    <a:lnTo>
                      <a:pt x="2798445" y="327703"/>
                    </a:lnTo>
                    <a:lnTo>
                      <a:pt x="2814638" y="330560"/>
                    </a:lnTo>
                    <a:lnTo>
                      <a:pt x="2841308" y="331513"/>
                    </a:lnTo>
                    <a:lnTo>
                      <a:pt x="2855595" y="328655"/>
                    </a:lnTo>
                    <a:cubicBezTo>
                      <a:pt x="2855595" y="328655"/>
                      <a:pt x="2867025" y="327703"/>
                      <a:pt x="2869883" y="324845"/>
                    </a:cubicBezTo>
                    <a:cubicBezTo>
                      <a:pt x="2872740" y="321988"/>
                      <a:pt x="2877503" y="324845"/>
                      <a:pt x="2877503" y="324845"/>
                    </a:cubicBezTo>
                    <a:lnTo>
                      <a:pt x="2909888" y="331513"/>
                    </a:lnTo>
                    <a:lnTo>
                      <a:pt x="2924175" y="339133"/>
                    </a:lnTo>
                    <a:lnTo>
                      <a:pt x="2934653" y="341038"/>
                    </a:lnTo>
                    <a:lnTo>
                      <a:pt x="2943225" y="339133"/>
                    </a:lnTo>
                    <a:cubicBezTo>
                      <a:pt x="2943225" y="339133"/>
                      <a:pt x="2956560" y="334370"/>
                      <a:pt x="2956560" y="324845"/>
                    </a:cubicBezTo>
                    <a:cubicBezTo>
                      <a:pt x="2956560" y="315320"/>
                      <a:pt x="2956560" y="324845"/>
                      <a:pt x="2958465" y="320083"/>
                    </a:cubicBezTo>
                    <a:cubicBezTo>
                      <a:pt x="2960370" y="315320"/>
                      <a:pt x="2958465" y="320083"/>
                      <a:pt x="2966085" y="311510"/>
                    </a:cubicBezTo>
                    <a:cubicBezTo>
                      <a:pt x="2973705" y="302938"/>
                      <a:pt x="2971800" y="306748"/>
                      <a:pt x="2971800" y="306748"/>
                    </a:cubicBezTo>
                    <a:lnTo>
                      <a:pt x="2979420" y="303890"/>
                    </a:lnTo>
                    <a:lnTo>
                      <a:pt x="2987040" y="300080"/>
                    </a:lnTo>
                    <a:cubicBezTo>
                      <a:pt x="2987040" y="300080"/>
                      <a:pt x="2992755" y="299128"/>
                      <a:pt x="2995613" y="295318"/>
                    </a:cubicBezTo>
                    <a:cubicBezTo>
                      <a:pt x="2998470" y="291508"/>
                      <a:pt x="3006090" y="291508"/>
                      <a:pt x="3006090" y="291508"/>
                    </a:cubicBezTo>
                    <a:cubicBezTo>
                      <a:pt x="3006090" y="291508"/>
                      <a:pt x="3011805" y="291508"/>
                      <a:pt x="3036570" y="291508"/>
                    </a:cubicBezTo>
                    <a:cubicBezTo>
                      <a:pt x="3061335" y="291508"/>
                      <a:pt x="3044190" y="299128"/>
                      <a:pt x="3044190" y="299128"/>
                    </a:cubicBezTo>
                    <a:cubicBezTo>
                      <a:pt x="3044190" y="299128"/>
                      <a:pt x="3044190" y="299128"/>
                      <a:pt x="3051810" y="301985"/>
                    </a:cubicBezTo>
                    <a:lnTo>
                      <a:pt x="3062288" y="300080"/>
                    </a:lnTo>
                    <a:lnTo>
                      <a:pt x="3075623" y="293413"/>
                    </a:lnTo>
                    <a:lnTo>
                      <a:pt x="3087053" y="289603"/>
                    </a:lnTo>
                    <a:cubicBezTo>
                      <a:pt x="3087053" y="289603"/>
                      <a:pt x="3092768" y="288650"/>
                      <a:pt x="3097530" y="284840"/>
                    </a:cubicBezTo>
                    <a:cubicBezTo>
                      <a:pt x="3102293" y="281030"/>
                      <a:pt x="3105150" y="283888"/>
                      <a:pt x="3105150" y="283888"/>
                    </a:cubicBezTo>
                    <a:cubicBezTo>
                      <a:pt x="3105150" y="283888"/>
                      <a:pt x="3105150" y="283888"/>
                      <a:pt x="3113723" y="287698"/>
                    </a:cubicBezTo>
                    <a:cubicBezTo>
                      <a:pt x="3113723" y="287698"/>
                      <a:pt x="3106103" y="294365"/>
                      <a:pt x="3100388" y="297223"/>
                    </a:cubicBezTo>
                    <a:cubicBezTo>
                      <a:pt x="3094673" y="300080"/>
                      <a:pt x="3089910" y="302938"/>
                      <a:pt x="3089910" y="302938"/>
                    </a:cubicBezTo>
                    <a:lnTo>
                      <a:pt x="3071813" y="311510"/>
                    </a:lnTo>
                    <a:lnTo>
                      <a:pt x="3061335" y="317225"/>
                    </a:lnTo>
                    <a:cubicBezTo>
                      <a:pt x="3061335" y="317225"/>
                      <a:pt x="3058478" y="321035"/>
                      <a:pt x="3052763" y="321988"/>
                    </a:cubicBezTo>
                    <a:cubicBezTo>
                      <a:pt x="3047048" y="322940"/>
                      <a:pt x="3050858" y="325798"/>
                      <a:pt x="3044190" y="328655"/>
                    </a:cubicBezTo>
                    <a:cubicBezTo>
                      <a:pt x="3036570" y="331513"/>
                      <a:pt x="3030855" y="337228"/>
                      <a:pt x="3030855" y="337228"/>
                    </a:cubicBezTo>
                    <a:lnTo>
                      <a:pt x="3015615" y="341990"/>
                    </a:lnTo>
                    <a:cubicBezTo>
                      <a:pt x="3015615" y="341990"/>
                      <a:pt x="3002280" y="349610"/>
                      <a:pt x="2994660" y="351515"/>
                    </a:cubicBezTo>
                    <a:cubicBezTo>
                      <a:pt x="2987040" y="353420"/>
                      <a:pt x="2989898" y="361040"/>
                      <a:pt x="2982278" y="364850"/>
                    </a:cubicBezTo>
                    <a:cubicBezTo>
                      <a:pt x="2974658" y="368660"/>
                      <a:pt x="2979420" y="368660"/>
                      <a:pt x="2979420" y="368660"/>
                    </a:cubicBezTo>
                    <a:cubicBezTo>
                      <a:pt x="2979420" y="368660"/>
                      <a:pt x="2971800" y="375328"/>
                      <a:pt x="2967038" y="379138"/>
                    </a:cubicBezTo>
                    <a:cubicBezTo>
                      <a:pt x="2962275" y="382948"/>
                      <a:pt x="2972753" y="387710"/>
                      <a:pt x="2972753" y="387710"/>
                    </a:cubicBezTo>
                    <a:lnTo>
                      <a:pt x="2968943" y="408665"/>
                    </a:lnTo>
                    <a:lnTo>
                      <a:pt x="2968943" y="418190"/>
                    </a:lnTo>
                    <a:lnTo>
                      <a:pt x="2968943" y="427715"/>
                    </a:lnTo>
                    <a:lnTo>
                      <a:pt x="2968943" y="434383"/>
                    </a:lnTo>
                    <a:lnTo>
                      <a:pt x="2979420" y="440098"/>
                    </a:lnTo>
                    <a:lnTo>
                      <a:pt x="2989898" y="449623"/>
                    </a:lnTo>
                    <a:lnTo>
                      <a:pt x="2990850" y="455338"/>
                    </a:lnTo>
                    <a:cubicBezTo>
                      <a:pt x="2990850" y="455338"/>
                      <a:pt x="2998470" y="458195"/>
                      <a:pt x="3007043" y="457243"/>
                    </a:cubicBezTo>
                    <a:lnTo>
                      <a:pt x="3017520" y="448670"/>
                    </a:lnTo>
                    <a:lnTo>
                      <a:pt x="3020378" y="441050"/>
                    </a:lnTo>
                    <a:lnTo>
                      <a:pt x="3027998" y="435335"/>
                    </a:lnTo>
                    <a:lnTo>
                      <a:pt x="3038475" y="428668"/>
                    </a:lnTo>
                    <a:cubicBezTo>
                      <a:pt x="3038475" y="428668"/>
                      <a:pt x="3038475" y="428668"/>
                      <a:pt x="3037523" y="425810"/>
                    </a:cubicBezTo>
                    <a:cubicBezTo>
                      <a:pt x="3036570" y="422953"/>
                      <a:pt x="3047048" y="416285"/>
                      <a:pt x="3047048" y="416285"/>
                    </a:cubicBezTo>
                    <a:lnTo>
                      <a:pt x="3054668" y="413428"/>
                    </a:lnTo>
                    <a:lnTo>
                      <a:pt x="3072765" y="403903"/>
                    </a:lnTo>
                    <a:cubicBezTo>
                      <a:pt x="3072765" y="403903"/>
                      <a:pt x="3072765" y="403903"/>
                      <a:pt x="3083243" y="397235"/>
                    </a:cubicBezTo>
                    <a:cubicBezTo>
                      <a:pt x="3083243" y="397235"/>
                      <a:pt x="3077528" y="392473"/>
                      <a:pt x="3077528" y="386758"/>
                    </a:cubicBezTo>
                    <a:cubicBezTo>
                      <a:pt x="3077528" y="381043"/>
                      <a:pt x="3077528" y="386758"/>
                      <a:pt x="3080385" y="383900"/>
                    </a:cubicBezTo>
                    <a:cubicBezTo>
                      <a:pt x="3083243" y="381043"/>
                      <a:pt x="3080385" y="383900"/>
                      <a:pt x="3080385" y="381043"/>
                    </a:cubicBezTo>
                    <a:cubicBezTo>
                      <a:pt x="3080385" y="378185"/>
                      <a:pt x="3085148" y="377233"/>
                      <a:pt x="3085148" y="377233"/>
                    </a:cubicBezTo>
                    <a:lnTo>
                      <a:pt x="3092768" y="370565"/>
                    </a:lnTo>
                    <a:cubicBezTo>
                      <a:pt x="3092768" y="370565"/>
                      <a:pt x="3092768" y="370565"/>
                      <a:pt x="3089910" y="357230"/>
                    </a:cubicBezTo>
                    <a:lnTo>
                      <a:pt x="3097530" y="375328"/>
                    </a:lnTo>
                    <a:cubicBezTo>
                      <a:pt x="3097530" y="375328"/>
                      <a:pt x="3097530" y="375328"/>
                      <a:pt x="3097530" y="371518"/>
                    </a:cubicBezTo>
                    <a:cubicBezTo>
                      <a:pt x="3097530" y="367708"/>
                      <a:pt x="3110865" y="366755"/>
                      <a:pt x="3110865" y="366755"/>
                    </a:cubicBezTo>
                    <a:lnTo>
                      <a:pt x="3116580" y="351515"/>
                    </a:lnTo>
                    <a:cubicBezTo>
                      <a:pt x="3116580" y="351515"/>
                      <a:pt x="3124200" y="349610"/>
                      <a:pt x="3148013" y="343895"/>
                    </a:cubicBezTo>
                    <a:cubicBezTo>
                      <a:pt x="3171825" y="338180"/>
                      <a:pt x="3161348" y="342943"/>
                      <a:pt x="3166110" y="342943"/>
                    </a:cubicBezTo>
                    <a:cubicBezTo>
                      <a:pt x="3170873" y="342943"/>
                      <a:pt x="3183255" y="343895"/>
                      <a:pt x="3183255" y="343895"/>
                    </a:cubicBezTo>
                    <a:cubicBezTo>
                      <a:pt x="3183255" y="343895"/>
                      <a:pt x="3243263" y="340085"/>
                      <a:pt x="3253740" y="336275"/>
                    </a:cubicBezTo>
                    <a:cubicBezTo>
                      <a:pt x="3264218" y="332465"/>
                      <a:pt x="3258503" y="332465"/>
                      <a:pt x="3258503" y="332465"/>
                    </a:cubicBezTo>
                    <a:cubicBezTo>
                      <a:pt x="3258503" y="332465"/>
                      <a:pt x="3271838" y="325798"/>
                      <a:pt x="3274695" y="321988"/>
                    </a:cubicBezTo>
                    <a:cubicBezTo>
                      <a:pt x="3277553" y="318178"/>
                      <a:pt x="3288983" y="319130"/>
                      <a:pt x="3301365" y="315320"/>
                    </a:cubicBezTo>
                    <a:cubicBezTo>
                      <a:pt x="3312795" y="311510"/>
                      <a:pt x="3317558" y="304843"/>
                      <a:pt x="3317558" y="304843"/>
                    </a:cubicBezTo>
                    <a:cubicBezTo>
                      <a:pt x="3317558" y="304843"/>
                      <a:pt x="3331845" y="307700"/>
                      <a:pt x="3336608" y="306748"/>
                    </a:cubicBezTo>
                    <a:cubicBezTo>
                      <a:pt x="3341370" y="305795"/>
                      <a:pt x="3358515" y="309605"/>
                      <a:pt x="3358515" y="309605"/>
                    </a:cubicBezTo>
                    <a:cubicBezTo>
                      <a:pt x="3358515" y="309605"/>
                      <a:pt x="3388995" y="306748"/>
                      <a:pt x="3407093" y="300080"/>
                    </a:cubicBezTo>
                    <a:cubicBezTo>
                      <a:pt x="3425190" y="292460"/>
                      <a:pt x="3407093" y="300080"/>
                      <a:pt x="3403283" y="291508"/>
                    </a:cubicBezTo>
                    <a:cubicBezTo>
                      <a:pt x="3399473" y="282935"/>
                      <a:pt x="3383280" y="286745"/>
                      <a:pt x="3380423" y="282935"/>
                    </a:cubicBezTo>
                    <a:cubicBezTo>
                      <a:pt x="3377565" y="279125"/>
                      <a:pt x="3379470" y="279125"/>
                      <a:pt x="3364230" y="270553"/>
                    </a:cubicBezTo>
                    <a:cubicBezTo>
                      <a:pt x="3364230" y="270553"/>
                      <a:pt x="3353753" y="263885"/>
                      <a:pt x="3358515" y="260075"/>
                    </a:cubicBezTo>
                    <a:lnTo>
                      <a:pt x="3369945" y="260075"/>
                    </a:lnTo>
                    <a:cubicBezTo>
                      <a:pt x="3369945" y="260075"/>
                      <a:pt x="3388043" y="259123"/>
                      <a:pt x="3397568" y="257218"/>
                    </a:cubicBezTo>
                    <a:cubicBezTo>
                      <a:pt x="3408045" y="255313"/>
                      <a:pt x="3403283" y="253408"/>
                      <a:pt x="3405188" y="249598"/>
                    </a:cubicBezTo>
                    <a:cubicBezTo>
                      <a:pt x="3407093" y="245788"/>
                      <a:pt x="3408045" y="244835"/>
                      <a:pt x="3408045" y="244835"/>
                    </a:cubicBezTo>
                    <a:lnTo>
                      <a:pt x="3415665" y="241025"/>
                    </a:lnTo>
                    <a:lnTo>
                      <a:pt x="3424238" y="241025"/>
                    </a:lnTo>
                    <a:lnTo>
                      <a:pt x="3432810" y="242930"/>
                    </a:lnTo>
                    <a:lnTo>
                      <a:pt x="3449003" y="250550"/>
                    </a:lnTo>
                    <a:lnTo>
                      <a:pt x="3456623" y="253408"/>
                    </a:lnTo>
                    <a:cubicBezTo>
                      <a:pt x="3456623" y="253408"/>
                      <a:pt x="3465195" y="257218"/>
                      <a:pt x="3472815" y="257218"/>
                    </a:cubicBezTo>
                    <a:cubicBezTo>
                      <a:pt x="3480435" y="257218"/>
                      <a:pt x="3489960" y="260075"/>
                      <a:pt x="3494723" y="260075"/>
                    </a:cubicBezTo>
                    <a:cubicBezTo>
                      <a:pt x="3499485" y="260075"/>
                      <a:pt x="3514725" y="267695"/>
                      <a:pt x="3519488" y="266743"/>
                    </a:cubicBezTo>
                    <a:cubicBezTo>
                      <a:pt x="3524250" y="265790"/>
                      <a:pt x="3529965" y="267695"/>
                      <a:pt x="3535680" y="265790"/>
                    </a:cubicBezTo>
                    <a:cubicBezTo>
                      <a:pt x="3541395" y="263885"/>
                      <a:pt x="3543300" y="261980"/>
                      <a:pt x="3549015" y="255313"/>
                    </a:cubicBezTo>
                    <a:cubicBezTo>
                      <a:pt x="3554730" y="248645"/>
                      <a:pt x="3549015" y="255313"/>
                      <a:pt x="3551873" y="243883"/>
                    </a:cubicBezTo>
                    <a:cubicBezTo>
                      <a:pt x="3554730" y="232453"/>
                      <a:pt x="3560445" y="241025"/>
                      <a:pt x="3560445" y="241025"/>
                    </a:cubicBezTo>
                    <a:lnTo>
                      <a:pt x="3569018" y="237215"/>
                    </a:lnTo>
                    <a:lnTo>
                      <a:pt x="3574733" y="230548"/>
                    </a:lnTo>
                    <a:lnTo>
                      <a:pt x="3568065" y="231500"/>
                    </a:lnTo>
                    <a:close/>
                    <a:moveTo>
                      <a:pt x="601028" y="290555"/>
                    </a:moveTo>
                    <a:cubicBezTo>
                      <a:pt x="601028" y="290555"/>
                      <a:pt x="601028" y="290555"/>
                      <a:pt x="601028" y="290555"/>
                    </a:cubicBezTo>
                    <a:cubicBezTo>
                      <a:pt x="601028" y="290555"/>
                      <a:pt x="601028" y="290555"/>
                      <a:pt x="601028" y="290555"/>
                    </a:cubicBezTo>
                    <a:close/>
                    <a:moveTo>
                      <a:pt x="874395" y="1083035"/>
                    </a:moveTo>
                    <a:lnTo>
                      <a:pt x="867728" y="1091608"/>
                    </a:lnTo>
                    <a:lnTo>
                      <a:pt x="861060" y="1097323"/>
                    </a:lnTo>
                    <a:lnTo>
                      <a:pt x="849630" y="1106848"/>
                    </a:lnTo>
                    <a:lnTo>
                      <a:pt x="838200" y="1104943"/>
                    </a:lnTo>
                    <a:lnTo>
                      <a:pt x="841058" y="1096370"/>
                    </a:lnTo>
                    <a:cubicBezTo>
                      <a:pt x="841058" y="1096370"/>
                      <a:pt x="841058" y="1096370"/>
                      <a:pt x="839153" y="1091608"/>
                    </a:cubicBezTo>
                    <a:cubicBezTo>
                      <a:pt x="837248" y="1087798"/>
                      <a:pt x="845820" y="1085893"/>
                      <a:pt x="845820" y="1085893"/>
                    </a:cubicBezTo>
                    <a:lnTo>
                      <a:pt x="859155" y="1084940"/>
                    </a:lnTo>
                    <a:lnTo>
                      <a:pt x="874395" y="1083035"/>
                    </a:lnTo>
                    <a:close/>
                    <a:moveTo>
                      <a:pt x="1003935" y="591545"/>
                    </a:moveTo>
                    <a:cubicBezTo>
                      <a:pt x="1003935" y="591545"/>
                      <a:pt x="1003935" y="591545"/>
                      <a:pt x="995363" y="595355"/>
                    </a:cubicBezTo>
                    <a:cubicBezTo>
                      <a:pt x="986790" y="599165"/>
                      <a:pt x="995363" y="595355"/>
                      <a:pt x="986790" y="595355"/>
                    </a:cubicBezTo>
                    <a:cubicBezTo>
                      <a:pt x="978218" y="595355"/>
                      <a:pt x="978218" y="595355"/>
                      <a:pt x="978218" y="595355"/>
                    </a:cubicBezTo>
                    <a:lnTo>
                      <a:pt x="958215" y="593450"/>
                    </a:lnTo>
                    <a:lnTo>
                      <a:pt x="918210" y="588688"/>
                    </a:lnTo>
                    <a:cubicBezTo>
                      <a:pt x="918210" y="588688"/>
                      <a:pt x="906780" y="588688"/>
                      <a:pt x="901065" y="588688"/>
                    </a:cubicBezTo>
                    <a:cubicBezTo>
                      <a:pt x="894398" y="588688"/>
                      <a:pt x="885825" y="588688"/>
                      <a:pt x="885825" y="588688"/>
                    </a:cubicBezTo>
                    <a:lnTo>
                      <a:pt x="868680" y="585830"/>
                    </a:lnTo>
                    <a:cubicBezTo>
                      <a:pt x="868680" y="585830"/>
                      <a:pt x="853440" y="586783"/>
                      <a:pt x="846773" y="586783"/>
                    </a:cubicBezTo>
                    <a:cubicBezTo>
                      <a:pt x="840105" y="586783"/>
                      <a:pt x="838200" y="586783"/>
                      <a:pt x="824865" y="589640"/>
                    </a:cubicBezTo>
                    <a:cubicBezTo>
                      <a:pt x="811530" y="592498"/>
                      <a:pt x="824865" y="589640"/>
                      <a:pt x="813435" y="589640"/>
                    </a:cubicBezTo>
                    <a:cubicBezTo>
                      <a:pt x="802005" y="589640"/>
                      <a:pt x="813435" y="589640"/>
                      <a:pt x="802005" y="589640"/>
                    </a:cubicBezTo>
                    <a:cubicBezTo>
                      <a:pt x="790575" y="589640"/>
                      <a:pt x="791528" y="586783"/>
                      <a:pt x="791528" y="586783"/>
                    </a:cubicBezTo>
                    <a:cubicBezTo>
                      <a:pt x="791528" y="586783"/>
                      <a:pt x="791528" y="581068"/>
                      <a:pt x="791528" y="577258"/>
                    </a:cubicBezTo>
                    <a:cubicBezTo>
                      <a:pt x="791528" y="573448"/>
                      <a:pt x="798195" y="571543"/>
                      <a:pt x="802958" y="565828"/>
                    </a:cubicBezTo>
                    <a:cubicBezTo>
                      <a:pt x="807720" y="560113"/>
                      <a:pt x="802958" y="565828"/>
                      <a:pt x="807720" y="560113"/>
                    </a:cubicBezTo>
                    <a:cubicBezTo>
                      <a:pt x="812483" y="554398"/>
                      <a:pt x="809625" y="553445"/>
                      <a:pt x="809625" y="553445"/>
                    </a:cubicBezTo>
                    <a:lnTo>
                      <a:pt x="821055" y="544873"/>
                    </a:lnTo>
                    <a:lnTo>
                      <a:pt x="827723" y="538205"/>
                    </a:lnTo>
                    <a:lnTo>
                      <a:pt x="845820" y="529633"/>
                    </a:lnTo>
                    <a:lnTo>
                      <a:pt x="854393" y="529633"/>
                    </a:lnTo>
                    <a:lnTo>
                      <a:pt x="867728" y="529633"/>
                    </a:lnTo>
                    <a:lnTo>
                      <a:pt x="881063" y="537253"/>
                    </a:lnTo>
                    <a:lnTo>
                      <a:pt x="884873" y="545825"/>
                    </a:lnTo>
                    <a:lnTo>
                      <a:pt x="906780" y="550588"/>
                    </a:lnTo>
                    <a:lnTo>
                      <a:pt x="928688" y="546778"/>
                    </a:lnTo>
                    <a:cubicBezTo>
                      <a:pt x="928688" y="546778"/>
                      <a:pt x="928688" y="546778"/>
                      <a:pt x="926783" y="541063"/>
                    </a:cubicBezTo>
                    <a:cubicBezTo>
                      <a:pt x="924878" y="535348"/>
                      <a:pt x="926783" y="531538"/>
                      <a:pt x="926783" y="531538"/>
                    </a:cubicBezTo>
                    <a:cubicBezTo>
                      <a:pt x="926783" y="531538"/>
                      <a:pt x="933450" y="525823"/>
                      <a:pt x="942023" y="519155"/>
                    </a:cubicBezTo>
                    <a:lnTo>
                      <a:pt x="948690" y="527728"/>
                    </a:lnTo>
                    <a:lnTo>
                      <a:pt x="948690" y="534395"/>
                    </a:lnTo>
                    <a:cubicBezTo>
                      <a:pt x="948690" y="534395"/>
                      <a:pt x="948690" y="534395"/>
                      <a:pt x="946785" y="538205"/>
                    </a:cubicBezTo>
                    <a:cubicBezTo>
                      <a:pt x="944880" y="542015"/>
                      <a:pt x="953453" y="546778"/>
                      <a:pt x="953453" y="546778"/>
                    </a:cubicBezTo>
                    <a:lnTo>
                      <a:pt x="972503" y="561065"/>
                    </a:lnTo>
                    <a:lnTo>
                      <a:pt x="987743" y="571543"/>
                    </a:lnTo>
                    <a:lnTo>
                      <a:pt x="998220" y="579163"/>
                    </a:lnTo>
                    <a:lnTo>
                      <a:pt x="1004888" y="584878"/>
                    </a:lnTo>
                    <a:lnTo>
                      <a:pt x="1003935" y="591545"/>
                    </a:lnTo>
                    <a:close/>
                    <a:moveTo>
                      <a:pt x="1239203" y="609643"/>
                    </a:moveTo>
                    <a:lnTo>
                      <a:pt x="1230630" y="612500"/>
                    </a:lnTo>
                    <a:lnTo>
                      <a:pt x="1212533" y="622025"/>
                    </a:lnTo>
                    <a:lnTo>
                      <a:pt x="1212533" y="627740"/>
                    </a:lnTo>
                    <a:cubicBezTo>
                      <a:pt x="1212533" y="627740"/>
                      <a:pt x="1210628" y="628693"/>
                      <a:pt x="1212533" y="633455"/>
                    </a:cubicBezTo>
                    <a:cubicBezTo>
                      <a:pt x="1214438" y="637265"/>
                      <a:pt x="1219200" y="629645"/>
                      <a:pt x="1214438" y="637265"/>
                    </a:cubicBezTo>
                    <a:cubicBezTo>
                      <a:pt x="1209675" y="645838"/>
                      <a:pt x="1196340" y="645838"/>
                      <a:pt x="1196340" y="645838"/>
                    </a:cubicBezTo>
                    <a:lnTo>
                      <a:pt x="1183005" y="645838"/>
                    </a:lnTo>
                    <a:lnTo>
                      <a:pt x="1169670" y="642980"/>
                    </a:lnTo>
                    <a:lnTo>
                      <a:pt x="1157288" y="625835"/>
                    </a:lnTo>
                    <a:lnTo>
                      <a:pt x="1150620" y="614405"/>
                    </a:lnTo>
                    <a:cubicBezTo>
                      <a:pt x="1150620" y="614405"/>
                      <a:pt x="1143953" y="604880"/>
                      <a:pt x="1143953" y="600118"/>
                    </a:cubicBezTo>
                    <a:cubicBezTo>
                      <a:pt x="1143953" y="596308"/>
                      <a:pt x="1123950" y="586783"/>
                      <a:pt x="1123950" y="586783"/>
                    </a:cubicBezTo>
                    <a:lnTo>
                      <a:pt x="1115378" y="571543"/>
                    </a:lnTo>
                    <a:lnTo>
                      <a:pt x="1113473" y="559160"/>
                    </a:lnTo>
                    <a:cubicBezTo>
                      <a:pt x="1113473" y="559160"/>
                      <a:pt x="1108710" y="555350"/>
                      <a:pt x="1113473" y="550588"/>
                    </a:cubicBezTo>
                    <a:cubicBezTo>
                      <a:pt x="1118235" y="546778"/>
                      <a:pt x="1109663" y="538205"/>
                      <a:pt x="1116330" y="539158"/>
                    </a:cubicBezTo>
                    <a:cubicBezTo>
                      <a:pt x="1122998" y="541063"/>
                      <a:pt x="1129665" y="535348"/>
                      <a:pt x="1129665" y="535348"/>
                    </a:cubicBezTo>
                    <a:cubicBezTo>
                      <a:pt x="1149668" y="534395"/>
                      <a:pt x="1163003" y="531538"/>
                      <a:pt x="1163003" y="531538"/>
                    </a:cubicBezTo>
                    <a:cubicBezTo>
                      <a:pt x="1196340" y="527728"/>
                      <a:pt x="1196340" y="527728"/>
                      <a:pt x="1196340" y="527728"/>
                    </a:cubicBezTo>
                    <a:lnTo>
                      <a:pt x="1201103" y="531538"/>
                    </a:lnTo>
                    <a:cubicBezTo>
                      <a:pt x="1201103" y="535348"/>
                      <a:pt x="1187768" y="540110"/>
                      <a:pt x="1187768" y="540110"/>
                    </a:cubicBezTo>
                    <a:lnTo>
                      <a:pt x="1176338" y="545825"/>
                    </a:lnTo>
                    <a:lnTo>
                      <a:pt x="1176338" y="557255"/>
                    </a:lnTo>
                    <a:cubicBezTo>
                      <a:pt x="1176338" y="557255"/>
                      <a:pt x="1169670" y="565828"/>
                      <a:pt x="1176338" y="568685"/>
                    </a:cubicBezTo>
                    <a:cubicBezTo>
                      <a:pt x="1183005" y="571543"/>
                      <a:pt x="1206818" y="584878"/>
                      <a:pt x="1206818" y="584878"/>
                    </a:cubicBezTo>
                    <a:lnTo>
                      <a:pt x="1222058" y="587735"/>
                    </a:lnTo>
                    <a:lnTo>
                      <a:pt x="1237298" y="593450"/>
                    </a:lnTo>
                    <a:lnTo>
                      <a:pt x="1243965" y="599165"/>
                    </a:lnTo>
                    <a:lnTo>
                      <a:pt x="1239203" y="609643"/>
                    </a:lnTo>
                    <a:close/>
                    <a:moveTo>
                      <a:pt x="1342073" y="556303"/>
                    </a:moveTo>
                    <a:lnTo>
                      <a:pt x="1335405" y="562970"/>
                    </a:lnTo>
                    <a:lnTo>
                      <a:pt x="1322070" y="562970"/>
                    </a:lnTo>
                    <a:cubicBezTo>
                      <a:pt x="1322070" y="562970"/>
                      <a:pt x="1313498" y="558208"/>
                      <a:pt x="1308735" y="554398"/>
                    </a:cubicBezTo>
                    <a:cubicBezTo>
                      <a:pt x="1303973" y="550588"/>
                      <a:pt x="1310640" y="548683"/>
                      <a:pt x="1311593" y="542015"/>
                    </a:cubicBezTo>
                    <a:cubicBezTo>
                      <a:pt x="1311593" y="535348"/>
                      <a:pt x="1311593" y="542015"/>
                      <a:pt x="1316355" y="536300"/>
                    </a:cubicBezTo>
                    <a:lnTo>
                      <a:pt x="1333500" y="536300"/>
                    </a:lnTo>
                    <a:lnTo>
                      <a:pt x="1342073" y="548683"/>
                    </a:lnTo>
                    <a:lnTo>
                      <a:pt x="1342073" y="556303"/>
                    </a:lnTo>
                    <a:close/>
                  </a:path>
                </a:pathLst>
              </a:custGeom>
              <a:grpFill/>
              <a:ln w="9525" cap="flat">
                <a:noFill/>
                <a:prstDash val="solid"/>
                <a:miter/>
              </a:ln>
            </p:spPr>
            <p:txBody>
              <a:bodyPr rtlCol="0" anchor="ctr"/>
              <a:lstStyle/>
              <a:p>
                <a:endParaRPr lang="en-US" sz="1765"/>
              </a:p>
            </p:txBody>
          </p:sp>
          <p:sp>
            <p:nvSpPr>
              <p:cNvPr id="336" name="Freeform: Shape 335">
                <a:extLst>
                  <a:ext uri="{FF2B5EF4-FFF2-40B4-BE49-F238E27FC236}">
                    <a16:creationId xmlns:a16="http://schemas.microsoft.com/office/drawing/2014/main" id="{0485443B-AB2A-4BE9-9E52-0597AF6CB104}"/>
                  </a:ext>
                </a:extLst>
              </p:cNvPr>
              <p:cNvSpPr/>
              <p:nvPr/>
            </p:nvSpPr>
            <p:spPr>
              <a:xfrm>
                <a:off x="8953529" y="4190729"/>
                <a:ext cx="130567" cy="157171"/>
              </a:xfrm>
              <a:custGeom>
                <a:avLst/>
                <a:gdLst>
                  <a:gd name="connsiteX0" fmla="*/ 126682 w 130567"/>
                  <a:gd name="connsiteY0" fmla="*/ 4763 h 157171"/>
                  <a:gd name="connsiteX1" fmla="*/ 126682 w 130567"/>
                  <a:gd name="connsiteY1" fmla="*/ 10478 h 157171"/>
                  <a:gd name="connsiteX2" fmla="*/ 126682 w 130567"/>
                  <a:gd name="connsiteY2" fmla="*/ 25717 h 157171"/>
                  <a:gd name="connsiteX3" fmla="*/ 126682 w 130567"/>
                  <a:gd name="connsiteY3" fmla="*/ 34290 h 157171"/>
                  <a:gd name="connsiteX4" fmla="*/ 129540 w 130567"/>
                  <a:gd name="connsiteY4" fmla="*/ 45720 h 157171"/>
                  <a:gd name="connsiteX5" fmla="*/ 122872 w 130567"/>
                  <a:gd name="connsiteY5" fmla="*/ 57150 h 157171"/>
                  <a:gd name="connsiteX6" fmla="*/ 117157 w 130567"/>
                  <a:gd name="connsiteY6" fmla="*/ 69533 h 157171"/>
                  <a:gd name="connsiteX7" fmla="*/ 115253 w 130567"/>
                  <a:gd name="connsiteY7" fmla="*/ 75247 h 157171"/>
                  <a:gd name="connsiteX8" fmla="*/ 110490 w 130567"/>
                  <a:gd name="connsiteY8" fmla="*/ 88583 h 157171"/>
                  <a:gd name="connsiteX9" fmla="*/ 107632 w 130567"/>
                  <a:gd name="connsiteY9" fmla="*/ 98108 h 157171"/>
                  <a:gd name="connsiteX10" fmla="*/ 97155 w 130567"/>
                  <a:gd name="connsiteY10" fmla="*/ 112395 h 157171"/>
                  <a:gd name="connsiteX11" fmla="*/ 91440 w 130567"/>
                  <a:gd name="connsiteY11" fmla="*/ 118110 h 157171"/>
                  <a:gd name="connsiteX12" fmla="*/ 79057 w 130567"/>
                  <a:gd name="connsiteY12" fmla="*/ 126683 h 157171"/>
                  <a:gd name="connsiteX13" fmla="*/ 78105 w 130567"/>
                  <a:gd name="connsiteY13" fmla="*/ 133350 h 157171"/>
                  <a:gd name="connsiteX14" fmla="*/ 74295 w 130567"/>
                  <a:gd name="connsiteY14" fmla="*/ 145733 h 157171"/>
                  <a:gd name="connsiteX15" fmla="*/ 69532 w 130567"/>
                  <a:gd name="connsiteY15" fmla="*/ 152400 h 157171"/>
                  <a:gd name="connsiteX16" fmla="*/ 54292 w 130567"/>
                  <a:gd name="connsiteY16" fmla="*/ 155258 h 157171"/>
                  <a:gd name="connsiteX17" fmla="*/ 46672 w 130567"/>
                  <a:gd name="connsiteY17" fmla="*/ 156210 h 157171"/>
                  <a:gd name="connsiteX18" fmla="*/ 35242 w 130567"/>
                  <a:gd name="connsiteY18" fmla="*/ 154305 h 157171"/>
                  <a:gd name="connsiteX19" fmla="*/ 20955 w 130567"/>
                  <a:gd name="connsiteY19" fmla="*/ 144780 h 157171"/>
                  <a:gd name="connsiteX20" fmla="*/ 18097 w 130567"/>
                  <a:gd name="connsiteY20" fmla="*/ 139065 h 157171"/>
                  <a:gd name="connsiteX21" fmla="*/ 12382 w 130567"/>
                  <a:gd name="connsiteY21" fmla="*/ 133350 h 157171"/>
                  <a:gd name="connsiteX22" fmla="*/ 2857 w 130567"/>
                  <a:gd name="connsiteY22" fmla="*/ 129540 h 157171"/>
                  <a:gd name="connsiteX23" fmla="*/ 953 w 130567"/>
                  <a:gd name="connsiteY23" fmla="*/ 120015 h 157171"/>
                  <a:gd name="connsiteX24" fmla="*/ 0 w 130567"/>
                  <a:gd name="connsiteY24" fmla="*/ 113347 h 157171"/>
                  <a:gd name="connsiteX25" fmla="*/ 2857 w 130567"/>
                  <a:gd name="connsiteY25" fmla="*/ 104775 h 157171"/>
                  <a:gd name="connsiteX26" fmla="*/ 10478 w 130567"/>
                  <a:gd name="connsiteY26" fmla="*/ 101917 h 157171"/>
                  <a:gd name="connsiteX27" fmla="*/ 18097 w 130567"/>
                  <a:gd name="connsiteY27" fmla="*/ 98108 h 157171"/>
                  <a:gd name="connsiteX28" fmla="*/ 26670 w 130567"/>
                  <a:gd name="connsiteY28" fmla="*/ 93345 h 157171"/>
                  <a:gd name="connsiteX29" fmla="*/ 31432 w 130567"/>
                  <a:gd name="connsiteY29" fmla="*/ 84772 h 157171"/>
                  <a:gd name="connsiteX30" fmla="*/ 31432 w 130567"/>
                  <a:gd name="connsiteY30" fmla="*/ 74295 h 157171"/>
                  <a:gd name="connsiteX31" fmla="*/ 31432 w 130567"/>
                  <a:gd name="connsiteY31" fmla="*/ 64770 h 157171"/>
                  <a:gd name="connsiteX32" fmla="*/ 32385 w 130567"/>
                  <a:gd name="connsiteY32" fmla="*/ 55245 h 157171"/>
                  <a:gd name="connsiteX33" fmla="*/ 44767 w 130567"/>
                  <a:gd name="connsiteY33" fmla="*/ 48578 h 157171"/>
                  <a:gd name="connsiteX34" fmla="*/ 53340 w 130567"/>
                  <a:gd name="connsiteY34" fmla="*/ 44767 h 157171"/>
                  <a:gd name="connsiteX35" fmla="*/ 63817 w 130567"/>
                  <a:gd name="connsiteY35" fmla="*/ 40958 h 157171"/>
                  <a:gd name="connsiteX36" fmla="*/ 76200 w 130567"/>
                  <a:gd name="connsiteY36" fmla="*/ 34290 h 157171"/>
                  <a:gd name="connsiteX37" fmla="*/ 81915 w 130567"/>
                  <a:gd name="connsiteY37" fmla="*/ 31433 h 157171"/>
                  <a:gd name="connsiteX38" fmla="*/ 93345 w 130567"/>
                  <a:gd name="connsiteY38" fmla="*/ 27622 h 157171"/>
                  <a:gd name="connsiteX39" fmla="*/ 102870 w 130567"/>
                  <a:gd name="connsiteY39" fmla="*/ 18097 h 157171"/>
                  <a:gd name="connsiteX40" fmla="*/ 107632 w 130567"/>
                  <a:gd name="connsiteY40" fmla="*/ 6667 h 157171"/>
                  <a:gd name="connsiteX41" fmla="*/ 115253 w 130567"/>
                  <a:gd name="connsiteY41" fmla="*/ 0 h 157171"/>
                  <a:gd name="connsiteX42" fmla="*/ 126682 w 130567"/>
                  <a:gd name="connsiteY42" fmla="*/ 4763 h 15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567" h="157171">
                    <a:moveTo>
                      <a:pt x="126682" y="4763"/>
                    </a:moveTo>
                    <a:cubicBezTo>
                      <a:pt x="126682" y="4763"/>
                      <a:pt x="125730" y="6667"/>
                      <a:pt x="126682" y="10478"/>
                    </a:cubicBezTo>
                    <a:cubicBezTo>
                      <a:pt x="127635" y="14288"/>
                      <a:pt x="125730" y="22860"/>
                      <a:pt x="126682" y="25717"/>
                    </a:cubicBezTo>
                    <a:cubicBezTo>
                      <a:pt x="127635" y="28575"/>
                      <a:pt x="124778" y="28575"/>
                      <a:pt x="126682" y="34290"/>
                    </a:cubicBezTo>
                    <a:cubicBezTo>
                      <a:pt x="128588" y="40005"/>
                      <a:pt x="132397" y="40958"/>
                      <a:pt x="129540" y="45720"/>
                    </a:cubicBezTo>
                    <a:cubicBezTo>
                      <a:pt x="127635" y="49530"/>
                      <a:pt x="128588" y="44767"/>
                      <a:pt x="122872" y="57150"/>
                    </a:cubicBezTo>
                    <a:cubicBezTo>
                      <a:pt x="117157" y="69533"/>
                      <a:pt x="119063" y="63817"/>
                      <a:pt x="117157" y="69533"/>
                    </a:cubicBezTo>
                    <a:cubicBezTo>
                      <a:pt x="115253" y="75247"/>
                      <a:pt x="116205" y="67628"/>
                      <a:pt x="115253" y="75247"/>
                    </a:cubicBezTo>
                    <a:cubicBezTo>
                      <a:pt x="114300" y="82867"/>
                      <a:pt x="111442" y="83820"/>
                      <a:pt x="110490" y="88583"/>
                    </a:cubicBezTo>
                    <a:cubicBezTo>
                      <a:pt x="109538" y="93345"/>
                      <a:pt x="111442" y="95250"/>
                      <a:pt x="107632" y="98108"/>
                    </a:cubicBezTo>
                    <a:cubicBezTo>
                      <a:pt x="103822" y="101917"/>
                      <a:pt x="97155" y="112395"/>
                      <a:pt x="97155" y="112395"/>
                    </a:cubicBezTo>
                    <a:cubicBezTo>
                      <a:pt x="97155" y="112395"/>
                      <a:pt x="93345" y="113347"/>
                      <a:pt x="91440" y="118110"/>
                    </a:cubicBezTo>
                    <a:cubicBezTo>
                      <a:pt x="89535" y="121920"/>
                      <a:pt x="78105" y="123825"/>
                      <a:pt x="79057" y="126683"/>
                    </a:cubicBezTo>
                    <a:cubicBezTo>
                      <a:pt x="80010" y="129540"/>
                      <a:pt x="78105" y="129540"/>
                      <a:pt x="78105" y="133350"/>
                    </a:cubicBezTo>
                    <a:cubicBezTo>
                      <a:pt x="78105" y="137160"/>
                      <a:pt x="76200" y="141922"/>
                      <a:pt x="74295" y="145733"/>
                    </a:cubicBezTo>
                    <a:cubicBezTo>
                      <a:pt x="73342" y="149542"/>
                      <a:pt x="69532" y="152400"/>
                      <a:pt x="69532" y="152400"/>
                    </a:cubicBezTo>
                    <a:lnTo>
                      <a:pt x="54292" y="155258"/>
                    </a:lnTo>
                    <a:cubicBezTo>
                      <a:pt x="54292" y="155258"/>
                      <a:pt x="53340" y="156210"/>
                      <a:pt x="46672" y="156210"/>
                    </a:cubicBezTo>
                    <a:cubicBezTo>
                      <a:pt x="40005" y="155258"/>
                      <a:pt x="45720" y="160020"/>
                      <a:pt x="35242" y="154305"/>
                    </a:cubicBezTo>
                    <a:cubicBezTo>
                      <a:pt x="25717" y="148590"/>
                      <a:pt x="20955" y="144780"/>
                      <a:pt x="20955" y="144780"/>
                    </a:cubicBezTo>
                    <a:lnTo>
                      <a:pt x="18097" y="139065"/>
                    </a:lnTo>
                    <a:cubicBezTo>
                      <a:pt x="18097" y="139065"/>
                      <a:pt x="16192" y="135255"/>
                      <a:pt x="12382" y="133350"/>
                    </a:cubicBezTo>
                    <a:cubicBezTo>
                      <a:pt x="9525" y="131445"/>
                      <a:pt x="2857" y="129540"/>
                      <a:pt x="2857" y="129540"/>
                    </a:cubicBezTo>
                    <a:lnTo>
                      <a:pt x="953" y="120015"/>
                    </a:lnTo>
                    <a:lnTo>
                      <a:pt x="0" y="113347"/>
                    </a:lnTo>
                    <a:lnTo>
                      <a:pt x="2857" y="104775"/>
                    </a:lnTo>
                    <a:cubicBezTo>
                      <a:pt x="2857" y="104775"/>
                      <a:pt x="7620" y="102870"/>
                      <a:pt x="10478" y="101917"/>
                    </a:cubicBezTo>
                    <a:cubicBezTo>
                      <a:pt x="13335" y="100965"/>
                      <a:pt x="18097" y="98108"/>
                      <a:pt x="18097" y="98108"/>
                    </a:cubicBezTo>
                    <a:lnTo>
                      <a:pt x="26670" y="93345"/>
                    </a:lnTo>
                    <a:lnTo>
                      <a:pt x="31432" y="84772"/>
                    </a:lnTo>
                    <a:lnTo>
                      <a:pt x="31432" y="74295"/>
                    </a:lnTo>
                    <a:lnTo>
                      <a:pt x="31432" y="64770"/>
                    </a:lnTo>
                    <a:lnTo>
                      <a:pt x="32385" y="55245"/>
                    </a:lnTo>
                    <a:lnTo>
                      <a:pt x="44767" y="48578"/>
                    </a:lnTo>
                    <a:lnTo>
                      <a:pt x="53340" y="44767"/>
                    </a:lnTo>
                    <a:cubicBezTo>
                      <a:pt x="53340" y="44767"/>
                      <a:pt x="60007" y="41910"/>
                      <a:pt x="63817" y="40958"/>
                    </a:cubicBezTo>
                    <a:cubicBezTo>
                      <a:pt x="66675" y="40005"/>
                      <a:pt x="76200" y="34290"/>
                      <a:pt x="76200" y="34290"/>
                    </a:cubicBezTo>
                    <a:lnTo>
                      <a:pt x="81915" y="31433"/>
                    </a:lnTo>
                    <a:cubicBezTo>
                      <a:pt x="81915" y="31433"/>
                      <a:pt x="87630" y="31433"/>
                      <a:pt x="93345" y="27622"/>
                    </a:cubicBezTo>
                    <a:cubicBezTo>
                      <a:pt x="99060" y="23813"/>
                      <a:pt x="98107" y="25717"/>
                      <a:pt x="102870" y="18097"/>
                    </a:cubicBezTo>
                    <a:cubicBezTo>
                      <a:pt x="107632" y="10478"/>
                      <a:pt x="107632" y="6667"/>
                      <a:pt x="107632" y="6667"/>
                    </a:cubicBezTo>
                    <a:lnTo>
                      <a:pt x="115253" y="0"/>
                    </a:lnTo>
                    <a:lnTo>
                      <a:pt x="126682" y="4763"/>
                    </a:lnTo>
                    <a:close/>
                  </a:path>
                </a:pathLst>
              </a:custGeom>
              <a:grpFill/>
              <a:ln w="9525" cap="flat">
                <a:noFill/>
                <a:prstDash val="solid"/>
                <a:miter/>
              </a:ln>
            </p:spPr>
            <p:txBody>
              <a:bodyPr rtlCol="0" anchor="ctr"/>
              <a:lstStyle/>
              <a:p>
                <a:endParaRPr lang="en-US" sz="1765"/>
              </a:p>
            </p:txBody>
          </p:sp>
        </p:grpSp>
        <p:grpSp>
          <p:nvGrpSpPr>
            <p:cNvPr id="12" name="Graphic 10">
              <a:extLst>
                <a:ext uri="{FF2B5EF4-FFF2-40B4-BE49-F238E27FC236}">
                  <a16:creationId xmlns:a16="http://schemas.microsoft.com/office/drawing/2014/main" id="{68DFF284-CB18-4460-98ED-004F77EB0A2D}"/>
                </a:ext>
                <a:ext uri="{C183D7F6-B498-43B3-948B-1728B52AA6E4}">
                  <adec:decorative xmlns:adec="http://schemas.microsoft.com/office/drawing/2017/decorative" val="1"/>
                </a:ext>
              </a:extLst>
            </p:cNvPr>
            <p:cNvGrpSpPr/>
            <p:nvPr/>
          </p:nvGrpSpPr>
          <p:grpSpPr>
            <a:xfrm>
              <a:off x="4781433" y="2414195"/>
              <a:ext cx="7312233" cy="2281215"/>
              <a:chOff x="5337839" y="2790554"/>
              <a:chExt cx="6173152" cy="1925853"/>
            </a:xfrm>
            <a:gradFill>
              <a:gsLst>
                <a:gs pos="0">
                  <a:schemeClr val="accent1">
                    <a:alpha val="86000"/>
                  </a:schemeClr>
                </a:gs>
                <a:gs pos="99000">
                  <a:schemeClr val="accent1">
                    <a:lumMod val="75000"/>
                    <a:alpha val="74000"/>
                  </a:schemeClr>
                </a:gs>
              </a:gsLst>
              <a:lin ang="10800000" scaled="1"/>
            </a:gradFill>
            <a:effectLst>
              <a:outerShdw blurRad="215900" algn="ctr" rotWithShape="0">
                <a:prstClr val="black">
                  <a:alpha val="40000"/>
                </a:prstClr>
              </a:outerShdw>
            </a:effectLst>
          </p:grpSpPr>
          <p:sp>
            <p:nvSpPr>
              <p:cNvPr id="13" name="Freeform: Shape 12">
                <a:extLst>
                  <a:ext uri="{FF2B5EF4-FFF2-40B4-BE49-F238E27FC236}">
                    <a16:creationId xmlns:a16="http://schemas.microsoft.com/office/drawing/2014/main" id="{F24F8201-E568-4686-8B1B-6696166487D7}"/>
                  </a:ext>
                </a:extLst>
              </p:cNvPr>
              <p:cNvSpPr/>
              <p:nvPr/>
            </p:nvSpPr>
            <p:spPr>
              <a:xfrm>
                <a:off x="6191278" y="3024602"/>
                <a:ext cx="312420" cy="100279"/>
              </a:xfrm>
              <a:custGeom>
                <a:avLst/>
                <a:gdLst>
                  <a:gd name="connsiteX0" fmla="*/ 256223 w 312420"/>
                  <a:gd name="connsiteY0" fmla="*/ 95517 h 100279"/>
                  <a:gd name="connsiteX1" fmla="*/ 273368 w 312420"/>
                  <a:gd name="connsiteY1" fmla="*/ 97422 h 100279"/>
                  <a:gd name="connsiteX2" fmla="*/ 280035 w 312420"/>
                  <a:gd name="connsiteY2" fmla="*/ 96469 h 100279"/>
                  <a:gd name="connsiteX3" fmla="*/ 284798 w 312420"/>
                  <a:gd name="connsiteY3" fmla="*/ 90754 h 100279"/>
                  <a:gd name="connsiteX4" fmla="*/ 284798 w 312420"/>
                  <a:gd name="connsiteY4" fmla="*/ 87897 h 100279"/>
                  <a:gd name="connsiteX5" fmla="*/ 284798 w 312420"/>
                  <a:gd name="connsiteY5" fmla="*/ 84087 h 100279"/>
                  <a:gd name="connsiteX6" fmla="*/ 290513 w 312420"/>
                  <a:gd name="connsiteY6" fmla="*/ 81229 h 100279"/>
                  <a:gd name="connsiteX7" fmla="*/ 300990 w 312420"/>
                  <a:gd name="connsiteY7" fmla="*/ 77419 h 100279"/>
                  <a:gd name="connsiteX8" fmla="*/ 307658 w 312420"/>
                  <a:gd name="connsiteY8" fmla="*/ 76467 h 100279"/>
                  <a:gd name="connsiteX9" fmla="*/ 312420 w 312420"/>
                  <a:gd name="connsiteY9" fmla="*/ 72657 h 100279"/>
                  <a:gd name="connsiteX10" fmla="*/ 312420 w 312420"/>
                  <a:gd name="connsiteY10" fmla="*/ 68847 h 100279"/>
                  <a:gd name="connsiteX11" fmla="*/ 311468 w 312420"/>
                  <a:gd name="connsiteY11" fmla="*/ 65989 h 100279"/>
                  <a:gd name="connsiteX12" fmla="*/ 297180 w 312420"/>
                  <a:gd name="connsiteY12" fmla="*/ 63132 h 100279"/>
                  <a:gd name="connsiteX13" fmla="*/ 284798 w 312420"/>
                  <a:gd name="connsiteY13" fmla="*/ 61227 h 100279"/>
                  <a:gd name="connsiteX14" fmla="*/ 279083 w 312420"/>
                  <a:gd name="connsiteY14" fmla="*/ 59322 h 100279"/>
                  <a:gd name="connsiteX15" fmla="*/ 271463 w 312420"/>
                  <a:gd name="connsiteY15" fmla="*/ 56464 h 100279"/>
                  <a:gd name="connsiteX16" fmla="*/ 269558 w 312420"/>
                  <a:gd name="connsiteY16" fmla="*/ 53607 h 100279"/>
                  <a:gd name="connsiteX17" fmla="*/ 262890 w 312420"/>
                  <a:gd name="connsiteY17" fmla="*/ 49797 h 100279"/>
                  <a:gd name="connsiteX18" fmla="*/ 256223 w 312420"/>
                  <a:gd name="connsiteY18" fmla="*/ 44082 h 100279"/>
                  <a:gd name="connsiteX19" fmla="*/ 253365 w 312420"/>
                  <a:gd name="connsiteY19" fmla="*/ 39319 h 100279"/>
                  <a:gd name="connsiteX20" fmla="*/ 247650 w 312420"/>
                  <a:gd name="connsiteY20" fmla="*/ 31699 h 100279"/>
                  <a:gd name="connsiteX21" fmla="*/ 240030 w 312420"/>
                  <a:gd name="connsiteY21" fmla="*/ 29794 h 100279"/>
                  <a:gd name="connsiteX22" fmla="*/ 232410 w 312420"/>
                  <a:gd name="connsiteY22" fmla="*/ 28842 h 100279"/>
                  <a:gd name="connsiteX23" fmla="*/ 227648 w 312420"/>
                  <a:gd name="connsiteY23" fmla="*/ 24079 h 100279"/>
                  <a:gd name="connsiteX24" fmla="*/ 222885 w 312420"/>
                  <a:gd name="connsiteY24" fmla="*/ 20269 h 100279"/>
                  <a:gd name="connsiteX25" fmla="*/ 220980 w 312420"/>
                  <a:gd name="connsiteY25" fmla="*/ 15507 h 100279"/>
                  <a:gd name="connsiteX26" fmla="*/ 220027 w 312420"/>
                  <a:gd name="connsiteY26" fmla="*/ 10744 h 100279"/>
                  <a:gd name="connsiteX27" fmla="*/ 218123 w 312420"/>
                  <a:gd name="connsiteY27" fmla="*/ 7887 h 100279"/>
                  <a:gd name="connsiteX28" fmla="*/ 213360 w 312420"/>
                  <a:gd name="connsiteY28" fmla="*/ 4077 h 100279"/>
                  <a:gd name="connsiteX29" fmla="*/ 206693 w 312420"/>
                  <a:gd name="connsiteY29" fmla="*/ 3124 h 100279"/>
                  <a:gd name="connsiteX30" fmla="*/ 204788 w 312420"/>
                  <a:gd name="connsiteY30" fmla="*/ 9792 h 100279"/>
                  <a:gd name="connsiteX31" fmla="*/ 200025 w 312420"/>
                  <a:gd name="connsiteY31" fmla="*/ 13602 h 100279"/>
                  <a:gd name="connsiteX32" fmla="*/ 181927 w 312420"/>
                  <a:gd name="connsiteY32" fmla="*/ 15507 h 100279"/>
                  <a:gd name="connsiteX33" fmla="*/ 175260 w 312420"/>
                  <a:gd name="connsiteY33" fmla="*/ 16459 h 100279"/>
                  <a:gd name="connsiteX34" fmla="*/ 164783 w 312420"/>
                  <a:gd name="connsiteY34" fmla="*/ 13602 h 100279"/>
                  <a:gd name="connsiteX35" fmla="*/ 150495 w 312420"/>
                  <a:gd name="connsiteY35" fmla="*/ 13602 h 100279"/>
                  <a:gd name="connsiteX36" fmla="*/ 143827 w 312420"/>
                  <a:gd name="connsiteY36" fmla="*/ 13602 h 100279"/>
                  <a:gd name="connsiteX37" fmla="*/ 138113 w 312420"/>
                  <a:gd name="connsiteY37" fmla="*/ 14554 h 100279"/>
                  <a:gd name="connsiteX38" fmla="*/ 129540 w 312420"/>
                  <a:gd name="connsiteY38" fmla="*/ 11697 h 100279"/>
                  <a:gd name="connsiteX39" fmla="*/ 116205 w 312420"/>
                  <a:gd name="connsiteY39" fmla="*/ 10744 h 100279"/>
                  <a:gd name="connsiteX40" fmla="*/ 106680 w 312420"/>
                  <a:gd name="connsiteY40" fmla="*/ 9792 h 100279"/>
                  <a:gd name="connsiteX41" fmla="*/ 100013 w 312420"/>
                  <a:gd name="connsiteY41" fmla="*/ 9792 h 100279"/>
                  <a:gd name="connsiteX42" fmla="*/ 93345 w 312420"/>
                  <a:gd name="connsiteY42" fmla="*/ 8839 h 100279"/>
                  <a:gd name="connsiteX43" fmla="*/ 85725 w 312420"/>
                  <a:gd name="connsiteY43" fmla="*/ 5982 h 100279"/>
                  <a:gd name="connsiteX44" fmla="*/ 77152 w 312420"/>
                  <a:gd name="connsiteY44" fmla="*/ 1219 h 100279"/>
                  <a:gd name="connsiteX45" fmla="*/ 67627 w 312420"/>
                  <a:gd name="connsiteY45" fmla="*/ 267 h 100279"/>
                  <a:gd name="connsiteX46" fmla="*/ 63818 w 312420"/>
                  <a:gd name="connsiteY46" fmla="*/ 1219 h 100279"/>
                  <a:gd name="connsiteX47" fmla="*/ 58102 w 312420"/>
                  <a:gd name="connsiteY47" fmla="*/ 4077 h 100279"/>
                  <a:gd name="connsiteX48" fmla="*/ 53340 w 312420"/>
                  <a:gd name="connsiteY48" fmla="*/ 6934 h 100279"/>
                  <a:gd name="connsiteX49" fmla="*/ 44768 w 312420"/>
                  <a:gd name="connsiteY49" fmla="*/ 9792 h 100279"/>
                  <a:gd name="connsiteX50" fmla="*/ 36195 w 312420"/>
                  <a:gd name="connsiteY50" fmla="*/ 10744 h 100279"/>
                  <a:gd name="connsiteX51" fmla="*/ 28575 w 312420"/>
                  <a:gd name="connsiteY51" fmla="*/ 12649 h 100279"/>
                  <a:gd name="connsiteX52" fmla="*/ 22860 w 312420"/>
                  <a:gd name="connsiteY52" fmla="*/ 17412 h 100279"/>
                  <a:gd name="connsiteX53" fmla="*/ 17145 w 312420"/>
                  <a:gd name="connsiteY53" fmla="*/ 19317 h 100279"/>
                  <a:gd name="connsiteX54" fmla="*/ 15240 w 312420"/>
                  <a:gd name="connsiteY54" fmla="*/ 21222 h 100279"/>
                  <a:gd name="connsiteX55" fmla="*/ 7620 w 312420"/>
                  <a:gd name="connsiteY55" fmla="*/ 23127 h 100279"/>
                  <a:gd name="connsiteX56" fmla="*/ 3810 w 312420"/>
                  <a:gd name="connsiteY56" fmla="*/ 26937 h 100279"/>
                  <a:gd name="connsiteX57" fmla="*/ 0 w 312420"/>
                  <a:gd name="connsiteY57" fmla="*/ 31699 h 100279"/>
                  <a:gd name="connsiteX58" fmla="*/ 3810 w 312420"/>
                  <a:gd name="connsiteY58" fmla="*/ 37414 h 100279"/>
                  <a:gd name="connsiteX59" fmla="*/ 6668 w 312420"/>
                  <a:gd name="connsiteY59" fmla="*/ 39319 h 100279"/>
                  <a:gd name="connsiteX60" fmla="*/ 14288 w 312420"/>
                  <a:gd name="connsiteY60" fmla="*/ 41224 h 100279"/>
                  <a:gd name="connsiteX61" fmla="*/ 24765 w 312420"/>
                  <a:gd name="connsiteY61" fmla="*/ 43129 h 100279"/>
                  <a:gd name="connsiteX62" fmla="*/ 26670 w 312420"/>
                  <a:gd name="connsiteY62" fmla="*/ 43129 h 100279"/>
                  <a:gd name="connsiteX63" fmla="*/ 29527 w 312420"/>
                  <a:gd name="connsiteY63" fmla="*/ 46939 h 100279"/>
                  <a:gd name="connsiteX64" fmla="*/ 30480 w 312420"/>
                  <a:gd name="connsiteY64" fmla="*/ 49797 h 100279"/>
                  <a:gd name="connsiteX65" fmla="*/ 33338 w 312420"/>
                  <a:gd name="connsiteY65" fmla="*/ 53607 h 100279"/>
                  <a:gd name="connsiteX66" fmla="*/ 35243 w 312420"/>
                  <a:gd name="connsiteY66" fmla="*/ 62179 h 100279"/>
                  <a:gd name="connsiteX67" fmla="*/ 35243 w 312420"/>
                  <a:gd name="connsiteY67" fmla="*/ 65037 h 100279"/>
                  <a:gd name="connsiteX68" fmla="*/ 38100 w 312420"/>
                  <a:gd name="connsiteY68" fmla="*/ 70752 h 100279"/>
                  <a:gd name="connsiteX69" fmla="*/ 41910 w 312420"/>
                  <a:gd name="connsiteY69" fmla="*/ 75514 h 100279"/>
                  <a:gd name="connsiteX70" fmla="*/ 50483 w 312420"/>
                  <a:gd name="connsiteY70" fmla="*/ 79324 h 100279"/>
                  <a:gd name="connsiteX71" fmla="*/ 59055 w 312420"/>
                  <a:gd name="connsiteY71" fmla="*/ 81229 h 100279"/>
                  <a:gd name="connsiteX72" fmla="*/ 66675 w 312420"/>
                  <a:gd name="connsiteY72" fmla="*/ 81229 h 100279"/>
                  <a:gd name="connsiteX73" fmla="*/ 74295 w 312420"/>
                  <a:gd name="connsiteY73" fmla="*/ 83134 h 100279"/>
                  <a:gd name="connsiteX74" fmla="*/ 77152 w 312420"/>
                  <a:gd name="connsiteY74" fmla="*/ 85992 h 100279"/>
                  <a:gd name="connsiteX75" fmla="*/ 82868 w 312420"/>
                  <a:gd name="connsiteY75" fmla="*/ 86944 h 100279"/>
                  <a:gd name="connsiteX76" fmla="*/ 88583 w 312420"/>
                  <a:gd name="connsiteY76" fmla="*/ 90754 h 100279"/>
                  <a:gd name="connsiteX77" fmla="*/ 93345 w 312420"/>
                  <a:gd name="connsiteY77" fmla="*/ 93612 h 100279"/>
                  <a:gd name="connsiteX78" fmla="*/ 104775 w 312420"/>
                  <a:gd name="connsiteY78" fmla="*/ 95517 h 100279"/>
                  <a:gd name="connsiteX79" fmla="*/ 116205 w 312420"/>
                  <a:gd name="connsiteY79" fmla="*/ 97422 h 100279"/>
                  <a:gd name="connsiteX80" fmla="*/ 127635 w 312420"/>
                  <a:gd name="connsiteY80" fmla="*/ 98374 h 100279"/>
                  <a:gd name="connsiteX81" fmla="*/ 135255 w 312420"/>
                  <a:gd name="connsiteY81" fmla="*/ 99327 h 100279"/>
                  <a:gd name="connsiteX82" fmla="*/ 138113 w 312420"/>
                  <a:gd name="connsiteY82" fmla="*/ 100279 h 100279"/>
                  <a:gd name="connsiteX83" fmla="*/ 147638 w 312420"/>
                  <a:gd name="connsiteY83" fmla="*/ 98374 h 100279"/>
                  <a:gd name="connsiteX84" fmla="*/ 156210 w 312420"/>
                  <a:gd name="connsiteY84" fmla="*/ 96469 h 100279"/>
                  <a:gd name="connsiteX85" fmla="*/ 163830 w 312420"/>
                  <a:gd name="connsiteY85" fmla="*/ 94564 h 100279"/>
                  <a:gd name="connsiteX86" fmla="*/ 173355 w 312420"/>
                  <a:gd name="connsiteY86" fmla="*/ 93612 h 100279"/>
                  <a:gd name="connsiteX87" fmla="*/ 180975 w 312420"/>
                  <a:gd name="connsiteY87" fmla="*/ 92659 h 100279"/>
                  <a:gd name="connsiteX88" fmla="*/ 194310 w 312420"/>
                  <a:gd name="connsiteY88" fmla="*/ 92659 h 100279"/>
                  <a:gd name="connsiteX89" fmla="*/ 200977 w 312420"/>
                  <a:gd name="connsiteY89" fmla="*/ 89802 h 100279"/>
                  <a:gd name="connsiteX90" fmla="*/ 206693 w 312420"/>
                  <a:gd name="connsiteY90" fmla="*/ 89802 h 100279"/>
                  <a:gd name="connsiteX91" fmla="*/ 220027 w 312420"/>
                  <a:gd name="connsiteY91" fmla="*/ 89802 h 100279"/>
                  <a:gd name="connsiteX92" fmla="*/ 222885 w 312420"/>
                  <a:gd name="connsiteY92" fmla="*/ 89802 h 100279"/>
                  <a:gd name="connsiteX93" fmla="*/ 229552 w 312420"/>
                  <a:gd name="connsiteY93" fmla="*/ 91707 h 100279"/>
                  <a:gd name="connsiteX94" fmla="*/ 234315 w 312420"/>
                  <a:gd name="connsiteY94" fmla="*/ 93612 h 100279"/>
                  <a:gd name="connsiteX95" fmla="*/ 240983 w 312420"/>
                  <a:gd name="connsiteY95" fmla="*/ 95517 h 100279"/>
                  <a:gd name="connsiteX96" fmla="*/ 256223 w 312420"/>
                  <a:gd name="connsiteY96" fmla="*/ 95517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12420" h="100279">
                    <a:moveTo>
                      <a:pt x="256223" y="95517"/>
                    </a:moveTo>
                    <a:lnTo>
                      <a:pt x="273368" y="97422"/>
                    </a:lnTo>
                    <a:cubicBezTo>
                      <a:pt x="280035" y="96469"/>
                      <a:pt x="280035" y="96469"/>
                      <a:pt x="280035" y="96469"/>
                    </a:cubicBezTo>
                    <a:lnTo>
                      <a:pt x="284798" y="90754"/>
                    </a:lnTo>
                    <a:lnTo>
                      <a:pt x="284798" y="87897"/>
                    </a:lnTo>
                    <a:lnTo>
                      <a:pt x="284798" y="84087"/>
                    </a:lnTo>
                    <a:lnTo>
                      <a:pt x="290513" y="81229"/>
                    </a:lnTo>
                    <a:cubicBezTo>
                      <a:pt x="297180" y="80277"/>
                      <a:pt x="300990" y="77419"/>
                      <a:pt x="300990" y="77419"/>
                    </a:cubicBezTo>
                    <a:cubicBezTo>
                      <a:pt x="307658" y="76467"/>
                      <a:pt x="307658" y="76467"/>
                      <a:pt x="307658" y="76467"/>
                    </a:cubicBezTo>
                    <a:lnTo>
                      <a:pt x="312420" y="72657"/>
                    </a:lnTo>
                    <a:lnTo>
                      <a:pt x="312420" y="68847"/>
                    </a:lnTo>
                    <a:lnTo>
                      <a:pt x="311468" y="65989"/>
                    </a:lnTo>
                    <a:cubicBezTo>
                      <a:pt x="311468" y="65989"/>
                      <a:pt x="300990" y="63132"/>
                      <a:pt x="297180" y="63132"/>
                    </a:cubicBezTo>
                    <a:cubicBezTo>
                      <a:pt x="294323" y="63132"/>
                      <a:pt x="284798" y="61227"/>
                      <a:pt x="284798" y="61227"/>
                    </a:cubicBezTo>
                    <a:lnTo>
                      <a:pt x="279083" y="59322"/>
                    </a:lnTo>
                    <a:lnTo>
                      <a:pt x="271463" y="56464"/>
                    </a:lnTo>
                    <a:lnTo>
                      <a:pt x="269558" y="53607"/>
                    </a:lnTo>
                    <a:lnTo>
                      <a:pt x="262890" y="49797"/>
                    </a:lnTo>
                    <a:lnTo>
                      <a:pt x="256223" y="44082"/>
                    </a:lnTo>
                    <a:lnTo>
                      <a:pt x="253365" y="39319"/>
                    </a:lnTo>
                    <a:lnTo>
                      <a:pt x="247650" y="31699"/>
                    </a:lnTo>
                    <a:lnTo>
                      <a:pt x="240030" y="29794"/>
                    </a:lnTo>
                    <a:lnTo>
                      <a:pt x="232410" y="28842"/>
                    </a:lnTo>
                    <a:lnTo>
                      <a:pt x="227648" y="24079"/>
                    </a:lnTo>
                    <a:cubicBezTo>
                      <a:pt x="227648" y="24079"/>
                      <a:pt x="221933" y="22174"/>
                      <a:pt x="222885" y="20269"/>
                    </a:cubicBezTo>
                    <a:cubicBezTo>
                      <a:pt x="223838" y="18364"/>
                      <a:pt x="220980" y="17412"/>
                      <a:pt x="220980" y="15507"/>
                    </a:cubicBezTo>
                    <a:cubicBezTo>
                      <a:pt x="220980" y="13602"/>
                      <a:pt x="220027" y="10744"/>
                      <a:pt x="220027" y="10744"/>
                    </a:cubicBezTo>
                    <a:lnTo>
                      <a:pt x="218123" y="7887"/>
                    </a:lnTo>
                    <a:lnTo>
                      <a:pt x="213360" y="4077"/>
                    </a:lnTo>
                    <a:lnTo>
                      <a:pt x="206693" y="3124"/>
                    </a:lnTo>
                    <a:lnTo>
                      <a:pt x="204788" y="9792"/>
                    </a:lnTo>
                    <a:lnTo>
                      <a:pt x="200025" y="13602"/>
                    </a:lnTo>
                    <a:lnTo>
                      <a:pt x="181927" y="15507"/>
                    </a:lnTo>
                    <a:lnTo>
                      <a:pt x="175260" y="16459"/>
                    </a:lnTo>
                    <a:cubicBezTo>
                      <a:pt x="175260" y="16459"/>
                      <a:pt x="168593" y="12649"/>
                      <a:pt x="164783" y="13602"/>
                    </a:cubicBezTo>
                    <a:cubicBezTo>
                      <a:pt x="160020" y="14554"/>
                      <a:pt x="150495" y="13602"/>
                      <a:pt x="150495" y="13602"/>
                    </a:cubicBezTo>
                    <a:lnTo>
                      <a:pt x="143827" y="13602"/>
                    </a:lnTo>
                    <a:lnTo>
                      <a:pt x="138113" y="14554"/>
                    </a:lnTo>
                    <a:lnTo>
                      <a:pt x="129540" y="11697"/>
                    </a:lnTo>
                    <a:lnTo>
                      <a:pt x="116205" y="10744"/>
                    </a:lnTo>
                    <a:lnTo>
                      <a:pt x="106680" y="9792"/>
                    </a:lnTo>
                    <a:lnTo>
                      <a:pt x="100013" y="9792"/>
                    </a:lnTo>
                    <a:lnTo>
                      <a:pt x="93345" y="8839"/>
                    </a:lnTo>
                    <a:lnTo>
                      <a:pt x="85725" y="5982"/>
                    </a:lnTo>
                    <a:lnTo>
                      <a:pt x="77152" y="1219"/>
                    </a:lnTo>
                    <a:cubicBezTo>
                      <a:pt x="77152" y="1219"/>
                      <a:pt x="70485" y="-686"/>
                      <a:pt x="67627" y="267"/>
                    </a:cubicBezTo>
                    <a:cubicBezTo>
                      <a:pt x="63818" y="1219"/>
                      <a:pt x="63818" y="1219"/>
                      <a:pt x="63818" y="1219"/>
                    </a:cubicBezTo>
                    <a:lnTo>
                      <a:pt x="58102" y="4077"/>
                    </a:lnTo>
                    <a:cubicBezTo>
                      <a:pt x="58102" y="4077"/>
                      <a:pt x="55245" y="5029"/>
                      <a:pt x="53340" y="6934"/>
                    </a:cubicBezTo>
                    <a:cubicBezTo>
                      <a:pt x="52388" y="8839"/>
                      <a:pt x="44768" y="9792"/>
                      <a:pt x="44768" y="9792"/>
                    </a:cubicBezTo>
                    <a:lnTo>
                      <a:pt x="36195" y="10744"/>
                    </a:lnTo>
                    <a:lnTo>
                      <a:pt x="28575" y="12649"/>
                    </a:lnTo>
                    <a:lnTo>
                      <a:pt x="22860" y="17412"/>
                    </a:lnTo>
                    <a:cubicBezTo>
                      <a:pt x="22860" y="17412"/>
                      <a:pt x="20002" y="17412"/>
                      <a:pt x="17145" y="19317"/>
                    </a:cubicBezTo>
                    <a:cubicBezTo>
                      <a:pt x="15240" y="21222"/>
                      <a:pt x="15240" y="21222"/>
                      <a:pt x="15240" y="21222"/>
                    </a:cubicBezTo>
                    <a:lnTo>
                      <a:pt x="7620" y="23127"/>
                    </a:lnTo>
                    <a:lnTo>
                      <a:pt x="3810" y="26937"/>
                    </a:lnTo>
                    <a:lnTo>
                      <a:pt x="0" y="31699"/>
                    </a:lnTo>
                    <a:cubicBezTo>
                      <a:pt x="0" y="31699"/>
                      <a:pt x="952" y="35509"/>
                      <a:pt x="3810" y="37414"/>
                    </a:cubicBezTo>
                    <a:cubicBezTo>
                      <a:pt x="6668" y="39319"/>
                      <a:pt x="3810" y="38367"/>
                      <a:pt x="6668" y="39319"/>
                    </a:cubicBezTo>
                    <a:cubicBezTo>
                      <a:pt x="9525" y="41224"/>
                      <a:pt x="3810" y="39319"/>
                      <a:pt x="14288" y="41224"/>
                    </a:cubicBezTo>
                    <a:cubicBezTo>
                      <a:pt x="24765" y="43129"/>
                      <a:pt x="22860" y="43129"/>
                      <a:pt x="24765" y="43129"/>
                    </a:cubicBezTo>
                    <a:cubicBezTo>
                      <a:pt x="26670" y="43129"/>
                      <a:pt x="26670" y="43129"/>
                      <a:pt x="26670" y="43129"/>
                    </a:cubicBezTo>
                    <a:cubicBezTo>
                      <a:pt x="26670" y="43129"/>
                      <a:pt x="28575" y="44082"/>
                      <a:pt x="29527" y="46939"/>
                    </a:cubicBezTo>
                    <a:cubicBezTo>
                      <a:pt x="30480" y="49797"/>
                      <a:pt x="26670" y="45034"/>
                      <a:pt x="30480" y="49797"/>
                    </a:cubicBezTo>
                    <a:lnTo>
                      <a:pt x="33338" y="53607"/>
                    </a:lnTo>
                    <a:lnTo>
                      <a:pt x="35243" y="62179"/>
                    </a:lnTo>
                    <a:cubicBezTo>
                      <a:pt x="35243" y="62179"/>
                      <a:pt x="33338" y="62179"/>
                      <a:pt x="35243" y="65037"/>
                    </a:cubicBezTo>
                    <a:cubicBezTo>
                      <a:pt x="37148" y="67894"/>
                      <a:pt x="38100" y="70752"/>
                      <a:pt x="38100" y="70752"/>
                    </a:cubicBezTo>
                    <a:cubicBezTo>
                      <a:pt x="38100" y="70752"/>
                      <a:pt x="38100" y="73609"/>
                      <a:pt x="41910" y="75514"/>
                    </a:cubicBezTo>
                    <a:cubicBezTo>
                      <a:pt x="46673" y="77419"/>
                      <a:pt x="46673" y="77419"/>
                      <a:pt x="50483" y="79324"/>
                    </a:cubicBezTo>
                    <a:cubicBezTo>
                      <a:pt x="55245" y="81229"/>
                      <a:pt x="59055" y="81229"/>
                      <a:pt x="59055" y="81229"/>
                    </a:cubicBezTo>
                    <a:lnTo>
                      <a:pt x="66675" y="81229"/>
                    </a:lnTo>
                    <a:cubicBezTo>
                      <a:pt x="66675" y="81229"/>
                      <a:pt x="71438" y="80277"/>
                      <a:pt x="74295" y="83134"/>
                    </a:cubicBezTo>
                    <a:cubicBezTo>
                      <a:pt x="77152" y="85992"/>
                      <a:pt x="77152" y="85992"/>
                      <a:pt x="77152" y="85992"/>
                    </a:cubicBezTo>
                    <a:lnTo>
                      <a:pt x="82868" y="86944"/>
                    </a:lnTo>
                    <a:cubicBezTo>
                      <a:pt x="82868" y="86944"/>
                      <a:pt x="83820" y="87897"/>
                      <a:pt x="88583" y="90754"/>
                    </a:cubicBezTo>
                    <a:cubicBezTo>
                      <a:pt x="93345" y="93612"/>
                      <a:pt x="86677" y="91707"/>
                      <a:pt x="93345" y="93612"/>
                    </a:cubicBezTo>
                    <a:cubicBezTo>
                      <a:pt x="100013" y="95517"/>
                      <a:pt x="104775" y="95517"/>
                      <a:pt x="104775" y="95517"/>
                    </a:cubicBezTo>
                    <a:cubicBezTo>
                      <a:pt x="104775" y="95517"/>
                      <a:pt x="112395" y="95517"/>
                      <a:pt x="116205" y="97422"/>
                    </a:cubicBezTo>
                    <a:cubicBezTo>
                      <a:pt x="119063" y="99327"/>
                      <a:pt x="127635" y="98374"/>
                      <a:pt x="127635" y="98374"/>
                    </a:cubicBezTo>
                    <a:cubicBezTo>
                      <a:pt x="127635" y="98374"/>
                      <a:pt x="132398" y="98374"/>
                      <a:pt x="135255" y="99327"/>
                    </a:cubicBezTo>
                    <a:cubicBezTo>
                      <a:pt x="138113" y="100279"/>
                      <a:pt x="138113" y="100279"/>
                      <a:pt x="138113" y="100279"/>
                    </a:cubicBezTo>
                    <a:cubicBezTo>
                      <a:pt x="138113" y="100279"/>
                      <a:pt x="143827" y="97422"/>
                      <a:pt x="147638" y="98374"/>
                    </a:cubicBezTo>
                    <a:cubicBezTo>
                      <a:pt x="152400" y="99327"/>
                      <a:pt x="156210" y="96469"/>
                      <a:pt x="156210" y="96469"/>
                    </a:cubicBezTo>
                    <a:cubicBezTo>
                      <a:pt x="156210" y="96469"/>
                      <a:pt x="160973" y="95517"/>
                      <a:pt x="163830" y="94564"/>
                    </a:cubicBezTo>
                    <a:cubicBezTo>
                      <a:pt x="166688" y="93612"/>
                      <a:pt x="170498" y="93612"/>
                      <a:pt x="173355" y="93612"/>
                    </a:cubicBezTo>
                    <a:cubicBezTo>
                      <a:pt x="176213" y="93612"/>
                      <a:pt x="178118" y="92659"/>
                      <a:pt x="180975" y="92659"/>
                    </a:cubicBezTo>
                    <a:cubicBezTo>
                      <a:pt x="183833" y="92659"/>
                      <a:pt x="194310" y="92659"/>
                      <a:pt x="194310" y="92659"/>
                    </a:cubicBezTo>
                    <a:lnTo>
                      <a:pt x="200977" y="89802"/>
                    </a:lnTo>
                    <a:cubicBezTo>
                      <a:pt x="200977" y="89802"/>
                      <a:pt x="201930" y="89802"/>
                      <a:pt x="206693" y="89802"/>
                    </a:cubicBezTo>
                    <a:cubicBezTo>
                      <a:pt x="211455" y="89802"/>
                      <a:pt x="216218" y="89802"/>
                      <a:pt x="220027" y="89802"/>
                    </a:cubicBezTo>
                    <a:cubicBezTo>
                      <a:pt x="222885" y="89802"/>
                      <a:pt x="222885" y="89802"/>
                      <a:pt x="222885" y="89802"/>
                    </a:cubicBezTo>
                    <a:cubicBezTo>
                      <a:pt x="222885" y="89802"/>
                      <a:pt x="224790" y="89802"/>
                      <a:pt x="229552" y="91707"/>
                    </a:cubicBezTo>
                    <a:cubicBezTo>
                      <a:pt x="234315" y="93612"/>
                      <a:pt x="227648" y="92659"/>
                      <a:pt x="234315" y="93612"/>
                    </a:cubicBezTo>
                    <a:cubicBezTo>
                      <a:pt x="240983" y="95517"/>
                      <a:pt x="236220" y="94564"/>
                      <a:pt x="240983" y="95517"/>
                    </a:cubicBezTo>
                    <a:cubicBezTo>
                      <a:pt x="248602" y="94564"/>
                      <a:pt x="256223" y="95517"/>
                      <a:pt x="256223" y="95517"/>
                    </a:cubicBezTo>
                    <a:close/>
                  </a:path>
                </a:pathLst>
              </a:custGeom>
              <a:grpFill/>
              <a:ln w="9525" cap="flat">
                <a:noFill/>
                <a:prstDash val="solid"/>
                <a:miter/>
              </a:ln>
            </p:spPr>
            <p:txBody>
              <a:bodyPr rtlCol="0" anchor="ctr"/>
              <a:lstStyle/>
              <a:p>
                <a:endParaRPr lang="en-US" sz="1765"/>
              </a:p>
            </p:txBody>
          </p:sp>
          <p:sp>
            <p:nvSpPr>
              <p:cNvPr id="14" name="Freeform: Shape 13">
                <a:extLst>
                  <a:ext uri="{FF2B5EF4-FFF2-40B4-BE49-F238E27FC236}">
                    <a16:creationId xmlns:a16="http://schemas.microsoft.com/office/drawing/2014/main" id="{2CCE6736-8A6F-46E4-AE61-54A9E63DBD81}"/>
                  </a:ext>
                </a:extLst>
              </p:cNvPr>
              <p:cNvSpPr/>
              <p:nvPr/>
            </p:nvSpPr>
            <p:spPr>
              <a:xfrm>
                <a:off x="5337839" y="2790554"/>
                <a:ext cx="9525" cy="9525"/>
              </a:xfrm>
              <a:custGeom>
                <a:avLst/>
                <a:gdLst/>
                <a:ahLst/>
                <a:cxnLst/>
                <a:rect l="l" t="t" r="r" b="b"/>
                <a:pathLst>
                  <a:path w="9525" h="9525"/>
                </a:pathLst>
              </a:custGeom>
              <a:grpFill/>
              <a:ln w="9525" cap="flat">
                <a:noFill/>
                <a:prstDash val="solid"/>
                <a:miter/>
              </a:ln>
            </p:spPr>
            <p:txBody>
              <a:bodyPr rtlCol="0" anchor="ctr"/>
              <a:lstStyle/>
              <a:p>
                <a:endParaRPr lang="en-US" sz="1765"/>
              </a:p>
            </p:txBody>
          </p:sp>
          <p:sp>
            <p:nvSpPr>
              <p:cNvPr id="17" name="Freeform: Shape 16">
                <a:extLst>
                  <a:ext uri="{FF2B5EF4-FFF2-40B4-BE49-F238E27FC236}">
                    <a16:creationId xmlns:a16="http://schemas.microsoft.com/office/drawing/2014/main" id="{A45B9B0F-8494-4DEC-896B-D2E90B574A94}"/>
                  </a:ext>
                </a:extLst>
              </p:cNvPr>
              <p:cNvSpPr/>
              <p:nvPr/>
            </p:nvSpPr>
            <p:spPr>
              <a:xfrm>
                <a:off x="6089361" y="3003913"/>
                <a:ext cx="156604" cy="65008"/>
              </a:xfrm>
              <a:custGeom>
                <a:avLst/>
                <a:gdLst>
                  <a:gd name="connsiteX0" fmla="*/ 123825 w 156604"/>
                  <a:gd name="connsiteY0" fmla="*/ 23813 h 65008"/>
                  <a:gd name="connsiteX1" fmla="*/ 113348 w 156604"/>
                  <a:gd name="connsiteY1" fmla="*/ 30480 h 65008"/>
                  <a:gd name="connsiteX2" fmla="*/ 105727 w 156604"/>
                  <a:gd name="connsiteY2" fmla="*/ 31433 h 65008"/>
                  <a:gd name="connsiteX3" fmla="*/ 97155 w 156604"/>
                  <a:gd name="connsiteY3" fmla="*/ 36195 h 65008"/>
                  <a:gd name="connsiteX4" fmla="*/ 97155 w 156604"/>
                  <a:gd name="connsiteY4" fmla="*/ 38100 h 65008"/>
                  <a:gd name="connsiteX5" fmla="*/ 95250 w 156604"/>
                  <a:gd name="connsiteY5" fmla="*/ 41910 h 65008"/>
                  <a:gd name="connsiteX6" fmla="*/ 91440 w 156604"/>
                  <a:gd name="connsiteY6" fmla="*/ 44768 h 65008"/>
                  <a:gd name="connsiteX7" fmla="*/ 83820 w 156604"/>
                  <a:gd name="connsiteY7" fmla="*/ 48578 h 65008"/>
                  <a:gd name="connsiteX8" fmla="*/ 83820 w 156604"/>
                  <a:gd name="connsiteY8" fmla="*/ 52388 h 65008"/>
                  <a:gd name="connsiteX9" fmla="*/ 82867 w 156604"/>
                  <a:gd name="connsiteY9" fmla="*/ 56197 h 65008"/>
                  <a:gd name="connsiteX10" fmla="*/ 80963 w 156604"/>
                  <a:gd name="connsiteY10" fmla="*/ 60008 h 65008"/>
                  <a:gd name="connsiteX11" fmla="*/ 75248 w 156604"/>
                  <a:gd name="connsiteY11" fmla="*/ 63818 h 65008"/>
                  <a:gd name="connsiteX12" fmla="*/ 54292 w 156604"/>
                  <a:gd name="connsiteY12" fmla="*/ 64770 h 65008"/>
                  <a:gd name="connsiteX13" fmla="*/ 45720 w 156604"/>
                  <a:gd name="connsiteY13" fmla="*/ 64770 h 65008"/>
                  <a:gd name="connsiteX14" fmla="*/ 39052 w 156604"/>
                  <a:gd name="connsiteY14" fmla="*/ 63818 h 65008"/>
                  <a:gd name="connsiteX15" fmla="*/ 29527 w 156604"/>
                  <a:gd name="connsiteY15" fmla="*/ 61913 h 65008"/>
                  <a:gd name="connsiteX16" fmla="*/ 24765 w 156604"/>
                  <a:gd name="connsiteY16" fmla="*/ 58103 h 65008"/>
                  <a:gd name="connsiteX17" fmla="*/ 19050 w 156604"/>
                  <a:gd name="connsiteY17" fmla="*/ 54293 h 65008"/>
                  <a:gd name="connsiteX18" fmla="*/ 10477 w 156604"/>
                  <a:gd name="connsiteY18" fmla="*/ 52388 h 65008"/>
                  <a:gd name="connsiteX19" fmla="*/ 5715 w 156604"/>
                  <a:gd name="connsiteY19" fmla="*/ 50483 h 65008"/>
                  <a:gd name="connsiteX20" fmla="*/ 3810 w 156604"/>
                  <a:gd name="connsiteY20" fmla="*/ 47625 h 65008"/>
                  <a:gd name="connsiteX21" fmla="*/ 2857 w 156604"/>
                  <a:gd name="connsiteY21" fmla="*/ 40958 h 65008"/>
                  <a:gd name="connsiteX22" fmla="*/ 0 w 156604"/>
                  <a:gd name="connsiteY22" fmla="*/ 37147 h 65008"/>
                  <a:gd name="connsiteX23" fmla="*/ 952 w 156604"/>
                  <a:gd name="connsiteY23" fmla="*/ 33338 h 65008"/>
                  <a:gd name="connsiteX24" fmla="*/ 5715 w 156604"/>
                  <a:gd name="connsiteY24" fmla="*/ 29528 h 65008"/>
                  <a:gd name="connsiteX25" fmla="*/ 10477 w 156604"/>
                  <a:gd name="connsiteY25" fmla="*/ 25718 h 65008"/>
                  <a:gd name="connsiteX26" fmla="*/ 11430 w 156604"/>
                  <a:gd name="connsiteY26" fmla="*/ 20955 h 65008"/>
                  <a:gd name="connsiteX27" fmla="*/ 13335 w 156604"/>
                  <a:gd name="connsiteY27" fmla="*/ 17145 h 65008"/>
                  <a:gd name="connsiteX28" fmla="*/ 14288 w 156604"/>
                  <a:gd name="connsiteY28" fmla="*/ 13335 h 65008"/>
                  <a:gd name="connsiteX29" fmla="*/ 20002 w 156604"/>
                  <a:gd name="connsiteY29" fmla="*/ 8572 h 65008"/>
                  <a:gd name="connsiteX30" fmla="*/ 27623 w 156604"/>
                  <a:gd name="connsiteY30" fmla="*/ 953 h 65008"/>
                  <a:gd name="connsiteX31" fmla="*/ 30480 w 156604"/>
                  <a:gd name="connsiteY31" fmla="*/ 953 h 65008"/>
                  <a:gd name="connsiteX32" fmla="*/ 43815 w 156604"/>
                  <a:gd name="connsiteY32" fmla="*/ 0 h 65008"/>
                  <a:gd name="connsiteX33" fmla="*/ 56198 w 156604"/>
                  <a:gd name="connsiteY33" fmla="*/ 953 h 65008"/>
                  <a:gd name="connsiteX34" fmla="*/ 69532 w 156604"/>
                  <a:gd name="connsiteY34" fmla="*/ 2858 h 65008"/>
                  <a:gd name="connsiteX35" fmla="*/ 90488 w 156604"/>
                  <a:gd name="connsiteY35" fmla="*/ 2858 h 65008"/>
                  <a:gd name="connsiteX36" fmla="*/ 103823 w 156604"/>
                  <a:gd name="connsiteY36" fmla="*/ 2858 h 65008"/>
                  <a:gd name="connsiteX37" fmla="*/ 117157 w 156604"/>
                  <a:gd name="connsiteY37" fmla="*/ 2858 h 65008"/>
                  <a:gd name="connsiteX38" fmla="*/ 131445 w 156604"/>
                  <a:gd name="connsiteY38" fmla="*/ 3810 h 65008"/>
                  <a:gd name="connsiteX39" fmla="*/ 139065 w 156604"/>
                  <a:gd name="connsiteY39" fmla="*/ 8572 h 65008"/>
                  <a:gd name="connsiteX40" fmla="*/ 150495 w 156604"/>
                  <a:gd name="connsiteY40" fmla="*/ 10478 h 65008"/>
                  <a:gd name="connsiteX41" fmla="*/ 155257 w 156604"/>
                  <a:gd name="connsiteY41" fmla="*/ 11430 h 65008"/>
                  <a:gd name="connsiteX42" fmla="*/ 156210 w 156604"/>
                  <a:gd name="connsiteY42" fmla="*/ 15240 h 65008"/>
                  <a:gd name="connsiteX43" fmla="*/ 147638 w 156604"/>
                  <a:gd name="connsiteY43" fmla="*/ 19050 h 65008"/>
                  <a:gd name="connsiteX44" fmla="*/ 123825 w 156604"/>
                  <a:gd name="connsiteY44" fmla="*/ 23813 h 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6604" h="65008">
                    <a:moveTo>
                      <a:pt x="123825" y="23813"/>
                    </a:moveTo>
                    <a:cubicBezTo>
                      <a:pt x="120015" y="27622"/>
                      <a:pt x="113348" y="30480"/>
                      <a:pt x="113348" y="30480"/>
                    </a:cubicBezTo>
                    <a:lnTo>
                      <a:pt x="105727" y="31433"/>
                    </a:lnTo>
                    <a:cubicBezTo>
                      <a:pt x="105727" y="31433"/>
                      <a:pt x="97155" y="34290"/>
                      <a:pt x="97155" y="36195"/>
                    </a:cubicBezTo>
                    <a:cubicBezTo>
                      <a:pt x="97155" y="38100"/>
                      <a:pt x="97155" y="38100"/>
                      <a:pt x="97155" y="38100"/>
                    </a:cubicBezTo>
                    <a:lnTo>
                      <a:pt x="95250" y="41910"/>
                    </a:lnTo>
                    <a:lnTo>
                      <a:pt x="91440" y="44768"/>
                    </a:lnTo>
                    <a:lnTo>
                      <a:pt x="83820" y="48578"/>
                    </a:lnTo>
                    <a:lnTo>
                      <a:pt x="83820" y="52388"/>
                    </a:lnTo>
                    <a:lnTo>
                      <a:pt x="82867" y="56197"/>
                    </a:lnTo>
                    <a:cubicBezTo>
                      <a:pt x="82867" y="56197"/>
                      <a:pt x="85725" y="56197"/>
                      <a:pt x="80963" y="60008"/>
                    </a:cubicBezTo>
                    <a:cubicBezTo>
                      <a:pt x="75248" y="63818"/>
                      <a:pt x="88582" y="61913"/>
                      <a:pt x="75248" y="63818"/>
                    </a:cubicBezTo>
                    <a:cubicBezTo>
                      <a:pt x="61913" y="65723"/>
                      <a:pt x="54292" y="64770"/>
                      <a:pt x="54292" y="64770"/>
                    </a:cubicBezTo>
                    <a:lnTo>
                      <a:pt x="45720" y="64770"/>
                    </a:lnTo>
                    <a:lnTo>
                      <a:pt x="39052" y="63818"/>
                    </a:lnTo>
                    <a:lnTo>
                      <a:pt x="29527" y="61913"/>
                    </a:lnTo>
                    <a:lnTo>
                      <a:pt x="24765" y="58103"/>
                    </a:lnTo>
                    <a:lnTo>
                      <a:pt x="19050" y="54293"/>
                    </a:lnTo>
                    <a:lnTo>
                      <a:pt x="10477" y="52388"/>
                    </a:lnTo>
                    <a:lnTo>
                      <a:pt x="5715" y="50483"/>
                    </a:lnTo>
                    <a:lnTo>
                      <a:pt x="3810" y="47625"/>
                    </a:lnTo>
                    <a:lnTo>
                      <a:pt x="2857" y="40958"/>
                    </a:lnTo>
                    <a:lnTo>
                      <a:pt x="0" y="37147"/>
                    </a:lnTo>
                    <a:lnTo>
                      <a:pt x="952" y="33338"/>
                    </a:lnTo>
                    <a:lnTo>
                      <a:pt x="5715" y="29528"/>
                    </a:lnTo>
                    <a:lnTo>
                      <a:pt x="10477" y="25718"/>
                    </a:lnTo>
                    <a:lnTo>
                      <a:pt x="11430" y="20955"/>
                    </a:lnTo>
                    <a:lnTo>
                      <a:pt x="13335" y="17145"/>
                    </a:lnTo>
                    <a:lnTo>
                      <a:pt x="14288" y="13335"/>
                    </a:lnTo>
                    <a:cubicBezTo>
                      <a:pt x="14288" y="13335"/>
                      <a:pt x="14288" y="11430"/>
                      <a:pt x="20002" y="8572"/>
                    </a:cubicBezTo>
                    <a:cubicBezTo>
                      <a:pt x="25717" y="5715"/>
                      <a:pt x="24765" y="953"/>
                      <a:pt x="27623" y="953"/>
                    </a:cubicBezTo>
                    <a:cubicBezTo>
                      <a:pt x="30480" y="953"/>
                      <a:pt x="26670" y="1905"/>
                      <a:pt x="30480" y="953"/>
                    </a:cubicBezTo>
                    <a:cubicBezTo>
                      <a:pt x="35242" y="0"/>
                      <a:pt x="38100" y="0"/>
                      <a:pt x="43815" y="0"/>
                    </a:cubicBezTo>
                    <a:cubicBezTo>
                      <a:pt x="49530" y="953"/>
                      <a:pt x="51435" y="-953"/>
                      <a:pt x="56198" y="953"/>
                    </a:cubicBezTo>
                    <a:cubicBezTo>
                      <a:pt x="60960" y="2858"/>
                      <a:pt x="62865" y="2858"/>
                      <a:pt x="69532" y="2858"/>
                    </a:cubicBezTo>
                    <a:cubicBezTo>
                      <a:pt x="76200" y="3810"/>
                      <a:pt x="90488" y="2858"/>
                      <a:pt x="90488" y="2858"/>
                    </a:cubicBezTo>
                    <a:cubicBezTo>
                      <a:pt x="90488" y="2858"/>
                      <a:pt x="100013" y="2858"/>
                      <a:pt x="103823" y="2858"/>
                    </a:cubicBezTo>
                    <a:cubicBezTo>
                      <a:pt x="107632" y="2858"/>
                      <a:pt x="111442" y="2858"/>
                      <a:pt x="117157" y="2858"/>
                    </a:cubicBezTo>
                    <a:cubicBezTo>
                      <a:pt x="122873" y="2858"/>
                      <a:pt x="131445" y="3810"/>
                      <a:pt x="131445" y="3810"/>
                    </a:cubicBezTo>
                    <a:cubicBezTo>
                      <a:pt x="134302" y="7620"/>
                      <a:pt x="139065" y="8572"/>
                      <a:pt x="139065" y="8572"/>
                    </a:cubicBezTo>
                    <a:cubicBezTo>
                      <a:pt x="139065" y="8572"/>
                      <a:pt x="145732" y="9525"/>
                      <a:pt x="150495" y="10478"/>
                    </a:cubicBezTo>
                    <a:cubicBezTo>
                      <a:pt x="155257" y="11430"/>
                      <a:pt x="154305" y="6668"/>
                      <a:pt x="155257" y="11430"/>
                    </a:cubicBezTo>
                    <a:cubicBezTo>
                      <a:pt x="156210" y="15240"/>
                      <a:pt x="157163" y="10478"/>
                      <a:pt x="156210" y="15240"/>
                    </a:cubicBezTo>
                    <a:cubicBezTo>
                      <a:pt x="155257" y="20003"/>
                      <a:pt x="150495" y="17145"/>
                      <a:pt x="147638" y="19050"/>
                    </a:cubicBezTo>
                    <a:cubicBezTo>
                      <a:pt x="142875" y="20955"/>
                      <a:pt x="123825" y="23813"/>
                      <a:pt x="123825" y="23813"/>
                    </a:cubicBezTo>
                    <a:close/>
                  </a:path>
                </a:pathLst>
              </a:custGeom>
              <a:grpFill/>
              <a:ln w="9525" cap="flat">
                <a:noFill/>
                <a:prstDash val="solid"/>
                <a:miter/>
              </a:ln>
            </p:spPr>
            <p:txBody>
              <a:bodyPr rtlCol="0" anchor="ctr"/>
              <a:lstStyle/>
              <a:p>
                <a:endParaRPr lang="en-US" sz="1765"/>
              </a:p>
            </p:txBody>
          </p:sp>
          <p:sp>
            <p:nvSpPr>
              <p:cNvPr id="18" name="Freeform: Shape 17">
                <a:extLst>
                  <a:ext uri="{FF2B5EF4-FFF2-40B4-BE49-F238E27FC236}">
                    <a16:creationId xmlns:a16="http://schemas.microsoft.com/office/drawing/2014/main" id="{E61765F0-BBE2-46EC-9E91-3665943E5C89}"/>
                  </a:ext>
                </a:extLst>
              </p:cNvPr>
              <p:cNvSpPr/>
              <p:nvPr/>
            </p:nvSpPr>
            <p:spPr>
              <a:xfrm>
                <a:off x="6127461" y="2930148"/>
                <a:ext cx="114723" cy="40428"/>
              </a:xfrm>
              <a:custGeom>
                <a:avLst/>
                <a:gdLst>
                  <a:gd name="connsiteX0" fmla="*/ 40957 w 114723"/>
                  <a:gd name="connsiteY0" fmla="*/ 39476 h 40428"/>
                  <a:gd name="connsiteX1" fmla="*/ 31432 w 114723"/>
                  <a:gd name="connsiteY1" fmla="*/ 39476 h 40428"/>
                  <a:gd name="connsiteX2" fmla="*/ 16192 w 114723"/>
                  <a:gd name="connsiteY2" fmla="*/ 40428 h 40428"/>
                  <a:gd name="connsiteX3" fmla="*/ 6667 w 114723"/>
                  <a:gd name="connsiteY3" fmla="*/ 39476 h 40428"/>
                  <a:gd name="connsiteX4" fmla="*/ 952 w 114723"/>
                  <a:gd name="connsiteY4" fmla="*/ 35666 h 40428"/>
                  <a:gd name="connsiteX5" fmla="*/ 0 w 114723"/>
                  <a:gd name="connsiteY5" fmla="*/ 30903 h 40428"/>
                  <a:gd name="connsiteX6" fmla="*/ 6667 w 114723"/>
                  <a:gd name="connsiteY6" fmla="*/ 27093 h 40428"/>
                  <a:gd name="connsiteX7" fmla="*/ 15240 w 114723"/>
                  <a:gd name="connsiteY7" fmla="*/ 24236 h 40428"/>
                  <a:gd name="connsiteX8" fmla="*/ 21907 w 114723"/>
                  <a:gd name="connsiteY8" fmla="*/ 23283 h 40428"/>
                  <a:gd name="connsiteX9" fmla="*/ 33338 w 114723"/>
                  <a:gd name="connsiteY9" fmla="*/ 19473 h 40428"/>
                  <a:gd name="connsiteX10" fmla="*/ 41910 w 114723"/>
                  <a:gd name="connsiteY10" fmla="*/ 15663 h 40428"/>
                  <a:gd name="connsiteX11" fmla="*/ 46673 w 114723"/>
                  <a:gd name="connsiteY11" fmla="*/ 14711 h 40428"/>
                  <a:gd name="connsiteX12" fmla="*/ 56198 w 114723"/>
                  <a:gd name="connsiteY12" fmla="*/ 11853 h 40428"/>
                  <a:gd name="connsiteX13" fmla="*/ 59055 w 114723"/>
                  <a:gd name="connsiteY13" fmla="*/ 12806 h 40428"/>
                  <a:gd name="connsiteX14" fmla="*/ 70485 w 114723"/>
                  <a:gd name="connsiteY14" fmla="*/ 6138 h 40428"/>
                  <a:gd name="connsiteX15" fmla="*/ 78105 w 114723"/>
                  <a:gd name="connsiteY15" fmla="*/ 2328 h 40428"/>
                  <a:gd name="connsiteX16" fmla="*/ 90488 w 114723"/>
                  <a:gd name="connsiteY16" fmla="*/ 423 h 40428"/>
                  <a:gd name="connsiteX17" fmla="*/ 99060 w 114723"/>
                  <a:gd name="connsiteY17" fmla="*/ 423 h 40428"/>
                  <a:gd name="connsiteX18" fmla="*/ 107632 w 114723"/>
                  <a:gd name="connsiteY18" fmla="*/ 1376 h 40428"/>
                  <a:gd name="connsiteX19" fmla="*/ 114300 w 114723"/>
                  <a:gd name="connsiteY19" fmla="*/ 4233 h 40428"/>
                  <a:gd name="connsiteX20" fmla="*/ 114300 w 114723"/>
                  <a:gd name="connsiteY20" fmla="*/ 11853 h 40428"/>
                  <a:gd name="connsiteX21" fmla="*/ 110490 w 114723"/>
                  <a:gd name="connsiteY21" fmla="*/ 18521 h 40428"/>
                  <a:gd name="connsiteX22" fmla="*/ 103823 w 114723"/>
                  <a:gd name="connsiteY22" fmla="*/ 24236 h 40428"/>
                  <a:gd name="connsiteX23" fmla="*/ 92392 w 114723"/>
                  <a:gd name="connsiteY23" fmla="*/ 27093 h 40428"/>
                  <a:gd name="connsiteX24" fmla="*/ 87630 w 114723"/>
                  <a:gd name="connsiteY24" fmla="*/ 28046 h 40428"/>
                  <a:gd name="connsiteX25" fmla="*/ 82867 w 114723"/>
                  <a:gd name="connsiteY25" fmla="*/ 28046 h 40428"/>
                  <a:gd name="connsiteX26" fmla="*/ 77152 w 114723"/>
                  <a:gd name="connsiteY26" fmla="*/ 28046 h 40428"/>
                  <a:gd name="connsiteX27" fmla="*/ 71438 w 114723"/>
                  <a:gd name="connsiteY27" fmla="*/ 28998 h 40428"/>
                  <a:gd name="connsiteX28" fmla="*/ 65723 w 114723"/>
                  <a:gd name="connsiteY28" fmla="*/ 29951 h 40428"/>
                  <a:gd name="connsiteX29" fmla="*/ 60960 w 114723"/>
                  <a:gd name="connsiteY29" fmla="*/ 33761 h 40428"/>
                  <a:gd name="connsiteX30" fmla="*/ 56198 w 114723"/>
                  <a:gd name="connsiteY30" fmla="*/ 36618 h 40428"/>
                  <a:gd name="connsiteX31" fmla="*/ 40957 w 114723"/>
                  <a:gd name="connsiteY31" fmla="*/ 39476 h 4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723" h="40428">
                    <a:moveTo>
                      <a:pt x="40957" y="39476"/>
                    </a:moveTo>
                    <a:cubicBezTo>
                      <a:pt x="40957" y="39476"/>
                      <a:pt x="34290" y="39476"/>
                      <a:pt x="31432" y="39476"/>
                    </a:cubicBezTo>
                    <a:cubicBezTo>
                      <a:pt x="28575" y="39476"/>
                      <a:pt x="16192" y="40428"/>
                      <a:pt x="16192" y="40428"/>
                    </a:cubicBezTo>
                    <a:lnTo>
                      <a:pt x="6667" y="39476"/>
                    </a:lnTo>
                    <a:lnTo>
                      <a:pt x="952" y="35666"/>
                    </a:lnTo>
                    <a:lnTo>
                      <a:pt x="0" y="30903"/>
                    </a:lnTo>
                    <a:cubicBezTo>
                      <a:pt x="0" y="30903"/>
                      <a:pt x="1905" y="29951"/>
                      <a:pt x="6667" y="27093"/>
                    </a:cubicBezTo>
                    <a:cubicBezTo>
                      <a:pt x="11430" y="25188"/>
                      <a:pt x="15240" y="24236"/>
                      <a:pt x="15240" y="24236"/>
                    </a:cubicBezTo>
                    <a:cubicBezTo>
                      <a:pt x="21907" y="23283"/>
                      <a:pt x="16192" y="24236"/>
                      <a:pt x="21907" y="23283"/>
                    </a:cubicBezTo>
                    <a:cubicBezTo>
                      <a:pt x="27623" y="22331"/>
                      <a:pt x="28575" y="20426"/>
                      <a:pt x="33338" y="19473"/>
                    </a:cubicBezTo>
                    <a:cubicBezTo>
                      <a:pt x="38100" y="18521"/>
                      <a:pt x="38100" y="15663"/>
                      <a:pt x="41910" y="15663"/>
                    </a:cubicBezTo>
                    <a:cubicBezTo>
                      <a:pt x="46673" y="14711"/>
                      <a:pt x="40957" y="16616"/>
                      <a:pt x="46673" y="14711"/>
                    </a:cubicBezTo>
                    <a:cubicBezTo>
                      <a:pt x="52388" y="13758"/>
                      <a:pt x="53340" y="10901"/>
                      <a:pt x="56198" y="11853"/>
                    </a:cubicBezTo>
                    <a:cubicBezTo>
                      <a:pt x="59055" y="12806"/>
                      <a:pt x="59055" y="12806"/>
                      <a:pt x="59055" y="12806"/>
                    </a:cubicBezTo>
                    <a:lnTo>
                      <a:pt x="70485" y="6138"/>
                    </a:lnTo>
                    <a:cubicBezTo>
                      <a:pt x="70485" y="6138"/>
                      <a:pt x="72390" y="2328"/>
                      <a:pt x="78105" y="2328"/>
                    </a:cubicBezTo>
                    <a:cubicBezTo>
                      <a:pt x="83820" y="2328"/>
                      <a:pt x="90488" y="423"/>
                      <a:pt x="90488" y="423"/>
                    </a:cubicBezTo>
                    <a:cubicBezTo>
                      <a:pt x="90488" y="423"/>
                      <a:pt x="95250" y="-529"/>
                      <a:pt x="99060" y="423"/>
                    </a:cubicBezTo>
                    <a:cubicBezTo>
                      <a:pt x="103823" y="1376"/>
                      <a:pt x="107632" y="1376"/>
                      <a:pt x="107632" y="1376"/>
                    </a:cubicBezTo>
                    <a:lnTo>
                      <a:pt x="114300" y="4233"/>
                    </a:lnTo>
                    <a:cubicBezTo>
                      <a:pt x="115252" y="8996"/>
                      <a:pt x="114300" y="8043"/>
                      <a:pt x="114300" y="11853"/>
                    </a:cubicBezTo>
                    <a:cubicBezTo>
                      <a:pt x="114300" y="15663"/>
                      <a:pt x="112395" y="15663"/>
                      <a:pt x="110490" y="18521"/>
                    </a:cubicBezTo>
                    <a:cubicBezTo>
                      <a:pt x="109538" y="21378"/>
                      <a:pt x="103823" y="24236"/>
                      <a:pt x="103823" y="24236"/>
                    </a:cubicBezTo>
                    <a:lnTo>
                      <a:pt x="92392" y="27093"/>
                    </a:lnTo>
                    <a:lnTo>
                      <a:pt x="87630" y="28046"/>
                    </a:lnTo>
                    <a:lnTo>
                      <a:pt x="82867" y="28046"/>
                    </a:lnTo>
                    <a:lnTo>
                      <a:pt x="77152" y="28046"/>
                    </a:lnTo>
                    <a:lnTo>
                      <a:pt x="71438" y="28998"/>
                    </a:lnTo>
                    <a:lnTo>
                      <a:pt x="65723" y="29951"/>
                    </a:lnTo>
                    <a:cubicBezTo>
                      <a:pt x="60960" y="33761"/>
                      <a:pt x="60960" y="33761"/>
                      <a:pt x="60960" y="33761"/>
                    </a:cubicBezTo>
                    <a:lnTo>
                      <a:pt x="56198" y="36618"/>
                    </a:lnTo>
                    <a:lnTo>
                      <a:pt x="40957" y="39476"/>
                    </a:lnTo>
                    <a:close/>
                  </a:path>
                </a:pathLst>
              </a:custGeom>
              <a:grpFill/>
              <a:ln w="9525" cap="flat">
                <a:noFill/>
                <a:prstDash val="solid"/>
                <a:miter/>
              </a:ln>
            </p:spPr>
            <p:txBody>
              <a:bodyPr rtlCol="0" anchor="ctr"/>
              <a:lstStyle/>
              <a:p>
                <a:endParaRPr lang="en-US" sz="1765"/>
              </a:p>
            </p:txBody>
          </p:sp>
          <p:sp>
            <p:nvSpPr>
              <p:cNvPr id="19" name="Freeform: Shape 18">
                <a:extLst>
                  <a:ext uri="{FF2B5EF4-FFF2-40B4-BE49-F238E27FC236}">
                    <a16:creationId xmlns:a16="http://schemas.microsoft.com/office/drawing/2014/main" id="{405F14EF-51C2-4A98-9132-055794D7A9F6}"/>
                  </a:ext>
                </a:extLst>
              </p:cNvPr>
              <p:cNvSpPr/>
              <p:nvPr/>
            </p:nvSpPr>
            <p:spPr>
              <a:xfrm>
                <a:off x="6227474" y="2955336"/>
                <a:ext cx="208597" cy="46114"/>
              </a:xfrm>
              <a:custGeom>
                <a:avLst/>
                <a:gdLst>
                  <a:gd name="connsiteX0" fmla="*/ 62865 w 208597"/>
                  <a:gd name="connsiteY0" fmla="*/ 4763 h 46114"/>
                  <a:gd name="connsiteX1" fmla="*/ 47625 w 208597"/>
                  <a:gd name="connsiteY1" fmla="*/ 4763 h 46114"/>
                  <a:gd name="connsiteX2" fmla="*/ 35242 w 208597"/>
                  <a:gd name="connsiteY2" fmla="*/ 4763 h 46114"/>
                  <a:gd name="connsiteX3" fmla="*/ 25717 w 208597"/>
                  <a:gd name="connsiteY3" fmla="*/ 5715 h 46114"/>
                  <a:gd name="connsiteX4" fmla="*/ 18098 w 208597"/>
                  <a:gd name="connsiteY4" fmla="*/ 10478 h 46114"/>
                  <a:gd name="connsiteX5" fmla="*/ 14288 w 208597"/>
                  <a:gd name="connsiteY5" fmla="*/ 17145 h 46114"/>
                  <a:gd name="connsiteX6" fmla="*/ 13335 w 208597"/>
                  <a:gd name="connsiteY6" fmla="*/ 19050 h 46114"/>
                  <a:gd name="connsiteX7" fmla="*/ 1905 w 208597"/>
                  <a:gd name="connsiteY7" fmla="*/ 24765 h 46114"/>
                  <a:gd name="connsiteX8" fmla="*/ 0 w 208597"/>
                  <a:gd name="connsiteY8" fmla="*/ 31433 h 46114"/>
                  <a:gd name="connsiteX9" fmla="*/ 9525 w 208597"/>
                  <a:gd name="connsiteY9" fmla="*/ 34290 h 46114"/>
                  <a:gd name="connsiteX10" fmla="*/ 21907 w 208597"/>
                  <a:gd name="connsiteY10" fmla="*/ 34290 h 46114"/>
                  <a:gd name="connsiteX11" fmla="*/ 35242 w 208597"/>
                  <a:gd name="connsiteY11" fmla="*/ 34290 h 46114"/>
                  <a:gd name="connsiteX12" fmla="*/ 40957 w 208597"/>
                  <a:gd name="connsiteY12" fmla="*/ 35243 h 46114"/>
                  <a:gd name="connsiteX13" fmla="*/ 56198 w 208597"/>
                  <a:gd name="connsiteY13" fmla="*/ 35243 h 46114"/>
                  <a:gd name="connsiteX14" fmla="*/ 60960 w 208597"/>
                  <a:gd name="connsiteY14" fmla="*/ 37148 h 46114"/>
                  <a:gd name="connsiteX15" fmla="*/ 62865 w 208597"/>
                  <a:gd name="connsiteY15" fmla="*/ 40958 h 46114"/>
                  <a:gd name="connsiteX16" fmla="*/ 70485 w 208597"/>
                  <a:gd name="connsiteY16" fmla="*/ 44768 h 46114"/>
                  <a:gd name="connsiteX17" fmla="*/ 81915 w 208597"/>
                  <a:gd name="connsiteY17" fmla="*/ 45720 h 46114"/>
                  <a:gd name="connsiteX18" fmla="*/ 95250 w 208597"/>
                  <a:gd name="connsiteY18" fmla="*/ 41910 h 46114"/>
                  <a:gd name="connsiteX19" fmla="*/ 107632 w 208597"/>
                  <a:gd name="connsiteY19" fmla="*/ 39053 h 46114"/>
                  <a:gd name="connsiteX20" fmla="*/ 116205 w 208597"/>
                  <a:gd name="connsiteY20" fmla="*/ 39053 h 46114"/>
                  <a:gd name="connsiteX21" fmla="*/ 134302 w 208597"/>
                  <a:gd name="connsiteY21" fmla="*/ 36195 h 46114"/>
                  <a:gd name="connsiteX22" fmla="*/ 148590 w 208597"/>
                  <a:gd name="connsiteY22" fmla="*/ 34290 h 46114"/>
                  <a:gd name="connsiteX23" fmla="*/ 166688 w 208597"/>
                  <a:gd name="connsiteY23" fmla="*/ 34290 h 46114"/>
                  <a:gd name="connsiteX24" fmla="*/ 179070 w 208597"/>
                  <a:gd name="connsiteY24" fmla="*/ 35243 h 46114"/>
                  <a:gd name="connsiteX25" fmla="*/ 190500 w 208597"/>
                  <a:gd name="connsiteY25" fmla="*/ 35243 h 46114"/>
                  <a:gd name="connsiteX26" fmla="*/ 197167 w 208597"/>
                  <a:gd name="connsiteY26" fmla="*/ 33338 h 46114"/>
                  <a:gd name="connsiteX27" fmla="*/ 204788 w 208597"/>
                  <a:gd name="connsiteY27" fmla="*/ 29528 h 46114"/>
                  <a:gd name="connsiteX28" fmla="*/ 208598 w 208597"/>
                  <a:gd name="connsiteY28" fmla="*/ 20955 h 46114"/>
                  <a:gd name="connsiteX29" fmla="*/ 204788 w 208597"/>
                  <a:gd name="connsiteY29" fmla="*/ 14288 h 46114"/>
                  <a:gd name="connsiteX30" fmla="*/ 192405 w 208597"/>
                  <a:gd name="connsiteY30" fmla="*/ 12383 h 46114"/>
                  <a:gd name="connsiteX31" fmla="*/ 180023 w 208597"/>
                  <a:gd name="connsiteY31" fmla="*/ 12383 h 46114"/>
                  <a:gd name="connsiteX32" fmla="*/ 170498 w 208597"/>
                  <a:gd name="connsiteY32" fmla="*/ 11430 h 46114"/>
                  <a:gd name="connsiteX33" fmla="*/ 166688 w 208597"/>
                  <a:gd name="connsiteY33" fmla="*/ 11430 h 46114"/>
                  <a:gd name="connsiteX34" fmla="*/ 158115 w 208597"/>
                  <a:gd name="connsiteY34" fmla="*/ 3810 h 46114"/>
                  <a:gd name="connsiteX35" fmla="*/ 153352 w 208597"/>
                  <a:gd name="connsiteY35" fmla="*/ 1905 h 46114"/>
                  <a:gd name="connsiteX36" fmla="*/ 139065 w 208597"/>
                  <a:gd name="connsiteY36" fmla="*/ 0 h 46114"/>
                  <a:gd name="connsiteX37" fmla="*/ 131445 w 208597"/>
                  <a:gd name="connsiteY37" fmla="*/ 0 h 46114"/>
                  <a:gd name="connsiteX38" fmla="*/ 126682 w 208597"/>
                  <a:gd name="connsiteY38" fmla="*/ 953 h 46114"/>
                  <a:gd name="connsiteX39" fmla="*/ 124777 w 208597"/>
                  <a:gd name="connsiteY39" fmla="*/ 6668 h 46114"/>
                  <a:gd name="connsiteX40" fmla="*/ 120967 w 208597"/>
                  <a:gd name="connsiteY40" fmla="*/ 11430 h 46114"/>
                  <a:gd name="connsiteX41" fmla="*/ 120015 w 208597"/>
                  <a:gd name="connsiteY41" fmla="*/ 13335 h 46114"/>
                  <a:gd name="connsiteX42" fmla="*/ 112395 w 208597"/>
                  <a:gd name="connsiteY42" fmla="*/ 17145 h 46114"/>
                  <a:gd name="connsiteX43" fmla="*/ 105727 w 208597"/>
                  <a:gd name="connsiteY43" fmla="*/ 18098 h 46114"/>
                  <a:gd name="connsiteX44" fmla="*/ 97155 w 208597"/>
                  <a:gd name="connsiteY44" fmla="*/ 18098 h 46114"/>
                  <a:gd name="connsiteX45" fmla="*/ 90488 w 208597"/>
                  <a:gd name="connsiteY45" fmla="*/ 17145 h 46114"/>
                  <a:gd name="connsiteX46" fmla="*/ 87630 w 208597"/>
                  <a:gd name="connsiteY46" fmla="*/ 14288 h 46114"/>
                  <a:gd name="connsiteX47" fmla="*/ 79057 w 208597"/>
                  <a:gd name="connsiteY47" fmla="*/ 10478 h 46114"/>
                  <a:gd name="connsiteX48" fmla="*/ 62865 w 208597"/>
                  <a:gd name="connsiteY48" fmla="*/ 4763 h 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8597" h="46114">
                    <a:moveTo>
                      <a:pt x="62865" y="4763"/>
                    </a:moveTo>
                    <a:lnTo>
                      <a:pt x="47625" y="4763"/>
                    </a:lnTo>
                    <a:lnTo>
                      <a:pt x="35242" y="4763"/>
                    </a:lnTo>
                    <a:cubicBezTo>
                      <a:pt x="35242" y="4763"/>
                      <a:pt x="28575" y="2858"/>
                      <a:pt x="25717" y="5715"/>
                    </a:cubicBezTo>
                    <a:cubicBezTo>
                      <a:pt x="21907" y="8573"/>
                      <a:pt x="19050" y="7620"/>
                      <a:pt x="18098" y="10478"/>
                    </a:cubicBezTo>
                    <a:cubicBezTo>
                      <a:pt x="17145" y="13335"/>
                      <a:pt x="16192" y="14288"/>
                      <a:pt x="14288" y="17145"/>
                    </a:cubicBezTo>
                    <a:cubicBezTo>
                      <a:pt x="13335" y="19050"/>
                      <a:pt x="13335" y="19050"/>
                      <a:pt x="13335" y="19050"/>
                    </a:cubicBezTo>
                    <a:lnTo>
                      <a:pt x="1905" y="24765"/>
                    </a:lnTo>
                    <a:cubicBezTo>
                      <a:pt x="0" y="28575"/>
                      <a:pt x="0" y="31433"/>
                      <a:pt x="0" y="31433"/>
                    </a:cubicBezTo>
                    <a:cubicBezTo>
                      <a:pt x="5715" y="34290"/>
                      <a:pt x="5715" y="33338"/>
                      <a:pt x="9525" y="34290"/>
                    </a:cubicBezTo>
                    <a:cubicBezTo>
                      <a:pt x="14288" y="35243"/>
                      <a:pt x="15240" y="33338"/>
                      <a:pt x="21907" y="34290"/>
                    </a:cubicBezTo>
                    <a:cubicBezTo>
                      <a:pt x="28575" y="35243"/>
                      <a:pt x="29527" y="33338"/>
                      <a:pt x="35242" y="34290"/>
                    </a:cubicBezTo>
                    <a:cubicBezTo>
                      <a:pt x="40957" y="35243"/>
                      <a:pt x="30480" y="34290"/>
                      <a:pt x="40957" y="35243"/>
                    </a:cubicBezTo>
                    <a:cubicBezTo>
                      <a:pt x="50482" y="36195"/>
                      <a:pt x="52388" y="34290"/>
                      <a:pt x="56198" y="35243"/>
                    </a:cubicBezTo>
                    <a:cubicBezTo>
                      <a:pt x="60960" y="37148"/>
                      <a:pt x="60960" y="37148"/>
                      <a:pt x="60960" y="37148"/>
                    </a:cubicBezTo>
                    <a:cubicBezTo>
                      <a:pt x="60960" y="37148"/>
                      <a:pt x="60007" y="39053"/>
                      <a:pt x="62865" y="40958"/>
                    </a:cubicBezTo>
                    <a:cubicBezTo>
                      <a:pt x="65723" y="42863"/>
                      <a:pt x="65723" y="43815"/>
                      <a:pt x="70485" y="44768"/>
                    </a:cubicBezTo>
                    <a:cubicBezTo>
                      <a:pt x="75248" y="45720"/>
                      <a:pt x="78105" y="46673"/>
                      <a:pt x="81915" y="45720"/>
                    </a:cubicBezTo>
                    <a:cubicBezTo>
                      <a:pt x="84773" y="44768"/>
                      <a:pt x="92392" y="41910"/>
                      <a:pt x="95250" y="41910"/>
                    </a:cubicBezTo>
                    <a:cubicBezTo>
                      <a:pt x="98107" y="41910"/>
                      <a:pt x="107632" y="39053"/>
                      <a:pt x="107632" y="39053"/>
                    </a:cubicBezTo>
                    <a:cubicBezTo>
                      <a:pt x="107632" y="39053"/>
                      <a:pt x="113348" y="38100"/>
                      <a:pt x="116205" y="39053"/>
                    </a:cubicBezTo>
                    <a:cubicBezTo>
                      <a:pt x="119063" y="40005"/>
                      <a:pt x="130492" y="37148"/>
                      <a:pt x="134302" y="36195"/>
                    </a:cubicBezTo>
                    <a:cubicBezTo>
                      <a:pt x="137160" y="35243"/>
                      <a:pt x="142875" y="33338"/>
                      <a:pt x="148590" y="34290"/>
                    </a:cubicBezTo>
                    <a:cubicBezTo>
                      <a:pt x="154305" y="35243"/>
                      <a:pt x="166688" y="34290"/>
                      <a:pt x="166688" y="34290"/>
                    </a:cubicBezTo>
                    <a:cubicBezTo>
                      <a:pt x="166688" y="34290"/>
                      <a:pt x="173355" y="34290"/>
                      <a:pt x="179070" y="35243"/>
                    </a:cubicBezTo>
                    <a:cubicBezTo>
                      <a:pt x="184785" y="36195"/>
                      <a:pt x="190500" y="35243"/>
                      <a:pt x="190500" y="35243"/>
                    </a:cubicBezTo>
                    <a:cubicBezTo>
                      <a:pt x="190500" y="35243"/>
                      <a:pt x="192405" y="33338"/>
                      <a:pt x="197167" y="33338"/>
                    </a:cubicBezTo>
                    <a:cubicBezTo>
                      <a:pt x="201930" y="33338"/>
                      <a:pt x="201930" y="30480"/>
                      <a:pt x="204788" y="29528"/>
                    </a:cubicBezTo>
                    <a:cubicBezTo>
                      <a:pt x="208598" y="28575"/>
                      <a:pt x="208598" y="20955"/>
                      <a:pt x="208598" y="20955"/>
                    </a:cubicBezTo>
                    <a:lnTo>
                      <a:pt x="204788" y="14288"/>
                    </a:lnTo>
                    <a:lnTo>
                      <a:pt x="192405" y="12383"/>
                    </a:lnTo>
                    <a:lnTo>
                      <a:pt x="180023" y="12383"/>
                    </a:lnTo>
                    <a:cubicBezTo>
                      <a:pt x="180023" y="12383"/>
                      <a:pt x="173355" y="11430"/>
                      <a:pt x="170498" y="11430"/>
                    </a:cubicBezTo>
                    <a:cubicBezTo>
                      <a:pt x="166688" y="11430"/>
                      <a:pt x="166688" y="11430"/>
                      <a:pt x="166688" y="11430"/>
                    </a:cubicBezTo>
                    <a:lnTo>
                      <a:pt x="158115" y="3810"/>
                    </a:lnTo>
                    <a:lnTo>
                      <a:pt x="153352" y="1905"/>
                    </a:lnTo>
                    <a:lnTo>
                      <a:pt x="139065" y="0"/>
                    </a:lnTo>
                    <a:lnTo>
                      <a:pt x="131445" y="0"/>
                    </a:lnTo>
                    <a:lnTo>
                      <a:pt x="126682" y="953"/>
                    </a:lnTo>
                    <a:cubicBezTo>
                      <a:pt x="126682" y="953"/>
                      <a:pt x="124777" y="4763"/>
                      <a:pt x="124777" y="6668"/>
                    </a:cubicBezTo>
                    <a:cubicBezTo>
                      <a:pt x="124777" y="8573"/>
                      <a:pt x="122873" y="9525"/>
                      <a:pt x="120967" y="11430"/>
                    </a:cubicBezTo>
                    <a:cubicBezTo>
                      <a:pt x="120015" y="13335"/>
                      <a:pt x="121920" y="11430"/>
                      <a:pt x="120015" y="13335"/>
                    </a:cubicBezTo>
                    <a:cubicBezTo>
                      <a:pt x="118110" y="15240"/>
                      <a:pt x="112395" y="17145"/>
                      <a:pt x="112395" y="17145"/>
                    </a:cubicBezTo>
                    <a:lnTo>
                      <a:pt x="105727" y="18098"/>
                    </a:lnTo>
                    <a:lnTo>
                      <a:pt x="97155" y="18098"/>
                    </a:lnTo>
                    <a:lnTo>
                      <a:pt x="90488" y="17145"/>
                    </a:lnTo>
                    <a:lnTo>
                      <a:pt x="87630" y="14288"/>
                    </a:lnTo>
                    <a:lnTo>
                      <a:pt x="79057" y="10478"/>
                    </a:lnTo>
                    <a:lnTo>
                      <a:pt x="62865" y="4763"/>
                    </a:lnTo>
                    <a:close/>
                  </a:path>
                </a:pathLst>
              </a:custGeom>
              <a:grpFill/>
              <a:ln w="9525" cap="flat">
                <a:noFill/>
                <a:prstDash val="solid"/>
                <a:miter/>
              </a:ln>
            </p:spPr>
            <p:txBody>
              <a:bodyPr rtlCol="0" anchor="ctr"/>
              <a:lstStyle/>
              <a:p>
                <a:endParaRPr lang="en-US" sz="1765"/>
              </a:p>
            </p:txBody>
          </p:sp>
          <p:sp>
            <p:nvSpPr>
              <p:cNvPr id="20" name="Freeform: Shape 19">
                <a:extLst>
                  <a:ext uri="{FF2B5EF4-FFF2-40B4-BE49-F238E27FC236}">
                    <a16:creationId xmlns:a16="http://schemas.microsoft.com/office/drawing/2014/main" id="{183755C6-7661-4C2C-85CC-B998308CCD8F}"/>
                  </a:ext>
                </a:extLst>
              </p:cNvPr>
              <p:cNvSpPr/>
              <p:nvPr/>
            </p:nvSpPr>
            <p:spPr>
              <a:xfrm>
                <a:off x="6294576" y="2902525"/>
                <a:ext cx="65401" cy="30903"/>
              </a:xfrm>
              <a:custGeom>
                <a:avLst/>
                <a:gdLst>
                  <a:gd name="connsiteX0" fmla="*/ 17670 w 65401"/>
                  <a:gd name="connsiteY0" fmla="*/ 30903 h 30903"/>
                  <a:gd name="connsiteX1" fmla="*/ 2430 w 65401"/>
                  <a:gd name="connsiteY1" fmla="*/ 27093 h 30903"/>
                  <a:gd name="connsiteX2" fmla="*/ 1477 w 65401"/>
                  <a:gd name="connsiteY2" fmla="*/ 22331 h 30903"/>
                  <a:gd name="connsiteX3" fmla="*/ 5287 w 65401"/>
                  <a:gd name="connsiteY3" fmla="*/ 22331 h 30903"/>
                  <a:gd name="connsiteX4" fmla="*/ 10050 w 65401"/>
                  <a:gd name="connsiteY4" fmla="*/ 20426 h 30903"/>
                  <a:gd name="connsiteX5" fmla="*/ 11002 w 65401"/>
                  <a:gd name="connsiteY5" fmla="*/ 12806 h 30903"/>
                  <a:gd name="connsiteX6" fmla="*/ 10050 w 65401"/>
                  <a:gd name="connsiteY6" fmla="*/ 10901 h 30903"/>
                  <a:gd name="connsiteX7" fmla="*/ 5287 w 65401"/>
                  <a:gd name="connsiteY7" fmla="*/ 8043 h 30903"/>
                  <a:gd name="connsiteX8" fmla="*/ 11002 w 65401"/>
                  <a:gd name="connsiteY8" fmla="*/ 3281 h 30903"/>
                  <a:gd name="connsiteX9" fmla="*/ 25290 w 65401"/>
                  <a:gd name="connsiteY9" fmla="*/ 1376 h 30903"/>
                  <a:gd name="connsiteX10" fmla="*/ 42435 w 65401"/>
                  <a:gd name="connsiteY10" fmla="*/ 423 h 30903"/>
                  <a:gd name="connsiteX11" fmla="*/ 51960 w 65401"/>
                  <a:gd name="connsiteY11" fmla="*/ 423 h 30903"/>
                  <a:gd name="connsiteX12" fmla="*/ 62437 w 65401"/>
                  <a:gd name="connsiteY12" fmla="*/ 3281 h 30903"/>
                  <a:gd name="connsiteX13" fmla="*/ 65295 w 65401"/>
                  <a:gd name="connsiteY13" fmla="*/ 7091 h 30903"/>
                  <a:gd name="connsiteX14" fmla="*/ 60532 w 65401"/>
                  <a:gd name="connsiteY14" fmla="*/ 14711 h 30903"/>
                  <a:gd name="connsiteX15" fmla="*/ 53865 w 65401"/>
                  <a:gd name="connsiteY15" fmla="*/ 18521 h 30903"/>
                  <a:gd name="connsiteX16" fmla="*/ 53865 w 65401"/>
                  <a:gd name="connsiteY16" fmla="*/ 21378 h 30903"/>
                  <a:gd name="connsiteX17" fmla="*/ 53865 w 65401"/>
                  <a:gd name="connsiteY17" fmla="*/ 25188 h 30903"/>
                  <a:gd name="connsiteX18" fmla="*/ 53865 w 65401"/>
                  <a:gd name="connsiteY18" fmla="*/ 28998 h 30903"/>
                  <a:gd name="connsiteX19" fmla="*/ 46245 w 65401"/>
                  <a:gd name="connsiteY19" fmla="*/ 29951 h 30903"/>
                  <a:gd name="connsiteX20" fmla="*/ 40530 w 65401"/>
                  <a:gd name="connsiteY20" fmla="*/ 29951 h 30903"/>
                  <a:gd name="connsiteX21" fmla="*/ 31005 w 65401"/>
                  <a:gd name="connsiteY21" fmla="*/ 28998 h 30903"/>
                  <a:gd name="connsiteX22" fmla="*/ 26242 w 65401"/>
                  <a:gd name="connsiteY22" fmla="*/ 28998 h 30903"/>
                  <a:gd name="connsiteX23" fmla="*/ 19575 w 65401"/>
                  <a:gd name="connsiteY23" fmla="*/ 29951 h 30903"/>
                  <a:gd name="connsiteX24" fmla="*/ 17670 w 65401"/>
                  <a:gd name="connsiteY24" fmla="*/ 30903 h 3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401" h="30903">
                    <a:moveTo>
                      <a:pt x="17670" y="30903"/>
                    </a:moveTo>
                    <a:lnTo>
                      <a:pt x="2430" y="27093"/>
                    </a:lnTo>
                    <a:cubicBezTo>
                      <a:pt x="2430" y="27093"/>
                      <a:pt x="-2333" y="22331"/>
                      <a:pt x="1477" y="22331"/>
                    </a:cubicBezTo>
                    <a:cubicBezTo>
                      <a:pt x="5287" y="22331"/>
                      <a:pt x="5287" y="22331"/>
                      <a:pt x="5287" y="22331"/>
                    </a:cubicBezTo>
                    <a:lnTo>
                      <a:pt x="10050" y="20426"/>
                    </a:lnTo>
                    <a:cubicBezTo>
                      <a:pt x="10050" y="20426"/>
                      <a:pt x="11955" y="14711"/>
                      <a:pt x="11002" y="12806"/>
                    </a:cubicBezTo>
                    <a:cubicBezTo>
                      <a:pt x="10050" y="10901"/>
                      <a:pt x="10050" y="10901"/>
                      <a:pt x="10050" y="10901"/>
                    </a:cubicBezTo>
                    <a:lnTo>
                      <a:pt x="5287" y="8043"/>
                    </a:lnTo>
                    <a:cubicBezTo>
                      <a:pt x="5287" y="8043"/>
                      <a:pt x="5287" y="4233"/>
                      <a:pt x="11002" y="3281"/>
                    </a:cubicBezTo>
                    <a:cubicBezTo>
                      <a:pt x="16717" y="2328"/>
                      <a:pt x="22432" y="2328"/>
                      <a:pt x="25290" y="1376"/>
                    </a:cubicBezTo>
                    <a:cubicBezTo>
                      <a:pt x="28147" y="423"/>
                      <a:pt x="39577" y="423"/>
                      <a:pt x="42435" y="423"/>
                    </a:cubicBezTo>
                    <a:cubicBezTo>
                      <a:pt x="45292" y="423"/>
                      <a:pt x="49102" y="-529"/>
                      <a:pt x="51960" y="423"/>
                    </a:cubicBezTo>
                    <a:cubicBezTo>
                      <a:pt x="54817" y="1376"/>
                      <a:pt x="62437" y="3281"/>
                      <a:pt x="62437" y="3281"/>
                    </a:cubicBezTo>
                    <a:cubicBezTo>
                      <a:pt x="62437" y="3281"/>
                      <a:pt x="64342" y="5186"/>
                      <a:pt x="65295" y="7091"/>
                    </a:cubicBezTo>
                    <a:cubicBezTo>
                      <a:pt x="66247" y="9948"/>
                      <a:pt x="60532" y="12806"/>
                      <a:pt x="60532" y="14711"/>
                    </a:cubicBezTo>
                    <a:cubicBezTo>
                      <a:pt x="60532" y="16616"/>
                      <a:pt x="53865" y="15663"/>
                      <a:pt x="53865" y="18521"/>
                    </a:cubicBezTo>
                    <a:cubicBezTo>
                      <a:pt x="53865" y="21378"/>
                      <a:pt x="53865" y="17568"/>
                      <a:pt x="53865" y="21378"/>
                    </a:cubicBezTo>
                    <a:cubicBezTo>
                      <a:pt x="53865" y="25188"/>
                      <a:pt x="53865" y="21378"/>
                      <a:pt x="53865" y="25188"/>
                    </a:cubicBezTo>
                    <a:cubicBezTo>
                      <a:pt x="53865" y="28998"/>
                      <a:pt x="53865" y="28998"/>
                      <a:pt x="53865" y="28998"/>
                    </a:cubicBezTo>
                    <a:lnTo>
                      <a:pt x="46245" y="29951"/>
                    </a:lnTo>
                    <a:lnTo>
                      <a:pt x="40530" y="29951"/>
                    </a:lnTo>
                    <a:lnTo>
                      <a:pt x="31005" y="28998"/>
                    </a:lnTo>
                    <a:lnTo>
                      <a:pt x="26242" y="28998"/>
                    </a:lnTo>
                    <a:lnTo>
                      <a:pt x="19575" y="29951"/>
                    </a:lnTo>
                    <a:lnTo>
                      <a:pt x="17670" y="30903"/>
                    </a:lnTo>
                    <a:close/>
                  </a:path>
                </a:pathLst>
              </a:custGeom>
              <a:grpFill/>
              <a:ln w="9525" cap="flat">
                <a:noFill/>
                <a:prstDash val="solid"/>
                <a:miter/>
              </a:ln>
            </p:spPr>
            <p:txBody>
              <a:bodyPr rtlCol="0" anchor="ctr"/>
              <a:lstStyle/>
              <a:p>
                <a:endParaRPr lang="en-US" sz="1765"/>
              </a:p>
            </p:txBody>
          </p:sp>
          <p:sp>
            <p:nvSpPr>
              <p:cNvPr id="21" name="Freeform: Shape 20">
                <a:extLst>
                  <a:ext uri="{FF2B5EF4-FFF2-40B4-BE49-F238E27FC236}">
                    <a16:creationId xmlns:a16="http://schemas.microsoft.com/office/drawing/2014/main" id="{BDC8D695-11B2-4E6B-A566-2A4A593D26A5}"/>
                  </a:ext>
                </a:extLst>
              </p:cNvPr>
              <p:cNvSpPr/>
              <p:nvPr/>
            </p:nvSpPr>
            <p:spPr>
              <a:xfrm>
                <a:off x="6449139" y="2949621"/>
                <a:ext cx="125044" cy="39246"/>
              </a:xfrm>
              <a:custGeom>
                <a:avLst/>
                <a:gdLst>
                  <a:gd name="connsiteX0" fmla="*/ 43129 w 125044"/>
                  <a:gd name="connsiteY0" fmla="*/ 10477 h 39246"/>
                  <a:gd name="connsiteX1" fmla="*/ 30747 w 125044"/>
                  <a:gd name="connsiteY1" fmla="*/ 11430 h 39246"/>
                  <a:gd name="connsiteX2" fmla="*/ 24079 w 125044"/>
                  <a:gd name="connsiteY2" fmla="*/ 9525 h 39246"/>
                  <a:gd name="connsiteX3" fmla="*/ 23127 w 125044"/>
                  <a:gd name="connsiteY3" fmla="*/ 6667 h 39246"/>
                  <a:gd name="connsiteX4" fmla="*/ 16459 w 125044"/>
                  <a:gd name="connsiteY4" fmla="*/ 1905 h 39246"/>
                  <a:gd name="connsiteX5" fmla="*/ 8839 w 125044"/>
                  <a:gd name="connsiteY5" fmla="*/ 1905 h 39246"/>
                  <a:gd name="connsiteX6" fmla="*/ 1219 w 125044"/>
                  <a:gd name="connsiteY6" fmla="*/ 4763 h 39246"/>
                  <a:gd name="connsiteX7" fmla="*/ 267 w 125044"/>
                  <a:gd name="connsiteY7" fmla="*/ 8572 h 39246"/>
                  <a:gd name="connsiteX8" fmla="*/ 1219 w 125044"/>
                  <a:gd name="connsiteY8" fmla="*/ 11430 h 39246"/>
                  <a:gd name="connsiteX9" fmla="*/ 8839 w 125044"/>
                  <a:gd name="connsiteY9" fmla="*/ 16192 h 39246"/>
                  <a:gd name="connsiteX10" fmla="*/ 17412 w 125044"/>
                  <a:gd name="connsiteY10" fmla="*/ 18097 h 39246"/>
                  <a:gd name="connsiteX11" fmla="*/ 18364 w 125044"/>
                  <a:gd name="connsiteY11" fmla="*/ 20955 h 39246"/>
                  <a:gd name="connsiteX12" fmla="*/ 26937 w 125044"/>
                  <a:gd name="connsiteY12" fmla="*/ 23813 h 39246"/>
                  <a:gd name="connsiteX13" fmla="*/ 39319 w 125044"/>
                  <a:gd name="connsiteY13" fmla="*/ 25717 h 39246"/>
                  <a:gd name="connsiteX14" fmla="*/ 45034 w 125044"/>
                  <a:gd name="connsiteY14" fmla="*/ 27622 h 39246"/>
                  <a:gd name="connsiteX15" fmla="*/ 49797 w 125044"/>
                  <a:gd name="connsiteY15" fmla="*/ 29527 h 39246"/>
                  <a:gd name="connsiteX16" fmla="*/ 59322 w 125044"/>
                  <a:gd name="connsiteY16" fmla="*/ 33338 h 39246"/>
                  <a:gd name="connsiteX17" fmla="*/ 72657 w 125044"/>
                  <a:gd name="connsiteY17" fmla="*/ 38100 h 39246"/>
                  <a:gd name="connsiteX18" fmla="*/ 81229 w 125044"/>
                  <a:gd name="connsiteY18" fmla="*/ 39052 h 39246"/>
                  <a:gd name="connsiteX19" fmla="*/ 95517 w 125044"/>
                  <a:gd name="connsiteY19" fmla="*/ 39052 h 39246"/>
                  <a:gd name="connsiteX20" fmla="*/ 102184 w 125044"/>
                  <a:gd name="connsiteY20" fmla="*/ 37147 h 39246"/>
                  <a:gd name="connsiteX21" fmla="*/ 107899 w 125044"/>
                  <a:gd name="connsiteY21" fmla="*/ 35242 h 39246"/>
                  <a:gd name="connsiteX22" fmla="*/ 116472 w 125044"/>
                  <a:gd name="connsiteY22" fmla="*/ 34290 h 39246"/>
                  <a:gd name="connsiteX23" fmla="*/ 123139 w 125044"/>
                  <a:gd name="connsiteY23" fmla="*/ 29527 h 39246"/>
                  <a:gd name="connsiteX24" fmla="*/ 125044 w 125044"/>
                  <a:gd name="connsiteY24" fmla="*/ 22860 h 39246"/>
                  <a:gd name="connsiteX25" fmla="*/ 117424 w 125044"/>
                  <a:gd name="connsiteY25" fmla="*/ 18097 h 39246"/>
                  <a:gd name="connsiteX26" fmla="*/ 112662 w 125044"/>
                  <a:gd name="connsiteY26" fmla="*/ 16192 h 39246"/>
                  <a:gd name="connsiteX27" fmla="*/ 109804 w 125044"/>
                  <a:gd name="connsiteY27" fmla="*/ 12382 h 39246"/>
                  <a:gd name="connsiteX28" fmla="*/ 103137 w 125044"/>
                  <a:gd name="connsiteY28" fmla="*/ 8572 h 39246"/>
                  <a:gd name="connsiteX29" fmla="*/ 103137 w 125044"/>
                  <a:gd name="connsiteY29" fmla="*/ 4763 h 39246"/>
                  <a:gd name="connsiteX30" fmla="*/ 101232 w 125044"/>
                  <a:gd name="connsiteY30" fmla="*/ 1905 h 39246"/>
                  <a:gd name="connsiteX31" fmla="*/ 87897 w 125044"/>
                  <a:gd name="connsiteY31" fmla="*/ 0 h 39246"/>
                  <a:gd name="connsiteX32" fmla="*/ 79324 w 125044"/>
                  <a:gd name="connsiteY32" fmla="*/ 952 h 39246"/>
                  <a:gd name="connsiteX33" fmla="*/ 67894 w 125044"/>
                  <a:gd name="connsiteY33" fmla="*/ 1905 h 39246"/>
                  <a:gd name="connsiteX34" fmla="*/ 56464 w 125044"/>
                  <a:gd name="connsiteY34" fmla="*/ 3810 h 39246"/>
                  <a:gd name="connsiteX35" fmla="*/ 50749 w 125044"/>
                  <a:gd name="connsiteY35" fmla="*/ 4763 h 39246"/>
                  <a:gd name="connsiteX36" fmla="*/ 43129 w 125044"/>
                  <a:gd name="connsiteY36" fmla="*/ 10477 h 3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044" h="39246">
                    <a:moveTo>
                      <a:pt x="43129" y="10477"/>
                    </a:moveTo>
                    <a:lnTo>
                      <a:pt x="30747" y="11430"/>
                    </a:lnTo>
                    <a:lnTo>
                      <a:pt x="24079" y="9525"/>
                    </a:lnTo>
                    <a:lnTo>
                      <a:pt x="23127" y="6667"/>
                    </a:lnTo>
                    <a:lnTo>
                      <a:pt x="16459" y="1905"/>
                    </a:lnTo>
                    <a:cubicBezTo>
                      <a:pt x="16459" y="1905"/>
                      <a:pt x="11697" y="0"/>
                      <a:pt x="8839" y="1905"/>
                    </a:cubicBezTo>
                    <a:cubicBezTo>
                      <a:pt x="5029" y="2857"/>
                      <a:pt x="1219" y="4763"/>
                      <a:pt x="1219" y="4763"/>
                    </a:cubicBezTo>
                    <a:cubicBezTo>
                      <a:pt x="1219" y="4763"/>
                      <a:pt x="-686" y="5715"/>
                      <a:pt x="267" y="8572"/>
                    </a:cubicBezTo>
                    <a:cubicBezTo>
                      <a:pt x="1219" y="11430"/>
                      <a:pt x="1219" y="11430"/>
                      <a:pt x="1219" y="11430"/>
                    </a:cubicBezTo>
                    <a:lnTo>
                      <a:pt x="8839" y="16192"/>
                    </a:lnTo>
                    <a:lnTo>
                      <a:pt x="17412" y="18097"/>
                    </a:lnTo>
                    <a:lnTo>
                      <a:pt x="18364" y="20955"/>
                    </a:lnTo>
                    <a:cubicBezTo>
                      <a:pt x="18364" y="20955"/>
                      <a:pt x="24079" y="22860"/>
                      <a:pt x="26937" y="23813"/>
                    </a:cubicBezTo>
                    <a:cubicBezTo>
                      <a:pt x="29794" y="24765"/>
                      <a:pt x="39319" y="25717"/>
                      <a:pt x="39319" y="25717"/>
                    </a:cubicBezTo>
                    <a:lnTo>
                      <a:pt x="45034" y="27622"/>
                    </a:lnTo>
                    <a:lnTo>
                      <a:pt x="49797" y="29527"/>
                    </a:lnTo>
                    <a:cubicBezTo>
                      <a:pt x="49797" y="29527"/>
                      <a:pt x="55512" y="31432"/>
                      <a:pt x="59322" y="33338"/>
                    </a:cubicBezTo>
                    <a:cubicBezTo>
                      <a:pt x="64084" y="35242"/>
                      <a:pt x="72657" y="38100"/>
                      <a:pt x="72657" y="38100"/>
                    </a:cubicBezTo>
                    <a:lnTo>
                      <a:pt x="81229" y="39052"/>
                    </a:lnTo>
                    <a:cubicBezTo>
                      <a:pt x="81229" y="39052"/>
                      <a:pt x="92659" y="38100"/>
                      <a:pt x="95517" y="39052"/>
                    </a:cubicBezTo>
                    <a:cubicBezTo>
                      <a:pt x="98374" y="40005"/>
                      <a:pt x="102184" y="37147"/>
                      <a:pt x="102184" y="37147"/>
                    </a:cubicBezTo>
                    <a:cubicBezTo>
                      <a:pt x="102184" y="37147"/>
                      <a:pt x="104089" y="34290"/>
                      <a:pt x="107899" y="35242"/>
                    </a:cubicBezTo>
                    <a:cubicBezTo>
                      <a:pt x="110757" y="36195"/>
                      <a:pt x="116472" y="34290"/>
                      <a:pt x="116472" y="34290"/>
                    </a:cubicBezTo>
                    <a:lnTo>
                      <a:pt x="123139" y="29527"/>
                    </a:lnTo>
                    <a:lnTo>
                      <a:pt x="125044" y="22860"/>
                    </a:lnTo>
                    <a:lnTo>
                      <a:pt x="117424" y="18097"/>
                    </a:lnTo>
                    <a:lnTo>
                      <a:pt x="112662" y="16192"/>
                    </a:lnTo>
                    <a:lnTo>
                      <a:pt x="109804" y="12382"/>
                    </a:lnTo>
                    <a:lnTo>
                      <a:pt x="103137" y="8572"/>
                    </a:lnTo>
                    <a:lnTo>
                      <a:pt x="103137" y="4763"/>
                    </a:lnTo>
                    <a:lnTo>
                      <a:pt x="101232" y="1905"/>
                    </a:lnTo>
                    <a:lnTo>
                      <a:pt x="87897" y="0"/>
                    </a:lnTo>
                    <a:lnTo>
                      <a:pt x="79324" y="952"/>
                    </a:lnTo>
                    <a:cubicBezTo>
                      <a:pt x="79324" y="952"/>
                      <a:pt x="70752" y="0"/>
                      <a:pt x="67894" y="1905"/>
                    </a:cubicBezTo>
                    <a:cubicBezTo>
                      <a:pt x="65989" y="3810"/>
                      <a:pt x="62179" y="2857"/>
                      <a:pt x="56464" y="3810"/>
                    </a:cubicBezTo>
                    <a:cubicBezTo>
                      <a:pt x="50749" y="4763"/>
                      <a:pt x="50749" y="4763"/>
                      <a:pt x="50749" y="4763"/>
                    </a:cubicBezTo>
                    <a:lnTo>
                      <a:pt x="43129" y="10477"/>
                    </a:lnTo>
                    <a:close/>
                  </a:path>
                </a:pathLst>
              </a:custGeom>
              <a:grpFill/>
              <a:ln w="9525" cap="flat">
                <a:noFill/>
                <a:prstDash val="solid"/>
                <a:miter/>
              </a:ln>
            </p:spPr>
            <p:txBody>
              <a:bodyPr rtlCol="0" anchor="ctr"/>
              <a:lstStyle/>
              <a:p>
                <a:endParaRPr lang="en-US" sz="1765"/>
              </a:p>
            </p:txBody>
          </p:sp>
          <p:sp>
            <p:nvSpPr>
              <p:cNvPr id="22" name="Freeform: Shape 21">
                <a:extLst>
                  <a:ext uri="{FF2B5EF4-FFF2-40B4-BE49-F238E27FC236}">
                    <a16:creationId xmlns:a16="http://schemas.microsoft.com/office/drawing/2014/main" id="{C1680C12-7438-446D-9E49-3C3D1088C444}"/>
                  </a:ext>
                </a:extLst>
              </p:cNvPr>
              <p:cNvSpPr/>
              <p:nvPr/>
            </p:nvSpPr>
            <p:spPr>
              <a:xfrm>
                <a:off x="6418450" y="2925808"/>
                <a:ext cx="29051" cy="13335"/>
              </a:xfrm>
              <a:custGeom>
                <a:avLst/>
                <a:gdLst>
                  <a:gd name="connsiteX0" fmla="*/ 6191 w 29051"/>
                  <a:gd name="connsiteY0" fmla="*/ 11430 h 13335"/>
                  <a:gd name="connsiteX1" fmla="*/ 1429 w 29051"/>
                  <a:gd name="connsiteY1" fmla="*/ 9525 h 13335"/>
                  <a:gd name="connsiteX2" fmla="*/ 476 w 29051"/>
                  <a:gd name="connsiteY2" fmla="*/ 5715 h 13335"/>
                  <a:gd name="connsiteX3" fmla="*/ 2381 w 29051"/>
                  <a:gd name="connsiteY3" fmla="*/ 2858 h 13335"/>
                  <a:gd name="connsiteX4" fmla="*/ 8096 w 29051"/>
                  <a:gd name="connsiteY4" fmla="*/ 0 h 13335"/>
                  <a:gd name="connsiteX5" fmla="*/ 16669 w 29051"/>
                  <a:gd name="connsiteY5" fmla="*/ 0 h 13335"/>
                  <a:gd name="connsiteX6" fmla="*/ 22384 w 29051"/>
                  <a:gd name="connsiteY6" fmla="*/ 1905 h 13335"/>
                  <a:gd name="connsiteX7" fmla="*/ 25241 w 29051"/>
                  <a:gd name="connsiteY7" fmla="*/ 5715 h 13335"/>
                  <a:gd name="connsiteX8" fmla="*/ 26194 w 29051"/>
                  <a:gd name="connsiteY8" fmla="*/ 7620 h 13335"/>
                  <a:gd name="connsiteX9" fmla="*/ 29051 w 29051"/>
                  <a:gd name="connsiteY9" fmla="*/ 10478 h 13335"/>
                  <a:gd name="connsiteX10" fmla="*/ 22384 w 29051"/>
                  <a:gd name="connsiteY10" fmla="*/ 12383 h 13335"/>
                  <a:gd name="connsiteX11" fmla="*/ 17621 w 29051"/>
                  <a:gd name="connsiteY11" fmla="*/ 13335 h 13335"/>
                  <a:gd name="connsiteX12" fmla="*/ 12859 w 29051"/>
                  <a:gd name="connsiteY12" fmla="*/ 12383 h 13335"/>
                  <a:gd name="connsiteX13" fmla="*/ 6191 w 29051"/>
                  <a:gd name="connsiteY13" fmla="*/ 11430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13335">
                    <a:moveTo>
                      <a:pt x="6191" y="11430"/>
                    </a:moveTo>
                    <a:lnTo>
                      <a:pt x="1429" y="9525"/>
                    </a:lnTo>
                    <a:lnTo>
                      <a:pt x="476" y="5715"/>
                    </a:lnTo>
                    <a:cubicBezTo>
                      <a:pt x="476" y="5715"/>
                      <a:pt x="-1429" y="1905"/>
                      <a:pt x="2381" y="2858"/>
                    </a:cubicBezTo>
                    <a:cubicBezTo>
                      <a:pt x="7144" y="3810"/>
                      <a:pt x="-476" y="0"/>
                      <a:pt x="8096" y="0"/>
                    </a:cubicBezTo>
                    <a:cubicBezTo>
                      <a:pt x="16669" y="0"/>
                      <a:pt x="16669" y="0"/>
                      <a:pt x="16669" y="0"/>
                    </a:cubicBezTo>
                    <a:lnTo>
                      <a:pt x="22384" y="1905"/>
                    </a:lnTo>
                    <a:cubicBezTo>
                      <a:pt x="22384" y="1905"/>
                      <a:pt x="24289" y="3810"/>
                      <a:pt x="25241" y="5715"/>
                    </a:cubicBezTo>
                    <a:cubicBezTo>
                      <a:pt x="26194" y="7620"/>
                      <a:pt x="26194" y="7620"/>
                      <a:pt x="26194" y="7620"/>
                    </a:cubicBezTo>
                    <a:lnTo>
                      <a:pt x="29051" y="10478"/>
                    </a:lnTo>
                    <a:lnTo>
                      <a:pt x="22384" y="12383"/>
                    </a:lnTo>
                    <a:lnTo>
                      <a:pt x="17621" y="13335"/>
                    </a:lnTo>
                    <a:lnTo>
                      <a:pt x="12859" y="12383"/>
                    </a:lnTo>
                    <a:lnTo>
                      <a:pt x="6191" y="11430"/>
                    </a:lnTo>
                    <a:close/>
                  </a:path>
                </a:pathLst>
              </a:custGeom>
              <a:grpFill/>
              <a:ln w="9525" cap="flat">
                <a:noFill/>
                <a:prstDash val="solid"/>
                <a:miter/>
              </a:ln>
            </p:spPr>
            <p:txBody>
              <a:bodyPr rtlCol="0" anchor="ctr"/>
              <a:lstStyle/>
              <a:p>
                <a:endParaRPr lang="en-US" sz="1765"/>
              </a:p>
            </p:txBody>
          </p:sp>
          <p:sp>
            <p:nvSpPr>
              <p:cNvPr id="23" name="Freeform: Shape 22">
                <a:extLst>
                  <a:ext uri="{FF2B5EF4-FFF2-40B4-BE49-F238E27FC236}">
                    <a16:creationId xmlns:a16="http://schemas.microsoft.com/office/drawing/2014/main" id="{4DC9F219-EEAC-4076-91B5-AC8ED7F52C12}"/>
                  </a:ext>
                </a:extLst>
              </p:cNvPr>
              <p:cNvSpPr/>
              <p:nvPr/>
            </p:nvSpPr>
            <p:spPr>
              <a:xfrm>
                <a:off x="6431309" y="2885909"/>
                <a:ext cx="106679" cy="41804"/>
              </a:xfrm>
              <a:custGeom>
                <a:avLst/>
                <a:gdLst>
                  <a:gd name="connsiteX0" fmla="*/ 20955 w 106679"/>
                  <a:gd name="connsiteY0" fmla="*/ 2752 h 41804"/>
                  <a:gd name="connsiteX1" fmla="*/ 14288 w 106679"/>
                  <a:gd name="connsiteY1" fmla="*/ 2752 h 41804"/>
                  <a:gd name="connsiteX2" fmla="*/ 2857 w 106679"/>
                  <a:gd name="connsiteY2" fmla="*/ 2752 h 41804"/>
                  <a:gd name="connsiteX3" fmla="*/ 0 w 106679"/>
                  <a:gd name="connsiteY3" fmla="*/ 2752 h 41804"/>
                  <a:gd name="connsiteX4" fmla="*/ 0 w 106679"/>
                  <a:gd name="connsiteY4" fmla="*/ 8467 h 41804"/>
                  <a:gd name="connsiteX5" fmla="*/ 8572 w 106679"/>
                  <a:gd name="connsiteY5" fmla="*/ 12277 h 41804"/>
                  <a:gd name="connsiteX6" fmla="*/ 11430 w 106679"/>
                  <a:gd name="connsiteY6" fmla="*/ 12277 h 41804"/>
                  <a:gd name="connsiteX7" fmla="*/ 14288 w 106679"/>
                  <a:gd name="connsiteY7" fmla="*/ 17039 h 41804"/>
                  <a:gd name="connsiteX8" fmla="*/ 20955 w 106679"/>
                  <a:gd name="connsiteY8" fmla="*/ 21802 h 41804"/>
                  <a:gd name="connsiteX9" fmla="*/ 25717 w 106679"/>
                  <a:gd name="connsiteY9" fmla="*/ 23707 h 41804"/>
                  <a:gd name="connsiteX10" fmla="*/ 25717 w 106679"/>
                  <a:gd name="connsiteY10" fmla="*/ 25612 h 41804"/>
                  <a:gd name="connsiteX11" fmla="*/ 23813 w 106679"/>
                  <a:gd name="connsiteY11" fmla="*/ 30374 h 41804"/>
                  <a:gd name="connsiteX12" fmla="*/ 40957 w 106679"/>
                  <a:gd name="connsiteY12" fmla="*/ 34184 h 41804"/>
                  <a:gd name="connsiteX13" fmla="*/ 50482 w 106679"/>
                  <a:gd name="connsiteY13" fmla="*/ 33232 h 41804"/>
                  <a:gd name="connsiteX14" fmla="*/ 57150 w 106679"/>
                  <a:gd name="connsiteY14" fmla="*/ 32279 h 41804"/>
                  <a:gd name="connsiteX15" fmla="*/ 66675 w 106679"/>
                  <a:gd name="connsiteY15" fmla="*/ 32279 h 41804"/>
                  <a:gd name="connsiteX16" fmla="*/ 69532 w 106679"/>
                  <a:gd name="connsiteY16" fmla="*/ 32279 h 41804"/>
                  <a:gd name="connsiteX17" fmla="*/ 80010 w 106679"/>
                  <a:gd name="connsiteY17" fmla="*/ 37042 h 41804"/>
                  <a:gd name="connsiteX18" fmla="*/ 84772 w 106679"/>
                  <a:gd name="connsiteY18" fmla="*/ 38947 h 41804"/>
                  <a:gd name="connsiteX19" fmla="*/ 92392 w 106679"/>
                  <a:gd name="connsiteY19" fmla="*/ 40852 h 41804"/>
                  <a:gd name="connsiteX20" fmla="*/ 95250 w 106679"/>
                  <a:gd name="connsiteY20" fmla="*/ 41804 h 41804"/>
                  <a:gd name="connsiteX21" fmla="*/ 106680 w 106679"/>
                  <a:gd name="connsiteY21" fmla="*/ 37994 h 41804"/>
                  <a:gd name="connsiteX22" fmla="*/ 106680 w 106679"/>
                  <a:gd name="connsiteY22" fmla="*/ 33232 h 41804"/>
                  <a:gd name="connsiteX23" fmla="*/ 97155 w 106679"/>
                  <a:gd name="connsiteY23" fmla="*/ 29422 h 41804"/>
                  <a:gd name="connsiteX24" fmla="*/ 93345 w 106679"/>
                  <a:gd name="connsiteY24" fmla="*/ 24659 h 41804"/>
                  <a:gd name="connsiteX25" fmla="*/ 93345 w 106679"/>
                  <a:gd name="connsiteY25" fmla="*/ 21802 h 41804"/>
                  <a:gd name="connsiteX26" fmla="*/ 87630 w 106679"/>
                  <a:gd name="connsiteY26" fmla="*/ 18944 h 41804"/>
                  <a:gd name="connsiteX27" fmla="*/ 79057 w 106679"/>
                  <a:gd name="connsiteY27" fmla="*/ 16087 h 41804"/>
                  <a:gd name="connsiteX28" fmla="*/ 70485 w 106679"/>
                  <a:gd name="connsiteY28" fmla="*/ 11324 h 41804"/>
                  <a:gd name="connsiteX29" fmla="*/ 64770 w 106679"/>
                  <a:gd name="connsiteY29" fmla="*/ 6562 h 41804"/>
                  <a:gd name="connsiteX30" fmla="*/ 60007 w 106679"/>
                  <a:gd name="connsiteY30" fmla="*/ 4657 h 41804"/>
                  <a:gd name="connsiteX31" fmla="*/ 51435 w 106679"/>
                  <a:gd name="connsiteY31" fmla="*/ 2752 h 41804"/>
                  <a:gd name="connsiteX32" fmla="*/ 45720 w 106679"/>
                  <a:gd name="connsiteY32" fmla="*/ 847 h 41804"/>
                  <a:gd name="connsiteX33" fmla="*/ 31432 w 106679"/>
                  <a:gd name="connsiteY33" fmla="*/ 847 h 41804"/>
                  <a:gd name="connsiteX34" fmla="*/ 20955 w 106679"/>
                  <a:gd name="connsiteY34" fmla="*/ 2752 h 4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6679" h="41804">
                    <a:moveTo>
                      <a:pt x="20955" y="2752"/>
                    </a:moveTo>
                    <a:lnTo>
                      <a:pt x="14288" y="2752"/>
                    </a:lnTo>
                    <a:cubicBezTo>
                      <a:pt x="14288" y="2752"/>
                      <a:pt x="6667" y="2752"/>
                      <a:pt x="2857" y="2752"/>
                    </a:cubicBezTo>
                    <a:cubicBezTo>
                      <a:pt x="0" y="2752"/>
                      <a:pt x="0" y="2752"/>
                      <a:pt x="0" y="2752"/>
                    </a:cubicBezTo>
                    <a:lnTo>
                      <a:pt x="0" y="8467"/>
                    </a:lnTo>
                    <a:cubicBezTo>
                      <a:pt x="0" y="8467"/>
                      <a:pt x="5715" y="12277"/>
                      <a:pt x="8572" y="12277"/>
                    </a:cubicBezTo>
                    <a:cubicBezTo>
                      <a:pt x="11430" y="12277"/>
                      <a:pt x="8572" y="7514"/>
                      <a:pt x="11430" y="12277"/>
                    </a:cubicBezTo>
                    <a:cubicBezTo>
                      <a:pt x="14288" y="17039"/>
                      <a:pt x="14288" y="17039"/>
                      <a:pt x="14288" y="17039"/>
                    </a:cubicBezTo>
                    <a:lnTo>
                      <a:pt x="20955" y="21802"/>
                    </a:lnTo>
                    <a:cubicBezTo>
                      <a:pt x="20955" y="21802"/>
                      <a:pt x="25717" y="21802"/>
                      <a:pt x="25717" y="23707"/>
                    </a:cubicBezTo>
                    <a:cubicBezTo>
                      <a:pt x="25717" y="25612"/>
                      <a:pt x="27622" y="20849"/>
                      <a:pt x="25717" y="25612"/>
                    </a:cubicBezTo>
                    <a:cubicBezTo>
                      <a:pt x="23813" y="30374"/>
                      <a:pt x="17145" y="26564"/>
                      <a:pt x="23813" y="30374"/>
                    </a:cubicBezTo>
                    <a:cubicBezTo>
                      <a:pt x="30480" y="34184"/>
                      <a:pt x="40957" y="34184"/>
                      <a:pt x="40957" y="34184"/>
                    </a:cubicBezTo>
                    <a:lnTo>
                      <a:pt x="50482" y="33232"/>
                    </a:lnTo>
                    <a:lnTo>
                      <a:pt x="57150" y="32279"/>
                    </a:lnTo>
                    <a:cubicBezTo>
                      <a:pt x="57150" y="32279"/>
                      <a:pt x="63817" y="32279"/>
                      <a:pt x="66675" y="32279"/>
                    </a:cubicBezTo>
                    <a:cubicBezTo>
                      <a:pt x="69532" y="32279"/>
                      <a:pt x="64770" y="29422"/>
                      <a:pt x="69532" y="32279"/>
                    </a:cubicBezTo>
                    <a:cubicBezTo>
                      <a:pt x="75247" y="35137"/>
                      <a:pt x="76200" y="36089"/>
                      <a:pt x="80010" y="37042"/>
                    </a:cubicBezTo>
                    <a:cubicBezTo>
                      <a:pt x="84772" y="38947"/>
                      <a:pt x="77152" y="37042"/>
                      <a:pt x="84772" y="38947"/>
                    </a:cubicBezTo>
                    <a:cubicBezTo>
                      <a:pt x="92392" y="40852"/>
                      <a:pt x="89535" y="39899"/>
                      <a:pt x="92392" y="40852"/>
                    </a:cubicBezTo>
                    <a:cubicBezTo>
                      <a:pt x="95250" y="41804"/>
                      <a:pt x="95250" y="41804"/>
                      <a:pt x="95250" y="41804"/>
                    </a:cubicBezTo>
                    <a:lnTo>
                      <a:pt x="106680" y="37994"/>
                    </a:lnTo>
                    <a:lnTo>
                      <a:pt x="106680" y="33232"/>
                    </a:lnTo>
                    <a:lnTo>
                      <a:pt x="97155" y="29422"/>
                    </a:lnTo>
                    <a:lnTo>
                      <a:pt x="93345" y="24659"/>
                    </a:lnTo>
                    <a:lnTo>
                      <a:pt x="93345" y="21802"/>
                    </a:lnTo>
                    <a:lnTo>
                      <a:pt x="87630" y="18944"/>
                    </a:lnTo>
                    <a:lnTo>
                      <a:pt x="79057" y="16087"/>
                    </a:lnTo>
                    <a:lnTo>
                      <a:pt x="70485" y="11324"/>
                    </a:lnTo>
                    <a:lnTo>
                      <a:pt x="64770" y="6562"/>
                    </a:lnTo>
                    <a:lnTo>
                      <a:pt x="60007" y="4657"/>
                    </a:lnTo>
                    <a:lnTo>
                      <a:pt x="51435" y="2752"/>
                    </a:lnTo>
                    <a:lnTo>
                      <a:pt x="45720" y="847"/>
                    </a:lnTo>
                    <a:cubicBezTo>
                      <a:pt x="45720" y="847"/>
                      <a:pt x="38100" y="-1058"/>
                      <a:pt x="31432" y="847"/>
                    </a:cubicBezTo>
                    <a:cubicBezTo>
                      <a:pt x="24765" y="1799"/>
                      <a:pt x="20955" y="2752"/>
                      <a:pt x="20955" y="2752"/>
                    </a:cubicBezTo>
                    <a:close/>
                  </a:path>
                </a:pathLst>
              </a:custGeom>
              <a:grpFill/>
              <a:ln w="9525" cap="flat">
                <a:noFill/>
                <a:prstDash val="solid"/>
                <a:miter/>
              </a:ln>
            </p:spPr>
            <p:txBody>
              <a:bodyPr rtlCol="0" anchor="ctr"/>
              <a:lstStyle/>
              <a:p>
                <a:endParaRPr lang="en-US" sz="1765"/>
              </a:p>
            </p:txBody>
          </p:sp>
          <p:sp>
            <p:nvSpPr>
              <p:cNvPr id="24" name="Freeform: Shape 23">
                <a:extLst>
                  <a:ext uri="{FF2B5EF4-FFF2-40B4-BE49-F238E27FC236}">
                    <a16:creationId xmlns:a16="http://schemas.microsoft.com/office/drawing/2014/main" id="{2CCF2565-1EB1-48E3-8BED-B2621191A0F9}"/>
                  </a:ext>
                </a:extLst>
              </p:cNvPr>
              <p:cNvSpPr/>
              <p:nvPr/>
            </p:nvSpPr>
            <p:spPr>
              <a:xfrm>
                <a:off x="6404639" y="3011534"/>
                <a:ext cx="49529" cy="26669"/>
              </a:xfrm>
              <a:custGeom>
                <a:avLst/>
                <a:gdLst>
                  <a:gd name="connsiteX0" fmla="*/ 31433 w 49529"/>
                  <a:gd name="connsiteY0" fmla="*/ 21907 h 26669"/>
                  <a:gd name="connsiteX1" fmla="*/ 40958 w 49529"/>
                  <a:gd name="connsiteY1" fmla="*/ 21907 h 26669"/>
                  <a:gd name="connsiteX2" fmla="*/ 44767 w 49529"/>
                  <a:gd name="connsiteY2" fmla="*/ 16192 h 26669"/>
                  <a:gd name="connsiteX3" fmla="*/ 49530 w 49529"/>
                  <a:gd name="connsiteY3" fmla="*/ 8572 h 26669"/>
                  <a:gd name="connsiteX4" fmla="*/ 40958 w 49529"/>
                  <a:gd name="connsiteY4" fmla="*/ 2857 h 26669"/>
                  <a:gd name="connsiteX5" fmla="*/ 35242 w 49529"/>
                  <a:gd name="connsiteY5" fmla="*/ 952 h 26669"/>
                  <a:gd name="connsiteX6" fmla="*/ 26670 w 49529"/>
                  <a:gd name="connsiteY6" fmla="*/ 0 h 26669"/>
                  <a:gd name="connsiteX7" fmla="*/ 15240 w 49529"/>
                  <a:gd name="connsiteY7" fmla="*/ 0 h 26669"/>
                  <a:gd name="connsiteX8" fmla="*/ 10477 w 49529"/>
                  <a:gd name="connsiteY8" fmla="*/ 0 h 26669"/>
                  <a:gd name="connsiteX9" fmla="*/ 8573 w 49529"/>
                  <a:gd name="connsiteY9" fmla="*/ 4763 h 26669"/>
                  <a:gd name="connsiteX10" fmla="*/ 10477 w 49529"/>
                  <a:gd name="connsiteY10" fmla="*/ 11430 h 26669"/>
                  <a:gd name="connsiteX11" fmla="*/ 8573 w 49529"/>
                  <a:gd name="connsiteY11" fmla="*/ 17145 h 26669"/>
                  <a:gd name="connsiteX12" fmla="*/ 0 w 49529"/>
                  <a:gd name="connsiteY12" fmla="*/ 17145 h 26669"/>
                  <a:gd name="connsiteX13" fmla="*/ 952 w 49529"/>
                  <a:gd name="connsiteY13" fmla="*/ 22860 h 26669"/>
                  <a:gd name="connsiteX14" fmla="*/ 7620 w 49529"/>
                  <a:gd name="connsiteY14" fmla="*/ 23813 h 26669"/>
                  <a:gd name="connsiteX15" fmla="*/ 14288 w 49529"/>
                  <a:gd name="connsiteY15" fmla="*/ 26670 h 26669"/>
                  <a:gd name="connsiteX16" fmla="*/ 25717 w 49529"/>
                  <a:gd name="connsiteY16" fmla="*/ 22860 h 26669"/>
                  <a:gd name="connsiteX17" fmla="*/ 31433 w 49529"/>
                  <a:gd name="connsiteY17" fmla="*/ 21907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529" h="26669">
                    <a:moveTo>
                      <a:pt x="31433" y="21907"/>
                    </a:moveTo>
                    <a:lnTo>
                      <a:pt x="40958" y="21907"/>
                    </a:lnTo>
                    <a:cubicBezTo>
                      <a:pt x="40958" y="21907"/>
                      <a:pt x="40958" y="15240"/>
                      <a:pt x="44767" y="16192"/>
                    </a:cubicBezTo>
                    <a:cubicBezTo>
                      <a:pt x="47625" y="17145"/>
                      <a:pt x="49530" y="8572"/>
                      <a:pt x="49530" y="8572"/>
                    </a:cubicBezTo>
                    <a:lnTo>
                      <a:pt x="40958" y="2857"/>
                    </a:lnTo>
                    <a:lnTo>
                      <a:pt x="35242" y="952"/>
                    </a:lnTo>
                    <a:lnTo>
                      <a:pt x="26670" y="0"/>
                    </a:lnTo>
                    <a:lnTo>
                      <a:pt x="15240" y="0"/>
                    </a:lnTo>
                    <a:lnTo>
                      <a:pt x="10477" y="0"/>
                    </a:lnTo>
                    <a:cubicBezTo>
                      <a:pt x="8573" y="4763"/>
                      <a:pt x="4763" y="952"/>
                      <a:pt x="8573" y="4763"/>
                    </a:cubicBezTo>
                    <a:cubicBezTo>
                      <a:pt x="11430" y="8572"/>
                      <a:pt x="10477" y="11430"/>
                      <a:pt x="10477" y="11430"/>
                    </a:cubicBezTo>
                    <a:lnTo>
                      <a:pt x="8573" y="17145"/>
                    </a:lnTo>
                    <a:lnTo>
                      <a:pt x="0" y="17145"/>
                    </a:lnTo>
                    <a:lnTo>
                      <a:pt x="952" y="22860"/>
                    </a:lnTo>
                    <a:lnTo>
                      <a:pt x="7620" y="23813"/>
                    </a:lnTo>
                    <a:lnTo>
                      <a:pt x="14288" y="26670"/>
                    </a:lnTo>
                    <a:lnTo>
                      <a:pt x="25717" y="22860"/>
                    </a:lnTo>
                    <a:lnTo>
                      <a:pt x="31433" y="21907"/>
                    </a:lnTo>
                    <a:close/>
                  </a:path>
                </a:pathLst>
              </a:custGeom>
              <a:grpFill/>
              <a:ln w="9525" cap="flat">
                <a:noFill/>
                <a:prstDash val="solid"/>
                <a:miter/>
              </a:ln>
            </p:spPr>
            <p:txBody>
              <a:bodyPr rtlCol="0" anchor="ctr"/>
              <a:lstStyle/>
              <a:p>
                <a:endParaRPr lang="en-US" sz="1765"/>
              </a:p>
            </p:txBody>
          </p:sp>
          <p:sp>
            <p:nvSpPr>
              <p:cNvPr id="25" name="Freeform: Shape 24">
                <a:extLst>
                  <a:ext uri="{FF2B5EF4-FFF2-40B4-BE49-F238E27FC236}">
                    <a16:creationId xmlns:a16="http://schemas.microsoft.com/office/drawing/2014/main" id="{6CE8B4F1-535F-43BD-A8E5-1B30C9EEA714}"/>
                  </a:ext>
                </a:extLst>
              </p:cNvPr>
              <p:cNvSpPr/>
              <p:nvPr/>
            </p:nvSpPr>
            <p:spPr>
              <a:xfrm>
                <a:off x="6474981" y="3011534"/>
                <a:ext cx="107423" cy="60007"/>
              </a:xfrm>
              <a:custGeom>
                <a:avLst/>
                <a:gdLst>
                  <a:gd name="connsiteX0" fmla="*/ 58245 w 107423"/>
                  <a:gd name="connsiteY0" fmla="*/ 57150 h 60007"/>
                  <a:gd name="connsiteX1" fmla="*/ 48720 w 107423"/>
                  <a:gd name="connsiteY1" fmla="*/ 50482 h 60007"/>
                  <a:gd name="connsiteX2" fmla="*/ 46815 w 107423"/>
                  <a:gd name="connsiteY2" fmla="*/ 47625 h 60007"/>
                  <a:gd name="connsiteX3" fmla="*/ 42052 w 107423"/>
                  <a:gd name="connsiteY3" fmla="*/ 45720 h 60007"/>
                  <a:gd name="connsiteX4" fmla="*/ 36337 w 107423"/>
                  <a:gd name="connsiteY4" fmla="*/ 43815 h 60007"/>
                  <a:gd name="connsiteX5" fmla="*/ 29670 w 107423"/>
                  <a:gd name="connsiteY5" fmla="*/ 39052 h 60007"/>
                  <a:gd name="connsiteX6" fmla="*/ 24907 w 107423"/>
                  <a:gd name="connsiteY6" fmla="*/ 36195 h 60007"/>
                  <a:gd name="connsiteX7" fmla="*/ 16335 w 107423"/>
                  <a:gd name="connsiteY7" fmla="*/ 34290 h 60007"/>
                  <a:gd name="connsiteX8" fmla="*/ 3000 w 107423"/>
                  <a:gd name="connsiteY8" fmla="*/ 32385 h 60007"/>
                  <a:gd name="connsiteX9" fmla="*/ 2047 w 107423"/>
                  <a:gd name="connsiteY9" fmla="*/ 29527 h 60007"/>
                  <a:gd name="connsiteX10" fmla="*/ 3000 w 107423"/>
                  <a:gd name="connsiteY10" fmla="*/ 27622 h 60007"/>
                  <a:gd name="connsiteX11" fmla="*/ 19192 w 107423"/>
                  <a:gd name="connsiteY11" fmla="*/ 26670 h 60007"/>
                  <a:gd name="connsiteX12" fmla="*/ 24907 w 107423"/>
                  <a:gd name="connsiteY12" fmla="*/ 26670 h 60007"/>
                  <a:gd name="connsiteX13" fmla="*/ 30622 w 107423"/>
                  <a:gd name="connsiteY13" fmla="*/ 25717 h 60007"/>
                  <a:gd name="connsiteX14" fmla="*/ 36337 w 107423"/>
                  <a:gd name="connsiteY14" fmla="*/ 21907 h 60007"/>
                  <a:gd name="connsiteX15" fmla="*/ 37290 w 107423"/>
                  <a:gd name="connsiteY15" fmla="*/ 19050 h 60007"/>
                  <a:gd name="connsiteX16" fmla="*/ 35385 w 107423"/>
                  <a:gd name="connsiteY16" fmla="*/ 16192 h 60007"/>
                  <a:gd name="connsiteX17" fmla="*/ 39195 w 107423"/>
                  <a:gd name="connsiteY17" fmla="*/ 3810 h 60007"/>
                  <a:gd name="connsiteX18" fmla="*/ 42052 w 107423"/>
                  <a:gd name="connsiteY18" fmla="*/ 2857 h 60007"/>
                  <a:gd name="connsiteX19" fmla="*/ 53482 w 107423"/>
                  <a:gd name="connsiteY19" fmla="*/ 2857 h 60007"/>
                  <a:gd name="connsiteX20" fmla="*/ 62055 w 107423"/>
                  <a:gd name="connsiteY20" fmla="*/ 1905 h 60007"/>
                  <a:gd name="connsiteX21" fmla="*/ 73485 w 107423"/>
                  <a:gd name="connsiteY21" fmla="*/ 0 h 60007"/>
                  <a:gd name="connsiteX22" fmla="*/ 81105 w 107423"/>
                  <a:gd name="connsiteY22" fmla="*/ 0 h 60007"/>
                  <a:gd name="connsiteX23" fmla="*/ 87773 w 107423"/>
                  <a:gd name="connsiteY23" fmla="*/ 1905 h 60007"/>
                  <a:gd name="connsiteX24" fmla="*/ 92535 w 107423"/>
                  <a:gd name="connsiteY24" fmla="*/ 5715 h 60007"/>
                  <a:gd name="connsiteX25" fmla="*/ 92535 w 107423"/>
                  <a:gd name="connsiteY25" fmla="*/ 9525 h 60007"/>
                  <a:gd name="connsiteX26" fmla="*/ 92535 w 107423"/>
                  <a:gd name="connsiteY26" fmla="*/ 15240 h 60007"/>
                  <a:gd name="connsiteX27" fmla="*/ 92535 w 107423"/>
                  <a:gd name="connsiteY27" fmla="*/ 20955 h 60007"/>
                  <a:gd name="connsiteX28" fmla="*/ 99202 w 107423"/>
                  <a:gd name="connsiteY28" fmla="*/ 24765 h 60007"/>
                  <a:gd name="connsiteX29" fmla="*/ 103965 w 107423"/>
                  <a:gd name="connsiteY29" fmla="*/ 26670 h 60007"/>
                  <a:gd name="connsiteX30" fmla="*/ 103965 w 107423"/>
                  <a:gd name="connsiteY30" fmla="*/ 38100 h 60007"/>
                  <a:gd name="connsiteX31" fmla="*/ 103965 w 107423"/>
                  <a:gd name="connsiteY31" fmla="*/ 42863 h 60007"/>
                  <a:gd name="connsiteX32" fmla="*/ 104917 w 107423"/>
                  <a:gd name="connsiteY32" fmla="*/ 46672 h 60007"/>
                  <a:gd name="connsiteX33" fmla="*/ 92535 w 107423"/>
                  <a:gd name="connsiteY33" fmla="*/ 52388 h 60007"/>
                  <a:gd name="connsiteX34" fmla="*/ 85867 w 107423"/>
                  <a:gd name="connsiteY34" fmla="*/ 53340 h 60007"/>
                  <a:gd name="connsiteX35" fmla="*/ 82057 w 107423"/>
                  <a:gd name="connsiteY35" fmla="*/ 55245 h 60007"/>
                  <a:gd name="connsiteX36" fmla="*/ 77295 w 107423"/>
                  <a:gd name="connsiteY36" fmla="*/ 59055 h 60007"/>
                  <a:gd name="connsiteX37" fmla="*/ 67770 w 107423"/>
                  <a:gd name="connsiteY37" fmla="*/ 60007 h 60007"/>
                  <a:gd name="connsiteX38" fmla="*/ 58245 w 107423"/>
                  <a:gd name="connsiteY38" fmla="*/ 5715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423" h="60007">
                    <a:moveTo>
                      <a:pt x="58245" y="57150"/>
                    </a:moveTo>
                    <a:lnTo>
                      <a:pt x="48720" y="50482"/>
                    </a:lnTo>
                    <a:lnTo>
                      <a:pt x="46815" y="47625"/>
                    </a:lnTo>
                    <a:lnTo>
                      <a:pt x="42052" y="45720"/>
                    </a:lnTo>
                    <a:lnTo>
                      <a:pt x="36337" y="43815"/>
                    </a:lnTo>
                    <a:lnTo>
                      <a:pt x="29670" y="39052"/>
                    </a:lnTo>
                    <a:lnTo>
                      <a:pt x="24907" y="36195"/>
                    </a:lnTo>
                    <a:lnTo>
                      <a:pt x="16335" y="34290"/>
                    </a:lnTo>
                    <a:lnTo>
                      <a:pt x="3000" y="32385"/>
                    </a:lnTo>
                    <a:cubicBezTo>
                      <a:pt x="3000" y="32385"/>
                      <a:pt x="1095" y="31432"/>
                      <a:pt x="2047" y="29527"/>
                    </a:cubicBezTo>
                    <a:cubicBezTo>
                      <a:pt x="3000" y="27622"/>
                      <a:pt x="-3668" y="29527"/>
                      <a:pt x="3000" y="27622"/>
                    </a:cubicBezTo>
                    <a:cubicBezTo>
                      <a:pt x="9667" y="25717"/>
                      <a:pt x="19192" y="26670"/>
                      <a:pt x="19192" y="26670"/>
                    </a:cubicBezTo>
                    <a:lnTo>
                      <a:pt x="24907" y="26670"/>
                    </a:lnTo>
                    <a:cubicBezTo>
                      <a:pt x="24907" y="26670"/>
                      <a:pt x="26812" y="25717"/>
                      <a:pt x="30622" y="25717"/>
                    </a:cubicBezTo>
                    <a:cubicBezTo>
                      <a:pt x="33480" y="25717"/>
                      <a:pt x="36337" y="21907"/>
                      <a:pt x="36337" y="21907"/>
                    </a:cubicBezTo>
                    <a:lnTo>
                      <a:pt x="37290" y="19050"/>
                    </a:lnTo>
                    <a:lnTo>
                      <a:pt x="35385" y="16192"/>
                    </a:lnTo>
                    <a:cubicBezTo>
                      <a:pt x="35385" y="16192"/>
                      <a:pt x="35385" y="3810"/>
                      <a:pt x="39195" y="3810"/>
                    </a:cubicBezTo>
                    <a:cubicBezTo>
                      <a:pt x="42052" y="2857"/>
                      <a:pt x="38242" y="2857"/>
                      <a:pt x="42052" y="2857"/>
                    </a:cubicBezTo>
                    <a:cubicBezTo>
                      <a:pt x="46815" y="2857"/>
                      <a:pt x="53482" y="2857"/>
                      <a:pt x="53482" y="2857"/>
                    </a:cubicBezTo>
                    <a:lnTo>
                      <a:pt x="62055" y="1905"/>
                    </a:lnTo>
                    <a:lnTo>
                      <a:pt x="73485" y="0"/>
                    </a:lnTo>
                    <a:lnTo>
                      <a:pt x="81105" y="0"/>
                    </a:lnTo>
                    <a:lnTo>
                      <a:pt x="87773" y="1905"/>
                    </a:lnTo>
                    <a:lnTo>
                      <a:pt x="92535" y="5715"/>
                    </a:lnTo>
                    <a:lnTo>
                      <a:pt x="92535" y="9525"/>
                    </a:lnTo>
                    <a:lnTo>
                      <a:pt x="92535" y="15240"/>
                    </a:lnTo>
                    <a:cubicBezTo>
                      <a:pt x="92535" y="15240"/>
                      <a:pt x="88725" y="20002"/>
                      <a:pt x="92535" y="20955"/>
                    </a:cubicBezTo>
                    <a:cubicBezTo>
                      <a:pt x="95392" y="21907"/>
                      <a:pt x="99202" y="24765"/>
                      <a:pt x="99202" y="24765"/>
                    </a:cubicBezTo>
                    <a:lnTo>
                      <a:pt x="103965" y="26670"/>
                    </a:lnTo>
                    <a:lnTo>
                      <a:pt x="103965" y="38100"/>
                    </a:lnTo>
                    <a:cubicBezTo>
                      <a:pt x="103965" y="38100"/>
                      <a:pt x="103012" y="39052"/>
                      <a:pt x="103965" y="42863"/>
                    </a:cubicBezTo>
                    <a:cubicBezTo>
                      <a:pt x="104917" y="46672"/>
                      <a:pt x="110632" y="42863"/>
                      <a:pt x="104917" y="46672"/>
                    </a:cubicBezTo>
                    <a:cubicBezTo>
                      <a:pt x="99202" y="50482"/>
                      <a:pt x="92535" y="52388"/>
                      <a:pt x="92535" y="52388"/>
                    </a:cubicBezTo>
                    <a:cubicBezTo>
                      <a:pt x="92535" y="52388"/>
                      <a:pt x="89677" y="53340"/>
                      <a:pt x="85867" y="53340"/>
                    </a:cubicBezTo>
                    <a:cubicBezTo>
                      <a:pt x="82057" y="55245"/>
                      <a:pt x="82057" y="55245"/>
                      <a:pt x="82057" y="55245"/>
                    </a:cubicBezTo>
                    <a:lnTo>
                      <a:pt x="77295" y="59055"/>
                    </a:lnTo>
                    <a:lnTo>
                      <a:pt x="67770" y="60007"/>
                    </a:lnTo>
                    <a:lnTo>
                      <a:pt x="58245" y="57150"/>
                    </a:lnTo>
                    <a:close/>
                  </a:path>
                </a:pathLst>
              </a:custGeom>
              <a:grpFill/>
              <a:ln w="9525" cap="flat">
                <a:noFill/>
                <a:prstDash val="solid"/>
                <a:miter/>
              </a:ln>
            </p:spPr>
            <p:txBody>
              <a:bodyPr rtlCol="0" anchor="ctr"/>
              <a:lstStyle/>
              <a:p>
                <a:endParaRPr lang="en-US" sz="1765"/>
              </a:p>
            </p:txBody>
          </p:sp>
          <p:sp>
            <p:nvSpPr>
              <p:cNvPr id="26" name="Freeform: Shape 25">
                <a:extLst>
                  <a:ext uri="{FF2B5EF4-FFF2-40B4-BE49-F238E27FC236}">
                    <a16:creationId xmlns:a16="http://schemas.microsoft.com/office/drawing/2014/main" id="{5D009068-668F-4467-8D82-70724EA64283}"/>
                  </a:ext>
                </a:extLst>
              </p:cNvPr>
              <p:cNvSpPr/>
              <p:nvPr/>
            </p:nvSpPr>
            <p:spPr>
              <a:xfrm>
                <a:off x="6600854" y="3011295"/>
                <a:ext cx="77495" cy="35480"/>
              </a:xfrm>
              <a:custGeom>
                <a:avLst/>
                <a:gdLst>
                  <a:gd name="connsiteX0" fmla="*/ 9525 w 77495"/>
                  <a:gd name="connsiteY0" fmla="*/ 35481 h 35480"/>
                  <a:gd name="connsiteX1" fmla="*/ 1905 w 77495"/>
                  <a:gd name="connsiteY1" fmla="*/ 33576 h 35480"/>
                  <a:gd name="connsiteX2" fmla="*/ 0 w 77495"/>
                  <a:gd name="connsiteY2" fmla="*/ 28813 h 35480"/>
                  <a:gd name="connsiteX3" fmla="*/ 952 w 77495"/>
                  <a:gd name="connsiteY3" fmla="*/ 22146 h 35480"/>
                  <a:gd name="connsiteX4" fmla="*/ 952 w 77495"/>
                  <a:gd name="connsiteY4" fmla="*/ 12621 h 35480"/>
                  <a:gd name="connsiteX5" fmla="*/ 1905 w 77495"/>
                  <a:gd name="connsiteY5" fmla="*/ 8811 h 35480"/>
                  <a:gd name="connsiteX6" fmla="*/ 3810 w 77495"/>
                  <a:gd name="connsiteY6" fmla="*/ 5001 h 35480"/>
                  <a:gd name="connsiteX7" fmla="*/ 9525 w 77495"/>
                  <a:gd name="connsiteY7" fmla="*/ 238 h 35480"/>
                  <a:gd name="connsiteX8" fmla="*/ 14288 w 77495"/>
                  <a:gd name="connsiteY8" fmla="*/ 238 h 35480"/>
                  <a:gd name="connsiteX9" fmla="*/ 31432 w 77495"/>
                  <a:gd name="connsiteY9" fmla="*/ 1191 h 35480"/>
                  <a:gd name="connsiteX10" fmla="*/ 44767 w 77495"/>
                  <a:gd name="connsiteY10" fmla="*/ 1191 h 35480"/>
                  <a:gd name="connsiteX11" fmla="*/ 50482 w 77495"/>
                  <a:gd name="connsiteY11" fmla="*/ 1191 h 35480"/>
                  <a:gd name="connsiteX12" fmla="*/ 59055 w 77495"/>
                  <a:gd name="connsiteY12" fmla="*/ 238 h 35480"/>
                  <a:gd name="connsiteX13" fmla="*/ 68580 w 77495"/>
                  <a:gd name="connsiteY13" fmla="*/ 1191 h 35480"/>
                  <a:gd name="connsiteX14" fmla="*/ 73342 w 77495"/>
                  <a:gd name="connsiteY14" fmla="*/ 3096 h 35480"/>
                  <a:gd name="connsiteX15" fmla="*/ 77152 w 77495"/>
                  <a:gd name="connsiteY15" fmla="*/ 8811 h 35480"/>
                  <a:gd name="connsiteX16" fmla="*/ 76200 w 77495"/>
                  <a:gd name="connsiteY16" fmla="*/ 14526 h 35480"/>
                  <a:gd name="connsiteX17" fmla="*/ 75247 w 77495"/>
                  <a:gd name="connsiteY17" fmla="*/ 16431 h 35480"/>
                  <a:gd name="connsiteX18" fmla="*/ 66675 w 77495"/>
                  <a:gd name="connsiteY18" fmla="*/ 24051 h 35480"/>
                  <a:gd name="connsiteX19" fmla="*/ 60960 w 77495"/>
                  <a:gd name="connsiteY19" fmla="*/ 25003 h 35480"/>
                  <a:gd name="connsiteX20" fmla="*/ 53340 w 77495"/>
                  <a:gd name="connsiteY20" fmla="*/ 26908 h 35480"/>
                  <a:gd name="connsiteX21" fmla="*/ 44767 w 77495"/>
                  <a:gd name="connsiteY21" fmla="*/ 30718 h 35480"/>
                  <a:gd name="connsiteX22" fmla="*/ 33338 w 77495"/>
                  <a:gd name="connsiteY22" fmla="*/ 33576 h 35480"/>
                  <a:gd name="connsiteX23" fmla="*/ 28575 w 77495"/>
                  <a:gd name="connsiteY23" fmla="*/ 33576 h 35480"/>
                  <a:gd name="connsiteX24" fmla="*/ 21907 w 77495"/>
                  <a:gd name="connsiteY24" fmla="*/ 34528 h 35480"/>
                  <a:gd name="connsiteX25" fmla="*/ 15240 w 77495"/>
                  <a:gd name="connsiteY25" fmla="*/ 35481 h 35480"/>
                  <a:gd name="connsiteX26" fmla="*/ 9525 w 77495"/>
                  <a:gd name="connsiteY26" fmla="*/ 35481 h 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495" h="35480">
                    <a:moveTo>
                      <a:pt x="9525" y="35481"/>
                    </a:moveTo>
                    <a:lnTo>
                      <a:pt x="1905" y="33576"/>
                    </a:lnTo>
                    <a:lnTo>
                      <a:pt x="0" y="28813"/>
                    </a:lnTo>
                    <a:lnTo>
                      <a:pt x="952" y="22146"/>
                    </a:lnTo>
                    <a:lnTo>
                      <a:pt x="952" y="12621"/>
                    </a:lnTo>
                    <a:lnTo>
                      <a:pt x="1905" y="8811"/>
                    </a:lnTo>
                    <a:lnTo>
                      <a:pt x="3810" y="5001"/>
                    </a:lnTo>
                    <a:lnTo>
                      <a:pt x="9525" y="238"/>
                    </a:lnTo>
                    <a:lnTo>
                      <a:pt x="14288" y="238"/>
                    </a:lnTo>
                    <a:lnTo>
                      <a:pt x="31432" y="1191"/>
                    </a:lnTo>
                    <a:lnTo>
                      <a:pt x="44767" y="1191"/>
                    </a:lnTo>
                    <a:cubicBezTo>
                      <a:pt x="44767" y="1191"/>
                      <a:pt x="46672" y="1191"/>
                      <a:pt x="50482" y="1191"/>
                    </a:cubicBezTo>
                    <a:cubicBezTo>
                      <a:pt x="53340" y="1191"/>
                      <a:pt x="59055" y="238"/>
                      <a:pt x="59055" y="238"/>
                    </a:cubicBezTo>
                    <a:cubicBezTo>
                      <a:pt x="59055" y="238"/>
                      <a:pt x="64770" y="-714"/>
                      <a:pt x="68580" y="1191"/>
                    </a:cubicBezTo>
                    <a:cubicBezTo>
                      <a:pt x="73342" y="3096"/>
                      <a:pt x="68580" y="-2619"/>
                      <a:pt x="73342" y="3096"/>
                    </a:cubicBezTo>
                    <a:cubicBezTo>
                      <a:pt x="77152" y="8811"/>
                      <a:pt x="78105" y="5953"/>
                      <a:pt x="77152" y="8811"/>
                    </a:cubicBezTo>
                    <a:cubicBezTo>
                      <a:pt x="77152" y="11668"/>
                      <a:pt x="77152" y="12621"/>
                      <a:pt x="76200" y="14526"/>
                    </a:cubicBezTo>
                    <a:cubicBezTo>
                      <a:pt x="75247" y="16431"/>
                      <a:pt x="75247" y="16431"/>
                      <a:pt x="75247" y="16431"/>
                    </a:cubicBezTo>
                    <a:lnTo>
                      <a:pt x="66675" y="24051"/>
                    </a:lnTo>
                    <a:lnTo>
                      <a:pt x="60960" y="25003"/>
                    </a:lnTo>
                    <a:lnTo>
                      <a:pt x="53340" y="26908"/>
                    </a:lnTo>
                    <a:cubicBezTo>
                      <a:pt x="53340" y="26908"/>
                      <a:pt x="48577" y="28813"/>
                      <a:pt x="44767" y="30718"/>
                    </a:cubicBezTo>
                    <a:cubicBezTo>
                      <a:pt x="40005" y="32623"/>
                      <a:pt x="33338" y="33576"/>
                      <a:pt x="33338" y="33576"/>
                    </a:cubicBezTo>
                    <a:lnTo>
                      <a:pt x="28575" y="33576"/>
                    </a:lnTo>
                    <a:lnTo>
                      <a:pt x="21907" y="34528"/>
                    </a:lnTo>
                    <a:lnTo>
                      <a:pt x="15240" y="35481"/>
                    </a:lnTo>
                    <a:lnTo>
                      <a:pt x="9525" y="35481"/>
                    </a:lnTo>
                    <a:close/>
                  </a:path>
                </a:pathLst>
              </a:custGeom>
              <a:grpFill/>
              <a:ln w="9525" cap="flat">
                <a:noFill/>
                <a:prstDash val="solid"/>
                <a:miter/>
              </a:ln>
            </p:spPr>
            <p:txBody>
              <a:bodyPr rtlCol="0" anchor="ctr"/>
              <a:lstStyle/>
              <a:p>
                <a:endParaRPr lang="en-US" sz="1765"/>
              </a:p>
            </p:txBody>
          </p:sp>
          <p:sp>
            <p:nvSpPr>
              <p:cNvPr id="27" name="Freeform: Shape 26">
                <a:extLst>
                  <a:ext uri="{FF2B5EF4-FFF2-40B4-BE49-F238E27FC236}">
                    <a16:creationId xmlns:a16="http://schemas.microsoft.com/office/drawing/2014/main" id="{F77615D0-5C3A-493A-97BF-BDD849B24EBD}"/>
                  </a:ext>
                </a:extLst>
              </p:cNvPr>
              <p:cNvSpPr/>
              <p:nvPr/>
            </p:nvSpPr>
            <p:spPr>
              <a:xfrm>
                <a:off x="6586566" y="2980794"/>
                <a:ext cx="48577" cy="17404"/>
              </a:xfrm>
              <a:custGeom>
                <a:avLst/>
                <a:gdLst>
                  <a:gd name="connsiteX0" fmla="*/ 8572 w 48577"/>
                  <a:gd name="connsiteY0" fmla="*/ 17405 h 17404"/>
                  <a:gd name="connsiteX1" fmla="*/ 3810 w 48577"/>
                  <a:gd name="connsiteY1" fmla="*/ 17405 h 17404"/>
                  <a:gd name="connsiteX2" fmla="*/ 0 w 48577"/>
                  <a:gd name="connsiteY2" fmla="*/ 10737 h 17404"/>
                  <a:gd name="connsiteX3" fmla="*/ 1905 w 48577"/>
                  <a:gd name="connsiteY3" fmla="*/ 7880 h 17404"/>
                  <a:gd name="connsiteX4" fmla="*/ 5715 w 48577"/>
                  <a:gd name="connsiteY4" fmla="*/ 4070 h 17404"/>
                  <a:gd name="connsiteX5" fmla="*/ 10477 w 48577"/>
                  <a:gd name="connsiteY5" fmla="*/ 3117 h 17404"/>
                  <a:gd name="connsiteX6" fmla="*/ 20002 w 48577"/>
                  <a:gd name="connsiteY6" fmla="*/ 2165 h 17404"/>
                  <a:gd name="connsiteX7" fmla="*/ 32385 w 48577"/>
                  <a:gd name="connsiteY7" fmla="*/ 260 h 17404"/>
                  <a:gd name="connsiteX8" fmla="*/ 43815 w 48577"/>
                  <a:gd name="connsiteY8" fmla="*/ 2165 h 17404"/>
                  <a:gd name="connsiteX9" fmla="*/ 48577 w 48577"/>
                  <a:gd name="connsiteY9" fmla="*/ 5022 h 17404"/>
                  <a:gd name="connsiteX10" fmla="*/ 48577 w 48577"/>
                  <a:gd name="connsiteY10" fmla="*/ 11690 h 17404"/>
                  <a:gd name="connsiteX11" fmla="*/ 42863 w 48577"/>
                  <a:gd name="connsiteY11" fmla="*/ 15500 h 17404"/>
                  <a:gd name="connsiteX12" fmla="*/ 8572 w 48577"/>
                  <a:gd name="connsiteY12" fmla="*/ 17405 h 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77" h="17404">
                    <a:moveTo>
                      <a:pt x="8572" y="17405"/>
                    </a:moveTo>
                    <a:lnTo>
                      <a:pt x="3810" y="17405"/>
                    </a:lnTo>
                    <a:lnTo>
                      <a:pt x="0" y="10737"/>
                    </a:lnTo>
                    <a:lnTo>
                      <a:pt x="1905" y="7880"/>
                    </a:lnTo>
                    <a:cubicBezTo>
                      <a:pt x="1905" y="7880"/>
                      <a:pt x="952" y="5975"/>
                      <a:pt x="5715" y="4070"/>
                    </a:cubicBezTo>
                    <a:cubicBezTo>
                      <a:pt x="10477" y="3117"/>
                      <a:pt x="10477" y="3117"/>
                      <a:pt x="10477" y="3117"/>
                    </a:cubicBezTo>
                    <a:cubicBezTo>
                      <a:pt x="10477" y="3117"/>
                      <a:pt x="17145" y="2165"/>
                      <a:pt x="20002" y="2165"/>
                    </a:cubicBezTo>
                    <a:cubicBezTo>
                      <a:pt x="22860" y="1212"/>
                      <a:pt x="28575" y="-693"/>
                      <a:pt x="32385" y="260"/>
                    </a:cubicBezTo>
                    <a:cubicBezTo>
                      <a:pt x="35242" y="1212"/>
                      <a:pt x="39052" y="-693"/>
                      <a:pt x="43815" y="2165"/>
                    </a:cubicBezTo>
                    <a:cubicBezTo>
                      <a:pt x="48577" y="5022"/>
                      <a:pt x="48577" y="5022"/>
                      <a:pt x="48577" y="5022"/>
                    </a:cubicBezTo>
                    <a:lnTo>
                      <a:pt x="48577" y="11690"/>
                    </a:lnTo>
                    <a:lnTo>
                      <a:pt x="42863" y="15500"/>
                    </a:lnTo>
                    <a:lnTo>
                      <a:pt x="8572" y="17405"/>
                    </a:lnTo>
                    <a:close/>
                  </a:path>
                </a:pathLst>
              </a:custGeom>
              <a:grpFill/>
              <a:ln w="9525" cap="flat">
                <a:noFill/>
                <a:prstDash val="solid"/>
                <a:miter/>
              </a:ln>
            </p:spPr>
            <p:txBody>
              <a:bodyPr rtlCol="0" anchor="ctr"/>
              <a:lstStyle/>
              <a:p>
                <a:endParaRPr lang="en-US" sz="1765"/>
              </a:p>
            </p:txBody>
          </p:sp>
          <p:sp>
            <p:nvSpPr>
              <p:cNvPr id="28" name="Freeform: Shape 27">
                <a:extLst>
                  <a:ext uri="{FF2B5EF4-FFF2-40B4-BE49-F238E27FC236}">
                    <a16:creationId xmlns:a16="http://schemas.microsoft.com/office/drawing/2014/main" id="{084BB0BB-CCC6-481F-8B9E-E79B6769C9B1}"/>
                  </a:ext>
                </a:extLst>
              </p:cNvPr>
              <p:cNvSpPr/>
              <p:nvPr/>
            </p:nvSpPr>
            <p:spPr>
              <a:xfrm>
                <a:off x="6737908" y="3182031"/>
                <a:ext cx="118215" cy="40957"/>
              </a:xfrm>
              <a:custGeom>
                <a:avLst/>
                <a:gdLst>
                  <a:gd name="connsiteX0" fmla="*/ 51541 w 118215"/>
                  <a:gd name="connsiteY0" fmla="*/ 3810 h 40957"/>
                  <a:gd name="connsiteX1" fmla="*/ 42016 w 118215"/>
                  <a:gd name="connsiteY1" fmla="*/ 953 h 40957"/>
                  <a:gd name="connsiteX2" fmla="*/ 28681 w 118215"/>
                  <a:gd name="connsiteY2" fmla="*/ 0 h 40957"/>
                  <a:gd name="connsiteX3" fmla="*/ 21061 w 118215"/>
                  <a:gd name="connsiteY3" fmla="*/ 953 h 40957"/>
                  <a:gd name="connsiteX4" fmla="*/ 17251 w 118215"/>
                  <a:gd name="connsiteY4" fmla="*/ 6668 h 40957"/>
                  <a:gd name="connsiteX5" fmla="*/ 10583 w 118215"/>
                  <a:gd name="connsiteY5" fmla="*/ 10478 h 40957"/>
                  <a:gd name="connsiteX6" fmla="*/ 10583 w 118215"/>
                  <a:gd name="connsiteY6" fmla="*/ 12383 h 40957"/>
                  <a:gd name="connsiteX7" fmla="*/ 9631 w 118215"/>
                  <a:gd name="connsiteY7" fmla="*/ 16193 h 40957"/>
                  <a:gd name="connsiteX8" fmla="*/ 9631 w 118215"/>
                  <a:gd name="connsiteY8" fmla="*/ 19050 h 40957"/>
                  <a:gd name="connsiteX9" fmla="*/ 4868 w 118215"/>
                  <a:gd name="connsiteY9" fmla="*/ 23813 h 40957"/>
                  <a:gd name="connsiteX10" fmla="*/ 2963 w 118215"/>
                  <a:gd name="connsiteY10" fmla="*/ 28575 h 40957"/>
                  <a:gd name="connsiteX11" fmla="*/ 2963 w 118215"/>
                  <a:gd name="connsiteY11" fmla="*/ 34290 h 40957"/>
                  <a:gd name="connsiteX12" fmla="*/ 18203 w 118215"/>
                  <a:gd name="connsiteY12" fmla="*/ 36195 h 40957"/>
                  <a:gd name="connsiteX13" fmla="*/ 23918 w 118215"/>
                  <a:gd name="connsiteY13" fmla="*/ 39053 h 40957"/>
                  <a:gd name="connsiteX14" fmla="*/ 31538 w 118215"/>
                  <a:gd name="connsiteY14" fmla="*/ 40958 h 40957"/>
                  <a:gd name="connsiteX15" fmla="*/ 41063 w 118215"/>
                  <a:gd name="connsiteY15" fmla="*/ 40005 h 40957"/>
                  <a:gd name="connsiteX16" fmla="*/ 46778 w 118215"/>
                  <a:gd name="connsiteY16" fmla="*/ 33338 h 40957"/>
                  <a:gd name="connsiteX17" fmla="*/ 56303 w 118215"/>
                  <a:gd name="connsiteY17" fmla="*/ 32385 h 40957"/>
                  <a:gd name="connsiteX18" fmla="*/ 62018 w 118215"/>
                  <a:gd name="connsiteY18" fmla="*/ 32385 h 40957"/>
                  <a:gd name="connsiteX19" fmla="*/ 71543 w 118215"/>
                  <a:gd name="connsiteY19" fmla="*/ 33338 h 40957"/>
                  <a:gd name="connsiteX20" fmla="*/ 80116 w 118215"/>
                  <a:gd name="connsiteY20" fmla="*/ 34290 h 40957"/>
                  <a:gd name="connsiteX21" fmla="*/ 98213 w 118215"/>
                  <a:gd name="connsiteY21" fmla="*/ 35243 h 40957"/>
                  <a:gd name="connsiteX22" fmla="*/ 111548 w 118215"/>
                  <a:gd name="connsiteY22" fmla="*/ 37148 h 40957"/>
                  <a:gd name="connsiteX23" fmla="*/ 118216 w 118215"/>
                  <a:gd name="connsiteY23" fmla="*/ 35243 h 40957"/>
                  <a:gd name="connsiteX24" fmla="*/ 118216 w 118215"/>
                  <a:gd name="connsiteY24" fmla="*/ 32385 h 40957"/>
                  <a:gd name="connsiteX25" fmla="*/ 111548 w 118215"/>
                  <a:gd name="connsiteY25" fmla="*/ 28575 h 40957"/>
                  <a:gd name="connsiteX26" fmla="*/ 103928 w 118215"/>
                  <a:gd name="connsiteY26" fmla="*/ 27623 h 40957"/>
                  <a:gd name="connsiteX27" fmla="*/ 90593 w 118215"/>
                  <a:gd name="connsiteY27" fmla="*/ 23813 h 40957"/>
                  <a:gd name="connsiteX28" fmla="*/ 89641 w 118215"/>
                  <a:gd name="connsiteY28" fmla="*/ 20955 h 40957"/>
                  <a:gd name="connsiteX29" fmla="*/ 82021 w 118215"/>
                  <a:gd name="connsiteY29" fmla="*/ 16193 h 40957"/>
                  <a:gd name="connsiteX30" fmla="*/ 77258 w 118215"/>
                  <a:gd name="connsiteY30" fmla="*/ 15240 h 40957"/>
                  <a:gd name="connsiteX31" fmla="*/ 75353 w 118215"/>
                  <a:gd name="connsiteY31" fmla="*/ 12383 h 40957"/>
                  <a:gd name="connsiteX32" fmla="*/ 61066 w 118215"/>
                  <a:gd name="connsiteY32" fmla="*/ 8573 h 40957"/>
                  <a:gd name="connsiteX33" fmla="*/ 51541 w 118215"/>
                  <a:gd name="connsiteY33" fmla="*/ 381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215" h="40957">
                    <a:moveTo>
                      <a:pt x="51541" y="3810"/>
                    </a:moveTo>
                    <a:lnTo>
                      <a:pt x="42016" y="953"/>
                    </a:lnTo>
                    <a:lnTo>
                      <a:pt x="28681" y="0"/>
                    </a:lnTo>
                    <a:lnTo>
                      <a:pt x="21061" y="953"/>
                    </a:lnTo>
                    <a:lnTo>
                      <a:pt x="17251" y="6668"/>
                    </a:lnTo>
                    <a:cubicBezTo>
                      <a:pt x="17251" y="6668"/>
                      <a:pt x="10583" y="8573"/>
                      <a:pt x="10583" y="10478"/>
                    </a:cubicBezTo>
                    <a:cubicBezTo>
                      <a:pt x="10583" y="12383"/>
                      <a:pt x="11536" y="8573"/>
                      <a:pt x="10583" y="12383"/>
                    </a:cubicBezTo>
                    <a:cubicBezTo>
                      <a:pt x="9631" y="16193"/>
                      <a:pt x="9631" y="16193"/>
                      <a:pt x="9631" y="16193"/>
                    </a:cubicBezTo>
                    <a:cubicBezTo>
                      <a:pt x="9631" y="16193"/>
                      <a:pt x="9631" y="17145"/>
                      <a:pt x="9631" y="19050"/>
                    </a:cubicBezTo>
                    <a:cubicBezTo>
                      <a:pt x="9631" y="20955"/>
                      <a:pt x="4868" y="21908"/>
                      <a:pt x="4868" y="23813"/>
                    </a:cubicBezTo>
                    <a:cubicBezTo>
                      <a:pt x="4868" y="25718"/>
                      <a:pt x="2963" y="28575"/>
                      <a:pt x="2963" y="28575"/>
                    </a:cubicBezTo>
                    <a:cubicBezTo>
                      <a:pt x="2963" y="34290"/>
                      <a:pt x="-3704" y="31433"/>
                      <a:pt x="2963" y="34290"/>
                    </a:cubicBezTo>
                    <a:cubicBezTo>
                      <a:pt x="9631" y="37148"/>
                      <a:pt x="18203" y="36195"/>
                      <a:pt x="18203" y="36195"/>
                    </a:cubicBezTo>
                    <a:lnTo>
                      <a:pt x="23918" y="39053"/>
                    </a:lnTo>
                    <a:lnTo>
                      <a:pt x="31538" y="40958"/>
                    </a:lnTo>
                    <a:lnTo>
                      <a:pt x="41063" y="40005"/>
                    </a:lnTo>
                    <a:cubicBezTo>
                      <a:pt x="41063" y="40005"/>
                      <a:pt x="42968" y="33338"/>
                      <a:pt x="46778" y="33338"/>
                    </a:cubicBezTo>
                    <a:cubicBezTo>
                      <a:pt x="49636" y="32385"/>
                      <a:pt x="56303" y="32385"/>
                      <a:pt x="56303" y="32385"/>
                    </a:cubicBezTo>
                    <a:lnTo>
                      <a:pt x="62018" y="32385"/>
                    </a:lnTo>
                    <a:lnTo>
                      <a:pt x="71543" y="33338"/>
                    </a:lnTo>
                    <a:cubicBezTo>
                      <a:pt x="71543" y="33338"/>
                      <a:pt x="77258" y="34290"/>
                      <a:pt x="80116" y="34290"/>
                    </a:cubicBezTo>
                    <a:cubicBezTo>
                      <a:pt x="82973" y="34290"/>
                      <a:pt x="94403" y="34290"/>
                      <a:pt x="98213" y="35243"/>
                    </a:cubicBezTo>
                    <a:cubicBezTo>
                      <a:pt x="101071" y="36195"/>
                      <a:pt x="111548" y="37148"/>
                      <a:pt x="111548" y="37148"/>
                    </a:cubicBezTo>
                    <a:lnTo>
                      <a:pt x="118216" y="35243"/>
                    </a:lnTo>
                    <a:lnTo>
                      <a:pt x="118216" y="32385"/>
                    </a:lnTo>
                    <a:lnTo>
                      <a:pt x="111548" y="28575"/>
                    </a:lnTo>
                    <a:lnTo>
                      <a:pt x="103928" y="27623"/>
                    </a:lnTo>
                    <a:lnTo>
                      <a:pt x="90593" y="23813"/>
                    </a:lnTo>
                    <a:lnTo>
                      <a:pt x="89641" y="20955"/>
                    </a:lnTo>
                    <a:lnTo>
                      <a:pt x="82021" y="16193"/>
                    </a:lnTo>
                    <a:lnTo>
                      <a:pt x="77258" y="15240"/>
                    </a:lnTo>
                    <a:cubicBezTo>
                      <a:pt x="77258" y="15240"/>
                      <a:pt x="76306" y="14288"/>
                      <a:pt x="75353" y="12383"/>
                    </a:cubicBezTo>
                    <a:cubicBezTo>
                      <a:pt x="74401" y="10478"/>
                      <a:pt x="61066" y="8573"/>
                      <a:pt x="61066" y="8573"/>
                    </a:cubicBezTo>
                    <a:lnTo>
                      <a:pt x="51541" y="3810"/>
                    </a:lnTo>
                    <a:close/>
                  </a:path>
                </a:pathLst>
              </a:custGeom>
              <a:grpFill/>
              <a:ln w="9525" cap="flat">
                <a:noFill/>
                <a:prstDash val="solid"/>
                <a:miter/>
              </a:ln>
            </p:spPr>
            <p:txBody>
              <a:bodyPr rtlCol="0" anchor="ctr"/>
              <a:lstStyle/>
              <a:p>
                <a:endParaRPr lang="en-US" sz="1765"/>
              </a:p>
            </p:txBody>
          </p:sp>
          <p:sp>
            <p:nvSpPr>
              <p:cNvPr id="29" name="Freeform: Shape 28">
                <a:extLst>
                  <a:ext uri="{FF2B5EF4-FFF2-40B4-BE49-F238E27FC236}">
                    <a16:creationId xmlns:a16="http://schemas.microsoft.com/office/drawing/2014/main" id="{EBE287A2-9BF1-4674-9E74-D028E2134FD3}"/>
                  </a:ext>
                </a:extLst>
              </p:cNvPr>
              <p:cNvSpPr/>
              <p:nvPr/>
            </p:nvSpPr>
            <p:spPr>
              <a:xfrm>
                <a:off x="6787470" y="3229656"/>
                <a:ext cx="39126" cy="10477"/>
              </a:xfrm>
              <a:custGeom>
                <a:avLst/>
                <a:gdLst>
                  <a:gd name="connsiteX0" fmla="*/ 32459 w 39126"/>
                  <a:gd name="connsiteY0" fmla="*/ 953 h 10477"/>
                  <a:gd name="connsiteX1" fmla="*/ 18171 w 39126"/>
                  <a:gd name="connsiteY1" fmla="*/ 953 h 10477"/>
                  <a:gd name="connsiteX2" fmla="*/ 13409 w 39126"/>
                  <a:gd name="connsiteY2" fmla="*/ 2858 h 10477"/>
                  <a:gd name="connsiteX3" fmla="*/ 7694 w 39126"/>
                  <a:gd name="connsiteY3" fmla="*/ 4763 h 10477"/>
                  <a:gd name="connsiteX4" fmla="*/ 74 w 39126"/>
                  <a:gd name="connsiteY4" fmla="*/ 5715 h 10477"/>
                  <a:gd name="connsiteX5" fmla="*/ 1026 w 39126"/>
                  <a:gd name="connsiteY5" fmla="*/ 7620 h 10477"/>
                  <a:gd name="connsiteX6" fmla="*/ 6741 w 39126"/>
                  <a:gd name="connsiteY6" fmla="*/ 10478 h 10477"/>
                  <a:gd name="connsiteX7" fmla="*/ 16266 w 39126"/>
                  <a:gd name="connsiteY7" fmla="*/ 9525 h 10477"/>
                  <a:gd name="connsiteX8" fmla="*/ 21029 w 39126"/>
                  <a:gd name="connsiteY8" fmla="*/ 9525 h 10477"/>
                  <a:gd name="connsiteX9" fmla="*/ 34364 w 39126"/>
                  <a:gd name="connsiteY9" fmla="*/ 9525 h 10477"/>
                  <a:gd name="connsiteX10" fmla="*/ 39126 w 39126"/>
                  <a:gd name="connsiteY10" fmla="*/ 8573 h 10477"/>
                  <a:gd name="connsiteX11" fmla="*/ 39126 w 39126"/>
                  <a:gd name="connsiteY11" fmla="*/ 0 h 10477"/>
                  <a:gd name="connsiteX12" fmla="*/ 32459 w 39126"/>
                  <a:gd name="connsiteY12" fmla="*/ 953 h 1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26" h="10477">
                    <a:moveTo>
                      <a:pt x="32459" y="953"/>
                    </a:moveTo>
                    <a:lnTo>
                      <a:pt x="18171" y="953"/>
                    </a:lnTo>
                    <a:cubicBezTo>
                      <a:pt x="13409" y="2858"/>
                      <a:pt x="13409" y="2858"/>
                      <a:pt x="13409" y="2858"/>
                    </a:cubicBezTo>
                    <a:lnTo>
                      <a:pt x="7694" y="4763"/>
                    </a:lnTo>
                    <a:cubicBezTo>
                      <a:pt x="7694" y="4763"/>
                      <a:pt x="-879" y="3810"/>
                      <a:pt x="74" y="5715"/>
                    </a:cubicBezTo>
                    <a:cubicBezTo>
                      <a:pt x="1026" y="7620"/>
                      <a:pt x="1026" y="7620"/>
                      <a:pt x="1026" y="7620"/>
                    </a:cubicBezTo>
                    <a:lnTo>
                      <a:pt x="6741" y="10478"/>
                    </a:lnTo>
                    <a:lnTo>
                      <a:pt x="16266" y="9525"/>
                    </a:lnTo>
                    <a:cubicBezTo>
                      <a:pt x="16266" y="9525"/>
                      <a:pt x="17219" y="8573"/>
                      <a:pt x="21029" y="9525"/>
                    </a:cubicBezTo>
                    <a:cubicBezTo>
                      <a:pt x="23886" y="10478"/>
                      <a:pt x="34364" y="9525"/>
                      <a:pt x="34364" y="9525"/>
                    </a:cubicBezTo>
                    <a:lnTo>
                      <a:pt x="39126" y="8573"/>
                    </a:lnTo>
                    <a:lnTo>
                      <a:pt x="39126" y="0"/>
                    </a:lnTo>
                    <a:lnTo>
                      <a:pt x="32459" y="953"/>
                    </a:lnTo>
                    <a:close/>
                  </a:path>
                </a:pathLst>
              </a:custGeom>
              <a:grpFill/>
              <a:ln w="9525" cap="flat">
                <a:noFill/>
                <a:prstDash val="solid"/>
                <a:miter/>
              </a:ln>
            </p:spPr>
            <p:txBody>
              <a:bodyPr rtlCol="0" anchor="ctr"/>
              <a:lstStyle/>
              <a:p>
                <a:endParaRPr lang="en-US" sz="1765"/>
              </a:p>
            </p:txBody>
          </p:sp>
          <p:sp>
            <p:nvSpPr>
              <p:cNvPr id="30" name="Freeform: Shape 29">
                <a:extLst>
                  <a:ext uri="{FF2B5EF4-FFF2-40B4-BE49-F238E27FC236}">
                    <a16:creationId xmlns:a16="http://schemas.microsoft.com/office/drawing/2014/main" id="{0C1BF5C3-1C01-4516-9A8B-01375B1E8184}"/>
                  </a:ext>
                </a:extLst>
              </p:cNvPr>
              <p:cNvSpPr/>
              <p:nvPr/>
            </p:nvSpPr>
            <p:spPr>
              <a:xfrm>
                <a:off x="6892241" y="3188804"/>
                <a:ext cx="51512" cy="17991"/>
              </a:xfrm>
              <a:custGeom>
                <a:avLst/>
                <a:gdLst>
                  <a:gd name="connsiteX0" fmla="*/ 44845 w 51512"/>
                  <a:gd name="connsiteY0" fmla="*/ 14182 h 17991"/>
                  <a:gd name="connsiteX1" fmla="*/ 21985 w 51512"/>
                  <a:gd name="connsiteY1" fmla="*/ 17039 h 17991"/>
                  <a:gd name="connsiteX2" fmla="*/ 14365 w 51512"/>
                  <a:gd name="connsiteY2" fmla="*/ 17039 h 17991"/>
                  <a:gd name="connsiteX3" fmla="*/ 1030 w 51512"/>
                  <a:gd name="connsiteY3" fmla="*/ 17992 h 17991"/>
                  <a:gd name="connsiteX4" fmla="*/ 78 w 51512"/>
                  <a:gd name="connsiteY4" fmla="*/ 15134 h 17991"/>
                  <a:gd name="connsiteX5" fmla="*/ 3888 w 51512"/>
                  <a:gd name="connsiteY5" fmla="*/ 8467 h 17991"/>
                  <a:gd name="connsiteX6" fmla="*/ 8650 w 51512"/>
                  <a:gd name="connsiteY6" fmla="*/ 8467 h 17991"/>
                  <a:gd name="connsiteX7" fmla="*/ 15318 w 51512"/>
                  <a:gd name="connsiteY7" fmla="*/ 2752 h 17991"/>
                  <a:gd name="connsiteX8" fmla="*/ 20080 w 51512"/>
                  <a:gd name="connsiteY8" fmla="*/ 847 h 17991"/>
                  <a:gd name="connsiteX9" fmla="*/ 24843 w 51512"/>
                  <a:gd name="connsiteY9" fmla="*/ 847 h 17991"/>
                  <a:gd name="connsiteX10" fmla="*/ 38178 w 51512"/>
                  <a:gd name="connsiteY10" fmla="*/ 1799 h 17991"/>
                  <a:gd name="connsiteX11" fmla="*/ 41035 w 51512"/>
                  <a:gd name="connsiteY11" fmla="*/ 2752 h 17991"/>
                  <a:gd name="connsiteX12" fmla="*/ 46750 w 51512"/>
                  <a:gd name="connsiteY12" fmla="*/ 3704 h 17991"/>
                  <a:gd name="connsiteX13" fmla="*/ 51513 w 51512"/>
                  <a:gd name="connsiteY13" fmla="*/ 8467 h 17991"/>
                  <a:gd name="connsiteX14" fmla="*/ 51513 w 51512"/>
                  <a:gd name="connsiteY14" fmla="*/ 12277 h 17991"/>
                  <a:gd name="connsiteX15" fmla="*/ 44845 w 51512"/>
                  <a:gd name="connsiteY15" fmla="*/ 14182 h 1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512" h="17991">
                    <a:moveTo>
                      <a:pt x="44845" y="14182"/>
                    </a:moveTo>
                    <a:lnTo>
                      <a:pt x="21985" y="17039"/>
                    </a:lnTo>
                    <a:lnTo>
                      <a:pt x="14365" y="17039"/>
                    </a:lnTo>
                    <a:lnTo>
                      <a:pt x="1030" y="17992"/>
                    </a:lnTo>
                    <a:lnTo>
                      <a:pt x="78" y="15134"/>
                    </a:lnTo>
                    <a:cubicBezTo>
                      <a:pt x="78" y="15134"/>
                      <a:pt x="-875" y="8467"/>
                      <a:pt x="3888" y="8467"/>
                    </a:cubicBezTo>
                    <a:cubicBezTo>
                      <a:pt x="8650" y="8467"/>
                      <a:pt x="8650" y="8467"/>
                      <a:pt x="8650" y="8467"/>
                    </a:cubicBezTo>
                    <a:lnTo>
                      <a:pt x="15318" y="2752"/>
                    </a:lnTo>
                    <a:lnTo>
                      <a:pt x="20080" y="847"/>
                    </a:lnTo>
                    <a:cubicBezTo>
                      <a:pt x="20080" y="847"/>
                      <a:pt x="18175" y="-1058"/>
                      <a:pt x="24843" y="847"/>
                    </a:cubicBezTo>
                    <a:cubicBezTo>
                      <a:pt x="31510" y="2752"/>
                      <a:pt x="34368" y="847"/>
                      <a:pt x="38178" y="1799"/>
                    </a:cubicBezTo>
                    <a:cubicBezTo>
                      <a:pt x="41035" y="2752"/>
                      <a:pt x="41035" y="2752"/>
                      <a:pt x="41035" y="2752"/>
                    </a:cubicBezTo>
                    <a:lnTo>
                      <a:pt x="46750" y="3704"/>
                    </a:lnTo>
                    <a:cubicBezTo>
                      <a:pt x="51513" y="8467"/>
                      <a:pt x="51513" y="5609"/>
                      <a:pt x="51513" y="8467"/>
                    </a:cubicBezTo>
                    <a:cubicBezTo>
                      <a:pt x="51513" y="12277"/>
                      <a:pt x="51513" y="12277"/>
                      <a:pt x="51513" y="12277"/>
                    </a:cubicBezTo>
                    <a:lnTo>
                      <a:pt x="44845" y="14182"/>
                    </a:lnTo>
                    <a:close/>
                  </a:path>
                </a:pathLst>
              </a:custGeom>
              <a:grpFill/>
              <a:ln w="9525" cap="flat">
                <a:noFill/>
                <a:prstDash val="solid"/>
                <a:miter/>
              </a:ln>
            </p:spPr>
            <p:txBody>
              <a:bodyPr rtlCol="0" anchor="ctr"/>
              <a:lstStyle/>
              <a:p>
                <a:endParaRPr lang="en-US" sz="1765"/>
              </a:p>
            </p:txBody>
          </p:sp>
          <p:sp>
            <p:nvSpPr>
              <p:cNvPr id="31" name="Freeform: Shape 30">
                <a:extLst>
                  <a:ext uri="{FF2B5EF4-FFF2-40B4-BE49-F238E27FC236}">
                    <a16:creationId xmlns:a16="http://schemas.microsoft.com/office/drawing/2014/main" id="{71274083-D4B7-41C6-B33D-6EF2E4287862}"/>
                  </a:ext>
                </a:extLst>
              </p:cNvPr>
              <p:cNvSpPr/>
              <p:nvPr/>
            </p:nvSpPr>
            <p:spPr>
              <a:xfrm>
                <a:off x="6909464" y="3135359"/>
                <a:ext cx="44437" cy="15239"/>
              </a:xfrm>
              <a:custGeom>
                <a:avLst/>
                <a:gdLst>
                  <a:gd name="connsiteX0" fmla="*/ 43815 w 44437"/>
                  <a:gd name="connsiteY0" fmla="*/ 13335 h 15239"/>
                  <a:gd name="connsiteX1" fmla="*/ 32385 w 44437"/>
                  <a:gd name="connsiteY1" fmla="*/ 14288 h 15239"/>
                  <a:gd name="connsiteX2" fmla="*/ 13335 w 44437"/>
                  <a:gd name="connsiteY2" fmla="*/ 15240 h 15239"/>
                  <a:gd name="connsiteX3" fmla="*/ 7620 w 44437"/>
                  <a:gd name="connsiteY3" fmla="*/ 12382 h 15239"/>
                  <a:gd name="connsiteX4" fmla="*/ 5715 w 44437"/>
                  <a:gd name="connsiteY4" fmla="*/ 8572 h 15239"/>
                  <a:gd name="connsiteX5" fmla="*/ 0 w 44437"/>
                  <a:gd name="connsiteY5" fmla="*/ 3810 h 15239"/>
                  <a:gd name="connsiteX6" fmla="*/ 3810 w 44437"/>
                  <a:gd name="connsiteY6" fmla="*/ 0 h 15239"/>
                  <a:gd name="connsiteX7" fmla="*/ 15240 w 44437"/>
                  <a:gd name="connsiteY7" fmla="*/ 952 h 15239"/>
                  <a:gd name="connsiteX8" fmla="*/ 22860 w 44437"/>
                  <a:gd name="connsiteY8" fmla="*/ 952 h 15239"/>
                  <a:gd name="connsiteX9" fmla="*/ 37147 w 44437"/>
                  <a:gd name="connsiteY9" fmla="*/ 1905 h 15239"/>
                  <a:gd name="connsiteX10" fmla="*/ 42863 w 44437"/>
                  <a:gd name="connsiteY10" fmla="*/ 2857 h 15239"/>
                  <a:gd name="connsiteX11" fmla="*/ 43815 w 44437"/>
                  <a:gd name="connsiteY11"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37" h="15239">
                    <a:moveTo>
                      <a:pt x="43815" y="13335"/>
                    </a:moveTo>
                    <a:lnTo>
                      <a:pt x="32385" y="14288"/>
                    </a:lnTo>
                    <a:lnTo>
                      <a:pt x="13335" y="15240"/>
                    </a:lnTo>
                    <a:lnTo>
                      <a:pt x="7620" y="12382"/>
                    </a:lnTo>
                    <a:lnTo>
                      <a:pt x="5715" y="8572"/>
                    </a:lnTo>
                    <a:lnTo>
                      <a:pt x="0" y="3810"/>
                    </a:lnTo>
                    <a:cubicBezTo>
                      <a:pt x="0" y="3810"/>
                      <a:pt x="0" y="0"/>
                      <a:pt x="3810" y="0"/>
                    </a:cubicBezTo>
                    <a:cubicBezTo>
                      <a:pt x="6667" y="952"/>
                      <a:pt x="15240" y="952"/>
                      <a:pt x="15240" y="952"/>
                    </a:cubicBezTo>
                    <a:lnTo>
                      <a:pt x="22860" y="952"/>
                    </a:lnTo>
                    <a:lnTo>
                      <a:pt x="37147" y="1905"/>
                    </a:lnTo>
                    <a:lnTo>
                      <a:pt x="42863" y="2857"/>
                    </a:lnTo>
                    <a:cubicBezTo>
                      <a:pt x="45720" y="7620"/>
                      <a:pt x="43815" y="13335"/>
                      <a:pt x="43815" y="13335"/>
                    </a:cubicBezTo>
                    <a:close/>
                  </a:path>
                </a:pathLst>
              </a:custGeom>
              <a:grpFill/>
              <a:ln w="9525" cap="flat">
                <a:noFill/>
                <a:prstDash val="solid"/>
                <a:miter/>
              </a:ln>
            </p:spPr>
            <p:txBody>
              <a:bodyPr rtlCol="0" anchor="ctr"/>
              <a:lstStyle/>
              <a:p>
                <a:endParaRPr lang="en-US" sz="1765"/>
              </a:p>
            </p:txBody>
          </p:sp>
          <p:sp>
            <p:nvSpPr>
              <p:cNvPr id="32" name="Freeform: Shape 31">
                <a:extLst>
                  <a:ext uri="{FF2B5EF4-FFF2-40B4-BE49-F238E27FC236}">
                    <a16:creationId xmlns:a16="http://schemas.microsoft.com/office/drawing/2014/main" id="{0E61D2A1-52DB-4095-B29B-48C9063DDA35}"/>
                  </a:ext>
                </a:extLst>
              </p:cNvPr>
              <p:cNvSpPr/>
              <p:nvPr/>
            </p:nvSpPr>
            <p:spPr>
              <a:xfrm>
                <a:off x="6576089" y="2948245"/>
                <a:ext cx="300990" cy="63288"/>
              </a:xfrm>
              <a:custGeom>
                <a:avLst/>
                <a:gdLst>
                  <a:gd name="connsiteX0" fmla="*/ 282892 w 300990"/>
                  <a:gd name="connsiteY0" fmla="*/ 53763 h 63288"/>
                  <a:gd name="connsiteX1" fmla="*/ 277178 w 300990"/>
                  <a:gd name="connsiteY1" fmla="*/ 54716 h 63288"/>
                  <a:gd name="connsiteX2" fmla="*/ 267653 w 300990"/>
                  <a:gd name="connsiteY2" fmla="*/ 55668 h 63288"/>
                  <a:gd name="connsiteX3" fmla="*/ 258128 w 300990"/>
                  <a:gd name="connsiteY3" fmla="*/ 55668 h 63288"/>
                  <a:gd name="connsiteX4" fmla="*/ 248603 w 300990"/>
                  <a:gd name="connsiteY4" fmla="*/ 55668 h 63288"/>
                  <a:gd name="connsiteX5" fmla="*/ 237172 w 300990"/>
                  <a:gd name="connsiteY5" fmla="*/ 58526 h 63288"/>
                  <a:gd name="connsiteX6" fmla="*/ 229553 w 300990"/>
                  <a:gd name="connsiteY6" fmla="*/ 62336 h 63288"/>
                  <a:gd name="connsiteX7" fmla="*/ 221933 w 300990"/>
                  <a:gd name="connsiteY7" fmla="*/ 63288 h 63288"/>
                  <a:gd name="connsiteX8" fmla="*/ 210503 w 300990"/>
                  <a:gd name="connsiteY8" fmla="*/ 63288 h 63288"/>
                  <a:gd name="connsiteX9" fmla="*/ 202883 w 300990"/>
                  <a:gd name="connsiteY9" fmla="*/ 63288 h 63288"/>
                  <a:gd name="connsiteX10" fmla="*/ 196215 w 300990"/>
                  <a:gd name="connsiteY10" fmla="*/ 63288 h 63288"/>
                  <a:gd name="connsiteX11" fmla="*/ 187642 w 300990"/>
                  <a:gd name="connsiteY11" fmla="*/ 63288 h 63288"/>
                  <a:gd name="connsiteX12" fmla="*/ 180975 w 300990"/>
                  <a:gd name="connsiteY12" fmla="*/ 63288 h 63288"/>
                  <a:gd name="connsiteX13" fmla="*/ 176213 w 300990"/>
                  <a:gd name="connsiteY13" fmla="*/ 63288 h 63288"/>
                  <a:gd name="connsiteX14" fmla="*/ 164783 w 300990"/>
                  <a:gd name="connsiteY14" fmla="*/ 61383 h 63288"/>
                  <a:gd name="connsiteX15" fmla="*/ 158115 w 300990"/>
                  <a:gd name="connsiteY15" fmla="*/ 60431 h 63288"/>
                  <a:gd name="connsiteX16" fmla="*/ 142875 w 300990"/>
                  <a:gd name="connsiteY16" fmla="*/ 58526 h 63288"/>
                  <a:gd name="connsiteX17" fmla="*/ 135255 w 300990"/>
                  <a:gd name="connsiteY17" fmla="*/ 57573 h 63288"/>
                  <a:gd name="connsiteX18" fmla="*/ 114300 w 300990"/>
                  <a:gd name="connsiteY18" fmla="*/ 52811 h 63288"/>
                  <a:gd name="connsiteX19" fmla="*/ 101917 w 300990"/>
                  <a:gd name="connsiteY19" fmla="*/ 51858 h 63288"/>
                  <a:gd name="connsiteX20" fmla="*/ 93345 w 300990"/>
                  <a:gd name="connsiteY20" fmla="*/ 50906 h 63288"/>
                  <a:gd name="connsiteX21" fmla="*/ 86678 w 300990"/>
                  <a:gd name="connsiteY21" fmla="*/ 49001 h 63288"/>
                  <a:gd name="connsiteX22" fmla="*/ 80963 w 300990"/>
                  <a:gd name="connsiteY22" fmla="*/ 46143 h 63288"/>
                  <a:gd name="connsiteX23" fmla="*/ 80963 w 300990"/>
                  <a:gd name="connsiteY23" fmla="*/ 40428 h 63288"/>
                  <a:gd name="connsiteX24" fmla="*/ 79058 w 300990"/>
                  <a:gd name="connsiteY24" fmla="*/ 34713 h 63288"/>
                  <a:gd name="connsiteX25" fmla="*/ 78105 w 300990"/>
                  <a:gd name="connsiteY25" fmla="*/ 29951 h 63288"/>
                  <a:gd name="connsiteX26" fmla="*/ 72390 w 300990"/>
                  <a:gd name="connsiteY26" fmla="*/ 25188 h 63288"/>
                  <a:gd name="connsiteX27" fmla="*/ 63817 w 300990"/>
                  <a:gd name="connsiteY27" fmla="*/ 21378 h 63288"/>
                  <a:gd name="connsiteX28" fmla="*/ 58103 w 300990"/>
                  <a:gd name="connsiteY28" fmla="*/ 19473 h 63288"/>
                  <a:gd name="connsiteX29" fmla="*/ 40958 w 300990"/>
                  <a:gd name="connsiteY29" fmla="*/ 15663 h 63288"/>
                  <a:gd name="connsiteX30" fmla="*/ 29528 w 300990"/>
                  <a:gd name="connsiteY30" fmla="*/ 15663 h 63288"/>
                  <a:gd name="connsiteX31" fmla="*/ 23813 w 300990"/>
                  <a:gd name="connsiteY31" fmla="*/ 15663 h 63288"/>
                  <a:gd name="connsiteX32" fmla="*/ 10478 w 300990"/>
                  <a:gd name="connsiteY32" fmla="*/ 14711 h 63288"/>
                  <a:gd name="connsiteX33" fmla="*/ 953 w 300990"/>
                  <a:gd name="connsiteY33" fmla="*/ 11853 h 63288"/>
                  <a:gd name="connsiteX34" fmla="*/ 0 w 300990"/>
                  <a:gd name="connsiteY34" fmla="*/ 6138 h 63288"/>
                  <a:gd name="connsiteX35" fmla="*/ 5715 w 300990"/>
                  <a:gd name="connsiteY35" fmla="*/ 3281 h 63288"/>
                  <a:gd name="connsiteX36" fmla="*/ 12383 w 300990"/>
                  <a:gd name="connsiteY36" fmla="*/ 2328 h 63288"/>
                  <a:gd name="connsiteX37" fmla="*/ 28575 w 300990"/>
                  <a:gd name="connsiteY37" fmla="*/ 423 h 63288"/>
                  <a:gd name="connsiteX38" fmla="*/ 38100 w 300990"/>
                  <a:gd name="connsiteY38" fmla="*/ 423 h 63288"/>
                  <a:gd name="connsiteX39" fmla="*/ 51435 w 300990"/>
                  <a:gd name="connsiteY39" fmla="*/ 423 h 63288"/>
                  <a:gd name="connsiteX40" fmla="*/ 60008 w 300990"/>
                  <a:gd name="connsiteY40" fmla="*/ 423 h 63288"/>
                  <a:gd name="connsiteX41" fmla="*/ 72390 w 300990"/>
                  <a:gd name="connsiteY41" fmla="*/ 2328 h 63288"/>
                  <a:gd name="connsiteX42" fmla="*/ 79058 w 300990"/>
                  <a:gd name="connsiteY42" fmla="*/ 4233 h 63288"/>
                  <a:gd name="connsiteX43" fmla="*/ 86678 w 300990"/>
                  <a:gd name="connsiteY43" fmla="*/ 5186 h 63288"/>
                  <a:gd name="connsiteX44" fmla="*/ 94297 w 300990"/>
                  <a:gd name="connsiteY44" fmla="*/ 9948 h 63288"/>
                  <a:gd name="connsiteX45" fmla="*/ 89535 w 300990"/>
                  <a:gd name="connsiteY45" fmla="*/ 13758 h 63288"/>
                  <a:gd name="connsiteX46" fmla="*/ 99060 w 300990"/>
                  <a:gd name="connsiteY46" fmla="*/ 19473 h 63288"/>
                  <a:gd name="connsiteX47" fmla="*/ 104775 w 300990"/>
                  <a:gd name="connsiteY47" fmla="*/ 19473 h 63288"/>
                  <a:gd name="connsiteX48" fmla="*/ 110490 w 300990"/>
                  <a:gd name="connsiteY48" fmla="*/ 28046 h 63288"/>
                  <a:gd name="connsiteX49" fmla="*/ 123825 w 300990"/>
                  <a:gd name="connsiteY49" fmla="*/ 31856 h 63288"/>
                  <a:gd name="connsiteX50" fmla="*/ 135255 w 300990"/>
                  <a:gd name="connsiteY50" fmla="*/ 33761 h 63288"/>
                  <a:gd name="connsiteX51" fmla="*/ 149542 w 300990"/>
                  <a:gd name="connsiteY51" fmla="*/ 35666 h 63288"/>
                  <a:gd name="connsiteX52" fmla="*/ 154305 w 300990"/>
                  <a:gd name="connsiteY52" fmla="*/ 39476 h 63288"/>
                  <a:gd name="connsiteX53" fmla="*/ 167640 w 300990"/>
                  <a:gd name="connsiteY53" fmla="*/ 39476 h 63288"/>
                  <a:gd name="connsiteX54" fmla="*/ 194310 w 300990"/>
                  <a:gd name="connsiteY54" fmla="*/ 35666 h 63288"/>
                  <a:gd name="connsiteX55" fmla="*/ 205740 w 300990"/>
                  <a:gd name="connsiteY55" fmla="*/ 34713 h 63288"/>
                  <a:gd name="connsiteX56" fmla="*/ 214313 w 300990"/>
                  <a:gd name="connsiteY56" fmla="*/ 34713 h 63288"/>
                  <a:gd name="connsiteX57" fmla="*/ 231458 w 300990"/>
                  <a:gd name="connsiteY57" fmla="*/ 36618 h 63288"/>
                  <a:gd name="connsiteX58" fmla="*/ 246697 w 300990"/>
                  <a:gd name="connsiteY58" fmla="*/ 36618 h 63288"/>
                  <a:gd name="connsiteX59" fmla="*/ 258128 w 300990"/>
                  <a:gd name="connsiteY59" fmla="*/ 35666 h 63288"/>
                  <a:gd name="connsiteX60" fmla="*/ 269558 w 300990"/>
                  <a:gd name="connsiteY60" fmla="*/ 35666 h 63288"/>
                  <a:gd name="connsiteX61" fmla="*/ 276225 w 300990"/>
                  <a:gd name="connsiteY61" fmla="*/ 35666 h 63288"/>
                  <a:gd name="connsiteX62" fmla="*/ 290513 w 300990"/>
                  <a:gd name="connsiteY62" fmla="*/ 36618 h 63288"/>
                  <a:gd name="connsiteX63" fmla="*/ 297180 w 300990"/>
                  <a:gd name="connsiteY63" fmla="*/ 39476 h 63288"/>
                  <a:gd name="connsiteX64" fmla="*/ 299085 w 300990"/>
                  <a:gd name="connsiteY64" fmla="*/ 42333 h 63288"/>
                  <a:gd name="connsiteX65" fmla="*/ 300990 w 300990"/>
                  <a:gd name="connsiteY65" fmla="*/ 46143 h 63288"/>
                  <a:gd name="connsiteX66" fmla="*/ 296228 w 300990"/>
                  <a:gd name="connsiteY66" fmla="*/ 53763 h 63288"/>
                  <a:gd name="connsiteX67" fmla="*/ 282892 w 300990"/>
                  <a:gd name="connsiteY67" fmla="*/ 53763 h 6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0990" h="63288">
                    <a:moveTo>
                      <a:pt x="282892" y="53763"/>
                    </a:moveTo>
                    <a:lnTo>
                      <a:pt x="277178" y="54716"/>
                    </a:lnTo>
                    <a:lnTo>
                      <a:pt x="267653" y="55668"/>
                    </a:lnTo>
                    <a:lnTo>
                      <a:pt x="258128" y="55668"/>
                    </a:lnTo>
                    <a:lnTo>
                      <a:pt x="248603" y="55668"/>
                    </a:lnTo>
                    <a:cubicBezTo>
                      <a:pt x="241935" y="57573"/>
                      <a:pt x="237172" y="58526"/>
                      <a:pt x="237172" y="58526"/>
                    </a:cubicBezTo>
                    <a:lnTo>
                      <a:pt x="229553" y="62336"/>
                    </a:lnTo>
                    <a:cubicBezTo>
                      <a:pt x="229553" y="62336"/>
                      <a:pt x="228600" y="63288"/>
                      <a:pt x="221933" y="63288"/>
                    </a:cubicBezTo>
                    <a:cubicBezTo>
                      <a:pt x="215265" y="63288"/>
                      <a:pt x="210503" y="63288"/>
                      <a:pt x="210503" y="63288"/>
                    </a:cubicBezTo>
                    <a:lnTo>
                      <a:pt x="202883" y="63288"/>
                    </a:lnTo>
                    <a:lnTo>
                      <a:pt x="196215" y="63288"/>
                    </a:lnTo>
                    <a:lnTo>
                      <a:pt x="187642" y="63288"/>
                    </a:lnTo>
                    <a:lnTo>
                      <a:pt x="180975" y="63288"/>
                    </a:lnTo>
                    <a:lnTo>
                      <a:pt x="176213" y="63288"/>
                    </a:lnTo>
                    <a:lnTo>
                      <a:pt x="164783" y="61383"/>
                    </a:lnTo>
                    <a:lnTo>
                      <a:pt x="158115" y="60431"/>
                    </a:lnTo>
                    <a:lnTo>
                      <a:pt x="142875" y="58526"/>
                    </a:lnTo>
                    <a:cubicBezTo>
                      <a:pt x="142875" y="58526"/>
                      <a:pt x="140017" y="57573"/>
                      <a:pt x="135255" y="57573"/>
                    </a:cubicBezTo>
                    <a:cubicBezTo>
                      <a:pt x="130492" y="57573"/>
                      <a:pt x="114300" y="52811"/>
                      <a:pt x="114300" y="52811"/>
                    </a:cubicBezTo>
                    <a:cubicBezTo>
                      <a:pt x="114300" y="52811"/>
                      <a:pt x="105728" y="50906"/>
                      <a:pt x="101917" y="51858"/>
                    </a:cubicBezTo>
                    <a:cubicBezTo>
                      <a:pt x="99060" y="52811"/>
                      <a:pt x="93345" y="50906"/>
                      <a:pt x="93345" y="50906"/>
                    </a:cubicBezTo>
                    <a:lnTo>
                      <a:pt x="86678" y="49001"/>
                    </a:lnTo>
                    <a:lnTo>
                      <a:pt x="80963" y="46143"/>
                    </a:lnTo>
                    <a:lnTo>
                      <a:pt x="80963" y="40428"/>
                    </a:lnTo>
                    <a:lnTo>
                      <a:pt x="79058" y="34713"/>
                    </a:lnTo>
                    <a:lnTo>
                      <a:pt x="78105" y="29951"/>
                    </a:lnTo>
                    <a:lnTo>
                      <a:pt x="72390" y="25188"/>
                    </a:lnTo>
                    <a:cubicBezTo>
                      <a:pt x="72390" y="25188"/>
                      <a:pt x="69533" y="23283"/>
                      <a:pt x="63817" y="21378"/>
                    </a:cubicBezTo>
                    <a:cubicBezTo>
                      <a:pt x="58103" y="19473"/>
                      <a:pt x="58103" y="19473"/>
                      <a:pt x="58103" y="19473"/>
                    </a:cubicBezTo>
                    <a:cubicBezTo>
                      <a:pt x="58103" y="19473"/>
                      <a:pt x="43815" y="15663"/>
                      <a:pt x="40958" y="15663"/>
                    </a:cubicBezTo>
                    <a:cubicBezTo>
                      <a:pt x="38100" y="15663"/>
                      <a:pt x="29528" y="15663"/>
                      <a:pt x="29528" y="15663"/>
                    </a:cubicBezTo>
                    <a:cubicBezTo>
                      <a:pt x="29528" y="15663"/>
                      <a:pt x="28575" y="15663"/>
                      <a:pt x="23813" y="15663"/>
                    </a:cubicBezTo>
                    <a:cubicBezTo>
                      <a:pt x="19050" y="15663"/>
                      <a:pt x="10478" y="14711"/>
                      <a:pt x="10478" y="14711"/>
                    </a:cubicBezTo>
                    <a:lnTo>
                      <a:pt x="953" y="11853"/>
                    </a:lnTo>
                    <a:lnTo>
                      <a:pt x="0" y="6138"/>
                    </a:lnTo>
                    <a:lnTo>
                      <a:pt x="5715" y="3281"/>
                    </a:lnTo>
                    <a:cubicBezTo>
                      <a:pt x="12383" y="2328"/>
                      <a:pt x="4763" y="4233"/>
                      <a:pt x="12383" y="2328"/>
                    </a:cubicBezTo>
                    <a:cubicBezTo>
                      <a:pt x="20003" y="423"/>
                      <a:pt x="28575" y="423"/>
                      <a:pt x="28575" y="423"/>
                    </a:cubicBezTo>
                    <a:lnTo>
                      <a:pt x="38100" y="423"/>
                    </a:lnTo>
                    <a:lnTo>
                      <a:pt x="51435" y="423"/>
                    </a:lnTo>
                    <a:cubicBezTo>
                      <a:pt x="51435" y="423"/>
                      <a:pt x="56197" y="-529"/>
                      <a:pt x="60008" y="423"/>
                    </a:cubicBezTo>
                    <a:cubicBezTo>
                      <a:pt x="64770" y="1376"/>
                      <a:pt x="72390" y="2328"/>
                      <a:pt x="72390" y="2328"/>
                    </a:cubicBezTo>
                    <a:lnTo>
                      <a:pt x="79058" y="4233"/>
                    </a:lnTo>
                    <a:lnTo>
                      <a:pt x="86678" y="5186"/>
                    </a:lnTo>
                    <a:lnTo>
                      <a:pt x="94297" y="9948"/>
                    </a:lnTo>
                    <a:cubicBezTo>
                      <a:pt x="94297" y="9948"/>
                      <a:pt x="88583" y="11853"/>
                      <a:pt x="89535" y="13758"/>
                    </a:cubicBezTo>
                    <a:cubicBezTo>
                      <a:pt x="90488" y="15663"/>
                      <a:pt x="99060" y="19473"/>
                      <a:pt x="99060" y="19473"/>
                    </a:cubicBezTo>
                    <a:lnTo>
                      <a:pt x="104775" y="19473"/>
                    </a:lnTo>
                    <a:lnTo>
                      <a:pt x="110490" y="28046"/>
                    </a:lnTo>
                    <a:lnTo>
                      <a:pt x="123825" y="31856"/>
                    </a:lnTo>
                    <a:cubicBezTo>
                      <a:pt x="123825" y="31856"/>
                      <a:pt x="131445" y="32808"/>
                      <a:pt x="135255" y="33761"/>
                    </a:cubicBezTo>
                    <a:cubicBezTo>
                      <a:pt x="138113" y="34713"/>
                      <a:pt x="149542" y="35666"/>
                      <a:pt x="149542" y="35666"/>
                    </a:cubicBezTo>
                    <a:cubicBezTo>
                      <a:pt x="149542" y="35666"/>
                      <a:pt x="150495" y="38523"/>
                      <a:pt x="154305" y="39476"/>
                    </a:cubicBezTo>
                    <a:cubicBezTo>
                      <a:pt x="157163" y="40428"/>
                      <a:pt x="162878" y="40428"/>
                      <a:pt x="167640" y="39476"/>
                    </a:cubicBezTo>
                    <a:cubicBezTo>
                      <a:pt x="172403" y="38523"/>
                      <a:pt x="194310" y="35666"/>
                      <a:pt x="194310" y="35666"/>
                    </a:cubicBezTo>
                    <a:lnTo>
                      <a:pt x="205740" y="34713"/>
                    </a:lnTo>
                    <a:lnTo>
                      <a:pt x="214313" y="34713"/>
                    </a:lnTo>
                    <a:cubicBezTo>
                      <a:pt x="221933" y="36618"/>
                      <a:pt x="225742" y="36618"/>
                      <a:pt x="231458" y="36618"/>
                    </a:cubicBezTo>
                    <a:cubicBezTo>
                      <a:pt x="238125" y="37571"/>
                      <a:pt x="246697" y="36618"/>
                      <a:pt x="246697" y="36618"/>
                    </a:cubicBezTo>
                    <a:lnTo>
                      <a:pt x="258128" y="35666"/>
                    </a:lnTo>
                    <a:lnTo>
                      <a:pt x="269558" y="35666"/>
                    </a:lnTo>
                    <a:lnTo>
                      <a:pt x="276225" y="35666"/>
                    </a:lnTo>
                    <a:cubicBezTo>
                      <a:pt x="276225" y="35666"/>
                      <a:pt x="289560" y="34713"/>
                      <a:pt x="290513" y="36618"/>
                    </a:cubicBezTo>
                    <a:cubicBezTo>
                      <a:pt x="291465" y="38523"/>
                      <a:pt x="295275" y="36618"/>
                      <a:pt x="297180" y="39476"/>
                    </a:cubicBezTo>
                    <a:cubicBezTo>
                      <a:pt x="299085" y="42333"/>
                      <a:pt x="297180" y="38523"/>
                      <a:pt x="299085" y="42333"/>
                    </a:cubicBezTo>
                    <a:cubicBezTo>
                      <a:pt x="300990" y="46143"/>
                      <a:pt x="300990" y="43286"/>
                      <a:pt x="300990" y="46143"/>
                    </a:cubicBezTo>
                    <a:cubicBezTo>
                      <a:pt x="300990" y="49953"/>
                      <a:pt x="296228" y="53763"/>
                      <a:pt x="296228" y="53763"/>
                    </a:cubicBezTo>
                    <a:lnTo>
                      <a:pt x="282892" y="53763"/>
                    </a:lnTo>
                    <a:close/>
                  </a:path>
                </a:pathLst>
              </a:custGeom>
              <a:grpFill/>
              <a:ln w="9525" cap="flat">
                <a:noFill/>
                <a:prstDash val="solid"/>
                <a:miter/>
              </a:ln>
            </p:spPr>
            <p:txBody>
              <a:bodyPr rtlCol="0" anchor="ctr"/>
              <a:lstStyle/>
              <a:p>
                <a:endParaRPr lang="en-US" sz="1765"/>
              </a:p>
            </p:txBody>
          </p:sp>
          <p:sp>
            <p:nvSpPr>
              <p:cNvPr id="33" name="Freeform: Shape 32">
                <a:extLst>
                  <a:ext uri="{FF2B5EF4-FFF2-40B4-BE49-F238E27FC236}">
                    <a16:creationId xmlns:a16="http://schemas.microsoft.com/office/drawing/2014/main" id="{29AD9D81-D372-4656-9E35-A0C3ECA9DC33}"/>
                  </a:ext>
                </a:extLst>
              </p:cNvPr>
              <p:cNvSpPr/>
              <p:nvPr/>
            </p:nvSpPr>
            <p:spPr>
              <a:xfrm>
                <a:off x="6555074" y="2902133"/>
                <a:ext cx="61442" cy="32247"/>
              </a:xfrm>
              <a:custGeom>
                <a:avLst/>
                <a:gdLst>
                  <a:gd name="connsiteX0" fmla="*/ 44827 w 61442"/>
                  <a:gd name="connsiteY0" fmla="*/ 32248 h 32247"/>
                  <a:gd name="connsiteX1" fmla="*/ 35302 w 61442"/>
                  <a:gd name="connsiteY1" fmla="*/ 30343 h 32247"/>
                  <a:gd name="connsiteX2" fmla="*/ 21015 w 61442"/>
                  <a:gd name="connsiteY2" fmla="*/ 29390 h 32247"/>
                  <a:gd name="connsiteX3" fmla="*/ 20062 w 61442"/>
                  <a:gd name="connsiteY3" fmla="*/ 26533 h 32247"/>
                  <a:gd name="connsiteX4" fmla="*/ 13394 w 61442"/>
                  <a:gd name="connsiteY4" fmla="*/ 20818 h 32247"/>
                  <a:gd name="connsiteX5" fmla="*/ 7680 w 61442"/>
                  <a:gd name="connsiteY5" fmla="*/ 18913 h 32247"/>
                  <a:gd name="connsiteX6" fmla="*/ 2917 w 61442"/>
                  <a:gd name="connsiteY6" fmla="*/ 18913 h 32247"/>
                  <a:gd name="connsiteX7" fmla="*/ 60 w 61442"/>
                  <a:gd name="connsiteY7" fmla="*/ 12245 h 32247"/>
                  <a:gd name="connsiteX8" fmla="*/ 60 w 61442"/>
                  <a:gd name="connsiteY8" fmla="*/ 7483 h 32247"/>
                  <a:gd name="connsiteX9" fmla="*/ 4822 w 61442"/>
                  <a:gd name="connsiteY9" fmla="*/ 1768 h 32247"/>
                  <a:gd name="connsiteX10" fmla="*/ 10537 w 61442"/>
                  <a:gd name="connsiteY10" fmla="*/ 815 h 32247"/>
                  <a:gd name="connsiteX11" fmla="*/ 21967 w 61442"/>
                  <a:gd name="connsiteY11" fmla="*/ 1768 h 32247"/>
                  <a:gd name="connsiteX12" fmla="*/ 31492 w 61442"/>
                  <a:gd name="connsiteY12" fmla="*/ 1768 h 32247"/>
                  <a:gd name="connsiteX13" fmla="*/ 34349 w 61442"/>
                  <a:gd name="connsiteY13" fmla="*/ 2720 h 32247"/>
                  <a:gd name="connsiteX14" fmla="*/ 41017 w 61442"/>
                  <a:gd name="connsiteY14" fmla="*/ 1768 h 32247"/>
                  <a:gd name="connsiteX15" fmla="*/ 56257 w 61442"/>
                  <a:gd name="connsiteY15" fmla="*/ 2720 h 32247"/>
                  <a:gd name="connsiteX16" fmla="*/ 58162 w 61442"/>
                  <a:gd name="connsiteY16" fmla="*/ 4625 h 32247"/>
                  <a:gd name="connsiteX17" fmla="*/ 61019 w 61442"/>
                  <a:gd name="connsiteY17" fmla="*/ 10340 h 32247"/>
                  <a:gd name="connsiteX18" fmla="*/ 61019 w 61442"/>
                  <a:gd name="connsiteY18" fmla="*/ 16055 h 32247"/>
                  <a:gd name="connsiteX19" fmla="*/ 61019 w 61442"/>
                  <a:gd name="connsiteY19" fmla="*/ 18913 h 32247"/>
                  <a:gd name="connsiteX20" fmla="*/ 61019 w 61442"/>
                  <a:gd name="connsiteY20" fmla="*/ 23675 h 32247"/>
                  <a:gd name="connsiteX21" fmla="*/ 61019 w 61442"/>
                  <a:gd name="connsiteY21" fmla="*/ 26533 h 32247"/>
                  <a:gd name="connsiteX22" fmla="*/ 61019 w 61442"/>
                  <a:gd name="connsiteY22" fmla="*/ 28438 h 32247"/>
                  <a:gd name="connsiteX23" fmla="*/ 44827 w 61442"/>
                  <a:gd name="connsiteY23" fmla="*/ 32248 h 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442" h="32247">
                    <a:moveTo>
                      <a:pt x="44827" y="32248"/>
                    </a:moveTo>
                    <a:lnTo>
                      <a:pt x="35302" y="30343"/>
                    </a:lnTo>
                    <a:lnTo>
                      <a:pt x="21015" y="29390"/>
                    </a:lnTo>
                    <a:lnTo>
                      <a:pt x="20062" y="26533"/>
                    </a:lnTo>
                    <a:lnTo>
                      <a:pt x="13394" y="20818"/>
                    </a:lnTo>
                    <a:cubicBezTo>
                      <a:pt x="13394" y="20818"/>
                      <a:pt x="12442" y="18913"/>
                      <a:pt x="7680" y="18913"/>
                    </a:cubicBezTo>
                    <a:cubicBezTo>
                      <a:pt x="2917" y="18913"/>
                      <a:pt x="2917" y="18913"/>
                      <a:pt x="2917" y="18913"/>
                    </a:cubicBezTo>
                    <a:lnTo>
                      <a:pt x="60" y="12245"/>
                    </a:lnTo>
                    <a:lnTo>
                      <a:pt x="60" y="7483"/>
                    </a:lnTo>
                    <a:cubicBezTo>
                      <a:pt x="60" y="7483"/>
                      <a:pt x="-893" y="3673"/>
                      <a:pt x="4822" y="1768"/>
                    </a:cubicBezTo>
                    <a:cubicBezTo>
                      <a:pt x="10537" y="815"/>
                      <a:pt x="3869" y="-1090"/>
                      <a:pt x="10537" y="815"/>
                    </a:cubicBezTo>
                    <a:cubicBezTo>
                      <a:pt x="17205" y="2720"/>
                      <a:pt x="17205" y="815"/>
                      <a:pt x="21967" y="1768"/>
                    </a:cubicBezTo>
                    <a:cubicBezTo>
                      <a:pt x="26730" y="2720"/>
                      <a:pt x="28635" y="815"/>
                      <a:pt x="31492" y="1768"/>
                    </a:cubicBezTo>
                    <a:cubicBezTo>
                      <a:pt x="34349" y="2720"/>
                      <a:pt x="34349" y="2720"/>
                      <a:pt x="34349" y="2720"/>
                    </a:cubicBezTo>
                    <a:cubicBezTo>
                      <a:pt x="34349" y="2720"/>
                      <a:pt x="35302" y="1768"/>
                      <a:pt x="41017" y="1768"/>
                    </a:cubicBezTo>
                    <a:cubicBezTo>
                      <a:pt x="46732" y="2720"/>
                      <a:pt x="54352" y="815"/>
                      <a:pt x="56257" y="2720"/>
                    </a:cubicBezTo>
                    <a:cubicBezTo>
                      <a:pt x="58162" y="4625"/>
                      <a:pt x="58162" y="4625"/>
                      <a:pt x="58162" y="4625"/>
                    </a:cubicBezTo>
                    <a:cubicBezTo>
                      <a:pt x="58162" y="4625"/>
                      <a:pt x="60067" y="8435"/>
                      <a:pt x="61019" y="10340"/>
                    </a:cubicBezTo>
                    <a:cubicBezTo>
                      <a:pt x="61972" y="12245"/>
                      <a:pt x="61019" y="16055"/>
                      <a:pt x="61019" y="16055"/>
                    </a:cubicBezTo>
                    <a:cubicBezTo>
                      <a:pt x="61019" y="16055"/>
                      <a:pt x="60067" y="17008"/>
                      <a:pt x="61019" y="18913"/>
                    </a:cubicBezTo>
                    <a:cubicBezTo>
                      <a:pt x="61972" y="20818"/>
                      <a:pt x="61019" y="23675"/>
                      <a:pt x="61019" y="23675"/>
                    </a:cubicBezTo>
                    <a:cubicBezTo>
                      <a:pt x="61019" y="23675"/>
                      <a:pt x="61019" y="24628"/>
                      <a:pt x="61019" y="26533"/>
                    </a:cubicBezTo>
                    <a:cubicBezTo>
                      <a:pt x="61019" y="28438"/>
                      <a:pt x="61019" y="28438"/>
                      <a:pt x="61019" y="28438"/>
                    </a:cubicBezTo>
                    <a:lnTo>
                      <a:pt x="44827" y="32248"/>
                    </a:lnTo>
                    <a:close/>
                  </a:path>
                </a:pathLst>
              </a:custGeom>
              <a:grpFill/>
              <a:ln w="9525" cap="flat">
                <a:noFill/>
                <a:prstDash val="solid"/>
                <a:miter/>
              </a:ln>
            </p:spPr>
            <p:txBody>
              <a:bodyPr rtlCol="0" anchor="ctr"/>
              <a:lstStyle/>
              <a:p>
                <a:endParaRPr lang="en-US" sz="1765"/>
              </a:p>
            </p:txBody>
          </p:sp>
          <p:sp>
            <p:nvSpPr>
              <p:cNvPr id="34" name="Freeform: Shape 33">
                <a:extLst>
                  <a:ext uri="{FF2B5EF4-FFF2-40B4-BE49-F238E27FC236}">
                    <a16:creationId xmlns:a16="http://schemas.microsoft.com/office/drawing/2014/main" id="{1F5E2DAA-3210-4109-AB37-261FC4254E62}"/>
                  </a:ext>
                </a:extLst>
              </p:cNvPr>
              <p:cNvSpPr/>
              <p:nvPr/>
            </p:nvSpPr>
            <p:spPr>
              <a:xfrm>
                <a:off x="6586291" y="2844579"/>
                <a:ext cx="180297" cy="79324"/>
              </a:xfrm>
              <a:custGeom>
                <a:avLst/>
                <a:gdLst>
                  <a:gd name="connsiteX0" fmla="*/ 5037 w 180297"/>
                  <a:gd name="connsiteY0" fmla="*/ 21222 h 79324"/>
                  <a:gd name="connsiteX1" fmla="*/ 275 w 180297"/>
                  <a:gd name="connsiteY1" fmla="*/ 25032 h 79324"/>
                  <a:gd name="connsiteX2" fmla="*/ 275 w 180297"/>
                  <a:gd name="connsiteY2" fmla="*/ 30747 h 79324"/>
                  <a:gd name="connsiteX3" fmla="*/ 1227 w 180297"/>
                  <a:gd name="connsiteY3" fmla="*/ 32652 h 79324"/>
                  <a:gd name="connsiteX4" fmla="*/ 3132 w 180297"/>
                  <a:gd name="connsiteY4" fmla="*/ 36462 h 79324"/>
                  <a:gd name="connsiteX5" fmla="*/ 9800 w 180297"/>
                  <a:gd name="connsiteY5" fmla="*/ 44082 h 79324"/>
                  <a:gd name="connsiteX6" fmla="*/ 17420 w 180297"/>
                  <a:gd name="connsiteY6" fmla="*/ 45987 h 79324"/>
                  <a:gd name="connsiteX7" fmla="*/ 25992 w 180297"/>
                  <a:gd name="connsiteY7" fmla="*/ 45987 h 79324"/>
                  <a:gd name="connsiteX8" fmla="*/ 37422 w 180297"/>
                  <a:gd name="connsiteY8" fmla="*/ 45987 h 79324"/>
                  <a:gd name="connsiteX9" fmla="*/ 51710 w 180297"/>
                  <a:gd name="connsiteY9" fmla="*/ 47892 h 79324"/>
                  <a:gd name="connsiteX10" fmla="*/ 58377 w 180297"/>
                  <a:gd name="connsiteY10" fmla="*/ 48844 h 79324"/>
                  <a:gd name="connsiteX11" fmla="*/ 61235 w 180297"/>
                  <a:gd name="connsiteY11" fmla="*/ 54559 h 79324"/>
                  <a:gd name="connsiteX12" fmla="*/ 61235 w 180297"/>
                  <a:gd name="connsiteY12" fmla="*/ 62179 h 79324"/>
                  <a:gd name="connsiteX13" fmla="*/ 61235 w 180297"/>
                  <a:gd name="connsiteY13" fmla="*/ 69799 h 79324"/>
                  <a:gd name="connsiteX14" fmla="*/ 64092 w 180297"/>
                  <a:gd name="connsiteY14" fmla="*/ 74562 h 79324"/>
                  <a:gd name="connsiteX15" fmla="*/ 72665 w 180297"/>
                  <a:gd name="connsiteY15" fmla="*/ 76467 h 79324"/>
                  <a:gd name="connsiteX16" fmla="*/ 84095 w 180297"/>
                  <a:gd name="connsiteY16" fmla="*/ 76467 h 79324"/>
                  <a:gd name="connsiteX17" fmla="*/ 97430 w 180297"/>
                  <a:gd name="connsiteY17" fmla="*/ 77419 h 79324"/>
                  <a:gd name="connsiteX18" fmla="*/ 106002 w 180297"/>
                  <a:gd name="connsiteY18" fmla="*/ 79324 h 79324"/>
                  <a:gd name="connsiteX19" fmla="*/ 114575 w 180297"/>
                  <a:gd name="connsiteY19" fmla="*/ 79324 h 79324"/>
                  <a:gd name="connsiteX20" fmla="*/ 124100 w 180297"/>
                  <a:gd name="connsiteY20" fmla="*/ 76467 h 79324"/>
                  <a:gd name="connsiteX21" fmla="*/ 133625 w 180297"/>
                  <a:gd name="connsiteY21" fmla="*/ 73609 h 79324"/>
                  <a:gd name="connsiteX22" fmla="*/ 146960 w 180297"/>
                  <a:gd name="connsiteY22" fmla="*/ 70752 h 79324"/>
                  <a:gd name="connsiteX23" fmla="*/ 150770 w 180297"/>
                  <a:gd name="connsiteY23" fmla="*/ 62179 h 79324"/>
                  <a:gd name="connsiteX24" fmla="*/ 159342 w 180297"/>
                  <a:gd name="connsiteY24" fmla="*/ 61227 h 79324"/>
                  <a:gd name="connsiteX25" fmla="*/ 166963 w 180297"/>
                  <a:gd name="connsiteY25" fmla="*/ 60274 h 79324"/>
                  <a:gd name="connsiteX26" fmla="*/ 172677 w 180297"/>
                  <a:gd name="connsiteY26" fmla="*/ 59322 h 79324"/>
                  <a:gd name="connsiteX27" fmla="*/ 178392 w 180297"/>
                  <a:gd name="connsiteY27" fmla="*/ 55512 h 79324"/>
                  <a:gd name="connsiteX28" fmla="*/ 180297 w 180297"/>
                  <a:gd name="connsiteY28" fmla="*/ 50749 h 79324"/>
                  <a:gd name="connsiteX29" fmla="*/ 180297 w 180297"/>
                  <a:gd name="connsiteY29" fmla="*/ 47892 h 79324"/>
                  <a:gd name="connsiteX30" fmla="*/ 174582 w 180297"/>
                  <a:gd name="connsiteY30" fmla="*/ 45034 h 79324"/>
                  <a:gd name="connsiteX31" fmla="*/ 153627 w 180297"/>
                  <a:gd name="connsiteY31" fmla="*/ 37414 h 79324"/>
                  <a:gd name="connsiteX32" fmla="*/ 146007 w 180297"/>
                  <a:gd name="connsiteY32" fmla="*/ 28842 h 79324"/>
                  <a:gd name="connsiteX33" fmla="*/ 138388 w 180297"/>
                  <a:gd name="connsiteY33" fmla="*/ 25032 h 79324"/>
                  <a:gd name="connsiteX34" fmla="*/ 124100 w 180297"/>
                  <a:gd name="connsiteY34" fmla="*/ 23127 h 79324"/>
                  <a:gd name="connsiteX35" fmla="*/ 110765 w 180297"/>
                  <a:gd name="connsiteY35" fmla="*/ 19317 h 79324"/>
                  <a:gd name="connsiteX36" fmla="*/ 96477 w 180297"/>
                  <a:gd name="connsiteY36" fmla="*/ 9792 h 79324"/>
                  <a:gd name="connsiteX37" fmla="*/ 91715 w 180297"/>
                  <a:gd name="connsiteY37" fmla="*/ 8839 h 79324"/>
                  <a:gd name="connsiteX38" fmla="*/ 85047 w 180297"/>
                  <a:gd name="connsiteY38" fmla="*/ 7887 h 79324"/>
                  <a:gd name="connsiteX39" fmla="*/ 72665 w 180297"/>
                  <a:gd name="connsiteY39" fmla="*/ 5982 h 79324"/>
                  <a:gd name="connsiteX40" fmla="*/ 65045 w 180297"/>
                  <a:gd name="connsiteY40" fmla="*/ 3124 h 79324"/>
                  <a:gd name="connsiteX41" fmla="*/ 58377 w 180297"/>
                  <a:gd name="connsiteY41" fmla="*/ 1219 h 79324"/>
                  <a:gd name="connsiteX42" fmla="*/ 49805 w 180297"/>
                  <a:gd name="connsiteY42" fmla="*/ 267 h 79324"/>
                  <a:gd name="connsiteX43" fmla="*/ 30755 w 180297"/>
                  <a:gd name="connsiteY43" fmla="*/ 4077 h 79324"/>
                  <a:gd name="connsiteX44" fmla="*/ 22182 w 180297"/>
                  <a:gd name="connsiteY44" fmla="*/ 10744 h 79324"/>
                  <a:gd name="connsiteX45" fmla="*/ 16467 w 180297"/>
                  <a:gd name="connsiteY45" fmla="*/ 16459 h 79324"/>
                  <a:gd name="connsiteX46" fmla="*/ 5037 w 180297"/>
                  <a:gd name="connsiteY46" fmla="*/ 21222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0297" h="79324">
                    <a:moveTo>
                      <a:pt x="5037" y="21222"/>
                    </a:moveTo>
                    <a:cubicBezTo>
                      <a:pt x="5037" y="21222"/>
                      <a:pt x="-678" y="22174"/>
                      <a:pt x="275" y="25032"/>
                    </a:cubicBezTo>
                    <a:cubicBezTo>
                      <a:pt x="1227" y="27889"/>
                      <a:pt x="-678" y="28842"/>
                      <a:pt x="275" y="30747"/>
                    </a:cubicBezTo>
                    <a:cubicBezTo>
                      <a:pt x="1227" y="32652"/>
                      <a:pt x="-678" y="28842"/>
                      <a:pt x="1227" y="32652"/>
                    </a:cubicBezTo>
                    <a:cubicBezTo>
                      <a:pt x="3132" y="36462"/>
                      <a:pt x="3132" y="31699"/>
                      <a:pt x="3132" y="36462"/>
                    </a:cubicBezTo>
                    <a:cubicBezTo>
                      <a:pt x="3132" y="41224"/>
                      <a:pt x="5990" y="43129"/>
                      <a:pt x="9800" y="44082"/>
                    </a:cubicBezTo>
                    <a:cubicBezTo>
                      <a:pt x="12657" y="45034"/>
                      <a:pt x="17420" y="45987"/>
                      <a:pt x="17420" y="45987"/>
                    </a:cubicBezTo>
                    <a:cubicBezTo>
                      <a:pt x="17420" y="45987"/>
                      <a:pt x="23135" y="45987"/>
                      <a:pt x="25992" y="45987"/>
                    </a:cubicBezTo>
                    <a:cubicBezTo>
                      <a:pt x="28850" y="45987"/>
                      <a:pt x="37422" y="45987"/>
                      <a:pt x="37422" y="45987"/>
                    </a:cubicBezTo>
                    <a:cubicBezTo>
                      <a:pt x="45042" y="47892"/>
                      <a:pt x="45042" y="46939"/>
                      <a:pt x="51710" y="47892"/>
                    </a:cubicBezTo>
                    <a:cubicBezTo>
                      <a:pt x="58377" y="48844"/>
                      <a:pt x="58377" y="48844"/>
                      <a:pt x="58377" y="48844"/>
                    </a:cubicBezTo>
                    <a:cubicBezTo>
                      <a:pt x="58377" y="48844"/>
                      <a:pt x="60282" y="51702"/>
                      <a:pt x="61235" y="54559"/>
                    </a:cubicBezTo>
                    <a:cubicBezTo>
                      <a:pt x="62187" y="57417"/>
                      <a:pt x="60282" y="58369"/>
                      <a:pt x="61235" y="62179"/>
                    </a:cubicBezTo>
                    <a:cubicBezTo>
                      <a:pt x="62187" y="65989"/>
                      <a:pt x="61235" y="69799"/>
                      <a:pt x="61235" y="69799"/>
                    </a:cubicBezTo>
                    <a:lnTo>
                      <a:pt x="64092" y="74562"/>
                    </a:lnTo>
                    <a:cubicBezTo>
                      <a:pt x="64092" y="74562"/>
                      <a:pt x="69807" y="76467"/>
                      <a:pt x="72665" y="76467"/>
                    </a:cubicBezTo>
                    <a:cubicBezTo>
                      <a:pt x="75522" y="76467"/>
                      <a:pt x="80285" y="76467"/>
                      <a:pt x="84095" y="76467"/>
                    </a:cubicBezTo>
                    <a:cubicBezTo>
                      <a:pt x="86952" y="76467"/>
                      <a:pt x="93620" y="76467"/>
                      <a:pt x="97430" y="77419"/>
                    </a:cubicBezTo>
                    <a:cubicBezTo>
                      <a:pt x="100287" y="78372"/>
                      <a:pt x="103145" y="79324"/>
                      <a:pt x="106002" y="79324"/>
                    </a:cubicBezTo>
                    <a:cubicBezTo>
                      <a:pt x="108860" y="79324"/>
                      <a:pt x="114575" y="79324"/>
                      <a:pt x="114575" y="79324"/>
                    </a:cubicBezTo>
                    <a:lnTo>
                      <a:pt x="124100" y="76467"/>
                    </a:lnTo>
                    <a:cubicBezTo>
                      <a:pt x="124100" y="76467"/>
                      <a:pt x="130767" y="73609"/>
                      <a:pt x="133625" y="73609"/>
                    </a:cubicBezTo>
                    <a:cubicBezTo>
                      <a:pt x="136482" y="73609"/>
                      <a:pt x="146960" y="70752"/>
                      <a:pt x="146960" y="70752"/>
                    </a:cubicBezTo>
                    <a:cubicBezTo>
                      <a:pt x="146960" y="70752"/>
                      <a:pt x="146007" y="62179"/>
                      <a:pt x="150770" y="62179"/>
                    </a:cubicBezTo>
                    <a:cubicBezTo>
                      <a:pt x="155532" y="62179"/>
                      <a:pt x="159342" y="61227"/>
                      <a:pt x="159342" y="61227"/>
                    </a:cubicBezTo>
                    <a:lnTo>
                      <a:pt x="166963" y="60274"/>
                    </a:lnTo>
                    <a:cubicBezTo>
                      <a:pt x="166963" y="60274"/>
                      <a:pt x="168867" y="59322"/>
                      <a:pt x="172677" y="59322"/>
                    </a:cubicBezTo>
                    <a:cubicBezTo>
                      <a:pt x="175535" y="59322"/>
                      <a:pt x="178392" y="55512"/>
                      <a:pt x="178392" y="55512"/>
                    </a:cubicBezTo>
                    <a:lnTo>
                      <a:pt x="180297" y="50749"/>
                    </a:lnTo>
                    <a:lnTo>
                      <a:pt x="180297" y="47892"/>
                    </a:lnTo>
                    <a:cubicBezTo>
                      <a:pt x="180297" y="47892"/>
                      <a:pt x="179345" y="46939"/>
                      <a:pt x="174582" y="45034"/>
                    </a:cubicBezTo>
                    <a:cubicBezTo>
                      <a:pt x="169820" y="43129"/>
                      <a:pt x="153627" y="37414"/>
                      <a:pt x="153627" y="37414"/>
                    </a:cubicBezTo>
                    <a:lnTo>
                      <a:pt x="146007" y="28842"/>
                    </a:lnTo>
                    <a:lnTo>
                      <a:pt x="138388" y="25032"/>
                    </a:lnTo>
                    <a:lnTo>
                      <a:pt x="124100" y="23127"/>
                    </a:lnTo>
                    <a:lnTo>
                      <a:pt x="110765" y="19317"/>
                    </a:lnTo>
                    <a:lnTo>
                      <a:pt x="96477" y="9792"/>
                    </a:lnTo>
                    <a:lnTo>
                      <a:pt x="91715" y="8839"/>
                    </a:lnTo>
                    <a:lnTo>
                      <a:pt x="85047" y="7887"/>
                    </a:lnTo>
                    <a:lnTo>
                      <a:pt x="72665" y="5982"/>
                    </a:lnTo>
                    <a:lnTo>
                      <a:pt x="65045" y="3124"/>
                    </a:lnTo>
                    <a:lnTo>
                      <a:pt x="58377" y="1219"/>
                    </a:lnTo>
                    <a:cubicBezTo>
                      <a:pt x="58377" y="1219"/>
                      <a:pt x="63140" y="-686"/>
                      <a:pt x="49805" y="267"/>
                    </a:cubicBezTo>
                    <a:cubicBezTo>
                      <a:pt x="36470" y="1219"/>
                      <a:pt x="34565" y="2172"/>
                      <a:pt x="30755" y="4077"/>
                    </a:cubicBezTo>
                    <a:cubicBezTo>
                      <a:pt x="26945" y="5029"/>
                      <a:pt x="22182" y="6934"/>
                      <a:pt x="22182" y="10744"/>
                    </a:cubicBezTo>
                    <a:cubicBezTo>
                      <a:pt x="22182" y="14554"/>
                      <a:pt x="16467" y="16459"/>
                      <a:pt x="16467" y="16459"/>
                    </a:cubicBezTo>
                    <a:lnTo>
                      <a:pt x="5037" y="21222"/>
                    </a:lnTo>
                    <a:close/>
                  </a:path>
                </a:pathLst>
              </a:custGeom>
              <a:grpFill/>
              <a:ln w="9525" cap="flat">
                <a:noFill/>
                <a:prstDash val="solid"/>
                <a:miter/>
              </a:ln>
            </p:spPr>
            <p:txBody>
              <a:bodyPr rtlCol="0" anchor="ctr"/>
              <a:lstStyle/>
              <a:p>
                <a:endParaRPr lang="en-US" sz="1765"/>
              </a:p>
            </p:txBody>
          </p:sp>
          <p:sp>
            <p:nvSpPr>
              <p:cNvPr id="35" name="Freeform: Shape 34">
                <a:extLst>
                  <a:ext uri="{FF2B5EF4-FFF2-40B4-BE49-F238E27FC236}">
                    <a16:creationId xmlns:a16="http://schemas.microsoft.com/office/drawing/2014/main" id="{CD7FA902-5F5A-4FCC-A207-E6418D03491D}"/>
                  </a:ext>
                </a:extLst>
              </p:cNvPr>
              <p:cNvSpPr/>
              <p:nvPr/>
            </p:nvSpPr>
            <p:spPr>
              <a:xfrm>
                <a:off x="6688484" y="2797750"/>
                <a:ext cx="501014" cy="170920"/>
              </a:xfrm>
              <a:custGeom>
                <a:avLst/>
                <a:gdLst>
                  <a:gd name="connsiteX0" fmla="*/ 0 w 501014"/>
                  <a:gd name="connsiteY0" fmla="*/ 32808 h 170920"/>
                  <a:gd name="connsiteX1" fmla="*/ 3810 w 501014"/>
                  <a:gd name="connsiteY1" fmla="*/ 40428 h 170920"/>
                  <a:gd name="connsiteX2" fmla="*/ 16192 w 501014"/>
                  <a:gd name="connsiteY2" fmla="*/ 48048 h 170920"/>
                  <a:gd name="connsiteX3" fmla="*/ 31433 w 501014"/>
                  <a:gd name="connsiteY3" fmla="*/ 49953 h 170920"/>
                  <a:gd name="connsiteX4" fmla="*/ 36195 w 501014"/>
                  <a:gd name="connsiteY4" fmla="*/ 53763 h 170920"/>
                  <a:gd name="connsiteX5" fmla="*/ 44767 w 501014"/>
                  <a:gd name="connsiteY5" fmla="*/ 58526 h 170920"/>
                  <a:gd name="connsiteX6" fmla="*/ 52388 w 501014"/>
                  <a:gd name="connsiteY6" fmla="*/ 60431 h 170920"/>
                  <a:gd name="connsiteX7" fmla="*/ 61913 w 501014"/>
                  <a:gd name="connsiteY7" fmla="*/ 61383 h 170920"/>
                  <a:gd name="connsiteX8" fmla="*/ 83820 w 501014"/>
                  <a:gd name="connsiteY8" fmla="*/ 62336 h 170920"/>
                  <a:gd name="connsiteX9" fmla="*/ 99060 w 501014"/>
                  <a:gd name="connsiteY9" fmla="*/ 63288 h 170920"/>
                  <a:gd name="connsiteX10" fmla="*/ 112395 w 501014"/>
                  <a:gd name="connsiteY10" fmla="*/ 63288 h 170920"/>
                  <a:gd name="connsiteX11" fmla="*/ 132397 w 501014"/>
                  <a:gd name="connsiteY11" fmla="*/ 63288 h 170920"/>
                  <a:gd name="connsiteX12" fmla="*/ 141922 w 501014"/>
                  <a:gd name="connsiteY12" fmla="*/ 62336 h 170920"/>
                  <a:gd name="connsiteX13" fmla="*/ 155258 w 501014"/>
                  <a:gd name="connsiteY13" fmla="*/ 62336 h 170920"/>
                  <a:gd name="connsiteX14" fmla="*/ 163830 w 501014"/>
                  <a:gd name="connsiteY14" fmla="*/ 62336 h 170920"/>
                  <a:gd name="connsiteX15" fmla="*/ 163830 w 501014"/>
                  <a:gd name="connsiteY15" fmla="*/ 69956 h 170920"/>
                  <a:gd name="connsiteX16" fmla="*/ 153352 w 501014"/>
                  <a:gd name="connsiteY16" fmla="*/ 73766 h 170920"/>
                  <a:gd name="connsiteX17" fmla="*/ 130492 w 501014"/>
                  <a:gd name="connsiteY17" fmla="*/ 76623 h 170920"/>
                  <a:gd name="connsiteX18" fmla="*/ 116205 w 501014"/>
                  <a:gd name="connsiteY18" fmla="*/ 78528 h 170920"/>
                  <a:gd name="connsiteX19" fmla="*/ 104775 w 501014"/>
                  <a:gd name="connsiteY19" fmla="*/ 80433 h 170920"/>
                  <a:gd name="connsiteX20" fmla="*/ 91440 w 501014"/>
                  <a:gd name="connsiteY20" fmla="*/ 85196 h 170920"/>
                  <a:gd name="connsiteX21" fmla="*/ 92392 w 501014"/>
                  <a:gd name="connsiteY21" fmla="*/ 91863 h 170920"/>
                  <a:gd name="connsiteX22" fmla="*/ 100013 w 501014"/>
                  <a:gd name="connsiteY22" fmla="*/ 93768 h 170920"/>
                  <a:gd name="connsiteX23" fmla="*/ 105727 w 501014"/>
                  <a:gd name="connsiteY23" fmla="*/ 93768 h 170920"/>
                  <a:gd name="connsiteX24" fmla="*/ 105727 w 501014"/>
                  <a:gd name="connsiteY24" fmla="*/ 96626 h 170920"/>
                  <a:gd name="connsiteX25" fmla="*/ 104775 w 501014"/>
                  <a:gd name="connsiteY25" fmla="*/ 99483 h 170920"/>
                  <a:gd name="connsiteX26" fmla="*/ 99060 w 501014"/>
                  <a:gd name="connsiteY26" fmla="*/ 109961 h 170920"/>
                  <a:gd name="connsiteX27" fmla="*/ 85725 w 501014"/>
                  <a:gd name="connsiteY27" fmla="*/ 110913 h 170920"/>
                  <a:gd name="connsiteX28" fmla="*/ 85725 w 501014"/>
                  <a:gd name="connsiteY28" fmla="*/ 112818 h 170920"/>
                  <a:gd name="connsiteX29" fmla="*/ 79058 w 501014"/>
                  <a:gd name="connsiteY29" fmla="*/ 117581 h 170920"/>
                  <a:gd name="connsiteX30" fmla="*/ 51435 w 501014"/>
                  <a:gd name="connsiteY30" fmla="*/ 127106 h 170920"/>
                  <a:gd name="connsiteX31" fmla="*/ 51435 w 501014"/>
                  <a:gd name="connsiteY31" fmla="*/ 129963 h 170920"/>
                  <a:gd name="connsiteX32" fmla="*/ 59055 w 501014"/>
                  <a:gd name="connsiteY32" fmla="*/ 138536 h 170920"/>
                  <a:gd name="connsiteX33" fmla="*/ 54292 w 501014"/>
                  <a:gd name="connsiteY33" fmla="*/ 143298 h 170920"/>
                  <a:gd name="connsiteX34" fmla="*/ 29527 w 501014"/>
                  <a:gd name="connsiteY34" fmla="*/ 150918 h 170920"/>
                  <a:gd name="connsiteX35" fmla="*/ 24765 w 501014"/>
                  <a:gd name="connsiteY35" fmla="*/ 153776 h 170920"/>
                  <a:gd name="connsiteX36" fmla="*/ 24765 w 501014"/>
                  <a:gd name="connsiteY36" fmla="*/ 157586 h 170920"/>
                  <a:gd name="connsiteX37" fmla="*/ 38100 w 501014"/>
                  <a:gd name="connsiteY37" fmla="*/ 162348 h 170920"/>
                  <a:gd name="connsiteX38" fmla="*/ 47625 w 501014"/>
                  <a:gd name="connsiteY38" fmla="*/ 162348 h 170920"/>
                  <a:gd name="connsiteX39" fmla="*/ 82867 w 501014"/>
                  <a:gd name="connsiteY39" fmla="*/ 160443 h 170920"/>
                  <a:gd name="connsiteX40" fmla="*/ 92392 w 501014"/>
                  <a:gd name="connsiteY40" fmla="*/ 160443 h 170920"/>
                  <a:gd name="connsiteX41" fmla="*/ 98108 w 501014"/>
                  <a:gd name="connsiteY41" fmla="*/ 165206 h 170920"/>
                  <a:gd name="connsiteX42" fmla="*/ 112395 w 501014"/>
                  <a:gd name="connsiteY42" fmla="*/ 166158 h 170920"/>
                  <a:gd name="connsiteX43" fmla="*/ 127635 w 501014"/>
                  <a:gd name="connsiteY43" fmla="*/ 168063 h 170920"/>
                  <a:gd name="connsiteX44" fmla="*/ 140017 w 501014"/>
                  <a:gd name="connsiteY44" fmla="*/ 169016 h 170920"/>
                  <a:gd name="connsiteX45" fmla="*/ 147638 w 501014"/>
                  <a:gd name="connsiteY45" fmla="*/ 169016 h 170920"/>
                  <a:gd name="connsiteX46" fmla="*/ 159067 w 501014"/>
                  <a:gd name="connsiteY46" fmla="*/ 170921 h 170920"/>
                  <a:gd name="connsiteX47" fmla="*/ 182880 w 501014"/>
                  <a:gd name="connsiteY47" fmla="*/ 169968 h 170920"/>
                  <a:gd name="connsiteX48" fmla="*/ 194310 w 501014"/>
                  <a:gd name="connsiteY48" fmla="*/ 164253 h 170920"/>
                  <a:gd name="connsiteX49" fmla="*/ 200977 w 501014"/>
                  <a:gd name="connsiteY49" fmla="*/ 154728 h 170920"/>
                  <a:gd name="connsiteX50" fmla="*/ 206692 w 501014"/>
                  <a:gd name="connsiteY50" fmla="*/ 148061 h 170920"/>
                  <a:gd name="connsiteX51" fmla="*/ 216217 w 501014"/>
                  <a:gd name="connsiteY51" fmla="*/ 143298 h 170920"/>
                  <a:gd name="connsiteX52" fmla="*/ 224790 w 501014"/>
                  <a:gd name="connsiteY52" fmla="*/ 136631 h 170920"/>
                  <a:gd name="connsiteX53" fmla="*/ 232410 w 501014"/>
                  <a:gd name="connsiteY53" fmla="*/ 127106 h 170920"/>
                  <a:gd name="connsiteX54" fmla="*/ 241935 w 501014"/>
                  <a:gd name="connsiteY54" fmla="*/ 124248 h 170920"/>
                  <a:gd name="connsiteX55" fmla="*/ 253365 w 501014"/>
                  <a:gd name="connsiteY55" fmla="*/ 120438 h 170920"/>
                  <a:gd name="connsiteX56" fmla="*/ 260985 w 501014"/>
                  <a:gd name="connsiteY56" fmla="*/ 116628 h 170920"/>
                  <a:gd name="connsiteX57" fmla="*/ 262890 w 501014"/>
                  <a:gd name="connsiteY57" fmla="*/ 109961 h 170920"/>
                  <a:gd name="connsiteX58" fmla="*/ 268605 w 501014"/>
                  <a:gd name="connsiteY58" fmla="*/ 103293 h 170920"/>
                  <a:gd name="connsiteX59" fmla="*/ 276225 w 501014"/>
                  <a:gd name="connsiteY59" fmla="*/ 100436 h 170920"/>
                  <a:gd name="connsiteX60" fmla="*/ 290513 w 501014"/>
                  <a:gd name="connsiteY60" fmla="*/ 93768 h 170920"/>
                  <a:gd name="connsiteX61" fmla="*/ 310515 w 501014"/>
                  <a:gd name="connsiteY61" fmla="*/ 87101 h 170920"/>
                  <a:gd name="connsiteX62" fmla="*/ 325755 w 501014"/>
                  <a:gd name="connsiteY62" fmla="*/ 79481 h 170920"/>
                  <a:gd name="connsiteX63" fmla="*/ 334327 w 501014"/>
                  <a:gd name="connsiteY63" fmla="*/ 75671 h 170920"/>
                  <a:gd name="connsiteX64" fmla="*/ 351472 w 501014"/>
                  <a:gd name="connsiteY64" fmla="*/ 68051 h 170920"/>
                  <a:gd name="connsiteX65" fmla="*/ 366713 w 501014"/>
                  <a:gd name="connsiteY65" fmla="*/ 64241 h 170920"/>
                  <a:gd name="connsiteX66" fmla="*/ 384810 w 501014"/>
                  <a:gd name="connsiteY66" fmla="*/ 57573 h 170920"/>
                  <a:gd name="connsiteX67" fmla="*/ 397192 w 501014"/>
                  <a:gd name="connsiteY67" fmla="*/ 54716 h 170920"/>
                  <a:gd name="connsiteX68" fmla="*/ 417195 w 501014"/>
                  <a:gd name="connsiteY68" fmla="*/ 49953 h 170920"/>
                  <a:gd name="connsiteX69" fmla="*/ 428625 w 501014"/>
                  <a:gd name="connsiteY69" fmla="*/ 43286 h 170920"/>
                  <a:gd name="connsiteX70" fmla="*/ 435292 w 501014"/>
                  <a:gd name="connsiteY70" fmla="*/ 41381 h 170920"/>
                  <a:gd name="connsiteX71" fmla="*/ 448627 w 501014"/>
                  <a:gd name="connsiteY71" fmla="*/ 38523 h 170920"/>
                  <a:gd name="connsiteX72" fmla="*/ 473392 w 501014"/>
                  <a:gd name="connsiteY72" fmla="*/ 33761 h 170920"/>
                  <a:gd name="connsiteX73" fmla="*/ 478155 w 501014"/>
                  <a:gd name="connsiteY73" fmla="*/ 30903 h 170920"/>
                  <a:gd name="connsiteX74" fmla="*/ 498158 w 501014"/>
                  <a:gd name="connsiteY74" fmla="*/ 28046 h 170920"/>
                  <a:gd name="connsiteX75" fmla="*/ 501015 w 501014"/>
                  <a:gd name="connsiteY75" fmla="*/ 17568 h 170920"/>
                  <a:gd name="connsiteX76" fmla="*/ 499110 w 501014"/>
                  <a:gd name="connsiteY76" fmla="*/ 13758 h 170920"/>
                  <a:gd name="connsiteX77" fmla="*/ 489585 w 501014"/>
                  <a:gd name="connsiteY77" fmla="*/ 11853 h 170920"/>
                  <a:gd name="connsiteX78" fmla="*/ 472440 w 501014"/>
                  <a:gd name="connsiteY78" fmla="*/ 8043 h 170920"/>
                  <a:gd name="connsiteX79" fmla="*/ 456247 w 501014"/>
                  <a:gd name="connsiteY79" fmla="*/ 4233 h 170920"/>
                  <a:gd name="connsiteX80" fmla="*/ 436245 w 501014"/>
                  <a:gd name="connsiteY80" fmla="*/ 2328 h 170920"/>
                  <a:gd name="connsiteX81" fmla="*/ 408622 w 501014"/>
                  <a:gd name="connsiteY81" fmla="*/ 2328 h 170920"/>
                  <a:gd name="connsiteX82" fmla="*/ 388620 w 501014"/>
                  <a:gd name="connsiteY82" fmla="*/ 423 h 170920"/>
                  <a:gd name="connsiteX83" fmla="*/ 372427 w 501014"/>
                  <a:gd name="connsiteY83" fmla="*/ 423 h 170920"/>
                  <a:gd name="connsiteX84" fmla="*/ 345758 w 501014"/>
                  <a:gd name="connsiteY84" fmla="*/ 423 h 170920"/>
                  <a:gd name="connsiteX85" fmla="*/ 302895 w 501014"/>
                  <a:gd name="connsiteY85" fmla="*/ 423 h 170920"/>
                  <a:gd name="connsiteX86" fmla="*/ 273367 w 501014"/>
                  <a:gd name="connsiteY86" fmla="*/ 1376 h 170920"/>
                  <a:gd name="connsiteX87" fmla="*/ 231458 w 501014"/>
                  <a:gd name="connsiteY87" fmla="*/ 4233 h 170920"/>
                  <a:gd name="connsiteX88" fmla="*/ 209550 w 501014"/>
                  <a:gd name="connsiteY88" fmla="*/ 7091 h 170920"/>
                  <a:gd name="connsiteX89" fmla="*/ 188595 w 501014"/>
                  <a:gd name="connsiteY89" fmla="*/ 5186 h 170920"/>
                  <a:gd name="connsiteX90" fmla="*/ 154305 w 501014"/>
                  <a:gd name="connsiteY90" fmla="*/ 5186 h 170920"/>
                  <a:gd name="connsiteX91" fmla="*/ 140017 w 501014"/>
                  <a:gd name="connsiteY91" fmla="*/ 6138 h 170920"/>
                  <a:gd name="connsiteX92" fmla="*/ 121920 w 501014"/>
                  <a:gd name="connsiteY92" fmla="*/ 8996 h 170920"/>
                  <a:gd name="connsiteX93" fmla="*/ 100965 w 501014"/>
                  <a:gd name="connsiteY93" fmla="*/ 10901 h 170920"/>
                  <a:gd name="connsiteX94" fmla="*/ 88583 w 501014"/>
                  <a:gd name="connsiteY94" fmla="*/ 12806 h 170920"/>
                  <a:gd name="connsiteX95" fmla="*/ 69533 w 501014"/>
                  <a:gd name="connsiteY95" fmla="*/ 16616 h 170920"/>
                  <a:gd name="connsiteX96" fmla="*/ 57150 w 501014"/>
                  <a:gd name="connsiteY96" fmla="*/ 17568 h 170920"/>
                  <a:gd name="connsiteX97" fmla="*/ 50483 w 501014"/>
                  <a:gd name="connsiteY97" fmla="*/ 19473 h 170920"/>
                  <a:gd name="connsiteX98" fmla="*/ 40005 w 501014"/>
                  <a:gd name="connsiteY98" fmla="*/ 22331 h 170920"/>
                  <a:gd name="connsiteX99" fmla="*/ 26670 w 501014"/>
                  <a:gd name="connsiteY99" fmla="*/ 25188 h 170920"/>
                  <a:gd name="connsiteX100" fmla="*/ 17145 w 501014"/>
                  <a:gd name="connsiteY100" fmla="*/ 27093 h 170920"/>
                  <a:gd name="connsiteX101" fmla="*/ 0 w 501014"/>
                  <a:gd name="connsiteY101" fmla="*/ 32808 h 1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1014" h="170920">
                    <a:moveTo>
                      <a:pt x="0" y="32808"/>
                    </a:moveTo>
                    <a:cubicBezTo>
                      <a:pt x="0" y="32808"/>
                      <a:pt x="952" y="39476"/>
                      <a:pt x="3810" y="40428"/>
                    </a:cubicBezTo>
                    <a:cubicBezTo>
                      <a:pt x="6667" y="42333"/>
                      <a:pt x="16192" y="48048"/>
                      <a:pt x="16192" y="48048"/>
                    </a:cubicBezTo>
                    <a:lnTo>
                      <a:pt x="31433" y="49953"/>
                    </a:lnTo>
                    <a:cubicBezTo>
                      <a:pt x="31433" y="49953"/>
                      <a:pt x="33338" y="51858"/>
                      <a:pt x="36195" y="53763"/>
                    </a:cubicBezTo>
                    <a:cubicBezTo>
                      <a:pt x="38100" y="55668"/>
                      <a:pt x="44767" y="58526"/>
                      <a:pt x="44767" y="58526"/>
                    </a:cubicBezTo>
                    <a:lnTo>
                      <a:pt x="52388" y="60431"/>
                    </a:lnTo>
                    <a:cubicBezTo>
                      <a:pt x="52388" y="60431"/>
                      <a:pt x="56197" y="60431"/>
                      <a:pt x="61913" y="61383"/>
                    </a:cubicBezTo>
                    <a:cubicBezTo>
                      <a:pt x="68580" y="62336"/>
                      <a:pt x="83820" y="62336"/>
                      <a:pt x="83820" y="62336"/>
                    </a:cubicBezTo>
                    <a:lnTo>
                      <a:pt x="99060" y="63288"/>
                    </a:lnTo>
                    <a:cubicBezTo>
                      <a:pt x="99060" y="63288"/>
                      <a:pt x="106680" y="62336"/>
                      <a:pt x="112395" y="63288"/>
                    </a:cubicBezTo>
                    <a:cubicBezTo>
                      <a:pt x="118110" y="64241"/>
                      <a:pt x="132397" y="63288"/>
                      <a:pt x="132397" y="63288"/>
                    </a:cubicBezTo>
                    <a:cubicBezTo>
                      <a:pt x="132397" y="63288"/>
                      <a:pt x="137160" y="62336"/>
                      <a:pt x="141922" y="62336"/>
                    </a:cubicBezTo>
                    <a:cubicBezTo>
                      <a:pt x="147638" y="63288"/>
                      <a:pt x="155258" y="62336"/>
                      <a:pt x="155258" y="62336"/>
                    </a:cubicBezTo>
                    <a:lnTo>
                      <a:pt x="163830" y="62336"/>
                    </a:lnTo>
                    <a:cubicBezTo>
                      <a:pt x="168592" y="66146"/>
                      <a:pt x="164783" y="68051"/>
                      <a:pt x="163830" y="69956"/>
                    </a:cubicBezTo>
                    <a:cubicBezTo>
                      <a:pt x="162877" y="71861"/>
                      <a:pt x="157163" y="71861"/>
                      <a:pt x="153352" y="73766"/>
                    </a:cubicBezTo>
                    <a:cubicBezTo>
                      <a:pt x="149542" y="75671"/>
                      <a:pt x="145733" y="74718"/>
                      <a:pt x="130492" y="76623"/>
                    </a:cubicBezTo>
                    <a:cubicBezTo>
                      <a:pt x="116205" y="78528"/>
                      <a:pt x="116205" y="78528"/>
                      <a:pt x="116205" y="78528"/>
                    </a:cubicBezTo>
                    <a:cubicBezTo>
                      <a:pt x="116205" y="78528"/>
                      <a:pt x="108585" y="78528"/>
                      <a:pt x="104775" y="80433"/>
                    </a:cubicBezTo>
                    <a:cubicBezTo>
                      <a:pt x="101917" y="82338"/>
                      <a:pt x="90488" y="78528"/>
                      <a:pt x="91440" y="85196"/>
                    </a:cubicBezTo>
                    <a:cubicBezTo>
                      <a:pt x="92392" y="91863"/>
                      <a:pt x="92392" y="91863"/>
                      <a:pt x="92392" y="91863"/>
                    </a:cubicBezTo>
                    <a:lnTo>
                      <a:pt x="100013" y="93768"/>
                    </a:lnTo>
                    <a:lnTo>
                      <a:pt x="105727" y="93768"/>
                    </a:lnTo>
                    <a:cubicBezTo>
                      <a:pt x="105727" y="93768"/>
                      <a:pt x="106680" y="93768"/>
                      <a:pt x="105727" y="96626"/>
                    </a:cubicBezTo>
                    <a:cubicBezTo>
                      <a:pt x="104775" y="99483"/>
                      <a:pt x="104775" y="99483"/>
                      <a:pt x="104775" y="99483"/>
                    </a:cubicBezTo>
                    <a:lnTo>
                      <a:pt x="99060" y="109961"/>
                    </a:lnTo>
                    <a:cubicBezTo>
                      <a:pt x="99060" y="109961"/>
                      <a:pt x="85725" y="109008"/>
                      <a:pt x="85725" y="110913"/>
                    </a:cubicBezTo>
                    <a:cubicBezTo>
                      <a:pt x="85725" y="112818"/>
                      <a:pt x="85725" y="112818"/>
                      <a:pt x="85725" y="112818"/>
                    </a:cubicBezTo>
                    <a:cubicBezTo>
                      <a:pt x="85725" y="112818"/>
                      <a:pt x="79058" y="114723"/>
                      <a:pt x="79058" y="117581"/>
                    </a:cubicBezTo>
                    <a:cubicBezTo>
                      <a:pt x="79058" y="120438"/>
                      <a:pt x="51435" y="124248"/>
                      <a:pt x="51435" y="127106"/>
                    </a:cubicBezTo>
                    <a:cubicBezTo>
                      <a:pt x="51435" y="129963"/>
                      <a:pt x="51435" y="129963"/>
                      <a:pt x="51435" y="129963"/>
                    </a:cubicBezTo>
                    <a:cubicBezTo>
                      <a:pt x="51435" y="129963"/>
                      <a:pt x="55245" y="136631"/>
                      <a:pt x="59055" y="138536"/>
                    </a:cubicBezTo>
                    <a:cubicBezTo>
                      <a:pt x="61913" y="140441"/>
                      <a:pt x="54292" y="143298"/>
                      <a:pt x="54292" y="143298"/>
                    </a:cubicBezTo>
                    <a:lnTo>
                      <a:pt x="29527" y="150918"/>
                    </a:lnTo>
                    <a:lnTo>
                      <a:pt x="24765" y="153776"/>
                    </a:lnTo>
                    <a:cubicBezTo>
                      <a:pt x="24765" y="153776"/>
                      <a:pt x="21908" y="153776"/>
                      <a:pt x="24765" y="157586"/>
                    </a:cubicBezTo>
                    <a:cubicBezTo>
                      <a:pt x="27622" y="161396"/>
                      <a:pt x="38100" y="162348"/>
                      <a:pt x="38100" y="162348"/>
                    </a:cubicBezTo>
                    <a:cubicBezTo>
                      <a:pt x="38100" y="162348"/>
                      <a:pt x="43815" y="161396"/>
                      <a:pt x="47625" y="162348"/>
                    </a:cubicBezTo>
                    <a:cubicBezTo>
                      <a:pt x="52388" y="163301"/>
                      <a:pt x="82867" y="160443"/>
                      <a:pt x="82867" y="160443"/>
                    </a:cubicBezTo>
                    <a:cubicBezTo>
                      <a:pt x="82867" y="160443"/>
                      <a:pt x="93345" y="157586"/>
                      <a:pt x="92392" y="160443"/>
                    </a:cubicBezTo>
                    <a:cubicBezTo>
                      <a:pt x="92392" y="163301"/>
                      <a:pt x="94297" y="165206"/>
                      <a:pt x="98108" y="165206"/>
                    </a:cubicBezTo>
                    <a:cubicBezTo>
                      <a:pt x="100965" y="165206"/>
                      <a:pt x="106680" y="164253"/>
                      <a:pt x="112395" y="166158"/>
                    </a:cubicBezTo>
                    <a:cubicBezTo>
                      <a:pt x="118110" y="168063"/>
                      <a:pt x="127635" y="168063"/>
                      <a:pt x="127635" y="168063"/>
                    </a:cubicBezTo>
                    <a:lnTo>
                      <a:pt x="140017" y="169016"/>
                    </a:lnTo>
                    <a:cubicBezTo>
                      <a:pt x="140017" y="169016"/>
                      <a:pt x="144780" y="168063"/>
                      <a:pt x="147638" y="169016"/>
                    </a:cubicBezTo>
                    <a:cubicBezTo>
                      <a:pt x="150495" y="170921"/>
                      <a:pt x="155258" y="170921"/>
                      <a:pt x="159067" y="170921"/>
                    </a:cubicBezTo>
                    <a:cubicBezTo>
                      <a:pt x="161925" y="170921"/>
                      <a:pt x="173355" y="169968"/>
                      <a:pt x="182880" y="169968"/>
                    </a:cubicBezTo>
                    <a:cubicBezTo>
                      <a:pt x="192405" y="169016"/>
                      <a:pt x="190500" y="166158"/>
                      <a:pt x="194310" y="164253"/>
                    </a:cubicBezTo>
                    <a:cubicBezTo>
                      <a:pt x="197167" y="163301"/>
                      <a:pt x="200977" y="154728"/>
                      <a:pt x="200977" y="154728"/>
                    </a:cubicBezTo>
                    <a:cubicBezTo>
                      <a:pt x="200977" y="154728"/>
                      <a:pt x="202883" y="149966"/>
                      <a:pt x="206692" y="148061"/>
                    </a:cubicBezTo>
                    <a:cubicBezTo>
                      <a:pt x="209550" y="147108"/>
                      <a:pt x="213360" y="144251"/>
                      <a:pt x="216217" y="143298"/>
                    </a:cubicBezTo>
                    <a:cubicBezTo>
                      <a:pt x="219075" y="142346"/>
                      <a:pt x="220980" y="138536"/>
                      <a:pt x="224790" y="136631"/>
                    </a:cubicBezTo>
                    <a:cubicBezTo>
                      <a:pt x="229552" y="135678"/>
                      <a:pt x="229552" y="128058"/>
                      <a:pt x="232410" y="127106"/>
                    </a:cubicBezTo>
                    <a:cubicBezTo>
                      <a:pt x="235267" y="126153"/>
                      <a:pt x="238125" y="124248"/>
                      <a:pt x="241935" y="124248"/>
                    </a:cubicBezTo>
                    <a:cubicBezTo>
                      <a:pt x="246697" y="124248"/>
                      <a:pt x="253365" y="120438"/>
                      <a:pt x="253365" y="120438"/>
                    </a:cubicBezTo>
                    <a:lnTo>
                      <a:pt x="260985" y="116628"/>
                    </a:lnTo>
                    <a:lnTo>
                      <a:pt x="262890" y="109961"/>
                    </a:lnTo>
                    <a:cubicBezTo>
                      <a:pt x="262890" y="109961"/>
                      <a:pt x="262890" y="103293"/>
                      <a:pt x="268605" y="103293"/>
                    </a:cubicBezTo>
                    <a:cubicBezTo>
                      <a:pt x="274320" y="103293"/>
                      <a:pt x="271463" y="101388"/>
                      <a:pt x="276225" y="100436"/>
                    </a:cubicBezTo>
                    <a:cubicBezTo>
                      <a:pt x="280988" y="99483"/>
                      <a:pt x="290513" y="93768"/>
                      <a:pt x="290513" y="93768"/>
                    </a:cubicBezTo>
                    <a:lnTo>
                      <a:pt x="310515" y="87101"/>
                    </a:lnTo>
                    <a:lnTo>
                      <a:pt x="325755" y="79481"/>
                    </a:lnTo>
                    <a:lnTo>
                      <a:pt x="334327" y="75671"/>
                    </a:lnTo>
                    <a:cubicBezTo>
                      <a:pt x="334327" y="75671"/>
                      <a:pt x="346710" y="68051"/>
                      <a:pt x="351472" y="68051"/>
                    </a:cubicBezTo>
                    <a:cubicBezTo>
                      <a:pt x="356235" y="68051"/>
                      <a:pt x="362902" y="64241"/>
                      <a:pt x="366713" y="64241"/>
                    </a:cubicBezTo>
                    <a:cubicBezTo>
                      <a:pt x="371475" y="64241"/>
                      <a:pt x="384810" y="57573"/>
                      <a:pt x="384810" y="57573"/>
                    </a:cubicBezTo>
                    <a:cubicBezTo>
                      <a:pt x="384810" y="57573"/>
                      <a:pt x="392430" y="56621"/>
                      <a:pt x="397192" y="54716"/>
                    </a:cubicBezTo>
                    <a:cubicBezTo>
                      <a:pt x="401955" y="53763"/>
                      <a:pt x="417195" y="49953"/>
                      <a:pt x="417195" y="49953"/>
                    </a:cubicBezTo>
                    <a:lnTo>
                      <a:pt x="428625" y="43286"/>
                    </a:lnTo>
                    <a:cubicBezTo>
                      <a:pt x="428625" y="43286"/>
                      <a:pt x="430530" y="42333"/>
                      <a:pt x="435292" y="41381"/>
                    </a:cubicBezTo>
                    <a:cubicBezTo>
                      <a:pt x="440055" y="40428"/>
                      <a:pt x="443865" y="39476"/>
                      <a:pt x="448627" y="38523"/>
                    </a:cubicBezTo>
                    <a:cubicBezTo>
                      <a:pt x="453390" y="37571"/>
                      <a:pt x="473392" y="33761"/>
                      <a:pt x="473392" y="33761"/>
                    </a:cubicBezTo>
                    <a:cubicBezTo>
                      <a:pt x="473392" y="33761"/>
                      <a:pt x="458152" y="33761"/>
                      <a:pt x="478155" y="30903"/>
                    </a:cubicBezTo>
                    <a:cubicBezTo>
                      <a:pt x="498158" y="28046"/>
                      <a:pt x="498158" y="28046"/>
                      <a:pt x="498158" y="28046"/>
                    </a:cubicBezTo>
                    <a:lnTo>
                      <a:pt x="501015" y="17568"/>
                    </a:lnTo>
                    <a:lnTo>
                      <a:pt x="499110" y="13758"/>
                    </a:lnTo>
                    <a:lnTo>
                      <a:pt x="489585" y="11853"/>
                    </a:lnTo>
                    <a:lnTo>
                      <a:pt x="472440" y="8043"/>
                    </a:lnTo>
                    <a:lnTo>
                      <a:pt x="456247" y="4233"/>
                    </a:lnTo>
                    <a:cubicBezTo>
                      <a:pt x="456247" y="4233"/>
                      <a:pt x="441960" y="2328"/>
                      <a:pt x="436245" y="2328"/>
                    </a:cubicBezTo>
                    <a:cubicBezTo>
                      <a:pt x="430530" y="2328"/>
                      <a:pt x="408622" y="2328"/>
                      <a:pt x="408622" y="2328"/>
                    </a:cubicBezTo>
                    <a:cubicBezTo>
                      <a:pt x="408622" y="2328"/>
                      <a:pt x="393383" y="423"/>
                      <a:pt x="388620" y="423"/>
                    </a:cubicBezTo>
                    <a:cubicBezTo>
                      <a:pt x="383858" y="423"/>
                      <a:pt x="375285" y="423"/>
                      <a:pt x="372427" y="423"/>
                    </a:cubicBezTo>
                    <a:cubicBezTo>
                      <a:pt x="369570" y="423"/>
                      <a:pt x="345758" y="423"/>
                      <a:pt x="345758" y="423"/>
                    </a:cubicBezTo>
                    <a:cubicBezTo>
                      <a:pt x="345758" y="423"/>
                      <a:pt x="308610" y="-529"/>
                      <a:pt x="302895" y="423"/>
                    </a:cubicBezTo>
                    <a:cubicBezTo>
                      <a:pt x="297180" y="1376"/>
                      <a:pt x="281940" y="423"/>
                      <a:pt x="273367" y="1376"/>
                    </a:cubicBezTo>
                    <a:cubicBezTo>
                      <a:pt x="264795" y="2328"/>
                      <a:pt x="231458" y="4233"/>
                      <a:pt x="231458" y="4233"/>
                    </a:cubicBezTo>
                    <a:lnTo>
                      <a:pt x="209550" y="7091"/>
                    </a:lnTo>
                    <a:cubicBezTo>
                      <a:pt x="209550" y="7091"/>
                      <a:pt x="194310" y="5186"/>
                      <a:pt x="188595" y="5186"/>
                    </a:cubicBezTo>
                    <a:cubicBezTo>
                      <a:pt x="182880" y="8043"/>
                      <a:pt x="154305" y="5186"/>
                      <a:pt x="154305" y="5186"/>
                    </a:cubicBezTo>
                    <a:lnTo>
                      <a:pt x="140017" y="6138"/>
                    </a:lnTo>
                    <a:cubicBezTo>
                      <a:pt x="140017" y="6138"/>
                      <a:pt x="125730" y="7091"/>
                      <a:pt x="121920" y="8996"/>
                    </a:cubicBezTo>
                    <a:cubicBezTo>
                      <a:pt x="118110" y="9948"/>
                      <a:pt x="100965" y="10901"/>
                      <a:pt x="100965" y="10901"/>
                    </a:cubicBezTo>
                    <a:lnTo>
                      <a:pt x="88583" y="12806"/>
                    </a:lnTo>
                    <a:cubicBezTo>
                      <a:pt x="88583" y="12806"/>
                      <a:pt x="73342" y="16616"/>
                      <a:pt x="69533" y="16616"/>
                    </a:cubicBezTo>
                    <a:cubicBezTo>
                      <a:pt x="66675" y="17568"/>
                      <a:pt x="57150" y="17568"/>
                      <a:pt x="57150" y="17568"/>
                    </a:cubicBezTo>
                    <a:lnTo>
                      <a:pt x="50483" y="19473"/>
                    </a:lnTo>
                    <a:lnTo>
                      <a:pt x="40005" y="22331"/>
                    </a:lnTo>
                    <a:lnTo>
                      <a:pt x="26670" y="25188"/>
                    </a:lnTo>
                    <a:lnTo>
                      <a:pt x="17145" y="27093"/>
                    </a:lnTo>
                    <a:lnTo>
                      <a:pt x="0" y="32808"/>
                    </a:lnTo>
                    <a:close/>
                  </a:path>
                </a:pathLst>
              </a:custGeom>
              <a:grpFill/>
              <a:ln w="9525" cap="flat">
                <a:noFill/>
                <a:prstDash val="solid"/>
                <a:miter/>
              </a:ln>
            </p:spPr>
            <p:txBody>
              <a:bodyPr rtlCol="0" anchor="ctr"/>
              <a:lstStyle/>
              <a:p>
                <a:endParaRPr lang="en-US" sz="1765"/>
              </a:p>
            </p:txBody>
          </p:sp>
          <p:sp>
            <p:nvSpPr>
              <p:cNvPr id="36" name="Freeform: Shape 35">
                <a:extLst>
                  <a:ext uri="{FF2B5EF4-FFF2-40B4-BE49-F238E27FC236}">
                    <a16:creationId xmlns:a16="http://schemas.microsoft.com/office/drawing/2014/main" id="{7C1BB3DD-C289-488F-9723-E50DB41F2FB0}"/>
                  </a:ext>
                </a:extLst>
              </p:cNvPr>
              <p:cNvSpPr/>
              <p:nvPr/>
            </p:nvSpPr>
            <p:spPr>
              <a:xfrm>
                <a:off x="6865648" y="3021232"/>
                <a:ext cx="48577" cy="18876"/>
              </a:xfrm>
              <a:custGeom>
                <a:avLst/>
                <a:gdLst>
                  <a:gd name="connsiteX0" fmla="*/ 39053 w 48577"/>
                  <a:gd name="connsiteY0" fmla="*/ 16971 h 18876"/>
                  <a:gd name="connsiteX1" fmla="*/ 36195 w 48577"/>
                  <a:gd name="connsiteY1" fmla="*/ 16971 h 18876"/>
                  <a:gd name="connsiteX2" fmla="*/ 24765 w 48577"/>
                  <a:gd name="connsiteY2" fmla="*/ 16971 h 18876"/>
                  <a:gd name="connsiteX3" fmla="*/ 21908 w 48577"/>
                  <a:gd name="connsiteY3" fmla="*/ 16971 h 18876"/>
                  <a:gd name="connsiteX4" fmla="*/ 15240 w 48577"/>
                  <a:gd name="connsiteY4" fmla="*/ 15066 h 18876"/>
                  <a:gd name="connsiteX5" fmla="*/ 1905 w 48577"/>
                  <a:gd name="connsiteY5" fmla="*/ 11256 h 18876"/>
                  <a:gd name="connsiteX6" fmla="*/ 0 w 48577"/>
                  <a:gd name="connsiteY6" fmla="*/ 7446 h 18876"/>
                  <a:gd name="connsiteX7" fmla="*/ 0 w 48577"/>
                  <a:gd name="connsiteY7" fmla="*/ 2684 h 18876"/>
                  <a:gd name="connsiteX8" fmla="*/ 2858 w 48577"/>
                  <a:gd name="connsiteY8" fmla="*/ 1731 h 18876"/>
                  <a:gd name="connsiteX9" fmla="*/ 4763 w 48577"/>
                  <a:gd name="connsiteY9" fmla="*/ 1731 h 18876"/>
                  <a:gd name="connsiteX10" fmla="*/ 14288 w 48577"/>
                  <a:gd name="connsiteY10" fmla="*/ 779 h 18876"/>
                  <a:gd name="connsiteX11" fmla="*/ 16193 w 48577"/>
                  <a:gd name="connsiteY11" fmla="*/ 1731 h 18876"/>
                  <a:gd name="connsiteX12" fmla="*/ 22860 w 48577"/>
                  <a:gd name="connsiteY12" fmla="*/ 5541 h 18876"/>
                  <a:gd name="connsiteX13" fmla="*/ 39053 w 48577"/>
                  <a:gd name="connsiteY13" fmla="*/ 7446 h 18876"/>
                  <a:gd name="connsiteX14" fmla="*/ 42863 w 48577"/>
                  <a:gd name="connsiteY14" fmla="*/ 8399 h 18876"/>
                  <a:gd name="connsiteX15" fmla="*/ 44768 w 48577"/>
                  <a:gd name="connsiteY15" fmla="*/ 9351 h 18876"/>
                  <a:gd name="connsiteX16" fmla="*/ 46673 w 48577"/>
                  <a:gd name="connsiteY16" fmla="*/ 12209 h 18876"/>
                  <a:gd name="connsiteX17" fmla="*/ 48578 w 48577"/>
                  <a:gd name="connsiteY17" fmla="*/ 14114 h 18876"/>
                  <a:gd name="connsiteX18" fmla="*/ 45720 w 48577"/>
                  <a:gd name="connsiteY18" fmla="*/ 17924 h 18876"/>
                  <a:gd name="connsiteX19" fmla="*/ 40958 w 48577"/>
                  <a:gd name="connsiteY19" fmla="*/ 18876 h 18876"/>
                  <a:gd name="connsiteX20" fmla="*/ 39053 w 48577"/>
                  <a:gd name="connsiteY20" fmla="*/ 16971 h 1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77" h="18876">
                    <a:moveTo>
                      <a:pt x="39053" y="16971"/>
                    </a:moveTo>
                    <a:lnTo>
                      <a:pt x="36195" y="16971"/>
                    </a:lnTo>
                    <a:lnTo>
                      <a:pt x="24765" y="16971"/>
                    </a:lnTo>
                    <a:lnTo>
                      <a:pt x="21908" y="16971"/>
                    </a:lnTo>
                    <a:lnTo>
                      <a:pt x="15240" y="15066"/>
                    </a:lnTo>
                    <a:lnTo>
                      <a:pt x="1905" y="11256"/>
                    </a:lnTo>
                    <a:cubicBezTo>
                      <a:pt x="1905" y="11256"/>
                      <a:pt x="0" y="9351"/>
                      <a:pt x="0" y="7446"/>
                    </a:cubicBezTo>
                    <a:cubicBezTo>
                      <a:pt x="0" y="5541"/>
                      <a:pt x="0" y="2684"/>
                      <a:pt x="0" y="2684"/>
                    </a:cubicBezTo>
                    <a:cubicBezTo>
                      <a:pt x="0" y="2684"/>
                      <a:pt x="953" y="1731"/>
                      <a:pt x="2858" y="1731"/>
                    </a:cubicBezTo>
                    <a:cubicBezTo>
                      <a:pt x="4763" y="1731"/>
                      <a:pt x="953" y="1731"/>
                      <a:pt x="4763" y="1731"/>
                    </a:cubicBezTo>
                    <a:cubicBezTo>
                      <a:pt x="9525" y="1731"/>
                      <a:pt x="12383" y="779"/>
                      <a:pt x="14288" y="779"/>
                    </a:cubicBezTo>
                    <a:cubicBezTo>
                      <a:pt x="16193" y="1731"/>
                      <a:pt x="9525" y="-2079"/>
                      <a:pt x="16193" y="1731"/>
                    </a:cubicBezTo>
                    <a:cubicBezTo>
                      <a:pt x="22860" y="5541"/>
                      <a:pt x="18098" y="3636"/>
                      <a:pt x="22860" y="5541"/>
                    </a:cubicBezTo>
                    <a:cubicBezTo>
                      <a:pt x="27623" y="6494"/>
                      <a:pt x="39053" y="7446"/>
                      <a:pt x="39053" y="7446"/>
                    </a:cubicBezTo>
                    <a:cubicBezTo>
                      <a:pt x="39053" y="7446"/>
                      <a:pt x="40958" y="7446"/>
                      <a:pt x="42863" y="8399"/>
                    </a:cubicBezTo>
                    <a:cubicBezTo>
                      <a:pt x="44768" y="9351"/>
                      <a:pt x="43815" y="6494"/>
                      <a:pt x="44768" y="9351"/>
                    </a:cubicBezTo>
                    <a:cubicBezTo>
                      <a:pt x="46673" y="12209"/>
                      <a:pt x="43815" y="10304"/>
                      <a:pt x="46673" y="12209"/>
                    </a:cubicBezTo>
                    <a:cubicBezTo>
                      <a:pt x="48578" y="14114"/>
                      <a:pt x="48578" y="12209"/>
                      <a:pt x="48578" y="14114"/>
                    </a:cubicBezTo>
                    <a:cubicBezTo>
                      <a:pt x="48578" y="16019"/>
                      <a:pt x="45720" y="17924"/>
                      <a:pt x="45720" y="17924"/>
                    </a:cubicBezTo>
                    <a:lnTo>
                      <a:pt x="40958" y="18876"/>
                    </a:lnTo>
                    <a:lnTo>
                      <a:pt x="39053" y="16971"/>
                    </a:lnTo>
                    <a:close/>
                  </a:path>
                </a:pathLst>
              </a:custGeom>
              <a:grpFill/>
              <a:ln w="9525" cap="flat">
                <a:noFill/>
                <a:prstDash val="solid"/>
                <a:miter/>
              </a:ln>
            </p:spPr>
            <p:txBody>
              <a:bodyPr rtlCol="0" anchor="ctr"/>
              <a:lstStyle/>
              <a:p>
                <a:endParaRPr lang="en-US" sz="1765"/>
              </a:p>
            </p:txBody>
          </p:sp>
          <p:sp>
            <p:nvSpPr>
              <p:cNvPr id="37" name="Freeform: Shape 36">
                <a:extLst>
                  <a:ext uri="{FF2B5EF4-FFF2-40B4-BE49-F238E27FC236}">
                    <a16:creationId xmlns:a16="http://schemas.microsoft.com/office/drawing/2014/main" id="{0B608C4E-6853-4157-90CD-67E23DD3B874}"/>
                  </a:ext>
                </a:extLst>
              </p:cNvPr>
              <p:cNvSpPr/>
              <p:nvPr/>
            </p:nvSpPr>
            <p:spPr>
              <a:xfrm>
                <a:off x="7005044" y="2790554"/>
                <a:ext cx="1036941" cy="497205"/>
              </a:xfrm>
              <a:custGeom>
                <a:avLst/>
                <a:gdLst>
                  <a:gd name="connsiteX0" fmla="*/ 75870 w 1036941"/>
                  <a:gd name="connsiteY0" fmla="*/ 120968 h 497205"/>
                  <a:gd name="connsiteX1" fmla="*/ 59677 w 1036941"/>
                  <a:gd name="connsiteY1" fmla="*/ 120968 h 497205"/>
                  <a:gd name="connsiteX2" fmla="*/ 50152 w 1036941"/>
                  <a:gd name="connsiteY2" fmla="*/ 121920 h 497205"/>
                  <a:gd name="connsiteX3" fmla="*/ 33007 w 1036941"/>
                  <a:gd name="connsiteY3" fmla="*/ 121920 h 497205"/>
                  <a:gd name="connsiteX4" fmla="*/ 21577 w 1036941"/>
                  <a:gd name="connsiteY4" fmla="*/ 121920 h 497205"/>
                  <a:gd name="connsiteX5" fmla="*/ 13004 w 1036941"/>
                  <a:gd name="connsiteY5" fmla="*/ 121920 h 497205"/>
                  <a:gd name="connsiteX6" fmla="*/ 9195 w 1036941"/>
                  <a:gd name="connsiteY6" fmla="*/ 121920 h 497205"/>
                  <a:gd name="connsiteX7" fmla="*/ 3479 w 1036941"/>
                  <a:gd name="connsiteY7" fmla="*/ 121920 h 497205"/>
                  <a:gd name="connsiteX8" fmla="*/ 622 w 1036941"/>
                  <a:gd name="connsiteY8" fmla="*/ 128588 h 497205"/>
                  <a:gd name="connsiteX9" fmla="*/ 1575 w 1036941"/>
                  <a:gd name="connsiteY9" fmla="*/ 131445 h 497205"/>
                  <a:gd name="connsiteX10" fmla="*/ 3479 w 1036941"/>
                  <a:gd name="connsiteY10" fmla="*/ 132398 h 497205"/>
                  <a:gd name="connsiteX11" fmla="*/ 8242 w 1036941"/>
                  <a:gd name="connsiteY11" fmla="*/ 136208 h 497205"/>
                  <a:gd name="connsiteX12" fmla="*/ 11100 w 1036941"/>
                  <a:gd name="connsiteY12" fmla="*/ 137160 h 497205"/>
                  <a:gd name="connsiteX13" fmla="*/ 17767 w 1036941"/>
                  <a:gd name="connsiteY13" fmla="*/ 139065 h 497205"/>
                  <a:gd name="connsiteX14" fmla="*/ 29197 w 1036941"/>
                  <a:gd name="connsiteY14" fmla="*/ 141923 h 497205"/>
                  <a:gd name="connsiteX15" fmla="*/ 31102 w 1036941"/>
                  <a:gd name="connsiteY15" fmla="*/ 142875 h 497205"/>
                  <a:gd name="connsiteX16" fmla="*/ 41579 w 1036941"/>
                  <a:gd name="connsiteY16" fmla="*/ 148590 h 497205"/>
                  <a:gd name="connsiteX17" fmla="*/ 45390 w 1036941"/>
                  <a:gd name="connsiteY17" fmla="*/ 150495 h 497205"/>
                  <a:gd name="connsiteX18" fmla="*/ 54915 w 1036941"/>
                  <a:gd name="connsiteY18" fmla="*/ 152400 h 497205"/>
                  <a:gd name="connsiteX19" fmla="*/ 59677 w 1036941"/>
                  <a:gd name="connsiteY19" fmla="*/ 154305 h 497205"/>
                  <a:gd name="connsiteX20" fmla="*/ 63487 w 1036941"/>
                  <a:gd name="connsiteY20" fmla="*/ 157163 h 497205"/>
                  <a:gd name="connsiteX21" fmla="*/ 62535 w 1036941"/>
                  <a:gd name="connsiteY21" fmla="*/ 163830 h 497205"/>
                  <a:gd name="connsiteX22" fmla="*/ 56820 w 1036941"/>
                  <a:gd name="connsiteY22" fmla="*/ 169545 h 497205"/>
                  <a:gd name="connsiteX23" fmla="*/ 52057 w 1036941"/>
                  <a:gd name="connsiteY23" fmla="*/ 176213 h 497205"/>
                  <a:gd name="connsiteX24" fmla="*/ 53010 w 1036941"/>
                  <a:gd name="connsiteY24" fmla="*/ 179070 h 497205"/>
                  <a:gd name="connsiteX25" fmla="*/ 55867 w 1036941"/>
                  <a:gd name="connsiteY25" fmla="*/ 185738 h 497205"/>
                  <a:gd name="connsiteX26" fmla="*/ 60629 w 1036941"/>
                  <a:gd name="connsiteY26" fmla="*/ 188595 h 497205"/>
                  <a:gd name="connsiteX27" fmla="*/ 66345 w 1036941"/>
                  <a:gd name="connsiteY27" fmla="*/ 189548 h 497205"/>
                  <a:gd name="connsiteX28" fmla="*/ 82537 w 1036941"/>
                  <a:gd name="connsiteY28" fmla="*/ 191453 h 497205"/>
                  <a:gd name="connsiteX29" fmla="*/ 88252 w 1036941"/>
                  <a:gd name="connsiteY29" fmla="*/ 192405 h 497205"/>
                  <a:gd name="connsiteX30" fmla="*/ 95872 w 1036941"/>
                  <a:gd name="connsiteY30" fmla="*/ 191453 h 497205"/>
                  <a:gd name="connsiteX31" fmla="*/ 105397 w 1036941"/>
                  <a:gd name="connsiteY31" fmla="*/ 184785 h 497205"/>
                  <a:gd name="connsiteX32" fmla="*/ 110160 w 1036941"/>
                  <a:gd name="connsiteY32" fmla="*/ 182880 h 497205"/>
                  <a:gd name="connsiteX33" fmla="*/ 123495 w 1036941"/>
                  <a:gd name="connsiteY33" fmla="*/ 182880 h 497205"/>
                  <a:gd name="connsiteX34" fmla="*/ 129210 w 1036941"/>
                  <a:gd name="connsiteY34" fmla="*/ 183833 h 497205"/>
                  <a:gd name="connsiteX35" fmla="*/ 146354 w 1036941"/>
                  <a:gd name="connsiteY35" fmla="*/ 184785 h 497205"/>
                  <a:gd name="connsiteX36" fmla="*/ 167310 w 1036941"/>
                  <a:gd name="connsiteY36" fmla="*/ 185738 h 497205"/>
                  <a:gd name="connsiteX37" fmla="*/ 180645 w 1036941"/>
                  <a:gd name="connsiteY37" fmla="*/ 183833 h 497205"/>
                  <a:gd name="connsiteX38" fmla="*/ 184454 w 1036941"/>
                  <a:gd name="connsiteY38" fmla="*/ 185738 h 497205"/>
                  <a:gd name="connsiteX39" fmla="*/ 199695 w 1036941"/>
                  <a:gd name="connsiteY39" fmla="*/ 194310 h 497205"/>
                  <a:gd name="connsiteX40" fmla="*/ 211125 w 1036941"/>
                  <a:gd name="connsiteY40" fmla="*/ 198120 h 497205"/>
                  <a:gd name="connsiteX41" fmla="*/ 224460 w 1036941"/>
                  <a:gd name="connsiteY41" fmla="*/ 201930 h 497205"/>
                  <a:gd name="connsiteX42" fmla="*/ 246367 w 1036941"/>
                  <a:gd name="connsiteY42" fmla="*/ 209550 h 497205"/>
                  <a:gd name="connsiteX43" fmla="*/ 252082 w 1036941"/>
                  <a:gd name="connsiteY43" fmla="*/ 216218 h 497205"/>
                  <a:gd name="connsiteX44" fmla="*/ 253987 w 1036941"/>
                  <a:gd name="connsiteY44" fmla="*/ 219075 h 497205"/>
                  <a:gd name="connsiteX45" fmla="*/ 266370 w 1036941"/>
                  <a:gd name="connsiteY45" fmla="*/ 231458 h 497205"/>
                  <a:gd name="connsiteX46" fmla="*/ 272085 w 1036941"/>
                  <a:gd name="connsiteY46" fmla="*/ 235268 h 497205"/>
                  <a:gd name="connsiteX47" fmla="*/ 277800 w 1036941"/>
                  <a:gd name="connsiteY47" fmla="*/ 239078 h 497205"/>
                  <a:gd name="connsiteX48" fmla="*/ 282562 w 1036941"/>
                  <a:gd name="connsiteY48" fmla="*/ 242888 h 497205"/>
                  <a:gd name="connsiteX49" fmla="*/ 286372 w 1036941"/>
                  <a:gd name="connsiteY49" fmla="*/ 253365 h 497205"/>
                  <a:gd name="connsiteX50" fmla="*/ 287325 w 1036941"/>
                  <a:gd name="connsiteY50" fmla="*/ 258128 h 497205"/>
                  <a:gd name="connsiteX51" fmla="*/ 287325 w 1036941"/>
                  <a:gd name="connsiteY51" fmla="*/ 268605 h 497205"/>
                  <a:gd name="connsiteX52" fmla="*/ 287325 w 1036941"/>
                  <a:gd name="connsiteY52" fmla="*/ 271463 h 497205"/>
                  <a:gd name="connsiteX53" fmla="*/ 287325 w 1036941"/>
                  <a:gd name="connsiteY53" fmla="*/ 276225 h 497205"/>
                  <a:gd name="connsiteX54" fmla="*/ 288277 w 1036941"/>
                  <a:gd name="connsiteY54" fmla="*/ 283845 h 497205"/>
                  <a:gd name="connsiteX55" fmla="*/ 292087 w 1036941"/>
                  <a:gd name="connsiteY55" fmla="*/ 288608 h 497205"/>
                  <a:gd name="connsiteX56" fmla="*/ 297802 w 1036941"/>
                  <a:gd name="connsiteY56" fmla="*/ 292418 h 497205"/>
                  <a:gd name="connsiteX57" fmla="*/ 307327 w 1036941"/>
                  <a:gd name="connsiteY57" fmla="*/ 293370 h 497205"/>
                  <a:gd name="connsiteX58" fmla="*/ 310185 w 1036941"/>
                  <a:gd name="connsiteY58" fmla="*/ 292418 h 497205"/>
                  <a:gd name="connsiteX59" fmla="*/ 312090 w 1036941"/>
                  <a:gd name="connsiteY59" fmla="*/ 290513 h 497205"/>
                  <a:gd name="connsiteX60" fmla="*/ 311137 w 1036941"/>
                  <a:gd name="connsiteY60" fmla="*/ 285750 h 497205"/>
                  <a:gd name="connsiteX61" fmla="*/ 310185 w 1036941"/>
                  <a:gd name="connsiteY61" fmla="*/ 283845 h 497205"/>
                  <a:gd name="connsiteX62" fmla="*/ 311137 w 1036941"/>
                  <a:gd name="connsiteY62" fmla="*/ 280035 h 497205"/>
                  <a:gd name="connsiteX63" fmla="*/ 322567 w 1036941"/>
                  <a:gd name="connsiteY63" fmla="*/ 280035 h 497205"/>
                  <a:gd name="connsiteX64" fmla="*/ 332092 w 1036941"/>
                  <a:gd name="connsiteY64" fmla="*/ 279083 h 497205"/>
                  <a:gd name="connsiteX65" fmla="*/ 336855 w 1036941"/>
                  <a:gd name="connsiteY65" fmla="*/ 279083 h 497205"/>
                  <a:gd name="connsiteX66" fmla="*/ 337807 w 1036941"/>
                  <a:gd name="connsiteY66" fmla="*/ 283845 h 497205"/>
                  <a:gd name="connsiteX67" fmla="*/ 340665 w 1036941"/>
                  <a:gd name="connsiteY67" fmla="*/ 289560 h 497205"/>
                  <a:gd name="connsiteX68" fmla="*/ 350190 w 1036941"/>
                  <a:gd name="connsiteY68" fmla="*/ 292418 h 497205"/>
                  <a:gd name="connsiteX69" fmla="*/ 356857 w 1036941"/>
                  <a:gd name="connsiteY69" fmla="*/ 294323 h 497205"/>
                  <a:gd name="connsiteX70" fmla="*/ 360667 w 1036941"/>
                  <a:gd name="connsiteY70" fmla="*/ 296228 h 497205"/>
                  <a:gd name="connsiteX71" fmla="*/ 361620 w 1036941"/>
                  <a:gd name="connsiteY71" fmla="*/ 298133 h 497205"/>
                  <a:gd name="connsiteX72" fmla="*/ 359715 w 1036941"/>
                  <a:gd name="connsiteY72" fmla="*/ 302895 h 497205"/>
                  <a:gd name="connsiteX73" fmla="*/ 360667 w 1036941"/>
                  <a:gd name="connsiteY73" fmla="*/ 312420 h 497205"/>
                  <a:gd name="connsiteX74" fmla="*/ 361620 w 1036941"/>
                  <a:gd name="connsiteY74" fmla="*/ 317183 h 497205"/>
                  <a:gd name="connsiteX75" fmla="*/ 361620 w 1036941"/>
                  <a:gd name="connsiteY75" fmla="*/ 323850 h 497205"/>
                  <a:gd name="connsiteX76" fmla="*/ 360667 w 1036941"/>
                  <a:gd name="connsiteY76" fmla="*/ 327660 h 497205"/>
                  <a:gd name="connsiteX77" fmla="*/ 358762 w 1036941"/>
                  <a:gd name="connsiteY77" fmla="*/ 334328 h 497205"/>
                  <a:gd name="connsiteX78" fmla="*/ 354952 w 1036941"/>
                  <a:gd name="connsiteY78" fmla="*/ 342900 h 497205"/>
                  <a:gd name="connsiteX79" fmla="*/ 351142 w 1036941"/>
                  <a:gd name="connsiteY79" fmla="*/ 347663 h 497205"/>
                  <a:gd name="connsiteX80" fmla="*/ 339712 w 1036941"/>
                  <a:gd name="connsiteY80" fmla="*/ 354330 h 497205"/>
                  <a:gd name="connsiteX81" fmla="*/ 333045 w 1036941"/>
                  <a:gd name="connsiteY81" fmla="*/ 358140 h 497205"/>
                  <a:gd name="connsiteX82" fmla="*/ 326377 w 1036941"/>
                  <a:gd name="connsiteY82" fmla="*/ 360998 h 497205"/>
                  <a:gd name="connsiteX83" fmla="*/ 321615 w 1036941"/>
                  <a:gd name="connsiteY83" fmla="*/ 363855 h 497205"/>
                  <a:gd name="connsiteX84" fmla="*/ 320662 w 1036941"/>
                  <a:gd name="connsiteY84" fmla="*/ 373380 h 497205"/>
                  <a:gd name="connsiteX85" fmla="*/ 318757 w 1036941"/>
                  <a:gd name="connsiteY85" fmla="*/ 375285 h 497205"/>
                  <a:gd name="connsiteX86" fmla="*/ 316852 w 1036941"/>
                  <a:gd name="connsiteY86" fmla="*/ 381000 h 497205"/>
                  <a:gd name="connsiteX87" fmla="*/ 316852 w 1036941"/>
                  <a:gd name="connsiteY87" fmla="*/ 392430 h 497205"/>
                  <a:gd name="connsiteX88" fmla="*/ 324472 w 1036941"/>
                  <a:gd name="connsiteY88" fmla="*/ 401003 h 497205"/>
                  <a:gd name="connsiteX89" fmla="*/ 325425 w 1036941"/>
                  <a:gd name="connsiteY89" fmla="*/ 403860 h 497205"/>
                  <a:gd name="connsiteX90" fmla="*/ 329235 w 1036941"/>
                  <a:gd name="connsiteY90" fmla="*/ 407670 h 497205"/>
                  <a:gd name="connsiteX91" fmla="*/ 342570 w 1036941"/>
                  <a:gd name="connsiteY91" fmla="*/ 420053 h 497205"/>
                  <a:gd name="connsiteX92" fmla="*/ 354000 w 1036941"/>
                  <a:gd name="connsiteY92" fmla="*/ 427673 h 497205"/>
                  <a:gd name="connsiteX93" fmla="*/ 358762 w 1036941"/>
                  <a:gd name="connsiteY93" fmla="*/ 437198 h 497205"/>
                  <a:gd name="connsiteX94" fmla="*/ 364477 w 1036941"/>
                  <a:gd name="connsiteY94" fmla="*/ 445770 h 497205"/>
                  <a:gd name="connsiteX95" fmla="*/ 372097 w 1036941"/>
                  <a:gd name="connsiteY95" fmla="*/ 451485 h 497205"/>
                  <a:gd name="connsiteX96" fmla="*/ 381622 w 1036941"/>
                  <a:gd name="connsiteY96" fmla="*/ 457200 h 497205"/>
                  <a:gd name="connsiteX97" fmla="*/ 393052 w 1036941"/>
                  <a:gd name="connsiteY97" fmla="*/ 463868 h 497205"/>
                  <a:gd name="connsiteX98" fmla="*/ 398767 w 1036941"/>
                  <a:gd name="connsiteY98" fmla="*/ 472440 h 497205"/>
                  <a:gd name="connsiteX99" fmla="*/ 406387 w 1036941"/>
                  <a:gd name="connsiteY99" fmla="*/ 478155 h 497205"/>
                  <a:gd name="connsiteX100" fmla="*/ 416865 w 1036941"/>
                  <a:gd name="connsiteY100" fmla="*/ 483870 h 497205"/>
                  <a:gd name="connsiteX101" fmla="*/ 420675 w 1036941"/>
                  <a:gd name="connsiteY101" fmla="*/ 485775 h 497205"/>
                  <a:gd name="connsiteX102" fmla="*/ 434010 w 1036941"/>
                  <a:gd name="connsiteY102" fmla="*/ 491490 h 497205"/>
                  <a:gd name="connsiteX103" fmla="*/ 442582 w 1036941"/>
                  <a:gd name="connsiteY103" fmla="*/ 494348 h 497205"/>
                  <a:gd name="connsiteX104" fmla="*/ 448297 w 1036941"/>
                  <a:gd name="connsiteY104" fmla="*/ 496253 h 497205"/>
                  <a:gd name="connsiteX105" fmla="*/ 465442 w 1036941"/>
                  <a:gd name="connsiteY105" fmla="*/ 497205 h 497205"/>
                  <a:gd name="connsiteX106" fmla="*/ 481635 w 1036941"/>
                  <a:gd name="connsiteY106" fmla="*/ 493395 h 497205"/>
                  <a:gd name="connsiteX107" fmla="*/ 489255 w 1036941"/>
                  <a:gd name="connsiteY107" fmla="*/ 492443 h 497205"/>
                  <a:gd name="connsiteX108" fmla="*/ 496875 w 1036941"/>
                  <a:gd name="connsiteY108" fmla="*/ 492443 h 497205"/>
                  <a:gd name="connsiteX109" fmla="*/ 507352 w 1036941"/>
                  <a:gd name="connsiteY109" fmla="*/ 483870 h 497205"/>
                  <a:gd name="connsiteX110" fmla="*/ 512115 w 1036941"/>
                  <a:gd name="connsiteY110" fmla="*/ 474345 h 497205"/>
                  <a:gd name="connsiteX111" fmla="*/ 514020 w 1036941"/>
                  <a:gd name="connsiteY111" fmla="*/ 465773 h 497205"/>
                  <a:gd name="connsiteX112" fmla="*/ 518782 w 1036941"/>
                  <a:gd name="connsiteY112" fmla="*/ 460058 h 497205"/>
                  <a:gd name="connsiteX113" fmla="*/ 522592 w 1036941"/>
                  <a:gd name="connsiteY113" fmla="*/ 451485 h 497205"/>
                  <a:gd name="connsiteX114" fmla="*/ 531165 w 1036941"/>
                  <a:gd name="connsiteY114" fmla="*/ 444818 h 497205"/>
                  <a:gd name="connsiteX115" fmla="*/ 534975 w 1036941"/>
                  <a:gd name="connsiteY115" fmla="*/ 438150 h 497205"/>
                  <a:gd name="connsiteX116" fmla="*/ 540690 w 1036941"/>
                  <a:gd name="connsiteY116" fmla="*/ 430530 h 497205"/>
                  <a:gd name="connsiteX117" fmla="*/ 545452 w 1036941"/>
                  <a:gd name="connsiteY117" fmla="*/ 425768 h 497205"/>
                  <a:gd name="connsiteX118" fmla="*/ 551167 w 1036941"/>
                  <a:gd name="connsiteY118" fmla="*/ 420053 h 497205"/>
                  <a:gd name="connsiteX119" fmla="*/ 554977 w 1036941"/>
                  <a:gd name="connsiteY119" fmla="*/ 412433 h 497205"/>
                  <a:gd name="connsiteX120" fmla="*/ 557835 w 1036941"/>
                  <a:gd name="connsiteY120" fmla="*/ 408623 h 497205"/>
                  <a:gd name="connsiteX121" fmla="*/ 569265 w 1036941"/>
                  <a:gd name="connsiteY121" fmla="*/ 403860 h 497205"/>
                  <a:gd name="connsiteX122" fmla="*/ 583552 w 1036941"/>
                  <a:gd name="connsiteY122" fmla="*/ 401003 h 497205"/>
                  <a:gd name="connsiteX123" fmla="*/ 593077 w 1036941"/>
                  <a:gd name="connsiteY123" fmla="*/ 398145 h 497205"/>
                  <a:gd name="connsiteX124" fmla="*/ 603555 w 1036941"/>
                  <a:gd name="connsiteY124" fmla="*/ 398145 h 497205"/>
                  <a:gd name="connsiteX125" fmla="*/ 618795 w 1036941"/>
                  <a:gd name="connsiteY125" fmla="*/ 397193 h 497205"/>
                  <a:gd name="connsiteX126" fmla="*/ 624510 w 1036941"/>
                  <a:gd name="connsiteY126" fmla="*/ 397193 h 497205"/>
                  <a:gd name="connsiteX127" fmla="*/ 644512 w 1036941"/>
                  <a:gd name="connsiteY127" fmla="*/ 394335 h 497205"/>
                  <a:gd name="connsiteX128" fmla="*/ 653085 w 1036941"/>
                  <a:gd name="connsiteY128" fmla="*/ 391478 h 497205"/>
                  <a:gd name="connsiteX129" fmla="*/ 657847 w 1036941"/>
                  <a:gd name="connsiteY129" fmla="*/ 387668 h 497205"/>
                  <a:gd name="connsiteX130" fmla="*/ 663562 w 1036941"/>
                  <a:gd name="connsiteY130" fmla="*/ 382905 h 497205"/>
                  <a:gd name="connsiteX131" fmla="*/ 669277 w 1036941"/>
                  <a:gd name="connsiteY131" fmla="*/ 376238 h 497205"/>
                  <a:gd name="connsiteX132" fmla="*/ 673087 w 1036941"/>
                  <a:gd name="connsiteY132" fmla="*/ 372428 h 497205"/>
                  <a:gd name="connsiteX133" fmla="*/ 677850 w 1036941"/>
                  <a:gd name="connsiteY133" fmla="*/ 367665 h 497205"/>
                  <a:gd name="connsiteX134" fmla="*/ 683565 w 1036941"/>
                  <a:gd name="connsiteY134" fmla="*/ 362903 h 497205"/>
                  <a:gd name="connsiteX135" fmla="*/ 695947 w 1036941"/>
                  <a:gd name="connsiteY135" fmla="*/ 360998 h 497205"/>
                  <a:gd name="connsiteX136" fmla="*/ 702615 w 1036941"/>
                  <a:gd name="connsiteY136" fmla="*/ 360045 h 497205"/>
                  <a:gd name="connsiteX137" fmla="*/ 706425 w 1036941"/>
                  <a:gd name="connsiteY137" fmla="*/ 360045 h 497205"/>
                  <a:gd name="connsiteX138" fmla="*/ 714045 w 1036941"/>
                  <a:gd name="connsiteY138" fmla="*/ 360045 h 497205"/>
                  <a:gd name="connsiteX139" fmla="*/ 725475 w 1036941"/>
                  <a:gd name="connsiteY139" fmla="*/ 360045 h 497205"/>
                  <a:gd name="connsiteX140" fmla="*/ 739762 w 1036941"/>
                  <a:gd name="connsiteY140" fmla="*/ 356235 h 497205"/>
                  <a:gd name="connsiteX141" fmla="*/ 751192 w 1036941"/>
                  <a:gd name="connsiteY141" fmla="*/ 350520 h 497205"/>
                  <a:gd name="connsiteX142" fmla="*/ 760717 w 1036941"/>
                  <a:gd name="connsiteY142" fmla="*/ 348615 h 497205"/>
                  <a:gd name="connsiteX143" fmla="*/ 771195 w 1036941"/>
                  <a:gd name="connsiteY143" fmla="*/ 348615 h 497205"/>
                  <a:gd name="connsiteX144" fmla="*/ 779767 w 1036941"/>
                  <a:gd name="connsiteY144" fmla="*/ 348615 h 497205"/>
                  <a:gd name="connsiteX145" fmla="*/ 793102 w 1036941"/>
                  <a:gd name="connsiteY145" fmla="*/ 346710 h 497205"/>
                  <a:gd name="connsiteX146" fmla="*/ 813105 w 1036941"/>
                  <a:gd name="connsiteY146" fmla="*/ 345758 h 497205"/>
                  <a:gd name="connsiteX147" fmla="*/ 820725 w 1036941"/>
                  <a:gd name="connsiteY147" fmla="*/ 345758 h 497205"/>
                  <a:gd name="connsiteX148" fmla="*/ 829297 w 1036941"/>
                  <a:gd name="connsiteY148" fmla="*/ 345758 h 497205"/>
                  <a:gd name="connsiteX149" fmla="*/ 844537 w 1036941"/>
                  <a:gd name="connsiteY149" fmla="*/ 340995 h 497205"/>
                  <a:gd name="connsiteX150" fmla="*/ 846442 w 1036941"/>
                  <a:gd name="connsiteY150" fmla="*/ 335280 h 497205"/>
                  <a:gd name="connsiteX151" fmla="*/ 847395 w 1036941"/>
                  <a:gd name="connsiteY151" fmla="*/ 329565 h 497205"/>
                  <a:gd name="connsiteX152" fmla="*/ 847395 w 1036941"/>
                  <a:gd name="connsiteY152" fmla="*/ 327660 h 497205"/>
                  <a:gd name="connsiteX153" fmla="*/ 833107 w 1036941"/>
                  <a:gd name="connsiteY153" fmla="*/ 324803 h 497205"/>
                  <a:gd name="connsiteX154" fmla="*/ 817867 w 1036941"/>
                  <a:gd name="connsiteY154" fmla="*/ 322898 h 497205"/>
                  <a:gd name="connsiteX155" fmla="*/ 810247 w 1036941"/>
                  <a:gd name="connsiteY155" fmla="*/ 320993 h 497205"/>
                  <a:gd name="connsiteX156" fmla="*/ 806437 w 1036941"/>
                  <a:gd name="connsiteY156" fmla="*/ 316230 h 497205"/>
                  <a:gd name="connsiteX157" fmla="*/ 806437 w 1036941"/>
                  <a:gd name="connsiteY157" fmla="*/ 312420 h 497205"/>
                  <a:gd name="connsiteX158" fmla="*/ 816914 w 1036941"/>
                  <a:gd name="connsiteY158" fmla="*/ 312420 h 497205"/>
                  <a:gd name="connsiteX159" fmla="*/ 835964 w 1036941"/>
                  <a:gd name="connsiteY159" fmla="*/ 316230 h 497205"/>
                  <a:gd name="connsiteX160" fmla="*/ 853110 w 1036941"/>
                  <a:gd name="connsiteY160" fmla="*/ 318135 h 497205"/>
                  <a:gd name="connsiteX161" fmla="*/ 865492 w 1036941"/>
                  <a:gd name="connsiteY161" fmla="*/ 318135 h 497205"/>
                  <a:gd name="connsiteX162" fmla="*/ 870255 w 1036941"/>
                  <a:gd name="connsiteY162" fmla="*/ 317183 h 497205"/>
                  <a:gd name="connsiteX163" fmla="*/ 881685 w 1036941"/>
                  <a:gd name="connsiteY163" fmla="*/ 317183 h 497205"/>
                  <a:gd name="connsiteX164" fmla="*/ 886447 w 1036941"/>
                  <a:gd name="connsiteY164" fmla="*/ 316230 h 497205"/>
                  <a:gd name="connsiteX165" fmla="*/ 893114 w 1036941"/>
                  <a:gd name="connsiteY165" fmla="*/ 311468 h 497205"/>
                  <a:gd name="connsiteX166" fmla="*/ 894067 w 1036941"/>
                  <a:gd name="connsiteY166" fmla="*/ 305753 h 497205"/>
                  <a:gd name="connsiteX167" fmla="*/ 890257 w 1036941"/>
                  <a:gd name="connsiteY167" fmla="*/ 302895 h 497205"/>
                  <a:gd name="connsiteX168" fmla="*/ 880732 w 1036941"/>
                  <a:gd name="connsiteY168" fmla="*/ 303848 h 497205"/>
                  <a:gd name="connsiteX169" fmla="*/ 875970 w 1036941"/>
                  <a:gd name="connsiteY169" fmla="*/ 301943 h 497205"/>
                  <a:gd name="connsiteX170" fmla="*/ 873112 w 1036941"/>
                  <a:gd name="connsiteY170" fmla="*/ 294323 h 497205"/>
                  <a:gd name="connsiteX171" fmla="*/ 868350 w 1036941"/>
                  <a:gd name="connsiteY171" fmla="*/ 290513 h 497205"/>
                  <a:gd name="connsiteX172" fmla="*/ 859777 w 1036941"/>
                  <a:gd name="connsiteY172" fmla="*/ 286703 h 497205"/>
                  <a:gd name="connsiteX173" fmla="*/ 859777 w 1036941"/>
                  <a:gd name="connsiteY173" fmla="*/ 281940 h 497205"/>
                  <a:gd name="connsiteX174" fmla="*/ 859777 w 1036941"/>
                  <a:gd name="connsiteY174" fmla="*/ 274320 h 497205"/>
                  <a:gd name="connsiteX175" fmla="*/ 860730 w 1036941"/>
                  <a:gd name="connsiteY175" fmla="*/ 264795 h 497205"/>
                  <a:gd name="connsiteX176" fmla="*/ 863587 w 1036941"/>
                  <a:gd name="connsiteY176" fmla="*/ 254318 h 497205"/>
                  <a:gd name="connsiteX177" fmla="*/ 866445 w 1036941"/>
                  <a:gd name="connsiteY177" fmla="*/ 250508 h 497205"/>
                  <a:gd name="connsiteX178" fmla="*/ 872160 w 1036941"/>
                  <a:gd name="connsiteY178" fmla="*/ 247650 h 497205"/>
                  <a:gd name="connsiteX179" fmla="*/ 880732 w 1036941"/>
                  <a:gd name="connsiteY179" fmla="*/ 241935 h 497205"/>
                  <a:gd name="connsiteX180" fmla="*/ 884542 w 1036941"/>
                  <a:gd name="connsiteY180" fmla="*/ 240983 h 497205"/>
                  <a:gd name="connsiteX181" fmla="*/ 891210 w 1036941"/>
                  <a:gd name="connsiteY181" fmla="*/ 240030 h 497205"/>
                  <a:gd name="connsiteX182" fmla="*/ 901687 w 1036941"/>
                  <a:gd name="connsiteY182" fmla="*/ 237173 h 497205"/>
                  <a:gd name="connsiteX183" fmla="*/ 915975 w 1036941"/>
                  <a:gd name="connsiteY183" fmla="*/ 231458 h 497205"/>
                  <a:gd name="connsiteX184" fmla="*/ 916927 w 1036941"/>
                  <a:gd name="connsiteY184" fmla="*/ 227648 h 497205"/>
                  <a:gd name="connsiteX185" fmla="*/ 917880 w 1036941"/>
                  <a:gd name="connsiteY185" fmla="*/ 220028 h 497205"/>
                  <a:gd name="connsiteX186" fmla="*/ 919785 w 1036941"/>
                  <a:gd name="connsiteY186" fmla="*/ 211455 h 497205"/>
                  <a:gd name="connsiteX187" fmla="*/ 924547 w 1036941"/>
                  <a:gd name="connsiteY187" fmla="*/ 209550 h 497205"/>
                  <a:gd name="connsiteX188" fmla="*/ 927405 w 1036941"/>
                  <a:gd name="connsiteY188" fmla="*/ 200978 h 497205"/>
                  <a:gd name="connsiteX189" fmla="*/ 924547 w 1036941"/>
                  <a:gd name="connsiteY189" fmla="*/ 198120 h 497205"/>
                  <a:gd name="connsiteX190" fmla="*/ 913117 w 1036941"/>
                  <a:gd name="connsiteY190" fmla="*/ 198120 h 497205"/>
                  <a:gd name="connsiteX191" fmla="*/ 905497 w 1036941"/>
                  <a:gd name="connsiteY191" fmla="*/ 198120 h 497205"/>
                  <a:gd name="connsiteX192" fmla="*/ 898830 w 1036941"/>
                  <a:gd name="connsiteY192" fmla="*/ 196215 h 497205"/>
                  <a:gd name="connsiteX193" fmla="*/ 896925 w 1036941"/>
                  <a:gd name="connsiteY193" fmla="*/ 194310 h 497205"/>
                  <a:gd name="connsiteX194" fmla="*/ 894067 w 1036941"/>
                  <a:gd name="connsiteY194" fmla="*/ 191453 h 497205"/>
                  <a:gd name="connsiteX195" fmla="*/ 893114 w 1036941"/>
                  <a:gd name="connsiteY195" fmla="*/ 188595 h 497205"/>
                  <a:gd name="connsiteX196" fmla="*/ 893114 w 1036941"/>
                  <a:gd name="connsiteY196" fmla="*/ 185738 h 497205"/>
                  <a:gd name="connsiteX197" fmla="*/ 900735 w 1036941"/>
                  <a:gd name="connsiteY197" fmla="*/ 184785 h 497205"/>
                  <a:gd name="connsiteX198" fmla="*/ 915022 w 1036941"/>
                  <a:gd name="connsiteY198" fmla="*/ 183833 h 497205"/>
                  <a:gd name="connsiteX199" fmla="*/ 919785 w 1036941"/>
                  <a:gd name="connsiteY199" fmla="*/ 181928 h 497205"/>
                  <a:gd name="connsiteX200" fmla="*/ 922642 w 1036941"/>
                  <a:gd name="connsiteY200" fmla="*/ 176213 h 497205"/>
                  <a:gd name="connsiteX201" fmla="*/ 921689 w 1036941"/>
                  <a:gd name="connsiteY201" fmla="*/ 169545 h 497205"/>
                  <a:gd name="connsiteX202" fmla="*/ 915022 w 1036941"/>
                  <a:gd name="connsiteY202" fmla="*/ 168593 h 497205"/>
                  <a:gd name="connsiteX203" fmla="*/ 909307 w 1036941"/>
                  <a:gd name="connsiteY203" fmla="*/ 166688 h 497205"/>
                  <a:gd name="connsiteX204" fmla="*/ 904545 w 1036941"/>
                  <a:gd name="connsiteY204" fmla="*/ 165735 h 497205"/>
                  <a:gd name="connsiteX205" fmla="*/ 899782 w 1036941"/>
                  <a:gd name="connsiteY205" fmla="*/ 164783 h 497205"/>
                  <a:gd name="connsiteX206" fmla="*/ 893114 w 1036941"/>
                  <a:gd name="connsiteY206" fmla="*/ 160973 h 497205"/>
                  <a:gd name="connsiteX207" fmla="*/ 889305 w 1036941"/>
                  <a:gd name="connsiteY207" fmla="*/ 153353 h 497205"/>
                  <a:gd name="connsiteX208" fmla="*/ 888352 w 1036941"/>
                  <a:gd name="connsiteY208" fmla="*/ 146685 h 497205"/>
                  <a:gd name="connsiteX209" fmla="*/ 903592 w 1036941"/>
                  <a:gd name="connsiteY209" fmla="*/ 137160 h 497205"/>
                  <a:gd name="connsiteX210" fmla="*/ 905497 w 1036941"/>
                  <a:gd name="connsiteY210" fmla="*/ 135255 h 497205"/>
                  <a:gd name="connsiteX211" fmla="*/ 917880 w 1036941"/>
                  <a:gd name="connsiteY211" fmla="*/ 123825 h 497205"/>
                  <a:gd name="connsiteX212" fmla="*/ 925500 w 1036941"/>
                  <a:gd name="connsiteY212" fmla="*/ 120015 h 497205"/>
                  <a:gd name="connsiteX213" fmla="*/ 931214 w 1036941"/>
                  <a:gd name="connsiteY213" fmla="*/ 116205 h 497205"/>
                  <a:gd name="connsiteX214" fmla="*/ 935977 w 1036941"/>
                  <a:gd name="connsiteY214" fmla="*/ 113348 h 497205"/>
                  <a:gd name="connsiteX215" fmla="*/ 939787 w 1036941"/>
                  <a:gd name="connsiteY215" fmla="*/ 112395 h 497205"/>
                  <a:gd name="connsiteX216" fmla="*/ 950264 w 1036941"/>
                  <a:gd name="connsiteY216" fmla="*/ 110490 h 497205"/>
                  <a:gd name="connsiteX217" fmla="*/ 956932 w 1036941"/>
                  <a:gd name="connsiteY217" fmla="*/ 103823 h 497205"/>
                  <a:gd name="connsiteX218" fmla="*/ 962647 w 1036941"/>
                  <a:gd name="connsiteY218" fmla="*/ 99060 h 497205"/>
                  <a:gd name="connsiteX219" fmla="*/ 968362 w 1036941"/>
                  <a:gd name="connsiteY219" fmla="*/ 98108 h 497205"/>
                  <a:gd name="connsiteX220" fmla="*/ 975982 w 1036941"/>
                  <a:gd name="connsiteY220" fmla="*/ 95250 h 497205"/>
                  <a:gd name="connsiteX221" fmla="*/ 983602 w 1036941"/>
                  <a:gd name="connsiteY221" fmla="*/ 90488 h 497205"/>
                  <a:gd name="connsiteX222" fmla="*/ 991222 w 1036941"/>
                  <a:gd name="connsiteY222" fmla="*/ 89535 h 497205"/>
                  <a:gd name="connsiteX223" fmla="*/ 1006462 w 1036941"/>
                  <a:gd name="connsiteY223" fmla="*/ 87630 h 497205"/>
                  <a:gd name="connsiteX224" fmla="*/ 1013130 w 1036941"/>
                  <a:gd name="connsiteY224" fmla="*/ 81915 h 497205"/>
                  <a:gd name="connsiteX225" fmla="*/ 1019797 w 1036941"/>
                  <a:gd name="connsiteY225" fmla="*/ 81915 h 497205"/>
                  <a:gd name="connsiteX226" fmla="*/ 1027417 w 1036941"/>
                  <a:gd name="connsiteY226" fmla="*/ 80010 h 497205"/>
                  <a:gd name="connsiteX227" fmla="*/ 1034085 w 1036941"/>
                  <a:gd name="connsiteY227" fmla="*/ 76200 h 497205"/>
                  <a:gd name="connsiteX228" fmla="*/ 1035989 w 1036941"/>
                  <a:gd name="connsiteY228" fmla="*/ 71438 h 497205"/>
                  <a:gd name="connsiteX229" fmla="*/ 1036942 w 1036941"/>
                  <a:gd name="connsiteY229" fmla="*/ 67628 h 497205"/>
                  <a:gd name="connsiteX230" fmla="*/ 1035989 w 1036941"/>
                  <a:gd name="connsiteY230" fmla="*/ 63818 h 497205"/>
                  <a:gd name="connsiteX231" fmla="*/ 1028370 w 1036941"/>
                  <a:gd name="connsiteY231" fmla="*/ 61913 h 497205"/>
                  <a:gd name="connsiteX232" fmla="*/ 1018845 w 1036941"/>
                  <a:gd name="connsiteY232" fmla="*/ 61913 h 497205"/>
                  <a:gd name="connsiteX233" fmla="*/ 1011225 w 1036941"/>
                  <a:gd name="connsiteY233" fmla="*/ 60960 h 497205"/>
                  <a:gd name="connsiteX234" fmla="*/ 984555 w 1036941"/>
                  <a:gd name="connsiteY234" fmla="*/ 58103 h 497205"/>
                  <a:gd name="connsiteX235" fmla="*/ 975030 w 1036941"/>
                  <a:gd name="connsiteY235" fmla="*/ 58103 h 497205"/>
                  <a:gd name="connsiteX236" fmla="*/ 963600 w 1036941"/>
                  <a:gd name="connsiteY236" fmla="*/ 58103 h 497205"/>
                  <a:gd name="connsiteX237" fmla="*/ 957885 w 1036941"/>
                  <a:gd name="connsiteY237" fmla="*/ 58103 h 497205"/>
                  <a:gd name="connsiteX238" fmla="*/ 950264 w 1036941"/>
                  <a:gd name="connsiteY238" fmla="*/ 60008 h 497205"/>
                  <a:gd name="connsiteX239" fmla="*/ 945502 w 1036941"/>
                  <a:gd name="connsiteY239" fmla="*/ 62865 h 497205"/>
                  <a:gd name="connsiteX240" fmla="*/ 935025 w 1036941"/>
                  <a:gd name="connsiteY240" fmla="*/ 65723 h 497205"/>
                  <a:gd name="connsiteX241" fmla="*/ 930262 w 1036941"/>
                  <a:gd name="connsiteY241" fmla="*/ 68580 h 497205"/>
                  <a:gd name="connsiteX242" fmla="*/ 918832 w 1036941"/>
                  <a:gd name="connsiteY242" fmla="*/ 71438 h 497205"/>
                  <a:gd name="connsiteX243" fmla="*/ 895020 w 1036941"/>
                  <a:gd name="connsiteY243" fmla="*/ 59055 h 497205"/>
                  <a:gd name="connsiteX244" fmla="*/ 890257 w 1036941"/>
                  <a:gd name="connsiteY244" fmla="*/ 59055 h 497205"/>
                  <a:gd name="connsiteX245" fmla="*/ 882637 w 1036941"/>
                  <a:gd name="connsiteY245" fmla="*/ 57150 h 497205"/>
                  <a:gd name="connsiteX246" fmla="*/ 877875 w 1036941"/>
                  <a:gd name="connsiteY246" fmla="*/ 54293 h 497205"/>
                  <a:gd name="connsiteX247" fmla="*/ 874064 w 1036941"/>
                  <a:gd name="connsiteY247" fmla="*/ 52388 h 497205"/>
                  <a:gd name="connsiteX248" fmla="*/ 869302 w 1036941"/>
                  <a:gd name="connsiteY248" fmla="*/ 47625 h 497205"/>
                  <a:gd name="connsiteX249" fmla="*/ 867397 w 1036941"/>
                  <a:gd name="connsiteY249" fmla="*/ 42863 h 497205"/>
                  <a:gd name="connsiteX250" fmla="*/ 861682 w 1036941"/>
                  <a:gd name="connsiteY250" fmla="*/ 35243 h 497205"/>
                  <a:gd name="connsiteX251" fmla="*/ 860730 w 1036941"/>
                  <a:gd name="connsiteY251" fmla="*/ 31433 h 497205"/>
                  <a:gd name="connsiteX252" fmla="*/ 856920 w 1036941"/>
                  <a:gd name="connsiteY252" fmla="*/ 25718 h 497205"/>
                  <a:gd name="connsiteX253" fmla="*/ 855014 w 1036941"/>
                  <a:gd name="connsiteY253" fmla="*/ 22860 h 497205"/>
                  <a:gd name="connsiteX254" fmla="*/ 849300 w 1036941"/>
                  <a:gd name="connsiteY254" fmla="*/ 20955 h 497205"/>
                  <a:gd name="connsiteX255" fmla="*/ 844537 w 1036941"/>
                  <a:gd name="connsiteY255" fmla="*/ 20003 h 497205"/>
                  <a:gd name="connsiteX256" fmla="*/ 839775 w 1036941"/>
                  <a:gd name="connsiteY256" fmla="*/ 20003 h 497205"/>
                  <a:gd name="connsiteX257" fmla="*/ 829297 w 1036941"/>
                  <a:gd name="connsiteY257" fmla="*/ 19050 h 497205"/>
                  <a:gd name="connsiteX258" fmla="*/ 822630 w 1036941"/>
                  <a:gd name="connsiteY258" fmla="*/ 18098 h 497205"/>
                  <a:gd name="connsiteX259" fmla="*/ 815010 w 1036941"/>
                  <a:gd name="connsiteY259" fmla="*/ 18098 h 497205"/>
                  <a:gd name="connsiteX260" fmla="*/ 807389 w 1036941"/>
                  <a:gd name="connsiteY260" fmla="*/ 16193 h 497205"/>
                  <a:gd name="connsiteX261" fmla="*/ 790245 w 1036941"/>
                  <a:gd name="connsiteY261" fmla="*/ 15240 h 497205"/>
                  <a:gd name="connsiteX262" fmla="*/ 787387 w 1036941"/>
                  <a:gd name="connsiteY262" fmla="*/ 13335 h 497205"/>
                  <a:gd name="connsiteX263" fmla="*/ 777862 w 1036941"/>
                  <a:gd name="connsiteY263" fmla="*/ 5715 h 497205"/>
                  <a:gd name="connsiteX264" fmla="*/ 759765 w 1036941"/>
                  <a:gd name="connsiteY264" fmla="*/ 3810 h 497205"/>
                  <a:gd name="connsiteX265" fmla="*/ 744525 w 1036941"/>
                  <a:gd name="connsiteY265" fmla="*/ 3810 h 497205"/>
                  <a:gd name="connsiteX266" fmla="*/ 717855 w 1036941"/>
                  <a:gd name="connsiteY266" fmla="*/ 1905 h 497205"/>
                  <a:gd name="connsiteX267" fmla="*/ 711187 w 1036941"/>
                  <a:gd name="connsiteY267" fmla="*/ 0 h 497205"/>
                  <a:gd name="connsiteX268" fmla="*/ 690232 w 1036941"/>
                  <a:gd name="connsiteY268" fmla="*/ 0 h 497205"/>
                  <a:gd name="connsiteX269" fmla="*/ 679755 w 1036941"/>
                  <a:gd name="connsiteY269" fmla="*/ 1905 h 497205"/>
                  <a:gd name="connsiteX270" fmla="*/ 671182 w 1036941"/>
                  <a:gd name="connsiteY270" fmla="*/ 2858 h 497205"/>
                  <a:gd name="connsiteX271" fmla="*/ 652132 w 1036941"/>
                  <a:gd name="connsiteY271" fmla="*/ 3810 h 497205"/>
                  <a:gd name="connsiteX272" fmla="*/ 641655 w 1036941"/>
                  <a:gd name="connsiteY272" fmla="*/ 3810 h 497205"/>
                  <a:gd name="connsiteX273" fmla="*/ 636892 w 1036941"/>
                  <a:gd name="connsiteY273" fmla="*/ 4763 h 497205"/>
                  <a:gd name="connsiteX274" fmla="*/ 617842 w 1036941"/>
                  <a:gd name="connsiteY274" fmla="*/ 5715 h 497205"/>
                  <a:gd name="connsiteX275" fmla="*/ 611175 w 1036941"/>
                  <a:gd name="connsiteY275" fmla="*/ 7620 h 497205"/>
                  <a:gd name="connsiteX276" fmla="*/ 597840 w 1036941"/>
                  <a:gd name="connsiteY276" fmla="*/ 9525 h 497205"/>
                  <a:gd name="connsiteX277" fmla="*/ 583552 w 1036941"/>
                  <a:gd name="connsiteY277" fmla="*/ 12383 h 497205"/>
                  <a:gd name="connsiteX278" fmla="*/ 575932 w 1036941"/>
                  <a:gd name="connsiteY278" fmla="*/ 12383 h 497205"/>
                  <a:gd name="connsiteX279" fmla="*/ 568312 w 1036941"/>
                  <a:gd name="connsiteY279" fmla="*/ 12383 h 497205"/>
                  <a:gd name="connsiteX280" fmla="*/ 553072 w 1036941"/>
                  <a:gd name="connsiteY280" fmla="*/ 12383 h 497205"/>
                  <a:gd name="connsiteX281" fmla="*/ 542595 w 1036941"/>
                  <a:gd name="connsiteY281" fmla="*/ 12383 h 497205"/>
                  <a:gd name="connsiteX282" fmla="*/ 523545 w 1036941"/>
                  <a:gd name="connsiteY282" fmla="*/ 12383 h 497205"/>
                  <a:gd name="connsiteX283" fmla="*/ 506400 w 1036941"/>
                  <a:gd name="connsiteY283" fmla="*/ 10478 h 497205"/>
                  <a:gd name="connsiteX284" fmla="*/ 489255 w 1036941"/>
                  <a:gd name="connsiteY284" fmla="*/ 8573 h 497205"/>
                  <a:gd name="connsiteX285" fmla="*/ 478777 w 1036941"/>
                  <a:gd name="connsiteY285" fmla="*/ 8573 h 497205"/>
                  <a:gd name="connsiteX286" fmla="*/ 471157 w 1036941"/>
                  <a:gd name="connsiteY286" fmla="*/ 9525 h 497205"/>
                  <a:gd name="connsiteX287" fmla="*/ 456870 w 1036941"/>
                  <a:gd name="connsiteY287" fmla="*/ 11430 h 497205"/>
                  <a:gd name="connsiteX288" fmla="*/ 452107 w 1036941"/>
                  <a:gd name="connsiteY288" fmla="*/ 12383 h 497205"/>
                  <a:gd name="connsiteX289" fmla="*/ 448297 w 1036941"/>
                  <a:gd name="connsiteY289" fmla="*/ 14288 h 497205"/>
                  <a:gd name="connsiteX290" fmla="*/ 447345 w 1036941"/>
                  <a:gd name="connsiteY290" fmla="*/ 18098 h 497205"/>
                  <a:gd name="connsiteX291" fmla="*/ 442582 w 1036941"/>
                  <a:gd name="connsiteY291" fmla="*/ 20955 h 497205"/>
                  <a:gd name="connsiteX292" fmla="*/ 434962 w 1036941"/>
                  <a:gd name="connsiteY292" fmla="*/ 21908 h 497205"/>
                  <a:gd name="connsiteX293" fmla="*/ 425437 w 1036941"/>
                  <a:gd name="connsiteY293" fmla="*/ 26670 h 497205"/>
                  <a:gd name="connsiteX294" fmla="*/ 416865 w 1036941"/>
                  <a:gd name="connsiteY294" fmla="*/ 28575 h 497205"/>
                  <a:gd name="connsiteX295" fmla="*/ 396862 w 1036941"/>
                  <a:gd name="connsiteY295" fmla="*/ 28575 h 497205"/>
                  <a:gd name="connsiteX296" fmla="*/ 392100 w 1036941"/>
                  <a:gd name="connsiteY296" fmla="*/ 27623 h 497205"/>
                  <a:gd name="connsiteX297" fmla="*/ 384480 w 1036941"/>
                  <a:gd name="connsiteY297" fmla="*/ 29528 h 497205"/>
                  <a:gd name="connsiteX298" fmla="*/ 374955 w 1036941"/>
                  <a:gd name="connsiteY298" fmla="*/ 32385 h 497205"/>
                  <a:gd name="connsiteX299" fmla="*/ 365430 w 1036941"/>
                  <a:gd name="connsiteY299" fmla="*/ 36195 h 497205"/>
                  <a:gd name="connsiteX300" fmla="*/ 360667 w 1036941"/>
                  <a:gd name="connsiteY300" fmla="*/ 38100 h 497205"/>
                  <a:gd name="connsiteX301" fmla="*/ 349237 w 1036941"/>
                  <a:gd name="connsiteY301" fmla="*/ 38100 h 497205"/>
                  <a:gd name="connsiteX302" fmla="*/ 338760 w 1036941"/>
                  <a:gd name="connsiteY302" fmla="*/ 36195 h 497205"/>
                  <a:gd name="connsiteX303" fmla="*/ 308280 w 1036941"/>
                  <a:gd name="connsiteY303" fmla="*/ 35243 h 497205"/>
                  <a:gd name="connsiteX304" fmla="*/ 299707 w 1036941"/>
                  <a:gd name="connsiteY304" fmla="*/ 35243 h 497205"/>
                  <a:gd name="connsiteX305" fmla="*/ 291135 w 1036941"/>
                  <a:gd name="connsiteY305" fmla="*/ 35243 h 497205"/>
                  <a:gd name="connsiteX306" fmla="*/ 286372 w 1036941"/>
                  <a:gd name="connsiteY306" fmla="*/ 35243 h 497205"/>
                  <a:gd name="connsiteX307" fmla="*/ 275895 w 1036941"/>
                  <a:gd name="connsiteY307" fmla="*/ 35243 h 497205"/>
                  <a:gd name="connsiteX308" fmla="*/ 263512 w 1036941"/>
                  <a:gd name="connsiteY308" fmla="*/ 35243 h 497205"/>
                  <a:gd name="connsiteX309" fmla="*/ 255892 w 1036941"/>
                  <a:gd name="connsiteY309" fmla="*/ 35243 h 497205"/>
                  <a:gd name="connsiteX310" fmla="*/ 250177 w 1036941"/>
                  <a:gd name="connsiteY310" fmla="*/ 36195 h 497205"/>
                  <a:gd name="connsiteX311" fmla="*/ 240652 w 1036941"/>
                  <a:gd name="connsiteY311" fmla="*/ 39053 h 497205"/>
                  <a:gd name="connsiteX312" fmla="*/ 235890 w 1036941"/>
                  <a:gd name="connsiteY312" fmla="*/ 41910 h 497205"/>
                  <a:gd name="connsiteX313" fmla="*/ 224460 w 1036941"/>
                  <a:gd name="connsiteY313" fmla="*/ 42863 h 497205"/>
                  <a:gd name="connsiteX314" fmla="*/ 219697 w 1036941"/>
                  <a:gd name="connsiteY314" fmla="*/ 42863 h 497205"/>
                  <a:gd name="connsiteX315" fmla="*/ 215887 w 1036941"/>
                  <a:gd name="connsiteY315" fmla="*/ 44768 h 497205"/>
                  <a:gd name="connsiteX316" fmla="*/ 210172 w 1036941"/>
                  <a:gd name="connsiteY316" fmla="*/ 47625 h 497205"/>
                  <a:gd name="connsiteX317" fmla="*/ 201600 w 1036941"/>
                  <a:gd name="connsiteY317" fmla="*/ 49530 h 497205"/>
                  <a:gd name="connsiteX318" fmla="*/ 191122 w 1036941"/>
                  <a:gd name="connsiteY318" fmla="*/ 51435 h 497205"/>
                  <a:gd name="connsiteX319" fmla="*/ 185407 w 1036941"/>
                  <a:gd name="connsiteY319" fmla="*/ 51435 h 497205"/>
                  <a:gd name="connsiteX320" fmla="*/ 182550 w 1036941"/>
                  <a:gd name="connsiteY320" fmla="*/ 51435 h 497205"/>
                  <a:gd name="connsiteX321" fmla="*/ 171120 w 1036941"/>
                  <a:gd name="connsiteY321" fmla="*/ 51435 h 497205"/>
                  <a:gd name="connsiteX322" fmla="*/ 163500 w 1036941"/>
                  <a:gd name="connsiteY322" fmla="*/ 53340 h 497205"/>
                  <a:gd name="connsiteX323" fmla="*/ 158737 w 1036941"/>
                  <a:gd name="connsiteY323" fmla="*/ 56198 h 497205"/>
                  <a:gd name="connsiteX324" fmla="*/ 150165 w 1036941"/>
                  <a:gd name="connsiteY324" fmla="*/ 61913 h 497205"/>
                  <a:gd name="connsiteX325" fmla="*/ 146354 w 1036941"/>
                  <a:gd name="connsiteY325" fmla="*/ 64770 h 497205"/>
                  <a:gd name="connsiteX326" fmla="*/ 134925 w 1036941"/>
                  <a:gd name="connsiteY326" fmla="*/ 67628 h 497205"/>
                  <a:gd name="connsiteX327" fmla="*/ 113970 w 1036941"/>
                  <a:gd name="connsiteY327" fmla="*/ 69533 h 497205"/>
                  <a:gd name="connsiteX328" fmla="*/ 100635 w 1036941"/>
                  <a:gd name="connsiteY328" fmla="*/ 70485 h 497205"/>
                  <a:gd name="connsiteX329" fmla="*/ 92062 w 1036941"/>
                  <a:gd name="connsiteY329" fmla="*/ 71438 h 497205"/>
                  <a:gd name="connsiteX330" fmla="*/ 88252 w 1036941"/>
                  <a:gd name="connsiteY330" fmla="*/ 75248 h 497205"/>
                  <a:gd name="connsiteX331" fmla="*/ 87300 w 1036941"/>
                  <a:gd name="connsiteY331" fmla="*/ 79058 h 497205"/>
                  <a:gd name="connsiteX332" fmla="*/ 92062 w 1036941"/>
                  <a:gd name="connsiteY332" fmla="*/ 80963 h 497205"/>
                  <a:gd name="connsiteX333" fmla="*/ 104445 w 1036941"/>
                  <a:gd name="connsiteY333" fmla="*/ 81915 h 497205"/>
                  <a:gd name="connsiteX334" fmla="*/ 108254 w 1036941"/>
                  <a:gd name="connsiteY334" fmla="*/ 82868 h 497205"/>
                  <a:gd name="connsiteX335" fmla="*/ 113017 w 1036941"/>
                  <a:gd name="connsiteY335" fmla="*/ 85725 h 497205"/>
                  <a:gd name="connsiteX336" fmla="*/ 113970 w 1036941"/>
                  <a:gd name="connsiteY336" fmla="*/ 89535 h 497205"/>
                  <a:gd name="connsiteX337" fmla="*/ 111112 w 1036941"/>
                  <a:gd name="connsiteY337" fmla="*/ 98108 h 497205"/>
                  <a:gd name="connsiteX338" fmla="*/ 102540 w 1036941"/>
                  <a:gd name="connsiteY338" fmla="*/ 100013 h 497205"/>
                  <a:gd name="connsiteX339" fmla="*/ 95872 w 1036941"/>
                  <a:gd name="connsiteY339" fmla="*/ 102870 h 497205"/>
                  <a:gd name="connsiteX340" fmla="*/ 94920 w 1036941"/>
                  <a:gd name="connsiteY340" fmla="*/ 106680 h 497205"/>
                  <a:gd name="connsiteX341" fmla="*/ 89204 w 1036941"/>
                  <a:gd name="connsiteY341" fmla="*/ 110490 h 497205"/>
                  <a:gd name="connsiteX342" fmla="*/ 83490 w 1036941"/>
                  <a:gd name="connsiteY342" fmla="*/ 112395 h 497205"/>
                  <a:gd name="connsiteX343" fmla="*/ 81585 w 1036941"/>
                  <a:gd name="connsiteY343" fmla="*/ 114300 h 497205"/>
                  <a:gd name="connsiteX344" fmla="*/ 75870 w 1036941"/>
                  <a:gd name="connsiteY344" fmla="*/ 120968 h 4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Lst>
                <a:rect l="l" t="t" r="r" b="b"/>
                <a:pathLst>
                  <a:path w="1036941" h="497205">
                    <a:moveTo>
                      <a:pt x="75870" y="120968"/>
                    </a:moveTo>
                    <a:lnTo>
                      <a:pt x="59677" y="120968"/>
                    </a:lnTo>
                    <a:cubicBezTo>
                      <a:pt x="59677" y="120968"/>
                      <a:pt x="53962" y="120968"/>
                      <a:pt x="50152" y="121920"/>
                    </a:cubicBezTo>
                    <a:cubicBezTo>
                      <a:pt x="46342" y="121920"/>
                      <a:pt x="34912" y="121920"/>
                      <a:pt x="33007" y="121920"/>
                    </a:cubicBezTo>
                    <a:cubicBezTo>
                      <a:pt x="31102" y="121920"/>
                      <a:pt x="21577" y="121920"/>
                      <a:pt x="21577" y="121920"/>
                    </a:cubicBezTo>
                    <a:lnTo>
                      <a:pt x="13004" y="121920"/>
                    </a:lnTo>
                    <a:lnTo>
                      <a:pt x="9195" y="121920"/>
                    </a:lnTo>
                    <a:lnTo>
                      <a:pt x="3479" y="121920"/>
                    </a:lnTo>
                    <a:cubicBezTo>
                      <a:pt x="1575" y="124778"/>
                      <a:pt x="622" y="128588"/>
                      <a:pt x="622" y="128588"/>
                    </a:cubicBezTo>
                    <a:cubicBezTo>
                      <a:pt x="622" y="128588"/>
                      <a:pt x="-1283" y="129540"/>
                      <a:pt x="1575" y="131445"/>
                    </a:cubicBezTo>
                    <a:cubicBezTo>
                      <a:pt x="3479" y="132398"/>
                      <a:pt x="-1283" y="128588"/>
                      <a:pt x="3479" y="132398"/>
                    </a:cubicBezTo>
                    <a:cubicBezTo>
                      <a:pt x="8242" y="136208"/>
                      <a:pt x="5385" y="135255"/>
                      <a:pt x="8242" y="136208"/>
                    </a:cubicBezTo>
                    <a:cubicBezTo>
                      <a:pt x="11100" y="137160"/>
                      <a:pt x="11100" y="137160"/>
                      <a:pt x="11100" y="137160"/>
                    </a:cubicBezTo>
                    <a:cubicBezTo>
                      <a:pt x="11100" y="137160"/>
                      <a:pt x="13004" y="138113"/>
                      <a:pt x="17767" y="139065"/>
                    </a:cubicBezTo>
                    <a:cubicBezTo>
                      <a:pt x="22529" y="140018"/>
                      <a:pt x="28245" y="140018"/>
                      <a:pt x="29197" y="141923"/>
                    </a:cubicBezTo>
                    <a:cubicBezTo>
                      <a:pt x="31102" y="142875"/>
                      <a:pt x="25387" y="138113"/>
                      <a:pt x="31102" y="142875"/>
                    </a:cubicBezTo>
                    <a:cubicBezTo>
                      <a:pt x="35865" y="147638"/>
                      <a:pt x="37770" y="146685"/>
                      <a:pt x="41579" y="148590"/>
                    </a:cubicBezTo>
                    <a:cubicBezTo>
                      <a:pt x="45390" y="150495"/>
                      <a:pt x="45390" y="150495"/>
                      <a:pt x="45390" y="150495"/>
                    </a:cubicBezTo>
                    <a:cubicBezTo>
                      <a:pt x="45390" y="150495"/>
                      <a:pt x="50152" y="150495"/>
                      <a:pt x="54915" y="152400"/>
                    </a:cubicBezTo>
                    <a:cubicBezTo>
                      <a:pt x="59677" y="154305"/>
                      <a:pt x="55867" y="151448"/>
                      <a:pt x="59677" y="154305"/>
                    </a:cubicBezTo>
                    <a:cubicBezTo>
                      <a:pt x="63487" y="157163"/>
                      <a:pt x="61582" y="154305"/>
                      <a:pt x="63487" y="157163"/>
                    </a:cubicBezTo>
                    <a:cubicBezTo>
                      <a:pt x="65392" y="160020"/>
                      <a:pt x="68250" y="158115"/>
                      <a:pt x="62535" y="163830"/>
                    </a:cubicBezTo>
                    <a:cubicBezTo>
                      <a:pt x="56820" y="169545"/>
                      <a:pt x="56820" y="169545"/>
                      <a:pt x="56820" y="169545"/>
                    </a:cubicBezTo>
                    <a:cubicBezTo>
                      <a:pt x="56820" y="169545"/>
                      <a:pt x="51104" y="173355"/>
                      <a:pt x="52057" y="176213"/>
                    </a:cubicBezTo>
                    <a:cubicBezTo>
                      <a:pt x="53010" y="179070"/>
                      <a:pt x="51104" y="175260"/>
                      <a:pt x="53010" y="179070"/>
                    </a:cubicBezTo>
                    <a:cubicBezTo>
                      <a:pt x="53962" y="182880"/>
                      <a:pt x="53962" y="182880"/>
                      <a:pt x="55867" y="185738"/>
                    </a:cubicBezTo>
                    <a:cubicBezTo>
                      <a:pt x="56820" y="187643"/>
                      <a:pt x="58725" y="187643"/>
                      <a:pt x="60629" y="188595"/>
                    </a:cubicBezTo>
                    <a:cubicBezTo>
                      <a:pt x="62535" y="190500"/>
                      <a:pt x="60629" y="188595"/>
                      <a:pt x="66345" y="189548"/>
                    </a:cubicBezTo>
                    <a:cubicBezTo>
                      <a:pt x="72060" y="191453"/>
                      <a:pt x="79679" y="190500"/>
                      <a:pt x="82537" y="191453"/>
                    </a:cubicBezTo>
                    <a:cubicBezTo>
                      <a:pt x="85395" y="192405"/>
                      <a:pt x="84442" y="192405"/>
                      <a:pt x="88252" y="192405"/>
                    </a:cubicBezTo>
                    <a:cubicBezTo>
                      <a:pt x="92062" y="192405"/>
                      <a:pt x="93015" y="192405"/>
                      <a:pt x="95872" y="191453"/>
                    </a:cubicBezTo>
                    <a:cubicBezTo>
                      <a:pt x="98729" y="191453"/>
                      <a:pt x="105397" y="184785"/>
                      <a:pt x="105397" y="184785"/>
                    </a:cubicBezTo>
                    <a:cubicBezTo>
                      <a:pt x="105397" y="184785"/>
                      <a:pt x="106350" y="182880"/>
                      <a:pt x="110160" y="182880"/>
                    </a:cubicBezTo>
                    <a:cubicBezTo>
                      <a:pt x="113970" y="182880"/>
                      <a:pt x="123495" y="182880"/>
                      <a:pt x="123495" y="182880"/>
                    </a:cubicBezTo>
                    <a:cubicBezTo>
                      <a:pt x="123495" y="182880"/>
                      <a:pt x="125400" y="182880"/>
                      <a:pt x="129210" y="183833"/>
                    </a:cubicBezTo>
                    <a:cubicBezTo>
                      <a:pt x="133020" y="184785"/>
                      <a:pt x="125400" y="183833"/>
                      <a:pt x="146354" y="184785"/>
                    </a:cubicBezTo>
                    <a:cubicBezTo>
                      <a:pt x="167310" y="185738"/>
                      <a:pt x="167310" y="185738"/>
                      <a:pt x="167310" y="185738"/>
                    </a:cubicBezTo>
                    <a:cubicBezTo>
                      <a:pt x="167310" y="185738"/>
                      <a:pt x="176835" y="181928"/>
                      <a:pt x="180645" y="183833"/>
                    </a:cubicBezTo>
                    <a:cubicBezTo>
                      <a:pt x="184454" y="185738"/>
                      <a:pt x="177787" y="181928"/>
                      <a:pt x="184454" y="185738"/>
                    </a:cubicBezTo>
                    <a:cubicBezTo>
                      <a:pt x="191122" y="189548"/>
                      <a:pt x="197790" y="193358"/>
                      <a:pt x="199695" y="194310"/>
                    </a:cubicBezTo>
                    <a:cubicBezTo>
                      <a:pt x="201600" y="195263"/>
                      <a:pt x="207315" y="196215"/>
                      <a:pt x="211125" y="198120"/>
                    </a:cubicBezTo>
                    <a:cubicBezTo>
                      <a:pt x="214935" y="200025"/>
                      <a:pt x="210172" y="197168"/>
                      <a:pt x="224460" y="201930"/>
                    </a:cubicBezTo>
                    <a:cubicBezTo>
                      <a:pt x="238747" y="206693"/>
                      <a:pt x="244462" y="207645"/>
                      <a:pt x="246367" y="209550"/>
                    </a:cubicBezTo>
                    <a:cubicBezTo>
                      <a:pt x="247320" y="210503"/>
                      <a:pt x="250177" y="212408"/>
                      <a:pt x="252082" y="216218"/>
                    </a:cubicBezTo>
                    <a:cubicBezTo>
                      <a:pt x="253987" y="219075"/>
                      <a:pt x="251129" y="215265"/>
                      <a:pt x="253987" y="219075"/>
                    </a:cubicBezTo>
                    <a:cubicBezTo>
                      <a:pt x="257797" y="223838"/>
                      <a:pt x="264465" y="230505"/>
                      <a:pt x="266370" y="231458"/>
                    </a:cubicBezTo>
                    <a:cubicBezTo>
                      <a:pt x="268275" y="233363"/>
                      <a:pt x="271132" y="233363"/>
                      <a:pt x="272085" y="235268"/>
                    </a:cubicBezTo>
                    <a:cubicBezTo>
                      <a:pt x="273990" y="237173"/>
                      <a:pt x="276847" y="237173"/>
                      <a:pt x="277800" y="239078"/>
                    </a:cubicBezTo>
                    <a:cubicBezTo>
                      <a:pt x="278752" y="240030"/>
                      <a:pt x="281610" y="239078"/>
                      <a:pt x="282562" y="242888"/>
                    </a:cubicBezTo>
                    <a:cubicBezTo>
                      <a:pt x="283515" y="246698"/>
                      <a:pt x="284467" y="252413"/>
                      <a:pt x="286372" y="253365"/>
                    </a:cubicBezTo>
                    <a:cubicBezTo>
                      <a:pt x="287325" y="255270"/>
                      <a:pt x="286372" y="255270"/>
                      <a:pt x="287325" y="258128"/>
                    </a:cubicBezTo>
                    <a:cubicBezTo>
                      <a:pt x="288277" y="261938"/>
                      <a:pt x="287325" y="268605"/>
                      <a:pt x="287325" y="268605"/>
                    </a:cubicBezTo>
                    <a:cubicBezTo>
                      <a:pt x="287325" y="268605"/>
                      <a:pt x="287325" y="269558"/>
                      <a:pt x="287325" y="271463"/>
                    </a:cubicBezTo>
                    <a:cubicBezTo>
                      <a:pt x="287325" y="273368"/>
                      <a:pt x="287325" y="272415"/>
                      <a:pt x="287325" y="276225"/>
                    </a:cubicBezTo>
                    <a:cubicBezTo>
                      <a:pt x="287325" y="279083"/>
                      <a:pt x="284467" y="279083"/>
                      <a:pt x="288277" y="283845"/>
                    </a:cubicBezTo>
                    <a:cubicBezTo>
                      <a:pt x="292087" y="288608"/>
                      <a:pt x="289230" y="285750"/>
                      <a:pt x="292087" y="288608"/>
                    </a:cubicBezTo>
                    <a:cubicBezTo>
                      <a:pt x="293992" y="290513"/>
                      <a:pt x="297802" y="292418"/>
                      <a:pt x="297802" y="292418"/>
                    </a:cubicBezTo>
                    <a:lnTo>
                      <a:pt x="307327" y="293370"/>
                    </a:lnTo>
                    <a:lnTo>
                      <a:pt x="310185" y="292418"/>
                    </a:lnTo>
                    <a:lnTo>
                      <a:pt x="312090" y="290513"/>
                    </a:lnTo>
                    <a:lnTo>
                      <a:pt x="311137" y="285750"/>
                    </a:lnTo>
                    <a:lnTo>
                      <a:pt x="310185" y="283845"/>
                    </a:lnTo>
                    <a:lnTo>
                      <a:pt x="311137" y="280035"/>
                    </a:lnTo>
                    <a:cubicBezTo>
                      <a:pt x="315900" y="280035"/>
                      <a:pt x="319710" y="280035"/>
                      <a:pt x="322567" y="280035"/>
                    </a:cubicBezTo>
                    <a:cubicBezTo>
                      <a:pt x="324472" y="280035"/>
                      <a:pt x="332092" y="279083"/>
                      <a:pt x="332092" y="279083"/>
                    </a:cubicBezTo>
                    <a:lnTo>
                      <a:pt x="336855" y="279083"/>
                    </a:lnTo>
                    <a:cubicBezTo>
                      <a:pt x="337807" y="283845"/>
                      <a:pt x="337807" y="280988"/>
                      <a:pt x="337807" y="283845"/>
                    </a:cubicBezTo>
                    <a:cubicBezTo>
                      <a:pt x="337807" y="286703"/>
                      <a:pt x="338760" y="287655"/>
                      <a:pt x="340665" y="289560"/>
                    </a:cubicBezTo>
                    <a:cubicBezTo>
                      <a:pt x="342570" y="290513"/>
                      <a:pt x="350190" y="292418"/>
                      <a:pt x="350190" y="292418"/>
                    </a:cubicBezTo>
                    <a:lnTo>
                      <a:pt x="356857" y="294323"/>
                    </a:lnTo>
                    <a:lnTo>
                      <a:pt x="360667" y="296228"/>
                    </a:lnTo>
                    <a:lnTo>
                      <a:pt x="361620" y="298133"/>
                    </a:lnTo>
                    <a:lnTo>
                      <a:pt x="359715" y="302895"/>
                    </a:lnTo>
                    <a:lnTo>
                      <a:pt x="360667" y="312420"/>
                    </a:lnTo>
                    <a:cubicBezTo>
                      <a:pt x="360667" y="312420"/>
                      <a:pt x="361620" y="315278"/>
                      <a:pt x="361620" y="317183"/>
                    </a:cubicBezTo>
                    <a:cubicBezTo>
                      <a:pt x="361620" y="319088"/>
                      <a:pt x="361620" y="322898"/>
                      <a:pt x="361620" y="323850"/>
                    </a:cubicBezTo>
                    <a:cubicBezTo>
                      <a:pt x="361620" y="324803"/>
                      <a:pt x="361620" y="324803"/>
                      <a:pt x="360667" y="327660"/>
                    </a:cubicBezTo>
                    <a:cubicBezTo>
                      <a:pt x="359715" y="330518"/>
                      <a:pt x="359715" y="331470"/>
                      <a:pt x="358762" y="334328"/>
                    </a:cubicBezTo>
                    <a:cubicBezTo>
                      <a:pt x="356857" y="337185"/>
                      <a:pt x="356857" y="340995"/>
                      <a:pt x="354952" y="342900"/>
                    </a:cubicBezTo>
                    <a:cubicBezTo>
                      <a:pt x="353047" y="344805"/>
                      <a:pt x="353047" y="344805"/>
                      <a:pt x="351142" y="347663"/>
                    </a:cubicBezTo>
                    <a:cubicBezTo>
                      <a:pt x="349237" y="349568"/>
                      <a:pt x="342570" y="351473"/>
                      <a:pt x="339712" y="354330"/>
                    </a:cubicBezTo>
                    <a:cubicBezTo>
                      <a:pt x="337807" y="356235"/>
                      <a:pt x="333045" y="358140"/>
                      <a:pt x="333045" y="358140"/>
                    </a:cubicBezTo>
                    <a:lnTo>
                      <a:pt x="326377" y="360998"/>
                    </a:lnTo>
                    <a:lnTo>
                      <a:pt x="321615" y="363855"/>
                    </a:lnTo>
                    <a:lnTo>
                      <a:pt x="320662" y="373380"/>
                    </a:lnTo>
                    <a:lnTo>
                      <a:pt x="318757" y="375285"/>
                    </a:lnTo>
                    <a:cubicBezTo>
                      <a:pt x="318757" y="375285"/>
                      <a:pt x="315900" y="378143"/>
                      <a:pt x="316852" y="381000"/>
                    </a:cubicBezTo>
                    <a:cubicBezTo>
                      <a:pt x="317805" y="383858"/>
                      <a:pt x="312090" y="387668"/>
                      <a:pt x="316852" y="392430"/>
                    </a:cubicBezTo>
                    <a:cubicBezTo>
                      <a:pt x="320662" y="397193"/>
                      <a:pt x="324472" y="401003"/>
                      <a:pt x="324472" y="401003"/>
                    </a:cubicBezTo>
                    <a:lnTo>
                      <a:pt x="325425" y="403860"/>
                    </a:lnTo>
                    <a:cubicBezTo>
                      <a:pt x="325425" y="403860"/>
                      <a:pt x="321615" y="401955"/>
                      <a:pt x="329235" y="407670"/>
                    </a:cubicBezTo>
                    <a:cubicBezTo>
                      <a:pt x="336855" y="413385"/>
                      <a:pt x="341617" y="418148"/>
                      <a:pt x="342570" y="420053"/>
                    </a:cubicBezTo>
                    <a:cubicBezTo>
                      <a:pt x="343522" y="421005"/>
                      <a:pt x="353047" y="425768"/>
                      <a:pt x="354000" y="427673"/>
                    </a:cubicBezTo>
                    <a:cubicBezTo>
                      <a:pt x="354952" y="429578"/>
                      <a:pt x="357810" y="434340"/>
                      <a:pt x="358762" y="437198"/>
                    </a:cubicBezTo>
                    <a:cubicBezTo>
                      <a:pt x="359715" y="440055"/>
                      <a:pt x="356857" y="440055"/>
                      <a:pt x="364477" y="445770"/>
                    </a:cubicBezTo>
                    <a:cubicBezTo>
                      <a:pt x="372097" y="451485"/>
                      <a:pt x="368287" y="448628"/>
                      <a:pt x="372097" y="451485"/>
                    </a:cubicBezTo>
                    <a:cubicBezTo>
                      <a:pt x="375907" y="454343"/>
                      <a:pt x="375907" y="454343"/>
                      <a:pt x="381622" y="457200"/>
                    </a:cubicBezTo>
                    <a:cubicBezTo>
                      <a:pt x="387337" y="460058"/>
                      <a:pt x="389242" y="460058"/>
                      <a:pt x="393052" y="463868"/>
                    </a:cubicBezTo>
                    <a:cubicBezTo>
                      <a:pt x="396862" y="467678"/>
                      <a:pt x="394005" y="468630"/>
                      <a:pt x="398767" y="472440"/>
                    </a:cubicBezTo>
                    <a:cubicBezTo>
                      <a:pt x="403530" y="476250"/>
                      <a:pt x="402577" y="476250"/>
                      <a:pt x="406387" y="478155"/>
                    </a:cubicBezTo>
                    <a:cubicBezTo>
                      <a:pt x="409245" y="481013"/>
                      <a:pt x="415912" y="481965"/>
                      <a:pt x="416865" y="483870"/>
                    </a:cubicBezTo>
                    <a:cubicBezTo>
                      <a:pt x="417817" y="484823"/>
                      <a:pt x="420675" y="485775"/>
                      <a:pt x="420675" y="485775"/>
                    </a:cubicBezTo>
                    <a:lnTo>
                      <a:pt x="434010" y="491490"/>
                    </a:lnTo>
                    <a:lnTo>
                      <a:pt x="442582" y="494348"/>
                    </a:lnTo>
                    <a:lnTo>
                      <a:pt x="448297" y="496253"/>
                    </a:lnTo>
                    <a:cubicBezTo>
                      <a:pt x="448297" y="496253"/>
                      <a:pt x="462585" y="497205"/>
                      <a:pt x="465442" y="497205"/>
                    </a:cubicBezTo>
                    <a:cubicBezTo>
                      <a:pt x="469252" y="497205"/>
                      <a:pt x="481635" y="493395"/>
                      <a:pt x="481635" y="493395"/>
                    </a:cubicBezTo>
                    <a:cubicBezTo>
                      <a:pt x="481635" y="493395"/>
                      <a:pt x="485445" y="491490"/>
                      <a:pt x="489255" y="492443"/>
                    </a:cubicBezTo>
                    <a:cubicBezTo>
                      <a:pt x="493065" y="493395"/>
                      <a:pt x="494017" y="493395"/>
                      <a:pt x="496875" y="492443"/>
                    </a:cubicBezTo>
                    <a:cubicBezTo>
                      <a:pt x="499732" y="491490"/>
                      <a:pt x="503542" y="485775"/>
                      <a:pt x="507352" y="483870"/>
                    </a:cubicBezTo>
                    <a:cubicBezTo>
                      <a:pt x="511162" y="481965"/>
                      <a:pt x="510210" y="477203"/>
                      <a:pt x="512115" y="474345"/>
                    </a:cubicBezTo>
                    <a:cubicBezTo>
                      <a:pt x="514020" y="471488"/>
                      <a:pt x="511162" y="467678"/>
                      <a:pt x="514020" y="465773"/>
                    </a:cubicBezTo>
                    <a:cubicBezTo>
                      <a:pt x="515925" y="463868"/>
                      <a:pt x="516877" y="461963"/>
                      <a:pt x="518782" y="460058"/>
                    </a:cubicBezTo>
                    <a:cubicBezTo>
                      <a:pt x="520687" y="458153"/>
                      <a:pt x="518782" y="453390"/>
                      <a:pt x="522592" y="451485"/>
                    </a:cubicBezTo>
                    <a:cubicBezTo>
                      <a:pt x="526402" y="449580"/>
                      <a:pt x="531165" y="444818"/>
                      <a:pt x="531165" y="444818"/>
                    </a:cubicBezTo>
                    <a:cubicBezTo>
                      <a:pt x="531165" y="444818"/>
                      <a:pt x="533070" y="441008"/>
                      <a:pt x="534975" y="438150"/>
                    </a:cubicBezTo>
                    <a:cubicBezTo>
                      <a:pt x="536880" y="436245"/>
                      <a:pt x="538785" y="431483"/>
                      <a:pt x="540690" y="430530"/>
                    </a:cubicBezTo>
                    <a:cubicBezTo>
                      <a:pt x="542595" y="429578"/>
                      <a:pt x="545452" y="425768"/>
                      <a:pt x="545452" y="425768"/>
                    </a:cubicBezTo>
                    <a:cubicBezTo>
                      <a:pt x="545452" y="425768"/>
                      <a:pt x="551167" y="421005"/>
                      <a:pt x="551167" y="420053"/>
                    </a:cubicBezTo>
                    <a:cubicBezTo>
                      <a:pt x="552120" y="419100"/>
                      <a:pt x="554977" y="412433"/>
                      <a:pt x="554977" y="412433"/>
                    </a:cubicBezTo>
                    <a:cubicBezTo>
                      <a:pt x="554977" y="412433"/>
                      <a:pt x="555930" y="410528"/>
                      <a:pt x="557835" y="408623"/>
                    </a:cubicBezTo>
                    <a:cubicBezTo>
                      <a:pt x="559740" y="406718"/>
                      <a:pt x="569265" y="403860"/>
                      <a:pt x="569265" y="403860"/>
                    </a:cubicBezTo>
                    <a:cubicBezTo>
                      <a:pt x="580695" y="401955"/>
                      <a:pt x="578790" y="401955"/>
                      <a:pt x="583552" y="401003"/>
                    </a:cubicBezTo>
                    <a:cubicBezTo>
                      <a:pt x="588315" y="400050"/>
                      <a:pt x="593077" y="398145"/>
                      <a:pt x="593077" y="398145"/>
                    </a:cubicBezTo>
                    <a:lnTo>
                      <a:pt x="603555" y="398145"/>
                    </a:lnTo>
                    <a:cubicBezTo>
                      <a:pt x="603555" y="398145"/>
                      <a:pt x="616890" y="397193"/>
                      <a:pt x="618795" y="397193"/>
                    </a:cubicBezTo>
                    <a:cubicBezTo>
                      <a:pt x="620700" y="397193"/>
                      <a:pt x="620700" y="397193"/>
                      <a:pt x="624510" y="397193"/>
                    </a:cubicBezTo>
                    <a:cubicBezTo>
                      <a:pt x="629272" y="397193"/>
                      <a:pt x="640702" y="394335"/>
                      <a:pt x="644512" y="394335"/>
                    </a:cubicBezTo>
                    <a:cubicBezTo>
                      <a:pt x="648322" y="394335"/>
                      <a:pt x="653085" y="391478"/>
                      <a:pt x="653085" y="391478"/>
                    </a:cubicBezTo>
                    <a:cubicBezTo>
                      <a:pt x="653085" y="391478"/>
                      <a:pt x="654990" y="388620"/>
                      <a:pt x="657847" y="387668"/>
                    </a:cubicBezTo>
                    <a:cubicBezTo>
                      <a:pt x="659752" y="387668"/>
                      <a:pt x="660705" y="383858"/>
                      <a:pt x="663562" y="382905"/>
                    </a:cubicBezTo>
                    <a:cubicBezTo>
                      <a:pt x="665467" y="381953"/>
                      <a:pt x="666420" y="377190"/>
                      <a:pt x="669277" y="376238"/>
                    </a:cubicBezTo>
                    <a:cubicBezTo>
                      <a:pt x="671182" y="375285"/>
                      <a:pt x="671182" y="374333"/>
                      <a:pt x="673087" y="372428"/>
                    </a:cubicBezTo>
                    <a:cubicBezTo>
                      <a:pt x="674992" y="370523"/>
                      <a:pt x="677850" y="367665"/>
                      <a:pt x="677850" y="367665"/>
                    </a:cubicBezTo>
                    <a:cubicBezTo>
                      <a:pt x="677850" y="367665"/>
                      <a:pt x="679755" y="362903"/>
                      <a:pt x="683565" y="362903"/>
                    </a:cubicBezTo>
                    <a:cubicBezTo>
                      <a:pt x="686422" y="362903"/>
                      <a:pt x="695947" y="360998"/>
                      <a:pt x="695947" y="360998"/>
                    </a:cubicBezTo>
                    <a:lnTo>
                      <a:pt x="702615" y="360045"/>
                    </a:lnTo>
                    <a:cubicBezTo>
                      <a:pt x="702615" y="360045"/>
                      <a:pt x="704520" y="360045"/>
                      <a:pt x="706425" y="360045"/>
                    </a:cubicBezTo>
                    <a:cubicBezTo>
                      <a:pt x="708330" y="360045"/>
                      <a:pt x="714045" y="360045"/>
                      <a:pt x="714045" y="360045"/>
                    </a:cubicBezTo>
                    <a:cubicBezTo>
                      <a:pt x="714045" y="360045"/>
                      <a:pt x="718807" y="360998"/>
                      <a:pt x="725475" y="360045"/>
                    </a:cubicBezTo>
                    <a:cubicBezTo>
                      <a:pt x="732142" y="359093"/>
                      <a:pt x="731190" y="361950"/>
                      <a:pt x="739762" y="356235"/>
                    </a:cubicBezTo>
                    <a:cubicBezTo>
                      <a:pt x="748335" y="351473"/>
                      <a:pt x="748335" y="350520"/>
                      <a:pt x="751192" y="350520"/>
                    </a:cubicBezTo>
                    <a:cubicBezTo>
                      <a:pt x="754050" y="350520"/>
                      <a:pt x="760717" y="348615"/>
                      <a:pt x="760717" y="348615"/>
                    </a:cubicBezTo>
                    <a:lnTo>
                      <a:pt x="771195" y="348615"/>
                    </a:lnTo>
                    <a:cubicBezTo>
                      <a:pt x="771195" y="348615"/>
                      <a:pt x="776910" y="348615"/>
                      <a:pt x="779767" y="348615"/>
                    </a:cubicBezTo>
                    <a:cubicBezTo>
                      <a:pt x="782625" y="348615"/>
                      <a:pt x="786435" y="346710"/>
                      <a:pt x="793102" y="346710"/>
                    </a:cubicBezTo>
                    <a:cubicBezTo>
                      <a:pt x="799770" y="346710"/>
                      <a:pt x="809295" y="345758"/>
                      <a:pt x="813105" y="345758"/>
                    </a:cubicBezTo>
                    <a:cubicBezTo>
                      <a:pt x="816914" y="346710"/>
                      <a:pt x="818820" y="345758"/>
                      <a:pt x="820725" y="345758"/>
                    </a:cubicBezTo>
                    <a:cubicBezTo>
                      <a:pt x="822630" y="346710"/>
                      <a:pt x="826439" y="346710"/>
                      <a:pt x="829297" y="345758"/>
                    </a:cubicBezTo>
                    <a:cubicBezTo>
                      <a:pt x="832155" y="345758"/>
                      <a:pt x="844537" y="340995"/>
                      <a:pt x="844537" y="340995"/>
                    </a:cubicBezTo>
                    <a:cubicBezTo>
                      <a:pt x="844537" y="340995"/>
                      <a:pt x="846442" y="337185"/>
                      <a:pt x="846442" y="335280"/>
                    </a:cubicBezTo>
                    <a:cubicBezTo>
                      <a:pt x="847395" y="333375"/>
                      <a:pt x="847395" y="329565"/>
                      <a:pt x="847395" y="329565"/>
                    </a:cubicBezTo>
                    <a:lnTo>
                      <a:pt x="847395" y="327660"/>
                    </a:lnTo>
                    <a:cubicBezTo>
                      <a:pt x="847395" y="327660"/>
                      <a:pt x="837870" y="324803"/>
                      <a:pt x="833107" y="324803"/>
                    </a:cubicBezTo>
                    <a:cubicBezTo>
                      <a:pt x="828345" y="324803"/>
                      <a:pt x="820725" y="322898"/>
                      <a:pt x="817867" y="322898"/>
                    </a:cubicBezTo>
                    <a:cubicBezTo>
                      <a:pt x="815010" y="322898"/>
                      <a:pt x="810247" y="320993"/>
                      <a:pt x="810247" y="320993"/>
                    </a:cubicBezTo>
                    <a:lnTo>
                      <a:pt x="806437" y="316230"/>
                    </a:lnTo>
                    <a:lnTo>
                      <a:pt x="806437" y="312420"/>
                    </a:lnTo>
                    <a:cubicBezTo>
                      <a:pt x="812152" y="312420"/>
                      <a:pt x="814057" y="312420"/>
                      <a:pt x="816914" y="312420"/>
                    </a:cubicBezTo>
                    <a:cubicBezTo>
                      <a:pt x="818820" y="313373"/>
                      <a:pt x="835964" y="316230"/>
                      <a:pt x="835964" y="316230"/>
                    </a:cubicBezTo>
                    <a:cubicBezTo>
                      <a:pt x="835964" y="316230"/>
                      <a:pt x="850252" y="317183"/>
                      <a:pt x="853110" y="318135"/>
                    </a:cubicBezTo>
                    <a:cubicBezTo>
                      <a:pt x="855967" y="319088"/>
                      <a:pt x="865492" y="318135"/>
                      <a:pt x="865492" y="318135"/>
                    </a:cubicBezTo>
                    <a:lnTo>
                      <a:pt x="870255" y="317183"/>
                    </a:lnTo>
                    <a:lnTo>
                      <a:pt x="881685" y="317183"/>
                    </a:lnTo>
                    <a:cubicBezTo>
                      <a:pt x="881685" y="317183"/>
                      <a:pt x="884542" y="316230"/>
                      <a:pt x="886447" y="316230"/>
                    </a:cubicBezTo>
                    <a:cubicBezTo>
                      <a:pt x="888352" y="316230"/>
                      <a:pt x="891210" y="313373"/>
                      <a:pt x="893114" y="311468"/>
                    </a:cubicBezTo>
                    <a:cubicBezTo>
                      <a:pt x="895020" y="310515"/>
                      <a:pt x="894067" y="305753"/>
                      <a:pt x="894067" y="305753"/>
                    </a:cubicBezTo>
                    <a:lnTo>
                      <a:pt x="890257" y="302895"/>
                    </a:lnTo>
                    <a:lnTo>
                      <a:pt x="880732" y="303848"/>
                    </a:lnTo>
                    <a:lnTo>
                      <a:pt x="875970" y="301943"/>
                    </a:lnTo>
                    <a:lnTo>
                      <a:pt x="873112" y="294323"/>
                    </a:lnTo>
                    <a:lnTo>
                      <a:pt x="868350" y="290513"/>
                    </a:lnTo>
                    <a:lnTo>
                      <a:pt x="859777" y="286703"/>
                    </a:lnTo>
                    <a:cubicBezTo>
                      <a:pt x="859777" y="286703"/>
                      <a:pt x="858825" y="284798"/>
                      <a:pt x="859777" y="281940"/>
                    </a:cubicBezTo>
                    <a:cubicBezTo>
                      <a:pt x="860730" y="280035"/>
                      <a:pt x="858825" y="277178"/>
                      <a:pt x="859777" y="274320"/>
                    </a:cubicBezTo>
                    <a:cubicBezTo>
                      <a:pt x="861682" y="272415"/>
                      <a:pt x="857872" y="270510"/>
                      <a:pt x="860730" y="264795"/>
                    </a:cubicBezTo>
                    <a:cubicBezTo>
                      <a:pt x="863587" y="258128"/>
                      <a:pt x="863587" y="254318"/>
                      <a:pt x="863587" y="254318"/>
                    </a:cubicBezTo>
                    <a:cubicBezTo>
                      <a:pt x="863587" y="254318"/>
                      <a:pt x="864539" y="250508"/>
                      <a:pt x="866445" y="250508"/>
                    </a:cubicBezTo>
                    <a:cubicBezTo>
                      <a:pt x="868350" y="250508"/>
                      <a:pt x="872160" y="247650"/>
                      <a:pt x="872160" y="247650"/>
                    </a:cubicBezTo>
                    <a:lnTo>
                      <a:pt x="880732" y="241935"/>
                    </a:lnTo>
                    <a:cubicBezTo>
                      <a:pt x="880732" y="241935"/>
                      <a:pt x="882637" y="240983"/>
                      <a:pt x="884542" y="240983"/>
                    </a:cubicBezTo>
                    <a:cubicBezTo>
                      <a:pt x="886447" y="240983"/>
                      <a:pt x="889305" y="240983"/>
                      <a:pt x="891210" y="240030"/>
                    </a:cubicBezTo>
                    <a:cubicBezTo>
                      <a:pt x="893114" y="240030"/>
                      <a:pt x="895020" y="237173"/>
                      <a:pt x="901687" y="237173"/>
                    </a:cubicBezTo>
                    <a:cubicBezTo>
                      <a:pt x="908355" y="237173"/>
                      <a:pt x="915975" y="231458"/>
                      <a:pt x="915975" y="231458"/>
                    </a:cubicBezTo>
                    <a:lnTo>
                      <a:pt x="916927" y="227648"/>
                    </a:lnTo>
                    <a:lnTo>
                      <a:pt x="917880" y="220028"/>
                    </a:lnTo>
                    <a:cubicBezTo>
                      <a:pt x="917880" y="220028"/>
                      <a:pt x="916927" y="211455"/>
                      <a:pt x="919785" y="211455"/>
                    </a:cubicBezTo>
                    <a:cubicBezTo>
                      <a:pt x="921689" y="211455"/>
                      <a:pt x="922642" y="209550"/>
                      <a:pt x="924547" y="209550"/>
                    </a:cubicBezTo>
                    <a:cubicBezTo>
                      <a:pt x="926452" y="209550"/>
                      <a:pt x="927405" y="200978"/>
                      <a:pt x="927405" y="200978"/>
                    </a:cubicBezTo>
                    <a:lnTo>
                      <a:pt x="924547" y="198120"/>
                    </a:lnTo>
                    <a:lnTo>
                      <a:pt x="913117" y="198120"/>
                    </a:lnTo>
                    <a:lnTo>
                      <a:pt x="905497" y="198120"/>
                    </a:lnTo>
                    <a:lnTo>
                      <a:pt x="898830" y="196215"/>
                    </a:lnTo>
                    <a:lnTo>
                      <a:pt x="896925" y="194310"/>
                    </a:lnTo>
                    <a:lnTo>
                      <a:pt x="894067" y="191453"/>
                    </a:lnTo>
                    <a:lnTo>
                      <a:pt x="893114" y="188595"/>
                    </a:lnTo>
                    <a:lnTo>
                      <a:pt x="893114" y="185738"/>
                    </a:lnTo>
                    <a:cubicBezTo>
                      <a:pt x="893114" y="185738"/>
                      <a:pt x="898830" y="184785"/>
                      <a:pt x="900735" y="184785"/>
                    </a:cubicBezTo>
                    <a:cubicBezTo>
                      <a:pt x="902639" y="184785"/>
                      <a:pt x="915022" y="183833"/>
                      <a:pt x="915022" y="183833"/>
                    </a:cubicBezTo>
                    <a:cubicBezTo>
                      <a:pt x="915022" y="183833"/>
                      <a:pt x="918832" y="183833"/>
                      <a:pt x="919785" y="181928"/>
                    </a:cubicBezTo>
                    <a:cubicBezTo>
                      <a:pt x="921689" y="180975"/>
                      <a:pt x="922642" y="176213"/>
                      <a:pt x="922642" y="176213"/>
                    </a:cubicBezTo>
                    <a:lnTo>
                      <a:pt x="921689" y="169545"/>
                    </a:lnTo>
                    <a:lnTo>
                      <a:pt x="915022" y="168593"/>
                    </a:lnTo>
                    <a:lnTo>
                      <a:pt x="909307" y="166688"/>
                    </a:lnTo>
                    <a:lnTo>
                      <a:pt x="904545" y="165735"/>
                    </a:lnTo>
                    <a:lnTo>
                      <a:pt x="899782" y="164783"/>
                    </a:lnTo>
                    <a:lnTo>
                      <a:pt x="893114" y="160973"/>
                    </a:lnTo>
                    <a:lnTo>
                      <a:pt x="889305" y="153353"/>
                    </a:lnTo>
                    <a:cubicBezTo>
                      <a:pt x="889305" y="153353"/>
                      <a:pt x="888352" y="148590"/>
                      <a:pt x="888352" y="146685"/>
                    </a:cubicBezTo>
                    <a:cubicBezTo>
                      <a:pt x="889305" y="145733"/>
                      <a:pt x="903592" y="137160"/>
                      <a:pt x="903592" y="137160"/>
                    </a:cubicBezTo>
                    <a:lnTo>
                      <a:pt x="905497" y="135255"/>
                    </a:lnTo>
                    <a:cubicBezTo>
                      <a:pt x="905497" y="135255"/>
                      <a:pt x="915022" y="123825"/>
                      <a:pt x="917880" y="123825"/>
                    </a:cubicBezTo>
                    <a:cubicBezTo>
                      <a:pt x="920737" y="123825"/>
                      <a:pt x="922642" y="120015"/>
                      <a:pt x="925500" y="120015"/>
                    </a:cubicBezTo>
                    <a:cubicBezTo>
                      <a:pt x="927405" y="120015"/>
                      <a:pt x="931214" y="116205"/>
                      <a:pt x="931214" y="116205"/>
                    </a:cubicBezTo>
                    <a:lnTo>
                      <a:pt x="935977" y="113348"/>
                    </a:lnTo>
                    <a:cubicBezTo>
                      <a:pt x="935977" y="113348"/>
                      <a:pt x="936930" y="112395"/>
                      <a:pt x="939787" y="112395"/>
                    </a:cubicBezTo>
                    <a:cubicBezTo>
                      <a:pt x="942645" y="112395"/>
                      <a:pt x="950264" y="110490"/>
                      <a:pt x="950264" y="110490"/>
                    </a:cubicBezTo>
                    <a:lnTo>
                      <a:pt x="956932" y="103823"/>
                    </a:lnTo>
                    <a:lnTo>
                      <a:pt x="962647" y="99060"/>
                    </a:lnTo>
                    <a:lnTo>
                      <a:pt x="968362" y="98108"/>
                    </a:lnTo>
                    <a:cubicBezTo>
                      <a:pt x="968362" y="98108"/>
                      <a:pt x="973125" y="96203"/>
                      <a:pt x="975982" y="95250"/>
                    </a:cubicBezTo>
                    <a:cubicBezTo>
                      <a:pt x="977887" y="94298"/>
                      <a:pt x="983602" y="90488"/>
                      <a:pt x="983602" y="90488"/>
                    </a:cubicBezTo>
                    <a:lnTo>
                      <a:pt x="991222" y="89535"/>
                    </a:lnTo>
                    <a:lnTo>
                      <a:pt x="1006462" y="87630"/>
                    </a:lnTo>
                    <a:cubicBezTo>
                      <a:pt x="1006462" y="87630"/>
                      <a:pt x="1011225" y="81915"/>
                      <a:pt x="1013130" y="81915"/>
                    </a:cubicBezTo>
                    <a:cubicBezTo>
                      <a:pt x="1015035" y="81915"/>
                      <a:pt x="1019797" y="81915"/>
                      <a:pt x="1019797" y="81915"/>
                    </a:cubicBezTo>
                    <a:lnTo>
                      <a:pt x="1027417" y="80010"/>
                    </a:lnTo>
                    <a:cubicBezTo>
                      <a:pt x="1027417" y="80010"/>
                      <a:pt x="1033132" y="78105"/>
                      <a:pt x="1034085" y="76200"/>
                    </a:cubicBezTo>
                    <a:cubicBezTo>
                      <a:pt x="1035037" y="75248"/>
                      <a:pt x="1035989" y="71438"/>
                      <a:pt x="1035989" y="71438"/>
                    </a:cubicBezTo>
                    <a:lnTo>
                      <a:pt x="1036942" y="67628"/>
                    </a:lnTo>
                    <a:lnTo>
                      <a:pt x="1035989" y="63818"/>
                    </a:lnTo>
                    <a:lnTo>
                      <a:pt x="1028370" y="61913"/>
                    </a:lnTo>
                    <a:lnTo>
                      <a:pt x="1018845" y="61913"/>
                    </a:lnTo>
                    <a:lnTo>
                      <a:pt x="1011225" y="60960"/>
                    </a:lnTo>
                    <a:lnTo>
                      <a:pt x="984555" y="58103"/>
                    </a:lnTo>
                    <a:cubicBezTo>
                      <a:pt x="984555" y="58103"/>
                      <a:pt x="976935" y="57150"/>
                      <a:pt x="975030" y="58103"/>
                    </a:cubicBezTo>
                    <a:cubicBezTo>
                      <a:pt x="973125" y="58103"/>
                      <a:pt x="963600" y="58103"/>
                      <a:pt x="963600" y="58103"/>
                    </a:cubicBezTo>
                    <a:cubicBezTo>
                      <a:pt x="963600" y="58103"/>
                      <a:pt x="958837" y="57150"/>
                      <a:pt x="957885" y="58103"/>
                    </a:cubicBezTo>
                    <a:cubicBezTo>
                      <a:pt x="955980" y="59055"/>
                      <a:pt x="950264" y="58103"/>
                      <a:pt x="950264" y="60008"/>
                    </a:cubicBezTo>
                    <a:cubicBezTo>
                      <a:pt x="950264" y="61913"/>
                      <a:pt x="947407" y="60960"/>
                      <a:pt x="945502" y="62865"/>
                    </a:cubicBezTo>
                    <a:cubicBezTo>
                      <a:pt x="943597" y="64770"/>
                      <a:pt x="935977" y="63818"/>
                      <a:pt x="935025" y="65723"/>
                    </a:cubicBezTo>
                    <a:cubicBezTo>
                      <a:pt x="934072" y="67628"/>
                      <a:pt x="932167" y="66675"/>
                      <a:pt x="930262" y="68580"/>
                    </a:cubicBezTo>
                    <a:cubicBezTo>
                      <a:pt x="928357" y="70485"/>
                      <a:pt x="918832" y="71438"/>
                      <a:pt x="918832" y="71438"/>
                    </a:cubicBezTo>
                    <a:lnTo>
                      <a:pt x="895020" y="59055"/>
                    </a:lnTo>
                    <a:lnTo>
                      <a:pt x="890257" y="59055"/>
                    </a:lnTo>
                    <a:lnTo>
                      <a:pt x="882637" y="57150"/>
                    </a:lnTo>
                    <a:lnTo>
                      <a:pt x="877875" y="54293"/>
                    </a:lnTo>
                    <a:cubicBezTo>
                      <a:pt x="877875" y="54293"/>
                      <a:pt x="875970" y="53340"/>
                      <a:pt x="874064" y="52388"/>
                    </a:cubicBezTo>
                    <a:cubicBezTo>
                      <a:pt x="872160" y="51435"/>
                      <a:pt x="869302" y="47625"/>
                      <a:pt x="869302" y="47625"/>
                    </a:cubicBezTo>
                    <a:lnTo>
                      <a:pt x="867397" y="42863"/>
                    </a:lnTo>
                    <a:lnTo>
                      <a:pt x="861682" y="35243"/>
                    </a:lnTo>
                    <a:lnTo>
                      <a:pt x="860730" y="31433"/>
                    </a:lnTo>
                    <a:lnTo>
                      <a:pt x="856920" y="25718"/>
                    </a:lnTo>
                    <a:lnTo>
                      <a:pt x="855014" y="22860"/>
                    </a:lnTo>
                    <a:lnTo>
                      <a:pt x="849300" y="20955"/>
                    </a:lnTo>
                    <a:lnTo>
                      <a:pt x="844537" y="20003"/>
                    </a:lnTo>
                    <a:lnTo>
                      <a:pt x="839775" y="20003"/>
                    </a:lnTo>
                    <a:lnTo>
                      <a:pt x="829297" y="19050"/>
                    </a:lnTo>
                    <a:cubicBezTo>
                      <a:pt x="829297" y="19050"/>
                      <a:pt x="825487" y="18098"/>
                      <a:pt x="822630" y="18098"/>
                    </a:cubicBezTo>
                    <a:cubicBezTo>
                      <a:pt x="819772" y="18098"/>
                      <a:pt x="817867" y="18098"/>
                      <a:pt x="815010" y="18098"/>
                    </a:cubicBezTo>
                    <a:cubicBezTo>
                      <a:pt x="811200" y="18098"/>
                      <a:pt x="807389" y="16193"/>
                      <a:pt x="807389" y="16193"/>
                    </a:cubicBezTo>
                    <a:lnTo>
                      <a:pt x="790245" y="15240"/>
                    </a:lnTo>
                    <a:lnTo>
                      <a:pt x="787387" y="13335"/>
                    </a:lnTo>
                    <a:lnTo>
                      <a:pt x="777862" y="5715"/>
                    </a:lnTo>
                    <a:cubicBezTo>
                      <a:pt x="774052" y="3810"/>
                      <a:pt x="759765" y="3810"/>
                      <a:pt x="759765" y="3810"/>
                    </a:cubicBezTo>
                    <a:lnTo>
                      <a:pt x="744525" y="3810"/>
                    </a:lnTo>
                    <a:lnTo>
                      <a:pt x="717855" y="1905"/>
                    </a:lnTo>
                    <a:cubicBezTo>
                      <a:pt x="717855" y="1905"/>
                      <a:pt x="714045" y="953"/>
                      <a:pt x="711187" y="0"/>
                    </a:cubicBezTo>
                    <a:cubicBezTo>
                      <a:pt x="707377" y="0"/>
                      <a:pt x="690232" y="0"/>
                      <a:pt x="690232" y="0"/>
                    </a:cubicBezTo>
                    <a:lnTo>
                      <a:pt x="679755" y="1905"/>
                    </a:lnTo>
                    <a:lnTo>
                      <a:pt x="671182" y="2858"/>
                    </a:lnTo>
                    <a:lnTo>
                      <a:pt x="652132" y="3810"/>
                    </a:lnTo>
                    <a:lnTo>
                      <a:pt x="641655" y="3810"/>
                    </a:lnTo>
                    <a:lnTo>
                      <a:pt x="636892" y="4763"/>
                    </a:lnTo>
                    <a:cubicBezTo>
                      <a:pt x="636892" y="4763"/>
                      <a:pt x="619747" y="3810"/>
                      <a:pt x="617842" y="5715"/>
                    </a:cubicBezTo>
                    <a:cubicBezTo>
                      <a:pt x="615937" y="6668"/>
                      <a:pt x="613080" y="5715"/>
                      <a:pt x="611175" y="7620"/>
                    </a:cubicBezTo>
                    <a:cubicBezTo>
                      <a:pt x="609270" y="8573"/>
                      <a:pt x="597840" y="9525"/>
                      <a:pt x="597840" y="9525"/>
                    </a:cubicBezTo>
                    <a:lnTo>
                      <a:pt x="583552" y="12383"/>
                    </a:lnTo>
                    <a:lnTo>
                      <a:pt x="575932" y="12383"/>
                    </a:lnTo>
                    <a:lnTo>
                      <a:pt x="568312" y="12383"/>
                    </a:lnTo>
                    <a:lnTo>
                      <a:pt x="553072" y="12383"/>
                    </a:lnTo>
                    <a:lnTo>
                      <a:pt x="542595" y="12383"/>
                    </a:lnTo>
                    <a:lnTo>
                      <a:pt x="523545" y="12383"/>
                    </a:lnTo>
                    <a:lnTo>
                      <a:pt x="506400" y="10478"/>
                    </a:lnTo>
                    <a:lnTo>
                      <a:pt x="489255" y="8573"/>
                    </a:lnTo>
                    <a:lnTo>
                      <a:pt x="478777" y="8573"/>
                    </a:lnTo>
                    <a:lnTo>
                      <a:pt x="471157" y="9525"/>
                    </a:lnTo>
                    <a:lnTo>
                      <a:pt x="456870" y="11430"/>
                    </a:lnTo>
                    <a:lnTo>
                      <a:pt x="452107" y="12383"/>
                    </a:lnTo>
                    <a:lnTo>
                      <a:pt x="448297" y="14288"/>
                    </a:lnTo>
                    <a:lnTo>
                      <a:pt x="447345" y="18098"/>
                    </a:lnTo>
                    <a:lnTo>
                      <a:pt x="442582" y="20955"/>
                    </a:lnTo>
                    <a:lnTo>
                      <a:pt x="434962" y="21908"/>
                    </a:lnTo>
                    <a:lnTo>
                      <a:pt x="425437" y="26670"/>
                    </a:lnTo>
                    <a:lnTo>
                      <a:pt x="416865" y="28575"/>
                    </a:lnTo>
                    <a:lnTo>
                      <a:pt x="396862" y="28575"/>
                    </a:lnTo>
                    <a:lnTo>
                      <a:pt x="392100" y="27623"/>
                    </a:lnTo>
                    <a:lnTo>
                      <a:pt x="384480" y="29528"/>
                    </a:lnTo>
                    <a:lnTo>
                      <a:pt x="374955" y="32385"/>
                    </a:lnTo>
                    <a:lnTo>
                      <a:pt x="365430" y="36195"/>
                    </a:lnTo>
                    <a:lnTo>
                      <a:pt x="360667" y="38100"/>
                    </a:lnTo>
                    <a:lnTo>
                      <a:pt x="349237" y="38100"/>
                    </a:lnTo>
                    <a:lnTo>
                      <a:pt x="338760" y="36195"/>
                    </a:lnTo>
                    <a:cubicBezTo>
                      <a:pt x="334950" y="35243"/>
                      <a:pt x="308280" y="35243"/>
                      <a:pt x="308280" y="35243"/>
                    </a:cubicBezTo>
                    <a:lnTo>
                      <a:pt x="299707" y="35243"/>
                    </a:lnTo>
                    <a:lnTo>
                      <a:pt x="291135" y="35243"/>
                    </a:lnTo>
                    <a:lnTo>
                      <a:pt x="286372" y="35243"/>
                    </a:lnTo>
                    <a:lnTo>
                      <a:pt x="275895" y="35243"/>
                    </a:lnTo>
                    <a:lnTo>
                      <a:pt x="263512" y="35243"/>
                    </a:lnTo>
                    <a:lnTo>
                      <a:pt x="255892" y="35243"/>
                    </a:lnTo>
                    <a:lnTo>
                      <a:pt x="250177" y="36195"/>
                    </a:lnTo>
                    <a:cubicBezTo>
                      <a:pt x="250177" y="36195"/>
                      <a:pt x="242557" y="36195"/>
                      <a:pt x="240652" y="39053"/>
                    </a:cubicBezTo>
                    <a:cubicBezTo>
                      <a:pt x="238747" y="40958"/>
                      <a:pt x="237795" y="40958"/>
                      <a:pt x="235890" y="41910"/>
                    </a:cubicBezTo>
                    <a:cubicBezTo>
                      <a:pt x="233985" y="42863"/>
                      <a:pt x="224460" y="42863"/>
                      <a:pt x="224460" y="42863"/>
                    </a:cubicBezTo>
                    <a:lnTo>
                      <a:pt x="219697" y="42863"/>
                    </a:lnTo>
                    <a:lnTo>
                      <a:pt x="215887" y="44768"/>
                    </a:lnTo>
                    <a:lnTo>
                      <a:pt x="210172" y="47625"/>
                    </a:lnTo>
                    <a:cubicBezTo>
                      <a:pt x="210172" y="47625"/>
                      <a:pt x="205410" y="48578"/>
                      <a:pt x="201600" y="49530"/>
                    </a:cubicBezTo>
                    <a:cubicBezTo>
                      <a:pt x="198742" y="50483"/>
                      <a:pt x="191122" y="51435"/>
                      <a:pt x="191122" y="51435"/>
                    </a:cubicBezTo>
                    <a:lnTo>
                      <a:pt x="185407" y="51435"/>
                    </a:lnTo>
                    <a:lnTo>
                      <a:pt x="182550" y="51435"/>
                    </a:lnTo>
                    <a:lnTo>
                      <a:pt x="171120" y="51435"/>
                    </a:lnTo>
                    <a:lnTo>
                      <a:pt x="163500" y="53340"/>
                    </a:lnTo>
                    <a:cubicBezTo>
                      <a:pt x="163500" y="53340"/>
                      <a:pt x="160642" y="53340"/>
                      <a:pt x="158737" y="56198"/>
                    </a:cubicBezTo>
                    <a:cubicBezTo>
                      <a:pt x="156832" y="58103"/>
                      <a:pt x="151117" y="60960"/>
                      <a:pt x="150165" y="61913"/>
                    </a:cubicBezTo>
                    <a:cubicBezTo>
                      <a:pt x="149212" y="62865"/>
                      <a:pt x="146354" y="64770"/>
                      <a:pt x="146354" y="64770"/>
                    </a:cubicBezTo>
                    <a:lnTo>
                      <a:pt x="134925" y="67628"/>
                    </a:lnTo>
                    <a:lnTo>
                      <a:pt x="113970" y="69533"/>
                    </a:lnTo>
                    <a:lnTo>
                      <a:pt x="100635" y="70485"/>
                    </a:lnTo>
                    <a:lnTo>
                      <a:pt x="92062" y="71438"/>
                    </a:lnTo>
                    <a:cubicBezTo>
                      <a:pt x="92062" y="71438"/>
                      <a:pt x="88252" y="73343"/>
                      <a:pt x="88252" y="75248"/>
                    </a:cubicBezTo>
                    <a:cubicBezTo>
                      <a:pt x="88252" y="76200"/>
                      <a:pt x="87300" y="79058"/>
                      <a:pt x="87300" y="79058"/>
                    </a:cubicBezTo>
                    <a:cubicBezTo>
                      <a:pt x="87300" y="79058"/>
                      <a:pt x="90157" y="80963"/>
                      <a:pt x="92062" y="80963"/>
                    </a:cubicBezTo>
                    <a:cubicBezTo>
                      <a:pt x="93967" y="80963"/>
                      <a:pt x="104445" y="81915"/>
                      <a:pt x="104445" y="81915"/>
                    </a:cubicBezTo>
                    <a:cubicBezTo>
                      <a:pt x="104445" y="81915"/>
                      <a:pt x="106350" y="82868"/>
                      <a:pt x="108254" y="82868"/>
                    </a:cubicBezTo>
                    <a:cubicBezTo>
                      <a:pt x="110160" y="83820"/>
                      <a:pt x="113017" y="85725"/>
                      <a:pt x="113017" y="85725"/>
                    </a:cubicBezTo>
                    <a:cubicBezTo>
                      <a:pt x="113017" y="85725"/>
                      <a:pt x="113970" y="84773"/>
                      <a:pt x="113970" y="89535"/>
                    </a:cubicBezTo>
                    <a:cubicBezTo>
                      <a:pt x="113017" y="94298"/>
                      <a:pt x="111112" y="98108"/>
                      <a:pt x="111112" y="98108"/>
                    </a:cubicBezTo>
                    <a:lnTo>
                      <a:pt x="102540" y="100013"/>
                    </a:lnTo>
                    <a:cubicBezTo>
                      <a:pt x="102540" y="100013"/>
                      <a:pt x="95872" y="100965"/>
                      <a:pt x="95872" y="102870"/>
                    </a:cubicBezTo>
                    <a:cubicBezTo>
                      <a:pt x="95872" y="103823"/>
                      <a:pt x="94920" y="106680"/>
                      <a:pt x="94920" y="106680"/>
                    </a:cubicBezTo>
                    <a:lnTo>
                      <a:pt x="89204" y="110490"/>
                    </a:lnTo>
                    <a:lnTo>
                      <a:pt x="83490" y="112395"/>
                    </a:lnTo>
                    <a:lnTo>
                      <a:pt x="81585" y="114300"/>
                    </a:lnTo>
                    <a:lnTo>
                      <a:pt x="75870" y="120968"/>
                    </a:lnTo>
                    <a:close/>
                  </a:path>
                </a:pathLst>
              </a:custGeom>
              <a:grpFill/>
              <a:ln w="9525" cap="flat">
                <a:noFill/>
                <a:prstDash val="solid"/>
                <a:miter/>
              </a:ln>
            </p:spPr>
            <p:txBody>
              <a:bodyPr rtlCol="0" anchor="ctr"/>
              <a:lstStyle/>
              <a:p>
                <a:endParaRPr lang="en-US" sz="1765"/>
              </a:p>
            </p:txBody>
          </p:sp>
          <p:sp>
            <p:nvSpPr>
              <p:cNvPr id="38" name="Freeform: Shape 37">
                <a:extLst>
                  <a:ext uri="{FF2B5EF4-FFF2-40B4-BE49-F238E27FC236}">
                    <a16:creationId xmlns:a16="http://schemas.microsoft.com/office/drawing/2014/main" id="{57A5C612-EE94-49CC-B233-05C1F359D956}"/>
                  </a:ext>
                </a:extLst>
              </p:cNvPr>
              <p:cNvSpPr/>
              <p:nvPr/>
            </p:nvSpPr>
            <p:spPr>
              <a:xfrm>
                <a:off x="7292898" y="3092496"/>
                <a:ext cx="56620" cy="27622"/>
              </a:xfrm>
              <a:custGeom>
                <a:avLst/>
                <a:gdLst>
                  <a:gd name="connsiteX0" fmla="*/ 43286 w 56620"/>
                  <a:gd name="connsiteY0" fmla="*/ 24765 h 27622"/>
                  <a:gd name="connsiteX1" fmla="*/ 41381 w 56620"/>
                  <a:gd name="connsiteY1" fmla="*/ 26670 h 27622"/>
                  <a:gd name="connsiteX2" fmla="*/ 28046 w 56620"/>
                  <a:gd name="connsiteY2" fmla="*/ 27622 h 27622"/>
                  <a:gd name="connsiteX3" fmla="*/ 21378 w 56620"/>
                  <a:gd name="connsiteY3" fmla="*/ 27622 h 27622"/>
                  <a:gd name="connsiteX4" fmla="*/ 14711 w 56620"/>
                  <a:gd name="connsiteY4" fmla="*/ 27622 h 27622"/>
                  <a:gd name="connsiteX5" fmla="*/ 10901 w 56620"/>
                  <a:gd name="connsiteY5" fmla="*/ 26670 h 27622"/>
                  <a:gd name="connsiteX6" fmla="*/ 9948 w 56620"/>
                  <a:gd name="connsiteY6" fmla="*/ 23813 h 27622"/>
                  <a:gd name="connsiteX7" fmla="*/ 3281 w 56620"/>
                  <a:gd name="connsiteY7" fmla="*/ 21907 h 27622"/>
                  <a:gd name="connsiteX8" fmla="*/ 1376 w 56620"/>
                  <a:gd name="connsiteY8" fmla="*/ 21907 h 27622"/>
                  <a:gd name="connsiteX9" fmla="*/ 1376 w 56620"/>
                  <a:gd name="connsiteY9" fmla="*/ 19050 h 27622"/>
                  <a:gd name="connsiteX10" fmla="*/ 1376 w 56620"/>
                  <a:gd name="connsiteY10" fmla="*/ 16193 h 27622"/>
                  <a:gd name="connsiteX11" fmla="*/ 423 w 56620"/>
                  <a:gd name="connsiteY11" fmla="*/ 12382 h 27622"/>
                  <a:gd name="connsiteX12" fmla="*/ 423 w 56620"/>
                  <a:gd name="connsiteY12" fmla="*/ 10477 h 27622"/>
                  <a:gd name="connsiteX13" fmla="*/ 1376 w 56620"/>
                  <a:gd name="connsiteY13" fmla="*/ 10477 h 27622"/>
                  <a:gd name="connsiteX14" fmla="*/ 4233 w 56620"/>
                  <a:gd name="connsiteY14" fmla="*/ 10477 h 27622"/>
                  <a:gd name="connsiteX15" fmla="*/ 7091 w 56620"/>
                  <a:gd name="connsiteY15" fmla="*/ 8572 h 27622"/>
                  <a:gd name="connsiteX16" fmla="*/ 12806 w 56620"/>
                  <a:gd name="connsiteY16" fmla="*/ 8572 h 27622"/>
                  <a:gd name="connsiteX17" fmla="*/ 19473 w 56620"/>
                  <a:gd name="connsiteY17" fmla="*/ 7620 h 27622"/>
                  <a:gd name="connsiteX18" fmla="*/ 28046 w 56620"/>
                  <a:gd name="connsiteY18" fmla="*/ 4763 h 27622"/>
                  <a:gd name="connsiteX19" fmla="*/ 30903 w 56620"/>
                  <a:gd name="connsiteY19" fmla="*/ 4763 h 27622"/>
                  <a:gd name="connsiteX20" fmla="*/ 34713 w 56620"/>
                  <a:gd name="connsiteY20" fmla="*/ 3810 h 27622"/>
                  <a:gd name="connsiteX21" fmla="*/ 40428 w 56620"/>
                  <a:gd name="connsiteY21" fmla="*/ 5715 h 27622"/>
                  <a:gd name="connsiteX22" fmla="*/ 45191 w 56620"/>
                  <a:gd name="connsiteY22" fmla="*/ 3810 h 27622"/>
                  <a:gd name="connsiteX23" fmla="*/ 49001 w 56620"/>
                  <a:gd name="connsiteY23" fmla="*/ 0 h 27622"/>
                  <a:gd name="connsiteX24" fmla="*/ 51858 w 56620"/>
                  <a:gd name="connsiteY24" fmla="*/ 952 h 27622"/>
                  <a:gd name="connsiteX25" fmla="*/ 55668 w 56620"/>
                  <a:gd name="connsiteY25" fmla="*/ 2857 h 27622"/>
                  <a:gd name="connsiteX26" fmla="*/ 54716 w 56620"/>
                  <a:gd name="connsiteY26" fmla="*/ 7620 h 27622"/>
                  <a:gd name="connsiteX27" fmla="*/ 55668 w 56620"/>
                  <a:gd name="connsiteY27" fmla="*/ 10477 h 27622"/>
                  <a:gd name="connsiteX28" fmla="*/ 56621 w 56620"/>
                  <a:gd name="connsiteY28" fmla="*/ 12382 h 27622"/>
                  <a:gd name="connsiteX29" fmla="*/ 54716 w 56620"/>
                  <a:gd name="connsiteY29" fmla="*/ 15240 h 27622"/>
                  <a:gd name="connsiteX30" fmla="*/ 46143 w 56620"/>
                  <a:gd name="connsiteY30" fmla="*/ 17145 h 27622"/>
                  <a:gd name="connsiteX31" fmla="*/ 47096 w 56620"/>
                  <a:gd name="connsiteY31" fmla="*/ 20955 h 27622"/>
                  <a:gd name="connsiteX32" fmla="*/ 47096 w 56620"/>
                  <a:gd name="connsiteY32" fmla="*/ 21907 h 27622"/>
                  <a:gd name="connsiteX33" fmla="*/ 48048 w 56620"/>
                  <a:gd name="connsiteY33" fmla="*/ 23813 h 27622"/>
                  <a:gd name="connsiteX34" fmla="*/ 43286 w 56620"/>
                  <a:gd name="connsiteY34" fmla="*/ 24765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620" h="27622">
                    <a:moveTo>
                      <a:pt x="43286" y="24765"/>
                    </a:moveTo>
                    <a:cubicBezTo>
                      <a:pt x="43286" y="24765"/>
                      <a:pt x="43286" y="25718"/>
                      <a:pt x="41381" y="26670"/>
                    </a:cubicBezTo>
                    <a:cubicBezTo>
                      <a:pt x="39476" y="26670"/>
                      <a:pt x="28046" y="27622"/>
                      <a:pt x="28046" y="27622"/>
                    </a:cubicBezTo>
                    <a:lnTo>
                      <a:pt x="21378" y="27622"/>
                    </a:lnTo>
                    <a:lnTo>
                      <a:pt x="14711" y="27622"/>
                    </a:lnTo>
                    <a:lnTo>
                      <a:pt x="10901" y="26670"/>
                    </a:lnTo>
                    <a:cubicBezTo>
                      <a:pt x="10901" y="26670"/>
                      <a:pt x="10901" y="24765"/>
                      <a:pt x="9948" y="23813"/>
                    </a:cubicBezTo>
                    <a:cubicBezTo>
                      <a:pt x="8043" y="22860"/>
                      <a:pt x="3281" y="21907"/>
                      <a:pt x="3281" y="21907"/>
                    </a:cubicBezTo>
                    <a:lnTo>
                      <a:pt x="1376" y="21907"/>
                    </a:lnTo>
                    <a:lnTo>
                      <a:pt x="1376" y="19050"/>
                    </a:lnTo>
                    <a:lnTo>
                      <a:pt x="1376" y="16193"/>
                    </a:lnTo>
                    <a:lnTo>
                      <a:pt x="423" y="12382"/>
                    </a:lnTo>
                    <a:cubicBezTo>
                      <a:pt x="423" y="12382"/>
                      <a:pt x="-529" y="10477"/>
                      <a:pt x="423" y="10477"/>
                    </a:cubicBezTo>
                    <a:cubicBezTo>
                      <a:pt x="1376" y="10477"/>
                      <a:pt x="-1482" y="10477"/>
                      <a:pt x="1376" y="10477"/>
                    </a:cubicBezTo>
                    <a:cubicBezTo>
                      <a:pt x="4233" y="10477"/>
                      <a:pt x="2328" y="10477"/>
                      <a:pt x="4233" y="10477"/>
                    </a:cubicBezTo>
                    <a:cubicBezTo>
                      <a:pt x="6138" y="10477"/>
                      <a:pt x="7091" y="8572"/>
                      <a:pt x="7091" y="8572"/>
                    </a:cubicBezTo>
                    <a:cubicBezTo>
                      <a:pt x="10901" y="8572"/>
                      <a:pt x="9948" y="8572"/>
                      <a:pt x="12806" y="8572"/>
                    </a:cubicBezTo>
                    <a:cubicBezTo>
                      <a:pt x="15663" y="8572"/>
                      <a:pt x="13758" y="10477"/>
                      <a:pt x="19473" y="7620"/>
                    </a:cubicBezTo>
                    <a:cubicBezTo>
                      <a:pt x="24236" y="4763"/>
                      <a:pt x="26141" y="4763"/>
                      <a:pt x="28046" y="4763"/>
                    </a:cubicBezTo>
                    <a:cubicBezTo>
                      <a:pt x="29951" y="4763"/>
                      <a:pt x="30903" y="4763"/>
                      <a:pt x="30903" y="4763"/>
                    </a:cubicBezTo>
                    <a:cubicBezTo>
                      <a:pt x="30903" y="4763"/>
                      <a:pt x="29951" y="1905"/>
                      <a:pt x="34713" y="3810"/>
                    </a:cubicBezTo>
                    <a:cubicBezTo>
                      <a:pt x="39476" y="5715"/>
                      <a:pt x="38523" y="5715"/>
                      <a:pt x="40428" y="5715"/>
                    </a:cubicBezTo>
                    <a:cubicBezTo>
                      <a:pt x="42333" y="5715"/>
                      <a:pt x="43286" y="3810"/>
                      <a:pt x="45191" y="3810"/>
                    </a:cubicBezTo>
                    <a:cubicBezTo>
                      <a:pt x="47096" y="2857"/>
                      <a:pt x="46143" y="0"/>
                      <a:pt x="49001" y="0"/>
                    </a:cubicBezTo>
                    <a:cubicBezTo>
                      <a:pt x="51858" y="952"/>
                      <a:pt x="49001" y="0"/>
                      <a:pt x="51858" y="952"/>
                    </a:cubicBezTo>
                    <a:cubicBezTo>
                      <a:pt x="54716" y="1905"/>
                      <a:pt x="54716" y="952"/>
                      <a:pt x="55668" y="2857"/>
                    </a:cubicBezTo>
                    <a:cubicBezTo>
                      <a:pt x="56621" y="4763"/>
                      <a:pt x="55668" y="6668"/>
                      <a:pt x="54716" y="7620"/>
                    </a:cubicBezTo>
                    <a:cubicBezTo>
                      <a:pt x="54716" y="8572"/>
                      <a:pt x="55668" y="8572"/>
                      <a:pt x="55668" y="10477"/>
                    </a:cubicBezTo>
                    <a:cubicBezTo>
                      <a:pt x="55668" y="11430"/>
                      <a:pt x="56621" y="12382"/>
                      <a:pt x="56621" y="12382"/>
                    </a:cubicBezTo>
                    <a:cubicBezTo>
                      <a:pt x="56621" y="13335"/>
                      <a:pt x="55668" y="14288"/>
                      <a:pt x="54716" y="15240"/>
                    </a:cubicBezTo>
                    <a:cubicBezTo>
                      <a:pt x="53763" y="16193"/>
                      <a:pt x="46143" y="17145"/>
                      <a:pt x="46143" y="17145"/>
                    </a:cubicBezTo>
                    <a:lnTo>
                      <a:pt x="47096" y="20955"/>
                    </a:lnTo>
                    <a:cubicBezTo>
                      <a:pt x="47096" y="20955"/>
                      <a:pt x="46143" y="20955"/>
                      <a:pt x="47096" y="21907"/>
                    </a:cubicBezTo>
                    <a:cubicBezTo>
                      <a:pt x="48048" y="23813"/>
                      <a:pt x="49001" y="23813"/>
                      <a:pt x="48048" y="23813"/>
                    </a:cubicBezTo>
                    <a:cubicBezTo>
                      <a:pt x="48048" y="24765"/>
                      <a:pt x="43286" y="24765"/>
                      <a:pt x="43286" y="24765"/>
                    </a:cubicBezTo>
                    <a:close/>
                  </a:path>
                </a:pathLst>
              </a:custGeom>
              <a:grpFill/>
              <a:ln w="9525" cap="flat">
                <a:noFill/>
                <a:prstDash val="solid"/>
                <a:miter/>
              </a:ln>
            </p:spPr>
            <p:txBody>
              <a:bodyPr rtlCol="0" anchor="ctr"/>
              <a:lstStyle/>
              <a:p>
                <a:endParaRPr lang="en-US" sz="1765"/>
              </a:p>
            </p:txBody>
          </p:sp>
          <p:sp>
            <p:nvSpPr>
              <p:cNvPr id="39" name="Freeform: Shape 38">
                <a:extLst>
                  <a:ext uri="{FF2B5EF4-FFF2-40B4-BE49-F238E27FC236}">
                    <a16:creationId xmlns:a16="http://schemas.microsoft.com/office/drawing/2014/main" id="{2DB7E8B0-CD28-4429-A5DC-62F8A4DCF859}"/>
                  </a:ext>
                </a:extLst>
              </p:cNvPr>
              <p:cNvSpPr/>
              <p:nvPr/>
            </p:nvSpPr>
            <p:spPr>
              <a:xfrm>
                <a:off x="7209128" y="3423014"/>
                <a:ext cx="121340" cy="68579"/>
              </a:xfrm>
              <a:custGeom>
                <a:avLst/>
                <a:gdLst>
                  <a:gd name="connsiteX0" fmla="*/ 70857 w 121340"/>
                  <a:gd name="connsiteY0" fmla="*/ 11430 h 68579"/>
                  <a:gd name="connsiteX1" fmla="*/ 68000 w 121340"/>
                  <a:gd name="connsiteY1" fmla="*/ 6667 h 68579"/>
                  <a:gd name="connsiteX2" fmla="*/ 65143 w 121340"/>
                  <a:gd name="connsiteY2" fmla="*/ 1905 h 68579"/>
                  <a:gd name="connsiteX3" fmla="*/ 60380 w 121340"/>
                  <a:gd name="connsiteY3" fmla="*/ 0 h 68579"/>
                  <a:gd name="connsiteX4" fmla="*/ 57523 w 121340"/>
                  <a:gd name="connsiteY4" fmla="*/ 952 h 68579"/>
                  <a:gd name="connsiteX5" fmla="*/ 49903 w 121340"/>
                  <a:gd name="connsiteY5" fmla="*/ 1905 h 68579"/>
                  <a:gd name="connsiteX6" fmla="*/ 44188 w 121340"/>
                  <a:gd name="connsiteY6" fmla="*/ 1905 h 68579"/>
                  <a:gd name="connsiteX7" fmla="*/ 39425 w 121340"/>
                  <a:gd name="connsiteY7" fmla="*/ 5715 h 68579"/>
                  <a:gd name="connsiteX8" fmla="*/ 37520 w 121340"/>
                  <a:gd name="connsiteY8" fmla="*/ 9525 h 68579"/>
                  <a:gd name="connsiteX9" fmla="*/ 31805 w 121340"/>
                  <a:gd name="connsiteY9" fmla="*/ 14288 h 68579"/>
                  <a:gd name="connsiteX10" fmla="*/ 28948 w 121340"/>
                  <a:gd name="connsiteY10" fmla="*/ 16192 h 68579"/>
                  <a:gd name="connsiteX11" fmla="*/ 27043 w 121340"/>
                  <a:gd name="connsiteY11" fmla="*/ 18098 h 68579"/>
                  <a:gd name="connsiteX12" fmla="*/ 27995 w 121340"/>
                  <a:gd name="connsiteY12" fmla="*/ 19050 h 68579"/>
                  <a:gd name="connsiteX13" fmla="*/ 24185 w 121340"/>
                  <a:gd name="connsiteY13" fmla="*/ 24765 h 68579"/>
                  <a:gd name="connsiteX14" fmla="*/ 19423 w 121340"/>
                  <a:gd name="connsiteY14" fmla="*/ 27623 h 68579"/>
                  <a:gd name="connsiteX15" fmla="*/ 8945 w 121340"/>
                  <a:gd name="connsiteY15" fmla="*/ 29527 h 68579"/>
                  <a:gd name="connsiteX16" fmla="*/ 4182 w 121340"/>
                  <a:gd name="connsiteY16" fmla="*/ 31432 h 68579"/>
                  <a:gd name="connsiteX17" fmla="*/ 1325 w 121340"/>
                  <a:gd name="connsiteY17" fmla="*/ 33338 h 68579"/>
                  <a:gd name="connsiteX18" fmla="*/ 3230 w 121340"/>
                  <a:gd name="connsiteY18" fmla="*/ 38100 h 68579"/>
                  <a:gd name="connsiteX19" fmla="*/ 2278 w 121340"/>
                  <a:gd name="connsiteY19" fmla="*/ 42863 h 68579"/>
                  <a:gd name="connsiteX20" fmla="*/ 1325 w 121340"/>
                  <a:gd name="connsiteY20" fmla="*/ 47625 h 68579"/>
                  <a:gd name="connsiteX21" fmla="*/ 12755 w 121340"/>
                  <a:gd name="connsiteY21" fmla="*/ 49530 h 68579"/>
                  <a:gd name="connsiteX22" fmla="*/ 20375 w 121340"/>
                  <a:gd name="connsiteY22" fmla="*/ 49530 h 68579"/>
                  <a:gd name="connsiteX23" fmla="*/ 27995 w 121340"/>
                  <a:gd name="connsiteY23" fmla="*/ 49530 h 68579"/>
                  <a:gd name="connsiteX24" fmla="*/ 29900 w 121340"/>
                  <a:gd name="connsiteY24" fmla="*/ 51435 h 68579"/>
                  <a:gd name="connsiteX25" fmla="*/ 34663 w 121340"/>
                  <a:gd name="connsiteY25" fmla="*/ 53340 h 68579"/>
                  <a:gd name="connsiteX26" fmla="*/ 42282 w 121340"/>
                  <a:gd name="connsiteY26" fmla="*/ 53340 h 68579"/>
                  <a:gd name="connsiteX27" fmla="*/ 47045 w 121340"/>
                  <a:gd name="connsiteY27" fmla="*/ 56198 h 68579"/>
                  <a:gd name="connsiteX28" fmla="*/ 47045 w 121340"/>
                  <a:gd name="connsiteY28" fmla="*/ 60007 h 68579"/>
                  <a:gd name="connsiteX29" fmla="*/ 47045 w 121340"/>
                  <a:gd name="connsiteY29" fmla="*/ 64770 h 68579"/>
                  <a:gd name="connsiteX30" fmla="*/ 53713 w 121340"/>
                  <a:gd name="connsiteY30" fmla="*/ 68580 h 68579"/>
                  <a:gd name="connsiteX31" fmla="*/ 57523 w 121340"/>
                  <a:gd name="connsiteY31" fmla="*/ 68580 h 68579"/>
                  <a:gd name="connsiteX32" fmla="*/ 62285 w 121340"/>
                  <a:gd name="connsiteY32" fmla="*/ 67627 h 68579"/>
                  <a:gd name="connsiteX33" fmla="*/ 71810 w 121340"/>
                  <a:gd name="connsiteY33" fmla="*/ 65723 h 68579"/>
                  <a:gd name="connsiteX34" fmla="*/ 74668 w 121340"/>
                  <a:gd name="connsiteY34" fmla="*/ 65723 h 68579"/>
                  <a:gd name="connsiteX35" fmla="*/ 75620 w 121340"/>
                  <a:gd name="connsiteY35" fmla="*/ 60007 h 68579"/>
                  <a:gd name="connsiteX36" fmla="*/ 76573 w 121340"/>
                  <a:gd name="connsiteY36" fmla="*/ 57150 h 68579"/>
                  <a:gd name="connsiteX37" fmla="*/ 81335 w 121340"/>
                  <a:gd name="connsiteY37" fmla="*/ 56198 h 68579"/>
                  <a:gd name="connsiteX38" fmla="*/ 88003 w 121340"/>
                  <a:gd name="connsiteY38" fmla="*/ 56198 h 68579"/>
                  <a:gd name="connsiteX39" fmla="*/ 96575 w 121340"/>
                  <a:gd name="connsiteY39" fmla="*/ 56198 h 68579"/>
                  <a:gd name="connsiteX40" fmla="*/ 98480 w 121340"/>
                  <a:gd name="connsiteY40" fmla="*/ 56198 h 68579"/>
                  <a:gd name="connsiteX41" fmla="*/ 104195 w 121340"/>
                  <a:gd name="connsiteY41" fmla="*/ 55245 h 68579"/>
                  <a:gd name="connsiteX42" fmla="*/ 109910 w 121340"/>
                  <a:gd name="connsiteY42" fmla="*/ 53340 h 68579"/>
                  <a:gd name="connsiteX43" fmla="*/ 114673 w 121340"/>
                  <a:gd name="connsiteY43" fmla="*/ 51435 h 68579"/>
                  <a:gd name="connsiteX44" fmla="*/ 120388 w 121340"/>
                  <a:gd name="connsiteY44" fmla="*/ 44767 h 68579"/>
                  <a:gd name="connsiteX45" fmla="*/ 121340 w 121340"/>
                  <a:gd name="connsiteY45" fmla="*/ 40957 h 68579"/>
                  <a:gd name="connsiteX46" fmla="*/ 116578 w 121340"/>
                  <a:gd name="connsiteY46" fmla="*/ 38100 h 68579"/>
                  <a:gd name="connsiteX47" fmla="*/ 108957 w 121340"/>
                  <a:gd name="connsiteY47" fmla="*/ 35242 h 68579"/>
                  <a:gd name="connsiteX48" fmla="*/ 108957 w 121340"/>
                  <a:gd name="connsiteY48" fmla="*/ 29527 h 68579"/>
                  <a:gd name="connsiteX49" fmla="*/ 106100 w 121340"/>
                  <a:gd name="connsiteY49" fmla="*/ 25717 h 68579"/>
                  <a:gd name="connsiteX50" fmla="*/ 101338 w 121340"/>
                  <a:gd name="connsiteY50" fmla="*/ 24765 h 68579"/>
                  <a:gd name="connsiteX51" fmla="*/ 90860 w 121340"/>
                  <a:gd name="connsiteY51" fmla="*/ 21907 h 68579"/>
                  <a:gd name="connsiteX52" fmla="*/ 89907 w 121340"/>
                  <a:gd name="connsiteY52" fmla="*/ 19050 h 68579"/>
                  <a:gd name="connsiteX53" fmla="*/ 82288 w 121340"/>
                  <a:gd name="connsiteY53" fmla="*/ 16192 h 68579"/>
                  <a:gd name="connsiteX54" fmla="*/ 76573 w 121340"/>
                  <a:gd name="connsiteY54" fmla="*/ 15240 h 68579"/>
                  <a:gd name="connsiteX55" fmla="*/ 70857 w 121340"/>
                  <a:gd name="connsiteY55" fmla="*/ 11430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340" h="68579">
                    <a:moveTo>
                      <a:pt x="70857" y="11430"/>
                    </a:moveTo>
                    <a:lnTo>
                      <a:pt x="68000" y="6667"/>
                    </a:lnTo>
                    <a:lnTo>
                      <a:pt x="65143" y="1905"/>
                    </a:lnTo>
                    <a:lnTo>
                      <a:pt x="60380" y="0"/>
                    </a:lnTo>
                    <a:lnTo>
                      <a:pt x="57523" y="952"/>
                    </a:lnTo>
                    <a:lnTo>
                      <a:pt x="49903" y="1905"/>
                    </a:lnTo>
                    <a:lnTo>
                      <a:pt x="44188" y="1905"/>
                    </a:lnTo>
                    <a:cubicBezTo>
                      <a:pt x="44188" y="1905"/>
                      <a:pt x="39425" y="4763"/>
                      <a:pt x="39425" y="5715"/>
                    </a:cubicBezTo>
                    <a:cubicBezTo>
                      <a:pt x="40378" y="6667"/>
                      <a:pt x="37520" y="7620"/>
                      <a:pt x="37520" y="9525"/>
                    </a:cubicBezTo>
                    <a:cubicBezTo>
                      <a:pt x="36568" y="10477"/>
                      <a:pt x="31805" y="14288"/>
                      <a:pt x="31805" y="14288"/>
                    </a:cubicBezTo>
                    <a:lnTo>
                      <a:pt x="28948" y="16192"/>
                    </a:lnTo>
                    <a:cubicBezTo>
                      <a:pt x="28948" y="16192"/>
                      <a:pt x="27043" y="16192"/>
                      <a:pt x="27043" y="18098"/>
                    </a:cubicBezTo>
                    <a:cubicBezTo>
                      <a:pt x="27995" y="19050"/>
                      <a:pt x="27995" y="17145"/>
                      <a:pt x="27995" y="19050"/>
                    </a:cubicBezTo>
                    <a:cubicBezTo>
                      <a:pt x="27995" y="21907"/>
                      <a:pt x="24185" y="24765"/>
                      <a:pt x="24185" y="24765"/>
                    </a:cubicBezTo>
                    <a:lnTo>
                      <a:pt x="19423" y="27623"/>
                    </a:lnTo>
                    <a:lnTo>
                      <a:pt x="8945" y="29527"/>
                    </a:lnTo>
                    <a:lnTo>
                      <a:pt x="4182" y="31432"/>
                    </a:lnTo>
                    <a:lnTo>
                      <a:pt x="1325" y="33338"/>
                    </a:lnTo>
                    <a:cubicBezTo>
                      <a:pt x="3230" y="38100"/>
                      <a:pt x="3230" y="38100"/>
                      <a:pt x="3230" y="38100"/>
                    </a:cubicBezTo>
                    <a:cubicBezTo>
                      <a:pt x="3230" y="38100"/>
                      <a:pt x="1325" y="40957"/>
                      <a:pt x="2278" y="42863"/>
                    </a:cubicBezTo>
                    <a:cubicBezTo>
                      <a:pt x="3230" y="43815"/>
                      <a:pt x="-2485" y="46673"/>
                      <a:pt x="1325" y="47625"/>
                    </a:cubicBezTo>
                    <a:cubicBezTo>
                      <a:pt x="5135" y="48577"/>
                      <a:pt x="9898" y="48577"/>
                      <a:pt x="12755" y="49530"/>
                    </a:cubicBezTo>
                    <a:cubicBezTo>
                      <a:pt x="14660" y="50482"/>
                      <a:pt x="17518" y="48577"/>
                      <a:pt x="20375" y="49530"/>
                    </a:cubicBezTo>
                    <a:cubicBezTo>
                      <a:pt x="23232" y="50482"/>
                      <a:pt x="27995" y="49530"/>
                      <a:pt x="27995" y="49530"/>
                    </a:cubicBezTo>
                    <a:lnTo>
                      <a:pt x="29900" y="51435"/>
                    </a:lnTo>
                    <a:cubicBezTo>
                      <a:pt x="29900" y="51435"/>
                      <a:pt x="31805" y="53340"/>
                      <a:pt x="34663" y="53340"/>
                    </a:cubicBezTo>
                    <a:cubicBezTo>
                      <a:pt x="36568" y="53340"/>
                      <a:pt x="39425" y="53340"/>
                      <a:pt x="42282" y="53340"/>
                    </a:cubicBezTo>
                    <a:cubicBezTo>
                      <a:pt x="45140" y="54292"/>
                      <a:pt x="47045" y="54292"/>
                      <a:pt x="47045" y="56198"/>
                    </a:cubicBezTo>
                    <a:cubicBezTo>
                      <a:pt x="47998" y="58102"/>
                      <a:pt x="46093" y="58102"/>
                      <a:pt x="47045" y="60007"/>
                    </a:cubicBezTo>
                    <a:cubicBezTo>
                      <a:pt x="47998" y="61913"/>
                      <a:pt x="45140" y="62865"/>
                      <a:pt x="47045" y="64770"/>
                    </a:cubicBezTo>
                    <a:cubicBezTo>
                      <a:pt x="48950" y="66675"/>
                      <a:pt x="53713" y="68580"/>
                      <a:pt x="53713" y="68580"/>
                    </a:cubicBezTo>
                    <a:lnTo>
                      <a:pt x="57523" y="68580"/>
                    </a:lnTo>
                    <a:cubicBezTo>
                      <a:pt x="57523" y="68580"/>
                      <a:pt x="58475" y="68580"/>
                      <a:pt x="62285" y="67627"/>
                    </a:cubicBezTo>
                    <a:cubicBezTo>
                      <a:pt x="66095" y="67627"/>
                      <a:pt x="71810" y="65723"/>
                      <a:pt x="71810" y="65723"/>
                    </a:cubicBezTo>
                    <a:lnTo>
                      <a:pt x="74668" y="65723"/>
                    </a:lnTo>
                    <a:lnTo>
                      <a:pt x="75620" y="60007"/>
                    </a:lnTo>
                    <a:lnTo>
                      <a:pt x="76573" y="57150"/>
                    </a:lnTo>
                    <a:lnTo>
                      <a:pt x="81335" y="56198"/>
                    </a:lnTo>
                    <a:cubicBezTo>
                      <a:pt x="81335" y="56198"/>
                      <a:pt x="86098" y="56198"/>
                      <a:pt x="88003" y="56198"/>
                    </a:cubicBezTo>
                    <a:cubicBezTo>
                      <a:pt x="89907" y="57150"/>
                      <a:pt x="94670" y="56198"/>
                      <a:pt x="96575" y="56198"/>
                    </a:cubicBezTo>
                    <a:cubicBezTo>
                      <a:pt x="98480" y="56198"/>
                      <a:pt x="96575" y="56198"/>
                      <a:pt x="98480" y="56198"/>
                    </a:cubicBezTo>
                    <a:cubicBezTo>
                      <a:pt x="100385" y="55245"/>
                      <a:pt x="104195" y="55245"/>
                      <a:pt x="104195" y="55245"/>
                    </a:cubicBezTo>
                    <a:lnTo>
                      <a:pt x="109910" y="53340"/>
                    </a:lnTo>
                    <a:cubicBezTo>
                      <a:pt x="109910" y="53340"/>
                      <a:pt x="111815" y="52388"/>
                      <a:pt x="114673" y="51435"/>
                    </a:cubicBezTo>
                    <a:cubicBezTo>
                      <a:pt x="117530" y="51435"/>
                      <a:pt x="120388" y="44767"/>
                      <a:pt x="120388" y="44767"/>
                    </a:cubicBezTo>
                    <a:lnTo>
                      <a:pt x="121340" y="40957"/>
                    </a:lnTo>
                    <a:lnTo>
                      <a:pt x="116578" y="38100"/>
                    </a:lnTo>
                    <a:cubicBezTo>
                      <a:pt x="116578" y="38100"/>
                      <a:pt x="108957" y="36195"/>
                      <a:pt x="108957" y="35242"/>
                    </a:cubicBezTo>
                    <a:cubicBezTo>
                      <a:pt x="109910" y="34290"/>
                      <a:pt x="108957" y="29527"/>
                      <a:pt x="108957" y="29527"/>
                    </a:cubicBezTo>
                    <a:lnTo>
                      <a:pt x="106100" y="25717"/>
                    </a:lnTo>
                    <a:lnTo>
                      <a:pt x="101338" y="24765"/>
                    </a:lnTo>
                    <a:lnTo>
                      <a:pt x="90860" y="21907"/>
                    </a:lnTo>
                    <a:lnTo>
                      <a:pt x="89907" y="19050"/>
                    </a:lnTo>
                    <a:lnTo>
                      <a:pt x="82288" y="16192"/>
                    </a:lnTo>
                    <a:lnTo>
                      <a:pt x="76573" y="15240"/>
                    </a:lnTo>
                    <a:lnTo>
                      <a:pt x="70857" y="11430"/>
                    </a:lnTo>
                    <a:close/>
                  </a:path>
                </a:pathLst>
              </a:custGeom>
              <a:grpFill/>
              <a:ln w="9525" cap="flat">
                <a:noFill/>
                <a:prstDash val="solid"/>
                <a:miter/>
              </a:ln>
            </p:spPr>
            <p:txBody>
              <a:bodyPr rtlCol="0" anchor="ctr"/>
              <a:lstStyle/>
              <a:p>
                <a:endParaRPr lang="en-US" sz="1765"/>
              </a:p>
            </p:txBody>
          </p:sp>
          <p:sp>
            <p:nvSpPr>
              <p:cNvPr id="40" name="Freeform: Shape 39">
                <a:extLst>
                  <a:ext uri="{FF2B5EF4-FFF2-40B4-BE49-F238E27FC236}">
                    <a16:creationId xmlns:a16="http://schemas.microsoft.com/office/drawing/2014/main" id="{E3D9C49A-18B1-439E-A993-B497820C20D9}"/>
                  </a:ext>
                </a:extLst>
              </p:cNvPr>
              <p:cNvSpPr/>
              <p:nvPr/>
            </p:nvSpPr>
            <p:spPr>
              <a:xfrm>
                <a:off x="7826721" y="3175364"/>
                <a:ext cx="181927" cy="61912"/>
              </a:xfrm>
              <a:custGeom>
                <a:avLst/>
                <a:gdLst>
                  <a:gd name="connsiteX0" fmla="*/ 152400 w 181927"/>
                  <a:gd name="connsiteY0" fmla="*/ 1905 h 61912"/>
                  <a:gd name="connsiteX1" fmla="*/ 140970 w 181927"/>
                  <a:gd name="connsiteY1" fmla="*/ 0 h 61912"/>
                  <a:gd name="connsiteX2" fmla="*/ 135255 w 181927"/>
                  <a:gd name="connsiteY2" fmla="*/ 0 h 61912"/>
                  <a:gd name="connsiteX3" fmla="*/ 126683 w 181927"/>
                  <a:gd name="connsiteY3" fmla="*/ 952 h 61912"/>
                  <a:gd name="connsiteX4" fmla="*/ 117158 w 181927"/>
                  <a:gd name="connsiteY4" fmla="*/ 3810 h 61912"/>
                  <a:gd name="connsiteX5" fmla="*/ 111443 w 181927"/>
                  <a:gd name="connsiteY5" fmla="*/ 4763 h 61912"/>
                  <a:gd name="connsiteX6" fmla="*/ 100965 w 181927"/>
                  <a:gd name="connsiteY6" fmla="*/ 5715 h 61912"/>
                  <a:gd name="connsiteX7" fmla="*/ 92393 w 181927"/>
                  <a:gd name="connsiteY7" fmla="*/ 5715 h 61912"/>
                  <a:gd name="connsiteX8" fmla="*/ 83820 w 181927"/>
                  <a:gd name="connsiteY8" fmla="*/ 6667 h 61912"/>
                  <a:gd name="connsiteX9" fmla="*/ 76200 w 181927"/>
                  <a:gd name="connsiteY9" fmla="*/ 7620 h 61912"/>
                  <a:gd name="connsiteX10" fmla="*/ 61913 w 181927"/>
                  <a:gd name="connsiteY10" fmla="*/ 7620 h 61912"/>
                  <a:gd name="connsiteX11" fmla="*/ 46673 w 181927"/>
                  <a:gd name="connsiteY11" fmla="*/ 5715 h 61912"/>
                  <a:gd name="connsiteX12" fmla="*/ 33338 w 181927"/>
                  <a:gd name="connsiteY12" fmla="*/ 2857 h 61912"/>
                  <a:gd name="connsiteX13" fmla="*/ 24765 w 181927"/>
                  <a:gd name="connsiteY13" fmla="*/ 952 h 61912"/>
                  <a:gd name="connsiteX14" fmla="*/ 14288 w 181927"/>
                  <a:gd name="connsiteY14" fmla="*/ 952 h 61912"/>
                  <a:gd name="connsiteX15" fmla="*/ 8573 w 181927"/>
                  <a:gd name="connsiteY15" fmla="*/ 1905 h 61912"/>
                  <a:gd name="connsiteX16" fmla="*/ 0 w 181927"/>
                  <a:gd name="connsiteY16" fmla="*/ 3810 h 61912"/>
                  <a:gd name="connsiteX17" fmla="*/ 953 w 181927"/>
                  <a:gd name="connsiteY17" fmla="*/ 10477 h 61912"/>
                  <a:gd name="connsiteX18" fmla="*/ 12383 w 181927"/>
                  <a:gd name="connsiteY18" fmla="*/ 12382 h 61912"/>
                  <a:gd name="connsiteX19" fmla="*/ 29528 w 181927"/>
                  <a:gd name="connsiteY19" fmla="*/ 21907 h 61912"/>
                  <a:gd name="connsiteX20" fmla="*/ 30480 w 181927"/>
                  <a:gd name="connsiteY20" fmla="*/ 23813 h 61912"/>
                  <a:gd name="connsiteX21" fmla="*/ 29528 w 181927"/>
                  <a:gd name="connsiteY21" fmla="*/ 29527 h 61912"/>
                  <a:gd name="connsiteX22" fmla="*/ 37148 w 181927"/>
                  <a:gd name="connsiteY22" fmla="*/ 34290 h 61912"/>
                  <a:gd name="connsiteX23" fmla="*/ 38100 w 181927"/>
                  <a:gd name="connsiteY23" fmla="*/ 36195 h 61912"/>
                  <a:gd name="connsiteX24" fmla="*/ 39053 w 181927"/>
                  <a:gd name="connsiteY24" fmla="*/ 41910 h 61912"/>
                  <a:gd name="connsiteX25" fmla="*/ 40005 w 181927"/>
                  <a:gd name="connsiteY25" fmla="*/ 45720 h 61912"/>
                  <a:gd name="connsiteX26" fmla="*/ 49530 w 181927"/>
                  <a:gd name="connsiteY26" fmla="*/ 48577 h 61912"/>
                  <a:gd name="connsiteX27" fmla="*/ 57150 w 181927"/>
                  <a:gd name="connsiteY27" fmla="*/ 49530 h 61912"/>
                  <a:gd name="connsiteX28" fmla="*/ 60960 w 181927"/>
                  <a:gd name="connsiteY28" fmla="*/ 54292 h 61912"/>
                  <a:gd name="connsiteX29" fmla="*/ 66675 w 181927"/>
                  <a:gd name="connsiteY29" fmla="*/ 57150 h 61912"/>
                  <a:gd name="connsiteX30" fmla="*/ 74295 w 181927"/>
                  <a:gd name="connsiteY30" fmla="*/ 60007 h 61912"/>
                  <a:gd name="connsiteX31" fmla="*/ 81915 w 181927"/>
                  <a:gd name="connsiteY31" fmla="*/ 61913 h 61912"/>
                  <a:gd name="connsiteX32" fmla="*/ 93345 w 181927"/>
                  <a:gd name="connsiteY32" fmla="*/ 59055 h 61912"/>
                  <a:gd name="connsiteX33" fmla="*/ 107633 w 181927"/>
                  <a:gd name="connsiteY33" fmla="*/ 59055 h 61912"/>
                  <a:gd name="connsiteX34" fmla="*/ 112395 w 181927"/>
                  <a:gd name="connsiteY34" fmla="*/ 56197 h 61912"/>
                  <a:gd name="connsiteX35" fmla="*/ 115253 w 181927"/>
                  <a:gd name="connsiteY35" fmla="*/ 50482 h 61912"/>
                  <a:gd name="connsiteX36" fmla="*/ 120968 w 181927"/>
                  <a:gd name="connsiteY36" fmla="*/ 47625 h 61912"/>
                  <a:gd name="connsiteX37" fmla="*/ 130493 w 181927"/>
                  <a:gd name="connsiteY37" fmla="*/ 45720 h 61912"/>
                  <a:gd name="connsiteX38" fmla="*/ 138113 w 181927"/>
                  <a:gd name="connsiteY38" fmla="*/ 44767 h 61912"/>
                  <a:gd name="connsiteX39" fmla="*/ 143828 w 181927"/>
                  <a:gd name="connsiteY39" fmla="*/ 40005 h 61912"/>
                  <a:gd name="connsiteX40" fmla="*/ 147638 w 181927"/>
                  <a:gd name="connsiteY40" fmla="*/ 36195 h 61912"/>
                  <a:gd name="connsiteX41" fmla="*/ 159068 w 181927"/>
                  <a:gd name="connsiteY41" fmla="*/ 34290 h 61912"/>
                  <a:gd name="connsiteX42" fmla="*/ 166688 w 181927"/>
                  <a:gd name="connsiteY42" fmla="*/ 35242 h 61912"/>
                  <a:gd name="connsiteX43" fmla="*/ 171450 w 181927"/>
                  <a:gd name="connsiteY43" fmla="*/ 35242 h 61912"/>
                  <a:gd name="connsiteX44" fmla="*/ 179070 w 181927"/>
                  <a:gd name="connsiteY44" fmla="*/ 32385 h 61912"/>
                  <a:gd name="connsiteX45" fmla="*/ 181928 w 181927"/>
                  <a:gd name="connsiteY45" fmla="*/ 23813 h 61912"/>
                  <a:gd name="connsiteX46" fmla="*/ 180975 w 181927"/>
                  <a:gd name="connsiteY46" fmla="*/ 20002 h 61912"/>
                  <a:gd name="connsiteX47" fmla="*/ 173355 w 181927"/>
                  <a:gd name="connsiteY47" fmla="*/ 17145 h 61912"/>
                  <a:gd name="connsiteX48" fmla="*/ 168593 w 181927"/>
                  <a:gd name="connsiteY48" fmla="*/ 15240 h 61912"/>
                  <a:gd name="connsiteX49" fmla="*/ 164783 w 181927"/>
                  <a:gd name="connsiteY49" fmla="*/ 12382 h 61912"/>
                  <a:gd name="connsiteX50" fmla="*/ 161925 w 181927"/>
                  <a:gd name="connsiteY50" fmla="*/ 10477 h 61912"/>
                  <a:gd name="connsiteX51" fmla="*/ 158115 w 181927"/>
                  <a:gd name="connsiteY51" fmla="*/ 10477 h 61912"/>
                  <a:gd name="connsiteX52" fmla="*/ 154305 w 181927"/>
                  <a:gd name="connsiteY52" fmla="*/ 7620 h 61912"/>
                  <a:gd name="connsiteX53" fmla="*/ 152400 w 181927"/>
                  <a:gd name="connsiteY53" fmla="*/ 190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1927" h="61912">
                    <a:moveTo>
                      <a:pt x="152400" y="1905"/>
                    </a:moveTo>
                    <a:lnTo>
                      <a:pt x="140970" y="0"/>
                    </a:lnTo>
                    <a:lnTo>
                      <a:pt x="135255" y="0"/>
                    </a:lnTo>
                    <a:lnTo>
                      <a:pt x="126683" y="952"/>
                    </a:lnTo>
                    <a:lnTo>
                      <a:pt x="117158" y="3810"/>
                    </a:lnTo>
                    <a:lnTo>
                      <a:pt x="111443" y="4763"/>
                    </a:lnTo>
                    <a:lnTo>
                      <a:pt x="100965" y="5715"/>
                    </a:lnTo>
                    <a:lnTo>
                      <a:pt x="92393" y="5715"/>
                    </a:lnTo>
                    <a:lnTo>
                      <a:pt x="83820" y="6667"/>
                    </a:lnTo>
                    <a:cubicBezTo>
                      <a:pt x="83820" y="6667"/>
                      <a:pt x="79058" y="6667"/>
                      <a:pt x="76200" y="7620"/>
                    </a:cubicBezTo>
                    <a:cubicBezTo>
                      <a:pt x="73343" y="8572"/>
                      <a:pt x="61913" y="7620"/>
                      <a:pt x="61913" y="7620"/>
                    </a:cubicBezTo>
                    <a:lnTo>
                      <a:pt x="46673" y="5715"/>
                    </a:lnTo>
                    <a:lnTo>
                      <a:pt x="33338" y="2857"/>
                    </a:lnTo>
                    <a:lnTo>
                      <a:pt x="24765" y="952"/>
                    </a:lnTo>
                    <a:lnTo>
                      <a:pt x="14288" y="952"/>
                    </a:lnTo>
                    <a:lnTo>
                      <a:pt x="8573" y="1905"/>
                    </a:lnTo>
                    <a:lnTo>
                      <a:pt x="0" y="3810"/>
                    </a:lnTo>
                    <a:lnTo>
                      <a:pt x="953" y="10477"/>
                    </a:lnTo>
                    <a:cubicBezTo>
                      <a:pt x="5715" y="12382"/>
                      <a:pt x="10478" y="12382"/>
                      <a:pt x="12383" y="12382"/>
                    </a:cubicBezTo>
                    <a:cubicBezTo>
                      <a:pt x="14288" y="13335"/>
                      <a:pt x="29528" y="21907"/>
                      <a:pt x="29528" y="21907"/>
                    </a:cubicBezTo>
                    <a:cubicBezTo>
                      <a:pt x="29528" y="21907"/>
                      <a:pt x="29528" y="21907"/>
                      <a:pt x="30480" y="23813"/>
                    </a:cubicBezTo>
                    <a:cubicBezTo>
                      <a:pt x="31433" y="25717"/>
                      <a:pt x="28575" y="27622"/>
                      <a:pt x="29528" y="29527"/>
                    </a:cubicBezTo>
                    <a:cubicBezTo>
                      <a:pt x="30480" y="31432"/>
                      <a:pt x="35243" y="32385"/>
                      <a:pt x="37148" y="34290"/>
                    </a:cubicBezTo>
                    <a:cubicBezTo>
                      <a:pt x="38100" y="36195"/>
                      <a:pt x="36195" y="32385"/>
                      <a:pt x="38100" y="36195"/>
                    </a:cubicBezTo>
                    <a:cubicBezTo>
                      <a:pt x="40958" y="40005"/>
                      <a:pt x="39053" y="38100"/>
                      <a:pt x="39053" y="41910"/>
                    </a:cubicBezTo>
                    <a:cubicBezTo>
                      <a:pt x="40005" y="45720"/>
                      <a:pt x="40005" y="45720"/>
                      <a:pt x="40005" y="45720"/>
                    </a:cubicBezTo>
                    <a:lnTo>
                      <a:pt x="49530" y="48577"/>
                    </a:lnTo>
                    <a:cubicBezTo>
                      <a:pt x="49530" y="48577"/>
                      <a:pt x="57150" y="46672"/>
                      <a:pt x="57150" y="49530"/>
                    </a:cubicBezTo>
                    <a:cubicBezTo>
                      <a:pt x="58103" y="51435"/>
                      <a:pt x="59055" y="52388"/>
                      <a:pt x="60960" y="54292"/>
                    </a:cubicBezTo>
                    <a:cubicBezTo>
                      <a:pt x="62865" y="56197"/>
                      <a:pt x="66675" y="57150"/>
                      <a:pt x="66675" y="57150"/>
                    </a:cubicBezTo>
                    <a:lnTo>
                      <a:pt x="74295" y="60007"/>
                    </a:lnTo>
                    <a:lnTo>
                      <a:pt x="81915" y="61913"/>
                    </a:lnTo>
                    <a:cubicBezTo>
                      <a:pt x="81915" y="61913"/>
                      <a:pt x="90488" y="58102"/>
                      <a:pt x="93345" y="59055"/>
                    </a:cubicBezTo>
                    <a:cubicBezTo>
                      <a:pt x="97155" y="60007"/>
                      <a:pt x="107633" y="59055"/>
                      <a:pt x="107633" y="59055"/>
                    </a:cubicBezTo>
                    <a:lnTo>
                      <a:pt x="112395" y="56197"/>
                    </a:lnTo>
                    <a:lnTo>
                      <a:pt x="115253" y="50482"/>
                    </a:lnTo>
                    <a:cubicBezTo>
                      <a:pt x="115253" y="50482"/>
                      <a:pt x="116205" y="48577"/>
                      <a:pt x="120968" y="47625"/>
                    </a:cubicBezTo>
                    <a:cubicBezTo>
                      <a:pt x="125730" y="46672"/>
                      <a:pt x="130493" y="45720"/>
                      <a:pt x="130493" y="45720"/>
                    </a:cubicBezTo>
                    <a:lnTo>
                      <a:pt x="138113" y="44767"/>
                    </a:lnTo>
                    <a:lnTo>
                      <a:pt x="143828" y="40005"/>
                    </a:lnTo>
                    <a:cubicBezTo>
                      <a:pt x="143828" y="40005"/>
                      <a:pt x="143828" y="36195"/>
                      <a:pt x="147638" y="36195"/>
                    </a:cubicBezTo>
                    <a:cubicBezTo>
                      <a:pt x="151448" y="36195"/>
                      <a:pt x="156210" y="33338"/>
                      <a:pt x="159068" y="34290"/>
                    </a:cubicBezTo>
                    <a:cubicBezTo>
                      <a:pt x="161925" y="35242"/>
                      <a:pt x="166688" y="35242"/>
                      <a:pt x="166688" y="35242"/>
                    </a:cubicBezTo>
                    <a:lnTo>
                      <a:pt x="171450" y="35242"/>
                    </a:lnTo>
                    <a:lnTo>
                      <a:pt x="179070" y="32385"/>
                    </a:lnTo>
                    <a:lnTo>
                      <a:pt x="181928" y="23813"/>
                    </a:lnTo>
                    <a:lnTo>
                      <a:pt x="180975" y="20002"/>
                    </a:lnTo>
                    <a:lnTo>
                      <a:pt x="173355" y="17145"/>
                    </a:lnTo>
                    <a:lnTo>
                      <a:pt x="168593" y="15240"/>
                    </a:lnTo>
                    <a:lnTo>
                      <a:pt x="164783" y="12382"/>
                    </a:lnTo>
                    <a:cubicBezTo>
                      <a:pt x="164783" y="12382"/>
                      <a:pt x="165735" y="10477"/>
                      <a:pt x="161925" y="10477"/>
                    </a:cubicBezTo>
                    <a:cubicBezTo>
                      <a:pt x="158115" y="10477"/>
                      <a:pt x="158115" y="10477"/>
                      <a:pt x="158115" y="10477"/>
                    </a:cubicBezTo>
                    <a:lnTo>
                      <a:pt x="154305" y="7620"/>
                    </a:lnTo>
                    <a:lnTo>
                      <a:pt x="152400" y="1905"/>
                    </a:lnTo>
                    <a:close/>
                  </a:path>
                </a:pathLst>
              </a:custGeom>
              <a:grpFill/>
              <a:ln w="9525" cap="flat">
                <a:noFill/>
                <a:prstDash val="solid"/>
                <a:miter/>
              </a:ln>
            </p:spPr>
            <p:txBody>
              <a:bodyPr rtlCol="0" anchor="ctr"/>
              <a:lstStyle/>
              <a:p>
                <a:endParaRPr lang="en-US" sz="1765"/>
              </a:p>
            </p:txBody>
          </p:sp>
          <p:sp>
            <p:nvSpPr>
              <p:cNvPr id="41" name="Freeform: Shape 40">
                <a:extLst>
                  <a:ext uri="{FF2B5EF4-FFF2-40B4-BE49-F238E27FC236}">
                    <a16:creationId xmlns:a16="http://schemas.microsoft.com/office/drawing/2014/main" id="{393C9134-606D-4B60-A44B-ED5D23DE20DA}"/>
                  </a:ext>
                </a:extLst>
              </p:cNvPr>
              <p:cNvSpPr/>
              <p:nvPr/>
            </p:nvSpPr>
            <p:spPr>
              <a:xfrm>
                <a:off x="6775161" y="3774486"/>
                <a:ext cx="164782" cy="41909"/>
              </a:xfrm>
              <a:custGeom>
                <a:avLst/>
                <a:gdLst>
                  <a:gd name="connsiteX0" fmla="*/ 160973 w 164782"/>
                  <a:gd name="connsiteY0" fmla="*/ 40005 h 41909"/>
                  <a:gd name="connsiteX1" fmla="*/ 155258 w 164782"/>
                  <a:gd name="connsiteY1" fmla="*/ 40005 h 41909"/>
                  <a:gd name="connsiteX2" fmla="*/ 142875 w 164782"/>
                  <a:gd name="connsiteY2" fmla="*/ 41910 h 41909"/>
                  <a:gd name="connsiteX3" fmla="*/ 134303 w 164782"/>
                  <a:gd name="connsiteY3" fmla="*/ 40957 h 41909"/>
                  <a:gd name="connsiteX4" fmla="*/ 128588 w 164782"/>
                  <a:gd name="connsiteY4" fmla="*/ 38100 h 41909"/>
                  <a:gd name="connsiteX5" fmla="*/ 122873 w 164782"/>
                  <a:gd name="connsiteY5" fmla="*/ 35242 h 41909"/>
                  <a:gd name="connsiteX6" fmla="*/ 120015 w 164782"/>
                  <a:gd name="connsiteY6" fmla="*/ 32385 h 41909"/>
                  <a:gd name="connsiteX7" fmla="*/ 116205 w 164782"/>
                  <a:gd name="connsiteY7" fmla="*/ 30480 h 41909"/>
                  <a:gd name="connsiteX8" fmla="*/ 108585 w 164782"/>
                  <a:gd name="connsiteY8" fmla="*/ 28575 h 41909"/>
                  <a:gd name="connsiteX9" fmla="*/ 103823 w 164782"/>
                  <a:gd name="connsiteY9" fmla="*/ 27622 h 41909"/>
                  <a:gd name="connsiteX10" fmla="*/ 99060 w 164782"/>
                  <a:gd name="connsiteY10" fmla="*/ 25717 h 41909"/>
                  <a:gd name="connsiteX11" fmla="*/ 89535 w 164782"/>
                  <a:gd name="connsiteY11" fmla="*/ 23813 h 41909"/>
                  <a:gd name="connsiteX12" fmla="*/ 82868 w 164782"/>
                  <a:gd name="connsiteY12" fmla="*/ 22860 h 41909"/>
                  <a:gd name="connsiteX13" fmla="*/ 73343 w 164782"/>
                  <a:gd name="connsiteY13" fmla="*/ 19050 h 41909"/>
                  <a:gd name="connsiteX14" fmla="*/ 61913 w 164782"/>
                  <a:gd name="connsiteY14" fmla="*/ 16192 h 41909"/>
                  <a:gd name="connsiteX15" fmla="*/ 57150 w 164782"/>
                  <a:gd name="connsiteY15" fmla="*/ 15240 h 41909"/>
                  <a:gd name="connsiteX16" fmla="*/ 53340 w 164782"/>
                  <a:gd name="connsiteY16" fmla="*/ 15240 h 41909"/>
                  <a:gd name="connsiteX17" fmla="*/ 45720 w 164782"/>
                  <a:gd name="connsiteY17" fmla="*/ 15240 h 41909"/>
                  <a:gd name="connsiteX18" fmla="*/ 37148 w 164782"/>
                  <a:gd name="connsiteY18" fmla="*/ 16192 h 41909"/>
                  <a:gd name="connsiteX19" fmla="*/ 30480 w 164782"/>
                  <a:gd name="connsiteY19" fmla="*/ 16192 h 41909"/>
                  <a:gd name="connsiteX20" fmla="*/ 20003 w 164782"/>
                  <a:gd name="connsiteY20" fmla="*/ 16192 h 41909"/>
                  <a:gd name="connsiteX21" fmla="*/ 13335 w 164782"/>
                  <a:gd name="connsiteY21" fmla="*/ 15240 h 41909"/>
                  <a:gd name="connsiteX22" fmla="*/ 4763 w 164782"/>
                  <a:gd name="connsiteY22" fmla="*/ 14288 h 41909"/>
                  <a:gd name="connsiteX23" fmla="*/ 0 w 164782"/>
                  <a:gd name="connsiteY23" fmla="*/ 8572 h 41909"/>
                  <a:gd name="connsiteX24" fmla="*/ 0 w 164782"/>
                  <a:gd name="connsiteY24" fmla="*/ 4763 h 41909"/>
                  <a:gd name="connsiteX25" fmla="*/ 3810 w 164782"/>
                  <a:gd name="connsiteY25" fmla="*/ 3810 h 41909"/>
                  <a:gd name="connsiteX26" fmla="*/ 8573 w 164782"/>
                  <a:gd name="connsiteY26" fmla="*/ 3810 h 41909"/>
                  <a:gd name="connsiteX27" fmla="*/ 16193 w 164782"/>
                  <a:gd name="connsiteY27" fmla="*/ 952 h 41909"/>
                  <a:gd name="connsiteX28" fmla="*/ 20955 w 164782"/>
                  <a:gd name="connsiteY28" fmla="*/ 0 h 41909"/>
                  <a:gd name="connsiteX29" fmla="*/ 22860 w 164782"/>
                  <a:gd name="connsiteY29" fmla="*/ 0 h 41909"/>
                  <a:gd name="connsiteX30" fmla="*/ 32385 w 164782"/>
                  <a:gd name="connsiteY30" fmla="*/ 952 h 41909"/>
                  <a:gd name="connsiteX31" fmla="*/ 40958 w 164782"/>
                  <a:gd name="connsiteY31" fmla="*/ 1905 h 41909"/>
                  <a:gd name="connsiteX32" fmla="*/ 52388 w 164782"/>
                  <a:gd name="connsiteY32" fmla="*/ 952 h 41909"/>
                  <a:gd name="connsiteX33" fmla="*/ 59055 w 164782"/>
                  <a:gd name="connsiteY33" fmla="*/ 952 h 41909"/>
                  <a:gd name="connsiteX34" fmla="*/ 70485 w 164782"/>
                  <a:gd name="connsiteY34" fmla="*/ 1905 h 41909"/>
                  <a:gd name="connsiteX35" fmla="*/ 81915 w 164782"/>
                  <a:gd name="connsiteY35" fmla="*/ 2857 h 41909"/>
                  <a:gd name="connsiteX36" fmla="*/ 89535 w 164782"/>
                  <a:gd name="connsiteY36" fmla="*/ 5715 h 41909"/>
                  <a:gd name="connsiteX37" fmla="*/ 97155 w 164782"/>
                  <a:gd name="connsiteY37" fmla="*/ 7620 h 41909"/>
                  <a:gd name="connsiteX38" fmla="*/ 104775 w 164782"/>
                  <a:gd name="connsiteY38" fmla="*/ 7620 h 41909"/>
                  <a:gd name="connsiteX39" fmla="*/ 113348 w 164782"/>
                  <a:gd name="connsiteY39" fmla="*/ 9525 h 41909"/>
                  <a:gd name="connsiteX40" fmla="*/ 118110 w 164782"/>
                  <a:gd name="connsiteY40" fmla="*/ 13335 h 41909"/>
                  <a:gd name="connsiteX41" fmla="*/ 123825 w 164782"/>
                  <a:gd name="connsiteY41" fmla="*/ 16192 h 41909"/>
                  <a:gd name="connsiteX42" fmla="*/ 130493 w 164782"/>
                  <a:gd name="connsiteY42" fmla="*/ 20002 h 41909"/>
                  <a:gd name="connsiteX43" fmla="*/ 139065 w 164782"/>
                  <a:gd name="connsiteY43" fmla="*/ 21907 h 41909"/>
                  <a:gd name="connsiteX44" fmla="*/ 151448 w 164782"/>
                  <a:gd name="connsiteY44" fmla="*/ 22860 h 41909"/>
                  <a:gd name="connsiteX45" fmla="*/ 160020 w 164782"/>
                  <a:gd name="connsiteY45" fmla="*/ 23813 h 41909"/>
                  <a:gd name="connsiteX46" fmla="*/ 164783 w 164782"/>
                  <a:gd name="connsiteY46" fmla="*/ 27622 h 41909"/>
                  <a:gd name="connsiteX47" fmla="*/ 161925 w 164782"/>
                  <a:gd name="connsiteY47" fmla="*/ 33338 h 41909"/>
                  <a:gd name="connsiteX48" fmla="*/ 160973 w 164782"/>
                  <a:gd name="connsiteY48" fmla="*/ 40005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782" h="41909">
                    <a:moveTo>
                      <a:pt x="160973" y="40005"/>
                    </a:moveTo>
                    <a:cubicBezTo>
                      <a:pt x="160973" y="40005"/>
                      <a:pt x="158115" y="38100"/>
                      <a:pt x="155258" y="40005"/>
                    </a:cubicBezTo>
                    <a:cubicBezTo>
                      <a:pt x="152400" y="40957"/>
                      <a:pt x="142875" y="41910"/>
                      <a:pt x="142875" y="41910"/>
                    </a:cubicBezTo>
                    <a:lnTo>
                      <a:pt x="134303" y="40957"/>
                    </a:lnTo>
                    <a:lnTo>
                      <a:pt x="128588" y="38100"/>
                    </a:lnTo>
                    <a:lnTo>
                      <a:pt x="122873" y="35242"/>
                    </a:lnTo>
                    <a:lnTo>
                      <a:pt x="120015" y="32385"/>
                    </a:lnTo>
                    <a:lnTo>
                      <a:pt x="116205" y="30480"/>
                    </a:lnTo>
                    <a:lnTo>
                      <a:pt x="108585" y="28575"/>
                    </a:lnTo>
                    <a:lnTo>
                      <a:pt x="103823" y="27622"/>
                    </a:lnTo>
                    <a:lnTo>
                      <a:pt x="99060" y="25717"/>
                    </a:lnTo>
                    <a:lnTo>
                      <a:pt x="89535" y="23813"/>
                    </a:lnTo>
                    <a:lnTo>
                      <a:pt x="82868" y="22860"/>
                    </a:lnTo>
                    <a:lnTo>
                      <a:pt x="73343" y="19050"/>
                    </a:lnTo>
                    <a:lnTo>
                      <a:pt x="61913" y="16192"/>
                    </a:lnTo>
                    <a:lnTo>
                      <a:pt x="57150" y="15240"/>
                    </a:lnTo>
                    <a:lnTo>
                      <a:pt x="53340" y="15240"/>
                    </a:lnTo>
                    <a:cubicBezTo>
                      <a:pt x="53340" y="15240"/>
                      <a:pt x="47625" y="14288"/>
                      <a:pt x="45720" y="15240"/>
                    </a:cubicBezTo>
                    <a:cubicBezTo>
                      <a:pt x="43815" y="16192"/>
                      <a:pt x="37148" y="16192"/>
                      <a:pt x="37148" y="16192"/>
                    </a:cubicBezTo>
                    <a:cubicBezTo>
                      <a:pt x="37148" y="16192"/>
                      <a:pt x="37148" y="15240"/>
                      <a:pt x="30480" y="16192"/>
                    </a:cubicBezTo>
                    <a:cubicBezTo>
                      <a:pt x="23813" y="17145"/>
                      <a:pt x="20003" y="16192"/>
                      <a:pt x="20003" y="16192"/>
                    </a:cubicBezTo>
                    <a:lnTo>
                      <a:pt x="13335" y="15240"/>
                    </a:lnTo>
                    <a:lnTo>
                      <a:pt x="4763" y="14288"/>
                    </a:lnTo>
                    <a:lnTo>
                      <a:pt x="0" y="8572"/>
                    </a:lnTo>
                    <a:lnTo>
                      <a:pt x="0" y="4763"/>
                    </a:lnTo>
                    <a:cubicBezTo>
                      <a:pt x="3810" y="3810"/>
                      <a:pt x="-952" y="3810"/>
                      <a:pt x="3810" y="3810"/>
                    </a:cubicBezTo>
                    <a:cubicBezTo>
                      <a:pt x="8573" y="3810"/>
                      <a:pt x="8573" y="3810"/>
                      <a:pt x="8573" y="3810"/>
                    </a:cubicBezTo>
                    <a:lnTo>
                      <a:pt x="16193" y="952"/>
                    </a:lnTo>
                    <a:cubicBezTo>
                      <a:pt x="16193" y="952"/>
                      <a:pt x="18098" y="0"/>
                      <a:pt x="20955" y="0"/>
                    </a:cubicBezTo>
                    <a:cubicBezTo>
                      <a:pt x="22860" y="0"/>
                      <a:pt x="19050" y="0"/>
                      <a:pt x="22860" y="0"/>
                    </a:cubicBezTo>
                    <a:cubicBezTo>
                      <a:pt x="26670" y="0"/>
                      <a:pt x="32385" y="952"/>
                      <a:pt x="32385" y="952"/>
                    </a:cubicBezTo>
                    <a:cubicBezTo>
                      <a:pt x="32385" y="952"/>
                      <a:pt x="38100" y="1905"/>
                      <a:pt x="40958" y="1905"/>
                    </a:cubicBezTo>
                    <a:cubicBezTo>
                      <a:pt x="43815" y="1905"/>
                      <a:pt x="52388" y="952"/>
                      <a:pt x="52388" y="952"/>
                    </a:cubicBezTo>
                    <a:lnTo>
                      <a:pt x="59055" y="952"/>
                    </a:lnTo>
                    <a:lnTo>
                      <a:pt x="70485" y="1905"/>
                    </a:lnTo>
                    <a:cubicBezTo>
                      <a:pt x="70485" y="1905"/>
                      <a:pt x="80010" y="2857"/>
                      <a:pt x="81915" y="2857"/>
                    </a:cubicBezTo>
                    <a:cubicBezTo>
                      <a:pt x="83820" y="3810"/>
                      <a:pt x="89535" y="5715"/>
                      <a:pt x="89535" y="5715"/>
                    </a:cubicBezTo>
                    <a:lnTo>
                      <a:pt x="97155" y="7620"/>
                    </a:lnTo>
                    <a:cubicBezTo>
                      <a:pt x="97155" y="7620"/>
                      <a:pt x="102870" y="7620"/>
                      <a:pt x="104775" y="7620"/>
                    </a:cubicBezTo>
                    <a:cubicBezTo>
                      <a:pt x="106680" y="7620"/>
                      <a:pt x="113348" y="9525"/>
                      <a:pt x="113348" y="9525"/>
                    </a:cubicBezTo>
                    <a:cubicBezTo>
                      <a:pt x="113348" y="9525"/>
                      <a:pt x="116205" y="12382"/>
                      <a:pt x="118110" y="13335"/>
                    </a:cubicBezTo>
                    <a:cubicBezTo>
                      <a:pt x="120015" y="15240"/>
                      <a:pt x="122873" y="14288"/>
                      <a:pt x="123825" y="16192"/>
                    </a:cubicBezTo>
                    <a:cubicBezTo>
                      <a:pt x="124778" y="18097"/>
                      <a:pt x="130493" y="20002"/>
                      <a:pt x="130493" y="20002"/>
                    </a:cubicBezTo>
                    <a:lnTo>
                      <a:pt x="139065" y="21907"/>
                    </a:lnTo>
                    <a:cubicBezTo>
                      <a:pt x="139065" y="21907"/>
                      <a:pt x="149543" y="22860"/>
                      <a:pt x="151448" y="22860"/>
                    </a:cubicBezTo>
                    <a:cubicBezTo>
                      <a:pt x="153353" y="22860"/>
                      <a:pt x="158115" y="23813"/>
                      <a:pt x="160020" y="23813"/>
                    </a:cubicBezTo>
                    <a:cubicBezTo>
                      <a:pt x="161925" y="23813"/>
                      <a:pt x="164783" y="27622"/>
                      <a:pt x="164783" y="27622"/>
                    </a:cubicBezTo>
                    <a:cubicBezTo>
                      <a:pt x="163830" y="30480"/>
                      <a:pt x="161925" y="33338"/>
                      <a:pt x="161925" y="33338"/>
                    </a:cubicBezTo>
                    <a:lnTo>
                      <a:pt x="160973" y="40005"/>
                    </a:lnTo>
                    <a:close/>
                  </a:path>
                </a:pathLst>
              </a:custGeom>
              <a:grpFill/>
              <a:ln w="9525" cap="flat">
                <a:noFill/>
                <a:prstDash val="solid"/>
                <a:miter/>
              </a:ln>
            </p:spPr>
            <p:txBody>
              <a:bodyPr rtlCol="0" anchor="ctr"/>
              <a:lstStyle/>
              <a:p>
                <a:endParaRPr lang="en-US" sz="1765"/>
              </a:p>
            </p:txBody>
          </p:sp>
          <p:sp>
            <p:nvSpPr>
              <p:cNvPr id="42" name="Freeform: Shape 41">
                <a:extLst>
                  <a:ext uri="{FF2B5EF4-FFF2-40B4-BE49-F238E27FC236}">
                    <a16:creationId xmlns:a16="http://schemas.microsoft.com/office/drawing/2014/main" id="{9063F222-C7A5-4E08-A7A9-18601E7CC4CD}"/>
                  </a:ext>
                </a:extLst>
              </p:cNvPr>
              <p:cNvSpPr/>
              <p:nvPr/>
            </p:nvSpPr>
            <p:spPr>
              <a:xfrm>
                <a:off x="6870411" y="3828779"/>
                <a:ext cx="50482" cy="15239"/>
              </a:xfrm>
              <a:custGeom>
                <a:avLst/>
                <a:gdLst>
                  <a:gd name="connsiteX0" fmla="*/ 40958 w 50482"/>
                  <a:gd name="connsiteY0" fmla="*/ 13335 h 15239"/>
                  <a:gd name="connsiteX1" fmla="*/ 32385 w 50482"/>
                  <a:gd name="connsiteY1" fmla="*/ 13335 h 15239"/>
                  <a:gd name="connsiteX2" fmla="*/ 26670 w 50482"/>
                  <a:gd name="connsiteY2" fmla="*/ 13335 h 15239"/>
                  <a:gd name="connsiteX3" fmla="*/ 20003 w 50482"/>
                  <a:gd name="connsiteY3" fmla="*/ 13335 h 15239"/>
                  <a:gd name="connsiteX4" fmla="*/ 15240 w 50482"/>
                  <a:gd name="connsiteY4" fmla="*/ 12383 h 15239"/>
                  <a:gd name="connsiteX5" fmla="*/ 12383 w 50482"/>
                  <a:gd name="connsiteY5" fmla="*/ 12383 h 15239"/>
                  <a:gd name="connsiteX6" fmla="*/ 7620 w 50482"/>
                  <a:gd name="connsiteY6" fmla="*/ 11430 h 15239"/>
                  <a:gd name="connsiteX7" fmla="*/ 4763 w 50482"/>
                  <a:gd name="connsiteY7" fmla="*/ 10477 h 15239"/>
                  <a:gd name="connsiteX8" fmla="*/ 953 w 50482"/>
                  <a:gd name="connsiteY8" fmla="*/ 7620 h 15239"/>
                  <a:gd name="connsiteX9" fmla="*/ 0 w 50482"/>
                  <a:gd name="connsiteY9" fmla="*/ 4763 h 15239"/>
                  <a:gd name="connsiteX10" fmla="*/ 1905 w 50482"/>
                  <a:gd name="connsiteY10" fmla="*/ 3810 h 15239"/>
                  <a:gd name="connsiteX11" fmla="*/ 6668 w 50482"/>
                  <a:gd name="connsiteY11" fmla="*/ 0 h 15239"/>
                  <a:gd name="connsiteX12" fmla="*/ 8573 w 50482"/>
                  <a:gd name="connsiteY12" fmla="*/ 0 h 15239"/>
                  <a:gd name="connsiteX13" fmla="*/ 14288 w 50482"/>
                  <a:gd name="connsiteY13" fmla="*/ 0 h 15239"/>
                  <a:gd name="connsiteX14" fmla="*/ 21908 w 50482"/>
                  <a:gd name="connsiteY14" fmla="*/ 0 h 15239"/>
                  <a:gd name="connsiteX15" fmla="*/ 26670 w 50482"/>
                  <a:gd name="connsiteY15" fmla="*/ 0 h 15239"/>
                  <a:gd name="connsiteX16" fmla="*/ 29528 w 50482"/>
                  <a:gd name="connsiteY16" fmla="*/ 0 h 15239"/>
                  <a:gd name="connsiteX17" fmla="*/ 33338 w 50482"/>
                  <a:gd name="connsiteY17" fmla="*/ 952 h 15239"/>
                  <a:gd name="connsiteX18" fmla="*/ 40005 w 50482"/>
                  <a:gd name="connsiteY18" fmla="*/ 1905 h 15239"/>
                  <a:gd name="connsiteX19" fmla="*/ 45720 w 50482"/>
                  <a:gd name="connsiteY19" fmla="*/ 3810 h 15239"/>
                  <a:gd name="connsiteX20" fmla="*/ 48578 w 50482"/>
                  <a:gd name="connsiteY20" fmla="*/ 6667 h 15239"/>
                  <a:gd name="connsiteX21" fmla="*/ 50483 w 50482"/>
                  <a:gd name="connsiteY21" fmla="*/ 10477 h 15239"/>
                  <a:gd name="connsiteX22" fmla="*/ 50483 w 50482"/>
                  <a:gd name="connsiteY22" fmla="*/ 12383 h 15239"/>
                  <a:gd name="connsiteX23" fmla="*/ 46673 w 50482"/>
                  <a:gd name="connsiteY23" fmla="*/ 15240 h 15239"/>
                  <a:gd name="connsiteX24" fmla="*/ 40958 w 50482"/>
                  <a:gd name="connsiteY24"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82" h="15239">
                    <a:moveTo>
                      <a:pt x="40958" y="13335"/>
                    </a:moveTo>
                    <a:lnTo>
                      <a:pt x="32385" y="13335"/>
                    </a:lnTo>
                    <a:lnTo>
                      <a:pt x="26670" y="13335"/>
                    </a:lnTo>
                    <a:lnTo>
                      <a:pt x="20003" y="13335"/>
                    </a:lnTo>
                    <a:lnTo>
                      <a:pt x="15240" y="12383"/>
                    </a:lnTo>
                    <a:cubicBezTo>
                      <a:pt x="15240" y="12383"/>
                      <a:pt x="13335" y="12383"/>
                      <a:pt x="12383" y="12383"/>
                    </a:cubicBezTo>
                    <a:cubicBezTo>
                      <a:pt x="10478" y="12383"/>
                      <a:pt x="7620" y="11430"/>
                      <a:pt x="7620" y="11430"/>
                    </a:cubicBezTo>
                    <a:lnTo>
                      <a:pt x="4763" y="10477"/>
                    </a:lnTo>
                    <a:lnTo>
                      <a:pt x="953" y="7620"/>
                    </a:lnTo>
                    <a:lnTo>
                      <a:pt x="0" y="4763"/>
                    </a:lnTo>
                    <a:lnTo>
                      <a:pt x="1905" y="3810"/>
                    </a:lnTo>
                    <a:cubicBezTo>
                      <a:pt x="4763" y="1905"/>
                      <a:pt x="4763" y="0"/>
                      <a:pt x="6668" y="0"/>
                    </a:cubicBezTo>
                    <a:cubicBezTo>
                      <a:pt x="8573" y="0"/>
                      <a:pt x="5715" y="0"/>
                      <a:pt x="8573" y="0"/>
                    </a:cubicBezTo>
                    <a:cubicBezTo>
                      <a:pt x="11430" y="0"/>
                      <a:pt x="14288" y="0"/>
                      <a:pt x="14288" y="0"/>
                    </a:cubicBezTo>
                    <a:cubicBezTo>
                      <a:pt x="14288" y="0"/>
                      <a:pt x="20003" y="0"/>
                      <a:pt x="21908" y="0"/>
                    </a:cubicBezTo>
                    <a:cubicBezTo>
                      <a:pt x="23813" y="0"/>
                      <a:pt x="26670" y="0"/>
                      <a:pt x="26670" y="0"/>
                    </a:cubicBezTo>
                    <a:lnTo>
                      <a:pt x="29528" y="0"/>
                    </a:lnTo>
                    <a:lnTo>
                      <a:pt x="33338" y="952"/>
                    </a:lnTo>
                    <a:cubicBezTo>
                      <a:pt x="33338" y="952"/>
                      <a:pt x="34290" y="0"/>
                      <a:pt x="40005" y="1905"/>
                    </a:cubicBezTo>
                    <a:cubicBezTo>
                      <a:pt x="45720" y="3810"/>
                      <a:pt x="45720" y="3810"/>
                      <a:pt x="45720" y="3810"/>
                    </a:cubicBezTo>
                    <a:cubicBezTo>
                      <a:pt x="45720" y="3810"/>
                      <a:pt x="47625" y="4763"/>
                      <a:pt x="48578" y="6667"/>
                    </a:cubicBezTo>
                    <a:cubicBezTo>
                      <a:pt x="49530" y="8573"/>
                      <a:pt x="50483" y="8573"/>
                      <a:pt x="50483" y="10477"/>
                    </a:cubicBezTo>
                    <a:cubicBezTo>
                      <a:pt x="50483" y="12383"/>
                      <a:pt x="50483" y="10477"/>
                      <a:pt x="50483" y="12383"/>
                    </a:cubicBezTo>
                    <a:cubicBezTo>
                      <a:pt x="50483" y="14288"/>
                      <a:pt x="46673" y="15240"/>
                      <a:pt x="46673" y="15240"/>
                    </a:cubicBezTo>
                    <a:lnTo>
                      <a:pt x="40958" y="13335"/>
                    </a:lnTo>
                    <a:close/>
                  </a:path>
                </a:pathLst>
              </a:custGeom>
              <a:grpFill/>
              <a:ln w="9525" cap="flat">
                <a:noFill/>
                <a:prstDash val="solid"/>
                <a:miter/>
              </a:ln>
            </p:spPr>
            <p:txBody>
              <a:bodyPr rtlCol="0" anchor="ctr"/>
              <a:lstStyle/>
              <a:p>
                <a:endParaRPr lang="en-US" sz="1765"/>
              </a:p>
            </p:txBody>
          </p:sp>
          <p:sp>
            <p:nvSpPr>
              <p:cNvPr id="43" name="Freeform: Shape 42">
                <a:extLst>
                  <a:ext uri="{FF2B5EF4-FFF2-40B4-BE49-F238E27FC236}">
                    <a16:creationId xmlns:a16="http://schemas.microsoft.com/office/drawing/2014/main" id="{4F9DC825-8998-4F4B-B85A-6A0818A49D54}"/>
                  </a:ext>
                </a:extLst>
              </p:cNvPr>
              <p:cNvSpPr/>
              <p:nvPr/>
            </p:nvSpPr>
            <p:spPr>
              <a:xfrm>
                <a:off x="6929466" y="3811210"/>
                <a:ext cx="125729" cy="30056"/>
              </a:xfrm>
              <a:custGeom>
                <a:avLst/>
                <a:gdLst>
                  <a:gd name="connsiteX0" fmla="*/ 12382 w 125729"/>
                  <a:gd name="connsiteY0" fmla="*/ 17568 h 30056"/>
                  <a:gd name="connsiteX1" fmla="*/ 4763 w 125729"/>
                  <a:gd name="connsiteY1" fmla="*/ 17568 h 30056"/>
                  <a:gd name="connsiteX2" fmla="*/ 0 w 125729"/>
                  <a:gd name="connsiteY2" fmla="*/ 18521 h 30056"/>
                  <a:gd name="connsiteX3" fmla="*/ 952 w 125729"/>
                  <a:gd name="connsiteY3" fmla="*/ 21378 h 30056"/>
                  <a:gd name="connsiteX4" fmla="*/ 1905 w 125729"/>
                  <a:gd name="connsiteY4" fmla="*/ 22331 h 30056"/>
                  <a:gd name="connsiteX5" fmla="*/ 4763 w 125729"/>
                  <a:gd name="connsiteY5" fmla="*/ 25188 h 30056"/>
                  <a:gd name="connsiteX6" fmla="*/ 5715 w 125729"/>
                  <a:gd name="connsiteY6" fmla="*/ 27093 h 30056"/>
                  <a:gd name="connsiteX7" fmla="*/ 18097 w 125729"/>
                  <a:gd name="connsiteY7" fmla="*/ 29951 h 30056"/>
                  <a:gd name="connsiteX8" fmla="*/ 23813 w 125729"/>
                  <a:gd name="connsiteY8" fmla="*/ 29951 h 30056"/>
                  <a:gd name="connsiteX9" fmla="*/ 28575 w 125729"/>
                  <a:gd name="connsiteY9" fmla="*/ 28046 h 30056"/>
                  <a:gd name="connsiteX10" fmla="*/ 33338 w 125729"/>
                  <a:gd name="connsiteY10" fmla="*/ 28046 h 30056"/>
                  <a:gd name="connsiteX11" fmla="*/ 39052 w 125729"/>
                  <a:gd name="connsiteY11" fmla="*/ 28998 h 30056"/>
                  <a:gd name="connsiteX12" fmla="*/ 51435 w 125729"/>
                  <a:gd name="connsiteY12" fmla="*/ 28998 h 30056"/>
                  <a:gd name="connsiteX13" fmla="*/ 57150 w 125729"/>
                  <a:gd name="connsiteY13" fmla="*/ 28998 h 30056"/>
                  <a:gd name="connsiteX14" fmla="*/ 64770 w 125729"/>
                  <a:gd name="connsiteY14" fmla="*/ 28998 h 30056"/>
                  <a:gd name="connsiteX15" fmla="*/ 78105 w 125729"/>
                  <a:gd name="connsiteY15" fmla="*/ 28046 h 30056"/>
                  <a:gd name="connsiteX16" fmla="*/ 87630 w 125729"/>
                  <a:gd name="connsiteY16" fmla="*/ 28998 h 30056"/>
                  <a:gd name="connsiteX17" fmla="*/ 95250 w 125729"/>
                  <a:gd name="connsiteY17" fmla="*/ 29951 h 30056"/>
                  <a:gd name="connsiteX18" fmla="*/ 100013 w 125729"/>
                  <a:gd name="connsiteY18" fmla="*/ 29951 h 30056"/>
                  <a:gd name="connsiteX19" fmla="*/ 107632 w 125729"/>
                  <a:gd name="connsiteY19" fmla="*/ 29951 h 30056"/>
                  <a:gd name="connsiteX20" fmla="*/ 116205 w 125729"/>
                  <a:gd name="connsiteY20" fmla="*/ 28998 h 30056"/>
                  <a:gd name="connsiteX21" fmla="*/ 121920 w 125729"/>
                  <a:gd name="connsiteY21" fmla="*/ 28046 h 30056"/>
                  <a:gd name="connsiteX22" fmla="*/ 124777 w 125729"/>
                  <a:gd name="connsiteY22" fmla="*/ 26141 h 30056"/>
                  <a:gd name="connsiteX23" fmla="*/ 125730 w 125729"/>
                  <a:gd name="connsiteY23" fmla="*/ 23283 h 30056"/>
                  <a:gd name="connsiteX24" fmla="*/ 122872 w 125729"/>
                  <a:gd name="connsiteY24" fmla="*/ 20426 h 30056"/>
                  <a:gd name="connsiteX25" fmla="*/ 116205 w 125729"/>
                  <a:gd name="connsiteY25" fmla="*/ 17568 h 30056"/>
                  <a:gd name="connsiteX26" fmla="*/ 111442 w 125729"/>
                  <a:gd name="connsiteY26" fmla="*/ 13758 h 30056"/>
                  <a:gd name="connsiteX27" fmla="*/ 110490 w 125729"/>
                  <a:gd name="connsiteY27" fmla="*/ 12806 h 30056"/>
                  <a:gd name="connsiteX28" fmla="*/ 102870 w 125729"/>
                  <a:gd name="connsiteY28" fmla="*/ 10901 h 30056"/>
                  <a:gd name="connsiteX29" fmla="*/ 98107 w 125729"/>
                  <a:gd name="connsiteY29" fmla="*/ 9948 h 30056"/>
                  <a:gd name="connsiteX30" fmla="*/ 91440 w 125729"/>
                  <a:gd name="connsiteY30" fmla="*/ 7091 h 30056"/>
                  <a:gd name="connsiteX31" fmla="*/ 86677 w 125729"/>
                  <a:gd name="connsiteY31" fmla="*/ 5186 h 30056"/>
                  <a:gd name="connsiteX32" fmla="*/ 76200 w 125729"/>
                  <a:gd name="connsiteY32" fmla="*/ 2328 h 30056"/>
                  <a:gd name="connsiteX33" fmla="*/ 63817 w 125729"/>
                  <a:gd name="connsiteY33" fmla="*/ 423 h 30056"/>
                  <a:gd name="connsiteX34" fmla="*/ 57150 w 125729"/>
                  <a:gd name="connsiteY34" fmla="*/ 423 h 30056"/>
                  <a:gd name="connsiteX35" fmla="*/ 48577 w 125729"/>
                  <a:gd name="connsiteY35" fmla="*/ 1376 h 30056"/>
                  <a:gd name="connsiteX36" fmla="*/ 42863 w 125729"/>
                  <a:gd name="connsiteY36" fmla="*/ 2328 h 30056"/>
                  <a:gd name="connsiteX37" fmla="*/ 35242 w 125729"/>
                  <a:gd name="connsiteY37" fmla="*/ 6138 h 30056"/>
                  <a:gd name="connsiteX38" fmla="*/ 31432 w 125729"/>
                  <a:gd name="connsiteY38" fmla="*/ 9948 h 30056"/>
                  <a:gd name="connsiteX39" fmla="*/ 27622 w 125729"/>
                  <a:gd name="connsiteY39" fmla="*/ 11853 h 30056"/>
                  <a:gd name="connsiteX40" fmla="*/ 23813 w 125729"/>
                  <a:gd name="connsiteY40" fmla="*/ 12806 h 30056"/>
                  <a:gd name="connsiteX41" fmla="*/ 20002 w 125729"/>
                  <a:gd name="connsiteY41" fmla="*/ 13758 h 30056"/>
                  <a:gd name="connsiteX42" fmla="*/ 12382 w 125729"/>
                  <a:gd name="connsiteY42" fmla="*/ 17568 h 3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729" h="30056">
                    <a:moveTo>
                      <a:pt x="12382" y="17568"/>
                    </a:moveTo>
                    <a:cubicBezTo>
                      <a:pt x="10477" y="17568"/>
                      <a:pt x="4763" y="17568"/>
                      <a:pt x="4763" y="17568"/>
                    </a:cubicBezTo>
                    <a:lnTo>
                      <a:pt x="0" y="18521"/>
                    </a:lnTo>
                    <a:cubicBezTo>
                      <a:pt x="0" y="18521"/>
                      <a:pt x="952" y="20426"/>
                      <a:pt x="952" y="21378"/>
                    </a:cubicBezTo>
                    <a:cubicBezTo>
                      <a:pt x="1905" y="22331"/>
                      <a:pt x="1905" y="22331"/>
                      <a:pt x="1905" y="22331"/>
                    </a:cubicBezTo>
                    <a:cubicBezTo>
                      <a:pt x="1905" y="22331"/>
                      <a:pt x="3810" y="23283"/>
                      <a:pt x="4763" y="25188"/>
                    </a:cubicBezTo>
                    <a:cubicBezTo>
                      <a:pt x="5715" y="27093"/>
                      <a:pt x="4763" y="23283"/>
                      <a:pt x="5715" y="27093"/>
                    </a:cubicBezTo>
                    <a:cubicBezTo>
                      <a:pt x="6667" y="30903"/>
                      <a:pt x="18097" y="29951"/>
                      <a:pt x="18097" y="29951"/>
                    </a:cubicBezTo>
                    <a:cubicBezTo>
                      <a:pt x="18097" y="29951"/>
                      <a:pt x="22860" y="29951"/>
                      <a:pt x="23813" y="29951"/>
                    </a:cubicBezTo>
                    <a:cubicBezTo>
                      <a:pt x="25717" y="29951"/>
                      <a:pt x="28575" y="28046"/>
                      <a:pt x="28575" y="28046"/>
                    </a:cubicBezTo>
                    <a:lnTo>
                      <a:pt x="33338" y="28046"/>
                    </a:lnTo>
                    <a:cubicBezTo>
                      <a:pt x="33338" y="28046"/>
                      <a:pt x="37147" y="28998"/>
                      <a:pt x="39052" y="28998"/>
                    </a:cubicBezTo>
                    <a:cubicBezTo>
                      <a:pt x="40957" y="28998"/>
                      <a:pt x="51435" y="28998"/>
                      <a:pt x="51435" y="28998"/>
                    </a:cubicBezTo>
                    <a:cubicBezTo>
                      <a:pt x="51435" y="28998"/>
                      <a:pt x="54292" y="28998"/>
                      <a:pt x="57150" y="28998"/>
                    </a:cubicBezTo>
                    <a:cubicBezTo>
                      <a:pt x="59055" y="28998"/>
                      <a:pt x="61913" y="28998"/>
                      <a:pt x="64770" y="28998"/>
                    </a:cubicBezTo>
                    <a:cubicBezTo>
                      <a:pt x="67627" y="28998"/>
                      <a:pt x="75247" y="28046"/>
                      <a:pt x="78105" y="28046"/>
                    </a:cubicBezTo>
                    <a:cubicBezTo>
                      <a:pt x="80963" y="28046"/>
                      <a:pt x="85725" y="28998"/>
                      <a:pt x="87630" y="28998"/>
                    </a:cubicBezTo>
                    <a:cubicBezTo>
                      <a:pt x="89535" y="28998"/>
                      <a:pt x="93345" y="28998"/>
                      <a:pt x="95250" y="29951"/>
                    </a:cubicBezTo>
                    <a:cubicBezTo>
                      <a:pt x="97155" y="29951"/>
                      <a:pt x="97155" y="29951"/>
                      <a:pt x="100013" y="29951"/>
                    </a:cubicBezTo>
                    <a:cubicBezTo>
                      <a:pt x="102870" y="29951"/>
                      <a:pt x="104775" y="29951"/>
                      <a:pt x="107632" y="29951"/>
                    </a:cubicBezTo>
                    <a:cubicBezTo>
                      <a:pt x="111442" y="29951"/>
                      <a:pt x="114300" y="29951"/>
                      <a:pt x="116205" y="28998"/>
                    </a:cubicBezTo>
                    <a:cubicBezTo>
                      <a:pt x="118110" y="28998"/>
                      <a:pt x="120967" y="28046"/>
                      <a:pt x="121920" y="28046"/>
                    </a:cubicBezTo>
                    <a:cubicBezTo>
                      <a:pt x="123825" y="28046"/>
                      <a:pt x="124777" y="27093"/>
                      <a:pt x="124777" y="26141"/>
                    </a:cubicBezTo>
                    <a:cubicBezTo>
                      <a:pt x="125730" y="25188"/>
                      <a:pt x="125730" y="23283"/>
                      <a:pt x="125730" y="23283"/>
                    </a:cubicBezTo>
                    <a:cubicBezTo>
                      <a:pt x="125730" y="23283"/>
                      <a:pt x="124777" y="21378"/>
                      <a:pt x="122872" y="20426"/>
                    </a:cubicBezTo>
                    <a:cubicBezTo>
                      <a:pt x="120967" y="19473"/>
                      <a:pt x="118110" y="18521"/>
                      <a:pt x="116205" y="17568"/>
                    </a:cubicBezTo>
                    <a:cubicBezTo>
                      <a:pt x="114300" y="16616"/>
                      <a:pt x="111442" y="13758"/>
                      <a:pt x="111442" y="13758"/>
                    </a:cubicBezTo>
                    <a:cubicBezTo>
                      <a:pt x="111442" y="13758"/>
                      <a:pt x="112395" y="12806"/>
                      <a:pt x="110490" y="12806"/>
                    </a:cubicBezTo>
                    <a:cubicBezTo>
                      <a:pt x="108585" y="12806"/>
                      <a:pt x="102870" y="10901"/>
                      <a:pt x="102870" y="10901"/>
                    </a:cubicBezTo>
                    <a:lnTo>
                      <a:pt x="98107" y="9948"/>
                    </a:lnTo>
                    <a:lnTo>
                      <a:pt x="91440" y="7091"/>
                    </a:lnTo>
                    <a:lnTo>
                      <a:pt x="86677" y="5186"/>
                    </a:lnTo>
                    <a:cubicBezTo>
                      <a:pt x="86677" y="5186"/>
                      <a:pt x="79057" y="2328"/>
                      <a:pt x="76200" y="2328"/>
                    </a:cubicBezTo>
                    <a:cubicBezTo>
                      <a:pt x="73342" y="2328"/>
                      <a:pt x="63817" y="423"/>
                      <a:pt x="63817" y="423"/>
                    </a:cubicBezTo>
                    <a:cubicBezTo>
                      <a:pt x="63817" y="423"/>
                      <a:pt x="60007" y="-529"/>
                      <a:pt x="57150" y="423"/>
                    </a:cubicBezTo>
                    <a:cubicBezTo>
                      <a:pt x="54292" y="1376"/>
                      <a:pt x="50482" y="1376"/>
                      <a:pt x="48577" y="1376"/>
                    </a:cubicBezTo>
                    <a:cubicBezTo>
                      <a:pt x="46672" y="2328"/>
                      <a:pt x="42863" y="2328"/>
                      <a:pt x="42863" y="2328"/>
                    </a:cubicBezTo>
                    <a:cubicBezTo>
                      <a:pt x="42863" y="2328"/>
                      <a:pt x="38100" y="3281"/>
                      <a:pt x="35242" y="6138"/>
                    </a:cubicBezTo>
                    <a:cubicBezTo>
                      <a:pt x="33338" y="8996"/>
                      <a:pt x="32385" y="8996"/>
                      <a:pt x="31432" y="9948"/>
                    </a:cubicBezTo>
                    <a:cubicBezTo>
                      <a:pt x="30480" y="10901"/>
                      <a:pt x="27622" y="11853"/>
                      <a:pt x="27622" y="11853"/>
                    </a:cubicBezTo>
                    <a:cubicBezTo>
                      <a:pt x="27622" y="11853"/>
                      <a:pt x="25717" y="11853"/>
                      <a:pt x="23813" y="12806"/>
                    </a:cubicBezTo>
                    <a:cubicBezTo>
                      <a:pt x="21907" y="13758"/>
                      <a:pt x="20002" y="13758"/>
                      <a:pt x="20002" y="13758"/>
                    </a:cubicBezTo>
                    <a:lnTo>
                      <a:pt x="12382" y="17568"/>
                    </a:lnTo>
                    <a:close/>
                  </a:path>
                </a:pathLst>
              </a:custGeom>
              <a:grpFill/>
              <a:ln w="9525" cap="flat">
                <a:noFill/>
                <a:prstDash val="solid"/>
                <a:miter/>
              </a:ln>
            </p:spPr>
            <p:txBody>
              <a:bodyPr rtlCol="0" anchor="ctr"/>
              <a:lstStyle/>
              <a:p>
                <a:endParaRPr lang="en-US" sz="1765"/>
              </a:p>
            </p:txBody>
          </p:sp>
          <p:sp>
            <p:nvSpPr>
              <p:cNvPr id="44" name="Freeform: Shape 43">
                <a:extLst>
                  <a:ext uri="{FF2B5EF4-FFF2-40B4-BE49-F238E27FC236}">
                    <a16:creationId xmlns:a16="http://schemas.microsoft.com/office/drawing/2014/main" id="{8C736CE1-3F6E-4F37-9738-9190604F1CDE}"/>
                  </a:ext>
                </a:extLst>
              </p:cNvPr>
              <p:cNvSpPr/>
              <p:nvPr/>
            </p:nvSpPr>
            <p:spPr>
              <a:xfrm>
                <a:off x="5443566" y="3186793"/>
                <a:ext cx="1904" cy="9525"/>
              </a:xfrm>
              <a:custGeom>
                <a:avLst/>
                <a:gdLst>
                  <a:gd name="connsiteX0" fmla="*/ 1905 w 1904"/>
                  <a:gd name="connsiteY0" fmla="*/ 0 h 9525"/>
                  <a:gd name="connsiteX1" fmla="*/ 0 w 1904"/>
                  <a:gd name="connsiteY1" fmla="*/ 0 h 9525"/>
                  <a:gd name="connsiteX2" fmla="*/ 1905 w 1904"/>
                  <a:gd name="connsiteY2" fmla="*/ 0 h 9525"/>
                </a:gdLst>
                <a:ahLst/>
                <a:cxnLst>
                  <a:cxn ang="0">
                    <a:pos x="connsiteX0" y="connsiteY0"/>
                  </a:cxn>
                  <a:cxn ang="0">
                    <a:pos x="connsiteX1" y="connsiteY1"/>
                  </a:cxn>
                  <a:cxn ang="0">
                    <a:pos x="connsiteX2" y="connsiteY2"/>
                  </a:cxn>
                </a:cxnLst>
                <a:rect l="l" t="t" r="r" b="b"/>
                <a:pathLst>
                  <a:path w="1904" h="9525">
                    <a:moveTo>
                      <a:pt x="1905" y="0"/>
                    </a:moveTo>
                    <a:cubicBezTo>
                      <a:pt x="1905" y="0"/>
                      <a:pt x="952" y="0"/>
                      <a:pt x="0" y="0"/>
                    </a:cubicBezTo>
                    <a:cubicBezTo>
                      <a:pt x="0" y="0"/>
                      <a:pt x="952" y="0"/>
                      <a:pt x="1905" y="0"/>
                    </a:cubicBezTo>
                    <a:close/>
                  </a:path>
                </a:pathLst>
              </a:custGeom>
              <a:grpFill/>
              <a:ln w="9525" cap="flat">
                <a:noFill/>
                <a:prstDash val="solid"/>
                <a:miter/>
              </a:ln>
            </p:spPr>
            <p:txBody>
              <a:bodyPr rtlCol="0" anchor="ctr"/>
              <a:lstStyle/>
              <a:p>
                <a:endParaRPr lang="en-US" sz="1765"/>
              </a:p>
            </p:txBody>
          </p:sp>
          <p:sp>
            <p:nvSpPr>
              <p:cNvPr id="46" name="Freeform: Shape 45">
                <a:extLst>
                  <a:ext uri="{FF2B5EF4-FFF2-40B4-BE49-F238E27FC236}">
                    <a16:creationId xmlns:a16="http://schemas.microsoft.com/office/drawing/2014/main" id="{E0D96788-96AD-4645-9E4B-6AC4AF81199C}"/>
                  </a:ext>
                </a:extLst>
              </p:cNvPr>
              <p:cNvSpPr/>
              <p:nvPr/>
            </p:nvSpPr>
            <p:spPr>
              <a:xfrm>
                <a:off x="5337839" y="3029631"/>
                <a:ext cx="2242184" cy="1686775"/>
              </a:xfrm>
              <a:custGeom>
                <a:avLst/>
                <a:gdLst>
                  <a:gd name="connsiteX0" fmla="*/ 2242185 w 2242184"/>
                  <a:gd name="connsiteY0" fmla="*/ 1098233 h 1686775"/>
                  <a:gd name="connsiteX1" fmla="*/ 2238375 w 2242184"/>
                  <a:gd name="connsiteY1" fmla="*/ 1078230 h 1686775"/>
                  <a:gd name="connsiteX2" fmla="*/ 2238375 w 2242184"/>
                  <a:gd name="connsiteY2" fmla="*/ 1068705 h 1686775"/>
                  <a:gd name="connsiteX3" fmla="*/ 2238375 w 2242184"/>
                  <a:gd name="connsiteY3" fmla="*/ 1062990 h 1686775"/>
                  <a:gd name="connsiteX4" fmla="*/ 2227898 w 2242184"/>
                  <a:gd name="connsiteY4" fmla="*/ 1052513 h 1686775"/>
                  <a:gd name="connsiteX5" fmla="*/ 2212658 w 2242184"/>
                  <a:gd name="connsiteY5" fmla="*/ 1049655 h 1686775"/>
                  <a:gd name="connsiteX6" fmla="*/ 2188845 w 2242184"/>
                  <a:gd name="connsiteY6" fmla="*/ 1042035 h 1686775"/>
                  <a:gd name="connsiteX7" fmla="*/ 2180273 w 2242184"/>
                  <a:gd name="connsiteY7" fmla="*/ 1037273 h 1686775"/>
                  <a:gd name="connsiteX8" fmla="*/ 2165033 w 2242184"/>
                  <a:gd name="connsiteY8" fmla="*/ 1034415 h 1686775"/>
                  <a:gd name="connsiteX9" fmla="*/ 2153603 w 2242184"/>
                  <a:gd name="connsiteY9" fmla="*/ 1032510 h 1686775"/>
                  <a:gd name="connsiteX10" fmla="*/ 2118360 w 2242184"/>
                  <a:gd name="connsiteY10" fmla="*/ 1026795 h 1686775"/>
                  <a:gd name="connsiteX11" fmla="*/ 2109788 w 2242184"/>
                  <a:gd name="connsiteY11" fmla="*/ 1024890 h 1686775"/>
                  <a:gd name="connsiteX12" fmla="*/ 2087880 w 2242184"/>
                  <a:gd name="connsiteY12" fmla="*/ 1020127 h 1686775"/>
                  <a:gd name="connsiteX13" fmla="*/ 2070735 w 2242184"/>
                  <a:gd name="connsiteY13" fmla="*/ 1015365 h 1686775"/>
                  <a:gd name="connsiteX14" fmla="*/ 2059305 w 2242184"/>
                  <a:gd name="connsiteY14" fmla="*/ 1013460 h 1686775"/>
                  <a:gd name="connsiteX15" fmla="*/ 2045970 w 2242184"/>
                  <a:gd name="connsiteY15" fmla="*/ 1010602 h 1686775"/>
                  <a:gd name="connsiteX16" fmla="*/ 2037398 w 2242184"/>
                  <a:gd name="connsiteY16" fmla="*/ 1005840 h 1686775"/>
                  <a:gd name="connsiteX17" fmla="*/ 2022158 w 2242184"/>
                  <a:gd name="connsiteY17" fmla="*/ 992505 h 1686775"/>
                  <a:gd name="connsiteX18" fmla="*/ 2006918 w 2242184"/>
                  <a:gd name="connsiteY18" fmla="*/ 979170 h 1686775"/>
                  <a:gd name="connsiteX19" fmla="*/ 2000250 w 2242184"/>
                  <a:gd name="connsiteY19" fmla="*/ 970598 h 1686775"/>
                  <a:gd name="connsiteX20" fmla="*/ 1993583 w 2242184"/>
                  <a:gd name="connsiteY20" fmla="*/ 963930 h 1686775"/>
                  <a:gd name="connsiteX21" fmla="*/ 1969770 w 2242184"/>
                  <a:gd name="connsiteY21" fmla="*/ 950595 h 1686775"/>
                  <a:gd name="connsiteX22" fmla="*/ 1954530 w 2242184"/>
                  <a:gd name="connsiteY22" fmla="*/ 944880 h 1686775"/>
                  <a:gd name="connsiteX23" fmla="*/ 1937385 w 2242184"/>
                  <a:gd name="connsiteY23" fmla="*/ 939165 h 1686775"/>
                  <a:gd name="connsiteX24" fmla="*/ 1910715 w 2242184"/>
                  <a:gd name="connsiteY24" fmla="*/ 934402 h 1686775"/>
                  <a:gd name="connsiteX25" fmla="*/ 1902143 w 2242184"/>
                  <a:gd name="connsiteY25" fmla="*/ 934402 h 1686775"/>
                  <a:gd name="connsiteX26" fmla="*/ 1880235 w 2242184"/>
                  <a:gd name="connsiteY26" fmla="*/ 928688 h 1686775"/>
                  <a:gd name="connsiteX27" fmla="*/ 1866900 w 2242184"/>
                  <a:gd name="connsiteY27" fmla="*/ 922973 h 1686775"/>
                  <a:gd name="connsiteX28" fmla="*/ 1858328 w 2242184"/>
                  <a:gd name="connsiteY28" fmla="*/ 911543 h 1686775"/>
                  <a:gd name="connsiteX29" fmla="*/ 1841183 w 2242184"/>
                  <a:gd name="connsiteY29" fmla="*/ 902970 h 1686775"/>
                  <a:gd name="connsiteX30" fmla="*/ 1830705 w 2242184"/>
                  <a:gd name="connsiteY30" fmla="*/ 897255 h 1686775"/>
                  <a:gd name="connsiteX31" fmla="*/ 1804035 w 2242184"/>
                  <a:gd name="connsiteY31" fmla="*/ 889635 h 1686775"/>
                  <a:gd name="connsiteX32" fmla="*/ 1784033 w 2242184"/>
                  <a:gd name="connsiteY32" fmla="*/ 887730 h 1686775"/>
                  <a:gd name="connsiteX33" fmla="*/ 1740218 w 2242184"/>
                  <a:gd name="connsiteY33" fmla="*/ 887730 h 1686775"/>
                  <a:gd name="connsiteX34" fmla="*/ 1720215 w 2242184"/>
                  <a:gd name="connsiteY34" fmla="*/ 887730 h 1686775"/>
                  <a:gd name="connsiteX35" fmla="*/ 1706880 w 2242184"/>
                  <a:gd name="connsiteY35" fmla="*/ 887730 h 1686775"/>
                  <a:gd name="connsiteX36" fmla="*/ 1674495 w 2242184"/>
                  <a:gd name="connsiteY36" fmla="*/ 879158 h 1686775"/>
                  <a:gd name="connsiteX37" fmla="*/ 1652588 w 2242184"/>
                  <a:gd name="connsiteY37" fmla="*/ 880110 h 1686775"/>
                  <a:gd name="connsiteX38" fmla="*/ 1644015 w 2242184"/>
                  <a:gd name="connsiteY38" fmla="*/ 878205 h 1686775"/>
                  <a:gd name="connsiteX39" fmla="*/ 1622108 w 2242184"/>
                  <a:gd name="connsiteY39" fmla="*/ 878205 h 1686775"/>
                  <a:gd name="connsiteX40" fmla="*/ 1590675 w 2242184"/>
                  <a:gd name="connsiteY40" fmla="*/ 884873 h 1686775"/>
                  <a:gd name="connsiteX41" fmla="*/ 1572578 w 2242184"/>
                  <a:gd name="connsiteY41" fmla="*/ 896302 h 1686775"/>
                  <a:gd name="connsiteX42" fmla="*/ 1557338 w 2242184"/>
                  <a:gd name="connsiteY42" fmla="*/ 897255 h 1686775"/>
                  <a:gd name="connsiteX43" fmla="*/ 1524000 w 2242184"/>
                  <a:gd name="connsiteY43" fmla="*/ 900113 h 1686775"/>
                  <a:gd name="connsiteX44" fmla="*/ 1508760 w 2242184"/>
                  <a:gd name="connsiteY44" fmla="*/ 900113 h 1686775"/>
                  <a:gd name="connsiteX45" fmla="*/ 1500188 w 2242184"/>
                  <a:gd name="connsiteY45" fmla="*/ 900113 h 1686775"/>
                  <a:gd name="connsiteX46" fmla="*/ 1480185 w 2242184"/>
                  <a:gd name="connsiteY46" fmla="*/ 897255 h 1686775"/>
                  <a:gd name="connsiteX47" fmla="*/ 1466850 w 2242184"/>
                  <a:gd name="connsiteY47" fmla="*/ 894398 h 1686775"/>
                  <a:gd name="connsiteX48" fmla="*/ 1458278 w 2242184"/>
                  <a:gd name="connsiteY48" fmla="*/ 882015 h 1686775"/>
                  <a:gd name="connsiteX49" fmla="*/ 1458278 w 2242184"/>
                  <a:gd name="connsiteY49" fmla="*/ 875348 h 1686775"/>
                  <a:gd name="connsiteX50" fmla="*/ 1458278 w 2242184"/>
                  <a:gd name="connsiteY50" fmla="*/ 866775 h 1686775"/>
                  <a:gd name="connsiteX51" fmla="*/ 1456373 w 2242184"/>
                  <a:gd name="connsiteY51" fmla="*/ 855345 h 1686775"/>
                  <a:gd name="connsiteX52" fmla="*/ 1454468 w 2242184"/>
                  <a:gd name="connsiteY52" fmla="*/ 838200 h 1686775"/>
                  <a:gd name="connsiteX53" fmla="*/ 1445895 w 2242184"/>
                  <a:gd name="connsiteY53" fmla="*/ 832485 h 1686775"/>
                  <a:gd name="connsiteX54" fmla="*/ 1432560 w 2242184"/>
                  <a:gd name="connsiteY54" fmla="*/ 830580 h 1686775"/>
                  <a:gd name="connsiteX55" fmla="*/ 1423988 w 2242184"/>
                  <a:gd name="connsiteY55" fmla="*/ 828675 h 1686775"/>
                  <a:gd name="connsiteX56" fmla="*/ 1403985 w 2242184"/>
                  <a:gd name="connsiteY56" fmla="*/ 821055 h 1686775"/>
                  <a:gd name="connsiteX57" fmla="*/ 1392555 w 2242184"/>
                  <a:gd name="connsiteY57" fmla="*/ 821055 h 1686775"/>
                  <a:gd name="connsiteX58" fmla="*/ 1379220 w 2242184"/>
                  <a:gd name="connsiteY58" fmla="*/ 821055 h 1686775"/>
                  <a:gd name="connsiteX59" fmla="*/ 1367790 w 2242184"/>
                  <a:gd name="connsiteY59" fmla="*/ 821055 h 1686775"/>
                  <a:gd name="connsiteX60" fmla="*/ 1359218 w 2242184"/>
                  <a:gd name="connsiteY60" fmla="*/ 815340 h 1686775"/>
                  <a:gd name="connsiteX61" fmla="*/ 1370648 w 2242184"/>
                  <a:gd name="connsiteY61" fmla="*/ 811530 h 1686775"/>
                  <a:gd name="connsiteX62" fmla="*/ 1382078 w 2242184"/>
                  <a:gd name="connsiteY62" fmla="*/ 808673 h 1686775"/>
                  <a:gd name="connsiteX63" fmla="*/ 1386840 w 2242184"/>
                  <a:gd name="connsiteY63" fmla="*/ 802958 h 1686775"/>
                  <a:gd name="connsiteX64" fmla="*/ 1386840 w 2242184"/>
                  <a:gd name="connsiteY64" fmla="*/ 797243 h 1686775"/>
                  <a:gd name="connsiteX65" fmla="*/ 1384935 w 2242184"/>
                  <a:gd name="connsiteY65" fmla="*/ 784860 h 1686775"/>
                  <a:gd name="connsiteX66" fmla="*/ 1384935 w 2242184"/>
                  <a:gd name="connsiteY66" fmla="*/ 776288 h 1686775"/>
                  <a:gd name="connsiteX67" fmla="*/ 1391603 w 2242184"/>
                  <a:gd name="connsiteY67" fmla="*/ 767715 h 1686775"/>
                  <a:gd name="connsiteX68" fmla="*/ 1394460 w 2242184"/>
                  <a:gd name="connsiteY68" fmla="*/ 759143 h 1686775"/>
                  <a:gd name="connsiteX69" fmla="*/ 1377315 w 2242184"/>
                  <a:gd name="connsiteY69" fmla="*/ 754380 h 1686775"/>
                  <a:gd name="connsiteX70" fmla="*/ 1359218 w 2242184"/>
                  <a:gd name="connsiteY70" fmla="*/ 757238 h 1686775"/>
                  <a:gd name="connsiteX71" fmla="*/ 1361123 w 2242184"/>
                  <a:gd name="connsiteY71" fmla="*/ 761048 h 1686775"/>
                  <a:gd name="connsiteX72" fmla="*/ 1347788 w 2242184"/>
                  <a:gd name="connsiteY72" fmla="*/ 761048 h 1686775"/>
                  <a:gd name="connsiteX73" fmla="*/ 1332548 w 2242184"/>
                  <a:gd name="connsiteY73" fmla="*/ 763905 h 1686775"/>
                  <a:gd name="connsiteX74" fmla="*/ 1332548 w 2242184"/>
                  <a:gd name="connsiteY74" fmla="*/ 767715 h 1686775"/>
                  <a:gd name="connsiteX75" fmla="*/ 1319213 w 2242184"/>
                  <a:gd name="connsiteY75" fmla="*/ 777240 h 1686775"/>
                  <a:gd name="connsiteX76" fmla="*/ 1312545 w 2242184"/>
                  <a:gd name="connsiteY76" fmla="*/ 785813 h 1686775"/>
                  <a:gd name="connsiteX77" fmla="*/ 1299210 w 2242184"/>
                  <a:gd name="connsiteY77" fmla="*/ 788670 h 1686775"/>
                  <a:gd name="connsiteX78" fmla="*/ 1290638 w 2242184"/>
                  <a:gd name="connsiteY78" fmla="*/ 789623 h 1686775"/>
                  <a:gd name="connsiteX79" fmla="*/ 1279208 w 2242184"/>
                  <a:gd name="connsiteY79" fmla="*/ 790575 h 1686775"/>
                  <a:gd name="connsiteX80" fmla="*/ 1263968 w 2242184"/>
                  <a:gd name="connsiteY80" fmla="*/ 790575 h 1686775"/>
                  <a:gd name="connsiteX81" fmla="*/ 1253490 w 2242184"/>
                  <a:gd name="connsiteY81" fmla="*/ 784860 h 1686775"/>
                  <a:gd name="connsiteX82" fmla="*/ 1244918 w 2242184"/>
                  <a:gd name="connsiteY82" fmla="*/ 777240 h 1686775"/>
                  <a:gd name="connsiteX83" fmla="*/ 1236345 w 2242184"/>
                  <a:gd name="connsiteY83" fmla="*/ 771525 h 1686775"/>
                  <a:gd name="connsiteX84" fmla="*/ 1229678 w 2242184"/>
                  <a:gd name="connsiteY84" fmla="*/ 765810 h 1686775"/>
                  <a:gd name="connsiteX85" fmla="*/ 1225868 w 2242184"/>
                  <a:gd name="connsiteY85" fmla="*/ 757238 h 1686775"/>
                  <a:gd name="connsiteX86" fmla="*/ 1223963 w 2242184"/>
                  <a:gd name="connsiteY86" fmla="*/ 747713 h 1686775"/>
                  <a:gd name="connsiteX87" fmla="*/ 1223963 w 2242184"/>
                  <a:gd name="connsiteY87" fmla="*/ 733425 h 1686775"/>
                  <a:gd name="connsiteX88" fmla="*/ 1223963 w 2242184"/>
                  <a:gd name="connsiteY88" fmla="*/ 723900 h 1686775"/>
                  <a:gd name="connsiteX89" fmla="*/ 1217295 w 2242184"/>
                  <a:gd name="connsiteY89" fmla="*/ 715327 h 1686775"/>
                  <a:gd name="connsiteX90" fmla="*/ 1215390 w 2242184"/>
                  <a:gd name="connsiteY90" fmla="*/ 700088 h 1686775"/>
                  <a:gd name="connsiteX91" fmla="*/ 1217295 w 2242184"/>
                  <a:gd name="connsiteY91" fmla="*/ 694373 h 1686775"/>
                  <a:gd name="connsiteX92" fmla="*/ 1223963 w 2242184"/>
                  <a:gd name="connsiteY92" fmla="*/ 684848 h 1686775"/>
                  <a:gd name="connsiteX93" fmla="*/ 1238250 w 2242184"/>
                  <a:gd name="connsiteY93" fmla="*/ 675323 h 1686775"/>
                  <a:gd name="connsiteX94" fmla="*/ 1258253 w 2242184"/>
                  <a:gd name="connsiteY94" fmla="*/ 674370 h 1686775"/>
                  <a:gd name="connsiteX95" fmla="*/ 1271588 w 2242184"/>
                  <a:gd name="connsiteY95" fmla="*/ 673418 h 1686775"/>
                  <a:gd name="connsiteX96" fmla="*/ 1278255 w 2242184"/>
                  <a:gd name="connsiteY96" fmla="*/ 675323 h 1686775"/>
                  <a:gd name="connsiteX97" fmla="*/ 1291590 w 2242184"/>
                  <a:gd name="connsiteY97" fmla="*/ 675323 h 1686775"/>
                  <a:gd name="connsiteX98" fmla="*/ 1313498 w 2242184"/>
                  <a:gd name="connsiteY98" fmla="*/ 674370 h 1686775"/>
                  <a:gd name="connsiteX99" fmla="*/ 1322070 w 2242184"/>
                  <a:gd name="connsiteY99" fmla="*/ 677227 h 1686775"/>
                  <a:gd name="connsiteX100" fmla="*/ 1339215 w 2242184"/>
                  <a:gd name="connsiteY100" fmla="*/ 677227 h 1686775"/>
                  <a:gd name="connsiteX101" fmla="*/ 1347788 w 2242184"/>
                  <a:gd name="connsiteY101" fmla="*/ 676275 h 1686775"/>
                  <a:gd name="connsiteX102" fmla="*/ 1365885 w 2242184"/>
                  <a:gd name="connsiteY102" fmla="*/ 673418 h 1686775"/>
                  <a:gd name="connsiteX103" fmla="*/ 1377315 w 2242184"/>
                  <a:gd name="connsiteY103" fmla="*/ 672465 h 1686775"/>
                  <a:gd name="connsiteX104" fmla="*/ 1414463 w 2242184"/>
                  <a:gd name="connsiteY104" fmla="*/ 671513 h 1686775"/>
                  <a:gd name="connsiteX105" fmla="*/ 1436370 w 2242184"/>
                  <a:gd name="connsiteY105" fmla="*/ 674370 h 1686775"/>
                  <a:gd name="connsiteX106" fmla="*/ 1449705 w 2242184"/>
                  <a:gd name="connsiteY106" fmla="*/ 677227 h 1686775"/>
                  <a:gd name="connsiteX107" fmla="*/ 1458278 w 2242184"/>
                  <a:gd name="connsiteY107" fmla="*/ 679133 h 1686775"/>
                  <a:gd name="connsiteX108" fmla="*/ 1460183 w 2242184"/>
                  <a:gd name="connsiteY108" fmla="*/ 684848 h 1686775"/>
                  <a:gd name="connsiteX109" fmla="*/ 1463993 w 2242184"/>
                  <a:gd name="connsiteY109" fmla="*/ 701993 h 1686775"/>
                  <a:gd name="connsiteX110" fmla="*/ 1467803 w 2242184"/>
                  <a:gd name="connsiteY110" fmla="*/ 720090 h 1686775"/>
                  <a:gd name="connsiteX111" fmla="*/ 1474470 w 2242184"/>
                  <a:gd name="connsiteY111" fmla="*/ 724852 h 1686775"/>
                  <a:gd name="connsiteX112" fmla="*/ 1498283 w 2242184"/>
                  <a:gd name="connsiteY112" fmla="*/ 730568 h 1686775"/>
                  <a:gd name="connsiteX113" fmla="*/ 1506855 w 2242184"/>
                  <a:gd name="connsiteY113" fmla="*/ 727710 h 1686775"/>
                  <a:gd name="connsiteX114" fmla="*/ 1513523 w 2242184"/>
                  <a:gd name="connsiteY114" fmla="*/ 721043 h 1686775"/>
                  <a:gd name="connsiteX115" fmla="*/ 1516380 w 2242184"/>
                  <a:gd name="connsiteY115" fmla="*/ 708660 h 1686775"/>
                  <a:gd name="connsiteX116" fmla="*/ 1518285 w 2242184"/>
                  <a:gd name="connsiteY116" fmla="*/ 702945 h 1686775"/>
                  <a:gd name="connsiteX117" fmla="*/ 1509713 w 2242184"/>
                  <a:gd name="connsiteY117" fmla="*/ 682943 h 1686775"/>
                  <a:gd name="connsiteX118" fmla="*/ 1503045 w 2242184"/>
                  <a:gd name="connsiteY118" fmla="*/ 676275 h 1686775"/>
                  <a:gd name="connsiteX119" fmla="*/ 1501140 w 2242184"/>
                  <a:gd name="connsiteY119" fmla="*/ 667702 h 1686775"/>
                  <a:gd name="connsiteX120" fmla="*/ 1499235 w 2242184"/>
                  <a:gd name="connsiteY120" fmla="*/ 659130 h 1686775"/>
                  <a:gd name="connsiteX121" fmla="*/ 1497330 w 2242184"/>
                  <a:gd name="connsiteY121" fmla="*/ 641985 h 1686775"/>
                  <a:gd name="connsiteX122" fmla="*/ 1512570 w 2242184"/>
                  <a:gd name="connsiteY122" fmla="*/ 633413 h 1686775"/>
                  <a:gd name="connsiteX123" fmla="*/ 1521143 w 2242184"/>
                  <a:gd name="connsiteY123" fmla="*/ 633413 h 1686775"/>
                  <a:gd name="connsiteX124" fmla="*/ 1547813 w 2242184"/>
                  <a:gd name="connsiteY124" fmla="*/ 629602 h 1686775"/>
                  <a:gd name="connsiteX125" fmla="*/ 1556385 w 2242184"/>
                  <a:gd name="connsiteY125" fmla="*/ 625793 h 1686775"/>
                  <a:gd name="connsiteX126" fmla="*/ 1561148 w 2242184"/>
                  <a:gd name="connsiteY126" fmla="*/ 620077 h 1686775"/>
                  <a:gd name="connsiteX127" fmla="*/ 1583055 w 2242184"/>
                  <a:gd name="connsiteY127" fmla="*/ 605790 h 1686775"/>
                  <a:gd name="connsiteX128" fmla="*/ 1587818 w 2242184"/>
                  <a:gd name="connsiteY128" fmla="*/ 597218 h 1686775"/>
                  <a:gd name="connsiteX129" fmla="*/ 1587818 w 2242184"/>
                  <a:gd name="connsiteY129" fmla="*/ 591502 h 1686775"/>
                  <a:gd name="connsiteX130" fmla="*/ 1587818 w 2242184"/>
                  <a:gd name="connsiteY130" fmla="*/ 585788 h 1686775"/>
                  <a:gd name="connsiteX131" fmla="*/ 1581150 w 2242184"/>
                  <a:gd name="connsiteY131" fmla="*/ 574358 h 1686775"/>
                  <a:gd name="connsiteX132" fmla="*/ 1592580 w 2242184"/>
                  <a:gd name="connsiteY132" fmla="*/ 564833 h 1686775"/>
                  <a:gd name="connsiteX133" fmla="*/ 1604010 w 2242184"/>
                  <a:gd name="connsiteY133" fmla="*/ 564833 h 1686775"/>
                  <a:gd name="connsiteX134" fmla="*/ 1610678 w 2242184"/>
                  <a:gd name="connsiteY134" fmla="*/ 555308 h 1686775"/>
                  <a:gd name="connsiteX135" fmla="*/ 1622108 w 2242184"/>
                  <a:gd name="connsiteY135" fmla="*/ 549593 h 1686775"/>
                  <a:gd name="connsiteX136" fmla="*/ 1640205 w 2242184"/>
                  <a:gd name="connsiteY136" fmla="*/ 543877 h 1686775"/>
                  <a:gd name="connsiteX137" fmla="*/ 1653540 w 2242184"/>
                  <a:gd name="connsiteY137" fmla="*/ 538163 h 1686775"/>
                  <a:gd name="connsiteX138" fmla="*/ 1662113 w 2242184"/>
                  <a:gd name="connsiteY138" fmla="*/ 534352 h 1686775"/>
                  <a:gd name="connsiteX139" fmla="*/ 1677353 w 2242184"/>
                  <a:gd name="connsiteY139" fmla="*/ 524827 h 1686775"/>
                  <a:gd name="connsiteX140" fmla="*/ 1679258 w 2242184"/>
                  <a:gd name="connsiteY140" fmla="*/ 519112 h 1686775"/>
                  <a:gd name="connsiteX141" fmla="*/ 1679258 w 2242184"/>
                  <a:gd name="connsiteY141" fmla="*/ 507683 h 1686775"/>
                  <a:gd name="connsiteX142" fmla="*/ 1684020 w 2242184"/>
                  <a:gd name="connsiteY142" fmla="*/ 496252 h 1686775"/>
                  <a:gd name="connsiteX143" fmla="*/ 1688783 w 2242184"/>
                  <a:gd name="connsiteY143" fmla="*/ 490537 h 1686775"/>
                  <a:gd name="connsiteX144" fmla="*/ 1700213 w 2242184"/>
                  <a:gd name="connsiteY144" fmla="*/ 487680 h 1686775"/>
                  <a:gd name="connsiteX145" fmla="*/ 1708785 w 2242184"/>
                  <a:gd name="connsiteY145" fmla="*/ 487680 h 1686775"/>
                  <a:gd name="connsiteX146" fmla="*/ 1742123 w 2242184"/>
                  <a:gd name="connsiteY146" fmla="*/ 484823 h 1686775"/>
                  <a:gd name="connsiteX147" fmla="*/ 1760220 w 2242184"/>
                  <a:gd name="connsiteY147" fmla="*/ 479108 h 1686775"/>
                  <a:gd name="connsiteX148" fmla="*/ 1760220 w 2242184"/>
                  <a:gd name="connsiteY148" fmla="*/ 484823 h 1686775"/>
                  <a:gd name="connsiteX149" fmla="*/ 1768793 w 2242184"/>
                  <a:gd name="connsiteY149" fmla="*/ 494348 h 1686775"/>
                  <a:gd name="connsiteX150" fmla="*/ 1775460 w 2242184"/>
                  <a:gd name="connsiteY150" fmla="*/ 496252 h 1686775"/>
                  <a:gd name="connsiteX151" fmla="*/ 1784033 w 2242184"/>
                  <a:gd name="connsiteY151" fmla="*/ 492443 h 1686775"/>
                  <a:gd name="connsiteX152" fmla="*/ 1790700 w 2242184"/>
                  <a:gd name="connsiteY152" fmla="*/ 485775 h 1686775"/>
                  <a:gd name="connsiteX153" fmla="*/ 1799273 w 2242184"/>
                  <a:gd name="connsiteY153" fmla="*/ 484823 h 1686775"/>
                  <a:gd name="connsiteX154" fmla="*/ 1805940 w 2242184"/>
                  <a:gd name="connsiteY154" fmla="*/ 487680 h 1686775"/>
                  <a:gd name="connsiteX155" fmla="*/ 1817370 w 2242184"/>
                  <a:gd name="connsiteY155" fmla="*/ 486727 h 1686775"/>
                  <a:gd name="connsiteX156" fmla="*/ 1825943 w 2242184"/>
                  <a:gd name="connsiteY156" fmla="*/ 486727 h 1686775"/>
                  <a:gd name="connsiteX157" fmla="*/ 1841183 w 2242184"/>
                  <a:gd name="connsiteY157" fmla="*/ 481012 h 1686775"/>
                  <a:gd name="connsiteX158" fmla="*/ 1847850 w 2242184"/>
                  <a:gd name="connsiteY158" fmla="*/ 478155 h 1686775"/>
                  <a:gd name="connsiteX159" fmla="*/ 1854518 w 2242184"/>
                  <a:gd name="connsiteY159" fmla="*/ 472440 h 1686775"/>
                  <a:gd name="connsiteX160" fmla="*/ 1859280 w 2242184"/>
                  <a:gd name="connsiteY160" fmla="*/ 463868 h 1686775"/>
                  <a:gd name="connsiteX161" fmla="*/ 1852613 w 2242184"/>
                  <a:gd name="connsiteY161" fmla="*/ 461010 h 1686775"/>
                  <a:gd name="connsiteX162" fmla="*/ 1844040 w 2242184"/>
                  <a:gd name="connsiteY162" fmla="*/ 459105 h 1686775"/>
                  <a:gd name="connsiteX163" fmla="*/ 1830705 w 2242184"/>
                  <a:gd name="connsiteY163" fmla="*/ 460058 h 1686775"/>
                  <a:gd name="connsiteX164" fmla="*/ 1806893 w 2242184"/>
                  <a:gd name="connsiteY164" fmla="*/ 458152 h 1686775"/>
                  <a:gd name="connsiteX165" fmla="*/ 1793558 w 2242184"/>
                  <a:gd name="connsiteY165" fmla="*/ 455295 h 1686775"/>
                  <a:gd name="connsiteX166" fmla="*/ 1782128 w 2242184"/>
                  <a:gd name="connsiteY166" fmla="*/ 455295 h 1686775"/>
                  <a:gd name="connsiteX167" fmla="*/ 1773555 w 2242184"/>
                  <a:gd name="connsiteY167" fmla="*/ 450533 h 1686775"/>
                  <a:gd name="connsiteX168" fmla="*/ 1773555 w 2242184"/>
                  <a:gd name="connsiteY168" fmla="*/ 441960 h 1686775"/>
                  <a:gd name="connsiteX169" fmla="*/ 1773555 w 2242184"/>
                  <a:gd name="connsiteY169" fmla="*/ 435293 h 1686775"/>
                  <a:gd name="connsiteX170" fmla="*/ 1771650 w 2242184"/>
                  <a:gd name="connsiteY170" fmla="*/ 429577 h 1686775"/>
                  <a:gd name="connsiteX171" fmla="*/ 1756410 w 2242184"/>
                  <a:gd name="connsiteY171" fmla="*/ 416243 h 1686775"/>
                  <a:gd name="connsiteX172" fmla="*/ 1734503 w 2242184"/>
                  <a:gd name="connsiteY172" fmla="*/ 422910 h 1686775"/>
                  <a:gd name="connsiteX173" fmla="*/ 1723073 w 2242184"/>
                  <a:gd name="connsiteY173" fmla="*/ 425768 h 1686775"/>
                  <a:gd name="connsiteX174" fmla="*/ 1707833 w 2242184"/>
                  <a:gd name="connsiteY174" fmla="*/ 432435 h 1686775"/>
                  <a:gd name="connsiteX175" fmla="*/ 1699260 w 2242184"/>
                  <a:gd name="connsiteY175" fmla="*/ 432435 h 1686775"/>
                  <a:gd name="connsiteX176" fmla="*/ 1704023 w 2242184"/>
                  <a:gd name="connsiteY176" fmla="*/ 423862 h 1686775"/>
                  <a:gd name="connsiteX177" fmla="*/ 1719263 w 2242184"/>
                  <a:gd name="connsiteY177" fmla="*/ 414337 h 1686775"/>
                  <a:gd name="connsiteX178" fmla="*/ 1732598 w 2242184"/>
                  <a:gd name="connsiteY178" fmla="*/ 408623 h 1686775"/>
                  <a:gd name="connsiteX179" fmla="*/ 1745933 w 2242184"/>
                  <a:gd name="connsiteY179" fmla="*/ 407670 h 1686775"/>
                  <a:gd name="connsiteX180" fmla="*/ 1763078 w 2242184"/>
                  <a:gd name="connsiteY180" fmla="*/ 409575 h 1686775"/>
                  <a:gd name="connsiteX181" fmla="*/ 1778318 w 2242184"/>
                  <a:gd name="connsiteY181" fmla="*/ 409575 h 1686775"/>
                  <a:gd name="connsiteX182" fmla="*/ 1793558 w 2242184"/>
                  <a:gd name="connsiteY182" fmla="*/ 411480 h 1686775"/>
                  <a:gd name="connsiteX183" fmla="*/ 1798320 w 2242184"/>
                  <a:gd name="connsiteY183" fmla="*/ 417195 h 1686775"/>
                  <a:gd name="connsiteX184" fmla="*/ 1804988 w 2242184"/>
                  <a:gd name="connsiteY184" fmla="*/ 422910 h 1686775"/>
                  <a:gd name="connsiteX185" fmla="*/ 1818323 w 2242184"/>
                  <a:gd name="connsiteY185" fmla="*/ 425768 h 1686775"/>
                  <a:gd name="connsiteX186" fmla="*/ 1824990 w 2242184"/>
                  <a:gd name="connsiteY186" fmla="*/ 419100 h 1686775"/>
                  <a:gd name="connsiteX187" fmla="*/ 1836420 w 2242184"/>
                  <a:gd name="connsiteY187" fmla="*/ 415290 h 1686775"/>
                  <a:gd name="connsiteX188" fmla="*/ 1849755 w 2242184"/>
                  <a:gd name="connsiteY188" fmla="*/ 412433 h 1686775"/>
                  <a:gd name="connsiteX189" fmla="*/ 1861185 w 2242184"/>
                  <a:gd name="connsiteY189" fmla="*/ 414337 h 1686775"/>
                  <a:gd name="connsiteX190" fmla="*/ 1874520 w 2242184"/>
                  <a:gd name="connsiteY190" fmla="*/ 416243 h 1686775"/>
                  <a:gd name="connsiteX191" fmla="*/ 1883093 w 2242184"/>
                  <a:gd name="connsiteY191" fmla="*/ 407670 h 1686775"/>
                  <a:gd name="connsiteX192" fmla="*/ 1889760 w 2242184"/>
                  <a:gd name="connsiteY192" fmla="*/ 392430 h 1686775"/>
                  <a:gd name="connsiteX193" fmla="*/ 1901190 w 2242184"/>
                  <a:gd name="connsiteY193" fmla="*/ 386715 h 1686775"/>
                  <a:gd name="connsiteX194" fmla="*/ 1919288 w 2242184"/>
                  <a:gd name="connsiteY194" fmla="*/ 381000 h 1686775"/>
                  <a:gd name="connsiteX195" fmla="*/ 1925955 w 2242184"/>
                  <a:gd name="connsiteY195" fmla="*/ 371475 h 1686775"/>
                  <a:gd name="connsiteX196" fmla="*/ 1924050 w 2242184"/>
                  <a:gd name="connsiteY196" fmla="*/ 359093 h 1686775"/>
                  <a:gd name="connsiteX197" fmla="*/ 1920240 w 2242184"/>
                  <a:gd name="connsiteY197" fmla="*/ 352425 h 1686775"/>
                  <a:gd name="connsiteX198" fmla="*/ 1900238 w 2242184"/>
                  <a:gd name="connsiteY198" fmla="*/ 349568 h 1686775"/>
                  <a:gd name="connsiteX199" fmla="*/ 1891665 w 2242184"/>
                  <a:gd name="connsiteY199" fmla="*/ 340995 h 1686775"/>
                  <a:gd name="connsiteX200" fmla="*/ 1889760 w 2242184"/>
                  <a:gd name="connsiteY200" fmla="*/ 335280 h 1686775"/>
                  <a:gd name="connsiteX201" fmla="*/ 1876425 w 2242184"/>
                  <a:gd name="connsiteY201" fmla="*/ 332423 h 1686775"/>
                  <a:gd name="connsiteX202" fmla="*/ 1864995 w 2242184"/>
                  <a:gd name="connsiteY202" fmla="*/ 330518 h 1686775"/>
                  <a:gd name="connsiteX203" fmla="*/ 1854518 w 2242184"/>
                  <a:gd name="connsiteY203" fmla="*/ 319087 h 1686775"/>
                  <a:gd name="connsiteX204" fmla="*/ 1844040 w 2242184"/>
                  <a:gd name="connsiteY204" fmla="*/ 303848 h 1686775"/>
                  <a:gd name="connsiteX205" fmla="*/ 1837373 w 2242184"/>
                  <a:gd name="connsiteY205" fmla="*/ 291465 h 1686775"/>
                  <a:gd name="connsiteX206" fmla="*/ 1817370 w 2242184"/>
                  <a:gd name="connsiteY206" fmla="*/ 280987 h 1686775"/>
                  <a:gd name="connsiteX207" fmla="*/ 1810703 w 2242184"/>
                  <a:gd name="connsiteY207" fmla="*/ 273368 h 1686775"/>
                  <a:gd name="connsiteX208" fmla="*/ 1800225 w 2242184"/>
                  <a:gd name="connsiteY208" fmla="*/ 267653 h 1686775"/>
                  <a:gd name="connsiteX209" fmla="*/ 1786890 w 2242184"/>
                  <a:gd name="connsiteY209" fmla="*/ 257175 h 1686775"/>
                  <a:gd name="connsiteX210" fmla="*/ 1766888 w 2242184"/>
                  <a:gd name="connsiteY210" fmla="*/ 268605 h 1686775"/>
                  <a:gd name="connsiteX211" fmla="*/ 1753553 w 2242184"/>
                  <a:gd name="connsiteY211" fmla="*/ 275273 h 1686775"/>
                  <a:gd name="connsiteX212" fmla="*/ 1726883 w 2242184"/>
                  <a:gd name="connsiteY212" fmla="*/ 279083 h 1686775"/>
                  <a:gd name="connsiteX213" fmla="*/ 1715453 w 2242184"/>
                  <a:gd name="connsiteY213" fmla="*/ 276225 h 1686775"/>
                  <a:gd name="connsiteX214" fmla="*/ 1713548 w 2242184"/>
                  <a:gd name="connsiteY214" fmla="*/ 267653 h 1686775"/>
                  <a:gd name="connsiteX215" fmla="*/ 1711643 w 2242184"/>
                  <a:gd name="connsiteY215" fmla="*/ 258128 h 1686775"/>
                  <a:gd name="connsiteX216" fmla="*/ 1711643 w 2242184"/>
                  <a:gd name="connsiteY216" fmla="*/ 249555 h 1686775"/>
                  <a:gd name="connsiteX217" fmla="*/ 1709738 w 2242184"/>
                  <a:gd name="connsiteY217" fmla="*/ 242887 h 1686775"/>
                  <a:gd name="connsiteX218" fmla="*/ 1705928 w 2242184"/>
                  <a:gd name="connsiteY218" fmla="*/ 237173 h 1686775"/>
                  <a:gd name="connsiteX219" fmla="*/ 1690688 w 2242184"/>
                  <a:gd name="connsiteY219" fmla="*/ 234315 h 1686775"/>
                  <a:gd name="connsiteX220" fmla="*/ 1677353 w 2242184"/>
                  <a:gd name="connsiteY220" fmla="*/ 232410 h 1686775"/>
                  <a:gd name="connsiteX221" fmla="*/ 1665923 w 2242184"/>
                  <a:gd name="connsiteY221" fmla="*/ 232410 h 1686775"/>
                  <a:gd name="connsiteX222" fmla="*/ 1657350 w 2242184"/>
                  <a:gd name="connsiteY222" fmla="*/ 224790 h 1686775"/>
                  <a:gd name="connsiteX223" fmla="*/ 1647825 w 2242184"/>
                  <a:gd name="connsiteY223" fmla="*/ 218123 h 1686775"/>
                  <a:gd name="connsiteX224" fmla="*/ 1634490 w 2242184"/>
                  <a:gd name="connsiteY224" fmla="*/ 215265 h 1686775"/>
                  <a:gd name="connsiteX225" fmla="*/ 1617345 w 2242184"/>
                  <a:gd name="connsiteY225" fmla="*/ 215265 h 1686775"/>
                  <a:gd name="connsiteX226" fmla="*/ 1605915 w 2242184"/>
                  <a:gd name="connsiteY226" fmla="*/ 215265 h 1686775"/>
                  <a:gd name="connsiteX227" fmla="*/ 1584008 w 2242184"/>
                  <a:gd name="connsiteY227" fmla="*/ 215265 h 1686775"/>
                  <a:gd name="connsiteX228" fmla="*/ 1570673 w 2242184"/>
                  <a:gd name="connsiteY228" fmla="*/ 219075 h 1686775"/>
                  <a:gd name="connsiteX229" fmla="*/ 1559243 w 2242184"/>
                  <a:gd name="connsiteY229" fmla="*/ 242887 h 1686775"/>
                  <a:gd name="connsiteX230" fmla="*/ 1559243 w 2242184"/>
                  <a:gd name="connsiteY230" fmla="*/ 255270 h 1686775"/>
                  <a:gd name="connsiteX231" fmla="*/ 1559243 w 2242184"/>
                  <a:gd name="connsiteY231" fmla="*/ 261937 h 1686775"/>
                  <a:gd name="connsiteX232" fmla="*/ 1559243 w 2242184"/>
                  <a:gd name="connsiteY232" fmla="*/ 265748 h 1686775"/>
                  <a:gd name="connsiteX233" fmla="*/ 1563053 w 2242184"/>
                  <a:gd name="connsiteY233" fmla="*/ 280035 h 1686775"/>
                  <a:gd name="connsiteX234" fmla="*/ 1566863 w 2242184"/>
                  <a:gd name="connsiteY234" fmla="*/ 297180 h 1686775"/>
                  <a:gd name="connsiteX235" fmla="*/ 1564005 w 2242184"/>
                  <a:gd name="connsiteY235" fmla="*/ 320040 h 1686775"/>
                  <a:gd name="connsiteX236" fmla="*/ 1550670 w 2242184"/>
                  <a:gd name="connsiteY236" fmla="*/ 331470 h 1686775"/>
                  <a:gd name="connsiteX237" fmla="*/ 1542098 w 2242184"/>
                  <a:gd name="connsiteY237" fmla="*/ 331470 h 1686775"/>
                  <a:gd name="connsiteX238" fmla="*/ 1528763 w 2242184"/>
                  <a:gd name="connsiteY238" fmla="*/ 343853 h 1686775"/>
                  <a:gd name="connsiteX239" fmla="*/ 1535430 w 2242184"/>
                  <a:gd name="connsiteY239" fmla="*/ 359093 h 1686775"/>
                  <a:gd name="connsiteX240" fmla="*/ 1537335 w 2242184"/>
                  <a:gd name="connsiteY240" fmla="*/ 377190 h 1686775"/>
                  <a:gd name="connsiteX241" fmla="*/ 1544003 w 2242184"/>
                  <a:gd name="connsiteY241" fmla="*/ 382905 h 1686775"/>
                  <a:gd name="connsiteX242" fmla="*/ 1517333 w 2242184"/>
                  <a:gd name="connsiteY242" fmla="*/ 385762 h 1686775"/>
                  <a:gd name="connsiteX243" fmla="*/ 1510665 w 2242184"/>
                  <a:gd name="connsiteY243" fmla="*/ 380048 h 1686775"/>
                  <a:gd name="connsiteX244" fmla="*/ 1500188 w 2242184"/>
                  <a:gd name="connsiteY244" fmla="*/ 369570 h 1686775"/>
                  <a:gd name="connsiteX245" fmla="*/ 1496378 w 2242184"/>
                  <a:gd name="connsiteY245" fmla="*/ 358140 h 1686775"/>
                  <a:gd name="connsiteX246" fmla="*/ 1492568 w 2242184"/>
                  <a:gd name="connsiteY246" fmla="*/ 342900 h 1686775"/>
                  <a:gd name="connsiteX247" fmla="*/ 1490663 w 2242184"/>
                  <a:gd name="connsiteY247" fmla="*/ 328612 h 1686775"/>
                  <a:gd name="connsiteX248" fmla="*/ 1470660 w 2242184"/>
                  <a:gd name="connsiteY248" fmla="*/ 323850 h 1686775"/>
                  <a:gd name="connsiteX249" fmla="*/ 1450658 w 2242184"/>
                  <a:gd name="connsiteY249" fmla="*/ 320993 h 1686775"/>
                  <a:gd name="connsiteX250" fmla="*/ 1442085 w 2242184"/>
                  <a:gd name="connsiteY250" fmla="*/ 316230 h 1686775"/>
                  <a:gd name="connsiteX251" fmla="*/ 1437323 w 2242184"/>
                  <a:gd name="connsiteY251" fmla="*/ 310515 h 1686775"/>
                  <a:gd name="connsiteX252" fmla="*/ 1410653 w 2242184"/>
                  <a:gd name="connsiteY252" fmla="*/ 304800 h 1686775"/>
                  <a:gd name="connsiteX253" fmla="*/ 1390650 w 2242184"/>
                  <a:gd name="connsiteY253" fmla="*/ 303848 h 1686775"/>
                  <a:gd name="connsiteX254" fmla="*/ 1380173 w 2242184"/>
                  <a:gd name="connsiteY254" fmla="*/ 296228 h 1686775"/>
                  <a:gd name="connsiteX255" fmla="*/ 1366838 w 2242184"/>
                  <a:gd name="connsiteY255" fmla="*/ 294323 h 1686775"/>
                  <a:gd name="connsiteX256" fmla="*/ 1353503 w 2242184"/>
                  <a:gd name="connsiteY256" fmla="*/ 292418 h 1686775"/>
                  <a:gd name="connsiteX257" fmla="*/ 1336358 w 2242184"/>
                  <a:gd name="connsiteY257" fmla="*/ 289560 h 1686775"/>
                  <a:gd name="connsiteX258" fmla="*/ 1323023 w 2242184"/>
                  <a:gd name="connsiteY258" fmla="*/ 287655 h 1686775"/>
                  <a:gd name="connsiteX259" fmla="*/ 1312545 w 2242184"/>
                  <a:gd name="connsiteY259" fmla="*/ 279083 h 1686775"/>
                  <a:gd name="connsiteX260" fmla="*/ 1308735 w 2242184"/>
                  <a:gd name="connsiteY260" fmla="*/ 270510 h 1686775"/>
                  <a:gd name="connsiteX261" fmla="*/ 1291590 w 2242184"/>
                  <a:gd name="connsiteY261" fmla="*/ 264795 h 1686775"/>
                  <a:gd name="connsiteX262" fmla="*/ 1278255 w 2242184"/>
                  <a:gd name="connsiteY262" fmla="*/ 260033 h 1686775"/>
                  <a:gd name="connsiteX263" fmla="*/ 1263015 w 2242184"/>
                  <a:gd name="connsiteY263" fmla="*/ 255270 h 1686775"/>
                  <a:gd name="connsiteX264" fmla="*/ 1267778 w 2242184"/>
                  <a:gd name="connsiteY264" fmla="*/ 243840 h 1686775"/>
                  <a:gd name="connsiteX265" fmla="*/ 1279208 w 2242184"/>
                  <a:gd name="connsiteY265" fmla="*/ 234315 h 1686775"/>
                  <a:gd name="connsiteX266" fmla="*/ 1290638 w 2242184"/>
                  <a:gd name="connsiteY266" fmla="*/ 228600 h 1686775"/>
                  <a:gd name="connsiteX267" fmla="*/ 1292543 w 2242184"/>
                  <a:gd name="connsiteY267" fmla="*/ 222885 h 1686775"/>
                  <a:gd name="connsiteX268" fmla="*/ 1299210 w 2242184"/>
                  <a:gd name="connsiteY268" fmla="*/ 216217 h 1686775"/>
                  <a:gd name="connsiteX269" fmla="*/ 1301115 w 2242184"/>
                  <a:gd name="connsiteY269" fmla="*/ 210503 h 1686775"/>
                  <a:gd name="connsiteX270" fmla="*/ 1307783 w 2242184"/>
                  <a:gd name="connsiteY270" fmla="*/ 209550 h 1686775"/>
                  <a:gd name="connsiteX271" fmla="*/ 1319213 w 2242184"/>
                  <a:gd name="connsiteY271" fmla="*/ 200025 h 1686775"/>
                  <a:gd name="connsiteX272" fmla="*/ 1327785 w 2242184"/>
                  <a:gd name="connsiteY272" fmla="*/ 193358 h 1686775"/>
                  <a:gd name="connsiteX273" fmla="*/ 1334453 w 2242184"/>
                  <a:gd name="connsiteY273" fmla="*/ 192405 h 1686775"/>
                  <a:gd name="connsiteX274" fmla="*/ 1343025 w 2242184"/>
                  <a:gd name="connsiteY274" fmla="*/ 192405 h 1686775"/>
                  <a:gd name="connsiteX275" fmla="*/ 1361123 w 2242184"/>
                  <a:gd name="connsiteY275" fmla="*/ 185737 h 1686775"/>
                  <a:gd name="connsiteX276" fmla="*/ 1369695 w 2242184"/>
                  <a:gd name="connsiteY276" fmla="*/ 180023 h 1686775"/>
                  <a:gd name="connsiteX277" fmla="*/ 1398270 w 2242184"/>
                  <a:gd name="connsiteY277" fmla="*/ 164783 h 1686775"/>
                  <a:gd name="connsiteX278" fmla="*/ 1403033 w 2242184"/>
                  <a:gd name="connsiteY278" fmla="*/ 158115 h 1686775"/>
                  <a:gd name="connsiteX279" fmla="*/ 1405890 w 2242184"/>
                  <a:gd name="connsiteY279" fmla="*/ 151448 h 1686775"/>
                  <a:gd name="connsiteX280" fmla="*/ 1412558 w 2242184"/>
                  <a:gd name="connsiteY280" fmla="*/ 142875 h 1686775"/>
                  <a:gd name="connsiteX281" fmla="*/ 1425893 w 2242184"/>
                  <a:gd name="connsiteY281" fmla="*/ 140017 h 1686775"/>
                  <a:gd name="connsiteX282" fmla="*/ 1434465 w 2242184"/>
                  <a:gd name="connsiteY282" fmla="*/ 139065 h 1686775"/>
                  <a:gd name="connsiteX283" fmla="*/ 1461135 w 2242184"/>
                  <a:gd name="connsiteY283" fmla="*/ 139065 h 1686775"/>
                  <a:gd name="connsiteX284" fmla="*/ 1483043 w 2242184"/>
                  <a:gd name="connsiteY284" fmla="*/ 135255 h 1686775"/>
                  <a:gd name="connsiteX285" fmla="*/ 1487805 w 2242184"/>
                  <a:gd name="connsiteY285" fmla="*/ 128587 h 1686775"/>
                  <a:gd name="connsiteX286" fmla="*/ 1490663 w 2242184"/>
                  <a:gd name="connsiteY286" fmla="*/ 120015 h 1686775"/>
                  <a:gd name="connsiteX287" fmla="*/ 1497330 w 2242184"/>
                  <a:gd name="connsiteY287" fmla="*/ 111442 h 1686775"/>
                  <a:gd name="connsiteX288" fmla="*/ 1500188 w 2242184"/>
                  <a:gd name="connsiteY288" fmla="*/ 102870 h 1686775"/>
                  <a:gd name="connsiteX289" fmla="*/ 1500188 w 2242184"/>
                  <a:gd name="connsiteY289" fmla="*/ 91440 h 1686775"/>
                  <a:gd name="connsiteX290" fmla="*/ 1486853 w 2242184"/>
                  <a:gd name="connsiteY290" fmla="*/ 82867 h 1686775"/>
                  <a:gd name="connsiteX291" fmla="*/ 1478280 w 2242184"/>
                  <a:gd name="connsiteY291" fmla="*/ 78105 h 1686775"/>
                  <a:gd name="connsiteX292" fmla="*/ 1506855 w 2242184"/>
                  <a:gd name="connsiteY292" fmla="*/ 75248 h 1686775"/>
                  <a:gd name="connsiteX293" fmla="*/ 1513523 w 2242184"/>
                  <a:gd name="connsiteY293" fmla="*/ 77153 h 1686775"/>
                  <a:gd name="connsiteX294" fmla="*/ 1531620 w 2242184"/>
                  <a:gd name="connsiteY294" fmla="*/ 77153 h 1686775"/>
                  <a:gd name="connsiteX295" fmla="*/ 1544955 w 2242184"/>
                  <a:gd name="connsiteY295" fmla="*/ 77153 h 1686775"/>
                  <a:gd name="connsiteX296" fmla="*/ 1560195 w 2242184"/>
                  <a:gd name="connsiteY296" fmla="*/ 80010 h 1686775"/>
                  <a:gd name="connsiteX297" fmla="*/ 1584008 w 2242184"/>
                  <a:gd name="connsiteY297" fmla="*/ 84773 h 1686775"/>
                  <a:gd name="connsiteX298" fmla="*/ 1594485 w 2242184"/>
                  <a:gd name="connsiteY298" fmla="*/ 87630 h 1686775"/>
                  <a:gd name="connsiteX299" fmla="*/ 1603058 w 2242184"/>
                  <a:gd name="connsiteY299" fmla="*/ 90487 h 1686775"/>
                  <a:gd name="connsiteX300" fmla="*/ 1633538 w 2242184"/>
                  <a:gd name="connsiteY300" fmla="*/ 100965 h 1686775"/>
                  <a:gd name="connsiteX301" fmla="*/ 1642110 w 2242184"/>
                  <a:gd name="connsiteY301" fmla="*/ 105728 h 1686775"/>
                  <a:gd name="connsiteX302" fmla="*/ 1645920 w 2242184"/>
                  <a:gd name="connsiteY302" fmla="*/ 112395 h 1686775"/>
                  <a:gd name="connsiteX303" fmla="*/ 1647825 w 2242184"/>
                  <a:gd name="connsiteY303" fmla="*/ 118110 h 1686775"/>
                  <a:gd name="connsiteX304" fmla="*/ 1643063 w 2242184"/>
                  <a:gd name="connsiteY304" fmla="*/ 126683 h 1686775"/>
                  <a:gd name="connsiteX305" fmla="*/ 1643063 w 2242184"/>
                  <a:gd name="connsiteY305" fmla="*/ 130492 h 1686775"/>
                  <a:gd name="connsiteX306" fmla="*/ 1629728 w 2242184"/>
                  <a:gd name="connsiteY306" fmla="*/ 141923 h 1686775"/>
                  <a:gd name="connsiteX307" fmla="*/ 1624965 w 2242184"/>
                  <a:gd name="connsiteY307" fmla="*/ 151448 h 1686775"/>
                  <a:gd name="connsiteX308" fmla="*/ 1626870 w 2242184"/>
                  <a:gd name="connsiteY308" fmla="*/ 160973 h 1686775"/>
                  <a:gd name="connsiteX309" fmla="*/ 1637348 w 2242184"/>
                  <a:gd name="connsiteY309" fmla="*/ 169545 h 1686775"/>
                  <a:gd name="connsiteX310" fmla="*/ 1647825 w 2242184"/>
                  <a:gd name="connsiteY310" fmla="*/ 177165 h 1686775"/>
                  <a:gd name="connsiteX311" fmla="*/ 1654493 w 2242184"/>
                  <a:gd name="connsiteY311" fmla="*/ 182880 h 1686775"/>
                  <a:gd name="connsiteX312" fmla="*/ 1664970 w 2242184"/>
                  <a:gd name="connsiteY312" fmla="*/ 190500 h 1686775"/>
                  <a:gd name="connsiteX313" fmla="*/ 1680210 w 2242184"/>
                  <a:gd name="connsiteY313" fmla="*/ 196215 h 1686775"/>
                  <a:gd name="connsiteX314" fmla="*/ 1704023 w 2242184"/>
                  <a:gd name="connsiteY314" fmla="*/ 206692 h 1686775"/>
                  <a:gd name="connsiteX315" fmla="*/ 1710690 w 2242184"/>
                  <a:gd name="connsiteY315" fmla="*/ 209550 h 1686775"/>
                  <a:gd name="connsiteX316" fmla="*/ 1727835 w 2242184"/>
                  <a:gd name="connsiteY316" fmla="*/ 215265 h 1686775"/>
                  <a:gd name="connsiteX317" fmla="*/ 1736408 w 2242184"/>
                  <a:gd name="connsiteY317" fmla="*/ 218123 h 1686775"/>
                  <a:gd name="connsiteX318" fmla="*/ 1751648 w 2242184"/>
                  <a:gd name="connsiteY318" fmla="*/ 217170 h 1686775"/>
                  <a:gd name="connsiteX319" fmla="*/ 1762125 w 2242184"/>
                  <a:gd name="connsiteY319" fmla="*/ 218123 h 1686775"/>
                  <a:gd name="connsiteX320" fmla="*/ 1760220 w 2242184"/>
                  <a:gd name="connsiteY320" fmla="*/ 209550 h 1686775"/>
                  <a:gd name="connsiteX321" fmla="*/ 1771650 w 2242184"/>
                  <a:gd name="connsiteY321" fmla="*/ 209550 h 1686775"/>
                  <a:gd name="connsiteX322" fmla="*/ 1789748 w 2242184"/>
                  <a:gd name="connsiteY322" fmla="*/ 207645 h 1686775"/>
                  <a:gd name="connsiteX323" fmla="*/ 1792605 w 2242184"/>
                  <a:gd name="connsiteY323" fmla="*/ 203835 h 1686775"/>
                  <a:gd name="connsiteX324" fmla="*/ 1794510 w 2242184"/>
                  <a:gd name="connsiteY324" fmla="*/ 198120 h 1686775"/>
                  <a:gd name="connsiteX325" fmla="*/ 1789748 w 2242184"/>
                  <a:gd name="connsiteY325" fmla="*/ 192405 h 1686775"/>
                  <a:gd name="connsiteX326" fmla="*/ 1784985 w 2242184"/>
                  <a:gd name="connsiteY326" fmla="*/ 187642 h 1686775"/>
                  <a:gd name="connsiteX327" fmla="*/ 1778318 w 2242184"/>
                  <a:gd name="connsiteY327" fmla="*/ 178117 h 1686775"/>
                  <a:gd name="connsiteX328" fmla="*/ 1771650 w 2242184"/>
                  <a:gd name="connsiteY328" fmla="*/ 169545 h 1686775"/>
                  <a:gd name="connsiteX329" fmla="*/ 1755458 w 2242184"/>
                  <a:gd name="connsiteY329" fmla="*/ 163830 h 1686775"/>
                  <a:gd name="connsiteX330" fmla="*/ 1749743 w 2242184"/>
                  <a:gd name="connsiteY330" fmla="*/ 155258 h 1686775"/>
                  <a:gd name="connsiteX331" fmla="*/ 1751648 w 2242184"/>
                  <a:gd name="connsiteY331" fmla="*/ 148590 h 1686775"/>
                  <a:gd name="connsiteX332" fmla="*/ 1764983 w 2242184"/>
                  <a:gd name="connsiteY332" fmla="*/ 149542 h 1686775"/>
                  <a:gd name="connsiteX333" fmla="*/ 1772603 w 2242184"/>
                  <a:gd name="connsiteY333" fmla="*/ 155258 h 1686775"/>
                  <a:gd name="connsiteX334" fmla="*/ 1781175 w 2242184"/>
                  <a:gd name="connsiteY334" fmla="*/ 158115 h 1686775"/>
                  <a:gd name="connsiteX335" fmla="*/ 1786890 w 2242184"/>
                  <a:gd name="connsiteY335" fmla="*/ 161925 h 1686775"/>
                  <a:gd name="connsiteX336" fmla="*/ 1798320 w 2242184"/>
                  <a:gd name="connsiteY336" fmla="*/ 164783 h 1686775"/>
                  <a:gd name="connsiteX337" fmla="*/ 1806893 w 2242184"/>
                  <a:gd name="connsiteY337" fmla="*/ 165735 h 1686775"/>
                  <a:gd name="connsiteX338" fmla="*/ 1814513 w 2242184"/>
                  <a:gd name="connsiteY338" fmla="*/ 160973 h 1686775"/>
                  <a:gd name="connsiteX339" fmla="*/ 1820228 w 2242184"/>
                  <a:gd name="connsiteY339" fmla="*/ 156210 h 1686775"/>
                  <a:gd name="connsiteX340" fmla="*/ 1834515 w 2242184"/>
                  <a:gd name="connsiteY340" fmla="*/ 156210 h 1686775"/>
                  <a:gd name="connsiteX341" fmla="*/ 1839278 w 2242184"/>
                  <a:gd name="connsiteY341" fmla="*/ 156210 h 1686775"/>
                  <a:gd name="connsiteX342" fmla="*/ 1846898 w 2242184"/>
                  <a:gd name="connsiteY342" fmla="*/ 150495 h 1686775"/>
                  <a:gd name="connsiteX343" fmla="*/ 1852613 w 2242184"/>
                  <a:gd name="connsiteY343" fmla="*/ 145733 h 1686775"/>
                  <a:gd name="connsiteX344" fmla="*/ 1854518 w 2242184"/>
                  <a:gd name="connsiteY344" fmla="*/ 140017 h 1686775"/>
                  <a:gd name="connsiteX345" fmla="*/ 1856423 w 2242184"/>
                  <a:gd name="connsiteY345" fmla="*/ 134303 h 1686775"/>
                  <a:gd name="connsiteX346" fmla="*/ 1856423 w 2242184"/>
                  <a:gd name="connsiteY346" fmla="*/ 130492 h 1686775"/>
                  <a:gd name="connsiteX347" fmla="*/ 1848803 w 2242184"/>
                  <a:gd name="connsiteY347" fmla="*/ 126683 h 1686775"/>
                  <a:gd name="connsiteX348" fmla="*/ 1837373 w 2242184"/>
                  <a:gd name="connsiteY348" fmla="*/ 123825 h 1686775"/>
                  <a:gd name="connsiteX349" fmla="*/ 1820228 w 2242184"/>
                  <a:gd name="connsiteY349" fmla="*/ 119062 h 1686775"/>
                  <a:gd name="connsiteX350" fmla="*/ 1805940 w 2242184"/>
                  <a:gd name="connsiteY350" fmla="*/ 111442 h 1686775"/>
                  <a:gd name="connsiteX351" fmla="*/ 1800225 w 2242184"/>
                  <a:gd name="connsiteY351" fmla="*/ 112395 h 1686775"/>
                  <a:gd name="connsiteX352" fmla="*/ 1788795 w 2242184"/>
                  <a:gd name="connsiteY352" fmla="*/ 111442 h 1686775"/>
                  <a:gd name="connsiteX353" fmla="*/ 1778318 w 2242184"/>
                  <a:gd name="connsiteY353" fmla="*/ 105728 h 1686775"/>
                  <a:gd name="connsiteX354" fmla="*/ 1772603 w 2242184"/>
                  <a:gd name="connsiteY354" fmla="*/ 101917 h 1686775"/>
                  <a:gd name="connsiteX355" fmla="*/ 1762125 w 2242184"/>
                  <a:gd name="connsiteY355" fmla="*/ 100965 h 1686775"/>
                  <a:gd name="connsiteX356" fmla="*/ 1750695 w 2242184"/>
                  <a:gd name="connsiteY356" fmla="*/ 96203 h 1686775"/>
                  <a:gd name="connsiteX357" fmla="*/ 1752600 w 2242184"/>
                  <a:gd name="connsiteY357" fmla="*/ 85725 h 1686775"/>
                  <a:gd name="connsiteX358" fmla="*/ 1751648 w 2242184"/>
                  <a:gd name="connsiteY358" fmla="*/ 79058 h 1686775"/>
                  <a:gd name="connsiteX359" fmla="*/ 1751648 w 2242184"/>
                  <a:gd name="connsiteY359" fmla="*/ 75248 h 1686775"/>
                  <a:gd name="connsiteX360" fmla="*/ 1745933 w 2242184"/>
                  <a:gd name="connsiteY360" fmla="*/ 67628 h 1686775"/>
                  <a:gd name="connsiteX361" fmla="*/ 1737360 w 2242184"/>
                  <a:gd name="connsiteY361" fmla="*/ 63817 h 1686775"/>
                  <a:gd name="connsiteX362" fmla="*/ 1725930 w 2242184"/>
                  <a:gd name="connsiteY362" fmla="*/ 62865 h 1686775"/>
                  <a:gd name="connsiteX363" fmla="*/ 1708785 w 2242184"/>
                  <a:gd name="connsiteY363" fmla="*/ 54292 h 1686775"/>
                  <a:gd name="connsiteX364" fmla="*/ 1700213 w 2242184"/>
                  <a:gd name="connsiteY364" fmla="*/ 51435 h 1686775"/>
                  <a:gd name="connsiteX365" fmla="*/ 1676400 w 2242184"/>
                  <a:gd name="connsiteY365" fmla="*/ 46672 h 1686775"/>
                  <a:gd name="connsiteX366" fmla="*/ 1664970 w 2242184"/>
                  <a:gd name="connsiteY366" fmla="*/ 43815 h 1686775"/>
                  <a:gd name="connsiteX367" fmla="*/ 1650683 w 2242184"/>
                  <a:gd name="connsiteY367" fmla="*/ 42863 h 1686775"/>
                  <a:gd name="connsiteX368" fmla="*/ 1628775 w 2242184"/>
                  <a:gd name="connsiteY368" fmla="*/ 31432 h 1686775"/>
                  <a:gd name="connsiteX369" fmla="*/ 1612583 w 2242184"/>
                  <a:gd name="connsiteY369" fmla="*/ 22860 h 1686775"/>
                  <a:gd name="connsiteX370" fmla="*/ 1604010 w 2242184"/>
                  <a:gd name="connsiteY370" fmla="*/ 14288 h 1686775"/>
                  <a:gd name="connsiteX371" fmla="*/ 1590675 w 2242184"/>
                  <a:gd name="connsiteY371" fmla="*/ 15240 h 1686775"/>
                  <a:gd name="connsiteX372" fmla="*/ 1583055 w 2242184"/>
                  <a:gd name="connsiteY372" fmla="*/ 13335 h 1686775"/>
                  <a:gd name="connsiteX373" fmla="*/ 1561148 w 2242184"/>
                  <a:gd name="connsiteY373" fmla="*/ 17145 h 1686775"/>
                  <a:gd name="connsiteX374" fmla="*/ 1553528 w 2242184"/>
                  <a:gd name="connsiteY374" fmla="*/ 25717 h 1686775"/>
                  <a:gd name="connsiteX375" fmla="*/ 1544955 w 2242184"/>
                  <a:gd name="connsiteY375" fmla="*/ 24765 h 1686775"/>
                  <a:gd name="connsiteX376" fmla="*/ 1534478 w 2242184"/>
                  <a:gd name="connsiteY376" fmla="*/ 18097 h 1686775"/>
                  <a:gd name="connsiteX377" fmla="*/ 1524000 w 2242184"/>
                  <a:gd name="connsiteY377" fmla="*/ 11430 h 1686775"/>
                  <a:gd name="connsiteX378" fmla="*/ 1503998 w 2242184"/>
                  <a:gd name="connsiteY378" fmla="*/ 4763 h 1686775"/>
                  <a:gd name="connsiteX379" fmla="*/ 1495425 w 2242184"/>
                  <a:gd name="connsiteY379" fmla="*/ 1905 h 1686775"/>
                  <a:gd name="connsiteX380" fmla="*/ 1474470 w 2242184"/>
                  <a:gd name="connsiteY380" fmla="*/ 1905 h 1686775"/>
                  <a:gd name="connsiteX381" fmla="*/ 1468755 w 2242184"/>
                  <a:gd name="connsiteY381" fmla="*/ 1905 h 1686775"/>
                  <a:gd name="connsiteX382" fmla="*/ 1463993 w 2242184"/>
                  <a:gd name="connsiteY382" fmla="*/ 5715 h 1686775"/>
                  <a:gd name="connsiteX383" fmla="*/ 1458278 w 2242184"/>
                  <a:gd name="connsiteY383" fmla="*/ 8572 h 1686775"/>
                  <a:gd name="connsiteX384" fmla="*/ 1449705 w 2242184"/>
                  <a:gd name="connsiteY384" fmla="*/ 11430 h 1686775"/>
                  <a:gd name="connsiteX385" fmla="*/ 1444943 w 2242184"/>
                  <a:gd name="connsiteY385" fmla="*/ 17145 h 1686775"/>
                  <a:gd name="connsiteX386" fmla="*/ 1442085 w 2242184"/>
                  <a:gd name="connsiteY386" fmla="*/ 24765 h 1686775"/>
                  <a:gd name="connsiteX387" fmla="*/ 1443038 w 2242184"/>
                  <a:gd name="connsiteY387" fmla="*/ 28575 h 1686775"/>
                  <a:gd name="connsiteX388" fmla="*/ 1434465 w 2242184"/>
                  <a:gd name="connsiteY388" fmla="*/ 33338 h 1686775"/>
                  <a:gd name="connsiteX389" fmla="*/ 1425893 w 2242184"/>
                  <a:gd name="connsiteY389" fmla="*/ 31432 h 1686775"/>
                  <a:gd name="connsiteX390" fmla="*/ 1423035 w 2242184"/>
                  <a:gd name="connsiteY390" fmla="*/ 23813 h 1686775"/>
                  <a:gd name="connsiteX391" fmla="*/ 1425893 w 2242184"/>
                  <a:gd name="connsiteY391" fmla="*/ 19050 h 1686775"/>
                  <a:gd name="connsiteX392" fmla="*/ 1430655 w 2242184"/>
                  <a:gd name="connsiteY392" fmla="*/ 13335 h 1686775"/>
                  <a:gd name="connsiteX393" fmla="*/ 1432560 w 2242184"/>
                  <a:gd name="connsiteY393" fmla="*/ 7620 h 1686775"/>
                  <a:gd name="connsiteX394" fmla="*/ 1432560 w 2242184"/>
                  <a:gd name="connsiteY394" fmla="*/ 3810 h 1686775"/>
                  <a:gd name="connsiteX395" fmla="*/ 1415415 w 2242184"/>
                  <a:gd name="connsiteY395" fmla="*/ 953 h 1686775"/>
                  <a:gd name="connsiteX396" fmla="*/ 1402080 w 2242184"/>
                  <a:gd name="connsiteY396" fmla="*/ 0 h 1686775"/>
                  <a:gd name="connsiteX397" fmla="*/ 1380173 w 2242184"/>
                  <a:gd name="connsiteY397" fmla="*/ 6667 h 1686775"/>
                  <a:gd name="connsiteX398" fmla="*/ 1369695 w 2242184"/>
                  <a:gd name="connsiteY398" fmla="*/ 15240 h 1686775"/>
                  <a:gd name="connsiteX399" fmla="*/ 1369695 w 2242184"/>
                  <a:gd name="connsiteY399" fmla="*/ 18097 h 1686775"/>
                  <a:gd name="connsiteX400" fmla="*/ 1366838 w 2242184"/>
                  <a:gd name="connsiteY400" fmla="*/ 30480 h 1686775"/>
                  <a:gd name="connsiteX401" fmla="*/ 1366838 w 2242184"/>
                  <a:gd name="connsiteY401" fmla="*/ 40957 h 1686775"/>
                  <a:gd name="connsiteX402" fmla="*/ 1374458 w 2242184"/>
                  <a:gd name="connsiteY402" fmla="*/ 48578 h 1686775"/>
                  <a:gd name="connsiteX403" fmla="*/ 1382078 w 2242184"/>
                  <a:gd name="connsiteY403" fmla="*/ 55245 h 1686775"/>
                  <a:gd name="connsiteX404" fmla="*/ 1390650 w 2242184"/>
                  <a:gd name="connsiteY404" fmla="*/ 60960 h 1686775"/>
                  <a:gd name="connsiteX405" fmla="*/ 1407795 w 2242184"/>
                  <a:gd name="connsiteY405" fmla="*/ 65723 h 1686775"/>
                  <a:gd name="connsiteX406" fmla="*/ 1415415 w 2242184"/>
                  <a:gd name="connsiteY406" fmla="*/ 69533 h 1686775"/>
                  <a:gd name="connsiteX407" fmla="*/ 1418273 w 2242184"/>
                  <a:gd name="connsiteY407" fmla="*/ 72390 h 1686775"/>
                  <a:gd name="connsiteX408" fmla="*/ 1432560 w 2242184"/>
                  <a:gd name="connsiteY408" fmla="*/ 76200 h 1686775"/>
                  <a:gd name="connsiteX409" fmla="*/ 1443990 w 2242184"/>
                  <a:gd name="connsiteY409" fmla="*/ 80962 h 1686775"/>
                  <a:gd name="connsiteX410" fmla="*/ 1446848 w 2242184"/>
                  <a:gd name="connsiteY410" fmla="*/ 87630 h 1686775"/>
                  <a:gd name="connsiteX411" fmla="*/ 1441133 w 2242184"/>
                  <a:gd name="connsiteY411" fmla="*/ 95250 h 1686775"/>
                  <a:gd name="connsiteX412" fmla="*/ 1441133 w 2242184"/>
                  <a:gd name="connsiteY412" fmla="*/ 98108 h 1686775"/>
                  <a:gd name="connsiteX413" fmla="*/ 1429703 w 2242184"/>
                  <a:gd name="connsiteY413" fmla="*/ 104775 h 1686775"/>
                  <a:gd name="connsiteX414" fmla="*/ 1419225 w 2242184"/>
                  <a:gd name="connsiteY414" fmla="*/ 110490 h 1686775"/>
                  <a:gd name="connsiteX415" fmla="*/ 1417320 w 2242184"/>
                  <a:gd name="connsiteY415" fmla="*/ 116205 h 1686775"/>
                  <a:gd name="connsiteX416" fmla="*/ 1403033 w 2242184"/>
                  <a:gd name="connsiteY416" fmla="*/ 120015 h 1686775"/>
                  <a:gd name="connsiteX417" fmla="*/ 1397318 w 2242184"/>
                  <a:gd name="connsiteY417" fmla="*/ 116205 h 1686775"/>
                  <a:gd name="connsiteX418" fmla="*/ 1397318 w 2242184"/>
                  <a:gd name="connsiteY418" fmla="*/ 107633 h 1686775"/>
                  <a:gd name="connsiteX419" fmla="*/ 1397318 w 2242184"/>
                  <a:gd name="connsiteY419" fmla="*/ 101917 h 1686775"/>
                  <a:gd name="connsiteX420" fmla="*/ 1396365 w 2242184"/>
                  <a:gd name="connsiteY420" fmla="*/ 95250 h 1686775"/>
                  <a:gd name="connsiteX421" fmla="*/ 1393508 w 2242184"/>
                  <a:gd name="connsiteY421" fmla="*/ 90487 h 1686775"/>
                  <a:gd name="connsiteX422" fmla="*/ 1384935 w 2242184"/>
                  <a:gd name="connsiteY422" fmla="*/ 88583 h 1686775"/>
                  <a:gd name="connsiteX423" fmla="*/ 1376363 w 2242184"/>
                  <a:gd name="connsiteY423" fmla="*/ 88583 h 1686775"/>
                  <a:gd name="connsiteX424" fmla="*/ 1364933 w 2242184"/>
                  <a:gd name="connsiteY424" fmla="*/ 88583 h 1686775"/>
                  <a:gd name="connsiteX425" fmla="*/ 1354455 w 2242184"/>
                  <a:gd name="connsiteY425" fmla="*/ 84773 h 1686775"/>
                  <a:gd name="connsiteX426" fmla="*/ 1354455 w 2242184"/>
                  <a:gd name="connsiteY426" fmla="*/ 81915 h 1686775"/>
                  <a:gd name="connsiteX427" fmla="*/ 1341120 w 2242184"/>
                  <a:gd name="connsiteY427" fmla="*/ 76200 h 1686775"/>
                  <a:gd name="connsiteX428" fmla="*/ 1324928 w 2242184"/>
                  <a:gd name="connsiteY428" fmla="*/ 74295 h 1686775"/>
                  <a:gd name="connsiteX429" fmla="*/ 1319213 w 2242184"/>
                  <a:gd name="connsiteY429" fmla="*/ 73342 h 1686775"/>
                  <a:gd name="connsiteX430" fmla="*/ 1318260 w 2242184"/>
                  <a:gd name="connsiteY430" fmla="*/ 60960 h 1686775"/>
                  <a:gd name="connsiteX431" fmla="*/ 1315403 w 2242184"/>
                  <a:gd name="connsiteY431" fmla="*/ 53340 h 1686775"/>
                  <a:gd name="connsiteX432" fmla="*/ 1309688 w 2242184"/>
                  <a:gd name="connsiteY432" fmla="*/ 45720 h 1686775"/>
                  <a:gd name="connsiteX433" fmla="*/ 1304925 w 2242184"/>
                  <a:gd name="connsiteY433" fmla="*/ 41910 h 1686775"/>
                  <a:gd name="connsiteX434" fmla="*/ 1299210 w 2242184"/>
                  <a:gd name="connsiteY434" fmla="*/ 40005 h 1686775"/>
                  <a:gd name="connsiteX435" fmla="*/ 1274445 w 2242184"/>
                  <a:gd name="connsiteY435" fmla="*/ 35242 h 1686775"/>
                  <a:gd name="connsiteX436" fmla="*/ 1266825 w 2242184"/>
                  <a:gd name="connsiteY436" fmla="*/ 39053 h 1686775"/>
                  <a:gd name="connsiteX437" fmla="*/ 1259205 w 2242184"/>
                  <a:gd name="connsiteY437" fmla="*/ 44767 h 1686775"/>
                  <a:gd name="connsiteX438" fmla="*/ 1247775 w 2242184"/>
                  <a:gd name="connsiteY438" fmla="*/ 48578 h 1686775"/>
                  <a:gd name="connsiteX439" fmla="*/ 1247775 w 2242184"/>
                  <a:gd name="connsiteY439" fmla="*/ 56197 h 1686775"/>
                  <a:gd name="connsiteX440" fmla="*/ 1253490 w 2242184"/>
                  <a:gd name="connsiteY440" fmla="*/ 66675 h 1686775"/>
                  <a:gd name="connsiteX441" fmla="*/ 1258253 w 2242184"/>
                  <a:gd name="connsiteY441" fmla="*/ 72390 h 1686775"/>
                  <a:gd name="connsiteX442" fmla="*/ 1263968 w 2242184"/>
                  <a:gd name="connsiteY442" fmla="*/ 77153 h 1686775"/>
                  <a:gd name="connsiteX443" fmla="*/ 1272540 w 2242184"/>
                  <a:gd name="connsiteY443" fmla="*/ 80962 h 1686775"/>
                  <a:gd name="connsiteX444" fmla="*/ 1280160 w 2242184"/>
                  <a:gd name="connsiteY444" fmla="*/ 83820 h 1686775"/>
                  <a:gd name="connsiteX445" fmla="*/ 1287780 w 2242184"/>
                  <a:gd name="connsiteY445" fmla="*/ 89535 h 1686775"/>
                  <a:gd name="connsiteX446" fmla="*/ 1291590 w 2242184"/>
                  <a:gd name="connsiteY446" fmla="*/ 97155 h 1686775"/>
                  <a:gd name="connsiteX447" fmla="*/ 1285875 w 2242184"/>
                  <a:gd name="connsiteY447" fmla="*/ 108585 h 1686775"/>
                  <a:gd name="connsiteX448" fmla="*/ 1271588 w 2242184"/>
                  <a:gd name="connsiteY448" fmla="*/ 109537 h 1686775"/>
                  <a:gd name="connsiteX449" fmla="*/ 1255395 w 2242184"/>
                  <a:gd name="connsiteY449" fmla="*/ 109537 h 1686775"/>
                  <a:gd name="connsiteX450" fmla="*/ 1249680 w 2242184"/>
                  <a:gd name="connsiteY450" fmla="*/ 101917 h 1686775"/>
                  <a:gd name="connsiteX451" fmla="*/ 1251585 w 2242184"/>
                  <a:gd name="connsiteY451" fmla="*/ 94298 h 1686775"/>
                  <a:gd name="connsiteX452" fmla="*/ 1254443 w 2242184"/>
                  <a:gd name="connsiteY452" fmla="*/ 89535 h 1686775"/>
                  <a:gd name="connsiteX453" fmla="*/ 1243965 w 2242184"/>
                  <a:gd name="connsiteY453" fmla="*/ 81915 h 1686775"/>
                  <a:gd name="connsiteX454" fmla="*/ 1230630 w 2242184"/>
                  <a:gd name="connsiteY454" fmla="*/ 79058 h 1686775"/>
                  <a:gd name="connsiteX455" fmla="*/ 1203008 w 2242184"/>
                  <a:gd name="connsiteY455" fmla="*/ 78105 h 1686775"/>
                  <a:gd name="connsiteX456" fmla="*/ 1203008 w 2242184"/>
                  <a:gd name="connsiteY456" fmla="*/ 84773 h 1686775"/>
                  <a:gd name="connsiteX457" fmla="*/ 1214438 w 2242184"/>
                  <a:gd name="connsiteY457" fmla="*/ 90487 h 1686775"/>
                  <a:gd name="connsiteX458" fmla="*/ 1221105 w 2242184"/>
                  <a:gd name="connsiteY458" fmla="*/ 100965 h 1686775"/>
                  <a:gd name="connsiteX459" fmla="*/ 1212533 w 2242184"/>
                  <a:gd name="connsiteY459" fmla="*/ 103823 h 1686775"/>
                  <a:gd name="connsiteX460" fmla="*/ 1190625 w 2242184"/>
                  <a:gd name="connsiteY460" fmla="*/ 105728 h 1686775"/>
                  <a:gd name="connsiteX461" fmla="*/ 1163003 w 2242184"/>
                  <a:gd name="connsiteY461" fmla="*/ 107633 h 1686775"/>
                  <a:gd name="connsiteX462" fmla="*/ 1130618 w 2242184"/>
                  <a:gd name="connsiteY462" fmla="*/ 108585 h 1686775"/>
                  <a:gd name="connsiteX463" fmla="*/ 1111568 w 2242184"/>
                  <a:gd name="connsiteY463" fmla="*/ 109537 h 1686775"/>
                  <a:gd name="connsiteX464" fmla="*/ 1084898 w 2242184"/>
                  <a:gd name="connsiteY464" fmla="*/ 110490 h 1686775"/>
                  <a:gd name="connsiteX465" fmla="*/ 1076325 w 2242184"/>
                  <a:gd name="connsiteY465" fmla="*/ 110490 h 1686775"/>
                  <a:gd name="connsiteX466" fmla="*/ 1054418 w 2242184"/>
                  <a:gd name="connsiteY466" fmla="*/ 106680 h 1686775"/>
                  <a:gd name="connsiteX467" fmla="*/ 1051560 w 2242184"/>
                  <a:gd name="connsiteY467" fmla="*/ 112395 h 1686775"/>
                  <a:gd name="connsiteX468" fmla="*/ 1041083 w 2242184"/>
                  <a:gd name="connsiteY468" fmla="*/ 118110 h 1686775"/>
                  <a:gd name="connsiteX469" fmla="*/ 1032510 w 2242184"/>
                  <a:gd name="connsiteY469" fmla="*/ 116205 h 1686775"/>
                  <a:gd name="connsiteX470" fmla="*/ 1024890 w 2242184"/>
                  <a:gd name="connsiteY470" fmla="*/ 116205 h 1686775"/>
                  <a:gd name="connsiteX471" fmla="*/ 1013460 w 2242184"/>
                  <a:gd name="connsiteY471" fmla="*/ 114300 h 1686775"/>
                  <a:gd name="connsiteX472" fmla="*/ 1008698 w 2242184"/>
                  <a:gd name="connsiteY472" fmla="*/ 115253 h 1686775"/>
                  <a:gd name="connsiteX473" fmla="*/ 975360 w 2242184"/>
                  <a:gd name="connsiteY473" fmla="*/ 113348 h 1686775"/>
                  <a:gd name="connsiteX474" fmla="*/ 942975 w 2242184"/>
                  <a:gd name="connsiteY474" fmla="*/ 104775 h 1686775"/>
                  <a:gd name="connsiteX475" fmla="*/ 935355 w 2242184"/>
                  <a:gd name="connsiteY475" fmla="*/ 101917 h 1686775"/>
                  <a:gd name="connsiteX476" fmla="*/ 929640 w 2242184"/>
                  <a:gd name="connsiteY476" fmla="*/ 99060 h 1686775"/>
                  <a:gd name="connsiteX477" fmla="*/ 921068 w 2242184"/>
                  <a:gd name="connsiteY477" fmla="*/ 92392 h 1686775"/>
                  <a:gd name="connsiteX478" fmla="*/ 918210 w 2242184"/>
                  <a:gd name="connsiteY478" fmla="*/ 86678 h 1686775"/>
                  <a:gd name="connsiteX479" fmla="*/ 910590 w 2242184"/>
                  <a:gd name="connsiteY479" fmla="*/ 85725 h 1686775"/>
                  <a:gd name="connsiteX480" fmla="*/ 896303 w 2242184"/>
                  <a:gd name="connsiteY480" fmla="*/ 84773 h 1686775"/>
                  <a:gd name="connsiteX481" fmla="*/ 884873 w 2242184"/>
                  <a:gd name="connsiteY481" fmla="*/ 84773 h 1686775"/>
                  <a:gd name="connsiteX482" fmla="*/ 868680 w 2242184"/>
                  <a:gd name="connsiteY482" fmla="*/ 84773 h 1686775"/>
                  <a:gd name="connsiteX483" fmla="*/ 857250 w 2242184"/>
                  <a:gd name="connsiteY483" fmla="*/ 81915 h 1686775"/>
                  <a:gd name="connsiteX484" fmla="*/ 849630 w 2242184"/>
                  <a:gd name="connsiteY484" fmla="*/ 80010 h 1686775"/>
                  <a:gd name="connsiteX485" fmla="*/ 836295 w 2242184"/>
                  <a:gd name="connsiteY485" fmla="*/ 73342 h 1686775"/>
                  <a:gd name="connsiteX486" fmla="*/ 825818 w 2242184"/>
                  <a:gd name="connsiteY486" fmla="*/ 70485 h 1686775"/>
                  <a:gd name="connsiteX487" fmla="*/ 815340 w 2242184"/>
                  <a:gd name="connsiteY487" fmla="*/ 70485 h 1686775"/>
                  <a:gd name="connsiteX488" fmla="*/ 803910 w 2242184"/>
                  <a:gd name="connsiteY488" fmla="*/ 70485 h 1686775"/>
                  <a:gd name="connsiteX489" fmla="*/ 792480 w 2242184"/>
                  <a:gd name="connsiteY489" fmla="*/ 70485 h 1686775"/>
                  <a:gd name="connsiteX490" fmla="*/ 786765 w 2242184"/>
                  <a:gd name="connsiteY490" fmla="*/ 71437 h 1686775"/>
                  <a:gd name="connsiteX491" fmla="*/ 770573 w 2242184"/>
                  <a:gd name="connsiteY491" fmla="*/ 72390 h 1686775"/>
                  <a:gd name="connsiteX492" fmla="*/ 754380 w 2242184"/>
                  <a:gd name="connsiteY492" fmla="*/ 72390 h 1686775"/>
                  <a:gd name="connsiteX493" fmla="*/ 731520 w 2242184"/>
                  <a:gd name="connsiteY493" fmla="*/ 63817 h 1686775"/>
                  <a:gd name="connsiteX494" fmla="*/ 714375 w 2242184"/>
                  <a:gd name="connsiteY494" fmla="*/ 59055 h 1686775"/>
                  <a:gd name="connsiteX495" fmla="*/ 703898 w 2242184"/>
                  <a:gd name="connsiteY495" fmla="*/ 59055 h 1686775"/>
                  <a:gd name="connsiteX496" fmla="*/ 679133 w 2242184"/>
                  <a:gd name="connsiteY496" fmla="*/ 61913 h 1686775"/>
                  <a:gd name="connsiteX497" fmla="*/ 673418 w 2242184"/>
                  <a:gd name="connsiteY497" fmla="*/ 62865 h 1686775"/>
                  <a:gd name="connsiteX498" fmla="*/ 665798 w 2242184"/>
                  <a:gd name="connsiteY498" fmla="*/ 64770 h 1686775"/>
                  <a:gd name="connsiteX499" fmla="*/ 655320 w 2242184"/>
                  <a:gd name="connsiteY499" fmla="*/ 67628 h 1686775"/>
                  <a:gd name="connsiteX500" fmla="*/ 641033 w 2242184"/>
                  <a:gd name="connsiteY500" fmla="*/ 68580 h 1686775"/>
                  <a:gd name="connsiteX501" fmla="*/ 635318 w 2242184"/>
                  <a:gd name="connsiteY501" fmla="*/ 67628 h 1686775"/>
                  <a:gd name="connsiteX502" fmla="*/ 624840 w 2242184"/>
                  <a:gd name="connsiteY502" fmla="*/ 67628 h 1686775"/>
                  <a:gd name="connsiteX503" fmla="*/ 617220 w 2242184"/>
                  <a:gd name="connsiteY503" fmla="*/ 70485 h 1686775"/>
                  <a:gd name="connsiteX504" fmla="*/ 608648 w 2242184"/>
                  <a:gd name="connsiteY504" fmla="*/ 74295 h 1686775"/>
                  <a:gd name="connsiteX505" fmla="*/ 598170 w 2242184"/>
                  <a:gd name="connsiteY505" fmla="*/ 77153 h 1686775"/>
                  <a:gd name="connsiteX506" fmla="*/ 583883 w 2242184"/>
                  <a:gd name="connsiteY506" fmla="*/ 74295 h 1686775"/>
                  <a:gd name="connsiteX507" fmla="*/ 567690 w 2242184"/>
                  <a:gd name="connsiteY507" fmla="*/ 75248 h 1686775"/>
                  <a:gd name="connsiteX508" fmla="*/ 554355 w 2242184"/>
                  <a:gd name="connsiteY508" fmla="*/ 78105 h 1686775"/>
                  <a:gd name="connsiteX509" fmla="*/ 535305 w 2242184"/>
                  <a:gd name="connsiteY509" fmla="*/ 80962 h 1686775"/>
                  <a:gd name="connsiteX510" fmla="*/ 524828 w 2242184"/>
                  <a:gd name="connsiteY510" fmla="*/ 80010 h 1686775"/>
                  <a:gd name="connsiteX511" fmla="*/ 513398 w 2242184"/>
                  <a:gd name="connsiteY511" fmla="*/ 76200 h 1686775"/>
                  <a:gd name="connsiteX512" fmla="*/ 502920 w 2242184"/>
                  <a:gd name="connsiteY512" fmla="*/ 73342 h 1686775"/>
                  <a:gd name="connsiteX513" fmla="*/ 495300 w 2242184"/>
                  <a:gd name="connsiteY513" fmla="*/ 69533 h 1686775"/>
                  <a:gd name="connsiteX514" fmla="*/ 481965 w 2242184"/>
                  <a:gd name="connsiteY514" fmla="*/ 65723 h 1686775"/>
                  <a:gd name="connsiteX515" fmla="*/ 451485 w 2242184"/>
                  <a:gd name="connsiteY515" fmla="*/ 62865 h 1686775"/>
                  <a:gd name="connsiteX516" fmla="*/ 437198 w 2242184"/>
                  <a:gd name="connsiteY516" fmla="*/ 62865 h 1686775"/>
                  <a:gd name="connsiteX517" fmla="*/ 406718 w 2242184"/>
                  <a:gd name="connsiteY517" fmla="*/ 61913 h 1686775"/>
                  <a:gd name="connsiteX518" fmla="*/ 385763 w 2242184"/>
                  <a:gd name="connsiteY518" fmla="*/ 60960 h 1686775"/>
                  <a:gd name="connsiteX519" fmla="*/ 364808 w 2242184"/>
                  <a:gd name="connsiteY519" fmla="*/ 59055 h 1686775"/>
                  <a:gd name="connsiteX520" fmla="*/ 352425 w 2242184"/>
                  <a:gd name="connsiteY520" fmla="*/ 55245 h 1686775"/>
                  <a:gd name="connsiteX521" fmla="*/ 339090 w 2242184"/>
                  <a:gd name="connsiteY521" fmla="*/ 55245 h 1686775"/>
                  <a:gd name="connsiteX522" fmla="*/ 317183 w 2242184"/>
                  <a:gd name="connsiteY522" fmla="*/ 54292 h 1686775"/>
                  <a:gd name="connsiteX523" fmla="*/ 290513 w 2242184"/>
                  <a:gd name="connsiteY523" fmla="*/ 51435 h 1686775"/>
                  <a:gd name="connsiteX524" fmla="*/ 279083 w 2242184"/>
                  <a:gd name="connsiteY524" fmla="*/ 46672 h 1686775"/>
                  <a:gd name="connsiteX525" fmla="*/ 261938 w 2242184"/>
                  <a:gd name="connsiteY525" fmla="*/ 44767 h 1686775"/>
                  <a:gd name="connsiteX526" fmla="*/ 251460 w 2242184"/>
                  <a:gd name="connsiteY526" fmla="*/ 44767 h 1686775"/>
                  <a:gd name="connsiteX527" fmla="*/ 237173 w 2242184"/>
                  <a:gd name="connsiteY527" fmla="*/ 40005 h 1686775"/>
                  <a:gd name="connsiteX528" fmla="*/ 226695 w 2242184"/>
                  <a:gd name="connsiteY528" fmla="*/ 36195 h 1686775"/>
                  <a:gd name="connsiteX529" fmla="*/ 191453 w 2242184"/>
                  <a:gd name="connsiteY529" fmla="*/ 35242 h 1686775"/>
                  <a:gd name="connsiteX530" fmla="*/ 166688 w 2242184"/>
                  <a:gd name="connsiteY530" fmla="*/ 38100 h 1686775"/>
                  <a:gd name="connsiteX531" fmla="*/ 153353 w 2242184"/>
                  <a:gd name="connsiteY531" fmla="*/ 43815 h 1686775"/>
                  <a:gd name="connsiteX532" fmla="*/ 145733 w 2242184"/>
                  <a:gd name="connsiteY532" fmla="*/ 46672 h 1686775"/>
                  <a:gd name="connsiteX533" fmla="*/ 123825 w 2242184"/>
                  <a:gd name="connsiteY533" fmla="*/ 48578 h 1686775"/>
                  <a:gd name="connsiteX534" fmla="*/ 113348 w 2242184"/>
                  <a:gd name="connsiteY534" fmla="*/ 53340 h 1686775"/>
                  <a:gd name="connsiteX535" fmla="*/ 104775 w 2242184"/>
                  <a:gd name="connsiteY535" fmla="*/ 60960 h 1686775"/>
                  <a:gd name="connsiteX536" fmla="*/ 97155 w 2242184"/>
                  <a:gd name="connsiteY536" fmla="*/ 61913 h 1686775"/>
                  <a:gd name="connsiteX537" fmla="*/ 97155 w 2242184"/>
                  <a:gd name="connsiteY537" fmla="*/ 65723 h 1686775"/>
                  <a:gd name="connsiteX538" fmla="*/ 80963 w 2242184"/>
                  <a:gd name="connsiteY538" fmla="*/ 76200 h 1686775"/>
                  <a:gd name="connsiteX539" fmla="*/ 64770 w 2242184"/>
                  <a:gd name="connsiteY539" fmla="*/ 80962 h 1686775"/>
                  <a:gd name="connsiteX540" fmla="*/ 59055 w 2242184"/>
                  <a:gd name="connsiteY540" fmla="*/ 84773 h 1686775"/>
                  <a:gd name="connsiteX541" fmla="*/ 62865 w 2242184"/>
                  <a:gd name="connsiteY541" fmla="*/ 89535 h 1686775"/>
                  <a:gd name="connsiteX542" fmla="*/ 62865 w 2242184"/>
                  <a:gd name="connsiteY542" fmla="*/ 94298 h 1686775"/>
                  <a:gd name="connsiteX543" fmla="*/ 74295 w 2242184"/>
                  <a:gd name="connsiteY543" fmla="*/ 99060 h 1686775"/>
                  <a:gd name="connsiteX544" fmla="*/ 91440 w 2242184"/>
                  <a:gd name="connsiteY544" fmla="*/ 107633 h 1686775"/>
                  <a:gd name="connsiteX545" fmla="*/ 96203 w 2242184"/>
                  <a:gd name="connsiteY545" fmla="*/ 110490 h 1686775"/>
                  <a:gd name="connsiteX546" fmla="*/ 113348 w 2242184"/>
                  <a:gd name="connsiteY546" fmla="*/ 120015 h 1686775"/>
                  <a:gd name="connsiteX547" fmla="*/ 116205 w 2242184"/>
                  <a:gd name="connsiteY547" fmla="*/ 122873 h 1686775"/>
                  <a:gd name="connsiteX548" fmla="*/ 104775 w 2242184"/>
                  <a:gd name="connsiteY548" fmla="*/ 125730 h 1686775"/>
                  <a:gd name="connsiteX549" fmla="*/ 91440 w 2242184"/>
                  <a:gd name="connsiteY549" fmla="*/ 126683 h 1686775"/>
                  <a:gd name="connsiteX550" fmla="*/ 78105 w 2242184"/>
                  <a:gd name="connsiteY550" fmla="*/ 125730 h 1686775"/>
                  <a:gd name="connsiteX551" fmla="*/ 59055 w 2242184"/>
                  <a:gd name="connsiteY551" fmla="*/ 125730 h 1686775"/>
                  <a:gd name="connsiteX552" fmla="*/ 48578 w 2242184"/>
                  <a:gd name="connsiteY552" fmla="*/ 127635 h 1686775"/>
                  <a:gd name="connsiteX553" fmla="*/ 21908 w 2242184"/>
                  <a:gd name="connsiteY553" fmla="*/ 129540 h 1686775"/>
                  <a:gd name="connsiteX554" fmla="*/ 20003 w 2242184"/>
                  <a:gd name="connsiteY554" fmla="*/ 136208 h 1686775"/>
                  <a:gd name="connsiteX555" fmla="*/ 22860 w 2242184"/>
                  <a:gd name="connsiteY555" fmla="*/ 147637 h 1686775"/>
                  <a:gd name="connsiteX556" fmla="*/ 33338 w 2242184"/>
                  <a:gd name="connsiteY556" fmla="*/ 157162 h 1686775"/>
                  <a:gd name="connsiteX557" fmla="*/ 38100 w 2242184"/>
                  <a:gd name="connsiteY557" fmla="*/ 159067 h 1686775"/>
                  <a:gd name="connsiteX558" fmla="*/ 56198 w 2242184"/>
                  <a:gd name="connsiteY558" fmla="*/ 159067 h 1686775"/>
                  <a:gd name="connsiteX559" fmla="*/ 67628 w 2242184"/>
                  <a:gd name="connsiteY559" fmla="*/ 159067 h 1686775"/>
                  <a:gd name="connsiteX560" fmla="*/ 81915 w 2242184"/>
                  <a:gd name="connsiteY560" fmla="*/ 157162 h 1686775"/>
                  <a:gd name="connsiteX561" fmla="*/ 90488 w 2242184"/>
                  <a:gd name="connsiteY561" fmla="*/ 156210 h 1686775"/>
                  <a:gd name="connsiteX562" fmla="*/ 101918 w 2242184"/>
                  <a:gd name="connsiteY562" fmla="*/ 156210 h 1686775"/>
                  <a:gd name="connsiteX563" fmla="*/ 106680 w 2242184"/>
                  <a:gd name="connsiteY563" fmla="*/ 157162 h 1686775"/>
                  <a:gd name="connsiteX564" fmla="*/ 128588 w 2242184"/>
                  <a:gd name="connsiteY564" fmla="*/ 160973 h 1686775"/>
                  <a:gd name="connsiteX565" fmla="*/ 131445 w 2242184"/>
                  <a:gd name="connsiteY565" fmla="*/ 164783 h 1686775"/>
                  <a:gd name="connsiteX566" fmla="*/ 129540 w 2242184"/>
                  <a:gd name="connsiteY566" fmla="*/ 170498 h 1686775"/>
                  <a:gd name="connsiteX567" fmla="*/ 130493 w 2242184"/>
                  <a:gd name="connsiteY567" fmla="*/ 175260 h 1686775"/>
                  <a:gd name="connsiteX568" fmla="*/ 114300 w 2242184"/>
                  <a:gd name="connsiteY568" fmla="*/ 178117 h 1686775"/>
                  <a:gd name="connsiteX569" fmla="*/ 100965 w 2242184"/>
                  <a:gd name="connsiteY569" fmla="*/ 179070 h 1686775"/>
                  <a:gd name="connsiteX570" fmla="*/ 85725 w 2242184"/>
                  <a:gd name="connsiteY570" fmla="*/ 184785 h 1686775"/>
                  <a:gd name="connsiteX571" fmla="*/ 71438 w 2242184"/>
                  <a:gd name="connsiteY571" fmla="*/ 184785 h 1686775"/>
                  <a:gd name="connsiteX572" fmla="*/ 60960 w 2242184"/>
                  <a:gd name="connsiteY572" fmla="*/ 188595 h 1686775"/>
                  <a:gd name="connsiteX573" fmla="*/ 52388 w 2242184"/>
                  <a:gd name="connsiteY573" fmla="*/ 194310 h 1686775"/>
                  <a:gd name="connsiteX574" fmla="*/ 53340 w 2242184"/>
                  <a:gd name="connsiteY574" fmla="*/ 197167 h 1686775"/>
                  <a:gd name="connsiteX575" fmla="*/ 45720 w 2242184"/>
                  <a:gd name="connsiteY575" fmla="*/ 203835 h 1686775"/>
                  <a:gd name="connsiteX576" fmla="*/ 42863 w 2242184"/>
                  <a:gd name="connsiteY576" fmla="*/ 208598 h 1686775"/>
                  <a:gd name="connsiteX577" fmla="*/ 40958 w 2242184"/>
                  <a:gd name="connsiteY577" fmla="*/ 216217 h 1686775"/>
                  <a:gd name="connsiteX578" fmla="*/ 49530 w 2242184"/>
                  <a:gd name="connsiteY578" fmla="*/ 221933 h 1686775"/>
                  <a:gd name="connsiteX579" fmla="*/ 57150 w 2242184"/>
                  <a:gd name="connsiteY579" fmla="*/ 227648 h 1686775"/>
                  <a:gd name="connsiteX580" fmla="*/ 70485 w 2242184"/>
                  <a:gd name="connsiteY580" fmla="*/ 231458 h 1686775"/>
                  <a:gd name="connsiteX581" fmla="*/ 83820 w 2242184"/>
                  <a:gd name="connsiteY581" fmla="*/ 237173 h 1686775"/>
                  <a:gd name="connsiteX582" fmla="*/ 90488 w 2242184"/>
                  <a:gd name="connsiteY582" fmla="*/ 242887 h 1686775"/>
                  <a:gd name="connsiteX583" fmla="*/ 100965 w 2242184"/>
                  <a:gd name="connsiteY583" fmla="*/ 245745 h 1686775"/>
                  <a:gd name="connsiteX584" fmla="*/ 112395 w 2242184"/>
                  <a:gd name="connsiteY584" fmla="*/ 247650 h 1686775"/>
                  <a:gd name="connsiteX585" fmla="*/ 125730 w 2242184"/>
                  <a:gd name="connsiteY585" fmla="*/ 255270 h 1686775"/>
                  <a:gd name="connsiteX586" fmla="*/ 137160 w 2242184"/>
                  <a:gd name="connsiteY586" fmla="*/ 255270 h 1686775"/>
                  <a:gd name="connsiteX587" fmla="*/ 152400 w 2242184"/>
                  <a:gd name="connsiteY587" fmla="*/ 257175 h 1686775"/>
                  <a:gd name="connsiteX588" fmla="*/ 159068 w 2242184"/>
                  <a:gd name="connsiteY588" fmla="*/ 260033 h 1686775"/>
                  <a:gd name="connsiteX589" fmla="*/ 172403 w 2242184"/>
                  <a:gd name="connsiteY589" fmla="*/ 261937 h 1686775"/>
                  <a:gd name="connsiteX590" fmla="*/ 182880 w 2242184"/>
                  <a:gd name="connsiteY590" fmla="*/ 264795 h 1686775"/>
                  <a:gd name="connsiteX591" fmla="*/ 184785 w 2242184"/>
                  <a:gd name="connsiteY591" fmla="*/ 270510 h 1686775"/>
                  <a:gd name="connsiteX592" fmla="*/ 180023 w 2242184"/>
                  <a:gd name="connsiteY592" fmla="*/ 277178 h 1686775"/>
                  <a:gd name="connsiteX593" fmla="*/ 161925 w 2242184"/>
                  <a:gd name="connsiteY593" fmla="*/ 284798 h 1686775"/>
                  <a:gd name="connsiteX594" fmla="*/ 148590 w 2242184"/>
                  <a:gd name="connsiteY594" fmla="*/ 290512 h 1686775"/>
                  <a:gd name="connsiteX595" fmla="*/ 135255 w 2242184"/>
                  <a:gd name="connsiteY595" fmla="*/ 296228 h 1686775"/>
                  <a:gd name="connsiteX596" fmla="*/ 123825 w 2242184"/>
                  <a:gd name="connsiteY596" fmla="*/ 300037 h 1686775"/>
                  <a:gd name="connsiteX597" fmla="*/ 110490 w 2242184"/>
                  <a:gd name="connsiteY597" fmla="*/ 303848 h 1686775"/>
                  <a:gd name="connsiteX598" fmla="*/ 99060 w 2242184"/>
                  <a:gd name="connsiteY598" fmla="*/ 307658 h 1686775"/>
                  <a:gd name="connsiteX599" fmla="*/ 79058 w 2242184"/>
                  <a:gd name="connsiteY599" fmla="*/ 310515 h 1686775"/>
                  <a:gd name="connsiteX600" fmla="*/ 63818 w 2242184"/>
                  <a:gd name="connsiteY600" fmla="*/ 314325 h 1686775"/>
                  <a:gd name="connsiteX601" fmla="*/ 50483 w 2242184"/>
                  <a:gd name="connsiteY601" fmla="*/ 315278 h 1686775"/>
                  <a:gd name="connsiteX602" fmla="*/ 38100 w 2242184"/>
                  <a:gd name="connsiteY602" fmla="*/ 320040 h 1686775"/>
                  <a:gd name="connsiteX603" fmla="*/ 18098 w 2242184"/>
                  <a:gd name="connsiteY603" fmla="*/ 322898 h 1686775"/>
                  <a:gd name="connsiteX604" fmla="*/ 0 w 2242184"/>
                  <a:gd name="connsiteY604" fmla="*/ 322898 h 1686775"/>
                  <a:gd name="connsiteX605" fmla="*/ 0 w 2242184"/>
                  <a:gd name="connsiteY605" fmla="*/ 328612 h 1686775"/>
                  <a:gd name="connsiteX606" fmla="*/ 15240 w 2242184"/>
                  <a:gd name="connsiteY606" fmla="*/ 330518 h 1686775"/>
                  <a:gd name="connsiteX607" fmla="*/ 37148 w 2242184"/>
                  <a:gd name="connsiteY607" fmla="*/ 327660 h 1686775"/>
                  <a:gd name="connsiteX608" fmla="*/ 57150 w 2242184"/>
                  <a:gd name="connsiteY608" fmla="*/ 324803 h 1686775"/>
                  <a:gd name="connsiteX609" fmla="*/ 81915 w 2242184"/>
                  <a:gd name="connsiteY609" fmla="*/ 320993 h 1686775"/>
                  <a:gd name="connsiteX610" fmla="*/ 100013 w 2242184"/>
                  <a:gd name="connsiteY610" fmla="*/ 318135 h 1686775"/>
                  <a:gd name="connsiteX611" fmla="*/ 120015 w 2242184"/>
                  <a:gd name="connsiteY611" fmla="*/ 315278 h 1686775"/>
                  <a:gd name="connsiteX612" fmla="*/ 138113 w 2242184"/>
                  <a:gd name="connsiteY612" fmla="*/ 312420 h 1686775"/>
                  <a:gd name="connsiteX613" fmla="*/ 164783 w 2242184"/>
                  <a:gd name="connsiteY613" fmla="*/ 306705 h 1686775"/>
                  <a:gd name="connsiteX614" fmla="*/ 176213 w 2242184"/>
                  <a:gd name="connsiteY614" fmla="*/ 300037 h 1686775"/>
                  <a:gd name="connsiteX615" fmla="*/ 189548 w 2242184"/>
                  <a:gd name="connsiteY615" fmla="*/ 294323 h 1686775"/>
                  <a:gd name="connsiteX616" fmla="*/ 200978 w 2242184"/>
                  <a:gd name="connsiteY616" fmla="*/ 288608 h 1686775"/>
                  <a:gd name="connsiteX617" fmla="*/ 212408 w 2242184"/>
                  <a:gd name="connsiteY617" fmla="*/ 280035 h 1686775"/>
                  <a:gd name="connsiteX618" fmla="*/ 227648 w 2242184"/>
                  <a:gd name="connsiteY618" fmla="*/ 270510 h 1686775"/>
                  <a:gd name="connsiteX619" fmla="*/ 236220 w 2242184"/>
                  <a:gd name="connsiteY619" fmla="*/ 261937 h 1686775"/>
                  <a:gd name="connsiteX620" fmla="*/ 249555 w 2242184"/>
                  <a:gd name="connsiteY620" fmla="*/ 255270 h 1686775"/>
                  <a:gd name="connsiteX621" fmla="*/ 258128 w 2242184"/>
                  <a:gd name="connsiteY621" fmla="*/ 249555 h 1686775"/>
                  <a:gd name="connsiteX622" fmla="*/ 269558 w 2242184"/>
                  <a:gd name="connsiteY622" fmla="*/ 240983 h 1686775"/>
                  <a:gd name="connsiteX623" fmla="*/ 276225 w 2242184"/>
                  <a:gd name="connsiteY623" fmla="*/ 235267 h 1686775"/>
                  <a:gd name="connsiteX624" fmla="*/ 278130 w 2242184"/>
                  <a:gd name="connsiteY624" fmla="*/ 229553 h 1686775"/>
                  <a:gd name="connsiteX625" fmla="*/ 291465 w 2242184"/>
                  <a:gd name="connsiteY625" fmla="*/ 226695 h 1686775"/>
                  <a:gd name="connsiteX626" fmla="*/ 298133 w 2242184"/>
                  <a:gd name="connsiteY626" fmla="*/ 232410 h 1686775"/>
                  <a:gd name="connsiteX627" fmla="*/ 293370 w 2242184"/>
                  <a:gd name="connsiteY627" fmla="*/ 238125 h 1686775"/>
                  <a:gd name="connsiteX628" fmla="*/ 303848 w 2242184"/>
                  <a:gd name="connsiteY628" fmla="*/ 242887 h 1686775"/>
                  <a:gd name="connsiteX629" fmla="*/ 319088 w 2242184"/>
                  <a:gd name="connsiteY629" fmla="*/ 234315 h 1686775"/>
                  <a:gd name="connsiteX630" fmla="*/ 325755 w 2242184"/>
                  <a:gd name="connsiteY630" fmla="*/ 231458 h 1686775"/>
                  <a:gd name="connsiteX631" fmla="*/ 345758 w 2242184"/>
                  <a:gd name="connsiteY631" fmla="*/ 233362 h 1686775"/>
                  <a:gd name="connsiteX632" fmla="*/ 357188 w 2242184"/>
                  <a:gd name="connsiteY632" fmla="*/ 227648 h 1686775"/>
                  <a:gd name="connsiteX633" fmla="*/ 367665 w 2242184"/>
                  <a:gd name="connsiteY633" fmla="*/ 229553 h 1686775"/>
                  <a:gd name="connsiteX634" fmla="*/ 381000 w 2242184"/>
                  <a:gd name="connsiteY634" fmla="*/ 229553 h 1686775"/>
                  <a:gd name="connsiteX635" fmla="*/ 396240 w 2242184"/>
                  <a:gd name="connsiteY635" fmla="*/ 232410 h 1686775"/>
                  <a:gd name="connsiteX636" fmla="*/ 416243 w 2242184"/>
                  <a:gd name="connsiteY636" fmla="*/ 238125 h 1686775"/>
                  <a:gd name="connsiteX637" fmla="*/ 440055 w 2242184"/>
                  <a:gd name="connsiteY637" fmla="*/ 240030 h 1686775"/>
                  <a:gd name="connsiteX638" fmla="*/ 453390 w 2242184"/>
                  <a:gd name="connsiteY638" fmla="*/ 240030 h 1686775"/>
                  <a:gd name="connsiteX639" fmla="*/ 468630 w 2242184"/>
                  <a:gd name="connsiteY639" fmla="*/ 244792 h 1686775"/>
                  <a:gd name="connsiteX640" fmla="*/ 477203 w 2242184"/>
                  <a:gd name="connsiteY640" fmla="*/ 244792 h 1686775"/>
                  <a:gd name="connsiteX641" fmla="*/ 499110 w 2242184"/>
                  <a:gd name="connsiteY641" fmla="*/ 247650 h 1686775"/>
                  <a:gd name="connsiteX642" fmla="*/ 509588 w 2242184"/>
                  <a:gd name="connsiteY642" fmla="*/ 252412 h 1686775"/>
                  <a:gd name="connsiteX643" fmla="*/ 526733 w 2242184"/>
                  <a:gd name="connsiteY643" fmla="*/ 260985 h 1686775"/>
                  <a:gd name="connsiteX644" fmla="*/ 533400 w 2242184"/>
                  <a:gd name="connsiteY644" fmla="*/ 263843 h 1686775"/>
                  <a:gd name="connsiteX645" fmla="*/ 543878 w 2242184"/>
                  <a:gd name="connsiteY645" fmla="*/ 268605 h 1686775"/>
                  <a:gd name="connsiteX646" fmla="*/ 559118 w 2242184"/>
                  <a:gd name="connsiteY646" fmla="*/ 276225 h 1686775"/>
                  <a:gd name="connsiteX647" fmla="*/ 565785 w 2242184"/>
                  <a:gd name="connsiteY647" fmla="*/ 278130 h 1686775"/>
                  <a:gd name="connsiteX648" fmla="*/ 579120 w 2242184"/>
                  <a:gd name="connsiteY648" fmla="*/ 285750 h 1686775"/>
                  <a:gd name="connsiteX649" fmla="*/ 592455 w 2242184"/>
                  <a:gd name="connsiteY649" fmla="*/ 294323 h 1686775"/>
                  <a:gd name="connsiteX650" fmla="*/ 599123 w 2242184"/>
                  <a:gd name="connsiteY650" fmla="*/ 303848 h 1686775"/>
                  <a:gd name="connsiteX651" fmla="*/ 612458 w 2242184"/>
                  <a:gd name="connsiteY651" fmla="*/ 312420 h 1686775"/>
                  <a:gd name="connsiteX652" fmla="*/ 629603 w 2242184"/>
                  <a:gd name="connsiteY652" fmla="*/ 322898 h 1686775"/>
                  <a:gd name="connsiteX653" fmla="*/ 640080 w 2242184"/>
                  <a:gd name="connsiteY653" fmla="*/ 328612 h 1686775"/>
                  <a:gd name="connsiteX654" fmla="*/ 655320 w 2242184"/>
                  <a:gd name="connsiteY654" fmla="*/ 336233 h 1686775"/>
                  <a:gd name="connsiteX655" fmla="*/ 659130 w 2242184"/>
                  <a:gd name="connsiteY655" fmla="*/ 342900 h 1686775"/>
                  <a:gd name="connsiteX656" fmla="*/ 667703 w 2242184"/>
                  <a:gd name="connsiteY656" fmla="*/ 348615 h 1686775"/>
                  <a:gd name="connsiteX657" fmla="*/ 681038 w 2242184"/>
                  <a:gd name="connsiteY657" fmla="*/ 353378 h 1686775"/>
                  <a:gd name="connsiteX658" fmla="*/ 689610 w 2242184"/>
                  <a:gd name="connsiteY658" fmla="*/ 359093 h 1686775"/>
                  <a:gd name="connsiteX659" fmla="*/ 696278 w 2242184"/>
                  <a:gd name="connsiteY659" fmla="*/ 367665 h 1686775"/>
                  <a:gd name="connsiteX660" fmla="*/ 698183 w 2242184"/>
                  <a:gd name="connsiteY660" fmla="*/ 371475 h 1686775"/>
                  <a:gd name="connsiteX661" fmla="*/ 721995 w 2242184"/>
                  <a:gd name="connsiteY661" fmla="*/ 380048 h 1686775"/>
                  <a:gd name="connsiteX662" fmla="*/ 730568 w 2242184"/>
                  <a:gd name="connsiteY662" fmla="*/ 384810 h 1686775"/>
                  <a:gd name="connsiteX663" fmla="*/ 739140 w 2242184"/>
                  <a:gd name="connsiteY663" fmla="*/ 389573 h 1686775"/>
                  <a:gd name="connsiteX664" fmla="*/ 761048 w 2242184"/>
                  <a:gd name="connsiteY664" fmla="*/ 395287 h 1686775"/>
                  <a:gd name="connsiteX665" fmla="*/ 778193 w 2242184"/>
                  <a:gd name="connsiteY665" fmla="*/ 402908 h 1686775"/>
                  <a:gd name="connsiteX666" fmla="*/ 778193 w 2242184"/>
                  <a:gd name="connsiteY666" fmla="*/ 406718 h 1686775"/>
                  <a:gd name="connsiteX667" fmla="*/ 782003 w 2242184"/>
                  <a:gd name="connsiteY667" fmla="*/ 416243 h 1686775"/>
                  <a:gd name="connsiteX668" fmla="*/ 773430 w 2242184"/>
                  <a:gd name="connsiteY668" fmla="*/ 420052 h 1686775"/>
                  <a:gd name="connsiteX669" fmla="*/ 762000 w 2242184"/>
                  <a:gd name="connsiteY669" fmla="*/ 420052 h 1686775"/>
                  <a:gd name="connsiteX670" fmla="*/ 755333 w 2242184"/>
                  <a:gd name="connsiteY670" fmla="*/ 413385 h 1686775"/>
                  <a:gd name="connsiteX671" fmla="*/ 746760 w 2242184"/>
                  <a:gd name="connsiteY671" fmla="*/ 406718 h 1686775"/>
                  <a:gd name="connsiteX672" fmla="*/ 738188 w 2242184"/>
                  <a:gd name="connsiteY672" fmla="*/ 403860 h 1686775"/>
                  <a:gd name="connsiteX673" fmla="*/ 729615 w 2242184"/>
                  <a:gd name="connsiteY673" fmla="*/ 399098 h 1686775"/>
                  <a:gd name="connsiteX674" fmla="*/ 705803 w 2242184"/>
                  <a:gd name="connsiteY674" fmla="*/ 391477 h 1686775"/>
                  <a:gd name="connsiteX675" fmla="*/ 699135 w 2242184"/>
                  <a:gd name="connsiteY675" fmla="*/ 392430 h 1686775"/>
                  <a:gd name="connsiteX676" fmla="*/ 707708 w 2242184"/>
                  <a:gd name="connsiteY676" fmla="*/ 402908 h 1686775"/>
                  <a:gd name="connsiteX677" fmla="*/ 722948 w 2242184"/>
                  <a:gd name="connsiteY677" fmla="*/ 411480 h 1686775"/>
                  <a:gd name="connsiteX678" fmla="*/ 736283 w 2242184"/>
                  <a:gd name="connsiteY678" fmla="*/ 419100 h 1686775"/>
                  <a:gd name="connsiteX679" fmla="*/ 742950 w 2242184"/>
                  <a:gd name="connsiteY679" fmla="*/ 427673 h 1686775"/>
                  <a:gd name="connsiteX680" fmla="*/ 742950 w 2242184"/>
                  <a:gd name="connsiteY680" fmla="*/ 431483 h 1686775"/>
                  <a:gd name="connsiteX681" fmla="*/ 744855 w 2242184"/>
                  <a:gd name="connsiteY681" fmla="*/ 445770 h 1686775"/>
                  <a:gd name="connsiteX682" fmla="*/ 752475 w 2242184"/>
                  <a:gd name="connsiteY682" fmla="*/ 456248 h 1686775"/>
                  <a:gd name="connsiteX683" fmla="*/ 747713 w 2242184"/>
                  <a:gd name="connsiteY683" fmla="*/ 487680 h 1686775"/>
                  <a:gd name="connsiteX684" fmla="*/ 751523 w 2242184"/>
                  <a:gd name="connsiteY684" fmla="*/ 500062 h 1686775"/>
                  <a:gd name="connsiteX685" fmla="*/ 751523 w 2242184"/>
                  <a:gd name="connsiteY685" fmla="*/ 506730 h 1686775"/>
                  <a:gd name="connsiteX686" fmla="*/ 758190 w 2242184"/>
                  <a:gd name="connsiteY686" fmla="*/ 521970 h 1686775"/>
                  <a:gd name="connsiteX687" fmla="*/ 764858 w 2242184"/>
                  <a:gd name="connsiteY687" fmla="*/ 536258 h 1686775"/>
                  <a:gd name="connsiteX688" fmla="*/ 768668 w 2242184"/>
                  <a:gd name="connsiteY688" fmla="*/ 542925 h 1686775"/>
                  <a:gd name="connsiteX689" fmla="*/ 775335 w 2242184"/>
                  <a:gd name="connsiteY689" fmla="*/ 551498 h 1686775"/>
                  <a:gd name="connsiteX690" fmla="*/ 785813 w 2242184"/>
                  <a:gd name="connsiteY690" fmla="*/ 559118 h 1686775"/>
                  <a:gd name="connsiteX691" fmla="*/ 794385 w 2242184"/>
                  <a:gd name="connsiteY691" fmla="*/ 568643 h 1686775"/>
                  <a:gd name="connsiteX692" fmla="*/ 801053 w 2242184"/>
                  <a:gd name="connsiteY692" fmla="*/ 580073 h 1686775"/>
                  <a:gd name="connsiteX693" fmla="*/ 804863 w 2242184"/>
                  <a:gd name="connsiteY693" fmla="*/ 585788 h 1686775"/>
                  <a:gd name="connsiteX694" fmla="*/ 808673 w 2242184"/>
                  <a:gd name="connsiteY694" fmla="*/ 592455 h 1686775"/>
                  <a:gd name="connsiteX695" fmla="*/ 815340 w 2242184"/>
                  <a:gd name="connsiteY695" fmla="*/ 599123 h 1686775"/>
                  <a:gd name="connsiteX696" fmla="*/ 825818 w 2242184"/>
                  <a:gd name="connsiteY696" fmla="*/ 601980 h 1686775"/>
                  <a:gd name="connsiteX697" fmla="*/ 832485 w 2242184"/>
                  <a:gd name="connsiteY697" fmla="*/ 606743 h 1686775"/>
                  <a:gd name="connsiteX698" fmla="*/ 843915 w 2242184"/>
                  <a:gd name="connsiteY698" fmla="*/ 609600 h 1686775"/>
                  <a:gd name="connsiteX699" fmla="*/ 852488 w 2242184"/>
                  <a:gd name="connsiteY699" fmla="*/ 612458 h 1686775"/>
                  <a:gd name="connsiteX700" fmla="*/ 859155 w 2242184"/>
                  <a:gd name="connsiteY700" fmla="*/ 618173 h 1686775"/>
                  <a:gd name="connsiteX701" fmla="*/ 879158 w 2242184"/>
                  <a:gd name="connsiteY701" fmla="*/ 631508 h 1686775"/>
                  <a:gd name="connsiteX702" fmla="*/ 885825 w 2242184"/>
                  <a:gd name="connsiteY702" fmla="*/ 643890 h 1686775"/>
                  <a:gd name="connsiteX703" fmla="*/ 889635 w 2242184"/>
                  <a:gd name="connsiteY703" fmla="*/ 650558 h 1686775"/>
                  <a:gd name="connsiteX704" fmla="*/ 902018 w 2242184"/>
                  <a:gd name="connsiteY704" fmla="*/ 665798 h 1686775"/>
                  <a:gd name="connsiteX705" fmla="*/ 903923 w 2242184"/>
                  <a:gd name="connsiteY705" fmla="*/ 671513 h 1686775"/>
                  <a:gd name="connsiteX706" fmla="*/ 917258 w 2242184"/>
                  <a:gd name="connsiteY706" fmla="*/ 685800 h 1686775"/>
                  <a:gd name="connsiteX707" fmla="*/ 923925 w 2242184"/>
                  <a:gd name="connsiteY707" fmla="*/ 701040 h 1686775"/>
                  <a:gd name="connsiteX708" fmla="*/ 945833 w 2242184"/>
                  <a:gd name="connsiteY708" fmla="*/ 711518 h 1686775"/>
                  <a:gd name="connsiteX709" fmla="*/ 956310 w 2242184"/>
                  <a:gd name="connsiteY709" fmla="*/ 717233 h 1686775"/>
                  <a:gd name="connsiteX710" fmla="*/ 969645 w 2242184"/>
                  <a:gd name="connsiteY710" fmla="*/ 725805 h 1686775"/>
                  <a:gd name="connsiteX711" fmla="*/ 980123 w 2242184"/>
                  <a:gd name="connsiteY711" fmla="*/ 731520 h 1686775"/>
                  <a:gd name="connsiteX712" fmla="*/ 993458 w 2242184"/>
                  <a:gd name="connsiteY712" fmla="*/ 731520 h 1686775"/>
                  <a:gd name="connsiteX713" fmla="*/ 990600 w 2242184"/>
                  <a:gd name="connsiteY713" fmla="*/ 722948 h 1686775"/>
                  <a:gd name="connsiteX714" fmla="*/ 982028 w 2242184"/>
                  <a:gd name="connsiteY714" fmla="*/ 717233 h 1686775"/>
                  <a:gd name="connsiteX715" fmla="*/ 968693 w 2242184"/>
                  <a:gd name="connsiteY715" fmla="*/ 706755 h 1686775"/>
                  <a:gd name="connsiteX716" fmla="*/ 960120 w 2242184"/>
                  <a:gd name="connsiteY716" fmla="*/ 698183 h 1686775"/>
                  <a:gd name="connsiteX717" fmla="*/ 953453 w 2242184"/>
                  <a:gd name="connsiteY717" fmla="*/ 692468 h 1686775"/>
                  <a:gd name="connsiteX718" fmla="*/ 949643 w 2242184"/>
                  <a:gd name="connsiteY718" fmla="*/ 686752 h 1686775"/>
                  <a:gd name="connsiteX719" fmla="*/ 945833 w 2242184"/>
                  <a:gd name="connsiteY719" fmla="*/ 678180 h 1686775"/>
                  <a:gd name="connsiteX720" fmla="*/ 939165 w 2242184"/>
                  <a:gd name="connsiteY720" fmla="*/ 672465 h 1686775"/>
                  <a:gd name="connsiteX721" fmla="*/ 935355 w 2242184"/>
                  <a:gd name="connsiteY721" fmla="*/ 663893 h 1686775"/>
                  <a:gd name="connsiteX722" fmla="*/ 923925 w 2242184"/>
                  <a:gd name="connsiteY722" fmla="*/ 655320 h 1686775"/>
                  <a:gd name="connsiteX723" fmla="*/ 923925 w 2242184"/>
                  <a:gd name="connsiteY723" fmla="*/ 648652 h 1686775"/>
                  <a:gd name="connsiteX724" fmla="*/ 935355 w 2242184"/>
                  <a:gd name="connsiteY724" fmla="*/ 645795 h 1686775"/>
                  <a:gd name="connsiteX725" fmla="*/ 943928 w 2242184"/>
                  <a:gd name="connsiteY725" fmla="*/ 651510 h 1686775"/>
                  <a:gd name="connsiteX726" fmla="*/ 962978 w 2242184"/>
                  <a:gd name="connsiteY726" fmla="*/ 677227 h 1686775"/>
                  <a:gd name="connsiteX727" fmla="*/ 980123 w 2242184"/>
                  <a:gd name="connsiteY727" fmla="*/ 690563 h 1686775"/>
                  <a:gd name="connsiteX728" fmla="*/ 997268 w 2242184"/>
                  <a:gd name="connsiteY728" fmla="*/ 701040 h 1686775"/>
                  <a:gd name="connsiteX729" fmla="*/ 1012508 w 2242184"/>
                  <a:gd name="connsiteY729" fmla="*/ 712470 h 1686775"/>
                  <a:gd name="connsiteX730" fmla="*/ 1019175 w 2242184"/>
                  <a:gd name="connsiteY730" fmla="*/ 719138 h 1686775"/>
                  <a:gd name="connsiteX731" fmla="*/ 1034415 w 2242184"/>
                  <a:gd name="connsiteY731" fmla="*/ 733425 h 1686775"/>
                  <a:gd name="connsiteX732" fmla="*/ 1044893 w 2242184"/>
                  <a:gd name="connsiteY732" fmla="*/ 739140 h 1686775"/>
                  <a:gd name="connsiteX733" fmla="*/ 1048703 w 2242184"/>
                  <a:gd name="connsiteY733" fmla="*/ 745808 h 1686775"/>
                  <a:gd name="connsiteX734" fmla="*/ 1055370 w 2242184"/>
                  <a:gd name="connsiteY734" fmla="*/ 750570 h 1686775"/>
                  <a:gd name="connsiteX735" fmla="*/ 1062038 w 2242184"/>
                  <a:gd name="connsiteY735" fmla="*/ 756285 h 1686775"/>
                  <a:gd name="connsiteX736" fmla="*/ 1068705 w 2242184"/>
                  <a:gd name="connsiteY736" fmla="*/ 761048 h 1686775"/>
                  <a:gd name="connsiteX737" fmla="*/ 1072515 w 2242184"/>
                  <a:gd name="connsiteY737" fmla="*/ 766763 h 1686775"/>
                  <a:gd name="connsiteX738" fmla="*/ 1070610 w 2242184"/>
                  <a:gd name="connsiteY738" fmla="*/ 772477 h 1686775"/>
                  <a:gd name="connsiteX739" fmla="*/ 1074420 w 2242184"/>
                  <a:gd name="connsiteY739" fmla="*/ 779145 h 1686775"/>
                  <a:gd name="connsiteX740" fmla="*/ 1081088 w 2242184"/>
                  <a:gd name="connsiteY740" fmla="*/ 783908 h 1686775"/>
                  <a:gd name="connsiteX741" fmla="*/ 1094423 w 2242184"/>
                  <a:gd name="connsiteY741" fmla="*/ 789623 h 1686775"/>
                  <a:gd name="connsiteX742" fmla="*/ 1101090 w 2242184"/>
                  <a:gd name="connsiteY742" fmla="*/ 792480 h 1686775"/>
                  <a:gd name="connsiteX743" fmla="*/ 1116330 w 2242184"/>
                  <a:gd name="connsiteY743" fmla="*/ 798195 h 1686775"/>
                  <a:gd name="connsiteX744" fmla="*/ 1121093 w 2242184"/>
                  <a:gd name="connsiteY744" fmla="*/ 802005 h 1686775"/>
                  <a:gd name="connsiteX745" fmla="*/ 1125855 w 2242184"/>
                  <a:gd name="connsiteY745" fmla="*/ 805815 h 1686775"/>
                  <a:gd name="connsiteX746" fmla="*/ 1129665 w 2242184"/>
                  <a:gd name="connsiteY746" fmla="*/ 808673 h 1686775"/>
                  <a:gd name="connsiteX747" fmla="*/ 1151573 w 2242184"/>
                  <a:gd name="connsiteY747" fmla="*/ 820102 h 1686775"/>
                  <a:gd name="connsiteX748" fmla="*/ 1168718 w 2242184"/>
                  <a:gd name="connsiteY748" fmla="*/ 827723 h 1686775"/>
                  <a:gd name="connsiteX749" fmla="*/ 1180148 w 2242184"/>
                  <a:gd name="connsiteY749" fmla="*/ 827723 h 1686775"/>
                  <a:gd name="connsiteX750" fmla="*/ 1193483 w 2242184"/>
                  <a:gd name="connsiteY750" fmla="*/ 827723 h 1686775"/>
                  <a:gd name="connsiteX751" fmla="*/ 1213485 w 2242184"/>
                  <a:gd name="connsiteY751" fmla="*/ 827723 h 1686775"/>
                  <a:gd name="connsiteX752" fmla="*/ 1235393 w 2242184"/>
                  <a:gd name="connsiteY752" fmla="*/ 827723 h 1686775"/>
                  <a:gd name="connsiteX753" fmla="*/ 1250633 w 2242184"/>
                  <a:gd name="connsiteY753" fmla="*/ 826770 h 1686775"/>
                  <a:gd name="connsiteX754" fmla="*/ 1272540 w 2242184"/>
                  <a:gd name="connsiteY754" fmla="*/ 826770 h 1686775"/>
                  <a:gd name="connsiteX755" fmla="*/ 1279208 w 2242184"/>
                  <a:gd name="connsiteY755" fmla="*/ 829627 h 1686775"/>
                  <a:gd name="connsiteX756" fmla="*/ 1290638 w 2242184"/>
                  <a:gd name="connsiteY756" fmla="*/ 829627 h 1686775"/>
                  <a:gd name="connsiteX757" fmla="*/ 1297305 w 2242184"/>
                  <a:gd name="connsiteY757" fmla="*/ 831533 h 1686775"/>
                  <a:gd name="connsiteX758" fmla="*/ 1302068 w 2242184"/>
                  <a:gd name="connsiteY758" fmla="*/ 837248 h 1686775"/>
                  <a:gd name="connsiteX759" fmla="*/ 1323975 w 2242184"/>
                  <a:gd name="connsiteY759" fmla="*/ 853440 h 1686775"/>
                  <a:gd name="connsiteX760" fmla="*/ 1341120 w 2242184"/>
                  <a:gd name="connsiteY760" fmla="*/ 853440 h 1686775"/>
                  <a:gd name="connsiteX761" fmla="*/ 1354455 w 2242184"/>
                  <a:gd name="connsiteY761" fmla="*/ 855345 h 1686775"/>
                  <a:gd name="connsiteX762" fmla="*/ 1369695 w 2242184"/>
                  <a:gd name="connsiteY762" fmla="*/ 863918 h 1686775"/>
                  <a:gd name="connsiteX763" fmla="*/ 1383030 w 2242184"/>
                  <a:gd name="connsiteY763" fmla="*/ 869633 h 1686775"/>
                  <a:gd name="connsiteX764" fmla="*/ 1391603 w 2242184"/>
                  <a:gd name="connsiteY764" fmla="*/ 875348 h 1686775"/>
                  <a:gd name="connsiteX765" fmla="*/ 1402080 w 2242184"/>
                  <a:gd name="connsiteY765" fmla="*/ 885825 h 1686775"/>
                  <a:gd name="connsiteX766" fmla="*/ 1410653 w 2242184"/>
                  <a:gd name="connsiteY766" fmla="*/ 891540 h 1686775"/>
                  <a:gd name="connsiteX767" fmla="*/ 1423988 w 2242184"/>
                  <a:gd name="connsiteY767" fmla="*/ 900113 h 1686775"/>
                  <a:gd name="connsiteX768" fmla="*/ 1435418 w 2242184"/>
                  <a:gd name="connsiteY768" fmla="*/ 902970 h 1686775"/>
                  <a:gd name="connsiteX769" fmla="*/ 1437323 w 2242184"/>
                  <a:gd name="connsiteY769" fmla="*/ 909638 h 1686775"/>
                  <a:gd name="connsiteX770" fmla="*/ 1437323 w 2242184"/>
                  <a:gd name="connsiteY770" fmla="*/ 913448 h 1686775"/>
                  <a:gd name="connsiteX771" fmla="*/ 1450658 w 2242184"/>
                  <a:gd name="connsiteY771" fmla="*/ 921068 h 1686775"/>
                  <a:gd name="connsiteX772" fmla="*/ 1459230 w 2242184"/>
                  <a:gd name="connsiteY772" fmla="*/ 923925 h 1686775"/>
                  <a:gd name="connsiteX773" fmla="*/ 1481138 w 2242184"/>
                  <a:gd name="connsiteY773" fmla="*/ 923925 h 1686775"/>
                  <a:gd name="connsiteX774" fmla="*/ 1489710 w 2242184"/>
                  <a:gd name="connsiteY774" fmla="*/ 923925 h 1686775"/>
                  <a:gd name="connsiteX775" fmla="*/ 1498283 w 2242184"/>
                  <a:gd name="connsiteY775" fmla="*/ 922973 h 1686775"/>
                  <a:gd name="connsiteX776" fmla="*/ 1506855 w 2242184"/>
                  <a:gd name="connsiteY776" fmla="*/ 922973 h 1686775"/>
                  <a:gd name="connsiteX777" fmla="*/ 1520190 w 2242184"/>
                  <a:gd name="connsiteY777" fmla="*/ 922973 h 1686775"/>
                  <a:gd name="connsiteX778" fmla="*/ 1533525 w 2242184"/>
                  <a:gd name="connsiteY778" fmla="*/ 922973 h 1686775"/>
                  <a:gd name="connsiteX779" fmla="*/ 1550670 w 2242184"/>
                  <a:gd name="connsiteY779" fmla="*/ 922973 h 1686775"/>
                  <a:gd name="connsiteX780" fmla="*/ 1547813 w 2242184"/>
                  <a:gd name="connsiteY780" fmla="*/ 938213 h 1686775"/>
                  <a:gd name="connsiteX781" fmla="*/ 1547813 w 2242184"/>
                  <a:gd name="connsiteY781" fmla="*/ 955358 h 1686775"/>
                  <a:gd name="connsiteX782" fmla="*/ 1544955 w 2242184"/>
                  <a:gd name="connsiteY782" fmla="*/ 964883 h 1686775"/>
                  <a:gd name="connsiteX783" fmla="*/ 1546860 w 2242184"/>
                  <a:gd name="connsiteY783" fmla="*/ 968693 h 1686775"/>
                  <a:gd name="connsiteX784" fmla="*/ 1542098 w 2242184"/>
                  <a:gd name="connsiteY784" fmla="*/ 975360 h 1686775"/>
                  <a:gd name="connsiteX785" fmla="*/ 1528763 w 2242184"/>
                  <a:gd name="connsiteY785" fmla="*/ 984885 h 1686775"/>
                  <a:gd name="connsiteX786" fmla="*/ 1508760 w 2242184"/>
                  <a:gd name="connsiteY786" fmla="*/ 994410 h 1686775"/>
                  <a:gd name="connsiteX787" fmla="*/ 1508760 w 2242184"/>
                  <a:gd name="connsiteY787" fmla="*/ 998220 h 1686775"/>
                  <a:gd name="connsiteX788" fmla="*/ 1495425 w 2242184"/>
                  <a:gd name="connsiteY788" fmla="*/ 1007745 h 1686775"/>
                  <a:gd name="connsiteX789" fmla="*/ 1482090 w 2242184"/>
                  <a:gd name="connsiteY789" fmla="*/ 1016318 h 1686775"/>
                  <a:gd name="connsiteX790" fmla="*/ 1479233 w 2242184"/>
                  <a:gd name="connsiteY790" fmla="*/ 1031557 h 1686775"/>
                  <a:gd name="connsiteX791" fmla="*/ 1485900 w 2242184"/>
                  <a:gd name="connsiteY791" fmla="*/ 1043940 h 1686775"/>
                  <a:gd name="connsiteX792" fmla="*/ 1483043 w 2242184"/>
                  <a:gd name="connsiteY792" fmla="*/ 1055370 h 1686775"/>
                  <a:gd name="connsiteX793" fmla="*/ 1483043 w 2242184"/>
                  <a:gd name="connsiteY793" fmla="*/ 1061085 h 1686775"/>
                  <a:gd name="connsiteX794" fmla="*/ 1483043 w 2242184"/>
                  <a:gd name="connsiteY794" fmla="*/ 1075373 h 1686775"/>
                  <a:gd name="connsiteX795" fmla="*/ 1484948 w 2242184"/>
                  <a:gd name="connsiteY795" fmla="*/ 1079183 h 1686775"/>
                  <a:gd name="connsiteX796" fmla="*/ 1495425 w 2242184"/>
                  <a:gd name="connsiteY796" fmla="*/ 1083945 h 1686775"/>
                  <a:gd name="connsiteX797" fmla="*/ 1508760 w 2242184"/>
                  <a:gd name="connsiteY797" fmla="*/ 1091565 h 1686775"/>
                  <a:gd name="connsiteX798" fmla="*/ 1515428 w 2242184"/>
                  <a:gd name="connsiteY798" fmla="*/ 1103948 h 1686775"/>
                  <a:gd name="connsiteX799" fmla="*/ 1524000 w 2242184"/>
                  <a:gd name="connsiteY799" fmla="*/ 1118235 h 1686775"/>
                  <a:gd name="connsiteX800" fmla="*/ 1547813 w 2242184"/>
                  <a:gd name="connsiteY800" fmla="*/ 1141095 h 1686775"/>
                  <a:gd name="connsiteX801" fmla="*/ 1554480 w 2242184"/>
                  <a:gd name="connsiteY801" fmla="*/ 1146810 h 1686775"/>
                  <a:gd name="connsiteX802" fmla="*/ 1556385 w 2242184"/>
                  <a:gd name="connsiteY802" fmla="*/ 1150620 h 1686775"/>
                  <a:gd name="connsiteX803" fmla="*/ 1571625 w 2242184"/>
                  <a:gd name="connsiteY803" fmla="*/ 1162050 h 1686775"/>
                  <a:gd name="connsiteX804" fmla="*/ 1586865 w 2242184"/>
                  <a:gd name="connsiteY804" fmla="*/ 1173480 h 1686775"/>
                  <a:gd name="connsiteX805" fmla="*/ 1600200 w 2242184"/>
                  <a:gd name="connsiteY805" fmla="*/ 1181100 h 1686775"/>
                  <a:gd name="connsiteX806" fmla="*/ 1608773 w 2242184"/>
                  <a:gd name="connsiteY806" fmla="*/ 1183958 h 1686775"/>
                  <a:gd name="connsiteX807" fmla="*/ 1624013 w 2242184"/>
                  <a:gd name="connsiteY807" fmla="*/ 1191578 h 1686775"/>
                  <a:gd name="connsiteX808" fmla="*/ 1634490 w 2242184"/>
                  <a:gd name="connsiteY808" fmla="*/ 1197293 h 1686775"/>
                  <a:gd name="connsiteX809" fmla="*/ 1651635 w 2242184"/>
                  <a:gd name="connsiteY809" fmla="*/ 1204913 h 1686775"/>
                  <a:gd name="connsiteX810" fmla="*/ 1655445 w 2242184"/>
                  <a:gd name="connsiteY810" fmla="*/ 1210628 h 1686775"/>
                  <a:gd name="connsiteX811" fmla="*/ 1659255 w 2242184"/>
                  <a:gd name="connsiteY811" fmla="*/ 1216343 h 1686775"/>
                  <a:gd name="connsiteX812" fmla="*/ 1659255 w 2242184"/>
                  <a:gd name="connsiteY812" fmla="*/ 1218248 h 1686775"/>
                  <a:gd name="connsiteX813" fmla="*/ 1659255 w 2242184"/>
                  <a:gd name="connsiteY813" fmla="*/ 1218248 h 1686775"/>
                  <a:gd name="connsiteX814" fmla="*/ 1659255 w 2242184"/>
                  <a:gd name="connsiteY814" fmla="*/ 1221105 h 1686775"/>
                  <a:gd name="connsiteX815" fmla="*/ 1663065 w 2242184"/>
                  <a:gd name="connsiteY815" fmla="*/ 1259205 h 1686775"/>
                  <a:gd name="connsiteX816" fmla="*/ 1664970 w 2242184"/>
                  <a:gd name="connsiteY816" fmla="*/ 1273493 h 1686775"/>
                  <a:gd name="connsiteX817" fmla="*/ 1664970 w 2242184"/>
                  <a:gd name="connsiteY817" fmla="*/ 1293495 h 1686775"/>
                  <a:gd name="connsiteX818" fmla="*/ 1664970 w 2242184"/>
                  <a:gd name="connsiteY818" fmla="*/ 1299210 h 1686775"/>
                  <a:gd name="connsiteX819" fmla="*/ 1664970 w 2242184"/>
                  <a:gd name="connsiteY819" fmla="*/ 1313498 h 1686775"/>
                  <a:gd name="connsiteX820" fmla="*/ 1666875 w 2242184"/>
                  <a:gd name="connsiteY820" fmla="*/ 1317308 h 1686775"/>
                  <a:gd name="connsiteX821" fmla="*/ 1657350 w 2242184"/>
                  <a:gd name="connsiteY821" fmla="*/ 1332548 h 1686775"/>
                  <a:gd name="connsiteX822" fmla="*/ 1655445 w 2242184"/>
                  <a:gd name="connsiteY822" fmla="*/ 1336358 h 1686775"/>
                  <a:gd name="connsiteX823" fmla="*/ 1646873 w 2242184"/>
                  <a:gd name="connsiteY823" fmla="*/ 1345883 h 1686775"/>
                  <a:gd name="connsiteX824" fmla="*/ 1642110 w 2242184"/>
                  <a:gd name="connsiteY824" fmla="*/ 1351598 h 1686775"/>
                  <a:gd name="connsiteX825" fmla="*/ 1639253 w 2242184"/>
                  <a:gd name="connsiteY825" fmla="*/ 1360170 h 1686775"/>
                  <a:gd name="connsiteX826" fmla="*/ 1637348 w 2242184"/>
                  <a:gd name="connsiteY826" fmla="*/ 1365885 h 1686775"/>
                  <a:gd name="connsiteX827" fmla="*/ 1644015 w 2242184"/>
                  <a:gd name="connsiteY827" fmla="*/ 1375410 h 1686775"/>
                  <a:gd name="connsiteX828" fmla="*/ 1644015 w 2242184"/>
                  <a:gd name="connsiteY828" fmla="*/ 1383983 h 1686775"/>
                  <a:gd name="connsiteX829" fmla="*/ 1644015 w 2242184"/>
                  <a:gd name="connsiteY829" fmla="*/ 1387793 h 1686775"/>
                  <a:gd name="connsiteX830" fmla="*/ 1635443 w 2242184"/>
                  <a:gd name="connsiteY830" fmla="*/ 1391603 h 1686775"/>
                  <a:gd name="connsiteX831" fmla="*/ 1633538 w 2242184"/>
                  <a:gd name="connsiteY831" fmla="*/ 1395413 h 1686775"/>
                  <a:gd name="connsiteX832" fmla="*/ 1628775 w 2242184"/>
                  <a:gd name="connsiteY832" fmla="*/ 1402080 h 1686775"/>
                  <a:gd name="connsiteX833" fmla="*/ 1622108 w 2242184"/>
                  <a:gd name="connsiteY833" fmla="*/ 1407795 h 1686775"/>
                  <a:gd name="connsiteX834" fmla="*/ 1612583 w 2242184"/>
                  <a:gd name="connsiteY834" fmla="*/ 1427798 h 1686775"/>
                  <a:gd name="connsiteX835" fmla="*/ 1614488 w 2242184"/>
                  <a:gd name="connsiteY835" fmla="*/ 1448753 h 1686775"/>
                  <a:gd name="connsiteX836" fmla="*/ 1616393 w 2242184"/>
                  <a:gd name="connsiteY836" fmla="*/ 1468755 h 1686775"/>
                  <a:gd name="connsiteX837" fmla="*/ 1613535 w 2242184"/>
                  <a:gd name="connsiteY837" fmla="*/ 1480185 h 1686775"/>
                  <a:gd name="connsiteX838" fmla="*/ 1602105 w 2242184"/>
                  <a:gd name="connsiteY838" fmla="*/ 1486853 h 1686775"/>
                  <a:gd name="connsiteX839" fmla="*/ 1593533 w 2242184"/>
                  <a:gd name="connsiteY839" fmla="*/ 1490663 h 1686775"/>
                  <a:gd name="connsiteX840" fmla="*/ 1588770 w 2242184"/>
                  <a:gd name="connsiteY840" fmla="*/ 1497330 h 1686775"/>
                  <a:gd name="connsiteX841" fmla="*/ 1597343 w 2242184"/>
                  <a:gd name="connsiteY841" fmla="*/ 1503045 h 1686775"/>
                  <a:gd name="connsiteX842" fmla="*/ 1599248 w 2242184"/>
                  <a:gd name="connsiteY842" fmla="*/ 1523048 h 1686775"/>
                  <a:gd name="connsiteX843" fmla="*/ 1601153 w 2242184"/>
                  <a:gd name="connsiteY843" fmla="*/ 1529715 h 1686775"/>
                  <a:gd name="connsiteX844" fmla="*/ 1601153 w 2242184"/>
                  <a:gd name="connsiteY844" fmla="*/ 1535430 h 1686775"/>
                  <a:gd name="connsiteX845" fmla="*/ 1585913 w 2242184"/>
                  <a:gd name="connsiteY845" fmla="*/ 1542098 h 1686775"/>
                  <a:gd name="connsiteX846" fmla="*/ 1574483 w 2242184"/>
                  <a:gd name="connsiteY846" fmla="*/ 1564958 h 1686775"/>
                  <a:gd name="connsiteX847" fmla="*/ 1578293 w 2242184"/>
                  <a:gd name="connsiteY847" fmla="*/ 1573530 h 1686775"/>
                  <a:gd name="connsiteX848" fmla="*/ 1584960 w 2242184"/>
                  <a:gd name="connsiteY848" fmla="*/ 1583055 h 1686775"/>
                  <a:gd name="connsiteX849" fmla="*/ 1584960 w 2242184"/>
                  <a:gd name="connsiteY849" fmla="*/ 1586865 h 1686775"/>
                  <a:gd name="connsiteX850" fmla="*/ 1586865 w 2242184"/>
                  <a:gd name="connsiteY850" fmla="*/ 1593533 h 1686775"/>
                  <a:gd name="connsiteX851" fmla="*/ 1586865 w 2242184"/>
                  <a:gd name="connsiteY851" fmla="*/ 1602105 h 1686775"/>
                  <a:gd name="connsiteX852" fmla="*/ 1586865 w 2242184"/>
                  <a:gd name="connsiteY852" fmla="*/ 1614488 h 1686775"/>
                  <a:gd name="connsiteX853" fmla="*/ 1586865 w 2242184"/>
                  <a:gd name="connsiteY853" fmla="*/ 1618298 h 1686775"/>
                  <a:gd name="connsiteX854" fmla="*/ 1600200 w 2242184"/>
                  <a:gd name="connsiteY854" fmla="*/ 1632585 h 1686775"/>
                  <a:gd name="connsiteX855" fmla="*/ 1610678 w 2242184"/>
                  <a:gd name="connsiteY855" fmla="*/ 1642110 h 1686775"/>
                  <a:gd name="connsiteX856" fmla="*/ 1607820 w 2242184"/>
                  <a:gd name="connsiteY856" fmla="*/ 1656398 h 1686775"/>
                  <a:gd name="connsiteX857" fmla="*/ 1611630 w 2242184"/>
                  <a:gd name="connsiteY857" fmla="*/ 1662113 h 1686775"/>
                  <a:gd name="connsiteX858" fmla="*/ 1615440 w 2242184"/>
                  <a:gd name="connsiteY858" fmla="*/ 1668780 h 1686775"/>
                  <a:gd name="connsiteX859" fmla="*/ 1637348 w 2242184"/>
                  <a:gd name="connsiteY859" fmla="*/ 1679258 h 1686775"/>
                  <a:gd name="connsiteX860" fmla="*/ 1652588 w 2242184"/>
                  <a:gd name="connsiteY860" fmla="*/ 1682115 h 1686775"/>
                  <a:gd name="connsiteX861" fmla="*/ 1661160 w 2242184"/>
                  <a:gd name="connsiteY861" fmla="*/ 1682115 h 1686775"/>
                  <a:gd name="connsiteX862" fmla="*/ 1689735 w 2242184"/>
                  <a:gd name="connsiteY862" fmla="*/ 1684973 h 1686775"/>
                  <a:gd name="connsiteX863" fmla="*/ 1711643 w 2242184"/>
                  <a:gd name="connsiteY863" fmla="*/ 1684973 h 1686775"/>
                  <a:gd name="connsiteX864" fmla="*/ 1718310 w 2242184"/>
                  <a:gd name="connsiteY864" fmla="*/ 1682115 h 1686775"/>
                  <a:gd name="connsiteX865" fmla="*/ 1726883 w 2242184"/>
                  <a:gd name="connsiteY865" fmla="*/ 1676400 h 1686775"/>
                  <a:gd name="connsiteX866" fmla="*/ 1728788 w 2242184"/>
                  <a:gd name="connsiteY866" fmla="*/ 1670685 h 1686775"/>
                  <a:gd name="connsiteX867" fmla="*/ 1713548 w 2242184"/>
                  <a:gd name="connsiteY867" fmla="*/ 1667828 h 1686775"/>
                  <a:gd name="connsiteX868" fmla="*/ 1700213 w 2242184"/>
                  <a:gd name="connsiteY868" fmla="*/ 1662113 h 1686775"/>
                  <a:gd name="connsiteX869" fmla="*/ 1683068 w 2242184"/>
                  <a:gd name="connsiteY869" fmla="*/ 1644968 h 1686775"/>
                  <a:gd name="connsiteX870" fmla="*/ 1681163 w 2242184"/>
                  <a:gd name="connsiteY870" fmla="*/ 1633538 h 1686775"/>
                  <a:gd name="connsiteX871" fmla="*/ 1684020 w 2242184"/>
                  <a:gd name="connsiteY871" fmla="*/ 1619250 h 1686775"/>
                  <a:gd name="connsiteX872" fmla="*/ 1690688 w 2242184"/>
                  <a:gd name="connsiteY872" fmla="*/ 1609725 h 1686775"/>
                  <a:gd name="connsiteX873" fmla="*/ 1702118 w 2242184"/>
                  <a:gd name="connsiteY873" fmla="*/ 1597343 h 1686775"/>
                  <a:gd name="connsiteX874" fmla="*/ 1710690 w 2242184"/>
                  <a:gd name="connsiteY874" fmla="*/ 1591628 h 1686775"/>
                  <a:gd name="connsiteX875" fmla="*/ 1725930 w 2242184"/>
                  <a:gd name="connsiteY875" fmla="*/ 1585913 h 1686775"/>
                  <a:gd name="connsiteX876" fmla="*/ 1734503 w 2242184"/>
                  <a:gd name="connsiteY876" fmla="*/ 1579245 h 1686775"/>
                  <a:gd name="connsiteX877" fmla="*/ 1734503 w 2242184"/>
                  <a:gd name="connsiteY877" fmla="*/ 1573530 h 1686775"/>
                  <a:gd name="connsiteX878" fmla="*/ 1734503 w 2242184"/>
                  <a:gd name="connsiteY878" fmla="*/ 1567815 h 1686775"/>
                  <a:gd name="connsiteX879" fmla="*/ 1727835 w 2242184"/>
                  <a:gd name="connsiteY879" fmla="*/ 1562100 h 1686775"/>
                  <a:gd name="connsiteX880" fmla="*/ 1725930 w 2242184"/>
                  <a:gd name="connsiteY880" fmla="*/ 1552575 h 1686775"/>
                  <a:gd name="connsiteX881" fmla="*/ 1725930 w 2242184"/>
                  <a:gd name="connsiteY881" fmla="*/ 1545908 h 1686775"/>
                  <a:gd name="connsiteX882" fmla="*/ 1727835 w 2242184"/>
                  <a:gd name="connsiteY882" fmla="*/ 1540193 h 1686775"/>
                  <a:gd name="connsiteX883" fmla="*/ 1745933 w 2242184"/>
                  <a:gd name="connsiteY883" fmla="*/ 1528763 h 1686775"/>
                  <a:gd name="connsiteX884" fmla="*/ 1752600 w 2242184"/>
                  <a:gd name="connsiteY884" fmla="*/ 1523048 h 1686775"/>
                  <a:gd name="connsiteX885" fmla="*/ 1757363 w 2242184"/>
                  <a:gd name="connsiteY885" fmla="*/ 1511618 h 1686775"/>
                  <a:gd name="connsiteX886" fmla="*/ 1759268 w 2242184"/>
                  <a:gd name="connsiteY886" fmla="*/ 1504950 h 1686775"/>
                  <a:gd name="connsiteX887" fmla="*/ 1764030 w 2242184"/>
                  <a:gd name="connsiteY887" fmla="*/ 1499235 h 1686775"/>
                  <a:gd name="connsiteX888" fmla="*/ 1768793 w 2242184"/>
                  <a:gd name="connsiteY888" fmla="*/ 1490663 h 1686775"/>
                  <a:gd name="connsiteX889" fmla="*/ 1770698 w 2242184"/>
                  <a:gd name="connsiteY889" fmla="*/ 1484948 h 1686775"/>
                  <a:gd name="connsiteX890" fmla="*/ 1779270 w 2242184"/>
                  <a:gd name="connsiteY890" fmla="*/ 1482090 h 1686775"/>
                  <a:gd name="connsiteX891" fmla="*/ 1787843 w 2242184"/>
                  <a:gd name="connsiteY891" fmla="*/ 1479233 h 1686775"/>
                  <a:gd name="connsiteX892" fmla="*/ 1796415 w 2242184"/>
                  <a:gd name="connsiteY892" fmla="*/ 1470660 h 1686775"/>
                  <a:gd name="connsiteX893" fmla="*/ 1803083 w 2242184"/>
                  <a:gd name="connsiteY893" fmla="*/ 1466850 h 1686775"/>
                  <a:gd name="connsiteX894" fmla="*/ 1807845 w 2242184"/>
                  <a:gd name="connsiteY894" fmla="*/ 1460183 h 1686775"/>
                  <a:gd name="connsiteX895" fmla="*/ 1823085 w 2242184"/>
                  <a:gd name="connsiteY895" fmla="*/ 1460183 h 1686775"/>
                  <a:gd name="connsiteX896" fmla="*/ 1841183 w 2242184"/>
                  <a:gd name="connsiteY896" fmla="*/ 1459230 h 1686775"/>
                  <a:gd name="connsiteX897" fmla="*/ 1847850 w 2242184"/>
                  <a:gd name="connsiteY897" fmla="*/ 1458278 h 1686775"/>
                  <a:gd name="connsiteX898" fmla="*/ 1861185 w 2242184"/>
                  <a:gd name="connsiteY898" fmla="*/ 1452563 h 1686775"/>
                  <a:gd name="connsiteX899" fmla="*/ 1883093 w 2242184"/>
                  <a:gd name="connsiteY899" fmla="*/ 1445895 h 1686775"/>
                  <a:gd name="connsiteX900" fmla="*/ 1892618 w 2242184"/>
                  <a:gd name="connsiteY900" fmla="*/ 1434465 h 1686775"/>
                  <a:gd name="connsiteX901" fmla="*/ 1892618 w 2242184"/>
                  <a:gd name="connsiteY901" fmla="*/ 1422083 h 1686775"/>
                  <a:gd name="connsiteX902" fmla="*/ 1901190 w 2242184"/>
                  <a:gd name="connsiteY902" fmla="*/ 1413510 h 1686775"/>
                  <a:gd name="connsiteX903" fmla="*/ 1905953 w 2242184"/>
                  <a:gd name="connsiteY903" fmla="*/ 1407795 h 1686775"/>
                  <a:gd name="connsiteX904" fmla="*/ 1919288 w 2242184"/>
                  <a:gd name="connsiteY904" fmla="*/ 1406843 h 1686775"/>
                  <a:gd name="connsiteX905" fmla="*/ 1927860 w 2242184"/>
                  <a:gd name="connsiteY905" fmla="*/ 1408748 h 1686775"/>
                  <a:gd name="connsiteX906" fmla="*/ 1943100 w 2242184"/>
                  <a:gd name="connsiteY906" fmla="*/ 1403033 h 1686775"/>
                  <a:gd name="connsiteX907" fmla="*/ 1951673 w 2242184"/>
                  <a:gd name="connsiteY907" fmla="*/ 1397318 h 1686775"/>
                  <a:gd name="connsiteX908" fmla="*/ 1965008 w 2242184"/>
                  <a:gd name="connsiteY908" fmla="*/ 1387793 h 1686775"/>
                  <a:gd name="connsiteX909" fmla="*/ 1980248 w 2242184"/>
                  <a:gd name="connsiteY909" fmla="*/ 1376363 h 1686775"/>
                  <a:gd name="connsiteX910" fmla="*/ 1980248 w 2242184"/>
                  <a:gd name="connsiteY910" fmla="*/ 1370648 h 1686775"/>
                  <a:gd name="connsiteX911" fmla="*/ 1991678 w 2242184"/>
                  <a:gd name="connsiteY911" fmla="*/ 1358265 h 1686775"/>
                  <a:gd name="connsiteX912" fmla="*/ 2003108 w 2242184"/>
                  <a:gd name="connsiteY912" fmla="*/ 1349693 h 1686775"/>
                  <a:gd name="connsiteX913" fmla="*/ 2021205 w 2242184"/>
                  <a:gd name="connsiteY913" fmla="*/ 1343978 h 1686775"/>
                  <a:gd name="connsiteX914" fmla="*/ 2032635 w 2242184"/>
                  <a:gd name="connsiteY914" fmla="*/ 1334453 h 1686775"/>
                  <a:gd name="connsiteX915" fmla="*/ 2034540 w 2242184"/>
                  <a:gd name="connsiteY915" fmla="*/ 1327785 h 1686775"/>
                  <a:gd name="connsiteX916" fmla="*/ 2034540 w 2242184"/>
                  <a:gd name="connsiteY916" fmla="*/ 1319213 h 1686775"/>
                  <a:gd name="connsiteX917" fmla="*/ 2045970 w 2242184"/>
                  <a:gd name="connsiteY917" fmla="*/ 1306830 h 1686775"/>
                  <a:gd name="connsiteX918" fmla="*/ 2047875 w 2242184"/>
                  <a:gd name="connsiteY918" fmla="*/ 1301115 h 1686775"/>
                  <a:gd name="connsiteX919" fmla="*/ 2054543 w 2242184"/>
                  <a:gd name="connsiteY919" fmla="*/ 1294448 h 1686775"/>
                  <a:gd name="connsiteX920" fmla="*/ 2061210 w 2242184"/>
                  <a:gd name="connsiteY920" fmla="*/ 1293495 h 1686775"/>
                  <a:gd name="connsiteX921" fmla="*/ 2069783 w 2242184"/>
                  <a:gd name="connsiteY921" fmla="*/ 1284923 h 1686775"/>
                  <a:gd name="connsiteX922" fmla="*/ 2076450 w 2242184"/>
                  <a:gd name="connsiteY922" fmla="*/ 1283970 h 1686775"/>
                  <a:gd name="connsiteX923" fmla="*/ 2096453 w 2242184"/>
                  <a:gd name="connsiteY923" fmla="*/ 1274445 h 1686775"/>
                  <a:gd name="connsiteX924" fmla="*/ 2121218 w 2242184"/>
                  <a:gd name="connsiteY924" fmla="*/ 1270635 h 1686775"/>
                  <a:gd name="connsiteX925" fmla="*/ 2132648 w 2242184"/>
                  <a:gd name="connsiteY925" fmla="*/ 1266825 h 1686775"/>
                  <a:gd name="connsiteX926" fmla="*/ 2152650 w 2242184"/>
                  <a:gd name="connsiteY926" fmla="*/ 1261110 h 1686775"/>
                  <a:gd name="connsiteX927" fmla="*/ 2174558 w 2242184"/>
                  <a:gd name="connsiteY927" fmla="*/ 1252538 h 1686775"/>
                  <a:gd name="connsiteX928" fmla="*/ 2181225 w 2242184"/>
                  <a:gd name="connsiteY928" fmla="*/ 1245870 h 1686775"/>
                  <a:gd name="connsiteX929" fmla="*/ 2187893 w 2242184"/>
                  <a:gd name="connsiteY929" fmla="*/ 1236345 h 1686775"/>
                  <a:gd name="connsiteX930" fmla="*/ 2201228 w 2242184"/>
                  <a:gd name="connsiteY930" fmla="*/ 1224915 h 1686775"/>
                  <a:gd name="connsiteX931" fmla="*/ 2204085 w 2242184"/>
                  <a:gd name="connsiteY931" fmla="*/ 1203960 h 1686775"/>
                  <a:gd name="connsiteX932" fmla="*/ 2206943 w 2242184"/>
                  <a:gd name="connsiteY932" fmla="*/ 1194435 h 1686775"/>
                  <a:gd name="connsiteX933" fmla="*/ 2216468 w 2242184"/>
                  <a:gd name="connsiteY933" fmla="*/ 1182053 h 1686775"/>
                  <a:gd name="connsiteX934" fmla="*/ 2216468 w 2242184"/>
                  <a:gd name="connsiteY934" fmla="*/ 1172528 h 1686775"/>
                  <a:gd name="connsiteX935" fmla="*/ 2214563 w 2242184"/>
                  <a:gd name="connsiteY935" fmla="*/ 1165860 h 1686775"/>
                  <a:gd name="connsiteX936" fmla="*/ 2214563 w 2242184"/>
                  <a:gd name="connsiteY936" fmla="*/ 1160145 h 1686775"/>
                  <a:gd name="connsiteX937" fmla="*/ 2225993 w 2242184"/>
                  <a:gd name="connsiteY937" fmla="*/ 1151573 h 1686775"/>
                  <a:gd name="connsiteX938" fmla="*/ 2237423 w 2242184"/>
                  <a:gd name="connsiteY938" fmla="*/ 1127760 h 1686775"/>
                  <a:gd name="connsiteX939" fmla="*/ 2235518 w 2242184"/>
                  <a:gd name="connsiteY939" fmla="*/ 1113473 h 1686775"/>
                  <a:gd name="connsiteX940" fmla="*/ 2242185 w 2242184"/>
                  <a:gd name="connsiteY940" fmla="*/ 1098233 h 1686775"/>
                  <a:gd name="connsiteX941" fmla="*/ 1526858 w 2242184"/>
                  <a:gd name="connsiteY941" fmla="*/ 497205 h 1686775"/>
                  <a:gd name="connsiteX942" fmla="*/ 1528763 w 2242184"/>
                  <a:gd name="connsiteY942" fmla="*/ 494348 h 1686775"/>
                  <a:gd name="connsiteX943" fmla="*/ 1531620 w 2242184"/>
                  <a:gd name="connsiteY943" fmla="*/ 491490 h 1686775"/>
                  <a:gd name="connsiteX944" fmla="*/ 1540193 w 2242184"/>
                  <a:gd name="connsiteY944" fmla="*/ 491490 h 1686775"/>
                  <a:gd name="connsiteX945" fmla="*/ 1545908 w 2242184"/>
                  <a:gd name="connsiteY945" fmla="*/ 490537 h 1686775"/>
                  <a:gd name="connsiteX946" fmla="*/ 1553528 w 2242184"/>
                  <a:gd name="connsiteY946" fmla="*/ 490537 h 1686775"/>
                  <a:gd name="connsiteX947" fmla="*/ 1561148 w 2242184"/>
                  <a:gd name="connsiteY947" fmla="*/ 490537 h 1686775"/>
                  <a:gd name="connsiteX948" fmla="*/ 1576388 w 2242184"/>
                  <a:gd name="connsiteY948" fmla="*/ 489585 h 1686775"/>
                  <a:gd name="connsiteX949" fmla="*/ 1578293 w 2242184"/>
                  <a:gd name="connsiteY949" fmla="*/ 493395 h 1686775"/>
                  <a:gd name="connsiteX950" fmla="*/ 1578293 w 2242184"/>
                  <a:gd name="connsiteY950" fmla="*/ 494348 h 1686775"/>
                  <a:gd name="connsiteX951" fmla="*/ 1576388 w 2242184"/>
                  <a:gd name="connsiteY951" fmla="*/ 497205 h 1686775"/>
                  <a:gd name="connsiteX952" fmla="*/ 1571625 w 2242184"/>
                  <a:gd name="connsiteY952" fmla="*/ 498158 h 1686775"/>
                  <a:gd name="connsiteX953" fmla="*/ 1564005 w 2242184"/>
                  <a:gd name="connsiteY953" fmla="*/ 499110 h 1686775"/>
                  <a:gd name="connsiteX954" fmla="*/ 1557338 w 2242184"/>
                  <a:gd name="connsiteY954" fmla="*/ 500062 h 1686775"/>
                  <a:gd name="connsiteX955" fmla="*/ 1550670 w 2242184"/>
                  <a:gd name="connsiteY955" fmla="*/ 501015 h 1686775"/>
                  <a:gd name="connsiteX956" fmla="*/ 1539240 w 2242184"/>
                  <a:gd name="connsiteY956" fmla="*/ 501968 h 1686775"/>
                  <a:gd name="connsiteX957" fmla="*/ 1534478 w 2242184"/>
                  <a:gd name="connsiteY957" fmla="*/ 502920 h 1686775"/>
                  <a:gd name="connsiteX958" fmla="*/ 1528763 w 2242184"/>
                  <a:gd name="connsiteY958" fmla="*/ 503873 h 1686775"/>
                  <a:gd name="connsiteX959" fmla="*/ 1521143 w 2242184"/>
                  <a:gd name="connsiteY959" fmla="*/ 508635 h 1686775"/>
                  <a:gd name="connsiteX960" fmla="*/ 1510665 w 2242184"/>
                  <a:gd name="connsiteY960" fmla="*/ 514350 h 1686775"/>
                  <a:gd name="connsiteX961" fmla="*/ 1501140 w 2242184"/>
                  <a:gd name="connsiteY961" fmla="*/ 515302 h 1686775"/>
                  <a:gd name="connsiteX962" fmla="*/ 1495425 w 2242184"/>
                  <a:gd name="connsiteY962" fmla="*/ 516255 h 1686775"/>
                  <a:gd name="connsiteX963" fmla="*/ 1495425 w 2242184"/>
                  <a:gd name="connsiteY963" fmla="*/ 516255 h 1686775"/>
                  <a:gd name="connsiteX964" fmla="*/ 1495425 w 2242184"/>
                  <a:gd name="connsiteY964" fmla="*/ 516255 h 1686775"/>
                  <a:gd name="connsiteX965" fmla="*/ 1483995 w 2242184"/>
                  <a:gd name="connsiteY965" fmla="*/ 518160 h 1686775"/>
                  <a:gd name="connsiteX966" fmla="*/ 1474470 w 2242184"/>
                  <a:gd name="connsiteY966" fmla="*/ 516255 h 1686775"/>
                  <a:gd name="connsiteX967" fmla="*/ 1467803 w 2242184"/>
                  <a:gd name="connsiteY967" fmla="*/ 514350 h 1686775"/>
                  <a:gd name="connsiteX968" fmla="*/ 1467803 w 2242184"/>
                  <a:gd name="connsiteY968" fmla="*/ 510540 h 1686775"/>
                  <a:gd name="connsiteX969" fmla="*/ 1471613 w 2242184"/>
                  <a:gd name="connsiteY969" fmla="*/ 503873 h 1686775"/>
                  <a:gd name="connsiteX970" fmla="*/ 1477328 w 2242184"/>
                  <a:gd name="connsiteY970" fmla="*/ 502920 h 1686775"/>
                  <a:gd name="connsiteX971" fmla="*/ 1488758 w 2242184"/>
                  <a:gd name="connsiteY971" fmla="*/ 502920 h 1686775"/>
                  <a:gd name="connsiteX972" fmla="*/ 1491615 w 2242184"/>
                  <a:gd name="connsiteY972" fmla="*/ 502920 h 1686775"/>
                  <a:gd name="connsiteX973" fmla="*/ 1502093 w 2242184"/>
                  <a:gd name="connsiteY973" fmla="*/ 502920 h 1686775"/>
                  <a:gd name="connsiteX974" fmla="*/ 1509713 w 2242184"/>
                  <a:gd name="connsiteY974" fmla="*/ 501968 h 1686775"/>
                  <a:gd name="connsiteX975" fmla="*/ 1518285 w 2242184"/>
                  <a:gd name="connsiteY975" fmla="*/ 501015 h 1686775"/>
                  <a:gd name="connsiteX976" fmla="*/ 1524000 w 2242184"/>
                  <a:gd name="connsiteY976" fmla="*/ 498158 h 1686775"/>
                  <a:gd name="connsiteX977" fmla="*/ 1526858 w 2242184"/>
                  <a:gd name="connsiteY977" fmla="*/ 497205 h 1686775"/>
                  <a:gd name="connsiteX978" fmla="*/ 1446848 w 2242184"/>
                  <a:gd name="connsiteY978" fmla="*/ 462915 h 1686775"/>
                  <a:gd name="connsiteX979" fmla="*/ 1453515 w 2242184"/>
                  <a:gd name="connsiteY979" fmla="*/ 462915 h 1686775"/>
                  <a:gd name="connsiteX980" fmla="*/ 1463993 w 2242184"/>
                  <a:gd name="connsiteY980" fmla="*/ 462915 h 1686775"/>
                  <a:gd name="connsiteX981" fmla="*/ 1468755 w 2242184"/>
                  <a:gd name="connsiteY981" fmla="*/ 461962 h 1686775"/>
                  <a:gd name="connsiteX982" fmla="*/ 1479233 w 2242184"/>
                  <a:gd name="connsiteY982" fmla="*/ 461010 h 1686775"/>
                  <a:gd name="connsiteX983" fmla="*/ 1490663 w 2242184"/>
                  <a:gd name="connsiteY983" fmla="*/ 460058 h 1686775"/>
                  <a:gd name="connsiteX984" fmla="*/ 1502093 w 2242184"/>
                  <a:gd name="connsiteY984" fmla="*/ 461010 h 1686775"/>
                  <a:gd name="connsiteX985" fmla="*/ 1513523 w 2242184"/>
                  <a:gd name="connsiteY985" fmla="*/ 461010 h 1686775"/>
                  <a:gd name="connsiteX986" fmla="*/ 1515428 w 2242184"/>
                  <a:gd name="connsiteY986" fmla="*/ 466725 h 1686775"/>
                  <a:gd name="connsiteX987" fmla="*/ 1518285 w 2242184"/>
                  <a:gd name="connsiteY987" fmla="*/ 466725 h 1686775"/>
                  <a:gd name="connsiteX988" fmla="*/ 1521143 w 2242184"/>
                  <a:gd name="connsiteY988" fmla="*/ 467677 h 1686775"/>
                  <a:gd name="connsiteX989" fmla="*/ 1520190 w 2242184"/>
                  <a:gd name="connsiteY989" fmla="*/ 469583 h 1686775"/>
                  <a:gd name="connsiteX990" fmla="*/ 1515428 w 2242184"/>
                  <a:gd name="connsiteY990" fmla="*/ 472440 h 1686775"/>
                  <a:gd name="connsiteX991" fmla="*/ 1511618 w 2242184"/>
                  <a:gd name="connsiteY991" fmla="*/ 473393 h 1686775"/>
                  <a:gd name="connsiteX992" fmla="*/ 1504950 w 2242184"/>
                  <a:gd name="connsiteY992" fmla="*/ 473393 h 1686775"/>
                  <a:gd name="connsiteX993" fmla="*/ 1498283 w 2242184"/>
                  <a:gd name="connsiteY993" fmla="*/ 473393 h 1686775"/>
                  <a:gd name="connsiteX994" fmla="*/ 1495425 w 2242184"/>
                  <a:gd name="connsiteY994" fmla="*/ 474345 h 1686775"/>
                  <a:gd name="connsiteX995" fmla="*/ 1493520 w 2242184"/>
                  <a:gd name="connsiteY995" fmla="*/ 478155 h 1686775"/>
                  <a:gd name="connsiteX996" fmla="*/ 1492568 w 2242184"/>
                  <a:gd name="connsiteY996" fmla="*/ 485775 h 1686775"/>
                  <a:gd name="connsiteX997" fmla="*/ 1483043 w 2242184"/>
                  <a:gd name="connsiteY997" fmla="*/ 488633 h 1686775"/>
                  <a:gd name="connsiteX998" fmla="*/ 1477328 w 2242184"/>
                  <a:gd name="connsiteY998" fmla="*/ 488633 h 1686775"/>
                  <a:gd name="connsiteX999" fmla="*/ 1471613 w 2242184"/>
                  <a:gd name="connsiteY999" fmla="*/ 484823 h 1686775"/>
                  <a:gd name="connsiteX1000" fmla="*/ 1464945 w 2242184"/>
                  <a:gd name="connsiteY1000" fmla="*/ 482918 h 1686775"/>
                  <a:gd name="connsiteX1001" fmla="*/ 1460183 w 2242184"/>
                  <a:gd name="connsiteY1001" fmla="*/ 478155 h 1686775"/>
                  <a:gd name="connsiteX1002" fmla="*/ 1460183 w 2242184"/>
                  <a:gd name="connsiteY1002" fmla="*/ 476250 h 1686775"/>
                  <a:gd name="connsiteX1003" fmla="*/ 1457325 w 2242184"/>
                  <a:gd name="connsiteY1003" fmla="*/ 473393 h 1686775"/>
                  <a:gd name="connsiteX1004" fmla="*/ 1450658 w 2242184"/>
                  <a:gd name="connsiteY1004" fmla="*/ 469583 h 1686775"/>
                  <a:gd name="connsiteX1005" fmla="*/ 1444943 w 2242184"/>
                  <a:gd name="connsiteY1005" fmla="*/ 469583 h 1686775"/>
                  <a:gd name="connsiteX1006" fmla="*/ 1436370 w 2242184"/>
                  <a:gd name="connsiteY1006" fmla="*/ 469583 h 1686775"/>
                  <a:gd name="connsiteX1007" fmla="*/ 1431608 w 2242184"/>
                  <a:gd name="connsiteY1007" fmla="*/ 469583 h 1686775"/>
                  <a:gd name="connsiteX1008" fmla="*/ 1425893 w 2242184"/>
                  <a:gd name="connsiteY1008" fmla="*/ 472440 h 1686775"/>
                  <a:gd name="connsiteX1009" fmla="*/ 1421130 w 2242184"/>
                  <a:gd name="connsiteY1009" fmla="*/ 474345 h 1686775"/>
                  <a:gd name="connsiteX1010" fmla="*/ 1416368 w 2242184"/>
                  <a:gd name="connsiteY1010" fmla="*/ 478155 h 1686775"/>
                  <a:gd name="connsiteX1011" fmla="*/ 1415415 w 2242184"/>
                  <a:gd name="connsiteY1011" fmla="*/ 480060 h 1686775"/>
                  <a:gd name="connsiteX1012" fmla="*/ 1414463 w 2242184"/>
                  <a:gd name="connsiteY1012" fmla="*/ 484823 h 1686775"/>
                  <a:gd name="connsiteX1013" fmla="*/ 1410653 w 2242184"/>
                  <a:gd name="connsiteY1013" fmla="*/ 486727 h 1686775"/>
                  <a:gd name="connsiteX1014" fmla="*/ 1409700 w 2242184"/>
                  <a:gd name="connsiteY1014" fmla="*/ 492443 h 1686775"/>
                  <a:gd name="connsiteX1015" fmla="*/ 1407795 w 2242184"/>
                  <a:gd name="connsiteY1015" fmla="*/ 499110 h 1686775"/>
                  <a:gd name="connsiteX1016" fmla="*/ 1406843 w 2242184"/>
                  <a:gd name="connsiteY1016" fmla="*/ 502920 h 1686775"/>
                  <a:gd name="connsiteX1017" fmla="*/ 1405890 w 2242184"/>
                  <a:gd name="connsiteY1017" fmla="*/ 504825 h 1686775"/>
                  <a:gd name="connsiteX1018" fmla="*/ 1400175 w 2242184"/>
                  <a:gd name="connsiteY1018" fmla="*/ 504825 h 1686775"/>
                  <a:gd name="connsiteX1019" fmla="*/ 1396365 w 2242184"/>
                  <a:gd name="connsiteY1019" fmla="*/ 504825 h 1686775"/>
                  <a:gd name="connsiteX1020" fmla="*/ 1391603 w 2242184"/>
                  <a:gd name="connsiteY1020" fmla="*/ 502920 h 1686775"/>
                  <a:gd name="connsiteX1021" fmla="*/ 1388745 w 2242184"/>
                  <a:gd name="connsiteY1021" fmla="*/ 500062 h 1686775"/>
                  <a:gd name="connsiteX1022" fmla="*/ 1389698 w 2242184"/>
                  <a:gd name="connsiteY1022" fmla="*/ 493395 h 1686775"/>
                  <a:gd name="connsiteX1023" fmla="*/ 1387793 w 2242184"/>
                  <a:gd name="connsiteY1023" fmla="*/ 486727 h 1686775"/>
                  <a:gd name="connsiteX1024" fmla="*/ 1387793 w 2242184"/>
                  <a:gd name="connsiteY1024" fmla="*/ 483870 h 1686775"/>
                  <a:gd name="connsiteX1025" fmla="*/ 1387793 w 2242184"/>
                  <a:gd name="connsiteY1025" fmla="*/ 477202 h 1686775"/>
                  <a:gd name="connsiteX1026" fmla="*/ 1391603 w 2242184"/>
                  <a:gd name="connsiteY1026" fmla="*/ 473393 h 1686775"/>
                  <a:gd name="connsiteX1027" fmla="*/ 1395413 w 2242184"/>
                  <a:gd name="connsiteY1027" fmla="*/ 469583 h 1686775"/>
                  <a:gd name="connsiteX1028" fmla="*/ 1403985 w 2242184"/>
                  <a:gd name="connsiteY1028" fmla="*/ 467677 h 1686775"/>
                  <a:gd name="connsiteX1029" fmla="*/ 1413510 w 2242184"/>
                  <a:gd name="connsiteY1029" fmla="*/ 464820 h 1686775"/>
                  <a:gd name="connsiteX1030" fmla="*/ 1414463 w 2242184"/>
                  <a:gd name="connsiteY1030" fmla="*/ 462915 h 1686775"/>
                  <a:gd name="connsiteX1031" fmla="*/ 1422083 w 2242184"/>
                  <a:gd name="connsiteY1031" fmla="*/ 460058 h 1686775"/>
                  <a:gd name="connsiteX1032" fmla="*/ 1423988 w 2242184"/>
                  <a:gd name="connsiteY1032" fmla="*/ 460058 h 1686775"/>
                  <a:gd name="connsiteX1033" fmla="*/ 1429703 w 2242184"/>
                  <a:gd name="connsiteY1033" fmla="*/ 460058 h 1686775"/>
                  <a:gd name="connsiteX1034" fmla="*/ 1434465 w 2242184"/>
                  <a:gd name="connsiteY1034" fmla="*/ 460058 h 1686775"/>
                  <a:gd name="connsiteX1035" fmla="*/ 1446848 w 2242184"/>
                  <a:gd name="connsiteY1035" fmla="*/ 462915 h 1686775"/>
                  <a:gd name="connsiteX1036" fmla="*/ 1322070 w 2242184"/>
                  <a:gd name="connsiteY1036" fmla="*/ 445770 h 1686775"/>
                  <a:gd name="connsiteX1037" fmla="*/ 1324928 w 2242184"/>
                  <a:gd name="connsiteY1037" fmla="*/ 443865 h 1686775"/>
                  <a:gd name="connsiteX1038" fmla="*/ 1329690 w 2242184"/>
                  <a:gd name="connsiteY1038" fmla="*/ 441960 h 1686775"/>
                  <a:gd name="connsiteX1039" fmla="*/ 1333500 w 2242184"/>
                  <a:gd name="connsiteY1039" fmla="*/ 439102 h 1686775"/>
                  <a:gd name="connsiteX1040" fmla="*/ 1334453 w 2242184"/>
                  <a:gd name="connsiteY1040" fmla="*/ 437198 h 1686775"/>
                  <a:gd name="connsiteX1041" fmla="*/ 1338263 w 2242184"/>
                  <a:gd name="connsiteY1041" fmla="*/ 436245 h 1686775"/>
                  <a:gd name="connsiteX1042" fmla="*/ 1348740 w 2242184"/>
                  <a:gd name="connsiteY1042" fmla="*/ 432435 h 1686775"/>
                  <a:gd name="connsiteX1043" fmla="*/ 1353503 w 2242184"/>
                  <a:gd name="connsiteY1043" fmla="*/ 429577 h 1686775"/>
                  <a:gd name="connsiteX1044" fmla="*/ 1355408 w 2242184"/>
                  <a:gd name="connsiteY1044" fmla="*/ 428625 h 1686775"/>
                  <a:gd name="connsiteX1045" fmla="*/ 1357313 w 2242184"/>
                  <a:gd name="connsiteY1045" fmla="*/ 428625 h 1686775"/>
                  <a:gd name="connsiteX1046" fmla="*/ 1363980 w 2242184"/>
                  <a:gd name="connsiteY1046" fmla="*/ 428625 h 1686775"/>
                  <a:gd name="connsiteX1047" fmla="*/ 1366838 w 2242184"/>
                  <a:gd name="connsiteY1047" fmla="*/ 428625 h 1686775"/>
                  <a:gd name="connsiteX1048" fmla="*/ 1376363 w 2242184"/>
                  <a:gd name="connsiteY1048" fmla="*/ 427673 h 1686775"/>
                  <a:gd name="connsiteX1049" fmla="*/ 1381125 w 2242184"/>
                  <a:gd name="connsiteY1049" fmla="*/ 425768 h 1686775"/>
                  <a:gd name="connsiteX1050" fmla="*/ 1384935 w 2242184"/>
                  <a:gd name="connsiteY1050" fmla="*/ 424815 h 1686775"/>
                  <a:gd name="connsiteX1051" fmla="*/ 1387793 w 2242184"/>
                  <a:gd name="connsiteY1051" fmla="*/ 423862 h 1686775"/>
                  <a:gd name="connsiteX1052" fmla="*/ 1392555 w 2242184"/>
                  <a:gd name="connsiteY1052" fmla="*/ 424815 h 1686775"/>
                  <a:gd name="connsiteX1053" fmla="*/ 1397318 w 2242184"/>
                  <a:gd name="connsiteY1053" fmla="*/ 425768 h 1686775"/>
                  <a:gd name="connsiteX1054" fmla="*/ 1403033 w 2242184"/>
                  <a:gd name="connsiteY1054" fmla="*/ 428625 h 1686775"/>
                  <a:gd name="connsiteX1055" fmla="*/ 1408748 w 2242184"/>
                  <a:gd name="connsiteY1055" fmla="*/ 431483 h 1686775"/>
                  <a:gd name="connsiteX1056" fmla="*/ 1411605 w 2242184"/>
                  <a:gd name="connsiteY1056" fmla="*/ 433387 h 1686775"/>
                  <a:gd name="connsiteX1057" fmla="*/ 1418273 w 2242184"/>
                  <a:gd name="connsiteY1057" fmla="*/ 435293 h 1686775"/>
                  <a:gd name="connsiteX1058" fmla="*/ 1421130 w 2242184"/>
                  <a:gd name="connsiteY1058" fmla="*/ 436245 h 1686775"/>
                  <a:gd name="connsiteX1059" fmla="*/ 1423035 w 2242184"/>
                  <a:gd name="connsiteY1059" fmla="*/ 437198 h 1686775"/>
                  <a:gd name="connsiteX1060" fmla="*/ 1424940 w 2242184"/>
                  <a:gd name="connsiteY1060" fmla="*/ 439102 h 1686775"/>
                  <a:gd name="connsiteX1061" fmla="*/ 1425893 w 2242184"/>
                  <a:gd name="connsiteY1061" fmla="*/ 440055 h 1686775"/>
                  <a:gd name="connsiteX1062" fmla="*/ 1432560 w 2242184"/>
                  <a:gd name="connsiteY1062" fmla="*/ 446723 h 1686775"/>
                  <a:gd name="connsiteX1063" fmla="*/ 1429703 w 2242184"/>
                  <a:gd name="connsiteY1063" fmla="*/ 446723 h 1686775"/>
                  <a:gd name="connsiteX1064" fmla="*/ 1411605 w 2242184"/>
                  <a:gd name="connsiteY1064" fmla="*/ 447675 h 1686775"/>
                  <a:gd name="connsiteX1065" fmla="*/ 1404938 w 2242184"/>
                  <a:gd name="connsiteY1065" fmla="*/ 447675 h 1686775"/>
                  <a:gd name="connsiteX1066" fmla="*/ 1399223 w 2242184"/>
                  <a:gd name="connsiteY1066" fmla="*/ 447675 h 1686775"/>
                  <a:gd name="connsiteX1067" fmla="*/ 1393508 w 2242184"/>
                  <a:gd name="connsiteY1067" fmla="*/ 447675 h 1686775"/>
                  <a:gd name="connsiteX1068" fmla="*/ 1388745 w 2242184"/>
                  <a:gd name="connsiteY1068" fmla="*/ 447675 h 1686775"/>
                  <a:gd name="connsiteX1069" fmla="*/ 1381125 w 2242184"/>
                  <a:gd name="connsiteY1069" fmla="*/ 447675 h 1686775"/>
                  <a:gd name="connsiteX1070" fmla="*/ 1373505 w 2242184"/>
                  <a:gd name="connsiteY1070" fmla="*/ 449580 h 1686775"/>
                  <a:gd name="connsiteX1071" fmla="*/ 1360170 w 2242184"/>
                  <a:gd name="connsiteY1071" fmla="*/ 449580 h 1686775"/>
                  <a:gd name="connsiteX1072" fmla="*/ 1354455 w 2242184"/>
                  <a:gd name="connsiteY1072" fmla="*/ 449580 h 1686775"/>
                  <a:gd name="connsiteX1073" fmla="*/ 1342073 w 2242184"/>
                  <a:gd name="connsiteY1073" fmla="*/ 452437 h 1686775"/>
                  <a:gd name="connsiteX1074" fmla="*/ 1339215 w 2242184"/>
                  <a:gd name="connsiteY1074" fmla="*/ 453390 h 1686775"/>
                  <a:gd name="connsiteX1075" fmla="*/ 1331595 w 2242184"/>
                  <a:gd name="connsiteY1075" fmla="*/ 455295 h 1686775"/>
                  <a:gd name="connsiteX1076" fmla="*/ 1325880 w 2242184"/>
                  <a:gd name="connsiteY1076" fmla="*/ 455295 h 1686775"/>
                  <a:gd name="connsiteX1077" fmla="*/ 1322070 w 2242184"/>
                  <a:gd name="connsiteY1077" fmla="*/ 455295 h 1686775"/>
                  <a:gd name="connsiteX1078" fmla="*/ 1320165 w 2242184"/>
                  <a:gd name="connsiteY1078" fmla="*/ 452437 h 1686775"/>
                  <a:gd name="connsiteX1079" fmla="*/ 1320165 w 2242184"/>
                  <a:gd name="connsiteY1079" fmla="*/ 449580 h 1686775"/>
                  <a:gd name="connsiteX1080" fmla="*/ 1322070 w 2242184"/>
                  <a:gd name="connsiteY1080" fmla="*/ 445770 h 1686775"/>
                  <a:gd name="connsiteX1081" fmla="*/ 1762125 w 2242184"/>
                  <a:gd name="connsiteY1081" fmla="*/ 147637 h 1686775"/>
                  <a:gd name="connsiteX1082" fmla="*/ 1762125 w 2242184"/>
                  <a:gd name="connsiteY1082" fmla="*/ 147637 h 1686775"/>
                  <a:gd name="connsiteX1083" fmla="*/ 1762125 w 2242184"/>
                  <a:gd name="connsiteY1083" fmla="*/ 147637 h 1686775"/>
                  <a:gd name="connsiteX1084" fmla="*/ 870585 w 2242184"/>
                  <a:gd name="connsiteY1084" fmla="*/ 141923 h 1686775"/>
                  <a:gd name="connsiteX1085" fmla="*/ 862965 w 2242184"/>
                  <a:gd name="connsiteY1085" fmla="*/ 145733 h 1686775"/>
                  <a:gd name="connsiteX1086" fmla="*/ 854393 w 2242184"/>
                  <a:gd name="connsiteY1086" fmla="*/ 146685 h 1686775"/>
                  <a:gd name="connsiteX1087" fmla="*/ 851535 w 2242184"/>
                  <a:gd name="connsiteY1087" fmla="*/ 146685 h 1686775"/>
                  <a:gd name="connsiteX1088" fmla="*/ 844868 w 2242184"/>
                  <a:gd name="connsiteY1088" fmla="*/ 146685 h 1686775"/>
                  <a:gd name="connsiteX1089" fmla="*/ 840105 w 2242184"/>
                  <a:gd name="connsiteY1089" fmla="*/ 147637 h 1686775"/>
                  <a:gd name="connsiteX1090" fmla="*/ 834390 w 2242184"/>
                  <a:gd name="connsiteY1090" fmla="*/ 149542 h 1686775"/>
                  <a:gd name="connsiteX1091" fmla="*/ 829628 w 2242184"/>
                  <a:gd name="connsiteY1091" fmla="*/ 147637 h 1686775"/>
                  <a:gd name="connsiteX1092" fmla="*/ 826770 w 2242184"/>
                  <a:gd name="connsiteY1092" fmla="*/ 145733 h 1686775"/>
                  <a:gd name="connsiteX1093" fmla="*/ 819150 w 2242184"/>
                  <a:gd name="connsiteY1093" fmla="*/ 144780 h 1686775"/>
                  <a:gd name="connsiteX1094" fmla="*/ 811530 w 2242184"/>
                  <a:gd name="connsiteY1094" fmla="*/ 144780 h 1686775"/>
                  <a:gd name="connsiteX1095" fmla="*/ 804863 w 2242184"/>
                  <a:gd name="connsiteY1095" fmla="*/ 144780 h 1686775"/>
                  <a:gd name="connsiteX1096" fmla="*/ 800100 w 2242184"/>
                  <a:gd name="connsiteY1096" fmla="*/ 142875 h 1686775"/>
                  <a:gd name="connsiteX1097" fmla="*/ 788670 w 2242184"/>
                  <a:gd name="connsiteY1097" fmla="*/ 142875 h 1686775"/>
                  <a:gd name="connsiteX1098" fmla="*/ 784860 w 2242184"/>
                  <a:gd name="connsiteY1098" fmla="*/ 142875 h 1686775"/>
                  <a:gd name="connsiteX1099" fmla="*/ 776288 w 2242184"/>
                  <a:gd name="connsiteY1099" fmla="*/ 141923 h 1686775"/>
                  <a:gd name="connsiteX1100" fmla="*/ 764858 w 2242184"/>
                  <a:gd name="connsiteY1100" fmla="*/ 140970 h 1686775"/>
                  <a:gd name="connsiteX1101" fmla="*/ 756285 w 2242184"/>
                  <a:gd name="connsiteY1101" fmla="*/ 140017 h 1686775"/>
                  <a:gd name="connsiteX1102" fmla="*/ 750570 w 2242184"/>
                  <a:gd name="connsiteY1102" fmla="*/ 135255 h 1686775"/>
                  <a:gd name="connsiteX1103" fmla="*/ 751523 w 2242184"/>
                  <a:gd name="connsiteY1103" fmla="*/ 133350 h 1686775"/>
                  <a:gd name="connsiteX1104" fmla="*/ 754380 w 2242184"/>
                  <a:gd name="connsiteY1104" fmla="*/ 131445 h 1686775"/>
                  <a:gd name="connsiteX1105" fmla="*/ 760095 w 2242184"/>
                  <a:gd name="connsiteY1105" fmla="*/ 131445 h 1686775"/>
                  <a:gd name="connsiteX1106" fmla="*/ 771525 w 2242184"/>
                  <a:gd name="connsiteY1106" fmla="*/ 131445 h 1686775"/>
                  <a:gd name="connsiteX1107" fmla="*/ 776288 w 2242184"/>
                  <a:gd name="connsiteY1107" fmla="*/ 131445 h 1686775"/>
                  <a:gd name="connsiteX1108" fmla="*/ 783908 w 2242184"/>
                  <a:gd name="connsiteY1108" fmla="*/ 131445 h 1686775"/>
                  <a:gd name="connsiteX1109" fmla="*/ 792480 w 2242184"/>
                  <a:gd name="connsiteY1109" fmla="*/ 129540 h 1686775"/>
                  <a:gd name="connsiteX1110" fmla="*/ 794385 w 2242184"/>
                  <a:gd name="connsiteY1110" fmla="*/ 129540 h 1686775"/>
                  <a:gd name="connsiteX1111" fmla="*/ 793433 w 2242184"/>
                  <a:gd name="connsiteY1111" fmla="*/ 129540 h 1686775"/>
                  <a:gd name="connsiteX1112" fmla="*/ 793433 w 2242184"/>
                  <a:gd name="connsiteY1112" fmla="*/ 129540 h 1686775"/>
                  <a:gd name="connsiteX1113" fmla="*/ 792480 w 2242184"/>
                  <a:gd name="connsiteY1113" fmla="*/ 129540 h 1686775"/>
                  <a:gd name="connsiteX1114" fmla="*/ 793433 w 2242184"/>
                  <a:gd name="connsiteY1114" fmla="*/ 129540 h 1686775"/>
                  <a:gd name="connsiteX1115" fmla="*/ 793433 w 2242184"/>
                  <a:gd name="connsiteY1115" fmla="*/ 129540 h 1686775"/>
                  <a:gd name="connsiteX1116" fmla="*/ 794385 w 2242184"/>
                  <a:gd name="connsiteY1116" fmla="*/ 129540 h 1686775"/>
                  <a:gd name="connsiteX1117" fmla="*/ 802958 w 2242184"/>
                  <a:gd name="connsiteY1117" fmla="*/ 128587 h 1686775"/>
                  <a:gd name="connsiteX1118" fmla="*/ 805815 w 2242184"/>
                  <a:gd name="connsiteY1118" fmla="*/ 128587 h 1686775"/>
                  <a:gd name="connsiteX1119" fmla="*/ 815340 w 2242184"/>
                  <a:gd name="connsiteY1119" fmla="*/ 128587 h 1686775"/>
                  <a:gd name="connsiteX1120" fmla="*/ 822008 w 2242184"/>
                  <a:gd name="connsiteY1120" fmla="*/ 128587 h 1686775"/>
                  <a:gd name="connsiteX1121" fmla="*/ 827723 w 2242184"/>
                  <a:gd name="connsiteY1121" fmla="*/ 129540 h 1686775"/>
                  <a:gd name="connsiteX1122" fmla="*/ 832485 w 2242184"/>
                  <a:gd name="connsiteY1122" fmla="*/ 130492 h 1686775"/>
                  <a:gd name="connsiteX1123" fmla="*/ 832485 w 2242184"/>
                  <a:gd name="connsiteY1123" fmla="*/ 131445 h 1686775"/>
                  <a:gd name="connsiteX1124" fmla="*/ 840105 w 2242184"/>
                  <a:gd name="connsiteY1124" fmla="*/ 135255 h 1686775"/>
                  <a:gd name="connsiteX1125" fmla="*/ 842963 w 2242184"/>
                  <a:gd name="connsiteY1125" fmla="*/ 136208 h 1686775"/>
                  <a:gd name="connsiteX1126" fmla="*/ 852488 w 2242184"/>
                  <a:gd name="connsiteY1126" fmla="*/ 131445 h 1686775"/>
                  <a:gd name="connsiteX1127" fmla="*/ 857250 w 2242184"/>
                  <a:gd name="connsiteY1127" fmla="*/ 132398 h 1686775"/>
                  <a:gd name="connsiteX1128" fmla="*/ 862013 w 2242184"/>
                  <a:gd name="connsiteY1128" fmla="*/ 131445 h 1686775"/>
                  <a:gd name="connsiteX1129" fmla="*/ 869633 w 2242184"/>
                  <a:gd name="connsiteY1129" fmla="*/ 132398 h 1686775"/>
                  <a:gd name="connsiteX1130" fmla="*/ 872490 w 2242184"/>
                  <a:gd name="connsiteY1130" fmla="*/ 134303 h 1686775"/>
                  <a:gd name="connsiteX1131" fmla="*/ 873443 w 2242184"/>
                  <a:gd name="connsiteY1131" fmla="*/ 136208 h 1686775"/>
                  <a:gd name="connsiteX1132" fmla="*/ 870585 w 2242184"/>
                  <a:gd name="connsiteY1132" fmla="*/ 141923 h 1686775"/>
                  <a:gd name="connsiteX1133" fmla="*/ 1010603 w 2242184"/>
                  <a:gd name="connsiteY1133" fmla="*/ 202883 h 1686775"/>
                  <a:gd name="connsiteX1134" fmla="*/ 1005840 w 2242184"/>
                  <a:gd name="connsiteY1134" fmla="*/ 204787 h 1686775"/>
                  <a:gd name="connsiteX1135" fmla="*/ 1000125 w 2242184"/>
                  <a:gd name="connsiteY1135" fmla="*/ 206692 h 1686775"/>
                  <a:gd name="connsiteX1136" fmla="*/ 992505 w 2242184"/>
                  <a:gd name="connsiteY1136" fmla="*/ 206692 h 1686775"/>
                  <a:gd name="connsiteX1137" fmla="*/ 984885 w 2242184"/>
                  <a:gd name="connsiteY1137" fmla="*/ 207645 h 1686775"/>
                  <a:gd name="connsiteX1138" fmla="*/ 977265 w 2242184"/>
                  <a:gd name="connsiteY1138" fmla="*/ 209550 h 1686775"/>
                  <a:gd name="connsiteX1139" fmla="*/ 969645 w 2242184"/>
                  <a:gd name="connsiteY1139" fmla="*/ 212408 h 1686775"/>
                  <a:gd name="connsiteX1140" fmla="*/ 963930 w 2242184"/>
                  <a:gd name="connsiteY1140" fmla="*/ 213360 h 1686775"/>
                  <a:gd name="connsiteX1141" fmla="*/ 961073 w 2242184"/>
                  <a:gd name="connsiteY1141" fmla="*/ 217170 h 1686775"/>
                  <a:gd name="connsiteX1142" fmla="*/ 953453 w 2242184"/>
                  <a:gd name="connsiteY1142" fmla="*/ 219075 h 1686775"/>
                  <a:gd name="connsiteX1143" fmla="*/ 943928 w 2242184"/>
                  <a:gd name="connsiteY1143" fmla="*/ 220980 h 1686775"/>
                  <a:gd name="connsiteX1144" fmla="*/ 935355 w 2242184"/>
                  <a:gd name="connsiteY1144" fmla="*/ 220980 h 1686775"/>
                  <a:gd name="connsiteX1145" fmla="*/ 925830 w 2242184"/>
                  <a:gd name="connsiteY1145" fmla="*/ 220980 h 1686775"/>
                  <a:gd name="connsiteX1146" fmla="*/ 917258 w 2242184"/>
                  <a:gd name="connsiteY1146" fmla="*/ 220980 h 1686775"/>
                  <a:gd name="connsiteX1147" fmla="*/ 910590 w 2242184"/>
                  <a:gd name="connsiteY1147" fmla="*/ 221933 h 1686775"/>
                  <a:gd name="connsiteX1148" fmla="*/ 903923 w 2242184"/>
                  <a:gd name="connsiteY1148" fmla="*/ 224790 h 1686775"/>
                  <a:gd name="connsiteX1149" fmla="*/ 895350 w 2242184"/>
                  <a:gd name="connsiteY1149" fmla="*/ 226695 h 1686775"/>
                  <a:gd name="connsiteX1150" fmla="*/ 887730 w 2242184"/>
                  <a:gd name="connsiteY1150" fmla="*/ 227648 h 1686775"/>
                  <a:gd name="connsiteX1151" fmla="*/ 886778 w 2242184"/>
                  <a:gd name="connsiteY1151" fmla="*/ 221933 h 1686775"/>
                  <a:gd name="connsiteX1152" fmla="*/ 887730 w 2242184"/>
                  <a:gd name="connsiteY1152" fmla="*/ 220980 h 1686775"/>
                  <a:gd name="connsiteX1153" fmla="*/ 892493 w 2242184"/>
                  <a:gd name="connsiteY1153" fmla="*/ 220028 h 1686775"/>
                  <a:gd name="connsiteX1154" fmla="*/ 895350 w 2242184"/>
                  <a:gd name="connsiteY1154" fmla="*/ 219075 h 1686775"/>
                  <a:gd name="connsiteX1155" fmla="*/ 902018 w 2242184"/>
                  <a:gd name="connsiteY1155" fmla="*/ 216217 h 1686775"/>
                  <a:gd name="connsiteX1156" fmla="*/ 910590 w 2242184"/>
                  <a:gd name="connsiteY1156" fmla="*/ 214312 h 1686775"/>
                  <a:gd name="connsiteX1157" fmla="*/ 918210 w 2242184"/>
                  <a:gd name="connsiteY1157" fmla="*/ 211455 h 1686775"/>
                  <a:gd name="connsiteX1158" fmla="*/ 922020 w 2242184"/>
                  <a:gd name="connsiteY1158" fmla="*/ 206692 h 1686775"/>
                  <a:gd name="connsiteX1159" fmla="*/ 928688 w 2242184"/>
                  <a:gd name="connsiteY1159" fmla="*/ 206692 h 1686775"/>
                  <a:gd name="connsiteX1160" fmla="*/ 931545 w 2242184"/>
                  <a:gd name="connsiteY1160" fmla="*/ 206692 h 1686775"/>
                  <a:gd name="connsiteX1161" fmla="*/ 942975 w 2242184"/>
                  <a:gd name="connsiteY1161" fmla="*/ 205740 h 1686775"/>
                  <a:gd name="connsiteX1162" fmla="*/ 949643 w 2242184"/>
                  <a:gd name="connsiteY1162" fmla="*/ 206692 h 1686775"/>
                  <a:gd name="connsiteX1163" fmla="*/ 956310 w 2242184"/>
                  <a:gd name="connsiteY1163" fmla="*/ 206692 h 1686775"/>
                  <a:gd name="connsiteX1164" fmla="*/ 965835 w 2242184"/>
                  <a:gd name="connsiteY1164" fmla="*/ 204787 h 1686775"/>
                  <a:gd name="connsiteX1165" fmla="*/ 971550 w 2242184"/>
                  <a:gd name="connsiteY1165" fmla="*/ 201930 h 1686775"/>
                  <a:gd name="connsiteX1166" fmla="*/ 977265 w 2242184"/>
                  <a:gd name="connsiteY1166" fmla="*/ 199073 h 1686775"/>
                  <a:gd name="connsiteX1167" fmla="*/ 982028 w 2242184"/>
                  <a:gd name="connsiteY1167" fmla="*/ 197167 h 1686775"/>
                  <a:gd name="connsiteX1168" fmla="*/ 986790 w 2242184"/>
                  <a:gd name="connsiteY1168" fmla="*/ 196215 h 1686775"/>
                  <a:gd name="connsiteX1169" fmla="*/ 997268 w 2242184"/>
                  <a:gd name="connsiteY1169" fmla="*/ 195262 h 1686775"/>
                  <a:gd name="connsiteX1170" fmla="*/ 1002030 w 2242184"/>
                  <a:gd name="connsiteY1170" fmla="*/ 193358 h 1686775"/>
                  <a:gd name="connsiteX1171" fmla="*/ 1013460 w 2242184"/>
                  <a:gd name="connsiteY1171" fmla="*/ 192405 h 1686775"/>
                  <a:gd name="connsiteX1172" fmla="*/ 1015365 w 2242184"/>
                  <a:gd name="connsiteY1172" fmla="*/ 194310 h 1686775"/>
                  <a:gd name="connsiteX1173" fmla="*/ 1010603 w 2242184"/>
                  <a:gd name="connsiteY1173" fmla="*/ 202883 h 1686775"/>
                  <a:gd name="connsiteX1174" fmla="*/ 1220153 w 2242184"/>
                  <a:gd name="connsiteY1174" fmla="*/ 380048 h 1686775"/>
                  <a:gd name="connsiteX1175" fmla="*/ 1218248 w 2242184"/>
                  <a:gd name="connsiteY1175" fmla="*/ 374333 h 1686775"/>
                  <a:gd name="connsiteX1176" fmla="*/ 1212533 w 2242184"/>
                  <a:gd name="connsiteY1176" fmla="*/ 371475 h 1686775"/>
                  <a:gd name="connsiteX1177" fmla="*/ 1210628 w 2242184"/>
                  <a:gd name="connsiteY1177" fmla="*/ 369570 h 1686775"/>
                  <a:gd name="connsiteX1178" fmla="*/ 1210628 w 2242184"/>
                  <a:gd name="connsiteY1178" fmla="*/ 367665 h 1686775"/>
                  <a:gd name="connsiteX1179" fmla="*/ 1208723 w 2242184"/>
                  <a:gd name="connsiteY1179" fmla="*/ 364808 h 1686775"/>
                  <a:gd name="connsiteX1180" fmla="*/ 1203960 w 2242184"/>
                  <a:gd name="connsiteY1180" fmla="*/ 362903 h 1686775"/>
                  <a:gd name="connsiteX1181" fmla="*/ 1200150 w 2242184"/>
                  <a:gd name="connsiteY1181" fmla="*/ 362903 h 1686775"/>
                  <a:gd name="connsiteX1182" fmla="*/ 1193483 w 2242184"/>
                  <a:gd name="connsiteY1182" fmla="*/ 360998 h 1686775"/>
                  <a:gd name="connsiteX1183" fmla="*/ 1188720 w 2242184"/>
                  <a:gd name="connsiteY1183" fmla="*/ 358140 h 1686775"/>
                  <a:gd name="connsiteX1184" fmla="*/ 1185863 w 2242184"/>
                  <a:gd name="connsiteY1184" fmla="*/ 355283 h 1686775"/>
                  <a:gd name="connsiteX1185" fmla="*/ 1184910 w 2242184"/>
                  <a:gd name="connsiteY1185" fmla="*/ 353378 h 1686775"/>
                  <a:gd name="connsiteX1186" fmla="*/ 1185863 w 2242184"/>
                  <a:gd name="connsiteY1186" fmla="*/ 351473 h 1686775"/>
                  <a:gd name="connsiteX1187" fmla="*/ 1187768 w 2242184"/>
                  <a:gd name="connsiteY1187" fmla="*/ 347662 h 1686775"/>
                  <a:gd name="connsiteX1188" fmla="*/ 1190625 w 2242184"/>
                  <a:gd name="connsiteY1188" fmla="*/ 346710 h 1686775"/>
                  <a:gd name="connsiteX1189" fmla="*/ 1196340 w 2242184"/>
                  <a:gd name="connsiteY1189" fmla="*/ 345758 h 1686775"/>
                  <a:gd name="connsiteX1190" fmla="*/ 1200150 w 2242184"/>
                  <a:gd name="connsiteY1190" fmla="*/ 345758 h 1686775"/>
                  <a:gd name="connsiteX1191" fmla="*/ 1203960 w 2242184"/>
                  <a:gd name="connsiteY1191" fmla="*/ 345758 h 1686775"/>
                  <a:gd name="connsiteX1192" fmla="*/ 1207770 w 2242184"/>
                  <a:gd name="connsiteY1192" fmla="*/ 343853 h 1686775"/>
                  <a:gd name="connsiteX1193" fmla="*/ 1213485 w 2242184"/>
                  <a:gd name="connsiteY1193" fmla="*/ 343853 h 1686775"/>
                  <a:gd name="connsiteX1194" fmla="*/ 1218248 w 2242184"/>
                  <a:gd name="connsiteY1194" fmla="*/ 343853 h 1686775"/>
                  <a:gd name="connsiteX1195" fmla="*/ 1221105 w 2242184"/>
                  <a:gd name="connsiteY1195" fmla="*/ 344805 h 1686775"/>
                  <a:gd name="connsiteX1196" fmla="*/ 1225868 w 2242184"/>
                  <a:gd name="connsiteY1196" fmla="*/ 348615 h 1686775"/>
                  <a:gd name="connsiteX1197" fmla="*/ 1226820 w 2242184"/>
                  <a:gd name="connsiteY1197" fmla="*/ 350520 h 1686775"/>
                  <a:gd name="connsiteX1198" fmla="*/ 1227773 w 2242184"/>
                  <a:gd name="connsiteY1198" fmla="*/ 352425 h 1686775"/>
                  <a:gd name="connsiteX1199" fmla="*/ 1226820 w 2242184"/>
                  <a:gd name="connsiteY1199" fmla="*/ 356235 h 1686775"/>
                  <a:gd name="connsiteX1200" fmla="*/ 1226820 w 2242184"/>
                  <a:gd name="connsiteY1200" fmla="*/ 359093 h 1686775"/>
                  <a:gd name="connsiteX1201" fmla="*/ 1232535 w 2242184"/>
                  <a:gd name="connsiteY1201" fmla="*/ 362903 h 1686775"/>
                  <a:gd name="connsiteX1202" fmla="*/ 1239203 w 2242184"/>
                  <a:gd name="connsiteY1202" fmla="*/ 364808 h 1686775"/>
                  <a:gd name="connsiteX1203" fmla="*/ 1244918 w 2242184"/>
                  <a:gd name="connsiteY1203" fmla="*/ 368618 h 1686775"/>
                  <a:gd name="connsiteX1204" fmla="*/ 1245870 w 2242184"/>
                  <a:gd name="connsiteY1204" fmla="*/ 372427 h 1686775"/>
                  <a:gd name="connsiteX1205" fmla="*/ 1246823 w 2242184"/>
                  <a:gd name="connsiteY1205" fmla="*/ 375285 h 1686775"/>
                  <a:gd name="connsiteX1206" fmla="*/ 1249680 w 2242184"/>
                  <a:gd name="connsiteY1206" fmla="*/ 378143 h 1686775"/>
                  <a:gd name="connsiteX1207" fmla="*/ 1250633 w 2242184"/>
                  <a:gd name="connsiteY1207" fmla="*/ 380048 h 1686775"/>
                  <a:gd name="connsiteX1208" fmla="*/ 1249680 w 2242184"/>
                  <a:gd name="connsiteY1208" fmla="*/ 384810 h 1686775"/>
                  <a:gd name="connsiteX1209" fmla="*/ 1247775 w 2242184"/>
                  <a:gd name="connsiteY1209" fmla="*/ 389573 h 1686775"/>
                  <a:gd name="connsiteX1210" fmla="*/ 1244918 w 2242184"/>
                  <a:gd name="connsiteY1210" fmla="*/ 392430 h 1686775"/>
                  <a:gd name="connsiteX1211" fmla="*/ 1237298 w 2242184"/>
                  <a:gd name="connsiteY1211" fmla="*/ 392430 h 1686775"/>
                  <a:gd name="connsiteX1212" fmla="*/ 1231583 w 2242184"/>
                  <a:gd name="connsiteY1212" fmla="*/ 392430 h 1686775"/>
                  <a:gd name="connsiteX1213" fmla="*/ 1225868 w 2242184"/>
                  <a:gd name="connsiteY1213" fmla="*/ 390525 h 1686775"/>
                  <a:gd name="connsiteX1214" fmla="*/ 1220153 w 2242184"/>
                  <a:gd name="connsiteY1214" fmla="*/ 380048 h 168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Lst>
                <a:rect l="l" t="t" r="r" b="b"/>
                <a:pathLst>
                  <a:path w="2242184" h="1686775">
                    <a:moveTo>
                      <a:pt x="2242185" y="1098233"/>
                    </a:moveTo>
                    <a:lnTo>
                      <a:pt x="2238375" y="1078230"/>
                    </a:lnTo>
                    <a:lnTo>
                      <a:pt x="2238375" y="1068705"/>
                    </a:lnTo>
                    <a:lnTo>
                      <a:pt x="2238375" y="1062990"/>
                    </a:lnTo>
                    <a:lnTo>
                      <a:pt x="2227898" y="1052513"/>
                    </a:lnTo>
                    <a:lnTo>
                      <a:pt x="2212658" y="1049655"/>
                    </a:lnTo>
                    <a:lnTo>
                      <a:pt x="2188845" y="1042035"/>
                    </a:lnTo>
                    <a:lnTo>
                      <a:pt x="2180273" y="1037273"/>
                    </a:lnTo>
                    <a:lnTo>
                      <a:pt x="2165033" y="1034415"/>
                    </a:lnTo>
                    <a:lnTo>
                      <a:pt x="2153603" y="1032510"/>
                    </a:lnTo>
                    <a:lnTo>
                      <a:pt x="2118360" y="1026795"/>
                    </a:lnTo>
                    <a:lnTo>
                      <a:pt x="2109788" y="1024890"/>
                    </a:lnTo>
                    <a:lnTo>
                      <a:pt x="2087880" y="1020127"/>
                    </a:lnTo>
                    <a:lnTo>
                      <a:pt x="2070735" y="1015365"/>
                    </a:lnTo>
                    <a:lnTo>
                      <a:pt x="2059305" y="1013460"/>
                    </a:lnTo>
                    <a:lnTo>
                      <a:pt x="2045970" y="1010602"/>
                    </a:lnTo>
                    <a:cubicBezTo>
                      <a:pt x="2045970" y="1010602"/>
                      <a:pt x="2044065" y="1011555"/>
                      <a:pt x="2037398" y="1005840"/>
                    </a:cubicBezTo>
                    <a:cubicBezTo>
                      <a:pt x="2030730" y="1000125"/>
                      <a:pt x="2022158" y="992505"/>
                      <a:pt x="2022158" y="992505"/>
                    </a:cubicBezTo>
                    <a:lnTo>
                      <a:pt x="2006918" y="979170"/>
                    </a:lnTo>
                    <a:lnTo>
                      <a:pt x="2000250" y="970598"/>
                    </a:lnTo>
                    <a:lnTo>
                      <a:pt x="1993583" y="963930"/>
                    </a:lnTo>
                    <a:lnTo>
                      <a:pt x="1969770" y="950595"/>
                    </a:lnTo>
                    <a:lnTo>
                      <a:pt x="1954530" y="944880"/>
                    </a:lnTo>
                    <a:lnTo>
                      <a:pt x="1937385" y="939165"/>
                    </a:lnTo>
                    <a:lnTo>
                      <a:pt x="1910715" y="934402"/>
                    </a:lnTo>
                    <a:cubicBezTo>
                      <a:pt x="1910715" y="934402"/>
                      <a:pt x="1910715" y="937260"/>
                      <a:pt x="1902143" y="934402"/>
                    </a:cubicBezTo>
                    <a:cubicBezTo>
                      <a:pt x="1893570" y="931545"/>
                      <a:pt x="1880235" y="928688"/>
                      <a:pt x="1880235" y="928688"/>
                    </a:cubicBezTo>
                    <a:lnTo>
                      <a:pt x="1866900" y="922973"/>
                    </a:lnTo>
                    <a:lnTo>
                      <a:pt x="1858328" y="911543"/>
                    </a:lnTo>
                    <a:lnTo>
                      <a:pt x="1841183" y="902970"/>
                    </a:lnTo>
                    <a:lnTo>
                      <a:pt x="1830705" y="897255"/>
                    </a:lnTo>
                    <a:lnTo>
                      <a:pt x="1804035" y="889635"/>
                    </a:lnTo>
                    <a:lnTo>
                      <a:pt x="1784033" y="887730"/>
                    </a:lnTo>
                    <a:lnTo>
                      <a:pt x="1740218" y="887730"/>
                    </a:lnTo>
                    <a:lnTo>
                      <a:pt x="1720215" y="887730"/>
                    </a:lnTo>
                    <a:lnTo>
                      <a:pt x="1706880" y="887730"/>
                    </a:lnTo>
                    <a:lnTo>
                      <a:pt x="1674495" y="879158"/>
                    </a:lnTo>
                    <a:lnTo>
                      <a:pt x="1652588" y="880110"/>
                    </a:lnTo>
                    <a:lnTo>
                      <a:pt x="1644015" y="878205"/>
                    </a:lnTo>
                    <a:cubicBezTo>
                      <a:pt x="1644015" y="878205"/>
                      <a:pt x="1630680" y="873443"/>
                      <a:pt x="1622108" y="878205"/>
                    </a:cubicBezTo>
                    <a:cubicBezTo>
                      <a:pt x="1613535" y="882015"/>
                      <a:pt x="1590675" y="884873"/>
                      <a:pt x="1590675" y="884873"/>
                    </a:cubicBezTo>
                    <a:cubicBezTo>
                      <a:pt x="1587818" y="893445"/>
                      <a:pt x="1572578" y="896302"/>
                      <a:pt x="1572578" y="896302"/>
                    </a:cubicBezTo>
                    <a:lnTo>
                      <a:pt x="1557338" y="897255"/>
                    </a:lnTo>
                    <a:lnTo>
                      <a:pt x="1524000" y="900113"/>
                    </a:lnTo>
                    <a:lnTo>
                      <a:pt x="1508760" y="900113"/>
                    </a:lnTo>
                    <a:lnTo>
                      <a:pt x="1500188" y="900113"/>
                    </a:lnTo>
                    <a:lnTo>
                      <a:pt x="1480185" y="897255"/>
                    </a:lnTo>
                    <a:lnTo>
                      <a:pt x="1466850" y="894398"/>
                    </a:lnTo>
                    <a:lnTo>
                      <a:pt x="1458278" y="882015"/>
                    </a:lnTo>
                    <a:lnTo>
                      <a:pt x="1458278" y="875348"/>
                    </a:lnTo>
                    <a:lnTo>
                      <a:pt x="1458278" y="866775"/>
                    </a:lnTo>
                    <a:lnTo>
                      <a:pt x="1456373" y="855345"/>
                    </a:lnTo>
                    <a:lnTo>
                      <a:pt x="1454468" y="838200"/>
                    </a:lnTo>
                    <a:lnTo>
                      <a:pt x="1445895" y="832485"/>
                    </a:lnTo>
                    <a:lnTo>
                      <a:pt x="1432560" y="830580"/>
                    </a:lnTo>
                    <a:lnTo>
                      <a:pt x="1423988" y="828675"/>
                    </a:lnTo>
                    <a:lnTo>
                      <a:pt x="1403985" y="821055"/>
                    </a:lnTo>
                    <a:lnTo>
                      <a:pt x="1392555" y="821055"/>
                    </a:lnTo>
                    <a:lnTo>
                      <a:pt x="1379220" y="821055"/>
                    </a:lnTo>
                    <a:lnTo>
                      <a:pt x="1367790" y="821055"/>
                    </a:lnTo>
                    <a:lnTo>
                      <a:pt x="1359218" y="815340"/>
                    </a:lnTo>
                    <a:lnTo>
                      <a:pt x="1370648" y="811530"/>
                    </a:lnTo>
                    <a:lnTo>
                      <a:pt x="1382078" y="808673"/>
                    </a:lnTo>
                    <a:lnTo>
                      <a:pt x="1386840" y="802958"/>
                    </a:lnTo>
                    <a:lnTo>
                      <a:pt x="1386840" y="797243"/>
                    </a:lnTo>
                    <a:lnTo>
                      <a:pt x="1384935" y="784860"/>
                    </a:lnTo>
                    <a:lnTo>
                      <a:pt x="1384935" y="776288"/>
                    </a:lnTo>
                    <a:lnTo>
                      <a:pt x="1391603" y="767715"/>
                    </a:lnTo>
                    <a:lnTo>
                      <a:pt x="1394460" y="759143"/>
                    </a:lnTo>
                    <a:cubicBezTo>
                      <a:pt x="1394460" y="759143"/>
                      <a:pt x="1385888" y="751523"/>
                      <a:pt x="1377315" y="754380"/>
                    </a:cubicBezTo>
                    <a:cubicBezTo>
                      <a:pt x="1368743" y="757238"/>
                      <a:pt x="1357313" y="752475"/>
                      <a:pt x="1359218" y="757238"/>
                    </a:cubicBezTo>
                    <a:cubicBezTo>
                      <a:pt x="1361123" y="761048"/>
                      <a:pt x="1361123" y="761048"/>
                      <a:pt x="1361123" y="761048"/>
                    </a:cubicBezTo>
                    <a:lnTo>
                      <a:pt x="1347788" y="761048"/>
                    </a:lnTo>
                    <a:cubicBezTo>
                      <a:pt x="1347788" y="761048"/>
                      <a:pt x="1332548" y="759143"/>
                      <a:pt x="1332548" y="763905"/>
                    </a:cubicBezTo>
                    <a:cubicBezTo>
                      <a:pt x="1332548" y="767715"/>
                      <a:pt x="1334453" y="761048"/>
                      <a:pt x="1332548" y="767715"/>
                    </a:cubicBezTo>
                    <a:cubicBezTo>
                      <a:pt x="1330643" y="774383"/>
                      <a:pt x="1317308" y="771525"/>
                      <a:pt x="1319213" y="777240"/>
                    </a:cubicBezTo>
                    <a:cubicBezTo>
                      <a:pt x="1321118" y="782955"/>
                      <a:pt x="1312545" y="785813"/>
                      <a:pt x="1312545" y="785813"/>
                    </a:cubicBezTo>
                    <a:lnTo>
                      <a:pt x="1299210" y="788670"/>
                    </a:lnTo>
                    <a:lnTo>
                      <a:pt x="1290638" y="789623"/>
                    </a:lnTo>
                    <a:cubicBezTo>
                      <a:pt x="1290638" y="789623"/>
                      <a:pt x="1285875" y="790575"/>
                      <a:pt x="1279208" y="790575"/>
                    </a:cubicBezTo>
                    <a:cubicBezTo>
                      <a:pt x="1272540" y="790575"/>
                      <a:pt x="1263968" y="790575"/>
                      <a:pt x="1263968" y="790575"/>
                    </a:cubicBezTo>
                    <a:lnTo>
                      <a:pt x="1253490" y="784860"/>
                    </a:lnTo>
                    <a:lnTo>
                      <a:pt x="1244918" y="777240"/>
                    </a:lnTo>
                    <a:lnTo>
                      <a:pt x="1236345" y="771525"/>
                    </a:lnTo>
                    <a:lnTo>
                      <a:pt x="1229678" y="765810"/>
                    </a:lnTo>
                    <a:lnTo>
                      <a:pt x="1225868" y="757238"/>
                    </a:lnTo>
                    <a:cubicBezTo>
                      <a:pt x="1225868" y="757238"/>
                      <a:pt x="1223963" y="751523"/>
                      <a:pt x="1223963" y="747713"/>
                    </a:cubicBezTo>
                    <a:cubicBezTo>
                      <a:pt x="1223963" y="743902"/>
                      <a:pt x="1223963" y="733425"/>
                      <a:pt x="1223963" y="733425"/>
                    </a:cubicBezTo>
                    <a:lnTo>
                      <a:pt x="1223963" y="723900"/>
                    </a:lnTo>
                    <a:lnTo>
                      <a:pt x="1217295" y="715327"/>
                    </a:lnTo>
                    <a:lnTo>
                      <a:pt x="1215390" y="700088"/>
                    </a:lnTo>
                    <a:lnTo>
                      <a:pt x="1217295" y="694373"/>
                    </a:lnTo>
                    <a:lnTo>
                      <a:pt x="1223963" y="684848"/>
                    </a:lnTo>
                    <a:lnTo>
                      <a:pt x="1238250" y="675323"/>
                    </a:lnTo>
                    <a:lnTo>
                      <a:pt x="1258253" y="674370"/>
                    </a:lnTo>
                    <a:cubicBezTo>
                      <a:pt x="1258253" y="674370"/>
                      <a:pt x="1264920" y="671513"/>
                      <a:pt x="1271588" y="673418"/>
                    </a:cubicBezTo>
                    <a:cubicBezTo>
                      <a:pt x="1278255" y="675323"/>
                      <a:pt x="1264920" y="674370"/>
                      <a:pt x="1278255" y="675323"/>
                    </a:cubicBezTo>
                    <a:cubicBezTo>
                      <a:pt x="1291590" y="675323"/>
                      <a:pt x="1278255" y="675323"/>
                      <a:pt x="1291590" y="675323"/>
                    </a:cubicBezTo>
                    <a:cubicBezTo>
                      <a:pt x="1304925" y="675323"/>
                      <a:pt x="1304925" y="671513"/>
                      <a:pt x="1313498" y="674370"/>
                    </a:cubicBezTo>
                    <a:cubicBezTo>
                      <a:pt x="1322070" y="677227"/>
                      <a:pt x="1304925" y="677227"/>
                      <a:pt x="1322070" y="677227"/>
                    </a:cubicBezTo>
                    <a:cubicBezTo>
                      <a:pt x="1339215" y="677227"/>
                      <a:pt x="1330643" y="679133"/>
                      <a:pt x="1339215" y="677227"/>
                    </a:cubicBezTo>
                    <a:cubicBezTo>
                      <a:pt x="1347788" y="676275"/>
                      <a:pt x="1347788" y="676275"/>
                      <a:pt x="1347788" y="676275"/>
                    </a:cubicBezTo>
                    <a:lnTo>
                      <a:pt x="1365885" y="673418"/>
                    </a:lnTo>
                    <a:cubicBezTo>
                      <a:pt x="1365885" y="673418"/>
                      <a:pt x="1370648" y="672465"/>
                      <a:pt x="1377315" y="672465"/>
                    </a:cubicBezTo>
                    <a:cubicBezTo>
                      <a:pt x="1383983" y="672465"/>
                      <a:pt x="1414463" y="671513"/>
                      <a:pt x="1414463" y="671513"/>
                    </a:cubicBezTo>
                    <a:lnTo>
                      <a:pt x="1436370" y="674370"/>
                    </a:lnTo>
                    <a:lnTo>
                      <a:pt x="1449705" y="677227"/>
                    </a:lnTo>
                    <a:cubicBezTo>
                      <a:pt x="1449705" y="677227"/>
                      <a:pt x="1456373" y="673418"/>
                      <a:pt x="1458278" y="679133"/>
                    </a:cubicBezTo>
                    <a:cubicBezTo>
                      <a:pt x="1460183" y="684848"/>
                      <a:pt x="1460183" y="684848"/>
                      <a:pt x="1460183" y="684848"/>
                    </a:cubicBezTo>
                    <a:cubicBezTo>
                      <a:pt x="1463993" y="701993"/>
                      <a:pt x="1463993" y="701993"/>
                      <a:pt x="1463993" y="701993"/>
                    </a:cubicBezTo>
                    <a:cubicBezTo>
                      <a:pt x="1463993" y="701993"/>
                      <a:pt x="1461135" y="716280"/>
                      <a:pt x="1467803" y="720090"/>
                    </a:cubicBezTo>
                    <a:cubicBezTo>
                      <a:pt x="1474470" y="724852"/>
                      <a:pt x="1474470" y="724852"/>
                      <a:pt x="1474470" y="724852"/>
                    </a:cubicBezTo>
                    <a:lnTo>
                      <a:pt x="1498283" y="730568"/>
                    </a:lnTo>
                    <a:lnTo>
                      <a:pt x="1506855" y="727710"/>
                    </a:lnTo>
                    <a:lnTo>
                      <a:pt x="1513523" y="721043"/>
                    </a:lnTo>
                    <a:lnTo>
                      <a:pt x="1516380" y="708660"/>
                    </a:lnTo>
                    <a:lnTo>
                      <a:pt x="1518285" y="702945"/>
                    </a:lnTo>
                    <a:lnTo>
                      <a:pt x="1509713" y="682943"/>
                    </a:lnTo>
                    <a:lnTo>
                      <a:pt x="1503045" y="676275"/>
                    </a:lnTo>
                    <a:lnTo>
                      <a:pt x="1501140" y="667702"/>
                    </a:lnTo>
                    <a:lnTo>
                      <a:pt x="1499235" y="659130"/>
                    </a:lnTo>
                    <a:lnTo>
                      <a:pt x="1497330" y="641985"/>
                    </a:lnTo>
                    <a:lnTo>
                      <a:pt x="1512570" y="633413"/>
                    </a:lnTo>
                    <a:lnTo>
                      <a:pt x="1521143" y="633413"/>
                    </a:lnTo>
                    <a:lnTo>
                      <a:pt x="1547813" y="629602"/>
                    </a:lnTo>
                    <a:lnTo>
                      <a:pt x="1556385" y="625793"/>
                    </a:lnTo>
                    <a:lnTo>
                      <a:pt x="1561148" y="620077"/>
                    </a:lnTo>
                    <a:lnTo>
                      <a:pt x="1583055" y="605790"/>
                    </a:lnTo>
                    <a:lnTo>
                      <a:pt x="1587818" y="597218"/>
                    </a:lnTo>
                    <a:lnTo>
                      <a:pt x="1587818" y="591502"/>
                    </a:lnTo>
                    <a:lnTo>
                      <a:pt x="1587818" y="585788"/>
                    </a:lnTo>
                    <a:lnTo>
                      <a:pt x="1581150" y="574358"/>
                    </a:lnTo>
                    <a:lnTo>
                      <a:pt x="1592580" y="564833"/>
                    </a:lnTo>
                    <a:lnTo>
                      <a:pt x="1604010" y="564833"/>
                    </a:lnTo>
                    <a:cubicBezTo>
                      <a:pt x="1604010" y="564833"/>
                      <a:pt x="1604010" y="555308"/>
                      <a:pt x="1610678" y="555308"/>
                    </a:cubicBezTo>
                    <a:cubicBezTo>
                      <a:pt x="1617345" y="555308"/>
                      <a:pt x="1615440" y="549593"/>
                      <a:pt x="1622108" y="549593"/>
                    </a:cubicBezTo>
                    <a:cubicBezTo>
                      <a:pt x="1628775" y="549593"/>
                      <a:pt x="1640205" y="543877"/>
                      <a:pt x="1640205" y="543877"/>
                    </a:cubicBezTo>
                    <a:lnTo>
                      <a:pt x="1653540" y="538163"/>
                    </a:lnTo>
                    <a:lnTo>
                      <a:pt x="1662113" y="534352"/>
                    </a:lnTo>
                    <a:lnTo>
                      <a:pt x="1677353" y="524827"/>
                    </a:lnTo>
                    <a:lnTo>
                      <a:pt x="1679258" y="519112"/>
                    </a:lnTo>
                    <a:lnTo>
                      <a:pt x="1679258" y="507683"/>
                    </a:lnTo>
                    <a:lnTo>
                      <a:pt x="1684020" y="496252"/>
                    </a:lnTo>
                    <a:lnTo>
                      <a:pt x="1688783" y="490537"/>
                    </a:lnTo>
                    <a:cubicBezTo>
                      <a:pt x="1688783" y="490537"/>
                      <a:pt x="1690688" y="487680"/>
                      <a:pt x="1700213" y="487680"/>
                    </a:cubicBezTo>
                    <a:cubicBezTo>
                      <a:pt x="1708785" y="487680"/>
                      <a:pt x="1708785" y="487680"/>
                      <a:pt x="1708785" y="487680"/>
                    </a:cubicBezTo>
                    <a:lnTo>
                      <a:pt x="1742123" y="484823"/>
                    </a:lnTo>
                    <a:lnTo>
                      <a:pt x="1760220" y="479108"/>
                    </a:lnTo>
                    <a:cubicBezTo>
                      <a:pt x="1760220" y="479108"/>
                      <a:pt x="1758315" y="480060"/>
                      <a:pt x="1760220" y="484823"/>
                    </a:cubicBezTo>
                    <a:cubicBezTo>
                      <a:pt x="1762125" y="488633"/>
                      <a:pt x="1762125" y="493395"/>
                      <a:pt x="1768793" y="494348"/>
                    </a:cubicBezTo>
                    <a:cubicBezTo>
                      <a:pt x="1775460" y="496252"/>
                      <a:pt x="1775460" y="496252"/>
                      <a:pt x="1775460" y="496252"/>
                    </a:cubicBezTo>
                    <a:lnTo>
                      <a:pt x="1784033" y="492443"/>
                    </a:lnTo>
                    <a:lnTo>
                      <a:pt x="1790700" y="485775"/>
                    </a:lnTo>
                    <a:cubicBezTo>
                      <a:pt x="1790700" y="485775"/>
                      <a:pt x="1792605" y="481965"/>
                      <a:pt x="1799273" y="484823"/>
                    </a:cubicBezTo>
                    <a:cubicBezTo>
                      <a:pt x="1805940" y="487680"/>
                      <a:pt x="1805940" y="487680"/>
                      <a:pt x="1805940" y="487680"/>
                    </a:cubicBezTo>
                    <a:lnTo>
                      <a:pt x="1817370" y="486727"/>
                    </a:lnTo>
                    <a:cubicBezTo>
                      <a:pt x="1817370" y="486727"/>
                      <a:pt x="1819275" y="486727"/>
                      <a:pt x="1825943" y="486727"/>
                    </a:cubicBezTo>
                    <a:cubicBezTo>
                      <a:pt x="1832610" y="486727"/>
                      <a:pt x="1834515" y="483870"/>
                      <a:pt x="1841183" y="481012"/>
                    </a:cubicBezTo>
                    <a:cubicBezTo>
                      <a:pt x="1847850" y="478155"/>
                      <a:pt x="1841183" y="483870"/>
                      <a:pt x="1847850" y="478155"/>
                    </a:cubicBezTo>
                    <a:cubicBezTo>
                      <a:pt x="1854518" y="472440"/>
                      <a:pt x="1854518" y="472440"/>
                      <a:pt x="1854518" y="472440"/>
                    </a:cubicBezTo>
                    <a:lnTo>
                      <a:pt x="1859280" y="463868"/>
                    </a:lnTo>
                    <a:cubicBezTo>
                      <a:pt x="1852613" y="461010"/>
                      <a:pt x="1861185" y="462915"/>
                      <a:pt x="1852613" y="461010"/>
                    </a:cubicBezTo>
                    <a:cubicBezTo>
                      <a:pt x="1844040" y="459105"/>
                      <a:pt x="1844040" y="459105"/>
                      <a:pt x="1844040" y="459105"/>
                    </a:cubicBezTo>
                    <a:lnTo>
                      <a:pt x="1830705" y="460058"/>
                    </a:lnTo>
                    <a:lnTo>
                      <a:pt x="1806893" y="458152"/>
                    </a:lnTo>
                    <a:lnTo>
                      <a:pt x="1793558" y="455295"/>
                    </a:lnTo>
                    <a:lnTo>
                      <a:pt x="1782128" y="455295"/>
                    </a:lnTo>
                    <a:lnTo>
                      <a:pt x="1773555" y="450533"/>
                    </a:lnTo>
                    <a:lnTo>
                      <a:pt x="1773555" y="441960"/>
                    </a:lnTo>
                    <a:lnTo>
                      <a:pt x="1773555" y="435293"/>
                    </a:lnTo>
                    <a:lnTo>
                      <a:pt x="1771650" y="429577"/>
                    </a:lnTo>
                    <a:lnTo>
                      <a:pt x="1756410" y="416243"/>
                    </a:lnTo>
                    <a:lnTo>
                      <a:pt x="1734503" y="422910"/>
                    </a:lnTo>
                    <a:lnTo>
                      <a:pt x="1723073" y="425768"/>
                    </a:lnTo>
                    <a:lnTo>
                      <a:pt x="1707833" y="432435"/>
                    </a:lnTo>
                    <a:lnTo>
                      <a:pt x="1699260" y="432435"/>
                    </a:lnTo>
                    <a:lnTo>
                      <a:pt x="1704023" y="423862"/>
                    </a:lnTo>
                    <a:lnTo>
                      <a:pt x="1719263" y="414337"/>
                    </a:lnTo>
                    <a:lnTo>
                      <a:pt x="1732598" y="408623"/>
                    </a:lnTo>
                    <a:cubicBezTo>
                      <a:pt x="1732598" y="408623"/>
                      <a:pt x="1737360" y="405765"/>
                      <a:pt x="1745933" y="407670"/>
                    </a:cubicBezTo>
                    <a:cubicBezTo>
                      <a:pt x="1754505" y="409575"/>
                      <a:pt x="1763078" y="409575"/>
                      <a:pt x="1763078" y="409575"/>
                    </a:cubicBezTo>
                    <a:cubicBezTo>
                      <a:pt x="1763078" y="409575"/>
                      <a:pt x="1771650" y="408623"/>
                      <a:pt x="1778318" y="409575"/>
                    </a:cubicBezTo>
                    <a:cubicBezTo>
                      <a:pt x="1784985" y="411480"/>
                      <a:pt x="1789748" y="405765"/>
                      <a:pt x="1793558" y="411480"/>
                    </a:cubicBezTo>
                    <a:cubicBezTo>
                      <a:pt x="1798320" y="417195"/>
                      <a:pt x="1791653" y="411480"/>
                      <a:pt x="1798320" y="417195"/>
                    </a:cubicBezTo>
                    <a:cubicBezTo>
                      <a:pt x="1804988" y="422910"/>
                      <a:pt x="1804988" y="422910"/>
                      <a:pt x="1804988" y="422910"/>
                    </a:cubicBezTo>
                    <a:lnTo>
                      <a:pt x="1818323" y="425768"/>
                    </a:lnTo>
                    <a:lnTo>
                      <a:pt x="1824990" y="419100"/>
                    </a:lnTo>
                    <a:lnTo>
                      <a:pt x="1836420" y="415290"/>
                    </a:lnTo>
                    <a:lnTo>
                      <a:pt x="1849755" y="412433"/>
                    </a:lnTo>
                    <a:cubicBezTo>
                      <a:pt x="1849755" y="412433"/>
                      <a:pt x="1850708" y="412433"/>
                      <a:pt x="1861185" y="414337"/>
                    </a:cubicBezTo>
                    <a:cubicBezTo>
                      <a:pt x="1874520" y="416243"/>
                      <a:pt x="1874520" y="416243"/>
                      <a:pt x="1874520" y="416243"/>
                    </a:cubicBezTo>
                    <a:lnTo>
                      <a:pt x="1883093" y="407670"/>
                    </a:lnTo>
                    <a:cubicBezTo>
                      <a:pt x="1896428" y="401002"/>
                      <a:pt x="1889760" y="392430"/>
                      <a:pt x="1889760" y="392430"/>
                    </a:cubicBezTo>
                    <a:cubicBezTo>
                      <a:pt x="1889760" y="392430"/>
                      <a:pt x="1889760" y="386715"/>
                      <a:pt x="1901190" y="386715"/>
                    </a:cubicBezTo>
                    <a:cubicBezTo>
                      <a:pt x="1912620" y="386715"/>
                      <a:pt x="1919288" y="381000"/>
                      <a:pt x="1919288" y="381000"/>
                    </a:cubicBezTo>
                    <a:lnTo>
                      <a:pt x="1925955" y="371475"/>
                    </a:lnTo>
                    <a:lnTo>
                      <a:pt x="1924050" y="359093"/>
                    </a:lnTo>
                    <a:lnTo>
                      <a:pt x="1920240" y="352425"/>
                    </a:lnTo>
                    <a:lnTo>
                      <a:pt x="1900238" y="349568"/>
                    </a:lnTo>
                    <a:lnTo>
                      <a:pt x="1891665" y="340995"/>
                    </a:lnTo>
                    <a:lnTo>
                      <a:pt x="1889760" y="335280"/>
                    </a:lnTo>
                    <a:lnTo>
                      <a:pt x="1876425" y="332423"/>
                    </a:lnTo>
                    <a:lnTo>
                      <a:pt x="1864995" y="330518"/>
                    </a:lnTo>
                    <a:lnTo>
                      <a:pt x="1854518" y="319087"/>
                    </a:lnTo>
                    <a:lnTo>
                      <a:pt x="1844040" y="303848"/>
                    </a:lnTo>
                    <a:lnTo>
                      <a:pt x="1837373" y="291465"/>
                    </a:lnTo>
                    <a:lnTo>
                      <a:pt x="1817370" y="280987"/>
                    </a:lnTo>
                    <a:lnTo>
                      <a:pt x="1810703" y="273368"/>
                    </a:lnTo>
                    <a:lnTo>
                      <a:pt x="1800225" y="267653"/>
                    </a:lnTo>
                    <a:lnTo>
                      <a:pt x="1786890" y="257175"/>
                    </a:lnTo>
                    <a:lnTo>
                      <a:pt x="1766888" y="268605"/>
                    </a:lnTo>
                    <a:lnTo>
                      <a:pt x="1753553" y="275273"/>
                    </a:lnTo>
                    <a:lnTo>
                      <a:pt x="1726883" y="279083"/>
                    </a:lnTo>
                    <a:lnTo>
                      <a:pt x="1715453" y="276225"/>
                    </a:lnTo>
                    <a:cubicBezTo>
                      <a:pt x="1715453" y="276225"/>
                      <a:pt x="1715453" y="272415"/>
                      <a:pt x="1713548" y="267653"/>
                    </a:cubicBezTo>
                    <a:cubicBezTo>
                      <a:pt x="1711643" y="263843"/>
                      <a:pt x="1711643" y="258128"/>
                      <a:pt x="1711643" y="258128"/>
                    </a:cubicBezTo>
                    <a:lnTo>
                      <a:pt x="1711643" y="249555"/>
                    </a:lnTo>
                    <a:lnTo>
                      <a:pt x="1709738" y="242887"/>
                    </a:lnTo>
                    <a:lnTo>
                      <a:pt x="1705928" y="237173"/>
                    </a:lnTo>
                    <a:cubicBezTo>
                      <a:pt x="1690688" y="234315"/>
                      <a:pt x="1690688" y="234315"/>
                      <a:pt x="1690688" y="234315"/>
                    </a:cubicBezTo>
                    <a:lnTo>
                      <a:pt x="1677353" y="232410"/>
                    </a:lnTo>
                    <a:lnTo>
                      <a:pt x="1665923" y="232410"/>
                    </a:lnTo>
                    <a:lnTo>
                      <a:pt x="1657350" y="224790"/>
                    </a:lnTo>
                    <a:lnTo>
                      <a:pt x="1647825" y="218123"/>
                    </a:lnTo>
                    <a:lnTo>
                      <a:pt x="1634490" y="215265"/>
                    </a:lnTo>
                    <a:lnTo>
                      <a:pt x="1617345" y="215265"/>
                    </a:lnTo>
                    <a:lnTo>
                      <a:pt x="1605915" y="215265"/>
                    </a:lnTo>
                    <a:lnTo>
                      <a:pt x="1584008" y="215265"/>
                    </a:lnTo>
                    <a:lnTo>
                      <a:pt x="1570673" y="219075"/>
                    </a:lnTo>
                    <a:lnTo>
                      <a:pt x="1559243" y="242887"/>
                    </a:lnTo>
                    <a:cubicBezTo>
                      <a:pt x="1559243" y="242887"/>
                      <a:pt x="1559243" y="248603"/>
                      <a:pt x="1559243" y="255270"/>
                    </a:cubicBezTo>
                    <a:cubicBezTo>
                      <a:pt x="1559243" y="261937"/>
                      <a:pt x="1559243" y="258128"/>
                      <a:pt x="1559243" y="261937"/>
                    </a:cubicBezTo>
                    <a:cubicBezTo>
                      <a:pt x="1559243" y="265748"/>
                      <a:pt x="1559243" y="265748"/>
                      <a:pt x="1559243" y="265748"/>
                    </a:cubicBezTo>
                    <a:lnTo>
                      <a:pt x="1563053" y="280035"/>
                    </a:lnTo>
                    <a:cubicBezTo>
                      <a:pt x="1563053" y="280035"/>
                      <a:pt x="1566863" y="291465"/>
                      <a:pt x="1566863" y="297180"/>
                    </a:cubicBezTo>
                    <a:cubicBezTo>
                      <a:pt x="1566863" y="302895"/>
                      <a:pt x="1564005" y="320040"/>
                      <a:pt x="1564005" y="320040"/>
                    </a:cubicBezTo>
                    <a:lnTo>
                      <a:pt x="1550670" y="331470"/>
                    </a:lnTo>
                    <a:lnTo>
                      <a:pt x="1542098" y="331470"/>
                    </a:lnTo>
                    <a:cubicBezTo>
                      <a:pt x="1535430" y="338137"/>
                      <a:pt x="1528763" y="343853"/>
                      <a:pt x="1528763" y="343853"/>
                    </a:cubicBezTo>
                    <a:lnTo>
                      <a:pt x="1535430" y="359093"/>
                    </a:lnTo>
                    <a:cubicBezTo>
                      <a:pt x="1535430" y="359093"/>
                      <a:pt x="1530668" y="371475"/>
                      <a:pt x="1537335" y="377190"/>
                    </a:cubicBezTo>
                    <a:cubicBezTo>
                      <a:pt x="1544003" y="382905"/>
                      <a:pt x="1557338" y="379095"/>
                      <a:pt x="1544003" y="382905"/>
                    </a:cubicBezTo>
                    <a:cubicBezTo>
                      <a:pt x="1530668" y="386715"/>
                      <a:pt x="1517333" y="385762"/>
                      <a:pt x="1517333" y="385762"/>
                    </a:cubicBezTo>
                    <a:lnTo>
                      <a:pt x="1510665" y="380048"/>
                    </a:lnTo>
                    <a:lnTo>
                      <a:pt x="1500188" y="369570"/>
                    </a:lnTo>
                    <a:lnTo>
                      <a:pt x="1496378" y="358140"/>
                    </a:lnTo>
                    <a:lnTo>
                      <a:pt x="1492568" y="342900"/>
                    </a:lnTo>
                    <a:lnTo>
                      <a:pt x="1490663" y="328612"/>
                    </a:lnTo>
                    <a:lnTo>
                      <a:pt x="1470660" y="323850"/>
                    </a:lnTo>
                    <a:lnTo>
                      <a:pt x="1450658" y="320993"/>
                    </a:lnTo>
                    <a:lnTo>
                      <a:pt x="1442085" y="316230"/>
                    </a:lnTo>
                    <a:lnTo>
                      <a:pt x="1437323" y="310515"/>
                    </a:lnTo>
                    <a:lnTo>
                      <a:pt x="1410653" y="304800"/>
                    </a:lnTo>
                    <a:lnTo>
                      <a:pt x="1390650" y="303848"/>
                    </a:lnTo>
                    <a:lnTo>
                      <a:pt x="1380173" y="296228"/>
                    </a:lnTo>
                    <a:lnTo>
                      <a:pt x="1366838" y="294323"/>
                    </a:lnTo>
                    <a:cubicBezTo>
                      <a:pt x="1366838" y="294323"/>
                      <a:pt x="1360170" y="291465"/>
                      <a:pt x="1353503" y="292418"/>
                    </a:cubicBezTo>
                    <a:cubicBezTo>
                      <a:pt x="1346835" y="293370"/>
                      <a:pt x="1336358" y="289560"/>
                      <a:pt x="1336358" y="289560"/>
                    </a:cubicBezTo>
                    <a:lnTo>
                      <a:pt x="1323023" y="287655"/>
                    </a:lnTo>
                    <a:lnTo>
                      <a:pt x="1312545" y="279083"/>
                    </a:lnTo>
                    <a:lnTo>
                      <a:pt x="1308735" y="270510"/>
                    </a:lnTo>
                    <a:lnTo>
                      <a:pt x="1291590" y="264795"/>
                    </a:lnTo>
                    <a:lnTo>
                      <a:pt x="1278255" y="260033"/>
                    </a:lnTo>
                    <a:lnTo>
                      <a:pt x="1263015" y="255270"/>
                    </a:lnTo>
                    <a:cubicBezTo>
                      <a:pt x="1263015" y="255270"/>
                      <a:pt x="1259205" y="245745"/>
                      <a:pt x="1267778" y="243840"/>
                    </a:cubicBezTo>
                    <a:cubicBezTo>
                      <a:pt x="1276350" y="242887"/>
                      <a:pt x="1279208" y="234315"/>
                      <a:pt x="1279208" y="234315"/>
                    </a:cubicBezTo>
                    <a:lnTo>
                      <a:pt x="1290638" y="228600"/>
                    </a:lnTo>
                    <a:lnTo>
                      <a:pt x="1292543" y="222885"/>
                    </a:lnTo>
                    <a:lnTo>
                      <a:pt x="1299210" y="216217"/>
                    </a:lnTo>
                    <a:cubicBezTo>
                      <a:pt x="1299210" y="216217"/>
                      <a:pt x="1294448" y="211455"/>
                      <a:pt x="1301115" y="210503"/>
                    </a:cubicBezTo>
                    <a:cubicBezTo>
                      <a:pt x="1307783" y="209550"/>
                      <a:pt x="1301115" y="213360"/>
                      <a:pt x="1307783" y="209550"/>
                    </a:cubicBezTo>
                    <a:cubicBezTo>
                      <a:pt x="1314450" y="205740"/>
                      <a:pt x="1312545" y="200025"/>
                      <a:pt x="1319213" y="200025"/>
                    </a:cubicBezTo>
                    <a:cubicBezTo>
                      <a:pt x="1325880" y="200025"/>
                      <a:pt x="1321118" y="194310"/>
                      <a:pt x="1327785" y="193358"/>
                    </a:cubicBezTo>
                    <a:cubicBezTo>
                      <a:pt x="1334453" y="192405"/>
                      <a:pt x="1325880" y="191453"/>
                      <a:pt x="1334453" y="192405"/>
                    </a:cubicBezTo>
                    <a:cubicBezTo>
                      <a:pt x="1343025" y="192405"/>
                      <a:pt x="1343025" y="192405"/>
                      <a:pt x="1343025" y="192405"/>
                    </a:cubicBezTo>
                    <a:lnTo>
                      <a:pt x="1361123" y="185737"/>
                    </a:lnTo>
                    <a:cubicBezTo>
                      <a:pt x="1361123" y="185737"/>
                      <a:pt x="1361123" y="180023"/>
                      <a:pt x="1369695" y="180023"/>
                    </a:cubicBezTo>
                    <a:cubicBezTo>
                      <a:pt x="1378268" y="180023"/>
                      <a:pt x="1391603" y="162878"/>
                      <a:pt x="1398270" y="164783"/>
                    </a:cubicBezTo>
                    <a:cubicBezTo>
                      <a:pt x="1404938" y="166687"/>
                      <a:pt x="1403033" y="158115"/>
                      <a:pt x="1403033" y="158115"/>
                    </a:cubicBezTo>
                    <a:lnTo>
                      <a:pt x="1405890" y="151448"/>
                    </a:lnTo>
                    <a:lnTo>
                      <a:pt x="1412558" y="142875"/>
                    </a:lnTo>
                    <a:cubicBezTo>
                      <a:pt x="1425893" y="140017"/>
                      <a:pt x="1425893" y="140017"/>
                      <a:pt x="1425893" y="140017"/>
                    </a:cubicBezTo>
                    <a:lnTo>
                      <a:pt x="1434465" y="139065"/>
                    </a:lnTo>
                    <a:lnTo>
                      <a:pt x="1461135" y="139065"/>
                    </a:lnTo>
                    <a:lnTo>
                      <a:pt x="1483043" y="135255"/>
                    </a:lnTo>
                    <a:lnTo>
                      <a:pt x="1487805" y="128587"/>
                    </a:lnTo>
                    <a:lnTo>
                      <a:pt x="1490663" y="120015"/>
                    </a:lnTo>
                    <a:lnTo>
                      <a:pt x="1497330" y="111442"/>
                    </a:lnTo>
                    <a:lnTo>
                      <a:pt x="1500188" y="102870"/>
                    </a:lnTo>
                    <a:lnTo>
                      <a:pt x="1500188" y="91440"/>
                    </a:lnTo>
                    <a:lnTo>
                      <a:pt x="1486853" y="82867"/>
                    </a:lnTo>
                    <a:lnTo>
                      <a:pt x="1478280" y="78105"/>
                    </a:lnTo>
                    <a:cubicBezTo>
                      <a:pt x="1478280" y="78105"/>
                      <a:pt x="1500188" y="74295"/>
                      <a:pt x="1506855" y="75248"/>
                    </a:cubicBezTo>
                    <a:cubicBezTo>
                      <a:pt x="1513523" y="77153"/>
                      <a:pt x="1495425" y="76200"/>
                      <a:pt x="1513523" y="77153"/>
                    </a:cubicBezTo>
                    <a:cubicBezTo>
                      <a:pt x="1531620" y="77153"/>
                      <a:pt x="1518285" y="77153"/>
                      <a:pt x="1531620" y="77153"/>
                    </a:cubicBezTo>
                    <a:cubicBezTo>
                      <a:pt x="1544955" y="77153"/>
                      <a:pt x="1544955" y="77153"/>
                      <a:pt x="1544955" y="77153"/>
                    </a:cubicBezTo>
                    <a:lnTo>
                      <a:pt x="1560195" y="80010"/>
                    </a:lnTo>
                    <a:lnTo>
                      <a:pt x="1584008" y="84773"/>
                    </a:lnTo>
                    <a:lnTo>
                      <a:pt x="1594485" y="87630"/>
                    </a:lnTo>
                    <a:lnTo>
                      <a:pt x="1603058" y="90487"/>
                    </a:lnTo>
                    <a:lnTo>
                      <a:pt x="1633538" y="100965"/>
                    </a:lnTo>
                    <a:lnTo>
                      <a:pt x="1642110" y="105728"/>
                    </a:lnTo>
                    <a:lnTo>
                      <a:pt x="1645920" y="112395"/>
                    </a:lnTo>
                    <a:lnTo>
                      <a:pt x="1647825" y="118110"/>
                    </a:lnTo>
                    <a:cubicBezTo>
                      <a:pt x="1647825" y="118110"/>
                      <a:pt x="1643063" y="121920"/>
                      <a:pt x="1643063" y="126683"/>
                    </a:cubicBezTo>
                    <a:cubicBezTo>
                      <a:pt x="1643063" y="130492"/>
                      <a:pt x="1656398" y="120015"/>
                      <a:pt x="1643063" y="130492"/>
                    </a:cubicBezTo>
                    <a:cubicBezTo>
                      <a:pt x="1629728" y="141923"/>
                      <a:pt x="1629728" y="141923"/>
                      <a:pt x="1629728" y="141923"/>
                    </a:cubicBezTo>
                    <a:cubicBezTo>
                      <a:pt x="1629728" y="141923"/>
                      <a:pt x="1621155" y="147637"/>
                      <a:pt x="1624965" y="151448"/>
                    </a:cubicBezTo>
                    <a:cubicBezTo>
                      <a:pt x="1629728" y="156210"/>
                      <a:pt x="1626870" y="160973"/>
                      <a:pt x="1626870" y="160973"/>
                    </a:cubicBezTo>
                    <a:lnTo>
                      <a:pt x="1637348" y="169545"/>
                    </a:lnTo>
                    <a:cubicBezTo>
                      <a:pt x="1637348" y="169545"/>
                      <a:pt x="1642110" y="171450"/>
                      <a:pt x="1647825" y="177165"/>
                    </a:cubicBezTo>
                    <a:cubicBezTo>
                      <a:pt x="1654493" y="182880"/>
                      <a:pt x="1643063" y="175260"/>
                      <a:pt x="1654493" y="182880"/>
                    </a:cubicBezTo>
                    <a:cubicBezTo>
                      <a:pt x="1664970" y="190500"/>
                      <a:pt x="1664970" y="190500"/>
                      <a:pt x="1664970" y="190500"/>
                    </a:cubicBezTo>
                    <a:lnTo>
                      <a:pt x="1680210" y="196215"/>
                    </a:lnTo>
                    <a:cubicBezTo>
                      <a:pt x="1680210" y="196215"/>
                      <a:pt x="1697355" y="203835"/>
                      <a:pt x="1704023" y="206692"/>
                    </a:cubicBezTo>
                    <a:cubicBezTo>
                      <a:pt x="1710690" y="209550"/>
                      <a:pt x="1710690" y="209550"/>
                      <a:pt x="1710690" y="209550"/>
                    </a:cubicBezTo>
                    <a:cubicBezTo>
                      <a:pt x="1710690" y="209550"/>
                      <a:pt x="1719263" y="212408"/>
                      <a:pt x="1727835" y="215265"/>
                    </a:cubicBezTo>
                    <a:cubicBezTo>
                      <a:pt x="1736408" y="218123"/>
                      <a:pt x="1736408" y="218123"/>
                      <a:pt x="1736408" y="218123"/>
                    </a:cubicBezTo>
                    <a:cubicBezTo>
                      <a:pt x="1736408" y="218123"/>
                      <a:pt x="1743075" y="215265"/>
                      <a:pt x="1751648" y="217170"/>
                    </a:cubicBezTo>
                    <a:cubicBezTo>
                      <a:pt x="1762125" y="218123"/>
                      <a:pt x="1762125" y="218123"/>
                      <a:pt x="1762125" y="218123"/>
                    </a:cubicBezTo>
                    <a:lnTo>
                      <a:pt x="1760220" y="209550"/>
                    </a:lnTo>
                    <a:lnTo>
                      <a:pt x="1771650" y="209550"/>
                    </a:lnTo>
                    <a:lnTo>
                      <a:pt x="1789748" y="207645"/>
                    </a:lnTo>
                    <a:lnTo>
                      <a:pt x="1792605" y="203835"/>
                    </a:lnTo>
                    <a:lnTo>
                      <a:pt x="1794510" y="198120"/>
                    </a:lnTo>
                    <a:lnTo>
                      <a:pt x="1789748" y="192405"/>
                    </a:lnTo>
                    <a:lnTo>
                      <a:pt x="1784985" y="187642"/>
                    </a:lnTo>
                    <a:lnTo>
                      <a:pt x="1778318" y="178117"/>
                    </a:lnTo>
                    <a:lnTo>
                      <a:pt x="1771650" y="169545"/>
                    </a:lnTo>
                    <a:lnTo>
                      <a:pt x="1755458" y="163830"/>
                    </a:lnTo>
                    <a:lnTo>
                      <a:pt x="1749743" y="155258"/>
                    </a:lnTo>
                    <a:lnTo>
                      <a:pt x="1751648" y="148590"/>
                    </a:lnTo>
                    <a:cubicBezTo>
                      <a:pt x="1764983" y="149542"/>
                      <a:pt x="1764983" y="149542"/>
                      <a:pt x="1764983" y="149542"/>
                    </a:cubicBezTo>
                    <a:cubicBezTo>
                      <a:pt x="1772603" y="155258"/>
                      <a:pt x="1763078" y="152400"/>
                      <a:pt x="1772603" y="155258"/>
                    </a:cubicBezTo>
                    <a:cubicBezTo>
                      <a:pt x="1781175" y="158115"/>
                      <a:pt x="1781175" y="158115"/>
                      <a:pt x="1781175" y="158115"/>
                    </a:cubicBezTo>
                    <a:cubicBezTo>
                      <a:pt x="1781175" y="158115"/>
                      <a:pt x="1781175" y="160020"/>
                      <a:pt x="1786890" y="161925"/>
                    </a:cubicBezTo>
                    <a:cubicBezTo>
                      <a:pt x="1792605" y="163830"/>
                      <a:pt x="1798320" y="164783"/>
                      <a:pt x="1798320" y="164783"/>
                    </a:cubicBezTo>
                    <a:cubicBezTo>
                      <a:pt x="1798320" y="164783"/>
                      <a:pt x="1803083" y="165735"/>
                      <a:pt x="1806893" y="165735"/>
                    </a:cubicBezTo>
                    <a:cubicBezTo>
                      <a:pt x="1811655" y="165735"/>
                      <a:pt x="1814513" y="160973"/>
                      <a:pt x="1814513" y="160973"/>
                    </a:cubicBezTo>
                    <a:cubicBezTo>
                      <a:pt x="1814513" y="160973"/>
                      <a:pt x="1816418" y="156210"/>
                      <a:pt x="1820228" y="156210"/>
                    </a:cubicBezTo>
                    <a:cubicBezTo>
                      <a:pt x="1824990" y="156210"/>
                      <a:pt x="1830705" y="156210"/>
                      <a:pt x="1834515" y="156210"/>
                    </a:cubicBezTo>
                    <a:cubicBezTo>
                      <a:pt x="1839278" y="156210"/>
                      <a:pt x="1839278" y="156210"/>
                      <a:pt x="1839278" y="156210"/>
                    </a:cubicBezTo>
                    <a:cubicBezTo>
                      <a:pt x="1839278" y="156210"/>
                      <a:pt x="1841183" y="151448"/>
                      <a:pt x="1846898" y="150495"/>
                    </a:cubicBezTo>
                    <a:cubicBezTo>
                      <a:pt x="1852613" y="149542"/>
                      <a:pt x="1852613" y="145733"/>
                      <a:pt x="1852613" y="145733"/>
                    </a:cubicBezTo>
                    <a:lnTo>
                      <a:pt x="1854518" y="140017"/>
                    </a:lnTo>
                    <a:lnTo>
                      <a:pt x="1856423" y="134303"/>
                    </a:lnTo>
                    <a:lnTo>
                      <a:pt x="1856423" y="130492"/>
                    </a:lnTo>
                    <a:cubicBezTo>
                      <a:pt x="1856423" y="130492"/>
                      <a:pt x="1855470" y="128587"/>
                      <a:pt x="1848803" y="126683"/>
                    </a:cubicBezTo>
                    <a:cubicBezTo>
                      <a:pt x="1843088" y="124778"/>
                      <a:pt x="1837373" y="123825"/>
                      <a:pt x="1837373" y="123825"/>
                    </a:cubicBezTo>
                    <a:lnTo>
                      <a:pt x="1820228" y="119062"/>
                    </a:lnTo>
                    <a:lnTo>
                      <a:pt x="1805940" y="111442"/>
                    </a:lnTo>
                    <a:lnTo>
                      <a:pt x="1800225" y="112395"/>
                    </a:lnTo>
                    <a:lnTo>
                      <a:pt x="1788795" y="111442"/>
                    </a:lnTo>
                    <a:lnTo>
                      <a:pt x="1778318" y="105728"/>
                    </a:lnTo>
                    <a:lnTo>
                      <a:pt x="1772603" y="101917"/>
                    </a:lnTo>
                    <a:lnTo>
                      <a:pt x="1762125" y="100965"/>
                    </a:lnTo>
                    <a:lnTo>
                      <a:pt x="1750695" y="96203"/>
                    </a:lnTo>
                    <a:cubicBezTo>
                      <a:pt x="1752600" y="90487"/>
                      <a:pt x="1752600" y="85725"/>
                      <a:pt x="1752600" y="85725"/>
                    </a:cubicBezTo>
                    <a:lnTo>
                      <a:pt x="1751648" y="79058"/>
                    </a:lnTo>
                    <a:lnTo>
                      <a:pt x="1751648" y="75248"/>
                    </a:lnTo>
                    <a:lnTo>
                      <a:pt x="1745933" y="67628"/>
                    </a:lnTo>
                    <a:lnTo>
                      <a:pt x="1737360" y="63817"/>
                    </a:lnTo>
                    <a:lnTo>
                      <a:pt x="1725930" y="62865"/>
                    </a:lnTo>
                    <a:lnTo>
                      <a:pt x="1708785" y="54292"/>
                    </a:lnTo>
                    <a:lnTo>
                      <a:pt x="1700213" y="51435"/>
                    </a:lnTo>
                    <a:lnTo>
                      <a:pt x="1676400" y="46672"/>
                    </a:lnTo>
                    <a:lnTo>
                      <a:pt x="1664970" y="43815"/>
                    </a:lnTo>
                    <a:lnTo>
                      <a:pt x="1650683" y="42863"/>
                    </a:lnTo>
                    <a:lnTo>
                      <a:pt x="1628775" y="31432"/>
                    </a:lnTo>
                    <a:lnTo>
                      <a:pt x="1612583" y="22860"/>
                    </a:lnTo>
                    <a:lnTo>
                      <a:pt x="1604010" y="14288"/>
                    </a:lnTo>
                    <a:lnTo>
                      <a:pt x="1590675" y="15240"/>
                    </a:lnTo>
                    <a:lnTo>
                      <a:pt x="1583055" y="13335"/>
                    </a:lnTo>
                    <a:lnTo>
                      <a:pt x="1561148" y="17145"/>
                    </a:lnTo>
                    <a:cubicBezTo>
                      <a:pt x="1562100" y="22860"/>
                      <a:pt x="1553528" y="25717"/>
                      <a:pt x="1553528" y="25717"/>
                    </a:cubicBezTo>
                    <a:lnTo>
                      <a:pt x="1544955" y="24765"/>
                    </a:lnTo>
                    <a:lnTo>
                      <a:pt x="1534478" y="18097"/>
                    </a:lnTo>
                    <a:lnTo>
                      <a:pt x="1524000" y="11430"/>
                    </a:lnTo>
                    <a:lnTo>
                      <a:pt x="1503998" y="4763"/>
                    </a:lnTo>
                    <a:lnTo>
                      <a:pt x="1495425" y="1905"/>
                    </a:lnTo>
                    <a:lnTo>
                      <a:pt x="1474470" y="1905"/>
                    </a:lnTo>
                    <a:lnTo>
                      <a:pt x="1468755" y="1905"/>
                    </a:lnTo>
                    <a:lnTo>
                      <a:pt x="1463993" y="5715"/>
                    </a:lnTo>
                    <a:cubicBezTo>
                      <a:pt x="1463993" y="5715"/>
                      <a:pt x="1458278" y="5715"/>
                      <a:pt x="1458278" y="8572"/>
                    </a:cubicBezTo>
                    <a:cubicBezTo>
                      <a:pt x="1458278" y="11430"/>
                      <a:pt x="1449705" y="11430"/>
                      <a:pt x="1449705" y="11430"/>
                    </a:cubicBezTo>
                    <a:cubicBezTo>
                      <a:pt x="1449705" y="11430"/>
                      <a:pt x="1444943" y="13335"/>
                      <a:pt x="1444943" y="17145"/>
                    </a:cubicBezTo>
                    <a:cubicBezTo>
                      <a:pt x="1444943" y="20955"/>
                      <a:pt x="1440180" y="20955"/>
                      <a:pt x="1442085" y="24765"/>
                    </a:cubicBezTo>
                    <a:cubicBezTo>
                      <a:pt x="1443038" y="28575"/>
                      <a:pt x="1446848" y="24765"/>
                      <a:pt x="1443038" y="28575"/>
                    </a:cubicBezTo>
                    <a:cubicBezTo>
                      <a:pt x="1440180" y="32385"/>
                      <a:pt x="1434465" y="33338"/>
                      <a:pt x="1434465" y="33338"/>
                    </a:cubicBezTo>
                    <a:lnTo>
                      <a:pt x="1425893" y="31432"/>
                    </a:lnTo>
                    <a:lnTo>
                      <a:pt x="1423035" y="23813"/>
                    </a:lnTo>
                    <a:cubicBezTo>
                      <a:pt x="1423035" y="23813"/>
                      <a:pt x="1422083" y="20003"/>
                      <a:pt x="1425893" y="19050"/>
                    </a:cubicBezTo>
                    <a:cubicBezTo>
                      <a:pt x="1430655" y="18097"/>
                      <a:pt x="1430655" y="13335"/>
                      <a:pt x="1430655" y="13335"/>
                    </a:cubicBezTo>
                    <a:lnTo>
                      <a:pt x="1432560" y="7620"/>
                    </a:lnTo>
                    <a:lnTo>
                      <a:pt x="1432560" y="3810"/>
                    </a:lnTo>
                    <a:cubicBezTo>
                      <a:pt x="1421130" y="953"/>
                      <a:pt x="1415415" y="953"/>
                      <a:pt x="1415415" y="953"/>
                    </a:cubicBezTo>
                    <a:lnTo>
                      <a:pt x="1402080" y="0"/>
                    </a:lnTo>
                    <a:cubicBezTo>
                      <a:pt x="1399223" y="2857"/>
                      <a:pt x="1380173" y="6667"/>
                      <a:pt x="1380173" y="6667"/>
                    </a:cubicBezTo>
                    <a:cubicBezTo>
                      <a:pt x="1377315" y="10478"/>
                      <a:pt x="1369695" y="12382"/>
                      <a:pt x="1369695" y="15240"/>
                    </a:cubicBezTo>
                    <a:cubicBezTo>
                      <a:pt x="1369695" y="18097"/>
                      <a:pt x="1371600" y="12382"/>
                      <a:pt x="1369695" y="18097"/>
                    </a:cubicBezTo>
                    <a:cubicBezTo>
                      <a:pt x="1367790" y="23813"/>
                      <a:pt x="1364933" y="25717"/>
                      <a:pt x="1366838" y="30480"/>
                    </a:cubicBezTo>
                    <a:cubicBezTo>
                      <a:pt x="1367790" y="35242"/>
                      <a:pt x="1362075" y="37147"/>
                      <a:pt x="1366838" y="40957"/>
                    </a:cubicBezTo>
                    <a:cubicBezTo>
                      <a:pt x="1371600" y="44767"/>
                      <a:pt x="1374458" y="48578"/>
                      <a:pt x="1374458" y="48578"/>
                    </a:cubicBezTo>
                    <a:lnTo>
                      <a:pt x="1382078" y="55245"/>
                    </a:lnTo>
                    <a:cubicBezTo>
                      <a:pt x="1382078" y="55245"/>
                      <a:pt x="1380173" y="57150"/>
                      <a:pt x="1390650" y="60960"/>
                    </a:cubicBezTo>
                    <a:cubicBezTo>
                      <a:pt x="1401128" y="64770"/>
                      <a:pt x="1401128" y="61913"/>
                      <a:pt x="1407795" y="65723"/>
                    </a:cubicBezTo>
                    <a:cubicBezTo>
                      <a:pt x="1415415" y="69533"/>
                      <a:pt x="1412558" y="66675"/>
                      <a:pt x="1415415" y="69533"/>
                    </a:cubicBezTo>
                    <a:cubicBezTo>
                      <a:pt x="1418273" y="72390"/>
                      <a:pt x="1403985" y="68580"/>
                      <a:pt x="1418273" y="72390"/>
                    </a:cubicBezTo>
                    <a:cubicBezTo>
                      <a:pt x="1432560" y="76200"/>
                      <a:pt x="1421130" y="71437"/>
                      <a:pt x="1432560" y="76200"/>
                    </a:cubicBezTo>
                    <a:cubicBezTo>
                      <a:pt x="1443990" y="80962"/>
                      <a:pt x="1441133" y="78105"/>
                      <a:pt x="1443990" y="80962"/>
                    </a:cubicBezTo>
                    <a:cubicBezTo>
                      <a:pt x="1446848" y="83820"/>
                      <a:pt x="1446848" y="81915"/>
                      <a:pt x="1446848" y="87630"/>
                    </a:cubicBezTo>
                    <a:cubicBezTo>
                      <a:pt x="1446848" y="93345"/>
                      <a:pt x="1441133" y="92392"/>
                      <a:pt x="1441133" y="95250"/>
                    </a:cubicBezTo>
                    <a:cubicBezTo>
                      <a:pt x="1441133" y="98108"/>
                      <a:pt x="1441133" y="98108"/>
                      <a:pt x="1441133" y="98108"/>
                    </a:cubicBezTo>
                    <a:lnTo>
                      <a:pt x="1429703" y="104775"/>
                    </a:lnTo>
                    <a:lnTo>
                      <a:pt x="1419225" y="110490"/>
                    </a:lnTo>
                    <a:cubicBezTo>
                      <a:pt x="1417320" y="116205"/>
                      <a:pt x="1417320" y="116205"/>
                      <a:pt x="1417320" y="116205"/>
                    </a:cubicBezTo>
                    <a:lnTo>
                      <a:pt x="1403033" y="120015"/>
                    </a:lnTo>
                    <a:cubicBezTo>
                      <a:pt x="1403033" y="120015"/>
                      <a:pt x="1397318" y="120015"/>
                      <a:pt x="1397318" y="116205"/>
                    </a:cubicBezTo>
                    <a:cubicBezTo>
                      <a:pt x="1397318" y="112395"/>
                      <a:pt x="1397318" y="107633"/>
                      <a:pt x="1397318" y="107633"/>
                    </a:cubicBezTo>
                    <a:lnTo>
                      <a:pt x="1397318" y="101917"/>
                    </a:lnTo>
                    <a:lnTo>
                      <a:pt x="1396365" y="95250"/>
                    </a:lnTo>
                    <a:lnTo>
                      <a:pt x="1393508" y="90487"/>
                    </a:lnTo>
                    <a:lnTo>
                      <a:pt x="1384935" y="88583"/>
                    </a:lnTo>
                    <a:lnTo>
                      <a:pt x="1376363" y="88583"/>
                    </a:lnTo>
                    <a:lnTo>
                      <a:pt x="1364933" y="88583"/>
                    </a:lnTo>
                    <a:cubicBezTo>
                      <a:pt x="1364933" y="88583"/>
                      <a:pt x="1354455" y="87630"/>
                      <a:pt x="1354455" y="84773"/>
                    </a:cubicBezTo>
                    <a:cubicBezTo>
                      <a:pt x="1354455" y="81915"/>
                      <a:pt x="1354455" y="81915"/>
                      <a:pt x="1354455" y="81915"/>
                    </a:cubicBezTo>
                    <a:lnTo>
                      <a:pt x="1341120" y="76200"/>
                    </a:lnTo>
                    <a:lnTo>
                      <a:pt x="1324928" y="74295"/>
                    </a:lnTo>
                    <a:lnTo>
                      <a:pt x="1319213" y="73342"/>
                    </a:lnTo>
                    <a:lnTo>
                      <a:pt x="1318260" y="60960"/>
                    </a:lnTo>
                    <a:lnTo>
                      <a:pt x="1315403" y="53340"/>
                    </a:lnTo>
                    <a:lnTo>
                      <a:pt x="1309688" y="45720"/>
                    </a:lnTo>
                    <a:lnTo>
                      <a:pt x="1304925" y="41910"/>
                    </a:lnTo>
                    <a:lnTo>
                      <a:pt x="1299210" y="40005"/>
                    </a:lnTo>
                    <a:lnTo>
                      <a:pt x="1274445" y="35242"/>
                    </a:lnTo>
                    <a:cubicBezTo>
                      <a:pt x="1274445" y="35242"/>
                      <a:pt x="1266825" y="35242"/>
                      <a:pt x="1266825" y="39053"/>
                    </a:cubicBezTo>
                    <a:cubicBezTo>
                      <a:pt x="1266825" y="42863"/>
                      <a:pt x="1259205" y="44767"/>
                      <a:pt x="1259205" y="44767"/>
                    </a:cubicBezTo>
                    <a:cubicBezTo>
                      <a:pt x="1259205" y="44767"/>
                      <a:pt x="1245870" y="44767"/>
                      <a:pt x="1247775" y="48578"/>
                    </a:cubicBezTo>
                    <a:cubicBezTo>
                      <a:pt x="1248728" y="52388"/>
                      <a:pt x="1243013" y="49530"/>
                      <a:pt x="1247775" y="56197"/>
                    </a:cubicBezTo>
                    <a:cubicBezTo>
                      <a:pt x="1251585" y="62865"/>
                      <a:pt x="1248728" y="60960"/>
                      <a:pt x="1253490" y="66675"/>
                    </a:cubicBezTo>
                    <a:cubicBezTo>
                      <a:pt x="1258253" y="72390"/>
                      <a:pt x="1251585" y="67628"/>
                      <a:pt x="1258253" y="72390"/>
                    </a:cubicBezTo>
                    <a:cubicBezTo>
                      <a:pt x="1263968" y="77153"/>
                      <a:pt x="1255395" y="73342"/>
                      <a:pt x="1263968" y="77153"/>
                    </a:cubicBezTo>
                    <a:cubicBezTo>
                      <a:pt x="1272540" y="80962"/>
                      <a:pt x="1265873" y="78105"/>
                      <a:pt x="1272540" y="80962"/>
                    </a:cubicBezTo>
                    <a:cubicBezTo>
                      <a:pt x="1280160" y="83820"/>
                      <a:pt x="1280160" y="83820"/>
                      <a:pt x="1280160" y="83820"/>
                    </a:cubicBezTo>
                    <a:cubicBezTo>
                      <a:pt x="1280160" y="83820"/>
                      <a:pt x="1284923" y="85725"/>
                      <a:pt x="1287780" y="89535"/>
                    </a:cubicBezTo>
                    <a:cubicBezTo>
                      <a:pt x="1290638" y="93345"/>
                      <a:pt x="1292543" y="93345"/>
                      <a:pt x="1291590" y="97155"/>
                    </a:cubicBezTo>
                    <a:cubicBezTo>
                      <a:pt x="1291590" y="100965"/>
                      <a:pt x="1285875" y="108585"/>
                      <a:pt x="1285875" y="108585"/>
                    </a:cubicBezTo>
                    <a:cubicBezTo>
                      <a:pt x="1285875" y="108585"/>
                      <a:pt x="1278255" y="108585"/>
                      <a:pt x="1271588" y="109537"/>
                    </a:cubicBezTo>
                    <a:cubicBezTo>
                      <a:pt x="1263968" y="110490"/>
                      <a:pt x="1255395" y="109537"/>
                      <a:pt x="1255395" y="109537"/>
                    </a:cubicBezTo>
                    <a:lnTo>
                      <a:pt x="1249680" y="101917"/>
                    </a:lnTo>
                    <a:lnTo>
                      <a:pt x="1251585" y="94298"/>
                    </a:lnTo>
                    <a:lnTo>
                      <a:pt x="1254443" y="89535"/>
                    </a:lnTo>
                    <a:lnTo>
                      <a:pt x="1243965" y="81915"/>
                    </a:lnTo>
                    <a:lnTo>
                      <a:pt x="1230630" y="79058"/>
                    </a:lnTo>
                    <a:lnTo>
                      <a:pt x="1203008" y="78105"/>
                    </a:lnTo>
                    <a:lnTo>
                      <a:pt x="1203008" y="84773"/>
                    </a:lnTo>
                    <a:lnTo>
                      <a:pt x="1214438" y="90487"/>
                    </a:lnTo>
                    <a:cubicBezTo>
                      <a:pt x="1223010" y="96203"/>
                      <a:pt x="1220153" y="97155"/>
                      <a:pt x="1221105" y="100965"/>
                    </a:cubicBezTo>
                    <a:cubicBezTo>
                      <a:pt x="1222058" y="104775"/>
                      <a:pt x="1212533" y="103823"/>
                      <a:pt x="1212533" y="103823"/>
                    </a:cubicBezTo>
                    <a:lnTo>
                      <a:pt x="1190625" y="105728"/>
                    </a:lnTo>
                    <a:lnTo>
                      <a:pt x="1163003" y="107633"/>
                    </a:lnTo>
                    <a:lnTo>
                      <a:pt x="1130618" y="108585"/>
                    </a:lnTo>
                    <a:cubicBezTo>
                      <a:pt x="1130618" y="108585"/>
                      <a:pt x="1119188" y="107633"/>
                      <a:pt x="1111568" y="109537"/>
                    </a:cubicBezTo>
                    <a:cubicBezTo>
                      <a:pt x="1103948" y="111442"/>
                      <a:pt x="1084898" y="110490"/>
                      <a:pt x="1084898" y="110490"/>
                    </a:cubicBezTo>
                    <a:lnTo>
                      <a:pt x="1076325" y="110490"/>
                    </a:lnTo>
                    <a:lnTo>
                      <a:pt x="1054418" y="106680"/>
                    </a:lnTo>
                    <a:lnTo>
                      <a:pt x="1051560" y="112395"/>
                    </a:lnTo>
                    <a:cubicBezTo>
                      <a:pt x="1060133" y="118110"/>
                      <a:pt x="1041083" y="118110"/>
                      <a:pt x="1041083" y="118110"/>
                    </a:cubicBezTo>
                    <a:lnTo>
                      <a:pt x="1032510" y="116205"/>
                    </a:lnTo>
                    <a:lnTo>
                      <a:pt x="1024890" y="116205"/>
                    </a:lnTo>
                    <a:cubicBezTo>
                      <a:pt x="1024890" y="116205"/>
                      <a:pt x="1017270" y="113348"/>
                      <a:pt x="1013460" y="114300"/>
                    </a:cubicBezTo>
                    <a:cubicBezTo>
                      <a:pt x="1008698" y="115253"/>
                      <a:pt x="1008698" y="115253"/>
                      <a:pt x="1008698" y="115253"/>
                    </a:cubicBezTo>
                    <a:lnTo>
                      <a:pt x="975360" y="113348"/>
                    </a:lnTo>
                    <a:lnTo>
                      <a:pt x="942975" y="104775"/>
                    </a:lnTo>
                    <a:lnTo>
                      <a:pt x="935355" y="101917"/>
                    </a:lnTo>
                    <a:lnTo>
                      <a:pt x="929640" y="99060"/>
                    </a:lnTo>
                    <a:lnTo>
                      <a:pt x="921068" y="92392"/>
                    </a:lnTo>
                    <a:lnTo>
                      <a:pt x="918210" y="86678"/>
                    </a:lnTo>
                    <a:lnTo>
                      <a:pt x="910590" y="85725"/>
                    </a:lnTo>
                    <a:lnTo>
                      <a:pt x="896303" y="84773"/>
                    </a:lnTo>
                    <a:cubicBezTo>
                      <a:pt x="896303" y="84773"/>
                      <a:pt x="888683" y="83820"/>
                      <a:pt x="884873" y="84773"/>
                    </a:cubicBezTo>
                    <a:cubicBezTo>
                      <a:pt x="880110" y="85725"/>
                      <a:pt x="873443" y="85725"/>
                      <a:pt x="868680" y="84773"/>
                    </a:cubicBezTo>
                    <a:cubicBezTo>
                      <a:pt x="863918" y="83820"/>
                      <a:pt x="857250" y="81915"/>
                      <a:pt x="857250" y="81915"/>
                    </a:cubicBezTo>
                    <a:lnTo>
                      <a:pt x="849630" y="80010"/>
                    </a:lnTo>
                    <a:lnTo>
                      <a:pt x="836295" y="73342"/>
                    </a:lnTo>
                    <a:lnTo>
                      <a:pt x="825818" y="70485"/>
                    </a:lnTo>
                    <a:lnTo>
                      <a:pt x="815340" y="70485"/>
                    </a:lnTo>
                    <a:lnTo>
                      <a:pt x="803910" y="70485"/>
                    </a:lnTo>
                    <a:lnTo>
                      <a:pt x="792480" y="70485"/>
                    </a:lnTo>
                    <a:cubicBezTo>
                      <a:pt x="792480" y="70485"/>
                      <a:pt x="792480" y="70485"/>
                      <a:pt x="786765" y="71437"/>
                    </a:cubicBezTo>
                    <a:cubicBezTo>
                      <a:pt x="781050" y="72390"/>
                      <a:pt x="770573" y="72390"/>
                      <a:pt x="770573" y="72390"/>
                    </a:cubicBezTo>
                    <a:lnTo>
                      <a:pt x="754380" y="72390"/>
                    </a:lnTo>
                    <a:lnTo>
                      <a:pt x="731520" y="63817"/>
                    </a:lnTo>
                    <a:lnTo>
                      <a:pt x="714375" y="59055"/>
                    </a:lnTo>
                    <a:lnTo>
                      <a:pt x="703898" y="59055"/>
                    </a:lnTo>
                    <a:lnTo>
                      <a:pt x="679133" y="61913"/>
                    </a:lnTo>
                    <a:lnTo>
                      <a:pt x="673418" y="62865"/>
                    </a:lnTo>
                    <a:cubicBezTo>
                      <a:pt x="673418" y="62865"/>
                      <a:pt x="665798" y="61913"/>
                      <a:pt x="665798" y="64770"/>
                    </a:cubicBezTo>
                    <a:cubicBezTo>
                      <a:pt x="665798" y="67628"/>
                      <a:pt x="655320" y="67628"/>
                      <a:pt x="655320" y="67628"/>
                    </a:cubicBezTo>
                    <a:lnTo>
                      <a:pt x="641033" y="68580"/>
                    </a:lnTo>
                    <a:lnTo>
                      <a:pt x="635318" y="67628"/>
                    </a:lnTo>
                    <a:lnTo>
                      <a:pt x="624840" y="67628"/>
                    </a:lnTo>
                    <a:lnTo>
                      <a:pt x="617220" y="70485"/>
                    </a:lnTo>
                    <a:cubicBezTo>
                      <a:pt x="617220" y="70485"/>
                      <a:pt x="608648" y="71437"/>
                      <a:pt x="608648" y="74295"/>
                    </a:cubicBezTo>
                    <a:cubicBezTo>
                      <a:pt x="608648" y="77153"/>
                      <a:pt x="598170" y="77153"/>
                      <a:pt x="598170" y="77153"/>
                    </a:cubicBezTo>
                    <a:lnTo>
                      <a:pt x="583883" y="74295"/>
                    </a:lnTo>
                    <a:lnTo>
                      <a:pt x="567690" y="75248"/>
                    </a:lnTo>
                    <a:lnTo>
                      <a:pt x="554355" y="78105"/>
                    </a:lnTo>
                    <a:lnTo>
                      <a:pt x="535305" y="80962"/>
                    </a:lnTo>
                    <a:lnTo>
                      <a:pt x="524828" y="80010"/>
                    </a:lnTo>
                    <a:lnTo>
                      <a:pt x="513398" y="76200"/>
                    </a:lnTo>
                    <a:lnTo>
                      <a:pt x="502920" y="73342"/>
                    </a:lnTo>
                    <a:lnTo>
                      <a:pt x="495300" y="69533"/>
                    </a:lnTo>
                    <a:lnTo>
                      <a:pt x="481965" y="65723"/>
                    </a:lnTo>
                    <a:lnTo>
                      <a:pt x="451485" y="62865"/>
                    </a:lnTo>
                    <a:lnTo>
                      <a:pt x="437198" y="62865"/>
                    </a:lnTo>
                    <a:lnTo>
                      <a:pt x="406718" y="61913"/>
                    </a:lnTo>
                    <a:lnTo>
                      <a:pt x="385763" y="60960"/>
                    </a:lnTo>
                    <a:lnTo>
                      <a:pt x="364808" y="59055"/>
                    </a:lnTo>
                    <a:lnTo>
                      <a:pt x="352425" y="55245"/>
                    </a:lnTo>
                    <a:lnTo>
                      <a:pt x="339090" y="55245"/>
                    </a:lnTo>
                    <a:lnTo>
                      <a:pt x="317183" y="54292"/>
                    </a:lnTo>
                    <a:lnTo>
                      <a:pt x="290513" y="51435"/>
                    </a:lnTo>
                    <a:lnTo>
                      <a:pt x="279083" y="46672"/>
                    </a:lnTo>
                    <a:lnTo>
                      <a:pt x="261938" y="44767"/>
                    </a:lnTo>
                    <a:lnTo>
                      <a:pt x="251460" y="44767"/>
                    </a:lnTo>
                    <a:lnTo>
                      <a:pt x="237173" y="40005"/>
                    </a:lnTo>
                    <a:cubicBezTo>
                      <a:pt x="237173" y="40005"/>
                      <a:pt x="251460" y="38100"/>
                      <a:pt x="226695" y="36195"/>
                    </a:cubicBezTo>
                    <a:cubicBezTo>
                      <a:pt x="201930" y="34290"/>
                      <a:pt x="207645" y="32385"/>
                      <a:pt x="191453" y="35242"/>
                    </a:cubicBezTo>
                    <a:cubicBezTo>
                      <a:pt x="175260" y="38100"/>
                      <a:pt x="164783" y="35242"/>
                      <a:pt x="166688" y="38100"/>
                    </a:cubicBezTo>
                    <a:cubicBezTo>
                      <a:pt x="167640" y="40957"/>
                      <a:pt x="153353" y="43815"/>
                      <a:pt x="153353" y="43815"/>
                    </a:cubicBezTo>
                    <a:lnTo>
                      <a:pt x="145733" y="46672"/>
                    </a:lnTo>
                    <a:cubicBezTo>
                      <a:pt x="145733" y="46672"/>
                      <a:pt x="121920" y="45720"/>
                      <a:pt x="123825" y="48578"/>
                    </a:cubicBezTo>
                    <a:cubicBezTo>
                      <a:pt x="124778" y="51435"/>
                      <a:pt x="113348" y="53340"/>
                      <a:pt x="113348" y="53340"/>
                    </a:cubicBezTo>
                    <a:lnTo>
                      <a:pt x="104775" y="60960"/>
                    </a:lnTo>
                    <a:cubicBezTo>
                      <a:pt x="104775" y="60960"/>
                      <a:pt x="97155" y="58103"/>
                      <a:pt x="97155" y="61913"/>
                    </a:cubicBezTo>
                    <a:cubicBezTo>
                      <a:pt x="97155" y="65723"/>
                      <a:pt x="107633" y="57150"/>
                      <a:pt x="97155" y="65723"/>
                    </a:cubicBezTo>
                    <a:cubicBezTo>
                      <a:pt x="86678" y="74295"/>
                      <a:pt x="80963" y="76200"/>
                      <a:pt x="80963" y="76200"/>
                    </a:cubicBezTo>
                    <a:lnTo>
                      <a:pt x="64770" y="80962"/>
                    </a:lnTo>
                    <a:cubicBezTo>
                      <a:pt x="64770" y="80962"/>
                      <a:pt x="54293" y="80010"/>
                      <a:pt x="59055" y="84773"/>
                    </a:cubicBezTo>
                    <a:cubicBezTo>
                      <a:pt x="62865" y="89535"/>
                      <a:pt x="61913" y="82867"/>
                      <a:pt x="62865" y="89535"/>
                    </a:cubicBezTo>
                    <a:cubicBezTo>
                      <a:pt x="62865" y="94298"/>
                      <a:pt x="51435" y="88583"/>
                      <a:pt x="62865" y="94298"/>
                    </a:cubicBezTo>
                    <a:cubicBezTo>
                      <a:pt x="74295" y="99060"/>
                      <a:pt x="64770" y="94298"/>
                      <a:pt x="74295" y="99060"/>
                    </a:cubicBezTo>
                    <a:cubicBezTo>
                      <a:pt x="84773" y="103823"/>
                      <a:pt x="87630" y="104775"/>
                      <a:pt x="91440" y="107633"/>
                    </a:cubicBezTo>
                    <a:cubicBezTo>
                      <a:pt x="96203" y="110490"/>
                      <a:pt x="94298" y="104775"/>
                      <a:pt x="96203" y="110490"/>
                    </a:cubicBezTo>
                    <a:cubicBezTo>
                      <a:pt x="97155" y="116205"/>
                      <a:pt x="110490" y="117158"/>
                      <a:pt x="113348" y="120015"/>
                    </a:cubicBezTo>
                    <a:cubicBezTo>
                      <a:pt x="116205" y="122873"/>
                      <a:pt x="116205" y="122873"/>
                      <a:pt x="116205" y="122873"/>
                    </a:cubicBezTo>
                    <a:cubicBezTo>
                      <a:pt x="116205" y="122873"/>
                      <a:pt x="108585" y="123825"/>
                      <a:pt x="104775" y="125730"/>
                    </a:cubicBezTo>
                    <a:cubicBezTo>
                      <a:pt x="100013" y="127635"/>
                      <a:pt x="91440" y="126683"/>
                      <a:pt x="91440" y="126683"/>
                    </a:cubicBezTo>
                    <a:lnTo>
                      <a:pt x="78105" y="125730"/>
                    </a:lnTo>
                    <a:lnTo>
                      <a:pt x="59055" y="125730"/>
                    </a:lnTo>
                    <a:cubicBezTo>
                      <a:pt x="59055" y="125730"/>
                      <a:pt x="53340" y="126683"/>
                      <a:pt x="48578" y="127635"/>
                    </a:cubicBezTo>
                    <a:cubicBezTo>
                      <a:pt x="43815" y="128587"/>
                      <a:pt x="21908" y="129540"/>
                      <a:pt x="21908" y="129540"/>
                    </a:cubicBezTo>
                    <a:cubicBezTo>
                      <a:pt x="20003" y="136208"/>
                      <a:pt x="19050" y="129540"/>
                      <a:pt x="20003" y="136208"/>
                    </a:cubicBezTo>
                    <a:cubicBezTo>
                      <a:pt x="22860" y="141923"/>
                      <a:pt x="14288" y="141923"/>
                      <a:pt x="22860" y="147637"/>
                    </a:cubicBezTo>
                    <a:cubicBezTo>
                      <a:pt x="31433" y="153353"/>
                      <a:pt x="26670" y="155258"/>
                      <a:pt x="33338" y="157162"/>
                    </a:cubicBezTo>
                    <a:cubicBezTo>
                      <a:pt x="38100" y="159067"/>
                      <a:pt x="31433" y="158115"/>
                      <a:pt x="38100" y="159067"/>
                    </a:cubicBezTo>
                    <a:cubicBezTo>
                      <a:pt x="45720" y="160020"/>
                      <a:pt x="51435" y="158115"/>
                      <a:pt x="56198" y="159067"/>
                    </a:cubicBezTo>
                    <a:cubicBezTo>
                      <a:pt x="60960" y="160020"/>
                      <a:pt x="67628" y="159067"/>
                      <a:pt x="67628" y="159067"/>
                    </a:cubicBezTo>
                    <a:lnTo>
                      <a:pt x="81915" y="157162"/>
                    </a:lnTo>
                    <a:lnTo>
                      <a:pt x="90488" y="156210"/>
                    </a:lnTo>
                    <a:cubicBezTo>
                      <a:pt x="90488" y="156210"/>
                      <a:pt x="98108" y="155258"/>
                      <a:pt x="101918" y="156210"/>
                    </a:cubicBezTo>
                    <a:cubicBezTo>
                      <a:pt x="106680" y="157162"/>
                      <a:pt x="106680" y="157162"/>
                      <a:pt x="106680" y="157162"/>
                    </a:cubicBezTo>
                    <a:cubicBezTo>
                      <a:pt x="115253" y="158115"/>
                      <a:pt x="128588" y="160973"/>
                      <a:pt x="128588" y="160973"/>
                    </a:cubicBezTo>
                    <a:lnTo>
                      <a:pt x="131445" y="164783"/>
                    </a:lnTo>
                    <a:cubicBezTo>
                      <a:pt x="131445" y="164783"/>
                      <a:pt x="128588" y="165735"/>
                      <a:pt x="129540" y="170498"/>
                    </a:cubicBezTo>
                    <a:cubicBezTo>
                      <a:pt x="130493" y="175260"/>
                      <a:pt x="130493" y="175260"/>
                      <a:pt x="130493" y="175260"/>
                    </a:cubicBezTo>
                    <a:lnTo>
                      <a:pt x="114300" y="178117"/>
                    </a:lnTo>
                    <a:lnTo>
                      <a:pt x="100965" y="179070"/>
                    </a:lnTo>
                    <a:lnTo>
                      <a:pt x="85725" y="184785"/>
                    </a:lnTo>
                    <a:lnTo>
                      <a:pt x="71438" y="184785"/>
                    </a:lnTo>
                    <a:lnTo>
                      <a:pt x="60960" y="188595"/>
                    </a:lnTo>
                    <a:cubicBezTo>
                      <a:pt x="60960" y="188595"/>
                      <a:pt x="50483" y="191453"/>
                      <a:pt x="52388" y="194310"/>
                    </a:cubicBezTo>
                    <a:cubicBezTo>
                      <a:pt x="53340" y="197167"/>
                      <a:pt x="53340" y="197167"/>
                      <a:pt x="53340" y="197167"/>
                    </a:cubicBezTo>
                    <a:lnTo>
                      <a:pt x="45720" y="203835"/>
                    </a:lnTo>
                    <a:cubicBezTo>
                      <a:pt x="42863" y="208598"/>
                      <a:pt x="42863" y="208598"/>
                      <a:pt x="42863" y="208598"/>
                    </a:cubicBezTo>
                    <a:lnTo>
                      <a:pt x="40958" y="216217"/>
                    </a:lnTo>
                    <a:lnTo>
                      <a:pt x="49530" y="221933"/>
                    </a:lnTo>
                    <a:cubicBezTo>
                      <a:pt x="57150" y="227648"/>
                      <a:pt x="57150" y="227648"/>
                      <a:pt x="57150" y="227648"/>
                    </a:cubicBezTo>
                    <a:lnTo>
                      <a:pt x="70485" y="231458"/>
                    </a:lnTo>
                    <a:lnTo>
                      <a:pt x="83820" y="237173"/>
                    </a:lnTo>
                    <a:lnTo>
                      <a:pt x="90488" y="242887"/>
                    </a:lnTo>
                    <a:cubicBezTo>
                      <a:pt x="100965" y="245745"/>
                      <a:pt x="90488" y="244792"/>
                      <a:pt x="100965" y="245745"/>
                    </a:cubicBezTo>
                    <a:cubicBezTo>
                      <a:pt x="112395" y="247650"/>
                      <a:pt x="112395" y="247650"/>
                      <a:pt x="112395" y="247650"/>
                    </a:cubicBezTo>
                    <a:lnTo>
                      <a:pt x="125730" y="255270"/>
                    </a:lnTo>
                    <a:lnTo>
                      <a:pt x="137160" y="255270"/>
                    </a:lnTo>
                    <a:cubicBezTo>
                      <a:pt x="137160" y="255270"/>
                      <a:pt x="145733" y="254317"/>
                      <a:pt x="152400" y="257175"/>
                    </a:cubicBezTo>
                    <a:cubicBezTo>
                      <a:pt x="159068" y="260033"/>
                      <a:pt x="159068" y="260033"/>
                      <a:pt x="159068" y="260033"/>
                    </a:cubicBezTo>
                    <a:lnTo>
                      <a:pt x="172403" y="261937"/>
                    </a:lnTo>
                    <a:lnTo>
                      <a:pt x="182880" y="264795"/>
                    </a:lnTo>
                    <a:cubicBezTo>
                      <a:pt x="184785" y="270510"/>
                      <a:pt x="184785" y="270510"/>
                      <a:pt x="184785" y="270510"/>
                    </a:cubicBezTo>
                    <a:cubicBezTo>
                      <a:pt x="184785" y="270510"/>
                      <a:pt x="182880" y="273368"/>
                      <a:pt x="180023" y="277178"/>
                    </a:cubicBezTo>
                    <a:cubicBezTo>
                      <a:pt x="177165" y="280987"/>
                      <a:pt x="161925" y="284798"/>
                      <a:pt x="161925" y="284798"/>
                    </a:cubicBezTo>
                    <a:lnTo>
                      <a:pt x="148590" y="290512"/>
                    </a:lnTo>
                    <a:lnTo>
                      <a:pt x="135255" y="296228"/>
                    </a:lnTo>
                    <a:lnTo>
                      <a:pt x="123825" y="300037"/>
                    </a:lnTo>
                    <a:lnTo>
                      <a:pt x="110490" y="303848"/>
                    </a:lnTo>
                    <a:lnTo>
                      <a:pt x="99060" y="307658"/>
                    </a:lnTo>
                    <a:lnTo>
                      <a:pt x="79058" y="310515"/>
                    </a:lnTo>
                    <a:lnTo>
                      <a:pt x="63818" y="314325"/>
                    </a:lnTo>
                    <a:lnTo>
                      <a:pt x="50483" y="315278"/>
                    </a:lnTo>
                    <a:lnTo>
                      <a:pt x="38100" y="320040"/>
                    </a:lnTo>
                    <a:lnTo>
                      <a:pt x="18098" y="322898"/>
                    </a:lnTo>
                    <a:lnTo>
                      <a:pt x="0" y="322898"/>
                    </a:lnTo>
                    <a:lnTo>
                      <a:pt x="0" y="328612"/>
                    </a:lnTo>
                    <a:cubicBezTo>
                      <a:pt x="0" y="328612"/>
                      <a:pt x="8573" y="330518"/>
                      <a:pt x="15240" y="330518"/>
                    </a:cubicBezTo>
                    <a:cubicBezTo>
                      <a:pt x="21908" y="330518"/>
                      <a:pt x="28575" y="327660"/>
                      <a:pt x="37148" y="327660"/>
                    </a:cubicBezTo>
                    <a:cubicBezTo>
                      <a:pt x="45720" y="327660"/>
                      <a:pt x="50483" y="324803"/>
                      <a:pt x="57150" y="324803"/>
                    </a:cubicBezTo>
                    <a:cubicBezTo>
                      <a:pt x="63818" y="324803"/>
                      <a:pt x="72390" y="321945"/>
                      <a:pt x="81915" y="320993"/>
                    </a:cubicBezTo>
                    <a:cubicBezTo>
                      <a:pt x="90488" y="320040"/>
                      <a:pt x="93345" y="318135"/>
                      <a:pt x="100013" y="318135"/>
                    </a:cubicBezTo>
                    <a:cubicBezTo>
                      <a:pt x="106680" y="318135"/>
                      <a:pt x="120015" y="315278"/>
                      <a:pt x="120015" y="315278"/>
                    </a:cubicBezTo>
                    <a:lnTo>
                      <a:pt x="138113" y="312420"/>
                    </a:lnTo>
                    <a:lnTo>
                      <a:pt x="164783" y="306705"/>
                    </a:lnTo>
                    <a:cubicBezTo>
                      <a:pt x="164783" y="306705"/>
                      <a:pt x="169545" y="300037"/>
                      <a:pt x="176213" y="300037"/>
                    </a:cubicBezTo>
                    <a:cubicBezTo>
                      <a:pt x="182880" y="300037"/>
                      <a:pt x="189548" y="294323"/>
                      <a:pt x="189548" y="294323"/>
                    </a:cubicBezTo>
                    <a:lnTo>
                      <a:pt x="200978" y="288608"/>
                    </a:lnTo>
                    <a:lnTo>
                      <a:pt x="212408" y="280035"/>
                    </a:lnTo>
                    <a:lnTo>
                      <a:pt x="227648" y="270510"/>
                    </a:lnTo>
                    <a:lnTo>
                      <a:pt x="236220" y="261937"/>
                    </a:lnTo>
                    <a:lnTo>
                      <a:pt x="249555" y="255270"/>
                    </a:lnTo>
                    <a:lnTo>
                      <a:pt x="258128" y="249555"/>
                    </a:lnTo>
                    <a:lnTo>
                      <a:pt x="269558" y="240983"/>
                    </a:lnTo>
                    <a:lnTo>
                      <a:pt x="276225" y="235267"/>
                    </a:lnTo>
                    <a:lnTo>
                      <a:pt x="278130" y="229553"/>
                    </a:lnTo>
                    <a:lnTo>
                      <a:pt x="291465" y="226695"/>
                    </a:lnTo>
                    <a:cubicBezTo>
                      <a:pt x="298133" y="232410"/>
                      <a:pt x="302895" y="226695"/>
                      <a:pt x="298133" y="232410"/>
                    </a:cubicBezTo>
                    <a:cubicBezTo>
                      <a:pt x="293370" y="238125"/>
                      <a:pt x="293370" y="238125"/>
                      <a:pt x="293370" y="238125"/>
                    </a:cubicBezTo>
                    <a:cubicBezTo>
                      <a:pt x="293370" y="238125"/>
                      <a:pt x="295275" y="243840"/>
                      <a:pt x="303848" y="242887"/>
                    </a:cubicBezTo>
                    <a:cubicBezTo>
                      <a:pt x="312420" y="241935"/>
                      <a:pt x="312420" y="237173"/>
                      <a:pt x="319088" y="234315"/>
                    </a:cubicBezTo>
                    <a:cubicBezTo>
                      <a:pt x="325755" y="231458"/>
                      <a:pt x="325755" y="231458"/>
                      <a:pt x="325755" y="231458"/>
                    </a:cubicBezTo>
                    <a:lnTo>
                      <a:pt x="345758" y="233362"/>
                    </a:lnTo>
                    <a:cubicBezTo>
                      <a:pt x="345758" y="233362"/>
                      <a:pt x="345758" y="226695"/>
                      <a:pt x="357188" y="227648"/>
                    </a:cubicBezTo>
                    <a:cubicBezTo>
                      <a:pt x="367665" y="229553"/>
                      <a:pt x="355283" y="228600"/>
                      <a:pt x="367665" y="229553"/>
                    </a:cubicBezTo>
                    <a:cubicBezTo>
                      <a:pt x="381000" y="229553"/>
                      <a:pt x="381000" y="229553"/>
                      <a:pt x="381000" y="229553"/>
                    </a:cubicBezTo>
                    <a:lnTo>
                      <a:pt x="396240" y="232410"/>
                    </a:lnTo>
                    <a:cubicBezTo>
                      <a:pt x="396240" y="232410"/>
                      <a:pt x="404813" y="237173"/>
                      <a:pt x="416243" y="238125"/>
                    </a:cubicBezTo>
                    <a:cubicBezTo>
                      <a:pt x="427673" y="240030"/>
                      <a:pt x="440055" y="240030"/>
                      <a:pt x="440055" y="240030"/>
                    </a:cubicBezTo>
                    <a:lnTo>
                      <a:pt x="453390" y="240030"/>
                    </a:lnTo>
                    <a:lnTo>
                      <a:pt x="468630" y="244792"/>
                    </a:lnTo>
                    <a:cubicBezTo>
                      <a:pt x="468630" y="244792"/>
                      <a:pt x="468630" y="241935"/>
                      <a:pt x="477203" y="244792"/>
                    </a:cubicBezTo>
                    <a:cubicBezTo>
                      <a:pt x="485775" y="247650"/>
                      <a:pt x="499110" y="247650"/>
                      <a:pt x="499110" y="247650"/>
                    </a:cubicBezTo>
                    <a:cubicBezTo>
                      <a:pt x="499110" y="247650"/>
                      <a:pt x="503873" y="250508"/>
                      <a:pt x="509588" y="252412"/>
                    </a:cubicBezTo>
                    <a:cubicBezTo>
                      <a:pt x="516255" y="254317"/>
                      <a:pt x="520065" y="258128"/>
                      <a:pt x="526733" y="260985"/>
                    </a:cubicBezTo>
                    <a:cubicBezTo>
                      <a:pt x="533400" y="263843"/>
                      <a:pt x="521970" y="259080"/>
                      <a:pt x="533400" y="263843"/>
                    </a:cubicBezTo>
                    <a:cubicBezTo>
                      <a:pt x="543878" y="268605"/>
                      <a:pt x="543878" y="268605"/>
                      <a:pt x="543878" y="268605"/>
                    </a:cubicBezTo>
                    <a:cubicBezTo>
                      <a:pt x="543878" y="268605"/>
                      <a:pt x="552450" y="274320"/>
                      <a:pt x="559118" y="276225"/>
                    </a:cubicBezTo>
                    <a:cubicBezTo>
                      <a:pt x="565785" y="278130"/>
                      <a:pt x="565785" y="278130"/>
                      <a:pt x="565785" y="278130"/>
                    </a:cubicBezTo>
                    <a:lnTo>
                      <a:pt x="579120" y="285750"/>
                    </a:lnTo>
                    <a:lnTo>
                      <a:pt x="592455" y="294323"/>
                    </a:lnTo>
                    <a:lnTo>
                      <a:pt x="599123" y="303848"/>
                    </a:lnTo>
                    <a:lnTo>
                      <a:pt x="612458" y="312420"/>
                    </a:lnTo>
                    <a:lnTo>
                      <a:pt x="629603" y="322898"/>
                    </a:lnTo>
                    <a:cubicBezTo>
                      <a:pt x="629603" y="322898"/>
                      <a:pt x="634365" y="325755"/>
                      <a:pt x="640080" y="328612"/>
                    </a:cubicBezTo>
                    <a:cubicBezTo>
                      <a:pt x="646748" y="331470"/>
                      <a:pt x="655320" y="336233"/>
                      <a:pt x="655320" y="336233"/>
                    </a:cubicBezTo>
                    <a:cubicBezTo>
                      <a:pt x="655320" y="336233"/>
                      <a:pt x="650558" y="337185"/>
                      <a:pt x="659130" y="342900"/>
                    </a:cubicBezTo>
                    <a:cubicBezTo>
                      <a:pt x="667703" y="348615"/>
                      <a:pt x="654368" y="343853"/>
                      <a:pt x="667703" y="348615"/>
                    </a:cubicBezTo>
                    <a:cubicBezTo>
                      <a:pt x="681038" y="353378"/>
                      <a:pt x="672465" y="347662"/>
                      <a:pt x="681038" y="353378"/>
                    </a:cubicBezTo>
                    <a:cubicBezTo>
                      <a:pt x="689610" y="359093"/>
                      <a:pt x="689610" y="359093"/>
                      <a:pt x="689610" y="359093"/>
                    </a:cubicBezTo>
                    <a:cubicBezTo>
                      <a:pt x="689610" y="359093"/>
                      <a:pt x="694373" y="363855"/>
                      <a:pt x="696278" y="367665"/>
                    </a:cubicBezTo>
                    <a:cubicBezTo>
                      <a:pt x="698183" y="371475"/>
                      <a:pt x="685800" y="362903"/>
                      <a:pt x="698183" y="371475"/>
                    </a:cubicBezTo>
                    <a:cubicBezTo>
                      <a:pt x="711518" y="380048"/>
                      <a:pt x="721995" y="380048"/>
                      <a:pt x="721995" y="380048"/>
                    </a:cubicBezTo>
                    <a:lnTo>
                      <a:pt x="730568" y="384810"/>
                    </a:lnTo>
                    <a:cubicBezTo>
                      <a:pt x="730568" y="384810"/>
                      <a:pt x="732473" y="388620"/>
                      <a:pt x="739140" y="389573"/>
                    </a:cubicBezTo>
                    <a:cubicBezTo>
                      <a:pt x="745808" y="389573"/>
                      <a:pt x="761048" y="395287"/>
                      <a:pt x="761048" y="395287"/>
                    </a:cubicBezTo>
                    <a:cubicBezTo>
                      <a:pt x="761048" y="395287"/>
                      <a:pt x="778193" y="398145"/>
                      <a:pt x="778193" y="402908"/>
                    </a:cubicBezTo>
                    <a:cubicBezTo>
                      <a:pt x="778193" y="406718"/>
                      <a:pt x="774383" y="397193"/>
                      <a:pt x="778193" y="406718"/>
                    </a:cubicBezTo>
                    <a:cubicBezTo>
                      <a:pt x="782003" y="416243"/>
                      <a:pt x="782003" y="416243"/>
                      <a:pt x="782003" y="416243"/>
                    </a:cubicBezTo>
                    <a:lnTo>
                      <a:pt x="773430" y="420052"/>
                    </a:lnTo>
                    <a:lnTo>
                      <a:pt x="762000" y="420052"/>
                    </a:lnTo>
                    <a:lnTo>
                      <a:pt x="755333" y="413385"/>
                    </a:lnTo>
                    <a:lnTo>
                      <a:pt x="746760" y="406718"/>
                    </a:lnTo>
                    <a:lnTo>
                      <a:pt x="738188" y="403860"/>
                    </a:lnTo>
                    <a:lnTo>
                      <a:pt x="729615" y="399098"/>
                    </a:lnTo>
                    <a:cubicBezTo>
                      <a:pt x="729615" y="399098"/>
                      <a:pt x="712470" y="390525"/>
                      <a:pt x="705803" y="391477"/>
                    </a:cubicBezTo>
                    <a:cubicBezTo>
                      <a:pt x="699135" y="392430"/>
                      <a:pt x="699135" y="392430"/>
                      <a:pt x="699135" y="392430"/>
                    </a:cubicBezTo>
                    <a:cubicBezTo>
                      <a:pt x="699135" y="401002"/>
                      <a:pt x="707708" y="402908"/>
                      <a:pt x="707708" y="402908"/>
                    </a:cubicBezTo>
                    <a:cubicBezTo>
                      <a:pt x="707708" y="402908"/>
                      <a:pt x="716280" y="409575"/>
                      <a:pt x="722948" y="411480"/>
                    </a:cubicBezTo>
                    <a:cubicBezTo>
                      <a:pt x="729615" y="413385"/>
                      <a:pt x="736283" y="419100"/>
                      <a:pt x="736283" y="419100"/>
                    </a:cubicBezTo>
                    <a:cubicBezTo>
                      <a:pt x="736283" y="419100"/>
                      <a:pt x="742950" y="423862"/>
                      <a:pt x="742950" y="427673"/>
                    </a:cubicBezTo>
                    <a:cubicBezTo>
                      <a:pt x="742950" y="431483"/>
                      <a:pt x="741045" y="423862"/>
                      <a:pt x="742950" y="431483"/>
                    </a:cubicBezTo>
                    <a:cubicBezTo>
                      <a:pt x="744855" y="440055"/>
                      <a:pt x="744855" y="445770"/>
                      <a:pt x="744855" y="445770"/>
                    </a:cubicBezTo>
                    <a:lnTo>
                      <a:pt x="752475" y="456248"/>
                    </a:lnTo>
                    <a:lnTo>
                      <a:pt x="747713" y="487680"/>
                    </a:lnTo>
                    <a:lnTo>
                      <a:pt x="751523" y="500062"/>
                    </a:lnTo>
                    <a:cubicBezTo>
                      <a:pt x="751523" y="500062"/>
                      <a:pt x="746760" y="501015"/>
                      <a:pt x="751523" y="506730"/>
                    </a:cubicBezTo>
                    <a:cubicBezTo>
                      <a:pt x="755333" y="512445"/>
                      <a:pt x="758190" y="521970"/>
                      <a:pt x="758190" y="521970"/>
                    </a:cubicBezTo>
                    <a:cubicBezTo>
                      <a:pt x="758190" y="521970"/>
                      <a:pt x="760095" y="528638"/>
                      <a:pt x="764858" y="536258"/>
                    </a:cubicBezTo>
                    <a:cubicBezTo>
                      <a:pt x="768668" y="542925"/>
                      <a:pt x="762953" y="534352"/>
                      <a:pt x="768668" y="542925"/>
                    </a:cubicBezTo>
                    <a:cubicBezTo>
                      <a:pt x="775335" y="551498"/>
                      <a:pt x="775335" y="551498"/>
                      <a:pt x="775335" y="551498"/>
                    </a:cubicBezTo>
                    <a:cubicBezTo>
                      <a:pt x="775335" y="551498"/>
                      <a:pt x="782003" y="554355"/>
                      <a:pt x="785813" y="559118"/>
                    </a:cubicBezTo>
                    <a:cubicBezTo>
                      <a:pt x="789623" y="562927"/>
                      <a:pt x="792480" y="564833"/>
                      <a:pt x="794385" y="568643"/>
                    </a:cubicBezTo>
                    <a:cubicBezTo>
                      <a:pt x="796290" y="572452"/>
                      <a:pt x="801053" y="580073"/>
                      <a:pt x="801053" y="580073"/>
                    </a:cubicBezTo>
                    <a:cubicBezTo>
                      <a:pt x="801053" y="580073"/>
                      <a:pt x="801053" y="579120"/>
                      <a:pt x="804863" y="585788"/>
                    </a:cubicBezTo>
                    <a:cubicBezTo>
                      <a:pt x="808673" y="592455"/>
                      <a:pt x="802958" y="585788"/>
                      <a:pt x="808673" y="592455"/>
                    </a:cubicBezTo>
                    <a:cubicBezTo>
                      <a:pt x="815340" y="599123"/>
                      <a:pt x="815340" y="599123"/>
                      <a:pt x="815340" y="599123"/>
                    </a:cubicBezTo>
                    <a:cubicBezTo>
                      <a:pt x="815340" y="599123"/>
                      <a:pt x="820103" y="598170"/>
                      <a:pt x="825818" y="601980"/>
                    </a:cubicBezTo>
                    <a:cubicBezTo>
                      <a:pt x="832485" y="606743"/>
                      <a:pt x="832485" y="606743"/>
                      <a:pt x="832485" y="606743"/>
                    </a:cubicBezTo>
                    <a:lnTo>
                      <a:pt x="843915" y="609600"/>
                    </a:lnTo>
                    <a:cubicBezTo>
                      <a:pt x="843915" y="609600"/>
                      <a:pt x="845820" y="606743"/>
                      <a:pt x="852488" y="612458"/>
                    </a:cubicBezTo>
                    <a:cubicBezTo>
                      <a:pt x="859155" y="618173"/>
                      <a:pt x="859155" y="618173"/>
                      <a:pt x="859155" y="618173"/>
                    </a:cubicBezTo>
                    <a:lnTo>
                      <a:pt x="879158" y="631508"/>
                    </a:lnTo>
                    <a:lnTo>
                      <a:pt x="885825" y="643890"/>
                    </a:lnTo>
                    <a:cubicBezTo>
                      <a:pt x="885825" y="643890"/>
                      <a:pt x="881063" y="643890"/>
                      <a:pt x="889635" y="650558"/>
                    </a:cubicBezTo>
                    <a:cubicBezTo>
                      <a:pt x="898208" y="658177"/>
                      <a:pt x="900113" y="661035"/>
                      <a:pt x="902018" y="665798"/>
                    </a:cubicBezTo>
                    <a:cubicBezTo>
                      <a:pt x="903923" y="671513"/>
                      <a:pt x="897255" y="662940"/>
                      <a:pt x="903923" y="671513"/>
                    </a:cubicBezTo>
                    <a:cubicBezTo>
                      <a:pt x="910590" y="680085"/>
                      <a:pt x="917258" y="685800"/>
                      <a:pt x="917258" y="685800"/>
                    </a:cubicBezTo>
                    <a:lnTo>
                      <a:pt x="923925" y="701040"/>
                    </a:lnTo>
                    <a:cubicBezTo>
                      <a:pt x="934403" y="706755"/>
                      <a:pt x="945833" y="711518"/>
                      <a:pt x="945833" y="711518"/>
                    </a:cubicBezTo>
                    <a:cubicBezTo>
                      <a:pt x="945833" y="711518"/>
                      <a:pt x="954405" y="713423"/>
                      <a:pt x="956310" y="717233"/>
                    </a:cubicBezTo>
                    <a:cubicBezTo>
                      <a:pt x="958215" y="721995"/>
                      <a:pt x="969645" y="725805"/>
                      <a:pt x="969645" y="725805"/>
                    </a:cubicBezTo>
                    <a:lnTo>
                      <a:pt x="980123" y="731520"/>
                    </a:lnTo>
                    <a:lnTo>
                      <a:pt x="993458" y="731520"/>
                    </a:lnTo>
                    <a:lnTo>
                      <a:pt x="990600" y="722948"/>
                    </a:lnTo>
                    <a:lnTo>
                      <a:pt x="982028" y="717233"/>
                    </a:lnTo>
                    <a:lnTo>
                      <a:pt x="968693" y="706755"/>
                    </a:lnTo>
                    <a:lnTo>
                      <a:pt x="960120" y="698183"/>
                    </a:lnTo>
                    <a:lnTo>
                      <a:pt x="953453" y="692468"/>
                    </a:lnTo>
                    <a:lnTo>
                      <a:pt x="949643" y="686752"/>
                    </a:lnTo>
                    <a:lnTo>
                      <a:pt x="945833" y="678180"/>
                    </a:lnTo>
                    <a:lnTo>
                      <a:pt x="939165" y="672465"/>
                    </a:lnTo>
                    <a:lnTo>
                      <a:pt x="935355" y="663893"/>
                    </a:lnTo>
                    <a:lnTo>
                      <a:pt x="923925" y="655320"/>
                    </a:lnTo>
                    <a:lnTo>
                      <a:pt x="923925" y="648652"/>
                    </a:lnTo>
                    <a:lnTo>
                      <a:pt x="935355" y="645795"/>
                    </a:lnTo>
                    <a:cubicBezTo>
                      <a:pt x="943928" y="651510"/>
                      <a:pt x="931545" y="633413"/>
                      <a:pt x="943928" y="651510"/>
                    </a:cubicBezTo>
                    <a:cubicBezTo>
                      <a:pt x="956310" y="669608"/>
                      <a:pt x="962978" y="677227"/>
                      <a:pt x="962978" y="677227"/>
                    </a:cubicBezTo>
                    <a:cubicBezTo>
                      <a:pt x="962978" y="677227"/>
                      <a:pt x="978218" y="685800"/>
                      <a:pt x="980123" y="690563"/>
                    </a:cubicBezTo>
                    <a:cubicBezTo>
                      <a:pt x="982028" y="694373"/>
                      <a:pt x="997268" y="701040"/>
                      <a:pt x="997268" y="701040"/>
                    </a:cubicBezTo>
                    <a:lnTo>
                      <a:pt x="1012508" y="712470"/>
                    </a:lnTo>
                    <a:cubicBezTo>
                      <a:pt x="1012508" y="712470"/>
                      <a:pt x="1014413" y="715327"/>
                      <a:pt x="1019175" y="719138"/>
                    </a:cubicBezTo>
                    <a:cubicBezTo>
                      <a:pt x="1023938" y="722948"/>
                      <a:pt x="1034415" y="733425"/>
                      <a:pt x="1034415" y="733425"/>
                    </a:cubicBezTo>
                    <a:cubicBezTo>
                      <a:pt x="1044893" y="739140"/>
                      <a:pt x="1044893" y="739140"/>
                      <a:pt x="1044893" y="739140"/>
                    </a:cubicBezTo>
                    <a:cubicBezTo>
                      <a:pt x="1044893" y="739140"/>
                      <a:pt x="1042988" y="741998"/>
                      <a:pt x="1048703" y="745808"/>
                    </a:cubicBezTo>
                    <a:cubicBezTo>
                      <a:pt x="1055370" y="750570"/>
                      <a:pt x="1048703" y="743902"/>
                      <a:pt x="1055370" y="750570"/>
                    </a:cubicBezTo>
                    <a:cubicBezTo>
                      <a:pt x="1062038" y="756285"/>
                      <a:pt x="1055370" y="751523"/>
                      <a:pt x="1062038" y="756285"/>
                    </a:cubicBezTo>
                    <a:cubicBezTo>
                      <a:pt x="1068705" y="761048"/>
                      <a:pt x="1063943" y="755333"/>
                      <a:pt x="1068705" y="761048"/>
                    </a:cubicBezTo>
                    <a:cubicBezTo>
                      <a:pt x="1072515" y="766763"/>
                      <a:pt x="1075373" y="761048"/>
                      <a:pt x="1072515" y="766763"/>
                    </a:cubicBezTo>
                    <a:cubicBezTo>
                      <a:pt x="1070610" y="772477"/>
                      <a:pt x="1070610" y="772477"/>
                      <a:pt x="1070610" y="772477"/>
                    </a:cubicBezTo>
                    <a:cubicBezTo>
                      <a:pt x="1070610" y="772477"/>
                      <a:pt x="1068705" y="775335"/>
                      <a:pt x="1074420" y="779145"/>
                    </a:cubicBezTo>
                    <a:cubicBezTo>
                      <a:pt x="1081088" y="783908"/>
                      <a:pt x="1081088" y="783908"/>
                      <a:pt x="1081088" y="783908"/>
                    </a:cubicBezTo>
                    <a:cubicBezTo>
                      <a:pt x="1081088" y="783908"/>
                      <a:pt x="1087755" y="786765"/>
                      <a:pt x="1094423" y="789623"/>
                    </a:cubicBezTo>
                    <a:cubicBezTo>
                      <a:pt x="1101090" y="792480"/>
                      <a:pt x="1101090" y="792480"/>
                      <a:pt x="1101090" y="792480"/>
                    </a:cubicBezTo>
                    <a:cubicBezTo>
                      <a:pt x="1101090" y="792480"/>
                      <a:pt x="1112520" y="794385"/>
                      <a:pt x="1116330" y="798195"/>
                    </a:cubicBezTo>
                    <a:cubicBezTo>
                      <a:pt x="1121093" y="802005"/>
                      <a:pt x="1111568" y="795338"/>
                      <a:pt x="1121093" y="802005"/>
                    </a:cubicBezTo>
                    <a:cubicBezTo>
                      <a:pt x="1122998" y="803910"/>
                      <a:pt x="1124903" y="804863"/>
                      <a:pt x="1125855" y="805815"/>
                    </a:cubicBezTo>
                    <a:cubicBezTo>
                      <a:pt x="1129665" y="808673"/>
                      <a:pt x="1129665" y="808673"/>
                      <a:pt x="1129665" y="808673"/>
                    </a:cubicBezTo>
                    <a:cubicBezTo>
                      <a:pt x="1138238" y="816293"/>
                      <a:pt x="1151573" y="820102"/>
                      <a:pt x="1151573" y="820102"/>
                    </a:cubicBezTo>
                    <a:lnTo>
                      <a:pt x="1168718" y="827723"/>
                    </a:lnTo>
                    <a:lnTo>
                      <a:pt x="1180148" y="827723"/>
                    </a:lnTo>
                    <a:lnTo>
                      <a:pt x="1193483" y="827723"/>
                    </a:lnTo>
                    <a:cubicBezTo>
                      <a:pt x="1193483" y="827723"/>
                      <a:pt x="1200150" y="827723"/>
                      <a:pt x="1213485" y="827723"/>
                    </a:cubicBezTo>
                    <a:cubicBezTo>
                      <a:pt x="1226820" y="827723"/>
                      <a:pt x="1235393" y="827723"/>
                      <a:pt x="1235393" y="827723"/>
                    </a:cubicBezTo>
                    <a:lnTo>
                      <a:pt x="1250633" y="826770"/>
                    </a:lnTo>
                    <a:cubicBezTo>
                      <a:pt x="1250633" y="826770"/>
                      <a:pt x="1265873" y="823913"/>
                      <a:pt x="1272540" y="826770"/>
                    </a:cubicBezTo>
                    <a:cubicBezTo>
                      <a:pt x="1279208" y="829627"/>
                      <a:pt x="1279208" y="829627"/>
                      <a:pt x="1279208" y="829627"/>
                    </a:cubicBezTo>
                    <a:cubicBezTo>
                      <a:pt x="1279208" y="829627"/>
                      <a:pt x="1283970" y="828675"/>
                      <a:pt x="1290638" y="829627"/>
                    </a:cubicBezTo>
                    <a:cubicBezTo>
                      <a:pt x="1297305" y="831533"/>
                      <a:pt x="1292543" y="825818"/>
                      <a:pt x="1297305" y="831533"/>
                    </a:cubicBezTo>
                    <a:cubicBezTo>
                      <a:pt x="1302068" y="837248"/>
                      <a:pt x="1288733" y="828675"/>
                      <a:pt x="1302068" y="837248"/>
                    </a:cubicBezTo>
                    <a:cubicBezTo>
                      <a:pt x="1315403" y="845820"/>
                      <a:pt x="1323975" y="853440"/>
                      <a:pt x="1323975" y="853440"/>
                    </a:cubicBezTo>
                    <a:lnTo>
                      <a:pt x="1341120" y="853440"/>
                    </a:lnTo>
                    <a:lnTo>
                      <a:pt x="1354455" y="855345"/>
                    </a:lnTo>
                    <a:lnTo>
                      <a:pt x="1369695" y="863918"/>
                    </a:lnTo>
                    <a:lnTo>
                      <a:pt x="1383030" y="869633"/>
                    </a:lnTo>
                    <a:lnTo>
                      <a:pt x="1391603" y="875348"/>
                    </a:lnTo>
                    <a:lnTo>
                      <a:pt x="1402080" y="885825"/>
                    </a:lnTo>
                    <a:cubicBezTo>
                      <a:pt x="1402080" y="885825"/>
                      <a:pt x="1406843" y="887730"/>
                      <a:pt x="1410653" y="891540"/>
                    </a:cubicBezTo>
                    <a:cubicBezTo>
                      <a:pt x="1415415" y="896302"/>
                      <a:pt x="1423988" y="900113"/>
                      <a:pt x="1423988" y="900113"/>
                    </a:cubicBezTo>
                    <a:lnTo>
                      <a:pt x="1435418" y="902970"/>
                    </a:lnTo>
                    <a:cubicBezTo>
                      <a:pt x="1435418" y="902970"/>
                      <a:pt x="1437323" y="905827"/>
                      <a:pt x="1437323" y="909638"/>
                    </a:cubicBezTo>
                    <a:cubicBezTo>
                      <a:pt x="1437323" y="913448"/>
                      <a:pt x="1423988" y="906780"/>
                      <a:pt x="1437323" y="913448"/>
                    </a:cubicBezTo>
                    <a:cubicBezTo>
                      <a:pt x="1450658" y="921068"/>
                      <a:pt x="1450658" y="921068"/>
                      <a:pt x="1450658" y="921068"/>
                    </a:cubicBezTo>
                    <a:cubicBezTo>
                      <a:pt x="1450658" y="921068"/>
                      <a:pt x="1452563" y="921068"/>
                      <a:pt x="1459230" y="923925"/>
                    </a:cubicBezTo>
                    <a:cubicBezTo>
                      <a:pt x="1465898" y="926783"/>
                      <a:pt x="1481138" y="923925"/>
                      <a:pt x="1481138" y="923925"/>
                    </a:cubicBezTo>
                    <a:lnTo>
                      <a:pt x="1489710" y="923925"/>
                    </a:lnTo>
                    <a:lnTo>
                      <a:pt x="1498283" y="922973"/>
                    </a:lnTo>
                    <a:lnTo>
                      <a:pt x="1506855" y="922973"/>
                    </a:lnTo>
                    <a:lnTo>
                      <a:pt x="1520190" y="922973"/>
                    </a:lnTo>
                    <a:lnTo>
                      <a:pt x="1533525" y="922973"/>
                    </a:lnTo>
                    <a:lnTo>
                      <a:pt x="1550670" y="922973"/>
                    </a:lnTo>
                    <a:lnTo>
                      <a:pt x="1547813" y="938213"/>
                    </a:lnTo>
                    <a:lnTo>
                      <a:pt x="1547813" y="955358"/>
                    </a:lnTo>
                    <a:cubicBezTo>
                      <a:pt x="1547813" y="955358"/>
                      <a:pt x="1543050" y="961073"/>
                      <a:pt x="1544955" y="964883"/>
                    </a:cubicBezTo>
                    <a:cubicBezTo>
                      <a:pt x="1546860" y="968693"/>
                      <a:pt x="1546860" y="968693"/>
                      <a:pt x="1546860" y="968693"/>
                    </a:cubicBezTo>
                    <a:cubicBezTo>
                      <a:pt x="1546860" y="968693"/>
                      <a:pt x="1544955" y="971550"/>
                      <a:pt x="1542098" y="975360"/>
                    </a:cubicBezTo>
                    <a:cubicBezTo>
                      <a:pt x="1540193" y="979170"/>
                      <a:pt x="1533525" y="979170"/>
                      <a:pt x="1528763" y="984885"/>
                    </a:cubicBezTo>
                    <a:cubicBezTo>
                      <a:pt x="1524000" y="990600"/>
                      <a:pt x="1508760" y="990600"/>
                      <a:pt x="1508760" y="994410"/>
                    </a:cubicBezTo>
                    <a:cubicBezTo>
                      <a:pt x="1508760" y="998220"/>
                      <a:pt x="1508760" y="998220"/>
                      <a:pt x="1508760" y="998220"/>
                    </a:cubicBezTo>
                    <a:cubicBezTo>
                      <a:pt x="1508760" y="998220"/>
                      <a:pt x="1495425" y="1003935"/>
                      <a:pt x="1495425" y="1007745"/>
                    </a:cubicBezTo>
                    <a:cubicBezTo>
                      <a:pt x="1495425" y="1011555"/>
                      <a:pt x="1482090" y="1016318"/>
                      <a:pt x="1482090" y="1016318"/>
                    </a:cubicBezTo>
                    <a:lnTo>
                      <a:pt x="1479233" y="1031557"/>
                    </a:lnTo>
                    <a:lnTo>
                      <a:pt x="1485900" y="1043940"/>
                    </a:lnTo>
                    <a:cubicBezTo>
                      <a:pt x="1485900" y="1049655"/>
                      <a:pt x="1483995" y="1049655"/>
                      <a:pt x="1483043" y="1055370"/>
                    </a:cubicBezTo>
                    <a:cubicBezTo>
                      <a:pt x="1483043" y="1061085"/>
                      <a:pt x="1483043" y="1061085"/>
                      <a:pt x="1483043" y="1061085"/>
                    </a:cubicBezTo>
                    <a:cubicBezTo>
                      <a:pt x="1483043" y="1061085"/>
                      <a:pt x="1480185" y="1070610"/>
                      <a:pt x="1483043" y="1075373"/>
                    </a:cubicBezTo>
                    <a:cubicBezTo>
                      <a:pt x="1484948" y="1079183"/>
                      <a:pt x="1474470" y="1075373"/>
                      <a:pt x="1484948" y="1079183"/>
                    </a:cubicBezTo>
                    <a:cubicBezTo>
                      <a:pt x="1495425" y="1083945"/>
                      <a:pt x="1495425" y="1083945"/>
                      <a:pt x="1495425" y="1083945"/>
                    </a:cubicBezTo>
                    <a:cubicBezTo>
                      <a:pt x="1495425" y="1083945"/>
                      <a:pt x="1506855" y="1085850"/>
                      <a:pt x="1508760" y="1091565"/>
                    </a:cubicBezTo>
                    <a:cubicBezTo>
                      <a:pt x="1510665" y="1097280"/>
                      <a:pt x="1508760" y="1095375"/>
                      <a:pt x="1515428" y="1103948"/>
                    </a:cubicBezTo>
                    <a:cubicBezTo>
                      <a:pt x="1522095" y="1112520"/>
                      <a:pt x="1515428" y="1110615"/>
                      <a:pt x="1524000" y="1118235"/>
                    </a:cubicBezTo>
                    <a:cubicBezTo>
                      <a:pt x="1532573" y="1125855"/>
                      <a:pt x="1547813" y="1141095"/>
                      <a:pt x="1547813" y="1141095"/>
                    </a:cubicBezTo>
                    <a:cubicBezTo>
                      <a:pt x="1547813" y="1141095"/>
                      <a:pt x="1552575" y="1143000"/>
                      <a:pt x="1554480" y="1146810"/>
                    </a:cubicBezTo>
                    <a:cubicBezTo>
                      <a:pt x="1556385" y="1150620"/>
                      <a:pt x="1541145" y="1139190"/>
                      <a:pt x="1556385" y="1150620"/>
                    </a:cubicBezTo>
                    <a:cubicBezTo>
                      <a:pt x="1571625" y="1162050"/>
                      <a:pt x="1569720" y="1155383"/>
                      <a:pt x="1571625" y="1162050"/>
                    </a:cubicBezTo>
                    <a:cubicBezTo>
                      <a:pt x="1573530" y="1168718"/>
                      <a:pt x="1582103" y="1169670"/>
                      <a:pt x="1586865" y="1173480"/>
                    </a:cubicBezTo>
                    <a:cubicBezTo>
                      <a:pt x="1591628" y="1178243"/>
                      <a:pt x="1600200" y="1181100"/>
                      <a:pt x="1600200" y="1181100"/>
                    </a:cubicBezTo>
                    <a:lnTo>
                      <a:pt x="1608773" y="1183958"/>
                    </a:lnTo>
                    <a:lnTo>
                      <a:pt x="1624013" y="1191578"/>
                    </a:lnTo>
                    <a:lnTo>
                      <a:pt x="1634490" y="1197293"/>
                    </a:lnTo>
                    <a:lnTo>
                      <a:pt x="1651635" y="1204913"/>
                    </a:lnTo>
                    <a:cubicBezTo>
                      <a:pt x="1651635" y="1204913"/>
                      <a:pt x="1651635" y="1204913"/>
                      <a:pt x="1655445" y="1210628"/>
                    </a:cubicBezTo>
                    <a:cubicBezTo>
                      <a:pt x="1659255" y="1216343"/>
                      <a:pt x="1660208" y="1210628"/>
                      <a:pt x="1659255" y="1216343"/>
                    </a:cubicBezTo>
                    <a:cubicBezTo>
                      <a:pt x="1659255" y="1217295"/>
                      <a:pt x="1659255" y="1218248"/>
                      <a:pt x="1659255" y="1218248"/>
                    </a:cubicBezTo>
                    <a:cubicBezTo>
                      <a:pt x="1659255" y="1218248"/>
                      <a:pt x="1659255" y="1218248"/>
                      <a:pt x="1659255" y="1218248"/>
                    </a:cubicBezTo>
                    <a:cubicBezTo>
                      <a:pt x="1659255" y="1218248"/>
                      <a:pt x="1659255" y="1219200"/>
                      <a:pt x="1659255" y="1221105"/>
                    </a:cubicBezTo>
                    <a:cubicBezTo>
                      <a:pt x="1659255" y="1227773"/>
                      <a:pt x="1663065" y="1259205"/>
                      <a:pt x="1663065" y="1259205"/>
                    </a:cubicBezTo>
                    <a:cubicBezTo>
                      <a:pt x="1663065" y="1259205"/>
                      <a:pt x="1663065" y="1262063"/>
                      <a:pt x="1664970" y="1273493"/>
                    </a:cubicBezTo>
                    <a:cubicBezTo>
                      <a:pt x="1666875" y="1284923"/>
                      <a:pt x="1664970" y="1293495"/>
                      <a:pt x="1664970" y="1293495"/>
                    </a:cubicBezTo>
                    <a:cubicBezTo>
                      <a:pt x="1664970" y="1293495"/>
                      <a:pt x="1663065" y="1291590"/>
                      <a:pt x="1664970" y="1299210"/>
                    </a:cubicBezTo>
                    <a:cubicBezTo>
                      <a:pt x="1666875" y="1305878"/>
                      <a:pt x="1662113" y="1308735"/>
                      <a:pt x="1664970" y="1313498"/>
                    </a:cubicBezTo>
                    <a:cubicBezTo>
                      <a:pt x="1666875" y="1317308"/>
                      <a:pt x="1671638" y="1309688"/>
                      <a:pt x="1666875" y="1317308"/>
                    </a:cubicBezTo>
                    <a:cubicBezTo>
                      <a:pt x="1662113" y="1325880"/>
                      <a:pt x="1660208" y="1328738"/>
                      <a:pt x="1657350" y="1332548"/>
                    </a:cubicBezTo>
                    <a:cubicBezTo>
                      <a:pt x="1655445" y="1336358"/>
                      <a:pt x="1655445" y="1336358"/>
                      <a:pt x="1655445" y="1336358"/>
                    </a:cubicBezTo>
                    <a:lnTo>
                      <a:pt x="1646873" y="1345883"/>
                    </a:lnTo>
                    <a:lnTo>
                      <a:pt x="1642110" y="1351598"/>
                    </a:lnTo>
                    <a:cubicBezTo>
                      <a:pt x="1639253" y="1360170"/>
                      <a:pt x="1639253" y="1360170"/>
                      <a:pt x="1639253" y="1360170"/>
                    </a:cubicBezTo>
                    <a:lnTo>
                      <a:pt x="1637348" y="1365885"/>
                    </a:lnTo>
                    <a:lnTo>
                      <a:pt x="1644015" y="1375410"/>
                    </a:lnTo>
                    <a:cubicBezTo>
                      <a:pt x="1644015" y="1375410"/>
                      <a:pt x="1644015" y="1379220"/>
                      <a:pt x="1644015" y="1383983"/>
                    </a:cubicBezTo>
                    <a:cubicBezTo>
                      <a:pt x="1644015" y="1387793"/>
                      <a:pt x="1644015" y="1387793"/>
                      <a:pt x="1644015" y="1387793"/>
                    </a:cubicBezTo>
                    <a:cubicBezTo>
                      <a:pt x="1644015" y="1387793"/>
                      <a:pt x="1637348" y="1387793"/>
                      <a:pt x="1635443" y="1391603"/>
                    </a:cubicBezTo>
                    <a:cubicBezTo>
                      <a:pt x="1633538" y="1395413"/>
                      <a:pt x="1637348" y="1388745"/>
                      <a:pt x="1633538" y="1395413"/>
                    </a:cubicBezTo>
                    <a:cubicBezTo>
                      <a:pt x="1628775" y="1402080"/>
                      <a:pt x="1628775" y="1402080"/>
                      <a:pt x="1628775" y="1402080"/>
                    </a:cubicBezTo>
                    <a:lnTo>
                      <a:pt x="1622108" y="1407795"/>
                    </a:lnTo>
                    <a:cubicBezTo>
                      <a:pt x="1622108" y="1407795"/>
                      <a:pt x="1612583" y="1423035"/>
                      <a:pt x="1612583" y="1427798"/>
                    </a:cubicBezTo>
                    <a:cubicBezTo>
                      <a:pt x="1612583" y="1431608"/>
                      <a:pt x="1614488" y="1448753"/>
                      <a:pt x="1614488" y="1448753"/>
                    </a:cubicBezTo>
                    <a:cubicBezTo>
                      <a:pt x="1614488" y="1448753"/>
                      <a:pt x="1616393" y="1463040"/>
                      <a:pt x="1616393" y="1468755"/>
                    </a:cubicBezTo>
                    <a:cubicBezTo>
                      <a:pt x="1616393" y="1474470"/>
                      <a:pt x="1613535" y="1480185"/>
                      <a:pt x="1613535" y="1480185"/>
                    </a:cubicBezTo>
                    <a:lnTo>
                      <a:pt x="1602105" y="1486853"/>
                    </a:lnTo>
                    <a:lnTo>
                      <a:pt x="1593533" y="1490663"/>
                    </a:lnTo>
                    <a:lnTo>
                      <a:pt x="1588770" y="1497330"/>
                    </a:lnTo>
                    <a:lnTo>
                      <a:pt x="1597343" y="1503045"/>
                    </a:lnTo>
                    <a:lnTo>
                      <a:pt x="1599248" y="1523048"/>
                    </a:lnTo>
                    <a:lnTo>
                      <a:pt x="1601153" y="1529715"/>
                    </a:lnTo>
                    <a:lnTo>
                      <a:pt x="1601153" y="1535430"/>
                    </a:lnTo>
                    <a:cubicBezTo>
                      <a:pt x="1594485" y="1541145"/>
                      <a:pt x="1585913" y="1542098"/>
                      <a:pt x="1585913" y="1542098"/>
                    </a:cubicBezTo>
                    <a:cubicBezTo>
                      <a:pt x="1585913" y="1547813"/>
                      <a:pt x="1574483" y="1564958"/>
                      <a:pt x="1574483" y="1564958"/>
                    </a:cubicBezTo>
                    <a:cubicBezTo>
                      <a:pt x="1574483" y="1564958"/>
                      <a:pt x="1574483" y="1568768"/>
                      <a:pt x="1578293" y="1573530"/>
                    </a:cubicBezTo>
                    <a:cubicBezTo>
                      <a:pt x="1583055" y="1577340"/>
                      <a:pt x="1584960" y="1579245"/>
                      <a:pt x="1584960" y="1583055"/>
                    </a:cubicBezTo>
                    <a:cubicBezTo>
                      <a:pt x="1584960" y="1586865"/>
                      <a:pt x="1583055" y="1580198"/>
                      <a:pt x="1584960" y="1586865"/>
                    </a:cubicBezTo>
                    <a:cubicBezTo>
                      <a:pt x="1586865" y="1593533"/>
                      <a:pt x="1586865" y="1593533"/>
                      <a:pt x="1586865" y="1593533"/>
                    </a:cubicBezTo>
                    <a:cubicBezTo>
                      <a:pt x="1586865" y="1593533"/>
                      <a:pt x="1582103" y="1597343"/>
                      <a:pt x="1586865" y="1602105"/>
                    </a:cubicBezTo>
                    <a:cubicBezTo>
                      <a:pt x="1590675" y="1605915"/>
                      <a:pt x="1586865" y="1610678"/>
                      <a:pt x="1586865" y="1614488"/>
                    </a:cubicBezTo>
                    <a:cubicBezTo>
                      <a:pt x="1586865" y="1618298"/>
                      <a:pt x="1576388" y="1609725"/>
                      <a:pt x="1586865" y="1618298"/>
                    </a:cubicBezTo>
                    <a:cubicBezTo>
                      <a:pt x="1597343" y="1626870"/>
                      <a:pt x="1600200" y="1632585"/>
                      <a:pt x="1600200" y="1632585"/>
                    </a:cubicBezTo>
                    <a:cubicBezTo>
                      <a:pt x="1600200" y="1632585"/>
                      <a:pt x="1604010" y="1638300"/>
                      <a:pt x="1610678" y="1642110"/>
                    </a:cubicBezTo>
                    <a:cubicBezTo>
                      <a:pt x="1617345" y="1646873"/>
                      <a:pt x="1607820" y="1656398"/>
                      <a:pt x="1607820" y="1656398"/>
                    </a:cubicBezTo>
                    <a:lnTo>
                      <a:pt x="1611630" y="1662113"/>
                    </a:lnTo>
                    <a:cubicBezTo>
                      <a:pt x="1611630" y="1662113"/>
                      <a:pt x="1604963" y="1663065"/>
                      <a:pt x="1615440" y="1668780"/>
                    </a:cubicBezTo>
                    <a:cubicBezTo>
                      <a:pt x="1625918" y="1674495"/>
                      <a:pt x="1637348" y="1679258"/>
                      <a:pt x="1637348" y="1679258"/>
                    </a:cubicBezTo>
                    <a:lnTo>
                      <a:pt x="1652588" y="1682115"/>
                    </a:lnTo>
                    <a:cubicBezTo>
                      <a:pt x="1652588" y="1682115"/>
                      <a:pt x="1645920" y="1678305"/>
                      <a:pt x="1661160" y="1682115"/>
                    </a:cubicBezTo>
                    <a:cubicBezTo>
                      <a:pt x="1676400" y="1686878"/>
                      <a:pt x="1678305" y="1684020"/>
                      <a:pt x="1689735" y="1684973"/>
                    </a:cubicBezTo>
                    <a:cubicBezTo>
                      <a:pt x="1701165" y="1686878"/>
                      <a:pt x="1704975" y="1687830"/>
                      <a:pt x="1711643" y="1684973"/>
                    </a:cubicBezTo>
                    <a:cubicBezTo>
                      <a:pt x="1718310" y="1682115"/>
                      <a:pt x="1718310" y="1682115"/>
                      <a:pt x="1718310" y="1682115"/>
                    </a:cubicBezTo>
                    <a:lnTo>
                      <a:pt x="1726883" y="1676400"/>
                    </a:lnTo>
                    <a:lnTo>
                      <a:pt x="1728788" y="1670685"/>
                    </a:lnTo>
                    <a:lnTo>
                      <a:pt x="1713548" y="1667828"/>
                    </a:lnTo>
                    <a:lnTo>
                      <a:pt x="1700213" y="1662113"/>
                    </a:lnTo>
                    <a:lnTo>
                      <a:pt x="1683068" y="1644968"/>
                    </a:lnTo>
                    <a:lnTo>
                      <a:pt x="1681163" y="1633538"/>
                    </a:lnTo>
                    <a:lnTo>
                      <a:pt x="1684020" y="1619250"/>
                    </a:lnTo>
                    <a:lnTo>
                      <a:pt x="1690688" y="1609725"/>
                    </a:lnTo>
                    <a:lnTo>
                      <a:pt x="1702118" y="1597343"/>
                    </a:lnTo>
                    <a:lnTo>
                      <a:pt x="1710690" y="1591628"/>
                    </a:lnTo>
                    <a:lnTo>
                      <a:pt x="1725930" y="1585913"/>
                    </a:lnTo>
                    <a:lnTo>
                      <a:pt x="1734503" y="1579245"/>
                    </a:lnTo>
                    <a:lnTo>
                      <a:pt x="1734503" y="1573530"/>
                    </a:lnTo>
                    <a:lnTo>
                      <a:pt x="1734503" y="1567815"/>
                    </a:lnTo>
                    <a:lnTo>
                      <a:pt x="1727835" y="1562100"/>
                    </a:lnTo>
                    <a:lnTo>
                      <a:pt x="1725930" y="1552575"/>
                    </a:lnTo>
                    <a:lnTo>
                      <a:pt x="1725930" y="1545908"/>
                    </a:lnTo>
                    <a:lnTo>
                      <a:pt x="1727835" y="1540193"/>
                    </a:lnTo>
                    <a:lnTo>
                      <a:pt x="1745933" y="1528763"/>
                    </a:lnTo>
                    <a:lnTo>
                      <a:pt x="1752600" y="1523048"/>
                    </a:lnTo>
                    <a:lnTo>
                      <a:pt x="1757363" y="1511618"/>
                    </a:lnTo>
                    <a:lnTo>
                      <a:pt x="1759268" y="1504950"/>
                    </a:lnTo>
                    <a:lnTo>
                      <a:pt x="1764030" y="1499235"/>
                    </a:lnTo>
                    <a:lnTo>
                      <a:pt x="1768793" y="1490663"/>
                    </a:lnTo>
                    <a:lnTo>
                      <a:pt x="1770698" y="1484948"/>
                    </a:lnTo>
                    <a:lnTo>
                      <a:pt x="1779270" y="1482090"/>
                    </a:lnTo>
                    <a:lnTo>
                      <a:pt x="1787843" y="1479233"/>
                    </a:lnTo>
                    <a:cubicBezTo>
                      <a:pt x="1787843" y="1479233"/>
                      <a:pt x="1789748" y="1475423"/>
                      <a:pt x="1796415" y="1470660"/>
                    </a:cubicBezTo>
                    <a:cubicBezTo>
                      <a:pt x="1803083" y="1466850"/>
                      <a:pt x="1803083" y="1466850"/>
                      <a:pt x="1803083" y="1466850"/>
                    </a:cubicBezTo>
                    <a:lnTo>
                      <a:pt x="1807845" y="1460183"/>
                    </a:lnTo>
                    <a:lnTo>
                      <a:pt x="1823085" y="1460183"/>
                    </a:lnTo>
                    <a:cubicBezTo>
                      <a:pt x="1823085" y="1460183"/>
                      <a:pt x="1834515" y="1460183"/>
                      <a:pt x="1841183" y="1459230"/>
                    </a:cubicBezTo>
                    <a:cubicBezTo>
                      <a:pt x="1847850" y="1458278"/>
                      <a:pt x="1834515" y="1463040"/>
                      <a:pt x="1847850" y="1458278"/>
                    </a:cubicBezTo>
                    <a:cubicBezTo>
                      <a:pt x="1861185" y="1452563"/>
                      <a:pt x="1861185" y="1452563"/>
                      <a:pt x="1861185" y="1452563"/>
                    </a:cubicBezTo>
                    <a:lnTo>
                      <a:pt x="1883093" y="1445895"/>
                    </a:lnTo>
                    <a:lnTo>
                      <a:pt x="1892618" y="1434465"/>
                    </a:lnTo>
                    <a:lnTo>
                      <a:pt x="1892618" y="1422083"/>
                    </a:lnTo>
                    <a:lnTo>
                      <a:pt x="1901190" y="1413510"/>
                    </a:lnTo>
                    <a:lnTo>
                      <a:pt x="1905953" y="1407795"/>
                    </a:lnTo>
                    <a:lnTo>
                      <a:pt x="1919288" y="1406843"/>
                    </a:lnTo>
                    <a:lnTo>
                      <a:pt x="1927860" y="1408748"/>
                    </a:lnTo>
                    <a:lnTo>
                      <a:pt x="1943100" y="1403033"/>
                    </a:lnTo>
                    <a:lnTo>
                      <a:pt x="1951673" y="1397318"/>
                    </a:lnTo>
                    <a:lnTo>
                      <a:pt x="1965008" y="1387793"/>
                    </a:lnTo>
                    <a:lnTo>
                      <a:pt x="1980248" y="1376363"/>
                    </a:lnTo>
                    <a:lnTo>
                      <a:pt x="1980248" y="1370648"/>
                    </a:lnTo>
                    <a:cubicBezTo>
                      <a:pt x="1980248" y="1370648"/>
                      <a:pt x="1985010" y="1361123"/>
                      <a:pt x="1991678" y="1358265"/>
                    </a:cubicBezTo>
                    <a:cubicBezTo>
                      <a:pt x="1998345" y="1355408"/>
                      <a:pt x="1993583" y="1351598"/>
                      <a:pt x="2003108" y="1349693"/>
                    </a:cubicBezTo>
                    <a:cubicBezTo>
                      <a:pt x="2011680" y="1348740"/>
                      <a:pt x="2021205" y="1343978"/>
                      <a:pt x="2021205" y="1343978"/>
                    </a:cubicBezTo>
                    <a:lnTo>
                      <a:pt x="2032635" y="1334453"/>
                    </a:lnTo>
                    <a:lnTo>
                      <a:pt x="2034540" y="1327785"/>
                    </a:lnTo>
                    <a:lnTo>
                      <a:pt x="2034540" y="1319213"/>
                    </a:lnTo>
                    <a:lnTo>
                      <a:pt x="2045970" y="1306830"/>
                    </a:lnTo>
                    <a:lnTo>
                      <a:pt x="2047875" y="1301115"/>
                    </a:lnTo>
                    <a:cubicBezTo>
                      <a:pt x="2047875" y="1301115"/>
                      <a:pt x="2047875" y="1295400"/>
                      <a:pt x="2054543" y="1294448"/>
                    </a:cubicBezTo>
                    <a:cubicBezTo>
                      <a:pt x="2061210" y="1293495"/>
                      <a:pt x="2061210" y="1293495"/>
                      <a:pt x="2061210" y="1293495"/>
                    </a:cubicBezTo>
                    <a:cubicBezTo>
                      <a:pt x="2061210" y="1293495"/>
                      <a:pt x="2063115" y="1286828"/>
                      <a:pt x="2069783" y="1284923"/>
                    </a:cubicBezTo>
                    <a:cubicBezTo>
                      <a:pt x="2076450" y="1283970"/>
                      <a:pt x="2063115" y="1287780"/>
                      <a:pt x="2076450" y="1283970"/>
                    </a:cubicBezTo>
                    <a:cubicBezTo>
                      <a:pt x="2089785" y="1280160"/>
                      <a:pt x="2083118" y="1275398"/>
                      <a:pt x="2096453" y="1274445"/>
                    </a:cubicBezTo>
                    <a:cubicBezTo>
                      <a:pt x="2109788" y="1273493"/>
                      <a:pt x="2121218" y="1270635"/>
                      <a:pt x="2121218" y="1270635"/>
                    </a:cubicBezTo>
                    <a:lnTo>
                      <a:pt x="2132648" y="1266825"/>
                    </a:lnTo>
                    <a:cubicBezTo>
                      <a:pt x="2132648" y="1266825"/>
                      <a:pt x="2144078" y="1263015"/>
                      <a:pt x="2152650" y="1261110"/>
                    </a:cubicBezTo>
                    <a:cubicBezTo>
                      <a:pt x="2161223" y="1260158"/>
                      <a:pt x="2174558" y="1252538"/>
                      <a:pt x="2174558" y="1252538"/>
                    </a:cubicBezTo>
                    <a:lnTo>
                      <a:pt x="2181225" y="1245870"/>
                    </a:lnTo>
                    <a:lnTo>
                      <a:pt x="2187893" y="1236345"/>
                    </a:lnTo>
                    <a:lnTo>
                      <a:pt x="2201228" y="1224915"/>
                    </a:lnTo>
                    <a:lnTo>
                      <a:pt x="2204085" y="1203960"/>
                    </a:lnTo>
                    <a:lnTo>
                      <a:pt x="2206943" y="1194435"/>
                    </a:lnTo>
                    <a:lnTo>
                      <a:pt x="2216468" y="1182053"/>
                    </a:lnTo>
                    <a:lnTo>
                      <a:pt x="2216468" y="1172528"/>
                    </a:lnTo>
                    <a:lnTo>
                      <a:pt x="2214563" y="1165860"/>
                    </a:lnTo>
                    <a:lnTo>
                      <a:pt x="2214563" y="1160145"/>
                    </a:lnTo>
                    <a:cubicBezTo>
                      <a:pt x="2214563" y="1160145"/>
                      <a:pt x="2221230" y="1156335"/>
                      <a:pt x="2225993" y="1151573"/>
                    </a:cubicBezTo>
                    <a:cubicBezTo>
                      <a:pt x="2230755" y="1147763"/>
                      <a:pt x="2237423" y="1127760"/>
                      <a:pt x="2237423" y="1127760"/>
                    </a:cubicBezTo>
                    <a:lnTo>
                      <a:pt x="2235518" y="1113473"/>
                    </a:lnTo>
                    <a:lnTo>
                      <a:pt x="2242185" y="1098233"/>
                    </a:lnTo>
                    <a:close/>
                    <a:moveTo>
                      <a:pt x="1526858" y="497205"/>
                    </a:moveTo>
                    <a:lnTo>
                      <a:pt x="1528763" y="494348"/>
                    </a:lnTo>
                    <a:lnTo>
                      <a:pt x="1531620" y="491490"/>
                    </a:lnTo>
                    <a:lnTo>
                      <a:pt x="1540193" y="491490"/>
                    </a:lnTo>
                    <a:lnTo>
                      <a:pt x="1545908" y="490537"/>
                    </a:lnTo>
                    <a:lnTo>
                      <a:pt x="1553528" y="490537"/>
                    </a:lnTo>
                    <a:lnTo>
                      <a:pt x="1561148" y="490537"/>
                    </a:lnTo>
                    <a:lnTo>
                      <a:pt x="1576388" y="489585"/>
                    </a:lnTo>
                    <a:lnTo>
                      <a:pt x="1578293" y="493395"/>
                    </a:lnTo>
                    <a:lnTo>
                      <a:pt x="1578293" y="494348"/>
                    </a:lnTo>
                    <a:lnTo>
                      <a:pt x="1576388" y="497205"/>
                    </a:lnTo>
                    <a:cubicBezTo>
                      <a:pt x="1576388" y="497205"/>
                      <a:pt x="1573530" y="498158"/>
                      <a:pt x="1571625" y="498158"/>
                    </a:cubicBezTo>
                    <a:cubicBezTo>
                      <a:pt x="1569720" y="498158"/>
                      <a:pt x="1565910" y="499110"/>
                      <a:pt x="1564005" y="499110"/>
                    </a:cubicBezTo>
                    <a:cubicBezTo>
                      <a:pt x="1562100" y="499110"/>
                      <a:pt x="1558290" y="500062"/>
                      <a:pt x="1557338" y="500062"/>
                    </a:cubicBezTo>
                    <a:cubicBezTo>
                      <a:pt x="1555433" y="500062"/>
                      <a:pt x="1550670" y="501015"/>
                      <a:pt x="1550670" y="501015"/>
                    </a:cubicBezTo>
                    <a:cubicBezTo>
                      <a:pt x="1550670" y="501015"/>
                      <a:pt x="1541145" y="501968"/>
                      <a:pt x="1539240" y="501968"/>
                    </a:cubicBezTo>
                    <a:cubicBezTo>
                      <a:pt x="1537335" y="501968"/>
                      <a:pt x="1534478" y="502920"/>
                      <a:pt x="1534478" y="502920"/>
                    </a:cubicBezTo>
                    <a:lnTo>
                      <a:pt x="1528763" y="503873"/>
                    </a:lnTo>
                    <a:cubicBezTo>
                      <a:pt x="1528763" y="503873"/>
                      <a:pt x="1524000" y="507683"/>
                      <a:pt x="1521143" y="508635"/>
                    </a:cubicBezTo>
                    <a:cubicBezTo>
                      <a:pt x="1519238" y="508635"/>
                      <a:pt x="1515428" y="513398"/>
                      <a:pt x="1510665" y="514350"/>
                    </a:cubicBezTo>
                    <a:cubicBezTo>
                      <a:pt x="1505903" y="515302"/>
                      <a:pt x="1510665" y="514350"/>
                      <a:pt x="1501140" y="515302"/>
                    </a:cubicBezTo>
                    <a:cubicBezTo>
                      <a:pt x="1495425" y="516255"/>
                      <a:pt x="1495425" y="516255"/>
                      <a:pt x="1495425" y="516255"/>
                    </a:cubicBezTo>
                    <a:cubicBezTo>
                      <a:pt x="1495425" y="516255"/>
                      <a:pt x="1495425" y="516255"/>
                      <a:pt x="1495425" y="516255"/>
                    </a:cubicBezTo>
                    <a:cubicBezTo>
                      <a:pt x="1496378" y="516255"/>
                      <a:pt x="1495425" y="516255"/>
                      <a:pt x="1495425" y="516255"/>
                    </a:cubicBezTo>
                    <a:cubicBezTo>
                      <a:pt x="1493520" y="516255"/>
                      <a:pt x="1483995" y="518160"/>
                      <a:pt x="1483995" y="518160"/>
                    </a:cubicBezTo>
                    <a:lnTo>
                      <a:pt x="1474470" y="516255"/>
                    </a:lnTo>
                    <a:lnTo>
                      <a:pt x="1467803" y="514350"/>
                    </a:lnTo>
                    <a:cubicBezTo>
                      <a:pt x="1467803" y="514350"/>
                      <a:pt x="1466850" y="511493"/>
                      <a:pt x="1467803" y="510540"/>
                    </a:cubicBezTo>
                    <a:cubicBezTo>
                      <a:pt x="1468755" y="509587"/>
                      <a:pt x="1470660" y="504825"/>
                      <a:pt x="1471613" y="503873"/>
                    </a:cubicBezTo>
                    <a:cubicBezTo>
                      <a:pt x="1472565" y="502920"/>
                      <a:pt x="1477328" y="502920"/>
                      <a:pt x="1477328" y="502920"/>
                    </a:cubicBezTo>
                    <a:lnTo>
                      <a:pt x="1488758" y="502920"/>
                    </a:lnTo>
                    <a:lnTo>
                      <a:pt x="1491615" y="502920"/>
                    </a:lnTo>
                    <a:lnTo>
                      <a:pt x="1502093" y="502920"/>
                    </a:lnTo>
                    <a:cubicBezTo>
                      <a:pt x="1502093" y="502920"/>
                      <a:pt x="1507808" y="501968"/>
                      <a:pt x="1509713" y="501968"/>
                    </a:cubicBezTo>
                    <a:cubicBezTo>
                      <a:pt x="1511618" y="501968"/>
                      <a:pt x="1516380" y="501968"/>
                      <a:pt x="1518285" y="501015"/>
                    </a:cubicBezTo>
                    <a:cubicBezTo>
                      <a:pt x="1520190" y="500062"/>
                      <a:pt x="1524000" y="498158"/>
                      <a:pt x="1524000" y="498158"/>
                    </a:cubicBezTo>
                    <a:lnTo>
                      <a:pt x="1526858" y="497205"/>
                    </a:lnTo>
                    <a:close/>
                    <a:moveTo>
                      <a:pt x="1446848" y="462915"/>
                    </a:moveTo>
                    <a:cubicBezTo>
                      <a:pt x="1448753" y="462915"/>
                      <a:pt x="1453515" y="462915"/>
                      <a:pt x="1453515" y="462915"/>
                    </a:cubicBezTo>
                    <a:cubicBezTo>
                      <a:pt x="1453515" y="462915"/>
                      <a:pt x="1462088" y="462915"/>
                      <a:pt x="1463993" y="462915"/>
                    </a:cubicBezTo>
                    <a:cubicBezTo>
                      <a:pt x="1465898" y="462915"/>
                      <a:pt x="1468755" y="461962"/>
                      <a:pt x="1468755" y="461962"/>
                    </a:cubicBezTo>
                    <a:lnTo>
                      <a:pt x="1479233" y="461010"/>
                    </a:lnTo>
                    <a:cubicBezTo>
                      <a:pt x="1479233" y="461010"/>
                      <a:pt x="1488758" y="460058"/>
                      <a:pt x="1490663" y="460058"/>
                    </a:cubicBezTo>
                    <a:cubicBezTo>
                      <a:pt x="1492568" y="460058"/>
                      <a:pt x="1502093" y="461010"/>
                      <a:pt x="1502093" y="461010"/>
                    </a:cubicBezTo>
                    <a:lnTo>
                      <a:pt x="1513523" y="461010"/>
                    </a:lnTo>
                    <a:lnTo>
                      <a:pt x="1515428" y="466725"/>
                    </a:lnTo>
                    <a:cubicBezTo>
                      <a:pt x="1515428" y="466725"/>
                      <a:pt x="1515428" y="466725"/>
                      <a:pt x="1518285" y="466725"/>
                    </a:cubicBezTo>
                    <a:lnTo>
                      <a:pt x="1521143" y="467677"/>
                    </a:lnTo>
                    <a:lnTo>
                      <a:pt x="1520190" y="469583"/>
                    </a:lnTo>
                    <a:cubicBezTo>
                      <a:pt x="1520190" y="469583"/>
                      <a:pt x="1518285" y="471487"/>
                      <a:pt x="1515428" y="472440"/>
                    </a:cubicBezTo>
                    <a:cubicBezTo>
                      <a:pt x="1513523" y="472440"/>
                      <a:pt x="1511618" y="473393"/>
                      <a:pt x="1511618" y="473393"/>
                    </a:cubicBezTo>
                    <a:lnTo>
                      <a:pt x="1504950" y="473393"/>
                    </a:lnTo>
                    <a:cubicBezTo>
                      <a:pt x="1504950" y="473393"/>
                      <a:pt x="1502093" y="473393"/>
                      <a:pt x="1498283" y="473393"/>
                    </a:cubicBezTo>
                    <a:cubicBezTo>
                      <a:pt x="1494473" y="473393"/>
                      <a:pt x="1495425" y="474345"/>
                      <a:pt x="1495425" y="474345"/>
                    </a:cubicBezTo>
                    <a:lnTo>
                      <a:pt x="1493520" y="478155"/>
                    </a:lnTo>
                    <a:lnTo>
                      <a:pt x="1492568" y="485775"/>
                    </a:lnTo>
                    <a:cubicBezTo>
                      <a:pt x="1492568" y="485775"/>
                      <a:pt x="1486853" y="488633"/>
                      <a:pt x="1483043" y="488633"/>
                    </a:cubicBezTo>
                    <a:cubicBezTo>
                      <a:pt x="1479233" y="488633"/>
                      <a:pt x="1480185" y="488633"/>
                      <a:pt x="1477328" y="488633"/>
                    </a:cubicBezTo>
                    <a:cubicBezTo>
                      <a:pt x="1474470" y="488633"/>
                      <a:pt x="1474470" y="487680"/>
                      <a:pt x="1471613" y="484823"/>
                    </a:cubicBezTo>
                    <a:cubicBezTo>
                      <a:pt x="1468755" y="481965"/>
                      <a:pt x="1466850" y="483870"/>
                      <a:pt x="1464945" y="482918"/>
                    </a:cubicBezTo>
                    <a:cubicBezTo>
                      <a:pt x="1463040" y="481965"/>
                      <a:pt x="1462088" y="481012"/>
                      <a:pt x="1460183" y="478155"/>
                    </a:cubicBezTo>
                    <a:cubicBezTo>
                      <a:pt x="1458278" y="475298"/>
                      <a:pt x="1460183" y="478155"/>
                      <a:pt x="1460183" y="476250"/>
                    </a:cubicBezTo>
                    <a:cubicBezTo>
                      <a:pt x="1459230" y="474345"/>
                      <a:pt x="1458278" y="474345"/>
                      <a:pt x="1457325" y="473393"/>
                    </a:cubicBezTo>
                    <a:cubicBezTo>
                      <a:pt x="1455420" y="471487"/>
                      <a:pt x="1455420" y="471487"/>
                      <a:pt x="1450658" y="469583"/>
                    </a:cubicBezTo>
                    <a:cubicBezTo>
                      <a:pt x="1445895" y="467677"/>
                      <a:pt x="1444943" y="469583"/>
                      <a:pt x="1444943" y="469583"/>
                    </a:cubicBezTo>
                    <a:cubicBezTo>
                      <a:pt x="1444943" y="469583"/>
                      <a:pt x="1439228" y="469583"/>
                      <a:pt x="1436370" y="469583"/>
                    </a:cubicBezTo>
                    <a:cubicBezTo>
                      <a:pt x="1434465" y="469583"/>
                      <a:pt x="1431608" y="469583"/>
                      <a:pt x="1431608" y="469583"/>
                    </a:cubicBezTo>
                    <a:cubicBezTo>
                      <a:pt x="1431608" y="469583"/>
                      <a:pt x="1429703" y="470535"/>
                      <a:pt x="1425893" y="472440"/>
                    </a:cubicBezTo>
                    <a:cubicBezTo>
                      <a:pt x="1422083" y="473393"/>
                      <a:pt x="1421130" y="474345"/>
                      <a:pt x="1421130" y="474345"/>
                    </a:cubicBezTo>
                    <a:cubicBezTo>
                      <a:pt x="1421130" y="474345"/>
                      <a:pt x="1417320" y="477202"/>
                      <a:pt x="1416368" y="478155"/>
                    </a:cubicBezTo>
                    <a:cubicBezTo>
                      <a:pt x="1414463" y="479108"/>
                      <a:pt x="1415415" y="480060"/>
                      <a:pt x="1415415" y="480060"/>
                    </a:cubicBezTo>
                    <a:lnTo>
                      <a:pt x="1414463" y="484823"/>
                    </a:lnTo>
                    <a:cubicBezTo>
                      <a:pt x="1414463" y="484823"/>
                      <a:pt x="1412558" y="486727"/>
                      <a:pt x="1410653" y="486727"/>
                    </a:cubicBezTo>
                    <a:cubicBezTo>
                      <a:pt x="1408748" y="486727"/>
                      <a:pt x="1409700" y="492443"/>
                      <a:pt x="1409700" y="492443"/>
                    </a:cubicBezTo>
                    <a:cubicBezTo>
                      <a:pt x="1409700" y="492443"/>
                      <a:pt x="1407795" y="498158"/>
                      <a:pt x="1407795" y="499110"/>
                    </a:cubicBezTo>
                    <a:cubicBezTo>
                      <a:pt x="1406843" y="500062"/>
                      <a:pt x="1407795" y="501968"/>
                      <a:pt x="1406843" y="502920"/>
                    </a:cubicBezTo>
                    <a:cubicBezTo>
                      <a:pt x="1405890" y="503873"/>
                      <a:pt x="1405890" y="504825"/>
                      <a:pt x="1405890" y="504825"/>
                    </a:cubicBezTo>
                    <a:cubicBezTo>
                      <a:pt x="1405890" y="504825"/>
                      <a:pt x="1403033" y="504825"/>
                      <a:pt x="1400175" y="504825"/>
                    </a:cubicBezTo>
                    <a:cubicBezTo>
                      <a:pt x="1397318" y="504825"/>
                      <a:pt x="1396365" y="504825"/>
                      <a:pt x="1396365" y="504825"/>
                    </a:cubicBezTo>
                    <a:cubicBezTo>
                      <a:pt x="1396365" y="504825"/>
                      <a:pt x="1393508" y="503873"/>
                      <a:pt x="1391603" y="502920"/>
                    </a:cubicBezTo>
                    <a:cubicBezTo>
                      <a:pt x="1389698" y="502920"/>
                      <a:pt x="1389698" y="501015"/>
                      <a:pt x="1388745" y="500062"/>
                    </a:cubicBezTo>
                    <a:cubicBezTo>
                      <a:pt x="1387793" y="498158"/>
                      <a:pt x="1389698" y="495300"/>
                      <a:pt x="1389698" y="493395"/>
                    </a:cubicBezTo>
                    <a:cubicBezTo>
                      <a:pt x="1389698" y="491490"/>
                      <a:pt x="1387793" y="487680"/>
                      <a:pt x="1387793" y="486727"/>
                    </a:cubicBezTo>
                    <a:cubicBezTo>
                      <a:pt x="1387793" y="485775"/>
                      <a:pt x="1387793" y="483870"/>
                      <a:pt x="1387793" y="483870"/>
                    </a:cubicBezTo>
                    <a:cubicBezTo>
                      <a:pt x="1387793" y="483870"/>
                      <a:pt x="1388745" y="478155"/>
                      <a:pt x="1387793" y="477202"/>
                    </a:cubicBezTo>
                    <a:cubicBezTo>
                      <a:pt x="1386840" y="476250"/>
                      <a:pt x="1390650" y="475298"/>
                      <a:pt x="1391603" y="473393"/>
                    </a:cubicBezTo>
                    <a:cubicBezTo>
                      <a:pt x="1392555" y="471487"/>
                      <a:pt x="1393508" y="470535"/>
                      <a:pt x="1395413" y="469583"/>
                    </a:cubicBezTo>
                    <a:cubicBezTo>
                      <a:pt x="1395413" y="469583"/>
                      <a:pt x="1402080" y="468630"/>
                      <a:pt x="1403985" y="467677"/>
                    </a:cubicBezTo>
                    <a:cubicBezTo>
                      <a:pt x="1405890" y="466725"/>
                      <a:pt x="1409700" y="465773"/>
                      <a:pt x="1413510" y="464820"/>
                    </a:cubicBezTo>
                    <a:cubicBezTo>
                      <a:pt x="1417320" y="463868"/>
                      <a:pt x="1413510" y="464820"/>
                      <a:pt x="1414463" y="462915"/>
                    </a:cubicBezTo>
                    <a:cubicBezTo>
                      <a:pt x="1415415" y="461010"/>
                      <a:pt x="1422083" y="460058"/>
                      <a:pt x="1422083" y="460058"/>
                    </a:cubicBezTo>
                    <a:cubicBezTo>
                      <a:pt x="1422083" y="460058"/>
                      <a:pt x="1422083" y="460058"/>
                      <a:pt x="1423988" y="460058"/>
                    </a:cubicBezTo>
                    <a:cubicBezTo>
                      <a:pt x="1425893" y="460058"/>
                      <a:pt x="1429703" y="460058"/>
                      <a:pt x="1429703" y="460058"/>
                    </a:cubicBezTo>
                    <a:lnTo>
                      <a:pt x="1434465" y="460058"/>
                    </a:lnTo>
                    <a:cubicBezTo>
                      <a:pt x="1434465" y="461010"/>
                      <a:pt x="1444943" y="462915"/>
                      <a:pt x="1446848" y="462915"/>
                    </a:cubicBezTo>
                    <a:close/>
                    <a:moveTo>
                      <a:pt x="1322070" y="445770"/>
                    </a:moveTo>
                    <a:cubicBezTo>
                      <a:pt x="1323975" y="445770"/>
                      <a:pt x="1322070" y="444818"/>
                      <a:pt x="1324928" y="443865"/>
                    </a:cubicBezTo>
                    <a:cubicBezTo>
                      <a:pt x="1327785" y="442912"/>
                      <a:pt x="1327785" y="441960"/>
                      <a:pt x="1329690" y="441960"/>
                    </a:cubicBezTo>
                    <a:cubicBezTo>
                      <a:pt x="1331595" y="441960"/>
                      <a:pt x="1333500" y="439102"/>
                      <a:pt x="1333500" y="439102"/>
                    </a:cubicBezTo>
                    <a:lnTo>
                      <a:pt x="1334453" y="437198"/>
                    </a:lnTo>
                    <a:cubicBezTo>
                      <a:pt x="1338263" y="436245"/>
                      <a:pt x="1331595" y="437198"/>
                      <a:pt x="1338263" y="436245"/>
                    </a:cubicBezTo>
                    <a:cubicBezTo>
                      <a:pt x="1343978" y="434340"/>
                      <a:pt x="1346835" y="432435"/>
                      <a:pt x="1348740" y="432435"/>
                    </a:cubicBezTo>
                    <a:cubicBezTo>
                      <a:pt x="1350645" y="432435"/>
                      <a:pt x="1350645" y="430530"/>
                      <a:pt x="1353503" y="429577"/>
                    </a:cubicBezTo>
                    <a:cubicBezTo>
                      <a:pt x="1355408" y="428625"/>
                      <a:pt x="1355408" y="428625"/>
                      <a:pt x="1355408" y="428625"/>
                    </a:cubicBezTo>
                    <a:cubicBezTo>
                      <a:pt x="1355408" y="428625"/>
                      <a:pt x="1355408" y="428625"/>
                      <a:pt x="1357313" y="428625"/>
                    </a:cubicBezTo>
                    <a:cubicBezTo>
                      <a:pt x="1359218" y="428625"/>
                      <a:pt x="1363980" y="428625"/>
                      <a:pt x="1363980" y="428625"/>
                    </a:cubicBezTo>
                    <a:cubicBezTo>
                      <a:pt x="1363980" y="428625"/>
                      <a:pt x="1361123" y="428625"/>
                      <a:pt x="1366838" y="428625"/>
                    </a:cubicBezTo>
                    <a:cubicBezTo>
                      <a:pt x="1372553" y="428625"/>
                      <a:pt x="1374458" y="427673"/>
                      <a:pt x="1376363" y="427673"/>
                    </a:cubicBezTo>
                    <a:cubicBezTo>
                      <a:pt x="1378268" y="427673"/>
                      <a:pt x="1381125" y="425768"/>
                      <a:pt x="1381125" y="425768"/>
                    </a:cubicBezTo>
                    <a:lnTo>
                      <a:pt x="1384935" y="424815"/>
                    </a:lnTo>
                    <a:lnTo>
                      <a:pt x="1387793" y="423862"/>
                    </a:lnTo>
                    <a:lnTo>
                      <a:pt x="1392555" y="424815"/>
                    </a:lnTo>
                    <a:cubicBezTo>
                      <a:pt x="1392555" y="424815"/>
                      <a:pt x="1395413" y="424815"/>
                      <a:pt x="1397318" y="425768"/>
                    </a:cubicBezTo>
                    <a:cubicBezTo>
                      <a:pt x="1399223" y="426720"/>
                      <a:pt x="1402080" y="427673"/>
                      <a:pt x="1403033" y="428625"/>
                    </a:cubicBezTo>
                    <a:cubicBezTo>
                      <a:pt x="1403985" y="429577"/>
                      <a:pt x="1408748" y="431483"/>
                      <a:pt x="1408748" y="431483"/>
                    </a:cubicBezTo>
                    <a:cubicBezTo>
                      <a:pt x="1408748" y="431483"/>
                      <a:pt x="1409700" y="432435"/>
                      <a:pt x="1411605" y="433387"/>
                    </a:cubicBezTo>
                    <a:cubicBezTo>
                      <a:pt x="1413510" y="434340"/>
                      <a:pt x="1418273" y="435293"/>
                      <a:pt x="1418273" y="435293"/>
                    </a:cubicBezTo>
                    <a:cubicBezTo>
                      <a:pt x="1418273" y="435293"/>
                      <a:pt x="1419225" y="435293"/>
                      <a:pt x="1421130" y="436245"/>
                    </a:cubicBezTo>
                    <a:cubicBezTo>
                      <a:pt x="1423035" y="437198"/>
                      <a:pt x="1423035" y="437198"/>
                      <a:pt x="1423035" y="437198"/>
                    </a:cubicBezTo>
                    <a:cubicBezTo>
                      <a:pt x="1423035" y="437198"/>
                      <a:pt x="1423988" y="437198"/>
                      <a:pt x="1424940" y="439102"/>
                    </a:cubicBezTo>
                    <a:cubicBezTo>
                      <a:pt x="1425893" y="440055"/>
                      <a:pt x="1423988" y="440055"/>
                      <a:pt x="1425893" y="440055"/>
                    </a:cubicBezTo>
                    <a:cubicBezTo>
                      <a:pt x="1427798" y="441008"/>
                      <a:pt x="1432560" y="446723"/>
                      <a:pt x="1432560" y="446723"/>
                    </a:cubicBezTo>
                    <a:cubicBezTo>
                      <a:pt x="1432560" y="446723"/>
                      <a:pt x="1430655" y="445770"/>
                      <a:pt x="1429703" y="446723"/>
                    </a:cubicBezTo>
                    <a:cubicBezTo>
                      <a:pt x="1427798" y="447675"/>
                      <a:pt x="1411605" y="447675"/>
                      <a:pt x="1411605" y="447675"/>
                    </a:cubicBezTo>
                    <a:lnTo>
                      <a:pt x="1404938" y="447675"/>
                    </a:lnTo>
                    <a:lnTo>
                      <a:pt x="1399223" y="447675"/>
                    </a:lnTo>
                    <a:lnTo>
                      <a:pt x="1393508" y="447675"/>
                    </a:lnTo>
                    <a:cubicBezTo>
                      <a:pt x="1393508" y="447675"/>
                      <a:pt x="1390650" y="447675"/>
                      <a:pt x="1388745" y="447675"/>
                    </a:cubicBezTo>
                    <a:cubicBezTo>
                      <a:pt x="1386840" y="447675"/>
                      <a:pt x="1381125" y="447675"/>
                      <a:pt x="1381125" y="447675"/>
                    </a:cubicBezTo>
                    <a:lnTo>
                      <a:pt x="1373505" y="449580"/>
                    </a:lnTo>
                    <a:lnTo>
                      <a:pt x="1360170" y="449580"/>
                    </a:lnTo>
                    <a:cubicBezTo>
                      <a:pt x="1360170" y="449580"/>
                      <a:pt x="1360170" y="447675"/>
                      <a:pt x="1354455" y="449580"/>
                    </a:cubicBezTo>
                    <a:cubicBezTo>
                      <a:pt x="1348740" y="451485"/>
                      <a:pt x="1342073" y="452437"/>
                      <a:pt x="1342073" y="452437"/>
                    </a:cubicBezTo>
                    <a:cubicBezTo>
                      <a:pt x="1342073" y="452437"/>
                      <a:pt x="1340168" y="452437"/>
                      <a:pt x="1339215" y="453390"/>
                    </a:cubicBezTo>
                    <a:cubicBezTo>
                      <a:pt x="1338263" y="454343"/>
                      <a:pt x="1331595" y="455295"/>
                      <a:pt x="1331595" y="455295"/>
                    </a:cubicBezTo>
                    <a:lnTo>
                      <a:pt x="1325880" y="455295"/>
                    </a:lnTo>
                    <a:lnTo>
                      <a:pt x="1322070" y="455295"/>
                    </a:lnTo>
                    <a:lnTo>
                      <a:pt x="1320165" y="452437"/>
                    </a:lnTo>
                    <a:lnTo>
                      <a:pt x="1320165" y="449580"/>
                    </a:lnTo>
                    <a:cubicBezTo>
                      <a:pt x="1321118" y="448627"/>
                      <a:pt x="1320165" y="446723"/>
                      <a:pt x="1322070" y="445770"/>
                    </a:cubicBezTo>
                    <a:close/>
                    <a:moveTo>
                      <a:pt x="1762125" y="147637"/>
                    </a:moveTo>
                    <a:cubicBezTo>
                      <a:pt x="1762125" y="147637"/>
                      <a:pt x="1762125" y="147637"/>
                      <a:pt x="1762125" y="147637"/>
                    </a:cubicBezTo>
                    <a:cubicBezTo>
                      <a:pt x="1762125" y="147637"/>
                      <a:pt x="1762125" y="147637"/>
                      <a:pt x="1762125" y="147637"/>
                    </a:cubicBezTo>
                    <a:close/>
                    <a:moveTo>
                      <a:pt x="870585" y="141923"/>
                    </a:moveTo>
                    <a:cubicBezTo>
                      <a:pt x="870585" y="141923"/>
                      <a:pt x="865823" y="145733"/>
                      <a:pt x="862965" y="145733"/>
                    </a:cubicBezTo>
                    <a:cubicBezTo>
                      <a:pt x="861060" y="145733"/>
                      <a:pt x="854393" y="146685"/>
                      <a:pt x="854393" y="146685"/>
                    </a:cubicBezTo>
                    <a:lnTo>
                      <a:pt x="851535" y="146685"/>
                    </a:lnTo>
                    <a:lnTo>
                      <a:pt x="844868" y="146685"/>
                    </a:lnTo>
                    <a:lnTo>
                      <a:pt x="840105" y="147637"/>
                    </a:lnTo>
                    <a:lnTo>
                      <a:pt x="834390" y="149542"/>
                    </a:lnTo>
                    <a:lnTo>
                      <a:pt x="829628" y="147637"/>
                    </a:lnTo>
                    <a:lnTo>
                      <a:pt x="826770" y="145733"/>
                    </a:lnTo>
                    <a:lnTo>
                      <a:pt x="819150" y="144780"/>
                    </a:lnTo>
                    <a:cubicBezTo>
                      <a:pt x="819150" y="144780"/>
                      <a:pt x="814388" y="143828"/>
                      <a:pt x="811530" y="144780"/>
                    </a:cubicBezTo>
                    <a:cubicBezTo>
                      <a:pt x="809625" y="145733"/>
                      <a:pt x="804863" y="144780"/>
                      <a:pt x="804863" y="144780"/>
                    </a:cubicBezTo>
                    <a:cubicBezTo>
                      <a:pt x="804863" y="144780"/>
                      <a:pt x="805815" y="142875"/>
                      <a:pt x="800100" y="142875"/>
                    </a:cubicBezTo>
                    <a:cubicBezTo>
                      <a:pt x="795338" y="142875"/>
                      <a:pt x="792480" y="141923"/>
                      <a:pt x="788670" y="142875"/>
                    </a:cubicBezTo>
                    <a:cubicBezTo>
                      <a:pt x="784860" y="142875"/>
                      <a:pt x="789623" y="142875"/>
                      <a:pt x="784860" y="142875"/>
                    </a:cubicBezTo>
                    <a:cubicBezTo>
                      <a:pt x="780098" y="142875"/>
                      <a:pt x="780098" y="141923"/>
                      <a:pt x="776288" y="141923"/>
                    </a:cubicBezTo>
                    <a:cubicBezTo>
                      <a:pt x="771525" y="141923"/>
                      <a:pt x="768668" y="140970"/>
                      <a:pt x="764858" y="140970"/>
                    </a:cubicBezTo>
                    <a:cubicBezTo>
                      <a:pt x="761048" y="140970"/>
                      <a:pt x="756285" y="140017"/>
                      <a:pt x="756285" y="140017"/>
                    </a:cubicBezTo>
                    <a:lnTo>
                      <a:pt x="750570" y="135255"/>
                    </a:lnTo>
                    <a:lnTo>
                      <a:pt x="751523" y="133350"/>
                    </a:lnTo>
                    <a:cubicBezTo>
                      <a:pt x="751523" y="133350"/>
                      <a:pt x="748665" y="132398"/>
                      <a:pt x="754380" y="131445"/>
                    </a:cubicBezTo>
                    <a:cubicBezTo>
                      <a:pt x="760095" y="131445"/>
                      <a:pt x="749618" y="130492"/>
                      <a:pt x="760095" y="131445"/>
                    </a:cubicBezTo>
                    <a:cubicBezTo>
                      <a:pt x="771525" y="131445"/>
                      <a:pt x="771525" y="131445"/>
                      <a:pt x="771525" y="131445"/>
                    </a:cubicBezTo>
                    <a:cubicBezTo>
                      <a:pt x="771525" y="131445"/>
                      <a:pt x="774383" y="130492"/>
                      <a:pt x="776288" y="131445"/>
                    </a:cubicBezTo>
                    <a:cubicBezTo>
                      <a:pt x="778193" y="132398"/>
                      <a:pt x="781050" y="131445"/>
                      <a:pt x="783908" y="131445"/>
                    </a:cubicBezTo>
                    <a:cubicBezTo>
                      <a:pt x="786765" y="131445"/>
                      <a:pt x="789623" y="129540"/>
                      <a:pt x="792480" y="129540"/>
                    </a:cubicBezTo>
                    <a:cubicBezTo>
                      <a:pt x="794385" y="129540"/>
                      <a:pt x="794385" y="129540"/>
                      <a:pt x="794385" y="129540"/>
                    </a:cubicBezTo>
                    <a:cubicBezTo>
                      <a:pt x="794385" y="129540"/>
                      <a:pt x="794385" y="129540"/>
                      <a:pt x="793433" y="129540"/>
                    </a:cubicBezTo>
                    <a:cubicBezTo>
                      <a:pt x="793433" y="129540"/>
                      <a:pt x="793433" y="129540"/>
                      <a:pt x="793433" y="129540"/>
                    </a:cubicBezTo>
                    <a:cubicBezTo>
                      <a:pt x="793433" y="129540"/>
                      <a:pt x="792480" y="129540"/>
                      <a:pt x="792480" y="129540"/>
                    </a:cubicBezTo>
                    <a:cubicBezTo>
                      <a:pt x="792480" y="129540"/>
                      <a:pt x="793433" y="129540"/>
                      <a:pt x="793433" y="129540"/>
                    </a:cubicBezTo>
                    <a:cubicBezTo>
                      <a:pt x="793433" y="129540"/>
                      <a:pt x="793433" y="129540"/>
                      <a:pt x="793433" y="129540"/>
                    </a:cubicBezTo>
                    <a:cubicBezTo>
                      <a:pt x="793433" y="129540"/>
                      <a:pt x="793433" y="129540"/>
                      <a:pt x="794385" y="129540"/>
                    </a:cubicBezTo>
                    <a:cubicBezTo>
                      <a:pt x="799148" y="129540"/>
                      <a:pt x="802958" y="128587"/>
                      <a:pt x="802958" y="128587"/>
                    </a:cubicBezTo>
                    <a:cubicBezTo>
                      <a:pt x="802958" y="128587"/>
                      <a:pt x="801053" y="127635"/>
                      <a:pt x="805815" y="128587"/>
                    </a:cubicBezTo>
                    <a:cubicBezTo>
                      <a:pt x="810578" y="129540"/>
                      <a:pt x="813435" y="127635"/>
                      <a:pt x="815340" y="128587"/>
                    </a:cubicBezTo>
                    <a:cubicBezTo>
                      <a:pt x="817245" y="129540"/>
                      <a:pt x="822008" y="128587"/>
                      <a:pt x="822008" y="128587"/>
                    </a:cubicBezTo>
                    <a:lnTo>
                      <a:pt x="827723" y="129540"/>
                    </a:lnTo>
                    <a:cubicBezTo>
                      <a:pt x="827723" y="129540"/>
                      <a:pt x="832485" y="129540"/>
                      <a:pt x="832485" y="130492"/>
                    </a:cubicBezTo>
                    <a:cubicBezTo>
                      <a:pt x="832485" y="131445"/>
                      <a:pt x="830580" y="128587"/>
                      <a:pt x="832485" y="131445"/>
                    </a:cubicBezTo>
                    <a:cubicBezTo>
                      <a:pt x="834390" y="134303"/>
                      <a:pt x="837248" y="134303"/>
                      <a:pt x="840105" y="135255"/>
                    </a:cubicBezTo>
                    <a:cubicBezTo>
                      <a:pt x="842963" y="136208"/>
                      <a:pt x="838200" y="137160"/>
                      <a:pt x="842963" y="136208"/>
                    </a:cubicBezTo>
                    <a:cubicBezTo>
                      <a:pt x="847725" y="135255"/>
                      <a:pt x="850583" y="131445"/>
                      <a:pt x="852488" y="131445"/>
                    </a:cubicBezTo>
                    <a:cubicBezTo>
                      <a:pt x="854393" y="132398"/>
                      <a:pt x="857250" y="132398"/>
                      <a:pt x="857250" y="132398"/>
                    </a:cubicBezTo>
                    <a:lnTo>
                      <a:pt x="862013" y="131445"/>
                    </a:lnTo>
                    <a:lnTo>
                      <a:pt x="869633" y="132398"/>
                    </a:lnTo>
                    <a:cubicBezTo>
                      <a:pt x="869633" y="132398"/>
                      <a:pt x="871538" y="132398"/>
                      <a:pt x="872490" y="134303"/>
                    </a:cubicBezTo>
                    <a:cubicBezTo>
                      <a:pt x="873443" y="136208"/>
                      <a:pt x="873443" y="136208"/>
                      <a:pt x="873443" y="136208"/>
                    </a:cubicBezTo>
                    <a:lnTo>
                      <a:pt x="870585" y="141923"/>
                    </a:lnTo>
                    <a:close/>
                    <a:moveTo>
                      <a:pt x="1010603" y="202883"/>
                    </a:moveTo>
                    <a:cubicBezTo>
                      <a:pt x="1004888" y="205740"/>
                      <a:pt x="1008698" y="204787"/>
                      <a:pt x="1005840" y="204787"/>
                    </a:cubicBezTo>
                    <a:cubicBezTo>
                      <a:pt x="1003935" y="204787"/>
                      <a:pt x="1002983" y="206692"/>
                      <a:pt x="1000125" y="206692"/>
                    </a:cubicBezTo>
                    <a:cubicBezTo>
                      <a:pt x="997268" y="206692"/>
                      <a:pt x="992505" y="206692"/>
                      <a:pt x="992505" y="206692"/>
                    </a:cubicBezTo>
                    <a:cubicBezTo>
                      <a:pt x="992505" y="206692"/>
                      <a:pt x="987743" y="207645"/>
                      <a:pt x="984885" y="207645"/>
                    </a:cubicBezTo>
                    <a:cubicBezTo>
                      <a:pt x="982028" y="207645"/>
                      <a:pt x="980123" y="209550"/>
                      <a:pt x="977265" y="209550"/>
                    </a:cubicBezTo>
                    <a:cubicBezTo>
                      <a:pt x="975360" y="209550"/>
                      <a:pt x="972503" y="211455"/>
                      <a:pt x="969645" y="212408"/>
                    </a:cubicBezTo>
                    <a:cubicBezTo>
                      <a:pt x="966788" y="212408"/>
                      <a:pt x="965835" y="213360"/>
                      <a:pt x="963930" y="213360"/>
                    </a:cubicBezTo>
                    <a:cubicBezTo>
                      <a:pt x="962025" y="213360"/>
                      <a:pt x="961073" y="217170"/>
                      <a:pt x="961073" y="217170"/>
                    </a:cubicBezTo>
                    <a:cubicBezTo>
                      <a:pt x="961073" y="217170"/>
                      <a:pt x="956310" y="219075"/>
                      <a:pt x="953453" y="219075"/>
                    </a:cubicBezTo>
                    <a:cubicBezTo>
                      <a:pt x="950595" y="219075"/>
                      <a:pt x="948690" y="220028"/>
                      <a:pt x="943928" y="220980"/>
                    </a:cubicBezTo>
                    <a:cubicBezTo>
                      <a:pt x="939165" y="220980"/>
                      <a:pt x="938213" y="220980"/>
                      <a:pt x="935355" y="220980"/>
                    </a:cubicBezTo>
                    <a:cubicBezTo>
                      <a:pt x="933450" y="220980"/>
                      <a:pt x="929640" y="220980"/>
                      <a:pt x="925830" y="220980"/>
                    </a:cubicBezTo>
                    <a:cubicBezTo>
                      <a:pt x="922020" y="220980"/>
                      <a:pt x="917258" y="220980"/>
                      <a:pt x="917258" y="220980"/>
                    </a:cubicBezTo>
                    <a:lnTo>
                      <a:pt x="910590" y="221933"/>
                    </a:lnTo>
                    <a:cubicBezTo>
                      <a:pt x="910590" y="221933"/>
                      <a:pt x="906780" y="223837"/>
                      <a:pt x="903923" y="224790"/>
                    </a:cubicBezTo>
                    <a:cubicBezTo>
                      <a:pt x="901065" y="225742"/>
                      <a:pt x="899160" y="225742"/>
                      <a:pt x="895350" y="226695"/>
                    </a:cubicBezTo>
                    <a:cubicBezTo>
                      <a:pt x="890588" y="227648"/>
                      <a:pt x="890588" y="227648"/>
                      <a:pt x="887730" y="227648"/>
                    </a:cubicBezTo>
                    <a:cubicBezTo>
                      <a:pt x="883920" y="226695"/>
                      <a:pt x="887730" y="227648"/>
                      <a:pt x="886778" y="221933"/>
                    </a:cubicBezTo>
                    <a:cubicBezTo>
                      <a:pt x="885825" y="216217"/>
                      <a:pt x="886778" y="221933"/>
                      <a:pt x="887730" y="220980"/>
                    </a:cubicBezTo>
                    <a:cubicBezTo>
                      <a:pt x="888683" y="220028"/>
                      <a:pt x="890588" y="220980"/>
                      <a:pt x="892493" y="220028"/>
                    </a:cubicBezTo>
                    <a:cubicBezTo>
                      <a:pt x="894398" y="219075"/>
                      <a:pt x="895350" y="219075"/>
                      <a:pt x="895350" y="219075"/>
                    </a:cubicBezTo>
                    <a:cubicBezTo>
                      <a:pt x="895350" y="219075"/>
                      <a:pt x="900113" y="218123"/>
                      <a:pt x="902018" y="216217"/>
                    </a:cubicBezTo>
                    <a:cubicBezTo>
                      <a:pt x="903923" y="215265"/>
                      <a:pt x="910590" y="214312"/>
                      <a:pt x="910590" y="214312"/>
                    </a:cubicBezTo>
                    <a:lnTo>
                      <a:pt x="918210" y="211455"/>
                    </a:lnTo>
                    <a:cubicBezTo>
                      <a:pt x="918210" y="211455"/>
                      <a:pt x="922973" y="208598"/>
                      <a:pt x="922020" y="206692"/>
                    </a:cubicBezTo>
                    <a:cubicBezTo>
                      <a:pt x="921068" y="205740"/>
                      <a:pt x="928688" y="206692"/>
                      <a:pt x="928688" y="206692"/>
                    </a:cubicBezTo>
                    <a:lnTo>
                      <a:pt x="931545" y="206692"/>
                    </a:lnTo>
                    <a:lnTo>
                      <a:pt x="942975" y="205740"/>
                    </a:lnTo>
                    <a:lnTo>
                      <a:pt x="949643" y="206692"/>
                    </a:lnTo>
                    <a:lnTo>
                      <a:pt x="956310" y="206692"/>
                    </a:lnTo>
                    <a:cubicBezTo>
                      <a:pt x="956310" y="206692"/>
                      <a:pt x="963930" y="206692"/>
                      <a:pt x="965835" y="204787"/>
                    </a:cubicBezTo>
                    <a:cubicBezTo>
                      <a:pt x="967740" y="202883"/>
                      <a:pt x="969645" y="203835"/>
                      <a:pt x="971550" y="201930"/>
                    </a:cubicBezTo>
                    <a:cubicBezTo>
                      <a:pt x="973455" y="200025"/>
                      <a:pt x="975360" y="201930"/>
                      <a:pt x="977265" y="199073"/>
                    </a:cubicBezTo>
                    <a:cubicBezTo>
                      <a:pt x="979170" y="197167"/>
                      <a:pt x="982028" y="197167"/>
                      <a:pt x="982028" y="197167"/>
                    </a:cubicBezTo>
                    <a:lnTo>
                      <a:pt x="986790" y="196215"/>
                    </a:lnTo>
                    <a:cubicBezTo>
                      <a:pt x="986790" y="196215"/>
                      <a:pt x="994410" y="196215"/>
                      <a:pt x="997268" y="195262"/>
                    </a:cubicBezTo>
                    <a:cubicBezTo>
                      <a:pt x="999173" y="194310"/>
                      <a:pt x="1002030" y="193358"/>
                      <a:pt x="1002030" y="193358"/>
                    </a:cubicBezTo>
                    <a:cubicBezTo>
                      <a:pt x="1002030" y="193358"/>
                      <a:pt x="1011555" y="192405"/>
                      <a:pt x="1013460" y="192405"/>
                    </a:cubicBezTo>
                    <a:cubicBezTo>
                      <a:pt x="1015365" y="192405"/>
                      <a:pt x="1015365" y="194310"/>
                      <a:pt x="1015365" y="194310"/>
                    </a:cubicBezTo>
                    <a:cubicBezTo>
                      <a:pt x="1015365" y="194310"/>
                      <a:pt x="1016318" y="200025"/>
                      <a:pt x="1010603" y="202883"/>
                    </a:cubicBezTo>
                    <a:close/>
                    <a:moveTo>
                      <a:pt x="1220153" y="380048"/>
                    </a:moveTo>
                    <a:cubicBezTo>
                      <a:pt x="1220153" y="377190"/>
                      <a:pt x="1220153" y="379095"/>
                      <a:pt x="1218248" y="374333"/>
                    </a:cubicBezTo>
                    <a:cubicBezTo>
                      <a:pt x="1216343" y="370523"/>
                      <a:pt x="1216343" y="372427"/>
                      <a:pt x="1212533" y="371475"/>
                    </a:cubicBezTo>
                    <a:cubicBezTo>
                      <a:pt x="1209675" y="369570"/>
                      <a:pt x="1212533" y="371475"/>
                      <a:pt x="1210628" y="369570"/>
                    </a:cubicBezTo>
                    <a:cubicBezTo>
                      <a:pt x="1208723" y="367665"/>
                      <a:pt x="1210628" y="367665"/>
                      <a:pt x="1210628" y="367665"/>
                    </a:cubicBezTo>
                    <a:lnTo>
                      <a:pt x="1208723" y="364808"/>
                    </a:lnTo>
                    <a:lnTo>
                      <a:pt x="1203960" y="362903"/>
                    </a:lnTo>
                    <a:lnTo>
                      <a:pt x="1200150" y="362903"/>
                    </a:lnTo>
                    <a:cubicBezTo>
                      <a:pt x="1200150" y="362903"/>
                      <a:pt x="1195388" y="361950"/>
                      <a:pt x="1193483" y="360998"/>
                    </a:cubicBezTo>
                    <a:cubicBezTo>
                      <a:pt x="1190625" y="360045"/>
                      <a:pt x="1188720" y="358140"/>
                      <a:pt x="1188720" y="358140"/>
                    </a:cubicBezTo>
                    <a:lnTo>
                      <a:pt x="1185863" y="355283"/>
                    </a:lnTo>
                    <a:lnTo>
                      <a:pt x="1184910" y="353378"/>
                    </a:lnTo>
                    <a:lnTo>
                      <a:pt x="1185863" y="351473"/>
                    </a:lnTo>
                    <a:lnTo>
                      <a:pt x="1187768" y="347662"/>
                    </a:lnTo>
                    <a:lnTo>
                      <a:pt x="1190625" y="346710"/>
                    </a:lnTo>
                    <a:lnTo>
                      <a:pt x="1196340" y="345758"/>
                    </a:lnTo>
                    <a:lnTo>
                      <a:pt x="1200150" y="345758"/>
                    </a:lnTo>
                    <a:lnTo>
                      <a:pt x="1203960" y="345758"/>
                    </a:lnTo>
                    <a:cubicBezTo>
                      <a:pt x="1203960" y="345758"/>
                      <a:pt x="1207770" y="344805"/>
                      <a:pt x="1207770" y="343853"/>
                    </a:cubicBezTo>
                    <a:cubicBezTo>
                      <a:pt x="1207770" y="342900"/>
                      <a:pt x="1213485" y="343853"/>
                      <a:pt x="1213485" y="343853"/>
                    </a:cubicBezTo>
                    <a:lnTo>
                      <a:pt x="1218248" y="343853"/>
                    </a:lnTo>
                    <a:lnTo>
                      <a:pt x="1221105" y="344805"/>
                    </a:lnTo>
                    <a:lnTo>
                      <a:pt x="1225868" y="348615"/>
                    </a:lnTo>
                    <a:lnTo>
                      <a:pt x="1226820" y="350520"/>
                    </a:lnTo>
                    <a:lnTo>
                      <a:pt x="1227773" y="352425"/>
                    </a:lnTo>
                    <a:cubicBezTo>
                      <a:pt x="1227773" y="352425"/>
                      <a:pt x="1227773" y="352425"/>
                      <a:pt x="1226820" y="356235"/>
                    </a:cubicBezTo>
                    <a:cubicBezTo>
                      <a:pt x="1225868" y="360045"/>
                      <a:pt x="1226820" y="359093"/>
                      <a:pt x="1226820" y="359093"/>
                    </a:cubicBezTo>
                    <a:lnTo>
                      <a:pt x="1232535" y="362903"/>
                    </a:lnTo>
                    <a:cubicBezTo>
                      <a:pt x="1232535" y="362903"/>
                      <a:pt x="1237298" y="364808"/>
                      <a:pt x="1239203" y="364808"/>
                    </a:cubicBezTo>
                    <a:cubicBezTo>
                      <a:pt x="1241108" y="365760"/>
                      <a:pt x="1244918" y="368618"/>
                      <a:pt x="1244918" y="368618"/>
                    </a:cubicBezTo>
                    <a:lnTo>
                      <a:pt x="1245870" y="372427"/>
                    </a:lnTo>
                    <a:lnTo>
                      <a:pt x="1246823" y="375285"/>
                    </a:lnTo>
                    <a:lnTo>
                      <a:pt x="1249680" y="378143"/>
                    </a:lnTo>
                    <a:lnTo>
                      <a:pt x="1250633" y="380048"/>
                    </a:lnTo>
                    <a:lnTo>
                      <a:pt x="1249680" y="384810"/>
                    </a:lnTo>
                    <a:lnTo>
                      <a:pt x="1247775" y="389573"/>
                    </a:lnTo>
                    <a:lnTo>
                      <a:pt x="1244918" y="392430"/>
                    </a:lnTo>
                    <a:cubicBezTo>
                      <a:pt x="1244918" y="392430"/>
                      <a:pt x="1240155" y="392430"/>
                      <a:pt x="1237298" y="392430"/>
                    </a:cubicBezTo>
                    <a:cubicBezTo>
                      <a:pt x="1234440" y="392430"/>
                      <a:pt x="1231583" y="392430"/>
                      <a:pt x="1231583" y="392430"/>
                    </a:cubicBezTo>
                    <a:lnTo>
                      <a:pt x="1225868" y="390525"/>
                    </a:lnTo>
                    <a:cubicBezTo>
                      <a:pt x="1224915" y="391477"/>
                      <a:pt x="1220153" y="382905"/>
                      <a:pt x="1220153" y="380048"/>
                    </a:cubicBezTo>
                    <a:close/>
                  </a:path>
                </a:pathLst>
              </a:custGeom>
              <a:grpFill/>
              <a:ln w="9525" cap="flat">
                <a:noFill/>
                <a:prstDash val="solid"/>
                <a:miter/>
              </a:ln>
            </p:spPr>
            <p:txBody>
              <a:bodyPr rtlCol="0" anchor="ctr"/>
              <a:lstStyle/>
              <a:p>
                <a:endParaRPr lang="en-US" sz="1765"/>
              </a:p>
            </p:txBody>
          </p:sp>
          <p:sp>
            <p:nvSpPr>
              <p:cNvPr id="47" name="Freeform: Shape 46">
                <a:extLst>
                  <a:ext uri="{FF2B5EF4-FFF2-40B4-BE49-F238E27FC236}">
                    <a16:creationId xmlns:a16="http://schemas.microsoft.com/office/drawing/2014/main" id="{0BB2D98E-66D2-47D1-ADE2-E2654AB72323}"/>
                  </a:ext>
                </a:extLst>
              </p:cNvPr>
              <p:cNvSpPr/>
              <p:nvPr/>
            </p:nvSpPr>
            <p:spPr>
              <a:xfrm>
                <a:off x="5442614" y="3186793"/>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cubicBezTo>
                      <a:pt x="0" y="0"/>
                      <a:pt x="0" y="0"/>
                      <a:pt x="0" y="0"/>
                    </a:cubicBezTo>
                    <a:cubicBezTo>
                      <a:pt x="0" y="0"/>
                      <a:pt x="0" y="0"/>
                      <a:pt x="0" y="0"/>
                    </a:cubicBezTo>
                    <a:close/>
                  </a:path>
                </a:pathLst>
              </a:custGeom>
              <a:grpFill/>
              <a:ln w="9525" cap="flat">
                <a:noFill/>
                <a:prstDash val="solid"/>
                <a:miter/>
              </a:ln>
            </p:spPr>
            <p:txBody>
              <a:bodyPr rtlCol="0" anchor="ctr"/>
              <a:lstStyle/>
              <a:p>
                <a:endParaRPr lang="en-US" sz="1765"/>
              </a:p>
            </p:txBody>
          </p:sp>
          <p:sp>
            <p:nvSpPr>
              <p:cNvPr id="48" name="Freeform: Shape 47">
                <a:extLst>
                  <a:ext uri="{FF2B5EF4-FFF2-40B4-BE49-F238E27FC236}">
                    <a16:creationId xmlns:a16="http://schemas.microsoft.com/office/drawing/2014/main" id="{60ABB08D-5385-46EE-B6E9-3B5395844564}"/>
                  </a:ext>
                </a:extLst>
              </p:cNvPr>
              <p:cNvSpPr/>
              <p:nvPr/>
            </p:nvSpPr>
            <p:spPr>
              <a:xfrm>
                <a:off x="9863258" y="4006744"/>
                <a:ext cx="178025" cy="117584"/>
              </a:xfrm>
              <a:custGeom>
                <a:avLst/>
                <a:gdLst>
                  <a:gd name="connsiteX0" fmla="*/ 38008 w 178025"/>
                  <a:gd name="connsiteY0" fmla="*/ 1105 h 117584"/>
                  <a:gd name="connsiteX1" fmla="*/ 28483 w 178025"/>
                  <a:gd name="connsiteY1" fmla="*/ 1105 h 117584"/>
                  <a:gd name="connsiteX2" fmla="*/ 20863 w 178025"/>
                  <a:gd name="connsiteY2" fmla="*/ 1105 h 117584"/>
                  <a:gd name="connsiteX3" fmla="*/ 8480 w 178025"/>
                  <a:gd name="connsiteY3" fmla="*/ 152 h 117584"/>
                  <a:gd name="connsiteX4" fmla="*/ 2765 w 178025"/>
                  <a:gd name="connsiteY4" fmla="*/ 2057 h 117584"/>
                  <a:gd name="connsiteX5" fmla="*/ 2765 w 178025"/>
                  <a:gd name="connsiteY5" fmla="*/ 10630 h 117584"/>
                  <a:gd name="connsiteX6" fmla="*/ 12290 w 178025"/>
                  <a:gd name="connsiteY6" fmla="*/ 15392 h 117584"/>
                  <a:gd name="connsiteX7" fmla="*/ 14195 w 178025"/>
                  <a:gd name="connsiteY7" fmla="*/ 17297 h 117584"/>
                  <a:gd name="connsiteX8" fmla="*/ 29435 w 178025"/>
                  <a:gd name="connsiteY8" fmla="*/ 32537 h 117584"/>
                  <a:gd name="connsiteX9" fmla="*/ 42770 w 178025"/>
                  <a:gd name="connsiteY9" fmla="*/ 38252 h 117584"/>
                  <a:gd name="connsiteX10" fmla="*/ 52295 w 178025"/>
                  <a:gd name="connsiteY10" fmla="*/ 43015 h 117584"/>
                  <a:gd name="connsiteX11" fmla="*/ 58963 w 178025"/>
                  <a:gd name="connsiteY11" fmla="*/ 50635 h 117584"/>
                  <a:gd name="connsiteX12" fmla="*/ 65630 w 178025"/>
                  <a:gd name="connsiteY12" fmla="*/ 61112 h 117584"/>
                  <a:gd name="connsiteX13" fmla="*/ 74203 w 178025"/>
                  <a:gd name="connsiteY13" fmla="*/ 70637 h 117584"/>
                  <a:gd name="connsiteX14" fmla="*/ 84680 w 178025"/>
                  <a:gd name="connsiteY14" fmla="*/ 79210 h 117584"/>
                  <a:gd name="connsiteX15" fmla="*/ 95158 w 178025"/>
                  <a:gd name="connsiteY15" fmla="*/ 84925 h 117584"/>
                  <a:gd name="connsiteX16" fmla="*/ 105635 w 178025"/>
                  <a:gd name="connsiteY16" fmla="*/ 93497 h 117584"/>
                  <a:gd name="connsiteX17" fmla="*/ 119923 w 178025"/>
                  <a:gd name="connsiteY17" fmla="*/ 105880 h 117584"/>
                  <a:gd name="connsiteX18" fmla="*/ 125638 w 178025"/>
                  <a:gd name="connsiteY18" fmla="*/ 109690 h 117584"/>
                  <a:gd name="connsiteX19" fmla="*/ 138020 w 178025"/>
                  <a:gd name="connsiteY19" fmla="*/ 112547 h 117584"/>
                  <a:gd name="connsiteX20" fmla="*/ 145640 w 178025"/>
                  <a:gd name="connsiteY20" fmla="*/ 114452 h 117584"/>
                  <a:gd name="connsiteX21" fmla="*/ 153260 w 178025"/>
                  <a:gd name="connsiteY21" fmla="*/ 116357 h 117584"/>
                  <a:gd name="connsiteX22" fmla="*/ 156118 w 178025"/>
                  <a:gd name="connsiteY22" fmla="*/ 117310 h 117584"/>
                  <a:gd name="connsiteX23" fmla="*/ 167548 w 178025"/>
                  <a:gd name="connsiteY23" fmla="*/ 117310 h 117584"/>
                  <a:gd name="connsiteX24" fmla="*/ 175168 w 178025"/>
                  <a:gd name="connsiteY24" fmla="*/ 116357 h 117584"/>
                  <a:gd name="connsiteX25" fmla="*/ 178025 w 178025"/>
                  <a:gd name="connsiteY25" fmla="*/ 106832 h 117584"/>
                  <a:gd name="connsiteX26" fmla="*/ 175168 w 178025"/>
                  <a:gd name="connsiteY26" fmla="*/ 95402 h 117584"/>
                  <a:gd name="connsiteX27" fmla="*/ 175168 w 178025"/>
                  <a:gd name="connsiteY27" fmla="*/ 90640 h 117584"/>
                  <a:gd name="connsiteX28" fmla="*/ 167548 w 178025"/>
                  <a:gd name="connsiteY28" fmla="*/ 80162 h 117584"/>
                  <a:gd name="connsiteX29" fmla="*/ 155165 w 178025"/>
                  <a:gd name="connsiteY29" fmla="*/ 73495 h 117584"/>
                  <a:gd name="connsiteX30" fmla="*/ 147545 w 178025"/>
                  <a:gd name="connsiteY30" fmla="*/ 68732 h 117584"/>
                  <a:gd name="connsiteX31" fmla="*/ 135163 w 178025"/>
                  <a:gd name="connsiteY31" fmla="*/ 63017 h 117584"/>
                  <a:gd name="connsiteX32" fmla="*/ 125638 w 178025"/>
                  <a:gd name="connsiteY32" fmla="*/ 58255 h 117584"/>
                  <a:gd name="connsiteX33" fmla="*/ 115160 w 178025"/>
                  <a:gd name="connsiteY33" fmla="*/ 51587 h 117584"/>
                  <a:gd name="connsiteX34" fmla="*/ 108493 w 178025"/>
                  <a:gd name="connsiteY34" fmla="*/ 44920 h 117584"/>
                  <a:gd name="connsiteX35" fmla="*/ 98015 w 178025"/>
                  <a:gd name="connsiteY35" fmla="*/ 38252 h 117584"/>
                  <a:gd name="connsiteX36" fmla="*/ 88490 w 178025"/>
                  <a:gd name="connsiteY36" fmla="*/ 32537 h 117584"/>
                  <a:gd name="connsiteX37" fmla="*/ 81823 w 178025"/>
                  <a:gd name="connsiteY37" fmla="*/ 26822 h 117584"/>
                  <a:gd name="connsiteX38" fmla="*/ 69440 w 178025"/>
                  <a:gd name="connsiteY38" fmla="*/ 19202 h 117584"/>
                  <a:gd name="connsiteX39" fmla="*/ 63725 w 178025"/>
                  <a:gd name="connsiteY39" fmla="*/ 17297 h 117584"/>
                  <a:gd name="connsiteX40" fmla="*/ 53248 w 178025"/>
                  <a:gd name="connsiteY40" fmla="*/ 11582 h 117584"/>
                  <a:gd name="connsiteX41" fmla="*/ 50390 w 178025"/>
                  <a:gd name="connsiteY41" fmla="*/ 8725 h 117584"/>
                  <a:gd name="connsiteX42" fmla="*/ 47533 w 178025"/>
                  <a:gd name="connsiteY42" fmla="*/ 4915 h 117584"/>
                  <a:gd name="connsiteX43" fmla="*/ 38008 w 178025"/>
                  <a:gd name="connsiteY43" fmla="*/ 1105 h 11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8025" h="117584">
                    <a:moveTo>
                      <a:pt x="38008" y="1105"/>
                    </a:moveTo>
                    <a:lnTo>
                      <a:pt x="28483" y="1105"/>
                    </a:lnTo>
                    <a:cubicBezTo>
                      <a:pt x="28483" y="1105"/>
                      <a:pt x="25625" y="1105"/>
                      <a:pt x="20863" y="1105"/>
                    </a:cubicBezTo>
                    <a:cubicBezTo>
                      <a:pt x="16100" y="1105"/>
                      <a:pt x="8480" y="152"/>
                      <a:pt x="8480" y="152"/>
                    </a:cubicBezTo>
                    <a:cubicBezTo>
                      <a:pt x="8480" y="152"/>
                      <a:pt x="3718" y="-800"/>
                      <a:pt x="2765" y="2057"/>
                    </a:cubicBezTo>
                    <a:cubicBezTo>
                      <a:pt x="1813" y="4915"/>
                      <a:pt x="-2950" y="6820"/>
                      <a:pt x="2765" y="10630"/>
                    </a:cubicBezTo>
                    <a:cubicBezTo>
                      <a:pt x="8480" y="14440"/>
                      <a:pt x="10385" y="12535"/>
                      <a:pt x="12290" y="15392"/>
                    </a:cubicBezTo>
                    <a:cubicBezTo>
                      <a:pt x="14195" y="17297"/>
                      <a:pt x="9433" y="12535"/>
                      <a:pt x="14195" y="17297"/>
                    </a:cubicBezTo>
                    <a:cubicBezTo>
                      <a:pt x="19910" y="22060"/>
                      <a:pt x="29435" y="32537"/>
                      <a:pt x="29435" y="32537"/>
                    </a:cubicBezTo>
                    <a:cubicBezTo>
                      <a:pt x="29435" y="32537"/>
                      <a:pt x="38960" y="35395"/>
                      <a:pt x="42770" y="38252"/>
                    </a:cubicBezTo>
                    <a:cubicBezTo>
                      <a:pt x="45628" y="41110"/>
                      <a:pt x="50390" y="40157"/>
                      <a:pt x="52295" y="43015"/>
                    </a:cubicBezTo>
                    <a:cubicBezTo>
                      <a:pt x="54200" y="46825"/>
                      <a:pt x="57058" y="45872"/>
                      <a:pt x="58963" y="50635"/>
                    </a:cubicBezTo>
                    <a:cubicBezTo>
                      <a:pt x="60868" y="54445"/>
                      <a:pt x="64678" y="59207"/>
                      <a:pt x="65630" y="61112"/>
                    </a:cubicBezTo>
                    <a:cubicBezTo>
                      <a:pt x="66583" y="63017"/>
                      <a:pt x="72298" y="66827"/>
                      <a:pt x="74203" y="70637"/>
                    </a:cubicBezTo>
                    <a:cubicBezTo>
                      <a:pt x="76108" y="74447"/>
                      <a:pt x="84680" y="79210"/>
                      <a:pt x="84680" y="79210"/>
                    </a:cubicBezTo>
                    <a:cubicBezTo>
                      <a:pt x="84680" y="79210"/>
                      <a:pt x="92300" y="83020"/>
                      <a:pt x="95158" y="84925"/>
                    </a:cubicBezTo>
                    <a:cubicBezTo>
                      <a:pt x="98015" y="86830"/>
                      <a:pt x="100873" y="86830"/>
                      <a:pt x="105635" y="93497"/>
                    </a:cubicBezTo>
                    <a:cubicBezTo>
                      <a:pt x="111350" y="100165"/>
                      <a:pt x="119923" y="105880"/>
                      <a:pt x="119923" y="105880"/>
                    </a:cubicBezTo>
                    <a:cubicBezTo>
                      <a:pt x="119923" y="105880"/>
                      <a:pt x="121828" y="107785"/>
                      <a:pt x="125638" y="109690"/>
                    </a:cubicBezTo>
                    <a:cubicBezTo>
                      <a:pt x="128495" y="111595"/>
                      <a:pt x="138020" y="112547"/>
                      <a:pt x="138020" y="112547"/>
                    </a:cubicBezTo>
                    <a:cubicBezTo>
                      <a:pt x="138020" y="112547"/>
                      <a:pt x="142783" y="113500"/>
                      <a:pt x="145640" y="114452"/>
                    </a:cubicBezTo>
                    <a:cubicBezTo>
                      <a:pt x="148498" y="115405"/>
                      <a:pt x="150403" y="114452"/>
                      <a:pt x="153260" y="116357"/>
                    </a:cubicBezTo>
                    <a:cubicBezTo>
                      <a:pt x="156118" y="117310"/>
                      <a:pt x="151355" y="117310"/>
                      <a:pt x="156118" y="117310"/>
                    </a:cubicBezTo>
                    <a:cubicBezTo>
                      <a:pt x="161833" y="118262"/>
                      <a:pt x="163738" y="116357"/>
                      <a:pt x="167548" y="117310"/>
                    </a:cubicBezTo>
                    <a:cubicBezTo>
                      <a:pt x="170405" y="118262"/>
                      <a:pt x="175168" y="116357"/>
                      <a:pt x="175168" y="116357"/>
                    </a:cubicBezTo>
                    <a:cubicBezTo>
                      <a:pt x="175168" y="116357"/>
                      <a:pt x="178025" y="108737"/>
                      <a:pt x="178025" y="106832"/>
                    </a:cubicBezTo>
                    <a:cubicBezTo>
                      <a:pt x="178025" y="104927"/>
                      <a:pt x="175168" y="95402"/>
                      <a:pt x="175168" y="95402"/>
                    </a:cubicBezTo>
                    <a:cubicBezTo>
                      <a:pt x="175168" y="95402"/>
                      <a:pt x="177073" y="94450"/>
                      <a:pt x="175168" y="90640"/>
                    </a:cubicBezTo>
                    <a:cubicBezTo>
                      <a:pt x="173263" y="86830"/>
                      <a:pt x="167548" y="80162"/>
                      <a:pt x="167548" y="80162"/>
                    </a:cubicBezTo>
                    <a:lnTo>
                      <a:pt x="155165" y="73495"/>
                    </a:lnTo>
                    <a:cubicBezTo>
                      <a:pt x="155165" y="73495"/>
                      <a:pt x="152308" y="71590"/>
                      <a:pt x="147545" y="68732"/>
                    </a:cubicBezTo>
                    <a:cubicBezTo>
                      <a:pt x="142783" y="66827"/>
                      <a:pt x="140878" y="65875"/>
                      <a:pt x="135163" y="63017"/>
                    </a:cubicBezTo>
                    <a:cubicBezTo>
                      <a:pt x="129448" y="60160"/>
                      <a:pt x="125638" y="58255"/>
                      <a:pt x="125638" y="58255"/>
                    </a:cubicBezTo>
                    <a:lnTo>
                      <a:pt x="115160" y="51587"/>
                    </a:lnTo>
                    <a:lnTo>
                      <a:pt x="108493" y="44920"/>
                    </a:lnTo>
                    <a:lnTo>
                      <a:pt x="98015" y="38252"/>
                    </a:lnTo>
                    <a:cubicBezTo>
                      <a:pt x="98015" y="38252"/>
                      <a:pt x="88490" y="34442"/>
                      <a:pt x="88490" y="32537"/>
                    </a:cubicBezTo>
                    <a:cubicBezTo>
                      <a:pt x="88490" y="30632"/>
                      <a:pt x="81823" y="28727"/>
                      <a:pt x="81823" y="26822"/>
                    </a:cubicBezTo>
                    <a:cubicBezTo>
                      <a:pt x="81823" y="24917"/>
                      <a:pt x="69440" y="19202"/>
                      <a:pt x="69440" y="19202"/>
                    </a:cubicBezTo>
                    <a:lnTo>
                      <a:pt x="63725" y="17297"/>
                    </a:lnTo>
                    <a:lnTo>
                      <a:pt x="53248" y="11582"/>
                    </a:lnTo>
                    <a:lnTo>
                      <a:pt x="50390" y="8725"/>
                    </a:lnTo>
                    <a:lnTo>
                      <a:pt x="47533" y="4915"/>
                    </a:lnTo>
                    <a:lnTo>
                      <a:pt x="38008" y="1105"/>
                    </a:lnTo>
                    <a:close/>
                  </a:path>
                </a:pathLst>
              </a:custGeom>
              <a:grpFill/>
              <a:ln w="9525" cap="flat">
                <a:noFill/>
                <a:prstDash val="solid"/>
                <a:miter/>
              </a:ln>
            </p:spPr>
            <p:txBody>
              <a:bodyPr rtlCol="0" anchor="ctr"/>
              <a:lstStyle/>
              <a:p>
                <a:endParaRPr lang="en-US" sz="1765"/>
              </a:p>
            </p:txBody>
          </p:sp>
          <p:sp>
            <p:nvSpPr>
              <p:cNvPr id="49" name="Freeform: Shape 48">
                <a:extLst>
                  <a:ext uri="{FF2B5EF4-FFF2-40B4-BE49-F238E27FC236}">
                    <a16:creationId xmlns:a16="http://schemas.microsoft.com/office/drawing/2014/main" id="{59A09222-CA80-46E1-849B-D707EF15F173}"/>
                  </a:ext>
                </a:extLst>
              </p:cNvPr>
              <p:cNvSpPr/>
              <p:nvPr/>
            </p:nvSpPr>
            <p:spPr>
              <a:xfrm>
                <a:off x="10029642" y="4134861"/>
                <a:ext cx="180234" cy="32329"/>
              </a:xfrm>
              <a:custGeom>
                <a:avLst/>
                <a:gdLst>
                  <a:gd name="connsiteX0" fmla="*/ 68792 w 180234"/>
                  <a:gd name="connsiteY0" fmla="*/ 6337 h 32329"/>
                  <a:gd name="connsiteX1" fmla="*/ 62124 w 180234"/>
                  <a:gd name="connsiteY1" fmla="*/ 4432 h 32329"/>
                  <a:gd name="connsiteX2" fmla="*/ 34502 w 180234"/>
                  <a:gd name="connsiteY2" fmla="*/ 1575 h 32329"/>
                  <a:gd name="connsiteX3" fmla="*/ 24977 w 180234"/>
                  <a:gd name="connsiteY3" fmla="*/ 622 h 32329"/>
                  <a:gd name="connsiteX4" fmla="*/ 17357 w 180234"/>
                  <a:gd name="connsiteY4" fmla="*/ 622 h 32329"/>
                  <a:gd name="connsiteX5" fmla="*/ 5927 w 180234"/>
                  <a:gd name="connsiteY5" fmla="*/ 1575 h 32329"/>
                  <a:gd name="connsiteX6" fmla="*/ 2117 w 180234"/>
                  <a:gd name="connsiteY6" fmla="*/ 8242 h 32329"/>
                  <a:gd name="connsiteX7" fmla="*/ 2117 w 180234"/>
                  <a:gd name="connsiteY7" fmla="*/ 12052 h 32329"/>
                  <a:gd name="connsiteX8" fmla="*/ 2117 w 180234"/>
                  <a:gd name="connsiteY8" fmla="*/ 12052 h 32329"/>
                  <a:gd name="connsiteX9" fmla="*/ 10689 w 180234"/>
                  <a:gd name="connsiteY9" fmla="*/ 13957 h 32329"/>
                  <a:gd name="connsiteX10" fmla="*/ 13547 w 180234"/>
                  <a:gd name="connsiteY10" fmla="*/ 14910 h 32329"/>
                  <a:gd name="connsiteX11" fmla="*/ 26882 w 180234"/>
                  <a:gd name="connsiteY11" fmla="*/ 17767 h 32329"/>
                  <a:gd name="connsiteX12" fmla="*/ 39264 w 180234"/>
                  <a:gd name="connsiteY12" fmla="*/ 19672 h 32329"/>
                  <a:gd name="connsiteX13" fmla="*/ 60219 w 180234"/>
                  <a:gd name="connsiteY13" fmla="*/ 19672 h 32329"/>
                  <a:gd name="connsiteX14" fmla="*/ 70697 w 180234"/>
                  <a:gd name="connsiteY14" fmla="*/ 22530 h 32329"/>
                  <a:gd name="connsiteX15" fmla="*/ 86889 w 180234"/>
                  <a:gd name="connsiteY15" fmla="*/ 28245 h 32329"/>
                  <a:gd name="connsiteX16" fmla="*/ 115464 w 180234"/>
                  <a:gd name="connsiteY16" fmla="*/ 30150 h 32329"/>
                  <a:gd name="connsiteX17" fmla="*/ 127847 w 180234"/>
                  <a:gd name="connsiteY17" fmla="*/ 30150 h 32329"/>
                  <a:gd name="connsiteX18" fmla="*/ 150707 w 180234"/>
                  <a:gd name="connsiteY18" fmla="*/ 32055 h 32329"/>
                  <a:gd name="connsiteX19" fmla="*/ 164042 w 180234"/>
                  <a:gd name="connsiteY19" fmla="*/ 32055 h 32329"/>
                  <a:gd name="connsiteX20" fmla="*/ 176424 w 180234"/>
                  <a:gd name="connsiteY20" fmla="*/ 30150 h 32329"/>
                  <a:gd name="connsiteX21" fmla="*/ 179282 w 180234"/>
                  <a:gd name="connsiteY21" fmla="*/ 29197 h 32329"/>
                  <a:gd name="connsiteX22" fmla="*/ 180234 w 180234"/>
                  <a:gd name="connsiteY22" fmla="*/ 25387 h 32329"/>
                  <a:gd name="connsiteX23" fmla="*/ 180234 w 180234"/>
                  <a:gd name="connsiteY23" fmla="*/ 21577 h 32329"/>
                  <a:gd name="connsiteX24" fmla="*/ 163089 w 180234"/>
                  <a:gd name="connsiteY24" fmla="*/ 17767 h 32329"/>
                  <a:gd name="connsiteX25" fmla="*/ 151659 w 180234"/>
                  <a:gd name="connsiteY25" fmla="*/ 16814 h 32329"/>
                  <a:gd name="connsiteX26" fmla="*/ 128799 w 180234"/>
                  <a:gd name="connsiteY26" fmla="*/ 12052 h 32329"/>
                  <a:gd name="connsiteX27" fmla="*/ 117369 w 180234"/>
                  <a:gd name="connsiteY27" fmla="*/ 11100 h 32329"/>
                  <a:gd name="connsiteX28" fmla="*/ 103082 w 180234"/>
                  <a:gd name="connsiteY28" fmla="*/ 12052 h 32329"/>
                  <a:gd name="connsiteX29" fmla="*/ 68792 w 180234"/>
                  <a:gd name="connsiteY29" fmla="*/ 6337 h 3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234" h="32329">
                    <a:moveTo>
                      <a:pt x="68792" y="6337"/>
                    </a:moveTo>
                    <a:lnTo>
                      <a:pt x="62124" y="4432"/>
                    </a:lnTo>
                    <a:lnTo>
                      <a:pt x="34502" y="1575"/>
                    </a:lnTo>
                    <a:cubicBezTo>
                      <a:pt x="34502" y="1575"/>
                      <a:pt x="27834" y="-330"/>
                      <a:pt x="24977" y="622"/>
                    </a:cubicBezTo>
                    <a:cubicBezTo>
                      <a:pt x="22119" y="1575"/>
                      <a:pt x="17357" y="622"/>
                      <a:pt x="17357" y="622"/>
                    </a:cubicBezTo>
                    <a:cubicBezTo>
                      <a:pt x="17357" y="622"/>
                      <a:pt x="5927" y="-1283"/>
                      <a:pt x="5927" y="1575"/>
                    </a:cubicBezTo>
                    <a:cubicBezTo>
                      <a:pt x="5927" y="3480"/>
                      <a:pt x="2117" y="4432"/>
                      <a:pt x="2117" y="8242"/>
                    </a:cubicBezTo>
                    <a:cubicBezTo>
                      <a:pt x="2117" y="12052"/>
                      <a:pt x="2117" y="12052"/>
                      <a:pt x="2117" y="12052"/>
                    </a:cubicBezTo>
                    <a:cubicBezTo>
                      <a:pt x="2117" y="12052"/>
                      <a:pt x="-2646" y="10147"/>
                      <a:pt x="2117" y="12052"/>
                    </a:cubicBezTo>
                    <a:cubicBezTo>
                      <a:pt x="6879" y="13957"/>
                      <a:pt x="7832" y="13005"/>
                      <a:pt x="10689" y="13957"/>
                    </a:cubicBezTo>
                    <a:cubicBezTo>
                      <a:pt x="13547" y="14910"/>
                      <a:pt x="8784" y="14910"/>
                      <a:pt x="13547" y="14910"/>
                    </a:cubicBezTo>
                    <a:cubicBezTo>
                      <a:pt x="19262" y="14910"/>
                      <a:pt x="22119" y="15862"/>
                      <a:pt x="26882" y="17767"/>
                    </a:cubicBezTo>
                    <a:cubicBezTo>
                      <a:pt x="31644" y="19672"/>
                      <a:pt x="35454" y="19672"/>
                      <a:pt x="39264" y="19672"/>
                    </a:cubicBezTo>
                    <a:cubicBezTo>
                      <a:pt x="42122" y="20625"/>
                      <a:pt x="58314" y="17767"/>
                      <a:pt x="60219" y="19672"/>
                    </a:cubicBezTo>
                    <a:cubicBezTo>
                      <a:pt x="62124" y="21577"/>
                      <a:pt x="67839" y="20625"/>
                      <a:pt x="70697" y="22530"/>
                    </a:cubicBezTo>
                    <a:cubicBezTo>
                      <a:pt x="73554" y="24435"/>
                      <a:pt x="81174" y="27292"/>
                      <a:pt x="86889" y="28245"/>
                    </a:cubicBezTo>
                    <a:cubicBezTo>
                      <a:pt x="92604" y="29197"/>
                      <a:pt x="115464" y="30150"/>
                      <a:pt x="115464" y="30150"/>
                    </a:cubicBezTo>
                    <a:cubicBezTo>
                      <a:pt x="115464" y="30150"/>
                      <a:pt x="110702" y="28245"/>
                      <a:pt x="127847" y="30150"/>
                    </a:cubicBezTo>
                    <a:cubicBezTo>
                      <a:pt x="144039" y="32055"/>
                      <a:pt x="146897" y="32055"/>
                      <a:pt x="150707" y="32055"/>
                    </a:cubicBezTo>
                    <a:cubicBezTo>
                      <a:pt x="155469" y="33007"/>
                      <a:pt x="160232" y="31102"/>
                      <a:pt x="164042" y="32055"/>
                    </a:cubicBezTo>
                    <a:cubicBezTo>
                      <a:pt x="166899" y="33007"/>
                      <a:pt x="172614" y="31102"/>
                      <a:pt x="176424" y="30150"/>
                    </a:cubicBezTo>
                    <a:cubicBezTo>
                      <a:pt x="179282" y="29197"/>
                      <a:pt x="179282" y="29197"/>
                      <a:pt x="179282" y="29197"/>
                    </a:cubicBezTo>
                    <a:lnTo>
                      <a:pt x="180234" y="25387"/>
                    </a:lnTo>
                    <a:lnTo>
                      <a:pt x="180234" y="21577"/>
                    </a:lnTo>
                    <a:lnTo>
                      <a:pt x="163089" y="17767"/>
                    </a:lnTo>
                    <a:lnTo>
                      <a:pt x="151659" y="16814"/>
                    </a:lnTo>
                    <a:cubicBezTo>
                      <a:pt x="151659" y="16814"/>
                      <a:pt x="134514" y="12052"/>
                      <a:pt x="128799" y="12052"/>
                    </a:cubicBezTo>
                    <a:cubicBezTo>
                      <a:pt x="123084" y="12052"/>
                      <a:pt x="123084" y="11100"/>
                      <a:pt x="117369" y="11100"/>
                    </a:cubicBezTo>
                    <a:cubicBezTo>
                      <a:pt x="111654" y="11100"/>
                      <a:pt x="103082" y="12052"/>
                      <a:pt x="103082" y="12052"/>
                    </a:cubicBezTo>
                    <a:lnTo>
                      <a:pt x="68792" y="6337"/>
                    </a:lnTo>
                    <a:close/>
                  </a:path>
                </a:pathLst>
              </a:custGeom>
              <a:grpFill/>
              <a:ln w="9525" cap="flat">
                <a:noFill/>
                <a:prstDash val="solid"/>
                <a:miter/>
              </a:ln>
            </p:spPr>
            <p:txBody>
              <a:bodyPr rtlCol="0" anchor="ctr"/>
              <a:lstStyle/>
              <a:p>
                <a:endParaRPr lang="en-US" sz="1765"/>
              </a:p>
            </p:txBody>
          </p:sp>
          <p:sp>
            <p:nvSpPr>
              <p:cNvPr id="50" name="Freeform: Shape 49">
                <a:extLst>
                  <a:ext uri="{FF2B5EF4-FFF2-40B4-BE49-F238E27FC236}">
                    <a16:creationId xmlns:a16="http://schemas.microsoft.com/office/drawing/2014/main" id="{8A957847-AA8C-4E29-97A8-D91C6CB637F9}"/>
                  </a:ext>
                </a:extLst>
              </p:cNvPr>
              <p:cNvSpPr/>
              <p:nvPr/>
            </p:nvSpPr>
            <p:spPr>
              <a:xfrm>
                <a:off x="10098539" y="3994514"/>
                <a:ext cx="184679" cy="121708"/>
              </a:xfrm>
              <a:custGeom>
                <a:avLst/>
                <a:gdLst>
                  <a:gd name="connsiteX0" fmla="*/ 36089 w 184679"/>
                  <a:gd name="connsiteY0" fmla="*/ 51435 h 121708"/>
                  <a:gd name="connsiteX1" fmla="*/ 20849 w 184679"/>
                  <a:gd name="connsiteY1" fmla="*/ 56198 h 121708"/>
                  <a:gd name="connsiteX2" fmla="*/ 11324 w 184679"/>
                  <a:gd name="connsiteY2" fmla="*/ 56198 h 121708"/>
                  <a:gd name="connsiteX3" fmla="*/ 8467 w 184679"/>
                  <a:gd name="connsiteY3" fmla="*/ 57150 h 121708"/>
                  <a:gd name="connsiteX4" fmla="*/ 847 w 184679"/>
                  <a:gd name="connsiteY4" fmla="*/ 67627 h 121708"/>
                  <a:gd name="connsiteX5" fmla="*/ 847 w 184679"/>
                  <a:gd name="connsiteY5" fmla="*/ 74295 h 121708"/>
                  <a:gd name="connsiteX6" fmla="*/ 2752 w 184679"/>
                  <a:gd name="connsiteY6" fmla="*/ 77152 h 121708"/>
                  <a:gd name="connsiteX7" fmla="*/ 9419 w 184679"/>
                  <a:gd name="connsiteY7" fmla="*/ 83820 h 121708"/>
                  <a:gd name="connsiteX8" fmla="*/ 12277 w 184679"/>
                  <a:gd name="connsiteY8" fmla="*/ 91440 h 121708"/>
                  <a:gd name="connsiteX9" fmla="*/ 11324 w 184679"/>
                  <a:gd name="connsiteY9" fmla="*/ 100965 h 121708"/>
                  <a:gd name="connsiteX10" fmla="*/ 17039 w 184679"/>
                  <a:gd name="connsiteY10" fmla="*/ 106680 h 121708"/>
                  <a:gd name="connsiteX11" fmla="*/ 33232 w 184679"/>
                  <a:gd name="connsiteY11" fmla="*/ 112395 h 121708"/>
                  <a:gd name="connsiteX12" fmla="*/ 38947 w 184679"/>
                  <a:gd name="connsiteY12" fmla="*/ 114300 h 121708"/>
                  <a:gd name="connsiteX13" fmla="*/ 54187 w 184679"/>
                  <a:gd name="connsiteY13" fmla="*/ 113348 h 121708"/>
                  <a:gd name="connsiteX14" fmla="*/ 57997 w 184679"/>
                  <a:gd name="connsiteY14" fmla="*/ 113348 h 121708"/>
                  <a:gd name="connsiteX15" fmla="*/ 67522 w 184679"/>
                  <a:gd name="connsiteY15" fmla="*/ 112395 h 121708"/>
                  <a:gd name="connsiteX16" fmla="*/ 80857 w 184679"/>
                  <a:gd name="connsiteY16" fmla="*/ 114300 h 121708"/>
                  <a:gd name="connsiteX17" fmla="*/ 89429 w 184679"/>
                  <a:gd name="connsiteY17" fmla="*/ 119062 h 121708"/>
                  <a:gd name="connsiteX18" fmla="*/ 95144 w 184679"/>
                  <a:gd name="connsiteY18" fmla="*/ 120015 h 121708"/>
                  <a:gd name="connsiteX19" fmla="*/ 110384 w 184679"/>
                  <a:gd name="connsiteY19" fmla="*/ 120015 h 121708"/>
                  <a:gd name="connsiteX20" fmla="*/ 116099 w 184679"/>
                  <a:gd name="connsiteY20" fmla="*/ 120015 h 121708"/>
                  <a:gd name="connsiteX21" fmla="*/ 120862 w 184679"/>
                  <a:gd name="connsiteY21" fmla="*/ 108585 h 121708"/>
                  <a:gd name="connsiteX22" fmla="*/ 120862 w 184679"/>
                  <a:gd name="connsiteY22" fmla="*/ 100965 h 121708"/>
                  <a:gd name="connsiteX23" fmla="*/ 127529 w 184679"/>
                  <a:gd name="connsiteY23" fmla="*/ 97155 h 121708"/>
                  <a:gd name="connsiteX24" fmla="*/ 141817 w 184679"/>
                  <a:gd name="connsiteY24" fmla="*/ 89535 h 121708"/>
                  <a:gd name="connsiteX25" fmla="*/ 147532 w 184679"/>
                  <a:gd name="connsiteY25" fmla="*/ 80962 h 121708"/>
                  <a:gd name="connsiteX26" fmla="*/ 148484 w 184679"/>
                  <a:gd name="connsiteY26" fmla="*/ 77152 h 121708"/>
                  <a:gd name="connsiteX27" fmla="*/ 153247 w 184679"/>
                  <a:gd name="connsiteY27" fmla="*/ 75248 h 121708"/>
                  <a:gd name="connsiteX28" fmla="*/ 159914 w 184679"/>
                  <a:gd name="connsiteY28" fmla="*/ 68580 h 121708"/>
                  <a:gd name="connsiteX29" fmla="*/ 161819 w 184679"/>
                  <a:gd name="connsiteY29" fmla="*/ 61912 h 121708"/>
                  <a:gd name="connsiteX30" fmla="*/ 160867 w 184679"/>
                  <a:gd name="connsiteY30" fmla="*/ 53340 h 121708"/>
                  <a:gd name="connsiteX31" fmla="*/ 157057 w 184679"/>
                  <a:gd name="connsiteY31" fmla="*/ 44768 h 121708"/>
                  <a:gd name="connsiteX32" fmla="*/ 155151 w 184679"/>
                  <a:gd name="connsiteY32" fmla="*/ 40005 h 121708"/>
                  <a:gd name="connsiteX33" fmla="*/ 157057 w 184679"/>
                  <a:gd name="connsiteY33" fmla="*/ 35243 h 121708"/>
                  <a:gd name="connsiteX34" fmla="*/ 162772 w 184679"/>
                  <a:gd name="connsiteY34" fmla="*/ 31432 h 121708"/>
                  <a:gd name="connsiteX35" fmla="*/ 167534 w 184679"/>
                  <a:gd name="connsiteY35" fmla="*/ 29527 h 121708"/>
                  <a:gd name="connsiteX36" fmla="*/ 175154 w 184679"/>
                  <a:gd name="connsiteY36" fmla="*/ 26670 h 121708"/>
                  <a:gd name="connsiteX37" fmla="*/ 183726 w 184679"/>
                  <a:gd name="connsiteY37" fmla="*/ 22860 h 121708"/>
                  <a:gd name="connsiteX38" fmla="*/ 184679 w 184679"/>
                  <a:gd name="connsiteY38" fmla="*/ 16193 h 121708"/>
                  <a:gd name="connsiteX39" fmla="*/ 177059 w 184679"/>
                  <a:gd name="connsiteY39" fmla="*/ 12382 h 121708"/>
                  <a:gd name="connsiteX40" fmla="*/ 169439 w 184679"/>
                  <a:gd name="connsiteY40" fmla="*/ 12382 h 121708"/>
                  <a:gd name="connsiteX41" fmla="*/ 156104 w 184679"/>
                  <a:gd name="connsiteY41" fmla="*/ 5715 h 121708"/>
                  <a:gd name="connsiteX42" fmla="*/ 154199 w 184679"/>
                  <a:gd name="connsiteY42" fmla="*/ 1905 h 121708"/>
                  <a:gd name="connsiteX43" fmla="*/ 141817 w 184679"/>
                  <a:gd name="connsiteY43" fmla="*/ 0 h 121708"/>
                  <a:gd name="connsiteX44" fmla="*/ 131339 w 184679"/>
                  <a:gd name="connsiteY44" fmla="*/ 4763 h 121708"/>
                  <a:gd name="connsiteX45" fmla="*/ 126576 w 184679"/>
                  <a:gd name="connsiteY45" fmla="*/ 8573 h 121708"/>
                  <a:gd name="connsiteX46" fmla="*/ 118957 w 184679"/>
                  <a:gd name="connsiteY46" fmla="*/ 19050 h 121708"/>
                  <a:gd name="connsiteX47" fmla="*/ 98954 w 184679"/>
                  <a:gd name="connsiteY47" fmla="*/ 27623 h 121708"/>
                  <a:gd name="connsiteX48" fmla="*/ 90382 w 184679"/>
                  <a:gd name="connsiteY48" fmla="*/ 33337 h 121708"/>
                  <a:gd name="connsiteX49" fmla="*/ 85619 w 184679"/>
                  <a:gd name="connsiteY49" fmla="*/ 36195 h 121708"/>
                  <a:gd name="connsiteX50" fmla="*/ 63712 w 184679"/>
                  <a:gd name="connsiteY50" fmla="*/ 39052 h 121708"/>
                  <a:gd name="connsiteX51" fmla="*/ 58949 w 184679"/>
                  <a:gd name="connsiteY51" fmla="*/ 42862 h 121708"/>
                  <a:gd name="connsiteX52" fmla="*/ 57997 w 184679"/>
                  <a:gd name="connsiteY52" fmla="*/ 45720 h 121708"/>
                  <a:gd name="connsiteX53" fmla="*/ 50377 w 184679"/>
                  <a:gd name="connsiteY53" fmla="*/ 52387 h 121708"/>
                  <a:gd name="connsiteX54" fmla="*/ 36089 w 184679"/>
                  <a:gd name="connsiteY54" fmla="*/ 51435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79" h="121708">
                    <a:moveTo>
                      <a:pt x="36089" y="51435"/>
                    </a:moveTo>
                    <a:lnTo>
                      <a:pt x="20849" y="56198"/>
                    </a:lnTo>
                    <a:cubicBezTo>
                      <a:pt x="20849" y="56198"/>
                      <a:pt x="14182" y="55245"/>
                      <a:pt x="11324" y="56198"/>
                    </a:cubicBezTo>
                    <a:cubicBezTo>
                      <a:pt x="8467" y="57150"/>
                      <a:pt x="10372" y="54293"/>
                      <a:pt x="8467" y="57150"/>
                    </a:cubicBezTo>
                    <a:cubicBezTo>
                      <a:pt x="6562" y="60007"/>
                      <a:pt x="847" y="65723"/>
                      <a:pt x="847" y="67627"/>
                    </a:cubicBezTo>
                    <a:cubicBezTo>
                      <a:pt x="847" y="69532"/>
                      <a:pt x="-1058" y="71437"/>
                      <a:pt x="847" y="74295"/>
                    </a:cubicBezTo>
                    <a:cubicBezTo>
                      <a:pt x="2752" y="77152"/>
                      <a:pt x="-1058" y="72390"/>
                      <a:pt x="2752" y="77152"/>
                    </a:cubicBezTo>
                    <a:cubicBezTo>
                      <a:pt x="6562" y="80962"/>
                      <a:pt x="8467" y="80010"/>
                      <a:pt x="9419" y="83820"/>
                    </a:cubicBezTo>
                    <a:cubicBezTo>
                      <a:pt x="10372" y="87630"/>
                      <a:pt x="12277" y="86677"/>
                      <a:pt x="12277" y="91440"/>
                    </a:cubicBezTo>
                    <a:cubicBezTo>
                      <a:pt x="12277" y="96202"/>
                      <a:pt x="11324" y="100965"/>
                      <a:pt x="11324" y="100965"/>
                    </a:cubicBezTo>
                    <a:lnTo>
                      <a:pt x="17039" y="106680"/>
                    </a:lnTo>
                    <a:cubicBezTo>
                      <a:pt x="17039" y="106680"/>
                      <a:pt x="27517" y="111443"/>
                      <a:pt x="33232" y="112395"/>
                    </a:cubicBezTo>
                    <a:cubicBezTo>
                      <a:pt x="38947" y="114300"/>
                      <a:pt x="38947" y="114300"/>
                      <a:pt x="38947" y="114300"/>
                    </a:cubicBezTo>
                    <a:cubicBezTo>
                      <a:pt x="38947" y="114300"/>
                      <a:pt x="51329" y="113348"/>
                      <a:pt x="54187" y="113348"/>
                    </a:cubicBezTo>
                    <a:cubicBezTo>
                      <a:pt x="57997" y="113348"/>
                      <a:pt x="52282" y="114300"/>
                      <a:pt x="57997" y="113348"/>
                    </a:cubicBezTo>
                    <a:cubicBezTo>
                      <a:pt x="63712" y="112395"/>
                      <a:pt x="67522" y="112395"/>
                      <a:pt x="67522" y="112395"/>
                    </a:cubicBezTo>
                    <a:lnTo>
                      <a:pt x="80857" y="114300"/>
                    </a:lnTo>
                    <a:lnTo>
                      <a:pt x="89429" y="119062"/>
                    </a:lnTo>
                    <a:cubicBezTo>
                      <a:pt x="89429" y="119062"/>
                      <a:pt x="91334" y="119062"/>
                      <a:pt x="95144" y="120015"/>
                    </a:cubicBezTo>
                    <a:cubicBezTo>
                      <a:pt x="98002" y="120968"/>
                      <a:pt x="104669" y="120015"/>
                      <a:pt x="110384" y="120015"/>
                    </a:cubicBezTo>
                    <a:cubicBezTo>
                      <a:pt x="116099" y="120015"/>
                      <a:pt x="112289" y="123825"/>
                      <a:pt x="116099" y="120015"/>
                    </a:cubicBezTo>
                    <a:cubicBezTo>
                      <a:pt x="119909" y="116205"/>
                      <a:pt x="120862" y="108585"/>
                      <a:pt x="120862" y="108585"/>
                    </a:cubicBezTo>
                    <a:lnTo>
                      <a:pt x="120862" y="100965"/>
                    </a:lnTo>
                    <a:lnTo>
                      <a:pt x="127529" y="97155"/>
                    </a:lnTo>
                    <a:cubicBezTo>
                      <a:pt x="134197" y="93345"/>
                      <a:pt x="138959" y="91440"/>
                      <a:pt x="141817" y="89535"/>
                    </a:cubicBezTo>
                    <a:cubicBezTo>
                      <a:pt x="145626" y="87630"/>
                      <a:pt x="147532" y="80962"/>
                      <a:pt x="147532" y="80962"/>
                    </a:cubicBezTo>
                    <a:lnTo>
                      <a:pt x="148484" y="77152"/>
                    </a:lnTo>
                    <a:cubicBezTo>
                      <a:pt x="148484" y="77152"/>
                      <a:pt x="148484" y="76200"/>
                      <a:pt x="153247" y="75248"/>
                    </a:cubicBezTo>
                    <a:cubicBezTo>
                      <a:pt x="158009" y="74295"/>
                      <a:pt x="158962" y="70485"/>
                      <a:pt x="159914" y="68580"/>
                    </a:cubicBezTo>
                    <a:cubicBezTo>
                      <a:pt x="160867" y="66675"/>
                      <a:pt x="161819" y="64770"/>
                      <a:pt x="161819" y="61912"/>
                    </a:cubicBezTo>
                    <a:cubicBezTo>
                      <a:pt x="161819" y="59055"/>
                      <a:pt x="160867" y="53340"/>
                      <a:pt x="160867" y="53340"/>
                    </a:cubicBezTo>
                    <a:lnTo>
                      <a:pt x="157057" y="44768"/>
                    </a:lnTo>
                    <a:lnTo>
                      <a:pt x="155151" y="40005"/>
                    </a:lnTo>
                    <a:cubicBezTo>
                      <a:pt x="155151" y="40005"/>
                      <a:pt x="152294" y="38100"/>
                      <a:pt x="157057" y="35243"/>
                    </a:cubicBezTo>
                    <a:cubicBezTo>
                      <a:pt x="162772" y="31432"/>
                      <a:pt x="162772" y="31432"/>
                      <a:pt x="162772" y="31432"/>
                    </a:cubicBezTo>
                    <a:cubicBezTo>
                      <a:pt x="162772" y="31432"/>
                      <a:pt x="163724" y="30480"/>
                      <a:pt x="167534" y="29527"/>
                    </a:cubicBezTo>
                    <a:cubicBezTo>
                      <a:pt x="170392" y="28575"/>
                      <a:pt x="172297" y="26670"/>
                      <a:pt x="175154" y="26670"/>
                    </a:cubicBezTo>
                    <a:cubicBezTo>
                      <a:pt x="178012" y="26670"/>
                      <a:pt x="182774" y="26670"/>
                      <a:pt x="183726" y="22860"/>
                    </a:cubicBezTo>
                    <a:cubicBezTo>
                      <a:pt x="184679" y="19050"/>
                      <a:pt x="184679" y="16193"/>
                      <a:pt x="184679" y="16193"/>
                    </a:cubicBezTo>
                    <a:cubicBezTo>
                      <a:pt x="181822" y="13335"/>
                      <a:pt x="177059" y="12382"/>
                      <a:pt x="177059" y="12382"/>
                    </a:cubicBezTo>
                    <a:cubicBezTo>
                      <a:pt x="177059" y="12382"/>
                      <a:pt x="172297" y="12382"/>
                      <a:pt x="169439" y="12382"/>
                    </a:cubicBezTo>
                    <a:cubicBezTo>
                      <a:pt x="166582" y="12382"/>
                      <a:pt x="156104" y="5715"/>
                      <a:pt x="156104" y="5715"/>
                    </a:cubicBezTo>
                    <a:lnTo>
                      <a:pt x="154199" y="1905"/>
                    </a:lnTo>
                    <a:lnTo>
                      <a:pt x="141817" y="0"/>
                    </a:lnTo>
                    <a:lnTo>
                      <a:pt x="131339" y="4763"/>
                    </a:lnTo>
                    <a:cubicBezTo>
                      <a:pt x="131339" y="4763"/>
                      <a:pt x="126576" y="4763"/>
                      <a:pt x="126576" y="8573"/>
                    </a:cubicBezTo>
                    <a:cubicBezTo>
                      <a:pt x="126576" y="12382"/>
                      <a:pt x="125624" y="15240"/>
                      <a:pt x="118957" y="19050"/>
                    </a:cubicBezTo>
                    <a:cubicBezTo>
                      <a:pt x="112289" y="22860"/>
                      <a:pt x="98954" y="27623"/>
                      <a:pt x="98954" y="27623"/>
                    </a:cubicBezTo>
                    <a:cubicBezTo>
                      <a:pt x="97049" y="31432"/>
                      <a:pt x="94192" y="30480"/>
                      <a:pt x="90382" y="33337"/>
                    </a:cubicBezTo>
                    <a:cubicBezTo>
                      <a:pt x="85619" y="36195"/>
                      <a:pt x="98002" y="34290"/>
                      <a:pt x="85619" y="36195"/>
                    </a:cubicBezTo>
                    <a:cubicBezTo>
                      <a:pt x="73237" y="38100"/>
                      <a:pt x="63712" y="37148"/>
                      <a:pt x="63712" y="39052"/>
                    </a:cubicBezTo>
                    <a:cubicBezTo>
                      <a:pt x="63712" y="40957"/>
                      <a:pt x="60854" y="40005"/>
                      <a:pt x="58949" y="42862"/>
                    </a:cubicBezTo>
                    <a:cubicBezTo>
                      <a:pt x="57997" y="45720"/>
                      <a:pt x="65617" y="39052"/>
                      <a:pt x="57997" y="45720"/>
                    </a:cubicBezTo>
                    <a:cubicBezTo>
                      <a:pt x="50377" y="52387"/>
                      <a:pt x="50377" y="52387"/>
                      <a:pt x="50377" y="52387"/>
                    </a:cubicBezTo>
                    <a:lnTo>
                      <a:pt x="36089" y="51435"/>
                    </a:lnTo>
                    <a:close/>
                  </a:path>
                </a:pathLst>
              </a:custGeom>
              <a:grpFill/>
              <a:ln w="9525" cap="flat">
                <a:noFill/>
                <a:prstDash val="solid"/>
                <a:miter/>
              </a:ln>
            </p:spPr>
            <p:txBody>
              <a:bodyPr rtlCol="0" anchor="ctr"/>
              <a:lstStyle/>
              <a:p>
                <a:endParaRPr lang="en-US" sz="1765"/>
              </a:p>
            </p:txBody>
          </p:sp>
          <p:sp>
            <p:nvSpPr>
              <p:cNvPr id="51" name="Freeform: Shape 50">
                <a:extLst>
                  <a:ext uri="{FF2B5EF4-FFF2-40B4-BE49-F238E27FC236}">
                    <a16:creationId xmlns:a16="http://schemas.microsoft.com/office/drawing/2014/main" id="{378A2351-D210-4DEF-9292-E194A4C09812}"/>
                  </a:ext>
                </a:extLst>
              </p:cNvPr>
              <p:cNvSpPr/>
              <p:nvPr/>
            </p:nvSpPr>
            <p:spPr>
              <a:xfrm>
                <a:off x="10261229" y="4082144"/>
                <a:ext cx="82949" cy="53339"/>
              </a:xfrm>
              <a:custGeom>
                <a:avLst/>
                <a:gdLst>
                  <a:gd name="connsiteX0" fmla="*/ 76282 w 82949"/>
                  <a:gd name="connsiteY0" fmla="*/ 0 h 53339"/>
                  <a:gd name="connsiteX1" fmla="*/ 53422 w 82949"/>
                  <a:gd name="connsiteY1" fmla="*/ 2857 h 53339"/>
                  <a:gd name="connsiteX2" fmla="*/ 41992 w 82949"/>
                  <a:gd name="connsiteY2" fmla="*/ 3810 h 53339"/>
                  <a:gd name="connsiteX3" fmla="*/ 16274 w 82949"/>
                  <a:gd name="connsiteY3" fmla="*/ 3810 h 53339"/>
                  <a:gd name="connsiteX4" fmla="*/ 7702 w 82949"/>
                  <a:gd name="connsiteY4" fmla="*/ 8572 h 53339"/>
                  <a:gd name="connsiteX5" fmla="*/ 82 w 82949"/>
                  <a:gd name="connsiteY5" fmla="*/ 18097 h 53339"/>
                  <a:gd name="connsiteX6" fmla="*/ 1035 w 82949"/>
                  <a:gd name="connsiteY6" fmla="*/ 20002 h 53339"/>
                  <a:gd name="connsiteX7" fmla="*/ 8654 w 82949"/>
                  <a:gd name="connsiteY7" fmla="*/ 26670 h 53339"/>
                  <a:gd name="connsiteX8" fmla="*/ 10560 w 82949"/>
                  <a:gd name="connsiteY8" fmla="*/ 31432 h 53339"/>
                  <a:gd name="connsiteX9" fmla="*/ 8654 w 82949"/>
                  <a:gd name="connsiteY9" fmla="*/ 38100 h 53339"/>
                  <a:gd name="connsiteX10" fmla="*/ 4845 w 82949"/>
                  <a:gd name="connsiteY10" fmla="*/ 45720 h 53339"/>
                  <a:gd name="connsiteX11" fmla="*/ 3892 w 82949"/>
                  <a:gd name="connsiteY11" fmla="*/ 50482 h 53339"/>
                  <a:gd name="connsiteX12" fmla="*/ 10560 w 82949"/>
                  <a:gd name="connsiteY12" fmla="*/ 53340 h 53339"/>
                  <a:gd name="connsiteX13" fmla="*/ 19132 w 82949"/>
                  <a:gd name="connsiteY13" fmla="*/ 53340 h 53339"/>
                  <a:gd name="connsiteX14" fmla="*/ 23895 w 82949"/>
                  <a:gd name="connsiteY14" fmla="*/ 52388 h 53339"/>
                  <a:gd name="connsiteX15" fmla="*/ 21990 w 82949"/>
                  <a:gd name="connsiteY15" fmla="*/ 44767 h 53339"/>
                  <a:gd name="connsiteX16" fmla="*/ 24847 w 82949"/>
                  <a:gd name="connsiteY16" fmla="*/ 36195 h 53339"/>
                  <a:gd name="connsiteX17" fmla="*/ 28657 w 82949"/>
                  <a:gd name="connsiteY17" fmla="*/ 32385 h 53339"/>
                  <a:gd name="connsiteX18" fmla="*/ 37229 w 82949"/>
                  <a:gd name="connsiteY18" fmla="*/ 32385 h 53339"/>
                  <a:gd name="connsiteX19" fmla="*/ 42945 w 82949"/>
                  <a:gd name="connsiteY19" fmla="*/ 31432 h 53339"/>
                  <a:gd name="connsiteX20" fmla="*/ 45802 w 82949"/>
                  <a:gd name="connsiteY20" fmla="*/ 35242 h 53339"/>
                  <a:gd name="connsiteX21" fmla="*/ 49612 w 82949"/>
                  <a:gd name="connsiteY21" fmla="*/ 41910 h 53339"/>
                  <a:gd name="connsiteX22" fmla="*/ 57232 w 82949"/>
                  <a:gd name="connsiteY22" fmla="*/ 48577 h 53339"/>
                  <a:gd name="connsiteX23" fmla="*/ 62947 w 82949"/>
                  <a:gd name="connsiteY23" fmla="*/ 50482 h 53339"/>
                  <a:gd name="connsiteX24" fmla="*/ 67710 w 82949"/>
                  <a:gd name="connsiteY24" fmla="*/ 50482 h 53339"/>
                  <a:gd name="connsiteX25" fmla="*/ 69615 w 82949"/>
                  <a:gd name="connsiteY25" fmla="*/ 43815 h 53339"/>
                  <a:gd name="connsiteX26" fmla="*/ 75329 w 82949"/>
                  <a:gd name="connsiteY26" fmla="*/ 42863 h 53339"/>
                  <a:gd name="connsiteX27" fmla="*/ 81045 w 82949"/>
                  <a:gd name="connsiteY27" fmla="*/ 41910 h 53339"/>
                  <a:gd name="connsiteX28" fmla="*/ 81997 w 82949"/>
                  <a:gd name="connsiteY28" fmla="*/ 32385 h 53339"/>
                  <a:gd name="connsiteX29" fmla="*/ 82949 w 82949"/>
                  <a:gd name="connsiteY29" fmla="*/ 28575 h 53339"/>
                  <a:gd name="connsiteX30" fmla="*/ 81045 w 82949"/>
                  <a:gd name="connsiteY30" fmla="*/ 24765 h 53339"/>
                  <a:gd name="connsiteX31" fmla="*/ 70567 w 82949"/>
                  <a:gd name="connsiteY31" fmla="*/ 20002 h 53339"/>
                  <a:gd name="connsiteX32" fmla="*/ 64852 w 82949"/>
                  <a:gd name="connsiteY32" fmla="*/ 14288 h 53339"/>
                  <a:gd name="connsiteX33" fmla="*/ 71520 w 82949"/>
                  <a:gd name="connsiteY33" fmla="*/ 8572 h 53339"/>
                  <a:gd name="connsiteX34" fmla="*/ 76282 w 82949"/>
                  <a:gd name="connsiteY34" fmla="*/ 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949" h="53339">
                    <a:moveTo>
                      <a:pt x="76282" y="0"/>
                    </a:moveTo>
                    <a:cubicBezTo>
                      <a:pt x="76282" y="0"/>
                      <a:pt x="56279" y="1905"/>
                      <a:pt x="53422" y="2857"/>
                    </a:cubicBezTo>
                    <a:cubicBezTo>
                      <a:pt x="49612" y="3810"/>
                      <a:pt x="41992" y="3810"/>
                      <a:pt x="41992" y="3810"/>
                    </a:cubicBezTo>
                    <a:lnTo>
                      <a:pt x="16274" y="3810"/>
                    </a:lnTo>
                    <a:cubicBezTo>
                      <a:pt x="10560" y="4763"/>
                      <a:pt x="8654" y="5715"/>
                      <a:pt x="7702" y="8572"/>
                    </a:cubicBezTo>
                    <a:cubicBezTo>
                      <a:pt x="6749" y="11430"/>
                      <a:pt x="-871" y="15240"/>
                      <a:pt x="82" y="18097"/>
                    </a:cubicBezTo>
                    <a:cubicBezTo>
                      <a:pt x="1035" y="20002"/>
                      <a:pt x="1035" y="20002"/>
                      <a:pt x="1035" y="20002"/>
                    </a:cubicBezTo>
                    <a:lnTo>
                      <a:pt x="8654" y="26670"/>
                    </a:lnTo>
                    <a:lnTo>
                      <a:pt x="10560" y="31432"/>
                    </a:lnTo>
                    <a:cubicBezTo>
                      <a:pt x="10560" y="31432"/>
                      <a:pt x="10560" y="34290"/>
                      <a:pt x="8654" y="38100"/>
                    </a:cubicBezTo>
                    <a:cubicBezTo>
                      <a:pt x="6749" y="41910"/>
                      <a:pt x="6749" y="43815"/>
                      <a:pt x="4845" y="45720"/>
                    </a:cubicBezTo>
                    <a:cubicBezTo>
                      <a:pt x="3892" y="47625"/>
                      <a:pt x="3892" y="50482"/>
                      <a:pt x="3892" y="50482"/>
                    </a:cubicBezTo>
                    <a:lnTo>
                      <a:pt x="10560" y="53340"/>
                    </a:lnTo>
                    <a:lnTo>
                      <a:pt x="19132" y="53340"/>
                    </a:lnTo>
                    <a:lnTo>
                      <a:pt x="23895" y="52388"/>
                    </a:lnTo>
                    <a:lnTo>
                      <a:pt x="21990" y="44767"/>
                    </a:lnTo>
                    <a:lnTo>
                      <a:pt x="24847" y="36195"/>
                    </a:lnTo>
                    <a:lnTo>
                      <a:pt x="28657" y="32385"/>
                    </a:lnTo>
                    <a:lnTo>
                      <a:pt x="37229" y="32385"/>
                    </a:lnTo>
                    <a:lnTo>
                      <a:pt x="42945" y="31432"/>
                    </a:lnTo>
                    <a:cubicBezTo>
                      <a:pt x="42945" y="31432"/>
                      <a:pt x="44849" y="33338"/>
                      <a:pt x="45802" y="35242"/>
                    </a:cubicBezTo>
                    <a:cubicBezTo>
                      <a:pt x="46754" y="37147"/>
                      <a:pt x="47707" y="39052"/>
                      <a:pt x="49612" y="41910"/>
                    </a:cubicBezTo>
                    <a:cubicBezTo>
                      <a:pt x="51517" y="45720"/>
                      <a:pt x="57232" y="48577"/>
                      <a:pt x="57232" y="48577"/>
                    </a:cubicBezTo>
                    <a:lnTo>
                      <a:pt x="62947" y="50482"/>
                    </a:lnTo>
                    <a:lnTo>
                      <a:pt x="67710" y="50482"/>
                    </a:lnTo>
                    <a:cubicBezTo>
                      <a:pt x="67710" y="50482"/>
                      <a:pt x="64852" y="45720"/>
                      <a:pt x="69615" y="43815"/>
                    </a:cubicBezTo>
                    <a:cubicBezTo>
                      <a:pt x="75329" y="42863"/>
                      <a:pt x="75329" y="42863"/>
                      <a:pt x="75329" y="42863"/>
                    </a:cubicBezTo>
                    <a:lnTo>
                      <a:pt x="81045" y="41910"/>
                    </a:lnTo>
                    <a:lnTo>
                      <a:pt x="81997" y="32385"/>
                    </a:lnTo>
                    <a:lnTo>
                      <a:pt x="82949" y="28575"/>
                    </a:lnTo>
                    <a:lnTo>
                      <a:pt x="81045" y="24765"/>
                    </a:lnTo>
                    <a:lnTo>
                      <a:pt x="70567" y="20002"/>
                    </a:lnTo>
                    <a:lnTo>
                      <a:pt x="64852" y="14288"/>
                    </a:lnTo>
                    <a:cubicBezTo>
                      <a:pt x="64852" y="14288"/>
                      <a:pt x="68662" y="10477"/>
                      <a:pt x="71520" y="8572"/>
                    </a:cubicBezTo>
                    <a:cubicBezTo>
                      <a:pt x="73424" y="6667"/>
                      <a:pt x="76282" y="0"/>
                      <a:pt x="76282" y="0"/>
                    </a:cubicBezTo>
                    <a:close/>
                  </a:path>
                </a:pathLst>
              </a:custGeom>
              <a:grpFill/>
              <a:ln w="9525" cap="flat">
                <a:noFill/>
                <a:prstDash val="solid"/>
                <a:miter/>
              </a:ln>
            </p:spPr>
            <p:txBody>
              <a:bodyPr rtlCol="0" anchor="ctr"/>
              <a:lstStyle/>
              <a:p>
                <a:endParaRPr lang="en-US" sz="1765"/>
              </a:p>
            </p:txBody>
          </p:sp>
          <p:sp>
            <p:nvSpPr>
              <p:cNvPr id="52" name="Freeform: Shape 51">
                <a:extLst>
                  <a:ext uri="{FF2B5EF4-FFF2-40B4-BE49-F238E27FC236}">
                    <a16:creationId xmlns:a16="http://schemas.microsoft.com/office/drawing/2014/main" id="{B5340F61-72D8-4376-A3F3-63B049750B87}"/>
                  </a:ext>
                </a:extLst>
              </p:cNvPr>
              <p:cNvSpPr/>
              <p:nvPr/>
            </p:nvSpPr>
            <p:spPr>
              <a:xfrm>
                <a:off x="10282596" y="4057140"/>
                <a:ext cx="88252" cy="16430"/>
              </a:xfrm>
              <a:custGeom>
                <a:avLst/>
                <a:gdLst>
                  <a:gd name="connsiteX0" fmla="*/ 83490 w 88252"/>
                  <a:gd name="connsiteY0" fmla="*/ 7858 h 16430"/>
                  <a:gd name="connsiteX1" fmla="*/ 69202 w 88252"/>
                  <a:gd name="connsiteY1" fmla="*/ 12621 h 16430"/>
                  <a:gd name="connsiteX2" fmla="*/ 51105 w 88252"/>
                  <a:gd name="connsiteY2" fmla="*/ 13573 h 16430"/>
                  <a:gd name="connsiteX3" fmla="*/ 34912 w 88252"/>
                  <a:gd name="connsiteY3" fmla="*/ 13573 h 16430"/>
                  <a:gd name="connsiteX4" fmla="*/ 16815 w 88252"/>
                  <a:gd name="connsiteY4" fmla="*/ 16431 h 16430"/>
                  <a:gd name="connsiteX5" fmla="*/ 4432 w 88252"/>
                  <a:gd name="connsiteY5" fmla="*/ 16431 h 16430"/>
                  <a:gd name="connsiteX6" fmla="*/ 622 w 88252"/>
                  <a:gd name="connsiteY6" fmla="*/ 10716 h 16430"/>
                  <a:gd name="connsiteX7" fmla="*/ 1574 w 88252"/>
                  <a:gd name="connsiteY7" fmla="*/ 7858 h 16430"/>
                  <a:gd name="connsiteX8" fmla="*/ 4432 w 88252"/>
                  <a:gd name="connsiteY8" fmla="*/ 7858 h 16430"/>
                  <a:gd name="connsiteX9" fmla="*/ 15862 w 88252"/>
                  <a:gd name="connsiteY9" fmla="*/ 5953 h 16430"/>
                  <a:gd name="connsiteX10" fmla="*/ 32055 w 88252"/>
                  <a:gd name="connsiteY10" fmla="*/ 4048 h 16430"/>
                  <a:gd name="connsiteX11" fmla="*/ 45390 w 88252"/>
                  <a:gd name="connsiteY11" fmla="*/ 238 h 16430"/>
                  <a:gd name="connsiteX12" fmla="*/ 53962 w 88252"/>
                  <a:gd name="connsiteY12" fmla="*/ 1191 h 16430"/>
                  <a:gd name="connsiteX13" fmla="*/ 68249 w 88252"/>
                  <a:gd name="connsiteY13" fmla="*/ 2143 h 16430"/>
                  <a:gd name="connsiteX14" fmla="*/ 80632 w 88252"/>
                  <a:gd name="connsiteY14" fmla="*/ 238 h 16430"/>
                  <a:gd name="connsiteX15" fmla="*/ 88252 w 88252"/>
                  <a:gd name="connsiteY15" fmla="*/ 238 h 16430"/>
                  <a:gd name="connsiteX16" fmla="*/ 83490 w 88252"/>
                  <a:gd name="connsiteY16" fmla="*/ 7858 h 1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252" h="16430">
                    <a:moveTo>
                      <a:pt x="83490" y="7858"/>
                    </a:moveTo>
                    <a:cubicBezTo>
                      <a:pt x="83490" y="7858"/>
                      <a:pt x="74917" y="11668"/>
                      <a:pt x="69202" y="12621"/>
                    </a:cubicBezTo>
                    <a:cubicBezTo>
                      <a:pt x="63487" y="13573"/>
                      <a:pt x="56819" y="13573"/>
                      <a:pt x="51105" y="13573"/>
                    </a:cubicBezTo>
                    <a:cubicBezTo>
                      <a:pt x="45390" y="13573"/>
                      <a:pt x="38722" y="12621"/>
                      <a:pt x="34912" y="13573"/>
                    </a:cubicBezTo>
                    <a:cubicBezTo>
                      <a:pt x="30149" y="14526"/>
                      <a:pt x="16815" y="16431"/>
                      <a:pt x="16815" y="16431"/>
                    </a:cubicBezTo>
                    <a:lnTo>
                      <a:pt x="4432" y="16431"/>
                    </a:lnTo>
                    <a:lnTo>
                      <a:pt x="622" y="10716"/>
                    </a:lnTo>
                    <a:cubicBezTo>
                      <a:pt x="622" y="10716"/>
                      <a:pt x="-1283" y="7858"/>
                      <a:pt x="1574" y="7858"/>
                    </a:cubicBezTo>
                    <a:cubicBezTo>
                      <a:pt x="4432" y="7858"/>
                      <a:pt x="622" y="8811"/>
                      <a:pt x="4432" y="7858"/>
                    </a:cubicBezTo>
                    <a:cubicBezTo>
                      <a:pt x="9194" y="6906"/>
                      <a:pt x="15862" y="5953"/>
                      <a:pt x="15862" y="5953"/>
                    </a:cubicBezTo>
                    <a:lnTo>
                      <a:pt x="32055" y="4048"/>
                    </a:lnTo>
                    <a:lnTo>
                      <a:pt x="45390" y="238"/>
                    </a:lnTo>
                    <a:cubicBezTo>
                      <a:pt x="45390" y="238"/>
                      <a:pt x="47294" y="-714"/>
                      <a:pt x="53962" y="1191"/>
                    </a:cubicBezTo>
                    <a:cubicBezTo>
                      <a:pt x="60630" y="3096"/>
                      <a:pt x="62535" y="2143"/>
                      <a:pt x="68249" y="2143"/>
                    </a:cubicBezTo>
                    <a:cubicBezTo>
                      <a:pt x="73965" y="2143"/>
                      <a:pt x="80632" y="238"/>
                      <a:pt x="80632" y="238"/>
                    </a:cubicBezTo>
                    <a:lnTo>
                      <a:pt x="88252" y="238"/>
                    </a:lnTo>
                    <a:lnTo>
                      <a:pt x="83490" y="7858"/>
                    </a:lnTo>
                    <a:close/>
                  </a:path>
                </a:pathLst>
              </a:custGeom>
              <a:grpFill/>
              <a:ln w="9525" cap="flat">
                <a:noFill/>
                <a:prstDash val="solid"/>
                <a:miter/>
              </a:ln>
            </p:spPr>
            <p:txBody>
              <a:bodyPr rtlCol="0" anchor="ctr"/>
              <a:lstStyle/>
              <a:p>
                <a:endParaRPr lang="en-US" sz="1765"/>
              </a:p>
            </p:txBody>
          </p:sp>
          <p:sp>
            <p:nvSpPr>
              <p:cNvPr id="53" name="Freeform: Shape 52">
                <a:extLst>
                  <a:ext uri="{FF2B5EF4-FFF2-40B4-BE49-F238E27FC236}">
                    <a16:creationId xmlns:a16="http://schemas.microsoft.com/office/drawing/2014/main" id="{AA3248A0-B972-415B-8966-403B2868E56A}"/>
                  </a:ext>
                </a:extLst>
              </p:cNvPr>
              <p:cNvSpPr/>
              <p:nvPr/>
            </p:nvSpPr>
            <p:spPr>
              <a:xfrm>
                <a:off x="10345817" y="4157391"/>
                <a:ext cx="73609" cy="38100"/>
              </a:xfrm>
              <a:custGeom>
                <a:avLst/>
                <a:gdLst>
                  <a:gd name="connsiteX0" fmla="*/ 54559 w 73609"/>
                  <a:gd name="connsiteY0" fmla="*/ 4763 h 38100"/>
                  <a:gd name="connsiteX1" fmla="*/ 45986 w 73609"/>
                  <a:gd name="connsiteY1" fmla="*/ 8572 h 38100"/>
                  <a:gd name="connsiteX2" fmla="*/ 37414 w 73609"/>
                  <a:gd name="connsiteY2" fmla="*/ 10478 h 38100"/>
                  <a:gd name="connsiteX3" fmla="*/ 34557 w 73609"/>
                  <a:gd name="connsiteY3" fmla="*/ 10478 h 38100"/>
                  <a:gd name="connsiteX4" fmla="*/ 29794 w 73609"/>
                  <a:gd name="connsiteY4" fmla="*/ 14288 h 38100"/>
                  <a:gd name="connsiteX5" fmla="*/ 9792 w 73609"/>
                  <a:gd name="connsiteY5" fmla="*/ 20003 h 38100"/>
                  <a:gd name="connsiteX6" fmla="*/ 8839 w 73609"/>
                  <a:gd name="connsiteY6" fmla="*/ 21908 h 38100"/>
                  <a:gd name="connsiteX7" fmla="*/ 1219 w 73609"/>
                  <a:gd name="connsiteY7" fmla="*/ 28575 h 38100"/>
                  <a:gd name="connsiteX8" fmla="*/ 267 w 73609"/>
                  <a:gd name="connsiteY8" fmla="*/ 32385 h 38100"/>
                  <a:gd name="connsiteX9" fmla="*/ 8839 w 73609"/>
                  <a:gd name="connsiteY9" fmla="*/ 38100 h 38100"/>
                  <a:gd name="connsiteX10" fmla="*/ 17411 w 73609"/>
                  <a:gd name="connsiteY10" fmla="*/ 35242 h 38100"/>
                  <a:gd name="connsiteX11" fmla="*/ 23127 w 73609"/>
                  <a:gd name="connsiteY11" fmla="*/ 25717 h 38100"/>
                  <a:gd name="connsiteX12" fmla="*/ 29794 w 73609"/>
                  <a:gd name="connsiteY12" fmla="*/ 19050 h 38100"/>
                  <a:gd name="connsiteX13" fmla="*/ 36461 w 73609"/>
                  <a:gd name="connsiteY13" fmla="*/ 19050 h 38100"/>
                  <a:gd name="connsiteX14" fmla="*/ 55511 w 73609"/>
                  <a:gd name="connsiteY14" fmla="*/ 15240 h 38100"/>
                  <a:gd name="connsiteX15" fmla="*/ 59322 w 73609"/>
                  <a:gd name="connsiteY15" fmla="*/ 12383 h 38100"/>
                  <a:gd name="connsiteX16" fmla="*/ 72657 w 73609"/>
                  <a:gd name="connsiteY16" fmla="*/ 8572 h 38100"/>
                  <a:gd name="connsiteX17" fmla="*/ 73609 w 73609"/>
                  <a:gd name="connsiteY17" fmla="*/ 4763 h 38100"/>
                  <a:gd name="connsiteX18" fmla="*/ 66942 w 73609"/>
                  <a:gd name="connsiteY18" fmla="*/ 0 h 38100"/>
                  <a:gd name="connsiteX19" fmla="*/ 54559 w 73609"/>
                  <a:gd name="connsiteY19" fmla="*/ 47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09" h="38100">
                    <a:moveTo>
                      <a:pt x="54559" y="4763"/>
                    </a:moveTo>
                    <a:cubicBezTo>
                      <a:pt x="54559" y="4763"/>
                      <a:pt x="47892" y="5715"/>
                      <a:pt x="45986" y="8572"/>
                    </a:cubicBezTo>
                    <a:cubicBezTo>
                      <a:pt x="44082" y="10478"/>
                      <a:pt x="40272" y="10478"/>
                      <a:pt x="37414" y="10478"/>
                    </a:cubicBezTo>
                    <a:cubicBezTo>
                      <a:pt x="34557" y="10478"/>
                      <a:pt x="38367" y="6667"/>
                      <a:pt x="34557" y="10478"/>
                    </a:cubicBezTo>
                    <a:cubicBezTo>
                      <a:pt x="29794" y="14288"/>
                      <a:pt x="41224" y="12383"/>
                      <a:pt x="29794" y="14288"/>
                    </a:cubicBezTo>
                    <a:cubicBezTo>
                      <a:pt x="18364" y="17145"/>
                      <a:pt x="10744" y="18097"/>
                      <a:pt x="9792" y="20003"/>
                    </a:cubicBezTo>
                    <a:cubicBezTo>
                      <a:pt x="8839" y="21908"/>
                      <a:pt x="12649" y="19050"/>
                      <a:pt x="8839" y="21908"/>
                    </a:cubicBezTo>
                    <a:cubicBezTo>
                      <a:pt x="4077" y="24765"/>
                      <a:pt x="1219" y="28575"/>
                      <a:pt x="1219" y="28575"/>
                    </a:cubicBezTo>
                    <a:cubicBezTo>
                      <a:pt x="1219" y="28575"/>
                      <a:pt x="-686" y="28575"/>
                      <a:pt x="267" y="32385"/>
                    </a:cubicBezTo>
                    <a:cubicBezTo>
                      <a:pt x="1219" y="36195"/>
                      <a:pt x="8839" y="38100"/>
                      <a:pt x="8839" y="38100"/>
                    </a:cubicBezTo>
                    <a:cubicBezTo>
                      <a:pt x="8839" y="38100"/>
                      <a:pt x="15507" y="38100"/>
                      <a:pt x="17411" y="35242"/>
                    </a:cubicBezTo>
                    <a:cubicBezTo>
                      <a:pt x="19317" y="32385"/>
                      <a:pt x="21222" y="29528"/>
                      <a:pt x="23127" y="25717"/>
                    </a:cubicBezTo>
                    <a:cubicBezTo>
                      <a:pt x="25032" y="21908"/>
                      <a:pt x="29794" y="19050"/>
                      <a:pt x="29794" y="19050"/>
                    </a:cubicBezTo>
                    <a:lnTo>
                      <a:pt x="36461" y="19050"/>
                    </a:lnTo>
                    <a:lnTo>
                      <a:pt x="55511" y="15240"/>
                    </a:lnTo>
                    <a:lnTo>
                      <a:pt x="59322" y="12383"/>
                    </a:lnTo>
                    <a:lnTo>
                      <a:pt x="72657" y="8572"/>
                    </a:lnTo>
                    <a:lnTo>
                      <a:pt x="73609" y="4763"/>
                    </a:lnTo>
                    <a:lnTo>
                      <a:pt x="66942" y="0"/>
                    </a:lnTo>
                    <a:lnTo>
                      <a:pt x="54559" y="4763"/>
                    </a:lnTo>
                    <a:close/>
                  </a:path>
                </a:pathLst>
              </a:custGeom>
              <a:grpFill/>
              <a:ln w="9525" cap="flat">
                <a:noFill/>
                <a:prstDash val="solid"/>
                <a:miter/>
              </a:ln>
            </p:spPr>
            <p:txBody>
              <a:bodyPr rtlCol="0" anchor="ctr"/>
              <a:lstStyle/>
              <a:p>
                <a:endParaRPr lang="en-US" sz="1765"/>
              </a:p>
            </p:txBody>
          </p:sp>
          <p:sp>
            <p:nvSpPr>
              <p:cNvPr id="54" name="Freeform: Shape 53">
                <a:extLst>
                  <a:ext uri="{FF2B5EF4-FFF2-40B4-BE49-F238E27FC236}">
                    <a16:creationId xmlns:a16="http://schemas.microsoft.com/office/drawing/2014/main" id="{1AD2861C-29EE-46FF-8F52-E2EF9A3033A2}"/>
                  </a:ext>
                </a:extLst>
              </p:cNvPr>
              <p:cNvSpPr/>
              <p:nvPr/>
            </p:nvSpPr>
            <p:spPr>
              <a:xfrm>
                <a:off x="10318778" y="3951228"/>
                <a:ext cx="81597" cy="61383"/>
              </a:xfrm>
              <a:custGeom>
                <a:avLst/>
                <a:gdLst>
                  <a:gd name="connsiteX0" fmla="*/ 79692 w 81597"/>
                  <a:gd name="connsiteY0" fmla="*/ 49001 h 61383"/>
                  <a:gd name="connsiteX1" fmla="*/ 74930 w 81597"/>
                  <a:gd name="connsiteY1" fmla="*/ 53763 h 61383"/>
                  <a:gd name="connsiteX2" fmla="*/ 70167 w 81597"/>
                  <a:gd name="connsiteY2" fmla="*/ 59478 h 61383"/>
                  <a:gd name="connsiteX3" fmla="*/ 56833 w 81597"/>
                  <a:gd name="connsiteY3" fmla="*/ 61383 h 61383"/>
                  <a:gd name="connsiteX4" fmla="*/ 50165 w 81597"/>
                  <a:gd name="connsiteY4" fmla="*/ 58526 h 61383"/>
                  <a:gd name="connsiteX5" fmla="*/ 49212 w 81597"/>
                  <a:gd name="connsiteY5" fmla="*/ 54716 h 61383"/>
                  <a:gd name="connsiteX6" fmla="*/ 45403 w 81597"/>
                  <a:gd name="connsiteY6" fmla="*/ 49001 h 61383"/>
                  <a:gd name="connsiteX7" fmla="*/ 42545 w 81597"/>
                  <a:gd name="connsiteY7" fmla="*/ 43286 h 61383"/>
                  <a:gd name="connsiteX8" fmla="*/ 37783 w 81597"/>
                  <a:gd name="connsiteY8" fmla="*/ 41381 h 61383"/>
                  <a:gd name="connsiteX9" fmla="*/ 31115 w 81597"/>
                  <a:gd name="connsiteY9" fmla="*/ 41381 h 61383"/>
                  <a:gd name="connsiteX10" fmla="*/ 23495 w 81597"/>
                  <a:gd name="connsiteY10" fmla="*/ 44238 h 61383"/>
                  <a:gd name="connsiteX11" fmla="*/ 12065 w 81597"/>
                  <a:gd name="connsiteY11" fmla="*/ 44238 h 61383"/>
                  <a:gd name="connsiteX12" fmla="*/ 2540 w 81597"/>
                  <a:gd name="connsiteY12" fmla="*/ 40428 h 61383"/>
                  <a:gd name="connsiteX13" fmla="*/ 2540 w 81597"/>
                  <a:gd name="connsiteY13" fmla="*/ 30903 h 61383"/>
                  <a:gd name="connsiteX14" fmla="*/ 14923 w 81597"/>
                  <a:gd name="connsiteY14" fmla="*/ 28998 h 61383"/>
                  <a:gd name="connsiteX15" fmla="*/ 20637 w 81597"/>
                  <a:gd name="connsiteY15" fmla="*/ 28998 h 61383"/>
                  <a:gd name="connsiteX16" fmla="*/ 19685 w 81597"/>
                  <a:gd name="connsiteY16" fmla="*/ 19473 h 61383"/>
                  <a:gd name="connsiteX17" fmla="*/ 13017 w 81597"/>
                  <a:gd name="connsiteY17" fmla="*/ 12806 h 61383"/>
                  <a:gd name="connsiteX18" fmla="*/ 2540 w 81597"/>
                  <a:gd name="connsiteY18" fmla="*/ 6138 h 61383"/>
                  <a:gd name="connsiteX19" fmla="*/ 1587 w 81597"/>
                  <a:gd name="connsiteY19" fmla="*/ 2328 h 61383"/>
                  <a:gd name="connsiteX20" fmla="*/ 9208 w 81597"/>
                  <a:gd name="connsiteY20" fmla="*/ 423 h 61383"/>
                  <a:gd name="connsiteX21" fmla="*/ 13970 w 81597"/>
                  <a:gd name="connsiteY21" fmla="*/ 423 h 61383"/>
                  <a:gd name="connsiteX22" fmla="*/ 29210 w 81597"/>
                  <a:gd name="connsiteY22" fmla="*/ 1376 h 61383"/>
                  <a:gd name="connsiteX23" fmla="*/ 31115 w 81597"/>
                  <a:gd name="connsiteY23" fmla="*/ 5186 h 61383"/>
                  <a:gd name="connsiteX24" fmla="*/ 40640 w 81597"/>
                  <a:gd name="connsiteY24" fmla="*/ 13758 h 61383"/>
                  <a:gd name="connsiteX25" fmla="*/ 54928 w 81597"/>
                  <a:gd name="connsiteY25" fmla="*/ 15663 h 61383"/>
                  <a:gd name="connsiteX26" fmla="*/ 64453 w 81597"/>
                  <a:gd name="connsiteY26" fmla="*/ 15663 h 61383"/>
                  <a:gd name="connsiteX27" fmla="*/ 72073 w 81597"/>
                  <a:gd name="connsiteY27" fmla="*/ 16616 h 61383"/>
                  <a:gd name="connsiteX28" fmla="*/ 81598 w 81597"/>
                  <a:gd name="connsiteY28" fmla="*/ 24236 h 61383"/>
                  <a:gd name="connsiteX29" fmla="*/ 81598 w 81597"/>
                  <a:gd name="connsiteY29" fmla="*/ 29951 h 61383"/>
                  <a:gd name="connsiteX30" fmla="*/ 81598 w 81597"/>
                  <a:gd name="connsiteY30" fmla="*/ 33761 h 61383"/>
                  <a:gd name="connsiteX31" fmla="*/ 79692 w 81597"/>
                  <a:gd name="connsiteY31" fmla="*/ 39476 h 61383"/>
                  <a:gd name="connsiteX32" fmla="*/ 79692 w 81597"/>
                  <a:gd name="connsiteY32" fmla="*/ 49001 h 6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597" h="61383">
                    <a:moveTo>
                      <a:pt x="79692" y="49001"/>
                    </a:moveTo>
                    <a:cubicBezTo>
                      <a:pt x="79692" y="49001"/>
                      <a:pt x="74930" y="50906"/>
                      <a:pt x="74930" y="53763"/>
                    </a:cubicBezTo>
                    <a:cubicBezTo>
                      <a:pt x="74930" y="56621"/>
                      <a:pt x="76835" y="57573"/>
                      <a:pt x="70167" y="59478"/>
                    </a:cubicBezTo>
                    <a:cubicBezTo>
                      <a:pt x="63500" y="61383"/>
                      <a:pt x="56833" y="61383"/>
                      <a:pt x="56833" y="61383"/>
                    </a:cubicBezTo>
                    <a:lnTo>
                      <a:pt x="50165" y="58526"/>
                    </a:lnTo>
                    <a:lnTo>
                      <a:pt x="49212" y="54716"/>
                    </a:lnTo>
                    <a:lnTo>
                      <a:pt x="45403" y="49001"/>
                    </a:lnTo>
                    <a:lnTo>
                      <a:pt x="42545" y="43286"/>
                    </a:lnTo>
                    <a:lnTo>
                      <a:pt x="37783" y="41381"/>
                    </a:lnTo>
                    <a:lnTo>
                      <a:pt x="31115" y="41381"/>
                    </a:lnTo>
                    <a:lnTo>
                      <a:pt x="23495" y="44238"/>
                    </a:lnTo>
                    <a:lnTo>
                      <a:pt x="12065" y="44238"/>
                    </a:lnTo>
                    <a:cubicBezTo>
                      <a:pt x="12065" y="44238"/>
                      <a:pt x="2540" y="42333"/>
                      <a:pt x="2540" y="40428"/>
                    </a:cubicBezTo>
                    <a:cubicBezTo>
                      <a:pt x="2540" y="38523"/>
                      <a:pt x="-3175" y="30903"/>
                      <a:pt x="2540" y="30903"/>
                    </a:cubicBezTo>
                    <a:cubicBezTo>
                      <a:pt x="8255" y="30903"/>
                      <a:pt x="9208" y="28998"/>
                      <a:pt x="14923" y="28998"/>
                    </a:cubicBezTo>
                    <a:cubicBezTo>
                      <a:pt x="20637" y="28998"/>
                      <a:pt x="20637" y="28998"/>
                      <a:pt x="20637" y="28998"/>
                    </a:cubicBezTo>
                    <a:lnTo>
                      <a:pt x="19685" y="19473"/>
                    </a:lnTo>
                    <a:lnTo>
                      <a:pt x="13017" y="12806"/>
                    </a:lnTo>
                    <a:lnTo>
                      <a:pt x="2540" y="6138"/>
                    </a:lnTo>
                    <a:lnTo>
                      <a:pt x="1587" y="2328"/>
                    </a:lnTo>
                    <a:lnTo>
                      <a:pt x="9208" y="423"/>
                    </a:lnTo>
                    <a:cubicBezTo>
                      <a:pt x="9208" y="423"/>
                      <a:pt x="8255" y="-529"/>
                      <a:pt x="13970" y="423"/>
                    </a:cubicBezTo>
                    <a:cubicBezTo>
                      <a:pt x="19685" y="1376"/>
                      <a:pt x="29210" y="1376"/>
                      <a:pt x="29210" y="1376"/>
                    </a:cubicBezTo>
                    <a:cubicBezTo>
                      <a:pt x="29210" y="1376"/>
                      <a:pt x="28258" y="2328"/>
                      <a:pt x="31115" y="5186"/>
                    </a:cubicBezTo>
                    <a:cubicBezTo>
                      <a:pt x="33973" y="8043"/>
                      <a:pt x="36830" y="12806"/>
                      <a:pt x="40640" y="13758"/>
                    </a:cubicBezTo>
                    <a:cubicBezTo>
                      <a:pt x="45403" y="14711"/>
                      <a:pt x="54928" y="15663"/>
                      <a:pt x="54928" y="15663"/>
                    </a:cubicBezTo>
                    <a:lnTo>
                      <a:pt x="64453" y="15663"/>
                    </a:lnTo>
                    <a:cubicBezTo>
                      <a:pt x="64453" y="15663"/>
                      <a:pt x="65405" y="13758"/>
                      <a:pt x="72073" y="16616"/>
                    </a:cubicBezTo>
                    <a:cubicBezTo>
                      <a:pt x="78740" y="19473"/>
                      <a:pt x="81598" y="21378"/>
                      <a:pt x="81598" y="24236"/>
                    </a:cubicBezTo>
                    <a:cubicBezTo>
                      <a:pt x="81598" y="27093"/>
                      <a:pt x="81598" y="25188"/>
                      <a:pt x="81598" y="29951"/>
                    </a:cubicBezTo>
                    <a:cubicBezTo>
                      <a:pt x="81598" y="33761"/>
                      <a:pt x="81598" y="33761"/>
                      <a:pt x="81598" y="33761"/>
                    </a:cubicBezTo>
                    <a:cubicBezTo>
                      <a:pt x="81598" y="33761"/>
                      <a:pt x="79692" y="37571"/>
                      <a:pt x="79692" y="39476"/>
                    </a:cubicBezTo>
                    <a:cubicBezTo>
                      <a:pt x="79692" y="40428"/>
                      <a:pt x="79692" y="49001"/>
                      <a:pt x="79692" y="49001"/>
                    </a:cubicBezTo>
                    <a:close/>
                  </a:path>
                </a:pathLst>
              </a:custGeom>
              <a:grpFill/>
              <a:ln w="9525" cap="flat">
                <a:noFill/>
                <a:prstDash val="solid"/>
                <a:miter/>
              </a:ln>
            </p:spPr>
            <p:txBody>
              <a:bodyPr rtlCol="0" anchor="ctr"/>
              <a:lstStyle/>
              <a:p>
                <a:endParaRPr lang="en-US" sz="1765"/>
              </a:p>
            </p:txBody>
          </p:sp>
          <p:sp>
            <p:nvSpPr>
              <p:cNvPr id="55" name="Freeform: Shape 54">
                <a:extLst>
                  <a:ext uri="{FF2B5EF4-FFF2-40B4-BE49-F238E27FC236}">
                    <a16:creationId xmlns:a16="http://schemas.microsoft.com/office/drawing/2014/main" id="{CB3DC2D7-29C4-434F-B98F-84BFF27C8CF3}"/>
                  </a:ext>
                </a:extLst>
              </p:cNvPr>
              <p:cNvSpPr/>
              <p:nvPr/>
            </p:nvSpPr>
            <p:spPr>
              <a:xfrm>
                <a:off x="10338390" y="3909741"/>
                <a:ext cx="57223" cy="41910"/>
              </a:xfrm>
              <a:custGeom>
                <a:avLst/>
                <a:gdLst>
                  <a:gd name="connsiteX0" fmla="*/ 57224 w 57223"/>
                  <a:gd name="connsiteY0" fmla="*/ 40958 h 41910"/>
                  <a:gd name="connsiteX1" fmla="*/ 57224 w 57223"/>
                  <a:gd name="connsiteY1" fmla="*/ 34290 h 41910"/>
                  <a:gd name="connsiteX2" fmla="*/ 57224 w 57223"/>
                  <a:gd name="connsiteY2" fmla="*/ 27623 h 41910"/>
                  <a:gd name="connsiteX3" fmla="*/ 52461 w 57223"/>
                  <a:gd name="connsiteY3" fmla="*/ 22860 h 41910"/>
                  <a:gd name="connsiteX4" fmla="*/ 41984 w 57223"/>
                  <a:gd name="connsiteY4" fmla="*/ 18098 h 41910"/>
                  <a:gd name="connsiteX5" fmla="*/ 38174 w 57223"/>
                  <a:gd name="connsiteY5" fmla="*/ 11430 h 41910"/>
                  <a:gd name="connsiteX6" fmla="*/ 38174 w 57223"/>
                  <a:gd name="connsiteY6" fmla="*/ 8573 h 41910"/>
                  <a:gd name="connsiteX7" fmla="*/ 29601 w 57223"/>
                  <a:gd name="connsiteY7" fmla="*/ 1905 h 41910"/>
                  <a:gd name="connsiteX8" fmla="*/ 21981 w 57223"/>
                  <a:gd name="connsiteY8" fmla="*/ 0 h 41910"/>
                  <a:gd name="connsiteX9" fmla="*/ 12456 w 57223"/>
                  <a:gd name="connsiteY9" fmla="*/ 952 h 41910"/>
                  <a:gd name="connsiteX10" fmla="*/ 7694 w 57223"/>
                  <a:gd name="connsiteY10" fmla="*/ 3810 h 41910"/>
                  <a:gd name="connsiteX11" fmla="*/ 74 w 57223"/>
                  <a:gd name="connsiteY11" fmla="*/ 4763 h 41910"/>
                  <a:gd name="connsiteX12" fmla="*/ 10551 w 57223"/>
                  <a:gd name="connsiteY12" fmla="*/ 15240 h 41910"/>
                  <a:gd name="connsiteX13" fmla="*/ 11504 w 57223"/>
                  <a:gd name="connsiteY13" fmla="*/ 19050 h 41910"/>
                  <a:gd name="connsiteX14" fmla="*/ 11504 w 57223"/>
                  <a:gd name="connsiteY14" fmla="*/ 25717 h 41910"/>
                  <a:gd name="connsiteX15" fmla="*/ 18172 w 57223"/>
                  <a:gd name="connsiteY15" fmla="*/ 27623 h 41910"/>
                  <a:gd name="connsiteX16" fmla="*/ 21029 w 57223"/>
                  <a:gd name="connsiteY16" fmla="*/ 31433 h 41910"/>
                  <a:gd name="connsiteX17" fmla="*/ 24839 w 57223"/>
                  <a:gd name="connsiteY17" fmla="*/ 39052 h 41910"/>
                  <a:gd name="connsiteX18" fmla="*/ 29601 w 57223"/>
                  <a:gd name="connsiteY18" fmla="*/ 40958 h 41910"/>
                  <a:gd name="connsiteX19" fmla="*/ 38174 w 57223"/>
                  <a:gd name="connsiteY19" fmla="*/ 41910 h 41910"/>
                  <a:gd name="connsiteX20" fmla="*/ 44841 w 57223"/>
                  <a:gd name="connsiteY20" fmla="*/ 41910 h 41910"/>
                  <a:gd name="connsiteX21" fmla="*/ 57224 w 57223"/>
                  <a:gd name="connsiteY21" fmla="*/ 40958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23" h="41910">
                    <a:moveTo>
                      <a:pt x="57224" y="40958"/>
                    </a:moveTo>
                    <a:lnTo>
                      <a:pt x="57224" y="34290"/>
                    </a:lnTo>
                    <a:lnTo>
                      <a:pt x="57224" y="27623"/>
                    </a:lnTo>
                    <a:lnTo>
                      <a:pt x="52461" y="22860"/>
                    </a:lnTo>
                    <a:lnTo>
                      <a:pt x="41984" y="18098"/>
                    </a:lnTo>
                    <a:lnTo>
                      <a:pt x="38174" y="11430"/>
                    </a:lnTo>
                    <a:lnTo>
                      <a:pt x="38174" y="8573"/>
                    </a:lnTo>
                    <a:lnTo>
                      <a:pt x="29601" y="1905"/>
                    </a:lnTo>
                    <a:lnTo>
                      <a:pt x="21981" y="0"/>
                    </a:lnTo>
                    <a:lnTo>
                      <a:pt x="12456" y="952"/>
                    </a:lnTo>
                    <a:lnTo>
                      <a:pt x="7694" y="3810"/>
                    </a:lnTo>
                    <a:cubicBezTo>
                      <a:pt x="7694" y="3810"/>
                      <a:pt x="-878" y="-952"/>
                      <a:pt x="74" y="4763"/>
                    </a:cubicBezTo>
                    <a:cubicBezTo>
                      <a:pt x="1026" y="10477"/>
                      <a:pt x="10551" y="15240"/>
                      <a:pt x="10551" y="15240"/>
                    </a:cubicBezTo>
                    <a:cubicBezTo>
                      <a:pt x="10551" y="15240"/>
                      <a:pt x="11504" y="16192"/>
                      <a:pt x="11504" y="19050"/>
                    </a:cubicBezTo>
                    <a:cubicBezTo>
                      <a:pt x="11504" y="21908"/>
                      <a:pt x="4836" y="22860"/>
                      <a:pt x="11504" y="25717"/>
                    </a:cubicBezTo>
                    <a:cubicBezTo>
                      <a:pt x="18172" y="27623"/>
                      <a:pt x="18172" y="27623"/>
                      <a:pt x="18172" y="27623"/>
                    </a:cubicBezTo>
                    <a:cubicBezTo>
                      <a:pt x="18172" y="27623"/>
                      <a:pt x="20076" y="29527"/>
                      <a:pt x="21029" y="31433"/>
                    </a:cubicBezTo>
                    <a:cubicBezTo>
                      <a:pt x="21981" y="33338"/>
                      <a:pt x="24839" y="39052"/>
                      <a:pt x="24839" y="39052"/>
                    </a:cubicBezTo>
                    <a:lnTo>
                      <a:pt x="29601" y="40958"/>
                    </a:lnTo>
                    <a:lnTo>
                      <a:pt x="38174" y="41910"/>
                    </a:lnTo>
                    <a:lnTo>
                      <a:pt x="44841" y="41910"/>
                    </a:lnTo>
                    <a:lnTo>
                      <a:pt x="57224" y="40958"/>
                    </a:lnTo>
                    <a:close/>
                  </a:path>
                </a:pathLst>
              </a:custGeom>
              <a:grpFill/>
              <a:ln w="9525" cap="flat">
                <a:noFill/>
                <a:prstDash val="solid"/>
                <a:miter/>
              </a:ln>
            </p:spPr>
            <p:txBody>
              <a:bodyPr rtlCol="0" anchor="ctr"/>
              <a:lstStyle/>
              <a:p>
                <a:endParaRPr lang="en-US" sz="1765"/>
              </a:p>
            </p:txBody>
          </p:sp>
          <p:sp>
            <p:nvSpPr>
              <p:cNvPr id="56" name="Freeform: Shape 55">
                <a:extLst>
                  <a:ext uri="{FF2B5EF4-FFF2-40B4-BE49-F238E27FC236}">
                    <a16:creationId xmlns:a16="http://schemas.microsoft.com/office/drawing/2014/main" id="{E308B6DB-FCE6-4EF7-B8D5-42AF6ADE8A0D}"/>
                  </a:ext>
                </a:extLst>
              </p:cNvPr>
              <p:cNvSpPr/>
              <p:nvPr/>
            </p:nvSpPr>
            <p:spPr>
              <a:xfrm>
                <a:off x="10279408" y="3862116"/>
                <a:ext cx="55244" cy="53339"/>
              </a:xfrm>
              <a:custGeom>
                <a:avLst/>
                <a:gdLst>
                  <a:gd name="connsiteX0" fmla="*/ 34290 w 55244"/>
                  <a:gd name="connsiteY0" fmla="*/ 53340 h 53339"/>
                  <a:gd name="connsiteX1" fmla="*/ 40005 w 55244"/>
                  <a:gd name="connsiteY1" fmla="*/ 50483 h 53339"/>
                  <a:gd name="connsiteX2" fmla="*/ 40957 w 55244"/>
                  <a:gd name="connsiteY2" fmla="*/ 44767 h 53339"/>
                  <a:gd name="connsiteX3" fmla="*/ 48578 w 55244"/>
                  <a:gd name="connsiteY3" fmla="*/ 35242 h 53339"/>
                  <a:gd name="connsiteX4" fmla="*/ 51435 w 55244"/>
                  <a:gd name="connsiteY4" fmla="*/ 24765 h 53339"/>
                  <a:gd name="connsiteX5" fmla="*/ 51435 w 55244"/>
                  <a:gd name="connsiteY5" fmla="*/ 19050 h 53339"/>
                  <a:gd name="connsiteX6" fmla="*/ 55245 w 55244"/>
                  <a:gd name="connsiteY6" fmla="*/ 7620 h 53339"/>
                  <a:gd name="connsiteX7" fmla="*/ 54293 w 55244"/>
                  <a:gd name="connsiteY7" fmla="*/ 3810 h 53339"/>
                  <a:gd name="connsiteX8" fmla="*/ 44768 w 55244"/>
                  <a:gd name="connsiteY8" fmla="*/ 0 h 53339"/>
                  <a:gd name="connsiteX9" fmla="*/ 36195 w 55244"/>
                  <a:gd name="connsiteY9" fmla="*/ 0 h 53339"/>
                  <a:gd name="connsiteX10" fmla="*/ 19050 w 55244"/>
                  <a:gd name="connsiteY10" fmla="*/ 13335 h 53339"/>
                  <a:gd name="connsiteX11" fmla="*/ 14288 w 55244"/>
                  <a:gd name="connsiteY11" fmla="*/ 20002 h 53339"/>
                  <a:gd name="connsiteX12" fmla="*/ 5715 w 55244"/>
                  <a:gd name="connsiteY12" fmla="*/ 23813 h 53339"/>
                  <a:gd name="connsiteX13" fmla="*/ 3810 w 55244"/>
                  <a:gd name="connsiteY13" fmla="*/ 27623 h 53339"/>
                  <a:gd name="connsiteX14" fmla="*/ 0 w 55244"/>
                  <a:gd name="connsiteY14" fmla="*/ 34290 h 53339"/>
                  <a:gd name="connsiteX15" fmla="*/ 2857 w 55244"/>
                  <a:gd name="connsiteY15" fmla="*/ 40005 h 53339"/>
                  <a:gd name="connsiteX16" fmla="*/ 10478 w 55244"/>
                  <a:gd name="connsiteY16" fmla="*/ 41910 h 53339"/>
                  <a:gd name="connsiteX17" fmla="*/ 19050 w 55244"/>
                  <a:gd name="connsiteY17" fmla="*/ 43815 h 53339"/>
                  <a:gd name="connsiteX18" fmla="*/ 21907 w 55244"/>
                  <a:gd name="connsiteY18" fmla="*/ 47625 h 53339"/>
                  <a:gd name="connsiteX19" fmla="*/ 34290 w 55244"/>
                  <a:gd name="connsiteY19" fmla="*/ 5334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244" h="53339">
                    <a:moveTo>
                      <a:pt x="34290" y="53340"/>
                    </a:moveTo>
                    <a:lnTo>
                      <a:pt x="40005" y="50483"/>
                    </a:lnTo>
                    <a:cubicBezTo>
                      <a:pt x="40005" y="50483"/>
                      <a:pt x="38100" y="46673"/>
                      <a:pt x="40957" y="44767"/>
                    </a:cubicBezTo>
                    <a:cubicBezTo>
                      <a:pt x="43815" y="43815"/>
                      <a:pt x="48578" y="35242"/>
                      <a:pt x="48578" y="35242"/>
                    </a:cubicBezTo>
                    <a:cubicBezTo>
                      <a:pt x="48578" y="35242"/>
                      <a:pt x="48578" y="26670"/>
                      <a:pt x="51435" y="24765"/>
                    </a:cubicBezTo>
                    <a:cubicBezTo>
                      <a:pt x="53340" y="22860"/>
                      <a:pt x="49530" y="20955"/>
                      <a:pt x="51435" y="19050"/>
                    </a:cubicBezTo>
                    <a:cubicBezTo>
                      <a:pt x="53340" y="17145"/>
                      <a:pt x="55245" y="7620"/>
                      <a:pt x="55245" y="7620"/>
                    </a:cubicBezTo>
                    <a:lnTo>
                      <a:pt x="54293" y="3810"/>
                    </a:lnTo>
                    <a:lnTo>
                      <a:pt x="44768" y="0"/>
                    </a:lnTo>
                    <a:lnTo>
                      <a:pt x="36195" y="0"/>
                    </a:lnTo>
                    <a:cubicBezTo>
                      <a:pt x="27623" y="9525"/>
                      <a:pt x="19050" y="9525"/>
                      <a:pt x="19050" y="13335"/>
                    </a:cubicBezTo>
                    <a:cubicBezTo>
                      <a:pt x="19050" y="17145"/>
                      <a:pt x="14288" y="17145"/>
                      <a:pt x="14288" y="20002"/>
                    </a:cubicBezTo>
                    <a:cubicBezTo>
                      <a:pt x="14288" y="22860"/>
                      <a:pt x="5715" y="23813"/>
                      <a:pt x="5715" y="23813"/>
                    </a:cubicBezTo>
                    <a:cubicBezTo>
                      <a:pt x="3810" y="27623"/>
                      <a:pt x="6668" y="22860"/>
                      <a:pt x="3810" y="27623"/>
                    </a:cubicBezTo>
                    <a:cubicBezTo>
                      <a:pt x="0" y="31433"/>
                      <a:pt x="0" y="31433"/>
                      <a:pt x="0" y="34290"/>
                    </a:cubicBezTo>
                    <a:cubicBezTo>
                      <a:pt x="0" y="37148"/>
                      <a:pt x="2857" y="40005"/>
                      <a:pt x="2857" y="40005"/>
                    </a:cubicBezTo>
                    <a:lnTo>
                      <a:pt x="10478" y="41910"/>
                    </a:lnTo>
                    <a:lnTo>
                      <a:pt x="19050" y="43815"/>
                    </a:lnTo>
                    <a:cubicBezTo>
                      <a:pt x="21907" y="47625"/>
                      <a:pt x="21907" y="43815"/>
                      <a:pt x="21907" y="47625"/>
                    </a:cubicBezTo>
                    <a:cubicBezTo>
                      <a:pt x="21907" y="49530"/>
                      <a:pt x="34290" y="53340"/>
                      <a:pt x="34290" y="53340"/>
                    </a:cubicBezTo>
                    <a:close/>
                  </a:path>
                </a:pathLst>
              </a:custGeom>
              <a:grpFill/>
              <a:ln w="9525" cap="flat">
                <a:noFill/>
                <a:prstDash val="solid"/>
                <a:miter/>
              </a:ln>
            </p:spPr>
            <p:txBody>
              <a:bodyPr rtlCol="0" anchor="ctr"/>
              <a:lstStyle/>
              <a:p>
                <a:endParaRPr lang="en-US" sz="1765"/>
              </a:p>
            </p:txBody>
          </p:sp>
          <p:sp>
            <p:nvSpPr>
              <p:cNvPr id="57" name="Freeform: Shape 56">
                <a:extLst>
                  <a:ext uri="{FF2B5EF4-FFF2-40B4-BE49-F238E27FC236}">
                    <a16:creationId xmlns:a16="http://schemas.microsoft.com/office/drawing/2014/main" id="{3CA5F1C7-5AA6-4C42-BD76-C78CB7FE2F82}"/>
                  </a:ext>
                </a:extLst>
              </p:cNvPr>
              <p:cNvSpPr/>
              <p:nvPr/>
            </p:nvSpPr>
            <p:spPr>
              <a:xfrm>
                <a:off x="10294158" y="3778011"/>
                <a:ext cx="34890" cy="41242"/>
              </a:xfrm>
              <a:custGeom>
                <a:avLst/>
                <a:gdLst>
                  <a:gd name="connsiteX0" fmla="*/ 32875 w 34890"/>
                  <a:gd name="connsiteY0" fmla="*/ 16477 h 41242"/>
                  <a:gd name="connsiteX1" fmla="*/ 29066 w 34890"/>
                  <a:gd name="connsiteY1" fmla="*/ 24097 h 41242"/>
                  <a:gd name="connsiteX2" fmla="*/ 25255 w 34890"/>
                  <a:gd name="connsiteY2" fmla="*/ 29812 h 41242"/>
                  <a:gd name="connsiteX3" fmla="*/ 23350 w 34890"/>
                  <a:gd name="connsiteY3" fmla="*/ 31717 h 41242"/>
                  <a:gd name="connsiteX4" fmla="*/ 16683 w 34890"/>
                  <a:gd name="connsiteY4" fmla="*/ 41242 h 41242"/>
                  <a:gd name="connsiteX5" fmla="*/ 7158 w 34890"/>
                  <a:gd name="connsiteY5" fmla="*/ 40290 h 41242"/>
                  <a:gd name="connsiteX6" fmla="*/ 491 w 34890"/>
                  <a:gd name="connsiteY6" fmla="*/ 27907 h 41242"/>
                  <a:gd name="connsiteX7" fmla="*/ 1443 w 34890"/>
                  <a:gd name="connsiteY7" fmla="*/ 20287 h 41242"/>
                  <a:gd name="connsiteX8" fmla="*/ 2395 w 34890"/>
                  <a:gd name="connsiteY8" fmla="*/ 11715 h 41242"/>
                  <a:gd name="connsiteX9" fmla="*/ 11920 w 34890"/>
                  <a:gd name="connsiteY9" fmla="*/ 8857 h 41242"/>
                  <a:gd name="connsiteX10" fmla="*/ 23350 w 34890"/>
                  <a:gd name="connsiteY10" fmla="*/ 2190 h 41242"/>
                  <a:gd name="connsiteX11" fmla="*/ 30970 w 34890"/>
                  <a:gd name="connsiteY11" fmla="*/ 1237 h 41242"/>
                  <a:gd name="connsiteX12" fmla="*/ 33828 w 34890"/>
                  <a:gd name="connsiteY12" fmla="*/ 9810 h 41242"/>
                  <a:gd name="connsiteX13" fmla="*/ 32875 w 34890"/>
                  <a:gd name="connsiteY13" fmla="*/ 16477 h 4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90" h="41242">
                    <a:moveTo>
                      <a:pt x="32875" y="16477"/>
                    </a:moveTo>
                    <a:cubicBezTo>
                      <a:pt x="32875" y="16477"/>
                      <a:pt x="29066" y="22192"/>
                      <a:pt x="29066" y="24097"/>
                    </a:cubicBezTo>
                    <a:cubicBezTo>
                      <a:pt x="29066" y="26002"/>
                      <a:pt x="28113" y="27907"/>
                      <a:pt x="25255" y="29812"/>
                    </a:cubicBezTo>
                    <a:cubicBezTo>
                      <a:pt x="23350" y="31717"/>
                      <a:pt x="25255" y="26002"/>
                      <a:pt x="23350" y="31717"/>
                    </a:cubicBezTo>
                    <a:cubicBezTo>
                      <a:pt x="21445" y="38385"/>
                      <a:pt x="16683" y="41242"/>
                      <a:pt x="16683" y="41242"/>
                    </a:cubicBezTo>
                    <a:lnTo>
                      <a:pt x="7158" y="40290"/>
                    </a:lnTo>
                    <a:cubicBezTo>
                      <a:pt x="4300" y="37432"/>
                      <a:pt x="491" y="27907"/>
                      <a:pt x="491" y="27907"/>
                    </a:cubicBezTo>
                    <a:lnTo>
                      <a:pt x="1443" y="20287"/>
                    </a:lnTo>
                    <a:cubicBezTo>
                      <a:pt x="1443" y="20287"/>
                      <a:pt x="-2367" y="13620"/>
                      <a:pt x="2395" y="11715"/>
                    </a:cubicBezTo>
                    <a:cubicBezTo>
                      <a:pt x="8111" y="10762"/>
                      <a:pt x="11920" y="8857"/>
                      <a:pt x="11920" y="8857"/>
                    </a:cubicBezTo>
                    <a:cubicBezTo>
                      <a:pt x="11920" y="8857"/>
                      <a:pt x="15730" y="4095"/>
                      <a:pt x="23350" y="2190"/>
                    </a:cubicBezTo>
                    <a:cubicBezTo>
                      <a:pt x="30970" y="1237"/>
                      <a:pt x="28113" y="-1620"/>
                      <a:pt x="30970" y="1237"/>
                    </a:cubicBezTo>
                    <a:cubicBezTo>
                      <a:pt x="33828" y="4095"/>
                      <a:pt x="32875" y="5047"/>
                      <a:pt x="33828" y="9810"/>
                    </a:cubicBezTo>
                    <a:cubicBezTo>
                      <a:pt x="36686" y="13620"/>
                      <a:pt x="32875" y="16477"/>
                      <a:pt x="32875" y="16477"/>
                    </a:cubicBezTo>
                    <a:close/>
                  </a:path>
                </a:pathLst>
              </a:custGeom>
              <a:grpFill/>
              <a:ln w="9525" cap="flat">
                <a:noFill/>
                <a:prstDash val="solid"/>
                <a:miter/>
              </a:ln>
            </p:spPr>
            <p:txBody>
              <a:bodyPr rtlCol="0" anchor="ctr"/>
              <a:lstStyle/>
              <a:p>
                <a:endParaRPr lang="en-US" sz="1765"/>
              </a:p>
            </p:txBody>
          </p:sp>
          <p:sp>
            <p:nvSpPr>
              <p:cNvPr id="58" name="Freeform: Shape 57">
                <a:extLst>
                  <a:ext uri="{FF2B5EF4-FFF2-40B4-BE49-F238E27FC236}">
                    <a16:creationId xmlns:a16="http://schemas.microsoft.com/office/drawing/2014/main" id="{ECDF5058-A188-4B30-B036-97C4E35C8ED0}"/>
                  </a:ext>
                </a:extLst>
              </p:cNvPr>
              <p:cNvSpPr/>
              <p:nvPr/>
            </p:nvSpPr>
            <p:spPr>
              <a:xfrm>
                <a:off x="10418474" y="4045949"/>
                <a:ext cx="23134" cy="26670"/>
              </a:xfrm>
              <a:custGeom>
                <a:avLst/>
                <a:gdLst>
                  <a:gd name="connsiteX0" fmla="*/ 22860 w 23134"/>
                  <a:gd name="connsiteY0" fmla="*/ 26670 h 26670"/>
                  <a:gd name="connsiteX1" fmla="*/ 8572 w 23134"/>
                  <a:gd name="connsiteY1" fmla="*/ 26670 h 26670"/>
                  <a:gd name="connsiteX2" fmla="*/ 0 w 23134"/>
                  <a:gd name="connsiteY2" fmla="*/ 21908 h 26670"/>
                  <a:gd name="connsiteX3" fmla="*/ 952 w 23134"/>
                  <a:gd name="connsiteY3" fmla="*/ 16192 h 26670"/>
                  <a:gd name="connsiteX4" fmla="*/ 1905 w 23134"/>
                  <a:gd name="connsiteY4" fmla="*/ 7620 h 26670"/>
                  <a:gd name="connsiteX5" fmla="*/ 1905 w 23134"/>
                  <a:gd name="connsiteY5" fmla="*/ 1905 h 26670"/>
                  <a:gd name="connsiteX6" fmla="*/ 14288 w 23134"/>
                  <a:gd name="connsiteY6" fmla="*/ 0 h 26670"/>
                  <a:gd name="connsiteX7" fmla="*/ 20002 w 23134"/>
                  <a:gd name="connsiteY7" fmla="*/ 2858 h 26670"/>
                  <a:gd name="connsiteX8" fmla="*/ 22860 w 23134"/>
                  <a:gd name="connsiteY8" fmla="*/ 6667 h 26670"/>
                  <a:gd name="connsiteX9" fmla="*/ 22860 w 23134"/>
                  <a:gd name="connsiteY9" fmla="*/ 12383 h 26670"/>
                  <a:gd name="connsiteX10" fmla="*/ 21907 w 23134"/>
                  <a:gd name="connsiteY10" fmla="*/ 18097 h 26670"/>
                  <a:gd name="connsiteX11" fmla="*/ 22860 w 23134"/>
                  <a:gd name="connsiteY11" fmla="*/ 26670 h 2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4" h="26670">
                    <a:moveTo>
                      <a:pt x="22860" y="26670"/>
                    </a:moveTo>
                    <a:lnTo>
                      <a:pt x="8572" y="26670"/>
                    </a:lnTo>
                    <a:lnTo>
                      <a:pt x="0" y="21908"/>
                    </a:lnTo>
                    <a:lnTo>
                      <a:pt x="952" y="16192"/>
                    </a:lnTo>
                    <a:lnTo>
                      <a:pt x="1905" y="7620"/>
                    </a:lnTo>
                    <a:lnTo>
                      <a:pt x="1905" y="1905"/>
                    </a:lnTo>
                    <a:lnTo>
                      <a:pt x="14288" y="0"/>
                    </a:lnTo>
                    <a:lnTo>
                      <a:pt x="20002" y="2858"/>
                    </a:lnTo>
                    <a:cubicBezTo>
                      <a:pt x="20002" y="2858"/>
                      <a:pt x="21907" y="3810"/>
                      <a:pt x="22860" y="6667"/>
                    </a:cubicBezTo>
                    <a:cubicBezTo>
                      <a:pt x="23813" y="9525"/>
                      <a:pt x="21907" y="9525"/>
                      <a:pt x="22860" y="12383"/>
                    </a:cubicBezTo>
                    <a:cubicBezTo>
                      <a:pt x="23813" y="15240"/>
                      <a:pt x="21907" y="18097"/>
                      <a:pt x="21907" y="18097"/>
                    </a:cubicBezTo>
                    <a:lnTo>
                      <a:pt x="22860" y="26670"/>
                    </a:lnTo>
                    <a:close/>
                  </a:path>
                </a:pathLst>
              </a:custGeom>
              <a:grpFill/>
              <a:ln w="9525" cap="flat">
                <a:noFill/>
                <a:prstDash val="solid"/>
                <a:miter/>
              </a:ln>
            </p:spPr>
            <p:txBody>
              <a:bodyPr rtlCol="0" anchor="ctr"/>
              <a:lstStyle/>
              <a:p>
                <a:endParaRPr lang="en-US" sz="1765"/>
              </a:p>
            </p:txBody>
          </p:sp>
          <p:sp>
            <p:nvSpPr>
              <p:cNvPr id="59" name="Freeform: Shape 58">
                <a:extLst>
                  <a:ext uri="{FF2B5EF4-FFF2-40B4-BE49-F238E27FC236}">
                    <a16:creationId xmlns:a16="http://schemas.microsoft.com/office/drawing/2014/main" id="{84EC997F-8488-4562-90CB-D9C50657CDCE}"/>
                  </a:ext>
                </a:extLst>
              </p:cNvPr>
              <p:cNvSpPr/>
              <p:nvPr/>
            </p:nvSpPr>
            <p:spPr>
              <a:xfrm>
                <a:off x="10452340" y="3586843"/>
                <a:ext cx="219608" cy="131445"/>
              </a:xfrm>
              <a:custGeom>
                <a:avLst/>
                <a:gdLst>
                  <a:gd name="connsiteX0" fmla="*/ 39475 w 219608"/>
                  <a:gd name="connsiteY0" fmla="*/ 98108 h 131445"/>
                  <a:gd name="connsiteX1" fmla="*/ 28046 w 219608"/>
                  <a:gd name="connsiteY1" fmla="*/ 99060 h 131445"/>
                  <a:gd name="connsiteX2" fmla="*/ 20425 w 219608"/>
                  <a:gd name="connsiteY2" fmla="*/ 99060 h 131445"/>
                  <a:gd name="connsiteX3" fmla="*/ 15663 w 219608"/>
                  <a:gd name="connsiteY3" fmla="*/ 100013 h 131445"/>
                  <a:gd name="connsiteX4" fmla="*/ 4233 w 219608"/>
                  <a:gd name="connsiteY4" fmla="*/ 103823 h 131445"/>
                  <a:gd name="connsiteX5" fmla="*/ 423 w 219608"/>
                  <a:gd name="connsiteY5" fmla="*/ 108585 h 131445"/>
                  <a:gd name="connsiteX6" fmla="*/ 423 w 219608"/>
                  <a:gd name="connsiteY6" fmla="*/ 111443 h 131445"/>
                  <a:gd name="connsiteX7" fmla="*/ 8996 w 219608"/>
                  <a:gd name="connsiteY7" fmla="*/ 118110 h 131445"/>
                  <a:gd name="connsiteX8" fmla="*/ 13758 w 219608"/>
                  <a:gd name="connsiteY8" fmla="*/ 120015 h 131445"/>
                  <a:gd name="connsiteX9" fmla="*/ 20425 w 219608"/>
                  <a:gd name="connsiteY9" fmla="*/ 130493 h 131445"/>
                  <a:gd name="connsiteX10" fmla="*/ 28046 w 219608"/>
                  <a:gd name="connsiteY10" fmla="*/ 131445 h 131445"/>
                  <a:gd name="connsiteX11" fmla="*/ 37571 w 219608"/>
                  <a:gd name="connsiteY11" fmla="*/ 130493 h 131445"/>
                  <a:gd name="connsiteX12" fmla="*/ 43286 w 219608"/>
                  <a:gd name="connsiteY12" fmla="*/ 127635 h 131445"/>
                  <a:gd name="connsiteX13" fmla="*/ 45191 w 219608"/>
                  <a:gd name="connsiteY13" fmla="*/ 120968 h 131445"/>
                  <a:gd name="connsiteX14" fmla="*/ 46143 w 219608"/>
                  <a:gd name="connsiteY14" fmla="*/ 114300 h 131445"/>
                  <a:gd name="connsiteX15" fmla="*/ 49953 w 219608"/>
                  <a:gd name="connsiteY15" fmla="*/ 109538 h 131445"/>
                  <a:gd name="connsiteX16" fmla="*/ 50906 w 219608"/>
                  <a:gd name="connsiteY16" fmla="*/ 105727 h 131445"/>
                  <a:gd name="connsiteX17" fmla="*/ 54716 w 219608"/>
                  <a:gd name="connsiteY17" fmla="*/ 104775 h 131445"/>
                  <a:gd name="connsiteX18" fmla="*/ 60431 w 219608"/>
                  <a:gd name="connsiteY18" fmla="*/ 103823 h 131445"/>
                  <a:gd name="connsiteX19" fmla="*/ 73766 w 219608"/>
                  <a:gd name="connsiteY19" fmla="*/ 104775 h 131445"/>
                  <a:gd name="connsiteX20" fmla="*/ 87101 w 219608"/>
                  <a:gd name="connsiteY20" fmla="*/ 104775 h 131445"/>
                  <a:gd name="connsiteX21" fmla="*/ 94721 w 219608"/>
                  <a:gd name="connsiteY21" fmla="*/ 103823 h 131445"/>
                  <a:gd name="connsiteX22" fmla="*/ 96626 w 219608"/>
                  <a:gd name="connsiteY22" fmla="*/ 100013 h 131445"/>
                  <a:gd name="connsiteX23" fmla="*/ 100436 w 219608"/>
                  <a:gd name="connsiteY23" fmla="*/ 96202 h 131445"/>
                  <a:gd name="connsiteX24" fmla="*/ 108056 w 219608"/>
                  <a:gd name="connsiteY24" fmla="*/ 96202 h 131445"/>
                  <a:gd name="connsiteX25" fmla="*/ 109008 w 219608"/>
                  <a:gd name="connsiteY25" fmla="*/ 100013 h 131445"/>
                  <a:gd name="connsiteX26" fmla="*/ 123296 w 219608"/>
                  <a:gd name="connsiteY26" fmla="*/ 101918 h 131445"/>
                  <a:gd name="connsiteX27" fmla="*/ 130916 w 219608"/>
                  <a:gd name="connsiteY27" fmla="*/ 98108 h 131445"/>
                  <a:gd name="connsiteX28" fmla="*/ 134726 w 219608"/>
                  <a:gd name="connsiteY28" fmla="*/ 89535 h 131445"/>
                  <a:gd name="connsiteX29" fmla="*/ 140441 w 219608"/>
                  <a:gd name="connsiteY29" fmla="*/ 87630 h 131445"/>
                  <a:gd name="connsiteX30" fmla="*/ 144251 w 219608"/>
                  <a:gd name="connsiteY30" fmla="*/ 87630 h 131445"/>
                  <a:gd name="connsiteX31" fmla="*/ 180446 w 219608"/>
                  <a:gd name="connsiteY31" fmla="*/ 89535 h 131445"/>
                  <a:gd name="connsiteX32" fmla="*/ 189971 w 219608"/>
                  <a:gd name="connsiteY32" fmla="*/ 89535 h 131445"/>
                  <a:gd name="connsiteX33" fmla="*/ 201401 w 219608"/>
                  <a:gd name="connsiteY33" fmla="*/ 86677 h 131445"/>
                  <a:gd name="connsiteX34" fmla="*/ 207116 w 219608"/>
                  <a:gd name="connsiteY34" fmla="*/ 84773 h 131445"/>
                  <a:gd name="connsiteX35" fmla="*/ 208068 w 219608"/>
                  <a:gd name="connsiteY35" fmla="*/ 72390 h 131445"/>
                  <a:gd name="connsiteX36" fmla="*/ 209021 w 219608"/>
                  <a:gd name="connsiteY36" fmla="*/ 65723 h 131445"/>
                  <a:gd name="connsiteX37" fmla="*/ 211878 w 219608"/>
                  <a:gd name="connsiteY37" fmla="*/ 59055 h 131445"/>
                  <a:gd name="connsiteX38" fmla="*/ 213783 w 219608"/>
                  <a:gd name="connsiteY38" fmla="*/ 54293 h 131445"/>
                  <a:gd name="connsiteX39" fmla="*/ 218546 w 219608"/>
                  <a:gd name="connsiteY39" fmla="*/ 38100 h 131445"/>
                  <a:gd name="connsiteX40" fmla="*/ 217593 w 219608"/>
                  <a:gd name="connsiteY40" fmla="*/ 19050 h 131445"/>
                  <a:gd name="connsiteX41" fmla="*/ 216641 w 219608"/>
                  <a:gd name="connsiteY41" fmla="*/ 15240 h 131445"/>
                  <a:gd name="connsiteX42" fmla="*/ 212831 w 219608"/>
                  <a:gd name="connsiteY42" fmla="*/ 952 h 131445"/>
                  <a:gd name="connsiteX43" fmla="*/ 207116 w 219608"/>
                  <a:gd name="connsiteY43" fmla="*/ 0 h 131445"/>
                  <a:gd name="connsiteX44" fmla="*/ 198543 w 219608"/>
                  <a:gd name="connsiteY44" fmla="*/ 6668 h 131445"/>
                  <a:gd name="connsiteX45" fmla="*/ 189971 w 219608"/>
                  <a:gd name="connsiteY45" fmla="*/ 13335 h 131445"/>
                  <a:gd name="connsiteX46" fmla="*/ 189018 w 219608"/>
                  <a:gd name="connsiteY46" fmla="*/ 16193 h 131445"/>
                  <a:gd name="connsiteX47" fmla="*/ 185208 w 219608"/>
                  <a:gd name="connsiteY47" fmla="*/ 20955 h 131445"/>
                  <a:gd name="connsiteX48" fmla="*/ 174731 w 219608"/>
                  <a:gd name="connsiteY48" fmla="*/ 30480 h 131445"/>
                  <a:gd name="connsiteX49" fmla="*/ 172826 w 219608"/>
                  <a:gd name="connsiteY49" fmla="*/ 34290 h 131445"/>
                  <a:gd name="connsiteX50" fmla="*/ 170921 w 219608"/>
                  <a:gd name="connsiteY50" fmla="*/ 36195 h 131445"/>
                  <a:gd name="connsiteX51" fmla="*/ 170921 w 219608"/>
                  <a:gd name="connsiteY51" fmla="*/ 36195 h 131445"/>
                  <a:gd name="connsiteX52" fmla="*/ 169016 w 219608"/>
                  <a:gd name="connsiteY52" fmla="*/ 41910 h 131445"/>
                  <a:gd name="connsiteX53" fmla="*/ 165206 w 219608"/>
                  <a:gd name="connsiteY53" fmla="*/ 48577 h 131445"/>
                  <a:gd name="connsiteX54" fmla="*/ 153776 w 219608"/>
                  <a:gd name="connsiteY54" fmla="*/ 50483 h 131445"/>
                  <a:gd name="connsiteX55" fmla="*/ 135678 w 219608"/>
                  <a:gd name="connsiteY55" fmla="*/ 54293 h 131445"/>
                  <a:gd name="connsiteX56" fmla="*/ 130916 w 219608"/>
                  <a:gd name="connsiteY56" fmla="*/ 55245 h 131445"/>
                  <a:gd name="connsiteX57" fmla="*/ 123296 w 219608"/>
                  <a:gd name="connsiteY57" fmla="*/ 60008 h 131445"/>
                  <a:gd name="connsiteX58" fmla="*/ 123296 w 219608"/>
                  <a:gd name="connsiteY58" fmla="*/ 63818 h 131445"/>
                  <a:gd name="connsiteX59" fmla="*/ 116628 w 219608"/>
                  <a:gd name="connsiteY59" fmla="*/ 67627 h 131445"/>
                  <a:gd name="connsiteX60" fmla="*/ 106151 w 219608"/>
                  <a:gd name="connsiteY60" fmla="*/ 73343 h 131445"/>
                  <a:gd name="connsiteX61" fmla="*/ 97578 w 219608"/>
                  <a:gd name="connsiteY61" fmla="*/ 74295 h 131445"/>
                  <a:gd name="connsiteX62" fmla="*/ 84243 w 219608"/>
                  <a:gd name="connsiteY62" fmla="*/ 74295 h 131445"/>
                  <a:gd name="connsiteX63" fmla="*/ 71861 w 219608"/>
                  <a:gd name="connsiteY63" fmla="*/ 75248 h 131445"/>
                  <a:gd name="connsiteX64" fmla="*/ 63288 w 219608"/>
                  <a:gd name="connsiteY64" fmla="*/ 75248 h 131445"/>
                  <a:gd name="connsiteX65" fmla="*/ 59478 w 219608"/>
                  <a:gd name="connsiteY65" fmla="*/ 77152 h 131445"/>
                  <a:gd name="connsiteX66" fmla="*/ 50906 w 219608"/>
                  <a:gd name="connsiteY66" fmla="*/ 78105 h 131445"/>
                  <a:gd name="connsiteX67" fmla="*/ 49000 w 219608"/>
                  <a:gd name="connsiteY67" fmla="*/ 80963 h 131445"/>
                  <a:gd name="connsiteX68" fmla="*/ 49000 w 219608"/>
                  <a:gd name="connsiteY68" fmla="*/ 83820 h 131445"/>
                  <a:gd name="connsiteX69" fmla="*/ 49000 w 219608"/>
                  <a:gd name="connsiteY69" fmla="*/ 87630 h 131445"/>
                  <a:gd name="connsiteX70" fmla="*/ 45191 w 219608"/>
                  <a:gd name="connsiteY70" fmla="*/ 94298 h 131445"/>
                  <a:gd name="connsiteX71" fmla="*/ 39475 w 219608"/>
                  <a:gd name="connsiteY71" fmla="*/ 98108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9608" h="131445">
                    <a:moveTo>
                      <a:pt x="39475" y="98108"/>
                    </a:moveTo>
                    <a:lnTo>
                      <a:pt x="28046" y="99060"/>
                    </a:lnTo>
                    <a:lnTo>
                      <a:pt x="20425" y="99060"/>
                    </a:lnTo>
                    <a:cubicBezTo>
                      <a:pt x="20425" y="99060"/>
                      <a:pt x="18521" y="97155"/>
                      <a:pt x="15663" y="100013"/>
                    </a:cubicBezTo>
                    <a:cubicBezTo>
                      <a:pt x="13758" y="102870"/>
                      <a:pt x="8996" y="98108"/>
                      <a:pt x="4233" y="103823"/>
                    </a:cubicBezTo>
                    <a:cubicBezTo>
                      <a:pt x="423" y="108585"/>
                      <a:pt x="423" y="105727"/>
                      <a:pt x="423" y="108585"/>
                    </a:cubicBezTo>
                    <a:cubicBezTo>
                      <a:pt x="423" y="111443"/>
                      <a:pt x="-529" y="108585"/>
                      <a:pt x="423" y="111443"/>
                    </a:cubicBezTo>
                    <a:cubicBezTo>
                      <a:pt x="1375" y="114300"/>
                      <a:pt x="8996" y="118110"/>
                      <a:pt x="8996" y="118110"/>
                    </a:cubicBezTo>
                    <a:cubicBezTo>
                      <a:pt x="8996" y="118110"/>
                      <a:pt x="10900" y="117158"/>
                      <a:pt x="13758" y="120015"/>
                    </a:cubicBezTo>
                    <a:cubicBezTo>
                      <a:pt x="15663" y="122873"/>
                      <a:pt x="20425" y="130493"/>
                      <a:pt x="20425" y="130493"/>
                    </a:cubicBezTo>
                    <a:cubicBezTo>
                      <a:pt x="20425" y="130493"/>
                      <a:pt x="22331" y="131445"/>
                      <a:pt x="28046" y="131445"/>
                    </a:cubicBezTo>
                    <a:cubicBezTo>
                      <a:pt x="33761" y="131445"/>
                      <a:pt x="37571" y="130493"/>
                      <a:pt x="37571" y="130493"/>
                    </a:cubicBezTo>
                    <a:lnTo>
                      <a:pt x="43286" y="127635"/>
                    </a:lnTo>
                    <a:lnTo>
                      <a:pt x="45191" y="120968"/>
                    </a:lnTo>
                    <a:lnTo>
                      <a:pt x="46143" y="114300"/>
                    </a:lnTo>
                    <a:lnTo>
                      <a:pt x="49953" y="109538"/>
                    </a:lnTo>
                    <a:cubicBezTo>
                      <a:pt x="49953" y="109538"/>
                      <a:pt x="48048" y="105727"/>
                      <a:pt x="50906" y="105727"/>
                    </a:cubicBezTo>
                    <a:cubicBezTo>
                      <a:pt x="54716" y="104775"/>
                      <a:pt x="54716" y="104775"/>
                      <a:pt x="54716" y="104775"/>
                    </a:cubicBezTo>
                    <a:cubicBezTo>
                      <a:pt x="54716" y="104775"/>
                      <a:pt x="56621" y="103823"/>
                      <a:pt x="60431" y="103823"/>
                    </a:cubicBezTo>
                    <a:cubicBezTo>
                      <a:pt x="63288" y="103823"/>
                      <a:pt x="73766" y="104775"/>
                      <a:pt x="73766" y="104775"/>
                    </a:cubicBezTo>
                    <a:lnTo>
                      <a:pt x="87101" y="104775"/>
                    </a:lnTo>
                    <a:lnTo>
                      <a:pt x="94721" y="103823"/>
                    </a:lnTo>
                    <a:lnTo>
                      <a:pt x="96626" y="100013"/>
                    </a:lnTo>
                    <a:lnTo>
                      <a:pt x="100436" y="96202"/>
                    </a:lnTo>
                    <a:cubicBezTo>
                      <a:pt x="100436" y="96202"/>
                      <a:pt x="107103" y="92393"/>
                      <a:pt x="108056" y="96202"/>
                    </a:cubicBezTo>
                    <a:cubicBezTo>
                      <a:pt x="109008" y="100013"/>
                      <a:pt x="109008" y="100013"/>
                      <a:pt x="109008" y="100013"/>
                    </a:cubicBezTo>
                    <a:lnTo>
                      <a:pt x="123296" y="101918"/>
                    </a:lnTo>
                    <a:lnTo>
                      <a:pt x="130916" y="98108"/>
                    </a:lnTo>
                    <a:lnTo>
                      <a:pt x="134726" y="89535"/>
                    </a:lnTo>
                    <a:cubicBezTo>
                      <a:pt x="134726" y="89535"/>
                      <a:pt x="136631" y="87630"/>
                      <a:pt x="140441" y="87630"/>
                    </a:cubicBezTo>
                    <a:cubicBezTo>
                      <a:pt x="144251" y="87630"/>
                      <a:pt x="135678" y="87630"/>
                      <a:pt x="144251" y="87630"/>
                    </a:cubicBezTo>
                    <a:cubicBezTo>
                      <a:pt x="151871" y="87630"/>
                      <a:pt x="175683" y="89535"/>
                      <a:pt x="180446" y="89535"/>
                    </a:cubicBezTo>
                    <a:cubicBezTo>
                      <a:pt x="185208" y="89535"/>
                      <a:pt x="186161" y="89535"/>
                      <a:pt x="189971" y="89535"/>
                    </a:cubicBezTo>
                    <a:cubicBezTo>
                      <a:pt x="194733" y="89535"/>
                      <a:pt x="201401" y="86677"/>
                      <a:pt x="201401" y="86677"/>
                    </a:cubicBezTo>
                    <a:lnTo>
                      <a:pt x="207116" y="84773"/>
                    </a:lnTo>
                    <a:lnTo>
                      <a:pt x="208068" y="72390"/>
                    </a:lnTo>
                    <a:cubicBezTo>
                      <a:pt x="208068" y="72390"/>
                      <a:pt x="208068" y="67627"/>
                      <a:pt x="209021" y="65723"/>
                    </a:cubicBezTo>
                    <a:cubicBezTo>
                      <a:pt x="209973" y="63818"/>
                      <a:pt x="211878" y="59055"/>
                      <a:pt x="211878" y="59055"/>
                    </a:cubicBezTo>
                    <a:lnTo>
                      <a:pt x="213783" y="54293"/>
                    </a:lnTo>
                    <a:cubicBezTo>
                      <a:pt x="213783" y="54293"/>
                      <a:pt x="215688" y="49530"/>
                      <a:pt x="218546" y="38100"/>
                    </a:cubicBezTo>
                    <a:cubicBezTo>
                      <a:pt x="221403" y="26670"/>
                      <a:pt x="217593" y="19050"/>
                      <a:pt x="217593" y="19050"/>
                    </a:cubicBezTo>
                    <a:cubicBezTo>
                      <a:pt x="217593" y="19050"/>
                      <a:pt x="216641" y="17145"/>
                      <a:pt x="216641" y="15240"/>
                    </a:cubicBezTo>
                    <a:cubicBezTo>
                      <a:pt x="216641" y="13335"/>
                      <a:pt x="212831" y="952"/>
                      <a:pt x="212831" y="952"/>
                    </a:cubicBezTo>
                    <a:lnTo>
                      <a:pt x="207116" y="0"/>
                    </a:lnTo>
                    <a:cubicBezTo>
                      <a:pt x="207116" y="0"/>
                      <a:pt x="198543" y="3810"/>
                      <a:pt x="198543" y="6668"/>
                    </a:cubicBezTo>
                    <a:cubicBezTo>
                      <a:pt x="198543" y="8573"/>
                      <a:pt x="190923" y="10477"/>
                      <a:pt x="189971" y="13335"/>
                    </a:cubicBezTo>
                    <a:cubicBezTo>
                      <a:pt x="189018" y="16193"/>
                      <a:pt x="191876" y="11430"/>
                      <a:pt x="189018" y="16193"/>
                    </a:cubicBezTo>
                    <a:cubicBezTo>
                      <a:pt x="185208" y="20955"/>
                      <a:pt x="188066" y="14288"/>
                      <a:pt x="185208" y="20955"/>
                    </a:cubicBezTo>
                    <a:cubicBezTo>
                      <a:pt x="183303" y="27623"/>
                      <a:pt x="177588" y="26670"/>
                      <a:pt x="174731" y="30480"/>
                    </a:cubicBezTo>
                    <a:cubicBezTo>
                      <a:pt x="172826" y="34290"/>
                      <a:pt x="174731" y="32385"/>
                      <a:pt x="172826" y="34290"/>
                    </a:cubicBezTo>
                    <a:cubicBezTo>
                      <a:pt x="170921" y="36195"/>
                      <a:pt x="170921" y="36195"/>
                      <a:pt x="170921" y="36195"/>
                    </a:cubicBezTo>
                    <a:cubicBezTo>
                      <a:pt x="170921" y="36195"/>
                      <a:pt x="172826" y="30480"/>
                      <a:pt x="170921" y="36195"/>
                    </a:cubicBezTo>
                    <a:cubicBezTo>
                      <a:pt x="169016" y="41910"/>
                      <a:pt x="171873" y="35243"/>
                      <a:pt x="169016" y="41910"/>
                    </a:cubicBezTo>
                    <a:cubicBezTo>
                      <a:pt x="165206" y="48577"/>
                      <a:pt x="165206" y="48577"/>
                      <a:pt x="165206" y="48577"/>
                    </a:cubicBezTo>
                    <a:cubicBezTo>
                      <a:pt x="165206" y="48577"/>
                      <a:pt x="171873" y="46673"/>
                      <a:pt x="153776" y="50483"/>
                    </a:cubicBezTo>
                    <a:cubicBezTo>
                      <a:pt x="135678" y="54293"/>
                      <a:pt x="135678" y="54293"/>
                      <a:pt x="135678" y="54293"/>
                    </a:cubicBezTo>
                    <a:lnTo>
                      <a:pt x="130916" y="55245"/>
                    </a:lnTo>
                    <a:cubicBezTo>
                      <a:pt x="130916" y="55245"/>
                      <a:pt x="123296" y="56198"/>
                      <a:pt x="123296" y="60008"/>
                    </a:cubicBezTo>
                    <a:cubicBezTo>
                      <a:pt x="123296" y="63818"/>
                      <a:pt x="123296" y="63818"/>
                      <a:pt x="123296" y="63818"/>
                    </a:cubicBezTo>
                    <a:lnTo>
                      <a:pt x="116628" y="67627"/>
                    </a:lnTo>
                    <a:cubicBezTo>
                      <a:pt x="116628" y="67627"/>
                      <a:pt x="109961" y="71438"/>
                      <a:pt x="106151" y="73343"/>
                    </a:cubicBezTo>
                    <a:cubicBezTo>
                      <a:pt x="103293" y="74295"/>
                      <a:pt x="103293" y="73343"/>
                      <a:pt x="97578" y="74295"/>
                    </a:cubicBezTo>
                    <a:cubicBezTo>
                      <a:pt x="91863" y="75248"/>
                      <a:pt x="84243" y="74295"/>
                      <a:pt x="84243" y="74295"/>
                    </a:cubicBezTo>
                    <a:lnTo>
                      <a:pt x="71861" y="75248"/>
                    </a:lnTo>
                    <a:cubicBezTo>
                      <a:pt x="71861" y="75248"/>
                      <a:pt x="66146" y="73343"/>
                      <a:pt x="63288" y="75248"/>
                    </a:cubicBezTo>
                    <a:cubicBezTo>
                      <a:pt x="59478" y="77152"/>
                      <a:pt x="59478" y="77152"/>
                      <a:pt x="59478" y="77152"/>
                    </a:cubicBezTo>
                    <a:lnTo>
                      <a:pt x="50906" y="78105"/>
                    </a:lnTo>
                    <a:cubicBezTo>
                      <a:pt x="50906" y="78105"/>
                      <a:pt x="49000" y="78105"/>
                      <a:pt x="49000" y="80963"/>
                    </a:cubicBezTo>
                    <a:cubicBezTo>
                      <a:pt x="49000" y="83820"/>
                      <a:pt x="49000" y="80010"/>
                      <a:pt x="49000" y="83820"/>
                    </a:cubicBezTo>
                    <a:cubicBezTo>
                      <a:pt x="49000" y="87630"/>
                      <a:pt x="52811" y="81915"/>
                      <a:pt x="49000" y="87630"/>
                    </a:cubicBezTo>
                    <a:cubicBezTo>
                      <a:pt x="45191" y="94298"/>
                      <a:pt x="45191" y="94298"/>
                      <a:pt x="45191" y="94298"/>
                    </a:cubicBezTo>
                    <a:lnTo>
                      <a:pt x="39475" y="98108"/>
                    </a:lnTo>
                    <a:close/>
                  </a:path>
                </a:pathLst>
              </a:custGeom>
              <a:grpFill/>
              <a:ln w="9525" cap="flat">
                <a:noFill/>
                <a:prstDash val="solid"/>
                <a:miter/>
              </a:ln>
            </p:spPr>
            <p:txBody>
              <a:bodyPr rtlCol="0" anchor="ctr"/>
              <a:lstStyle/>
              <a:p>
                <a:endParaRPr lang="en-US" sz="1765"/>
              </a:p>
            </p:txBody>
          </p:sp>
          <p:sp>
            <p:nvSpPr>
              <p:cNvPr id="60" name="Freeform: Shape 59">
                <a:extLst>
                  <a:ext uri="{FF2B5EF4-FFF2-40B4-BE49-F238E27FC236}">
                    <a16:creationId xmlns:a16="http://schemas.microsoft.com/office/drawing/2014/main" id="{E86CA6B9-039B-4B1A-A7A2-990A1E660847}"/>
                  </a:ext>
                </a:extLst>
              </p:cNvPr>
              <p:cNvSpPr/>
              <p:nvPr/>
            </p:nvSpPr>
            <p:spPr>
              <a:xfrm>
                <a:off x="10638501" y="3539007"/>
                <a:ext cx="108254" cy="38311"/>
              </a:xfrm>
              <a:custGeom>
                <a:avLst/>
                <a:gdLst>
                  <a:gd name="connsiteX0" fmla="*/ 54293 w 108254"/>
                  <a:gd name="connsiteY0" fmla="*/ 7832 h 38311"/>
                  <a:gd name="connsiteX1" fmla="*/ 49530 w 108254"/>
                  <a:gd name="connsiteY1" fmla="*/ 4022 h 38311"/>
                  <a:gd name="connsiteX2" fmla="*/ 44768 w 108254"/>
                  <a:gd name="connsiteY2" fmla="*/ 2117 h 38311"/>
                  <a:gd name="connsiteX3" fmla="*/ 32385 w 108254"/>
                  <a:gd name="connsiteY3" fmla="*/ 2117 h 38311"/>
                  <a:gd name="connsiteX4" fmla="*/ 28575 w 108254"/>
                  <a:gd name="connsiteY4" fmla="*/ 6879 h 38311"/>
                  <a:gd name="connsiteX5" fmla="*/ 23813 w 108254"/>
                  <a:gd name="connsiteY5" fmla="*/ 16404 h 38311"/>
                  <a:gd name="connsiteX6" fmla="*/ 19050 w 108254"/>
                  <a:gd name="connsiteY6" fmla="*/ 18309 h 38311"/>
                  <a:gd name="connsiteX7" fmla="*/ 11430 w 108254"/>
                  <a:gd name="connsiteY7" fmla="*/ 20214 h 38311"/>
                  <a:gd name="connsiteX8" fmla="*/ 6668 w 108254"/>
                  <a:gd name="connsiteY8" fmla="*/ 21167 h 38311"/>
                  <a:gd name="connsiteX9" fmla="*/ 1905 w 108254"/>
                  <a:gd name="connsiteY9" fmla="*/ 22119 h 38311"/>
                  <a:gd name="connsiteX10" fmla="*/ 0 w 108254"/>
                  <a:gd name="connsiteY10" fmla="*/ 28787 h 38311"/>
                  <a:gd name="connsiteX11" fmla="*/ 0 w 108254"/>
                  <a:gd name="connsiteY11" fmla="*/ 31644 h 38311"/>
                  <a:gd name="connsiteX12" fmla="*/ 4763 w 108254"/>
                  <a:gd name="connsiteY12" fmla="*/ 35454 h 38311"/>
                  <a:gd name="connsiteX13" fmla="*/ 9525 w 108254"/>
                  <a:gd name="connsiteY13" fmla="*/ 36407 h 38311"/>
                  <a:gd name="connsiteX14" fmla="*/ 22860 w 108254"/>
                  <a:gd name="connsiteY14" fmla="*/ 33549 h 38311"/>
                  <a:gd name="connsiteX15" fmla="*/ 34290 w 108254"/>
                  <a:gd name="connsiteY15" fmla="*/ 32597 h 38311"/>
                  <a:gd name="connsiteX16" fmla="*/ 40005 w 108254"/>
                  <a:gd name="connsiteY16" fmla="*/ 34502 h 38311"/>
                  <a:gd name="connsiteX17" fmla="*/ 44768 w 108254"/>
                  <a:gd name="connsiteY17" fmla="*/ 36407 h 38311"/>
                  <a:gd name="connsiteX18" fmla="*/ 60960 w 108254"/>
                  <a:gd name="connsiteY18" fmla="*/ 38312 h 38311"/>
                  <a:gd name="connsiteX19" fmla="*/ 68580 w 108254"/>
                  <a:gd name="connsiteY19" fmla="*/ 35454 h 38311"/>
                  <a:gd name="connsiteX20" fmla="*/ 72390 w 108254"/>
                  <a:gd name="connsiteY20" fmla="*/ 32597 h 38311"/>
                  <a:gd name="connsiteX21" fmla="*/ 78105 w 108254"/>
                  <a:gd name="connsiteY21" fmla="*/ 28787 h 38311"/>
                  <a:gd name="connsiteX22" fmla="*/ 90488 w 108254"/>
                  <a:gd name="connsiteY22" fmla="*/ 25929 h 38311"/>
                  <a:gd name="connsiteX23" fmla="*/ 99060 w 108254"/>
                  <a:gd name="connsiteY23" fmla="*/ 25929 h 38311"/>
                  <a:gd name="connsiteX24" fmla="*/ 105727 w 108254"/>
                  <a:gd name="connsiteY24" fmla="*/ 24024 h 38311"/>
                  <a:gd name="connsiteX25" fmla="*/ 107632 w 108254"/>
                  <a:gd name="connsiteY25" fmla="*/ 20214 h 38311"/>
                  <a:gd name="connsiteX26" fmla="*/ 107632 w 108254"/>
                  <a:gd name="connsiteY26" fmla="*/ 15452 h 38311"/>
                  <a:gd name="connsiteX27" fmla="*/ 107632 w 108254"/>
                  <a:gd name="connsiteY27" fmla="*/ 11642 h 38311"/>
                  <a:gd name="connsiteX28" fmla="*/ 106680 w 108254"/>
                  <a:gd name="connsiteY28" fmla="*/ 7832 h 38311"/>
                  <a:gd name="connsiteX29" fmla="*/ 91440 w 108254"/>
                  <a:gd name="connsiteY29" fmla="*/ 6879 h 38311"/>
                  <a:gd name="connsiteX30" fmla="*/ 83820 w 108254"/>
                  <a:gd name="connsiteY30" fmla="*/ 7832 h 38311"/>
                  <a:gd name="connsiteX31" fmla="*/ 69532 w 108254"/>
                  <a:gd name="connsiteY31" fmla="*/ 8784 h 38311"/>
                  <a:gd name="connsiteX32" fmla="*/ 63818 w 108254"/>
                  <a:gd name="connsiteY32" fmla="*/ 8784 h 38311"/>
                  <a:gd name="connsiteX33" fmla="*/ 54293 w 108254"/>
                  <a:gd name="connsiteY33" fmla="*/ 7832 h 3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8254" h="38311">
                    <a:moveTo>
                      <a:pt x="54293" y="7832"/>
                    </a:moveTo>
                    <a:lnTo>
                      <a:pt x="49530" y="4022"/>
                    </a:lnTo>
                    <a:lnTo>
                      <a:pt x="44768" y="2117"/>
                    </a:lnTo>
                    <a:cubicBezTo>
                      <a:pt x="44768" y="2117"/>
                      <a:pt x="36195" y="-2646"/>
                      <a:pt x="32385" y="2117"/>
                    </a:cubicBezTo>
                    <a:cubicBezTo>
                      <a:pt x="28575" y="6879"/>
                      <a:pt x="31432" y="2117"/>
                      <a:pt x="28575" y="6879"/>
                    </a:cubicBezTo>
                    <a:cubicBezTo>
                      <a:pt x="26670" y="11642"/>
                      <a:pt x="23813" y="16404"/>
                      <a:pt x="23813" y="16404"/>
                    </a:cubicBezTo>
                    <a:lnTo>
                      <a:pt x="19050" y="18309"/>
                    </a:lnTo>
                    <a:lnTo>
                      <a:pt x="11430" y="20214"/>
                    </a:lnTo>
                    <a:lnTo>
                      <a:pt x="6668" y="21167"/>
                    </a:lnTo>
                    <a:cubicBezTo>
                      <a:pt x="6668" y="21167"/>
                      <a:pt x="1905" y="20214"/>
                      <a:pt x="1905" y="22119"/>
                    </a:cubicBezTo>
                    <a:cubicBezTo>
                      <a:pt x="1905" y="24024"/>
                      <a:pt x="0" y="28787"/>
                      <a:pt x="0" y="28787"/>
                    </a:cubicBezTo>
                    <a:lnTo>
                      <a:pt x="0" y="31644"/>
                    </a:lnTo>
                    <a:lnTo>
                      <a:pt x="4763" y="35454"/>
                    </a:lnTo>
                    <a:cubicBezTo>
                      <a:pt x="4763" y="35454"/>
                      <a:pt x="5715" y="36407"/>
                      <a:pt x="9525" y="36407"/>
                    </a:cubicBezTo>
                    <a:cubicBezTo>
                      <a:pt x="12382" y="36407"/>
                      <a:pt x="22860" y="33549"/>
                      <a:pt x="22860" y="33549"/>
                    </a:cubicBezTo>
                    <a:lnTo>
                      <a:pt x="34290" y="32597"/>
                    </a:lnTo>
                    <a:lnTo>
                      <a:pt x="40005" y="34502"/>
                    </a:lnTo>
                    <a:lnTo>
                      <a:pt x="44768" y="36407"/>
                    </a:lnTo>
                    <a:cubicBezTo>
                      <a:pt x="52388" y="37359"/>
                      <a:pt x="60960" y="38312"/>
                      <a:pt x="60960" y="38312"/>
                    </a:cubicBezTo>
                    <a:lnTo>
                      <a:pt x="68580" y="35454"/>
                    </a:lnTo>
                    <a:lnTo>
                      <a:pt x="72390" y="32597"/>
                    </a:lnTo>
                    <a:cubicBezTo>
                      <a:pt x="72390" y="32597"/>
                      <a:pt x="73343" y="28787"/>
                      <a:pt x="78105" y="28787"/>
                    </a:cubicBezTo>
                    <a:cubicBezTo>
                      <a:pt x="82868" y="28787"/>
                      <a:pt x="85725" y="25929"/>
                      <a:pt x="90488" y="25929"/>
                    </a:cubicBezTo>
                    <a:cubicBezTo>
                      <a:pt x="95250" y="25929"/>
                      <a:pt x="99060" y="25929"/>
                      <a:pt x="99060" y="25929"/>
                    </a:cubicBezTo>
                    <a:lnTo>
                      <a:pt x="105727" y="24024"/>
                    </a:lnTo>
                    <a:lnTo>
                      <a:pt x="107632" y="20214"/>
                    </a:lnTo>
                    <a:lnTo>
                      <a:pt x="107632" y="15452"/>
                    </a:lnTo>
                    <a:lnTo>
                      <a:pt x="107632" y="11642"/>
                    </a:lnTo>
                    <a:cubicBezTo>
                      <a:pt x="107632" y="11642"/>
                      <a:pt x="109538" y="7832"/>
                      <a:pt x="106680" y="7832"/>
                    </a:cubicBezTo>
                    <a:cubicBezTo>
                      <a:pt x="103823" y="8784"/>
                      <a:pt x="91440" y="6879"/>
                      <a:pt x="91440" y="6879"/>
                    </a:cubicBezTo>
                    <a:lnTo>
                      <a:pt x="83820" y="7832"/>
                    </a:lnTo>
                    <a:lnTo>
                      <a:pt x="69532" y="8784"/>
                    </a:lnTo>
                    <a:lnTo>
                      <a:pt x="63818" y="8784"/>
                    </a:lnTo>
                    <a:lnTo>
                      <a:pt x="54293" y="7832"/>
                    </a:lnTo>
                    <a:close/>
                  </a:path>
                </a:pathLst>
              </a:custGeom>
              <a:grpFill/>
              <a:ln w="9525" cap="flat">
                <a:noFill/>
                <a:prstDash val="solid"/>
                <a:miter/>
              </a:ln>
            </p:spPr>
            <p:txBody>
              <a:bodyPr rtlCol="0" anchor="ctr"/>
              <a:lstStyle/>
              <a:p>
                <a:endParaRPr lang="en-US" sz="1765"/>
              </a:p>
            </p:txBody>
          </p:sp>
          <p:sp>
            <p:nvSpPr>
              <p:cNvPr id="61" name="Freeform: Shape 60">
                <a:extLst>
                  <a:ext uri="{FF2B5EF4-FFF2-40B4-BE49-F238E27FC236}">
                    <a16:creationId xmlns:a16="http://schemas.microsoft.com/office/drawing/2014/main" id="{9FD30008-A65A-43D1-8A52-F0A511A80EF0}"/>
                  </a:ext>
                </a:extLst>
              </p:cNvPr>
              <p:cNvSpPr/>
              <p:nvPr/>
            </p:nvSpPr>
            <p:spPr>
              <a:xfrm>
                <a:off x="10664219" y="3419204"/>
                <a:ext cx="51434" cy="105727"/>
              </a:xfrm>
              <a:custGeom>
                <a:avLst/>
                <a:gdLst>
                  <a:gd name="connsiteX0" fmla="*/ 0 w 51434"/>
                  <a:gd name="connsiteY0" fmla="*/ 20002 h 105727"/>
                  <a:gd name="connsiteX1" fmla="*/ 7620 w 51434"/>
                  <a:gd name="connsiteY1" fmla="*/ 29527 h 105727"/>
                  <a:gd name="connsiteX2" fmla="*/ 7620 w 51434"/>
                  <a:gd name="connsiteY2" fmla="*/ 39052 h 105727"/>
                  <a:gd name="connsiteX3" fmla="*/ 7620 w 51434"/>
                  <a:gd name="connsiteY3" fmla="*/ 45720 h 105727"/>
                  <a:gd name="connsiteX4" fmla="*/ 6668 w 51434"/>
                  <a:gd name="connsiteY4" fmla="*/ 53340 h 105727"/>
                  <a:gd name="connsiteX5" fmla="*/ 13335 w 51434"/>
                  <a:gd name="connsiteY5" fmla="*/ 65723 h 105727"/>
                  <a:gd name="connsiteX6" fmla="*/ 13335 w 51434"/>
                  <a:gd name="connsiteY6" fmla="*/ 72390 h 105727"/>
                  <a:gd name="connsiteX7" fmla="*/ 10477 w 51434"/>
                  <a:gd name="connsiteY7" fmla="*/ 81915 h 105727"/>
                  <a:gd name="connsiteX8" fmla="*/ 13335 w 51434"/>
                  <a:gd name="connsiteY8" fmla="*/ 96202 h 105727"/>
                  <a:gd name="connsiteX9" fmla="*/ 18097 w 51434"/>
                  <a:gd name="connsiteY9" fmla="*/ 100965 h 105727"/>
                  <a:gd name="connsiteX10" fmla="*/ 35243 w 51434"/>
                  <a:gd name="connsiteY10" fmla="*/ 105727 h 105727"/>
                  <a:gd name="connsiteX11" fmla="*/ 44768 w 51434"/>
                  <a:gd name="connsiteY11" fmla="*/ 104775 h 105727"/>
                  <a:gd name="connsiteX12" fmla="*/ 48577 w 51434"/>
                  <a:gd name="connsiteY12" fmla="*/ 98108 h 105727"/>
                  <a:gd name="connsiteX13" fmla="*/ 44768 w 51434"/>
                  <a:gd name="connsiteY13" fmla="*/ 85725 h 105727"/>
                  <a:gd name="connsiteX14" fmla="*/ 40005 w 51434"/>
                  <a:gd name="connsiteY14" fmla="*/ 80963 h 105727"/>
                  <a:gd name="connsiteX15" fmla="*/ 37147 w 51434"/>
                  <a:gd name="connsiteY15" fmla="*/ 71438 h 105727"/>
                  <a:gd name="connsiteX16" fmla="*/ 42863 w 51434"/>
                  <a:gd name="connsiteY16" fmla="*/ 66675 h 105727"/>
                  <a:gd name="connsiteX17" fmla="*/ 47625 w 51434"/>
                  <a:gd name="connsiteY17" fmla="*/ 62865 h 105727"/>
                  <a:gd name="connsiteX18" fmla="*/ 51435 w 51434"/>
                  <a:gd name="connsiteY18" fmla="*/ 58102 h 105727"/>
                  <a:gd name="connsiteX19" fmla="*/ 51435 w 51434"/>
                  <a:gd name="connsiteY19" fmla="*/ 48577 h 105727"/>
                  <a:gd name="connsiteX20" fmla="*/ 45720 w 51434"/>
                  <a:gd name="connsiteY20" fmla="*/ 38100 h 105727"/>
                  <a:gd name="connsiteX21" fmla="*/ 39052 w 51434"/>
                  <a:gd name="connsiteY21" fmla="*/ 27623 h 105727"/>
                  <a:gd name="connsiteX22" fmla="*/ 35243 w 51434"/>
                  <a:gd name="connsiteY22" fmla="*/ 13335 h 105727"/>
                  <a:gd name="connsiteX23" fmla="*/ 33338 w 51434"/>
                  <a:gd name="connsiteY23" fmla="*/ 6667 h 105727"/>
                  <a:gd name="connsiteX24" fmla="*/ 34290 w 51434"/>
                  <a:gd name="connsiteY24" fmla="*/ 4763 h 105727"/>
                  <a:gd name="connsiteX25" fmla="*/ 25718 w 51434"/>
                  <a:gd name="connsiteY25" fmla="*/ 0 h 105727"/>
                  <a:gd name="connsiteX26" fmla="*/ 19050 w 51434"/>
                  <a:gd name="connsiteY26" fmla="*/ 0 h 105727"/>
                  <a:gd name="connsiteX27" fmla="*/ 12382 w 51434"/>
                  <a:gd name="connsiteY27" fmla="*/ 0 h 105727"/>
                  <a:gd name="connsiteX28" fmla="*/ 5715 w 51434"/>
                  <a:gd name="connsiteY28" fmla="*/ 3810 h 105727"/>
                  <a:gd name="connsiteX29" fmla="*/ 2857 w 51434"/>
                  <a:gd name="connsiteY29" fmla="*/ 9525 h 105727"/>
                  <a:gd name="connsiteX30" fmla="*/ 0 w 51434"/>
                  <a:gd name="connsiteY30" fmla="*/ 20002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434" h="105727">
                    <a:moveTo>
                      <a:pt x="0" y="20002"/>
                    </a:moveTo>
                    <a:cubicBezTo>
                      <a:pt x="0" y="20002"/>
                      <a:pt x="6668" y="26670"/>
                      <a:pt x="7620" y="29527"/>
                    </a:cubicBezTo>
                    <a:cubicBezTo>
                      <a:pt x="8572" y="33338"/>
                      <a:pt x="6668" y="35242"/>
                      <a:pt x="7620" y="39052"/>
                    </a:cubicBezTo>
                    <a:cubicBezTo>
                      <a:pt x="8572" y="42863"/>
                      <a:pt x="8572" y="42863"/>
                      <a:pt x="7620" y="45720"/>
                    </a:cubicBezTo>
                    <a:cubicBezTo>
                      <a:pt x="6668" y="48577"/>
                      <a:pt x="6668" y="51435"/>
                      <a:pt x="6668" y="53340"/>
                    </a:cubicBezTo>
                    <a:cubicBezTo>
                      <a:pt x="6668" y="55245"/>
                      <a:pt x="12382" y="62865"/>
                      <a:pt x="13335" y="65723"/>
                    </a:cubicBezTo>
                    <a:cubicBezTo>
                      <a:pt x="14288" y="68580"/>
                      <a:pt x="12382" y="69533"/>
                      <a:pt x="13335" y="72390"/>
                    </a:cubicBezTo>
                    <a:cubicBezTo>
                      <a:pt x="14288" y="75248"/>
                      <a:pt x="11430" y="79058"/>
                      <a:pt x="10477" y="81915"/>
                    </a:cubicBezTo>
                    <a:cubicBezTo>
                      <a:pt x="10477" y="84773"/>
                      <a:pt x="9525" y="91440"/>
                      <a:pt x="13335" y="96202"/>
                    </a:cubicBezTo>
                    <a:cubicBezTo>
                      <a:pt x="18097" y="100965"/>
                      <a:pt x="18097" y="100965"/>
                      <a:pt x="18097" y="100965"/>
                    </a:cubicBezTo>
                    <a:lnTo>
                      <a:pt x="35243" y="105727"/>
                    </a:lnTo>
                    <a:lnTo>
                      <a:pt x="44768" y="104775"/>
                    </a:lnTo>
                    <a:cubicBezTo>
                      <a:pt x="44768" y="104775"/>
                      <a:pt x="46672" y="100965"/>
                      <a:pt x="48577" y="98108"/>
                    </a:cubicBezTo>
                    <a:cubicBezTo>
                      <a:pt x="49530" y="95250"/>
                      <a:pt x="44768" y="85725"/>
                      <a:pt x="44768" y="85725"/>
                    </a:cubicBezTo>
                    <a:cubicBezTo>
                      <a:pt x="44768" y="85725"/>
                      <a:pt x="39052" y="83820"/>
                      <a:pt x="40005" y="80963"/>
                    </a:cubicBezTo>
                    <a:cubicBezTo>
                      <a:pt x="40957" y="78105"/>
                      <a:pt x="37147" y="71438"/>
                      <a:pt x="37147" y="71438"/>
                    </a:cubicBezTo>
                    <a:lnTo>
                      <a:pt x="42863" y="66675"/>
                    </a:lnTo>
                    <a:lnTo>
                      <a:pt x="47625" y="62865"/>
                    </a:lnTo>
                    <a:cubicBezTo>
                      <a:pt x="47625" y="62865"/>
                      <a:pt x="50482" y="66675"/>
                      <a:pt x="51435" y="58102"/>
                    </a:cubicBezTo>
                    <a:cubicBezTo>
                      <a:pt x="51435" y="48577"/>
                      <a:pt x="51435" y="53340"/>
                      <a:pt x="51435" y="48577"/>
                    </a:cubicBezTo>
                    <a:cubicBezTo>
                      <a:pt x="51435" y="44767"/>
                      <a:pt x="47625" y="40005"/>
                      <a:pt x="45720" y="38100"/>
                    </a:cubicBezTo>
                    <a:cubicBezTo>
                      <a:pt x="44768" y="36195"/>
                      <a:pt x="38100" y="29527"/>
                      <a:pt x="39052" y="27623"/>
                    </a:cubicBezTo>
                    <a:cubicBezTo>
                      <a:pt x="40005" y="25717"/>
                      <a:pt x="34290" y="15240"/>
                      <a:pt x="35243" y="13335"/>
                    </a:cubicBezTo>
                    <a:cubicBezTo>
                      <a:pt x="36195" y="11430"/>
                      <a:pt x="32385" y="8573"/>
                      <a:pt x="33338" y="6667"/>
                    </a:cubicBezTo>
                    <a:cubicBezTo>
                      <a:pt x="34290" y="4763"/>
                      <a:pt x="34290" y="4763"/>
                      <a:pt x="34290" y="4763"/>
                    </a:cubicBezTo>
                    <a:lnTo>
                      <a:pt x="25718" y="0"/>
                    </a:lnTo>
                    <a:lnTo>
                      <a:pt x="19050" y="0"/>
                    </a:lnTo>
                    <a:lnTo>
                      <a:pt x="12382" y="0"/>
                    </a:lnTo>
                    <a:cubicBezTo>
                      <a:pt x="12382" y="0"/>
                      <a:pt x="6668" y="1905"/>
                      <a:pt x="5715" y="3810"/>
                    </a:cubicBezTo>
                    <a:cubicBezTo>
                      <a:pt x="4763" y="5715"/>
                      <a:pt x="5715" y="7620"/>
                      <a:pt x="2857" y="9525"/>
                    </a:cubicBezTo>
                    <a:cubicBezTo>
                      <a:pt x="952" y="10477"/>
                      <a:pt x="0" y="20002"/>
                      <a:pt x="0" y="20002"/>
                    </a:cubicBezTo>
                    <a:close/>
                  </a:path>
                </a:pathLst>
              </a:custGeom>
              <a:grpFill/>
              <a:ln w="9525" cap="flat">
                <a:noFill/>
                <a:prstDash val="solid"/>
                <a:miter/>
              </a:ln>
            </p:spPr>
            <p:txBody>
              <a:bodyPr rtlCol="0" anchor="ctr"/>
              <a:lstStyle/>
              <a:p>
                <a:endParaRPr lang="en-US" sz="1765"/>
              </a:p>
            </p:txBody>
          </p:sp>
          <p:sp>
            <p:nvSpPr>
              <p:cNvPr id="62" name="Freeform: Shape 61">
                <a:extLst>
                  <a:ext uri="{FF2B5EF4-FFF2-40B4-BE49-F238E27FC236}">
                    <a16:creationId xmlns:a16="http://schemas.microsoft.com/office/drawing/2014/main" id="{CF742A34-EECF-46AC-B2EF-52FCF9FE5A82}"/>
                  </a:ext>
                </a:extLst>
              </p:cNvPr>
              <p:cNvSpPr/>
              <p:nvPr/>
            </p:nvSpPr>
            <p:spPr>
              <a:xfrm>
                <a:off x="10452354" y="4072619"/>
                <a:ext cx="355903" cy="121919"/>
              </a:xfrm>
              <a:custGeom>
                <a:avLst/>
                <a:gdLst>
                  <a:gd name="connsiteX0" fmla="*/ 101374 w 355903"/>
                  <a:gd name="connsiteY0" fmla="*/ 29527 h 121919"/>
                  <a:gd name="connsiteX1" fmla="*/ 96612 w 355903"/>
                  <a:gd name="connsiteY1" fmla="*/ 30480 h 121919"/>
                  <a:gd name="connsiteX2" fmla="*/ 83277 w 355903"/>
                  <a:gd name="connsiteY2" fmla="*/ 29527 h 121919"/>
                  <a:gd name="connsiteX3" fmla="*/ 78515 w 355903"/>
                  <a:gd name="connsiteY3" fmla="*/ 26670 h 121919"/>
                  <a:gd name="connsiteX4" fmla="*/ 73752 w 355903"/>
                  <a:gd name="connsiteY4" fmla="*/ 22860 h 121919"/>
                  <a:gd name="connsiteX5" fmla="*/ 72799 w 355903"/>
                  <a:gd name="connsiteY5" fmla="*/ 14288 h 121919"/>
                  <a:gd name="connsiteX6" fmla="*/ 72799 w 355903"/>
                  <a:gd name="connsiteY6" fmla="*/ 10477 h 121919"/>
                  <a:gd name="connsiteX7" fmla="*/ 72799 w 355903"/>
                  <a:gd name="connsiteY7" fmla="*/ 2857 h 121919"/>
                  <a:gd name="connsiteX8" fmla="*/ 67085 w 355903"/>
                  <a:gd name="connsiteY8" fmla="*/ 0 h 121919"/>
                  <a:gd name="connsiteX9" fmla="*/ 54702 w 355903"/>
                  <a:gd name="connsiteY9" fmla="*/ 952 h 121919"/>
                  <a:gd name="connsiteX10" fmla="*/ 48035 w 355903"/>
                  <a:gd name="connsiteY10" fmla="*/ 1905 h 121919"/>
                  <a:gd name="connsiteX11" fmla="*/ 35652 w 355903"/>
                  <a:gd name="connsiteY11" fmla="*/ 4763 h 121919"/>
                  <a:gd name="connsiteX12" fmla="*/ 24222 w 355903"/>
                  <a:gd name="connsiteY12" fmla="*/ 3810 h 121919"/>
                  <a:gd name="connsiteX13" fmla="*/ 17555 w 355903"/>
                  <a:gd name="connsiteY13" fmla="*/ 5715 h 121919"/>
                  <a:gd name="connsiteX14" fmla="*/ 5172 w 355903"/>
                  <a:gd name="connsiteY14" fmla="*/ 9525 h 121919"/>
                  <a:gd name="connsiteX15" fmla="*/ 3267 w 355903"/>
                  <a:gd name="connsiteY15" fmla="*/ 12382 h 121919"/>
                  <a:gd name="connsiteX16" fmla="*/ 2315 w 355903"/>
                  <a:gd name="connsiteY16" fmla="*/ 15240 h 121919"/>
                  <a:gd name="connsiteX17" fmla="*/ 13745 w 355903"/>
                  <a:gd name="connsiteY17" fmla="*/ 17145 h 121919"/>
                  <a:gd name="connsiteX18" fmla="*/ 22317 w 355903"/>
                  <a:gd name="connsiteY18" fmla="*/ 14288 h 121919"/>
                  <a:gd name="connsiteX19" fmla="*/ 38510 w 355903"/>
                  <a:gd name="connsiteY19" fmla="*/ 20002 h 121919"/>
                  <a:gd name="connsiteX20" fmla="*/ 39462 w 355903"/>
                  <a:gd name="connsiteY20" fmla="*/ 31432 h 121919"/>
                  <a:gd name="connsiteX21" fmla="*/ 37557 w 355903"/>
                  <a:gd name="connsiteY21" fmla="*/ 38100 h 121919"/>
                  <a:gd name="connsiteX22" fmla="*/ 50892 w 355903"/>
                  <a:gd name="connsiteY22" fmla="*/ 45720 h 121919"/>
                  <a:gd name="connsiteX23" fmla="*/ 57560 w 355903"/>
                  <a:gd name="connsiteY23" fmla="*/ 45720 h 121919"/>
                  <a:gd name="connsiteX24" fmla="*/ 58512 w 355903"/>
                  <a:gd name="connsiteY24" fmla="*/ 47625 h 121919"/>
                  <a:gd name="connsiteX25" fmla="*/ 79467 w 355903"/>
                  <a:gd name="connsiteY25" fmla="*/ 49530 h 121919"/>
                  <a:gd name="connsiteX26" fmla="*/ 93755 w 355903"/>
                  <a:gd name="connsiteY26" fmla="*/ 48577 h 121919"/>
                  <a:gd name="connsiteX27" fmla="*/ 108995 w 355903"/>
                  <a:gd name="connsiteY27" fmla="*/ 50482 h 121919"/>
                  <a:gd name="connsiteX28" fmla="*/ 115662 w 355903"/>
                  <a:gd name="connsiteY28" fmla="*/ 49530 h 121919"/>
                  <a:gd name="connsiteX29" fmla="*/ 118520 w 355903"/>
                  <a:gd name="connsiteY29" fmla="*/ 51435 h 121919"/>
                  <a:gd name="connsiteX30" fmla="*/ 128045 w 355903"/>
                  <a:gd name="connsiteY30" fmla="*/ 57150 h 121919"/>
                  <a:gd name="connsiteX31" fmla="*/ 137570 w 355903"/>
                  <a:gd name="connsiteY31" fmla="*/ 61913 h 121919"/>
                  <a:gd name="connsiteX32" fmla="*/ 147095 w 355903"/>
                  <a:gd name="connsiteY32" fmla="*/ 70485 h 121919"/>
                  <a:gd name="connsiteX33" fmla="*/ 147095 w 355903"/>
                  <a:gd name="connsiteY33" fmla="*/ 77152 h 121919"/>
                  <a:gd name="connsiteX34" fmla="*/ 142332 w 355903"/>
                  <a:gd name="connsiteY34" fmla="*/ 81915 h 121919"/>
                  <a:gd name="connsiteX35" fmla="*/ 141380 w 355903"/>
                  <a:gd name="connsiteY35" fmla="*/ 84772 h 121919"/>
                  <a:gd name="connsiteX36" fmla="*/ 135665 w 355903"/>
                  <a:gd name="connsiteY36" fmla="*/ 85725 h 121919"/>
                  <a:gd name="connsiteX37" fmla="*/ 134712 w 355903"/>
                  <a:gd name="connsiteY37" fmla="*/ 87630 h 121919"/>
                  <a:gd name="connsiteX38" fmla="*/ 128997 w 355903"/>
                  <a:gd name="connsiteY38" fmla="*/ 94297 h 121919"/>
                  <a:gd name="connsiteX39" fmla="*/ 148047 w 355903"/>
                  <a:gd name="connsiteY39" fmla="*/ 99060 h 121919"/>
                  <a:gd name="connsiteX40" fmla="*/ 150905 w 355903"/>
                  <a:gd name="connsiteY40" fmla="*/ 99060 h 121919"/>
                  <a:gd name="connsiteX41" fmla="*/ 159477 w 355903"/>
                  <a:gd name="connsiteY41" fmla="*/ 93345 h 121919"/>
                  <a:gd name="connsiteX42" fmla="*/ 175670 w 355903"/>
                  <a:gd name="connsiteY42" fmla="*/ 95250 h 121919"/>
                  <a:gd name="connsiteX43" fmla="*/ 183290 w 355903"/>
                  <a:gd name="connsiteY43" fmla="*/ 99060 h 121919"/>
                  <a:gd name="connsiteX44" fmla="*/ 186147 w 355903"/>
                  <a:gd name="connsiteY44" fmla="*/ 104775 h 121919"/>
                  <a:gd name="connsiteX45" fmla="*/ 189005 w 355903"/>
                  <a:gd name="connsiteY45" fmla="*/ 109538 h 121919"/>
                  <a:gd name="connsiteX46" fmla="*/ 209007 w 355903"/>
                  <a:gd name="connsiteY46" fmla="*/ 112395 h 121919"/>
                  <a:gd name="connsiteX47" fmla="*/ 217580 w 355903"/>
                  <a:gd name="connsiteY47" fmla="*/ 110490 h 121919"/>
                  <a:gd name="connsiteX48" fmla="*/ 226152 w 355903"/>
                  <a:gd name="connsiteY48" fmla="*/ 109538 h 121919"/>
                  <a:gd name="connsiteX49" fmla="*/ 233772 w 355903"/>
                  <a:gd name="connsiteY49" fmla="*/ 105727 h 121919"/>
                  <a:gd name="connsiteX50" fmla="*/ 237582 w 355903"/>
                  <a:gd name="connsiteY50" fmla="*/ 97155 h 121919"/>
                  <a:gd name="connsiteX51" fmla="*/ 239487 w 355903"/>
                  <a:gd name="connsiteY51" fmla="*/ 93345 h 121919"/>
                  <a:gd name="connsiteX52" fmla="*/ 259490 w 355903"/>
                  <a:gd name="connsiteY52" fmla="*/ 90488 h 121919"/>
                  <a:gd name="connsiteX53" fmla="*/ 270920 w 355903"/>
                  <a:gd name="connsiteY53" fmla="*/ 90488 h 121919"/>
                  <a:gd name="connsiteX54" fmla="*/ 275682 w 355903"/>
                  <a:gd name="connsiteY54" fmla="*/ 93345 h 121919"/>
                  <a:gd name="connsiteX55" fmla="*/ 283302 w 355903"/>
                  <a:gd name="connsiteY55" fmla="*/ 100013 h 121919"/>
                  <a:gd name="connsiteX56" fmla="*/ 289017 w 355903"/>
                  <a:gd name="connsiteY56" fmla="*/ 105727 h 121919"/>
                  <a:gd name="connsiteX57" fmla="*/ 295685 w 355903"/>
                  <a:gd name="connsiteY57" fmla="*/ 109538 h 121919"/>
                  <a:gd name="connsiteX58" fmla="*/ 297590 w 355903"/>
                  <a:gd name="connsiteY58" fmla="*/ 112395 h 121919"/>
                  <a:gd name="connsiteX59" fmla="*/ 313782 w 355903"/>
                  <a:gd name="connsiteY59" fmla="*/ 120015 h 121919"/>
                  <a:gd name="connsiteX60" fmla="*/ 319497 w 355903"/>
                  <a:gd name="connsiteY60" fmla="*/ 121920 h 121919"/>
                  <a:gd name="connsiteX61" fmla="*/ 324260 w 355903"/>
                  <a:gd name="connsiteY61" fmla="*/ 121920 h 121919"/>
                  <a:gd name="connsiteX62" fmla="*/ 340452 w 355903"/>
                  <a:gd name="connsiteY62" fmla="*/ 121920 h 121919"/>
                  <a:gd name="connsiteX63" fmla="*/ 346167 w 355903"/>
                  <a:gd name="connsiteY63" fmla="*/ 119063 h 121919"/>
                  <a:gd name="connsiteX64" fmla="*/ 349977 w 355903"/>
                  <a:gd name="connsiteY64" fmla="*/ 119063 h 121919"/>
                  <a:gd name="connsiteX65" fmla="*/ 353787 w 355903"/>
                  <a:gd name="connsiteY65" fmla="*/ 115252 h 121919"/>
                  <a:gd name="connsiteX66" fmla="*/ 353787 w 355903"/>
                  <a:gd name="connsiteY66" fmla="*/ 111442 h 121919"/>
                  <a:gd name="connsiteX67" fmla="*/ 349024 w 355903"/>
                  <a:gd name="connsiteY67" fmla="*/ 109538 h 121919"/>
                  <a:gd name="connsiteX68" fmla="*/ 338547 w 355903"/>
                  <a:gd name="connsiteY68" fmla="*/ 101917 h 121919"/>
                  <a:gd name="connsiteX69" fmla="*/ 332832 w 355903"/>
                  <a:gd name="connsiteY69" fmla="*/ 94297 h 121919"/>
                  <a:gd name="connsiteX70" fmla="*/ 329022 w 355903"/>
                  <a:gd name="connsiteY70" fmla="*/ 89535 h 121919"/>
                  <a:gd name="connsiteX71" fmla="*/ 317592 w 355903"/>
                  <a:gd name="connsiteY71" fmla="*/ 84772 h 121919"/>
                  <a:gd name="connsiteX72" fmla="*/ 301399 w 355903"/>
                  <a:gd name="connsiteY72" fmla="*/ 76200 h 121919"/>
                  <a:gd name="connsiteX73" fmla="*/ 293780 w 355903"/>
                  <a:gd name="connsiteY73" fmla="*/ 68580 h 121919"/>
                  <a:gd name="connsiteX74" fmla="*/ 284255 w 355903"/>
                  <a:gd name="connsiteY74" fmla="*/ 60960 h 121919"/>
                  <a:gd name="connsiteX75" fmla="*/ 273777 w 355903"/>
                  <a:gd name="connsiteY75" fmla="*/ 56197 h 121919"/>
                  <a:gd name="connsiteX76" fmla="*/ 251870 w 355903"/>
                  <a:gd name="connsiteY76" fmla="*/ 49530 h 121919"/>
                  <a:gd name="connsiteX77" fmla="*/ 242345 w 355903"/>
                  <a:gd name="connsiteY77" fmla="*/ 44767 h 121919"/>
                  <a:gd name="connsiteX78" fmla="*/ 229962 w 355903"/>
                  <a:gd name="connsiteY78" fmla="*/ 37147 h 121919"/>
                  <a:gd name="connsiteX79" fmla="*/ 220437 w 355903"/>
                  <a:gd name="connsiteY79" fmla="*/ 32385 h 121919"/>
                  <a:gd name="connsiteX80" fmla="*/ 203292 w 355903"/>
                  <a:gd name="connsiteY80" fmla="*/ 26670 h 121919"/>
                  <a:gd name="connsiteX81" fmla="*/ 187099 w 355903"/>
                  <a:gd name="connsiteY81" fmla="*/ 22860 h 121919"/>
                  <a:gd name="connsiteX82" fmla="*/ 168049 w 355903"/>
                  <a:gd name="connsiteY82" fmla="*/ 19050 h 121919"/>
                  <a:gd name="connsiteX83" fmla="*/ 153762 w 355903"/>
                  <a:gd name="connsiteY83" fmla="*/ 19050 h 121919"/>
                  <a:gd name="connsiteX84" fmla="*/ 142332 w 355903"/>
                  <a:gd name="connsiteY84" fmla="*/ 17145 h 121919"/>
                  <a:gd name="connsiteX85" fmla="*/ 128045 w 355903"/>
                  <a:gd name="connsiteY85" fmla="*/ 18097 h 121919"/>
                  <a:gd name="connsiteX86" fmla="*/ 118520 w 355903"/>
                  <a:gd name="connsiteY86" fmla="*/ 20002 h 121919"/>
                  <a:gd name="connsiteX87" fmla="*/ 116615 w 355903"/>
                  <a:gd name="connsiteY87" fmla="*/ 21907 h 121919"/>
                  <a:gd name="connsiteX88" fmla="*/ 101374 w 355903"/>
                  <a:gd name="connsiteY88" fmla="*/ 29527 h 1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55903" h="121919">
                    <a:moveTo>
                      <a:pt x="101374" y="29527"/>
                    </a:moveTo>
                    <a:cubicBezTo>
                      <a:pt x="101374" y="29527"/>
                      <a:pt x="100422" y="30480"/>
                      <a:pt x="96612" y="30480"/>
                    </a:cubicBezTo>
                    <a:cubicBezTo>
                      <a:pt x="93755" y="30480"/>
                      <a:pt x="83277" y="29527"/>
                      <a:pt x="83277" y="29527"/>
                    </a:cubicBezTo>
                    <a:lnTo>
                      <a:pt x="78515" y="26670"/>
                    </a:lnTo>
                    <a:lnTo>
                      <a:pt x="73752" y="22860"/>
                    </a:lnTo>
                    <a:lnTo>
                      <a:pt x="72799" y="14288"/>
                    </a:lnTo>
                    <a:lnTo>
                      <a:pt x="72799" y="10477"/>
                    </a:lnTo>
                    <a:lnTo>
                      <a:pt x="72799" y="2857"/>
                    </a:lnTo>
                    <a:lnTo>
                      <a:pt x="67085" y="0"/>
                    </a:lnTo>
                    <a:lnTo>
                      <a:pt x="54702" y="952"/>
                    </a:lnTo>
                    <a:cubicBezTo>
                      <a:pt x="54702" y="952"/>
                      <a:pt x="51845" y="-953"/>
                      <a:pt x="48035" y="1905"/>
                    </a:cubicBezTo>
                    <a:cubicBezTo>
                      <a:pt x="44224" y="4763"/>
                      <a:pt x="40415" y="3810"/>
                      <a:pt x="35652" y="4763"/>
                    </a:cubicBezTo>
                    <a:cubicBezTo>
                      <a:pt x="30890" y="5715"/>
                      <a:pt x="24222" y="3810"/>
                      <a:pt x="24222" y="3810"/>
                    </a:cubicBezTo>
                    <a:lnTo>
                      <a:pt x="17555" y="5715"/>
                    </a:lnTo>
                    <a:lnTo>
                      <a:pt x="5172" y="9525"/>
                    </a:lnTo>
                    <a:lnTo>
                      <a:pt x="3267" y="12382"/>
                    </a:lnTo>
                    <a:cubicBezTo>
                      <a:pt x="3267" y="12382"/>
                      <a:pt x="-3401" y="13335"/>
                      <a:pt x="2315" y="15240"/>
                    </a:cubicBezTo>
                    <a:cubicBezTo>
                      <a:pt x="8030" y="17145"/>
                      <a:pt x="13745" y="17145"/>
                      <a:pt x="13745" y="17145"/>
                    </a:cubicBezTo>
                    <a:lnTo>
                      <a:pt x="22317" y="14288"/>
                    </a:lnTo>
                    <a:cubicBezTo>
                      <a:pt x="28985" y="19050"/>
                      <a:pt x="37557" y="8572"/>
                      <a:pt x="38510" y="20002"/>
                    </a:cubicBezTo>
                    <a:cubicBezTo>
                      <a:pt x="39462" y="31432"/>
                      <a:pt x="40415" y="27622"/>
                      <a:pt x="39462" y="31432"/>
                    </a:cubicBezTo>
                    <a:cubicBezTo>
                      <a:pt x="38510" y="35242"/>
                      <a:pt x="37557" y="38100"/>
                      <a:pt x="37557" y="38100"/>
                    </a:cubicBezTo>
                    <a:lnTo>
                      <a:pt x="50892" y="45720"/>
                    </a:lnTo>
                    <a:cubicBezTo>
                      <a:pt x="50892" y="45720"/>
                      <a:pt x="56607" y="43815"/>
                      <a:pt x="57560" y="45720"/>
                    </a:cubicBezTo>
                    <a:cubicBezTo>
                      <a:pt x="58512" y="47625"/>
                      <a:pt x="58512" y="47625"/>
                      <a:pt x="58512" y="47625"/>
                    </a:cubicBezTo>
                    <a:lnTo>
                      <a:pt x="79467" y="49530"/>
                    </a:lnTo>
                    <a:lnTo>
                      <a:pt x="93755" y="48577"/>
                    </a:lnTo>
                    <a:lnTo>
                      <a:pt x="108995" y="50482"/>
                    </a:lnTo>
                    <a:cubicBezTo>
                      <a:pt x="108995" y="50482"/>
                      <a:pt x="111852" y="48577"/>
                      <a:pt x="115662" y="49530"/>
                    </a:cubicBezTo>
                    <a:cubicBezTo>
                      <a:pt x="118520" y="51435"/>
                      <a:pt x="115662" y="48577"/>
                      <a:pt x="118520" y="51435"/>
                    </a:cubicBezTo>
                    <a:cubicBezTo>
                      <a:pt x="121377" y="54292"/>
                      <a:pt x="127092" y="53340"/>
                      <a:pt x="128045" y="57150"/>
                    </a:cubicBezTo>
                    <a:cubicBezTo>
                      <a:pt x="128997" y="60960"/>
                      <a:pt x="128045" y="53340"/>
                      <a:pt x="137570" y="61913"/>
                    </a:cubicBezTo>
                    <a:cubicBezTo>
                      <a:pt x="147095" y="70485"/>
                      <a:pt x="147095" y="66675"/>
                      <a:pt x="147095" y="70485"/>
                    </a:cubicBezTo>
                    <a:cubicBezTo>
                      <a:pt x="147095" y="74295"/>
                      <a:pt x="147095" y="77152"/>
                      <a:pt x="147095" y="77152"/>
                    </a:cubicBezTo>
                    <a:cubicBezTo>
                      <a:pt x="147095" y="77152"/>
                      <a:pt x="143285" y="79057"/>
                      <a:pt x="142332" y="81915"/>
                    </a:cubicBezTo>
                    <a:cubicBezTo>
                      <a:pt x="141380" y="84772"/>
                      <a:pt x="141380" y="84772"/>
                      <a:pt x="141380" y="84772"/>
                    </a:cubicBezTo>
                    <a:cubicBezTo>
                      <a:pt x="141380" y="84772"/>
                      <a:pt x="136617" y="83820"/>
                      <a:pt x="135665" y="85725"/>
                    </a:cubicBezTo>
                    <a:cubicBezTo>
                      <a:pt x="134712" y="87630"/>
                      <a:pt x="140427" y="80963"/>
                      <a:pt x="134712" y="87630"/>
                    </a:cubicBezTo>
                    <a:cubicBezTo>
                      <a:pt x="128997" y="94297"/>
                      <a:pt x="128997" y="94297"/>
                      <a:pt x="128997" y="94297"/>
                    </a:cubicBezTo>
                    <a:cubicBezTo>
                      <a:pt x="128997" y="94297"/>
                      <a:pt x="144237" y="99060"/>
                      <a:pt x="148047" y="99060"/>
                    </a:cubicBezTo>
                    <a:cubicBezTo>
                      <a:pt x="150905" y="99060"/>
                      <a:pt x="150905" y="99060"/>
                      <a:pt x="150905" y="99060"/>
                    </a:cubicBezTo>
                    <a:cubicBezTo>
                      <a:pt x="150905" y="99060"/>
                      <a:pt x="143285" y="91440"/>
                      <a:pt x="159477" y="93345"/>
                    </a:cubicBezTo>
                    <a:cubicBezTo>
                      <a:pt x="175670" y="95250"/>
                      <a:pt x="175670" y="95250"/>
                      <a:pt x="175670" y="95250"/>
                    </a:cubicBezTo>
                    <a:lnTo>
                      <a:pt x="183290" y="99060"/>
                    </a:lnTo>
                    <a:cubicBezTo>
                      <a:pt x="183290" y="99060"/>
                      <a:pt x="183290" y="100013"/>
                      <a:pt x="186147" y="104775"/>
                    </a:cubicBezTo>
                    <a:cubicBezTo>
                      <a:pt x="189005" y="109538"/>
                      <a:pt x="177574" y="104775"/>
                      <a:pt x="189005" y="109538"/>
                    </a:cubicBezTo>
                    <a:cubicBezTo>
                      <a:pt x="201387" y="114300"/>
                      <a:pt x="205197" y="112395"/>
                      <a:pt x="209007" y="112395"/>
                    </a:cubicBezTo>
                    <a:cubicBezTo>
                      <a:pt x="211865" y="112395"/>
                      <a:pt x="217580" y="110490"/>
                      <a:pt x="217580" y="110490"/>
                    </a:cubicBezTo>
                    <a:cubicBezTo>
                      <a:pt x="217580" y="110490"/>
                      <a:pt x="219485" y="108585"/>
                      <a:pt x="226152" y="109538"/>
                    </a:cubicBezTo>
                    <a:cubicBezTo>
                      <a:pt x="232820" y="110490"/>
                      <a:pt x="233772" y="105727"/>
                      <a:pt x="233772" y="105727"/>
                    </a:cubicBezTo>
                    <a:lnTo>
                      <a:pt x="237582" y="97155"/>
                    </a:lnTo>
                    <a:lnTo>
                      <a:pt x="239487" y="93345"/>
                    </a:lnTo>
                    <a:cubicBezTo>
                      <a:pt x="254727" y="91440"/>
                      <a:pt x="259490" y="90488"/>
                      <a:pt x="259490" y="90488"/>
                    </a:cubicBezTo>
                    <a:lnTo>
                      <a:pt x="270920" y="90488"/>
                    </a:lnTo>
                    <a:cubicBezTo>
                      <a:pt x="270920" y="90488"/>
                      <a:pt x="273777" y="91440"/>
                      <a:pt x="275682" y="93345"/>
                    </a:cubicBezTo>
                    <a:cubicBezTo>
                      <a:pt x="276635" y="95250"/>
                      <a:pt x="282349" y="98107"/>
                      <a:pt x="283302" y="100013"/>
                    </a:cubicBezTo>
                    <a:cubicBezTo>
                      <a:pt x="284255" y="101917"/>
                      <a:pt x="289017" y="105727"/>
                      <a:pt x="289017" y="105727"/>
                    </a:cubicBezTo>
                    <a:cubicBezTo>
                      <a:pt x="289017" y="105727"/>
                      <a:pt x="293780" y="106680"/>
                      <a:pt x="295685" y="109538"/>
                    </a:cubicBezTo>
                    <a:cubicBezTo>
                      <a:pt x="297590" y="112395"/>
                      <a:pt x="290922" y="109538"/>
                      <a:pt x="297590" y="112395"/>
                    </a:cubicBezTo>
                    <a:cubicBezTo>
                      <a:pt x="304257" y="115252"/>
                      <a:pt x="308067" y="117157"/>
                      <a:pt x="313782" y="120015"/>
                    </a:cubicBezTo>
                    <a:cubicBezTo>
                      <a:pt x="319497" y="121920"/>
                      <a:pt x="314735" y="121920"/>
                      <a:pt x="319497" y="121920"/>
                    </a:cubicBezTo>
                    <a:cubicBezTo>
                      <a:pt x="324260" y="121920"/>
                      <a:pt x="317592" y="121920"/>
                      <a:pt x="324260" y="121920"/>
                    </a:cubicBezTo>
                    <a:cubicBezTo>
                      <a:pt x="330927" y="121920"/>
                      <a:pt x="340452" y="121920"/>
                      <a:pt x="340452" y="121920"/>
                    </a:cubicBezTo>
                    <a:cubicBezTo>
                      <a:pt x="340452" y="121920"/>
                      <a:pt x="342357" y="119063"/>
                      <a:pt x="346167" y="119063"/>
                    </a:cubicBezTo>
                    <a:cubicBezTo>
                      <a:pt x="349977" y="119063"/>
                      <a:pt x="349977" y="119063"/>
                      <a:pt x="349977" y="119063"/>
                    </a:cubicBezTo>
                    <a:lnTo>
                      <a:pt x="353787" y="115252"/>
                    </a:lnTo>
                    <a:cubicBezTo>
                      <a:pt x="353787" y="115252"/>
                      <a:pt x="358549" y="112395"/>
                      <a:pt x="353787" y="111442"/>
                    </a:cubicBezTo>
                    <a:cubicBezTo>
                      <a:pt x="349024" y="109538"/>
                      <a:pt x="354740" y="112395"/>
                      <a:pt x="349024" y="109538"/>
                    </a:cubicBezTo>
                    <a:cubicBezTo>
                      <a:pt x="343310" y="106680"/>
                      <a:pt x="338547" y="104775"/>
                      <a:pt x="338547" y="101917"/>
                    </a:cubicBezTo>
                    <a:cubicBezTo>
                      <a:pt x="338547" y="100013"/>
                      <a:pt x="335690" y="96202"/>
                      <a:pt x="332832" y="94297"/>
                    </a:cubicBezTo>
                    <a:cubicBezTo>
                      <a:pt x="330927" y="92392"/>
                      <a:pt x="333785" y="90488"/>
                      <a:pt x="329022" y="89535"/>
                    </a:cubicBezTo>
                    <a:cubicBezTo>
                      <a:pt x="323307" y="87630"/>
                      <a:pt x="321402" y="85725"/>
                      <a:pt x="317592" y="84772"/>
                    </a:cubicBezTo>
                    <a:cubicBezTo>
                      <a:pt x="314735" y="83820"/>
                      <a:pt x="301399" y="76200"/>
                      <a:pt x="301399" y="76200"/>
                    </a:cubicBezTo>
                    <a:lnTo>
                      <a:pt x="293780" y="68580"/>
                    </a:lnTo>
                    <a:lnTo>
                      <a:pt x="284255" y="60960"/>
                    </a:lnTo>
                    <a:cubicBezTo>
                      <a:pt x="284255" y="60960"/>
                      <a:pt x="276635" y="56197"/>
                      <a:pt x="273777" y="56197"/>
                    </a:cubicBezTo>
                    <a:cubicBezTo>
                      <a:pt x="270920" y="56197"/>
                      <a:pt x="256632" y="50482"/>
                      <a:pt x="251870" y="49530"/>
                    </a:cubicBezTo>
                    <a:cubicBezTo>
                      <a:pt x="247107" y="48577"/>
                      <a:pt x="242345" y="44767"/>
                      <a:pt x="242345" y="44767"/>
                    </a:cubicBezTo>
                    <a:lnTo>
                      <a:pt x="229962" y="37147"/>
                    </a:lnTo>
                    <a:lnTo>
                      <a:pt x="220437" y="32385"/>
                    </a:lnTo>
                    <a:cubicBezTo>
                      <a:pt x="220437" y="32385"/>
                      <a:pt x="207102" y="27622"/>
                      <a:pt x="203292" y="26670"/>
                    </a:cubicBezTo>
                    <a:cubicBezTo>
                      <a:pt x="198530" y="25717"/>
                      <a:pt x="187099" y="22860"/>
                      <a:pt x="187099" y="22860"/>
                    </a:cubicBezTo>
                    <a:lnTo>
                      <a:pt x="168049" y="19050"/>
                    </a:lnTo>
                    <a:lnTo>
                      <a:pt x="153762" y="19050"/>
                    </a:lnTo>
                    <a:cubicBezTo>
                      <a:pt x="153762" y="19050"/>
                      <a:pt x="151857" y="17145"/>
                      <a:pt x="142332" y="17145"/>
                    </a:cubicBezTo>
                    <a:cubicBezTo>
                      <a:pt x="133760" y="18097"/>
                      <a:pt x="128045" y="18097"/>
                      <a:pt x="128045" y="18097"/>
                    </a:cubicBezTo>
                    <a:cubicBezTo>
                      <a:pt x="128045" y="18097"/>
                      <a:pt x="120424" y="18097"/>
                      <a:pt x="118520" y="20002"/>
                    </a:cubicBezTo>
                    <a:cubicBezTo>
                      <a:pt x="116615" y="21907"/>
                      <a:pt x="116615" y="21907"/>
                      <a:pt x="116615" y="21907"/>
                    </a:cubicBezTo>
                    <a:lnTo>
                      <a:pt x="101374" y="29527"/>
                    </a:lnTo>
                    <a:close/>
                  </a:path>
                </a:pathLst>
              </a:custGeom>
              <a:grpFill/>
              <a:ln w="9525" cap="flat">
                <a:noFill/>
                <a:prstDash val="solid"/>
                <a:miter/>
              </a:ln>
            </p:spPr>
            <p:txBody>
              <a:bodyPr rtlCol="0" anchor="ctr"/>
              <a:lstStyle/>
              <a:p>
                <a:endParaRPr lang="en-US" sz="1765"/>
              </a:p>
            </p:txBody>
          </p:sp>
          <p:sp>
            <p:nvSpPr>
              <p:cNvPr id="63" name="Freeform: Shape 62">
                <a:extLst>
                  <a:ext uri="{FF2B5EF4-FFF2-40B4-BE49-F238E27FC236}">
                    <a16:creationId xmlns:a16="http://schemas.microsoft.com/office/drawing/2014/main" id="{3D200AD2-E196-4C7C-B5D2-6F85DE2A52DD}"/>
                  </a:ext>
                </a:extLst>
              </p:cNvPr>
              <p:cNvSpPr/>
              <p:nvPr/>
            </p:nvSpPr>
            <p:spPr>
              <a:xfrm>
                <a:off x="10779471" y="4121196"/>
                <a:ext cx="65722" cy="27622"/>
              </a:xfrm>
              <a:custGeom>
                <a:avLst/>
                <a:gdLst>
                  <a:gd name="connsiteX0" fmla="*/ 65723 w 65722"/>
                  <a:gd name="connsiteY0" fmla="*/ 4763 h 27622"/>
                  <a:gd name="connsiteX1" fmla="*/ 58103 w 65722"/>
                  <a:gd name="connsiteY1" fmla="*/ 16192 h 27622"/>
                  <a:gd name="connsiteX2" fmla="*/ 56198 w 65722"/>
                  <a:gd name="connsiteY2" fmla="*/ 20003 h 27622"/>
                  <a:gd name="connsiteX3" fmla="*/ 44768 w 65722"/>
                  <a:gd name="connsiteY3" fmla="*/ 27623 h 27622"/>
                  <a:gd name="connsiteX4" fmla="*/ 36195 w 65722"/>
                  <a:gd name="connsiteY4" fmla="*/ 26670 h 27622"/>
                  <a:gd name="connsiteX5" fmla="*/ 31432 w 65722"/>
                  <a:gd name="connsiteY5" fmla="*/ 24765 h 27622"/>
                  <a:gd name="connsiteX6" fmla="*/ 24765 w 65722"/>
                  <a:gd name="connsiteY6" fmla="*/ 24765 h 27622"/>
                  <a:gd name="connsiteX7" fmla="*/ 15240 w 65722"/>
                  <a:gd name="connsiteY7" fmla="*/ 25717 h 27622"/>
                  <a:gd name="connsiteX8" fmla="*/ 8573 w 65722"/>
                  <a:gd name="connsiteY8" fmla="*/ 26670 h 27622"/>
                  <a:gd name="connsiteX9" fmla="*/ 0 w 65722"/>
                  <a:gd name="connsiteY9" fmla="*/ 18098 h 27622"/>
                  <a:gd name="connsiteX10" fmla="*/ 5715 w 65722"/>
                  <a:gd name="connsiteY10" fmla="*/ 16192 h 27622"/>
                  <a:gd name="connsiteX11" fmla="*/ 18098 w 65722"/>
                  <a:gd name="connsiteY11" fmla="*/ 16192 h 27622"/>
                  <a:gd name="connsiteX12" fmla="*/ 29528 w 65722"/>
                  <a:gd name="connsiteY12" fmla="*/ 16192 h 27622"/>
                  <a:gd name="connsiteX13" fmla="*/ 38100 w 65722"/>
                  <a:gd name="connsiteY13" fmla="*/ 13335 h 27622"/>
                  <a:gd name="connsiteX14" fmla="*/ 48578 w 65722"/>
                  <a:gd name="connsiteY14" fmla="*/ 7620 h 27622"/>
                  <a:gd name="connsiteX15" fmla="*/ 49530 w 65722"/>
                  <a:gd name="connsiteY15" fmla="*/ 3810 h 27622"/>
                  <a:gd name="connsiteX16" fmla="*/ 53340 w 65722"/>
                  <a:gd name="connsiteY16" fmla="*/ 0 h 27622"/>
                  <a:gd name="connsiteX17" fmla="*/ 65723 w 65722"/>
                  <a:gd name="connsiteY17" fmla="*/ 4763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722" h="27622">
                    <a:moveTo>
                      <a:pt x="65723" y="4763"/>
                    </a:moveTo>
                    <a:lnTo>
                      <a:pt x="58103" y="16192"/>
                    </a:lnTo>
                    <a:cubicBezTo>
                      <a:pt x="58103" y="16192"/>
                      <a:pt x="56198" y="12383"/>
                      <a:pt x="56198" y="20003"/>
                    </a:cubicBezTo>
                    <a:cubicBezTo>
                      <a:pt x="56198" y="27623"/>
                      <a:pt x="44768" y="27623"/>
                      <a:pt x="44768" y="27623"/>
                    </a:cubicBezTo>
                    <a:lnTo>
                      <a:pt x="36195" y="26670"/>
                    </a:lnTo>
                    <a:lnTo>
                      <a:pt x="31432" y="24765"/>
                    </a:lnTo>
                    <a:lnTo>
                      <a:pt x="24765" y="24765"/>
                    </a:lnTo>
                    <a:lnTo>
                      <a:pt x="15240" y="25717"/>
                    </a:lnTo>
                    <a:lnTo>
                      <a:pt x="8573" y="26670"/>
                    </a:lnTo>
                    <a:lnTo>
                      <a:pt x="0" y="18098"/>
                    </a:lnTo>
                    <a:lnTo>
                      <a:pt x="5715" y="16192"/>
                    </a:lnTo>
                    <a:lnTo>
                      <a:pt x="18098" y="16192"/>
                    </a:lnTo>
                    <a:cubicBezTo>
                      <a:pt x="18098" y="16192"/>
                      <a:pt x="23813" y="16192"/>
                      <a:pt x="29528" y="16192"/>
                    </a:cubicBezTo>
                    <a:cubicBezTo>
                      <a:pt x="35243" y="16192"/>
                      <a:pt x="34290" y="13335"/>
                      <a:pt x="38100" y="13335"/>
                    </a:cubicBezTo>
                    <a:cubicBezTo>
                      <a:pt x="42863" y="13335"/>
                      <a:pt x="48578" y="7620"/>
                      <a:pt x="48578" y="7620"/>
                    </a:cubicBezTo>
                    <a:lnTo>
                      <a:pt x="49530" y="3810"/>
                    </a:lnTo>
                    <a:lnTo>
                      <a:pt x="53340" y="0"/>
                    </a:lnTo>
                    <a:lnTo>
                      <a:pt x="65723" y="4763"/>
                    </a:lnTo>
                    <a:close/>
                  </a:path>
                </a:pathLst>
              </a:custGeom>
              <a:grpFill/>
              <a:ln w="9525" cap="flat">
                <a:noFill/>
                <a:prstDash val="solid"/>
                <a:miter/>
              </a:ln>
            </p:spPr>
            <p:txBody>
              <a:bodyPr rtlCol="0" anchor="ctr"/>
              <a:lstStyle/>
              <a:p>
                <a:endParaRPr lang="en-US" sz="1765"/>
              </a:p>
            </p:txBody>
          </p:sp>
          <p:sp>
            <p:nvSpPr>
              <p:cNvPr id="128" name="Freeform: Shape 127">
                <a:extLst>
                  <a:ext uri="{FF2B5EF4-FFF2-40B4-BE49-F238E27FC236}">
                    <a16:creationId xmlns:a16="http://schemas.microsoft.com/office/drawing/2014/main" id="{CDF0A690-F4E3-4DCE-8B68-EE26AAF83E0F}"/>
                  </a:ext>
                </a:extLst>
              </p:cNvPr>
              <p:cNvSpPr/>
              <p:nvPr/>
            </p:nvSpPr>
            <p:spPr>
              <a:xfrm>
                <a:off x="10158723" y="4197694"/>
                <a:ext cx="696948" cy="329267"/>
              </a:xfrm>
              <a:custGeom>
                <a:avLst/>
                <a:gdLst>
                  <a:gd name="connsiteX0" fmla="*/ 495018 w 696948"/>
                  <a:gd name="connsiteY0" fmla="*/ 18752 h 329267"/>
                  <a:gd name="connsiteX1" fmla="*/ 494066 w 696948"/>
                  <a:gd name="connsiteY1" fmla="*/ 30182 h 329267"/>
                  <a:gd name="connsiteX2" fmla="*/ 493113 w 696948"/>
                  <a:gd name="connsiteY2" fmla="*/ 38755 h 329267"/>
                  <a:gd name="connsiteX3" fmla="*/ 488351 w 696948"/>
                  <a:gd name="connsiteY3" fmla="*/ 53995 h 329267"/>
                  <a:gd name="connsiteX4" fmla="*/ 476921 w 696948"/>
                  <a:gd name="connsiteY4" fmla="*/ 61615 h 329267"/>
                  <a:gd name="connsiteX5" fmla="*/ 471206 w 696948"/>
                  <a:gd name="connsiteY5" fmla="*/ 65425 h 329267"/>
                  <a:gd name="connsiteX6" fmla="*/ 456918 w 696948"/>
                  <a:gd name="connsiteY6" fmla="*/ 66377 h 329267"/>
                  <a:gd name="connsiteX7" fmla="*/ 447393 w 696948"/>
                  <a:gd name="connsiteY7" fmla="*/ 66377 h 329267"/>
                  <a:gd name="connsiteX8" fmla="*/ 444536 w 696948"/>
                  <a:gd name="connsiteY8" fmla="*/ 59710 h 329267"/>
                  <a:gd name="connsiteX9" fmla="*/ 439773 w 696948"/>
                  <a:gd name="connsiteY9" fmla="*/ 57805 h 329267"/>
                  <a:gd name="connsiteX10" fmla="*/ 435011 w 696948"/>
                  <a:gd name="connsiteY10" fmla="*/ 54947 h 329267"/>
                  <a:gd name="connsiteX11" fmla="*/ 428343 w 696948"/>
                  <a:gd name="connsiteY11" fmla="*/ 52090 h 329267"/>
                  <a:gd name="connsiteX12" fmla="*/ 415008 w 696948"/>
                  <a:gd name="connsiteY12" fmla="*/ 49232 h 329267"/>
                  <a:gd name="connsiteX13" fmla="*/ 401673 w 696948"/>
                  <a:gd name="connsiteY13" fmla="*/ 44470 h 329267"/>
                  <a:gd name="connsiteX14" fmla="*/ 396911 w 696948"/>
                  <a:gd name="connsiteY14" fmla="*/ 40660 h 329267"/>
                  <a:gd name="connsiteX15" fmla="*/ 395006 w 696948"/>
                  <a:gd name="connsiteY15" fmla="*/ 33992 h 329267"/>
                  <a:gd name="connsiteX16" fmla="*/ 402626 w 696948"/>
                  <a:gd name="connsiteY16" fmla="*/ 29230 h 329267"/>
                  <a:gd name="connsiteX17" fmla="*/ 413103 w 696948"/>
                  <a:gd name="connsiteY17" fmla="*/ 25420 h 329267"/>
                  <a:gd name="connsiteX18" fmla="*/ 421676 w 696948"/>
                  <a:gd name="connsiteY18" fmla="*/ 21610 h 329267"/>
                  <a:gd name="connsiteX19" fmla="*/ 427391 w 696948"/>
                  <a:gd name="connsiteY19" fmla="*/ 12085 h 329267"/>
                  <a:gd name="connsiteX20" fmla="*/ 425486 w 696948"/>
                  <a:gd name="connsiteY20" fmla="*/ 8275 h 329267"/>
                  <a:gd name="connsiteX21" fmla="*/ 416913 w 696948"/>
                  <a:gd name="connsiteY21" fmla="*/ 5417 h 329267"/>
                  <a:gd name="connsiteX22" fmla="*/ 398816 w 696948"/>
                  <a:gd name="connsiteY22" fmla="*/ 6370 h 329267"/>
                  <a:gd name="connsiteX23" fmla="*/ 389291 w 696948"/>
                  <a:gd name="connsiteY23" fmla="*/ 5417 h 329267"/>
                  <a:gd name="connsiteX24" fmla="*/ 379766 w 696948"/>
                  <a:gd name="connsiteY24" fmla="*/ 3512 h 329267"/>
                  <a:gd name="connsiteX25" fmla="*/ 367383 w 696948"/>
                  <a:gd name="connsiteY25" fmla="*/ 1607 h 329267"/>
                  <a:gd name="connsiteX26" fmla="*/ 339761 w 696948"/>
                  <a:gd name="connsiteY26" fmla="*/ 655 h 329267"/>
                  <a:gd name="connsiteX27" fmla="*/ 328331 w 696948"/>
                  <a:gd name="connsiteY27" fmla="*/ 4465 h 329267"/>
                  <a:gd name="connsiteX28" fmla="*/ 322616 w 696948"/>
                  <a:gd name="connsiteY28" fmla="*/ 8275 h 329267"/>
                  <a:gd name="connsiteX29" fmla="*/ 314996 w 696948"/>
                  <a:gd name="connsiteY29" fmla="*/ 12085 h 329267"/>
                  <a:gd name="connsiteX30" fmla="*/ 306423 w 696948"/>
                  <a:gd name="connsiteY30" fmla="*/ 15895 h 329267"/>
                  <a:gd name="connsiteX31" fmla="*/ 299756 w 696948"/>
                  <a:gd name="connsiteY31" fmla="*/ 20657 h 329267"/>
                  <a:gd name="connsiteX32" fmla="*/ 294041 w 696948"/>
                  <a:gd name="connsiteY32" fmla="*/ 24467 h 329267"/>
                  <a:gd name="connsiteX33" fmla="*/ 293088 w 696948"/>
                  <a:gd name="connsiteY33" fmla="*/ 31135 h 329267"/>
                  <a:gd name="connsiteX34" fmla="*/ 287373 w 696948"/>
                  <a:gd name="connsiteY34" fmla="*/ 37802 h 329267"/>
                  <a:gd name="connsiteX35" fmla="*/ 284516 w 696948"/>
                  <a:gd name="connsiteY35" fmla="*/ 38755 h 329267"/>
                  <a:gd name="connsiteX36" fmla="*/ 268323 w 696948"/>
                  <a:gd name="connsiteY36" fmla="*/ 38755 h 329267"/>
                  <a:gd name="connsiteX37" fmla="*/ 265466 w 696948"/>
                  <a:gd name="connsiteY37" fmla="*/ 29230 h 329267"/>
                  <a:gd name="connsiteX38" fmla="*/ 250226 w 696948"/>
                  <a:gd name="connsiteY38" fmla="*/ 27325 h 329267"/>
                  <a:gd name="connsiteX39" fmla="*/ 242605 w 696948"/>
                  <a:gd name="connsiteY39" fmla="*/ 28277 h 329267"/>
                  <a:gd name="connsiteX40" fmla="*/ 227366 w 696948"/>
                  <a:gd name="connsiteY40" fmla="*/ 29230 h 329267"/>
                  <a:gd name="connsiteX41" fmla="*/ 218793 w 696948"/>
                  <a:gd name="connsiteY41" fmla="*/ 33040 h 329267"/>
                  <a:gd name="connsiteX42" fmla="*/ 208316 w 696948"/>
                  <a:gd name="connsiteY42" fmla="*/ 42565 h 329267"/>
                  <a:gd name="connsiteX43" fmla="*/ 208316 w 696948"/>
                  <a:gd name="connsiteY43" fmla="*/ 46375 h 329267"/>
                  <a:gd name="connsiteX44" fmla="*/ 202601 w 696948"/>
                  <a:gd name="connsiteY44" fmla="*/ 53995 h 329267"/>
                  <a:gd name="connsiteX45" fmla="*/ 190218 w 696948"/>
                  <a:gd name="connsiteY45" fmla="*/ 57805 h 329267"/>
                  <a:gd name="connsiteX46" fmla="*/ 169263 w 696948"/>
                  <a:gd name="connsiteY46" fmla="*/ 58757 h 329267"/>
                  <a:gd name="connsiteX47" fmla="*/ 157833 w 696948"/>
                  <a:gd name="connsiteY47" fmla="*/ 63520 h 329267"/>
                  <a:gd name="connsiteX48" fmla="*/ 155928 w 696948"/>
                  <a:gd name="connsiteY48" fmla="*/ 68282 h 329267"/>
                  <a:gd name="connsiteX49" fmla="*/ 142593 w 696948"/>
                  <a:gd name="connsiteY49" fmla="*/ 85427 h 329267"/>
                  <a:gd name="connsiteX50" fmla="*/ 137830 w 696948"/>
                  <a:gd name="connsiteY50" fmla="*/ 86380 h 329267"/>
                  <a:gd name="connsiteX51" fmla="*/ 128305 w 696948"/>
                  <a:gd name="connsiteY51" fmla="*/ 89237 h 329267"/>
                  <a:gd name="connsiteX52" fmla="*/ 122591 w 696948"/>
                  <a:gd name="connsiteY52" fmla="*/ 90190 h 329267"/>
                  <a:gd name="connsiteX53" fmla="*/ 107351 w 696948"/>
                  <a:gd name="connsiteY53" fmla="*/ 96857 h 329267"/>
                  <a:gd name="connsiteX54" fmla="*/ 100683 w 696948"/>
                  <a:gd name="connsiteY54" fmla="*/ 100667 h 329267"/>
                  <a:gd name="connsiteX55" fmla="*/ 89253 w 696948"/>
                  <a:gd name="connsiteY55" fmla="*/ 101620 h 329267"/>
                  <a:gd name="connsiteX56" fmla="*/ 73061 w 696948"/>
                  <a:gd name="connsiteY56" fmla="*/ 101620 h 329267"/>
                  <a:gd name="connsiteX57" fmla="*/ 63536 w 696948"/>
                  <a:gd name="connsiteY57" fmla="*/ 101620 h 329267"/>
                  <a:gd name="connsiteX58" fmla="*/ 52106 w 696948"/>
                  <a:gd name="connsiteY58" fmla="*/ 105430 h 329267"/>
                  <a:gd name="connsiteX59" fmla="*/ 39723 w 696948"/>
                  <a:gd name="connsiteY59" fmla="*/ 116860 h 329267"/>
                  <a:gd name="connsiteX60" fmla="*/ 16863 w 696948"/>
                  <a:gd name="connsiteY60" fmla="*/ 120670 h 329267"/>
                  <a:gd name="connsiteX61" fmla="*/ 9243 w 696948"/>
                  <a:gd name="connsiteY61" fmla="*/ 121622 h 329267"/>
                  <a:gd name="connsiteX62" fmla="*/ 1623 w 696948"/>
                  <a:gd name="connsiteY62" fmla="*/ 128290 h 329267"/>
                  <a:gd name="connsiteX63" fmla="*/ 671 w 696948"/>
                  <a:gd name="connsiteY63" fmla="*/ 134957 h 329267"/>
                  <a:gd name="connsiteX64" fmla="*/ 671 w 696948"/>
                  <a:gd name="connsiteY64" fmla="*/ 140672 h 329267"/>
                  <a:gd name="connsiteX65" fmla="*/ 3528 w 696948"/>
                  <a:gd name="connsiteY65" fmla="*/ 145435 h 329267"/>
                  <a:gd name="connsiteX66" fmla="*/ 10196 w 696948"/>
                  <a:gd name="connsiteY66" fmla="*/ 156865 h 329267"/>
                  <a:gd name="connsiteX67" fmla="*/ 10196 w 696948"/>
                  <a:gd name="connsiteY67" fmla="*/ 156865 h 329267"/>
                  <a:gd name="connsiteX68" fmla="*/ 14006 w 696948"/>
                  <a:gd name="connsiteY68" fmla="*/ 165437 h 329267"/>
                  <a:gd name="connsiteX69" fmla="*/ 10196 w 696948"/>
                  <a:gd name="connsiteY69" fmla="*/ 174962 h 329267"/>
                  <a:gd name="connsiteX70" fmla="*/ 7338 w 696948"/>
                  <a:gd name="connsiteY70" fmla="*/ 183535 h 329267"/>
                  <a:gd name="connsiteX71" fmla="*/ 17816 w 696948"/>
                  <a:gd name="connsiteY71" fmla="*/ 189250 h 329267"/>
                  <a:gd name="connsiteX72" fmla="*/ 23531 w 696948"/>
                  <a:gd name="connsiteY72" fmla="*/ 196870 h 329267"/>
                  <a:gd name="connsiteX73" fmla="*/ 25436 w 696948"/>
                  <a:gd name="connsiteY73" fmla="*/ 199727 h 329267"/>
                  <a:gd name="connsiteX74" fmla="*/ 34961 w 696948"/>
                  <a:gd name="connsiteY74" fmla="*/ 210205 h 329267"/>
                  <a:gd name="connsiteX75" fmla="*/ 34008 w 696948"/>
                  <a:gd name="connsiteY75" fmla="*/ 219730 h 329267"/>
                  <a:gd name="connsiteX76" fmla="*/ 34008 w 696948"/>
                  <a:gd name="connsiteY76" fmla="*/ 229255 h 329267"/>
                  <a:gd name="connsiteX77" fmla="*/ 34008 w 696948"/>
                  <a:gd name="connsiteY77" fmla="*/ 235922 h 329267"/>
                  <a:gd name="connsiteX78" fmla="*/ 35913 w 696948"/>
                  <a:gd name="connsiteY78" fmla="*/ 244495 h 329267"/>
                  <a:gd name="connsiteX79" fmla="*/ 35913 w 696948"/>
                  <a:gd name="connsiteY79" fmla="*/ 250210 h 329267"/>
                  <a:gd name="connsiteX80" fmla="*/ 30198 w 696948"/>
                  <a:gd name="connsiteY80" fmla="*/ 257830 h 329267"/>
                  <a:gd name="connsiteX81" fmla="*/ 40676 w 696948"/>
                  <a:gd name="connsiteY81" fmla="*/ 268307 h 329267"/>
                  <a:gd name="connsiteX82" fmla="*/ 54011 w 696948"/>
                  <a:gd name="connsiteY82" fmla="*/ 273070 h 329267"/>
                  <a:gd name="connsiteX83" fmla="*/ 63536 w 696948"/>
                  <a:gd name="connsiteY83" fmla="*/ 273070 h 329267"/>
                  <a:gd name="connsiteX84" fmla="*/ 72108 w 696948"/>
                  <a:gd name="connsiteY84" fmla="*/ 271165 h 329267"/>
                  <a:gd name="connsiteX85" fmla="*/ 94016 w 696948"/>
                  <a:gd name="connsiteY85" fmla="*/ 270212 h 329267"/>
                  <a:gd name="connsiteX86" fmla="*/ 113066 w 696948"/>
                  <a:gd name="connsiteY86" fmla="*/ 274975 h 329267"/>
                  <a:gd name="connsiteX87" fmla="*/ 129258 w 696948"/>
                  <a:gd name="connsiteY87" fmla="*/ 269260 h 329267"/>
                  <a:gd name="connsiteX88" fmla="*/ 136878 w 696948"/>
                  <a:gd name="connsiteY88" fmla="*/ 265450 h 329267"/>
                  <a:gd name="connsiteX89" fmla="*/ 151166 w 696948"/>
                  <a:gd name="connsiteY89" fmla="*/ 264497 h 329267"/>
                  <a:gd name="connsiteX90" fmla="*/ 160691 w 696948"/>
                  <a:gd name="connsiteY90" fmla="*/ 266402 h 329267"/>
                  <a:gd name="connsiteX91" fmla="*/ 167358 w 696948"/>
                  <a:gd name="connsiteY91" fmla="*/ 269260 h 329267"/>
                  <a:gd name="connsiteX92" fmla="*/ 176883 w 696948"/>
                  <a:gd name="connsiteY92" fmla="*/ 269260 h 329267"/>
                  <a:gd name="connsiteX93" fmla="*/ 192123 w 696948"/>
                  <a:gd name="connsiteY93" fmla="*/ 267355 h 329267"/>
                  <a:gd name="connsiteX94" fmla="*/ 198791 w 696948"/>
                  <a:gd name="connsiteY94" fmla="*/ 263545 h 329267"/>
                  <a:gd name="connsiteX95" fmla="*/ 200696 w 696948"/>
                  <a:gd name="connsiteY95" fmla="*/ 256877 h 329267"/>
                  <a:gd name="connsiteX96" fmla="*/ 213078 w 696948"/>
                  <a:gd name="connsiteY96" fmla="*/ 248305 h 329267"/>
                  <a:gd name="connsiteX97" fmla="*/ 226413 w 696948"/>
                  <a:gd name="connsiteY97" fmla="*/ 244495 h 329267"/>
                  <a:gd name="connsiteX98" fmla="*/ 239748 w 696948"/>
                  <a:gd name="connsiteY98" fmla="*/ 243542 h 329267"/>
                  <a:gd name="connsiteX99" fmla="*/ 254988 w 696948"/>
                  <a:gd name="connsiteY99" fmla="*/ 238780 h 329267"/>
                  <a:gd name="connsiteX100" fmla="*/ 271181 w 696948"/>
                  <a:gd name="connsiteY100" fmla="*/ 238780 h 329267"/>
                  <a:gd name="connsiteX101" fmla="*/ 283563 w 696948"/>
                  <a:gd name="connsiteY101" fmla="*/ 241637 h 329267"/>
                  <a:gd name="connsiteX102" fmla="*/ 312138 w 696948"/>
                  <a:gd name="connsiteY102" fmla="*/ 245447 h 329267"/>
                  <a:gd name="connsiteX103" fmla="*/ 330236 w 696948"/>
                  <a:gd name="connsiteY103" fmla="*/ 244495 h 329267"/>
                  <a:gd name="connsiteX104" fmla="*/ 344523 w 696948"/>
                  <a:gd name="connsiteY104" fmla="*/ 243542 h 329267"/>
                  <a:gd name="connsiteX105" fmla="*/ 365478 w 696948"/>
                  <a:gd name="connsiteY105" fmla="*/ 248305 h 329267"/>
                  <a:gd name="connsiteX106" fmla="*/ 373098 w 696948"/>
                  <a:gd name="connsiteY106" fmla="*/ 254972 h 329267"/>
                  <a:gd name="connsiteX107" fmla="*/ 373098 w 696948"/>
                  <a:gd name="connsiteY107" fmla="*/ 261640 h 329267"/>
                  <a:gd name="connsiteX108" fmla="*/ 374051 w 696948"/>
                  <a:gd name="connsiteY108" fmla="*/ 268307 h 329267"/>
                  <a:gd name="connsiteX109" fmla="*/ 387386 w 696948"/>
                  <a:gd name="connsiteY109" fmla="*/ 273070 h 329267"/>
                  <a:gd name="connsiteX110" fmla="*/ 395958 w 696948"/>
                  <a:gd name="connsiteY110" fmla="*/ 273070 h 329267"/>
                  <a:gd name="connsiteX111" fmla="*/ 400721 w 696948"/>
                  <a:gd name="connsiteY111" fmla="*/ 269260 h 329267"/>
                  <a:gd name="connsiteX112" fmla="*/ 404531 w 696948"/>
                  <a:gd name="connsiteY112" fmla="*/ 265450 h 329267"/>
                  <a:gd name="connsiteX113" fmla="*/ 412151 w 696948"/>
                  <a:gd name="connsiteY113" fmla="*/ 264497 h 329267"/>
                  <a:gd name="connsiteX114" fmla="*/ 415008 w 696948"/>
                  <a:gd name="connsiteY114" fmla="*/ 265450 h 329267"/>
                  <a:gd name="connsiteX115" fmla="*/ 415961 w 696948"/>
                  <a:gd name="connsiteY115" fmla="*/ 273070 h 329267"/>
                  <a:gd name="connsiteX116" fmla="*/ 419771 w 696948"/>
                  <a:gd name="connsiteY116" fmla="*/ 281642 h 329267"/>
                  <a:gd name="connsiteX117" fmla="*/ 430248 w 696948"/>
                  <a:gd name="connsiteY117" fmla="*/ 288310 h 329267"/>
                  <a:gd name="connsiteX118" fmla="*/ 442631 w 696948"/>
                  <a:gd name="connsiteY118" fmla="*/ 290215 h 329267"/>
                  <a:gd name="connsiteX119" fmla="*/ 451203 w 696948"/>
                  <a:gd name="connsiteY119" fmla="*/ 290215 h 329267"/>
                  <a:gd name="connsiteX120" fmla="*/ 456918 w 696948"/>
                  <a:gd name="connsiteY120" fmla="*/ 294025 h 329267"/>
                  <a:gd name="connsiteX121" fmla="*/ 458823 w 696948"/>
                  <a:gd name="connsiteY121" fmla="*/ 299740 h 329267"/>
                  <a:gd name="connsiteX122" fmla="*/ 458823 w 696948"/>
                  <a:gd name="connsiteY122" fmla="*/ 310217 h 329267"/>
                  <a:gd name="connsiteX123" fmla="*/ 458823 w 696948"/>
                  <a:gd name="connsiteY123" fmla="*/ 314027 h 329267"/>
                  <a:gd name="connsiteX124" fmla="*/ 470253 w 696948"/>
                  <a:gd name="connsiteY124" fmla="*/ 324505 h 329267"/>
                  <a:gd name="connsiteX125" fmla="*/ 478826 w 696948"/>
                  <a:gd name="connsiteY125" fmla="*/ 326410 h 329267"/>
                  <a:gd name="connsiteX126" fmla="*/ 490256 w 696948"/>
                  <a:gd name="connsiteY126" fmla="*/ 325457 h 329267"/>
                  <a:gd name="connsiteX127" fmla="*/ 505496 w 696948"/>
                  <a:gd name="connsiteY127" fmla="*/ 324505 h 329267"/>
                  <a:gd name="connsiteX128" fmla="*/ 514068 w 696948"/>
                  <a:gd name="connsiteY128" fmla="*/ 326410 h 329267"/>
                  <a:gd name="connsiteX129" fmla="*/ 536928 w 696948"/>
                  <a:gd name="connsiteY129" fmla="*/ 328315 h 329267"/>
                  <a:gd name="connsiteX130" fmla="*/ 549311 w 696948"/>
                  <a:gd name="connsiteY130" fmla="*/ 321647 h 329267"/>
                  <a:gd name="connsiteX131" fmla="*/ 555978 w 696948"/>
                  <a:gd name="connsiteY131" fmla="*/ 321647 h 329267"/>
                  <a:gd name="connsiteX132" fmla="*/ 564551 w 696948"/>
                  <a:gd name="connsiteY132" fmla="*/ 326410 h 329267"/>
                  <a:gd name="connsiteX133" fmla="*/ 572171 w 696948"/>
                  <a:gd name="connsiteY133" fmla="*/ 329267 h 329267"/>
                  <a:gd name="connsiteX134" fmla="*/ 583601 w 696948"/>
                  <a:gd name="connsiteY134" fmla="*/ 329267 h 329267"/>
                  <a:gd name="connsiteX135" fmla="*/ 596936 w 696948"/>
                  <a:gd name="connsiteY135" fmla="*/ 321647 h 329267"/>
                  <a:gd name="connsiteX136" fmla="*/ 601698 w 696948"/>
                  <a:gd name="connsiteY136" fmla="*/ 320695 h 329267"/>
                  <a:gd name="connsiteX137" fmla="*/ 615033 w 696948"/>
                  <a:gd name="connsiteY137" fmla="*/ 317837 h 329267"/>
                  <a:gd name="connsiteX138" fmla="*/ 630273 w 696948"/>
                  <a:gd name="connsiteY138" fmla="*/ 311170 h 329267"/>
                  <a:gd name="connsiteX139" fmla="*/ 637893 w 696948"/>
                  <a:gd name="connsiteY139" fmla="*/ 304502 h 329267"/>
                  <a:gd name="connsiteX140" fmla="*/ 639798 w 696948"/>
                  <a:gd name="connsiteY140" fmla="*/ 295930 h 329267"/>
                  <a:gd name="connsiteX141" fmla="*/ 644561 w 696948"/>
                  <a:gd name="connsiteY141" fmla="*/ 289262 h 329267"/>
                  <a:gd name="connsiteX142" fmla="*/ 652181 w 696948"/>
                  <a:gd name="connsiteY142" fmla="*/ 285452 h 329267"/>
                  <a:gd name="connsiteX143" fmla="*/ 655991 w 696948"/>
                  <a:gd name="connsiteY143" fmla="*/ 280690 h 329267"/>
                  <a:gd name="connsiteX144" fmla="*/ 656943 w 696948"/>
                  <a:gd name="connsiteY144" fmla="*/ 269260 h 329267"/>
                  <a:gd name="connsiteX145" fmla="*/ 657896 w 696948"/>
                  <a:gd name="connsiteY145" fmla="*/ 267355 h 329267"/>
                  <a:gd name="connsiteX146" fmla="*/ 664563 w 696948"/>
                  <a:gd name="connsiteY146" fmla="*/ 259735 h 329267"/>
                  <a:gd name="connsiteX147" fmla="*/ 673136 w 696948"/>
                  <a:gd name="connsiteY147" fmla="*/ 255925 h 329267"/>
                  <a:gd name="connsiteX148" fmla="*/ 683613 w 696948"/>
                  <a:gd name="connsiteY148" fmla="*/ 243542 h 329267"/>
                  <a:gd name="connsiteX149" fmla="*/ 687423 w 696948"/>
                  <a:gd name="connsiteY149" fmla="*/ 230207 h 329267"/>
                  <a:gd name="connsiteX150" fmla="*/ 691233 w 696948"/>
                  <a:gd name="connsiteY150" fmla="*/ 223540 h 329267"/>
                  <a:gd name="connsiteX151" fmla="*/ 695043 w 696948"/>
                  <a:gd name="connsiteY151" fmla="*/ 207347 h 329267"/>
                  <a:gd name="connsiteX152" fmla="*/ 695043 w 696948"/>
                  <a:gd name="connsiteY152" fmla="*/ 197822 h 329267"/>
                  <a:gd name="connsiteX153" fmla="*/ 696948 w 696948"/>
                  <a:gd name="connsiteY153" fmla="*/ 182582 h 329267"/>
                  <a:gd name="connsiteX154" fmla="*/ 696948 w 696948"/>
                  <a:gd name="connsiteY154" fmla="*/ 176867 h 329267"/>
                  <a:gd name="connsiteX155" fmla="*/ 694091 w 696948"/>
                  <a:gd name="connsiteY155" fmla="*/ 169247 h 329267"/>
                  <a:gd name="connsiteX156" fmla="*/ 691233 w 696948"/>
                  <a:gd name="connsiteY156" fmla="*/ 162580 h 329267"/>
                  <a:gd name="connsiteX157" fmla="*/ 683613 w 696948"/>
                  <a:gd name="connsiteY157" fmla="*/ 154960 h 329267"/>
                  <a:gd name="connsiteX158" fmla="*/ 675041 w 696948"/>
                  <a:gd name="connsiteY158" fmla="*/ 147340 h 329267"/>
                  <a:gd name="connsiteX159" fmla="*/ 667421 w 696948"/>
                  <a:gd name="connsiteY159" fmla="*/ 142577 h 329267"/>
                  <a:gd name="connsiteX160" fmla="*/ 650276 w 696948"/>
                  <a:gd name="connsiteY160" fmla="*/ 130195 h 329267"/>
                  <a:gd name="connsiteX161" fmla="*/ 637893 w 696948"/>
                  <a:gd name="connsiteY161" fmla="*/ 120670 h 329267"/>
                  <a:gd name="connsiteX162" fmla="*/ 628368 w 696948"/>
                  <a:gd name="connsiteY162" fmla="*/ 105430 h 329267"/>
                  <a:gd name="connsiteX163" fmla="*/ 612176 w 696948"/>
                  <a:gd name="connsiteY163" fmla="*/ 96857 h 329267"/>
                  <a:gd name="connsiteX164" fmla="*/ 597888 w 696948"/>
                  <a:gd name="connsiteY164" fmla="*/ 94952 h 329267"/>
                  <a:gd name="connsiteX165" fmla="*/ 580743 w 696948"/>
                  <a:gd name="connsiteY165" fmla="*/ 79712 h 329267"/>
                  <a:gd name="connsiteX166" fmla="*/ 573123 w 696948"/>
                  <a:gd name="connsiteY166" fmla="*/ 74950 h 329267"/>
                  <a:gd name="connsiteX167" fmla="*/ 565503 w 696948"/>
                  <a:gd name="connsiteY167" fmla="*/ 68282 h 329267"/>
                  <a:gd name="connsiteX168" fmla="*/ 563598 w 696948"/>
                  <a:gd name="connsiteY168" fmla="*/ 58757 h 329267"/>
                  <a:gd name="connsiteX169" fmla="*/ 557883 w 696948"/>
                  <a:gd name="connsiteY169" fmla="*/ 53042 h 329267"/>
                  <a:gd name="connsiteX170" fmla="*/ 555026 w 696948"/>
                  <a:gd name="connsiteY170" fmla="*/ 42565 h 329267"/>
                  <a:gd name="connsiteX171" fmla="*/ 552168 w 696948"/>
                  <a:gd name="connsiteY171" fmla="*/ 35897 h 329267"/>
                  <a:gd name="connsiteX172" fmla="*/ 546453 w 696948"/>
                  <a:gd name="connsiteY172" fmla="*/ 31135 h 329267"/>
                  <a:gd name="connsiteX173" fmla="*/ 541691 w 696948"/>
                  <a:gd name="connsiteY173" fmla="*/ 28277 h 329267"/>
                  <a:gd name="connsiteX174" fmla="*/ 535976 w 696948"/>
                  <a:gd name="connsiteY174" fmla="*/ 22562 h 329267"/>
                  <a:gd name="connsiteX175" fmla="*/ 532166 w 696948"/>
                  <a:gd name="connsiteY175" fmla="*/ 16847 h 329267"/>
                  <a:gd name="connsiteX176" fmla="*/ 523593 w 696948"/>
                  <a:gd name="connsiteY176" fmla="*/ 13990 h 329267"/>
                  <a:gd name="connsiteX177" fmla="*/ 517878 w 696948"/>
                  <a:gd name="connsiteY177" fmla="*/ 13990 h 329267"/>
                  <a:gd name="connsiteX178" fmla="*/ 504543 w 696948"/>
                  <a:gd name="connsiteY178" fmla="*/ 16847 h 329267"/>
                  <a:gd name="connsiteX179" fmla="*/ 499781 w 696948"/>
                  <a:gd name="connsiteY179" fmla="*/ 16847 h 329267"/>
                  <a:gd name="connsiteX180" fmla="*/ 495018 w 696948"/>
                  <a:gd name="connsiteY180" fmla="*/ 18752 h 32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696948" h="329267">
                    <a:moveTo>
                      <a:pt x="495018" y="18752"/>
                    </a:moveTo>
                    <a:cubicBezTo>
                      <a:pt x="495018" y="18752"/>
                      <a:pt x="494066" y="26372"/>
                      <a:pt x="494066" y="30182"/>
                    </a:cubicBezTo>
                    <a:cubicBezTo>
                      <a:pt x="494066" y="33992"/>
                      <a:pt x="494066" y="33992"/>
                      <a:pt x="493113" y="38755"/>
                    </a:cubicBezTo>
                    <a:cubicBezTo>
                      <a:pt x="492161" y="43517"/>
                      <a:pt x="490256" y="51137"/>
                      <a:pt x="488351" y="53995"/>
                    </a:cubicBezTo>
                    <a:cubicBezTo>
                      <a:pt x="486446" y="56852"/>
                      <a:pt x="476921" y="59710"/>
                      <a:pt x="476921" y="61615"/>
                    </a:cubicBezTo>
                    <a:cubicBezTo>
                      <a:pt x="476921" y="63520"/>
                      <a:pt x="477873" y="64472"/>
                      <a:pt x="471206" y="65425"/>
                    </a:cubicBezTo>
                    <a:cubicBezTo>
                      <a:pt x="464538" y="66377"/>
                      <a:pt x="456918" y="66377"/>
                      <a:pt x="456918" y="66377"/>
                    </a:cubicBezTo>
                    <a:lnTo>
                      <a:pt x="447393" y="66377"/>
                    </a:lnTo>
                    <a:lnTo>
                      <a:pt x="444536" y="59710"/>
                    </a:lnTo>
                    <a:lnTo>
                      <a:pt x="439773" y="57805"/>
                    </a:lnTo>
                    <a:lnTo>
                      <a:pt x="435011" y="54947"/>
                    </a:lnTo>
                    <a:cubicBezTo>
                      <a:pt x="435011" y="54947"/>
                      <a:pt x="432153" y="53042"/>
                      <a:pt x="428343" y="52090"/>
                    </a:cubicBezTo>
                    <a:cubicBezTo>
                      <a:pt x="425486" y="51137"/>
                      <a:pt x="415008" y="49232"/>
                      <a:pt x="415008" y="49232"/>
                    </a:cubicBezTo>
                    <a:lnTo>
                      <a:pt x="401673" y="44470"/>
                    </a:lnTo>
                    <a:lnTo>
                      <a:pt x="396911" y="40660"/>
                    </a:lnTo>
                    <a:cubicBezTo>
                      <a:pt x="396911" y="40660"/>
                      <a:pt x="390243" y="35897"/>
                      <a:pt x="395006" y="33992"/>
                    </a:cubicBezTo>
                    <a:cubicBezTo>
                      <a:pt x="399768" y="32087"/>
                      <a:pt x="402626" y="29230"/>
                      <a:pt x="402626" y="29230"/>
                    </a:cubicBezTo>
                    <a:cubicBezTo>
                      <a:pt x="402626" y="29230"/>
                      <a:pt x="409293" y="25420"/>
                      <a:pt x="413103" y="25420"/>
                    </a:cubicBezTo>
                    <a:cubicBezTo>
                      <a:pt x="415961" y="24467"/>
                      <a:pt x="415961" y="31135"/>
                      <a:pt x="421676" y="21610"/>
                    </a:cubicBezTo>
                    <a:cubicBezTo>
                      <a:pt x="427391" y="12085"/>
                      <a:pt x="427391" y="12085"/>
                      <a:pt x="427391" y="12085"/>
                    </a:cubicBezTo>
                    <a:lnTo>
                      <a:pt x="425486" y="8275"/>
                    </a:lnTo>
                    <a:cubicBezTo>
                      <a:pt x="425486" y="8275"/>
                      <a:pt x="419771" y="4465"/>
                      <a:pt x="416913" y="5417"/>
                    </a:cubicBezTo>
                    <a:cubicBezTo>
                      <a:pt x="413103" y="6370"/>
                      <a:pt x="398816" y="6370"/>
                      <a:pt x="398816" y="6370"/>
                    </a:cubicBezTo>
                    <a:lnTo>
                      <a:pt x="389291" y="5417"/>
                    </a:lnTo>
                    <a:lnTo>
                      <a:pt x="379766" y="3512"/>
                    </a:lnTo>
                    <a:cubicBezTo>
                      <a:pt x="379766" y="3512"/>
                      <a:pt x="388338" y="1607"/>
                      <a:pt x="367383" y="1607"/>
                    </a:cubicBezTo>
                    <a:cubicBezTo>
                      <a:pt x="346428" y="1607"/>
                      <a:pt x="339761" y="-1250"/>
                      <a:pt x="339761" y="655"/>
                    </a:cubicBezTo>
                    <a:cubicBezTo>
                      <a:pt x="339761" y="2560"/>
                      <a:pt x="328331" y="4465"/>
                      <a:pt x="328331" y="4465"/>
                    </a:cubicBezTo>
                    <a:cubicBezTo>
                      <a:pt x="328331" y="4465"/>
                      <a:pt x="323568" y="5417"/>
                      <a:pt x="322616" y="8275"/>
                    </a:cubicBezTo>
                    <a:cubicBezTo>
                      <a:pt x="321663" y="10180"/>
                      <a:pt x="317853" y="8275"/>
                      <a:pt x="314996" y="12085"/>
                    </a:cubicBezTo>
                    <a:cubicBezTo>
                      <a:pt x="311186" y="15895"/>
                      <a:pt x="308328" y="13037"/>
                      <a:pt x="306423" y="15895"/>
                    </a:cubicBezTo>
                    <a:cubicBezTo>
                      <a:pt x="304518" y="19705"/>
                      <a:pt x="299756" y="20657"/>
                      <a:pt x="299756" y="20657"/>
                    </a:cubicBezTo>
                    <a:lnTo>
                      <a:pt x="294041" y="24467"/>
                    </a:lnTo>
                    <a:cubicBezTo>
                      <a:pt x="294041" y="24467"/>
                      <a:pt x="294041" y="28277"/>
                      <a:pt x="293088" y="31135"/>
                    </a:cubicBezTo>
                    <a:cubicBezTo>
                      <a:pt x="292136" y="33992"/>
                      <a:pt x="291183" y="36850"/>
                      <a:pt x="287373" y="37802"/>
                    </a:cubicBezTo>
                    <a:cubicBezTo>
                      <a:pt x="284516" y="38755"/>
                      <a:pt x="284516" y="38755"/>
                      <a:pt x="284516" y="38755"/>
                    </a:cubicBezTo>
                    <a:lnTo>
                      <a:pt x="268323" y="38755"/>
                    </a:lnTo>
                    <a:cubicBezTo>
                      <a:pt x="268323" y="38755"/>
                      <a:pt x="273086" y="30182"/>
                      <a:pt x="265466" y="29230"/>
                    </a:cubicBezTo>
                    <a:cubicBezTo>
                      <a:pt x="257846" y="28277"/>
                      <a:pt x="250226" y="27325"/>
                      <a:pt x="250226" y="27325"/>
                    </a:cubicBezTo>
                    <a:lnTo>
                      <a:pt x="242605" y="28277"/>
                    </a:lnTo>
                    <a:lnTo>
                      <a:pt x="227366" y="29230"/>
                    </a:lnTo>
                    <a:cubicBezTo>
                      <a:pt x="227366" y="29230"/>
                      <a:pt x="219746" y="30182"/>
                      <a:pt x="218793" y="33040"/>
                    </a:cubicBezTo>
                    <a:cubicBezTo>
                      <a:pt x="217841" y="34945"/>
                      <a:pt x="208316" y="38755"/>
                      <a:pt x="208316" y="42565"/>
                    </a:cubicBezTo>
                    <a:cubicBezTo>
                      <a:pt x="208316" y="46375"/>
                      <a:pt x="209268" y="43517"/>
                      <a:pt x="208316" y="46375"/>
                    </a:cubicBezTo>
                    <a:cubicBezTo>
                      <a:pt x="207363" y="50185"/>
                      <a:pt x="210221" y="50185"/>
                      <a:pt x="202601" y="53995"/>
                    </a:cubicBezTo>
                    <a:cubicBezTo>
                      <a:pt x="194980" y="57805"/>
                      <a:pt x="199743" y="54947"/>
                      <a:pt x="190218" y="57805"/>
                    </a:cubicBezTo>
                    <a:cubicBezTo>
                      <a:pt x="181646" y="59710"/>
                      <a:pt x="169263" y="58757"/>
                      <a:pt x="169263" y="58757"/>
                    </a:cubicBezTo>
                    <a:lnTo>
                      <a:pt x="157833" y="63520"/>
                    </a:lnTo>
                    <a:lnTo>
                      <a:pt x="155928" y="68282"/>
                    </a:lnTo>
                    <a:lnTo>
                      <a:pt x="142593" y="85427"/>
                    </a:lnTo>
                    <a:lnTo>
                      <a:pt x="137830" y="86380"/>
                    </a:lnTo>
                    <a:lnTo>
                      <a:pt x="128305" y="89237"/>
                    </a:lnTo>
                    <a:lnTo>
                      <a:pt x="122591" y="90190"/>
                    </a:lnTo>
                    <a:cubicBezTo>
                      <a:pt x="122591" y="90190"/>
                      <a:pt x="106398" y="94000"/>
                      <a:pt x="107351" y="96857"/>
                    </a:cubicBezTo>
                    <a:cubicBezTo>
                      <a:pt x="108303" y="99715"/>
                      <a:pt x="100683" y="100667"/>
                      <a:pt x="100683" y="100667"/>
                    </a:cubicBezTo>
                    <a:lnTo>
                      <a:pt x="89253" y="101620"/>
                    </a:lnTo>
                    <a:lnTo>
                      <a:pt x="73061" y="101620"/>
                    </a:lnTo>
                    <a:lnTo>
                      <a:pt x="63536" y="101620"/>
                    </a:lnTo>
                    <a:cubicBezTo>
                      <a:pt x="63536" y="101620"/>
                      <a:pt x="56868" y="102572"/>
                      <a:pt x="52106" y="105430"/>
                    </a:cubicBezTo>
                    <a:cubicBezTo>
                      <a:pt x="47343" y="108287"/>
                      <a:pt x="39723" y="116860"/>
                      <a:pt x="39723" y="116860"/>
                    </a:cubicBezTo>
                    <a:lnTo>
                      <a:pt x="16863" y="120670"/>
                    </a:lnTo>
                    <a:lnTo>
                      <a:pt x="9243" y="121622"/>
                    </a:lnTo>
                    <a:lnTo>
                      <a:pt x="1623" y="128290"/>
                    </a:lnTo>
                    <a:cubicBezTo>
                      <a:pt x="1623" y="128290"/>
                      <a:pt x="-282" y="132100"/>
                      <a:pt x="671" y="134957"/>
                    </a:cubicBezTo>
                    <a:cubicBezTo>
                      <a:pt x="1623" y="137815"/>
                      <a:pt x="-1234" y="138767"/>
                      <a:pt x="671" y="140672"/>
                    </a:cubicBezTo>
                    <a:cubicBezTo>
                      <a:pt x="2576" y="142577"/>
                      <a:pt x="-2187" y="134005"/>
                      <a:pt x="3528" y="145435"/>
                    </a:cubicBezTo>
                    <a:cubicBezTo>
                      <a:pt x="10196" y="156865"/>
                      <a:pt x="10196" y="156865"/>
                      <a:pt x="10196" y="156865"/>
                    </a:cubicBezTo>
                    <a:cubicBezTo>
                      <a:pt x="10196" y="156865"/>
                      <a:pt x="5433" y="152102"/>
                      <a:pt x="10196" y="156865"/>
                    </a:cubicBezTo>
                    <a:cubicBezTo>
                      <a:pt x="14958" y="161627"/>
                      <a:pt x="13053" y="162580"/>
                      <a:pt x="14006" y="165437"/>
                    </a:cubicBezTo>
                    <a:cubicBezTo>
                      <a:pt x="14958" y="168295"/>
                      <a:pt x="10196" y="172105"/>
                      <a:pt x="10196" y="174962"/>
                    </a:cubicBezTo>
                    <a:cubicBezTo>
                      <a:pt x="10196" y="176867"/>
                      <a:pt x="4481" y="180677"/>
                      <a:pt x="7338" y="183535"/>
                    </a:cubicBezTo>
                    <a:cubicBezTo>
                      <a:pt x="10196" y="186392"/>
                      <a:pt x="14958" y="185440"/>
                      <a:pt x="17816" y="189250"/>
                    </a:cubicBezTo>
                    <a:cubicBezTo>
                      <a:pt x="20673" y="193060"/>
                      <a:pt x="23531" y="196870"/>
                      <a:pt x="23531" y="196870"/>
                    </a:cubicBezTo>
                    <a:cubicBezTo>
                      <a:pt x="23531" y="196870"/>
                      <a:pt x="25436" y="197822"/>
                      <a:pt x="25436" y="199727"/>
                    </a:cubicBezTo>
                    <a:cubicBezTo>
                      <a:pt x="25436" y="201632"/>
                      <a:pt x="34961" y="210205"/>
                      <a:pt x="34961" y="210205"/>
                    </a:cubicBezTo>
                    <a:cubicBezTo>
                      <a:pt x="34961" y="210205"/>
                      <a:pt x="34008" y="215920"/>
                      <a:pt x="34008" y="219730"/>
                    </a:cubicBezTo>
                    <a:cubicBezTo>
                      <a:pt x="34008" y="223540"/>
                      <a:pt x="34008" y="229255"/>
                      <a:pt x="34008" y="229255"/>
                    </a:cubicBezTo>
                    <a:cubicBezTo>
                      <a:pt x="34008" y="229255"/>
                      <a:pt x="29246" y="231160"/>
                      <a:pt x="34008" y="235922"/>
                    </a:cubicBezTo>
                    <a:cubicBezTo>
                      <a:pt x="38771" y="240685"/>
                      <a:pt x="35913" y="244495"/>
                      <a:pt x="35913" y="244495"/>
                    </a:cubicBezTo>
                    <a:cubicBezTo>
                      <a:pt x="35913" y="244495"/>
                      <a:pt x="37818" y="247352"/>
                      <a:pt x="35913" y="250210"/>
                    </a:cubicBezTo>
                    <a:cubicBezTo>
                      <a:pt x="34008" y="253067"/>
                      <a:pt x="30198" y="254020"/>
                      <a:pt x="30198" y="257830"/>
                    </a:cubicBezTo>
                    <a:cubicBezTo>
                      <a:pt x="30198" y="261640"/>
                      <a:pt x="36866" y="266402"/>
                      <a:pt x="40676" y="268307"/>
                    </a:cubicBezTo>
                    <a:cubicBezTo>
                      <a:pt x="45438" y="270212"/>
                      <a:pt x="54011" y="273070"/>
                      <a:pt x="54011" y="273070"/>
                    </a:cubicBezTo>
                    <a:cubicBezTo>
                      <a:pt x="54011" y="273070"/>
                      <a:pt x="60678" y="272117"/>
                      <a:pt x="63536" y="273070"/>
                    </a:cubicBezTo>
                    <a:cubicBezTo>
                      <a:pt x="66393" y="274022"/>
                      <a:pt x="69251" y="270212"/>
                      <a:pt x="72108" y="271165"/>
                    </a:cubicBezTo>
                    <a:cubicBezTo>
                      <a:pt x="74966" y="272117"/>
                      <a:pt x="91158" y="267355"/>
                      <a:pt x="94016" y="270212"/>
                    </a:cubicBezTo>
                    <a:cubicBezTo>
                      <a:pt x="96873" y="272117"/>
                      <a:pt x="113066" y="274975"/>
                      <a:pt x="113066" y="274975"/>
                    </a:cubicBezTo>
                    <a:lnTo>
                      <a:pt x="129258" y="269260"/>
                    </a:lnTo>
                    <a:lnTo>
                      <a:pt x="136878" y="265450"/>
                    </a:lnTo>
                    <a:cubicBezTo>
                      <a:pt x="136878" y="265450"/>
                      <a:pt x="146403" y="264497"/>
                      <a:pt x="151166" y="264497"/>
                    </a:cubicBezTo>
                    <a:cubicBezTo>
                      <a:pt x="155928" y="264497"/>
                      <a:pt x="160691" y="266402"/>
                      <a:pt x="160691" y="266402"/>
                    </a:cubicBezTo>
                    <a:cubicBezTo>
                      <a:pt x="160691" y="266402"/>
                      <a:pt x="163548" y="269260"/>
                      <a:pt x="167358" y="269260"/>
                    </a:cubicBezTo>
                    <a:cubicBezTo>
                      <a:pt x="170216" y="269260"/>
                      <a:pt x="172121" y="270212"/>
                      <a:pt x="176883" y="269260"/>
                    </a:cubicBezTo>
                    <a:cubicBezTo>
                      <a:pt x="182598" y="268307"/>
                      <a:pt x="192123" y="267355"/>
                      <a:pt x="192123" y="267355"/>
                    </a:cubicBezTo>
                    <a:lnTo>
                      <a:pt x="198791" y="263545"/>
                    </a:lnTo>
                    <a:lnTo>
                      <a:pt x="200696" y="256877"/>
                    </a:lnTo>
                    <a:cubicBezTo>
                      <a:pt x="200696" y="256877"/>
                      <a:pt x="207363" y="250210"/>
                      <a:pt x="213078" y="248305"/>
                    </a:cubicBezTo>
                    <a:cubicBezTo>
                      <a:pt x="218793" y="247352"/>
                      <a:pt x="226413" y="244495"/>
                      <a:pt x="226413" y="244495"/>
                    </a:cubicBezTo>
                    <a:cubicBezTo>
                      <a:pt x="226413" y="244495"/>
                      <a:pt x="235938" y="244495"/>
                      <a:pt x="239748" y="243542"/>
                    </a:cubicBezTo>
                    <a:cubicBezTo>
                      <a:pt x="242605" y="242590"/>
                      <a:pt x="248321" y="238780"/>
                      <a:pt x="254988" y="238780"/>
                    </a:cubicBezTo>
                    <a:cubicBezTo>
                      <a:pt x="261655" y="238780"/>
                      <a:pt x="268323" y="237827"/>
                      <a:pt x="271181" y="238780"/>
                    </a:cubicBezTo>
                    <a:cubicBezTo>
                      <a:pt x="274038" y="239732"/>
                      <a:pt x="277848" y="240685"/>
                      <a:pt x="283563" y="241637"/>
                    </a:cubicBezTo>
                    <a:cubicBezTo>
                      <a:pt x="289278" y="243542"/>
                      <a:pt x="305471" y="245447"/>
                      <a:pt x="312138" y="245447"/>
                    </a:cubicBezTo>
                    <a:cubicBezTo>
                      <a:pt x="318806" y="245447"/>
                      <a:pt x="323568" y="243542"/>
                      <a:pt x="330236" y="244495"/>
                    </a:cubicBezTo>
                    <a:cubicBezTo>
                      <a:pt x="336903" y="245447"/>
                      <a:pt x="329283" y="240685"/>
                      <a:pt x="344523" y="243542"/>
                    </a:cubicBezTo>
                    <a:cubicBezTo>
                      <a:pt x="359763" y="247352"/>
                      <a:pt x="365478" y="248305"/>
                      <a:pt x="365478" y="248305"/>
                    </a:cubicBezTo>
                    <a:cubicBezTo>
                      <a:pt x="365478" y="248305"/>
                      <a:pt x="373098" y="253067"/>
                      <a:pt x="373098" y="254972"/>
                    </a:cubicBezTo>
                    <a:cubicBezTo>
                      <a:pt x="373098" y="257830"/>
                      <a:pt x="373098" y="259735"/>
                      <a:pt x="373098" y="261640"/>
                    </a:cubicBezTo>
                    <a:cubicBezTo>
                      <a:pt x="373098" y="263545"/>
                      <a:pt x="371193" y="267355"/>
                      <a:pt x="374051" y="268307"/>
                    </a:cubicBezTo>
                    <a:cubicBezTo>
                      <a:pt x="376908" y="269260"/>
                      <a:pt x="383576" y="273070"/>
                      <a:pt x="387386" y="273070"/>
                    </a:cubicBezTo>
                    <a:cubicBezTo>
                      <a:pt x="390243" y="273070"/>
                      <a:pt x="395958" y="273070"/>
                      <a:pt x="395958" y="273070"/>
                    </a:cubicBezTo>
                    <a:lnTo>
                      <a:pt x="400721" y="269260"/>
                    </a:lnTo>
                    <a:lnTo>
                      <a:pt x="404531" y="265450"/>
                    </a:lnTo>
                    <a:cubicBezTo>
                      <a:pt x="404531" y="265450"/>
                      <a:pt x="409293" y="264497"/>
                      <a:pt x="412151" y="264497"/>
                    </a:cubicBezTo>
                    <a:cubicBezTo>
                      <a:pt x="415008" y="265450"/>
                      <a:pt x="413103" y="260687"/>
                      <a:pt x="415008" y="265450"/>
                    </a:cubicBezTo>
                    <a:cubicBezTo>
                      <a:pt x="416913" y="270212"/>
                      <a:pt x="415961" y="273070"/>
                      <a:pt x="415961" y="273070"/>
                    </a:cubicBezTo>
                    <a:cubicBezTo>
                      <a:pt x="415961" y="273070"/>
                      <a:pt x="418818" y="278785"/>
                      <a:pt x="419771" y="281642"/>
                    </a:cubicBezTo>
                    <a:cubicBezTo>
                      <a:pt x="420723" y="284500"/>
                      <a:pt x="430248" y="288310"/>
                      <a:pt x="430248" y="288310"/>
                    </a:cubicBezTo>
                    <a:lnTo>
                      <a:pt x="442631" y="290215"/>
                    </a:lnTo>
                    <a:lnTo>
                      <a:pt x="451203" y="290215"/>
                    </a:lnTo>
                    <a:cubicBezTo>
                      <a:pt x="451203" y="290215"/>
                      <a:pt x="455966" y="292120"/>
                      <a:pt x="456918" y="294025"/>
                    </a:cubicBezTo>
                    <a:cubicBezTo>
                      <a:pt x="457871" y="295930"/>
                      <a:pt x="457871" y="295930"/>
                      <a:pt x="458823" y="299740"/>
                    </a:cubicBezTo>
                    <a:cubicBezTo>
                      <a:pt x="459776" y="303550"/>
                      <a:pt x="458823" y="306407"/>
                      <a:pt x="458823" y="310217"/>
                    </a:cubicBezTo>
                    <a:cubicBezTo>
                      <a:pt x="458823" y="314027"/>
                      <a:pt x="457871" y="309265"/>
                      <a:pt x="458823" y="314027"/>
                    </a:cubicBezTo>
                    <a:cubicBezTo>
                      <a:pt x="459776" y="317837"/>
                      <a:pt x="470253" y="324505"/>
                      <a:pt x="470253" y="324505"/>
                    </a:cubicBezTo>
                    <a:lnTo>
                      <a:pt x="478826" y="326410"/>
                    </a:lnTo>
                    <a:lnTo>
                      <a:pt x="490256" y="325457"/>
                    </a:lnTo>
                    <a:lnTo>
                      <a:pt x="505496" y="324505"/>
                    </a:lnTo>
                    <a:cubicBezTo>
                      <a:pt x="505496" y="324505"/>
                      <a:pt x="502638" y="323552"/>
                      <a:pt x="514068" y="326410"/>
                    </a:cubicBezTo>
                    <a:cubicBezTo>
                      <a:pt x="526451" y="329267"/>
                      <a:pt x="536928" y="328315"/>
                      <a:pt x="536928" y="328315"/>
                    </a:cubicBezTo>
                    <a:lnTo>
                      <a:pt x="549311" y="321647"/>
                    </a:lnTo>
                    <a:lnTo>
                      <a:pt x="555978" y="321647"/>
                    </a:lnTo>
                    <a:lnTo>
                      <a:pt x="564551" y="326410"/>
                    </a:lnTo>
                    <a:lnTo>
                      <a:pt x="572171" y="329267"/>
                    </a:lnTo>
                    <a:lnTo>
                      <a:pt x="583601" y="329267"/>
                    </a:lnTo>
                    <a:cubicBezTo>
                      <a:pt x="583601" y="329267"/>
                      <a:pt x="592173" y="322600"/>
                      <a:pt x="596936" y="321647"/>
                    </a:cubicBezTo>
                    <a:cubicBezTo>
                      <a:pt x="601698" y="320695"/>
                      <a:pt x="588363" y="323552"/>
                      <a:pt x="601698" y="320695"/>
                    </a:cubicBezTo>
                    <a:cubicBezTo>
                      <a:pt x="615033" y="317837"/>
                      <a:pt x="608366" y="319742"/>
                      <a:pt x="615033" y="317837"/>
                    </a:cubicBezTo>
                    <a:cubicBezTo>
                      <a:pt x="621701" y="316885"/>
                      <a:pt x="626463" y="312122"/>
                      <a:pt x="630273" y="311170"/>
                    </a:cubicBezTo>
                    <a:cubicBezTo>
                      <a:pt x="635036" y="310217"/>
                      <a:pt x="637893" y="304502"/>
                      <a:pt x="637893" y="304502"/>
                    </a:cubicBezTo>
                    <a:lnTo>
                      <a:pt x="639798" y="295930"/>
                    </a:lnTo>
                    <a:lnTo>
                      <a:pt x="644561" y="289262"/>
                    </a:lnTo>
                    <a:lnTo>
                      <a:pt x="652181" y="285452"/>
                    </a:lnTo>
                    <a:lnTo>
                      <a:pt x="655991" y="280690"/>
                    </a:lnTo>
                    <a:cubicBezTo>
                      <a:pt x="655991" y="280690"/>
                      <a:pt x="655991" y="271165"/>
                      <a:pt x="656943" y="269260"/>
                    </a:cubicBezTo>
                    <a:cubicBezTo>
                      <a:pt x="657896" y="267355"/>
                      <a:pt x="657896" y="267355"/>
                      <a:pt x="657896" y="267355"/>
                    </a:cubicBezTo>
                    <a:cubicBezTo>
                      <a:pt x="657896" y="267355"/>
                      <a:pt x="661706" y="260687"/>
                      <a:pt x="664563" y="259735"/>
                    </a:cubicBezTo>
                    <a:cubicBezTo>
                      <a:pt x="668373" y="258782"/>
                      <a:pt x="667421" y="263545"/>
                      <a:pt x="673136" y="255925"/>
                    </a:cubicBezTo>
                    <a:cubicBezTo>
                      <a:pt x="678851" y="249257"/>
                      <a:pt x="683613" y="243542"/>
                      <a:pt x="683613" y="243542"/>
                    </a:cubicBezTo>
                    <a:lnTo>
                      <a:pt x="687423" y="230207"/>
                    </a:lnTo>
                    <a:lnTo>
                      <a:pt x="691233" y="223540"/>
                    </a:lnTo>
                    <a:lnTo>
                      <a:pt x="695043" y="207347"/>
                    </a:lnTo>
                    <a:cubicBezTo>
                      <a:pt x="695043" y="207347"/>
                      <a:pt x="693138" y="202585"/>
                      <a:pt x="695043" y="197822"/>
                    </a:cubicBezTo>
                    <a:cubicBezTo>
                      <a:pt x="696948" y="194012"/>
                      <a:pt x="696948" y="182582"/>
                      <a:pt x="696948" y="182582"/>
                    </a:cubicBezTo>
                    <a:lnTo>
                      <a:pt x="696948" y="176867"/>
                    </a:lnTo>
                    <a:lnTo>
                      <a:pt x="694091" y="169247"/>
                    </a:lnTo>
                    <a:lnTo>
                      <a:pt x="691233" y="162580"/>
                    </a:lnTo>
                    <a:cubicBezTo>
                      <a:pt x="691233" y="162580"/>
                      <a:pt x="684566" y="157817"/>
                      <a:pt x="683613" y="154960"/>
                    </a:cubicBezTo>
                    <a:cubicBezTo>
                      <a:pt x="682661" y="152102"/>
                      <a:pt x="675041" y="147340"/>
                      <a:pt x="675041" y="147340"/>
                    </a:cubicBezTo>
                    <a:lnTo>
                      <a:pt x="667421" y="142577"/>
                    </a:lnTo>
                    <a:lnTo>
                      <a:pt x="650276" y="130195"/>
                    </a:lnTo>
                    <a:cubicBezTo>
                      <a:pt x="650276" y="130195"/>
                      <a:pt x="637893" y="122575"/>
                      <a:pt x="637893" y="120670"/>
                    </a:cubicBezTo>
                    <a:cubicBezTo>
                      <a:pt x="637893" y="118765"/>
                      <a:pt x="628368" y="105430"/>
                      <a:pt x="628368" y="105430"/>
                    </a:cubicBezTo>
                    <a:lnTo>
                      <a:pt x="612176" y="96857"/>
                    </a:lnTo>
                    <a:lnTo>
                      <a:pt x="597888" y="94952"/>
                    </a:lnTo>
                    <a:lnTo>
                      <a:pt x="580743" y="79712"/>
                    </a:lnTo>
                    <a:cubicBezTo>
                      <a:pt x="580743" y="79712"/>
                      <a:pt x="575981" y="75902"/>
                      <a:pt x="573123" y="74950"/>
                    </a:cubicBezTo>
                    <a:cubicBezTo>
                      <a:pt x="570266" y="73045"/>
                      <a:pt x="566456" y="71140"/>
                      <a:pt x="565503" y="68282"/>
                    </a:cubicBezTo>
                    <a:cubicBezTo>
                      <a:pt x="564551" y="65425"/>
                      <a:pt x="563598" y="58757"/>
                      <a:pt x="563598" y="58757"/>
                    </a:cubicBezTo>
                    <a:lnTo>
                      <a:pt x="557883" y="53042"/>
                    </a:lnTo>
                    <a:lnTo>
                      <a:pt x="555026" y="42565"/>
                    </a:lnTo>
                    <a:lnTo>
                      <a:pt x="552168" y="35897"/>
                    </a:lnTo>
                    <a:lnTo>
                      <a:pt x="546453" y="31135"/>
                    </a:lnTo>
                    <a:lnTo>
                      <a:pt x="541691" y="28277"/>
                    </a:lnTo>
                    <a:lnTo>
                      <a:pt x="535976" y="22562"/>
                    </a:lnTo>
                    <a:lnTo>
                      <a:pt x="532166" y="16847"/>
                    </a:lnTo>
                    <a:lnTo>
                      <a:pt x="523593" y="13990"/>
                    </a:lnTo>
                    <a:lnTo>
                      <a:pt x="517878" y="13990"/>
                    </a:lnTo>
                    <a:lnTo>
                      <a:pt x="504543" y="16847"/>
                    </a:lnTo>
                    <a:lnTo>
                      <a:pt x="499781" y="16847"/>
                    </a:lnTo>
                    <a:lnTo>
                      <a:pt x="495018" y="18752"/>
                    </a:lnTo>
                    <a:close/>
                  </a:path>
                </a:pathLst>
              </a:custGeom>
              <a:grpFill/>
              <a:ln w="9525" cap="flat">
                <a:noFill/>
                <a:prstDash val="solid"/>
                <a:miter/>
              </a:ln>
            </p:spPr>
            <p:txBody>
              <a:bodyPr rtlCol="0" anchor="ctr"/>
              <a:lstStyle/>
              <a:p>
                <a:endParaRPr lang="en-US" sz="1765"/>
              </a:p>
            </p:txBody>
          </p:sp>
          <p:sp>
            <p:nvSpPr>
              <p:cNvPr id="129" name="Freeform: Shape 128">
                <a:extLst>
                  <a:ext uri="{FF2B5EF4-FFF2-40B4-BE49-F238E27FC236}">
                    <a16:creationId xmlns:a16="http://schemas.microsoft.com/office/drawing/2014/main" id="{B774ADF8-2098-4343-B4E1-0347024F5813}"/>
                  </a:ext>
                </a:extLst>
              </p:cNvPr>
              <p:cNvSpPr/>
              <p:nvPr/>
            </p:nvSpPr>
            <p:spPr>
              <a:xfrm>
                <a:off x="10716339" y="4552679"/>
                <a:ext cx="49796" cy="30856"/>
              </a:xfrm>
              <a:custGeom>
                <a:avLst/>
                <a:gdLst>
                  <a:gd name="connsiteX0" fmla="*/ 43129 w 49796"/>
                  <a:gd name="connsiteY0" fmla="*/ 0 h 30856"/>
                  <a:gd name="connsiteX1" fmla="*/ 34557 w 49796"/>
                  <a:gd name="connsiteY1" fmla="*/ 953 h 30856"/>
                  <a:gd name="connsiteX2" fmla="*/ 16459 w 49796"/>
                  <a:gd name="connsiteY2" fmla="*/ 953 h 30856"/>
                  <a:gd name="connsiteX3" fmla="*/ 8839 w 49796"/>
                  <a:gd name="connsiteY3" fmla="*/ 953 h 30856"/>
                  <a:gd name="connsiteX4" fmla="*/ 2172 w 49796"/>
                  <a:gd name="connsiteY4" fmla="*/ 3810 h 30856"/>
                  <a:gd name="connsiteX5" fmla="*/ 1219 w 49796"/>
                  <a:gd name="connsiteY5" fmla="*/ 7620 h 30856"/>
                  <a:gd name="connsiteX6" fmla="*/ 267 w 49796"/>
                  <a:gd name="connsiteY6" fmla="*/ 17145 h 30856"/>
                  <a:gd name="connsiteX7" fmla="*/ 1219 w 49796"/>
                  <a:gd name="connsiteY7" fmla="*/ 20955 h 30856"/>
                  <a:gd name="connsiteX8" fmla="*/ 2172 w 49796"/>
                  <a:gd name="connsiteY8" fmla="*/ 27622 h 30856"/>
                  <a:gd name="connsiteX9" fmla="*/ 18364 w 49796"/>
                  <a:gd name="connsiteY9" fmla="*/ 30480 h 30856"/>
                  <a:gd name="connsiteX10" fmla="*/ 23127 w 49796"/>
                  <a:gd name="connsiteY10" fmla="*/ 26670 h 30856"/>
                  <a:gd name="connsiteX11" fmla="*/ 26937 w 49796"/>
                  <a:gd name="connsiteY11" fmla="*/ 26670 h 30856"/>
                  <a:gd name="connsiteX12" fmla="*/ 39319 w 49796"/>
                  <a:gd name="connsiteY12" fmla="*/ 22860 h 30856"/>
                  <a:gd name="connsiteX13" fmla="*/ 44082 w 49796"/>
                  <a:gd name="connsiteY13" fmla="*/ 21908 h 30856"/>
                  <a:gd name="connsiteX14" fmla="*/ 48844 w 49796"/>
                  <a:gd name="connsiteY14" fmla="*/ 19050 h 30856"/>
                  <a:gd name="connsiteX15" fmla="*/ 49797 w 49796"/>
                  <a:gd name="connsiteY15" fmla="*/ 12383 h 30856"/>
                  <a:gd name="connsiteX16" fmla="*/ 46939 w 49796"/>
                  <a:gd name="connsiteY16" fmla="*/ 4763 h 30856"/>
                  <a:gd name="connsiteX17" fmla="*/ 43129 w 49796"/>
                  <a:gd name="connsiteY17" fmla="*/ 0 h 3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796" h="30856">
                    <a:moveTo>
                      <a:pt x="43129" y="0"/>
                    </a:moveTo>
                    <a:lnTo>
                      <a:pt x="34557" y="953"/>
                    </a:lnTo>
                    <a:lnTo>
                      <a:pt x="16459" y="953"/>
                    </a:lnTo>
                    <a:lnTo>
                      <a:pt x="8839" y="953"/>
                    </a:lnTo>
                    <a:cubicBezTo>
                      <a:pt x="8839" y="953"/>
                      <a:pt x="3124" y="0"/>
                      <a:pt x="2172" y="3810"/>
                    </a:cubicBezTo>
                    <a:cubicBezTo>
                      <a:pt x="1219" y="7620"/>
                      <a:pt x="1219" y="2858"/>
                      <a:pt x="1219" y="7620"/>
                    </a:cubicBezTo>
                    <a:cubicBezTo>
                      <a:pt x="1219" y="12383"/>
                      <a:pt x="-686" y="14288"/>
                      <a:pt x="267" y="17145"/>
                    </a:cubicBezTo>
                    <a:cubicBezTo>
                      <a:pt x="1219" y="20955"/>
                      <a:pt x="267" y="14288"/>
                      <a:pt x="1219" y="20955"/>
                    </a:cubicBezTo>
                    <a:cubicBezTo>
                      <a:pt x="2172" y="27622"/>
                      <a:pt x="-1638" y="21908"/>
                      <a:pt x="2172" y="27622"/>
                    </a:cubicBezTo>
                    <a:cubicBezTo>
                      <a:pt x="5982" y="32385"/>
                      <a:pt x="18364" y="30480"/>
                      <a:pt x="18364" y="30480"/>
                    </a:cubicBezTo>
                    <a:cubicBezTo>
                      <a:pt x="18364" y="30480"/>
                      <a:pt x="19317" y="26670"/>
                      <a:pt x="23127" y="26670"/>
                    </a:cubicBezTo>
                    <a:cubicBezTo>
                      <a:pt x="26937" y="26670"/>
                      <a:pt x="21222" y="24765"/>
                      <a:pt x="26937" y="26670"/>
                    </a:cubicBezTo>
                    <a:cubicBezTo>
                      <a:pt x="32652" y="28575"/>
                      <a:pt x="39319" y="22860"/>
                      <a:pt x="39319" y="22860"/>
                    </a:cubicBezTo>
                    <a:lnTo>
                      <a:pt x="44082" y="21908"/>
                    </a:lnTo>
                    <a:cubicBezTo>
                      <a:pt x="44082" y="21908"/>
                      <a:pt x="47892" y="20955"/>
                      <a:pt x="48844" y="19050"/>
                    </a:cubicBezTo>
                    <a:cubicBezTo>
                      <a:pt x="49797" y="17145"/>
                      <a:pt x="49797" y="12383"/>
                      <a:pt x="49797" y="12383"/>
                    </a:cubicBezTo>
                    <a:lnTo>
                      <a:pt x="46939" y="4763"/>
                    </a:lnTo>
                    <a:lnTo>
                      <a:pt x="43129" y="0"/>
                    </a:lnTo>
                    <a:close/>
                  </a:path>
                </a:pathLst>
              </a:custGeom>
              <a:grpFill/>
              <a:ln w="9525" cap="flat">
                <a:noFill/>
                <a:prstDash val="solid"/>
                <a:miter/>
              </a:ln>
            </p:spPr>
            <p:txBody>
              <a:bodyPr rtlCol="0" anchor="ctr"/>
              <a:lstStyle/>
              <a:p>
                <a:endParaRPr lang="en-US" sz="1765"/>
              </a:p>
            </p:txBody>
          </p:sp>
          <p:sp>
            <p:nvSpPr>
              <p:cNvPr id="130" name="Freeform: Shape 129">
                <a:extLst>
                  <a:ext uri="{FF2B5EF4-FFF2-40B4-BE49-F238E27FC236}">
                    <a16:creationId xmlns:a16="http://schemas.microsoft.com/office/drawing/2014/main" id="{878589A0-5A81-43E2-9DD2-0647B00B0DF3}"/>
                  </a:ext>
                </a:extLst>
              </p:cNvPr>
              <p:cNvSpPr/>
              <p:nvPr/>
            </p:nvSpPr>
            <p:spPr>
              <a:xfrm>
                <a:off x="11071889" y="4560299"/>
                <a:ext cx="126682" cy="72389"/>
              </a:xfrm>
              <a:custGeom>
                <a:avLst/>
                <a:gdLst>
                  <a:gd name="connsiteX0" fmla="*/ 126682 w 126682"/>
                  <a:gd name="connsiteY0" fmla="*/ 1905 h 72389"/>
                  <a:gd name="connsiteX1" fmla="*/ 123825 w 126682"/>
                  <a:gd name="connsiteY1" fmla="*/ 10477 h 72389"/>
                  <a:gd name="connsiteX2" fmla="*/ 120968 w 126682"/>
                  <a:gd name="connsiteY2" fmla="*/ 20002 h 72389"/>
                  <a:gd name="connsiteX3" fmla="*/ 114300 w 126682"/>
                  <a:gd name="connsiteY3" fmla="*/ 29527 h 72389"/>
                  <a:gd name="connsiteX4" fmla="*/ 96202 w 126682"/>
                  <a:gd name="connsiteY4" fmla="*/ 37147 h 72389"/>
                  <a:gd name="connsiteX5" fmla="*/ 90488 w 126682"/>
                  <a:gd name="connsiteY5" fmla="*/ 40005 h 72389"/>
                  <a:gd name="connsiteX6" fmla="*/ 83820 w 126682"/>
                  <a:gd name="connsiteY6" fmla="*/ 43815 h 72389"/>
                  <a:gd name="connsiteX7" fmla="*/ 83820 w 126682"/>
                  <a:gd name="connsiteY7" fmla="*/ 47625 h 72389"/>
                  <a:gd name="connsiteX8" fmla="*/ 80010 w 126682"/>
                  <a:gd name="connsiteY8" fmla="*/ 57150 h 72389"/>
                  <a:gd name="connsiteX9" fmla="*/ 75248 w 126682"/>
                  <a:gd name="connsiteY9" fmla="*/ 61913 h 72389"/>
                  <a:gd name="connsiteX10" fmla="*/ 64770 w 126682"/>
                  <a:gd name="connsiteY10" fmla="*/ 67627 h 72389"/>
                  <a:gd name="connsiteX11" fmla="*/ 57150 w 126682"/>
                  <a:gd name="connsiteY11" fmla="*/ 69533 h 72389"/>
                  <a:gd name="connsiteX12" fmla="*/ 40957 w 126682"/>
                  <a:gd name="connsiteY12" fmla="*/ 71438 h 72389"/>
                  <a:gd name="connsiteX13" fmla="*/ 25718 w 126682"/>
                  <a:gd name="connsiteY13" fmla="*/ 72390 h 72389"/>
                  <a:gd name="connsiteX14" fmla="*/ 14288 w 126682"/>
                  <a:gd name="connsiteY14" fmla="*/ 72390 h 72389"/>
                  <a:gd name="connsiteX15" fmla="*/ 1905 w 126682"/>
                  <a:gd name="connsiteY15" fmla="*/ 70485 h 72389"/>
                  <a:gd name="connsiteX16" fmla="*/ 0 w 126682"/>
                  <a:gd name="connsiteY16" fmla="*/ 61913 h 72389"/>
                  <a:gd name="connsiteX17" fmla="*/ 0 w 126682"/>
                  <a:gd name="connsiteY17" fmla="*/ 55245 h 72389"/>
                  <a:gd name="connsiteX18" fmla="*/ 5715 w 126682"/>
                  <a:gd name="connsiteY18" fmla="*/ 48577 h 72389"/>
                  <a:gd name="connsiteX19" fmla="*/ 16193 w 126682"/>
                  <a:gd name="connsiteY19" fmla="*/ 43815 h 72389"/>
                  <a:gd name="connsiteX20" fmla="*/ 24765 w 126682"/>
                  <a:gd name="connsiteY20" fmla="*/ 42863 h 72389"/>
                  <a:gd name="connsiteX21" fmla="*/ 40957 w 126682"/>
                  <a:gd name="connsiteY21" fmla="*/ 39052 h 72389"/>
                  <a:gd name="connsiteX22" fmla="*/ 60007 w 126682"/>
                  <a:gd name="connsiteY22" fmla="*/ 32385 h 72389"/>
                  <a:gd name="connsiteX23" fmla="*/ 73343 w 126682"/>
                  <a:gd name="connsiteY23" fmla="*/ 22860 h 72389"/>
                  <a:gd name="connsiteX24" fmla="*/ 84773 w 126682"/>
                  <a:gd name="connsiteY24" fmla="*/ 9525 h 72389"/>
                  <a:gd name="connsiteX25" fmla="*/ 91440 w 126682"/>
                  <a:gd name="connsiteY25" fmla="*/ 6667 h 72389"/>
                  <a:gd name="connsiteX26" fmla="*/ 97155 w 126682"/>
                  <a:gd name="connsiteY26" fmla="*/ 2858 h 72389"/>
                  <a:gd name="connsiteX27" fmla="*/ 108585 w 126682"/>
                  <a:gd name="connsiteY27" fmla="*/ 0 h 72389"/>
                  <a:gd name="connsiteX28" fmla="*/ 116205 w 126682"/>
                  <a:gd name="connsiteY28" fmla="*/ 0 h 72389"/>
                  <a:gd name="connsiteX29" fmla="*/ 126682 w 126682"/>
                  <a:gd name="connsiteY29" fmla="*/ 1905 h 7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6682" h="72389">
                    <a:moveTo>
                      <a:pt x="126682" y="1905"/>
                    </a:moveTo>
                    <a:cubicBezTo>
                      <a:pt x="126682" y="1905"/>
                      <a:pt x="124777" y="7620"/>
                      <a:pt x="123825" y="10477"/>
                    </a:cubicBezTo>
                    <a:cubicBezTo>
                      <a:pt x="123825" y="13335"/>
                      <a:pt x="122873" y="15240"/>
                      <a:pt x="120968" y="20002"/>
                    </a:cubicBezTo>
                    <a:cubicBezTo>
                      <a:pt x="120015" y="23813"/>
                      <a:pt x="122873" y="23813"/>
                      <a:pt x="114300" y="29527"/>
                    </a:cubicBezTo>
                    <a:cubicBezTo>
                      <a:pt x="105727" y="35242"/>
                      <a:pt x="96202" y="37147"/>
                      <a:pt x="96202" y="37147"/>
                    </a:cubicBezTo>
                    <a:cubicBezTo>
                      <a:pt x="96202" y="37147"/>
                      <a:pt x="91440" y="38100"/>
                      <a:pt x="90488" y="40005"/>
                    </a:cubicBezTo>
                    <a:cubicBezTo>
                      <a:pt x="89535" y="41910"/>
                      <a:pt x="83820" y="40005"/>
                      <a:pt x="83820" y="43815"/>
                    </a:cubicBezTo>
                    <a:cubicBezTo>
                      <a:pt x="83820" y="47625"/>
                      <a:pt x="84773" y="42863"/>
                      <a:pt x="83820" y="47625"/>
                    </a:cubicBezTo>
                    <a:cubicBezTo>
                      <a:pt x="82868" y="51435"/>
                      <a:pt x="80010" y="57150"/>
                      <a:pt x="80010" y="57150"/>
                    </a:cubicBezTo>
                    <a:cubicBezTo>
                      <a:pt x="80010" y="57150"/>
                      <a:pt x="80963" y="58102"/>
                      <a:pt x="75248" y="61913"/>
                    </a:cubicBezTo>
                    <a:cubicBezTo>
                      <a:pt x="69532" y="65722"/>
                      <a:pt x="73343" y="65722"/>
                      <a:pt x="64770" y="67627"/>
                    </a:cubicBezTo>
                    <a:cubicBezTo>
                      <a:pt x="57150" y="69533"/>
                      <a:pt x="63818" y="68580"/>
                      <a:pt x="57150" y="69533"/>
                    </a:cubicBezTo>
                    <a:cubicBezTo>
                      <a:pt x="50482" y="70485"/>
                      <a:pt x="40957" y="71438"/>
                      <a:pt x="40957" y="71438"/>
                    </a:cubicBezTo>
                    <a:lnTo>
                      <a:pt x="25718" y="72390"/>
                    </a:lnTo>
                    <a:lnTo>
                      <a:pt x="14288" y="72390"/>
                    </a:lnTo>
                    <a:lnTo>
                      <a:pt x="1905" y="70485"/>
                    </a:lnTo>
                    <a:cubicBezTo>
                      <a:pt x="1905" y="70485"/>
                      <a:pt x="0" y="63817"/>
                      <a:pt x="0" y="61913"/>
                    </a:cubicBezTo>
                    <a:cubicBezTo>
                      <a:pt x="0" y="60008"/>
                      <a:pt x="0" y="55245"/>
                      <a:pt x="0" y="55245"/>
                    </a:cubicBezTo>
                    <a:lnTo>
                      <a:pt x="5715" y="48577"/>
                    </a:lnTo>
                    <a:lnTo>
                      <a:pt x="16193" y="43815"/>
                    </a:lnTo>
                    <a:cubicBezTo>
                      <a:pt x="16193" y="43815"/>
                      <a:pt x="20955" y="42863"/>
                      <a:pt x="24765" y="42863"/>
                    </a:cubicBezTo>
                    <a:cubicBezTo>
                      <a:pt x="29527" y="42863"/>
                      <a:pt x="36195" y="40005"/>
                      <a:pt x="40957" y="39052"/>
                    </a:cubicBezTo>
                    <a:cubicBezTo>
                      <a:pt x="46673" y="38100"/>
                      <a:pt x="56198" y="32385"/>
                      <a:pt x="60007" y="32385"/>
                    </a:cubicBezTo>
                    <a:cubicBezTo>
                      <a:pt x="62865" y="31433"/>
                      <a:pt x="71438" y="25717"/>
                      <a:pt x="73343" y="22860"/>
                    </a:cubicBezTo>
                    <a:cubicBezTo>
                      <a:pt x="75248" y="20002"/>
                      <a:pt x="84773" y="9525"/>
                      <a:pt x="84773" y="9525"/>
                    </a:cubicBezTo>
                    <a:lnTo>
                      <a:pt x="91440" y="6667"/>
                    </a:lnTo>
                    <a:cubicBezTo>
                      <a:pt x="91440" y="6667"/>
                      <a:pt x="85725" y="4763"/>
                      <a:pt x="97155" y="2858"/>
                    </a:cubicBezTo>
                    <a:cubicBezTo>
                      <a:pt x="108585" y="0"/>
                      <a:pt x="108585" y="0"/>
                      <a:pt x="108585" y="0"/>
                    </a:cubicBezTo>
                    <a:lnTo>
                      <a:pt x="116205" y="0"/>
                    </a:lnTo>
                    <a:lnTo>
                      <a:pt x="126682" y="1905"/>
                    </a:lnTo>
                    <a:close/>
                  </a:path>
                </a:pathLst>
              </a:custGeom>
              <a:grpFill/>
              <a:ln w="9525" cap="flat">
                <a:noFill/>
                <a:prstDash val="solid"/>
                <a:miter/>
              </a:ln>
            </p:spPr>
            <p:txBody>
              <a:bodyPr rtlCol="0" anchor="ctr"/>
              <a:lstStyle/>
              <a:p>
                <a:endParaRPr lang="en-US" sz="1765"/>
              </a:p>
            </p:txBody>
          </p:sp>
          <p:sp>
            <p:nvSpPr>
              <p:cNvPr id="189" name="Freeform: Shape 188">
                <a:extLst>
                  <a:ext uri="{FF2B5EF4-FFF2-40B4-BE49-F238E27FC236}">
                    <a16:creationId xmlns:a16="http://schemas.microsoft.com/office/drawing/2014/main" id="{39B57D15-43BA-4FD4-B80D-1294AB741531}"/>
                  </a:ext>
                </a:extLst>
              </p:cNvPr>
              <p:cNvSpPr/>
              <p:nvPr/>
            </p:nvSpPr>
            <p:spPr>
              <a:xfrm>
                <a:off x="11193808" y="4475526"/>
                <a:ext cx="84894" cy="90381"/>
              </a:xfrm>
              <a:custGeom>
                <a:avLst/>
                <a:gdLst>
                  <a:gd name="connsiteX0" fmla="*/ 4763 w 84894"/>
                  <a:gd name="connsiteY0" fmla="*/ 953 h 90381"/>
                  <a:gd name="connsiteX1" fmla="*/ 3810 w 84894"/>
                  <a:gd name="connsiteY1" fmla="*/ 4763 h 90381"/>
                  <a:gd name="connsiteX2" fmla="*/ 6668 w 84894"/>
                  <a:gd name="connsiteY2" fmla="*/ 12383 h 90381"/>
                  <a:gd name="connsiteX3" fmla="*/ 953 w 84894"/>
                  <a:gd name="connsiteY3" fmla="*/ 20003 h 90381"/>
                  <a:gd name="connsiteX4" fmla="*/ 6668 w 84894"/>
                  <a:gd name="connsiteY4" fmla="*/ 27623 h 90381"/>
                  <a:gd name="connsiteX5" fmla="*/ 14288 w 84894"/>
                  <a:gd name="connsiteY5" fmla="*/ 30480 h 90381"/>
                  <a:gd name="connsiteX6" fmla="*/ 19050 w 84894"/>
                  <a:gd name="connsiteY6" fmla="*/ 34290 h 90381"/>
                  <a:gd name="connsiteX7" fmla="*/ 19050 w 84894"/>
                  <a:gd name="connsiteY7" fmla="*/ 45720 h 90381"/>
                  <a:gd name="connsiteX8" fmla="*/ 18098 w 84894"/>
                  <a:gd name="connsiteY8" fmla="*/ 50483 h 90381"/>
                  <a:gd name="connsiteX9" fmla="*/ 12382 w 84894"/>
                  <a:gd name="connsiteY9" fmla="*/ 53340 h 90381"/>
                  <a:gd name="connsiteX10" fmla="*/ 9525 w 84894"/>
                  <a:gd name="connsiteY10" fmla="*/ 60008 h 90381"/>
                  <a:gd name="connsiteX11" fmla="*/ 23813 w 84894"/>
                  <a:gd name="connsiteY11" fmla="*/ 68580 h 90381"/>
                  <a:gd name="connsiteX12" fmla="*/ 24765 w 84894"/>
                  <a:gd name="connsiteY12" fmla="*/ 72390 h 90381"/>
                  <a:gd name="connsiteX13" fmla="*/ 24765 w 84894"/>
                  <a:gd name="connsiteY13" fmla="*/ 79058 h 90381"/>
                  <a:gd name="connsiteX14" fmla="*/ 27623 w 84894"/>
                  <a:gd name="connsiteY14" fmla="*/ 85725 h 90381"/>
                  <a:gd name="connsiteX15" fmla="*/ 35243 w 84894"/>
                  <a:gd name="connsiteY15" fmla="*/ 87630 h 90381"/>
                  <a:gd name="connsiteX16" fmla="*/ 47625 w 84894"/>
                  <a:gd name="connsiteY16" fmla="*/ 89535 h 90381"/>
                  <a:gd name="connsiteX17" fmla="*/ 55245 w 84894"/>
                  <a:gd name="connsiteY17" fmla="*/ 89535 h 90381"/>
                  <a:gd name="connsiteX18" fmla="*/ 60007 w 84894"/>
                  <a:gd name="connsiteY18" fmla="*/ 82868 h 90381"/>
                  <a:gd name="connsiteX19" fmla="*/ 62865 w 84894"/>
                  <a:gd name="connsiteY19" fmla="*/ 73343 h 90381"/>
                  <a:gd name="connsiteX20" fmla="*/ 69532 w 84894"/>
                  <a:gd name="connsiteY20" fmla="*/ 69533 h 90381"/>
                  <a:gd name="connsiteX21" fmla="*/ 78105 w 84894"/>
                  <a:gd name="connsiteY21" fmla="*/ 61913 h 90381"/>
                  <a:gd name="connsiteX22" fmla="*/ 79057 w 84894"/>
                  <a:gd name="connsiteY22" fmla="*/ 50483 h 90381"/>
                  <a:gd name="connsiteX23" fmla="*/ 84773 w 84894"/>
                  <a:gd name="connsiteY23" fmla="*/ 38100 h 90381"/>
                  <a:gd name="connsiteX24" fmla="*/ 75248 w 84894"/>
                  <a:gd name="connsiteY24" fmla="*/ 30480 h 90381"/>
                  <a:gd name="connsiteX25" fmla="*/ 60960 w 84894"/>
                  <a:gd name="connsiteY25" fmla="*/ 30480 h 90381"/>
                  <a:gd name="connsiteX26" fmla="*/ 44768 w 84894"/>
                  <a:gd name="connsiteY26" fmla="*/ 19050 h 90381"/>
                  <a:gd name="connsiteX27" fmla="*/ 33338 w 84894"/>
                  <a:gd name="connsiteY27" fmla="*/ 17145 h 90381"/>
                  <a:gd name="connsiteX28" fmla="*/ 26670 w 84894"/>
                  <a:gd name="connsiteY28" fmla="*/ 14288 h 90381"/>
                  <a:gd name="connsiteX29" fmla="*/ 20955 w 84894"/>
                  <a:gd name="connsiteY29" fmla="*/ 6668 h 90381"/>
                  <a:gd name="connsiteX30" fmla="*/ 16193 w 84894"/>
                  <a:gd name="connsiteY30" fmla="*/ 4763 h 90381"/>
                  <a:gd name="connsiteX31" fmla="*/ 0 w 84894"/>
                  <a:gd name="connsiteY31" fmla="*/ 0 h 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894" h="90381">
                    <a:moveTo>
                      <a:pt x="4763" y="953"/>
                    </a:moveTo>
                    <a:cubicBezTo>
                      <a:pt x="4763" y="953"/>
                      <a:pt x="1905" y="0"/>
                      <a:pt x="3810" y="4763"/>
                    </a:cubicBezTo>
                    <a:cubicBezTo>
                      <a:pt x="5715" y="9525"/>
                      <a:pt x="6668" y="9525"/>
                      <a:pt x="6668" y="12383"/>
                    </a:cubicBezTo>
                    <a:cubicBezTo>
                      <a:pt x="6668" y="15240"/>
                      <a:pt x="0" y="16193"/>
                      <a:pt x="953" y="20003"/>
                    </a:cubicBezTo>
                    <a:cubicBezTo>
                      <a:pt x="1905" y="23813"/>
                      <a:pt x="6668" y="27623"/>
                      <a:pt x="6668" y="27623"/>
                    </a:cubicBezTo>
                    <a:lnTo>
                      <a:pt x="14288" y="30480"/>
                    </a:lnTo>
                    <a:lnTo>
                      <a:pt x="19050" y="34290"/>
                    </a:lnTo>
                    <a:cubicBezTo>
                      <a:pt x="19050" y="34290"/>
                      <a:pt x="19050" y="43815"/>
                      <a:pt x="19050" y="45720"/>
                    </a:cubicBezTo>
                    <a:cubicBezTo>
                      <a:pt x="19050" y="47625"/>
                      <a:pt x="18098" y="50483"/>
                      <a:pt x="18098" y="50483"/>
                    </a:cubicBezTo>
                    <a:cubicBezTo>
                      <a:pt x="18098" y="50483"/>
                      <a:pt x="12382" y="50483"/>
                      <a:pt x="12382" y="53340"/>
                    </a:cubicBezTo>
                    <a:cubicBezTo>
                      <a:pt x="12382" y="56198"/>
                      <a:pt x="8573" y="57150"/>
                      <a:pt x="9525" y="60008"/>
                    </a:cubicBezTo>
                    <a:cubicBezTo>
                      <a:pt x="10478" y="61913"/>
                      <a:pt x="23813" y="68580"/>
                      <a:pt x="23813" y="68580"/>
                    </a:cubicBezTo>
                    <a:cubicBezTo>
                      <a:pt x="23813" y="68580"/>
                      <a:pt x="24765" y="67628"/>
                      <a:pt x="24765" y="72390"/>
                    </a:cubicBezTo>
                    <a:cubicBezTo>
                      <a:pt x="24765" y="76200"/>
                      <a:pt x="20955" y="73343"/>
                      <a:pt x="24765" y="79058"/>
                    </a:cubicBezTo>
                    <a:cubicBezTo>
                      <a:pt x="27623" y="85725"/>
                      <a:pt x="27623" y="85725"/>
                      <a:pt x="27623" y="85725"/>
                    </a:cubicBezTo>
                    <a:cubicBezTo>
                      <a:pt x="27623" y="85725"/>
                      <a:pt x="32385" y="85725"/>
                      <a:pt x="35243" y="87630"/>
                    </a:cubicBezTo>
                    <a:cubicBezTo>
                      <a:pt x="38100" y="89535"/>
                      <a:pt x="47625" y="89535"/>
                      <a:pt x="47625" y="89535"/>
                    </a:cubicBezTo>
                    <a:cubicBezTo>
                      <a:pt x="47625" y="89535"/>
                      <a:pt x="52388" y="91440"/>
                      <a:pt x="55245" y="89535"/>
                    </a:cubicBezTo>
                    <a:cubicBezTo>
                      <a:pt x="58103" y="87630"/>
                      <a:pt x="60007" y="82868"/>
                      <a:pt x="60007" y="82868"/>
                    </a:cubicBezTo>
                    <a:lnTo>
                      <a:pt x="62865" y="73343"/>
                    </a:lnTo>
                    <a:cubicBezTo>
                      <a:pt x="62865" y="73343"/>
                      <a:pt x="66675" y="70485"/>
                      <a:pt x="69532" y="69533"/>
                    </a:cubicBezTo>
                    <a:cubicBezTo>
                      <a:pt x="72390" y="68580"/>
                      <a:pt x="77153" y="63818"/>
                      <a:pt x="78105" y="61913"/>
                    </a:cubicBezTo>
                    <a:cubicBezTo>
                      <a:pt x="79057" y="60008"/>
                      <a:pt x="79057" y="50483"/>
                      <a:pt x="79057" y="50483"/>
                    </a:cubicBezTo>
                    <a:cubicBezTo>
                      <a:pt x="82868" y="45720"/>
                      <a:pt x="83820" y="40958"/>
                      <a:pt x="84773" y="38100"/>
                    </a:cubicBezTo>
                    <a:cubicBezTo>
                      <a:pt x="85725" y="36195"/>
                      <a:pt x="80963" y="29528"/>
                      <a:pt x="75248" y="30480"/>
                    </a:cubicBezTo>
                    <a:cubicBezTo>
                      <a:pt x="69532" y="31433"/>
                      <a:pt x="60960" y="30480"/>
                      <a:pt x="60960" y="30480"/>
                    </a:cubicBezTo>
                    <a:lnTo>
                      <a:pt x="44768" y="19050"/>
                    </a:lnTo>
                    <a:lnTo>
                      <a:pt x="33338" y="17145"/>
                    </a:lnTo>
                    <a:lnTo>
                      <a:pt x="26670" y="14288"/>
                    </a:lnTo>
                    <a:lnTo>
                      <a:pt x="20955" y="6668"/>
                    </a:lnTo>
                    <a:lnTo>
                      <a:pt x="16193" y="4763"/>
                    </a:lnTo>
                    <a:lnTo>
                      <a:pt x="0" y="0"/>
                    </a:lnTo>
                  </a:path>
                </a:pathLst>
              </a:custGeom>
              <a:grpFill/>
              <a:ln w="9525" cap="flat">
                <a:noFill/>
                <a:prstDash val="solid"/>
                <a:miter/>
              </a:ln>
            </p:spPr>
            <p:txBody>
              <a:bodyPr rtlCol="0" anchor="ctr"/>
              <a:lstStyle/>
              <a:p>
                <a:endParaRPr lang="en-US" sz="1765"/>
              </a:p>
            </p:txBody>
          </p:sp>
          <p:sp>
            <p:nvSpPr>
              <p:cNvPr id="192" name="Freeform: Shape 191">
                <a:extLst>
                  <a:ext uri="{FF2B5EF4-FFF2-40B4-BE49-F238E27FC236}">
                    <a16:creationId xmlns:a16="http://schemas.microsoft.com/office/drawing/2014/main" id="{B4E39D2C-30F8-4EFB-94B1-84DFE7064DDC}"/>
                  </a:ext>
                </a:extLst>
              </p:cNvPr>
              <p:cNvSpPr/>
              <p:nvPr/>
            </p:nvSpPr>
            <p:spPr>
              <a:xfrm>
                <a:off x="10425141" y="4101908"/>
                <a:ext cx="44767" cy="14525"/>
              </a:xfrm>
              <a:custGeom>
                <a:avLst/>
                <a:gdLst>
                  <a:gd name="connsiteX0" fmla="*/ 3810 w 44767"/>
                  <a:gd name="connsiteY0" fmla="*/ 6906 h 14525"/>
                  <a:gd name="connsiteX1" fmla="*/ 5715 w 44767"/>
                  <a:gd name="connsiteY1" fmla="*/ 4048 h 14525"/>
                  <a:gd name="connsiteX2" fmla="*/ 10478 w 44767"/>
                  <a:gd name="connsiteY2" fmla="*/ 1191 h 14525"/>
                  <a:gd name="connsiteX3" fmla="*/ 24765 w 44767"/>
                  <a:gd name="connsiteY3" fmla="*/ 238 h 14525"/>
                  <a:gd name="connsiteX4" fmla="*/ 37148 w 44767"/>
                  <a:gd name="connsiteY4" fmla="*/ 2143 h 14525"/>
                  <a:gd name="connsiteX5" fmla="*/ 43815 w 44767"/>
                  <a:gd name="connsiteY5" fmla="*/ 3096 h 14525"/>
                  <a:gd name="connsiteX6" fmla="*/ 44768 w 44767"/>
                  <a:gd name="connsiteY6" fmla="*/ 10716 h 14525"/>
                  <a:gd name="connsiteX7" fmla="*/ 37148 w 44767"/>
                  <a:gd name="connsiteY7" fmla="*/ 11668 h 14525"/>
                  <a:gd name="connsiteX8" fmla="*/ 29528 w 44767"/>
                  <a:gd name="connsiteY8" fmla="*/ 11668 h 14525"/>
                  <a:gd name="connsiteX9" fmla="*/ 18098 w 44767"/>
                  <a:gd name="connsiteY9" fmla="*/ 13573 h 14525"/>
                  <a:gd name="connsiteX10" fmla="*/ 6668 w 44767"/>
                  <a:gd name="connsiteY10" fmla="*/ 14526 h 14525"/>
                  <a:gd name="connsiteX11" fmla="*/ 0 w 44767"/>
                  <a:gd name="connsiteY11" fmla="*/ 10716 h 14525"/>
                  <a:gd name="connsiteX12" fmla="*/ 3810 w 44767"/>
                  <a:gd name="connsiteY12" fmla="*/ 6906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 h="14525">
                    <a:moveTo>
                      <a:pt x="3810" y="6906"/>
                    </a:moveTo>
                    <a:cubicBezTo>
                      <a:pt x="3810" y="6906"/>
                      <a:pt x="3810" y="6906"/>
                      <a:pt x="5715" y="4048"/>
                    </a:cubicBezTo>
                    <a:cubicBezTo>
                      <a:pt x="7620" y="1191"/>
                      <a:pt x="10478" y="3096"/>
                      <a:pt x="10478" y="1191"/>
                    </a:cubicBezTo>
                    <a:cubicBezTo>
                      <a:pt x="10478" y="-714"/>
                      <a:pt x="20003" y="238"/>
                      <a:pt x="24765" y="238"/>
                    </a:cubicBezTo>
                    <a:cubicBezTo>
                      <a:pt x="29528" y="238"/>
                      <a:pt x="37148" y="2143"/>
                      <a:pt x="37148" y="2143"/>
                    </a:cubicBezTo>
                    <a:lnTo>
                      <a:pt x="43815" y="3096"/>
                    </a:lnTo>
                    <a:lnTo>
                      <a:pt x="44768" y="10716"/>
                    </a:lnTo>
                    <a:lnTo>
                      <a:pt x="37148" y="11668"/>
                    </a:lnTo>
                    <a:cubicBezTo>
                      <a:pt x="37148" y="11668"/>
                      <a:pt x="32385" y="11668"/>
                      <a:pt x="29528" y="11668"/>
                    </a:cubicBezTo>
                    <a:cubicBezTo>
                      <a:pt x="26670" y="11668"/>
                      <a:pt x="18098" y="13573"/>
                      <a:pt x="18098" y="13573"/>
                    </a:cubicBezTo>
                    <a:lnTo>
                      <a:pt x="6668" y="14526"/>
                    </a:lnTo>
                    <a:lnTo>
                      <a:pt x="0" y="10716"/>
                    </a:lnTo>
                    <a:lnTo>
                      <a:pt x="3810" y="6906"/>
                    </a:lnTo>
                    <a:close/>
                  </a:path>
                </a:pathLst>
              </a:custGeom>
              <a:grpFill/>
              <a:ln w="9525" cap="flat">
                <a:noFill/>
                <a:prstDash val="solid"/>
                <a:miter/>
              </a:ln>
            </p:spPr>
            <p:txBody>
              <a:bodyPr rtlCol="0" anchor="ctr"/>
              <a:lstStyle/>
              <a:p>
                <a:endParaRPr lang="en-US" sz="1765"/>
              </a:p>
            </p:txBody>
          </p:sp>
          <p:sp>
            <p:nvSpPr>
              <p:cNvPr id="193" name="Freeform: Shape 192">
                <a:extLst>
                  <a:ext uri="{FF2B5EF4-FFF2-40B4-BE49-F238E27FC236}">
                    <a16:creationId xmlns:a16="http://schemas.microsoft.com/office/drawing/2014/main" id="{1644271D-EA1E-44CD-80C2-B5EEEC74BB30}"/>
                  </a:ext>
                </a:extLst>
              </p:cNvPr>
              <p:cNvSpPr/>
              <p:nvPr/>
            </p:nvSpPr>
            <p:spPr>
              <a:xfrm>
                <a:off x="10377374" y="4105004"/>
                <a:ext cx="31575" cy="9525"/>
              </a:xfrm>
              <a:custGeom>
                <a:avLst/>
                <a:gdLst>
                  <a:gd name="connsiteX0" fmla="*/ 21097 w 31575"/>
                  <a:gd name="connsiteY0" fmla="*/ 0 h 9525"/>
                  <a:gd name="connsiteX1" fmla="*/ 14430 w 31575"/>
                  <a:gd name="connsiteY1" fmla="*/ 0 h 9525"/>
                  <a:gd name="connsiteX2" fmla="*/ 2047 w 31575"/>
                  <a:gd name="connsiteY2" fmla="*/ 3810 h 9525"/>
                  <a:gd name="connsiteX3" fmla="*/ 3000 w 31575"/>
                  <a:gd name="connsiteY3" fmla="*/ 5715 h 9525"/>
                  <a:gd name="connsiteX4" fmla="*/ 9667 w 31575"/>
                  <a:gd name="connsiteY4" fmla="*/ 9525 h 9525"/>
                  <a:gd name="connsiteX5" fmla="*/ 18240 w 31575"/>
                  <a:gd name="connsiteY5" fmla="*/ 9525 h 9525"/>
                  <a:gd name="connsiteX6" fmla="*/ 25860 w 31575"/>
                  <a:gd name="connsiteY6" fmla="*/ 9525 h 9525"/>
                  <a:gd name="connsiteX7" fmla="*/ 31575 w 31575"/>
                  <a:gd name="connsiteY7" fmla="*/ 4763 h 9525"/>
                  <a:gd name="connsiteX8" fmla="*/ 24907 w 31575"/>
                  <a:gd name="connsiteY8" fmla="*/ 0 h 9525"/>
                  <a:gd name="connsiteX9" fmla="*/ 21097 w 31575"/>
                  <a:gd name="connsiteY9"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5" h="9525">
                    <a:moveTo>
                      <a:pt x="21097" y="0"/>
                    </a:moveTo>
                    <a:lnTo>
                      <a:pt x="14430" y="0"/>
                    </a:lnTo>
                    <a:cubicBezTo>
                      <a:pt x="14430" y="0"/>
                      <a:pt x="1095" y="1905"/>
                      <a:pt x="2047" y="3810"/>
                    </a:cubicBezTo>
                    <a:cubicBezTo>
                      <a:pt x="3000" y="5715"/>
                      <a:pt x="-3668" y="1905"/>
                      <a:pt x="3000" y="5715"/>
                    </a:cubicBezTo>
                    <a:cubicBezTo>
                      <a:pt x="9667" y="9525"/>
                      <a:pt x="9667" y="9525"/>
                      <a:pt x="9667" y="9525"/>
                    </a:cubicBezTo>
                    <a:lnTo>
                      <a:pt x="18240" y="9525"/>
                    </a:lnTo>
                    <a:lnTo>
                      <a:pt x="25860" y="9525"/>
                    </a:lnTo>
                    <a:lnTo>
                      <a:pt x="31575" y="4763"/>
                    </a:lnTo>
                    <a:lnTo>
                      <a:pt x="24907" y="0"/>
                    </a:lnTo>
                    <a:lnTo>
                      <a:pt x="21097" y="0"/>
                    </a:lnTo>
                    <a:close/>
                  </a:path>
                </a:pathLst>
              </a:custGeom>
              <a:grpFill/>
              <a:ln w="9525" cap="flat">
                <a:noFill/>
                <a:prstDash val="solid"/>
                <a:miter/>
              </a:ln>
            </p:spPr>
            <p:txBody>
              <a:bodyPr rtlCol="0" anchor="ctr"/>
              <a:lstStyle/>
              <a:p>
                <a:endParaRPr lang="en-US" sz="1765"/>
              </a:p>
            </p:txBody>
          </p:sp>
          <p:sp>
            <p:nvSpPr>
              <p:cNvPr id="194" name="Freeform: Shape 193">
                <a:extLst>
                  <a:ext uri="{FF2B5EF4-FFF2-40B4-BE49-F238E27FC236}">
                    <a16:creationId xmlns:a16="http://schemas.microsoft.com/office/drawing/2014/main" id="{3A5DD63C-2F38-4F4E-8EF8-25C6E073F7CD}"/>
                  </a:ext>
                </a:extLst>
              </p:cNvPr>
              <p:cNvSpPr/>
              <p:nvPr/>
            </p:nvSpPr>
            <p:spPr>
              <a:xfrm>
                <a:off x="10232211" y="4156996"/>
                <a:ext cx="22559" cy="13729"/>
              </a:xfrm>
              <a:custGeom>
                <a:avLst/>
                <a:gdLst>
                  <a:gd name="connsiteX0" fmla="*/ 21480 w 22559"/>
                  <a:gd name="connsiteY0" fmla="*/ 6110 h 13729"/>
                  <a:gd name="connsiteX1" fmla="*/ 14813 w 22559"/>
                  <a:gd name="connsiteY1" fmla="*/ 13730 h 13729"/>
                  <a:gd name="connsiteX2" fmla="*/ 2430 w 22559"/>
                  <a:gd name="connsiteY2" fmla="*/ 13730 h 13729"/>
                  <a:gd name="connsiteX3" fmla="*/ 1477 w 22559"/>
                  <a:gd name="connsiteY3" fmla="*/ 2300 h 13729"/>
                  <a:gd name="connsiteX4" fmla="*/ 6240 w 22559"/>
                  <a:gd name="connsiteY4" fmla="*/ 1347 h 13729"/>
                  <a:gd name="connsiteX5" fmla="*/ 15765 w 22559"/>
                  <a:gd name="connsiteY5" fmla="*/ 395 h 13729"/>
                  <a:gd name="connsiteX6" fmla="*/ 21480 w 22559"/>
                  <a:gd name="connsiteY6" fmla="*/ 6110 h 1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9" h="13729">
                    <a:moveTo>
                      <a:pt x="21480" y="6110"/>
                    </a:moveTo>
                    <a:lnTo>
                      <a:pt x="14813" y="13730"/>
                    </a:lnTo>
                    <a:lnTo>
                      <a:pt x="2430" y="13730"/>
                    </a:lnTo>
                    <a:cubicBezTo>
                      <a:pt x="2430" y="13730"/>
                      <a:pt x="-2333" y="3252"/>
                      <a:pt x="1477" y="2300"/>
                    </a:cubicBezTo>
                    <a:cubicBezTo>
                      <a:pt x="6240" y="1347"/>
                      <a:pt x="-4237" y="3252"/>
                      <a:pt x="6240" y="1347"/>
                    </a:cubicBezTo>
                    <a:cubicBezTo>
                      <a:pt x="15765" y="395"/>
                      <a:pt x="6240" y="-558"/>
                      <a:pt x="15765" y="395"/>
                    </a:cubicBezTo>
                    <a:cubicBezTo>
                      <a:pt x="26242" y="395"/>
                      <a:pt x="21480" y="6110"/>
                      <a:pt x="21480" y="6110"/>
                    </a:cubicBezTo>
                    <a:close/>
                  </a:path>
                </a:pathLst>
              </a:custGeom>
              <a:grpFill/>
              <a:ln w="9525" cap="flat">
                <a:noFill/>
                <a:prstDash val="solid"/>
                <a:miter/>
              </a:ln>
            </p:spPr>
            <p:txBody>
              <a:bodyPr rtlCol="0" anchor="ctr"/>
              <a:lstStyle/>
              <a:p>
                <a:endParaRPr lang="en-US" sz="1765"/>
              </a:p>
            </p:txBody>
          </p:sp>
          <p:sp>
            <p:nvSpPr>
              <p:cNvPr id="195" name="Freeform: Shape 194">
                <a:extLst>
                  <a:ext uri="{FF2B5EF4-FFF2-40B4-BE49-F238E27FC236}">
                    <a16:creationId xmlns:a16="http://schemas.microsoft.com/office/drawing/2014/main" id="{FA2635D5-66D3-4A61-A8C0-86B9D2B8C8E0}"/>
                  </a:ext>
                </a:extLst>
              </p:cNvPr>
              <p:cNvSpPr/>
              <p:nvPr/>
            </p:nvSpPr>
            <p:spPr>
              <a:xfrm>
                <a:off x="10269928" y="4156438"/>
                <a:ext cx="60915" cy="25479"/>
              </a:xfrm>
              <a:custGeom>
                <a:avLst/>
                <a:gdLst>
                  <a:gd name="connsiteX0" fmla="*/ 35198 w 60915"/>
                  <a:gd name="connsiteY0" fmla="*/ 0 h 25479"/>
                  <a:gd name="connsiteX1" fmla="*/ 28530 w 60915"/>
                  <a:gd name="connsiteY1" fmla="*/ 953 h 25479"/>
                  <a:gd name="connsiteX2" fmla="*/ 16148 w 60915"/>
                  <a:gd name="connsiteY2" fmla="*/ 4763 h 25479"/>
                  <a:gd name="connsiteX3" fmla="*/ 10433 w 60915"/>
                  <a:gd name="connsiteY3" fmla="*/ 13335 h 25479"/>
                  <a:gd name="connsiteX4" fmla="*/ 1860 w 60915"/>
                  <a:gd name="connsiteY4" fmla="*/ 20003 h 25479"/>
                  <a:gd name="connsiteX5" fmla="*/ 2813 w 60915"/>
                  <a:gd name="connsiteY5" fmla="*/ 24765 h 25479"/>
                  <a:gd name="connsiteX6" fmla="*/ 15196 w 60915"/>
                  <a:gd name="connsiteY6" fmla="*/ 24765 h 25479"/>
                  <a:gd name="connsiteX7" fmla="*/ 27578 w 60915"/>
                  <a:gd name="connsiteY7" fmla="*/ 20003 h 25479"/>
                  <a:gd name="connsiteX8" fmla="*/ 35198 w 60915"/>
                  <a:gd name="connsiteY8" fmla="*/ 14288 h 25479"/>
                  <a:gd name="connsiteX9" fmla="*/ 45675 w 60915"/>
                  <a:gd name="connsiteY9" fmla="*/ 10478 h 25479"/>
                  <a:gd name="connsiteX10" fmla="*/ 48533 w 60915"/>
                  <a:gd name="connsiteY10" fmla="*/ 10478 h 25479"/>
                  <a:gd name="connsiteX11" fmla="*/ 59010 w 60915"/>
                  <a:gd name="connsiteY11" fmla="*/ 5715 h 25479"/>
                  <a:gd name="connsiteX12" fmla="*/ 60916 w 60915"/>
                  <a:gd name="connsiteY12" fmla="*/ 1905 h 25479"/>
                  <a:gd name="connsiteX13" fmla="*/ 52343 w 60915"/>
                  <a:gd name="connsiteY13" fmla="*/ 0 h 25479"/>
                  <a:gd name="connsiteX14" fmla="*/ 35198 w 60915"/>
                  <a:gd name="connsiteY14" fmla="*/ 0 h 2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15" h="25479">
                    <a:moveTo>
                      <a:pt x="35198" y="0"/>
                    </a:moveTo>
                    <a:lnTo>
                      <a:pt x="28530" y="953"/>
                    </a:lnTo>
                    <a:cubicBezTo>
                      <a:pt x="21863" y="4763"/>
                      <a:pt x="16148" y="4763"/>
                      <a:pt x="16148" y="4763"/>
                    </a:cubicBezTo>
                    <a:lnTo>
                      <a:pt x="10433" y="13335"/>
                    </a:lnTo>
                    <a:lnTo>
                      <a:pt x="1860" y="20003"/>
                    </a:lnTo>
                    <a:cubicBezTo>
                      <a:pt x="1860" y="20003"/>
                      <a:pt x="-2902" y="23813"/>
                      <a:pt x="2813" y="24765"/>
                    </a:cubicBezTo>
                    <a:cubicBezTo>
                      <a:pt x="8528" y="25718"/>
                      <a:pt x="10433" y="25718"/>
                      <a:pt x="15196" y="24765"/>
                    </a:cubicBezTo>
                    <a:cubicBezTo>
                      <a:pt x="19958" y="23813"/>
                      <a:pt x="27578" y="20003"/>
                      <a:pt x="27578" y="20003"/>
                    </a:cubicBezTo>
                    <a:lnTo>
                      <a:pt x="35198" y="14288"/>
                    </a:lnTo>
                    <a:cubicBezTo>
                      <a:pt x="35198" y="14288"/>
                      <a:pt x="41866" y="10478"/>
                      <a:pt x="45675" y="10478"/>
                    </a:cubicBezTo>
                    <a:cubicBezTo>
                      <a:pt x="48533" y="10478"/>
                      <a:pt x="48533" y="10478"/>
                      <a:pt x="48533" y="10478"/>
                    </a:cubicBezTo>
                    <a:lnTo>
                      <a:pt x="59010" y="5715"/>
                    </a:lnTo>
                    <a:lnTo>
                      <a:pt x="60916" y="1905"/>
                    </a:lnTo>
                    <a:lnTo>
                      <a:pt x="52343" y="0"/>
                    </a:lnTo>
                    <a:lnTo>
                      <a:pt x="35198" y="0"/>
                    </a:lnTo>
                    <a:close/>
                  </a:path>
                </a:pathLst>
              </a:custGeom>
              <a:grpFill/>
              <a:ln w="9525" cap="flat">
                <a:noFill/>
                <a:prstDash val="solid"/>
                <a:miter/>
              </a:ln>
            </p:spPr>
            <p:txBody>
              <a:bodyPr rtlCol="0" anchor="ctr"/>
              <a:lstStyle/>
              <a:p>
                <a:endParaRPr lang="en-US" sz="1765"/>
              </a:p>
            </p:txBody>
          </p:sp>
          <p:sp>
            <p:nvSpPr>
              <p:cNvPr id="196" name="Freeform: Shape 195">
                <a:extLst>
                  <a:ext uri="{FF2B5EF4-FFF2-40B4-BE49-F238E27FC236}">
                    <a16:creationId xmlns:a16="http://schemas.microsoft.com/office/drawing/2014/main" id="{7814C8D1-1E24-4136-9F58-FE7DF6D45673}"/>
                  </a:ext>
                </a:extLst>
              </p:cNvPr>
              <p:cNvSpPr/>
              <p:nvPr/>
            </p:nvSpPr>
            <p:spPr>
              <a:xfrm>
                <a:off x="8451561" y="3612561"/>
                <a:ext cx="49530" cy="14525"/>
              </a:xfrm>
              <a:custGeom>
                <a:avLst/>
                <a:gdLst>
                  <a:gd name="connsiteX0" fmla="*/ 49530 w 49530"/>
                  <a:gd name="connsiteY0" fmla="*/ 2857 h 14525"/>
                  <a:gd name="connsiteX1" fmla="*/ 39053 w 49530"/>
                  <a:gd name="connsiteY1" fmla="*/ 13335 h 14525"/>
                  <a:gd name="connsiteX2" fmla="*/ 17145 w 49530"/>
                  <a:gd name="connsiteY2" fmla="*/ 14288 h 14525"/>
                  <a:gd name="connsiteX3" fmla="*/ 7620 w 49530"/>
                  <a:gd name="connsiteY3" fmla="*/ 13335 h 14525"/>
                  <a:gd name="connsiteX4" fmla="*/ 1905 w 49530"/>
                  <a:gd name="connsiteY4" fmla="*/ 11430 h 14525"/>
                  <a:gd name="connsiteX5" fmla="*/ 0 w 49530"/>
                  <a:gd name="connsiteY5" fmla="*/ 5715 h 14525"/>
                  <a:gd name="connsiteX6" fmla="*/ 3810 w 49530"/>
                  <a:gd name="connsiteY6" fmla="*/ 1905 h 14525"/>
                  <a:gd name="connsiteX7" fmla="*/ 11430 w 49530"/>
                  <a:gd name="connsiteY7" fmla="*/ 952 h 14525"/>
                  <a:gd name="connsiteX8" fmla="*/ 17145 w 49530"/>
                  <a:gd name="connsiteY8" fmla="*/ 952 h 14525"/>
                  <a:gd name="connsiteX9" fmla="*/ 31433 w 49530"/>
                  <a:gd name="connsiteY9" fmla="*/ 952 h 14525"/>
                  <a:gd name="connsiteX10" fmla="*/ 38100 w 49530"/>
                  <a:gd name="connsiteY10" fmla="*/ 0 h 14525"/>
                  <a:gd name="connsiteX11" fmla="*/ 45720 w 49530"/>
                  <a:gd name="connsiteY11" fmla="*/ 952 h 14525"/>
                  <a:gd name="connsiteX12" fmla="*/ 49530 w 49530"/>
                  <a:gd name="connsiteY12" fmla="*/ 2857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 h="14525">
                    <a:moveTo>
                      <a:pt x="49530" y="2857"/>
                    </a:moveTo>
                    <a:lnTo>
                      <a:pt x="39053" y="13335"/>
                    </a:lnTo>
                    <a:cubicBezTo>
                      <a:pt x="31433" y="15240"/>
                      <a:pt x="17145" y="14288"/>
                      <a:pt x="17145" y="14288"/>
                    </a:cubicBezTo>
                    <a:lnTo>
                      <a:pt x="7620" y="13335"/>
                    </a:lnTo>
                    <a:lnTo>
                      <a:pt x="1905" y="11430"/>
                    </a:lnTo>
                    <a:lnTo>
                      <a:pt x="0" y="5715"/>
                    </a:lnTo>
                    <a:lnTo>
                      <a:pt x="3810" y="1905"/>
                    </a:lnTo>
                    <a:lnTo>
                      <a:pt x="11430" y="952"/>
                    </a:lnTo>
                    <a:lnTo>
                      <a:pt x="17145" y="952"/>
                    </a:lnTo>
                    <a:lnTo>
                      <a:pt x="31433" y="952"/>
                    </a:lnTo>
                    <a:lnTo>
                      <a:pt x="38100" y="0"/>
                    </a:lnTo>
                    <a:lnTo>
                      <a:pt x="45720" y="952"/>
                    </a:lnTo>
                    <a:lnTo>
                      <a:pt x="49530" y="2857"/>
                    </a:lnTo>
                    <a:close/>
                  </a:path>
                </a:pathLst>
              </a:custGeom>
              <a:grpFill/>
              <a:ln w="9525" cap="flat">
                <a:noFill/>
                <a:prstDash val="solid"/>
                <a:miter/>
              </a:ln>
            </p:spPr>
            <p:txBody>
              <a:bodyPr rtlCol="0" anchor="ctr"/>
              <a:lstStyle/>
              <a:p>
                <a:endParaRPr lang="en-US" sz="1765"/>
              </a:p>
            </p:txBody>
          </p:sp>
          <p:sp>
            <p:nvSpPr>
              <p:cNvPr id="197" name="Freeform: Shape 196">
                <a:extLst>
                  <a:ext uri="{FF2B5EF4-FFF2-40B4-BE49-F238E27FC236}">
                    <a16:creationId xmlns:a16="http://schemas.microsoft.com/office/drawing/2014/main" id="{62CE89B2-9D7D-498F-8824-50F66A6E49B1}"/>
                  </a:ext>
                </a:extLst>
              </p:cNvPr>
              <p:cNvSpPr/>
              <p:nvPr/>
            </p:nvSpPr>
            <p:spPr>
              <a:xfrm>
                <a:off x="8375130" y="3570651"/>
                <a:ext cx="29758" cy="24129"/>
              </a:xfrm>
              <a:custGeom>
                <a:avLst/>
                <a:gdLst>
                  <a:gd name="connsiteX0" fmla="*/ 18328 w 29758"/>
                  <a:gd name="connsiteY0" fmla="*/ 20955 h 24129"/>
                  <a:gd name="connsiteX1" fmla="*/ 6899 w 29758"/>
                  <a:gd name="connsiteY1" fmla="*/ 22860 h 24129"/>
                  <a:gd name="connsiteX2" fmla="*/ 4041 w 29758"/>
                  <a:gd name="connsiteY2" fmla="*/ 22860 h 24129"/>
                  <a:gd name="connsiteX3" fmla="*/ 1184 w 29758"/>
                  <a:gd name="connsiteY3" fmla="*/ 11430 h 24129"/>
                  <a:gd name="connsiteX4" fmla="*/ 4041 w 29758"/>
                  <a:gd name="connsiteY4" fmla="*/ 3810 h 24129"/>
                  <a:gd name="connsiteX5" fmla="*/ 22139 w 29758"/>
                  <a:gd name="connsiteY5" fmla="*/ 0 h 24129"/>
                  <a:gd name="connsiteX6" fmla="*/ 27853 w 29758"/>
                  <a:gd name="connsiteY6" fmla="*/ 1905 h 24129"/>
                  <a:gd name="connsiteX7" fmla="*/ 28806 w 29758"/>
                  <a:gd name="connsiteY7" fmla="*/ 7620 h 24129"/>
                  <a:gd name="connsiteX8" fmla="*/ 29759 w 29758"/>
                  <a:gd name="connsiteY8" fmla="*/ 12382 h 24129"/>
                  <a:gd name="connsiteX9" fmla="*/ 18328 w 29758"/>
                  <a:gd name="connsiteY9" fmla="*/ 20955 h 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58" h="24129">
                    <a:moveTo>
                      <a:pt x="18328" y="20955"/>
                    </a:moveTo>
                    <a:cubicBezTo>
                      <a:pt x="18328" y="20955"/>
                      <a:pt x="10709" y="22860"/>
                      <a:pt x="6899" y="22860"/>
                    </a:cubicBezTo>
                    <a:cubicBezTo>
                      <a:pt x="4041" y="22860"/>
                      <a:pt x="6899" y="25717"/>
                      <a:pt x="4041" y="22860"/>
                    </a:cubicBezTo>
                    <a:cubicBezTo>
                      <a:pt x="1184" y="20002"/>
                      <a:pt x="-1674" y="13335"/>
                      <a:pt x="1184" y="11430"/>
                    </a:cubicBezTo>
                    <a:cubicBezTo>
                      <a:pt x="3089" y="9525"/>
                      <a:pt x="4041" y="3810"/>
                      <a:pt x="4041" y="3810"/>
                    </a:cubicBezTo>
                    <a:lnTo>
                      <a:pt x="22139" y="0"/>
                    </a:lnTo>
                    <a:lnTo>
                      <a:pt x="27853" y="1905"/>
                    </a:lnTo>
                    <a:lnTo>
                      <a:pt x="28806" y="7620"/>
                    </a:lnTo>
                    <a:cubicBezTo>
                      <a:pt x="28806" y="7620"/>
                      <a:pt x="28806" y="9525"/>
                      <a:pt x="29759" y="12382"/>
                    </a:cubicBezTo>
                    <a:cubicBezTo>
                      <a:pt x="29759" y="15240"/>
                      <a:pt x="18328" y="20955"/>
                      <a:pt x="18328" y="20955"/>
                    </a:cubicBezTo>
                    <a:close/>
                  </a:path>
                </a:pathLst>
              </a:custGeom>
              <a:grpFill/>
              <a:ln w="9525" cap="flat">
                <a:noFill/>
                <a:prstDash val="solid"/>
                <a:miter/>
              </a:ln>
            </p:spPr>
            <p:txBody>
              <a:bodyPr rtlCol="0" anchor="ctr"/>
              <a:lstStyle/>
              <a:p>
                <a:endParaRPr lang="en-US" sz="1765"/>
              </a:p>
            </p:txBody>
          </p:sp>
          <p:sp>
            <p:nvSpPr>
              <p:cNvPr id="198" name="Freeform: Shape 197">
                <a:extLst>
                  <a:ext uri="{FF2B5EF4-FFF2-40B4-BE49-F238E27FC236}">
                    <a16:creationId xmlns:a16="http://schemas.microsoft.com/office/drawing/2014/main" id="{9667391B-BFE5-40A0-80E7-413652ED9341}"/>
                  </a:ext>
                </a:extLst>
              </p:cNvPr>
              <p:cNvSpPr/>
              <p:nvPr/>
            </p:nvSpPr>
            <p:spPr>
              <a:xfrm>
                <a:off x="8062028" y="3367509"/>
                <a:ext cx="76199" cy="55504"/>
              </a:xfrm>
              <a:custGeom>
                <a:avLst/>
                <a:gdLst>
                  <a:gd name="connsiteX0" fmla="*/ 43776 w 76199"/>
                  <a:gd name="connsiteY0" fmla="*/ 48837 h 55504"/>
                  <a:gd name="connsiteX1" fmla="*/ 39013 w 76199"/>
                  <a:gd name="connsiteY1" fmla="*/ 49790 h 55504"/>
                  <a:gd name="connsiteX2" fmla="*/ 32346 w 76199"/>
                  <a:gd name="connsiteY2" fmla="*/ 53600 h 55504"/>
                  <a:gd name="connsiteX3" fmla="*/ 25678 w 76199"/>
                  <a:gd name="connsiteY3" fmla="*/ 55505 h 55504"/>
                  <a:gd name="connsiteX4" fmla="*/ 17105 w 76199"/>
                  <a:gd name="connsiteY4" fmla="*/ 55505 h 55504"/>
                  <a:gd name="connsiteX5" fmla="*/ 10438 w 76199"/>
                  <a:gd name="connsiteY5" fmla="*/ 55505 h 55504"/>
                  <a:gd name="connsiteX6" fmla="*/ 2818 w 76199"/>
                  <a:gd name="connsiteY6" fmla="*/ 54552 h 55504"/>
                  <a:gd name="connsiteX7" fmla="*/ 913 w 76199"/>
                  <a:gd name="connsiteY7" fmla="*/ 40265 h 55504"/>
                  <a:gd name="connsiteX8" fmla="*/ 3771 w 76199"/>
                  <a:gd name="connsiteY8" fmla="*/ 39312 h 55504"/>
                  <a:gd name="connsiteX9" fmla="*/ 11391 w 76199"/>
                  <a:gd name="connsiteY9" fmla="*/ 37407 h 55504"/>
                  <a:gd name="connsiteX10" fmla="*/ 16153 w 76199"/>
                  <a:gd name="connsiteY10" fmla="*/ 29787 h 55504"/>
                  <a:gd name="connsiteX11" fmla="*/ 16153 w 76199"/>
                  <a:gd name="connsiteY11" fmla="*/ 25977 h 55504"/>
                  <a:gd name="connsiteX12" fmla="*/ 10438 w 76199"/>
                  <a:gd name="connsiteY12" fmla="*/ 23120 h 55504"/>
                  <a:gd name="connsiteX13" fmla="*/ 6628 w 76199"/>
                  <a:gd name="connsiteY13" fmla="*/ 16452 h 55504"/>
                  <a:gd name="connsiteX14" fmla="*/ 18058 w 76199"/>
                  <a:gd name="connsiteY14" fmla="*/ 14547 h 55504"/>
                  <a:gd name="connsiteX15" fmla="*/ 23773 w 76199"/>
                  <a:gd name="connsiteY15" fmla="*/ 14547 h 55504"/>
                  <a:gd name="connsiteX16" fmla="*/ 30441 w 76199"/>
                  <a:gd name="connsiteY16" fmla="*/ 5022 h 55504"/>
                  <a:gd name="connsiteX17" fmla="*/ 32346 w 76199"/>
                  <a:gd name="connsiteY17" fmla="*/ 2165 h 55504"/>
                  <a:gd name="connsiteX18" fmla="*/ 47586 w 76199"/>
                  <a:gd name="connsiteY18" fmla="*/ 260 h 55504"/>
                  <a:gd name="connsiteX19" fmla="*/ 53301 w 76199"/>
                  <a:gd name="connsiteY19" fmla="*/ 1212 h 55504"/>
                  <a:gd name="connsiteX20" fmla="*/ 60921 w 76199"/>
                  <a:gd name="connsiteY20" fmla="*/ 260 h 55504"/>
                  <a:gd name="connsiteX21" fmla="*/ 65683 w 76199"/>
                  <a:gd name="connsiteY21" fmla="*/ 1212 h 55504"/>
                  <a:gd name="connsiteX22" fmla="*/ 73303 w 76199"/>
                  <a:gd name="connsiteY22" fmla="*/ 3117 h 55504"/>
                  <a:gd name="connsiteX23" fmla="*/ 75208 w 76199"/>
                  <a:gd name="connsiteY23" fmla="*/ 17405 h 55504"/>
                  <a:gd name="connsiteX24" fmla="*/ 73303 w 76199"/>
                  <a:gd name="connsiteY24" fmla="*/ 23120 h 55504"/>
                  <a:gd name="connsiteX25" fmla="*/ 68541 w 76199"/>
                  <a:gd name="connsiteY25" fmla="*/ 27882 h 55504"/>
                  <a:gd name="connsiteX26" fmla="*/ 64730 w 76199"/>
                  <a:gd name="connsiteY26" fmla="*/ 30740 h 55504"/>
                  <a:gd name="connsiteX27" fmla="*/ 64730 w 76199"/>
                  <a:gd name="connsiteY27" fmla="*/ 40265 h 55504"/>
                  <a:gd name="connsiteX28" fmla="*/ 58063 w 76199"/>
                  <a:gd name="connsiteY28" fmla="*/ 44075 h 55504"/>
                  <a:gd name="connsiteX29" fmla="*/ 43776 w 76199"/>
                  <a:gd name="connsiteY29" fmla="*/ 48837 h 5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199" h="55504">
                    <a:moveTo>
                      <a:pt x="43776" y="48837"/>
                    </a:moveTo>
                    <a:lnTo>
                      <a:pt x="39013" y="49790"/>
                    </a:lnTo>
                    <a:lnTo>
                      <a:pt x="32346" y="53600"/>
                    </a:lnTo>
                    <a:lnTo>
                      <a:pt x="25678" y="55505"/>
                    </a:lnTo>
                    <a:lnTo>
                      <a:pt x="17105" y="55505"/>
                    </a:lnTo>
                    <a:lnTo>
                      <a:pt x="10438" y="55505"/>
                    </a:lnTo>
                    <a:cubicBezTo>
                      <a:pt x="2818" y="54552"/>
                      <a:pt x="2818" y="54552"/>
                      <a:pt x="2818" y="54552"/>
                    </a:cubicBezTo>
                    <a:cubicBezTo>
                      <a:pt x="2818" y="54552"/>
                      <a:pt x="-1945" y="41217"/>
                      <a:pt x="913" y="40265"/>
                    </a:cubicBezTo>
                    <a:cubicBezTo>
                      <a:pt x="3771" y="39312"/>
                      <a:pt x="-3849" y="41217"/>
                      <a:pt x="3771" y="39312"/>
                    </a:cubicBezTo>
                    <a:cubicBezTo>
                      <a:pt x="11391" y="37407"/>
                      <a:pt x="11391" y="37407"/>
                      <a:pt x="11391" y="37407"/>
                    </a:cubicBezTo>
                    <a:lnTo>
                      <a:pt x="16153" y="29787"/>
                    </a:lnTo>
                    <a:lnTo>
                      <a:pt x="16153" y="25977"/>
                    </a:lnTo>
                    <a:lnTo>
                      <a:pt x="10438" y="23120"/>
                    </a:lnTo>
                    <a:cubicBezTo>
                      <a:pt x="10438" y="23120"/>
                      <a:pt x="-4802" y="18357"/>
                      <a:pt x="6628" y="16452"/>
                    </a:cubicBezTo>
                    <a:cubicBezTo>
                      <a:pt x="18058" y="14547"/>
                      <a:pt x="12343" y="14547"/>
                      <a:pt x="18058" y="14547"/>
                    </a:cubicBezTo>
                    <a:cubicBezTo>
                      <a:pt x="23773" y="14547"/>
                      <a:pt x="18058" y="17405"/>
                      <a:pt x="23773" y="14547"/>
                    </a:cubicBezTo>
                    <a:cubicBezTo>
                      <a:pt x="29488" y="11690"/>
                      <a:pt x="30441" y="5022"/>
                      <a:pt x="30441" y="5022"/>
                    </a:cubicBezTo>
                    <a:cubicBezTo>
                      <a:pt x="30441" y="5022"/>
                      <a:pt x="27583" y="3117"/>
                      <a:pt x="32346" y="2165"/>
                    </a:cubicBezTo>
                    <a:cubicBezTo>
                      <a:pt x="38061" y="1212"/>
                      <a:pt x="41871" y="-693"/>
                      <a:pt x="47586" y="260"/>
                    </a:cubicBezTo>
                    <a:cubicBezTo>
                      <a:pt x="53301" y="1212"/>
                      <a:pt x="53301" y="1212"/>
                      <a:pt x="53301" y="1212"/>
                    </a:cubicBezTo>
                    <a:cubicBezTo>
                      <a:pt x="53301" y="1212"/>
                      <a:pt x="56158" y="260"/>
                      <a:pt x="60921" y="260"/>
                    </a:cubicBezTo>
                    <a:cubicBezTo>
                      <a:pt x="65683" y="1212"/>
                      <a:pt x="58063" y="-693"/>
                      <a:pt x="65683" y="1212"/>
                    </a:cubicBezTo>
                    <a:cubicBezTo>
                      <a:pt x="73303" y="3117"/>
                      <a:pt x="70446" y="-3550"/>
                      <a:pt x="73303" y="3117"/>
                    </a:cubicBezTo>
                    <a:cubicBezTo>
                      <a:pt x="76161" y="9785"/>
                      <a:pt x="77113" y="11690"/>
                      <a:pt x="75208" y="17405"/>
                    </a:cubicBezTo>
                    <a:cubicBezTo>
                      <a:pt x="73303" y="23120"/>
                      <a:pt x="77113" y="18357"/>
                      <a:pt x="73303" y="23120"/>
                    </a:cubicBezTo>
                    <a:cubicBezTo>
                      <a:pt x="68541" y="27882"/>
                      <a:pt x="72351" y="25025"/>
                      <a:pt x="68541" y="27882"/>
                    </a:cubicBezTo>
                    <a:cubicBezTo>
                      <a:pt x="64730" y="30740"/>
                      <a:pt x="65683" y="21215"/>
                      <a:pt x="64730" y="30740"/>
                    </a:cubicBezTo>
                    <a:cubicBezTo>
                      <a:pt x="64730" y="40265"/>
                      <a:pt x="65683" y="37407"/>
                      <a:pt x="64730" y="40265"/>
                    </a:cubicBezTo>
                    <a:cubicBezTo>
                      <a:pt x="63778" y="43122"/>
                      <a:pt x="58063" y="44075"/>
                      <a:pt x="58063" y="44075"/>
                    </a:cubicBezTo>
                    <a:lnTo>
                      <a:pt x="43776" y="48837"/>
                    </a:lnTo>
                    <a:close/>
                  </a:path>
                </a:pathLst>
              </a:custGeom>
              <a:grpFill/>
              <a:ln w="9525" cap="flat">
                <a:noFill/>
                <a:prstDash val="solid"/>
                <a:miter/>
              </a:ln>
            </p:spPr>
            <p:txBody>
              <a:bodyPr rtlCol="0" anchor="ctr"/>
              <a:lstStyle/>
              <a:p>
                <a:endParaRPr lang="en-US" sz="1765"/>
              </a:p>
            </p:txBody>
          </p:sp>
          <p:sp>
            <p:nvSpPr>
              <p:cNvPr id="199" name="Freeform: Shape 198">
                <a:extLst>
                  <a:ext uri="{FF2B5EF4-FFF2-40B4-BE49-F238E27FC236}">
                    <a16:creationId xmlns:a16="http://schemas.microsoft.com/office/drawing/2014/main" id="{1430523E-4362-44DC-A3D5-DF4DF3BF818B}"/>
                  </a:ext>
                </a:extLst>
              </p:cNvPr>
              <p:cNvSpPr/>
              <p:nvPr/>
            </p:nvSpPr>
            <p:spPr>
              <a:xfrm>
                <a:off x="8121996" y="3315381"/>
                <a:ext cx="139254" cy="131445"/>
              </a:xfrm>
              <a:custGeom>
                <a:avLst/>
                <a:gdLst>
                  <a:gd name="connsiteX0" fmla="*/ 51435 w 139254"/>
                  <a:gd name="connsiteY0" fmla="*/ 81915 h 131445"/>
                  <a:gd name="connsiteX1" fmla="*/ 52388 w 139254"/>
                  <a:gd name="connsiteY1" fmla="*/ 72390 h 131445"/>
                  <a:gd name="connsiteX2" fmla="*/ 52388 w 139254"/>
                  <a:gd name="connsiteY2" fmla="*/ 68580 h 131445"/>
                  <a:gd name="connsiteX3" fmla="*/ 47625 w 139254"/>
                  <a:gd name="connsiteY3" fmla="*/ 63818 h 131445"/>
                  <a:gd name="connsiteX4" fmla="*/ 41910 w 139254"/>
                  <a:gd name="connsiteY4" fmla="*/ 60008 h 131445"/>
                  <a:gd name="connsiteX5" fmla="*/ 35243 w 139254"/>
                  <a:gd name="connsiteY5" fmla="*/ 56198 h 131445"/>
                  <a:gd name="connsiteX6" fmla="*/ 34290 w 139254"/>
                  <a:gd name="connsiteY6" fmla="*/ 52388 h 131445"/>
                  <a:gd name="connsiteX7" fmla="*/ 21908 w 139254"/>
                  <a:gd name="connsiteY7" fmla="*/ 46673 h 131445"/>
                  <a:gd name="connsiteX8" fmla="*/ 17145 w 139254"/>
                  <a:gd name="connsiteY8" fmla="*/ 33338 h 131445"/>
                  <a:gd name="connsiteX9" fmla="*/ 17145 w 139254"/>
                  <a:gd name="connsiteY9" fmla="*/ 25718 h 131445"/>
                  <a:gd name="connsiteX10" fmla="*/ 16193 w 139254"/>
                  <a:gd name="connsiteY10" fmla="*/ 22860 h 131445"/>
                  <a:gd name="connsiteX11" fmla="*/ 10478 w 139254"/>
                  <a:gd name="connsiteY11" fmla="*/ 19050 h 131445"/>
                  <a:gd name="connsiteX12" fmla="*/ 0 w 139254"/>
                  <a:gd name="connsiteY12" fmla="*/ 12383 h 131445"/>
                  <a:gd name="connsiteX13" fmla="*/ 0 w 139254"/>
                  <a:gd name="connsiteY13" fmla="*/ 9525 h 131445"/>
                  <a:gd name="connsiteX14" fmla="*/ 1905 w 139254"/>
                  <a:gd name="connsiteY14" fmla="*/ 6668 h 131445"/>
                  <a:gd name="connsiteX15" fmla="*/ 15240 w 139254"/>
                  <a:gd name="connsiteY15" fmla="*/ 6668 h 131445"/>
                  <a:gd name="connsiteX16" fmla="*/ 18098 w 139254"/>
                  <a:gd name="connsiteY16" fmla="*/ 6668 h 131445"/>
                  <a:gd name="connsiteX17" fmla="*/ 25718 w 139254"/>
                  <a:gd name="connsiteY17" fmla="*/ 1905 h 131445"/>
                  <a:gd name="connsiteX18" fmla="*/ 40958 w 139254"/>
                  <a:gd name="connsiteY18" fmla="*/ 0 h 131445"/>
                  <a:gd name="connsiteX19" fmla="*/ 46673 w 139254"/>
                  <a:gd name="connsiteY19" fmla="*/ 0 h 131445"/>
                  <a:gd name="connsiteX20" fmla="*/ 51435 w 139254"/>
                  <a:gd name="connsiteY20" fmla="*/ 4763 h 131445"/>
                  <a:gd name="connsiteX21" fmla="*/ 62865 w 139254"/>
                  <a:gd name="connsiteY21" fmla="*/ 4763 h 131445"/>
                  <a:gd name="connsiteX22" fmla="*/ 65723 w 139254"/>
                  <a:gd name="connsiteY22" fmla="*/ 9525 h 131445"/>
                  <a:gd name="connsiteX23" fmla="*/ 65723 w 139254"/>
                  <a:gd name="connsiteY23" fmla="*/ 13335 h 131445"/>
                  <a:gd name="connsiteX24" fmla="*/ 72390 w 139254"/>
                  <a:gd name="connsiteY24" fmla="*/ 18098 h 131445"/>
                  <a:gd name="connsiteX25" fmla="*/ 78105 w 139254"/>
                  <a:gd name="connsiteY25" fmla="*/ 20003 h 131445"/>
                  <a:gd name="connsiteX26" fmla="*/ 84773 w 139254"/>
                  <a:gd name="connsiteY26" fmla="*/ 24765 h 131445"/>
                  <a:gd name="connsiteX27" fmla="*/ 73343 w 139254"/>
                  <a:gd name="connsiteY27" fmla="*/ 34290 h 131445"/>
                  <a:gd name="connsiteX28" fmla="*/ 61913 w 139254"/>
                  <a:gd name="connsiteY28" fmla="*/ 35243 h 131445"/>
                  <a:gd name="connsiteX29" fmla="*/ 62865 w 139254"/>
                  <a:gd name="connsiteY29" fmla="*/ 39053 h 131445"/>
                  <a:gd name="connsiteX30" fmla="*/ 76200 w 139254"/>
                  <a:gd name="connsiteY30" fmla="*/ 43815 h 131445"/>
                  <a:gd name="connsiteX31" fmla="*/ 86678 w 139254"/>
                  <a:gd name="connsiteY31" fmla="*/ 54293 h 131445"/>
                  <a:gd name="connsiteX32" fmla="*/ 92393 w 139254"/>
                  <a:gd name="connsiteY32" fmla="*/ 58103 h 131445"/>
                  <a:gd name="connsiteX33" fmla="*/ 101918 w 139254"/>
                  <a:gd name="connsiteY33" fmla="*/ 63818 h 131445"/>
                  <a:gd name="connsiteX34" fmla="*/ 104775 w 139254"/>
                  <a:gd name="connsiteY34" fmla="*/ 71438 h 131445"/>
                  <a:gd name="connsiteX35" fmla="*/ 113348 w 139254"/>
                  <a:gd name="connsiteY35" fmla="*/ 79058 h 131445"/>
                  <a:gd name="connsiteX36" fmla="*/ 135255 w 139254"/>
                  <a:gd name="connsiteY36" fmla="*/ 85725 h 131445"/>
                  <a:gd name="connsiteX37" fmla="*/ 136208 w 139254"/>
                  <a:gd name="connsiteY37" fmla="*/ 88583 h 131445"/>
                  <a:gd name="connsiteX38" fmla="*/ 138113 w 139254"/>
                  <a:gd name="connsiteY38" fmla="*/ 95250 h 131445"/>
                  <a:gd name="connsiteX39" fmla="*/ 139065 w 139254"/>
                  <a:gd name="connsiteY39" fmla="*/ 103823 h 131445"/>
                  <a:gd name="connsiteX40" fmla="*/ 135255 w 139254"/>
                  <a:gd name="connsiteY40" fmla="*/ 111443 h 131445"/>
                  <a:gd name="connsiteX41" fmla="*/ 128588 w 139254"/>
                  <a:gd name="connsiteY41" fmla="*/ 115252 h 131445"/>
                  <a:gd name="connsiteX42" fmla="*/ 121920 w 139254"/>
                  <a:gd name="connsiteY42" fmla="*/ 118110 h 131445"/>
                  <a:gd name="connsiteX43" fmla="*/ 86678 w 139254"/>
                  <a:gd name="connsiteY43" fmla="*/ 121920 h 131445"/>
                  <a:gd name="connsiteX44" fmla="*/ 65723 w 139254"/>
                  <a:gd name="connsiteY44" fmla="*/ 121920 h 131445"/>
                  <a:gd name="connsiteX45" fmla="*/ 60960 w 139254"/>
                  <a:gd name="connsiteY45" fmla="*/ 122873 h 131445"/>
                  <a:gd name="connsiteX46" fmla="*/ 52388 w 139254"/>
                  <a:gd name="connsiteY46" fmla="*/ 125730 h 131445"/>
                  <a:gd name="connsiteX47" fmla="*/ 43815 w 139254"/>
                  <a:gd name="connsiteY47" fmla="*/ 129540 h 131445"/>
                  <a:gd name="connsiteX48" fmla="*/ 29528 w 139254"/>
                  <a:gd name="connsiteY48" fmla="*/ 130493 h 131445"/>
                  <a:gd name="connsiteX49" fmla="*/ 25718 w 139254"/>
                  <a:gd name="connsiteY49" fmla="*/ 131445 h 131445"/>
                  <a:gd name="connsiteX50" fmla="*/ 20003 w 139254"/>
                  <a:gd name="connsiteY50" fmla="*/ 128588 h 131445"/>
                  <a:gd name="connsiteX51" fmla="*/ 20955 w 139254"/>
                  <a:gd name="connsiteY51" fmla="*/ 121920 h 131445"/>
                  <a:gd name="connsiteX52" fmla="*/ 23813 w 139254"/>
                  <a:gd name="connsiteY52" fmla="*/ 121920 h 131445"/>
                  <a:gd name="connsiteX53" fmla="*/ 31433 w 139254"/>
                  <a:gd name="connsiteY53" fmla="*/ 120015 h 131445"/>
                  <a:gd name="connsiteX54" fmla="*/ 37148 w 139254"/>
                  <a:gd name="connsiteY54" fmla="*/ 116205 h 131445"/>
                  <a:gd name="connsiteX55" fmla="*/ 37148 w 139254"/>
                  <a:gd name="connsiteY55" fmla="*/ 112395 h 131445"/>
                  <a:gd name="connsiteX56" fmla="*/ 32385 w 139254"/>
                  <a:gd name="connsiteY56" fmla="*/ 110490 h 131445"/>
                  <a:gd name="connsiteX57" fmla="*/ 27623 w 139254"/>
                  <a:gd name="connsiteY57" fmla="*/ 105727 h 131445"/>
                  <a:gd name="connsiteX58" fmla="*/ 26670 w 139254"/>
                  <a:gd name="connsiteY58" fmla="*/ 101918 h 131445"/>
                  <a:gd name="connsiteX59" fmla="*/ 31433 w 139254"/>
                  <a:gd name="connsiteY59" fmla="*/ 97155 h 131445"/>
                  <a:gd name="connsiteX60" fmla="*/ 35243 w 139254"/>
                  <a:gd name="connsiteY60" fmla="*/ 90488 h 131445"/>
                  <a:gd name="connsiteX61" fmla="*/ 35243 w 139254"/>
                  <a:gd name="connsiteY61" fmla="*/ 88583 h 131445"/>
                  <a:gd name="connsiteX62" fmla="*/ 35243 w 139254"/>
                  <a:gd name="connsiteY62" fmla="*/ 84773 h 131445"/>
                  <a:gd name="connsiteX63" fmla="*/ 51435 w 139254"/>
                  <a:gd name="connsiteY63" fmla="*/ 8191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9254" h="131445">
                    <a:moveTo>
                      <a:pt x="51435" y="81915"/>
                    </a:moveTo>
                    <a:lnTo>
                      <a:pt x="52388" y="72390"/>
                    </a:lnTo>
                    <a:lnTo>
                      <a:pt x="52388" y="68580"/>
                    </a:lnTo>
                    <a:lnTo>
                      <a:pt x="47625" y="63818"/>
                    </a:lnTo>
                    <a:lnTo>
                      <a:pt x="41910" y="60008"/>
                    </a:lnTo>
                    <a:lnTo>
                      <a:pt x="35243" y="56198"/>
                    </a:lnTo>
                    <a:lnTo>
                      <a:pt x="34290" y="52388"/>
                    </a:lnTo>
                    <a:cubicBezTo>
                      <a:pt x="34290" y="52388"/>
                      <a:pt x="25718" y="53340"/>
                      <a:pt x="21908" y="46673"/>
                    </a:cubicBezTo>
                    <a:cubicBezTo>
                      <a:pt x="19050" y="40005"/>
                      <a:pt x="17145" y="33338"/>
                      <a:pt x="17145" y="33338"/>
                    </a:cubicBezTo>
                    <a:lnTo>
                      <a:pt x="17145" y="25718"/>
                    </a:lnTo>
                    <a:lnTo>
                      <a:pt x="16193" y="22860"/>
                    </a:lnTo>
                    <a:lnTo>
                      <a:pt x="10478" y="19050"/>
                    </a:lnTo>
                    <a:lnTo>
                      <a:pt x="0" y="12383"/>
                    </a:lnTo>
                    <a:lnTo>
                      <a:pt x="0" y="9525"/>
                    </a:lnTo>
                    <a:lnTo>
                      <a:pt x="1905" y="6668"/>
                    </a:lnTo>
                    <a:cubicBezTo>
                      <a:pt x="7620" y="6668"/>
                      <a:pt x="11430" y="6668"/>
                      <a:pt x="15240" y="6668"/>
                    </a:cubicBezTo>
                    <a:cubicBezTo>
                      <a:pt x="18098" y="6668"/>
                      <a:pt x="14288" y="8573"/>
                      <a:pt x="18098" y="6668"/>
                    </a:cubicBezTo>
                    <a:cubicBezTo>
                      <a:pt x="22860" y="4763"/>
                      <a:pt x="22860" y="2858"/>
                      <a:pt x="25718" y="1905"/>
                    </a:cubicBezTo>
                    <a:cubicBezTo>
                      <a:pt x="28575" y="953"/>
                      <a:pt x="40958" y="0"/>
                      <a:pt x="40958" y="0"/>
                    </a:cubicBezTo>
                    <a:lnTo>
                      <a:pt x="46673" y="0"/>
                    </a:lnTo>
                    <a:cubicBezTo>
                      <a:pt x="46673" y="0"/>
                      <a:pt x="46673" y="3810"/>
                      <a:pt x="51435" y="4763"/>
                    </a:cubicBezTo>
                    <a:cubicBezTo>
                      <a:pt x="56198" y="5715"/>
                      <a:pt x="60960" y="2858"/>
                      <a:pt x="62865" y="4763"/>
                    </a:cubicBezTo>
                    <a:cubicBezTo>
                      <a:pt x="63818" y="6668"/>
                      <a:pt x="65723" y="6668"/>
                      <a:pt x="65723" y="9525"/>
                    </a:cubicBezTo>
                    <a:cubicBezTo>
                      <a:pt x="65723" y="13335"/>
                      <a:pt x="65723" y="8573"/>
                      <a:pt x="65723" y="13335"/>
                    </a:cubicBezTo>
                    <a:cubicBezTo>
                      <a:pt x="65723" y="17145"/>
                      <a:pt x="66675" y="17145"/>
                      <a:pt x="72390" y="18098"/>
                    </a:cubicBezTo>
                    <a:cubicBezTo>
                      <a:pt x="78105" y="20003"/>
                      <a:pt x="78105" y="20003"/>
                      <a:pt x="78105" y="20003"/>
                    </a:cubicBezTo>
                    <a:cubicBezTo>
                      <a:pt x="78105" y="20003"/>
                      <a:pt x="84773" y="21908"/>
                      <a:pt x="84773" y="24765"/>
                    </a:cubicBezTo>
                    <a:cubicBezTo>
                      <a:pt x="84773" y="26670"/>
                      <a:pt x="73343" y="34290"/>
                      <a:pt x="73343" y="34290"/>
                    </a:cubicBezTo>
                    <a:lnTo>
                      <a:pt x="61913" y="35243"/>
                    </a:lnTo>
                    <a:cubicBezTo>
                      <a:pt x="61913" y="35243"/>
                      <a:pt x="60960" y="36195"/>
                      <a:pt x="62865" y="39053"/>
                    </a:cubicBezTo>
                    <a:cubicBezTo>
                      <a:pt x="64770" y="41910"/>
                      <a:pt x="76200" y="43815"/>
                      <a:pt x="76200" y="43815"/>
                    </a:cubicBezTo>
                    <a:cubicBezTo>
                      <a:pt x="80963" y="48578"/>
                      <a:pt x="85725" y="51435"/>
                      <a:pt x="86678" y="54293"/>
                    </a:cubicBezTo>
                    <a:cubicBezTo>
                      <a:pt x="87630" y="56198"/>
                      <a:pt x="88583" y="55245"/>
                      <a:pt x="92393" y="58103"/>
                    </a:cubicBezTo>
                    <a:cubicBezTo>
                      <a:pt x="95250" y="60960"/>
                      <a:pt x="100013" y="60960"/>
                      <a:pt x="101918" y="63818"/>
                    </a:cubicBezTo>
                    <a:cubicBezTo>
                      <a:pt x="103823" y="66675"/>
                      <a:pt x="96203" y="63818"/>
                      <a:pt x="104775" y="71438"/>
                    </a:cubicBezTo>
                    <a:cubicBezTo>
                      <a:pt x="113348" y="79058"/>
                      <a:pt x="106680" y="77153"/>
                      <a:pt x="113348" y="79058"/>
                    </a:cubicBezTo>
                    <a:cubicBezTo>
                      <a:pt x="120015" y="80963"/>
                      <a:pt x="134303" y="82868"/>
                      <a:pt x="135255" y="85725"/>
                    </a:cubicBezTo>
                    <a:cubicBezTo>
                      <a:pt x="136208" y="88583"/>
                      <a:pt x="136208" y="88583"/>
                      <a:pt x="136208" y="88583"/>
                    </a:cubicBezTo>
                    <a:cubicBezTo>
                      <a:pt x="136208" y="88583"/>
                      <a:pt x="137160" y="92393"/>
                      <a:pt x="138113" y="95250"/>
                    </a:cubicBezTo>
                    <a:cubicBezTo>
                      <a:pt x="139065" y="98108"/>
                      <a:pt x="138113" y="101918"/>
                      <a:pt x="139065" y="103823"/>
                    </a:cubicBezTo>
                    <a:cubicBezTo>
                      <a:pt x="140018" y="105727"/>
                      <a:pt x="137160" y="109538"/>
                      <a:pt x="135255" y="111443"/>
                    </a:cubicBezTo>
                    <a:cubicBezTo>
                      <a:pt x="134303" y="113348"/>
                      <a:pt x="128588" y="115252"/>
                      <a:pt x="128588" y="115252"/>
                    </a:cubicBezTo>
                    <a:cubicBezTo>
                      <a:pt x="128588" y="115252"/>
                      <a:pt x="128588" y="116205"/>
                      <a:pt x="121920" y="118110"/>
                    </a:cubicBezTo>
                    <a:cubicBezTo>
                      <a:pt x="115253" y="120015"/>
                      <a:pt x="100013" y="122873"/>
                      <a:pt x="86678" y="121920"/>
                    </a:cubicBezTo>
                    <a:cubicBezTo>
                      <a:pt x="73343" y="120968"/>
                      <a:pt x="65723" y="121920"/>
                      <a:pt x="65723" y="121920"/>
                    </a:cubicBezTo>
                    <a:lnTo>
                      <a:pt x="60960" y="122873"/>
                    </a:lnTo>
                    <a:lnTo>
                      <a:pt x="52388" y="125730"/>
                    </a:lnTo>
                    <a:lnTo>
                      <a:pt x="43815" y="129540"/>
                    </a:lnTo>
                    <a:cubicBezTo>
                      <a:pt x="43815" y="129540"/>
                      <a:pt x="32385" y="128588"/>
                      <a:pt x="29528" y="130493"/>
                    </a:cubicBezTo>
                    <a:cubicBezTo>
                      <a:pt x="25718" y="131445"/>
                      <a:pt x="25718" y="131445"/>
                      <a:pt x="25718" y="131445"/>
                    </a:cubicBezTo>
                    <a:lnTo>
                      <a:pt x="20003" y="128588"/>
                    </a:lnTo>
                    <a:cubicBezTo>
                      <a:pt x="20003" y="128588"/>
                      <a:pt x="18098" y="121920"/>
                      <a:pt x="20955" y="121920"/>
                    </a:cubicBezTo>
                    <a:cubicBezTo>
                      <a:pt x="23813" y="121920"/>
                      <a:pt x="23813" y="121920"/>
                      <a:pt x="23813" y="121920"/>
                    </a:cubicBezTo>
                    <a:lnTo>
                      <a:pt x="31433" y="120015"/>
                    </a:lnTo>
                    <a:lnTo>
                      <a:pt x="37148" y="116205"/>
                    </a:lnTo>
                    <a:lnTo>
                      <a:pt x="37148" y="112395"/>
                    </a:lnTo>
                    <a:lnTo>
                      <a:pt x="32385" y="110490"/>
                    </a:lnTo>
                    <a:lnTo>
                      <a:pt x="27623" y="105727"/>
                    </a:lnTo>
                    <a:lnTo>
                      <a:pt x="26670" y="101918"/>
                    </a:lnTo>
                    <a:lnTo>
                      <a:pt x="31433" y="97155"/>
                    </a:lnTo>
                    <a:cubicBezTo>
                      <a:pt x="31433" y="97155"/>
                      <a:pt x="35243" y="93345"/>
                      <a:pt x="35243" y="90488"/>
                    </a:cubicBezTo>
                    <a:cubicBezTo>
                      <a:pt x="35243" y="88583"/>
                      <a:pt x="35243" y="91440"/>
                      <a:pt x="35243" y="88583"/>
                    </a:cubicBezTo>
                    <a:cubicBezTo>
                      <a:pt x="35243" y="84773"/>
                      <a:pt x="35243" y="84773"/>
                      <a:pt x="35243" y="84773"/>
                    </a:cubicBezTo>
                    <a:lnTo>
                      <a:pt x="51435" y="81915"/>
                    </a:lnTo>
                    <a:close/>
                  </a:path>
                </a:pathLst>
              </a:custGeom>
              <a:grpFill/>
              <a:ln w="9525" cap="flat">
                <a:noFill/>
                <a:prstDash val="solid"/>
                <a:miter/>
              </a:ln>
            </p:spPr>
            <p:txBody>
              <a:bodyPr rtlCol="0" anchor="ctr"/>
              <a:lstStyle/>
              <a:p>
                <a:endParaRPr lang="en-US" sz="1765"/>
              </a:p>
            </p:txBody>
          </p:sp>
          <p:sp>
            <p:nvSpPr>
              <p:cNvPr id="200" name="Freeform: Shape 199">
                <a:extLst>
                  <a:ext uri="{FF2B5EF4-FFF2-40B4-BE49-F238E27FC236}">
                    <a16:creationId xmlns:a16="http://schemas.microsoft.com/office/drawing/2014/main" id="{813EE300-D60A-41A3-B76A-BAFA17065737}"/>
                  </a:ext>
                </a:extLst>
              </p:cNvPr>
              <p:cNvSpPr/>
              <p:nvPr/>
            </p:nvSpPr>
            <p:spPr>
              <a:xfrm>
                <a:off x="8785412" y="3643993"/>
                <a:ext cx="34766" cy="12382"/>
              </a:xfrm>
              <a:custGeom>
                <a:avLst/>
                <a:gdLst>
                  <a:gd name="connsiteX0" fmla="*/ 25241 w 34766"/>
                  <a:gd name="connsiteY0" fmla="*/ 11430 h 12382"/>
                  <a:gd name="connsiteX1" fmla="*/ 13811 w 34766"/>
                  <a:gd name="connsiteY1" fmla="*/ 12383 h 12382"/>
                  <a:gd name="connsiteX2" fmla="*/ 7144 w 34766"/>
                  <a:gd name="connsiteY2" fmla="*/ 12383 h 12382"/>
                  <a:gd name="connsiteX3" fmla="*/ 476 w 34766"/>
                  <a:gd name="connsiteY3" fmla="*/ 9525 h 12382"/>
                  <a:gd name="connsiteX4" fmla="*/ 2381 w 34766"/>
                  <a:gd name="connsiteY4" fmla="*/ 4763 h 12382"/>
                  <a:gd name="connsiteX5" fmla="*/ 7144 w 34766"/>
                  <a:gd name="connsiteY5" fmla="*/ 5715 h 12382"/>
                  <a:gd name="connsiteX6" fmla="*/ 14764 w 34766"/>
                  <a:gd name="connsiteY6" fmla="*/ 1905 h 12382"/>
                  <a:gd name="connsiteX7" fmla="*/ 22384 w 34766"/>
                  <a:gd name="connsiteY7" fmla="*/ 952 h 12382"/>
                  <a:gd name="connsiteX8" fmla="*/ 28099 w 34766"/>
                  <a:gd name="connsiteY8" fmla="*/ 0 h 12382"/>
                  <a:gd name="connsiteX9" fmla="*/ 33814 w 34766"/>
                  <a:gd name="connsiteY9" fmla="*/ 1905 h 12382"/>
                  <a:gd name="connsiteX10" fmla="*/ 34766 w 34766"/>
                  <a:gd name="connsiteY10" fmla="*/ 6668 h 12382"/>
                  <a:gd name="connsiteX11" fmla="*/ 30004 w 34766"/>
                  <a:gd name="connsiteY11" fmla="*/ 9525 h 12382"/>
                  <a:gd name="connsiteX12" fmla="*/ 25241 w 34766"/>
                  <a:gd name="connsiteY12" fmla="*/ 11430 h 1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6" h="12382">
                    <a:moveTo>
                      <a:pt x="25241" y="11430"/>
                    </a:moveTo>
                    <a:lnTo>
                      <a:pt x="13811" y="12383"/>
                    </a:lnTo>
                    <a:lnTo>
                      <a:pt x="7144" y="12383"/>
                    </a:lnTo>
                    <a:lnTo>
                      <a:pt x="476" y="9525"/>
                    </a:lnTo>
                    <a:cubicBezTo>
                      <a:pt x="476" y="9525"/>
                      <a:pt x="-1429" y="3810"/>
                      <a:pt x="2381" y="4763"/>
                    </a:cubicBezTo>
                    <a:cubicBezTo>
                      <a:pt x="7144" y="5715"/>
                      <a:pt x="7144" y="5715"/>
                      <a:pt x="7144" y="5715"/>
                    </a:cubicBezTo>
                    <a:cubicBezTo>
                      <a:pt x="7144" y="5715"/>
                      <a:pt x="11906" y="952"/>
                      <a:pt x="14764" y="1905"/>
                    </a:cubicBezTo>
                    <a:cubicBezTo>
                      <a:pt x="17621" y="2858"/>
                      <a:pt x="22384" y="952"/>
                      <a:pt x="22384" y="952"/>
                    </a:cubicBezTo>
                    <a:lnTo>
                      <a:pt x="28099" y="0"/>
                    </a:lnTo>
                    <a:cubicBezTo>
                      <a:pt x="28099" y="0"/>
                      <a:pt x="33814" y="0"/>
                      <a:pt x="33814" y="1905"/>
                    </a:cubicBezTo>
                    <a:cubicBezTo>
                      <a:pt x="33814" y="3810"/>
                      <a:pt x="34766" y="4763"/>
                      <a:pt x="34766" y="6668"/>
                    </a:cubicBezTo>
                    <a:cubicBezTo>
                      <a:pt x="34766" y="8573"/>
                      <a:pt x="30004" y="9525"/>
                      <a:pt x="30004" y="9525"/>
                    </a:cubicBezTo>
                    <a:lnTo>
                      <a:pt x="25241" y="11430"/>
                    </a:lnTo>
                    <a:close/>
                  </a:path>
                </a:pathLst>
              </a:custGeom>
              <a:grpFill/>
              <a:ln w="9525" cap="flat">
                <a:noFill/>
                <a:prstDash val="solid"/>
                <a:miter/>
              </a:ln>
            </p:spPr>
            <p:txBody>
              <a:bodyPr rtlCol="0" anchor="ctr"/>
              <a:lstStyle/>
              <a:p>
                <a:endParaRPr lang="en-US" sz="1765"/>
              </a:p>
            </p:txBody>
          </p:sp>
          <p:sp>
            <p:nvSpPr>
              <p:cNvPr id="201" name="Freeform: Shape 200">
                <a:extLst>
                  <a:ext uri="{FF2B5EF4-FFF2-40B4-BE49-F238E27FC236}">
                    <a16:creationId xmlns:a16="http://schemas.microsoft.com/office/drawing/2014/main" id="{52D1DBF3-F58B-4BCC-8328-A4084587917E}"/>
                  </a:ext>
                </a:extLst>
              </p:cNvPr>
              <p:cNvSpPr/>
              <p:nvPr/>
            </p:nvSpPr>
            <p:spPr>
              <a:xfrm>
                <a:off x="8447641" y="2877241"/>
                <a:ext cx="251759" cy="93335"/>
              </a:xfrm>
              <a:custGeom>
                <a:avLst/>
                <a:gdLst>
                  <a:gd name="connsiteX0" fmla="*/ 176323 w 251759"/>
                  <a:gd name="connsiteY0" fmla="*/ 76190 h 93335"/>
                  <a:gd name="connsiteX1" fmla="*/ 163940 w 251759"/>
                  <a:gd name="connsiteY1" fmla="*/ 74285 h 93335"/>
                  <a:gd name="connsiteX2" fmla="*/ 156320 w 251759"/>
                  <a:gd name="connsiteY2" fmla="*/ 71428 h 93335"/>
                  <a:gd name="connsiteX3" fmla="*/ 156320 w 251759"/>
                  <a:gd name="connsiteY3" fmla="*/ 64760 h 93335"/>
                  <a:gd name="connsiteX4" fmla="*/ 156320 w 251759"/>
                  <a:gd name="connsiteY4" fmla="*/ 61903 h 93335"/>
                  <a:gd name="connsiteX5" fmla="*/ 142033 w 251759"/>
                  <a:gd name="connsiteY5" fmla="*/ 59998 h 93335"/>
                  <a:gd name="connsiteX6" fmla="*/ 132508 w 251759"/>
                  <a:gd name="connsiteY6" fmla="*/ 60950 h 93335"/>
                  <a:gd name="connsiteX7" fmla="*/ 125840 w 251759"/>
                  <a:gd name="connsiteY7" fmla="*/ 63808 h 93335"/>
                  <a:gd name="connsiteX8" fmla="*/ 121078 w 251759"/>
                  <a:gd name="connsiteY8" fmla="*/ 68570 h 93335"/>
                  <a:gd name="connsiteX9" fmla="*/ 104885 w 251759"/>
                  <a:gd name="connsiteY9" fmla="*/ 73333 h 93335"/>
                  <a:gd name="connsiteX10" fmla="*/ 95360 w 251759"/>
                  <a:gd name="connsiteY10" fmla="*/ 82858 h 93335"/>
                  <a:gd name="connsiteX11" fmla="*/ 95360 w 251759"/>
                  <a:gd name="connsiteY11" fmla="*/ 88573 h 93335"/>
                  <a:gd name="connsiteX12" fmla="*/ 86788 w 251759"/>
                  <a:gd name="connsiteY12" fmla="*/ 92383 h 93335"/>
                  <a:gd name="connsiteX13" fmla="*/ 74405 w 251759"/>
                  <a:gd name="connsiteY13" fmla="*/ 93335 h 93335"/>
                  <a:gd name="connsiteX14" fmla="*/ 62975 w 251759"/>
                  <a:gd name="connsiteY14" fmla="*/ 93335 h 93335"/>
                  <a:gd name="connsiteX15" fmla="*/ 53450 w 251759"/>
                  <a:gd name="connsiteY15" fmla="*/ 91430 h 93335"/>
                  <a:gd name="connsiteX16" fmla="*/ 52498 w 251759"/>
                  <a:gd name="connsiteY16" fmla="*/ 88573 h 93335"/>
                  <a:gd name="connsiteX17" fmla="*/ 51545 w 251759"/>
                  <a:gd name="connsiteY17" fmla="*/ 83810 h 93335"/>
                  <a:gd name="connsiteX18" fmla="*/ 49640 w 251759"/>
                  <a:gd name="connsiteY18" fmla="*/ 77143 h 93335"/>
                  <a:gd name="connsiteX19" fmla="*/ 48688 w 251759"/>
                  <a:gd name="connsiteY19" fmla="*/ 73333 h 93335"/>
                  <a:gd name="connsiteX20" fmla="*/ 49640 w 251759"/>
                  <a:gd name="connsiteY20" fmla="*/ 66665 h 93335"/>
                  <a:gd name="connsiteX21" fmla="*/ 51545 w 251759"/>
                  <a:gd name="connsiteY21" fmla="*/ 62855 h 93335"/>
                  <a:gd name="connsiteX22" fmla="*/ 54403 w 251759"/>
                  <a:gd name="connsiteY22" fmla="*/ 62855 h 93335"/>
                  <a:gd name="connsiteX23" fmla="*/ 58213 w 251759"/>
                  <a:gd name="connsiteY23" fmla="*/ 56188 h 93335"/>
                  <a:gd name="connsiteX24" fmla="*/ 58213 w 251759"/>
                  <a:gd name="connsiteY24" fmla="*/ 52378 h 93335"/>
                  <a:gd name="connsiteX25" fmla="*/ 58213 w 251759"/>
                  <a:gd name="connsiteY25" fmla="*/ 48568 h 93335"/>
                  <a:gd name="connsiteX26" fmla="*/ 44878 w 251759"/>
                  <a:gd name="connsiteY26" fmla="*/ 52378 h 93335"/>
                  <a:gd name="connsiteX27" fmla="*/ 43925 w 251759"/>
                  <a:gd name="connsiteY27" fmla="*/ 55235 h 93335"/>
                  <a:gd name="connsiteX28" fmla="*/ 19160 w 251759"/>
                  <a:gd name="connsiteY28" fmla="*/ 59045 h 93335"/>
                  <a:gd name="connsiteX29" fmla="*/ 11540 w 251759"/>
                  <a:gd name="connsiteY29" fmla="*/ 59045 h 93335"/>
                  <a:gd name="connsiteX30" fmla="*/ 2015 w 251759"/>
                  <a:gd name="connsiteY30" fmla="*/ 57140 h 93335"/>
                  <a:gd name="connsiteX31" fmla="*/ 1063 w 251759"/>
                  <a:gd name="connsiteY31" fmla="*/ 46663 h 93335"/>
                  <a:gd name="connsiteX32" fmla="*/ 5825 w 251759"/>
                  <a:gd name="connsiteY32" fmla="*/ 38090 h 93335"/>
                  <a:gd name="connsiteX33" fmla="*/ 5825 w 251759"/>
                  <a:gd name="connsiteY33" fmla="*/ 30470 h 93335"/>
                  <a:gd name="connsiteX34" fmla="*/ 4873 w 251759"/>
                  <a:gd name="connsiteY34" fmla="*/ 27613 h 93335"/>
                  <a:gd name="connsiteX35" fmla="*/ 12493 w 251759"/>
                  <a:gd name="connsiteY35" fmla="*/ 22850 h 93335"/>
                  <a:gd name="connsiteX36" fmla="*/ 26780 w 251759"/>
                  <a:gd name="connsiteY36" fmla="*/ 20945 h 93335"/>
                  <a:gd name="connsiteX37" fmla="*/ 42973 w 251759"/>
                  <a:gd name="connsiteY37" fmla="*/ 19993 h 93335"/>
                  <a:gd name="connsiteX38" fmla="*/ 64880 w 251759"/>
                  <a:gd name="connsiteY38" fmla="*/ 19040 h 93335"/>
                  <a:gd name="connsiteX39" fmla="*/ 87740 w 251759"/>
                  <a:gd name="connsiteY39" fmla="*/ 14278 h 93335"/>
                  <a:gd name="connsiteX40" fmla="*/ 115363 w 251759"/>
                  <a:gd name="connsiteY40" fmla="*/ 14278 h 93335"/>
                  <a:gd name="connsiteX41" fmla="*/ 129650 w 251759"/>
                  <a:gd name="connsiteY41" fmla="*/ 7610 h 93335"/>
                  <a:gd name="connsiteX42" fmla="*/ 138223 w 251759"/>
                  <a:gd name="connsiteY42" fmla="*/ 2848 h 93335"/>
                  <a:gd name="connsiteX43" fmla="*/ 149653 w 251759"/>
                  <a:gd name="connsiteY43" fmla="*/ 1895 h 93335"/>
                  <a:gd name="connsiteX44" fmla="*/ 165845 w 251759"/>
                  <a:gd name="connsiteY44" fmla="*/ 6658 h 93335"/>
                  <a:gd name="connsiteX45" fmla="*/ 182038 w 251759"/>
                  <a:gd name="connsiteY45" fmla="*/ 9515 h 93335"/>
                  <a:gd name="connsiteX46" fmla="*/ 203945 w 251759"/>
                  <a:gd name="connsiteY46" fmla="*/ 8563 h 93335"/>
                  <a:gd name="connsiteX47" fmla="*/ 215375 w 251759"/>
                  <a:gd name="connsiteY47" fmla="*/ 8563 h 93335"/>
                  <a:gd name="connsiteX48" fmla="*/ 241093 w 251759"/>
                  <a:gd name="connsiteY48" fmla="*/ 8563 h 93335"/>
                  <a:gd name="connsiteX49" fmla="*/ 249665 w 251759"/>
                  <a:gd name="connsiteY49" fmla="*/ 10468 h 93335"/>
                  <a:gd name="connsiteX50" fmla="*/ 251570 w 251759"/>
                  <a:gd name="connsiteY50" fmla="*/ 17135 h 93335"/>
                  <a:gd name="connsiteX51" fmla="*/ 247760 w 251759"/>
                  <a:gd name="connsiteY51" fmla="*/ 23803 h 93335"/>
                  <a:gd name="connsiteX52" fmla="*/ 239188 w 251759"/>
                  <a:gd name="connsiteY52" fmla="*/ 26660 h 93335"/>
                  <a:gd name="connsiteX53" fmla="*/ 216328 w 251759"/>
                  <a:gd name="connsiteY53" fmla="*/ 27613 h 93335"/>
                  <a:gd name="connsiteX54" fmla="*/ 203945 w 251759"/>
                  <a:gd name="connsiteY54" fmla="*/ 30470 h 93335"/>
                  <a:gd name="connsiteX55" fmla="*/ 175370 w 251759"/>
                  <a:gd name="connsiteY55" fmla="*/ 30470 h 93335"/>
                  <a:gd name="connsiteX56" fmla="*/ 162035 w 251759"/>
                  <a:gd name="connsiteY56" fmla="*/ 28565 h 93335"/>
                  <a:gd name="connsiteX57" fmla="*/ 148700 w 251759"/>
                  <a:gd name="connsiteY57" fmla="*/ 21898 h 93335"/>
                  <a:gd name="connsiteX58" fmla="*/ 134413 w 251759"/>
                  <a:gd name="connsiteY58" fmla="*/ 22850 h 93335"/>
                  <a:gd name="connsiteX59" fmla="*/ 134413 w 251759"/>
                  <a:gd name="connsiteY59" fmla="*/ 24755 h 93335"/>
                  <a:gd name="connsiteX60" fmla="*/ 134413 w 251759"/>
                  <a:gd name="connsiteY60" fmla="*/ 27613 h 93335"/>
                  <a:gd name="connsiteX61" fmla="*/ 147748 w 251759"/>
                  <a:gd name="connsiteY61" fmla="*/ 29518 h 93335"/>
                  <a:gd name="connsiteX62" fmla="*/ 157273 w 251759"/>
                  <a:gd name="connsiteY62" fmla="*/ 34280 h 93335"/>
                  <a:gd name="connsiteX63" fmla="*/ 165845 w 251759"/>
                  <a:gd name="connsiteY63" fmla="*/ 39043 h 93335"/>
                  <a:gd name="connsiteX64" fmla="*/ 179180 w 251759"/>
                  <a:gd name="connsiteY64" fmla="*/ 39995 h 93335"/>
                  <a:gd name="connsiteX65" fmla="*/ 183943 w 251759"/>
                  <a:gd name="connsiteY65" fmla="*/ 43805 h 93335"/>
                  <a:gd name="connsiteX66" fmla="*/ 187753 w 251759"/>
                  <a:gd name="connsiteY66" fmla="*/ 52378 h 93335"/>
                  <a:gd name="connsiteX67" fmla="*/ 201088 w 251759"/>
                  <a:gd name="connsiteY67" fmla="*/ 58093 h 93335"/>
                  <a:gd name="connsiteX68" fmla="*/ 220138 w 251759"/>
                  <a:gd name="connsiteY68" fmla="*/ 59998 h 93335"/>
                  <a:gd name="connsiteX69" fmla="*/ 227758 w 251759"/>
                  <a:gd name="connsiteY69" fmla="*/ 61903 h 93335"/>
                  <a:gd name="connsiteX70" fmla="*/ 229663 w 251759"/>
                  <a:gd name="connsiteY70" fmla="*/ 64760 h 93335"/>
                  <a:gd name="connsiteX71" fmla="*/ 232520 w 251759"/>
                  <a:gd name="connsiteY71" fmla="*/ 68570 h 93335"/>
                  <a:gd name="connsiteX72" fmla="*/ 222995 w 251759"/>
                  <a:gd name="connsiteY72" fmla="*/ 72380 h 93335"/>
                  <a:gd name="connsiteX73" fmla="*/ 211565 w 251759"/>
                  <a:gd name="connsiteY73" fmla="*/ 73333 h 93335"/>
                  <a:gd name="connsiteX74" fmla="*/ 202993 w 251759"/>
                  <a:gd name="connsiteY74" fmla="*/ 72380 h 93335"/>
                  <a:gd name="connsiteX75" fmla="*/ 182038 w 251759"/>
                  <a:gd name="connsiteY75" fmla="*/ 76190 h 93335"/>
                  <a:gd name="connsiteX76" fmla="*/ 176323 w 251759"/>
                  <a:gd name="connsiteY76" fmla="*/ 76190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1759" h="93335">
                    <a:moveTo>
                      <a:pt x="176323" y="76190"/>
                    </a:moveTo>
                    <a:cubicBezTo>
                      <a:pt x="176323" y="76190"/>
                      <a:pt x="167750" y="74285"/>
                      <a:pt x="163940" y="74285"/>
                    </a:cubicBezTo>
                    <a:cubicBezTo>
                      <a:pt x="161083" y="73333"/>
                      <a:pt x="156320" y="71428"/>
                      <a:pt x="156320" y="71428"/>
                    </a:cubicBezTo>
                    <a:lnTo>
                      <a:pt x="156320" y="64760"/>
                    </a:lnTo>
                    <a:lnTo>
                      <a:pt x="156320" y="61903"/>
                    </a:lnTo>
                    <a:cubicBezTo>
                      <a:pt x="148700" y="59998"/>
                      <a:pt x="145843" y="58093"/>
                      <a:pt x="142033" y="59998"/>
                    </a:cubicBezTo>
                    <a:cubicBezTo>
                      <a:pt x="139175" y="60950"/>
                      <a:pt x="132508" y="60950"/>
                      <a:pt x="132508" y="60950"/>
                    </a:cubicBezTo>
                    <a:lnTo>
                      <a:pt x="125840" y="63808"/>
                    </a:lnTo>
                    <a:cubicBezTo>
                      <a:pt x="125840" y="63808"/>
                      <a:pt x="124888" y="65713"/>
                      <a:pt x="121078" y="68570"/>
                    </a:cubicBezTo>
                    <a:cubicBezTo>
                      <a:pt x="117268" y="71428"/>
                      <a:pt x="108695" y="66665"/>
                      <a:pt x="104885" y="73333"/>
                    </a:cubicBezTo>
                    <a:cubicBezTo>
                      <a:pt x="100123" y="80000"/>
                      <a:pt x="95360" y="82858"/>
                      <a:pt x="95360" y="82858"/>
                    </a:cubicBezTo>
                    <a:lnTo>
                      <a:pt x="95360" y="88573"/>
                    </a:lnTo>
                    <a:lnTo>
                      <a:pt x="86788" y="92383"/>
                    </a:lnTo>
                    <a:lnTo>
                      <a:pt x="74405" y="93335"/>
                    </a:lnTo>
                    <a:lnTo>
                      <a:pt x="62975" y="93335"/>
                    </a:lnTo>
                    <a:lnTo>
                      <a:pt x="53450" y="91430"/>
                    </a:lnTo>
                    <a:lnTo>
                      <a:pt x="52498" y="88573"/>
                    </a:lnTo>
                    <a:lnTo>
                      <a:pt x="51545" y="83810"/>
                    </a:lnTo>
                    <a:lnTo>
                      <a:pt x="49640" y="77143"/>
                    </a:lnTo>
                    <a:lnTo>
                      <a:pt x="48688" y="73333"/>
                    </a:lnTo>
                    <a:lnTo>
                      <a:pt x="49640" y="66665"/>
                    </a:lnTo>
                    <a:cubicBezTo>
                      <a:pt x="49640" y="66665"/>
                      <a:pt x="48688" y="62855"/>
                      <a:pt x="51545" y="62855"/>
                    </a:cubicBezTo>
                    <a:cubicBezTo>
                      <a:pt x="54403" y="62855"/>
                      <a:pt x="54403" y="62855"/>
                      <a:pt x="54403" y="62855"/>
                    </a:cubicBezTo>
                    <a:lnTo>
                      <a:pt x="58213" y="56188"/>
                    </a:lnTo>
                    <a:lnTo>
                      <a:pt x="58213" y="52378"/>
                    </a:lnTo>
                    <a:lnTo>
                      <a:pt x="58213" y="48568"/>
                    </a:lnTo>
                    <a:cubicBezTo>
                      <a:pt x="50593" y="49520"/>
                      <a:pt x="45830" y="49520"/>
                      <a:pt x="44878" y="52378"/>
                    </a:cubicBezTo>
                    <a:cubicBezTo>
                      <a:pt x="43925" y="55235"/>
                      <a:pt x="43925" y="55235"/>
                      <a:pt x="43925" y="55235"/>
                    </a:cubicBezTo>
                    <a:lnTo>
                      <a:pt x="19160" y="59045"/>
                    </a:lnTo>
                    <a:cubicBezTo>
                      <a:pt x="19160" y="59045"/>
                      <a:pt x="14398" y="59045"/>
                      <a:pt x="11540" y="59045"/>
                    </a:cubicBezTo>
                    <a:cubicBezTo>
                      <a:pt x="8683" y="59045"/>
                      <a:pt x="2015" y="57140"/>
                      <a:pt x="2015" y="57140"/>
                    </a:cubicBezTo>
                    <a:cubicBezTo>
                      <a:pt x="2015" y="57140"/>
                      <a:pt x="-1795" y="49520"/>
                      <a:pt x="1063" y="46663"/>
                    </a:cubicBezTo>
                    <a:cubicBezTo>
                      <a:pt x="4873" y="43805"/>
                      <a:pt x="4873" y="39995"/>
                      <a:pt x="5825" y="38090"/>
                    </a:cubicBezTo>
                    <a:cubicBezTo>
                      <a:pt x="6778" y="36185"/>
                      <a:pt x="5825" y="30470"/>
                      <a:pt x="5825" y="30470"/>
                    </a:cubicBezTo>
                    <a:lnTo>
                      <a:pt x="4873" y="27613"/>
                    </a:lnTo>
                    <a:cubicBezTo>
                      <a:pt x="4873" y="27613"/>
                      <a:pt x="6778" y="22850"/>
                      <a:pt x="12493" y="22850"/>
                    </a:cubicBezTo>
                    <a:cubicBezTo>
                      <a:pt x="18208" y="22850"/>
                      <a:pt x="22018" y="20945"/>
                      <a:pt x="26780" y="20945"/>
                    </a:cubicBezTo>
                    <a:cubicBezTo>
                      <a:pt x="31543" y="20945"/>
                      <a:pt x="35353" y="19993"/>
                      <a:pt x="42973" y="19993"/>
                    </a:cubicBezTo>
                    <a:cubicBezTo>
                      <a:pt x="50593" y="20945"/>
                      <a:pt x="58213" y="19040"/>
                      <a:pt x="64880" y="19040"/>
                    </a:cubicBezTo>
                    <a:cubicBezTo>
                      <a:pt x="71548" y="19993"/>
                      <a:pt x="80120" y="14278"/>
                      <a:pt x="87740" y="14278"/>
                    </a:cubicBezTo>
                    <a:cubicBezTo>
                      <a:pt x="95360" y="14278"/>
                      <a:pt x="107743" y="13325"/>
                      <a:pt x="115363" y="14278"/>
                    </a:cubicBezTo>
                    <a:cubicBezTo>
                      <a:pt x="122983" y="15230"/>
                      <a:pt x="129650" y="7610"/>
                      <a:pt x="129650" y="7610"/>
                    </a:cubicBezTo>
                    <a:cubicBezTo>
                      <a:pt x="129650" y="7610"/>
                      <a:pt x="133460" y="2848"/>
                      <a:pt x="138223" y="2848"/>
                    </a:cubicBezTo>
                    <a:cubicBezTo>
                      <a:pt x="143938" y="2848"/>
                      <a:pt x="132508" y="-2867"/>
                      <a:pt x="149653" y="1895"/>
                    </a:cubicBezTo>
                    <a:cubicBezTo>
                      <a:pt x="165845" y="6658"/>
                      <a:pt x="165845" y="6658"/>
                      <a:pt x="165845" y="6658"/>
                    </a:cubicBezTo>
                    <a:cubicBezTo>
                      <a:pt x="165845" y="6658"/>
                      <a:pt x="176323" y="9515"/>
                      <a:pt x="182038" y="9515"/>
                    </a:cubicBezTo>
                    <a:cubicBezTo>
                      <a:pt x="187753" y="9515"/>
                      <a:pt x="203945" y="8563"/>
                      <a:pt x="203945" y="8563"/>
                    </a:cubicBezTo>
                    <a:cubicBezTo>
                      <a:pt x="203945" y="8563"/>
                      <a:pt x="209660" y="7610"/>
                      <a:pt x="215375" y="8563"/>
                    </a:cubicBezTo>
                    <a:cubicBezTo>
                      <a:pt x="221090" y="9515"/>
                      <a:pt x="236330" y="7610"/>
                      <a:pt x="241093" y="8563"/>
                    </a:cubicBezTo>
                    <a:cubicBezTo>
                      <a:pt x="245855" y="9515"/>
                      <a:pt x="249665" y="10468"/>
                      <a:pt x="249665" y="10468"/>
                    </a:cubicBezTo>
                    <a:cubicBezTo>
                      <a:pt x="249665" y="10468"/>
                      <a:pt x="250618" y="14278"/>
                      <a:pt x="251570" y="17135"/>
                    </a:cubicBezTo>
                    <a:cubicBezTo>
                      <a:pt x="252523" y="20945"/>
                      <a:pt x="249665" y="21898"/>
                      <a:pt x="247760" y="23803"/>
                    </a:cubicBezTo>
                    <a:cubicBezTo>
                      <a:pt x="246808" y="25708"/>
                      <a:pt x="239188" y="26660"/>
                      <a:pt x="239188" y="26660"/>
                    </a:cubicBezTo>
                    <a:lnTo>
                      <a:pt x="216328" y="27613"/>
                    </a:lnTo>
                    <a:lnTo>
                      <a:pt x="203945" y="30470"/>
                    </a:lnTo>
                    <a:lnTo>
                      <a:pt x="175370" y="30470"/>
                    </a:lnTo>
                    <a:lnTo>
                      <a:pt x="162035" y="28565"/>
                    </a:lnTo>
                    <a:lnTo>
                      <a:pt x="148700" y="21898"/>
                    </a:lnTo>
                    <a:cubicBezTo>
                      <a:pt x="148700" y="21898"/>
                      <a:pt x="134413" y="19993"/>
                      <a:pt x="134413" y="22850"/>
                    </a:cubicBezTo>
                    <a:cubicBezTo>
                      <a:pt x="134413" y="24755"/>
                      <a:pt x="134413" y="24755"/>
                      <a:pt x="134413" y="24755"/>
                    </a:cubicBezTo>
                    <a:cubicBezTo>
                      <a:pt x="134413" y="24755"/>
                      <a:pt x="129650" y="25708"/>
                      <a:pt x="134413" y="27613"/>
                    </a:cubicBezTo>
                    <a:cubicBezTo>
                      <a:pt x="139175" y="29518"/>
                      <a:pt x="143938" y="27613"/>
                      <a:pt x="147748" y="29518"/>
                    </a:cubicBezTo>
                    <a:cubicBezTo>
                      <a:pt x="150605" y="31423"/>
                      <a:pt x="153463" y="31423"/>
                      <a:pt x="157273" y="34280"/>
                    </a:cubicBezTo>
                    <a:cubicBezTo>
                      <a:pt x="162035" y="36185"/>
                      <a:pt x="159178" y="38090"/>
                      <a:pt x="165845" y="39043"/>
                    </a:cubicBezTo>
                    <a:cubicBezTo>
                      <a:pt x="172513" y="39995"/>
                      <a:pt x="174418" y="35233"/>
                      <a:pt x="179180" y="39995"/>
                    </a:cubicBezTo>
                    <a:cubicBezTo>
                      <a:pt x="183943" y="43805"/>
                      <a:pt x="182990" y="39043"/>
                      <a:pt x="183943" y="43805"/>
                    </a:cubicBezTo>
                    <a:cubicBezTo>
                      <a:pt x="184895" y="49520"/>
                      <a:pt x="184895" y="50473"/>
                      <a:pt x="187753" y="52378"/>
                    </a:cubicBezTo>
                    <a:cubicBezTo>
                      <a:pt x="190610" y="54283"/>
                      <a:pt x="201088" y="58093"/>
                      <a:pt x="201088" y="58093"/>
                    </a:cubicBezTo>
                    <a:lnTo>
                      <a:pt x="220138" y="59998"/>
                    </a:lnTo>
                    <a:cubicBezTo>
                      <a:pt x="220138" y="59998"/>
                      <a:pt x="225853" y="59045"/>
                      <a:pt x="227758" y="61903"/>
                    </a:cubicBezTo>
                    <a:cubicBezTo>
                      <a:pt x="229663" y="64760"/>
                      <a:pt x="226805" y="60950"/>
                      <a:pt x="229663" y="64760"/>
                    </a:cubicBezTo>
                    <a:cubicBezTo>
                      <a:pt x="232520" y="68570"/>
                      <a:pt x="232520" y="65713"/>
                      <a:pt x="232520" y="68570"/>
                    </a:cubicBezTo>
                    <a:cubicBezTo>
                      <a:pt x="232520" y="71428"/>
                      <a:pt x="226805" y="71428"/>
                      <a:pt x="222995" y="72380"/>
                    </a:cubicBezTo>
                    <a:cubicBezTo>
                      <a:pt x="218233" y="73333"/>
                      <a:pt x="211565" y="73333"/>
                      <a:pt x="211565" y="73333"/>
                    </a:cubicBezTo>
                    <a:lnTo>
                      <a:pt x="202993" y="72380"/>
                    </a:lnTo>
                    <a:lnTo>
                      <a:pt x="182038" y="76190"/>
                    </a:lnTo>
                    <a:lnTo>
                      <a:pt x="176323" y="76190"/>
                    </a:lnTo>
                    <a:close/>
                  </a:path>
                </a:pathLst>
              </a:custGeom>
              <a:grpFill/>
              <a:ln w="9525" cap="flat">
                <a:noFill/>
                <a:prstDash val="solid"/>
                <a:miter/>
              </a:ln>
            </p:spPr>
            <p:txBody>
              <a:bodyPr rtlCol="0" anchor="ctr"/>
              <a:lstStyle/>
              <a:p>
                <a:endParaRPr lang="en-US" sz="1765"/>
              </a:p>
            </p:txBody>
          </p:sp>
          <p:sp>
            <p:nvSpPr>
              <p:cNvPr id="202" name="Freeform: Shape 201">
                <a:extLst>
                  <a:ext uri="{FF2B5EF4-FFF2-40B4-BE49-F238E27FC236}">
                    <a16:creationId xmlns:a16="http://schemas.microsoft.com/office/drawing/2014/main" id="{7AAE21AF-84B8-4AF7-A4F5-89E0795AD8D6}"/>
                  </a:ext>
                </a:extLst>
              </p:cNvPr>
              <p:cNvSpPr/>
              <p:nvPr/>
            </p:nvSpPr>
            <p:spPr>
              <a:xfrm>
                <a:off x="9058304" y="2871622"/>
                <a:ext cx="56780" cy="22754"/>
              </a:xfrm>
              <a:custGeom>
                <a:avLst/>
                <a:gdLst>
                  <a:gd name="connsiteX0" fmla="*/ 50482 w 56780"/>
                  <a:gd name="connsiteY0" fmla="*/ 17039 h 22754"/>
                  <a:gd name="connsiteX1" fmla="*/ 45720 w 56780"/>
                  <a:gd name="connsiteY1" fmla="*/ 21802 h 22754"/>
                  <a:gd name="connsiteX2" fmla="*/ 33338 w 56780"/>
                  <a:gd name="connsiteY2" fmla="*/ 22754 h 22754"/>
                  <a:gd name="connsiteX3" fmla="*/ 24765 w 56780"/>
                  <a:gd name="connsiteY3" fmla="*/ 21802 h 22754"/>
                  <a:gd name="connsiteX4" fmla="*/ 11430 w 56780"/>
                  <a:gd name="connsiteY4" fmla="*/ 19897 h 22754"/>
                  <a:gd name="connsiteX5" fmla="*/ 5715 w 56780"/>
                  <a:gd name="connsiteY5" fmla="*/ 16087 h 22754"/>
                  <a:gd name="connsiteX6" fmla="*/ 5715 w 56780"/>
                  <a:gd name="connsiteY6" fmla="*/ 9419 h 22754"/>
                  <a:gd name="connsiteX7" fmla="*/ 0 w 56780"/>
                  <a:gd name="connsiteY7" fmla="*/ 6562 h 22754"/>
                  <a:gd name="connsiteX8" fmla="*/ 12382 w 56780"/>
                  <a:gd name="connsiteY8" fmla="*/ 2752 h 22754"/>
                  <a:gd name="connsiteX9" fmla="*/ 32385 w 56780"/>
                  <a:gd name="connsiteY9" fmla="*/ 847 h 22754"/>
                  <a:gd name="connsiteX10" fmla="*/ 55245 w 56780"/>
                  <a:gd name="connsiteY10" fmla="*/ 847 h 22754"/>
                  <a:gd name="connsiteX11" fmla="*/ 56197 w 56780"/>
                  <a:gd name="connsiteY11" fmla="*/ 5609 h 22754"/>
                  <a:gd name="connsiteX12" fmla="*/ 50482 w 56780"/>
                  <a:gd name="connsiteY12" fmla="*/ 17039 h 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80" h="22754">
                    <a:moveTo>
                      <a:pt x="50482" y="17039"/>
                    </a:moveTo>
                    <a:cubicBezTo>
                      <a:pt x="50482" y="17039"/>
                      <a:pt x="51435" y="20849"/>
                      <a:pt x="45720" y="21802"/>
                    </a:cubicBezTo>
                    <a:cubicBezTo>
                      <a:pt x="40005" y="22754"/>
                      <a:pt x="33338" y="22754"/>
                      <a:pt x="33338" y="22754"/>
                    </a:cubicBezTo>
                    <a:lnTo>
                      <a:pt x="24765" y="21802"/>
                    </a:lnTo>
                    <a:lnTo>
                      <a:pt x="11430" y="19897"/>
                    </a:lnTo>
                    <a:lnTo>
                      <a:pt x="5715" y="16087"/>
                    </a:lnTo>
                    <a:lnTo>
                      <a:pt x="5715" y="9419"/>
                    </a:lnTo>
                    <a:lnTo>
                      <a:pt x="0" y="6562"/>
                    </a:lnTo>
                    <a:cubicBezTo>
                      <a:pt x="0" y="6562"/>
                      <a:pt x="5715" y="3704"/>
                      <a:pt x="12382" y="2752"/>
                    </a:cubicBezTo>
                    <a:cubicBezTo>
                      <a:pt x="19050" y="1799"/>
                      <a:pt x="32385" y="847"/>
                      <a:pt x="32385" y="847"/>
                    </a:cubicBezTo>
                    <a:cubicBezTo>
                      <a:pt x="32385" y="847"/>
                      <a:pt x="53340" y="-1058"/>
                      <a:pt x="55245" y="847"/>
                    </a:cubicBezTo>
                    <a:cubicBezTo>
                      <a:pt x="57150" y="2752"/>
                      <a:pt x="55245" y="3704"/>
                      <a:pt x="56197" y="5609"/>
                    </a:cubicBezTo>
                    <a:cubicBezTo>
                      <a:pt x="59055" y="8467"/>
                      <a:pt x="50482" y="17039"/>
                      <a:pt x="50482" y="17039"/>
                    </a:cubicBezTo>
                    <a:close/>
                  </a:path>
                </a:pathLst>
              </a:custGeom>
              <a:grpFill/>
              <a:ln w="9525" cap="flat">
                <a:noFill/>
                <a:prstDash val="solid"/>
                <a:miter/>
              </a:ln>
            </p:spPr>
            <p:txBody>
              <a:bodyPr rtlCol="0" anchor="ctr"/>
              <a:lstStyle/>
              <a:p>
                <a:endParaRPr lang="en-US" sz="1765"/>
              </a:p>
            </p:txBody>
          </p:sp>
          <p:sp>
            <p:nvSpPr>
              <p:cNvPr id="203" name="Freeform: Shape 202">
                <a:extLst>
                  <a:ext uri="{FF2B5EF4-FFF2-40B4-BE49-F238E27FC236}">
                    <a16:creationId xmlns:a16="http://schemas.microsoft.com/office/drawing/2014/main" id="{56300A4E-E75B-46F5-8AB5-9C15BC3ABD89}"/>
                  </a:ext>
                </a:extLst>
              </p:cNvPr>
              <p:cNvSpPr/>
              <p:nvPr/>
            </p:nvSpPr>
            <p:spPr>
              <a:xfrm>
                <a:off x="9201686" y="2869293"/>
                <a:ext cx="54949" cy="34309"/>
              </a:xfrm>
              <a:custGeom>
                <a:avLst/>
                <a:gdLst>
                  <a:gd name="connsiteX0" fmla="*/ 26163 w 54949"/>
                  <a:gd name="connsiteY0" fmla="*/ 6985 h 34309"/>
                  <a:gd name="connsiteX1" fmla="*/ 9971 w 54949"/>
                  <a:gd name="connsiteY1" fmla="*/ 1270 h 34309"/>
                  <a:gd name="connsiteX2" fmla="*/ 4255 w 54949"/>
                  <a:gd name="connsiteY2" fmla="*/ 1270 h 34309"/>
                  <a:gd name="connsiteX3" fmla="*/ 446 w 54949"/>
                  <a:gd name="connsiteY3" fmla="*/ 7938 h 34309"/>
                  <a:gd name="connsiteX4" fmla="*/ 2350 w 54949"/>
                  <a:gd name="connsiteY4" fmla="*/ 10795 h 34309"/>
                  <a:gd name="connsiteX5" fmla="*/ 7113 w 54949"/>
                  <a:gd name="connsiteY5" fmla="*/ 13652 h 34309"/>
                  <a:gd name="connsiteX6" fmla="*/ 8065 w 54949"/>
                  <a:gd name="connsiteY6" fmla="*/ 20320 h 34309"/>
                  <a:gd name="connsiteX7" fmla="*/ 3303 w 54949"/>
                  <a:gd name="connsiteY7" fmla="*/ 33655 h 34309"/>
                  <a:gd name="connsiteX8" fmla="*/ 15685 w 54949"/>
                  <a:gd name="connsiteY8" fmla="*/ 32702 h 34309"/>
                  <a:gd name="connsiteX9" fmla="*/ 29973 w 54949"/>
                  <a:gd name="connsiteY9" fmla="*/ 31750 h 34309"/>
                  <a:gd name="connsiteX10" fmla="*/ 35688 w 54949"/>
                  <a:gd name="connsiteY10" fmla="*/ 29845 h 34309"/>
                  <a:gd name="connsiteX11" fmla="*/ 43308 w 54949"/>
                  <a:gd name="connsiteY11" fmla="*/ 31750 h 34309"/>
                  <a:gd name="connsiteX12" fmla="*/ 48071 w 54949"/>
                  <a:gd name="connsiteY12" fmla="*/ 31750 h 34309"/>
                  <a:gd name="connsiteX13" fmla="*/ 52833 w 54949"/>
                  <a:gd name="connsiteY13" fmla="*/ 24130 h 34309"/>
                  <a:gd name="connsiteX14" fmla="*/ 52833 w 54949"/>
                  <a:gd name="connsiteY14" fmla="*/ 16510 h 34309"/>
                  <a:gd name="connsiteX15" fmla="*/ 44260 w 54949"/>
                  <a:gd name="connsiteY15" fmla="*/ 13652 h 34309"/>
                  <a:gd name="connsiteX16" fmla="*/ 30925 w 54949"/>
                  <a:gd name="connsiteY16" fmla="*/ 14605 h 34309"/>
                  <a:gd name="connsiteX17" fmla="*/ 26163 w 54949"/>
                  <a:gd name="connsiteY17" fmla="*/ 6985 h 3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949" h="34309">
                    <a:moveTo>
                      <a:pt x="26163" y="6985"/>
                    </a:moveTo>
                    <a:lnTo>
                      <a:pt x="9971" y="1270"/>
                    </a:lnTo>
                    <a:cubicBezTo>
                      <a:pt x="9971" y="1270"/>
                      <a:pt x="5208" y="-1587"/>
                      <a:pt x="4255" y="1270"/>
                    </a:cubicBezTo>
                    <a:cubicBezTo>
                      <a:pt x="3303" y="4127"/>
                      <a:pt x="-1460" y="5080"/>
                      <a:pt x="446" y="7938"/>
                    </a:cubicBezTo>
                    <a:cubicBezTo>
                      <a:pt x="2350" y="10795"/>
                      <a:pt x="-1460" y="7938"/>
                      <a:pt x="2350" y="10795"/>
                    </a:cubicBezTo>
                    <a:cubicBezTo>
                      <a:pt x="7113" y="13652"/>
                      <a:pt x="7113" y="13652"/>
                      <a:pt x="7113" y="13652"/>
                    </a:cubicBezTo>
                    <a:cubicBezTo>
                      <a:pt x="7113" y="13652"/>
                      <a:pt x="9971" y="16510"/>
                      <a:pt x="8065" y="20320"/>
                    </a:cubicBezTo>
                    <a:cubicBezTo>
                      <a:pt x="6160" y="24130"/>
                      <a:pt x="-2412" y="32702"/>
                      <a:pt x="3303" y="33655"/>
                    </a:cubicBezTo>
                    <a:cubicBezTo>
                      <a:pt x="9018" y="35560"/>
                      <a:pt x="9018" y="32702"/>
                      <a:pt x="15685" y="32702"/>
                    </a:cubicBezTo>
                    <a:cubicBezTo>
                      <a:pt x="22353" y="33655"/>
                      <a:pt x="29973" y="31750"/>
                      <a:pt x="29973" y="31750"/>
                    </a:cubicBezTo>
                    <a:cubicBezTo>
                      <a:pt x="29973" y="31750"/>
                      <a:pt x="31878" y="27940"/>
                      <a:pt x="35688" y="29845"/>
                    </a:cubicBezTo>
                    <a:cubicBezTo>
                      <a:pt x="38546" y="31750"/>
                      <a:pt x="43308" y="31750"/>
                      <a:pt x="43308" y="31750"/>
                    </a:cubicBezTo>
                    <a:cubicBezTo>
                      <a:pt x="43308" y="31750"/>
                      <a:pt x="43308" y="34607"/>
                      <a:pt x="48071" y="31750"/>
                    </a:cubicBezTo>
                    <a:cubicBezTo>
                      <a:pt x="52833" y="28893"/>
                      <a:pt x="52833" y="24130"/>
                      <a:pt x="52833" y="24130"/>
                    </a:cubicBezTo>
                    <a:cubicBezTo>
                      <a:pt x="52833" y="24130"/>
                      <a:pt x="57596" y="18415"/>
                      <a:pt x="52833" y="16510"/>
                    </a:cubicBezTo>
                    <a:cubicBezTo>
                      <a:pt x="48071" y="14605"/>
                      <a:pt x="52833" y="13652"/>
                      <a:pt x="44260" y="13652"/>
                    </a:cubicBezTo>
                    <a:cubicBezTo>
                      <a:pt x="35688" y="13652"/>
                      <a:pt x="30925" y="14605"/>
                      <a:pt x="30925" y="14605"/>
                    </a:cubicBezTo>
                    <a:lnTo>
                      <a:pt x="26163" y="6985"/>
                    </a:lnTo>
                    <a:close/>
                  </a:path>
                </a:pathLst>
              </a:custGeom>
              <a:grpFill/>
              <a:ln w="9525" cap="flat">
                <a:noFill/>
                <a:prstDash val="solid"/>
                <a:miter/>
              </a:ln>
            </p:spPr>
            <p:txBody>
              <a:bodyPr rtlCol="0" anchor="ctr"/>
              <a:lstStyle/>
              <a:p>
                <a:endParaRPr lang="en-US" sz="1765"/>
              </a:p>
            </p:txBody>
          </p:sp>
          <p:sp>
            <p:nvSpPr>
              <p:cNvPr id="204" name="Freeform: Shape 203">
                <a:extLst>
                  <a:ext uri="{FF2B5EF4-FFF2-40B4-BE49-F238E27FC236}">
                    <a16:creationId xmlns:a16="http://schemas.microsoft.com/office/drawing/2014/main" id="{C72EFB9C-044F-4C34-8C83-C3E9FDD70D6F}"/>
                  </a:ext>
                </a:extLst>
              </p:cNvPr>
              <p:cNvSpPr/>
              <p:nvPr/>
            </p:nvSpPr>
            <p:spPr>
              <a:xfrm>
                <a:off x="9276426" y="2869611"/>
                <a:ext cx="103883" cy="23812"/>
              </a:xfrm>
              <a:custGeom>
                <a:avLst/>
                <a:gdLst>
                  <a:gd name="connsiteX0" fmla="*/ 94297 w 103883"/>
                  <a:gd name="connsiteY0" fmla="*/ 17145 h 23812"/>
                  <a:gd name="connsiteX1" fmla="*/ 82868 w 103883"/>
                  <a:gd name="connsiteY1" fmla="*/ 20955 h 23812"/>
                  <a:gd name="connsiteX2" fmla="*/ 61913 w 103883"/>
                  <a:gd name="connsiteY2" fmla="*/ 20955 h 23812"/>
                  <a:gd name="connsiteX3" fmla="*/ 53340 w 103883"/>
                  <a:gd name="connsiteY3" fmla="*/ 20955 h 23812"/>
                  <a:gd name="connsiteX4" fmla="*/ 44768 w 103883"/>
                  <a:gd name="connsiteY4" fmla="*/ 21908 h 23812"/>
                  <a:gd name="connsiteX5" fmla="*/ 32385 w 103883"/>
                  <a:gd name="connsiteY5" fmla="*/ 22860 h 23812"/>
                  <a:gd name="connsiteX6" fmla="*/ 22860 w 103883"/>
                  <a:gd name="connsiteY6" fmla="*/ 23813 h 23812"/>
                  <a:gd name="connsiteX7" fmla="*/ 10478 w 103883"/>
                  <a:gd name="connsiteY7" fmla="*/ 21908 h 23812"/>
                  <a:gd name="connsiteX8" fmla="*/ 4763 w 103883"/>
                  <a:gd name="connsiteY8" fmla="*/ 20002 h 23812"/>
                  <a:gd name="connsiteX9" fmla="*/ 0 w 103883"/>
                  <a:gd name="connsiteY9" fmla="*/ 18097 h 23812"/>
                  <a:gd name="connsiteX10" fmla="*/ 1905 w 103883"/>
                  <a:gd name="connsiteY10" fmla="*/ 13335 h 23812"/>
                  <a:gd name="connsiteX11" fmla="*/ 7620 w 103883"/>
                  <a:gd name="connsiteY11" fmla="*/ 11430 h 23812"/>
                  <a:gd name="connsiteX12" fmla="*/ 12382 w 103883"/>
                  <a:gd name="connsiteY12" fmla="*/ 6667 h 23812"/>
                  <a:gd name="connsiteX13" fmla="*/ 30480 w 103883"/>
                  <a:gd name="connsiteY13" fmla="*/ 3810 h 23812"/>
                  <a:gd name="connsiteX14" fmla="*/ 46672 w 103883"/>
                  <a:gd name="connsiteY14" fmla="*/ 2858 h 23812"/>
                  <a:gd name="connsiteX15" fmla="*/ 66675 w 103883"/>
                  <a:gd name="connsiteY15" fmla="*/ 1905 h 23812"/>
                  <a:gd name="connsiteX16" fmla="*/ 80010 w 103883"/>
                  <a:gd name="connsiteY16" fmla="*/ 952 h 23812"/>
                  <a:gd name="connsiteX17" fmla="*/ 89535 w 103883"/>
                  <a:gd name="connsiteY17" fmla="*/ 0 h 23812"/>
                  <a:gd name="connsiteX18" fmla="*/ 101918 w 103883"/>
                  <a:gd name="connsiteY18" fmla="*/ 1905 h 23812"/>
                  <a:gd name="connsiteX19" fmla="*/ 103822 w 103883"/>
                  <a:gd name="connsiteY19" fmla="*/ 8572 h 23812"/>
                  <a:gd name="connsiteX20" fmla="*/ 94297 w 103883"/>
                  <a:gd name="connsiteY20" fmla="*/ 17145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883" h="23812">
                    <a:moveTo>
                      <a:pt x="94297" y="17145"/>
                    </a:moveTo>
                    <a:cubicBezTo>
                      <a:pt x="82868" y="20955"/>
                      <a:pt x="89535" y="20002"/>
                      <a:pt x="82868" y="20955"/>
                    </a:cubicBezTo>
                    <a:cubicBezTo>
                      <a:pt x="76200" y="21908"/>
                      <a:pt x="61913" y="20955"/>
                      <a:pt x="61913" y="20955"/>
                    </a:cubicBezTo>
                    <a:lnTo>
                      <a:pt x="53340" y="20955"/>
                    </a:lnTo>
                    <a:lnTo>
                      <a:pt x="44768" y="21908"/>
                    </a:lnTo>
                    <a:lnTo>
                      <a:pt x="32385" y="22860"/>
                    </a:lnTo>
                    <a:lnTo>
                      <a:pt x="22860" y="23813"/>
                    </a:lnTo>
                    <a:lnTo>
                      <a:pt x="10478" y="21908"/>
                    </a:lnTo>
                    <a:lnTo>
                      <a:pt x="4763" y="20002"/>
                    </a:lnTo>
                    <a:lnTo>
                      <a:pt x="0" y="18097"/>
                    </a:lnTo>
                    <a:lnTo>
                      <a:pt x="1905" y="13335"/>
                    </a:lnTo>
                    <a:cubicBezTo>
                      <a:pt x="7620" y="11430"/>
                      <a:pt x="7620" y="11430"/>
                      <a:pt x="7620" y="11430"/>
                    </a:cubicBezTo>
                    <a:cubicBezTo>
                      <a:pt x="7620" y="11430"/>
                      <a:pt x="-953" y="8572"/>
                      <a:pt x="12382" y="6667"/>
                    </a:cubicBezTo>
                    <a:cubicBezTo>
                      <a:pt x="25718" y="4763"/>
                      <a:pt x="26670" y="3810"/>
                      <a:pt x="30480" y="3810"/>
                    </a:cubicBezTo>
                    <a:cubicBezTo>
                      <a:pt x="33338" y="3810"/>
                      <a:pt x="42863" y="1905"/>
                      <a:pt x="46672" y="2858"/>
                    </a:cubicBezTo>
                    <a:cubicBezTo>
                      <a:pt x="51435" y="3810"/>
                      <a:pt x="66675" y="1905"/>
                      <a:pt x="66675" y="1905"/>
                    </a:cubicBezTo>
                    <a:lnTo>
                      <a:pt x="80010" y="952"/>
                    </a:lnTo>
                    <a:cubicBezTo>
                      <a:pt x="80010" y="952"/>
                      <a:pt x="86678" y="0"/>
                      <a:pt x="89535" y="0"/>
                    </a:cubicBezTo>
                    <a:cubicBezTo>
                      <a:pt x="92393" y="0"/>
                      <a:pt x="101918" y="1905"/>
                      <a:pt x="101918" y="1905"/>
                    </a:cubicBezTo>
                    <a:cubicBezTo>
                      <a:pt x="101918" y="1905"/>
                      <a:pt x="103822" y="3810"/>
                      <a:pt x="103822" y="8572"/>
                    </a:cubicBezTo>
                    <a:cubicBezTo>
                      <a:pt x="104775" y="12383"/>
                      <a:pt x="94297" y="17145"/>
                      <a:pt x="94297" y="17145"/>
                    </a:cubicBezTo>
                    <a:close/>
                  </a:path>
                </a:pathLst>
              </a:custGeom>
              <a:grpFill/>
              <a:ln w="9525" cap="flat">
                <a:noFill/>
                <a:prstDash val="solid"/>
                <a:miter/>
              </a:ln>
            </p:spPr>
            <p:txBody>
              <a:bodyPr rtlCol="0" anchor="ctr"/>
              <a:lstStyle/>
              <a:p>
                <a:endParaRPr lang="en-US" sz="1765"/>
              </a:p>
            </p:txBody>
          </p:sp>
          <p:sp>
            <p:nvSpPr>
              <p:cNvPr id="205" name="Freeform: Shape 204">
                <a:extLst>
                  <a:ext uri="{FF2B5EF4-FFF2-40B4-BE49-F238E27FC236}">
                    <a16:creationId xmlns:a16="http://schemas.microsoft.com/office/drawing/2014/main" id="{B590F886-41C8-4949-813B-21C89DB20578}"/>
                  </a:ext>
                </a:extLst>
              </p:cNvPr>
              <p:cNvSpPr/>
              <p:nvPr/>
            </p:nvSpPr>
            <p:spPr>
              <a:xfrm>
                <a:off x="9131646" y="2973963"/>
                <a:ext cx="307657" cy="137583"/>
              </a:xfrm>
              <a:custGeom>
                <a:avLst/>
                <a:gdLst>
                  <a:gd name="connsiteX0" fmla="*/ 307658 w 307657"/>
                  <a:gd name="connsiteY0" fmla="*/ 7091 h 137583"/>
                  <a:gd name="connsiteX1" fmla="*/ 303848 w 307657"/>
                  <a:gd name="connsiteY1" fmla="*/ 12806 h 137583"/>
                  <a:gd name="connsiteX2" fmla="*/ 296228 w 307657"/>
                  <a:gd name="connsiteY2" fmla="*/ 16616 h 137583"/>
                  <a:gd name="connsiteX3" fmla="*/ 269558 w 307657"/>
                  <a:gd name="connsiteY3" fmla="*/ 18521 h 137583"/>
                  <a:gd name="connsiteX4" fmla="*/ 261938 w 307657"/>
                  <a:gd name="connsiteY4" fmla="*/ 18521 h 137583"/>
                  <a:gd name="connsiteX5" fmla="*/ 252413 w 307657"/>
                  <a:gd name="connsiteY5" fmla="*/ 19473 h 137583"/>
                  <a:gd name="connsiteX6" fmla="*/ 243840 w 307657"/>
                  <a:gd name="connsiteY6" fmla="*/ 21378 h 137583"/>
                  <a:gd name="connsiteX7" fmla="*/ 239078 w 307657"/>
                  <a:gd name="connsiteY7" fmla="*/ 25188 h 137583"/>
                  <a:gd name="connsiteX8" fmla="*/ 232410 w 307657"/>
                  <a:gd name="connsiteY8" fmla="*/ 28998 h 137583"/>
                  <a:gd name="connsiteX9" fmla="*/ 210503 w 307657"/>
                  <a:gd name="connsiteY9" fmla="*/ 29951 h 137583"/>
                  <a:gd name="connsiteX10" fmla="*/ 182880 w 307657"/>
                  <a:gd name="connsiteY10" fmla="*/ 30903 h 137583"/>
                  <a:gd name="connsiteX11" fmla="*/ 171450 w 307657"/>
                  <a:gd name="connsiteY11" fmla="*/ 34713 h 137583"/>
                  <a:gd name="connsiteX12" fmla="*/ 159068 w 307657"/>
                  <a:gd name="connsiteY12" fmla="*/ 41381 h 137583"/>
                  <a:gd name="connsiteX13" fmla="*/ 141923 w 307657"/>
                  <a:gd name="connsiteY13" fmla="*/ 55668 h 137583"/>
                  <a:gd name="connsiteX14" fmla="*/ 135255 w 307657"/>
                  <a:gd name="connsiteY14" fmla="*/ 58526 h 137583"/>
                  <a:gd name="connsiteX15" fmla="*/ 125730 w 307657"/>
                  <a:gd name="connsiteY15" fmla="*/ 62336 h 137583"/>
                  <a:gd name="connsiteX16" fmla="*/ 110490 w 307657"/>
                  <a:gd name="connsiteY16" fmla="*/ 69956 h 137583"/>
                  <a:gd name="connsiteX17" fmla="*/ 100013 w 307657"/>
                  <a:gd name="connsiteY17" fmla="*/ 74718 h 137583"/>
                  <a:gd name="connsiteX18" fmla="*/ 93345 w 307657"/>
                  <a:gd name="connsiteY18" fmla="*/ 76623 h 137583"/>
                  <a:gd name="connsiteX19" fmla="*/ 86678 w 307657"/>
                  <a:gd name="connsiteY19" fmla="*/ 78528 h 137583"/>
                  <a:gd name="connsiteX20" fmla="*/ 80010 w 307657"/>
                  <a:gd name="connsiteY20" fmla="*/ 83291 h 137583"/>
                  <a:gd name="connsiteX21" fmla="*/ 74295 w 307657"/>
                  <a:gd name="connsiteY21" fmla="*/ 87101 h 137583"/>
                  <a:gd name="connsiteX22" fmla="*/ 69533 w 307657"/>
                  <a:gd name="connsiteY22" fmla="*/ 91863 h 137583"/>
                  <a:gd name="connsiteX23" fmla="*/ 68580 w 307657"/>
                  <a:gd name="connsiteY23" fmla="*/ 104246 h 137583"/>
                  <a:gd name="connsiteX24" fmla="*/ 70485 w 307657"/>
                  <a:gd name="connsiteY24" fmla="*/ 110913 h 137583"/>
                  <a:gd name="connsiteX25" fmla="*/ 83820 w 307657"/>
                  <a:gd name="connsiteY25" fmla="*/ 118533 h 137583"/>
                  <a:gd name="connsiteX26" fmla="*/ 87630 w 307657"/>
                  <a:gd name="connsiteY26" fmla="*/ 128058 h 137583"/>
                  <a:gd name="connsiteX27" fmla="*/ 90488 w 307657"/>
                  <a:gd name="connsiteY27" fmla="*/ 129963 h 137583"/>
                  <a:gd name="connsiteX28" fmla="*/ 89535 w 307657"/>
                  <a:gd name="connsiteY28" fmla="*/ 134726 h 137583"/>
                  <a:gd name="connsiteX29" fmla="*/ 80010 w 307657"/>
                  <a:gd name="connsiteY29" fmla="*/ 136631 h 137583"/>
                  <a:gd name="connsiteX30" fmla="*/ 71438 w 307657"/>
                  <a:gd name="connsiteY30" fmla="*/ 137583 h 137583"/>
                  <a:gd name="connsiteX31" fmla="*/ 56198 w 307657"/>
                  <a:gd name="connsiteY31" fmla="*/ 135678 h 137583"/>
                  <a:gd name="connsiteX32" fmla="*/ 36195 w 307657"/>
                  <a:gd name="connsiteY32" fmla="*/ 128058 h 137583"/>
                  <a:gd name="connsiteX33" fmla="*/ 20955 w 307657"/>
                  <a:gd name="connsiteY33" fmla="*/ 125201 h 137583"/>
                  <a:gd name="connsiteX34" fmla="*/ 11430 w 307657"/>
                  <a:gd name="connsiteY34" fmla="*/ 125201 h 137583"/>
                  <a:gd name="connsiteX35" fmla="*/ 4763 w 307657"/>
                  <a:gd name="connsiteY35" fmla="*/ 123296 h 137583"/>
                  <a:gd name="connsiteX36" fmla="*/ 3810 w 307657"/>
                  <a:gd name="connsiteY36" fmla="*/ 120438 h 137583"/>
                  <a:gd name="connsiteX37" fmla="*/ 0 w 307657"/>
                  <a:gd name="connsiteY37" fmla="*/ 105198 h 137583"/>
                  <a:gd name="connsiteX38" fmla="*/ 4763 w 307657"/>
                  <a:gd name="connsiteY38" fmla="*/ 98531 h 137583"/>
                  <a:gd name="connsiteX39" fmla="*/ 11430 w 307657"/>
                  <a:gd name="connsiteY39" fmla="*/ 92816 h 137583"/>
                  <a:gd name="connsiteX40" fmla="*/ 19050 w 307657"/>
                  <a:gd name="connsiteY40" fmla="*/ 89006 h 137583"/>
                  <a:gd name="connsiteX41" fmla="*/ 23813 w 307657"/>
                  <a:gd name="connsiteY41" fmla="*/ 88053 h 137583"/>
                  <a:gd name="connsiteX42" fmla="*/ 47625 w 307657"/>
                  <a:gd name="connsiteY42" fmla="*/ 75671 h 137583"/>
                  <a:gd name="connsiteX43" fmla="*/ 60008 w 307657"/>
                  <a:gd name="connsiteY43" fmla="*/ 67098 h 137583"/>
                  <a:gd name="connsiteX44" fmla="*/ 71438 w 307657"/>
                  <a:gd name="connsiteY44" fmla="*/ 50906 h 137583"/>
                  <a:gd name="connsiteX45" fmla="*/ 80010 w 307657"/>
                  <a:gd name="connsiteY45" fmla="*/ 45191 h 137583"/>
                  <a:gd name="connsiteX46" fmla="*/ 90488 w 307657"/>
                  <a:gd name="connsiteY46" fmla="*/ 40428 h 137583"/>
                  <a:gd name="connsiteX47" fmla="*/ 98108 w 307657"/>
                  <a:gd name="connsiteY47" fmla="*/ 40428 h 137583"/>
                  <a:gd name="connsiteX48" fmla="*/ 112395 w 307657"/>
                  <a:gd name="connsiteY48" fmla="*/ 35666 h 137583"/>
                  <a:gd name="connsiteX49" fmla="*/ 121920 w 307657"/>
                  <a:gd name="connsiteY49" fmla="*/ 32808 h 137583"/>
                  <a:gd name="connsiteX50" fmla="*/ 137160 w 307657"/>
                  <a:gd name="connsiteY50" fmla="*/ 26141 h 137583"/>
                  <a:gd name="connsiteX51" fmla="*/ 148590 w 307657"/>
                  <a:gd name="connsiteY51" fmla="*/ 22331 h 137583"/>
                  <a:gd name="connsiteX52" fmla="*/ 157163 w 307657"/>
                  <a:gd name="connsiteY52" fmla="*/ 20426 h 137583"/>
                  <a:gd name="connsiteX53" fmla="*/ 171450 w 307657"/>
                  <a:gd name="connsiteY53" fmla="*/ 18521 h 137583"/>
                  <a:gd name="connsiteX54" fmla="*/ 183833 w 307657"/>
                  <a:gd name="connsiteY54" fmla="*/ 18521 h 137583"/>
                  <a:gd name="connsiteX55" fmla="*/ 208598 w 307657"/>
                  <a:gd name="connsiteY55" fmla="*/ 15663 h 137583"/>
                  <a:gd name="connsiteX56" fmla="*/ 220980 w 307657"/>
                  <a:gd name="connsiteY56" fmla="*/ 11853 h 137583"/>
                  <a:gd name="connsiteX57" fmla="*/ 234315 w 307657"/>
                  <a:gd name="connsiteY57" fmla="*/ 8043 h 137583"/>
                  <a:gd name="connsiteX58" fmla="*/ 237173 w 307657"/>
                  <a:gd name="connsiteY58" fmla="*/ 7091 h 137583"/>
                  <a:gd name="connsiteX59" fmla="*/ 241935 w 307657"/>
                  <a:gd name="connsiteY59" fmla="*/ 3281 h 137583"/>
                  <a:gd name="connsiteX60" fmla="*/ 262890 w 307657"/>
                  <a:gd name="connsiteY60" fmla="*/ 3281 h 137583"/>
                  <a:gd name="connsiteX61" fmla="*/ 268605 w 307657"/>
                  <a:gd name="connsiteY61" fmla="*/ 2328 h 137583"/>
                  <a:gd name="connsiteX62" fmla="*/ 293370 w 307657"/>
                  <a:gd name="connsiteY62" fmla="*/ 423 h 137583"/>
                  <a:gd name="connsiteX63" fmla="*/ 300990 w 307657"/>
                  <a:gd name="connsiteY63" fmla="*/ 423 h 137583"/>
                  <a:gd name="connsiteX64" fmla="*/ 307658 w 307657"/>
                  <a:gd name="connsiteY64" fmla="*/ 7091 h 13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07657" h="137583">
                    <a:moveTo>
                      <a:pt x="307658" y="7091"/>
                    </a:moveTo>
                    <a:cubicBezTo>
                      <a:pt x="307658" y="8996"/>
                      <a:pt x="303848" y="12806"/>
                      <a:pt x="303848" y="12806"/>
                    </a:cubicBezTo>
                    <a:cubicBezTo>
                      <a:pt x="303848" y="12806"/>
                      <a:pt x="302895" y="14711"/>
                      <a:pt x="296228" y="16616"/>
                    </a:cubicBezTo>
                    <a:cubicBezTo>
                      <a:pt x="289560" y="18521"/>
                      <a:pt x="269558" y="18521"/>
                      <a:pt x="269558" y="18521"/>
                    </a:cubicBezTo>
                    <a:lnTo>
                      <a:pt x="261938" y="18521"/>
                    </a:lnTo>
                    <a:lnTo>
                      <a:pt x="252413" y="19473"/>
                    </a:lnTo>
                    <a:cubicBezTo>
                      <a:pt x="252413" y="19473"/>
                      <a:pt x="247650" y="17568"/>
                      <a:pt x="243840" y="21378"/>
                    </a:cubicBezTo>
                    <a:cubicBezTo>
                      <a:pt x="239078" y="25188"/>
                      <a:pt x="239078" y="25188"/>
                      <a:pt x="239078" y="25188"/>
                    </a:cubicBezTo>
                    <a:lnTo>
                      <a:pt x="232410" y="28998"/>
                    </a:lnTo>
                    <a:cubicBezTo>
                      <a:pt x="232410" y="28998"/>
                      <a:pt x="213360" y="29951"/>
                      <a:pt x="210503" y="29951"/>
                    </a:cubicBezTo>
                    <a:cubicBezTo>
                      <a:pt x="207645" y="29951"/>
                      <a:pt x="182880" y="30903"/>
                      <a:pt x="182880" y="30903"/>
                    </a:cubicBezTo>
                    <a:lnTo>
                      <a:pt x="171450" y="34713"/>
                    </a:lnTo>
                    <a:lnTo>
                      <a:pt x="159068" y="41381"/>
                    </a:lnTo>
                    <a:cubicBezTo>
                      <a:pt x="159068" y="41381"/>
                      <a:pt x="144780" y="53763"/>
                      <a:pt x="141923" y="55668"/>
                    </a:cubicBezTo>
                    <a:cubicBezTo>
                      <a:pt x="140018" y="57573"/>
                      <a:pt x="137160" y="56621"/>
                      <a:pt x="135255" y="58526"/>
                    </a:cubicBezTo>
                    <a:cubicBezTo>
                      <a:pt x="133350" y="60431"/>
                      <a:pt x="126683" y="59478"/>
                      <a:pt x="125730" y="62336"/>
                    </a:cubicBezTo>
                    <a:cubicBezTo>
                      <a:pt x="124778" y="65193"/>
                      <a:pt x="111443" y="68051"/>
                      <a:pt x="110490" y="69956"/>
                    </a:cubicBezTo>
                    <a:cubicBezTo>
                      <a:pt x="109538" y="71861"/>
                      <a:pt x="100013" y="74718"/>
                      <a:pt x="100013" y="74718"/>
                    </a:cubicBezTo>
                    <a:lnTo>
                      <a:pt x="93345" y="76623"/>
                    </a:lnTo>
                    <a:cubicBezTo>
                      <a:pt x="93345" y="76623"/>
                      <a:pt x="88583" y="75671"/>
                      <a:pt x="86678" y="78528"/>
                    </a:cubicBezTo>
                    <a:cubicBezTo>
                      <a:pt x="84773" y="81386"/>
                      <a:pt x="85725" y="79481"/>
                      <a:pt x="80010" y="83291"/>
                    </a:cubicBezTo>
                    <a:cubicBezTo>
                      <a:pt x="74295" y="87101"/>
                      <a:pt x="79058" y="82338"/>
                      <a:pt x="74295" y="87101"/>
                    </a:cubicBezTo>
                    <a:cubicBezTo>
                      <a:pt x="69533" y="91863"/>
                      <a:pt x="73343" y="86148"/>
                      <a:pt x="69533" y="91863"/>
                    </a:cubicBezTo>
                    <a:cubicBezTo>
                      <a:pt x="65723" y="98531"/>
                      <a:pt x="65723" y="97578"/>
                      <a:pt x="68580" y="104246"/>
                    </a:cubicBezTo>
                    <a:cubicBezTo>
                      <a:pt x="70485" y="110913"/>
                      <a:pt x="70485" y="110913"/>
                      <a:pt x="70485" y="110913"/>
                    </a:cubicBezTo>
                    <a:lnTo>
                      <a:pt x="83820" y="118533"/>
                    </a:lnTo>
                    <a:cubicBezTo>
                      <a:pt x="83820" y="118533"/>
                      <a:pt x="84773" y="126153"/>
                      <a:pt x="87630" y="128058"/>
                    </a:cubicBezTo>
                    <a:cubicBezTo>
                      <a:pt x="90488" y="129963"/>
                      <a:pt x="89535" y="128058"/>
                      <a:pt x="90488" y="129963"/>
                    </a:cubicBezTo>
                    <a:cubicBezTo>
                      <a:pt x="91440" y="130916"/>
                      <a:pt x="89535" y="134726"/>
                      <a:pt x="89535" y="134726"/>
                    </a:cubicBezTo>
                    <a:lnTo>
                      <a:pt x="80010" y="136631"/>
                    </a:lnTo>
                    <a:lnTo>
                      <a:pt x="71438" y="137583"/>
                    </a:lnTo>
                    <a:lnTo>
                      <a:pt x="56198" y="135678"/>
                    </a:lnTo>
                    <a:lnTo>
                      <a:pt x="36195" y="128058"/>
                    </a:lnTo>
                    <a:cubicBezTo>
                      <a:pt x="30480" y="125201"/>
                      <a:pt x="26670" y="125201"/>
                      <a:pt x="20955" y="125201"/>
                    </a:cubicBezTo>
                    <a:cubicBezTo>
                      <a:pt x="15240" y="125201"/>
                      <a:pt x="11430" y="125201"/>
                      <a:pt x="11430" y="125201"/>
                    </a:cubicBezTo>
                    <a:lnTo>
                      <a:pt x="4763" y="123296"/>
                    </a:lnTo>
                    <a:cubicBezTo>
                      <a:pt x="4763" y="123296"/>
                      <a:pt x="6668" y="129963"/>
                      <a:pt x="3810" y="120438"/>
                    </a:cubicBezTo>
                    <a:cubicBezTo>
                      <a:pt x="953" y="110913"/>
                      <a:pt x="0" y="105198"/>
                      <a:pt x="0" y="105198"/>
                    </a:cubicBezTo>
                    <a:cubicBezTo>
                      <a:pt x="0" y="105198"/>
                      <a:pt x="953" y="98531"/>
                      <a:pt x="4763" y="98531"/>
                    </a:cubicBezTo>
                    <a:cubicBezTo>
                      <a:pt x="7620" y="98531"/>
                      <a:pt x="8573" y="92816"/>
                      <a:pt x="11430" y="92816"/>
                    </a:cubicBezTo>
                    <a:cubicBezTo>
                      <a:pt x="14288" y="92816"/>
                      <a:pt x="14288" y="90911"/>
                      <a:pt x="19050" y="89006"/>
                    </a:cubicBezTo>
                    <a:cubicBezTo>
                      <a:pt x="23813" y="88053"/>
                      <a:pt x="14288" y="89958"/>
                      <a:pt x="23813" y="88053"/>
                    </a:cubicBezTo>
                    <a:cubicBezTo>
                      <a:pt x="32385" y="85196"/>
                      <a:pt x="40958" y="78528"/>
                      <a:pt x="47625" y="75671"/>
                    </a:cubicBezTo>
                    <a:cubicBezTo>
                      <a:pt x="54293" y="72813"/>
                      <a:pt x="55245" y="69003"/>
                      <a:pt x="60008" y="67098"/>
                    </a:cubicBezTo>
                    <a:cubicBezTo>
                      <a:pt x="64770" y="65193"/>
                      <a:pt x="71438" y="50906"/>
                      <a:pt x="71438" y="50906"/>
                    </a:cubicBezTo>
                    <a:cubicBezTo>
                      <a:pt x="71438" y="50906"/>
                      <a:pt x="76200" y="47096"/>
                      <a:pt x="80010" y="45191"/>
                    </a:cubicBezTo>
                    <a:cubicBezTo>
                      <a:pt x="84773" y="43286"/>
                      <a:pt x="81915" y="40428"/>
                      <a:pt x="90488" y="40428"/>
                    </a:cubicBezTo>
                    <a:cubicBezTo>
                      <a:pt x="98108" y="40428"/>
                      <a:pt x="90488" y="43286"/>
                      <a:pt x="98108" y="40428"/>
                    </a:cubicBezTo>
                    <a:cubicBezTo>
                      <a:pt x="105728" y="37571"/>
                      <a:pt x="112395" y="35666"/>
                      <a:pt x="112395" y="35666"/>
                    </a:cubicBezTo>
                    <a:lnTo>
                      <a:pt x="121920" y="32808"/>
                    </a:lnTo>
                    <a:cubicBezTo>
                      <a:pt x="121920" y="32808"/>
                      <a:pt x="132398" y="26141"/>
                      <a:pt x="137160" y="26141"/>
                    </a:cubicBezTo>
                    <a:cubicBezTo>
                      <a:pt x="142875" y="25188"/>
                      <a:pt x="144780" y="24236"/>
                      <a:pt x="148590" y="22331"/>
                    </a:cubicBezTo>
                    <a:cubicBezTo>
                      <a:pt x="151448" y="21378"/>
                      <a:pt x="154305" y="20426"/>
                      <a:pt x="157163" y="20426"/>
                    </a:cubicBezTo>
                    <a:cubicBezTo>
                      <a:pt x="160020" y="20426"/>
                      <a:pt x="168593" y="17568"/>
                      <a:pt x="171450" y="18521"/>
                    </a:cubicBezTo>
                    <a:cubicBezTo>
                      <a:pt x="174308" y="19473"/>
                      <a:pt x="183833" y="18521"/>
                      <a:pt x="183833" y="18521"/>
                    </a:cubicBezTo>
                    <a:cubicBezTo>
                      <a:pt x="183833" y="18521"/>
                      <a:pt x="203835" y="14711"/>
                      <a:pt x="208598" y="15663"/>
                    </a:cubicBezTo>
                    <a:cubicBezTo>
                      <a:pt x="213360" y="15663"/>
                      <a:pt x="215265" y="11853"/>
                      <a:pt x="220980" y="11853"/>
                    </a:cubicBezTo>
                    <a:cubicBezTo>
                      <a:pt x="226695" y="11853"/>
                      <a:pt x="230505" y="8043"/>
                      <a:pt x="234315" y="8043"/>
                    </a:cubicBezTo>
                    <a:cubicBezTo>
                      <a:pt x="237173" y="7091"/>
                      <a:pt x="237173" y="7091"/>
                      <a:pt x="237173" y="7091"/>
                    </a:cubicBezTo>
                    <a:lnTo>
                      <a:pt x="241935" y="3281"/>
                    </a:lnTo>
                    <a:lnTo>
                      <a:pt x="262890" y="3281"/>
                    </a:lnTo>
                    <a:lnTo>
                      <a:pt x="268605" y="2328"/>
                    </a:lnTo>
                    <a:lnTo>
                      <a:pt x="293370" y="423"/>
                    </a:lnTo>
                    <a:cubicBezTo>
                      <a:pt x="293370" y="423"/>
                      <a:pt x="296228" y="-529"/>
                      <a:pt x="300990" y="423"/>
                    </a:cubicBezTo>
                    <a:cubicBezTo>
                      <a:pt x="303848" y="423"/>
                      <a:pt x="307658" y="7091"/>
                      <a:pt x="307658" y="7091"/>
                    </a:cubicBezTo>
                    <a:close/>
                  </a:path>
                </a:pathLst>
              </a:custGeom>
              <a:grpFill/>
              <a:ln w="9525" cap="flat">
                <a:noFill/>
                <a:prstDash val="solid"/>
                <a:miter/>
              </a:ln>
            </p:spPr>
            <p:txBody>
              <a:bodyPr rtlCol="0" anchor="ctr"/>
              <a:lstStyle/>
              <a:p>
                <a:endParaRPr lang="en-US" sz="1765"/>
              </a:p>
            </p:txBody>
          </p:sp>
          <p:sp>
            <p:nvSpPr>
              <p:cNvPr id="206" name="Freeform: Shape 205">
                <a:extLst>
                  <a:ext uri="{FF2B5EF4-FFF2-40B4-BE49-F238E27FC236}">
                    <a16:creationId xmlns:a16="http://schemas.microsoft.com/office/drawing/2014/main" id="{26A1FBA5-D3FB-46BE-82C9-3ABAB179CDFE}"/>
                  </a:ext>
                </a:extLst>
              </p:cNvPr>
              <p:cNvSpPr/>
              <p:nvPr/>
            </p:nvSpPr>
            <p:spPr>
              <a:xfrm>
                <a:off x="9073544" y="3125834"/>
                <a:ext cx="28769" cy="20002"/>
              </a:xfrm>
              <a:custGeom>
                <a:avLst/>
                <a:gdLst>
                  <a:gd name="connsiteX0" fmla="*/ 26670 w 28769"/>
                  <a:gd name="connsiteY0" fmla="*/ 16193 h 20002"/>
                  <a:gd name="connsiteX1" fmla="*/ 18097 w 28769"/>
                  <a:gd name="connsiteY1" fmla="*/ 17145 h 20002"/>
                  <a:gd name="connsiteX2" fmla="*/ 9525 w 28769"/>
                  <a:gd name="connsiteY2" fmla="*/ 20002 h 20002"/>
                  <a:gd name="connsiteX3" fmla="*/ 952 w 28769"/>
                  <a:gd name="connsiteY3" fmla="*/ 18097 h 20002"/>
                  <a:gd name="connsiteX4" fmla="*/ 0 w 28769"/>
                  <a:gd name="connsiteY4" fmla="*/ 12382 h 20002"/>
                  <a:gd name="connsiteX5" fmla="*/ 1905 w 28769"/>
                  <a:gd name="connsiteY5" fmla="*/ 8572 h 20002"/>
                  <a:gd name="connsiteX6" fmla="*/ 5715 w 28769"/>
                  <a:gd name="connsiteY6" fmla="*/ 5715 h 20002"/>
                  <a:gd name="connsiteX7" fmla="*/ 6667 w 28769"/>
                  <a:gd name="connsiteY7" fmla="*/ 1905 h 20002"/>
                  <a:gd name="connsiteX8" fmla="*/ 16192 w 28769"/>
                  <a:gd name="connsiteY8" fmla="*/ 0 h 20002"/>
                  <a:gd name="connsiteX9" fmla="*/ 28575 w 28769"/>
                  <a:gd name="connsiteY9" fmla="*/ 3810 h 20002"/>
                  <a:gd name="connsiteX10" fmla="*/ 26670 w 28769"/>
                  <a:gd name="connsiteY10" fmla="*/ 16193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69" h="20002">
                    <a:moveTo>
                      <a:pt x="26670" y="16193"/>
                    </a:moveTo>
                    <a:cubicBezTo>
                      <a:pt x="26670" y="16193"/>
                      <a:pt x="26670" y="15240"/>
                      <a:pt x="18097" y="17145"/>
                    </a:cubicBezTo>
                    <a:cubicBezTo>
                      <a:pt x="9525" y="20002"/>
                      <a:pt x="9525" y="20002"/>
                      <a:pt x="9525" y="20002"/>
                    </a:cubicBezTo>
                    <a:lnTo>
                      <a:pt x="952" y="18097"/>
                    </a:lnTo>
                    <a:lnTo>
                      <a:pt x="0" y="12382"/>
                    </a:lnTo>
                    <a:lnTo>
                      <a:pt x="1905" y="8572"/>
                    </a:lnTo>
                    <a:lnTo>
                      <a:pt x="5715" y="5715"/>
                    </a:lnTo>
                    <a:cubicBezTo>
                      <a:pt x="5715" y="5715"/>
                      <a:pt x="2857" y="1905"/>
                      <a:pt x="6667" y="1905"/>
                    </a:cubicBezTo>
                    <a:cubicBezTo>
                      <a:pt x="11430" y="952"/>
                      <a:pt x="16192" y="0"/>
                      <a:pt x="16192" y="0"/>
                    </a:cubicBezTo>
                    <a:lnTo>
                      <a:pt x="28575" y="3810"/>
                    </a:lnTo>
                    <a:cubicBezTo>
                      <a:pt x="29527" y="6668"/>
                      <a:pt x="26670" y="16193"/>
                      <a:pt x="26670" y="16193"/>
                    </a:cubicBezTo>
                    <a:close/>
                  </a:path>
                </a:pathLst>
              </a:custGeom>
              <a:grpFill/>
              <a:ln w="9525" cap="flat">
                <a:noFill/>
                <a:prstDash val="solid"/>
                <a:miter/>
              </a:ln>
            </p:spPr>
            <p:txBody>
              <a:bodyPr rtlCol="0" anchor="ctr"/>
              <a:lstStyle/>
              <a:p>
                <a:endParaRPr lang="en-US" sz="1765"/>
              </a:p>
            </p:txBody>
          </p:sp>
          <p:sp>
            <p:nvSpPr>
              <p:cNvPr id="207" name="Freeform: Shape 206">
                <a:extLst>
                  <a:ext uri="{FF2B5EF4-FFF2-40B4-BE49-F238E27FC236}">
                    <a16:creationId xmlns:a16="http://schemas.microsoft.com/office/drawing/2014/main" id="{6CFA2EE3-7891-423C-AA32-7EEAA79C7300}"/>
                  </a:ext>
                </a:extLst>
              </p:cNvPr>
              <p:cNvSpPr/>
              <p:nvPr/>
            </p:nvSpPr>
            <p:spPr>
              <a:xfrm>
                <a:off x="9956437" y="2920199"/>
                <a:ext cx="107142" cy="38946"/>
              </a:xfrm>
              <a:custGeom>
                <a:avLst/>
                <a:gdLst>
                  <a:gd name="connsiteX0" fmla="*/ 102944 w 107142"/>
                  <a:gd name="connsiteY0" fmla="*/ 29422 h 38946"/>
                  <a:gd name="connsiteX1" fmla="*/ 86751 w 107142"/>
                  <a:gd name="connsiteY1" fmla="*/ 32279 h 38946"/>
                  <a:gd name="connsiteX2" fmla="*/ 68654 w 107142"/>
                  <a:gd name="connsiteY2" fmla="*/ 32279 h 38946"/>
                  <a:gd name="connsiteX3" fmla="*/ 53414 w 107142"/>
                  <a:gd name="connsiteY3" fmla="*/ 33232 h 38946"/>
                  <a:gd name="connsiteX4" fmla="*/ 38174 w 107142"/>
                  <a:gd name="connsiteY4" fmla="*/ 33232 h 38946"/>
                  <a:gd name="connsiteX5" fmla="*/ 24839 w 107142"/>
                  <a:gd name="connsiteY5" fmla="*/ 36089 h 38946"/>
                  <a:gd name="connsiteX6" fmla="*/ 16267 w 107142"/>
                  <a:gd name="connsiteY6" fmla="*/ 37042 h 38946"/>
                  <a:gd name="connsiteX7" fmla="*/ 7694 w 107142"/>
                  <a:gd name="connsiteY7" fmla="*/ 38947 h 38946"/>
                  <a:gd name="connsiteX8" fmla="*/ 74 w 107142"/>
                  <a:gd name="connsiteY8" fmla="*/ 35137 h 38946"/>
                  <a:gd name="connsiteX9" fmla="*/ 5789 w 107142"/>
                  <a:gd name="connsiteY9" fmla="*/ 27517 h 38946"/>
                  <a:gd name="connsiteX10" fmla="*/ 19124 w 107142"/>
                  <a:gd name="connsiteY10" fmla="*/ 22754 h 38946"/>
                  <a:gd name="connsiteX11" fmla="*/ 22934 w 107142"/>
                  <a:gd name="connsiteY11" fmla="*/ 14182 h 38946"/>
                  <a:gd name="connsiteX12" fmla="*/ 29601 w 107142"/>
                  <a:gd name="connsiteY12" fmla="*/ 10372 h 38946"/>
                  <a:gd name="connsiteX13" fmla="*/ 35317 w 107142"/>
                  <a:gd name="connsiteY13" fmla="*/ 8467 h 38946"/>
                  <a:gd name="connsiteX14" fmla="*/ 43889 w 107142"/>
                  <a:gd name="connsiteY14" fmla="*/ 2752 h 38946"/>
                  <a:gd name="connsiteX15" fmla="*/ 66749 w 107142"/>
                  <a:gd name="connsiteY15" fmla="*/ 847 h 38946"/>
                  <a:gd name="connsiteX16" fmla="*/ 73417 w 107142"/>
                  <a:gd name="connsiteY16" fmla="*/ 847 h 38946"/>
                  <a:gd name="connsiteX17" fmla="*/ 79132 w 107142"/>
                  <a:gd name="connsiteY17" fmla="*/ 2752 h 38946"/>
                  <a:gd name="connsiteX18" fmla="*/ 83894 w 107142"/>
                  <a:gd name="connsiteY18" fmla="*/ 7514 h 38946"/>
                  <a:gd name="connsiteX19" fmla="*/ 92467 w 107142"/>
                  <a:gd name="connsiteY19" fmla="*/ 12277 h 38946"/>
                  <a:gd name="connsiteX20" fmla="*/ 100086 w 107142"/>
                  <a:gd name="connsiteY20" fmla="*/ 14182 h 38946"/>
                  <a:gd name="connsiteX21" fmla="*/ 104849 w 107142"/>
                  <a:gd name="connsiteY21" fmla="*/ 17039 h 38946"/>
                  <a:gd name="connsiteX22" fmla="*/ 106754 w 107142"/>
                  <a:gd name="connsiteY22" fmla="*/ 20849 h 38946"/>
                  <a:gd name="connsiteX23" fmla="*/ 102944 w 107142"/>
                  <a:gd name="connsiteY23" fmla="*/ 29422 h 3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142" h="38946">
                    <a:moveTo>
                      <a:pt x="102944" y="29422"/>
                    </a:moveTo>
                    <a:lnTo>
                      <a:pt x="86751" y="32279"/>
                    </a:lnTo>
                    <a:lnTo>
                      <a:pt x="68654" y="32279"/>
                    </a:lnTo>
                    <a:lnTo>
                      <a:pt x="53414" y="33232"/>
                    </a:lnTo>
                    <a:cubicBezTo>
                      <a:pt x="53414" y="33232"/>
                      <a:pt x="38174" y="31327"/>
                      <a:pt x="38174" y="33232"/>
                    </a:cubicBezTo>
                    <a:cubicBezTo>
                      <a:pt x="38174" y="35137"/>
                      <a:pt x="29601" y="34184"/>
                      <a:pt x="24839" y="36089"/>
                    </a:cubicBezTo>
                    <a:cubicBezTo>
                      <a:pt x="20076" y="37994"/>
                      <a:pt x="18171" y="35137"/>
                      <a:pt x="16267" y="37042"/>
                    </a:cubicBezTo>
                    <a:cubicBezTo>
                      <a:pt x="14361" y="38947"/>
                      <a:pt x="7694" y="38947"/>
                      <a:pt x="7694" y="38947"/>
                    </a:cubicBezTo>
                    <a:cubicBezTo>
                      <a:pt x="7694" y="38947"/>
                      <a:pt x="-879" y="37994"/>
                      <a:pt x="74" y="35137"/>
                    </a:cubicBezTo>
                    <a:cubicBezTo>
                      <a:pt x="1026" y="32279"/>
                      <a:pt x="1979" y="29422"/>
                      <a:pt x="5789" y="27517"/>
                    </a:cubicBezTo>
                    <a:cubicBezTo>
                      <a:pt x="9599" y="25612"/>
                      <a:pt x="19124" y="22754"/>
                      <a:pt x="19124" y="22754"/>
                    </a:cubicBezTo>
                    <a:lnTo>
                      <a:pt x="22934" y="14182"/>
                    </a:lnTo>
                    <a:lnTo>
                      <a:pt x="29601" y="10372"/>
                    </a:lnTo>
                    <a:lnTo>
                      <a:pt x="35317" y="8467"/>
                    </a:lnTo>
                    <a:cubicBezTo>
                      <a:pt x="35317" y="8467"/>
                      <a:pt x="34364" y="4657"/>
                      <a:pt x="43889" y="2752"/>
                    </a:cubicBezTo>
                    <a:cubicBezTo>
                      <a:pt x="53414" y="1799"/>
                      <a:pt x="66749" y="847"/>
                      <a:pt x="66749" y="847"/>
                    </a:cubicBezTo>
                    <a:cubicBezTo>
                      <a:pt x="66749" y="847"/>
                      <a:pt x="67701" y="-1058"/>
                      <a:pt x="73417" y="847"/>
                    </a:cubicBezTo>
                    <a:cubicBezTo>
                      <a:pt x="79132" y="2752"/>
                      <a:pt x="74369" y="-1058"/>
                      <a:pt x="79132" y="2752"/>
                    </a:cubicBezTo>
                    <a:cubicBezTo>
                      <a:pt x="83894" y="7514"/>
                      <a:pt x="83894" y="7514"/>
                      <a:pt x="83894" y="7514"/>
                    </a:cubicBezTo>
                    <a:lnTo>
                      <a:pt x="92467" y="12277"/>
                    </a:lnTo>
                    <a:lnTo>
                      <a:pt x="100086" y="14182"/>
                    </a:lnTo>
                    <a:lnTo>
                      <a:pt x="104849" y="17039"/>
                    </a:lnTo>
                    <a:cubicBezTo>
                      <a:pt x="104849" y="17039"/>
                      <a:pt x="103896" y="13229"/>
                      <a:pt x="106754" y="20849"/>
                    </a:cubicBezTo>
                    <a:cubicBezTo>
                      <a:pt x="108659" y="27517"/>
                      <a:pt x="102944" y="29422"/>
                      <a:pt x="102944" y="29422"/>
                    </a:cubicBezTo>
                    <a:close/>
                  </a:path>
                </a:pathLst>
              </a:custGeom>
              <a:grpFill/>
              <a:ln w="9525" cap="flat">
                <a:noFill/>
                <a:prstDash val="solid"/>
                <a:miter/>
              </a:ln>
            </p:spPr>
            <p:txBody>
              <a:bodyPr rtlCol="0" anchor="ctr"/>
              <a:lstStyle/>
              <a:p>
                <a:endParaRPr lang="en-US" sz="1765"/>
              </a:p>
            </p:txBody>
          </p:sp>
          <p:sp>
            <p:nvSpPr>
              <p:cNvPr id="208" name="Freeform: Shape 207">
                <a:extLst>
                  <a:ext uri="{FF2B5EF4-FFF2-40B4-BE49-F238E27FC236}">
                    <a16:creationId xmlns:a16="http://schemas.microsoft.com/office/drawing/2014/main" id="{27CA3436-B0B0-4725-956C-40D344FF2468}"/>
                  </a:ext>
                </a:extLst>
              </p:cNvPr>
              <p:cNvSpPr/>
              <p:nvPr/>
            </p:nvSpPr>
            <p:spPr>
              <a:xfrm>
                <a:off x="9831581" y="2868658"/>
                <a:ext cx="121119" cy="65193"/>
              </a:xfrm>
              <a:custGeom>
                <a:avLst/>
                <a:gdLst>
                  <a:gd name="connsiteX0" fmla="*/ 114452 w 121119"/>
                  <a:gd name="connsiteY0" fmla="*/ 63818 h 65193"/>
                  <a:gd name="connsiteX1" fmla="*/ 94450 w 121119"/>
                  <a:gd name="connsiteY1" fmla="*/ 64770 h 65193"/>
                  <a:gd name="connsiteX2" fmla="*/ 79210 w 121119"/>
                  <a:gd name="connsiteY2" fmla="*/ 64770 h 65193"/>
                  <a:gd name="connsiteX3" fmla="*/ 65875 w 121119"/>
                  <a:gd name="connsiteY3" fmla="*/ 64770 h 65193"/>
                  <a:gd name="connsiteX4" fmla="*/ 58255 w 121119"/>
                  <a:gd name="connsiteY4" fmla="*/ 63818 h 65193"/>
                  <a:gd name="connsiteX5" fmla="*/ 44920 w 121119"/>
                  <a:gd name="connsiteY5" fmla="*/ 63818 h 65193"/>
                  <a:gd name="connsiteX6" fmla="*/ 39205 w 121119"/>
                  <a:gd name="connsiteY6" fmla="*/ 63818 h 65193"/>
                  <a:gd name="connsiteX7" fmla="*/ 36348 w 121119"/>
                  <a:gd name="connsiteY7" fmla="*/ 60960 h 65193"/>
                  <a:gd name="connsiteX8" fmla="*/ 33490 w 121119"/>
                  <a:gd name="connsiteY8" fmla="*/ 55245 h 65193"/>
                  <a:gd name="connsiteX9" fmla="*/ 33490 w 121119"/>
                  <a:gd name="connsiteY9" fmla="*/ 51435 h 65193"/>
                  <a:gd name="connsiteX10" fmla="*/ 37300 w 121119"/>
                  <a:gd name="connsiteY10" fmla="*/ 45720 h 65193"/>
                  <a:gd name="connsiteX11" fmla="*/ 41110 w 121119"/>
                  <a:gd name="connsiteY11" fmla="*/ 40958 h 65193"/>
                  <a:gd name="connsiteX12" fmla="*/ 41110 w 121119"/>
                  <a:gd name="connsiteY12" fmla="*/ 37148 h 65193"/>
                  <a:gd name="connsiteX13" fmla="*/ 33490 w 121119"/>
                  <a:gd name="connsiteY13" fmla="*/ 35243 h 65193"/>
                  <a:gd name="connsiteX14" fmla="*/ 24917 w 121119"/>
                  <a:gd name="connsiteY14" fmla="*/ 40005 h 65193"/>
                  <a:gd name="connsiteX15" fmla="*/ 24917 w 121119"/>
                  <a:gd name="connsiteY15" fmla="*/ 41910 h 65193"/>
                  <a:gd name="connsiteX16" fmla="*/ 20155 w 121119"/>
                  <a:gd name="connsiteY16" fmla="*/ 44768 h 65193"/>
                  <a:gd name="connsiteX17" fmla="*/ 9677 w 121119"/>
                  <a:gd name="connsiteY17" fmla="*/ 48578 h 65193"/>
                  <a:gd name="connsiteX18" fmla="*/ 1105 w 121119"/>
                  <a:gd name="connsiteY18" fmla="*/ 46673 h 65193"/>
                  <a:gd name="connsiteX19" fmla="*/ 152 w 121119"/>
                  <a:gd name="connsiteY19" fmla="*/ 41910 h 65193"/>
                  <a:gd name="connsiteX20" fmla="*/ 152 w 121119"/>
                  <a:gd name="connsiteY20" fmla="*/ 36195 h 65193"/>
                  <a:gd name="connsiteX21" fmla="*/ 152 w 121119"/>
                  <a:gd name="connsiteY21" fmla="*/ 29528 h 65193"/>
                  <a:gd name="connsiteX22" fmla="*/ 2057 w 121119"/>
                  <a:gd name="connsiteY22" fmla="*/ 25717 h 65193"/>
                  <a:gd name="connsiteX23" fmla="*/ 9677 w 121119"/>
                  <a:gd name="connsiteY23" fmla="*/ 14288 h 65193"/>
                  <a:gd name="connsiteX24" fmla="*/ 17298 w 121119"/>
                  <a:gd name="connsiteY24" fmla="*/ 4763 h 65193"/>
                  <a:gd name="connsiteX25" fmla="*/ 44920 w 121119"/>
                  <a:gd name="connsiteY25" fmla="*/ 2858 h 65193"/>
                  <a:gd name="connsiteX26" fmla="*/ 56350 w 121119"/>
                  <a:gd name="connsiteY26" fmla="*/ 0 h 65193"/>
                  <a:gd name="connsiteX27" fmla="*/ 72542 w 121119"/>
                  <a:gd name="connsiteY27" fmla="*/ 953 h 65193"/>
                  <a:gd name="connsiteX28" fmla="*/ 81115 w 121119"/>
                  <a:gd name="connsiteY28" fmla="*/ 6667 h 65193"/>
                  <a:gd name="connsiteX29" fmla="*/ 83020 w 121119"/>
                  <a:gd name="connsiteY29" fmla="*/ 12383 h 65193"/>
                  <a:gd name="connsiteX30" fmla="*/ 80163 w 121119"/>
                  <a:gd name="connsiteY30" fmla="*/ 22860 h 65193"/>
                  <a:gd name="connsiteX31" fmla="*/ 73495 w 121119"/>
                  <a:gd name="connsiteY31" fmla="*/ 26670 h 65193"/>
                  <a:gd name="connsiteX32" fmla="*/ 85877 w 121119"/>
                  <a:gd name="connsiteY32" fmla="*/ 31433 h 65193"/>
                  <a:gd name="connsiteX33" fmla="*/ 94450 w 121119"/>
                  <a:gd name="connsiteY33" fmla="*/ 32385 h 65193"/>
                  <a:gd name="connsiteX34" fmla="*/ 108738 w 121119"/>
                  <a:gd name="connsiteY34" fmla="*/ 34290 h 65193"/>
                  <a:gd name="connsiteX35" fmla="*/ 118263 w 121119"/>
                  <a:gd name="connsiteY35" fmla="*/ 37148 h 65193"/>
                  <a:gd name="connsiteX36" fmla="*/ 119215 w 121119"/>
                  <a:gd name="connsiteY36" fmla="*/ 40958 h 65193"/>
                  <a:gd name="connsiteX37" fmla="*/ 121120 w 121119"/>
                  <a:gd name="connsiteY37" fmla="*/ 45720 h 65193"/>
                  <a:gd name="connsiteX38" fmla="*/ 120167 w 121119"/>
                  <a:gd name="connsiteY38" fmla="*/ 52388 h 65193"/>
                  <a:gd name="connsiteX39" fmla="*/ 114452 w 121119"/>
                  <a:gd name="connsiteY39" fmla="*/ 63818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119" h="65193">
                    <a:moveTo>
                      <a:pt x="114452" y="63818"/>
                    </a:moveTo>
                    <a:cubicBezTo>
                      <a:pt x="104927" y="64770"/>
                      <a:pt x="102070" y="64770"/>
                      <a:pt x="94450" y="64770"/>
                    </a:cubicBezTo>
                    <a:cubicBezTo>
                      <a:pt x="86830" y="65723"/>
                      <a:pt x="79210" y="64770"/>
                      <a:pt x="79210" y="64770"/>
                    </a:cubicBezTo>
                    <a:cubicBezTo>
                      <a:pt x="79210" y="64770"/>
                      <a:pt x="69685" y="63818"/>
                      <a:pt x="65875" y="64770"/>
                    </a:cubicBezTo>
                    <a:cubicBezTo>
                      <a:pt x="62065" y="65723"/>
                      <a:pt x="58255" y="63818"/>
                      <a:pt x="58255" y="63818"/>
                    </a:cubicBezTo>
                    <a:lnTo>
                      <a:pt x="44920" y="63818"/>
                    </a:lnTo>
                    <a:lnTo>
                      <a:pt x="39205" y="63818"/>
                    </a:lnTo>
                    <a:lnTo>
                      <a:pt x="36348" y="60960"/>
                    </a:lnTo>
                    <a:lnTo>
                      <a:pt x="33490" y="55245"/>
                    </a:lnTo>
                    <a:lnTo>
                      <a:pt x="33490" y="51435"/>
                    </a:lnTo>
                    <a:lnTo>
                      <a:pt x="37300" y="45720"/>
                    </a:lnTo>
                    <a:lnTo>
                      <a:pt x="41110" y="40958"/>
                    </a:lnTo>
                    <a:lnTo>
                      <a:pt x="41110" y="37148"/>
                    </a:lnTo>
                    <a:lnTo>
                      <a:pt x="33490" y="35243"/>
                    </a:lnTo>
                    <a:cubicBezTo>
                      <a:pt x="33490" y="35243"/>
                      <a:pt x="24917" y="38100"/>
                      <a:pt x="24917" y="40005"/>
                    </a:cubicBezTo>
                    <a:cubicBezTo>
                      <a:pt x="24917" y="41910"/>
                      <a:pt x="29680" y="39053"/>
                      <a:pt x="24917" y="41910"/>
                    </a:cubicBezTo>
                    <a:cubicBezTo>
                      <a:pt x="20155" y="44768"/>
                      <a:pt x="25870" y="40958"/>
                      <a:pt x="20155" y="44768"/>
                    </a:cubicBezTo>
                    <a:cubicBezTo>
                      <a:pt x="14440" y="48578"/>
                      <a:pt x="9677" y="48578"/>
                      <a:pt x="9677" y="48578"/>
                    </a:cubicBezTo>
                    <a:lnTo>
                      <a:pt x="1105" y="46673"/>
                    </a:lnTo>
                    <a:lnTo>
                      <a:pt x="152" y="41910"/>
                    </a:lnTo>
                    <a:lnTo>
                      <a:pt x="152" y="36195"/>
                    </a:lnTo>
                    <a:lnTo>
                      <a:pt x="152" y="29528"/>
                    </a:lnTo>
                    <a:cubicBezTo>
                      <a:pt x="152" y="29528"/>
                      <a:pt x="-800" y="26670"/>
                      <a:pt x="2057" y="25717"/>
                    </a:cubicBezTo>
                    <a:cubicBezTo>
                      <a:pt x="4915" y="24765"/>
                      <a:pt x="9677" y="14288"/>
                      <a:pt x="9677" y="14288"/>
                    </a:cubicBezTo>
                    <a:lnTo>
                      <a:pt x="17298" y="4763"/>
                    </a:lnTo>
                    <a:cubicBezTo>
                      <a:pt x="26823" y="4763"/>
                      <a:pt x="40157" y="2858"/>
                      <a:pt x="44920" y="2858"/>
                    </a:cubicBezTo>
                    <a:cubicBezTo>
                      <a:pt x="49682" y="2858"/>
                      <a:pt x="51588" y="0"/>
                      <a:pt x="56350" y="0"/>
                    </a:cubicBezTo>
                    <a:cubicBezTo>
                      <a:pt x="61113" y="0"/>
                      <a:pt x="72542" y="953"/>
                      <a:pt x="72542" y="953"/>
                    </a:cubicBezTo>
                    <a:lnTo>
                      <a:pt x="81115" y="6667"/>
                    </a:lnTo>
                    <a:cubicBezTo>
                      <a:pt x="81115" y="6667"/>
                      <a:pt x="82067" y="8573"/>
                      <a:pt x="83020" y="12383"/>
                    </a:cubicBezTo>
                    <a:cubicBezTo>
                      <a:pt x="83973" y="16192"/>
                      <a:pt x="80163" y="22860"/>
                      <a:pt x="80163" y="22860"/>
                    </a:cubicBezTo>
                    <a:lnTo>
                      <a:pt x="73495" y="26670"/>
                    </a:lnTo>
                    <a:lnTo>
                      <a:pt x="85877" y="31433"/>
                    </a:lnTo>
                    <a:cubicBezTo>
                      <a:pt x="85877" y="31433"/>
                      <a:pt x="90640" y="31433"/>
                      <a:pt x="94450" y="32385"/>
                    </a:cubicBezTo>
                    <a:cubicBezTo>
                      <a:pt x="99213" y="33338"/>
                      <a:pt x="108738" y="34290"/>
                      <a:pt x="108738" y="34290"/>
                    </a:cubicBezTo>
                    <a:cubicBezTo>
                      <a:pt x="108738" y="34290"/>
                      <a:pt x="117310" y="33338"/>
                      <a:pt x="118263" y="37148"/>
                    </a:cubicBezTo>
                    <a:cubicBezTo>
                      <a:pt x="119215" y="40958"/>
                      <a:pt x="117310" y="36195"/>
                      <a:pt x="119215" y="40958"/>
                    </a:cubicBezTo>
                    <a:cubicBezTo>
                      <a:pt x="121120" y="45720"/>
                      <a:pt x="121120" y="45720"/>
                      <a:pt x="121120" y="45720"/>
                    </a:cubicBezTo>
                    <a:cubicBezTo>
                      <a:pt x="121120" y="45720"/>
                      <a:pt x="121120" y="45720"/>
                      <a:pt x="120167" y="52388"/>
                    </a:cubicBezTo>
                    <a:cubicBezTo>
                      <a:pt x="120167" y="60960"/>
                      <a:pt x="114452" y="63818"/>
                      <a:pt x="114452" y="63818"/>
                    </a:cubicBezTo>
                    <a:close/>
                  </a:path>
                </a:pathLst>
              </a:custGeom>
              <a:grpFill/>
              <a:ln w="9525" cap="flat">
                <a:noFill/>
                <a:prstDash val="solid"/>
                <a:miter/>
              </a:ln>
            </p:spPr>
            <p:txBody>
              <a:bodyPr rtlCol="0" anchor="ctr"/>
              <a:lstStyle/>
              <a:p>
                <a:endParaRPr lang="en-US" sz="1765"/>
              </a:p>
            </p:txBody>
          </p:sp>
          <p:sp>
            <p:nvSpPr>
              <p:cNvPr id="209" name="Freeform: Shape 208">
                <a:extLst>
                  <a:ext uri="{FF2B5EF4-FFF2-40B4-BE49-F238E27FC236}">
                    <a16:creationId xmlns:a16="http://schemas.microsoft.com/office/drawing/2014/main" id="{7CAB08F4-9D58-4902-BF11-F3FE71017EC4}"/>
                  </a:ext>
                </a:extLst>
              </p:cNvPr>
              <p:cNvSpPr/>
              <p:nvPr/>
            </p:nvSpPr>
            <p:spPr>
              <a:xfrm>
                <a:off x="10608974" y="3005430"/>
                <a:ext cx="90212" cy="42298"/>
              </a:xfrm>
              <a:custGeom>
                <a:avLst/>
                <a:gdLst>
                  <a:gd name="connsiteX0" fmla="*/ 64770 w 90212"/>
                  <a:gd name="connsiteY0" fmla="*/ 27059 h 42298"/>
                  <a:gd name="connsiteX1" fmla="*/ 52388 w 90212"/>
                  <a:gd name="connsiteY1" fmla="*/ 27059 h 42298"/>
                  <a:gd name="connsiteX2" fmla="*/ 45720 w 90212"/>
                  <a:gd name="connsiteY2" fmla="*/ 30869 h 42298"/>
                  <a:gd name="connsiteX3" fmla="*/ 43815 w 90212"/>
                  <a:gd name="connsiteY3" fmla="*/ 37536 h 42298"/>
                  <a:gd name="connsiteX4" fmla="*/ 37147 w 90212"/>
                  <a:gd name="connsiteY4" fmla="*/ 41346 h 42298"/>
                  <a:gd name="connsiteX5" fmla="*/ 29527 w 90212"/>
                  <a:gd name="connsiteY5" fmla="*/ 42299 h 42298"/>
                  <a:gd name="connsiteX6" fmla="*/ 21907 w 90212"/>
                  <a:gd name="connsiteY6" fmla="*/ 38489 h 42298"/>
                  <a:gd name="connsiteX7" fmla="*/ 20002 w 90212"/>
                  <a:gd name="connsiteY7" fmla="*/ 31821 h 42298"/>
                  <a:gd name="connsiteX8" fmla="*/ 6667 w 90212"/>
                  <a:gd name="connsiteY8" fmla="*/ 27059 h 42298"/>
                  <a:gd name="connsiteX9" fmla="*/ 0 w 90212"/>
                  <a:gd name="connsiteY9" fmla="*/ 20391 h 42298"/>
                  <a:gd name="connsiteX10" fmla="*/ 0 w 90212"/>
                  <a:gd name="connsiteY10" fmla="*/ 16581 h 42298"/>
                  <a:gd name="connsiteX11" fmla="*/ 0 w 90212"/>
                  <a:gd name="connsiteY11" fmla="*/ 6104 h 42298"/>
                  <a:gd name="connsiteX12" fmla="*/ 3810 w 90212"/>
                  <a:gd name="connsiteY12" fmla="*/ 2294 h 42298"/>
                  <a:gd name="connsiteX13" fmla="*/ 20002 w 90212"/>
                  <a:gd name="connsiteY13" fmla="*/ 1341 h 42298"/>
                  <a:gd name="connsiteX14" fmla="*/ 37147 w 90212"/>
                  <a:gd name="connsiteY14" fmla="*/ 3246 h 42298"/>
                  <a:gd name="connsiteX15" fmla="*/ 49530 w 90212"/>
                  <a:gd name="connsiteY15" fmla="*/ 4199 h 42298"/>
                  <a:gd name="connsiteX16" fmla="*/ 68580 w 90212"/>
                  <a:gd name="connsiteY16" fmla="*/ 389 h 42298"/>
                  <a:gd name="connsiteX17" fmla="*/ 80963 w 90212"/>
                  <a:gd name="connsiteY17" fmla="*/ 2294 h 42298"/>
                  <a:gd name="connsiteX18" fmla="*/ 86677 w 90212"/>
                  <a:gd name="connsiteY18" fmla="*/ 11819 h 42298"/>
                  <a:gd name="connsiteX19" fmla="*/ 88582 w 90212"/>
                  <a:gd name="connsiteY19" fmla="*/ 18486 h 42298"/>
                  <a:gd name="connsiteX20" fmla="*/ 84772 w 90212"/>
                  <a:gd name="connsiteY20" fmla="*/ 24201 h 42298"/>
                  <a:gd name="connsiteX21" fmla="*/ 64770 w 90212"/>
                  <a:gd name="connsiteY21" fmla="*/ 27059 h 4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12" h="42298">
                    <a:moveTo>
                      <a:pt x="64770" y="27059"/>
                    </a:moveTo>
                    <a:lnTo>
                      <a:pt x="52388" y="27059"/>
                    </a:lnTo>
                    <a:cubicBezTo>
                      <a:pt x="52388" y="27059"/>
                      <a:pt x="46672" y="28011"/>
                      <a:pt x="45720" y="30869"/>
                    </a:cubicBezTo>
                    <a:cubicBezTo>
                      <a:pt x="44767" y="32774"/>
                      <a:pt x="44767" y="34679"/>
                      <a:pt x="43815" y="37536"/>
                    </a:cubicBezTo>
                    <a:cubicBezTo>
                      <a:pt x="42863" y="40394"/>
                      <a:pt x="37147" y="41346"/>
                      <a:pt x="37147" y="41346"/>
                    </a:cubicBezTo>
                    <a:lnTo>
                      <a:pt x="29527" y="42299"/>
                    </a:lnTo>
                    <a:lnTo>
                      <a:pt x="21907" y="38489"/>
                    </a:lnTo>
                    <a:lnTo>
                      <a:pt x="20002" y="31821"/>
                    </a:lnTo>
                    <a:lnTo>
                      <a:pt x="6667" y="27059"/>
                    </a:lnTo>
                    <a:lnTo>
                      <a:pt x="0" y="20391"/>
                    </a:lnTo>
                    <a:lnTo>
                      <a:pt x="0" y="16581"/>
                    </a:lnTo>
                    <a:lnTo>
                      <a:pt x="0" y="6104"/>
                    </a:lnTo>
                    <a:lnTo>
                      <a:pt x="3810" y="2294"/>
                    </a:lnTo>
                    <a:lnTo>
                      <a:pt x="20002" y="1341"/>
                    </a:lnTo>
                    <a:lnTo>
                      <a:pt x="37147" y="3246"/>
                    </a:lnTo>
                    <a:cubicBezTo>
                      <a:pt x="37147" y="3246"/>
                      <a:pt x="44767" y="4199"/>
                      <a:pt x="49530" y="4199"/>
                    </a:cubicBezTo>
                    <a:cubicBezTo>
                      <a:pt x="54292" y="4199"/>
                      <a:pt x="56197" y="-1516"/>
                      <a:pt x="68580" y="389"/>
                    </a:cubicBezTo>
                    <a:cubicBezTo>
                      <a:pt x="80963" y="2294"/>
                      <a:pt x="77152" y="-2469"/>
                      <a:pt x="80963" y="2294"/>
                    </a:cubicBezTo>
                    <a:cubicBezTo>
                      <a:pt x="83820" y="7056"/>
                      <a:pt x="83820" y="6104"/>
                      <a:pt x="86677" y="11819"/>
                    </a:cubicBezTo>
                    <a:cubicBezTo>
                      <a:pt x="88582" y="18486"/>
                      <a:pt x="92392" y="12771"/>
                      <a:pt x="88582" y="18486"/>
                    </a:cubicBezTo>
                    <a:cubicBezTo>
                      <a:pt x="84772" y="24201"/>
                      <a:pt x="84772" y="24201"/>
                      <a:pt x="84772" y="24201"/>
                    </a:cubicBezTo>
                    <a:lnTo>
                      <a:pt x="64770" y="27059"/>
                    </a:lnTo>
                    <a:close/>
                  </a:path>
                </a:pathLst>
              </a:custGeom>
              <a:grpFill/>
              <a:ln w="9525" cap="flat">
                <a:noFill/>
                <a:prstDash val="solid"/>
                <a:miter/>
              </a:ln>
            </p:spPr>
            <p:txBody>
              <a:bodyPr rtlCol="0" anchor="ctr"/>
              <a:lstStyle/>
              <a:p>
                <a:endParaRPr lang="en-US" sz="1765"/>
              </a:p>
            </p:txBody>
          </p:sp>
          <p:sp>
            <p:nvSpPr>
              <p:cNvPr id="210" name="Freeform: Shape 209">
                <a:extLst>
                  <a:ext uri="{FF2B5EF4-FFF2-40B4-BE49-F238E27FC236}">
                    <a16:creationId xmlns:a16="http://schemas.microsoft.com/office/drawing/2014/main" id="{FCC465EF-3469-497A-893D-0C004FC0D05C}"/>
                  </a:ext>
                </a:extLst>
              </p:cNvPr>
              <p:cNvSpPr/>
              <p:nvPr/>
            </p:nvSpPr>
            <p:spPr>
              <a:xfrm>
                <a:off x="10709582" y="3014391"/>
                <a:ext cx="41313" cy="23107"/>
              </a:xfrm>
              <a:custGeom>
                <a:avLst/>
                <a:gdLst>
                  <a:gd name="connsiteX0" fmla="*/ 10834 w 41313"/>
                  <a:gd name="connsiteY0" fmla="*/ 0 h 23107"/>
                  <a:gd name="connsiteX1" fmla="*/ 356 w 41313"/>
                  <a:gd name="connsiteY1" fmla="*/ 3810 h 23107"/>
                  <a:gd name="connsiteX2" fmla="*/ 1309 w 41313"/>
                  <a:gd name="connsiteY2" fmla="*/ 11430 h 23107"/>
                  <a:gd name="connsiteX3" fmla="*/ 4167 w 41313"/>
                  <a:gd name="connsiteY3" fmla="*/ 19050 h 23107"/>
                  <a:gd name="connsiteX4" fmla="*/ 17501 w 41313"/>
                  <a:gd name="connsiteY4" fmla="*/ 22860 h 23107"/>
                  <a:gd name="connsiteX5" fmla="*/ 23217 w 41313"/>
                  <a:gd name="connsiteY5" fmla="*/ 21907 h 23107"/>
                  <a:gd name="connsiteX6" fmla="*/ 34646 w 41313"/>
                  <a:gd name="connsiteY6" fmla="*/ 20955 h 23107"/>
                  <a:gd name="connsiteX7" fmla="*/ 41314 w 41313"/>
                  <a:gd name="connsiteY7" fmla="*/ 17145 h 23107"/>
                  <a:gd name="connsiteX8" fmla="*/ 41314 w 41313"/>
                  <a:gd name="connsiteY8" fmla="*/ 12382 h 23107"/>
                  <a:gd name="connsiteX9" fmla="*/ 41314 w 41313"/>
                  <a:gd name="connsiteY9" fmla="*/ 8572 h 23107"/>
                  <a:gd name="connsiteX10" fmla="*/ 41314 w 41313"/>
                  <a:gd name="connsiteY10" fmla="*/ 4763 h 23107"/>
                  <a:gd name="connsiteX11" fmla="*/ 33694 w 41313"/>
                  <a:gd name="connsiteY11" fmla="*/ 2857 h 23107"/>
                  <a:gd name="connsiteX12" fmla="*/ 30836 w 41313"/>
                  <a:gd name="connsiteY12" fmla="*/ 2857 h 23107"/>
                  <a:gd name="connsiteX13" fmla="*/ 22264 w 41313"/>
                  <a:gd name="connsiteY13" fmla="*/ 2857 h 23107"/>
                  <a:gd name="connsiteX14" fmla="*/ 10834 w 41313"/>
                  <a:gd name="connsiteY14" fmla="*/ 0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13" h="23107">
                    <a:moveTo>
                      <a:pt x="10834" y="0"/>
                    </a:moveTo>
                    <a:cubicBezTo>
                      <a:pt x="7976" y="953"/>
                      <a:pt x="-596" y="953"/>
                      <a:pt x="356" y="3810"/>
                    </a:cubicBezTo>
                    <a:cubicBezTo>
                      <a:pt x="1309" y="6668"/>
                      <a:pt x="-1549" y="6668"/>
                      <a:pt x="1309" y="11430"/>
                    </a:cubicBezTo>
                    <a:cubicBezTo>
                      <a:pt x="4167" y="16193"/>
                      <a:pt x="1309" y="16193"/>
                      <a:pt x="4167" y="19050"/>
                    </a:cubicBezTo>
                    <a:cubicBezTo>
                      <a:pt x="7024" y="21907"/>
                      <a:pt x="11786" y="23813"/>
                      <a:pt x="17501" y="22860"/>
                    </a:cubicBezTo>
                    <a:cubicBezTo>
                      <a:pt x="23217" y="21907"/>
                      <a:pt x="23217" y="21907"/>
                      <a:pt x="23217" y="21907"/>
                    </a:cubicBezTo>
                    <a:cubicBezTo>
                      <a:pt x="23217" y="21907"/>
                      <a:pt x="29884" y="20955"/>
                      <a:pt x="34646" y="20955"/>
                    </a:cubicBezTo>
                    <a:cubicBezTo>
                      <a:pt x="39409" y="20955"/>
                      <a:pt x="41314" y="17145"/>
                      <a:pt x="41314" y="17145"/>
                    </a:cubicBezTo>
                    <a:lnTo>
                      <a:pt x="41314" y="12382"/>
                    </a:lnTo>
                    <a:lnTo>
                      <a:pt x="41314" y="8572"/>
                    </a:lnTo>
                    <a:lnTo>
                      <a:pt x="41314" y="4763"/>
                    </a:lnTo>
                    <a:cubicBezTo>
                      <a:pt x="41314" y="4763"/>
                      <a:pt x="37504" y="2857"/>
                      <a:pt x="33694" y="2857"/>
                    </a:cubicBezTo>
                    <a:cubicBezTo>
                      <a:pt x="30836" y="2857"/>
                      <a:pt x="34646" y="2857"/>
                      <a:pt x="30836" y="2857"/>
                    </a:cubicBezTo>
                    <a:cubicBezTo>
                      <a:pt x="26074" y="2857"/>
                      <a:pt x="22264" y="2857"/>
                      <a:pt x="22264" y="2857"/>
                    </a:cubicBezTo>
                    <a:lnTo>
                      <a:pt x="10834" y="0"/>
                    </a:lnTo>
                    <a:close/>
                  </a:path>
                </a:pathLst>
              </a:custGeom>
              <a:grpFill/>
              <a:ln w="9525" cap="flat">
                <a:noFill/>
                <a:prstDash val="solid"/>
                <a:miter/>
              </a:ln>
            </p:spPr>
            <p:txBody>
              <a:bodyPr rtlCol="0" anchor="ctr"/>
              <a:lstStyle/>
              <a:p>
                <a:endParaRPr lang="en-US" sz="1765"/>
              </a:p>
            </p:txBody>
          </p:sp>
          <p:sp>
            <p:nvSpPr>
              <p:cNvPr id="211" name="Freeform: Shape 210">
                <a:extLst>
                  <a:ext uri="{FF2B5EF4-FFF2-40B4-BE49-F238E27FC236}">
                    <a16:creationId xmlns:a16="http://schemas.microsoft.com/office/drawing/2014/main" id="{7C3032A1-3477-4E4C-B6EC-A4753759F3F2}"/>
                  </a:ext>
                </a:extLst>
              </p:cNvPr>
              <p:cNvSpPr/>
              <p:nvPr/>
            </p:nvSpPr>
            <p:spPr>
              <a:xfrm>
                <a:off x="10768021" y="3017422"/>
                <a:ext cx="59075" cy="29190"/>
              </a:xfrm>
              <a:custGeom>
                <a:avLst/>
                <a:gdLst>
                  <a:gd name="connsiteX0" fmla="*/ 24786 w 59075"/>
                  <a:gd name="connsiteY0" fmla="*/ 779 h 29190"/>
                  <a:gd name="connsiteX1" fmla="*/ 6688 w 59075"/>
                  <a:gd name="connsiteY1" fmla="*/ 779 h 29190"/>
                  <a:gd name="connsiteX2" fmla="*/ 3830 w 59075"/>
                  <a:gd name="connsiteY2" fmla="*/ 1731 h 29190"/>
                  <a:gd name="connsiteX3" fmla="*/ 1925 w 59075"/>
                  <a:gd name="connsiteY3" fmla="*/ 5541 h 29190"/>
                  <a:gd name="connsiteX4" fmla="*/ 1925 w 59075"/>
                  <a:gd name="connsiteY4" fmla="*/ 14114 h 29190"/>
                  <a:gd name="connsiteX5" fmla="*/ 10498 w 59075"/>
                  <a:gd name="connsiteY5" fmla="*/ 18876 h 29190"/>
                  <a:gd name="connsiteX6" fmla="*/ 12403 w 59075"/>
                  <a:gd name="connsiteY6" fmla="*/ 21734 h 29190"/>
                  <a:gd name="connsiteX7" fmla="*/ 29548 w 59075"/>
                  <a:gd name="connsiteY7" fmla="*/ 26496 h 29190"/>
                  <a:gd name="connsiteX8" fmla="*/ 42883 w 59075"/>
                  <a:gd name="connsiteY8" fmla="*/ 26496 h 29190"/>
                  <a:gd name="connsiteX9" fmla="*/ 45741 w 59075"/>
                  <a:gd name="connsiteY9" fmla="*/ 28401 h 29190"/>
                  <a:gd name="connsiteX10" fmla="*/ 58123 w 59075"/>
                  <a:gd name="connsiteY10" fmla="*/ 19829 h 29190"/>
                  <a:gd name="connsiteX11" fmla="*/ 59075 w 59075"/>
                  <a:gd name="connsiteY11" fmla="*/ 13161 h 29190"/>
                  <a:gd name="connsiteX12" fmla="*/ 52408 w 59075"/>
                  <a:gd name="connsiteY12" fmla="*/ 8399 h 29190"/>
                  <a:gd name="connsiteX13" fmla="*/ 39073 w 59075"/>
                  <a:gd name="connsiteY13" fmla="*/ 9351 h 29190"/>
                  <a:gd name="connsiteX14" fmla="*/ 26691 w 59075"/>
                  <a:gd name="connsiteY14" fmla="*/ 9351 h 29190"/>
                  <a:gd name="connsiteX15" fmla="*/ 24786 w 59075"/>
                  <a:gd name="connsiteY15" fmla="*/ 779 h 2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075" h="29190">
                    <a:moveTo>
                      <a:pt x="24786" y="779"/>
                    </a:moveTo>
                    <a:cubicBezTo>
                      <a:pt x="24786" y="779"/>
                      <a:pt x="10498" y="-174"/>
                      <a:pt x="6688" y="779"/>
                    </a:cubicBezTo>
                    <a:cubicBezTo>
                      <a:pt x="3830" y="1731"/>
                      <a:pt x="5736" y="-2079"/>
                      <a:pt x="3830" y="1731"/>
                    </a:cubicBezTo>
                    <a:cubicBezTo>
                      <a:pt x="1925" y="5541"/>
                      <a:pt x="2878" y="-174"/>
                      <a:pt x="1925" y="5541"/>
                    </a:cubicBezTo>
                    <a:cubicBezTo>
                      <a:pt x="973" y="11256"/>
                      <a:pt x="-1884" y="11256"/>
                      <a:pt x="1925" y="14114"/>
                    </a:cubicBezTo>
                    <a:cubicBezTo>
                      <a:pt x="4783" y="16971"/>
                      <a:pt x="8593" y="16019"/>
                      <a:pt x="10498" y="18876"/>
                    </a:cubicBezTo>
                    <a:cubicBezTo>
                      <a:pt x="12403" y="21734"/>
                      <a:pt x="5736" y="16019"/>
                      <a:pt x="12403" y="21734"/>
                    </a:cubicBezTo>
                    <a:cubicBezTo>
                      <a:pt x="19070" y="27449"/>
                      <a:pt x="29548" y="26496"/>
                      <a:pt x="29548" y="26496"/>
                    </a:cubicBezTo>
                    <a:cubicBezTo>
                      <a:pt x="29548" y="26496"/>
                      <a:pt x="39073" y="25544"/>
                      <a:pt x="42883" y="26496"/>
                    </a:cubicBezTo>
                    <a:cubicBezTo>
                      <a:pt x="45741" y="28401"/>
                      <a:pt x="34311" y="30306"/>
                      <a:pt x="45741" y="28401"/>
                    </a:cubicBezTo>
                    <a:cubicBezTo>
                      <a:pt x="58123" y="25544"/>
                      <a:pt x="58123" y="19829"/>
                      <a:pt x="58123" y="19829"/>
                    </a:cubicBezTo>
                    <a:lnTo>
                      <a:pt x="59075" y="13161"/>
                    </a:lnTo>
                    <a:cubicBezTo>
                      <a:pt x="59075" y="13161"/>
                      <a:pt x="59075" y="7446"/>
                      <a:pt x="52408" y="8399"/>
                    </a:cubicBezTo>
                    <a:cubicBezTo>
                      <a:pt x="45741" y="9351"/>
                      <a:pt x="39073" y="9351"/>
                      <a:pt x="39073" y="9351"/>
                    </a:cubicBezTo>
                    <a:cubicBezTo>
                      <a:pt x="39073" y="9351"/>
                      <a:pt x="27643" y="11256"/>
                      <a:pt x="26691" y="9351"/>
                    </a:cubicBezTo>
                    <a:cubicBezTo>
                      <a:pt x="26691" y="5541"/>
                      <a:pt x="24786" y="779"/>
                      <a:pt x="24786" y="779"/>
                    </a:cubicBezTo>
                    <a:close/>
                  </a:path>
                </a:pathLst>
              </a:custGeom>
              <a:grpFill/>
              <a:ln w="9525" cap="flat">
                <a:noFill/>
                <a:prstDash val="solid"/>
                <a:miter/>
              </a:ln>
            </p:spPr>
            <p:txBody>
              <a:bodyPr rtlCol="0" anchor="ctr"/>
              <a:lstStyle/>
              <a:p>
                <a:endParaRPr lang="en-US" sz="1765"/>
              </a:p>
            </p:txBody>
          </p:sp>
          <p:sp>
            <p:nvSpPr>
              <p:cNvPr id="212" name="Freeform: Shape 211">
                <a:extLst>
                  <a:ext uri="{FF2B5EF4-FFF2-40B4-BE49-F238E27FC236}">
                    <a16:creationId xmlns:a16="http://schemas.microsoft.com/office/drawing/2014/main" id="{E974C2E7-72AB-4D35-A0BA-6908130CC25A}"/>
                  </a:ext>
                </a:extLst>
              </p:cNvPr>
              <p:cNvSpPr/>
              <p:nvPr/>
            </p:nvSpPr>
            <p:spPr>
              <a:xfrm>
                <a:off x="10663113" y="3054396"/>
                <a:ext cx="47167" cy="18097"/>
              </a:xfrm>
              <a:custGeom>
                <a:avLst/>
                <a:gdLst>
                  <a:gd name="connsiteX0" fmla="*/ 42063 w 47167"/>
                  <a:gd name="connsiteY0" fmla="*/ 14288 h 18097"/>
                  <a:gd name="connsiteX1" fmla="*/ 37300 w 47167"/>
                  <a:gd name="connsiteY1" fmla="*/ 16192 h 18097"/>
                  <a:gd name="connsiteX2" fmla="*/ 25870 w 47167"/>
                  <a:gd name="connsiteY2" fmla="*/ 18097 h 18097"/>
                  <a:gd name="connsiteX3" fmla="*/ 19202 w 47167"/>
                  <a:gd name="connsiteY3" fmla="*/ 17145 h 18097"/>
                  <a:gd name="connsiteX4" fmla="*/ 11582 w 47167"/>
                  <a:gd name="connsiteY4" fmla="*/ 16192 h 18097"/>
                  <a:gd name="connsiteX5" fmla="*/ 6820 w 47167"/>
                  <a:gd name="connsiteY5" fmla="*/ 14288 h 18097"/>
                  <a:gd name="connsiteX6" fmla="*/ 2057 w 47167"/>
                  <a:gd name="connsiteY6" fmla="*/ 10477 h 18097"/>
                  <a:gd name="connsiteX7" fmla="*/ 152 w 47167"/>
                  <a:gd name="connsiteY7" fmla="*/ 6667 h 18097"/>
                  <a:gd name="connsiteX8" fmla="*/ 2057 w 47167"/>
                  <a:gd name="connsiteY8" fmla="*/ 2857 h 18097"/>
                  <a:gd name="connsiteX9" fmla="*/ 9677 w 47167"/>
                  <a:gd name="connsiteY9" fmla="*/ 952 h 18097"/>
                  <a:gd name="connsiteX10" fmla="*/ 16345 w 47167"/>
                  <a:gd name="connsiteY10" fmla="*/ 0 h 18097"/>
                  <a:gd name="connsiteX11" fmla="*/ 25870 w 47167"/>
                  <a:gd name="connsiteY11" fmla="*/ 1905 h 18097"/>
                  <a:gd name="connsiteX12" fmla="*/ 33490 w 47167"/>
                  <a:gd name="connsiteY12" fmla="*/ 1905 h 18097"/>
                  <a:gd name="connsiteX13" fmla="*/ 44920 w 47167"/>
                  <a:gd name="connsiteY13" fmla="*/ 1905 h 18097"/>
                  <a:gd name="connsiteX14" fmla="*/ 46825 w 47167"/>
                  <a:gd name="connsiteY14" fmla="*/ 3810 h 18097"/>
                  <a:gd name="connsiteX15" fmla="*/ 42063 w 47167"/>
                  <a:gd name="connsiteY15" fmla="*/ 14288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67" h="18097">
                    <a:moveTo>
                      <a:pt x="42063" y="14288"/>
                    </a:moveTo>
                    <a:lnTo>
                      <a:pt x="37300" y="16192"/>
                    </a:lnTo>
                    <a:lnTo>
                      <a:pt x="25870" y="18097"/>
                    </a:lnTo>
                    <a:lnTo>
                      <a:pt x="19202" y="17145"/>
                    </a:lnTo>
                    <a:lnTo>
                      <a:pt x="11582" y="16192"/>
                    </a:lnTo>
                    <a:lnTo>
                      <a:pt x="6820" y="14288"/>
                    </a:lnTo>
                    <a:lnTo>
                      <a:pt x="2057" y="10477"/>
                    </a:lnTo>
                    <a:lnTo>
                      <a:pt x="152" y="6667"/>
                    </a:lnTo>
                    <a:cubicBezTo>
                      <a:pt x="152" y="6667"/>
                      <a:pt x="-800" y="2857"/>
                      <a:pt x="2057" y="2857"/>
                    </a:cubicBezTo>
                    <a:cubicBezTo>
                      <a:pt x="4915" y="2857"/>
                      <a:pt x="9677" y="952"/>
                      <a:pt x="9677" y="952"/>
                    </a:cubicBezTo>
                    <a:lnTo>
                      <a:pt x="16345" y="0"/>
                    </a:lnTo>
                    <a:lnTo>
                      <a:pt x="25870" y="1905"/>
                    </a:lnTo>
                    <a:cubicBezTo>
                      <a:pt x="25870" y="1905"/>
                      <a:pt x="28727" y="952"/>
                      <a:pt x="33490" y="1905"/>
                    </a:cubicBezTo>
                    <a:cubicBezTo>
                      <a:pt x="38252" y="2857"/>
                      <a:pt x="42063" y="0"/>
                      <a:pt x="44920" y="1905"/>
                    </a:cubicBezTo>
                    <a:cubicBezTo>
                      <a:pt x="46825" y="3810"/>
                      <a:pt x="46825" y="0"/>
                      <a:pt x="46825" y="3810"/>
                    </a:cubicBezTo>
                    <a:cubicBezTo>
                      <a:pt x="48730" y="7620"/>
                      <a:pt x="42063" y="14288"/>
                      <a:pt x="42063" y="14288"/>
                    </a:cubicBezTo>
                    <a:close/>
                  </a:path>
                </a:pathLst>
              </a:custGeom>
              <a:grpFill/>
              <a:ln w="9525" cap="flat">
                <a:noFill/>
                <a:prstDash val="solid"/>
                <a:miter/>
              </a:ln>
            </p:spPr>
            <p:txBody>
              <a:bodyPr rtlCol="0" anchor="ctr"/>
              <a:lstStyle/>
              <a:p>
                <a:endParaRPr lang="en-US" sz="1765"/>
              </a:p>
            </p:txBody>
          </p:sp>
          <p:sp>
            <p:nvSpPr>
              <p:cNvPr id="213" name="Freeform: Shape 212">
                <a:extLst>
                  <a:ext uri="{FF2B5EF4-FFF2-40B4-BE49-F238E27FC236}">
                    <a16:creationId xmlns:a16="http://schemas.microsoft.com/office/drawing/2014/main" id="{2AA644FB-2D59-4903-84D6-09B5600A7206}"/>
                  </a:ext>
                </a:extLst>
              </p:cNvPr>
              <p:cNvSpPr/>
              <p:nvPr/>
            </p:nvSpPr>
            <p:spPr>
              <a:xfrm>
                <a:off x="9559319" y="3084876"/>
                <a:ext cx="2857" cy="952"/>
              </a:xfrm>
              <a:custGeom>
                <a:avLst/>
                <a:gdLst>
                  <a:gd name="connsiteX0" fmla="*/ 2857 w 2857"/>
                  <a:gd name="connsiteY0" fmla="*/ 0 h 952"/>
                  <a:gd name="connsiteX1" fmla="*/ 0 w 2857"/>
                  <a:gd name="connsiteY1" fmla="*/ 953 h 952"/>
                  <a:gd name="connsiteX2" fmla="*/ 2857 w 2857"/>
                  <a:gd name="connsiteY2" fmla="*/ 0 h 952"/>
                </a:gdLst>
                <a:ahLst/>
                <a:cxnLst>
                  <a:cxn ang="0">
                    <a:pos x="connsiteX0" y="connsiteY0"/>
                  </a:cxn>
                  <a:cxn ang="0">
                    <a:pos x="connsiteX1" y="connsiteY1"/>
                  </a:cxn>
                  <a:cxn ang="0">
                    <a:pos x="connsiteX2" y="connsiteY2"/>
                  </a:cxn>
                </a:cxnLst>
                <a:rect l="l" t="t" r="r" b="b"/>
                <a:pathLst>
                  <a:path w="2857" h="952">
                    <a:moveTo>
                      <a:pt x="2857" y="0"/>
                    </a:moveTo>
                    <a:cubicBezTo>
                      <a:pt x="1905" y="0"/>
                      <a:pt x="952" y="953"/>
                      <a:pt x="0" y="953"/>
                    </a:cubicBezTo>
                    <a:cubicBezTo>
                      <a:pt x="952" y="953"/>
                      <a:pt x="1905" y="953"/>
                      <a:pt x="2857" y="0"/>
                    </a:cubicBezTo>
                    <a:close/>
                  </a:path>
                </a:pathLst>
              </a:custGeom>
              <a:grpFill/>
              <a:ln w="9525" cap="flat">
                <a:noFill/>
                <a:prstDash val="solid"/>
                <a:miter/>
              </a:ln>
            </p:spPr>
            <p:txBody>
              <a:bodyPr rtlCol="0" anchor="ctr"/>
              <a:lstStyle/>
              <a:p>
                <a:endParaRPr lang="en-US" sz="1765"/>
              </a:p>
            </p:txBody>
          </p:sp>
          <p:sp>
            <p:nvSpPr>
              <p:cNvPr id="214" name="Freeform: Shape 213">
                <a:extLst>
                  <a:ext uri="{FF2B5EF4-FFF2-40B4-BE49-F238E27FC236}">
                    <a16:creationId xmlns:a16="http://schemas.microsoft.com/office/drawing/2014/main" id="{35191CCD-671E-444E-BDB4-4D1B7CFDDFDE}"/>
                  </a:ext>
                </a:extLst>
              </p:cNvPr>
              <p:cNvSpPr/>
              <p:nvPr/>
            </p:nvSpPr>
            <p:spPr>
              <a:xfrm>
                <a:off x="9562705" y="3084876"/>
                <a:ext cx="423" cy="9525"/>
              </a:xfrm>
              <a:custGeom>
                <a:avLst/>
                <a:gdLst>
                  <a:gd name="connsiteX0" fmla="*/ 423 w 423"/>
                  <a:gd name="connsiteY0" fmla="*/ 0 h 9525"/>
                  <a:gd name="connsiteX1" fmla="*/ 423 w 423"/>
                  <a:gd name="connsiteY1" fmla="*/ 0 h 9525"/>
                  <a:gd name="connsiteX2" fmla="*/ 423 w 423"/>
                  <a:gd name="connsiteY2" fmla="*/ 0 h 9525"/>
                </a:gdLst>
                <a:ahLst/>
                <a:cxnLst>
                  <a:cxn ang="0">
                    <a:pos x="connsiteX0" y="connsiteY0"/>
                  </a:cxn>
                  <a:cxn ang="0">
                    <a:pos x="connsiteX1" y="connsiteY1"/>
                  </a:cxn>
                  <a:cxn ang="0">
                    <a:pos x="connsiteX2" y="connsiteY2"/>
                  </a:cxn>
                </a:cxnLst>
                <a:rect l="l" t="t" r="r" b="b"/>
                <a:pathLst>
                  <a:path w="423" h="9525">
                    <a:moveTo>
                      <a:pt x="423" y="0"/>
                    </a:moveTo>
                    <a:cubicBezTo>
                      <a:pt x="423" y="0"/>
                      <a:pt x="-529" y="0"/>
                      <a:pt x="423" y="0"/>
                    </a:cubicBezTo>
                    <a:cubicBezTo>
                      <a:pt x="-529" y="0"/>
                      <a:pt x="423" y="0"/>
                      <a:pt x="423" y="0"/>
                    </a:cubicBezTo>
                    <a:close/>
                  </a:path>
                </a:pathLst>
              </a:custGeom>
              <a:grpFill/>
              <a:ln w="9525" cap="flat">
                <a:noFill/>
                <a:prstDash val="solid"/>
                <a:miter/>
              </a:ln>
            </p:spPr>
            <p:txBody>
              <a:bodyPr rtlCol="0" anchor="ctr"/>
              <a:lstStyle/>
              <a:p>
                <a:endParaRPr lang="en-US" sz="1765"/>
              </a:p>
            </p:txBody>
          </p:sp>
          <p:sp>
            <p:nvSpPr>
              <p:cNvPr id="215" name="Freeform: Shape 214">
                <a:extLst>
                  <a:ext uri="{FF2B5EF4-FFF2-40B4-BE49-F238E27FC236}">
                    <a16:creationId xmlns:a16="http://schemas.microsoft.com/office/drawing/2014/main" id="{720F6453-B439-4E35-9769-57B549B4867E}"/>
                  </a:ext>
                </a:extLst>
              </p:cNvPr>
              <p:cNvSpPr/>
              <p:nvPr/>
            </p:nvSpPr>
            <p:spPr>
              <a:xfrm>
                <a:off x="9558219" y="3085829"/>
                <a:ext cx="1099" cy="423"/>
              </a:xfrm>
              <a:custGeom>
                <a:avLst/>
                <a:gdLst>
                  <a:gd name="connsiteX0" fmla="*/ 1100 w 1099"/>
                  <a:gd name="connsiteY0" fmla="*/ 0 h 423"/>
                  <a:gd name="connsiteX1" fmla="*/ 1100 w 1099"/>
                  <a:gd name="connsiteY1" fmla="*/ 0 h 423"/>
                  <a:gd name="connsiteX2" fmla="*/ 1100 w 1099"/>
                  <a:gd name="connsiteY2" fmla="*/ 0 h 423"/>
                </a:gdLst>
                <a:ahLst/>
                <a:cxnLst>
                  <a:cxn ang="0">
                    <a:pos x="connsiteX0" y="connsiteY0"/>
                  </a:cxn>
                  <a:cxn ang="0">
                    <a:pos x="connsiteX1" y="connsiteY1"/>
                  </a:cxn>
                  <a:cxn ang="0">
                    <a:pos x="connsiteX2" y="connsiteY2"/>
                  </a:cxn>
                </a:cxnLst>
                <a:rect l="l" t="t" r="r" b="b"/>
                <a:pathLst>
                  <a:path w="1099" h="423">
                    <a:moveTo>
                      <a:pt x="1100" y="0"/>
                    </a:moveTo>
                    <a:cubicBezTo>
                      <a:pt x="147" y="0"/>
                      <a:pt x="-805" y="953"/>
                      <a:pt x="1100" y="0"/>
                    </a:cubicBezTo>
                    <a:lnTo>
                      <a:pt x="1100" y="0"/>
                    </a:lnTo>
                    <a:close/>
                  </a:path>
                </a:pathLst>
              </a:custGeom>
              <a:grpFill/>
              <a:ln w="9525" cap="flat">
                <a:noFill/>
                <a:prstDash val="solid"/>
                <a:miter/>
              </a:ln>
            </p:spPr>
            <p:txBody>
              <a:bodyPr rtlCol="0" anchor="ctr"/>
              <a:lstStyle/>
              <a:p>
                <a:endParaRPr lang="en-US" sz="1765"/>
              </a:p>
            </p:txBody>
          </p:sp>
          <p:sp>
            <p:nvSpPr>
              <p:cNvPr id="216" name="Freeform: Shape 215">
                <a:extLst>
                  <a:ext uri="{FF2B5EF4-FFF2-40B4-BE49-F238E27FC236}">
                    <a16:creationId xmlns:a16="http://schemas.microsoft.com/office/drawing/2014/main" id="{BB04C641-6589-422A-9F4E-85AFECC08433}"/>
                  </a:ext>
                </a:extLst>
              </p:cNvPr>
              <p:cNvSpPr/>
              <p:nvPr/>
            </p:nvSpPr>
            <p:spPr>
              <a:xfrm>
                <a:off x="7936258" y="2977201"/>
                <a:ext cx="3574732" cy="1473560"/>
              </a:xfrm>
              <a:custGeom>
                <a:avLst/>
                <a:gdLst>
                  <a:gd name="connsiteX0" fmla="*/ 3568065 w 3574732"/>
                  <a:gd name="connsiteY0" fmla="*/ 231500 h 1473560"/>
                  <a:gd name="connsiteX1" fmla="*/ 3562350 w 3574732"/>
                  <a:gd name="connsiteY1" fmla="*/ 230548 h 1473560"/>
                  <a:gd name="connsiteX2" fmla="*/ 3549015 w 3574732"/>
                  <a:gd name="connsiteY2" fmla="*/ 230548 h 1473560"/>
                  <a:gd name="connsiteX3" fmla="*/ 3529965 w 3574732"/>
                  <a:gd name="connsiteY3" fmla="*/ 230548 h 1473560"/>
                  <a:gd name="connsiteX4" fmla="*/ 3511868 w 3574732"/>
                  <a:gd name="connsiteY4" fmla="*/ 233405 h 1473560"/>
                  <a:gd name="connsiteX5" fmla="*/ 3504248 w 3574732"/>
                  <a:gd name="connsiteY5" fmla="*/ 231500 h 1473560"/>
                  <a:gd name="connsiteX6" fmla="*/ 3489960 w 3574732"/>
                  <a:gd name="connsiteY6" fmla="*/ 225785 h 1473560"/>
                  <a:gd name="connsiteX7" fmla="*/ 3489008 w 3574732"/>
                  <a:gd name="connsiteY7" fmla="*/ 222928 h 1473560"/>
                  <a:gd name="connsiteX8" fmla="*/ 3480435 w 3574732"/>
                  <a:gd name="connsiteY8" fmla="*/ 214355 h 1473560"/>
                  <a:gd name="connsiteX9" fmla="*/ 3476625 w 3574732"/>
                  <a:gd name="connsiteY9" fmla="*/ 206735 h 1473560"/>
                  <a:gd name="connsiteX10" fmla="*/ 3462338 w 3574732"/>
                  <a:gd name="connsiteY10" fmla="*/ 201973 h 1473560"/>
                  <a:gd name="connsiteX11" fmla="*/ 3456623 w 3574732"/>
                  <a:gd name="connsiteY11" fmla="*/ 198163 h 1473560"/>
                  <a:gd name="connsiteX12" fmla="*/ 3442335 w 3574732"/>
                  <a:gd name="connsiteY12" fmla="*/ 194353 h 1473560"/>
                  <a:gd name="connsiteX13" fmla="*/ 3441383 w 3574732"/>
                  <a:gd name="connsiteY13" fmla="*/ 191495 h 1473560"/>
                  <a:gd name="connsiteX14" fmla="*/ 3419475 w 3574732"/>
                  <a:gd name="connsiteY14" fmla="*/ 185780 h 1473560"/>
                  <a:gd name="connsiteX15" fmla="*/ 3406140 w 3574732"/>
                  <a:gd name="connsiteY15" fmla="*/ 180065 h 1473560"/>
                  <a:gd name="connsiteX16" fmla="*/ 3389948 w 3574732"/>
                  <a:gd name="connsiteY16" fmla="*/ 177208 h 1473560"/>
                  <a:gd name="connsiteX17" fmla="*/ 3362325 w 3574732"/>
                  <a:gd name="connsiteY17" fmla="*/ 172445 h 1473560"/>
                  <a:gd name="connsiteX18" fmla="*/ 3348990 w 3574732"/>
                  <a:gd name="connsiteY18" fmla="*/ 172445 h 1473560"/>
                  <a:gd name="connsiteX19" fmla="*/ 3334703 w 3574732"/>
                  <a:gd name="connsiteY19" fmla="*/ 172445 h 1473560"/>
                  <a:gd name="connsiteX20" fmla="*/ 3318510 w 3574732"/>
                  <a:gd name="connsiteY20" fmla="*/ 172445 h 1473560"/>
                  <a:gd name="connsiteX21" fmla="*/ 3301365 w 3574732"/>
                  <a:gd name="connsiteY21" fmla="*/ 170540 h 1473560"/>
                  <a:gd name="connsiteX22" fmla="*/ 3277553 w 3574732"/>
                  <a:gd name="connsiteY22" fmla="*/ 166730 h 1473560"/>
                  <a:gd name="connsiteX23" fmla="*/ 3255645 w 3574732"/>
                  <a:gd name="connsiteY23" fmla="*/ 168635 h 1473560"/>
                  <a:gd name="connsiteX24" fmla="*/ 3247073 w 3574732"/>
                  <a:gd name="connsiteY24" fmla="*/ 170540 h 1473560"/>
                  <a:gd name="connsiteX25" fmla="*/ 3244215 w 3574732"/>
                  <a:gd name="connsiteY25" fmla="*/ 184828 h 1473560"/>
                  <a:gd name="connsiteX26" fmla="*/ 3238500 w 3574732"/>
                  <a:gd name="connsiteY26" fmla="*/ 185780 h 1473560"/>
                  <a:gd name="connsiteX27" fmla="*/ 3219450 w 3574732"/>
                  <a:gd name="connsiteY27" fmla="*/ 180065 h 1473560"/>
                  <a:gd name="connsiteX28" fmla="*/ 3221355 w 3574732"/>
                  <a:gd name="connsiteY28" fmla="*/ 172445 h 1473560"/>
                  <a:gd name="connsiteX29" fmla="*/ 3218498 w 3574732"/>
                  <a:gd name="connsiteY29" fmla="*/ 162920 h 1473560"/>
                  <a:gd name="connsiteX30" fmla="*/ 3197543 w 3574732"/>
                  <a:gd name="connsiteY30" fmla="*/ 162920 h 1473560"/>
                  <a:gd name="connsiteX31" fmla="*/ 3176588 w 3574732"/>
                  <a:gd name="connsiteY31" fmla="*/ 166730 h 1473560"/>
                  <a:gd name="connsiteX32" fmla="*/ 3168015 w 3574732"/>
                  <a:gd name="connsiteY32" fmla="*/ 168635 h 1473560"/>
                  <a:gd name="connsiteX33" fmla="*/ 3148965 w 3574732"/>
                  <a:gd name="connsiteY33" fmla="*/ 169588 h 1473560"/>
                  <a:gd name="connsiteX34" fmla="*/ 3138488 w 3574732"/>
                  <a:gd name="connsiteY34" fmla="*/ 169588 h 1473560"/>
                  <a:gd name="connsiteX35" fmla="*/ 3098483 w 3574732"/>
                  <a:gd name="connsiteY35" fmla="*/ 168635 h 1473560"/>
                  <a:gd name="connsiteX36" fmla="*/ 3076575 w 3574732"/>
                  <a:gd name="connsiteY36" fmla="*/ 165778 h 1473560"/>
                  <a:gd name="connsiteX37" fmla="*/ 3063240 w 3574732"/>
                  <a:gd name="connsiteY37" fmla="*/ 157205 h 1473560"/>
                  <a:gd name="connsiteX38" fmla="*/ 3055620 w 3574732"/>
                  <a:gd name="connsiteY38" fmla="*/ 150538 h 1473560"/>
                  <a:gd name="connsiteX39" fmla="*/ 3049905 w 3574732"/>
                  <a:gd name="connsiteY39" fmla="*/ 147680 h 1473560"/>
                  <a:gd name="connsiteX40" fmla="*/ 3016568 w 3574732"/>
                  <a:gd name="connsiteY40" fmla="*/ 147680 h 1473560"/>
                  <a:gd name="connsiteX41" fmla="*/ 3002280 w 3574732"/>
                  <a:gd name="connsiteY41" fmla="*/ 147680 h 1473560"/>
                  <a:gd name="connsiteX42" fmla="*/ 2980373 w 3574732"/>
                  <a:gd name="connsiteY42" fmla="*/ 144823 h 1473560"/>
                  <a:gd name="connsiteX43" fmla="*/ 2952750 w 3574732"/>
                  <a:gd name="connsiteY43" fmla="*/ 141965 h 1473560"/>
                  <a:gd name="connsiteX44" fmla="*/ 2938463 w 3574732"/>
                  <a:gd name="connsiteY44" fmla="*/ 137203 h 1473560"/>
                  <a:gd name="connsiteX45" fmla="*/ 2919413 w 3574732"/>
                  <a:gd name="connsiteY45" fmla="*/ 131488 h 1473560"/>
                  <a:gd name="connsiteX46" fmla="*/ 2913698 w 3574732"/>
                  <a:gd name="connsiteY46" fmla="*/ 129583 h 1473560"/>
                  <a:gd name="connsiteX47" fmla="*/ 2892743 w 3574732"/>
                  <a:gd name="connsiteY47" fmla="*/ 128630 h 1473560"/>
                  <a:gd name="connsiteX48" fmla="*/ 2873693 w 3574732"/>
                  <a:gd name="connsiteY48" fmla="*/ 126725 h 1473560"/>
                  <a:gd name="connsiteX49" fmla="*/ 2868930 w 3574732"/>
                  <a:gd name="connsiteY49" fmla="*/ 124820 h 1473560"/>
                  <a:gd name="connsiteX50" fmla="*/ 2851785 w 3574732"/>
                  <a:gd name="connsiteY50" fmla="*/ 120058 h 1473560"/>
                  <a:gd name="connsiteX51" fmla="*/ 2834640 w 3574732"/>
                  <a:gd name="connsiteY51" fmla="*/ 115295 h 1473560"/>
                  <a:gd name="connsiteX52" fmla="*/ 2817495 w 3574732"/>
                  <a:gd name="connsiteY52" fmla="*/ 113390 h 1473560"/>
                  <a:gd name="connsiteX53" fmla="*/ 2800350 w 3574732"/>
                  <a:gd name="connsiteY53" fmla="*/ 112438 h 1473560"/>
                  <a:gd name="connsiteX54" fmla="*/ 2785110 w 3574732"/>
                  <a:gd name="connsiteY54" fmla="*/ 114343 h 1473560"/>
                  <a:gd name="connsiteX55" fmla="*/ 2761298 w 3574732"/>
                  <a:gd name="connsiteY55" fmla="*/ 113390 h 1473560"/>
                  <a:gd name="connsiteX56" fmla="*/ 2740343 w 3574732"/>
                  <a:gd name="connsiteY56" fmla="*/ 113390 h 1473560"/>
                  <a:gd name="connsiteX57" fmla="*/ 2718435 w 3574732"/>
                  <a:gd name="connsiteY57" fmla="*/ 121963 h 1473560"/>
                  <a:gd name="connsiteX58" fmla="*/ 2713673 w 3574732"/>
                  <a:gd name="connsiteY58" fmla="*/ 121963 h 1473560"/>
                  <a:gd name="connsiteX59" fmla="*/ 2708910 w 3574732"/>
                  <a:gd name="connsiteY59" fmla="*/ 126725 h 1473560"/>
                  <a:gd name="connsiteX60" fmla="*/ 2704148 w 3574732"/>
                  <a:gd name="connsiteY60" fmla="*/ 133393 h 1473560"/>
                  <a:gd name="connsiteX61" fmla="*/ 2692718 w 3574732"/>
                  <a:gd name="connsiteY61" fmla="*/ 133393 h 1473560"/>
                  <a:gd name="connsiteX62" fmla="*/ 2676525 w 3574732"/>
                  <a:gd name="connsiteY62" fmla="*/ 133393 h 1473560"/>
                  <a:gd name="connsiteX63" fmla="*/ 2654618 w 3574732"/>
                  <a:gd name="connsiteY63" fmla="*/ 133393 h 1473560"/>
                  <a:gd name="connsiteX64" fmla="*/ 2646998 w 3574732"/>
                  <a:gd name="connsiteY64" fmla="*/ 139108 h 1473560"/>
                  <a:gd name="connsiteX65" fmla="*/ 2635568 w 3574732"/>
                  <a:gd name="connsiteY65" fmla="*/ 140060 h 1473560"/>
                  <a:gd name="connsiteX66" fmla="*/ 2616518 w 3574732"/>
                  <a:gd name="connsiteY66" fmla="*/ 140060 h 1473560"/>
                  <a:gd name="connsiteX67" fmla="*/ 2606040 w 3574732"/>
                  <a:gd name="connsiteY67" fmla="*/ 133393 h 1473560"/>
                  <a:gd name="connsiteX68" fmla="*/ 2606040 w 3574732"/>
                  <a:gd name="connsiteY68" fmla="*/ 130535 h 1473560"/>
                  <a:gd name="connsiteX69" fmla="*/ 2597468 w 3574732"/>
                  <a:gd name="connsiteY69" fmla="*/ 128630 h 1473560"/>
                  <a:gd name="connsiteX70" fmla="*/ 2586038 w 3574732"/>
                  <a:gd name="connsiteY70" fmla="*/ 128630 h 1473560"/>
                  <a:gd name="connsiteX71" fmla="*/ 2578418 w 3574732"/>
                  <a:gd name="connsiteY71" fmla="*/ 132440 h 1473560"/>
                  <a:gd name="connsiteX72" fmla="*/ 2572703 w 3574732"/>
                  <a:gd name="connsiteY72" fmla="*/ 141965 h 1473560"/>
                  <a:gd name="connsiteX73" fmla="*/ 2562225 w 3574732"/>
                  <a:gd name="connsiteY73" fmla="*/ 141965 h 1473560"/>
                  <a:gd name="connsiteX74" fmla="*/ 2545080 w 3574732"/>
                  <a:gd name="connsiteY74" fmla="*/ 139108 h 1473560"/>
                  <a:gd name="connsiteX75" fmla="*/ 2530793 w 3574732"/>
                  <a:gd name="connsiteY75" fmla="*/ 130535 h 1473560"/>
                  <a:gd name="connsiteX76" fmla="*/ 2527935 w 3574732"/>
                  <a:gd name="connsiteY76" fmla="*/ 117200 h 1473560"/>
                  <a:gd name="connsiteX77" fmla="*/ 2526983 w 3574732"/>
                  <a:gd name="connsiteY77" fmla="*/ 109580 h 1473560"/>
                  <a:gd name="connsiteX78" fmla="*/ 2521268 w 3574732"/>
                  <a:gd name="connsiteY78" fmla="*/ 104818 h 1473560"/>
                  <a:gd name="connsiteX79" fmla="*/ 2506980 w 3574732"/>
                  <a:gd name="connsiteY79" fmla="*/ 100055 h 1473560"/>
                  <a:gd name="connsiteX80" fmla="*/ 2499360 w 3574732"/>
                  <a:gd name="connsiteY80" fmla="*/ 98150 h 1473560"/>
                  <a:gd name="connsiteX81" fmla="*/ 2480310 w 3574732"/>
                  <a:gd name="connsiteY81" fmla="*/ 95293 h 1473560"/>
                  <a:gd name="connsiteX82" fmla="*/ 2450783 w 3574732"/>
                  <a:gd name="connsiteY82" fmla="*/ 94340 h 1473560"/>
                  <a:gd name="connsiteX83" fmla="*/ 2443163 w 3574732"/>
                  <a:gd name="connsiteY83" fmla="*/ 97198 h 1473560"/>
                  <a:gd name="connsiteX84" fmla="*/ 2430780 w 3574732"/>
                  <a:gd name="connsiteY84" fmla="*/ 104818 h 1473560"/>
                  <a:gd name="connsiteX85" fmla="*/ 2426018 w 3574732"/>
                  <a:gd name="connsiteY85" fmla="*/ 103865 h 1473560"/>
                  <a:gd name="connsiteX86" fmla="*/ 2407920 w 3574732"/>
                  <a:gd name="connsiteY86" fmla="*/ 103865 h 1473560"/>
                  <a:gd name="connsiteX87" fmla="*/ 2391728 w 3574732"/>
                  <a:gd name="connsiteY87" fmla="*/ 101008 h 1473560"/>
                  <a:gd name="connsiteX88" fmla="*/ 2375535 w 3574732"/>
                  <a:gd name="connsiteY88" fmla="*/ 96245 h 1473560"/>
                  <a:gd name="connsiteX89" fmla="*/ 2370773 w 3574732"/>
                  <a:gd name="connsiteY89" fmla="*/ 93388 h 1473560"/>
                  <a:gd name="connsiteX90" fmla="*/ 2359343 w 3574732"/>
                  <a:gd name="connsiteY90" fmla="*/ 90530 h 1473560"/>
                  <a:gd name="connsiteX91" fmla="*/ 2347913 w 3574732"/>
                  <a:gd name="connsiteY91" fmla="*/ 90530 h 1473560"/>
                  <a:gd name="connsiteX92" fmla="*/ 2339340 w 3574732"/>
                  <a:gd name="connsiteY92" fmla="*/ 90530 h 1473560"/>
                  <a:gd name="connsiteX93" fmla="*/ 2328863 w 3574732"/>
                  <a:gd name="connsiteY93" fmla="*/ 90530 h 1473560"/>
                  <a:gd name="connsiteX94" fmla="*/ 2314575 w 3574732"/>
                  <a:gd name="connsiteY94" fmla="*/ 91483 h 1473560"/>
                  <a:gd name="connsiteX95" fmla="*/ 2304098 w 3574732"/>
                  <a:gd name="connsiteY95" fmla="*/ 91483 h 1473560"/>
                  <a:gd name="connsiteX96" fmla="*/ 2292668 w 3574732"/>
                  <a:gd name="connsiteY96" fmla="*/ 91483 h 1473560"/>
                  <a:gd name="connsiteX97" fmla="*/ 2279333 w 3574732"/>
                  <a:gd name="connsiteY97" fmla="*/ 88625 h 1473560"/>
                  <a:gd name="connsiteX98" fmla="*/ 2262188 w 3574732"/>
                  <a:gd name="connsiteY98" fmla="*/ 85768 h 1473560"/>
                  <a:gd name="connsiteX99" fmla="*/ 2237423 w 3574732"/>
                  <a:gd name="connsiteY99" fmla="*/ 84815 h 1473560"/>
                  <a:gd name="connsiteX100" fmla="*/ 2232660 w 3574732"/>
                  <a:gd name="connsiteY100" fmla="*/ 82910 h 1473560"/>
                  <a:gd name="connsiteX101" fmla="*/ 2225040 w 3574732"/>
                  <a:gd name="connsiteY101" fmla="*/ 82910 h 1473560"/>
                  <a:gd name="connsiteX102" fmla="*/ 2213610 w 3574732"/>
                  <a:gd name="connsiteY102" fmla="*/ 85768 h 1473560"/>
                  <a:gd name="connsiteX103" fmla="*/ 2189798 w 3574732"/>
                  <a:gd name="connsiteY103" fmla="*/ 94340 h 1473560"/>
                  <a:gd name="connsiteX104" fmla="*/ 2170748 w 3574732"/>
                  <a:gd name="connsiteY104" fmla="*/ 95293 h 1473560"/>
                  <a:gd name="connsiteX105" fmla="*/ 2159318 w 3574732"/>
                  <a:gd name="connsiteY105" fmla="*/ 99103 h 1473560"/>
                  <a:gd name="connsiteX106" fmla="*/ 2141220 w 3574732"/>
                  <a:gd name="connsiteY106" fmla="*/ 104818 h 1473560"/>
                  <a:gd name="connsiteX107" fmla="*/ 2127885 w 3574732"/>
                  <a:gd name="connsiteY107" fmla="*/ 103865 h 1473560"/>
                  <a:gd name="connsiteX108" fmla="*/ 2117408 w 3574732"/>
                  <a:gd name="connsiteY108" fmla="*/ 101008 h 1473560"/>
                  <a:gd name="connsiteX109" fmla="*/ 2123123 w 3574732"/>
                  <a:gd name="connsiteY109" fmla="*/ 96245 h 1473560"/>
                  <a:gd name="connsiteX110" fmla="*/ 2146935 w 3574732"/>
                  <a:gd name="connsiteY110" fmla="*/ 90530 h 1473560"/>
                  <a:gd name="connsiteX111" fmla="*/ 2162175 w 3574732"/>
                  <a:gd name="connsiteY111" fmla="*/ 84815 h 1473560"/>
                  <a:gd name="connsiteX112" fmla="*/ 2170748 w 3574732"/>
                  <a:gd name="connsiteY112" fmla="*/ 81958 h 1473560"/>
                  <a:gd name="connsiteX113" fmla="*/ 2194560 w 3574732"/>
                  <a:gd name="connsiteY113" fmla="*/ 67670 h 1473560"/>
                  <a:gd name="connsiteX114" fmla="*/ 2205038 w 3574732"/>
                  <a:gd name="connsiteY114" fmla="*/ 67670 h 1473560"/>
                  <a:gd name="connsiteX115" fmla="*/ 2222183 w 3574732"/>
                  <a:gd name="connsiteY115" fmla="*/ 67670 h 1473560"/>
                  <a:gd name="connsiteX116" fmla="*/ 2241233 w 3574732"/>
                  <a:gd name="connsiteY116" fmla="*/ 67670 h 1473560"/>
                  <a:gd name="connsiteX117" fmla="*/ 2265045 w 3574732"/>
                  <a:gd name="connsiteY117" fmla="*/ 61955 h 1473560"/>
                  <a:gd name="connsiteX118" fmla="*/ 2266950 w 3574732"/>
                  <a:gd name="connsiteY118" fmla="*/ 55288 h 1473560"/>
                  <a:gd name="connsiteX119" fmla="*/ 2265998 w 3574732"/>
                  <a:gd name="connsiteY119" fmla="*/ 45763 h 1473560"/>
                  <a:gd name="connsiteX120" fmla="*/ 2263140 w 3574732"/>
                  <a:gd name="connsiteY120" fmla="*/ 38143 h 1473560"/>
                  <a:gd name="connsiteX121" fmla="*/ 2257425 w 3574732"/>
                  <a:gd name="connsiteY121" fmla="*/ 25760 h 1473560"/>
                  <a:gd name="connsiteX122" fmla="*/ 2241233 w 3574732"/>
                  <a:gd name="connsiteY122" fmla="*/ 22903 h 1473560"/>
                  <a:gd name="connsiteX123" fmla="*/ 2225040 w 3574732"/>
                  <a:gd name="connsiteY123" fmla="*/ 19093 h 1473560"/>
                  <a:gd name="connsiteX124" fmla="*/ 2216468 w 3574732"/>
                  <a:gd name="connsiteY124" fmla="*/ 19093 h 1473560"/>
                  <a:gd name="connsiteX125" fmla="*/ 2211705 w 3574732"/>
                  <a:gd name="connsiteY125" fmla="*/ 18140 h 1473560"/>
                  <a:gd name="connsiteX126" fmla="*/ 2195513 w 3574732"/>
                  <a:gd name="connsiteY126" fmla="*/ 19093 h 1473560"/>
                  <a:gd name="connsiteX127" fmla="*/ 2182178 w 3574732"/>
                  <a:gd name="connsiteY127" fmla="*/ 17188 h 1473560"/>
                  <a:gd name="connsiteX128" fmla="*/ 2161223 w 3574732"/>
                  <a:gd name="connsiteY128" fmla="*/ 16235 h 1473560"/>
                  <a:gd name="connsiteX129" fmla="*/ 2142173 w 3574732"/>
                  <a:gd name="connsiteY129" fmla="*/ 16235 h 1473560"/>
                  <a:gd name="connsiteX130" fmla="*/ 2131695 w 3574732"/>
                  <a:gd name="connsiteY130" fmla="*/ 13378 h 1473560"/>
                  <a:gd name="connsiteX131" fmla="*/ 2130743 w 3574732"/>
                  <a:gd name="connsiteY131" fmla="*/ 1948 h 1473560"/>
                  <a:gd name="connsiteX132" fmla="*/ 2120265 w 3574732"/>
                  <a:gd name="connsiteY132" fmla="*/ 995 h 1473560"/>
                  <a:gd name="connsiteX133" fmla="*/ 2093595 w 3574732"/>
                  <a:gd name="connsiteY133" fmla="*/ 1948 h 1473560"/>
                  <a:gd name="connsiteX134" fmla="*/ 2074545 w 3574732"/>
                  <a:gd name="connsiteY134" fmla="*/ 995 h 1473560"/>
                  <a:gd name="connsiteX135" fmla="*/ 2057400 w 3574732"/>
                  <a:gd name="connsiteY135" fmla="*/ 43 h 1473560"/>
                  <a:gd name="connsiteX136" fmla="*/ 2052638 w 3574732"/>
                  <a:gd name="connsiteY136" fmla="*/ 14330 h 1473560"/>
                  <a:gd name="connsiteX137" fmla="*/ 2052638 w 3574732"/>
                  <a:gd name="connsiteY137" fmla="*/ 19093 h 1473560"/>
                  <a:gd name="connsiteX138" fmla="*/ 2049780 w 3574732"/>
                  <a:gd name="connsiteY138" fmla="*/ 22903 h 1473560"/>
                  <a:gd name="connsiteX139" fmla="*/ 2038350 w 3574732"/>
                  <a:gd name="connsiteY139" fmla="*/ 27665 h 1473560"/>
                  <a:gd name="connsiteX140" fmla="*/ 2026920 w 3574732"/>
                  <a:gd name="connsiteY140" fmla="*/ 31475 h 1473560"/>
                  <a:gd name="connsiteX141" fmla="*/ 2010728 w 3574732"/>
                  <a:gd name="connsiteY141" fmla="*/ 33380 h 1473560"/>
                  <a:gd name="connsiteX142" fmla="*/ 1985963 w 3574732"/>
                  <a:gd name="connsiteY142" fmla="*/ 36238 h 1473560"/>
                  <a:gd name="connsiteX143" fmla="*/ 1981200 w 3574732"/>
                  <a:gd name="connsiteY143" fmla="*/ 35285 h 1473560"/>
                  <a:gd name="connsiteX144" fmla="*/ 1960245 w 3574732"/>
                  <a:gd name="connsiteY144" fmla="*/ 34333 h 1473560"/>
                  <a:gd name="connsiteX145" fmla="*/ 1949768 w 3574732"/>
                  <a:gd name="connsiteY145" fmla="*/ 34333 h 1473560"/>
                  <a:gd name="connsiteX146" fmla="*/ 1939290 w 3574732"/>
                  <a:gd name="connsiteY146" fmla="*/ 35285 h 1473560"/>
                  <a:gd name="connsiteX147" fmla="*/ 1918335 w 3574732"/>
                  <a:gd name="connsiteY147" fmla="*/ 39095 h 1473560"/>
                  <a:gd name="connsiteX148" fmla="*/ 1897380 w 3574732"/>
                  <a:gd name="connsiteY148" fmla="*/ 42905 h 1473560"/>
                  <a:gd name="connsiteX149" fmla="*/ 1873568 w 3574732"/>
                  <a:gd name="connsiteY149" fmla="*/ 46715 h 1473560"/>
                  <a:gd name="connsiteX150" fmla="*/ 1855470 w 3574732"/>
                  <a:gd name="connsiteY150" fmla="*/ 47668 h 1473560"/>
                  <a:gd name="connsiteX151" fmla="*/ 1850708 w 3574732"/>
                  <a:gd name="connsiteY151" fmla="*/ 47668 h 1473560"/>
                  <a:gd name="connsiteX152" fmla="*/ 1825943 w 3574732"/>
                  <a:gd name="connsiteY152" fmla="*/ 54335 h 1473560"/>
                  <a:gd name="connsiteX153" fmla="*/ 1812608 w 3574732"/>
                  <a:gd name="connsiteY153" fmla="*/ 58145 h 1473560"/>
                  <a:gd name="connsiteX154" fmla="*/ 1804035 w 3574732"/>
                  <a:gd name="connsiteY154" fmla="*/ 65765 h 1473560"/>
                  <a:gd name="connsiteX155" fmla="*/ 1795463 w 3574732"/>
                  <a:gd name="connsiteY155" fmla="*/ 74338 h 1473560"/>
                  <a:gd name="connsiteX156" fmla="*/ 1786890 w 3574732"/>
                  <a:gd name="connsiteY156" fmla="*/ 76243 h 1473560"/>
                  <a:gd name="connsiteX157" fmla="*/ 1770698 w 3574732"/>
                  <a:gd name="connsiteY157" fmla="*/ 80053 h 1473560"/>
                  <a:gd name="connsiteX158" fmla="*/ 1755458 w 3574732"/>
                  <a:gd name="connsiteY158" fmla="*/ 86720 h 1473560"/>
                  <a:gd name="connsiteX159" fmla="*/ 1728788 w 3574732"/>
                  <a:gd name="connsiteY159" fmla="*/ 87673 h 1473560"/>
                  <a:gd name="connsiteX160" fmla="*/ 1721168 w 3574732"/>
                  <a:gd name="connsiteY160" fmla="*/ 87673 h 1473560"/>
                  <a:gd name="connsiteX161" fmla="*/ 1712595 w 3574732"/>
                  <a:gd name="connsiteY161" fmla="*/ 88625 h 1473560"/>
                  <a:gd name="connsiteX162" fmla="*/ 1709738 w 3574732"/>
                  <a:gd name="connsiteY162" fmla="*/ 93388 h 1473560"/>
                  <a:gd name="connsiteX163" fmla="*/ 1704975 w 3574732"/>
                  <a:gd name="connsiteY163" fmla="*/ 102913 h 1473560"/>
                  <a:gd name="connsiteX164" fmla="*/ 1704975 w 3574732"/>
                  <a:gd name="connsiteY164" fmla="*/ 108628 h 1473560"/>
                  <a:gd name="connsiteX165" fmla="*/ 1703070 w 3574732"/>
                  <a:gd name="connsiteY165" fmla="*/ 115295 h 1473560"/>
                  <a:gd name="connsiteX166" fmla="*/ 1701165 w 3574732"/>
                  <a:gd name="connsiteY166" fmla="*/ 123868 h 1473560"/>
                  <a:gd name="connsiteX167" fmla="*/ 1698308 w 3574732"/>
                  <a:gd name="connsiteY167" fmla="*/ 127678 h 1473560"/>
                  <a:gd name="connsiteX168" fmla="*/ 1675448 w 3574732"/>
                  <a:gd name="connsiteY168" fmla="*/ 121010 h 1473560"/>
                  <a:gd name="connsiteX169" fmla="*/ 1674495 w 3574732"/>
                  <a:gd name="connsiteY169" fmla="*/ 114343 h 1473560"/>
                  <a:gd name="connsiteX170" fmla="*/ 1666875 w 3574732"/>
                  <a:gd name="connsiteY170" fmla="*/ 111485 h 1473560"/>
                  <a:gd name="connsiteX171" fmla="*/ 1652588 w 3574732"/>
                  <a:gd name="connsiteY171" fmla="*/ 111485 h 1473560"/>
                  <a:gd name="connsiteX172" fmla="*/ 1644968 w 3574732"/>
                  <a:gd name="connsiteY172" fmla="*/ 111485 h 1473560"/>
                  <a:gd name="connsiteX173" fmla="*/ 1637348 w 3574732"/>
                  <a:gd name="connsiteY173" fmla="*/ 121963 h 1473560"/>
                  <a:gd name="connsiteX174" fmla="*/ 1626870 w 3574732"/>
                  <a:gd name="connsiteY174" fmla="*/ 124820 h 1473560"/>
                  <a:gd name="connsiteX175" fmla="*/ 1626870 w 3574732"/>
                  <a:gd name="connsiteY175" fmla="*/ 127678 h 1473560"/>
                  <a:gd name="connsiteX176" fmla="*/ 1624013 w 3574732"/>
                  <a:gd name="connsiteY176" fmla="*/ 133393 h 1473560"/>
                  <a:gd name="connsiteX177" fmla="*/ 1609725 w 3574732"/>
                  <a:gd name="connsiteY177" fmla="*/ 130535 h 1473560"/>
                  <a:gd name="connsiteX178" fmla="*/ 1605915 w 3574732"/>
                  <a:gd name="connsiteY178" fmla="*/ 120058 h 1473560"/>
                  <a:gd name="connsiteX179" fmla="*/ 1607820 w 3574732"/>
                  <a:gd name="connsiteY179" fmla="*/ 109580 h 1473560"/>
                  <a:gd name="connsiteX180" fmla="*/ 1606868 w 3574732"/>
                  <a:gd name="connsiteY180" fmla="*/ 103865 h 1473560"/>
                  <a:gd name="connsiteX181" fmla="*/ 1599248 w 3574732"/>
                  <a:gd name="connsiteY181" fmla="*/ 111485 h 1473560"/>
                  <a:gd name="connsiteX182" fmla="*/ 1584008 w 3574732"/>
                  <a:gd name="connsiteY182" fmla="*/ 119105 h 1473560"/>
                  <a:gd name="connsiteX183" fmla="*/ 1575435 w 3574732"/>
                  <a:gd name="connsiteY183" fmla="*/ 128630 h 1473560"/>
                  <a:gd name="connsiteX184" fmla="*/ 1572578 w 3574732"/>
                  <a:gd name="connsiteY184" fmla="*/ 133393 h 1473560"/>
                  <a:gd name="connsiteX185" fmla="*/ 1572578 w 3574732"/>
                  <a:gd name="connsiteY185" fmla="*/ 146728 h 1473560"/>
                  <a:gd name="connsiteX186" fmla="*/ 1585913 w 3574732"/>
                  <a:gd name="connsiteY186" fmla="*/ 154348 h 1473560"/>
                  <a:gd name="connsiteX187" fmla="*/ 1591628 w 3574732"/>
                  <a:gd name="connsiteY187" fmla="*/ 157205 h 1473560"/>
                  <a:gd name="connsiteX188" fmla="*/ 1592580 w 3574732"/>
                  <a:gd name="connsiteY188" fmla="*/ 162920 h 1473560"/>
                  <a:gd name="connsiteX189" fmla="*/ 1589723 w 3574732"/>
                  <a:gd name="connsiteY189" fmla="*/ 168635 h 1473560"/>
                  <a:gd name="connsiteX190" fmla="*/ 1587818 w 3574732"/>
                  <a:gd name="connsiteY190" fmla="*/ 177208 h 1473560"/>
                  <a:gd name="connsiteX191" fmla="*/ 1593533 w 3574732"/>
                  <a:gd name="connsiteY191" fmla="*/ 177208 h 1473560"/>
                  <a:gd name="connsiteX192" fmla="*/ 1604010 w 3574732"/>
                  <a:gd name="connsiteY192" fmla="*/ 180065 h 1473560"/>
                  <a:gd name="connsiteX193" fmla="*/ 1602105 w 3574732"/>
                  <a:gd name="connsiteY193" fmla="*/ 184828 h 1473560"/>
                  <a:gd name="connsiteX194" fmla="*/ 1599248 w 3574732"/>
                  <a:gd name="connsiteY194" fmla="*/ 191495 h 1473560"/>
                  <a:gd name="connsiteX195" fmla="*/ 1589723 w 3574732"/>
                  <a:gd name="connsiteY195" fmla="*/ 202925 h 1473560"/>
                  <a:gd name="connsiteX196" fmla="*/ 1584008 w 3574732"/>
                  <a:gd name="connsiteY196" fmla="*/ 208640 h 1473560"/>
                  <a:gd name="connsiteX197" fmla="*/ 1579245 w 3574732"/>
                  <a:gd name="connsiteY197" fmla="*/ 213403 h 1473560"/>
                  <a:gd name="connsiteX198" fmla="*/ 1574483 w 3574732"/>
                  <a:gd name="connsiteY198" fmla="*/ 215308 h 1473560"/>
                  <a:gd name="connsiteX199" fmla="*/ 1564005 w 3574732"/>
                  <a:gd name="connsiteY199" fmla="*/ 225785 h 1473560"/>
                  <a:gd name="connsiteX200" fmla="*/ 1555433 w 3574732"/>
                  <a:gd name="connsiteY200" fmla="*/ 229595 h 1473560"/>
                  <a:gd name="connsiteX201" fmla="*/ 1542098 w 3574732"/>
                  <a:gd name="connsiteY201" fmla="*/ 234358 h 1473560"/>
                  <a:gd name="connsiteX202" fmla="*/ 1537335 w 3574732"/>
                  <a:gd name="connsiteY202" fmla="*/ 239120 h 1473560"/>
                  <a:gd name="connsiteX203" fmla="*/ 1526858 w 3574732"/>
                  <a:gd name="connsiteY203" fmla="*/ 241025 h 1473560"/>
                  <a:gd name="connsiteX204" fmla="*/ 1521143 w 3574732"/>
                  <a:gd name="connsiteY204" fmla="*/ 237215 h 1473560"/>
                  <a:gd name="connsiteX205" fmla="*/ 1525905 w 3574732"/>
                  <a:gd name="connsiteY205" fmla="*/ 232453 h 1473560"/>
                  <a:gd name="connsiteX206" fmla="*/ 1539240 w 3574732"/>
                  <a:gd name="connsiteY206" fmla="*/ 225785 h 1473560"/>
                  <a:gd name="connsiteX207" fmla="*/ 1552575 w 3574732"/>
                  <a:gd name="connsiteY207" fmla="*/ 218165 h 1473560"/>
                  <a:gd name="connsiteX208" fmla="*/ 1560195 w 3574732"/>
                  <a:gd name="connsiteY208" fmla="*/ 206735 h 1473560"/>
                  <a:gd name="connsiteX209" fmla="*/ 1563053 w 3574732"/>
                  <a:gd name="connsiteY209" fmla="*/ 198163 h 1473560"/>
                  <a:gd name="connsiteX210" fmla="*/ 1562100 w 3574732"/>
                  <a:gd name="connsiteY210" fmla="*/ 193400 h 1473560"/>
                  <a:gd name="connsiteX211" fmla="*/ 1561148 w 3574732"/>
                  <a:gd name="connsiteY211" fmla="*/ 186733 h 1473560"/>
                  <a:gd name="connsiteX212" fmla="*/ 1558290 w 3574732"/>
                  <a:gd name="connsiteY212" fmla="*/ 176255 h 1473560"/>
                  <a:gd name="connsiteX213" fmla="*/ 1561148 w 3574732"/>
                  <a:gd name="connsiteY213" fmla="*/ 166730 h 1473560"/>
                  <a:gd name="connsiteX214" fmla="*/ 1554480 w 3574732"/>
                  <a:gd name="connsiteY214" fmla="*/ 156253 h 1473560"/>
                  <a:gd name="connsiteX215" fmla="*/ 1557338 w 3574732"/>
                  <a:gd name="connsiteY215" fmla="*/ 144823 h 1473560"/>
                  <a:gd name="connsiteX216" fmla="*/ 1550670 w 3574732"/>
                  <a:gd name="connsiteY216" fmla="*/ 130535 h 1473560"/>
                  <a:gd name="connsiteX217" fmla="*/ 1553528 w 3574732"/>
                  <a:gd name="connsiteY217" fmla="*/ 122915 h 1473560"/>
                  <a:gd name="connsiteX218" fmla="*/ 1558290 w 3574732"/>
                  <a:gd name="connsiteY218" fmla="*/ 116248 h 1473560"/>
                  <a:gd name="connsiteX219" fmla="*/ 1557338 w 3574732"/>
                  <a:gd name="connsiteY219" fmla="*/ 107675 h 1473560"/>
                  <a:gd name="connsiteX220" fmla="*/ 1549718 w 3574732"/>
                  <a:gd name="connsiteY220" fmla="*/ 104818 h 1473560"/>
                  <a:gd name="connsiteX221" fmla="*/ 1525905 w 3574732"/>
                  <a:gd name="connsiteY221" fmla="*/ 104818 h 1473560"/>
                  <a:gd name="connsiteX222" fmla="*/ 1517333 w 3574732"/>
                  <a:gd name="connsiteY222" fmla="*/ 107675 h 1473560"/>
                  <a:gd name="connsiteX223" fmla="*/ 1505903 w 3574732"/>
                  <a:gd name="connsiteY223" fmla="*/ 110533 h 1473560"/>
                  <a:gd name="connsiteX224" fmla="*/ 1501140 w 3574732"/>
                  <a:gd name="connsiteY224" fmla="*/ 116248 h 1473560"/>
                  <a:gd name="connsiteX225" fmla="*/ 1485900 w 3574732"/>
                  <a:gd name="connsiteY225" fmla="*/ 128630 h 1473560"/>
                  <a:gd name="connsiteX226" fmla="*/ 1477328 w 3574732"/>
                  <a:gd name="connsiteY226" fmla="*/ 130535 h 1473560"/>
                  <a:gd name="connsiteX227" fmla="*/ 1469708 w 3574732"/>
                  <a:gd name="connsiteY227" fmla="*/ 141013 h 1473560"/>
                  <a:gd name="connsiteX228" fmla="*/ 1462088 w 3574732"/>
                  <a:gd name="connsiteY228" fmla="*/ 150538 h 1473560"/>
                  <a:gd name="connsiteX229" fmla="*/ 1463040 w 3574732"/>
                  <a:gd name="connsiteY229" fmla="*/ 162920 h 1473560"/>
                  <a:gd name="connsiteX230" fmla="*/ 1471613 w 3574732"/>
                  <a:gd name="connsiteY230" fmla="*/ 165778 h 1473560"/>
                  <a:gd name="connsiteX231" fmla="*/ 1474470 w 3574732"/>
                  <a:gd name="connsiteY231" fmla="*/ 174350 h 1473560"/>
                  <a:gd name="connsiteX232" fmla="*/ 1478280 w 3574732"/>
                  <a:gd name="connsiteY232" fmla="*/ 181018 h 1473560"/>
                  <a:gd name="connsiteX233" fmla="*/ 1483043 w 3574732"/>
                  <a:gd name="connsiteY233" fmla="*/ 184828 h 1473560"/>
                  <a:gd name="connsiteX234" fmla="*/ 1497330 w 3574732"/>
                  <a:gd name="connsiteY234" fmla="*/ 188638 h 1473560"/>
                  <a:gd name="connsiteX235" fmla="*/ 1497330 w 3574732"/>
                  <a:gd name="connsiteY235" fmla="*/ 175303 h 1473560"/>
                  <a:gd name="connsiteX236" fmla="*/ 1495425 w 3574732"/>
                  <a:gd name="connsiteY236" fmla="*/ 179113 h 1473560"/>
                  <a:gd name="connsiteX237" fmla="*/ 1479233 w 3574732"/>
                  <a:gd name="connsiteY237" fmla="*/ 177208 h 1473560"/>
                  <a:gd name="connsiteX238" fmla="*/ 1465898 w 3574732"/>
                  <a:gd name="connsiteY238" fmla="*/ 175303 h 1473560"/>
                  <a:gd name="connsiteX239" fmla="*/ 1455420 w 3574732"/>
                  <a:gd name="connsiteY239" fmla="*/ 169588 h 1473560"/>
                  <a:gd name="connsiteX240" fmla="*/ 1449705 w 3574732"/>
                  <a:gd name="connsiteY240" fmla="*/ 164825 h 1473560"/>
                  <a:gd name="connsiteX241" fmla="*/ 1441133 w 3574732"/>
                  <a:gd name="connsiteY241" fmla="*/ 159110 h 1473560"/>
                  <a:gd name="connsiteX242" fmla="*/ 1427798 w 3574732"/>
                  <a:gd name="connsiteY242" fmla="*/ 155300 h 1473560"/>
                  <a:gd name="connsiteX243" fmla="*/ 1403033 w 3574732"/>
                  <a:gd name="connsiteY243" fmla="*/ 150538 h 1473560"/>
                  <a:gd name="connsiteX244" fmla="*/ 1394460 w 3574732"/>
                  <a:gd name="connsiteY244" fmla="*/ 150538 h 1473560"/>
                  <a:gd name="connsiteX245" fmla="*/ 1383983 w 3574732"/>
                  <a:gd name="connsiteY245" fmla="*/ 149585 h 1473560"/>
                  <a:gd name="connsiteX246" fmla="*/ 1369695 w 3574732"/>
                  <a:gd name="connsiteY246" fmla="*/ 148633 h 1473560"/>
                  <a:gd name="connsiteX247" fmla="*/ 1348740 w 3574732"/>
                  <a:gd name="connsiteY247" fmla="*/ 144823 h 1473560"/>
                  <a:gd name="connsiteX248" fmla="*/ 1341120 w 3574732"/>
                  <a:gd name="connsiteY248" fmla="*/ 141013 h 1473560"/>
                  <a:gd name="connsiteX249" fmla="*/ 1330643 w 3574732"/>
                  <a:gd name="connsiteY249" fmla="*/ 141013 h 1473560"/>
                  <a:gd name="connsiteX250" fmla="*/ 1327785 w 3574732"/>
                  <a:gd name="connsiteY250" fmla="*/ 147680 h 1473560"/>
                  <a:gd name="connsiteX251" fmla="*/ 1338263 w 3574732"/>
                  <a:gd name="connsiteY251" fmla="*/ 152443 h 1473560"/>
                  <a:gd name="connsiteX252" fmla="*/ 1346835 w 3574732"/>
                  <a:gd name="connsiteY252" fmla="*/ 158158 h 1473560"/>
                  <a:gd name="connsiteX253" fmla="*/ 1346835 w 3574732"/>
                  <a:gd name="connsiteY253" fmla="*/ 163873 h 1473560"/>
                  <a:gd name="connsiteX254" fmla="*/ 1342073 w 3574732"/>
                  <a:gd name="connsiteY254" fmla="*/ 167683 h 1473560"/>
                  <a:gd name="connsiteX255" fmla="*/ 1331595 w 3574732"/>
                  <a:gd name="connsiteY255" fmla="*/ 168635 h 1473560"/>
                  <a:gd name="connsiteX256" fmla="*/ 1320165 w 3574732"/>
                  <a:gd name="connsiteY256" fmla="*/ 170540 h 1473560"/>
                  <a:gd name="connsiteX257" fmla="*/ 1308735 w 3574732"/>
                  <a:gd name="connsiteY257" fmla="*/ 170540 h 1473560"/>
                  <a:gd name="connsiteX258" fmla="*/ 1292543 w 3574732"/>
                  <a:gd name="connsiteY258" fmla="*/ 171493 h 1473560"/>
                  <a:gd name="connsiteX259" fmla="*/ 1274445 w 3574732"/>
                  <a:gd name="connsiteY259" fmla="*/ 174350 h 1473560"/>
                  <a:gd name="connsiteX260" fmla="*/ 1265873 w 3574732"/>
                  <a:gd name="connsiteY260" fmla="*/ 175303 h 1473560"/>
                  <a:gd name="connsiteX261" fmla="*/ 1255395 w 3574732"/>
                  <a:gd name="connsiteY261" fmla="*/ 176255 h 1473560"/>
                  <a:gd name="connsiteX262" fmla="*/ 1244918 w 3574732"/>
                  <a:gd name="connsiteY262" fmla="*/ 175303 h 1473560"/>
                  <a:gd name="connsiteX263" fmla="*/ 1231583 w 3574732"/>
                  <a:gd name="connsiteY263" fmla="*/ 171493 h 1473560"/>
                  <a:gd name="connsiteX264" fmla="*/ 1226820 w 3574732"/>
                  <a:gd name="connsiteY264" fmla="*/ 168635 h 1473560"/>
                  <a:gd name="connsiteX265" fmla="*/ 1221105 w 3574732"/>
                  <a:gd name="connsiteY265" fmla="*/ 168635 h 1473560"/>
                  <a:gd name="connsiteX266" fmla="*/ 1194435 w 3574732"/>
                  <a:gd name="connsiteY266" fmla="*/ 171493 h 1473560"/>
                  <a:gd name="connsiteX267" fmla="*/ 1185863 w 3574732"/>
                  <a:gd name="connsiteY267" fmla="*/ 177208 h 1473560"/>
                  <a:gd name="connsiteX268" fmla="*/ 1161098 w 3574732"/>
                  <a:gd name="connsiteY268" fmla="*/ 184828 h 1473560"/>
                  <a:gd name="connsiteX269" fmla="*/ 1153478 w 3574732"/>
                  <a:gd name="connsiteY269" fmla="*/ 187685 h 1473560"/>
                  <a:gd name="connsiteX270" fmla="*/ 1134428 w 3574732"/>
                  <a:gd name="connsiteY270" fmla="*/ 196258 h 1473560"/>
                  <a:gd name="connsiteX271" fmla="*/ 1121093 w 3574732"/>
                  <a:gd name="connsiteY271" fmla="*/ 196258 h 1473560"/>
                  <a:gd name="connsiteX272" fmla="*/ 1113473 w 3574732"/>
                  <a:gd name="connsiteY272" fmla="*/ 201973 h 1473560"/>
                  <a:gd name="connsiteX273" fmla="*/ 1097280 w 3574732"/>
                  <a:gd name="connsiteY273" fmla="*/ 199115 h 1473560"/>
                  <a:gd name="connsiteX274" fmla="*/ 1088708 w 3574732"/>
                  <a:gd name="connsiteY274" fmla="*/ 191495 h 1473560"/>
                  <a:gd name="connsiteX275" fmla="*/ 1087755 w 3574732"/>
                  <a:gd name="connsiteY275" fmla="*/ 188638 h 1473560"/>
                  <a:gd name="connsiteX276" fmla="*/ 1099185 w 3574732"/>
                  <a:gd name="connsiteY276" fmla="*/ 188638 h 1473560"/>
                  <a:gd name="connsiteX277" fmla="*/ 1121093 w 3574732"/>
                  <a:gd name="connsiteY277" fmla="*/ 181018 h 1473560"/>
                  <a:gd name="connsiteX278" fmla="*/ 1087755 w 3574732"/>
                  <a:gd name="connsiteY278" fmla="*/ 179113 h 1473560"/>
                  <a:gd name="connsiteX279" fmla="*/ 1071563 w 3574732"/>
                  <a:gd name="connsiteY279" fmla="*/ 179113 h 1473560"/>
                  <a:gd name="connsiteX280" fmla="*/ 1062990 w 3574732"/>
                  <a:gd name="connsiteY280" fmla="*/ 182923 h 1473560"/>
                  <a:gd name="connsiteX281" fmla="*/ 1058228 w 3574732"/>
                  <a:gd name="connsiteY281" fmla="*/ 190543 h 1473560"/>
                  <a:gd name="connsiteX282" fmla="*/ 1055370 w 3574732"/>
                  <a:gd name="connsiteY282" fmla="*/ 203878 h 1473560"/>
                  <a:gd name="connsiteX283" fmla="*/ 1048703 w 3574732"/>
                  <a:gd name="connsiteY283" fmla="*/ 218165 h 1473560"/>
                  <a:gd name="connsiteX284" fmla="*/ 1034415 w 3574732"/>
                  <a:gd name="connsiteY284" fmla="*/ 214355 h 1473560"/>
                  <a:gd name="connsiteX285" fmla="*/ 1025843 w 3574732"/>
                  <a:gd name="connsiteY285" fmla="*/ 216260 h 1473560"/>
                  <a:gd name="connsiteX286" fmla="*/ 1021080 w 3574732"/>
                  <a:gd name="connsiteY286" fmla="*/ 219118 h 1473560"/>
                  <a:gd name="connsiteX287" fmla="*/ 1010603 w 3574732"/>
                  <a:gd name="connsiteY287" fmla="*/ 224833 h 1473560"/>
                  <a:gd name="connsiteX288" fmla="*/ 1002983 w 3574732"/>
                  <a:gd name="connsiteY288" fmla="*/ 225785 h 1473560"/>
                  <a:gd name="connsiteX289" fmla="*/ 997268 w 3574732"/>
                  <a:gd name="connsiteY289" fmla="*/ 227690 h 1473560"/>
                  <a:gd name="connsiteX290" fmla="*/ 995363 w 3574732"/>
                  <a:gd name="connsiteY290" fmla="*/ 233405 h 1473560"/>
                  <a:gd name="connsiteX291" fmla="*/ 990600 w 3574732"/>
                  <a:gd name="connsiteY291" fmla="*/ 240073 h 1473560"/>
                  <a:gd name="connsiteX292" fmla="*/ 980123 w 3574732"/>
                  <a:gd name="connsiteY292" fmla="*/ 246740 h 1473560"/>
                  <a:gd name="connsiteX293" fmla="*/ 969645 w 3574732"/>
                  <a:gd name="connsiteY293" fmla="*/ 245788 h 1473560"/>
                  <a:gd name="connsiteX294" fmla="*/ 958215 w 3574732"/>
                  <a:gd name="connsiteY294" fmla="*/ 241978 h 1473560"/>
                  <a:gd name="connsiteX295" fmla="*/ 950595 w 3574732"/>
                  <a:gd name="connsiteY295" fmla="*/ 239120 h 1473560"/>
                  <a:gd name="connsiteX296" fmla="*/ 940118 w 3574732"/>
                  <a:gd name="connsiteY296" fmla="*/ 238168 h 1473560"/>
                  <a:gd name="connsiteX297" fmla="*/ 932498 w 3574732"/>
                  <a:gd name="connsiteY297" fmla="*/ 241978 h 1473560"/>
                  <a:gd name="connsiteX298" fmla="*/ 933450 w 3574732"/>
                  <a:gd name="connsiteY298" fmla="*/ 250550 h 1473560"/>
                  <a:gd name="connsiteX299" fmla="*/ 949643 w 3574732"/>
                  <a:gd name="connsiteY299" fmla="*/ 258170 h 1473560"/>
                  <a:gd name="connsiteX300" fmla="*/ 925830 w 3574732"/>
                  <a:gd name="connsiteY300" fmla="*/ 257218 h 1473560"/>
                  <a:gd name="connsiteX301" fmla="*/ 908685 w 3574732"/>
                  <a:gd name="connsiteY301" fmla="*/ 248645 h 1473560"/>
                  <a:gd name="connsiteX302" fmla="*/ 908685 w 3574732"/>
                  <a:gd name="connsiteY302" fmla="*/ 245788 h 1473560"/>
                  <a:gd name="connsiteX303" fmla="*/ 907733 w 3574732"/>
                  <a:gd name="connsiteY303" fmla="*/ 238168 h 1473560"/>
                  <a:gd name="connsiteX304" fmla="*/ 907733 w 3574732"/>
                  <a:gd name="connsiteY304" fmla="*/ 231500 h 1473560"/>
                  <a:gd name="connsiteX305" fmla="*/ 907733 w 3574732"/>
                  <a:gd name="connsiteY305" fmla="*/ 225785 h 1473560"/>
                  <a:gd name="connsiteX306" fmla="*/ 887730 w 3574732"/>
                  <a:gd name="connsiteY306" fmla="*/ 215308 h 1473560"/>
                  <a:gd name="connsiteX307" fmla="*/ 892493 w 3574732"/>
                  <a:gd name="connsiteY307" fmla="*/ 215308 h 1473560"/>
                  <a:gd name="connsiteX308" fmla="*/ 895350 w 3574732"/>
                  <a:gd name="connsiteY308" fmla="*/ 215308 h 1473560"/>
                  <a:gd name="connsiteX309" fmla="*/ 902970 w 3574732"/>
                  <a:gd name="connsiteY309" fmla="*/ 216260 h 1473560"/>
                  <a:gd name="connsiteX310" fmla="*/ 923925 w 3574732"/>
                  <a:gd name="connsiteY310" fmla="*/ 218165 h 1473560"/>
                  <a:gd name="connsiteX311" fmla="*/ 942975 w 3574732"/>
                  <a:gd name="connsiteY311" fmla="*/ 215308 h 1473560"/>
                  <a:gd name="connsiteX312" fmla="*/ 951548 w 3574732"/>
                  <a:gd name="connsiteY312" fmla="*/ 215308 h 1473560"/>
                  <a:gd name="connsiteX313" fmla="*/ 962025 w 3574732"/>
                  <a:gd name="connsiteY313" fmla="*/ 217213 h 1473560"/>
                  <a:gd name="connsiteX314" fmla="*/ 983933 w 3574732"/>
                  <a:gd name="connsiteY314" fmla="*/ 219118 h 1473560"/>
                  <a:gd name="connsiteX315" fmla="*/ 1002030 w 3574732"/>
                  <a:gd name="connsiteY315" fmla="*/ 213403 h 1473560"/>
                  <a:gd name="connsiteX316" fmla="*/ 1007745 w 3574732"/>
                  <a:gd name="connsiteY316" fmla="*/ 201973 h 1473560"/>
                  <a:gd name="connsiteX317" fmla="*/ 1001078 w 3574732"/>
                  <a:gd name="connsiteY317" fmla="*/ 189590 h 1473560"/>
                  <a:gd name="connsiteX318" fmla="*/ 984885 w 3574732"/>
                  <a:gd name="connsiteY318" fmla="*/ 185780 h 1473560"/>
                  <a:gd name="connsiteX319" fmla="*/ 968693 w 3574732"/>
                  <a:gd name="connsiteY319" fmla="*/ 179113 h 1473560"/>
                  <a:gd name="connsiteX320" fmla="*/ 952500 w 3574732"/>
                  <a:gd name="connsiteY320" fmla="*/ 173398 h 1473560"/>
                  <a:gd name="connsiteX321" fmla="*/ 942023 w 3574732"/>
                  <a:gd name="connsiteY321" fmla="*/ 169588 h 1473560"/>
                  <a:gd name="connsiteX322" fmla="*/ 927735 w 3574732"/>
                  <a:gd name="connsiteY322" fmla="*/ 166730 h 1473560"/>
                  <a:gd name="connsiteX323" fmla="*/ 916305 w 3574732"/>
                  <a:gd name="connsiteY323" fmla="*/ 163873 h 1473560"/>
                  <a:gd name="connsiteX324" fmla="*/ 896303 w 3574732"/>
                  <a:gd name="connsiteY324" fmla="*/ 159110 h 1473560"/>
                  <a:gd name="connsiteX325" fmla="*/ 887730 w 3574732"/>
                  <a:gd name="connsiteY325" fmla="*/ 155300 h 1473560"/>
                  <a:gd name="connsiteX326" fmla="*/ 868680 w 3574732"/>
                  <a:gd name="connsiteY326" fmla="*/ 151490 h 1473560"/>
                  <a:gd name="connsiteX327" fmla="*/ 851535 w 3574732"/>
                  <a:gd name="connsiteY327" fmla="*/ 146728 h 1473560"/>
                  <a:gd name="connsiteX328" fmla="*/ 834390 w 3574732"/>
                  <a:gd name="connsiteY328" fmla="*/ 139108 h 1473560"/>
                  <a:gd name="connsiteX329" fmla="*/ 818198 w 3574732"/>
                  <a:gd name="connsiteY329" fmla="*/ 137203 h 1473560"/>
                  <a:gd name="connsiteX330" fmla="*/ 787718 w 3574732"/>
                  <a:gd name="connsiteY330" fmla="*/ 136250 h 1473560"/>
                  <a:gd name="connsiteX331" fmla="*/ 760095 w 3574732"/>
                  <a:gd name="connsiteY331" fmla="*/ 133393 h 1473560"/>
                  <a:gd name="connsiteX332" fmla="*/ 754380 w 3574732"/>
                  <a:gd name="connsiteY332" fmla="*/ 133393 h 1473560"/>
                  <a:gd name="connsiteX333" fmla="*/ 736283 w 3574732"/>
                  <a:gd name="connsiteY333" fmla="*/ 134345 h 1473560"/>
                  <a:gd name="connsiteX334" fmla="*/ 715328 w 3574732"/>
                  <a:gd name="connsiteY334" fmla="*/ 135298 h 1473560"/>
                  <a:gd name="connsiteX335" fmla="*/ 701993 w 3574732"/>
                  <a:gd name="connsiteY335" fmla="*/ 140060 h 1473560"/>
                  <a:gd name="connsiteX336" fmla="*/ 690563 w 3574732"/>
                  <a:gd name="connsiteY336" fmla="*/ 140060 h 1473560"/>
                  <a:gd name="connsiteX337" fmla="*/ 684848 w 3574732"/>
                  <a:gd name="connsiteY337" fmla="*/ 140060 h 1473560"/>
                  <a:gd name="connsiteX338" fmla="*/ 670560 w 3574732"/>
                  <a:gd name="connsiteY338" fmla="*/ 141965 h 1473560"/>
                  <a:gd name="connsiteX339" fmla="*/ 662940 w 3574732"/>
                  <a:gd name="connsiteY339" fmla="*/ 142918 h 1473560"/>
                  <a:gd name="connsiteX340" fmla="*/ 652463 w 3574732"/>
                  <a:gd name="connsiteY340" fmla="*/ 147680 h 1473560"/>
                  <a:gd name="connsiteX341" fmla="*/ 637223 w 3574732"/>
                  <a:gd name="connsiteY341" fmla="*/ 153395 h 1473560"/>
                  <a:gd name="connsiteX342" fmla="*/ 619125 w 3574732"/>
                  <a:gd name="connsiteY342" fmla="*/ 158158 h 1473560"/>
                  <a:gd name="connsiteX343" fmla="*/ 605790 w 3574732"/>
                  <a:gd name="connsiteY343" fmla="*/ 161968 h 1473560"/>
                  <a:gd name="connsiteX344" fmla="*/ 598170 w 3574732"/>
                  <a:gd name="connsiteY344" fmla="*/ 165778 h 1473560"/>
                  <a:gd name="connsiteX345" fmla="*/ 587693 w 3574732"/>
                  <a:gd name="connsiteY345" fmla="*/ 170540 h 1473560"/>
                  <a:gd name="connsiteX346" fmla="*/ 579120 w 3574732"/>
                  <a:gd name="connsiteY346" fmla="*/ 180065 h 1473560"/>
                  <a:gd name="connsiteX347" fmla="*/ 576263 w 3574732"/>
                  <a:gd name="connsiteY347" fmla="*/ 183875 h 1473560"/>
                  <a:gd name="connsiteX348" fmla="*/ 560070 w 3574732"/>
                  <a:gd name="connsiteY348" fmla="*/ 195305 h 1473560"/>
                  <a:gd name="connsiteX349" fmla="*/ 551498 w 3574732"/>
                  <a:gd name="connsiteY349" fmla="*/ 200068 h 1473560"/>
                  <a:gd name="connsiteX350" fmla="*/ 535305 w 3574732"/>
                  <a:gd name="connsiteY350" fmla="*/ 208640 h 1473560"/>
                  <a:gd name="connsiteX351" fmla="*/ 524828 w 3574732"/>
                  <a:gd name="connsiteY351" fmla="*/ 220070 h 1473560"/>
                  <a:gd name="connsiteX352" fmla="*/ 520065 w 3574732"/>
                  <a:gd name="connsiteY352" fmla="*/ 227690 h 1473560"/>
                  <a:gd name="connsiteX353" fmla="*/ 512445 w 3574732"/>
                  <a:gd name="connsiteY353" fmla="*/ 237215 h 1473560"/>
                  <a:gd name="connsiteX354" fmla="*/ 494348 w 3574732"/>
                  <a:gd name="connsiteY354" fmla="*/ 245788 h 1473560"/>
                  <a:gd name="connsiteX355" fmla="*/ 478155 w 3574732"/>
                  <a:gd name="connsiteY355" fmla="*/ 257218 h 1473560"/>
                  <a:gd name="connsiteX356" fmla="*/ 467678 w 3574732"/>
                  <a:gd name="connsiteY356" fmla="*/ 259123 h 1473560"/>
                  <a:gd name="connsiteX357" fmla="*/ 457200 w 3574732"/>
                  <a:gd name="connsiteY357" fmla="*/ 265790 h 1473560"/>
                  <a:gd name="connsiteX358" fmla="*/ 439103 w 3574732"/>
                  <a:gd name="connsiteY358" fmla="*/ 268648 h 1473560"/>
                  <a:gd name="connsiteX359" fmla="*/ 428625 w 3574732"/>
                  <a:gd name="connsiteY359" fmla="*/ 274363 h 1473560"/>
                  <a:gd name="connsiteX360" fmla="*/ 422910 w 3574732"/>
                  <a:gd name="connsiteY360" fmla="*/ 278173 h 1473560"/>
                  <a:gd name="connsiteX361" fmla="*/ 415290 w 3574732"/>
                  <a:gd name="connsiteY361" fmla="*/ 283888 h 1473560"/>
                  <a:gd name="connsiteX362" fmla="*/ 409575 w 3574732"/>
                  <a:gd name="connsiteY362" fmla="*/ 286745 h 1473560"/>
                  <a:gd name="connsiteX363" fmla="*/ 401003 w 3574732"/>
                  <a:gd name="connsiteY363" fmla="*/ 295318 h 1473560"/>
                  <a:gd name="connsiteX364" fmla="*/ 395288 w 3574732"/>
                  <a:gd name="connsiteY364" fmla="*/ 304843 h 1473560"/>
                  <a:gd name="connsiteX365" fmla="*/ 398145 w 3574732"/>
                  <a:gd name="connsiteY365" fmla="*/ 317225 h 1473560"/>
                  <a:gd name="connsiteX366" fmla="*/ 401003 w 3574732"/>
                  <a:gd name="connsiteY366" fmla="*/ 329608 h 1473560"/>
                  <a:gd name="connsiteX367" fmla="*/ 401003 w 3574732"/>
                  <a:gd name="connsiteY367" fmla="*/ 334370 h 1473560"/>
                  <a:gd name="connsiteX368" fmla="*/ 405765 w 3574732"/>
                  <a:gd name="connsiteY368" fmla="*/ 338180 h 1473560"/>
                  <a:gd name="connsiteX369" fmla="*/ 411480 w 3574732"/>
                  <a:gd name="connsiteY369" fmla="*/ 342943 h 1473560"/>
                  <a:gd name="connsiteX370" fmla="*/ 414338 w 3574732"/>
                  <a:gd name="connsiteY370" fmla="*/ 351515 h 1473560"/>
                  <a:gd name="connsiteX371" fmla="*/ 420053 w 3574732"/>
                  <a:gd name="connsiteY371" fmla="*/ 361993 h 1473560"/>
                  <a:gd name="connsiteX372" fmla="*/ 427673 w 3574732"/>
                  <a:gd name="connsiteY372" fmla="*/ 361993 h 1473560"/>
                  <a:gd name="connsiteX373" fmla="*/ 443865 w 3574732"/>
                  <a:gd name="connsiteY373" fmla="*/ 360088 h 1473560"/>
                  <a:gd name="connsiteX374" fmla="*/ 452438 w 3574732"/>
                  <a:gd name="connsiteY374" fmla="*/ 355325 h 1473560"/>
                  <a:gd name="connsiteX375" fmla="*/ 460058 w 3574732"/>
                  <a:gd name="connsiteY375" fmla="*/ 352468 h 1473560"/>
                  <a:gd name="connsiteX376" fmla="*/ 462915 w 3574732"/>
                  <a:gd name="connsiteY376" fmla="*/ 348658 h 1473560"/>
                  <a:gd name="connsiteX377" fmla="*/ 467678 w 3574732"/>
                  <a:gd name="connsiteY377" fmla="*/ 343895 h 1473560"/>
                  <a:gd name="connsiteX378" fmla="*/ 478155 w 3574732"/>
                  <a:gd name="connsiteY378" fmla="*/ 341990 h 1473560"/>
                  <a:gd name="connsiteX379" fmla="*/ 483870 w 3574732"/>
                  <a:gd name="connsiteY379" fmla="*/ 341038 h 1473560"/>
                  <a:gd name="connsiteX380" fmla="*/ 492443 w 3574732"/>
                  <a:gd name="connsiteY380" fmla="*/ 341990 h 1473560"/>
                  <a:gd name="connsiteX381" fmla="*/ 493395 w 3574732"/>
                  <a:gd name="connsiteY381" fmla="*/ 351515 h 1473560"/>
                  <a:gd name="connsiteX382" fmla="*/ 499110 w 3574732"/>
                  <a:gd name="connsiteY382" fmla="*/ 358183 h 1473560"/>
                  <a:gd name="connsiteX383" fmla="*/ 504825 w 3574732"/>
                  <a:gd name="connsiteY383" fmla="*/ 363898 h 1473560"/>
                  <a:gd name="connsiteX384" fmla="*/ 512445 w 3574732"/>
                  <a:gd name="connsiteY384" fmla="*/ 367708 h 1473560"/>
                  <a:gd name="connsiteX385" fmla="*/ 522923 w 3574732"/>
                  <a:gd name="connsiteY385" fmla="*/ 377233 h 1473560"/>
                  <a:gd name="connsiteX386" fmla="*/ 521018 w 3574732"/>
                  <a:gd name="connsiteY386" fmla="*/ 384853 h 1473560"/>
                  <a:gd name="connsiteX387" fmla="*/ 523875 w 3574732"/>
                  <a:gd name="connsiteY387" fmla="*/ 395330 h 1473560"/>
                  <a:gd name="connsiteX388" fmla="*/ 538163 w 3574732"/>
                  <a:gd name="connsiteY388" fmla="*/ 399140 h 1473560"/>
                  <a:gd name="connsiteX389" fmla="*/ 549593 w 3574732"/>
                  <a:gd name="connsiteY389" fmla="*/ 398188 h 1473560"/>
                  <a:gd name="connsiteX390" fmla="*/ 558165 w 3574732"/>
                  <a:gd name="connsiteY390" fmla="*/ 393425 h 1473560"/>
                  <a:gd name="connsiteX391" fmla="*/ 569595 w 3574732"/>
                  <a:gd name="connsiteY391" fmla="*/ 389615 h 1473560"/>
                  <a:gd name="connsiteX392" fmla="*/ 580073 w 3574732"/>
                  <a:gd name="connsiteY392" fmla="*/ 382948 h 1473560"/>
                  <a:gd name="connsiteX393" fmla="*/ 585788 w 3574732"/>
                  <a:gd name="connsiteY393" fmla="*/ 379138 h 1473560"/>
                  <a:gd name="connsiteX394" fmla="*/ 585788 w 3574732"/>
                  <a:gd name="connsiteY394" fmla="*/ 373423 h 1473560"/>
                  <a:gd name="connsiteX395" fmla="*/ 596265 w 3574732"/>
                  <a:gd name="connsiteY395" fmla="*/ 361993 h 1473560"/>
                  <a:gd name="connsiteX396" fmla="*/ 601028 w 3574732"/>
                  <a:gd name="connsiteY396" fmla="*/ 355325 h 1473560"/>
                  <a:gd name="connsiteX397" fmla="*/ 606743 w 3574732"/>
                  <a:gd name="connsiteY397" fmla="*/ 348658 h 1473560"/>
                  <a:gd name="connsiteX398" fmla="*/ 614363 w 3574732"/>
                  <a:gd name="connsiteY398" fmla="*/ 341990 h 1473560"/>
                  <a:gd name="connsiteX399" fmla="*/ 620078 w 3574732"/>
                  <a:gd name="connsiteY399" fmla="*/ 337228 h 1473560"/>
                  <a:gd name="connsiteX400" fmla="*/ 621983 w 3574732"/>
                  <a:gd name="connsiteY400" fmla="*/ 323893 h 1473560"/>
                  <a:gd name="connsiteX401" fmla="*/ 621983 w 3574732"/>
                  <a:gd name="connsiteY401" fmla="*/ 319130 h 1473560"/>
                  <a:gd name="connsiteX402" fmla="*/ 616268 w 3574732"/>
                  <a:gd name="connsiteY402" fmla="*/ 318178 h 1473560"/>
                  <a:gd name="connsiteX403" fmla="*/ 604838 w 3574732"/>
                  <a:gd name="connsiteY403" fmla="*/ 317225 h 1473560"/>
                  <a:gd name="connsiteX404" fmla="*/ 599123 w 3574732"/>
                  <a:gd name="connsiteY404" fmla="*/ 314368 h 1473560"/>
                  <a:gd name="connsiteX405" fmla="*/ 599123 w 3574732"/>
                  <a:gd name="connsiteY405" fmla="*/ 307700 h 1473560"/>
                  <a:gd name="connsiteX406" fmla="*/ 601028 w 3574732"/>
                  <a:gd name="connsiteY406" fmla="*/ 301033 h 1473560"/>
                  <a:gd name="connsiteX407" fmla="*/ 614363 w 3574732"/>
                  <a:gd name="connsiteY407" fmla="*/ 291508 h 1473560"/>
                  <a:gd name="connsiteX408" fmla="*/ 622935 w 3574732"/>
                  <a:gd name="connsiteY408" fmla="*/ 287698 h 1473560"/>
                  <a:gd name="connsiteX409" fmla="*/ 636270 w 3574732"/>
                  <a:gd name="connsiteY409" fmla="*/ 277220 h 1473560"/>
                  <a:gd name="connsiteX410" fmla="*/ 641033 w 3574732"/>
                  <a:gd name="connsiteY410" fmla="*/ 273410 h 1473560"/>
                  <a:gd name="connsiteX411" fmla="*/ 649605 w 3574732"/>
                  <a:gd name="connsiteY411" fmla="*/ 265790 h 1473560"/>
                  <a:gd name="connsiteX412" fmla="*/ 658178 w 3574732"/>
                  <a:gd name="connsiteY412" fmla="*/ 260075 h 1473560"/>
                  <a:gd name="connsiteX413" fmla="*/ 661035 w 3574732"/>
                  <a:gd name="connsiteY413" fmla="*/ 250550 h 1473560"/>
                  <a:gd name="connsiteX414" fmla="*/ 662940 w 3574732"/>
                  <a:gd name="connsiteY414" fmla="*/ 245788 h 1473560"/>
                  <a:gd name="connsiteX415" fmla="*/ 668655 w 3574732"/>
                  <a:gd name="connsiteY415" fmla="*/ 240073 h 1473560"/>
                  <a:gd name="connsiteX416" fmla="*/ 680085 w 3574732"/>
                  <a:gd name="connsiteY416" fmla="*/ 233405 h 1473560"/>
                  <a:gd name="connsiteX417" fmla="*/ 688658 w 3574732"/>
                  <a:gd name="connsiteY417" fmla="*/ 231500 h 1473560"/>
                  <a:gd name="connsiteX418" fmla="*/ 696278 w 3574732"/>
                  <a:gd name="connsiteY418" fmla="*/ 228643 h 1473560"/>
                  <a:gd name="connsiteX419" fmla="*/ 707708 w 3574732"/>
                  <a:gd name="connsiteY419" fmla="*/ 227690 h 1473560"/>
                  <a:gd name="connsiteX420" fmla="*/ 719138 w 3574732"/>
                  <a:gd name="connsiteY420" fmla="*/ 228643 h 1473560"/>
                  <a:gd name="connsiteX421" fmla="*/ 733425 w 3574732"/>
                  <a:gd name="connsiteY421" fmla="*/ 231500 h 1473560"/>
                  <a:gd name="connsiteX422" fmla="*/ 733425 w 3574732"/>
                  <a:gd name="connsiteY422" fmla="*/ 237215 h 1473560"/>
                  <a:gd name="connsiteX423" fmla="*/ 730568 w 3574732"/>
                  <a:gd name="connsiteY423" fmla="*/ 244835 h 1473560"/>
                  <a:gd name="connsiteX424" fmla="*/ 727710 w 3574732"/>
                  <a:gd name="connsiteY424" fmla="*/ 251503 h 1473560"/>
                  <a:gd name="connsiteX425" fmla="*/ 724853 w 3574732"/>
                  <a:gd name="connsiteY425" fmla="*/ 256265 h 1473560"/>
                  <a:gd name="connsiteX426" fmla="*/ 720090 w 3574732"/>
                  <a:gd name="connsiteY426" fmla="*/ 261028 h 1473560"/>
                  <a:gd name="connsiteX427" fmla="*/ 701993 w 3574732"/>
                  <a:gd name="connsiteY427" fmla="*/ 266743 h 1473560"/>
                  <a:gd name="connsiteX428" fmla="*/ 685800 w 3574732"/>
                  <a:gd name="connsiteY428" fmla="*/ 271505 h 1473560"/>
                  <a:gd name="connsiteX429" fmla="*/ 678180 w 3574732"/>
                  <a:gd name="connsiteY429" fmla="*/ 275315 h 1473560"/>
                  <a:gd name="connsiteX430" fmla="*/ 678180 w 3574732"/>
                  <a:gd name="connsiteY430" fmla="*/ 281030 h 1473560"/>
                  <a:gd name="connsiteX431" fmla="*/ 676275 w 3574732"/>
                  <a:gd name="connsiteY431" fmla="*/ 291508 h 1473560"/>
                  <a:gd name="connsiteX432" fmla="*/ 677228 w 3574732"/>
                  <a:gd name="connsiteY432" fmla="*/ 301033 h 1473560"/>
                  <a:gd name="connsiteX433" fmla="*/ 672465 w 3574732"/>
                  <a:gd name="connsiteY433" fmla="*/ 311510 h 1473560"/>
                  <a:gd name="connsiteX434" fmla="*/ 678180 w 3574732"/>
                  <a:gd name="connsiteY434" fmla="*/ 321988 h 1473560"/>
                  <a:gd name="connsiteX435" fmla="*/ 683895 w 3574732"/>
                  <a:gd name="connsiteY435" fmla="*/ 324845 h 1473560"/>
                  <a:gd name="connsiteX436" fmla="*/ 695325 w 3574732"/>
                  <a:gd name="connsiteY436" fmla="*/ 324845 h 1473560"/>
                  <a:gd name="connsiteX437" fmla="*/ 705803 w 3574732"/>
                  <a:gd name="connsiteY437" fmla="*/ 328655 h 1473560"/>
                  <a:gd name="connsiteX438" fmla="*/ 720090 w 3574732"/>
                  <a:gd name="connsiteY438" fmla="*/ 329608 h 1473560"/>
                  <a:gd name="connsiteX439" fmla="*/ 733425 w 3574732"/>
                  <a:gd name="connsiteY439" fmla="*/ 328655 h 1473560"/>
                  <a:gd name="connsiteX440" fmla="*/ 743903 w 3574732"/>
                  <a:gd name="connsiteY440" fmla="*/ 326750 h 1473560"/>
                  <a:gd name="connsiteX441" fmla="*/ 752475 w 3574732"/>
                  <a:gd name="connsiteY441" fmla="*/ 323893 h 1473560"/>
                  <a:gd name="connsiteX442" fmla="*/ 760095 w 3574732"/>
                  <a:gd name="connsiteY442" fmla="*/ 323893 h 1473560"/>
                  <a:gd name="connsiteX443" fmla="*/ 779145 w 3574732"/>
                  <a:gd name="connsiteY443" fmla="*/ 323893 h 1473560"/>
                  <a:gd name="connsiteX444" fmla="*/ 793433 w 3574732"/>
                  <a:gd name="connsiteY444" fmla="*/ 324845 h 1473560"/>
                  <a:gd name="connsiteX445" fmla="*/ 796290 w 3574732"/>
                  <a:gd name="connsiteY445" fmla="*/ 328655 h 1473560"/>
                  <a:gd name="connsiteX446" fmla="*/ 790575 w 3574732"/>
                  <a:gd name="connsiteY446" fmla="*/ 337228 h 1473560"/>
                  <a:gd name="connsiteX447" fmla="*/ 782003 w 3574732"/>
                  <a:gd name="connsiteY447" fmla="*/ 337228 h 1473560"/>
                  <a:gd name="connsiteX448" fmla="*/ 776288 w 3574732"/>
                  <a:gd name="connsiteY448" fmla="*/ 339133 h 1473560"/>
                  <a:gd name="connsiteX449" fmla="*/ 758190 w 3574732"/>
                  <a:gd name="connsiteY449" fmla="*/ 340085 h 1473560"/>
                  <a:gd name="connsiteX450" fmla="*/ 740093 w 3574732"/>
                  <a:gd name="connsiteY450" fmla="*/ 341990 h 1473560"/>
                  <a:gd name="connsiteX451" fmla="*/ 725805 w 3574732"/>
                  <a:gd name="connsiteY451" fmla="*/ 343895 h 1473560"/>
                  <a:gd name="connsiteX452" fmla="*/ 721043 w 3574732"/>
                  <a:gd name="connsiteY452" fmla="*/ 347705 h 1473560"/>
                  <a:gd name="connsiteX453" fmla="*/ 719138 w 3574732"/>
                  <a:gd name="connsiteY453" fmla="*/ 353420 h 1473560"/>
                  <a:gd name="connsiteX454" fmla="*/ 713423 w 3574732"/>
                  <a:gd name="connsiteY454" fmla="*/ 360088 h 1473560"/>
                  <a:gd name="connsiteX455" fmla="*/ 705803 w 3574732"/>
                  <a:gd name="connsiteY455" fmla="*/ 368660 h 1473560"/>
                  <a:gd name="connsiteX456" fmla="*/ 695325 w 3574732"/>
                  <a:gd name="connsiteY456" fmla="*/ 370565 h 1473560"/>
                  <a:gd name="connsiteX457" fmla="*/ 687705 w 3574732"/>
                  <a:gd name="connsiteY457" fmla="*/ 370565 h 1473560"/>
                  <a:gd name="connsiteX458" fmla="*/ 674370 w 3574732"/>
                  <a:gd name="connsiteY458" fmla="*/ 372470 h 1473560"/>
                  <a:gd name="connsiteX459" fmla="*/ 669608 w 3574732"/>
                  <a:gd name="connsiteY459" fmla="*/ 378185 h 1473560"/>
                  <a:gd name="connsiteX460" fmla="*/ 664845 w 3574732"/>
                  <a:gd name="connsiteY460" fmla="*/ 382948 h 1473560"/>
                  <a:gd name="connsiteX461" fmla="*/ 662940 w 3574732"/>
                  <a:gd name="connsiteY461" fmla="*/ 388663 h 1473560"/>
                  <a:gd name="connsiteX462" fmla="*/ 657225 w 3574732"/>
                  <a:gd name="connsiteY462" fmla="*/ 398188 h 1473560"/>
                  <a:gd name="connsiteX463" fmla="*/ 649605 w 3574732"/>
                  <a:gd name="connsiteY463" fmla="*/ 404855 h 1473560"/>
                  <a:gd name="connsiteX464" fmla="*/ 627698 w 3574732"/>
                  <a:gd name="connsiteY464" fmla="*/ 409618 h 1473560"/>
                  <a:gd name="connsiteX465" fmla="*/ 600075 w 3574732"/>
                  <a:gd name="connsiteY465" fmla="*/ 414380 h 1473560"/>
                  <a:gd name="connsiteX466" fmla="*/ 594360 w 3574732"/>
                  <a:gd name="connsiteY466" fmla="*/ 414380 h 1473560"/>
                  <a:gd name="connsiteX467" fmla="*/ 578168 w 3574732"/>
                  <a:gd name="connsiteY467" fmla="*/ 415333 h 1473560"/>
                  <a:gd name="connsiteX468" fmla="*/ 560070 w 3574732"/>
                  <a:gd name="connsiteY468" fmla="*/ 417238 h 1473560"/>
                  <a:gd name="connsiteX469" fmla="*/ 551498 w 3574732"/>
                  <a:gd name="connsiteY469" fmla="*/ 418190 h 1473560"/>
                  <a:gd name="connsiteX470" fmla="*/ 540068 w 3574732"/>
                  <a:gd name="connsiteY470" fmla="*/ 417238 h 1473560"/>
                  <a:gd name="connsiteX471" fmla="*/ 523875 w 3574732"/>
                  <a:gd name="connsiteY471" fmla="*/ 414380 h 1473560"/>
                  <a:gd name="connsiteX472" fmla="*/ 506730 w 3574732"/>
                  <a:gd name="connsiteY472" fmla="*/ 413428 h 1473560"/>
                  <a:gd name="connsiteX473" fmla="*/ 498158 w 3574732"/>
                  <a:gd name="connsiteY473" fmla="*/ 413428 h 1473560"/>
                  <a:gd name="connsiteX474" fmla="*/ 486728 w 3574732"/>
                  <a:gd name="connsiteY474" fmla="*/ 413428 h 1473560"/>
                  <a:gd name="connsiteX475" fmla="*/ 481965 w 3574732"/>
                  <a:gd name="connsiteY475" fmla="*/ 407713 h 1473560"/>
                  <a:gd name="connsiteX476" fmla="*/ 498158 w 3574732"/>
                  <a:gd name="connsiteY476" fmla="*/ 401045 h 1473560"/>
                  <a:gd name="connsiteX477" fmla="*/ 493395 w 3574732"/>
                  <a:gd name="connsiteY477" fmla="*/ 395330 h 1473560"/>
                  <a:gd name="connsiteX478" fmla="*/ 484823 w 3574732"/>
                  <a:gd name="connsiteY478" fmla="*/ 391520 h 1473560"/>
                  <a:gd name="connsiteX479" fmla="*/ 484823 w 3574732"/>
                  <a:gd name="connsiteY479" fmla="*/ 386758 h 1473560"/>
                  <a:gd name="connsiteX480" fmla="*/ 477203 w 3574732"/>
                  <a:gd name="connsiteY480" fmla="*/ 376280 h 1473560"/>
                  <a:gd name="connsiteX481" fmla="*/ 474345 w 3574732"/>
                  <a:gd name="connsiteY481" fmla="*/ 369613 h 1473560"/>
                  <a:gd name="connsiteX482" fmla="*/ 466725 w 3574732"/>
                  <a:gd name="connsiteY482" fmla="*/ 368660 h 1473560"/>
                  <a:gd name="connsiteX483" fmla="*/ 461010 w 3574732"/>
                  <a:gd name="connsiteY483" fmla="*/ 374375 h 1473560"/>
                  <a:gd name="connsiteX484" fmla="*/ 450533 w 3574732"/>
                  <a:gd name="connsiteY484" fmla="*/ 377233 h 1473560"/>
                  <a:gd name="connsiteX485" fmla="*/ 445770 w 3574732"/>
                  <a:gd name="connsiteY485" fmla="*/ 381995 h 1473560"/>
                  <a:gd name="connsiteX486" fmla="*/ 443865 w 3574732"/>
                  <a:gd name="connsiteY486" fmla="*/ 390568 h 1473560"/>
                  <a:gd name="connsiteX487" fmla="*/ 443865 w 3574732"/>
                  <a:gd name="connsiteY487" fmla="*/ 399140 h 1473560"/>
                  <a:gd name="connsiteX488" fmla="*/ 446723 w 3574732"/>
                  <a:gd name="connsiteY488" fmla="*/ 408665 h 1473560"/>
                  <a:gd name="connsiteX489" fmla="*/ 449580 w 3574732"/>
                  <a:gd name="connsiteY489" fmla="*/ 403903 h 1473560"/>
                  <a:gd name="connsiteX490" fmla="*/ 446723 w 3574732"/>
                  <a:gd name="connsiteY490" fmla="*/ 414380 h 1473560"/>
                  <a:gd name="connsiteX491" fmla="*/ 435293 w 3574732"/>
                  <a:gd name="connsiteY491" fmla="*/ 416285 h 1473560"/>
                  <a:gd name="connsiteX492" fmla="*/ 430530 w 3574732"/>
                  <a:gd name="connsiteY492" fmla="*/ 416285 h 1473560"/>
                  <a:gd name="connsiteX493" fmla="*/ 420053 w 3574732"/>
                  <a:gd name="connsiteY493" fmla="*/ 417238 h 1473560"/>
                  <a:gd name="connsiteX494" fmla="*/ 411480 w 3574732"/>
                  <a:gd name="connsiteY494" fmla="*/ 417238 h 1473560"/>
                  <a:gd name="connsiteX495" fmla="*/ 389573 w 3574732"/>
                  <a:gd name="connsiteY495" fmla="*/ 421048 h 1473560"/>
                  <a:gd name="connsiteX496" fmla="*/ 383858 w 3574732"/>
                  <a:gd name="connsiteY496" fmla="*/ 427715 h 1473560"/>
                  <a:gd name="connsiteX497" fmla="*/ 379095 w 3574732"/>
                  <a:gd name="connsiteY497" fmla="*/ 433430 h 1473560"/>
                  <a:gd name="connsiteX498" fmla="*/ 376238 w 3574732"/>
                  <a:gd name="connsiteY498" fmla="*/ 440098 h 1473560"/>
                  <a:gd name="connsiteX499" fmla="*/ 362903 w 3574732"/>
                  <a:gd name="connsiteY499" fmla="*/ 447718 h 1473560"/>
                  <a:gd name="connsiteX500" fmla="*/ 348615 w 3574732"/>
                  <a:gd name="connsiteY500" fmla="*/ 451528 h 1473560"/>
                  <a:gd name="connsiteX501" fmla="*/ 340043 w 3574732"/>
                  <a:gd name="connsiteY501" fmla="*/ 457243 h 1473560"/>
                  <a:gd name="connsiteX502" fmla="*/ 334328 w 3574732"/>
                  <a:gd name="connsiteY502" fmla="*/ 464863 h 1473560"/>
                  <a:gd name="connsiteX503" fmla="*/ 328613 w 3574732"/>
                  <a:gd name="connsiteY503" fmla="*/ 468673 h 1473560"/>
                  <a:gd name="connsiteX504" fmla="*/ 312420 w 3574732"/>
                  <a:gd name="connsiteY504" fmla="*/ 472483 h 1473560"/>
                  <a:gd name="connsiteX505" fmla="*/ 299085 w 3574732"/>
                  <a:gd name="connsiteY505" fmla="*/ 477245 h 1473560"/>
                  <a:gd name="connsiteX506" fmla="*/ 293370 w 3574732"/>
                  <a:gd name="connsiteY506" fmla="*/ 480103 h 1473560"/>
                  <a:gd name="connsiteX507" fmla="*/ 282893 w 3574732"/>
                  <a:gd name="connsiteY507" fmla="*/ 481055 h 1473560"/>
                  <a:gd name="connsiteX508" fmla="*/ 275273 w 3574732"/>
                  <a:gd name="connsiteY508" fmla="*/ 484865 h 1473560"/>
                  <a:gd name="connsiteX509" fmla="*/ 260033 w 3574732"/>
                  <a:gd name="connsiteY509" fmla="*/ 489628 h 1473560"/>
                  <a:gd name="connsiteX510" fmla="*/ 248603 w 3574732"/>
                  <a:gd name="connsiteY510" fmla="*/ 489628 h 1473560"/>
                  <a:gd name="connsiteX511" fmla="*/ 224790 w 3574732"/>
                  <a:gd name="connsiteY511" fmla="*/ 490580 h 1473560"/>
                  <a:gd name="connsiteX512" fmla="*/ 214313 w 3574732"/>
                  <a:gd name="connsiteY512" fmla="*/ 496295 h 1473560"/>
                  <a:gd name="connsiteX513" fmla="*/ 217170 w 3574732"/>
                  <a:gd name="connsiteY513" fmla="*/ 500105 h 1473560"/>
                  <a:gd name="connsiteX514" fmla="*/ 222885 w 3574732"/>
                  <a:gd name="connsiteY514" fmla="*/ 502963 h 1473560"/>
                  <a:gd name="connsiteX515" fmla="*/ 228600 w 3574732"/>
                  <a:gd name="connsiteY515" fmla="*/ 505820 h 1473560"/>
                  <a:gd name="connsiteX516" fmla="*/ 234315 w 3574732"/>
                  <a:gd name="connsiteY516" fmla="*/ 506773 h 1473560"/>
                  <a:gd name="connsiteX517" fmla="*/ 245745 w 3574732"/>
                  <a:gd name="connsiteY517" fmla="*/ 508678 h 1473560"/>
                  <a:gd name="connsiteX518" fmla="*/ 254318 w 3574732"/>
                  <a:gd name="connsiteY518" fmla="*/ 509630 h 1473560"/>
                  <a:gd name="connsiteX519" fmla="*/ 273368 w 3574732"/>
                  <a:gd name="connsiteY519" fmla="*/ 520108 h 1473560"/>
                  <a:gd name="connsiteX520" fmla="*/ 276225 w 3574732"/>
                  <a:gd name="connsiteY520" fmla="*/ 524870 h 1473560"/>
                  <a:gd name="connsiteX521" fmla="*/ 276225 w 3574732"/>
                  <a:gd name="connsiteY521" fmla="*/ 532490 h 1473560"/>
                  <a:gd name="connsiteX522" fmla="*/ 276225 w 3574732"/>
                  <a:gd name="connsiteY522" fmla="*/ 538205 h 1473560"/>
                  <a:gd name="connsiteX523" fmla="*/ 273368 w 3574732"/>
                  <a:gd name="connsiteY523" fmla="*/ 550588 h 1473560"/>
                  <a:gd name="connsiteX524" fmla="*/ 268605 w 3574732"/>
                  <a:gd name="connsiteY524" fmla="*/ 561065 h 1473560"/>
                  <a:gd name="connsiteX525" fmla="*/ 262890 w 3574732"/>
                  <a:gd name="connsiteY525" fmla="*/ 562018 h 1473560"/>
                  <a:gd name="connsiteX526" fmla="*/ 257175 w 3574732"/>
                  <a:gd name="connsiteY526" fmla="*/ 562018 h 1473560"/>
                  <a:gd name="connsiteX527" fmla="*/ 246698 w 3574732"/>
                  <a:gd name="connsiteY527" fmla="*/ 564875 h 1473560"/>
                  <a:gd name="connsiteX528" fmla="*/ 236220 w 3574732"/>
                  <a:gd name="connsiteY528" fmla="*/ 564875 h 1473560"/>
                  <a:gd name="connsiteX529" fmla="*/ 225743 w 3574732"/>
                  <a:gd name="connsiteY529" fmla="*/ 564875 h 1473560"/>
                  <a:gd name="connsiteX530" fmla="*/ 206693 w 3574732"/>
                  <a:gd name="connsiteY530" fmla="*/ 564875 h 1473560"/>
                  <a:gd name="connsiteX531" fmla="*/ 192405 w 3574732"/>
                  <a:gd name="connsiteY531" fmla="*/ 563923 h 1473560"/>
                  <a:gd name="connsiteX532" fmla="*/ 186690 w 3574732"/>
                  <a:gd name="connsiteY532" fmla="*/ 561065 h 1473560"/>
                  <a:gd name="connsiteX533" fmla="*/ 178118 w 3574732"/>
                  <a:gd name="connsiteY533" fmla="*/ 560113 h 1473560"/>
                  <a:gd name="connsiteX534" fmla="*/ 170498 w 3574732"/>
                  <a:gd name="connsiteY534" fmla="*/ 560113 h 1473560"/>
                  <a:gd name="connsiteX535" fmla="*/ 161925 w 3574732"/>
                  <a:gd name="connsiteY535" fmla="*/ 562018 h 1473560"/>
                  <a:gd name="connsiteX536" fmla="*/ 153353 w 3574732"/>
                  <a:gd name="connsiteY536" fmla="*/ 564875 h 1473560"/>
                  <a:gd name="connsiteX537" fmla="*/ 151448 w 3574732"/>
                  <a:gd name="connsiteY537" fmla="*/ 570590 h 1473560"/>
                  <a:gd name="connsiteX538" fmla="*/ 149543 w 3574732"/>
                  <a:gd name="connsiteY538" fmla="*/ 581068 h 1473560"/>
                  <a:gd name="connsiteX539" fmla="*/ 144780 w 3574732"/>
                  <a:gd name="connsiteY539" fmla="*/ 586783 h 1473560"/>
                  <a:gd name="connsiteX540" fmla="*/ 141923 w 3574732"/>
                  <a:gd name="connsiteY540" fmla="*/ 592498 h 1473560"/>
                  <a:gd name="connsiteX541" fmla="*/ 144780 w 3574732"/>
                  <a:gd name="connsiteY541" fmla="*/ 602975 h 1473560"/>
                  <a:gd name="connsiteX542" fmla="*/ 145733 w 3574732"/>
                  <a:gd name="connsiteY542" fmla="*/ 611548 h 1473560"/>
                  <a:gd name="connsiteX543" fmla="*/ 143828 w 3574732"/>
                  <a:gd name="connsiteY543" fmla="*/ 624883 h 1473560"/>
                  <a:gd name="connsiteX544" fmla="*/ 144780 w 3574732"/>
                  <a:gd name="connsiteY544" fmla="*/ 631550 h 1473560"/>
                  <a:gd name="connsiteX545" fmla="*/ 145733 w 3574732"/>
                  <a:gd name="connsiteY545" fmla="*/ 642028 h 1473560"/>
                  <a:gd name="connsiteX546" fmla="*/ 167640 w 3574732"/>
                  <a:gd name="connsiteY546" fmla="*/ 647743 h 1473560"/>
                  <a:gd name="connsiteX547" fmla="*/ 188595 w 3574732"/>
                  <a:gd name="connsiteY547" fmla="*/ 649648 h 1473560"/>
                  <a:gd name="connsiteX548" fmla="*/ 204788 w 3574732"/>
                  <a:gd name="connsiteY548" fmla="*/ 648695 h 1473560"/>
                  <a:gd name="connsiteX549" fmla="*/ 223838 w 3574732"/>
                  <a:gd name="connsiteY549" fmla="*/ 646790 h 1473560"/>
                  <a:gd name="connsiteX550" fmla="*/ 237173 w 3574732"/>
                  <a:gd name="connsiteY550" fmla="*/ 647743 h 1473560"/>
                  <a:gd name="connsiteX551" fmla="*/ 251460 w 3574732"/>
                  <a:gd name="connsiteY551" fmla="*/ 644885 h 1473560"/>
                  <a:gd name="connsiteX552" fmla="*/ 260033 w 3574732"/>
                  <a:gd name="connsiteY552" fmla="*/ 642980 h 1473560"/>
                  <a:gd name="connsiteX553" fmla="*/ 265748 w 3574732"/>
                  <a:gd name="connsiteY553" fmla="*/ 642028 h 1473560"/>
                  <a:gd name="connsiteX554" fmla="*/ 280988 w 3574732"/>
                  <a:gd name="connsiteY554" fmla="*/ 635360 h 1473560"/>
                  <a:gd name="connsiteX555" fmla="*/ 286703 w 3574732"/>
                  <a:gd name="connsiteY555" fmla="*/ 633455 h 1473560"/>
                  <a:gd name="connsiteX556" fmla="*/ 292418 w 3574732"/>
                  <a:gd name="connsiteY556" fmla="*/ 629645 h 1473560"/>
                  <a:gd name="connsiteX557" fmla="*/ 302895 w 3574732"/>
                  <a:gd name="connsiteY557" fmla="*/ 622978 h 1473560"/>
                  <a:gd name="connsiteX558" fmla="*/ 302895 w 3574732"/>
                  <a:gd name="connsiteY558" fmla="*/ 617263 h 1473560"/>
                  <a:gd name="connsiteX559" fmla="*/ 305753 w 3574732"/>
                  <a:gd name="connsiteY559" fmla="*/ 608690 h 1473560"/>
                  <a:gd name="connsiteX560" fmla="*/ 313373 w 3574732"/>
                  <a:gd name="connsiteY560" fmla="*/ 607738 h 1473560"/>
                  <a:gd name="connsiteX561" fmla="*/ 319088 w 3574732"/>
                  <a:gd name="connsiteY561" fmla="*/ 602975 h 1473560"/>
                  <a:gd name="connsiteX562" fmla="*/ 320993 w 3574732"/>
                  <a:gd name="connsiteY562" fmla="*/ 597260 h 1473560"/>
                  <a:gd name="connsiteX563" fmla="*/ 326708 w 3574732"/>
                  <a:gd name="connsiteY563" fmla="*/ 593450 h 1473560"/>
                  <a:gd name="connsiteX564" fmla="*/ 344805 w 3574732"/>
                  <a:gd name="connsiteY564" fmla="*/ 589640 h 1473560"/>
                  <a:gd name="connsiteX565" fmla="*/ 353378 w 3574732"/>
                  <a:gd name="connsiteY565" fmla="*/ 582020 h 1473560"/>
                  <a:gd name="connsiteX566" fmla="*/ 359093 w 3574732"/>
                  <a:gd name="connsiteY566" fmla="*/ 579163 h 1473560"/>
                  <a:gd name="connsiteX567" fmla="*/ 361950 w 3574732"/>
                  <a:gd name="connsiteY567" fmla="*/ 574400 h 1473560"/>
                  <a:gd name="connsiteX568" fmla="*/ 366713 w 3574732"/>
                  <a:gd name="connsiteY568" fmla="*/ 570590 h 1473560"/>
                  <a:gd name="connsiteX569" fmla="*/ 368618 w 3574732"/>
                  <a:gd name="connsiteY569" fmla="*/ 566780 h 1473560"/>
                  <a:gd name="connsiteX570" fmla="*/ 374333 w 3574732"/>
                  <a:gd name="connsiteY570" fmla="*/ 562018 h 1473560"/>
                  <a:gd name="connsiteX571" fmla="*/ 382905 w 3574732"/>
                  <a:gd name="connsiteY571" fmla="*/ 563923 h 1473560"/>
                  <a:gd name="connsiteX572" fmla="*/ 388620 w 3574732"/>
                  <a:gd name="connsiteY572" fmla="*/ 563923 h 1473560"/>
                  <a:gd name="connsiteX573" fmla="*/ 391478 w 3574732"/>
                  <a:gd name="connsiteY573" fmla="*/ 568685 h 1473560"/>
                  <a:gd name="connsiteX574" fmla="*/ 397193 w 3574732"/>
                  <a:gd name="connsiteY574" fmla="*/ 571543 h 1473560"/>
                  <a:gd name="connsiteX575" fmla="*/ 404813 w 3574732"/>
                  <a:gd name="connsiteY575" fmla="*/ 573448 h 1473560"/>
                  <a:gd name="connsiteX576" fmla="*/ 410528 w 3574732"/>
                  <a:gd name="connsiteY576" fmla="*/ 572495 h 1473560"/>
                  <a:gd name="connsiteX577" fmla="*/ 416243 w 3574732"/>
                  <a:gd name="connsiteY577" fmla="*/ 571543 h 1473560"/>
                  <a:gd name="connsiteX578" fmla="*/ 426720 w 3574732"/>
                  <a:gd name="connsiteY578" fmla="*/ 565828 h 1473560"/>
                  <a:gd name="connsiteX579" fmla="*/ 434340 w 3574732"/>
                  <a:gd name="connsiteY579" fmla="*/ 560113 h 1473560"/>
                  <a:gd name="connsiteX580" fmla="*/ 440055 w 3574732"/>
                  <a:gd name="connsiteY580" fmla="*/ 557255 h 1473560"/>
                  <a:gd name="connsiteX581" fmla="*/ 447675 w 3574732"/>
                  <a:gd name="connsiteY581" fmla="*/ 553445 h 1473560"/>
                  <a:gd name="connsiteX582" fmla="*/ 455295 w 3574732"/>
                  <a:gd name="connsiteY582" fmla="*/ 554398 h 1473560"/>
                  <a:gd name="connsiteX583" fmla="*/ 462915 w 3574732"/>
                  <a:gd name="connsiteY583" fmla="*/ 554398 h 1473560"/>
                  <a:gd name="connsiteX584" fmla="*/ 468630 w 3574732"/>
                  <a:gd name="connsiteY584" fmla="*/ 556303 h 1473560"/>
                  <a:gd name="connsiteX585" fmla="*/ 474345 w 3574732"/>
                  <a:gd name="connsiteY585" fmla="*/ 558208 h 1473560"/>
                  <a:gd name="connsiteX586" fmla="*/ 482918 w 3574732"/>
                  <a:gd name="connsiteY586" fmla="*/ 562018 h 1473560"/>
                  <a:gd name="connsiteX587" fmla="*/ 493395 w 3574732"/>
                  <a:gd name="connsiteY587" fmla="*/ 568685 h 1473560"/>
                  <a:gd name="connsiteX588" fmla="*/ 496253 w 3574732"/>
                  <a:gd name="connsiteY588" fmla="*/ 574400 h 1473560"/>
                  <a:gd name="connsiteX589" fmla="*/ 504825 w 3574732"/>
                  <a:gd name="connsiteY589" fmla="*/ 580115 h 1473560"/>
                  <a:gd name="connsiteX590" fmla="*/ 512445 w 3574732"/>
                  <a:gd name="connsiteY590" fmla="*/ 585830 h 1473560"/>
                  <a:gd name="connsiteX591" fmla="*/ 521018 w 3574732"/>
                  <a:gd name="connsiteY591" fmla="*/ 592498 h 1473560"/>
                  <a:gd name="connsiteX592" fmla="*/ 526733 w 3574732"/>
                  <a:gd name="connsiteY592" fmla="*/ 594403 h 1473560"/>
                  <a:gd name="connsiteX593" fmla="*/ 537210 w 3574732"/>
                  <a:gd name="connsiteY593" fmla="*/ 598213 h 1473560"/>
                  <a:gd name="connsiteX594" fmla="*/ 551498 w 3574732"/>
                  <a:gd name="connsiteY594" fmla="*/ 603928 h 1473560"/>
                  <a:gd name="connsiteX595" fmla="*/ 560070 w 3574732"/>
                  <a:gd name="connsiteY595" fmla="*/ 605833 h 1473560"/>
                  <a:gd name="connsiteX596" fmla="*/ 561023 w 3574732"/>
                  <a:gd name="connsiteY596" fmla="*/ 610595 h 1473560"/>
                  <a:gd name="connsiteX597" fmla="*/ 563880 w 3574732"/>
                  <a:gd name="connsiteY597" fmla="*/ 615358 h 1473560"/>
                  <a:gd name="connsiteX598" fmla="*/ 566738 w 3574732"/>
                  <a:gd name="connsiteY598" fmla="*/ 620120 h 1473560"/>
                  <a:gd name="connsiteX599" fmla="*/ 567690 w 3574732"/>
                  <a:gd name="connsiteY599" fmla="*/ 626788 h 1473560"/>
                  <a:gd name="connsiteX600" fmla="*/ 575310 w 3574732"/>
                  <a:gd name="connsiteY600" fmla="*/ 629645 h 1473560"/>
                  <a:gd name="connsiteX601" fmla="*/ 581025 w 3574732"/>
                  <a:gd name="connsiteY601" fmla="*/ 630598 h 1473560"/>
                  <a:gd name="connsiteX602" fmla="*/ 589598 w 3574732"/>
                  <a:gd name="connsiteY602" fmla="*/ 627740 h 1473560"/>
                  <a:gd name="connsiteX603" fmla="*/ 589598 w 3574732"/>
                  <a:gd name="connsiteY603" fmla="*/ 620120 h 1473560"/>
                  <a:gd name="connsiteX604" fmla="*/ 589598 w 3574732"/>
                  <a:gd name="connsiteY604" fmla="*/ 612500 h 1473560"/>
                  <a:gd name="connsiteX605" fmla="*/ 589598 w 3574732"/>
                  <a:gd name="connsiteY605" fmla="*/ 609643 h 1473560"/>
                  <a:gd name="connsiteX606" fmla="*/ 589598 w 3574732"/>
                  <a:gd name="connsiteY606" fmla="*/ 608690 h 1473560"/>
                  <a:gd name="connsiteX607" fmla="*/ 589598 w 3574732"/>
                  <a:gd name="connsiteY607" fmla="*/ 608690 h 1473560"/>
                  <a:gd name="connsiteX608" fmla="*/ 588645 w 3574732"/>
                  <a:gd name="connsiteY608" fmla="*/ 604880 h 1473560"/>
                  <a:gd name="connsiteX609" fmla="*/ 594360 w 3574732"/>
                  <a:gd name="connsiteY609" fmla="*/ 602023 h 1473560"/>
                  <a:gd name="connsiteX610" fmla="*/ 601980 w 3574732"/>
                  <a:gd name="connsiteY610" fmla="*/ 597260 h 1473560"/>
                  <a:gd name="connsiteX611" fmla="*/ 598170 w 3574732"/>
                  <a:gd name="connsiteY611" fmla="*/ 590593 h 1473560"/>
                  <a:gd name="connsiteX612" fmla="*/ 592455 w 3574732"/>
                  <a:gd name="connsiteY612" fmla="*/ 589640 h 1473560"/>
                  <a:gd name="connsiteX613" fmla="*/ 584835 w 3574732"/>
                  <a:gd name="connsiteY613" fmla="*/ 587735 h 1473560"/>
                  <a:gd name="connsiteX614" fmla="*/ 579120 w 3574732"/>
                  <a:gd name="connsiteY614" fmla="*/ 586783 h 1473560"/>
                  <a:gd name="connsiteX615" fmla="*/ 573405 w 3574732"/>
                  <a:gd name="connsiteY615" fmla="*/ 584878 h 1473560"/>
                  <a:gd name="connsiteX616" fmla="*/ 561975 w 3574732"/>
                  <a:gd name="connsiteY616" fmla="*/ 578210 h 1473560"/>
                  <a:gd name="connsiteX617" fmla="*/ 557213 w 3574732"/>
                  <a:gd name="connsiteY617" fmla="*/ 576305 h 1473560"/>
                  <a:gd name="connsiteX618" fmla="*/ 549593 w 3574732"/>
                  <a:gd name="connsiteY618" fmla="*/ 571543 h 1473560"/>
                  <a:gd name="connsiteX619" fmla="*/ 532448 w 3574732"/>
                  <a:gd name="connsiteY619" fmla="*/ 562018 h 1473560"/>
                  <a:gd name="connsiteX620" fmla="*/ 521018 w 3574732"/>
                  <a:gd name="connsiteY620" fmla="*/ 556303 h 1473560"/>
                  <a:gd name="connsiteX621" fmla="*/ 514350 w 3574732"/>
                  <a:gd name="connsiteY621" fmla="*/ 545825 h 1473560"/>
                  <a:gd name="connsiteX622" fmla="*/ 514350 w 3574732"/>
                  <a:gd name="connsiteY622" fmla="*/ 541063 h 1473560"/>
                  <a:gd name="connsiteX623" fmla="*/ 519113 w 3574732"/>
                  <a:gd name="connsiteY623" fmla="*/ 536300 h 1473560"/>
                  <a:gd name="connsiteX624" fmla="*/ 541020 w 3574732"/>
                  <a:gd name="connsiteY624" fmla="*/ 540110 h 1473560"/>
                  <a:gd name="connsiteX625" fmla="*/ 546735 w 3574732"/>
                  <a:gd name="connsiteY625" fmla="*/ 542015 h 1473560"/>
                  <a:gd name="connsiteX626" fmla="*/ 554355 w 3574732"/>
                  <a:gd name="connsiteY626" fmla="*/ 545825 h 1473560"/>
                  <a:gd name="connsiteX627" fmla="*/ 560070 w 3574732"/>
                  <a:gd name="connsiteY627" fmla="*/ 549635 h 1473560"/>
                  <a:gd name="connsiteX628" fmla="*/ 574358 w 3574732"/>
                  <a:gd name="connsiteY628" fmla="*/ 554398 h 1473560"/>
                  <a:gd name="connsiteX629" fmla="*/ 584835 w 3574732"/>
                  <a:gd name="connsiteY629" fmla="*/ 559160 h 1473560"/>
                  <a:gd name="connsiteX630" fmla="*/ 592455 w 3574732"/>
                  <a:gd name="connsiteY630" fmla="*/ 563923 h 1473560"/>
                  <a:gd name="connsiteX631" fmla="*/ 608648 w 3574732"/>
                  <a:gd name="connsiteY631" fmla="*/ 569638 h 1473560"/>
                  <a:gd name="connsiteX632" fmla="*/ 617220 w 3574732"/>
                  <a:gd name="connsiteY632" fmla="*/ 578210 h 1473560"/>
                  <a:gd name="connsiteX633" fmla="*/ 621030 w 3574732"/>
                  <a:gd name="connsiteY633" fmla="*/ 584878 h 1473560"/>
                  <a:gd name="connsiteX634" fmla="*/ 628650 w 3574732"/>
                  <a:gd name="connsiteY634" fmla="*/ 591545 h 1473560"/>
                  <a:gd name="connsiteX635" fmla="*/ 632460 w 3574732"/>
                  <a:gd name="connsiteY635" fmla="*/ 597260 h 1473560"/>
                  <a:gd name="connsiteX636" fmla="*/ 637223 w 3574732"/>
                  <a:gd name="connsiteY636" fmla="*/ 603928 h 1473560"/>
                  <a:gd name="connsiteX637" fmla="*/ 638175 w 3574732"/>
                  <a:gd name="connsiteY637" fmla="*/ 611548 h 1473560"/>
                  <a:gd name="connsiteX638" fmla="*/ 641033 w 3574732"/>
                  <a:gd name="connsiteY638" fmla="*/ 616310 h 1473560"/>
                  <a:gd name="connsiteX639" fmla="*/ 649605 w 3574732"/>
                  <a:gd name="connsiteY639" fmla="*/ 622025 h 1473560"/>
                  <a:gd name="connsiteX640" fmla="*/ 653415 w 3574732"/>
                  <a:gd name="connsiteY640" fmla="*/ 626788 h 1473560"/>
                  <a:gd name="connsiteX641" fmla="*/ 661988 w 3574732"/>
                  <a:gd name="connsiteY641" fmla="*/ 631550 h 1473560"/>
                  <a:gd name="connsiteX642" fmla="*/ 667703 w 3574732"/>
                  <a:gd name="connsiteY642" fmla="*/ 636313 h 1473560"/>
                  <a:gd name="connsiteX643" fmla="*/ 667703 w 3574732"/>
                  <a:gd name="connsiteY643" fmla="*/ 642028 h 1473560"/>
                  <a:gd name="connsiteX644" fmla="*/ 670560 w 3574732"/>
                  <a:gd name="connsiteY644" fmla="*/ 650600 h 1473560"/>
                  <a:gd name="connsiteX645" fmla="*/ 678180 w 3574732"/>
                  <a:gd name="connsiteY645" fmla="*/ 652505 h 1473560"/>
                  <a:gd name="connsiteX646" fmla="*/ 688658 w 3574732"/>
                  <a:gd name="connsiteY646" fmla="*/ 652505 h 1473560"/>
                  <a:gd name="connsiteX647" fmla="*/ 701993 w 3574732"/>
                  <a:gd name="connsiteY647" fmla="*/ 648695 h 1473560"/>
                  <a:gd name="connsiteX648" fmla="*/ 704850 w 3574732"/>
                  <a:gd name="connsiteY648" fmla="*/ 645838 h 1473560"/>
                  <a:gd name="connsiteX649" fmla="*/ 710565 w 3574732"/>
                  <a:gd name="connsiteY649" fmla="*/ 642980 h 1473560"/>
                  <a:gd name="connsiteX650" fmla="*/ 715328 w 3574732"/>
                  <a:gd name="connsiteY650" fmla="*/ 638218 h 1473560"/>
                  <a:gd name="connsiteX651" fmla="*/ 715328 w 3574732"/>
                  <a:gd name="connsiteY651" fmla="*/ 632503 h 1473560"/>
                  <a:gd name="connsiteX652" fmla="*/ 715328 w 3574732"/>
                  <a:gd name="connsiteY652" fmla="*/ 625835 h 1473560"/>
                  <a:gd name="connsiteX653" fmla="*/ 712470 w 3574732"/>
                  <a:gd name="connsiteY653" fmla="*/ 621073 h 1473560"/>
                  <a:gd name="connsiteX654" fmla="*/ 712470 w 3574732"/>
                  <a:gd name="connsiteY654" fmla="*/ 616310 h 1473560"/>
                  <a:gd name="connsiteX655" fmla="*/ 711518 w 3574732"/>
                  <a:gd name="connsiteY655" fmla="*/ 611548 h 1473560"/>
                  <a:gd name="connsiteX656" fmla="*/ 713423 w 3574732"/>
                  <a:gd name="connsiteY656" fmla="*/ 604880 h 1473560"/>
                  <a:gd name="connsiteX657" fmla="*/ 719138 w 3574732"/>
                  <a:gd name="connsiteY657" fmla="*/ 601070 h 1473560"/>
                  <a:gd name="connsiteX658" fmla="*/ 741045 w 3574732"/>
                  <a:gd name="connsiteY658" fmla="*/ 602975 h 1473560"/>
                  <a:gd name="connsiteX659" fmla="*/ 748665 w 3574732"/>
                  <a:gd name="connsiteY659" fmla="*/ 607738 h 1473560"/>
                  <a:gd name="connsiteX660" fmla="*/ 749618 w 3574732"/>
                  <a:gd name="connsiteY660" fmla="*/ 612500 h 1473560"/>
                  <a:gd name="connsiteX661" fmla="*/ 753428 w 3574732"/>
                  <a:gd name="connsiteY661" fmla="*/ 623930 h 1473560"/>
                  <a:gd name="connsiteX662" fmla="*/ 756285 w 3574732"/>
                  <a:gd name="connsiteY662" fmla="*/ 630598 h 1473560"/>
                  <a:gd name="connsiteX663" fmla="*/ 763905 w 3574732"/>
                  <a:gd name="connsiteY663" fmla="*/ 637265 h 1473560"/>
                  <a:gd name="connsiteX664" fmla="*/ 772478 w 3574732"/>
                  <a:gd name="connsiteY664" fmla="*/ 641075 h 1473560"/>
                  <a:gd name="connsiteX665" fmla="*/ 773430 w 3574732"/>
                  <a:gd name="connsiteY665" fmla="*/ 644885 h 1473560"/>
                  <a:gd name="connsiteX666" fmla="*/ 783908 w 3574732"/>
                  <a:gd name="connsiteY666" fmla="*/ 646790 h 1473560"/>
                  <a:gd name="connsiteX667" fmla="*/ 801053 w 3574732"/>
                  <a:gd name="connsiteY667" fmla="*/ 650600 h 1473560"/>
                  <a:gd name="connsiteX668" fmla="*/ 812483 w 3574732"/>
                  <a:gd name="connsiteY668" fmla="*/ 651553 h 1473560"/>
                  <a:gd name="connsiteX669" fmla="*/ 826770 w 3574732"/>
                  <a:gd name="connsiteY669" fmla="*/ 651553 h 1473560"/>
                  <a:gd name="connsiteX670" fmla="*/ 840105 w 3574732"/>
                  <a:gd name="connsiteY670" fmla="*/ 651553 h 1473560"/>
                  <a:gd name="connsiteX671" fmla="*/ 848678 w 3574732"/>
                  <a:gd name="connsiteY671" fmla="*/ 651553 h 1473560"/>
                  <a:gd name="connsiteX672" fmla="*/ 862965 w 3574732"/>
                  <a:gd name="connsiteY672" fmla="*/ 650600 h 1473560"/>
                  <a:gd name="connsiteX673" fmla="*/ 874395 w 3574732"/>
                  <a:gd name="connsiteY673" fmla="*/ 650600 h 1473560"/>
                  <a:gd name="connsiteX674" fmla="*/ 887730 w 3574732"/>
                  <a:gd name="connsiteY674" fmla="*/ 650600 h 1473560"/>
                  <a:gd name="connsiteX675" fmla="*/ 896303 w 3574732"/>
                  <a:gd name="connsiteY675" fmla="*/ 653458 h 1473560"/>
                  <a:gd name="connsiteX676" fmla="*/ 904875 w 3574732"/>
                  <a:gd name="connsiteY676" fmla="*/ 660125 h 1473560"/>
                  <a:gd name="connsiteX677" fmla="*/ 918210 w 3574732"/>
                  <a:gd name="connsiteY677" fmla="*/ 662983 h 1473560"/>
                  <a:gd name="connsiteX678" fmla="*/ 918210 w 3574732"/>
                  <a:gd name="connsiteY678" fmla="*/ 666793 h 1473560"/>
                  <a:gd name="connsiteX679" fmla="*/ 918210 w 3574732"/>
                  <a:gd name="connsiteY679" fmla="*/ 673460 h 1473560"/>
                  <a:gd name="connsiteX680" fmla="*/ 912495 w 3574732"/>
                  <a:gd name="connsiteY680" fmla="*/ 677270 h 1473560"/>
                  <a:gd name="connsiteX681" fmla="*/ 904875 w 3574732"/>
                  <a:gd name="connsiteY681" fmla="*/ 681080 h 1473560"/>
                  <a:gd name="connsiteX682" fmla="*/ 902018 w 3574732"/>
                  <a:gd name="connsiteY682" fmla="*/ 684890 h 1473560"/>
                  <a:gd name="connsiteX683" fmla="*/ 896303 w 3574732"/>
                  <a:gd name="connsiteY683" fmla="*/ 691558 h 1473560"/>
                  <a:gd name="connsiteX684" fmla="*/ 894398 w 3574732"/>
                  <a:gd name="connsiteY684" fmla="*/ 702035 h 1473560"/>
                  <a:gd name="connsiteX685" fmla="*/ 894398 w 3574732"/>
                  <a:gd name="connsiteY685" fmla="*/ 711560 h 1473560"/>
                  <a:gd name="connsiteX686" fmla="*/ 889635 w 3574732"/>
                  <a:gd name="connsiteY686" fmla="*/ 717275 h 1473560"/>
                  <a:gd name="connsiteX687" fmla="*/ 881063 w 3574732"/>
                  <a:gd name="connsiteY687" fmla="*/ 720133 h 1473560"/>
                  <a:gd name="connsiteX688" fmla="*/ 862013 w 3574732"/>
                  <a:gd name="connsiteY688" fmla="*/ 722038 h 1473560"/>
                  <a:gd name="connsiteX689" fmla="*/ 850583 w 3574732"/>
                  <a:gd name="connsiteY689" fmla="*/ 722038 h 1473560"/>
                  <a:gd name="connsiteX690" fmla="*/ 842963 w 3574732"/>
                  <a:gd name="connsiteY690" fmla="*/ 721085 h 1473560"/>
                  <a:gd name="connsiteX691" fmla="*/ 834390 w 3574732"/>
                  <a:gd name="connsiteY691" fmla="*/ 724895 h 1473560"/>
                  <a:gd name="connsiteX692" fmla="*/ 807720 w 3574732"/>
                  <a:gd name="connsiteY692" fmla="*/ 727753 h 1473560"/>
                  <a:gd name="connsiteX693" fmla="*/ 793433 w 3574732"/>
                  <a:gd name="connsiteY693" fmla="*/ 727753 h 1473560"/>
                  <a:gd name="connsiteX694" fmla="*/ 771525 w 3574732"/>
                  <a:gd name="connsiteY694" fmla="*/ 725848 h 1473560"/>
                  <a:gd name="connsiteX695" fmla="*/ 758190 w 3574732"/>
                  <a:gd name="connsiteY695" fmla="*/ 723943 h 1473560"/>
                  <a:gd name="connsiteX696" fmla="*/ 750570 w 3574732"/>
                  <a:gd name="connsiteY696" fmla="*/ 722038 h 1473560"/>
                  <a:gd name="connsiteX697" fmla="*/ 734378 w 3574732"/>
                  <a:gd name="connsiteY697" fmla="*/ 720133 h 1473560"/>
                  <a:gd name="connsiteX698" fmla="*/ 718185 w 3574732"/>
                  <a:gd name="connsiteY698" fmla="*/ 715370 h 1473560"/>
                  <a:gd name="connsiteX699" fmla="*/ 706755 w 3574732"/>
                  <a:gd name="connsiteY699" fmla="*/ 714418 h 1473560"/>
                  <a:gd name="connsiteX700" fmla="*/ 684848 w 3574732"/>
                  <a:gd name="connsiteY700" fmla="*/ 711560 h 1473560"/>
                  <a:gd name="connsiteX701" fmla="*/ 667703 w 3574732"/>
                  <a:gd name="connsiteY701" fmla="*/ 711560 h 1473560"/>
                  <a:gd name="connsiteX702" fmla="*/ 651510 w 3574732"/>
                  <a:gd name="connsiteY702" fmla="*/ 713465 h 1473560"/>
                  <a:gd name="connsiteX703" fmla="*/ 648653 w 3574732"/>
                  <a:gd name="connsiteY703" fmla="*/ 719180 h 1473560"/>
                  <a:gd name="connsiteX704" fmla="*/ 632460 w 3574732"/>
                  <a:gd name="connsiteY704" fmla="*/ 728705 h 1473560"/>
                  <a:gd name="connsiteX705" fmla="*/ 607695 w 3574732"/>
                  <a:gd name="connsiteY705" fmla="*/ 726800 h 1473560"/>
                  <a:gd name="connsiteX706" fmla="*/ 596265 w 3574732"/>
                  <a:gd name="connsiteY706" fmla="*/ 723943 h 1473560"/>
                  <a:gd name="connsiteX707" fmla="*/ 585788 w 3574732"/>
                  <a:gd name="connsiteY707" fmla="*/ 721085 h 1473560"/>
                  <a:gd name="connsiteX708" fmla="*/ 571500 w 3574732"/>
                  <a:gd name="connsiteY708" fmla="*/ 717275 h 1473560"/>
                  <a:gd name="connsiteX709" fmla="*/ 560070 w 3574732"/>
                  <a:gd name="connsiteY709" fmla="*/ 714418 h 1473560"/>
                  <a:gd name="connsiteX710" fmla="*/ 548640 w 3574732"/>
                  <a:gd name="connsiteY710" fmla="*/ 710608 h 1473560"/>
                  <a:gd name="connsiteX711" fmla="*/ 537210 w 3574732"/>
                  <a:gd name="connsiteY711" fmla="*/ 707750 h 1473560"/>
                  <a:gd name="connsiteX712" fmla="*/ 521018 w 3574732"/>
                  <a:gd name="connsiteY712" fmla="*/ 704893 h 1473560"/>
                  <a:gd name="connsiteX713" fmla="*/ 515303 w 3574732"/>
                  <a:gd name="connsiteY713" fmla="*/ 701083 h 1473560"/>
                  <a:gd name="connsiteX714" fmla="*/ 507683 w 3574732"/>
                  <a:gd name="connsiteY714" fmla="*/ 697273 h 1473560"/>
                  <a:gd name="connsiteX715" fmla="*/ 501968 w 3574732"/>
                  <a:gd name="connsiteY715" fmla="*/ 697273 h 1473560"/>
                  <a:gd name="connsiteX716" fmla="*/ 494348 w 3574732"/>
                  <a:gd name="connsiteY716" fmla="*/ 694415 h 1473560"/>
                  <a:gd name="connsiteX717" fmla="*/ 488633 w 3574732"/>
                  <a:gd name="connsiteY717" fmla="*/ 689653 h 1473560"/>
                  <a:gd name="connsiteX718" fmla="*/ 482918 w 3574732"/>
                  <a:gd name="connsiteY718" fmla="*/ 681080 h 1473560"/>
                  <a:gd name="connsiteX719" fmla="*/ 482918 w 3574732"/>
                  <a:gd name="connsiteY719" fmla="*/ 675365 h 1473560"/>
                  <a:gd name="connsiteX720" fmla="*/ 485775 w 3574732"/>
                  <a:gd name="connsiteY720" fmla="*/ 662983 h 1473560"/>
                  <a:gd name="connsiteX721" fmla="*/ 484823 w 3574732"/>
                  <a:gd name="connsiteY721" fmla="*/ 655363 h 1473560"/>
                  <a:gd name="connsiteX722" fmla="*/ 480060 w 3574732"/>
                  <a:gd name="connsiteY722" fmla="*/ 651553 h 1473560"/>
                  <a:gd name="connsiteX723" fmla="*/ 461010 w 3574732"/>
                  <a:gd name="connsiteY723" fmla="*/ 652505 h 1473560"/>
                  <a:gd name="connsiteX724" fmla="*/ 450533 w 3574732"/>
                  <a:gd name="connsiteY724" fmla="*/ 652505 h 1473560"/>
                  <a:gd name="connsiteX725" fmla="*/ 440055 w 3574732"/>
                  <a:gd name="connsiteY725" fmla="*/ 652505 h 1473560"/>
                  <a:gd name="connsiteX726" fmla="*/ 421005 w 3574732"/>
                  <a:gd name="connsiteY726" fmla="*/ 651553 h 1473560"/>
                  <a:gd name="connsiteX727" fmla="*/ 410528 w 3574732"/>
                  <a:gd name="connsiteY727" fmla="*/ 651553 h 1473560"/>
                  <a:gd name="connsiteX728" fmla="*/ 402908 w 3574732"/>
                  <a:gd name="connsiteY728" fmla="*/ 650600 h 1473560"/>
                  <a:gd name="connsiteX729" fmla="*/ 392430 w 3574732"/>
                  <a:gd name="connsiteY729" fmla="*/ 650600 h 1473560"/>
                  <a:gd name="connsiteX730" fmla="*/ 373380 w 3574732"/>
                  <a:gd name="connsiteY730" fmla="*/ 650600 h 1473560"/>
                  <a:gd name="connsiteX731" fmla="*/ 365760 w 3574732"/>
                  <a:gd name="connsiteY731" fmla="*/ 650600 h 1473560"/>
                  <a:gd name="connsiteX732" fmla="*/ 352425 w 3574732"/>
                  <a:gd name="connsiteY732" fmla="*/ 650600 h 1473560"/>
                  <a:gd name="connsiteX733" fmla="*/ 339090 w 3574732"/>
                  <a:gd name="connsiteY733" fmla="*/ 650600 h 1473560"/>
                  <a:gd name="connsiteX734" fmla="*/ 330518 w 3574732"/>
                  <a:gd name="connsiteY734" fmla="*/ 653458 h 1473560"/>
                  <a:gd name="connsiteX735" fmla="*/ 324803 w 3574732"/>
                  <a:gd name="connsiteY735" fmla="*/ 658220 h 1473560"/>
                  <a:gd name="connsiteX736" fmla="*/ 316230 w 3574732"/>
                  <a:gd name="connsiteY736" fmla="*/ 659173 h 1473560"/>
                  <a:gd name="connsiteX737" fmla="*/ 304800 w 3574732"/>
                  <a:gd name="connsiteY737" fmla="*/ 662030 h 1473560"/>
                  <a:gd name="connsiteX738" fmla="*/ 294323 w 3574732"/>
                  <a:gd name="connsiteY738" fmla="*/ 662983 h 1473560"/>
                  <a:gd name="connsiteX739" fmla="*/ 288608 w 3574732"/>
                  <a:gd name="connsiteY739" fmla="*/ 663935 h 1473560"/>
                  <a:gd name="connsiteX740" fmla="*/ 280988 w 3574732"/>
                  <a:gd name="connsiteY740" fmla="*/ 667745 h 1473560"/>
                  <a:gd name="connsiteX741" fmla="*/ 261938 w 3574732"/>
                  <a:gd name="connsiteY741" fmla="*/ 670603 h 1473560"/>
                  <a:gd name="connsiteX742" fmla="*/ 254318 w 3574732"/>
                  <a:gd name="connsiteY742" fmla="*/ 671555 h 1473560"/>
                  <a:gd name="connsiteX743" fmla="*/ 238125 w 3574732"/>
                  <a:gd name="connsiteY743" fmla="*/ 679175 h 1473560"/>
                  <a:gd name="connsiteX744" fmla="*/ 219075 w 3574732"/>
                  <a:gd name="connsiteY744" fmla="*/ 674413 h 1473560"/>
                  <a:gd name="connsiteX745" fmla="*/ 205740 w 3574732"/>
                  <a:gd name="connsiteY745" fmla="*/ 674413 h 1473560"/>
                  <a:gd name="connsiteX746" fmla="*/ 200025 w 3574732"/>
                  <a:gd name="connsiteY746" fmla="*/ 678223 h 1473560"/>
                  <a:gd name="connsiteX747" fmla="*/ 188595 w 3574732"/>
                  <a:gd name="connsiteY747" fmla="*/ 681080 h 1473560"/>
                  <a:gd name="connsiteX748" fmla="*/ 177165 w 3574732"/>
                  <a:gd name="connsiteY748" fmla="*/ 684890 h 1473560"/>
                  <a:gd name="connsiteX749" fmla="*/ 168593 w 3574732"/>
                  <a:gd name="connsiteY749" fmla="*/ 691558 h 1473560"/>
                  <a:gd name="connsiteX750" fmla="*/ 160020 w 3574732"/>
                  <a:gd name="connsiteY750" fmla="*/ 692510 h 1473560"/>
                  <a:gd name="connsiteX751" fmla="*/ 155258 w 3574732"/>
                  <a:gd name="connsiteY751" fmla="*/ 693463 h 1473560"/>
                  <a:gd name="connsiteX752" fmla="*/ 149543 w 3574732"/>
                  <a:gd name="connsiteY752" fmla="*/ 695368 h 1473560"/>
                  <a:gd name="connsiteX753" fmla="*/ 146685 w 3574732"/>
                  <a:gd name="connsiteY753" fmla="*/ 701083 h 1473560"/>
                  <a:gd name="connsiteX754" fmla="*/ 141923 w 3574732"/>
                  <a:gd name="connsiteY754" fmla="*/ 706798 h 1473560"/>
                  <a:gd name="connsiteX755" fmla="*/ 136208 w 3574732"/>
                  <a:gd name="connsiteY755" fmla="*/ 711560 h 1473560"/>
                  <a:gd name="connsiteX756" fmla="*/ 131445 w 3574732"/>
                  <a:gd name="connsiteY756" fmla="*/ 721085 h 1473560"/>
                  <a:gd name="connsiteX757" fmla="*/ 128588 w 3574732"/>
                  <a:gd name="connsiteY757" fmla="*/ 729658 h 1473560"/>
                  <a:gd name="connsiteX758" fmla="*/ 122873 w 3574732"/>
                  <a:gd name="connsiteY758" fmla="*/ 740135 h 1473560"/>
                  <a:gd name="connsiteX759" fmla="*/ 115253 w 3574732"/>
                  <a:gd name="connsiteY759" fmla="*/ 744898 h 1473560"/>
                  <a:gd name="connsiteX760" fmla="*/ 104775 w 3574732"/>
                  <a:gd name="connsiteY760" fmla="*/ 749660 h 1473560"/>
                  <a:gd name="connsiteX761" fmla="*/ 97155 w 3574732"/>
                  <a:gd name="connsiteY761" fmla="*/ 746803 h 1473560"/>
                  <a:gd name="connsiteX762" fmla="*/ 81915 w 3574732"/>
                  <a:gd name="connsiteY762" fmla="*/ 754423 h 1473560"/>
                  <a:gd name="connsiteX763" fmla="*/ 76200 w 3574732"/>
                  <a:gd name="connsiteY763" fmla="*/ 756328 h 1473560"/>
                  <a:gd name="connsiteX764" fmla="*/ 68580 w 3574732"/>
                  <a:gd name="connsiteY764" fmla="*/ 762995 h 1473560"/>
                  <a:gd name="connsiteX765" fmla="*/ 63818 w 3574732"/>
                  <a:gd name="connsiteY765" fmla="*/ 767758 h 1473560"/>
                  <a:gd name="connsiteX766" fmla="*/ 56198 w 3574732"/>
                  <a:gd name="connsiteY766" fmla="*/ 781093 h 1473560"/>
                  <a:gd name="connsiteX767" fmla="*/ 51435 w 3574732"/>
                  <a:gd name="connsiteY767" fmla="*/ 782045 h 1473560"/>
                  <a:gd name="connsiteX768" fmla="*/ 40958 w 3574732"/>
                  <a:gd name="connsiteY768" fmla="*/ 787760 h 1473560"/>
                  <a:gd name="connsiteX769" fmla="*/ 25718 w 3574732"/>
                  <a:gd name="connsiteY769" fmla="*/ 794428 h 1473560"/>
                  <a:gd name="connsiteX770" fmla="*/ 18098 w 3574732"/>
                  <a:gd name="connsiteY770" fmla="*/ 802048 h 1473560"/>
                  <a:gd name="connsiteX771" fmla="*/ 12383 w 3574732"/>
                  <a:gd name="connsiteY771" fmla="*/ 815383 h 1473560"/>
                  <a:gd name="connsiteX772" fmla="*/ 6668 w 3574732"/>
                  <a:gd name="connsiteY772" fmla="*/ 823955 h 1473560"/>
                  <a:gd name="connsiteX773" fmla="*/ 6668 w 3574732"/>
                  <a:gd name="connsiteY773" fmla="*/ 834433 h 1473560"/>
                  <a:gd name="connsiteX774" fmla="*/ 6668 w 3574732"/>
                  <a:gd name="connsiteY774" fmla="*/ 839195 h 1473560"/>
                  <a:gd name="connsiteX775" fmla="*/ 6668 w 3574732"/>
                  <a:gd name="connsiteY775" fmla="*/ 850625 h 1473560"/>
                  <a:gd name="connsiteX776" fmla="*/ 9525 w 3574732"/>
                  <a:gd name="connsiteY776" fmla="*/ 864913 h 1473560"/>
                  <a:gd name="connsiteX777" fmla="*/ 9525 w 3574732"/>
                  <a:gd name="connsiteY777" fmla="*/ 874438 h 1473560"/>
                  <a:gd name="connsiteX778" fmla="*/ 7620 w 3574732"/>
                  <a:gd name="connsiteY778" fmla="*/ 888725 h 1473560"/>
                  <a:gd name="connsiteX779" fmla="*/ 5715 w 3574732"/>
                  <a:gd name="connsiteY779" fmla="*/ 894440 h 1473560"/>
                  <a:gd name="connsiteX780" fmla="*/ 2858 w 3574732"/>
                  <a:gd name="connsiteY780" fmla="*/ 908728 h 1473560"/>
                  <a:gd name="connsiteX781" fmla="*/ 0 w 3574732"/>
                  <a:gd name="connsiteY781" fmla="*/ 919205 h 1473560"/>
                  <a:gd name="connsiteX782" fmla="*/ 5715 w 3574732"/>
                  <a:gd name="connsiteY782" fmla="*/ 929683 h 1473560"/>
                  <a:gd name="connsiteX783" fmla="*/ 8573 w 3574732"/>
                  <a:gd name="connsiteY783" fmla="*/ 938255 h 1473560"/>
                  <a:gd name="connsiteX784" fmla="*/ 24765 w 3574732"/>
                  <a:gd name="connsiteY784" fmla="*/ 944923 h 1473560"/>
                  <a:gd name="connsiteX785" fmla="*/ 32385 w 3574732"/>
                  <a:gd name="connsiteY785" fmla="*/ 949685 h 1473560"/>
                  <a:gd name="connsiteX786" fmla="*/ 42863 w 3574732"/>
                  <a:gd name="connsiteY786" fmla="*/ 961115 h 1473560"/>
                  <a:gd name="connsiteX787" fmla="*/ 56198 w 3574732"/>
                  <a:gd name="connsiteY787" fmla="*/ 968735 h 1473560"/>
                  <a:gd name="connsiteX788" fmla="*/ 61913 w 3574732"/>
                  <a:gd name="connsiteY788" fmla="*/ 973498 h 1473560"/>
                  <a:gd name="connsiteX789" fmla="*/ 75248 w 3574732"/>
                  <a:gd name="connsiteY789" fmla="*/ 980165 h 1473560"/>
                  <a:gd name="connsiteX790" fmla="*/ 86678 w 3574732"/>
                  <a:gd name="connsiteY790" fmla="*/ 985880 h 1473560"/>
                  <a:gd name="connsiteX791" fmla="*/ 95250 w 3574732"/>
                  <a:gd name="connsiteY791" fmla="*/ 993500 h 1473560"/>
                  <a:gd name="connsiteX792" fmla="*/ 114300 w 3574732"/>
                  <a:gd name="connsiteY792" fmla="*/ 1001120 h 1473560"/>
                  <a:gd name="connsiteX793" fmla="*/ 120015 w 3574732"/>
                  <a:gd name="connsiteY793" fmla="*/ 1009693 h 1473560"/>
                  <a:gd name="connsiteX794" fmla="*/ 137160 w 3574732"/>
                  <a:gd name="connsiteY794" fmla="*/ 1020170 h 1473560"/>
                  <a:gd name="connsiteX795" fmla="*/ 147638 w 3574732"/>
                  <a:gd name="connsiteY795" fmla="*/ 1026838 h 1473560"/>
                  <a:gd name="connsiteX796" fmla="*/ 165735 w 3574732"/>
                  <a:gd name="connsiteY796" fmla="*/ 1026838 h 1473560"/>
                  <a:gd name="connsiteX797" fmla="*/ 184785 w 3574732"/>
                  <a:gd name="connsiteY797" fmla="*/ 1023028 h 1473560"/>
                  <a:gd name="connsiteX798" fmla="*/ 190500 w 3574732"/>
                  <a:gd name="connsiteY798" fmla="*/ 1021123 h 1473560"/>
                  <a:gd name="connsiteX799" fmla="*/ 201930 w 3574732"/>
                  <a:gd name="connsiteY799" fmla="*/ 1019218 h 1473560"/>
                  <a:gd name="connsiteX800" fmla="*/ 207645 w 3574732"/>
                  <a:gd name="connsiteY800" fmla="*/ 1019218 h 1473560"/>
                  <a:gd name="connsiteX801" fmla="*/ 216218 w 3574732"/>
                  <a:gd name="connsiteY801" fmla="*/ 1019218 h 1473560"/>
                  <a:gd name="connsiteX802" fmla="*/ 224790 w 3574732"/>
                  <a:gd name="connsiteY802" fmla="*/ 1019218 h 1473560"/>
                  <a:gd name="connsiteX803" fmla="*/ 233363 w 3574732"/>
                  <a:gd name="connsiteY803" fmla="*/ 1021123 h 1473560"/>
                  <a:gd name="connsiteX804" fmla="*/ 249555 w 3574732"/>
                  <a:gd name="connsiteY804" fmla="*/ 1021123 h 1473560"/>
                  <a:gd name="connsiteX805" fmla="*/ 258128 w 3574732"/>
                  <a:gd name="connsiteY805" fmla="*/ 1020170 h 1473560"/>
                  <a:gd name="connsiteX806" fmla="*/ 279083 w 3574732"/>
                  <a:gd name="connsiteY806" fmla="*/ 1018265 h 1473560"/>
                  <a:gd name="connsiteX807" fmla="*/ 295275 w 3574732"/>
                  <a:gd name="connsiteY807" fmla="*/ 1013503 h 1473560"/>
                  <a:gd name="connsiteX808" fmla="*/ 306705 w 3574732"/>
                  <a:gd name="connsiteY808" fmla="*/ 1006835 h 1473560"/>
                  <a:gd name="connsiteX809" fmla="*/ 314325 w 3574732"/>
                  <a:gd name="connsiteY809" fmla="*/ 1003025 h 1473560"/>
                  <a:gd name="connsiteX810" fmla="*/ 320040 w 3574732"/>
                  <a:gd name="connsiteY810" fmla="*/ 1002073 h 1473560"/>
                  <a:gd name="connsiteX811" fmla="*/ 334328 w 3574732"/>
                  <a:gd name="connsiteY811" fmla="*/ 1002073 h 1473560"/>
                  <a:gd name="connsiteX812" fmla="*/ 347663 w 3574732"/>
                  <a:gd name="connsiteY812" fmla="*/ 1003978 h 1473560"/>
                  <a:gd name="connsiteX813" fmla="*/ 358140 w 3574732"/>
                  <a:gd name="connsiteY813" fmla="*/ 1005883 h 1473560"/>
                  <a:gd name="connsiteX814" fmla="*/ 366713 w 3574732"/>
                  <a:gd name="connsiteY814" fmla="*/ 1006835 h 1473560"/>
                  <a:gd name="connsiteX815" fmla="*/ 377190 w 3574732"/>
                  <a:gd name="connsiteY815" fmla="*/ 1008740 h 1473560"/>
                  <a:gd name="connsiteX816" fmla="*/ 385763 w 3574732"/>
                  <a:gd name="connsiteY816" fmla="*/ 1014455 h 1473560"/>
                  <a:gd name="connsiteX817" fmla="*/ 394335 w 3574732"/>
                  <a:gd name="connsiteY817" fmla="*/ 1021123 h 1473560"/>
                  <a:gd name="connsiteX818" fmla="*/ 404813 w 3574732"/>
                  <a:gd name="connsiteY818" fmla="*/ 1023980 h 1473560"/>
                  <a:gd name="connsiteX819" fmla="*/ 412433 w 3574732"/>
                  <a:gd name="connsiteY819" fmla="*/ 1025885 h 1473560"/>
                  <a:gd name="connsiteX820" fmla="*/ 429578 w 3574732"/>
                  <a:gd name="connsiteY820" fmla="*/ 1027790 h 1473560"/>
                  <a:gd name="connsiteX821" fmla="*/ 437198 w 3574732"/>
                  <a:gd name="connsiteY821" fmla="*/ 1027790 h 1473560"/>
                  <a:gd name="connsiteX822" fmla="*/ 450533 w 3574732"/>
                  <a:gd name="connsiteY822" fmla="*/ 1030648 h 1473560"/>
                  <a:gd name="connsiteX823" fmla="*/ 451485 w 3574732"/>
                  <a:gd name="connsiteY823" fmla="*/ 1036363 h 1473560"/>
                  <a:gd name="connsiteX824" fmla="*/ 451485 w 3574732"/>
                  <a:gd name="connsiteY824" fmla="*/ 1045888 h 1473560"/>
                  <a:gd name="connsiteX825" fmla="*/ 451485 w 3574732"/>
                  <a:gd name="connsiteY825" fmla="*/ 1055413 h 1473560"/>
                  <a:gd name="connsiteX826" fmla="*/ 451485 w 3574732"/>
                  <a:gd name="connsiteY826" fmla="*/ 1066843 h 1473560"/>
                  <a:gd name="connsiteX827" fmla="*/ 449580 w 3574732"/>
                  <a:gd name="connsiteY827" fmla="*/ 1076368 h 1473560"/>
                  <a:gd name="connsiteX828" fmla="*/ 447675 w 3574732"/>
                  <a:gd name="connsiteY828" fmla="*/ 1087798 h 1473560"/>
                  <a:gd name="connsiteX829" fmla="*/ 447675 w 3574732"/>
                  <a:gd name="connsiteY829" fmla="*/ 1095418 h 1473560"/>
                  <a:gd name="connsiteX830" fmla="*/ 450533 w 3574732"/>
                  <a:gd name="connsiteY830" fmla="*/ 1102085 h 1473560"/>
                  <a:gd name="connsiteX831" fmla="*/ 458153 w 3574732"/>
                  <a:gd name="connsiteY831" fmla="*/ 1108753 h 1473560"/>
                  <a:gd name="connsiteX832" fmla="*/ 465773 w 3574732"/>
                  <a:gd name="connsiteY832" fmla="*/ 1112563 h 1473560"/>
                  <a:gd name="connsiteX833" fmla="*/ 474345 w 3574732"/>
                  <a:gd name="connsiteY833" fmla="*/ 1113515 h 1473560"/>
                  <a:gd name="connsiteX834" fmla="*/ 487680 w 3574732"/>
                  <a:gd name="connsiteY834" fmla="*/ 1123040 h 1473560"/>
                  <a:gd name="connsiteX835" fmla="*/ 493395 w 3574732"/>
                  <a:gd name="connsiteY835" fmla="*/ 1129708 h 1473560"/>
                  <a:gd name="connsiteX836" fmla="*/ 499110 w 3574732"/>
                  <a:gd name="connsiteY836" fmla="*/ 1134470 h 1473560"/>
                  <a:gd name="connsiteX837" fmla="*/ 507683 w 3574732"/>
                  <a:gd name="connsiteY837" fmla="*/ 1150663 h 1473560"/>
                  <a:gd name="connsiteX838" fmla="*/ 510540 w 3574732"/>
                  <a:gd name="connsiteY838" fmla="*/ 1157330 h 1473560"/>
                  <a:gd name="connsiteX839" fmla="*/ 507683 w 3574732"/>
                  <a:gd name="connsiteY839" fmla="*/ 1165903 h 1473560"/>
                  <a:gd name="connsiteX840" fmla="*/ 507683 w 3574732"/>
                  <a:gd name="connsiteY840" fmla="*/ 1173523 h 1473560"/>
                  <a:gd name="connsiteX841" fmla="*/ 518160 w 3574732"/>
                  <a:gd name="connsiteY841" fmla="*/ 1182095 h 1473560"/>
                  <a:gd name="connsiteX842" fmla="*/ 525780 w 3574732"/>
                  <a:gd name="connsiteY842" fmla="*/ 1185905 h 1473560"/>
                  <a:gd name="connsiteX843" fmla="*/ 526733 w 3574732"/>
                  <a:gd name="connsiteY843" fmla="*/ 1192573 h 1473560"/>
                  <a:gd name="connsiteX844" fmla="*/ 523875 w 3574732"/>
                  <a:gd name="connsiteY844" fmla="*/ 1198288 h 1473560"/>
                  <a:gd name="connsiteX845" fmla="*/ 519113 w 3574732"/>
                  <a:gd name="connsiteY845" fmla="*/ 1203050 h 1473560"/>
                  <a:gd name="connsiteX846" fmla="*/ 511493 w 3574732"/>
                  <a:gd name="connsiteY846" fmla="*/ 1214480 h 1473560"/>
                  <a:gd name="connsiteX847" fmla="*/ 506730 w 3574732"/>
                  <a:gd name="connsiteY847" fmla="*/ 1219243 h 1473560"/>
                  <a:gd name="connsiteX848" fmla="*/ 506730 w 3574732"/>
                  <a:gd name="connsiteY848" fmla="*/ 1227815 h 1473560"/>
                  <a:gd name="connsiteX849" fmla="*/ 499110 w 3574732"/>
                  <a:gd name="connsiteY849" fmla="*/ 1233530 h 1473560"/>
                  <a:gd name="connsiteX850" fmla="*/ 491490 w 3574732"/>
                  <a:gd name="connsiteY850" fmla="*/ 1245913 h 1473560"/>
                  <a:gd name="connsiteX851" fmla="*/ 491490 w 3574732"/>
                  <a:gd name="connsiteY851" fmla="*/ 1250675 h 1473560"/>
                  <a:gd name="connsiteX852" fmla="*/ 494348 w 3574732"/>
                  <a:gd name="connsiteY852" fmla="*/ 1260200 h 1473560"/>
                  <a:gd name="connsiteX853" fmla="*/ 495300 w 3574732"/>
                  <a:gd name="connsiteY853" fmla="*/ 1280203 h 1473560"/>
                  <a:gd name="connsiteX854" fmla="*/ 501968 w 3574732"/>
                  <a:gd name="connsiteY854" fmla="*/ 1290680 h 1473560"/>
                  <a:gd name="connsiteX855" fmla="*/ 500063 w 3574732"/>
                  <a:gd name="connsiteY855" fmla="*/ 1304015 h 1473560"/>
                  <a:gd name="connsiteX856" fmla="*/ 502920 w 3574732"/>
                  <a:gd name="connsiteY856" fmla="*/ 1310683 h 1473560"/>
                  <a:gd name="connsiteX857" fmla="*/ 514350 w 3574732"/>
                  <a:gd name="connsiteY857" fmla="*/ 1320208 h 1473560"/>
                  <a:gd name="connsiteX858" fmla="*/ 525780 w 3574732"/>
                  <a:gd name="connsiteY858" fmla="*/ 1326875 h 1473560"/>
                  <a:gd name="connsiteX859" fmla="*/ 534353 w 3574732"/>
                  <a:gd name="connsiteY859" fmla="*/ 1337353 h 1473560"/>
                  <a:gd name="connsiteX860" fmla="*/ 535305 w 3574732"/>
                  <a:gd name="connsiteY860" fmla="*/ 1342115 h 1473560"/>
                  <a:gd name="connsiteX861" fmla="*/ 533400 w 3574732"/>
                  <a:gd name="connsiteY861" fmla="*/ 1349735 h 1473560"/>
                  <a:gd name="connsiteX862" fmla="*/ 533400 w 3574732"/>
                  <a:gd name="connsiteY862" fmla="*/ 1360213 h 1473560"/>
                  <a:gd name="connsiteX863" fmla="*/ 534353 w 3574732"/>
                  <a:gd name="connsiteY863" fmla="*/ 1369738 h 1473560"/>
                  <a:gd name="connsiteX864" fmla="*/ 547688 w 3574732"/>
                  <a:gd name="connsiteY864" fmla="*/ 1380215 h 1473560"/>
                  <a:gd name="connsiteX865" fmla="*/ 553403 w 3574732"/>
                  <a:gd name="connsiteY865" fmla="*/ 1388788 h 1473560"/>
                  <a:gd name="connsiteX866" fmla="*/ 559118 w 3574732"/>
                  <a:gd name="connsiteY866" fmla="*/ 1393550 h 1473560"/>
                  <a:gd name="connsiteX867" fmla="*/ 563880 w 3574732"/>
                  <a:gd name="connsiteY867" fmla="*/ 1398313 h 1473560"/>
                  <a:gd name="connsiteX868" fmla="*/ 573405 w 3574732"/>
                  <a:gd name="connsiteY868" fmla="*/ 1410695 h 1473560"/>
                  <a:gd name="connsiteX869" fmla="*/ 576263 w 3574732"/>
                  <a:gd name="connsiteY869" fmla="*/ 1419268 h 1473560"/>
                  <a:gd name="connsiteX870" fmla="*/ 580073 w 3574732"/>
                  <a:gd name="connsiteY870" fmla="*/ 1425935 h 1473560"/>
                  <a:gd name="connsiteX871" fmla="*/ 588645 w 3574732"/>
                  <a:gd name="connsiteY871" fmla="*/ 1436413 h 1473560"/>
                  <a:gd name="connsiteX872" fmla="*/ 594360 w 3574732"/>
                  <a:gd name="connsiteY872" fmla="*/ 1442128 h 1473560"/>
                  <a:gd name="connsiteX873" fmla="*/ 597218 w 3574732"/>
                  <a:gd name="connsiteY873" fmla="*/ 1451653 h 1473560"/>
                  <a:gd name="connsiteX874" fmla="*/ 597218 w 3574732"/>
                  <a:gd name="connsiteY874" fmla="*/ 1458320 h 1473560"/>
                  <a:gd name="connsiteX875" fmla="*/ 598170 w 3574732"/>
                  <a:gd name="connsiteY875" fmla="*/ 1464035 h 1473560"/>
                  <a:gd name="connsiteX876" fmla="*/ 601980 w 3574732"/>
                  <a:gd name="connsiteY876" fmla="*/ 1473560 h 1473560"/>
                  <a:gd name="connsiteX877" fmla="*/ 612458 w 3574732"/>
                  <a:gd name="connsiteY877" fmla="*/ 1473560 h 1473560"/>
                  <a:gd name="connsiteX878" fmla="*/ 618173 w 3574732"/>
                  <a:gd name="connsiteY878" fmla="*/ 1473560 h 1473560"/>
                  <a:gd name="connsiteX879" fmla="*/ 628650 w 3574732"/>
                  <a:gd name="connsiteY879" fmla="*/ 1473560 h 1473560"/>
                  <a:gd name="connsiteX880" fmla="*/ 639128 w 3574732"/>
                  <a:gd name="connsiteY880" fmla="*/ 1473560 h 1473560"/>
                  <a:gd name="connsiteX881" fmla="*/ 650558 w 3574732"/>
                  <a:gd name="connsiteY881" fmla="*/ 1472608 h 1473560"/>
                  <a:gd name="connsiteX882" fmla="*/ 656273 w 3574732"/>
                  <a:gd name="connsiteY882" fmla="*/ 1470703 h 1473560"/>
                  <a:gd name="connsiteX883" fmla="*/ 667703 w 3574732"/>
                  <a:gd name="connsiteY883" fmla="*/ 1469750 h 1473560"/>
                  <a:gd name="connsiteX884" fmla="*/ 681038 w 3574732"/>
                  <a:gd name="connsiteY884" fmla="*/ 1468798 h 1473560"/>
                  <a:gd name="connsiteX885" fmla="*/ 698183 w 3574732"/>
                  <a:gd name="connsiteY885" fmla="*/ 1468798 h 1473560"/>
                  <a:gd name="connsiteX886" fmla="*/ 719138 w 3574732"/>
                  <a:gd name="connsiteY886" fmla="*/ 1466893 h 1473560"/>
                  <a:gd name="connsiteX887" fmla="*/ 746760 w 3574732"/>
                  <a:gd name="connsiteY887" fmla="*/ 1462130 h 1473560"/>
                  <a:gd name="connsiteX888" fmla="*/ 764858 w 3574732"/>
                  <a:gd name="connsiteY888" fmla="*/ 1456415 h 1473560"/>
                  <a:gd name="connsiteX889" fmla="*/ 775335 w 3574732"/>
                  <a:gd name="connsiteY889" fmla="*/ 1447843 h 1473560"/>
                  <a:gd name="connsiteX890" fmla="*/ 781050 w 3574732"/>
                  <a:gd name="connsiteY890" fmla="*/ 1444033 h 1473560"/>
                  <a:gd name="connsiteX891" fmla="*/ 786765 w 3574732"/>
                  <a:gd name="connsiteY891" fmla="*/ 1440223 h 1473560"/>
                  <a:gd name="connsiteX892" fmla="*/ 802005 w 3574732"/>
                  <a:gd name="connsiteY892" fmla="*/ 1434508 h 1473560"/>
                  <a:gd name="connsiteX893" fmla="*/ 810578 w 3574732"/>
                  <a:gd name="connsiteY893" fmla="*/ 1427840 h 1473560"/>
                  <a:gd name="connsiteX894" fmla="*/ 815340 w 3574732"/>
                  <a:gd name="connsiteY894" fmla="*/ 1424030 h 1473560"/>
                  <a:gd name="connsiteX895" fmla="*/ 821055 w 3574732"/>
                  <a:gd name="connsiteY895" fmla="*/ 1415458 h 1473560"/>
                  <a:gd name="connsiteX896" fmla="*/ 826770 w 3574732"/>
                  <a:gd name="connsiteY896" fmla="*/ 1412600 h 1473560"/>
                  <a:gd name="connsiteX897" fmla="*/ 834390 w 3574732"/>
                  <a:gd name="connsiteY897" fmla="*/ 1406885 h 1473560"/>
                  <a:gd name="connsiteX898" fmla="*/ 836295 w 3574732"/>
                  <a:gd name="connsiteY898" fmla="*/ 1404028 h 1473560"/>
                  <a:gd name="connsiteX899" fmla="*/ 839153 w 3574732"/>
                  <a:gd name="connsiteY899" fmla="*/ 1389740 h 1473560"/>
                  <a:gd name="connsiteX900" fmla="*/ 839153 w 3574732"/>
                  <a:gd name="connsiteY900" fmla="*/ 1381168 h 1473560"/>
                  <a:gd name="connsiteX901" fmla="*/ 843915 w 3574732"/>
                  <a:gd name="connsiteY901" fmla="*/ 1370690 h 1473560"/>
                  <a:gd name="connsiteX902" fmla="*/ 859155 w 3574732"/>
                  <a:gd name="connsiteY902" fmla="*/ 1365928 h 1473560"/>
                  <a:gd name="connsiteX903" fmla="*/ 864870 w 3574732"/>
                  <a:gd name="connsiteY903" fmla="*/ 1364975 h 1473560"/>
                  <a:gd name="connsiteX904" fmla="*/ 870585 w 3574732"/>
                  <a:gd name="connsiteY904" fmla="*/ 1364023 h 1473560"/>
                  <a:gd name="connsiteX905" fmla="*/ 881063 w 3574732"/>
                  <a:gd name="connsiteY905" fmla="*/ 1357355 h 1473560"/>
                  <a:gd name="connsiteX906" fmla="*/ 880110 w 3574732"/>
                  <a:gd name="connsiteY906" fmla="*/ 1354498 h 1473560"/>
                  <a:gd name="connsiteX907" fmla="*/ 880110 w 3574732"/>
                  <a:gd name="connsiteY907" fmla="*/ 1347830 h 1473560"/>
                  <a:gd name="connsiteX908" fmla="*/ 880110 w 3574732"/>
                  <a:gd name="connsiteY908" fmla="*/ 1338305 h 1473560"/>
                  <a:gd name="connsiteX909" fmla="*/ 880110 w 3574732"/>
                  <a:gd name="connsiteY909" fmla="*/ 1329733 h 1473560"/>
                  <a:gd name="connsiteX910" fmla="*/ 880110 w 3574732"/>
                  <a:gd name="connsiteY910" fmla="*/ 1317350 h 1473560"/>
                  <a:gd name="connsiteX911" fmla="*/ 884873 w 3574732"/>
                  <a:gd name="connsiteY911" fmla="*/ 1302110 h 1473560"/>
                  <a:gd name="connsiteX912" fmla="*/ 884873 w 3574732"/>
                  <a:gd name="connsiteY912" fmla="*/ 1298300 h 1473560"/>
                  <a:gd name="connsiteX913" fmla="*/ 902970 w 3574732"/>
                  <a:gd name="connsiteY913" fmla="*/ 1287823 h 1473560"/>
                  <a:gd name="connsiteX914" fmla="*/ 921068 w 3574732"/>
                  <a:gd name="connsiteY914" fmla="*/ 1278298 h 1473560"/>
                  <a:gd name="connsiteX915" fmla="*/ 929640 w 3574732"/>
                  <a:gd name="connsiteY915" fmla="*/ 1275440 h 1473560"/>
                  <a:gd name="connsiteX916" fmla="*/ 935355 w 3574732"/>
                  <a:gd name="connsiteY916" fmla="*/ 1272583 h 1473560"/>
                  <a:gd name="connsiteX917" fmla="*/ 945833 w 3574732"/>
                  <a:gd name="connsiteY917" fmla="*/ 1270678 h 1473560"/>
                  <a:gd name="connsiteX918" fmla="*/ 954405 w 3574732"/>
                  <a:gd name="connsiteY918" fmla="*/ 1267820 h 1473560"/>
                  <a:gd name="connsiteX919" fmla="*/ 962978 w 3574732"/>
                  <a:gd name="connsiteY919" fmla="*/ 1264963 h 1473560"/>
                  <a:gd name="connsiteX920" fmla="*/ 970598 w 3574732"/>
                  <a:gd name="connsiteY920" fmla="*/ 1257343 h 1473560"/>
                  <a:gd name="connsiteX921" fmla="*/ 975360 w 3574732"/>
                  <a:gd name="connsiteY921" fmla="*/ 1243055 h 1473560"/>
                  <a:gd name="connsiteX922" fmla="*/ 975360 w 3574732"/>
                  <a:gd name="connsiteY922" fmla="*/ 1227815 h 1473560"/>
                  <a:gd name="connsiteX923" fmla="*/ 975360 w 3574732"/>
                  <a:gd name="connsiteY923" fmla="*/ 1219243 h 1473560"/>
                  <a:gd name="connsiteX924" fmla="*/ 975360 w 3574732"/>
                  <a:gd name="connsiteY924" fmla="*/ 1204955 h 1473560"/>
                  <a:gd name="connsiteX925" fmla="*/ 975360 w 3574732"/>
                  <a:gd name="connsiteY925" fmla="*/ 1193525 h 1473560"/>
                  <a:gd name="connsiteX926" fmla="*/ 963930 w 3574732"/>
                  <a:gd name="connsiteY926" fmla="*/ 1181143 h 1473560"/>
                  <a:gd name="connsiteX927" fmla="*/ 961073 w 3574732"/>
                  <a:gd name="connsiteY927" fmla="*/ 1170665 h 1473560"/>
                  <a:gd name="connsiteX928" fmla="*/ 960120 w 3574732"/>
                  <a:gd name="connsiteY928" fmla="*/ 1159235 h 1473560"/>
                  <a:gd name="connsiteX929" fmla="*/ 960120 w 3574732"/>
                  <a:gd name="connsiteY929" fmla="*/ 1145900 h 1473560"/>
                  <a:gd name="connsiteX930" fmla="*/ 960120 w 3574732"/>
                  <a:gd name="connsiteY930" fmla="*/ 1132565 h 1473560"/>
                  <a:gd name="connsiteX931" fmla="*/ 965835 w 3574732"/>
                  <a:gd name="connsiteY931" fmla="*/ 1121135 h 1473560"/>
                  <a:gd name="connsiteX932" fmla="*/ 970598 w 3574732"/>
                  <a:gd name="connsiteY932" fmla="*/ 1111610 h 1473560"/>
                  <a:gd name="connsiteX933" fmla="*/ 985838 w 3574732"/>
                  <a:gd name="connsiteY933" fmla="*/ 1100180 h 1473560"/>
                  <a:gd name="connsiteX934" fmla="*/ 1001078 w 3574732"/>
                  <a:gd name="connsiteY934" fmla="*/ 1089703 h 1473560"/>
                  <a:gd name="connsiteX935" fmla="*/ 1011555 w 3574732"/>
                  <a:gd name="connsiteY935" fmla="*/ 1083988 h 1473560"/>
                  <a:gd name="connsiteX936" fmla="*/ 1022985 w 3574732"/>
                  <a:gd name="connsiteY936" fmla="*/ 1077320 h 1473560"/>
                  <a:gd name="connsiteX937" fmla="*/ 1033463 w 3574732"/>
                  <a:gd name="connsiteY937" fmla="*/ 1072558 h 1473560"/>
                  <a:gd name="connsiteX938" fmla="*/ 1051560 w 3574732"/>
                  <a:gd name="connsiteY938" fmla="*/ 1063033 h 1473560"/>
                  <a:gd name="connsiteX939" fmla="*/ 1063943 w 3574732"/>
                  <a:gd name="connsiteY939" fmla="*/ 1055413 h 1473560"/>
                  <a:gd name="connsiteX940" fmla="*/ 1072515 w 3574732"/>
                  <a:gd name="connsiteY940" fmla="*/ 1049698 h 1473560"/>
                  <a:gd name="connsiteX941" fmla="*/ 1094423 w 3574732"/>
                  <a:gd name="connsiteY941" fmla="*/ 1042078 h 1473560"/>
                  <a:gd name="connsiteX942" fmla="*/ 1115378 w 3574732"/>
                  <a:gd name="connsiteY942" fmla="*/ 1027790 h 1473560"/>
                  <a:gd name="connsiteX943" fmla="*/ 1123950 w 3574732"/>
                  <a:gd name="connsiteY943" fmla="*/ 1018265 h 1473560"/>
                  <a:gd name="connsiteX944" fmla="*/ 1125855 w 3574732"/>
                  <a:gd name="connsiteY944" fmla="*/ 1011598 h 1473560"/>
                  <a:gd name="connsiteX945" fmla="*/ 1136333 w 3574732"/>
                  <a:gd name="connsiteY945" fmla="*/ 1002073 h 1473560"/>
                  <a:gd name="connsiteX946" fmla="*/ 1139190 w 3574732"/>
                  <a:gd name="connsiteY946" fmla="*/ 997310 h 1473560"/>
                  <a:gd name="connsiteX947" fmla="*/ 1154430 w 3574732"/>
                  <a:gd name="connsiteY947" fmla="*/ 975403 h 1473560"/>
                  <a:gd name="connsiteX948" fmla="*/ 1156335 w 3574732"/>
                  <a:gd name="connsiteY948" fmla="*/ 963973 h 1473560"/>
                  <a:gd name="connsiteX949" fmla="*/ 1158240 w 3574732"/>
                  <a:gd name="connsiteY949" fmla="*/ 958258 h 1473560"/>
                  <a:gd name="connsiteX950" fmla="*/ 1160145 w 3574732"/>
                  <a:gd name="connsiteY950" fmla="*/ 951590 h 1473560"/>
                  <a:gd name="connsiteX951" fmla="*/ 1141095 w 3574732"/>
                  <a:gd name="connsiteY951" fmla="*/ 955400 h 1473560"/>
                  <a:gd name="connsiteX952" fmla="*/ 1127760 w 3574732"/>
                  <a:gd name="connsiteY952" fmla="*/ 955400 h 1473560"/>
                  <a:gd name="connsiteX953" fmla="*/ 1116330 w 3574732"/>
                  <a:gd name="connsiteY953" fmla="*/ 956353 h 1473560"/>
                  <a:gd name="connsiteX954" fmla="*/ 1095375 w 3574732"/>
                  <a:gd name="connsiteY954" fmla="*/ 955400 h 1473560"/>
                  <a:gd name="connsiteX955" fmla="*/ 1089660 w 3574732"/>
                  <a:gd name="connsiteY955" fmla="*/ 955400 h 1473560"/>
                  <a:gd name="connsiteX956" fmla="*/ 1073468 w 3574732"/>
                  <a:gd name="connsiteY956" fmla="*/ 956353 h 1473560"/>
                  <a:gd name="connsiteX957" fmla="*/ 1067753 w 3574732"/>
                  <a:gd name="connsiteY957" fmla="*/ 957305 h 1473560"/>
                  <a:gd name="connsiteX958" fmla="*/ 1053465 w 3574732"/>
                  <a:gd name="connsiteY958" fmla="*/ 957305 h 1473560"/>
                  <a:gd name="connsiteX959" fmla="*/ 1042035 w 3574732"/>
                  <a:gd name="connsiteY959" fmla="*/ 953495 h 1473560"/>
                  <a:gd name="connsiteX960" fmla="*/ 1030605 w 3574732"/>
                  <a:gd name="connsiteY960" fmla="*/ 946828 h 1473560"/>
                  <a:gd name="connsiteX961" fmla="*/ 1027748 w 3574732"/>
                  <a:gd name="connsiteY961" fmla="*/ 943018 h 1473560"/>
                  <a:gd name="connsiteX962" fmla="*/ 1021080 w 3574732"/>
                  <a:gd name="connsiteY962" fmla="*/ 933493 h 1473560"/>
                  <a:gd name="connsiteX963" fmla="*/ 1004888 w 3574732"/>
                  <a:gd name="connsiteY963" fmla="*/ 923968 h 1473560"/>
                  <a:gd name="connsiteX964" fmla="*/ 993458 w 3574732"/>
                  <a:gd name="connsiteY964" fmla="*/ 921110 h 1473560"/>
                  <a:gd name="connsiteX965" fmla="*/ 984885 w 3574732"/>
                  <a:gd name="connsiteY965" fmla="*/ 912538 h 1473560"/>
                  <a:gd name="connsiteX966" fmla="*/ 976313 w 3574732"/>
                  <a:gd name="connsiteY966" fmla="*/ 908728 h 1473560"/>
                  <a:gd name="connsiteX967" fmla="*/ 963930 w 3574732"/>
                  <a:gd name="connsiteY967" fmla="*/ 908728 h 1473560"/>
                  <a:gd name="connsiteX968" fmla="*/ 953453 w 3574732"/>
                  <a:gd name="connsiteY968" fmla="*/ 896345 h 1473560"/>
                  <a:gd name="connsiteX969" fmla="*/ 949643 w 3574732"/>
                  <a:gd name="connsiteY969" fmla="*/ 885868 h 1473560"/>
                  <a:gd name="connsiteX970" fmla="*/ 942975 w 3574732"/>
                  <a:gd name="connsiteY970" fmla="*/ 872533 h 1473560"/>
                  <a:gd name="connsiteX971" fmla="*/ 934403 w 3574732"/>
                  <a:gd name="connsiteY971" fmla="*/ 862055 h 1473560"/>
                  <a:gd name="connsiteX972" fmla="*/ 930593 w 3574732"/>
                  <a:gd name="connsiteY972" fmla="*/ 847768 h 1473560"/>
                  <a:gd name="connsiteX973" fmla="*/ 924878 w 3574732"/>
                  <a:gd name="connsiteY973" fmla="*/ 838243 h 1473560"/>
                  <a:gd name="connsiteX974" fmla="*/ 917258 w 3574732"/>
                  <a:gd name="connsiteY974" fmla="*/ 833480 h 1473560"/>
                  <a:gd name="connsiteX975" fmla="*/ 901065 w 3574732"/>
                  <a:gd name="connsiteY975" fmla="*/ 820145 h 1473560"/>
                  <a:gd name="connsiteX976" fmla="*/ 893445 w 3574732"/>
                  <a:gd name="connsiteY976" fmla="*/ 815383 h 1473560"/>
                  <a:gd name="connsiteX977" fmla="*/ 884873 w 3574732"/>
                  <a:gd name="connsiteY977" fmla="*/ 812525 h 1473560"/>
                  <a:gd name="connsiteX978" fmla="*/ 881063 w 3574732"/>
                  <a:gd name="connsiteY978" fmla="*/ 799190 h 1473560"/>
                  <a:gd name="connsiteX979" fmla="*/ 882968 w 3574732"/>
                  <a:gd name="connsiteY979" fmla="*/ 790618 h 1473560"/>
                  <a:gd name="connsiteX980" fmla="*/ 880110 w 3574732"/>
                  <a:gd name="connsiteY980" fmla="*/ 778235 h 1473560"/>
                  <a:gd name="connsiteX981" fmla="*/ 880110 w 3574732"/>
                  <a:gd name="connsiteY981" fmla="*/ 774425 h 1473560"/>
                  <a:gd name="connsiteX982" fmla="*/ 880110 w 3574732"/>
                  <a:gd name="connsiteY982" fmla="*/ 766805 h 1473560"/>
                  <a:gd name="connsiteX983" fmla="*/ 884873 w 3574732"/>
                  <a:gd name="connsiteY983" fmla="*/ 761090 h 1473560"/>
                  <a:gd name="connsiteX984" fmla="*/ 895350 w 3574732"/>
                  <a:gd name="connsiteY984" fmla="*/ 761090 h 1473560"/>
                  <a:gd name="connsiteX985" fmla="*/ 905828 w 3574732"/>
                  <a:gd name="connsiteY985" fmla="*/ 762043 h 1473560"/>
                  <a:gd name="connsiteX986" fmla="*/ 916305 w 3574732"/>
                  <a:gd name="connsiteY986" fmla="*/ 767758 h 1473560"/>
                  <a:gd name="connsiteX987" fmla="*/ 921068 w 3574732"/>
                  <a:gd name="connsiteY987" fmla="*/ 773473 h 1473560"/>
                  <a:gd name="connsiteX988" fmla="*/ 924878 w 3574732"/>
                  <a:gd name="connsiteY988" fmla="*/ 779188 h 1473560"/>
                  <a:gd name="connsiteX989" fmla="*/ 930593 w 3574732"/>
                  <a:gd name="connsiteY989" fmla="*/ 783950 h 1473560"/>
                  <a:gd name="connsiteX990" fmla="*/ 930593 w 3574732"/>
                  <a:gd name="connsiteY990" fmla="*/ 790618 h 1473560"/>
                  <a:gd name="connsiteX991" fmla="*/ 930593 w 3574732"/>
                  <a:gd name="connsiteY991" fmla="*/ 798238 h 1473560"/>
                  <a:gd name="connsiteX992" fmla="*/ 944880 w 3574732"/>
                  <a:gd name="connsiteY992" fmla="*/ 814430 h 1473560"/>
                  <a:gd name="connsiteX993" fmla="*/ 956310 w 3574732"/>
                  <a:gd name="connsiteY993" fmla="*/ 831575 h 1473560"/>
                  <a:gd name="connsiteX994" fmla="*/ 973455 w 3574732"/>
                  <a:gd name="connsiteY994" fmla="*/ 843958 h 1473560"/>
                  <a:gd name="connsiteX995" fmla="*/ 990600 w 3574732"/>
                  <a:gd name="connsiteY995" fmla="*/ 853483 h 1473560"/>
                  <a:gd name="connsiteX996" fmla="*/ 993458 w 3574732"/>
                  <a:gd name="connsiteY996" fmla="*/ 864913 h 1473560"/>
                  <a:gd name="connsiteX997" fmla="*/ 1000125 w 3574732"/>
                  <a:gd name="connsiteY997" fmla="*/ 875390 h 1473560"/>
                  <a:gd name="connsiteX998" fmla="*/ 1011555 w 3574732"/>
                  <a:gd name="connsiteY998" fmla="*/ 883963 h 1473560"/>
                  <a:gd name="connsiteX999" fmla="*/ 1027748 w 3574732"/>
                  <a:gd name="connsiteY999" fmla="*/ 893488 h 1473560"/>
                  <a:gd name="connsiteX1000" fmla="*/ 1031558 w 3574732"/>
                  <a:gd name="connsiteY1000" fmla="*/ 901108 h 1473560"/>
                  <a:gd name="connsiteX1001" fmla="*/ 1032510 w 3574732"/>
                  <a:gd name="connsiteY1001" fmla="*/ 913490 h 1473560"/>
                  <a:gd name="connsiteX1002" fmla="*/ 1033463 w 3574732"/>
                  <a:gd name="connsiteY1002" fmla="*/ 921110 h 1473560"/>
                  <a:gd name="connsiteX1003" fmla="*/ 1037273 w 3574732"/>
                  <a:gd name="connsiteY1003" fmla="*/ 927778 h 1473560"/>
                  <a:gd name="connsiteX1004" fmla="*/ 1042035 w 3574732"/>
                  <a:gd name="connsiteY1004" fmla="*/ 931588 h 1473560"/>
                  <a:gd name="connsiteX1005" fmla="*/ 1053465 w 3574732"/>
                  <a:gd name="connsiteY1005" fmla="*/ 935398 h 1473560"/>
                  <a:gd name="connsiteX1006" fmla="*/ 1061085 w 3574732"/>
                  <a:gd name="connsiteY1006" fmla="*/ 936350 h 1473560"/>
                  <a:gd name="connsiteX1007" fmla="*/ 1075373 w 3574732"/>
                  <a:gd name="connsiteY1007" fmla="*/ 936350 h 1473560"/>
                  <a:gd name="connsiteX1008" fmla="*/ 1086803 w 3574732"/>
                  <a:gd name="connsiteY1008" fmla="*/ 935398 h 1473560"/>
                  <a:gd name="connsiteX1009" fmla="*/ 1101090 w 3574732"/>
                  <a:gd name="connsiteY1009" fmla="*/ 934445 h 1473560"/>
                  <a:gd name="connsiteX1010" fmla="*/ 1115378 w 3574732"/>
                  <a:gd name="connsiteY1010" fmla="*/ 930635 h 1473560"/>
                  <a:gd name="connsiteX1011" fmla="*/ 1131570 w 3574732"/>
                  <a:gd name="connsiteY1011" fmla="*/ 926825 h 1473560"/>
                  <a:gd name="connsiteX1012" fmla="*/ 1140143 w 3574732"/>
                  <a:gd name="connsiteY1012" fmla="*/ 925873 h 1473560"/>
                  <a:gd name="connsiteX1013" fmla="*/ 1150620 w 3574732"/>
                  <a:gd name="connsiteY1013" fmla="*/ 923015 h 1473560"/>
                  <a:gd name="connsiteX1014" fmla="*/ 1163955 w 3574732"/>
                  <a:gd name="connsiteY1014" fmla="*/ 915395 h 1473560"/>
                  <a:gd name="connsiteX1015" fmla="*/ 1180148 w 3574732"/>
                  <a:gd name="connsiteY1015" fmla="*/ 906823 h 1473560"/>
                  <a:gd name="connsiteX1016" fmla="*/ 1188720 w 3574732"/>
                  <a:gd name="connsiteY1016" fmla="*/ 903965 h 1473560"/>
                  <a:gd name="connsiteX1017" fmla="*/ 1212533 w 3574732"/>
                  <a:gd name="connsiteY1017" fmla="*/ 900155 h 1473560"/>
                  <a:gd name="connsiteX1018" fmla="*/ 1228725 w 3574732"/>
                  <a:gd name="connsiteY1018" fmla="*/ 895393 h 1473560"/>
                  <a:gd name="connsiteX1019" fmla="*/ 1246823 w 3574732"/>
                  <a:gd name="connsiteY1019" fmla="*/ 882058 h 1473560"/>
                  <a:gd name="connsiteX1020" fmla="*/ 1249680 w 3574732"/>
                  <a:gd name="connsiteY1020" fmla="*/ 879200 h 1473560"/>
                  <a:gd name="connsiteX1021" fmla="*/ 1263015 w 3574732"/>
                  <a:gd name="connsiteY1021" fmla="*/ 877295 h 1473560"/>
                  <a:gd name="connsiteX1022" fmla="*/ 1274445 w 3574732"/>
                  <a:gd name="connsiteY1022" fmla="*/ 872533 h 1473560"/>
                  <a:gd name="connsiteX1023" fmla="*/ 1280160 w 3574732"/>
                  <a:gd name="connsiteY1023" fmla="*/ 869675 h 1473560"/>
                  <a:gd name="connsiteX1024" fmla="*/ 1299210 w 3574732"/>
                  <a:gd name="connsiteY1024" fmla="*/ 861103 h 1473560"/>
                  <a:gd name="connsiteX1025" fmla="*/ 1306830 w 3574732"/>
                  <a:gd name="connsiteY1025" fmla="*/ 852530 h 1473560"/>
                  <a:gd name="connsiteX1026" fmla="*/ 1315403 w 3574732"/>
                  <a:gd name="connsiteY1026" fmla="*/ 843005 h 1473560"/>
                  <a:gd name="connsiteX1027" fmla="*/ 1314450 w 3574732"/>
                  <a:gd name="connsiteY1027" fmla="*/ 829670 h 1473560"/>
                  <a:gd name="connsiteX1028" fmla="*/ 1313498 w 3574732"/>
                  <a:gd name="connsiteY1028" fmla="*/ 824908 h 1473560"/>
                  <a:gd name="connsiteX1029" fmla="*/ 1310640 w 3574732"/>
                  <a:gd name="connsiteY1029" fmla="*/ 822050 h 1473560"/>
                  <a:gd name="connsiteX1030" fmla="*/ 1304925 w 3574732"/>
                  <a:gd name="connsiteY1030" fmla="*/ 817288 h 1473560"/>
                  <a:gd name="connsiteX1031" fmla="*/ 1290638 w 3574732"/>
                  <a:gd name="connsiteY1031" fmla="*/ 813478 h 1473560"/>
                  <a:gd name="connsiteX1032" fmla="*/ 1271588 w 3574732"/>
                  <a:gd name="connsiteY1032" fmla="*/ 804905 h 1473560"/>
                  <a:gd name="connsiteX1033" fmla="*/ 1270635 w 3574732"/>
                  <a:gd name="connsiteY1033" fmla="*/ 800143 h 1473560"/>
                  <a:gd name="connsiteX1034" fmla="*/ 1259205 w 3574732"/>
                  <a:gd name="connsiteY1034" fmla="*/ 795380 h 1473560"/>
                  <a:gd name="connsiteX1035" fmla="*/ 1245870 w 3574732"/>
                  <a:gd name="connsiteY1035" fmla="*/ 793475 h 1473560"/>
                  <a:gd name="connsiteX1036" fmla="*/ 1238250 w 3574732"/>
                  <a:gd name="connsiteY1036" fmla="*/ 793475 h 1473560"/>
                  <a:gd name="connsiteX1037" fmla="*/ 1232535 w 3574732"/>
                  <a:gd name="connsiteY1037" fmla="*/ 793475 h 1473560"/>
                  <a:gd name="connsiteX1038" fmla="*/ 1224915 w 3574732"/>
                  <a:gd name="connsiteY1038" fmla="*/ 793475 h 1473560"/>
                  <a:gd name="connsiteX1039" fmla="*/ 1217295 w 3574732"/>
                  <a:gd name="connsiteY1039" fmla="*/ 797285 h 1473560"/>
                  <a:gd name="connsiteX1040" fmla="*/ 1211580 w 3574732"/>
                  <a:gd name="connsiteY1040" fmla="*/ 801095 h 1473560"/>
                  <a:gd name="connsiteX1041" fmla="*/ 1203960 w 3574732"/>
                  <a:gd name="connsiteY1041" fmla="*/ 802048 h 1473560"/>
                  <a:gd name="connsiteX1042" fmla="*/ 1192530 w 3574732"/>
                  <a:gd name="connsiteY1042" fmla="*/ 798238 h 1473560"/>
                  <a:gd name="connsiteX1043" fmla="*/ 1183958 w 3574732"/>
                  <a:gd name="connsiteY1043" fmla="*/ 793475 h 1473560"/>
                  <a:gd name="connsiteX1044" fmla="*/ 1162050 w 3574732"/>
                  <a:gd name="connsiteY1044" fmla="*/ 777283 h 1473560"/>
                  <a:gd name="connsiteX1045" fmla="*/ 1157288 w 3574732"/>
                  <a:gd name="connsiteY1045" fmla="*/ 776330 h 1473560"/>
                  <a:gd name="connsiteX1046" fmla="*/ 1148715 w 3574732"/>
                  <a:gd name="connsiteY1046" fmla="*/ 769663 h 1473560"/>
                  <a:gd name="connsiteX1047" fmla="*/ 1140143 w 3574732"/>
                  <a:gd name="connsiteY1047" fmla="*/ 759185 h 1473560"/>
                  <a:gd name="connsiteX1048" fmla="*/ 1132523 w 3574732"/>
                  <a:gd name="connsiteY1048" fmla="*/ 751565 h 1473560"/>
                  <a:gd name="connsiteX1049" fmla="*/ 1126808 w 3574732"/>
                  <a:gd name="connsiteY1049" fmla="*/ 741088 h 1473560"/>
                  <a:gd name="connsiteX1050" fmla="*/ 1129665 w 3574732"/>
                  <a:gd name="connsiteY1050" fmla="*/ 733468 h 1473560"/>
                  <a:gd name="connsiteX1051" fmla="*/ 1138238 w 3574732"/>
                  <a:gd name="connsiteY1051" fmla="*/ 733468 h 1473560"/>
                  <a:gd name="connsiteX1052" fmla="*/ 1159193 w 3574732"/>
                  <a:gd name="connsiteY1052" fmla="*/ 736325 h 1473560"/>
                  <a:gd name="connsiteX1053" fmla="*/ 1167765 w 3574732"/>
                  <a:gd name="connsiteY1053" fmla="*/ 743945 h 1473560"/>
                  <a:gd name="connsiteX1054" fmla="*/ 1173480 w 3574732"/>
                  <a:gd name="connsiteY1054" fmla="*/ 748708 h 1473560"/>
                  <a:gd name="connsiteX1055" fmla="*/ 1179195 w 3574732"/>
                  <a:gd name="connsiteY1055" fmla="*/ 755375 h 1473560"/>
                  <a:gd name="connsiteX1056" fmla="*/ 1187768 w 3574732"/>
                  <a:gd name="connsiteY1056" fmla="*/ 765853 h 1473560"/>
                  <a:gd name="connsiteX1057" fmla="*/ 1193483 w 3574732"/>
                  <a:gd name="connsiteY1057" fmla="*/ 768710 h 1473560"/>
                  <a:gd name="connsiteX1058" fmla="*/ 1206818 w 3574732"/>
                  <a:gd name="connsiteY1058" fmla="*/ 774425 h 1473560"/>
                  <a:gd name="connsiteX1059" fmla="*/ 1231583 w 3574732"/>
                  <a:gd name="connsiteY1059" fmla="*/ 775378 h 1473560"/>
                  <a:gd name="connsiteX1060" fmla="*/ 1245870 w 3574732"/>
                  <a:gd name="connsiteY1060" fmla="*/ 776330 h 1473560"/>
                  <a:gd name="connsiteX1061" fmla="*/ 1259205 w 3574732"/>
                  <a:gd name="connsiteY1061" fmla="*/ 777283 h 1473560"/>
                  <a:gd name="connsiteX1062" fmla="*/ 1267778 w 3574732"/>
                  <a:gd name="connsiteY1062" fmla="*/ 781093 h 1473560"/>
                  <a:gd name="connsiteX1063" fmla="*/ 1276350 w 3574732"/>
                  <a:gd name="connsiteY1063" fmla="*/ 784903 h 1473560"/>
                  <a:gd name="connsiteX1064" fmla="*/ 1287780 w 3574732"/>
                  <a:gd name="connsiteY1064" fmla="*/ 789665 h 1473560"/>
                  <a:gd name="connsiteX1065" fmla="*/ 1298258 w 3574732"/>
                  <a:gd name="connsiteY1065" fmla="*/ 791570 h 1473560"/>
                  <a:gd name="connsiteX1066" fmla="*/ 1308735 w 3574732"/>
                  <a:gd name="connsiteY1066" fmla="*/ 793475 h 1473560"/>
                  <a:gd name="connsiteX1067" fmla="*/ 1322070 w 3574732"/>
                  <a:gd name="connsiteY1067" fmla="*/ 796333 h 1473560"/>
                  <a:gd name="connsiteX1068" fmla="*/ 1335405 w 3574732"/>
                  <a:gd name="connsiteY1068" fmla="*/ 798238 h 1473560"/>
                  <a:gd name="connsiteX1069" fmla="*/ 1357313 w 3574732"/>
                  <a:gd name="connsiteY1069" fmla="*/ 798238 h 1473560"/>
                  <a:gd name="connsiteX1070" fmla="*/ 1390650 w 3574732"/>
                  <a:gd name="connsiteY1070" fmla="*/ 798238 h 1473560"/>
                  <a:gd name="connsiteX1071" fmla="*/ 1402080 w 3574732"/>
                  <a:gd name="connsiteY1071" fmla="*/ 797285 h 1473560"/>
                  <a:gd name="connsiteX1072" fmla="*/ 1415415 w 3574732"/>
                  <a:gd name="connsiteY1072" fmla="*/ 797285 h 1473560"/>
                  <a:gd name="connsiteX1073" fmla="*/ 1434465 w 3574732"/>
                  <a:gd name="connsiteY1073" fmla="*/ 798238 h 1473560"/>
                  <a:gd name="connsiteX1074" fmla="*/ 1447800 w 3574732"/>
                  <a:gd name="connsiteY1074" fmla="*/ 803000 h 1473560"/>
                  <a:gd name="connsiteX1075" fmla="*/ 1459230 w 3574732"/>
                  <a:gd name="connsiteY1075" fmla="*/ 814430 h 1473560"/>
                  <a:gd name="connsiteX1076" fmla="*/ 1467803 w 3574732"/>
                  <a:gd name="connsiteY1076" fmla="*/ 821098 h 1473560"/>
                  <a:gd name="connsiteX1077" fmla="*/ 1482090 w 3574732"/>
                  <a:gd name="connsiteY1077" fmla="*/ 828718 h 1473560"/>
                  <a:gd name="connsiteX1078" fmla="*/ 1495425 w 3574732"/>
                  <a:gd name="connsiteY1078" fmla="*/ 842053 h 1473560"/>
                  <a:gd name="connsiteX1079" fmla="*/ 1503998 w 3574732"/>
                  <a:gd name="connsiteY1079" fmla="*/ 845863 h 1473560"/>
                  <a:gd name="connsiteX1080" fmla="*/ 1518285 w 3574732"/>
                  <a:gd name="connsiteY1080" fmla="*/ 843958 h 1473560"/>
                  <a:gd name="connsiteX1081" fmla="*/ 1524000 w 3574732"/>
                  <a:gd name="connsiteY1081" fmla="*/ 838243 h 1473560"/>
                  <a:gd name="connsiteX1082" fmla="*/ 1534478 w 3574732"/>
                  <a:gd name="connsiteY1082" fmla="*/ 837290 h 1473560"/>
                  <a:gd name="connsiteX1083" fmla="*/ 1534478 w 3574732"/>
                  <a:gd name="connsiteY1083" fmla="*/ 841100 h 1473560"/>
                  <a:gd name="connsiteX1084" fmla="*/ 1540193 w 3574732"/>
                  <a:gd name="connsiteY1084" fmla="*/ 856340 h 1473560"/>
                  <a:gd name="connsiteX1085" fmla="*/ 1546860 w 3574732"/>
                  <a:gd name="connsiteY1085" fmla="*/ 871580 h 1473560"/>
                  <a:gd name="connsiteX1086" fmla="*/ 1544955 w 3574732"/>
                  <a:gd name="connsiteY1086" fmla="*/ 887773 h 1473560"/>
                  <a:gd name="connsiteX1087" fmla="*/ 1548765 w 3574732"/>
                  <a:gd name="connsiteY1087" fmla="*/ 895393 h 1473560"/>
                  <a:gd name="connsiteX1088" fmla="*/ 1551623 w 3574732"/>
                  <a:gd name="connsiteY1088" fmla="*/ 900155 h 1473560"/>
                  <a:gd name="connsiteX1089" fmla="*/ 1564005 w 3574732"/>
                  <a:gd name="connsiteY1089" fmla="*/ 919205 h 1473560"/>
                  <a:gd name="connsiteX1090" fmla="*/ 1571625 w 3574732"/>
                  <a:gd name="connsiteY1090" fmla="*/ 923968 h 1473560"/>
                  <a:gd name="connsiteX1091" fmla="*/ 1569720 w 3574732"/>
                  <a:gd name="connsiteY1091" fmla="*/ 933493 h 1473560"/>
                  <a:gd name="connsiteX1092" fmla="*/ 1572578 w 3574732"/>
                  <a:gd name="connsiteY1092" fmla="*/ 940160 h 1473560"/>
                  <a:gd name="connsiteX1093" fmla="*/ 1578293 w 3574732"/>
                  <a:gd name="connsiteY1093" fmla="*/ 946828 h 1473560"/>
                  <a:gd name="connsiteX1094" fmla="*/ 1584960 w 3574732"/>
                  <a:gd name="connsiteY1094" fmla="*/ 958258 h 1473560"/>
                  <a:gd name="connsiteX1095" fmla="*/ 1587818 w 3574732"/>
                  <a:gd name="connsiteY1095" fmla="*/ 970640 h 1473560"/>
                  <a:gd name="connsiteX1096" fmla="*/ 1604963 w 3574732"/>
                  <a:gd name="connsiteY1096" fmla="*/ 980165 h 1473560"/>
                  <a:gd name="connsiteX1097" fmla="*/ 1615440 w 3574732"/>
                  <a:gd name="connsiteY1097" fmla="*/ 982070 h 1473560"/>
                  <a:gd name="connsiteX1098" fmla="*/ 1628775 w 3574732"/>
                  <a:gd name="connsiteY1098" fmla="*/ 982070 h 1473560"/>
                  <a:gd name="connsiteX1099" fmla="*/ 1634490 w 3574732"/>
                  <a:gd name="connsiteY1099" fmla="*/ 981118 h 1473560"/>
                  <a:gd name="connsiteX1100" fmla="*/ 1644968 w 3574732"/>
                  <a:gd name="connsiteY1100" fmla="*/ 974450 h 1473560"/>
                  <a:gd name="connsiteX1101" fmla="*/ 1657350 w 3574732"/>
                  <a:gd name="connsiteY1101" fmla="*/ 961115 h 1473560"/>
                  <a:gd name="connsiteX1102" fmla="*/ 1660208 w 3574732"/>
                  <a:gd name="connsiteY1102" fmla="*/ 954448 h 1473560"/>
                  <a:gd name="connsiteX1103" fmla="*/ 1660208 w 3574732"/>
                  <a:gd name="connsiteY1103" fmla="*/ 943970 h 1473560"/>
                  <a:gd name="connsiteX1104" fmla="*/ 1663065 w 3574732"/>
                  <a:gd name="connsiteY1104" fmla="*/ 940160 h 1473560"/>
                  <a:gd name="connsiteX1105" fmla="*/ 1670685 w 3574732"/>
                  <a:gd name="connsiteY1105" fmla="*/ 932540 h 1473560"/>
                  <a:gd name="connsiteX1106" fmla="*/ 1676400 w 3574732"/>
                  <a:gd name="connsiteY1106" fmla="*/ 922063 h 1473560"/>
                  <a:gd name="connsiteX1107" fmla="*/ 1676400 w 3574732"/>
                  <a:gd name="connsiteY1107" fmla="*/ 914443 h 1473560"/>
                  <a:gd name="connsiteX1108" fmla="*/ 1676400 w 3574732"/>
                  <a:gd name="connsiteY1108" fmla="*/ 904918 h 1473560"/>
                  <a:gd name="connsiteX1109" fmla="*/ 1686878 w 3574732"/>
                  <a:gd name="connsiteY1109" fmla="*/ 903013 h 1473560"/>
                  <a:gd name="connsiteX1110" fmla="*/ 1710690 w 3574732"/>
                  <a:gd name="connsiteY1110" fmla="*/ 890630 h 1473560"/>
                  <a:gd name="connsiteX1111" fmla="*/ 1712595 w 3574732"/>
                  <a:gd name="connsiteY1111" fmla="*/ 886820 h 1473560"/>
                  <a:gd name="connsiteX1112" fmla="*/ 1727835 w 3574732"/>
                  <a:gd name="connsiteY1112" fmla="*/ 872533 h 1473560"/>
                  <a:gd name="connsiteX1113" fmla="*/ 1744028 w 3574732"/>
                  <a:gd name="connsiteY1113" fmla="*/ 866818 h 1473560"/>
                  <a:gd name="connsiteX1114" fmla="*/ 1751648 w 3574732"/>
                  <a:gd name="connsiteY1114" fmla="*/ 862055 h 1473560"/>
                  <a:gd name="connsiteX1115" fmla="*/ 1778318 w 3574732"/>
                  <a:gd name="connsiteY1115" fmla="*/ 847768 h 1473560"/>
                  <a:gd name="connsiteX1116" fmla="*/ 1804988 w 3574732"/>
                  <a:gd name="connsiteY1116" fmla="*/ 838243 h 1473560"/>
                  <a:gd name="connsiteX1117" fmla="*/ 1817370 w 3574732"/>
                  <a:gd name="connsiteY1117" fmla="*/ 833480 h 1473560"/>
                  <a:gd name="connsiteX1118" fmla="*/ 1838325 w 3574732"/>
                  <a:gd name="connsiteY1118" fmla="*/ 829670 h 1473560"/>
                  <a:gd name="connsiteX1119" fmla="*/ 1855470 w 3574732"/>
                  <a:gd name="connsiteY1119" fmla="*/ 830623 h 1473560"/>
                  <a:gd name="connsiteX1120" fmla="*/ 1865948 w 3574732"/>
                  <a:gd name="connsiteY1120" fmla="*/ 833480 h 1473560"/>
                  <a:gd name="connsiteX1121" fmla="*/ 1877378 w 3574732"/>
                  <a:gd name="connsiteY1121" fmla="*/ 836338 h 1473560"/>
                  <a:gd name="connsiteX1122" fmla="*/ 1888808 w 3574732"/>
                  <a:gd name="connsiteY1122" fmla="*/ 848720 h 1473560"/>
                  <a:gd name="connsiteX1123" fmla="*/ 1898333 w 3574732"/>
                  <a:gd name="connsiteY1123" fmla="*/ 869675 h 1473560"/>
                  <a:gd name="connsiteX1124" fmla="*/ 1899285 w 3574732"/>
                  <a:gd name="connsiteY1124" fmla="*/ 883963 h 1473560"/>
                  <a:gd name="connsiteX1125" fmla="*/ 1899285 w 3574732"/>
                  <a:gd name="connsiteY1125" fmla="*/ 895393 h 1473560"/>
                  <a:gd name="connsiteX1126" fmla="*/ 1913573 w 3574732"/>
                  <a:gd name="connsiteY1126" fmla="*/ 908728 h 1473560"/>
                  <a:gd name="connsiteX1127" fmla="*/ 1929765 w 3574732"/>
                  <a:gd name="connsiteY1127" fmla="*/ 905870 h 1473560"/>
                  <a:gd name="connsiteX1128" fmla="*/ 1932623 w 3574732"/>
                  <a:gd name="connsiteY1128" fmla="*/ 901108 h 1473560"/>
                  <a:gd name="connsiteX1129" fmla="*/ 1943100 w 3574732"/>
                  <a:gd name="connsiteY1129" fmla="*/ 896345 h 1473560"/>
                  <a:gd name="connsiteX1130" fmla="*/ 1957388 w 3574732"/>
                  <a:gd name="connsiteY1130" fmla="*/ 895393 h 1473560"/>
                  <a:gd name="connsiteX1131" fmla="*/ 1965008 w 3574732"/>
                  <a:gd name="connsiteY1131" fmla="*/ 903965 h 1473560"/>
                  <a:gd name="connsiteX1132" fmla="*/ 1979295 w 3574732"/>
                  <a:gd name="connsiteY1132" fmla="*/ 913490 h 1473560"/>
                  <a:gd name="connsiteX1133" fmla="*/ 1979295 w 3574732"/>
                  <a:gd name="connsiteY1133" fmla="*/ 919205 h 1473560"/>
                  <a:gd name="connsiteX1134" fmla="*/ 1976438 w 3574732"/>
                  <a:gd name="connsiteY1134" fmla="*/ 925873 h 1473560"/>
                  <a:gd name="connsiteX1135" fmla="*/ 1976438 w 3574732"/>
                  <a:gd name="connsiteY1135" fmla="*/ 938255 h 1473560"/>
                  <a:gd name="connsiteX1136" fmla="*/ 1980248 w 3574732"/>
                  <a:gd name="connsiteY1136" fmla="*/ 947780 h 1473560"/>
                  <a:gd name="connsiteX1137" fmla="*/ 1980248 w 3574732"/>
                  <a:gd name="connsiteY1137" fmla="*/ 957305 h 1473560"/>
                  <a:gd name="connsiteX1138" fmla="*/ 1980248 w 3574732"/>
                  <a:gd name="connsiteY1138" fmla="*/ 973498 h 1473560"/>
                  <a:gd name="connsiteX1139" fmla="*/ 1973580 w 3574732"/>
                  <a:gd name="connsiteY1139" fmla="*/ 989690 h 1473560"/>
                  <a:gd name="connsiteX1140" fmla="*/ 1982153 w 3574732"/>
                  <a:gd name="connsiteY1140" fmla="*/ 1002073 h 1473560"/>
                  <a:gd name="connsiteX1141" fmla="*/ 1983105 w 3574732"/>
                  <a:gd name="connsiteY1141" fmla="*/ 1005883 h 1473560"/>
                  <a:gd name="connsiteX1142" fmla="*/ 1994535 w 3574732"/>
                  <a:gd name="connsiteY1142" fmla="*/ 1011598 h 1473560"/>
                  <a:gd name="connsiteX1143" fmla="*/ 1994535 w 3574732"/>
                  <a:gd name="connsiteY1143" fmla="*/ 1015408 h 1473560"/>
                  <a:gd name="connsiteX1144" fmla="*/ 1998345 w 3574732"/>
                  <a:gd name="connsiteY1144" fmla="*/ 1022075 h 1473560"/>
                  <a:gd name="connsiteX1145" fmla="*/ 2002155 w 3574732"/>
                  <a:gd name="connsiteY1145" fmla="*/ 1029695 h 1473560"/>
                  <a:gd name="connsiteX1146" fmla="*/ 2008823 w 3574732"/>
                  <a:gd name="connsiteY1146" fmla="*/ 1039220 h 1473560"/>
                  <a:gd name="connsiteX1147" fmla="*/ 2013585 w 3574732"/>
                  <a:gd name="connsiteY1147" fmla="*/ 1044935 h 1473560"/>
                  <a:gd name="connsiteX1148" fmla="*/ 2033588 w 3574732"/>
                  <a:gd name="connsiteY1148" fmla="*/ 1048745 h 1473560"/>
                  <a:gd name="connsiteX1149" fmla="*/ 2038350 w 3574732"/>
                  <a:gd name="connsiteY1149" fmla="*/ 1052555 h 1473560"/>
                  <a:gd name="connsiteX1150" fmla="*/ 2049780 w 3574732"/>
                  <a:gd name="connsiteY1150" fmla="*/ 1057318 h 1473560"/>
                  <a:gd name="connsiteX1151" fmla="*/ 2060258 w 3574732"/>
                  <a:gd name="connsiteY1151" fmla="*/ 1059223 h 1473560"/>
                  <a:gd name="connsiteX1152" fmla="*/ 2068830 w 3574732"/>
                  <a:gd name="connsiteY1152" fmla="*/ 1053508 h 1473560"/>
                  <a:gd name="connsiteX1153" fmla="*/ 2067878 w 3574732"/>
                  <a:gd name="connsiteY1153" fmla="*/ 1048745 h 1473560"/>
                  <a:gd name="connsiteX1154" fmla="*/ 2067878 w 3574732"/>
                  <a:gd name="connsiteY1154" fmla="*/ 1039220 h 1473560"/>
                  <a:gd name="connsiteX1155" fmla="*/ 2064068 w 3574732"/>
                  <a:gd name="connsiteY1155" fmla="*/ 1033505 h 1473560"/>
                  <a:gd name="connsiteX1156" fmla="*/ 2056448 w 3574732"/>
                  <a:gd name="connsiteY1156" fmla="*/ 1028743 h 1473560"/>
                  <a:gd name="connsiteX1157" fmla="*/ 2045018 w 3574732"/>
                  <a:gd name="connsiteY1157" fmla="*/ 1022075 h 1473560"/>
                  <a:gd name="connsiteX1158" fmla="*/ 2027873 w 3574732"/>
                  <a:gd name="connsiteY1158" fmla="*/ 1011598 h 1473560"/>
                  <a:gd name="connsiteX1159" fmla="*/ 2017395 w 3574732"/>
                  <a:gd name="connsiteY1159" fmla="*/ 1003025 h 1473560"/>
                  <a:gd name="connsiteX1160" fmla="*/ 2008823 w 3574732"/>
                  <a:gd name="connsiteY1160" fmla="*/ 990643 h 1473560"/>
                  <a:gd name="connsiteX1161" fmla="*/ 2005013 w 3574732"/>
                  <a:gd name="connsiteY1161" fmla="*/ 982070 h 1473560"/>
                  <a:gd name="connsiteX1162" fmla="*/ 2004060 w 3574732"/>
                  <a:gd name="connsiteY1162" fmla="*/ 970640 h 1473560"/>
                  <a:gd name="connsiteX1163" fmla="*/ 2003108 w 3574732"/>
                  <a:gd name="connsiteY1163" fmla="*/ 962068 h 1473560"/>
                  <a:gd name="connsiteX1164" fmla="*/ 2003108 w 3574732"/>
                  <a:gd name="connsiteY1164" fmla="*/ 950638 h 1473560"/>
                  <a:gd name="connsiteX1165" fmla="*/ 2008823 w 3574732"/>
                  <a:gd name="connsiteY1165" fmla="*/ 941113 h 1473560"/>
                  <a:gd name="connsiteX1166" fmla="*/ 2019300 w 3574732"/>
                  <a:gd name="connsiteY1166" fmla="*/ 941113 h 1473560"/>
                  <a:gd name="connsiteX1167" fmla="*/ 2025015 w 3574732"/>
                  <a:gd name="connsiteY1167" fmla="*/ 943018 h 1473560"/>
                  <a:gd name="connsiteX1168" fmla="*/ 2033588 w 3574732"/>
                  <a:gd name="connsiteY1168" fmla="*/ 949685 h 1473560"/>
                  <a:gd name="connsiteX1169" fmla="*/ 2042160 w 3574732"/>
                  <a:gd name="connsiteY1169" fmla="*/ 950638 h 1473560"/>
                  <a:gd name="connsiteX1170" fmla="*/ 2045970 w 3574732"/>
                  <a:gd name="connsiteY1170" fmla="*/ 954448 h 1473560"/>
                  <a:gd name="connsiteX1171" fmla="*/ 2051685 w 3574732"/>
                  <a:gd name="connsiteY1171" fmla="*/ 960163 h 1473560"/>
                  <a:gd name="connsiteX1172" fmla="*/ 2073593 w 3574732"/>
                  <a:gd name="connsiteY1172" fmla="*/ 968735 h 1473560"/>
                  <a:gd name="connsiteX1173" fmla="*/ 2081213 w 3574732"/>
                  <a:gd name="connsiteY1173" fmla="*/ 973498 h 1473560"/>
                  <a:gd name="connsiteX1174" fmla="*/ 2081213 w 3574732"/>
                  <a:gd name="connsiteY1174" fmla="*/ 980165 h 1473560"/>
                  <a:gd name="connsiteX1175" fmla="*/ 2097405 w 3574732"/>
                  <a:gd name="connsiteY1175" fmla="*/ 985880 h 1473560"/>
                  <a:gd name="connsiteX1176" fmla="*/ 2123123 w 3574732"/>
                  <a:gd name="connsiteY1176" fmla="*/ 968735 h 1473560"/>
                  <a:gd name="connsiteX1177" fmla="*/ 2139315 w 3574732"/>
                  <a:gd name="connsiteY1177" fmla="*/ 960163 h 1473560"/>
                  <a:gd name="connsiteX1178" fmla="*/ 2154555 w 3574732"/>
                  <a:gd name="connsiteY1178" fmla="*/ 956353 h 1473560"/>
                  <a:gd name="connsiteX1179" fmla="*/ 2156460 w 3574732"/>
                  <a:gd name="connsiteY1179" fmla="*/ 948733 h 1473560"/>
                  <a:gd name="connsiteX1180" fmla="*/ 2159318 w 3574732"/>
                  <a:gd name="connsiteY1180" fmla="*/ 939208 h 1473560"/>
                  <a:gd name="connsiteX1181" fmla="*/ 2161223 w 3574732"/>
                  <a:gd name="connsiteY1181" fmla="*/ 935398 h 1473560"/>
                  <a:gd name="connsiteX1182" fmla="*/ 2161223 w 3574732"/>
                  <a:gd name="connsiteY1182" fmla="*/ 921110 h 1473560"/>
                  <a:gd name="connsiteX1183" fmla="*/ 2161223 w 3574732"/>
                  <a:gd name="connsiteY1183" fmla="*/ 912538 h 1473560"/>
                  <a:gd name="connsiteX1184" fmla="*/ 2149793 w 3574732"/>
                  <a:gd name="connsiteY1184" fmla="*/ 905870 h 1473560"/>
                  <a:gd name="connsiteX1185" fmla="*/ 2149793 w 3574732"/>
                  <a:gd name="connsiteY1185" fmla="*/ 899203 h 1473560"/>
                  <a:gd name="connsiteX1186" fmla="*/ 2144078 w 3574732"/>
                  <a:gd name="connsiteY1186" fmla="*/ 893488 h 1473560"/>
                  <a:gd name="connsiteX1187" fmla="*/ 2138363 w 3574732"/>
                  <a:gd name="connsiteY1187" fmla="*/ 889678 h 1473560"/>
                  <a:gd name="connsiteX1188" fmla="*/ 2127885 w 3574732"/>
                  <a:gd name="connsiteY1188" fmla="*/ 881105 h 1473560"/>
                  <a:gd name="connsiteX1189" fmla="*/ 2111693 w 3574732"/>
                  <a:gd name="connsiteY1189" fmla="*/ 868723 h 1473560"/>
                  <a:gd name="connsiteX1190" fmla="*/ 2122170 w 3574732"/>
                  <a:gd name="connsiteY1190" fmla="*/ 853483 h 1473560"/>
                  <a:gd name="connsiteX1191" fmla="*/ 2130743 w 3574732"/>
                  <a:gd name="connsiteY1191" fmla="*/ 852530 h 1473560"/>
                  <a:gd name="connsiteX1192" fmla="*/ 2145030 w 3574732"/>
                  <a:gd name="connsiteY1192" fmla="*/ 850625 h 1473560"/>
                  <a:gd name="connsiteX1193" fmla="*/ 2152650 w 3574732"/>
                  <a:gd name="connsiteY1193" fmla="*/ 844910 h 1473560"/>
                  <a:gd name="connsiteX1194" fmla="*/ 2158365 w 3574732"/>
                  <a:gd name="connsiteY1194" fmla="*/ 843005 h 1473560"/>
                  <a:gd name="connsiteX1195" fmla="*/ 2165985 w 3574732"/>
                  <a:gd name="connsiteY1195" fmla="*/ 841100 h 1473560"/>
                  <a:gd name="connsiteX1196" fmla="*/ 2171700 w 3574732"/>
                  <a:gd name="connsiteY1196" fmla="*/ 844910 h 1473560"/>
                  <a:gd name="connsiteX1197" fmla="*/ 2180273 w 3574732"/>
                  <a:gd name="connsiteY1197" fmla="*/ 851578 h 1473560"/>
                  <a:gd name="connsiteX1198" fmla="*/ 2190750 w 3574732"/>
                  <a:gd name="connsiteY1198" fmla="*/ 850625 h 1473560"/>
                  <a:gd name="connsiteX1199" fmla="*/ 2199323 w 3574732"/>
                  <a:gd name="connsiteY1199" fmla="*/ 845863 h 1473560"/>
                  <a:gd name="connsiteX1200" fmla="*/ 2206943 w 3574732"/>
                  <a:gd name="connsiteY1200" fmla="*/ 839195 h 1473560"/>
                  <a:gd name="connsiteX1201" fmla="*/ 2223135 w 3574732"/>
                  <a:gd name="connsiteY1201" fmla="*/ 834433 h 1473560"/>
                  <a:gd name="connsiteX1202" fmla="*/ 2228850 w 3574732"/>
                  <a:gd name="connsiteY1202" fmla="*/ 833480 h 1473560"/>
                  <a:gd name="connsiteX1203" fmla="*/ 2236470 w 3574732"/>
                  <a:gd name="connsiteY1203" fmla="*/ 830623 h 1473560"/>
                  <a:gd name="connsiteX1204" fmla="*/ 2247900 w 3574732"/>
                  <a:gd name="connsiteY1204" fmla="*/ 825860 h 1473560"/>
                  <a:gd name="connsiteX1205" fmla="*/ 2255520 w 3574732"/>
                  <a:gd name="connsiteY1205" fmla="*/ 824908 h 1473560"/>
                  <a:gd name="connsiteX1206" fmla="*/ 2274570 w 3574732"/>
                  <a:gd name="connsiteY1206" fmla="*/ 823955 h 1473560"/>
                  <a:gd name="connsiteX1207" fmla="*/ 2286000 w 3574732"/>
                  <a:gd name="connsiteY1207" fmla="*/ 821098 h 1473560"/>
                  <a:gd name="connsiteX1208" fmla="*/ 2293620 w 3574732"/>
                  <a:gd name="connsiteY1208" fmla="*/ 815383 h 1473560"/>
                  <a:gd name="connsiteX1209" fmla="*/ 2293620 w 3574732"/>
                  <a:gd name="connsiteY1209" fmla="*/ 812525 h 1473560"/>
                  <a:gd name="connsiteX1210" fmla="*/ 2309813 w 3574732"/>
                  <a:gd name="connsiteY1210" fmla="*/ 802048 h 1473560"/>
                  <a:gd name="connsiteX1211" fmla="*/ 2318385 w 3574732"/>
                  <a:gd name="connsiteY1211" fmla="*/ 796333 h 1473560"/>
                  <a:gd name="connsiteX1212" fmla="*/ 2333625 w 3574732"/>
                  <a:gd name="connsiteY1212" fmla="*/ 785855 h 1473560"/>
                  <a:gd name="connsiteX1213" fmla="*/ 2348865 w 3574732"/>
                  <a:gd name="connsiteY1213" fmla="*/ 773473 h 1473560"/>
                  <a:gd name="connsiteX1214" fmla="*/ 2362200 w 3574732"/>
                  <a:gd name="connsiteY1214" fmla="*/ 766805 h 1473560"/>
                  <a:gd name="connsiteX1215" fmla="*/ 2366963 w 3574732"/>
                  <a:gd name="connsiteY1215" fmla="*/ 758233 h 1473560"/>
                  <a:gd name="connsiteX1216" fmla="*/ 2366963 w 3574732"/>
                  <a:gd name="connsiteY1216" fmla="*/ 751565 h 1473560"/>
                  <a:gd name="connsiteX1217" fmla="*/ 2368868 w 3574732"/>
                  <a:gd name="connsiteY1217" fmla="*/ 728705 h 1473560"/>
                  <a:gd name="connsiteX1218" fmla="*/ 2374583 w 3574732"/>
                  <a:gd name="connsiteY1218" fmla="*/ 718228 h 1473560"/>
                  <a:gd name="connsiteX1219" fmla="*/ 2374583 w 3574732"/>
                  <a:gd name="connsiteY1219" fmla="*/ 712513 h 1473560"/>
                  <a:gd name="connsiteX1220" fmla="*/ 2367915 w 3574732"/>
                  <a:gd name="connsiteY1220" fmla="*/ 697273 h 1473560"/>
                  <a:gd name="connsiteX1221" fmla="*/ 2366963 w 3574732"/>
                  <a:gd name="connsiteY1221" fmla="*/ 690605 h 1473560"/>
                  <a:gd name="connsiteX1222" fmla="*/ 2366010 w 3574732"/>
                  <a:gd name="connsiteY1222" fmla="*/ 684890 h 1473560"/>
                  <a:gd name="connsiteX1223" fmla="*/ 2358390 w 3574732"/>
                  <a:gd name="connsiteY1223" fmla="*/ 682985 h 1473560"/>
                  <a:gd name="connsiteX1224" fmla="*/ 2353628 w 3574732"/>
                  <a:gd name="connsiteY1224" fmla="*/ 682033 h 1473560"/>
                  <a:gd name="connsiteX1225" fmla="*/ 2336483 w 3574732"/>
                  <a:gd name="connsiteY1225" fmla="*/ 673460 h 1473560"/>
                  <a:gd name="connsiteX1226" fmla="*/ 2355533 w 3574732"/>
                  <a:gd name="connsiteY1226" fmla="*/ 669650 h 1473560"/>
                  <a:gd name="connsiteX1227" fmla="*/ 2357438 w 3574732"/>
                  <a:gd name="connsiteY1227" fmla="*/ 662983 h 1473560"/>
                  <a:gd name="connsiteX1228" fmla="*/ 2367915 w 3574732"/>
                  <a:gd name="connsiteY1228" fmla="*/ 661078 h 1473560"/>
                  <a:gd name="connsiteX1229" fmla="*/ 2391728 w 3574732"/>
                  <a:gd name="connsiteY1229" fmla="*/ 658220 h 1473560"/>
                  <a:gd name="connsiteX1230" fmla="*/ 2391728 w 3574732"/>
                  <a:gd name="connsiteY1230" fmla="*/ 655363 h 1473560"/>
                  <a:gd name="connsiteX1231" fmla="*/ 2390775 w 3574732"/>
                  <a:gd name="connsiteY1231" fmla="*/ 642028 h 1473560"/>
                  <a:gd name="connsiteX1232" fmla="*/ 2387918 w 3574732"/>
                  <a:gd name="connsiteY1232" fmla="*/ 638218 h 1473560"/>
                  <a:gd name="connsiteX1233" fmla="*/ 2374583 w 3574732"/>
                  <a:gd name="connsiteY1233" fmla="*/ 636313 h 1473560"/>
                  <a:gd name="connsiteX1234" fmla="*/ 2361248 w 3574732"/>
                  <a:gd name="connsiteY1234" fmla="*/ 635360 h 1473560"/>
                  <a:gd name="connsiteX1235" fmla="*/ 2350770 w 3574732"/>
                  <a:gd name="connsiteY1235" fmla="*/ 635360 h 1473560"/>
                  <a:gd name="connsiteX1236" fmla="*/ 2328863 w 3574732"/>
                  <a:gd name="connsiteY1236" fmla="*/ 635360 h 1473560"/>
                  <a:gd name="connsiteX1237" fmla="*/ 2315528 w 3574732"/>
                  <a:gd name="connsiteY1237" fmla="*/ 632503 h 1473560"/>
                  <a:gd name="connsiteX1238" fmla="*/ 2314575 w 3574732"/>
                  <a:gd name="connsiteY1238" fmla="*/ 630598 h 1473560"/>
                  <a:gd name="connsiteX1239" fmla="*/ 2311718 w 3574732"/>
                  <a:gd name="connsiteY1239" fmla="*/ 622025 h 1473560"/>
                  <a:gd name="connsiteX1240" fmla="*/ 2330768 w 3574732"/>
                  <a:gd name="connsiteY1240" fmla="*/ 621073 h 1473560"/>
                  <a:gd name="connsiteX1241" fmla="*/ 2338388 w 3574732"/>
                  <a:gd name="connsiteY1241" fmla="*/ 620120 h 1473560"/>
                  <a:gd name="connsiteX1242" fmla="*/ 2351723 w 3574732"/>
                  <a:gd name="connsiteY1242" fmla="*/ 617263 h 1473560"/>
                  <a:gd name="connsiteX1243" fmla="*/ 2354580 w 3574732"/>
                  <a:gd name="connsiteY1243" fmla="*/ 613453 h 1473560"/>
                  <a:gd name="connsiteX1244" fmla="*/ 2366010 w 3574732"/>
                  <a:gd name="connsiteY1244" fmla="*/ 608690 h 1473560"/>
                  <a:gd name="connsiteX1245" fmla="*/ 2376488 w 3574732"/>
                  <a:gd name="connsiteY1245" fmla="*/ 611548 h 1473560"/>
                  <a:gd name="connsiteX1246" fmla="*/ 2380298 w 3574732"/>
                  <a:gd name="connsiteY1246" fmla="*/ 617263 h 1473560"/>
                  <a:gd name="connsiteX1247" fmla="*/ 2391728 w 3574732"/>
                  <a:gd name="connsiteY1247" fmla="*/ 617263 h 1473560"/>
                  <a:gd name="connsiteX1248" fmla="*/ 2406968 w 3574732"/>
                  <a:gd name="connsiteY1248" fmla="*/ 613453 h 1473560"/>
                  <a:gd name="connsiteX1249" fmla="*/ 2427923 w 3574732"/>
                  <a:gd name="connsiteY1249" fmla="*/ 616310 h 1473560"/>
                  <a:gd name="connsiteX1250" fmla="*/ 2436495 w 3574732"/>
                  <a:gd name="connsiteY1250" fmla="*/ 624883 h 1473560"/>
                  <a:gd name="connsiteX1251" fmla="*/ 2445068 w 3574732"/>
                  <a:gd name="connsiteY1251" fmla="*/ 632503 h 1473560"/>
                  <a:gd name="connsiteX1252" fmla="*/ 2448878 w 3574732"/>
                  <a:gd name="connsiteY1252" fmla="*/ 640123 h 1473560"/>
                  <a:gd name="connsiteX1253" fmla="*/ 2457450 w 3574732"/>
                  <a:gd name="connsiteY1253" fmla="*/ 643933 h 1473560"/>
                  <a:gd name="connsiteX1254" fmla="*/ 2457450 w 3574732"/>
                  <a:gd name="connsiteY1254" fmla="*/ 651553 h 1473560"/>
                  <a:gd name="connsiteX1255" fmla="*/ 2455545 w 3574732"/>
                  <a:gd name="connsiteY1255" fmla="*/ 662030 h 1473560"/>
                  <a:gd name="connsiteX1256" fmla="*/ 2458403 w 3574732"/>
                  <a:gd name="connsiteY1256" fmla="*/ 669650 h 1473560"/>
                  <a:gd name="connsiteX1257" fmla="*/ 2459355 w 3574732"/>
                  <a:gd name="connsiteY1257" fmla="*/ 673460 h 1473560"/>
                  <a:gd name="connsiteX1258" fmla="*/ 2472690 w 3574732"/>
                  <a:gd name="connsiteY1258" fmla="*/ 676318 h 1473560"/>
                  <a:gd name="connsiteX1259" fmla="*/ 2486978 w 3574732"/>
                  <a:gd name="connsiteY1259" fmla="*/ 677270 h 1473560"/>
                  <a:gd name="connsiteX1260" fmla="*/ 2497455 w 3574732"/>
                  <a:gd name="connsiteY1260" fmla="*/ 677270 h 1473560"/>
                  <a:gd name="connsiteX1261" fmla="*/ 2507933 w 3574732"/>
                  <a:gd name="connsiteY1261" fmla="*/ 675365 h 1473560"/>
                  <a:gd name="connsiteX1262" fmla="*/ 2518410 w 3574732"/>
                  <a:gd name="connsiteY1262" fmla="*/ 670603 h 1473560"/>
                  <a:gd name="connsiteX1263" fmla="*/ 2521268 w 3574732"/>
                  <a:gd name="connsiteY1263" fmla="*/ 656315 h 1473560"/>
                  <a:gd name="connsiteX1264" fmla="*/ 2517458 w 3574732"/>
                  <a:gd name="connsiteY1264" fmla="*/ 649648 h 1473560"/>
                  <a:gd name="connsiteX1265" fmla="*/ 2508885 w 3574732"/>
                  <a:gd name="connsiteY1265" fmla="*/ 642028 h 1473560"/>
                  <a:gd name="connsiteX1266" fmla="*/ 2505075 w 3574732"/>
                  <a:gd name="connsiteY1266" fmla="*/ 630598 h 1473560"/>
                  <a:gd name="connsiteX1267" fmla="*/ 2502218 w 3574732"/>
                  <a:gd name="connsiteY1267" fmla="*/ 619168 h 1473560"/>
                  <a:gd name="connsiteX1268" fmla="*/ 2515553 w 3574732"/>
                  <a:gd name="connsiteY1268" fmla="*/ 603928 h 1473560"/>
                  <a:gd name="connsiteX1269" fmla="*/ 2517458 w 3574732"/>
                  <a:gd name="connsiteY1269" fmla="*/ 601070 h 1473560"/>
                  <a:gd name="connsiteX1270" fmla="*/ 2525078 w 3574732"/>
                  <a:gd name="connsiteY1270" fmla="*/ 587735 h 1473560"/>
                  <a:gd name="connsiteX1271" fmla="*/ 2527935 w 3574732"/>
                  <a:gd name="connsiteY1271" fmla="*/ 582973 h 1473560"/>
                  <a:gd name="connsiteX1272" fmla="*/ 2549843 w 3574732"/>
                  <a:gd name="connsiteY1272" fmla="*/ 581068 h 1473560"/>
                  <a:gd name="connsiteX1273" fmla="*/ 2579370 w 3574732"/>
                  <a:gd name="connsiteY1273" fmla="*/ 571543 h 1473560"/>
                  <a:gd name="connsiteX1274" fmla="*/ 2589848 w 3574732"/>
                  <a:gd name="connsiteY1274" fmla="*/ 568685 h 1473560"/>
                  <a:gd name="connsiteX1275" fmla="*/ 2611755 w 3574732"/>
                  <a:gd name="connsiteY1275" fmla="*/ 558208 h 1473560"/>
                  <a:gd name="connsiteX1276" fmla="*/ 2624138 w 3574732"/>
                  <a:gd name="connsiteY1276" fmla="*/ 547730 h 1473560"/>
                  <a:gd name="connsiteX1277" fmla="*/ 2648903 w 3574732"/>
                  <a:gd name="connsiteY1277" fmla="*/ 539158 h 1473560"/>
                  <a:gd name="connsiteX1278" fmla="*/ 2653665 w 3574732"/>
                  <a:gd name="connsiteY1278" fmla="*/ 528680 h 1473560"/>
                  <a:gd name="connsiteX1279" fmla="*/ 2662238 w 3574732"/>
                  <a:gd name="connsiteY1279" fmla="*/ 521060 h 1473560"/>
                  <a:gd name="connsiteX1280" fmla="*/ 2684145 w 3574732"/>
                  <a:gd name="connsiteY1280" fmla="*/ 512488 h 1473560"/>
                  <a:gd name="connsiteX1281" fmla="*/ 2694623 w 3574732"/>
                  <a:gd name="connsiteY1281" fmla="*/ 502010 h 1473560"/>
                  <a:gd name="connsiteX1282" fmla="*/ 2696528 w 3574732"/>
                  <a:gd name="connsiteY1282" fmla="*/ 487723 h 1473560"/>
                  <a:gd name="connsiteX1283" fmla="*/ 2695575 w 3574732"/>
                  <a:gd name="connsiteY1283" fmla="*/ 478198 h 1473560"/>
                  <a:gd name="connsiteX1284" fmla="*/ 2694623 w 3574732"/>
                  <a:gd name="connsiteY1284" fmla="*/ 472483 h 1473560"/>
                  <a:gd name="connsiteX1285" fmla="*/ 2707005 w 3574732"/>
                  <a:gd name="connsiteY1285" fmla="*/ 460100 h 1473560"/>
                  <a:gd name="connsiteX1286" fmla="*/ 2707005 w 3574732"/>
                  <a:gd name="connsiteY1286" fmla="*/ 453433 h 1473560"/>
                  <a:gd name="connsiteX1287" fmla="*/ 2707005 w 3574732"/>
                  <a:gd name="connsiteY1287" fmla="*/ 439145 h 1473560"/>
                  <a:gd name="connsiteX1288" fmla="*/ 2711768 w 3574732"/>
                  <a:gd name="connsiteY1288" fmla="*/ 428668 h 1473560"/>
                  <a:gd name="connsiteX1289" fmla="*/ 2711768 w 3574732"/>
                  <a:gd name="connsiteY1289" fmla="*/ 416285 h 1473560"/>
                  <a:gd name="connsiteX1290" fmla="*/ 2701290 w 3574732"/>
                  <a:gd name="connsiteY1290" fmla="*/ 412475 h 1473560"/>
                  <a:gd name="connsiteX1291" fmla="*/ 2689860 w 3574732"/>
                  <a:gd name="connsiteY1291" fmla="*/ 413428 h 1473560"/>
                  <a:gd name="connsiteX1292" fmla="*/ 2673668 w 3574732"/>
                  <a:gd name="connsiteY1292" fmla="*/ 416285 h 1473560"/>
                  <a:gd name="connsiteX1293" fmla="*/ 2660333 w 3574732"/>
                  <a:gd name="connsiteY1293" fmla="*/ 412475 h 1473560"/>
                  <a:gd name="connsiteX1294" fmla="*/ 2653665 w 3574732"/>
                  <a:gd name="connsiteY1294" fmla="*/ 401998 h 1473560"/>
                  <a:gd name="connsiteX1295" fmla="*/ 2647950 w 3574732"/>
                  <a:gd name="connsiteY1295" fmla="*/ 401998 h 1473560"/>
                  <a:gd name="connsiteX1296" fmla="*/ 2634615 w 3574732"/>
                  <a:gd name="connsiteY1296" fmla="*/ 400093 h 1473560"/>
                  <a:gd name="connsiteX1297" fmla="*/ 2629853 w 3574732"/>
                  <a:gd name="connsiteY1297" fmla="*/ 396283 h 1473560"/>
                  <a:gd name="connsiteX1298" fmla="*/ 2629853 w 3574732"/>
                  <a:gd name="connsiteY1298" fmla="*/ 393425 h 1473560"/>
                  <a:gd name="connsiteX1299" fmla="*/ 2632710 w 3574732"/>
                  <a:gd name="connsiteY1299" fmla="*/ 383900 h 1473560"/>
                  <a:gd name="connsiteX1300" fmla="*/ 2676525 w 3574732"/>
                  <a:gd name="connsiteY1300" fmla="*/ 375328 h 1473560"/>
                  <a:gd name="connsiteX1301" fmla="*/ 2681288 w 3574732"/>
                  <a:gd name="connsiteY1301" fmla="*/ 368660 h 1473560"/>
                  <a:gd name="connsiteX1302" fmla="*/ 2697480 w 3574732"/>
                  <a:gd name="connsiteY1302" fmla="*/ 356278 h 1473560"/>
                  <a:gd name="connsiteX1303" fmla="*/ 2716530 w 3574732"/>
                  <a:gd name="connsiteY1303" fmla="*/ 344848 h 1473560"/>
                  <a:gd name="connsiteX1304" fmla="*/ 2734628 w 3574732"/>
                  <a:gd name="connsiteY1304" fmla="*/ 334370 h 1473560"/>
                  <a:gd name="connsiteX1305" fmla="*/ 2745105 w 3574732"/>
                  <a:gd name="connsiteY1305" fmla="*/ 330560 h 1473560"/>
                  <a:gd name="connsiteX1306" fmla="*/ 2777490 w 3574732"/>
                  <a:gd name="connsiteY1306" fmla="*/ 328655 h 1473560"/>
                  <a:gd name="connsiteX1307" fmla="*/ 2785110 w 3574732"/>
                  <a:gd name="connsiteY1307" fmla="*/ 327703 h 1473560"/>
                  <a:gd name="connsiteX1308" fmla="*/ 2798445 w 3574732"/>
                  <a:gd name="connsiteY1308" fmla="*/ 327703 h 1473560"/>
                  <a:gd name="connsiteX1309" fmla="*/ 2814638 w 3574732"/>
                  <a:gd name="connsiteY1309" fmla="*/ 330560 h 1473560"/>
                  <a:gd name="connsiteX1310" fmla="*/ 2841308 w 3574732"/>
                  <a:gd name="connsiteY1310" fmla="*/ 331513 h 1473560"/>
                  <a:gd name="connsiteX1311" fmla="*/ 2855595 w 3574732"/>
                  <a:gd name="connsiteY1311" fmla="*/ 328655 h 1473560"/>
                  <a:gd name="connsiteX1312" fmla="*/ 2869883 w 3574732"/>
                  <a:gd name="connsiteY1312" fmla="*/ 324845 h 1473560"/>
                  <a:gd name="connsiteX1313" fmla="*/ 2877503 w 3574732"/>
                  <a:gd name="connsiteY1313" fmla="*/ 324845 h 1473560"/>
                  <a:gd name="connsiteX1314" fmla="*/ 2909888 w 3574732"/>
                  <a:gd name="connsiteY1314" fmla="*/ 331513 h 1473560"/>
                  <a:gd name="connsiteX1315" fmla="*/ 2924175 w 3574732"/>
                  <a:gd name="connsiteY1315" fmla="*/ 339133 h 1473560"/>
                  <a:gd name="connsiteX1316" fmla="*/ 2934653 w 3574732"/>
                  <a:gd name="connsiteY1316" fmla="*/ 341038 h 1473560"/>
                  <a:gd name="connsiteX1317" fmla="*/ 2943225 w 3574732"/>
                  <a:gd name="connsiteY1317" fmla="*/ 339133 h 1473560"/>
                  <a:gd name="connsiteX1318" fmla="*/ 2956560 w 3574732"/>
                  <a:gd name="connsiteY1318" fmla="*/ 324845 h 1473560"/>
                  <a:gd name="connsiteX1319" fmla="*/ 2958465 w 3574732"/>
                  <a:gd name="connsiteY1319" fmla="*/ 320083 h 1473560"/>
                  <a:gd name="connsiteX1320" fmla="*/ 2966085 w 3574732"/>
                  <a:gd name="connsiteY1320" fmla="*/ 311510 h 1473560"/>
                  <a:gd name="connsiteX1321" fmla="*/ 2971800 w 3574732"/>
                  <a:gd name="connsiteY1321" fmla="*/ 306748 h 1473560"/>
                  <a:gd name="connsiteX1322" fmla="*/ 2979420 w 3574732"/>
                  <a:gd name="connsiteY1322" fmla="*/ 303890 h 1473560"/>
                  <a:gd name="connsiteX1323" fmla="*/ 2987040 w 3574732"/>
                  <a:gd name="connsiteY1323" fmla="*/ 300080 h 1473560"/>
                  <a:gd name="connsiteX1324" fmla="*/ 2995613 w 3574732"/>
                  <a:gd name="connsiteY1324" fmla="*/ 295318 h 1473560"/>
                  <a:gd name="connsiteX1325" fmla="*/ 3006090 w 3574732"/>
                  <a:gd name="connsiteY1325" fmla="*/ 291508 h 1473560"/>
                  <a:gd name="connsiteX1326" fmla="*/ 3036570 w 3574732"/>
                  <a:gd name="connsiteY1326" fmla="*/ 291508 h 1473560"/>
                  <a:gd name="connsiteX1327" fmla="*/ 3044190 w 3574732"/>
                  <a:gd name="connsiteY1327" fmla="*/ 299128 h 1473560"/>
                  <a:gd name="connsiteX1328" fmla="*/ 3051810 w 3574732"/>
                  <a:gd name="connsiteY1328" fmla="*/ 301985 h 1473560"/>
                  <a:gd name="connsiteX1329" fmla="*/ 3062288 w 3574732"/>
                  <a:gd name="connsiteY1329" fmla="*/ 300080 h 1473560"/>
                  <a:gd name="connsiteX1330" fmla="*/ 3075623 w 3574732"/>
                  <a:gd name="connsiteY1330" fmla="*/ 293413 h 1473560"/>
                  <a:gd name="connsiteX1331" fmla="*/ 3087053 w 3574732"/>
                  <a:gd name="connsiteY1331" fmla="*/ 289603 h 1473560"/>
                  <a:gd name="connsiteX1332" fmla="*/ 3097530 w 3574732"/>
                  <a:gd name="connsiteY1332" fmla="*/ 284840 h 1473560"/>
                  <a:gd name="connsiteX1333" fmla="*/ 3105150 w 3574732"/>
                  <a:gd name="connsiteY1333" fmla="*/ 283888 h 1473560"/>
                  <a:gd name="connsiteX1334" fmla="*/ 3113723 w 3574732"/>
                  <a:gd name="connsiteY1334" fmla="*/ 287698 h 1473560"/>
                  <a:gd name="connsiteX1335" fmla="*/ 3100388 w 3574732"/>
                  <a:gd name="connsiteY1335" fmla="*/ 297223 h 1473560"/>
                  <a:gd name="connsiteX1336" fmla="*/ 3089910 w 3574732"/>
                  <a:gd name="connsiteY1336" fmla="*/ 302938 h 1473560"/>
                  <a:gd name="connsiteX1337" fmla="*/ 3071813 w 3574732"/>
                  <a:gd name="connsiteY1337" fmla="*/ 311510 h 1473560"/>
                  <a:gd name="connsiteX1338" fmla="*/ 3061335 w 3574732"/>
                  <a:gd name="connsiteY1338" fmla="*/ 317225 h 1473560"/>
                  <a:gd name="connsiteX1339" fmla="*/ 3052763 w 3574732"/>
                  <a:gd name="connsiteY1339" fmla="*/ 321988 h 1473560"/>
                  <a:gd name="connsiteX1340" fmla="*/ 3044190 w 3574732"/>
                  <a:gd name="connsiteY1340" fmla="*/ 328655 h 1473560"/>
                  <a:gd name="connsiteX1341" fmla="*/ 3030855 w 3574732"/>
                  <a:gd name="connsiteY1341" fmla="*/ 337228 h 1473560"/>
                  <a:gd name="connsiteX1342" fmla="*/ 3015615 w 3574732"/>
                  <a:gd name="connsiteY1342" fmla="*/ 341990 h 1473560"/>
                  <a:gd name="connsiteX1343" fmla="*/ 2994660 w 3574732"/>
                  <a:gd name="connsiteY1343" fmla="*/ 351515 h 1473560"/>
                  <a:gd name="connsiteX1344" fmla="*/ 2982278 w 3574732"/>
                  <a:gd name="connsiteY1344" fmla="*/ 364850 h 1473560"/>
                  <a:gd name="connsiteX1345" fmla="*/ 2979420 w 3574732"/>
                  <a:gd name="connsiteY1345" fmla="*/ 368660 h 1473560"/>
                  <a:gd name="connsiteX1346" fmla="*/ 2967038 w 3574732"/>
                  <a:gd name="connsiteY1346" fmla="*/ 379138 h 1473560"/>
                  <a:gd name="connsiteX1347" fmla="*/ 2972753 w 3574732"/>
                  <a:gd name="connsiteY1347" fmla="*/ 387710 h 1473560"/>
                  <a:gd name="connsiteX1348" fmla="*/ 2968943 w 3574732"/>
                  <a:gd name="connsiteY1348" fmla="*/ 408665 h 1473560"/>
                  <a:gd name="connsiteX1349" fmla="*/ 2968943 w 3574732"/>
                  <a:gd name="connsiteY1349" fmla="*/ 418190 h 1473560"/>
                  <a:gd name="connsiteX1350" fmla="*/ 2968943 w 3574732"/>
                  <a:gd name="connsiteY1350" fmla="*/ 427715 h 1473560"/>
                  <a:gd name="connsiteX1351" fmla="*/ 2968943 w 3574732"/>
                  <a:gd name="connsiteY1351" fmla="*/ 434383 h 1473560"/>
                  <a:gd name="connsiteX1352" fmla="*/ 2979420 w 3574732"/>
                  <a:gd name="connsiteY1352" fmla="*/ 440098 h 1473560"/>
                  <a:gd name="connsiteX1353" fmla="*/ 2989898 w 3574732"/>
                  <a:gd name="connsiteY1353" fmla="*/ 449623 h 1473560"/>
                  <a:gd name="connsiteX1354" fmla="*/ 2990850 w 3574732"/>
                  <a:gd name="connsiteY1354" fmla="*/ 455338 h 1473560"/>
                  <a:gd name="connsiteX1355" fmla="*/ 3007043 w 3574732"/>
                  <a:gd name="connsiteY1355" fmla="*/ 457243 h 1473560"/>
                  <a:gd name="connsiteX1356" fmla="*/ 3017520 w 3574732"/>
                  <a:gd name="connsiteY1356" fmla="*/ 448670 h 1473560"/>
                  <a:gd name="connsiteX1357" fmla="*/ 3020378 w 3574732"/>
                  <a:gd name="connsiteY1357" fmla="*/ 441050 h 1473560"/>
                  <a:gd name="connsiteX1358" fmla="*/ 3027998 w 3574732"/>
                  <a:gd name="connsiteY1358" fmla="*/ 435335 h 1473560"/>
                  <a:gd name="connsiteX1359" fmla="*/ 3038475 w 3574732"/>
                  <a:gd name="connsiteY1359" fmla="*/ 428668 h 1473560"/>
                  <a:gd name="connsiteX1360" fmla="*/ 3037523 w 3574732"/>
                  <a:gd name="connsiteY1360" fmla="*/ 425810 h 1473560"/>
                  <a:gd name="connsiteX1361" fmla="*/ 3047048 w 3574732"/>
                  <a:gd name="connsiteY1361" fmla="*/ 416285 h 1473560"/>
                  <a:gd name="connsiteX1362" fmla="*/ 3054668 w 3574732"/>
                  <a:gd name="connsiteY1362" fmla="*/ 413428 h 1473560"/>
                  <a:gd name="connsiteX1363" fmla="*/ 3072765 w 3574732"/>
                  <a:gd name="connsiteY1363" fmla="*/ 403903 h 1473560"/>
                  <a:gd name="connsiteX1364" fmla="*/ 3083243 w 3574732"/>
                  <a:gd name="connsiteY1364" fmla="*/ 397235 h 1473560"/>
                  <a:gd name="connsiteX1365" fmla="*/ 3077528 w 3574732"/>
                  <a:gd name="connsiteY1365" fmla="*/ 386758 h 1473560"/>
                  <a:gd name="connsiteX1366" fmla="*/ 3080385 w 3574732"/>
                  <a:gd name="connsiteY1366" fmla="*/ 383900 h 1473560"/>
                  <a:gd name="connsiteX1367" fmla="*/ 3080385 w 3574732"/>
                  <a:gd name="connsiteY1367" fmla="*/ 381043 h 1473560"/>
                  <a:gd name="connsiteX1368" fmla="*/ 3085148 w 3574732"/>
                  <a:gd name="connsiteY1368" fmla="*/ 377233 h 1473560"/>
                  <a:gd name="connsiteX1369" fmla="*/ 3092768 w 3574732"/>
                  <a:gd name="connsiteY1369" fmla="*/ 370565 h 1473560"/>
                  <a:gd name="connsiteX1370" fmla="*/ 3089910 w 3574732"/>
                  <a:gd name="connsiteY1370" fmla="*/ 357230 h 1473560"/>
                  <a:gd name="connsiteX1371" fmla="*/ 3097530 w 3574732"/>
                  <a:gd name="connsiteY1371" fmla="*/ 375328 h 1473560"/>
                  <a:gd name="connsiteX1372" fmla="*/ 3097530 w 3574732"/>
                  <a:gd name="connsiteY1372" fmla="*/ 371518 h 1473560"/>
                  <a:gd name="connsiteX1373" fmla="*/ 3110865 w 3574732"/>
                  <a:gd name="connsiteY1373" fmla="*/ 366755 h 1473560"/>
                  <a:gd name="connsiteX1374" fmla="*/ 3116580 w 3574732"/>
                  <a:gd name="connsiteY1374" fmla="*/ 351515 h 1473560"/>
                  <a:gd name="connsiteX1375" fmla="*/ 3148013 w 3574732"/>
                  <a:gd name="connsiteY1375" fmla="*/ 343895 h 1473560"/>
                  <a:gd name="connsiteX1376" fmla="*/ 3166110 w 3574732"/>
                  <a:gd name="connsiteY1376" fmla="*/ 342943 h 1473560"/>
                  <a:gd name="connsiteX1377" fmla="*/ 3183255 w 3574732"/>
                  <a:gd name="connsiteY1377" fmla="*/ 343895 h 1473560"/>
                  <a:gd name="connsiteX1378" fmla="*/ 3253740 w 3574732"/>
                  <a:gd name="connsiteY1378" fmla="*/ 336275 h 1473560"/>
                  <a:gd name="connsiteX1379" fmla="*/ 3258503 w 3574732"/>
                  <a:gd name="connsiteY1379" fmla="*/ 332465 h 1473560"/>
                  <a:gd name="connsiteX1380" fmla="*/ 3274695 w 3574732"/>
                  <a:gd name="connsiteY1380" fmla="*/ 321988 h 1473560"/>
                  <a:gd name="connsiteX1381" fmla="*/ 3301365 w 3574732"/>
                  <a:gd name="connsiteY1381" fmla="*/ 315320 h 1473560"/>
                  <a:gd name="connsiteX1382" fmla="*/ 3317558 w 3574732"/>
                  <a:gd name="connsiteY1382" fmla="*/ 304843 h 1473560"/>
                  <a:gd name="connsiteX1383" fmla="*/ 3336608 w 3574732"/>
                  <a:gd name="connsiteY1383" fmla="*/ 306748 h 1473560"/>
                  <a:gd name="connsiteX1384" fmla="*/ 3358515 w 3574732"/>
                  <a:gd name="connsiteY1384" fmla="*/ 309605 h 1473560"/>
                  <a:gd name="connsiteX1385" fmla="*/ 3407093 w 3574732"/>
                  <a:gd name="connsiteY1385" fmla="*/ 300080 h 1473560"/>
                  <a:gd name="connsiteX1386" fmla="*/ 3403283 w 3574732"/>
                  <a:gd name="connsiteY1386" fmla="*/ 291508 h 1473560"/>
                  <a:gd name="connsiteX1387" fmla="*/ 3380423 w 3574732"/>
                  <a:gd name="connsiteY1387" fmla="*/ 282935 h 1473560"/>
                  <a:gd name="connsiteX1388" fmla="*/ 3364230 w 3574732"/>
                  <a:gd name="connsiteY1388" fmla="*/ 270553 h 1473560"/>
                  <a:gd name="connsiteX1389" fmla="*/ 3358515 w 3574732"/>
                  <a:gd name="connsiteY1389" fmla="*/ 260075 h 1473560"/>
                  <a:gd name="connsiteX1390" fmla="*/ 3369945 w 3574732"/>
                  <a:gd name="connsiteY1390" fmla="*/ 260075 h 1473560"/>
                  <a:gd name="connsiteX1391" fmla="*/ 3397568 w 3574732"/>
                  <a:gd name="connsiteY1391" fmla="*/ 257218 h 1473560"/>
                  <a:gd name="connsiteX1392" fmla="*/ 3405188 w 3574732"/>
                  <a:gd name="connsiteY1392" fmla="*/ 249598 h 1473560"/>
                  <a:gd name="connsiteX1393" fmla="*/ 3408045 w 3574732"/>
                  <a:gd name="connsiteY1393" fmla="*/ 244835 h 1473560"/>
                  <a:gd name="connsiteX1394" fmla="*/ 3415665 w 3574732"/>
                  <a:gd name="connsiteY1394" fmla="*/ 241025 h 1473560"/>
                  <a:gd name="connsiteX1395" fmla="*/ 3424238 w 3574732"/>
                  <a:gd name="connsiteY1395" fmla="*/ 241025 h 1473560"/>
                  <a:gd name="connsiteX1396" fmla="*/ 3432810 w 3574732"/>
                  <a:gd name="connsiteY1396" fmla="*/ 242930 h 1473560"/>
                  <a:gd name="connsiteX1397" fmla="*/ 3449003 w 3574732"/>
                  <a:gd name="connsiteY1397" fmla="*/ 250550 h 1473560"/>
                  <a:gd name="connsiteX1398" fmla="*/ 3456623 w 3574732"/>
                  <a:gd name="connsiteY1398" fmla="*/ 253408 h 1473560"/>
                  <a:gd name="connsiteX1399" fmla="*/ 3472815 w 3574732"/>
                  <a:gd name="connsiteY1399" fmla="*/ 257218 h 1473560"/>
                  <a:gd name="connsiteX1400" fmla="*/ 3494723 w 3574732"/>
                  <a:gd name="connsiteY1400" fmla="*/ 260075 h 1473560"/>
                  <a:gd name="connsiteX1401" fmla="*/ 3519488 w 3574732"/>
                  <a:gd name="connsiteY1401" fmla="*/ 266743 h 1473560"/>
                  <a:gd name="connsiteX1402" fmla="*/ 3535680 w 3574732"/>
                  <a:gd name="connsiteY1402" fmla="*/ 265790 h 1473560"/>
                  <a:gd name="connsiteX1403" fmla="*/ 3549015 w 3574732"/>
                  <a:gd name="connsiteY1403" fmla="*/ 255313 h 1473560"/>
                  <a:gd name="connsiteX1404" fmla="*/ 3551873 w 3574732"/>
                  <a:gd name="connsiteY1404" fmla="*/ 243883 h 1473560"/>
                  <a:gd name="connsiteX1405" fmla="*/ 3560445 w 3574732"/>
                  <a:gd name="connsiteY1405" fmla="*/ 241025 h 1473560"/>
                  <a:gd name="connsiteX1406" fmla="*/ 3569018 w 3574732"/>
                  <a:gd name="connsiteY1406" fmla="*/ 237215 h 1473560"/>
                  <a:gd name="connsiteX1407" fmla="*/ 3574733 w 3574732"/>
                  <a:gd name="connsiteY1407" fmla="*/ 230548 h 1473560"/>
                  <a:gd name="connsiteX1408" fmla="*/ 3568065 w 3574732"/>
                  <a:gd name="connsiteY1408" fmla="*/ 231500 h 1473560"/>
                  <a:gd name="connsiteX1409" fmla="*/ 601028 w 3574732"/>
                  <a:gd name="connsiteY1409" fmla="*/ 290555 h 1473560"/>
                  <a:gd name="connsiteX1410" fmla="*/ 601028 w 3574732"/>
                  <a:gd name="connsiteY1410" fmla="*/ 290555 h 1473560"/>
                  <a:gd name="connsiteX1411" fmla="*/ 601028 w 3574732"/>
                  <a:gd name="connsiteY1411" fmla="*/ 290555 h 1473560"/>
                  <a:gd name="connsiteX1412" fmla="*/ 874395 w 3574732"/>
                  <a:gd name="connsiteY1412" fmla="*/ 1083035 h 1473560"/>
                  <a:gd name="connsiteX1413" fmla="*/ 867728 w 3574732"/>
                  <a:gd name="connsiteY1413" fmla="*/ 1091608 h 1473560"/>
                  <a:gd name="connsiteX1414" fmla="*/ 861060 w 3574732"/>
                  <a:gd name="connsiteY1414" fmla="*/ 1097323 h 1473560"/>
                  <a:gd name="connsiteX1415" fmla="*/ 849630 w 3574732"/>
                  <a:gd name="connsiteY1415" fmla="*/ 1106848 h 1473560"/>
                  <a:gd name="connsiteX1416" fmla="*/ 838200 w 3574732"/>
                  <a:gd name="connsiteY1416" fmla="*/ 1104943 h 1473560"/>
                  <a:gd name="connsiteX1417" fmla="*/ 841058 w 3574732"/>
                  <a:gd name="connsiteY1417" fmla="*/ 1096370 h 1473560"/>
                  <a:gd name="connsiteX1418" fmla="*/ 839153 w 3574732"/>
                  <a:gd name="connsiteY1418" fmla="*/ 1091608 h 1473560"/>
                  <a:gd name="connsiteX1419" fmla="*/ 845820 w 3574732"/>
                  <a:gd name="connsiteY1419" fmla="*/ 1085893 h 1473560"/>
                  <a:gd name="connsiteX1420" fmla="*/ 859155 w 3574732"/>
                  <a:gd name="connsiteY1420" fmla="*/ 1084940 h 1473560"/>
                  <a:gd name="connsiteX1421" fmla="*/ 874395 w 3574732"/>
                  <a:gd name="connsiteY1421" fmla="*/ 1083035 h 1473560"/>
                  <a:gd name="connsiteX1422" fmla="*/ 1003935 w 3574732"/>
                  <a:gd name="connsiteY1422" fmla="*/ 591545 h 1473560"/>
                  <a:gd name="connsiteX1423" fmla="*/ 995363 w 3574732"/>
                  <a:gd name="connsiteY1423" fmla="*/ 595355 h 1473560"/>
                  <a:gd name="connsiteX1424" fmla="*/ 986790 w 3574732"/>
                  <a:gd name="connsiteY1424" fmla="*/ 595355 h 1473560"/>
                  <a:gd name="connsiteX1425" fmla="*/ 978218 w 3574732"/>
                  <a:gd name="connsiteY1425" fmla="*/ 595355 h 1473560"/>
                  <a:gd name="connsiteX1426" fmla="*/ 958215 w 3574732"/>
                  <a:gd name="connsiteY1426" fmla="*/ 593450 h 1473560"/>
                  <a:gd name="connsiteX1427" fmla="*/ 918210 w 3574732"/>
                  <a:gd name="connsiteY1427" fmla="*/ 588688 h 1473560"/>
                  <a:gd name="connsiteX1428" fmla="*/ 901065 w 3574732"/>
                  <a:gd name="connsiteY1428" fmla="*/ 588688 h 1473560"/>
                  <a:gd name="connsiteX1429" fmla="*/ 885825 w 3574732"/>
                  <a:gd name="connsiteY1429" fmla="*/ 588688 h 1473560"/>
                  <a:gd name="connsiteX1430" fmla="*/ 868680 w 3574732"/>
                  <a:gd name="connsiteY1430" fmla="*/ 585830 h 1473560"/>
                  <a:gd name="connsiteX1431" fmla="*/ 846773 w 3574732"/>
                  <a:gd name="connsiteY1431" fmla="*/ 586783 h 1473560"/>
                  <a:gd name="connsiteX1432" fmla="*/ 824865 w 3574732"/>
                  <a:gd name="connsiteY1432" fmla="*/ 589640 h 1473560"/>
                  <a:gd name="connsiteX1433" fmla="*/ 813435 w 3574732"/>
                  <a:gd name="connsiteY1433" fmla="*/ 589640 h 1473560"/>
                  <a:gd name="connsiteX1434" fmla="*/ 802005 w 3574732"/>
                  <a:gd name="connsiteY1434" fmla="*/ 589640 h 1473560"/>
                  <a:gd name="connsiteX1435" fmla="*/ 791528 w 3574732"/>
                  <a:gd name="connsiteY1435" fmla="*/ 586783 h 1473560"/>
                  <a:gd name="connsiteX1436" fmla="*/ 791528 w 3574732"/>
                  <a:gd name="connsiteY1436" fmla="*/ 577258 h 1473560"/>
                  <a:gd name="connsiteX1437" fmla="*/ 802958 w 3574732"/>
                  <a:gd name="connsiteY1437" fmla="*/ 565828 h 1473560"/>
                  <a:gd name="connsiteX1438" fmla="*/ 807720 w 3574732"/>
                  <a:gd name="connsiteY1438" fmla="*/ 560113 h 1473560"/>
                  <a:gd name="connsiteX1439" fmla="*/ 809625 w 3574732"/>
                  <a:gd name="connsiteY1439" fmla="*/ 553445 h 1473560"/>
                  <a:gd name="connsiteX1440" fmla="*/ 821055 w 3574732"/>
                  <a:gd name="connsiteY1440" fmla="*/ 544873 h 1473560"/>
                  <a:gd name="connsiteX1441" fmla="*/ 827723 w 3574732"/>
                  <a:gd name="connsiteY1441" fmla="*/ 538205 h 1473560"/>
                  <a:gd name="connsiteX1442" fmla="*/ 845820 w 3574732"/>
                  <a:gd name="connsiteY1442" fmla="*/ 529633 h 1473560"/>
                  <a:gd name="connsiteX1443" fmla="*/ 854393 w 3574732"/>
                  <a:gd name="connsiteY1443" fmla="*/ 529633 h 1473560"/>
                  <a:gd name="connsiteX1444" fmla="*/ 867728 w 3574732"/>
                  <a:gd name="connsiteY1444" fmla="*/ 529633 h 1473560"/>
                  <a:gd name="connsiteX1445" fmla="*/ 881063 w 3574732"/>
                  <a:gd name="connsiteY1445" fmla="*/ 537253 h 1473560"/>
                  <a:gd name="connsiteX1446" fmla="*/ 884873 w 3574732"/>
                  <a:gd name="connsiteY1446" fmla="*/ 545825 h 1473560"/>
                  <a:gd name="connsiteX1447" fmla="*/ 906780 w 3574732"/>
                  <a:gd name="connsiteY1447" fmla="*/ 550588 h 1473560"/>
                  <a:gd name="connsiteX1448" fmla="*/ 928688 w 3574732"/>
                  <a:gd name="connsiteY1448" fmla="*/ 546778 h 1473560"/>
                  <a:gd name="connsiteX1449" fmla="*/ 926783 w 3574732"/>
                  <a:gd name="connsiteY1449" fmla="*/ 541063 h 1473560"/>
                  <a:gd name="connsiteX1450" fmla="*/ 926783 w 3574732"/>
                  <a:gd name="connsiteY1450" fmla="*/ 531538 h 1473560"/>
                  <a:gd name="connsiteX1451" fmla="*/ 942023 w 3574732"/>
                  <a:gd name="connsiteY1451" fmla="*/ 519155 h 1473560"/>
                  <a:gd name="connsiteX1452" fmla="*/ 948690 w 3574732"/>
                  <a:gd name="connsiteY1452" fmla="*/ 527728 h 1473560"/>
                  <a:gd name="connsiteX1453" fmla="*/ 948690 w 3574732"/>
                  <a:gd name="connsiteY1453" fmla="*/ 534395 h 1473560"/>
                  <a:gd name="connsiteX1454" fmla="*/ 946785 w 3574732"/>
                  <a:gd name="connsiteY1454" fmla="*/ 538205 h 1473560"/>
                  <a:gd name="connsiteX1455" fmla="*/ 953453 w 3574732"/>
                  <a:gd name="connsiteY1455" fmla="*/ 546778 h 1473560"/>
                  <a:gd name="connsiteX1456" fmla="*/ 972503 w 3574732"/>
                  <a:gd name="connsiteY1456" fmla="*/ 561065 h 1473560"/>
                  <a:gd name="connsiteX1457" fmla="*/ 987743 w 3574732"/>
                  <a:gd name="connsiteY1457" fmla="*/ 571543 h 1473560"/>
                  <a:gd name="connsiteX1458" fmla="*/ 998220 w 3574732"/>
                  <a:gd name="connsiteY1458" fmla="*/ 579163 h 1473560"/>
                  <a:gd name="connsiteX1459" fmla="*/ 1004888 w 3574732"/>
                  <a:gd name="connsiteY1459" fmla="*/ 584878 h 1473560"/>
                  <a:gd name="connsiteX1460" fmla="*/ 1003935 w 3574732"/>
                  <a:gd name="connsiteY1460" fmla="*/ 591545 h 1473560"/>
                  <a:gd name="connsiteX1461" fmla="*/ 1239203 w 3574732"/>
                  <a:gd name="connsiteY1461" fmla="*/ 609643 h 1473560"/>
                  <a:gd name="connsiteX1462" fmla="*/ 1230630 w 3574732"/>
                  <a:gd name="connsiteY1462" fmla="*/ 612500 h 1473560"/>
                  <a:gd name="connsiteX1463" fmla="*/ 1212533 w 3574732"/>
                  <a:gd name="connsiteY1463" fmla="*/ 622025 h 1473560"/>
                  <a:gd name="connsiteX1464" fmla="*/ 1212533 w 3574732"/>
                  <a:gd name="connsiteY1464" fmla="*/ 627740 h 1473560"/>
                  <a:gd name="connsiteX1465" fmla="*/ 1212533 w 3574732"/>
                  <a:gd name="connsiteY1465" fmla="*/ 633455 h 1473560"/>
                  <a:gd name="connsiteX1466" fmla="*/ 1214438 w 3574732"/>
                  <a:gd name="connsiteY1466" fmla="*/ 637265 h 1473560"/>
                  <a:gd name="connsiteX1467" fmla="*/ 1196340 w 3574732"/>
                  <a:gd name="connsiteY1467" fmla="*/ 645838 h 1473560"/>
                  <a:gd name="connsiteX1468" fmla="*/ 1183005 w 3574732"/>
                  <a:gd name="connsiteY1468" fmla="*/ 645838 h 1473560"/>
                  <a:gd name="connsiteX1469" fmla="*/ 1169670 w 3574732"/>
                  <a:gd name="connsiteY1469" fmla="*/ 642980 h 1473560"/>
                  <a:gd name="connsiteX1470" fmla="*/ 1157288 w 3574732"/>
                  <a:gd name="connsiteY1470" fmla="*/ 625835 h 1473560"/>
                  <a:gd name="connsiteX1471" fmla="*/ 1150620 w 3574732"/>
                  <a:gd name="connsiteY1471" fmla="*/ 614405 h 1473560"/>
                  <a:gd name="connsiteX1472" fmla="*/ 1143953 w 3574732"/>
                  <a:gd name="connsiteY1472" fmla="*/ 600118 h 1473560"/>
                  <a:gd name="connsiteX1473" fmla="*/ 1123950 w 3574732"/>
                  <a:gd name="connsiteY1473" fmla="*/ 586783 h 1473560"/>
                  <a:gd name="connsiteX1474" fmla="*/ 1115378 w 3574732"/>
                  <a:gd name="connsiteY1474" fmla="*/ 571543 h 1473560"/>
                  <a:gd name="connsiteX1475" fmla="*/ 1113473 w 3574732"/>
                  <a:gd name="connsiteY1475" fmla="*/ 559160 h 1473560"/>
                  <a:gd name="connsiteX1476" fmla="*/ 1113473 w 3574732"/>
                  <a:gd name="connsiteY1476" fmla="*/ 550588 h 1473560"/>
                  <a:gd name="connsiteX1477" fmla="*/ 1116330 w 3574732"/>
                  <a:gd name="connsiteY1477" fmla="*/ 539158 h 1473560"/>
                  <a:gd name="connsiteX1478" fmla="*/ 1129665 w 3574732"/>
                  <a:gd name="connsiteY1478" fmla="*/ 535348 h 1473560"/>
                  <a:gd name="connsiteX1479" fmla="*/ 1163003 w 3574732"/>
                  <a:gd name="connsiteY1479" fmla="*/ 531538 h 1473560"/>
                  <a:gd name="connsiteX1480" fmla="*/ 1196340 w 3574732"/>
                  <a:gd name="connsiteY1480" fmla="*/ 527728 h 1473560"/>
                  <a:gd name="connsiteX1481" fmla="*/ 1201103 w 3574732"/>
                  <a:gd name="connsiteY1481" fmla="*/ 531538 h 1473560"/>
                  <a:gd name="connsiteX1482" fmla="*/ 1187768 w 3574732"/>
                  <a:gd name="connsiteY1482" fmla="*/ 540110 h 1473560"/>
                  <a:gd name="connsiteX1483" fmla="*/ 1176338 w 3574732"/>
                  <a:gd name="connsiteY1483" fmla="*/ 545825 h 1473560"/>
                  <a:gd name="connsiteX1484" fmla="*/ 1176338 w 3574732"/>
                  <a:gd name="connsiteY1484" fmla="*/ 557255 h 1473560"/>
                  <a:gd name="connsiteX1485" fmla="*/ 1176338 w 3574732"/>
                  <a:gd name="connsiteY1485" fmla="*/ 568685 h 1473560"/>
                  <a:gd name="connsiteX1486" fmla="*/ 1206818 w 3574732"/>
                  <a:gd name="connsiteY1486" fmla="*/ 584878 h 1473560"/>
                  <a:gd name="connsiteX1487" fmla="*/ 1222058 w 3574732"/>
                  <a:gd name="connsiteY1487" fmla="*/ 587735 h 1473560"/>
                  <a:gd name="connsiteX1488" fmla="*/ 1237298 w 3574732"/>
                  <a:gd name="connsiteY1488" fmla="*/ 593450 h 1473560"/>
                  <a:gd name="connsiteX1489" fmla="*/ 1243965 w 3574732"/>
                  <a:gd name="connsiteY1489" fmla="*/ 599165 h 1473560"/>
                  <a:gd name="connsiteX1490" fmla="*/ 1239203 w 3574732"/>
                  <a:gd name="connsiteY1490" fmla="*/ 609643 h 1473560"/>
                  <a:gd name="connsiteX1491" fmla="*/ 1342073 w 3574732"/>
                  <a:gd name="connsiteY1491" fmla="*/ 556303 h 1473560"/>
                  <a:gd name="connsiteX1492" fmla="*/ 1335405 w 3574732"/>
                  <a:gd name="connsiteY1492" fmla="*/ 562970 h 1473560"/>
                  <a:gd name="connsiteX1493" fmla="*/ 1322070 w 3574732"/>
                  <a:gd name="connsiteY1493" fmla="*/ 562970 h 1473560"/>
                  <a:gd name="connsiteX1494" fmla="*/ 1308735 w 3574732"/>
                  <a:gd name="connsiteY1494" fmla="*/ 554398 h 1473560"/>
                  <a:gd name="connsiteX1495" fmla="*/ 1311593 w 3574732"/>
                  <a:gd name="connsiteY1495" fmla="*/ 542015 h 1473560"/>
                  <a:gd name="connsiteX1496" fmla="*/ 1316355 w 3574732"/>
                  <a:gd name="connsiteY1496" fmla="*/ 536300 h 1473560"/>
                  <a:gd name="connsiteX1497" fmla="*/ 1333500 w 3574732"/>
                  <a:gd name="connsiteY1497" fmla="*/ 536300 h 1473560"/>
                  <a:gd name="connsiteX1498" fmla="*/ 1342073 w 3574732"/>
                  <a:gd name="connsiteY1498" fmla="*/ 548683 h 1473560"/>
                  <a:gd name="connsiteX1499" fmla="*/ 1342073 w 3574732"/>
                  <a:gd name="connsiteY1499" fmla="*/ 556303 h 147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Lst>
                <a:rect l="l" t="t" r="r" b="b"/>
                <a:pathLst>
                  <a:path w="3574732" h="1473560">
                    <a:moveTo>
                      <a:pt x="3568065" y="231500"/>
                    </a:moveTo>
                    <a:cubicBezTo>
                      <a:pt x="3568065" y="231500"/>
                      <a:pt x="3568065" y="231500"/>
                      <a:pt x="3562350" y="230548"/>
                    </a:cubicBezTo>
                    <a:cubicBezTo>
                      <a:pt x="3556635" y="229595"/>
                      <a:pt x="3549015" y="230548"/>
                      <a:pt x="3549015" y="230548"/>
                    </a:cubicBezTo>
                    <a:cubicBezTo>
                      <a:pt x="3549015" y="230548"/>
                      <a:pt x="3534728" y="230548"/>
                      <a:pt x="3529965" y="230548"/>
                    </a:cubicBezTo>
                    <a:cubicBezTo>
                      <a:pt x="3525203" y="230548"/>
                      <a:pt x="3516630" y="234358"/>
                      <a:pt x="3511868" y="233405"/>
                    </a:cubicBezTo>
                    <a:cubicBezTo>
                      <a:pt x="3507105" y="232453"/>
                      <a:pt x="3504248" y="231500"/>
                      <a:pt x="3504248" y="231500"/>
                    </a:cubicBezTo>
                    <a:cubicBezTo>
                      <a:pt x="3504248" y="231500"/>
                      <a:pt x="3498533" y="230548"/>
                      <a:pt x="3489960" y="225785"/>
                    </a:cubicBezTo>
                    <a:cubicBezTo>
                      <a:pt x="3481388" y="221023"/>
                      <a:pt x="3489960" y="225785"/>
                      <a:pt x="3489008" y="222928"/>
                    </a:cubicBezTo>
                    <a:cubicBezTo>
                      <a:pt x="3487103" y="220070"/>
                      <a:pt x="3480435" y="214355"/>
                      <a:pt x="3480435" y="214355"/>
                    </a:cubicBezTo>
                    <a:lnTo>
                      <a:pt x="3476625" y="206735"/>
                    </a:lnTo>
                    <a:lnTo>
                      <a:pt x="3462338" y="201973"/>
                    </a:lnTo>
                    <a:lnTo>
                      <a:pt x="3456623" y="198163"/>
                    </a:lnTo>
                    <a:lnTo>
                      <a:pt x="3442335" y="194353"/>
                    </a:lnTo>
                    <a:cubicBezTo>
                      <a:pt x="3442335" y="194353"/>
                      <a:pt x="3442335" y="194353"/>
                      <a:pt x="3441383" y="191495"/>
                    </a:cubicBezTo>
                    <a:cubicBezTo>
                      <a:pt x="3440430" y="188638"/>
                      <a:pt x="3419475" y="185780"/>
                      <a:pt x="3419475" y="185780"/>
                    </a:cubicBezTo>
                    <a:cubicBezTo>
                      <a:pt x="3419475" y="185780"/>
                      <a:pt x="3408998" y="182923"/>
                      <a:pt x="3406140" y="180065"/>
                    </a:cubicBezTo>
                    <a:cubicBezTo>
                      <a:pt x="3403283" y="177208"/>
                      <a:pt x="3389948" y="177208"/>
                      <a:pt x="3389948" y="177208"/>
                    </a:cubicBezTo>
                    <a:cubicBezTo>
                      <a:pt x="3389948" y="177208"/>
                      <a:pt x="3368040" y="175303"/>
                      <a:pt x="3362325" y="172445"/>
                    </a:cubicBezTo>
                    <a:cubicBezTo>
                      <a:pt x="3356610" y="169588"/>
                      <a:pt x="3354705" y="172445"/>
                      <a:pt x="3348990" y="172445"/>
                    </a:cubicBezTo>
                    <a:cubicBezTo>
                      <a:pt x="3343275" y="172445"/>
                      <a:pt x="3340418" y="172445"/>
                      <a:pt x="3334703" y="172445"/>
                    </a:cubicBezTo>
                    <a:cubicBezTo>
                      <a:pt x="3328988" y="172445"/>
                      <a:pt x="3323273" y="172445"/>
                      <a:pt x="3318510" y="172445"/>
                    </a:cubicBezTo>
                    <a:cubicBezTo>
                      <a:pt x="3313748" y="172445"/>
                      <a:pt x="3301365" y="170540"/>
                      <a:pt x="3301365" y="170540"/>
                    </a:cubicBezTo>
                    <a:lnTo>
                      <a:pt x="3277553" y="166730"/>
                    </a:lnTo>
                    <a:lnTo>
                      <a:pt x="3255645" y="168635"/>
                    </a:lnTo>
                    <a:lnTo>
                      <a:pt x="3247073" y="170540"/>
                    </a:lnTo>
                    <a:lnTo>
                      <a:pt x="3244215" y="184828"/>
                    </a:lnTo>
                    <a:lnTo>
                      <a:pt x="3238500" y="185780"/>
                    </a:lnTo>
                    <a:cubicBezTo>
                      <a:pt x="3238500" y="185780"/>
                      <a:pt x="3222308" y="184828"/>
                      <a:pt x="3219450" y="180065"/>
                    </a:cubicBezTo>
                    <a:cubicBezTo>
                      <a:pt x="3216593" y="175303"/>
                      <a:pt x="3219450" y="180065"/>
                      <a:pt x="3221355" y="172445"/>
                    </a:cubicBezTo>
                    <a:lnTo>
                      <a:pt x="3218498" y="162920"/>
                    </a:lnTo>
                    <a:lnTo>
                      <a:pt x="3197543" y="162920"/>
                    </a:lnTo>
                    <a:cubicBezTo>
                      <a:pt x="3197543" y="162920"/>
                      <a:pt x="3189923" y="164825"/>
                      <a:pt x="3176588" y="166730"/>
                    </a:cubicBezTo>
                    <a:cubicBezTo>
                      <a:pt x="3163253" y="168635"/>
                      <a:pt x="3176588" y="166730"/>
                      <a:pt x="3168015" y="168635"/>
                    </a:cubicBezTo>
                    <a:cubicBezTo>
                      <a:pt x="3159443" y="170540"/>
                      <a:pt x="3157538" y="169588"/>
                      <a:pt x="3148965" y="169588"/>
                    </a:cubicBezTo>
                    <a:cubicBezTo>
                      <a:pt x="3140393" y="169588"/>
                      <a:pt x="3138488" y="169588"/>
                      <a:pt x="3138488" y="169588"/>
                    </a:cubicBezTo>
                    <a:cubicBezTo>
                      <a:pt x="3138488" y="169588"/>
                      <a:pt x="3125153" y="169588"/>
                      <a:pt x="3098483" y="168635"/>
                    </a:cubicBezTo>
                    <a:cubicBezTo>
                      <a:pt x="3071813" y="167683"/>
                      <a:pt x="3082290" y="167683"/>
                      <a:pt x="3076575" y="165778"/>
                    </a:cubicBezTo>
                    <a:cubicBezTo>
                      <a:pt x="3070860" y="163873"/>
                      <a:pt x="3070860" y="161968"/>
                      <a:pt x="3063240" y="157205"/>
                    </a:cubicBezTo>
                    <a:cubicBezTo>
                      <a:pt x="3055620" y="152443"/>
                      <a:pt x="3055620" y="150538"/>
                      <a:pt x="3055620" y="150538"/>
                    </a:cubicBezTo>
                    <a:lnTo>
                      <a:pt x="3049905" y="147680"/>
                    </a:lnTo>
                    <a:lnTo>
                      <a:pt x="3016568" y="147680"/>
                    </a:lnTo>
                    <a:lnTo>
                      <a:pt x="3002280" y="147680"/>
                    </a:lnTo>
                    <a:cubicBezTo>
                      <a:pt x="3002280" y="147680"/>
                      <a:pt x="2986088" y="147680"/>
                      <a:pt x="2980373" y="144823"/>
                    </a:cubicBezTo>
                    <a:cubicBezTo>
                      <a:pt x="2974658" y="141965"/>
                      <a:pt x="2963228" y="144823"/>
                      <a:pt x="2952750" y="141965"/>
                    </a:cubicBezTo>
                    <a:cubicBezTo>
                      <a:pt x="2942273" y="139108"/>
                      <a:pt x="2942273" y="139108"/>
                      <a:pt x="2938463" y="137203"/>
                    </a:cubicBezTo>
                    <a:cubicBezTo>
                      <a:pt x="2933700" y="135298"/>
                      <a:pt x="2929890" y="136250"/>
                      <a:pt x="2919413" y="131488"/>
                    </a:cubicBezTo>
                    <a:cubicBezTo>
                      <a:pt x="2908935" y="126725"/>
                      <a:pt x="2919413" y="131488"/>
                      <a:pt x="2913698" y="129583"/>
                    </a:cubicBezTo>
                    <a:cubicBezTo>
                      <a:pt x="2907983" y="127678"/>
                      <a:pt x="2892743" y="128630"/>
                      <a:pt x="2892743" y="128630"/>
                    </a:cubicBezTo>
                    <a:cubicBezTo>
                      <a:pt x="2892743" y="128630"/>
                      <a:pt x="2878455" y="128630"/>
                      <a:pt x="2873693" y="126725"/>
                    </a:cubicBezTo>
                    <a:cubicBezTo>
                      <a:pt x="2868930" y="124820"/>
                      <a:pt x="2873693" y="126725"/>
                      <a:pt x="2868930" y="124820"/>
                    </a:cubicBezTo>
                    <a:cubicBezTo>
                      <a:pt x="2864168" y="122915"/>
                      <a:pt x="2861310" y="123868"/>
                      <a:pt x="2851785" y="120058"/>
                    </a:cubicBezTo>
                    <a:cubicBezTo>
                      <a:pt x="2841308" y="116248"/>
                      <a:pt x="2840355" y="120058"/>
                      <a:pt x="2834640" y="115295"/>
                    </a:cubicBezTo>
                    <a:cubicBezTo>
                      <a:pt x="2828925" y="110533"/>
                      <a:pt x="2821305" y="114343"/>
                      <a:pt x="2817495" y="113390"/>
                    </a:cubicBezTo>
                    <a:cubicBezTo>
                      <a:pt x="2812733" y="112438"/>
                      <a:pt x="2806065" y="112438"/>
                      <a:pt x="2800350" y="112438"/>
                    </a:cubicBezTo>
                    <a:cubicBezTo>
                      <a:pt x="2794635" y="112438"/>
                      <a:pt x="2789873" y="114343"/>
                      <a:pt x="2785110" y="114343"/>
                    </a:cubicBezTo>
                    <a:cubicBezTo>
                      <a:pt x="2780348" y="114343"/>
                      <a:pt x="2767965" y="113390"/>
                      <a:pt x="2761298" y="113390"/>
                    </a:cubicBezTo>
                    <a:cubicBezTo>
                      <a:pt x="2755583" y="113390"/>
                      <a:pt x="2749868" y="113390"/>
                      <a:pt x="2740343" y="113390"/>
                    </a:cubicBezTo>
                    <a:cubicBezTo>
                      <a:pt x="2731770" y="113390"/>
                      <a:pt x="2718435" y="121963"/>
                      <a:pt x="2718435" y="121963"/>
                    </a:cubicBezTo>
                    <a:cubicBezTo>
                      <a:pt x="2718435" y="121963"/>
                      <a:pt x="2718435" y="121963"/>
                      <a:pt x="2713673" y="121963"/>
                    </a:cubicBezTo>
                    <a:cubicBezTo>
                      <a:pt x="2708910" y="121963"/>
                      <a:pt x="2708910" y="126725"/>
                      <a:pt x="2708910" y="126725"/>
                    </a:cubicBezTo>
                    <a:lnTo>
                      <a:pt x="2704148" y="133393"/>
                    </a:lnTo>
                    <a:lnTo>
                      <a:pt x="2692718" y="133393"/>
                    </a:lnTo>
                    <a:lnTo>
                      <a:pt x="2676525" y="133393"/>
                    </a:lnTo>
                    <a:lnTo>
                      <a:pt x="2654618" y="133393"/>
                    </a:lnTo>
                    <a:lnTo>
                      <a:pt x="2646998" y="139108"/>
                    </a:lnTo>
                    <a:cubicBezTo>
                      <a:pt x="2646998" y="139108"/>
                      <a:pt x="2639378" y="140060"/>
                      <a:pt x="2635568" y="140060"/>
                    </a:cubicBezTo>
                    <a:cubicBezTo>
                      <a:pt x="2630805" y="140060"/>
                      <a:pt x="2616518" y="140060"/>
                      <a:pt x="2616518" y="140060"/>
                    </a:cubicBezTo>
                    <a:cubicBezTo>
                      <a:pt x="2616518" y="140060"/>
                      <a:pt x="2610803" y="139108"/>
                      <a:pt x="2606040" y="133393"/>
                    </a:cubicBezTo>
                    <a:cubicBezTo>
                      <a:pt x="2602230" y="127678"/>
                      <a:pt x="2606040" y="133393"/>
                      <a:pt x="2606040" y="130535"/>
                    </a:cubicBezTo>
                    <a:cubicBezTo>
                      <a:pt x="2606040" y="127678"/>
                      <a:pt x="2597468" y="128630"/>
                      <a:pt x="2597468" y="128630"/>
                    </a:cubicBezTo>
                    <a:lnTo>
                      <a:pt x="2586038" y="128630"/>
                    </a:lnTo>
                    <a:lnTo>
                      <a:pt x="2578418" y="132440"/>
                    </a:lnTo>
                    <a:lnTo>
                      <a:pt x="2572703" y="141965"/>
                    </a:lnTo>
                    <a:lnTo>
                      <a:pt x="2562225" y="141965"/>
                    </a:lnTo>
                    <a:cubicBezTo>
                      <a:pt x="2562225" y="141965"/>
                      <a:pt x="2548890" y="140060"/>
                      <a:pt x="2545080" y="139108"/>
                    </a:cubicBezTo>
                    <a:cubicBezTo>
                      <a:pt x="2540318" y="138155"/>
                      <a:pt x="2533650" y="135298"/>
                      <a:pt x="2530793" y="130535"/>
                    </a:cubicBezTo>
                    <a:cubicBezTo>
                      <a:pt x="2527935" y="125773"/>
                      <a:pt x="2527935" y="124820"/>
                      <a:pt x="2527935" y="117200"/>
                    </a:cubicBezTo>
                    <a:cubicBezTo>
                      <a:pt x="2527935" y="109580"/>
                      <a:pt x="2526983" y="109580"/>
                      <a:pt x="2526983" y="109580"/>
                    </a:cubicBezTo>
                    <a:lnTo>
                      <a:pt x="2521268" y="104818"/>
                    </a:lnTo>
                    <a:lnTo>
                      <a:pt x="2506980" y="100055"/>
                    </a:lnTo>
                    <a:lnTo>
                      <a:pt x="2499360" y="98150"/>
                    </a:lnTo>
                    <a:lnTo>
                      <a:pt x="2480310" y="95293"/>
                    </a:lnTo>
                    <a:lnTo>
                      <a:pt x="2450783" y="94340"/>
                    </a:lnTo>
                    <a:lnTo>
                      <a:pt x="2443163" y="97198"/>
                    </a:lnTo>
                    <a:lnTo>
                      <a:pt x="2430780" y="104818"/>
                    </a:lnTo>
                    <a:cubicBezTo>
                      <a:pt x="2430780" y="104818"/>
                      <a:pt x="2430780" y="104818"/>
                      <a:pt x="2426018" y="103865"/>
                    </a:cubicBezTo>
                    <a:cubicBezTo>
                      <a:pt x="2421255" y="102913"/>
                      <a:pt x="2412683" y="104818"/>
                      <a:pt x="2407920" y="103865"/>
                    </a:cubicBezTo>
                    <a:cubicBezTo>
                      <a:pt x="2403158" y="102913"/>
                      <a:pt x="2396490" y="102913"/>
                      <a:pt x="2391728" y="101008"/>
                    </a:cubicBezTo>
                    <a:cubicBezTo>
                      <a:pt x="2386965" y="99103"/>
                      <a:pt x="2375535" y="96245"/>
                      <a:pt x="2375535" y="96245"/>
                    </a:cubicBezTo>
                    <a:cubicBezTo>
                      <a:pt x="2375535" y="96245"/>
                      <a:pt x="2375535" y="96245"/>
                      <a:pt x="2370773" y="93388"/>
                    </a:cubicBezTo>
                    <a:cubicBezTo>
                      <a:pt x="2366010" y="90530"/>
                      <a:pt x="2365058" y="91483"/>
                      <a:pt x="2359343" y="90530"/>
                    </a:cubicBezTo>
                    <a:cubicBezTo>
                      <a:pt x="2353628" y="89578"/>
                      <a:pt x="2351723" y="91483"/>
                      <a:pt x="2347913" y="90530"/>
                    </a:cubicBezTo>
                    <a:cubicBezTo>
                      <a:pt x="2343150" y="89578"/>
                      <a:pt x="2339340" y="90530"/>
                      <a:pt x="2339340" y="90530"/>
                    </a:cubicBezTo>
                    <a:lnTo>
                      <a:pt x="2328863" y="90530"/>
                    </a:lnTo>
                    <a:lnTo>
                      <a:pt x="2314575" y="91483"/>
                    </a:lnTo>
                    <a:cubicBezTo>
                      <a:pt x="2314575" y="91483"/>
                      <a:pt x="2308860" y="91483"/>
                      <a:pt x="2304098" y="91483"/>
                    </a:cubicBezTo>
                    <a:cubicBezTo>
                      <a:pt x="2299335" y="91483"/>
                      <a:pt x="2298383" y="91483"/>
                      <a:pt x="2292668" y="91483"/>
                    </a:cubicBezTo>
                    <a:cubicBezTo>
                      <a:pt x="2286953" y="91483"/>
                      <a:pt x="2279333" y="88625"/>
                      <a:pt x="2279333" y="88625"/>
                    </a:cubicBezTo>
                    <a:cubicBezTo>
                      <a:pt x="2279333" y="88625"/>
                      <a:pt x="2267903" y="88625"/>
                      <a:pt x="2262188" y="85768"/>
                    </a:cubicBezTo>
                    <a:cubicBezTo>
                      <a:pt x="2256473" y="82910"/>
                      <a:pt x="2237423" y="84815"/>
                      <a:pt x="2237423" y="84815"/>
                    </a:cubicBezTo>
                    <a:cubicBezTo>
                      <a:pt x="2237423" y="84815"/>
                      <a:pt x="2237423" y="84815"/>
                      <a:pt x="2232660" y="82910"/>
                    </a:cubicBezTo>
                    <a:cubicBezTo>
                      <a:pt x="2227898" y="81005"/>
                      <a:pt x="2225040" y="82910"/>
                      <a:pt x="2225040" y="82910"/>
                    </a:cubicBezTo>
                    <a:lnTo>
                      <a:pt x="2213610" y="85768"/>
                    </a:lnTo>
                    <a:cubicBezTo>
                      <a:pt x="2213610" y="85768"/>
                      <a:pt x="2197418" y="91483"/>
                      <a:pt x="2189798" y="94340"/>
                    </a:cubicBezTo>
                    <a:cubicBezTo>
                      <a:pt x="2189798" y="94340"/>
                      <a:pt x="2176463" y="94340"/>
                      <a:pt x="2170748" y="95293"/>
                    </a:cubicBezTo>
                    <a:cubicBezTo>
                      <a:pt x="2165033" y="96245"/>
                      <a:pt x="2163128" y="97198"/>
                      <a:pt x="2159318" y="99103"/>
                    </a:cubicBezTo>
                    <a:cubicBezTo>
                      <a:pt x="2154555" y="101008"/>
                      <a:pt x="2148840" y="104818"/>
                      <a:pt x="2141220" y="104818"/>
                    </a:cubicBezTo>
                    <a:cubicBezTo>
                      <a:pt x="2133600" y="104818"/>
                      <a:pt x="2141220" y="104818"/>
                      <a:pt x="2127885" y="103865"/>
                    </a:cubicBezTo>
                    <a:cubicBezTo>
                      <a:pt x="2114550" y="102913"/>
                      <a:pt x="2117408" y="101008"/>
                      <a:pt x="2117408" y="101008"/>
                    </a:cubicBezTo>
                    <a:lnTo>
                      <a:pt x="2123123" y="96245"/>
                    </a:lnTo>
                    <a:cubicBezTo>
                      <a:pt x="2123123" y="96245"/>
                      <a:pt x="2144078" y="93388"/>
                      <a:pt x="2146935" y="90530"/>
                    </a:cubicBezTo>
                    <a:cubicBezTo>
                      <a:pt x="2149793" y="87673"/>
                      <a:pt x="2157413" y="86720"/>
                      <a:pt x="2162175" y="84815"/>
                    </a:cubicBezTo>
                    <a:cubicBezTo>
                      <a:pt x="2166938" y="82910"/>
                      <a:pt x="2167890" y="84815"/>
                      <a:pt x="2170748" y="81958"/>
                    </a:cubicBezTo>
                    <a:cubicBezTo>
                      <a:pt x="2173605" y="79100"/>
                      <a:pt x="2192655" y="75290"/>
                      <a:pt x="2194560" y="67670"/>
                    </a:cubicBezTo>
                    <a:cubicBezTo>
                      <a:pt x="2194560" y="67670"/>
                      <a:pt x="2200275" y="67670"/>
                      <a:pt x="2205038" y="67670"/>
                    </a:cubicBezTo>
                    <a:cubicBezTo>
                      <a:pt x="2209800" y="67670"/>
                      <a:pt x="2216468" y="67670"/>
                      <a:pt x="2222183" y="67670"/>
                    </a:cubicBezTo>
                    <a:cubicBezTo>
                      <a:pt x="2227898" y="67670"/>
                      <a:pt x="2241233" y="67670"/>
                      <a:pt x="2241233" y="67670"/>
                    </a:cubicBezTo>
                    <a:lnTo>
                      <a:pt x="2265045" y="61955"/>
                    </a:lnTo>
                    <a:lnTo>
                      <a:pt x="2266950" y="55288"/>
                    </a:lnTo>
                    <a:cubicBezTo>
                      <a:pt x="2266950" y="55288"/>
                      <a:pt x="2268855" y="51478"/>
                      <a:pt x="2265998" y="45763"/>
                    </a:cubicBezTo>
                    <a:cubicBezTo>
                      <a:pt x="2263140" y="40048"/>
                      <a:pt x="2263140" y="38143"/>
                      <a:pt x="2263140" y="38143"/>
                    </a:cubicBezTo>
                    <a:lnTo>
                      <a:pt x="2257425" y="25760"/>
                    </a:lnTo>
                    <a:lnTo>
                      <a:pt x="2241233" y="22903"/>
                    </a:lnTo>
                    <a:lnTo>
                      <a:pt x="2225040" y="19093"/>
                    </a:lnTo>
                    <a:cubicBezTo>
                      <a:pt x="2225040" y="19093"/>
                      <a:pt x="2225040" y="19093"/>
                      <a:pt x="2216468" y="19093"/>
                    </a:cubicBezTo>
                    <a:cubicBezTo>
                      <a:pt x="2207895" y="19093"/>
                      <a:pt x="2216468" y="19093"/>
                      <a:pt x="2211705" y="18140"/>
                    </a:cubicBezTo>
                    <a:cubicBezTo>
                      <a:pt x="2206943" y="17188"/>
                      <a:pt x="2201228" y="20045"/>
                      <a:pt x="2195513" y="19093"/>
                    </a:cubicBezTo>
                    <a:cubicBezTo>
                      <a:pt x="2189798" y="18140"/>
                      <a:pt x="2182178" y="17188"/>
                      <a:pt x="2182178" y="17188"/>
                    </a:cubicBezTo>
                    <a:cubicBezTo>
                      <a:pt x="2182178" y="17188"/>
                      <a:pt x="2170748" y="17188"/>
                      <a:pt x="2161223" y="16235"/>
                    </a:cubicBezTo>
                    <a:cubicBezTo>
                      <a:pt x="2161223" y="16235"/>
                      <a:pt x="2146935" y="17188"/>
                      <a:pt x="2142173" y="16235"/>
                    </a:cubicBezTo>
                    <a:cubicBezTo>
                      <a:pt x="2137410" y="15283"/>
                      <a:pt x="2134553" y="16235"/>
                      <a:pt x="2131695" y="13378"/>
                    </a:cubicBezTo>
                    <a:cubicBezTo>
                      <a:pt x="2128838" y="10520"/>
                      <a:pt x="2130743" y="1948"/>
                      <a:pt x="2130743" y="1948"/>
                    </a:cubicBezTo>
                    <a:lnTo>
                      <a:pt x="2120265" y="995"/>
                    </a:lnTo>
                    <a:lnTo>
                      <a:pt x="2093595" y="1948"/>
                    </a:lnTo>
                    <a:lnTo>
                      <a:pt x="2074545" y="995"/>
                    </a:lnTo>
                    <a:cubicBezTo>
                      <a:pt x="2074545" y="995"/>
                      <a:pt x="2061210" y="995"/>
                      <a:pt x="2057400" y="43"/>
                    </a:cubicBezTo>
                    <a:cubicBezTo>
                      <a:pt x="2052638" y="-910"/>
                      <a:pt x="2052638" y="14330"/>
                      <a:pt x="2052638" y="14330"/>
                    </a:cubicBezTo>
                    <a:lnTo>
                      <a:pt x="2052638" y="19093"/>
                    </a:lnTo>
                    <a:lnTo>
                      <a:pt x="2049780" y="22903"/>
                    </a:lnTo>
                    <a:cubicBezTo>
                      <a:pt x="2049780" y="22903"/>
                      <a:pt x="2042160" y="25760"/>
                      <a:pt x="2038350" y="27665"/>
                    </a:cubicBezTo>
                    <a:cubicBezTo>
                      <a:pt x="2033588" y="29570"/>
                      <a:pt x="2026920" y="31475"/>
                      <a:pt x="2026920" y="31475"/>
                    </a:cubicBezTo>
                    <a:lnTo>
                      <a:pt x="2010728" y="33380"/>
                    </a:lnTo>
                    <a:lnTo>
                      <a:pt x="1985963" y="36238"/>
                    </a:lnTo>
                    <a:cubicBezTo>
                      <a:pt x="1985963" y="36238"/>
                      <a:pt x="1985963" y="36238"/>
                      <a:pt x="1981200" y="35285"/>
                    </a:cubicBezTo>
                    <a:cubicBezTo>
                      <a:pt x="1976438" y="34333"/>
                      <a:pt x="1960245" y="34333"/>
                      <a:pt x="1960245" y="34333"/>
                    </a:cubicBezTo>
                    <a:lnTo>
                      <a:pt x="1949768" y="34333"/>
                    </a:lnTo>
                    <a:lnTo>
                      <a:pt x="1939290" y="35285"/>
                    </a:lnTo>
                    <a:lnTo>
                      <a:pt x="1918335" y="39095"/>
                    </a:lnTo>
                    <a:lnTo>
                      <a:pt x="1897380" y="42905"/>
                    </a:lnTo>
                    <a:lnTo>
                      <a:pt x="1873568" y="46715"/>
                    </a:lnTo>
                    <a:lnTo>
                      <a:pt x="1855470" y="47668"/>
                    </a:lnTo>
                    <a:cubicBezTo>
                      <a:pt x="1855470" y="47668"/>
                      <a:pt x="1855470" y="47668"/>
                      <a:pt x="1850708" y="47668"/>
                    </a:cubicBezTo>
                    <a:cubicBezTo>
                      <a:pt x="1845945" y="47668"/>
                      <a:pt x="1825943" y="54335"/>
                      <a:pt x="1825943" y="54335"/>
                    </a:cubicBezTo>
                    <a:lnTo>
                      <a:pt x="1812608" y="58145"/>
                    </a:lnTo>
                    <a:cubicBezTo>
                      <a:pt x="1812608" y="58145"/>
                      <a:pt x="1807845" y="65765"/>
                      <a:pt x="1804035" y="65765"/>
                    </a:cubicBezTo>
                    <a:cubicBezTo>
                      <a:pt x="1799273" y="65765"/>
                      <a:pt x="1795463" y="74338"/>
                      <a:pt x="1795463" y="74338"/>
                    </a:cubicBezTo>
                    <a:lnTo>
                      <a:pt x="1786890" y="76243"/>
                    </a:lnTo>
                    <a:cubicBezTo>
                      <a:pt x="1786890" y="76243"/>
                      <a:pt x="1775460" y="80053"/>
                      <a:pt x="1770698" y="80053"/>
                    </a:cubicBezTo>
                    <a:cubicBezTo>
                      <a:pt x="1765935" y="80053"/>
                      <a:pt x="1763078" y="85768"/>
                      <a:pt x="1755458" y="86720"/>
                    </a:cubicBezTo>
                    <a:cubicBezTo>
                      <a:pt x="1747838" y="87673"/>
                      <a:pt x="1733550" y="87673"/>
                      <a:pt x="1728788" y="87673"/>
                    </a:cubicBezTo>
                    <a:cubicBezTo>
                      <a:pt x="1724025" y="87673"/>
                      <a:pt x="1721168" y="87673"/>
                      <a:pt x="1721168" y="87673"/>
                    </a:cubicBezTo>
                    <a:lnTo>
                      <a:pt x="1712595" y="88625"/>
                    </a:lnTo>
                    <a:lnTo>
                      <a:pt x="1709738" y="93388"/>
                    </a:lnTo>
                    <a:lnTo>
                      <a:pt x="1704975" y="102913"/>
                    </a:lnTo>
                    <a:lnTo>
                      <a:pt x="1704975" y="108628"/>
                    </a:lnTo>
                    <a:lnTo>
                      <a:pt x="1703070" y="115295"/>
                    </a:lnTo>
                    <a:lnTo>
                      <a:pt x="1701165" y="123868"/>
                    </a:lnTo>
                    <a:lnTo>
                      <a:pt x="1698308" y="127678"/>
                    </a:lnTo>
                    <a:lnTo>
                      <a:pt x="1675448" y="121010"/>
                    </a:lnTo>
                    <a:lnTo>
                      <a:pt x="1674495" y="114343"/>
                    </a:lnTo>
                    <a:lnTo>
                      <a:pt x="1666875" y="111485"/>
                    </a:lnTo>
                    <a:cubicBezTo>
                      <a:pt x="1666875" y="111485"/>
                      <a:pt x="1658303" y="111485"/>
                      <a:pt x="1652588" y="111485"/>
                    </a:cubicBezTo>
                    <a:cubicBezTo>
                      <a:pt x="1646873" y="111485"/>
                      <a:pt x="1644968" y="111485"/>
                      <a:pt x="1644968" y="111485"/>
                    </a:cubicBezTo>
                    <a:lnTo>
                      <a:pt x="1637348" y="121963"/>
                    </a:lnTo>
                    <a:cubicBezTo>
                      <a:pt x="1637348" y="121963"/>
                      <a:pt x="1637348" y="121963"/>
                      <a:pt x="1626870" y="124820"/>
                    </a:cubicBezTo>
                    <a:cubicBezTo>
                      <a:pt x="1626870" y="124820"/>
                      <a:pt x="1626870" y="124820"/>
                      <a:pt x="1626870" y="127678"/>
                    </a:cubicBezTo>
                    <a:cubicBezTo>
                      <a:pt x="1626870" y="130535"/>
                      <a:pt x="1624013" y="133393"/>
                      <a:pt x="1624013" y="133393"/>
                    </a:cubicBezTo>
                    <a:lnTo>
                      <a:pt x="1609725" y="130535"/>
                    </a:lnTo>
                    <a:cubicBezTo>
                      <a:pt x="1609725" y="130535"/>
                      <a:pt x="1606868" y="125773"/>
                      <a:pt x="1605915" y="120058"/>
                    </a:cubicBezTo>
                    <a:cubicBezTo>
                      <a:pt x="1604963" y="114343"/>
                      <a:pt x="1607820" y="113390"/>
                      <a:pt x="1607820" y="109580"/>
                    </a:cubicBezTo>
                    <a:cubicBezTo>
                      <a:pt x="1607820" y="105770"/>
                      <a:pt x="1606868" y="103865"/>
                      <a:pt x="1606868" y="103865"/>
                    </a:cubicBezTo>
                    <a:lnTo>
                      <a:pt x="1599248" y="111485"/>
                    </a:lnTo>
                    <a:cubicBezTo>
                      <a:pt x="1599248" y="111485"/>
                      <a:pt x="1590675" y="118153"/>
                      <a:pt x="1584008" y="119105"/>
                    </a:cubicBezTo>
                    <a:cubicBezTo>
                      <a:pt x="1578293" y="120058"/>
                      <a:pt x="1575435" y="128630"/>
                      <a:pt x="1575435" y="128630"/>
                    </a:cubicBezTo>
                    <a:lnTo>
                      <a:pt x="1572578" y="133393"/>
                    </a:lnTo>
                    <a:lnTo>
                      <a:pt x="1572578" y="146728"/>
                    </a:lnTo>
                    <a:lnTo>
                      <a:pt x="1585913" y="154348"/>
                    </a:lnTo>
                    <a:lnTo>
                      <a:pt x="1591628" y="157205"/>
                    </a:lnTo>
                    <a:lnTo>
                      <a:pt x="1592580" y="162920"/>
                    </a:lnTo>
                    <a:lnTo>
                      <a:pt x="1589723" y="168635"/>
                    </a:lnTo>
                    <a:lnTo>
                      <a:pt x="1587818" y="177208"/>
                    </a:lnTo>
                    <a:lnTo>
                      <a:pt x="1593533" y="177208"/>
                    </a:lnTo>
                    <a:lnTo>
                      <a:pt x="1604010" y="180065"/>
                    </a:lnTo>
                    <a:lnTo>
                      <a:pt x="1602105" y="184828"/>
                    </a:lnTo>
                    <a:lnTo>
                      <a:pt x="1599248" y="191495"/>
                    </a:lnTo>
                    <a:lnTo>
                      <a:pt x="1589723" y="202925"/>
                    </a:lnTo>
                    <a:lnTo>
                      <a:pt x="1584008" y="208640"/>
                    </a:lnTo>
                    <a:lnTo>
                      <a:pt x="1579245" y="213403"/>
                    </a:lnTo>
                    <a:cubicBezTo>
                      <a:pt x="1579245" y="213403"/>
                      <a:pt x="1579245" y="213403"/>
                      <a:pt x="1574483" y="215308"/>
                    </a:cubicBezTo>
                    <a:cubicBezTo>
                      <a:pt x="1569720" y="217213"/>
                      <a:pt x="1564005" y="225785"/>
                      <a:pt x="1564005" y="225785"/>
                    </a:cubicBezTo>
                    <a:lnTo>
                      <a:pt x="1555433" y="229595"/>
                    </a:lnTo>
                    <a:lnTo>
                      <a:pt x="1542098" y="234358"/>
                    </a:lnTo>
                    <a:lnTo>
                      <a:pt x="1537335" y="239120"/>
                    </a:lnTo>
                    <a:cubicBezTo>
                      <a:pt x="1537335" y="239120"/>
                      <a:pt x="1531620" y="241978"/>
                      <a:pt x="1526858" y="241025"/>
                    </a:cubicBezTo>
                    <a:cubicBezTo>
                      <a:pt x="1522095" y="240073"/>
                      <a:pt x="1521143" y="237215"/>
                      <a:pt x="1521143" y="237215"/>
                    </a:cubicBezTo>
                    <a:lnTo>
                      <a:pt x="1525905" y="232453"/>
                    </a:lnTo>
                    <a:lnTo>
                      <a:pt x="1539240" y="225785"/>
                    </a:lnTo>
                    <a:cubicBezTo>
                      <a:pt x="1539240" y="225785"/>
                      <a:pt x="1546860" y="223880"/>
                      <a:pt x="1552575" y="218165"/>
                    </a:cubicBezTo>
                    <a:cubicBezTo>
                      <a:pt x="1552575" y="218165"/>
                      <a:pt x="1560195" y="209593"/>
                      <a:pt x="1560195" y="206735"/>
                    </a:cubicBezTo>
                    <a:cubicBezTo>
                      <a:pt x="1560195" y="203878"/>
                      <a:pt x="1563053" y="198163"/>
                      <a:pt x="1563053" y="198163"/>
                    </a:cubicBezTo>
                    <a:lnTo>
                      <a:pt x="1562100" y="193400"/>
                    </a:lnTo>
                    <a:lnTo>
                      <a:pt x="1561148" y="186733"/>
                    </a:lnTo>
                    <a:lnTo>
                      <a:pt x="1558290" y="176255"/>
                    </a:lnTo>
                    <a:lnTo>
                      <a:pt x="1561148" y="166730"/>
                    </a:lnTo>
                    <a:cubicBezTo>
                      <a:pt x="1561148" y="166730"/>
                      <a:pt x="1561148" y="166730"/>
                      <a:pt x="1554480" y="156253"/>
                    </a:cubicBezTo>
                    <a:cubicBezTo>
                      <a:pt x="1547813" y="145775"/>
                      <a:pt x="1557338" y="147680"/>
                      <a:pt x="1557338" y="144823"/>
                    </a:cubicBezTo>
                    <a:cubicBezTo>
                      <a:pt x="1557338" y="141965"/>
                      <a:pt x="1550670" y="133393"/>
                      <a:pt x="1550670" y="130535"/>
                    </a:cubicBezTo>
                    <a:cubicBezTo>
                      <a:pt x="1550670" y="127678"/>
                      <a:pt x="1553528" y="122915"/>
                      <a:pt x="1553528" y="122915"/>
                    </a:cubicBezTo>
                    <a:cubicBezTo>
                      <a:pt x="1553528" y="122915"/>
                      <a:pt x="1559243" y="119105"/>
                      <a:pt x="1558290" y="116248"/>
                    </a:cubicBezTo>
                    <a:cubicBezTo>
                      <a:pt x="1557338" y="113390"/>
                      <a:pt x="1560195" y="110533"/>
                      <a:pt x="1557338" y="107675"/>
                    </a:cubicBezTo>
                    <a:cubicBezTo>
                      <a:pt x="1554480" y="104818"/>
                      <a:pt x="1549718" y="104818"/>
                      <a:pt x="1549718" y="104818"/>
                    </a:cubicBezTo>
                    <a:cubicBezTo>
                      <a:pt x="1549718" y="104818"/>
                      <a:pt x="1536383" y="104818"/>
                      <a:pt x="1525905" y="104818"/>
                    </a:cubicBezTo>
                    <a:lnTo>
                      <a:pt x="1517333" y="107675"/>
                    </a:lnTo>
                    <a:cubicBezTo>
                      <a:pt x="1517333" y="107675"/>
                      <a:pt x="1511618" y="109580"/>
                      <a:pt x="1505903" y="110533"/>
                    </a:cubicBezTo>
                    <a:cubicBezTo>
                      <a:pt x="1500188" y="111485"/>
                      <a:pt x="1501140" y="116248"/>
                      <a:pt x="1501140" y="116248"/>
                    </a:cubicBezTo>
                    <a:cubicBezTo>
                      <a:pt x="1501140" y="116248"/>
                      <a:pt x="1493520" y="122915"/>
                      <a:pt x="1485900" y="128630"/>
                    </a:cubicBezTo>
                    <a:cubicBezTo>
                      <a:pt x="1478280" y="134345"/>
                      <a:pt x="1485900" y="128630"/>
                      <a:pt x="1477328" y="130535"/>
                    </a:cubicBezTo>
                    <a:lnTo>
                      <a:pt x="1469708" y="141013"/>
                    </a:lnTo>
                    <a:lnTo>
                      <a:pt x="1462088" y="150538"/>
                    </a:lnTo>
                    <a:lnTo>
                      <a:pt x="1463040" y="162920"/>
                    </a:lnTo>
                    <a:lnTo>
                      <a:pt x="1471613" y="165778"/>
                    </a:lnTo>
                    <a:lnTo>
                      <a:pt x="1474470" y="174350"/>
                    </a:lnTo>
                    <a:lnTo>
                      <a:pt x="1478280" y="181018"/>
                    </a:lnTo>
                    <a:lnTo>
                      <a:pt x="1483043" y="184828"/>
                    </a:lnTo>
                    <a:lnTo>
                      <a:pt x="1497330" y="188638"/>
                    </a:lnTo>
                    <a:lnTo>
                      <a:pt x="1497330" y="175303"/>
                    </a:lnTo>
                    <a:lnTo>
                      <a:pt x="1495425" y="179113"/>
                    </a:lnTo>
                    <a:lnTo>
                      <a:pt x="1479233" y="177208"/>
                    </a:lnTo>
                    <a:cubicBezTo>
                      <a:pt x="1479233" y="177208"/>
                      <a:pt x="1470660" y="177208"/>
                      <a:pt x="1465898" y="175303"/>
                    </a:cubicBezTo>
                    <a:cubicBezTo>
                      <a:pt x="1461135" y="173398"/>
                      <a:pt x="1458278" y="172445"/>
                      <a:pt x="1455420" y="169588"/>
                    </a:cubicBezTo>
                    <a:cubicBezTo>
                      <a:pt x="1452563" y="166730"/>
                      <a:pt x="1449705" y="164825"/>
                      <a:pt x="1449705" y="164825"/>
                    </a:cubicBezTo>
                    <a:lnTo>
                      <a:pt x="1441133" y="159110"/>
                    </a:lnTo>
                    <a:cubicBezTo>
                      <a:pt x="1441133" y="159110"/>
                      <a:pt x="1432560" y="157205"/>
                      <a:pt x="1427798" y="155300"/>
                    </a:cubicBezTo>
                    <a:cubicBezTo>
                      <a:pt x="1423035" y="153395"/>
                      <a:pt x="1411605" y="154348"/>
                      <a:pt x="1403033" y="150538"/>
                    </a:cubicBezTo>
                    <a:lnTo>
                      <a:pt x="1394460" y="150538"/>
                    </a:lnTo>
                    <a:lnTo>
                      <a:pt x="1383983" y="149585"/>
                    </a:lnTo>
                    <a:lnTo>
                      <a:pt x="1369695" y="148633"/>
                    </a:lnTo>
                    <a:cubicBezTo>
                      <a:pt x="1369695" y="148633"/>
                      <a:pt x="1355408" y="145775"/>
                      <a:pt x="1348740" y="144823"/>
                    </a:cubicBezTo>
                    <a:cubicBezTo>
                      <a:pt x="1343025" y="143870"/>
                      <a:pt x="1341120" y="141013"/>
                      <a:pt x="1341120" y="141013"/>
                    </a:cubicBezTo>
                    <a:lnTo>
                      <a:pt x="1330643" y="141013"/>
                    </a:lnTo>
                    <a:lnTo>
                      <a:pt x="1327785" y="147680"/>
                    </a:lnTo>
                    <a:lnTo>
                      <a:pt x="1338263" y="152443"/>
                    </a:lnTo>
                    <a:lnTo>
                      <a:pt x="1346835" y="158158"/>
                    </a:lnTo>
                    <a:lnTo>
                      <a:pt x="1346835" y="163873"/>
                    </a:lnTo>
                    <a:lnTo>
                      <a:pt x="1342073" y="167683"/>
                    </a:lnTo>
                    <a:lnTo>
                      <a:pt x="1331595" y="168635"/>
                    </a:lnTo>
                    <a:lnTo>
                      <a:pt x="1320165" y="170540"/>
                    </a:lnTo>
                    <a:lnTo>
                      <a:pt x="1308735" y="170540"/>
                    </a:lnTo>
                    <a:lnTo>
                      <a:pt x="1292543" y="171493"/>
                    </a:lnTo>
                    <a:lnTo>
                      <a:pt x="1274445" y="174350"/>
                    </a:lnTo>
                    <a:lnTo>
                      <a:pt x="1265873" y="175303"/>
                    </a:lnTo>
                    <a:lnTo>
                      <a:pt x="1255395" y="176255"/>
                    </a:lnTo>
                    <a:lnTo>
                      <a:pt x="1244918" y="175303"/>
                    </a:lnTo>
                    <a:lnTo>
                      <a:pt x="1231583" y="171493"/>
                    </a:lnTo>
                    <a:cubicBezTo>
                      <a:pt x="1231583" y="171493"/>
                      <a:pt x="1231583" y="171493"/>
                      <a:pt x="1226820" y="168635"/>
                    </a:cubicBezTo>
                    <a:cubicBezTo>
                      <a:pt x="1222058" y="165778"/>
                      <a:pt x="1221105" y="168635"/>
                      <a:pt x="1221105" y="168635"/>
                    </a:cubicBezTo>
                    <a:cubicBezTo>
                      <a:pt x="1221105" y="168635"/>
                      <a:pt x="1207770" y="169588"/>
                      <a:pt x="1194435" y="171493"/>
                    </a:cubicBezTo>
                    <a:cubicBezTo>
                      <a:pt x="1181100" y="173398"/>
                      <a:pt x="1185863" y="177208"/>
                      <a:pt x="1185863" y="177208"/>
                    </a:cubicBezTo>
                    <a:lnTo>
                      <a:pt x="1161098" y="184828"/>
                    </a:lnTo>
                    <a:lnTo>
                      <a:pt x="1153478" y="187685"/>
                    </a:lnTo>
                    <a:cubicBezTo>
                      <a:pt x="1153478" y="187685"/>
                      <a:pt x="1140143" y="193400"/>
                      <a:pt x="1134428" y="196258"/>
                    </a:cubicBezTo>
                    <a:cubicBezTo>
                      <a:pt x="1128713" y="199115"/>
                      <a:pt x="1121093" y="196258"/>
                      <a:pt x="1121093" y="196258"/>
                    </a:cubicBezTo>
                    <a:lnTo>
                      <a:pt x="1113473" y="201973"/>
                    </a:lnTo>
                    <a:cubicBezTo>
                      <a:pt x="1113473" y="201973"/>
                      <a:pt x="1102043" y="200068"/>
                      <a:pt x="1097280" y="199115"/>
                    </a:cubicBezTo>
                    <a:cubicBezTo>
                      <a:pt x="1092518" y="198163"/>
                      <a:pt x="1088708" y="191495"/>
                      <a:pt x="1088708" y="191495"/>
                    </a:cubicBezTo>
                    <a:cubicBezTo>
                      <a:pt x="1088708" y="191495"/>
                      <a:pt x="1088708" y="191495"/>
                      <a:pt x="1087755" y="188638"/>
                    </a:cubicBezTo>
                    <a:cubicBezTo>
                      <a:pt x="1085850" y="185780"/>
                      <a:pt x="1099185" y="188638"/>
                      <a:pt x="1099185" y="188638"/>
                    </a:cubicBezTo>
                    <a:lnTo>
                      <a:pt x="1121093" y="181018"/>
                    </a:lnTo>
                    <a:cubicBezTo>
                      <a:pt x="1121093" y="181018"/>
                      <a:pt x="1091565" y="180065"/>
                      <a:pt x="1087755" y="179113"/>
                    </a:cubicBezTo>
                    <a:cubicBezTo>
                      <a:pt x="1082993" y="178160"/>
                      <a:pt x="1077278" y="180065"/>
                      <a:pt x="1071563" y="179113"/>
                    </a:cubicBezTo>
                    <a:cubicBezTo>
                      <a:pt x="1065848" y="178160"/>
                      <a:pt x="1062990" y="182923"/>
                      <a:pt x="1062990" y="182923"/>
                    </a:cubicBezTo>
                    <a:lnTo>
                      <a:pt x="1058228" y="190543"/>
                    </a:lnTo>
                    <a:cubicBezTo>
                      <a:pt x="1058228" y="190543"/>
                      <a:pt x="1056323" y="198163"/>
                      <a:pt x="1055370" y="203878"/>
                    </a:cubicBezTo>
                    <a:cubicBezTo>
                      <a:pt x="1053465" y="209593"/>
                      <a:pt x="1048703" y="218165"/>
                      <a:pt x="1048703" y="218165"/>
                    </a:cubicBezTo>
                    <a:cubicBezTo>
                      <a:pt x="1048703" y="218165"/>
                      <a:pt x="1038225" y="216260"/>
                      <a:pt x="1034415" y="214355"/>
                    </a:cubicBezTo>
                    <a:cubicBezTo>
                      <a:pt x="1029653" y="212450"/>
                      <a:pt x="1025843" y="216260"/>
                      <a:pt x="1025843" y="216260"/>
                    </a:cubicBezTo>
                    <a:cubicBezTo>
                      <a:pt x="1025843" y="216260"/>
                      <a:pt x="1025843" y="216260"/>
                      <a:pt x="1021080" y="219118"/>
                    </a:cubicBezTo>
                    <a:cubicBezTo>
                      <a:pt x="1016318" y="221975"/>
                      <a:pt x="1010603" y="224833"/>
                      <a:pt x="1010603" y="224833"/>
                    </a:cubicBezTo>
                    <a:lnTo>
                      <a:pt x="1002983" y="225785"/>
                    </a:lnTo>
                    <a:lnTo>
                      <a:pt x="997268" y="227690"/>
                    </a:lnTo>
                    <a:lnTo>
                      <a:pt x="995363" y="233405"/>
                    </a:lnTo>
                    <a:lnTo>
                      <a:pt x="990600" y="240073"/>
                    </a:lnTo>
                    <a:lnTo>
                      <a:pt x="980123" y="246740"/>
                    </a:lnTo>
                    <a:lnTo>
                      <a:pt x="969645" y="245788"/>
                    </a:lnTo>
                    <a:lnTo>
                      <a:pt x="958215" y="241978"/>
                    </a:lnTo>
                    <a:lnTo>
                      <a:pt x="950595" y="239120"/>
                    </a:lnTo>
                    <a:cubicBezTo>
                      <a:pt x="950595" y="239120"/>
                      <a:pt x="950595" y="239120"/>
                      <a:pt x="940118" y="238168"/>
                    </a:cubicBezTo>
                    <a:cubicBezTo>
                      <a:pt x="929640" y="237215"/>
                      <a:pt x="932498" y="241978"/>
                      <a:pt x="932498" y="241978"/>
                    </a:cubicBezTo>
                    <a:lnTo>
                      <a:pt x="933450" y="250550"/>
                    </a:lnTo>
                    <a:lnTo>
                      <a:pt x="949643" y="258170"/>
                    </a:lnTo>
                    <a:lnTo>
                      <a:pt x="925830" y="257218"/>
                    </a:lnTo>
                    <a:cubicBezTo>
                      <a:pt x="925830" y="257218"/>
                      <a:pt x="915353" y="254360"/>
                      <a:pt x="908685" y="248645"/>
                    </a:cubicBezTo>
                    <a:cubicBezTo>
                      <a:pt x="901065" y="242930"/>
                      <a:pt x="908685" y="248645"/>
                      <a:pt x="908685" y="245788"/>
                    </a:cubicBezTo>
                    <a:cubicBezTo>
                      <a:pt x="908685" y="242930"/>
                      <a:pt x="907733" y="238168"/>
                      <a:pt x="907733" y="238168"/>
                    </a:cubicBezTo>
                    <a:lnTo>
                      <a:pt x="907733" y="231500"/>
                    </a:lnTo>
                    <a:lnTo>
                      <a:pt x="907733" y="225785"/>
                    </a:lnTo>
                    <a:lnTo>
                      <a:pt x="887730" y="215308"/>
                    </a:lnTo>
                    <a:cubicBezTo>
                      <a:pt x="887730" y="215308"/>
                      <a:pt x="887730" y="215308"/>
                      <a:pt x="892493" y="215308"/>
                    </a:cubicBezTo>
                    <a:cubicBezTo>
                      <a:pt x="893445" y="215308"/>
                      <a:pt x="894398" y="215308"/>
                      <a:pt x="895350" y="215308"/>
                    </a:cubicBezTo>
                    <a:cubicBezTo>
                      <a:pt x="898208" y="216260"/>
                      <a:pt x="899160" y="217213"/>
                      <a:pt x="902970" y="216260"/>
                    </a:cubicBezTo>
                    <a:cubicBezTo>
                      <a:pt x="907733" y="215308"/>
                      <a:pt x="923925" y="218165"/>
                      <a:pt x="923925" y="218165"/>
                    </a:cubicBezTo>
                    <a:cubicBezTo>
                      <a:pt x="923925" y="218165"/>
                      <a:pt x="938213" y="217213"/>
                      <a:pt x="942975" y="215308"/>
                    </a:cubicBezTo>
                    <a:cubicBezTo>
                      <a:pt x="947738" y="213403"/>
                      <a:pt x="951548" y="215308"/>
                      <a:pt x="951548" y="215308"/>
                    </a:cubicBezTo>
                    <a:lnTo>
                      <a:pt x="962025" y="217213"/>
                    </a:lnTo>
                    <a:lnTo>
                      <a:pt x="983933" y="219118"/>
                    </a:lnTo>
                    <a:lnTo>
                      <a:pt x="1002030" y="213403"/>
                    </a:lnTo>
                    <a:lnTo>
                      <a:pt x="1007745" y="201973"/>
                    </a:lnTo>
                    <a:cubicBezTo>
                      <a:pt x="1007745" y="201973"/>
                      <a:pt x="1004888" y="193400"/>
                      <a:pt x="1001078" y="189590"/>
                    </a:cubicBezTo>
                    <a:cubicBezTo>
                      <a:pt x="996315" y="185780"/>
                      <a:pt x="989648" y="186733"/>
                      <a:pt x="984885" y="185780"/>
                    </a:cubicBezTo>
                    <a:cubicBezTo>
                      <a:pt x="980123" y="184828"/>
                      <a:pt x="968693" y="179113"/>
                      <a:pt x="968693" y="179113"/>
                    </a:cubicBezTo>
                    <a:lnTo>
                      <a:pt x="952500" y="173398"/>
                    </a:lnTo>
                    <a:lnTo>
                      <a:pt x="942023" y="169588"/>
                    </a:lnTo>
                    <a:lnTo>
                      <a:pt x="927735" y="166730"/>
                    </a:lnTo>
                    <a:lnTo>
                      <a:pt x="916305" y="163873"/>
                    </a:lnTo>
                    <a:lnTo>
                      <a:pt x="896303" y="159110"/>
                    </a:lnTo>
                    <a:lnTo>
                      <a:pt x="887730" y="155300"/>
                    </a:lnTo>
                    <a:cubicBezTo>
                      <a:pt x="887730" y="155300"/>
                      <a:pt x="873443" y="151490"/>
                      <a:pt x="868680" y="151490"/>
                    </a:cubicBezTo>
                    <a:cubicBezTo>
                      <a:pt x="863918" y="151490"/>
                      <a:pt x="855345" y="147680"/>
                      <a:pt x="851535" y="146728"/>
                    </a:cubicBezTo>
                    <a:cubicBezTo>
                      <a:pt x="846773" y="145775"/>
                      <a:pt x="840105" y="142918"/>
                      <a:pt x="834390" y="139108"/>
                    </a:cubicBezTo>
                    <a:lnTo>
                      <a:pt x="818198" y="137203"/>
                    </a:lnTo>
                    <a:lnTo>
                      <a:pt x="787718" y="136250"/>
                    </a:lnTo>
                    <a:lnTo>
                      <a:pt x="760095" y="133393"/>
                    </a:lnTo>
                    <a:lnTo>
                      <a:pt x="754380" y="133393"/>
                    </a:lnTo>
                    <a:lnTo>
                      <a:pt x="736283" y="134345"/>
                    </a:lnTo>
                    <a:cubicBezTo>
                      <a:pt x="736283" y="134345"/>
                      <a:pt x="720090" y="135298"/>
                      <a:pt x="715328" y="135298"/>
                    </a:cubicBezTo>
                    <a:cubicBezTo>
                      <a:pt x="710565" y="135298"/>
                      <a:pt x="701993" y="140060"/>
                      <a:pt x="701993" y="140060"/>
                    </a:cubicBezTo>
                    <a:lnTo>
                      <a:pt x="690563" y="140060"/>
                    </a:lnTo>
                    <a:lnTo>
                      <a:pt x="684848" y="140060"/>
                    </a:lnTo>
                    <a:lnTo>
                      <a:pt x="670560" y="141965"/>
                    </a:lnTo>
                    <a:lnTo>
                      <a:pt x="662940" y="142918"/>
                    </a:lnTo>
                    <a:lnTo>
                      <a:pt x="652463" y="147680"/>
                    </a:lnTo>
                    <a:cubicBezTo>
                      <a:pt x="652463" y="147680"/>
                      <a:pt x="641985" y="153395"/>
                      <a:pt x="637223" y="153395"/>
                    </a:cubicBezTo>
                    <a:cubicBezTo>
                      <a:pt x="632460" y="153395"/>
                      <a:pt x="619125" y="158158"/>
                      <a:pt x="619125" y="158158"/>
                    </a:cubicBezTo>
                    <a:lnTo>
                      <a:pt x="605790" y="161968"/>
                    </a:lnTo>
                    <a:lnTo>
                      <a:pt x="598170" y="165778"/>
                    </a:lnTo>
                    <a:lnTo>
                      <a:pt x="587693" y="170540"/>
                    </a:lnTo>
                    <a:lnTo>
                      <a:pt x="579120" y="180065"/>
                    </a:lnTo>
                    <a:lnTo>
                      <a:pt x="576263" y="183875"/>
                    </a:lnTo>
                    <a:lnTo>
                      <a:pt x="560070" y="195305"/>
                    </a:lnTo>
                    <a:lnTo>
                      <a:pt x="551498" y="200068"/>
                    </a:lnTo>
                    <a:cubicBezTo>
                      <a:pt x="551498" y="200068"/>
                      <a:pt x="541020" y="206735"/>
                      <a:pt x="535305" y="208640"/>
                    </a:cubicBezTo>
                    <a:cubicBezTo>
                      <a:pt x="529590" y="210545"/>
                      <a:pt x="529590" y="218165"/>
                      <a:pt x="524828" y="220070"/>
                    </a:cubicBezTo>
                    <a:cubicBezTo>
                      <a:pt x="520065" y="221975"/>
                      <a:pt x="520065" y="227690"/>
                      <a:pt x="520065" y="227690"/>
                    </a:cubicBezTo>
                    <a:lnTo>
                      <a:pt x="512445" y="237215"/>
                    </a:lnTo>
                    <a:cubicBezTo>
                      <a:pt x="512445" y="237215"/>
                      <a:pt x="499110" y="244835"/>
                      <a:pt x="494348" y="245788"/>
                    </a:cubicBezTo>
                    <a:cubicBezTo>
                      <a:pt x="489585" y="246740"/>
                      <a:pt x="485775" y="255313"/>
                      <a:pt x="478155" y="257218"/>
                    </a:cubicBezTo>
                    <a:cubicBezTo>
                      <a:pt x="470535" y="259123"/>
                      <a:pt x="478155" y="257218"/>
                      <a:pt x="467678" y="259123"/>
                    </a:cubicBezTo>
                    <a:cubicBezTo>
                      <a:pt x="457200" y="261028"/>
                      <a:pt x="461963" y="263885"/>
                      <a:pt x="457200" y="265790"/>
                    </a:cubicBezTo>
                    <a:cubicBezTo>
                      <a:pt x="452438" y="267695"/>
                      <a:pt x="439103" y="268648"/>
                      <a:pt x="439103" y="268648"/>
                    </a:cubicBezTo>
                    <a:lnTo>
                      <a:pt x="428625" y="274363"/>
                    </a:lnTo>
                    <a:lnTo>
                      <a:pt x="422910" y="278173"/>
                    </a:lnTo>
                    <a:lnTo>
                      <a:pt x="415290" y="283888"/>
                    </a:lnTo>
                    <a:lnTo>
                      <a:pt x="409575" y="286745"/>
                    </a:lnTo>
                    <a:lnTo>
                      <a:pt x="401003" y="295318"/>
                    </a:lnTo>
                    <a:lnTo>
                      <a:pt x="395288" y="304843"/>
                    </a:lnTo>
                    <a:cubicBezTo>
                      <a:pt x="395288" y="304843"/>
                      <a:pt x="399098" y="314368"/>
                      <a:pt x="398145" y="317225"/>
                    </a:cubicBezTo>
                    <a:cubicBezTo>
                      <a:pt x="396240" y="320083"/>
                      <a:pt x="401003" y="329608"/>
                      <a:pt x="401003" y="329608"/>
                    </a:cubicBezTo>
                    <a:lnTo>
                      <a:pt x="401003" y="334370"/>
                    </a:lnTo>
                    <a:lnTo>
                      <a:pt x="405765" y="338180"/>
                    </a:lnTo>
                    <a:lnTo>
                      <a:pt x="411480" y="342943"/>
                    </a:lnTo>
                    <a:lnTo>
                      <a:pt x="414338" y="351515"/>
                    </a:lnTo>
                    <a:lnTo>
                      <a:pt x="420053" y="361993"/>
                    </a:lnTo>
                    <a:lnTo>
                      <a:pt x="427673" y="361993"/>
                    </a:lnTo>
                    <a:lnTo>
                      <a:pt x="443865" y="360088"/>
                    </a:lnTo>
                    <a:lnTo>
                      <a:pt x="452438" y="355325"/>
                    </a:lnTo>
                    <a:lnTo>
                      <a:pt x="460058" y="352468"/>
                    </a:lnTo>
                    <a:lnTo>
                      <a:pt x="462915" y="348658"/>
                    </a:lnTo>
                    <a:lnTo>
                      <a:pt x="467678" y="343895"/>
                    </a:lnTo>
                    <a:lnTo>
                      <a:pt x="478155" y="341990"/>
                    </a:lnTo>
                    <a:lnTo>
                      <a:pt x="483870" y="341038"/>
                    </a:lnTo>
                    <a:lnTo>
                      <a:pt x="492443" y="341990"/>
                    </a:lnTo>
                    <a:lnTo>
                      <a:pt x="493395" y="351515"/>
                    </a:lnTo>
                    <a:lnTo>
                      <a:pt x="499110" y="358183"/>
                    </a:lnTo>
                    <a:lnTo>
                      <a:pt x="504825" y="363898"/>
                    </a:lnTo>
                    <a:lnTo>
                      <a:pt x="512445" y="367708"/>
                    </a:lnTo>
                    <a:lnTo>
                      <a:pt x="522923" y="377233"/>
                    </a:lnTo>
                    <a:lnTo>
                      <a:pt x="521018" y="384853"/>
                    </a:lnTo>
                    <a:lnTo>
                      <a:pt x="523875" y="395330"/>
                    </a:lnTo>
                    <a:lnTo>
                      <a:pt x="538163" y="399140"/>
                    </a:lnTo>
                    <a:lnTo>
                      <a:pt x="549593" y="398188"/>
                    </a:lnTo>
                    <a:lnTo>
                      <a:pt x="558165" y="393425"/>
                    </a:lnTo>
                    <a:lnTo>
                      <a:pt x="569595" y="389615"/>
                    </a:lnTo>
                    <a:cubicBezTo>
                      <a:pt x="569595" y="389615"/>
                      <a:pt x="578168" y="385805"/>
                      <a:pt x="580073" y="382948"/>
                    </a:cubicBezTo>
                    <a:cubicBezTo>
                      <a:pt x="581978" y="380090"/>
                      <a:pt x="585788" y="381995"/>
                      <a:pt x="585788" y="379138"/>
                    </a:cubicBezTo>
                    <a:cubicBezTo>
                      <a:pt x="585788" y="376280"/>
                      <a:pt x="585788" y="373423"/>
                      <a:pt x="585788" y="373423"/>
                    </a:cubicBezTo>
                    <a:lnTo>
                      <a:pt x="596265" y="361993"/>
                    </a:lnTo>
                    <a:lnTo>
                      <a:pt x="601028" y="355325"/>
                    </a:lnTo>
                    <a:cubicBezTo>
                      <a:pt x="601028" y="355325"/>
                      <a:pt x="606743" y="351515"/>
                      <a:pt x="606743" y="348658"/>
                    </a:cubicBezTo>
                    <a:cubicBezTo>
                      <a:pt x="606743" y="345800"/>
                      <a:pt x="614363" y="344848"/>
                      <a:pt x="614363" y="341990"/>
                    </a:cubicBezTo>
                    <a:cubicBezTo>
                      <a:pt x="614363" y="339133"/>
                      <a:pt x="620078" y="337228"/>
                      <a:pt x="620078" y="337228"/>
                    </a:cubicBezTo>
                    <a:lnTo>
                      <a:pt x="621983" y="323893"/>
                    </a:lnTo>
                    <a:lnTo>
                      <a:pt x="621983" y="319130"/>
                    </a:lnTo>
                    <a:lnTo>
                      <a:pt x="616268" y="318178"/>
                    </a:lnTo>
                    <a:lnTo>
                      <a:pt x="604838" y="317225"/>
                    </a:lnTo>
                    <a:lnTo>
                      <a:pt x="599123" y="314368"/>
                    </a:lnTo>
                    <a:lnTo>
                      <a:pt x="599123" y="307700"/>
                    </a:lnTo>
                    <a:cubicBezTo>
                      <a:pt x="599123" y="307700"/>
                      <a:pt x="599123" y="307700"/>
                      <a:pt x="601028" y="301033"/>
                    </a:cubicBezTo>
                    <a:cubicBezTo>
                      <a:pt x="601028" y="301033"/>
                      <a:pt x="601028" y="301033"/>
                      <a:pt x="614363" y="291508"/>
                    </a:cubicBezTo>
                    <a:cubicBezTo>
                      <a:pt x="614363" y="291508"/>
                      <a:pt x="621983" y="290555"/>
                      <a:pt x="622935" y="287698"/>
                    </a:cubicBezTo>
                    <a:cubicBezTo>
                      <a:pt x="624840" y="284840"/>
                      <a:pt x="631508" y="283888"/>
                      <a:pt x="636270" y="277220"/>
                    </a:cubicBezTo>
                    <a:cubicBezTo>
                      <a:pt x="641033" y="270553"/>
                      <a:pt x="636270" y="277220"/>
                      <a:pt x="641033" y="273410"/>
                    </a:cubicBezTo>
                    <a:cubicBezTo>
                      <a:pt x="645795" y="269600"/>
                      <a:pt x="649605" y="269600"/>
                      <a:pt x="649605" y="265790"/>
                    </a:cubicBezTo>
                    <a:cubicBezTo>
                      <a:pt x="649605" y="261980"/>
                      <a:pt x="658178" y="260075"/>
                      <a:pt x="658178" y="260075"/>
                    </a:cubicBezTo>
                    <a:lnTo>
                      <a:pt x="661035" y="250550"/>
                    </a:lnTo>
                    <a:cubicBezTo>
                      <a:pt x="661035" y="250550"/>
                      <a:pt x="661035" y="250550"/>
                      <a:pt x="662940" y="245788"/>
                    </a:cubicBezTo>
                    <a:cubicBezTo>
                      <a:pt x="664845" y="241025"/>
                      <a:pt x="668655" y="240073"/>
                      <a:pt x="668655" y="240073"/>
                    </a:cubicBezTo>
                    <a:lnTo>
                      <a:pt x="680085" y="233405"/>
                    </a:lnTo>
                    <a:lnTo>
                      <a:pt x="688658" y="231500"/>
                    </a:lnTo>
                    <a:lnTo>
                      <a:pt x="696278" y="228643"/>
                    </a:lnTo>
                    <a:lnTo>
                      <a:pt x="707708" y="227690"/>
                    </a:lnTo>
                    <a:cubicBezTo>
                      <a:pt x="707708" y="227690"/>
                      <a:pt x="713423" y="229595"/>
                      <a:pt x="719138" y="228643"/>
                    </a:cubicBezTo>
                    <a:cubicBezTo>
                      <a:pt x="724853" y="227690"/>
                      <a:pt x="733425" y="231500"/>
                      <a:pt x="733425" y="231500"/>
                    </a:cubicBezTo>
                    <a:lnTo>
                      <a:pt x="733425" y="237215"/>
                    </a:lnTo>
                    <a:lnTo>
                      <a:pt x="730568" y="244835"/>
                    </a:lnTo>
                    <a:lnTo>
                      <a:pt x="727710" y="251503"/>
                    </a:lnTo>
                    <a:lnTo>
                      <a:pt x="724853" y="256265"/>
                    </a:lnTo>
                    <a:lnTo>
                      <a:pt x="720090" y="261028"/>
                    </a:lnTo>
                    <a:cubicBezTo>
                      <a:pt x="720090" y="261028"/>
                      <a:pt x="706755" y="266743"/>
                      <a:pt x="701993" y="266743"/>
                    </a:cubicBezTo>
                    <a:cubicBezTo>
                      <a:pt x="697230" y="266743"/>
                      <a:pt x="685800" y="271505"/>
                      <a:pt x="685800" y="271505"/>
                    </a:cubicBezTo>
                    <a:cubicBezTo>
                      <a:pt x="685800" y="271505"/>
                      <a:pt x="682943" y="275315"/>
                      <a:pt x="678180" y="275315"/>
                    </a:cubicBezTo>
                    <a:cubicBezTo>
                      <a:pt x="673418" y="275315"/>
                      <a:pt x="678180" y="281030"/>
                      <a:pt x="678180" y="281030"/>
                    </a:cubicBezTo>
                    <a:lnTo>
                      <a:pt x="676275" y="291508"/>
                    </a:lnTo>
                    <a:lnTo>
                      <a:pt x="677228" y="301033"/>
                    </a:lnTo>
                    <a:lnTo>
                      <a:pt x="672465" y="311510"/>
                    </a:lnTo>
                    <a:lnTo>
                      <a:pt x="678180" y="321988"/>
                    </a:lnTo>
                    <a:lnTo>
                      <a:pt x="683895" y="324845"/>
                    </a:lnTo>
                    <a:lnTo>
                      <a:pt x="695325" y="324845"/>
                    </a:lnTo>
                    <a:lnTo>
                      <a:pt x="705803" y="328655"/>
                    </a:lnTo>
                    <a:lnTo>
                      <a:pt x="720090" y="329608"/>
                    </a:lnTo>
                    <a:lnTo>
                      <a:pt x="733425" y="328655"/>
                    </a:lnTo>
                    <a:lnTo>
                      <a:pt x="743903" y="326750"/>
                    </a:lnTo>
                    <a:lnTo>
                      <a:pt x="752475" y="323893"/>
                    </a:lnTo>
                    <a:lnTo>
                      <a:pt x="760095" y="323893"/>
                    </a:lnTo>
                    <a:lnTo>
                      <a:pt x="779145" y="323893"/>
                    </a:lnTo>
                    <a:lnTo>
                      <a:pt x="793433" y="324845"/>
                    </a:lnTo>
                    <a:lnTo>
                      <a:pt x="796290" y="328655"/>
                    </a:lnTo>
                    <a:lnTo>
                      <a:pt x="790575" y="337228"/>
                    </a:lnTo>
                    <a:lnTo>
                      <a:pt x="782003" y="337228"/>
                    </a:lnTo>
                    <a:lnTo>
                      <a:pt x="776288" y="339133"/>
                    </a:lnTo>
                    <a:lnTo>
                      <a:pt x="758190" y="340085"/>
                    </a:lnTo>
                    <a:lnTo>
                      <a:pt x="740093" y="341990"/>
                    </a:lnTo>
                    <a:lnTo>
                      <a:pt x="725805" y="343895"/>
                    </a:lnTo>
                    <a:lnTo>
                      <a:pt x="721043" y="347705"/>
                    </a:lnTo>
                    <a:lnTo>
                      <a:pt x="719138" y="353420"/>
                    </a:lnTo>
                    <a:lnTo>
                      <a:pt x="713423" y="360088"/>
                    </a:lnTo>
                    <a:lnTo>
                      <a:pt x="705803" y="368660"/>
                    </a:lnTo>
                    <a:lnTo>
                      <a:pt x="695325" y="370565"/>
                    </a:lnTo>
                    <a:lnTo>
                      <a:pt x="687705" y="370565"/>
                    </a:lnTo>
                    <a:lnTo>
                      <a:pt x="674370" y="372470"/>
                    </a:lnTo>
                    <a:lnTo>
                      <a:pt x="669608" y="378185"/>
                    </a:lnTo>
                    <a:lnTo>
                      <a:pt x="664845" y="382948"/>
                    </a:lnTo>
                    <a:lnTo>
                      <a:pt x="662940" y="388663"/>
                    </a:lnTo>
                    <a:lnTo>
                      <a:pt x="657225" y="398188"/>
                    </a:lnTo>
                    <a:lnTo>
                      <a:pt x="649605" y="404855"/>
                    </a:lnTo>
                    <a:lnTo>
                      <a:pt x="627698" y="409618"/>
                    </a:lnTo>
                    <a:lnTo>
                      <a:pt x="600075" y="414380"/>
                    </a:lnTo>
                    <a:lnTo>
                      <a:pt x="594360" y="414380"/>
                    </a:lnTo>
                    <a:cubicBezTo>
                      <a:pt x="594360" y="414380"/>
                      <a:pt x="583883" y="416285"/>
                      <a:pt x="578168" y="415333"/>
                    </a:cubicBezTo>
                    <a:cubicBezTo>
                      <a:pt x="572453" y="414380"/>
                      <a:pt x="564833" y="418190"/>
                      <a:pt x="560070" y="417238"/>
                    </a:cubicBezTo>
                    <a:cubicBezTo>
                      <a:pt x="555308" y="416285"/>
                      <a:pt x="551498" y="418190"/>
                      <a:pt x="551498" y="418190"/>
                    </a:cubicBezTo>
                    <a:lnTo>
                      <a:pt x="540068" y="417238"/>
                    </a:lnTo>
                    <a:lnTo>
                      <a:pt x="523875" y="414380"/>
                    </a:lnTo>
                    <a:cubicBezTo>
                      <a:pt x="523875" y="414380"/>
                      <a:pt x="510540" y="414380"/>
                      <a:pt x="506730" y="413428"/>
                    </a:cubicBezTo>
                    <a:cubicBezTo>
                      <a:pt x="501968" y="412475"/>
                      <a:pt x="498158" y="413428"/>
                      <a:pt x="498158" y="413428"/>
                    </a:cubicBezTo>
                    <a:lnTo>
                      <a:pt x="486728" y="413428"/>
                    </a:lnTo>
                    <a:cubicBezTo>
                      <a:pt x="486728" y="413428"/>
                      <a:pt x="486728" y="413428"/>
                      <a:pt x="481965" y="407713"/>
                    </a:cubicBezTo>
                    <a:lnTo>
                      <a:pt x="498158" y="401045"/>
                    </a:lnTo>
                    <a:lnTo>
                      <a:pt x="493395" y="395330"/>
                    </a:lnTo>
                    <a:lnTo>
                      <a:pt x="484823" y="391520"/>
                    </a:lnTo>
                    <a:lnTo>
                      <a:pt x="484823" y="386758"/>
                    </a:lnTo>
                    <a:lnTo>
                      <a:pt x="477203" y="376280"/>
                    </a:lnTo>
                    <a:lnTo>
                      <a:pt x="474345" y="369613"/>
                    </a:lnTo>
                    <a:lnTo>
                      <a:pt x="466725" y="368660"/>
                    </a:lnTo>
                    <a:lnTo>
                      <a:pt x="461010" y="374375"/>
                    </a:lnTo>
                    <a:lnTo>
                      <a:pt x="450533" y="377233"/>
                    </a:lnTo>
                    <a:lnTo>
                      <a:pt x="445770" y="381995"/>
                    </a:lnTo>
                    <a:lnTo>
                      <a:pt x="443865" y="390568"/>
                    </a:lnTo>
                    <a:lnTo>
                      <a:pt x="443865" y="399140"/>
                    </a:lnTo>
                    <a:lnTo>
                      <a:pt x="446723" y="408665"/>
                    </a:lnTo>
                    <a:lnTo>
                      <a:pt x="449580" y="403903"/>
                    </a:lnTo>
                    <a:lnTo>
                      <a:pt x="446723" y="414380"/>
                    </a:lnTo>
                    <a:lnTo>
                      <a:pt x="435293" y="416285"/>
                    </a:lnTo>
                    <a:cubicBezTo>
                      <a:pt x="435293" y="416285"/>
                      <a:pt x="435293" y="416285"/>
                      <a:pt x="430530" y="416285"/>
                    </a:cubicBezTo>
                    <a:cubicBezTo>
                      <a:pt x="425768" y="416285"/>
                      <a:pt x="424815" y="418190"/>
                      <a:pt x="420053" y="417238"/>
                    </a:cubicBezTo>
                    <a:cubicBezTo>
                      <a:pt x="415290" y="416285"/>
                      <a:pt x="411480" y="417238"/>
                      <a:pt x="411480" y="417238"/>
                    </a:cubicBezTo>
                    <a:lnTo>
                      <a:pt x="389573" y="421048"/>
                    </a:lnTo>
                    <a:cubicBezTo>
                      <a:pt x="389573" y="421048"/>
                      <a:pt x="387668" y="425810"/>
                      <a:pt x="383858" y="427715"/>
                    </a:cubicBezTo>
                    <a:cubicBezTo>
                      <a:pt x="379095" y="429620"/>
                      <a:pt x="379095" y="433430"/>
                      <a:pt x="379095" y="433430"/>
                    </a:cubicBezTo>
                    <a:lnTo>
                      <a:pt x="376238" y="440098"/>
                    </a:lnTo>
                    <a:cubicBezTo>
                      <a:pt x="376238" y="440098"/>
                      <a:pt x="367665" y="446765"/>
                      <a:pt x="362903" y="447718"/>
                    </a:cubicBezTo>
                    <a:cubicBezTo>
                      <a:pt x="358140" y="448670"/>
                      <a:pt x="352425" y="450575"/>
                      <a:pt x="348615" y="451528"/>
                    </a:cubicBezTo>
                    <a:cubicBezTo>
                      <a:pt x="343853" y="452480"/>
                      <a:pt x="340043" y="457243"/>
                      <a:pt x="340043" y="457243"/>
                    </a:cubicBezTo>
                    <a:lnTo>
                      <a:pt x="334328" y="464863"/>
                    </a:lnTo>
                    <a:lnTo>
                      <a:pt x="328613" y="468673"/>
                    </a:lnTo>
                    <a:cubicBezTo>
                      <a:pt x="328613" y="468673"/>
                      <a:pt x="320040" y="471530"/>
                      <a:pt x="312420" y="472483"/>
                    </a:cubicBezTo>
                    <a:cubicBezTo>
                      <a:pt x="304800" y="473435"/>
                      <a:pt x="299085" y="477245"/>
                      <a:pt x="299085" y="477245"/>
                    </a:cubicBezTo>
                    <a:lnTo>
                      <a:pt x="293370" y="480103"/>
                    </a:lnTo>
                    <a:lnTo>
                      <a:pt x="282893" y="481055"/>
                    </a:lnTo>
                    <a:lnTo>
                      <a:pt x="275273" y="484865"/>
                    </a:lnTo>
                    <a:lnTo>
                      <a:pt x="260033" y="489628"/>
                    </a:lnTo>
                    <a:lnTo>
                      <a:pt x="248603" y="489628"/>
                    </a:lnTo>
                    <a:lnTo>
                      <a:pt x="224790" y="490580"/>
                    </a:lnTo>
                    <a:lnTo>
                      <a:pt x="214313" y="496295"/>
                    </a:lnTo>
                    <a:lnTo>
                      <a:pt x="217170" y="500105"/>
                    </a:lnTo>
                    <a:lnTo>
                      <a:pt x="222885" y="502963"/>
                    </a:lnTo>
                    <a:lnTo>
                      <a:pt x="228600" y="505820"/>
                    </a:lnTo>
                    <a:lnTo>
                      <a:pt x="234315" y="506773"/>
                    </a:lnTo>
                    <a:lnTo>
                      <a:pt x="245745" y="508678"/>
                    </a:lnTo>
                    <a:lnTo>
                      <a:pt x="254318" y="509630"/>
                    </a:lnTo>
                    <a:cubicBezTo>
                      <a:pt x="254318" y="509630"/>
                      <a:pt x="260033" y="513440"/>
                      <a:pt x="273368" y="520108"/>
                    </a:cubicBezTo>
                    <a:cubicBezTo>
                      <a:pt x="286703" y="526775"/>
                      <a:pt x="276225" y="524870"/>
                      <a:pt x="276225" y="524870"/>
                    </a:cubicBezTo>
                    <a:cubicBezTo>
                      <a:pt x="276225" y="524870"/>
                      <a:pt x="277178" y="529633"/>
                      <a:pt x="276225" y="532490"/>
                    </a:cubicBezTo>
                    <a:cubicBezTo>
                      <a:pt x="274320" y="535348"/>
                      <a:pt x="276225" y="538205"/>
                      <a:pt x="276225" y="538205"/>
                    </a:cubicBezTo>
                    <a:cubicBezTo>
                      <a:pt x="276225" y="538205"/>
                      <a:pt x="274320" y="547730"/>
                      <a:pt x="273368" y="550588"/>
                    </a:cubicBezTo>
                    <a:cubicBezTo>
                      <a:pt x="271463" y="553445"/>
                      <a:pt x="268605" y="561065"/>
                      <a:pt x="268605" y="561065"/>
                    </a:cubicBezTo>
                    <a:cubicBezTo>
                      <a:pt x="268605" y="561065"/>
                      <a:pt x="268605" y="561065"/>
                      <a:pt x="262890" y="562018"/>
                    </a:cubicBezTo>
                    <a:cubicBezTo>
                      <a:pt x="257175" y="562970"/>
                      <a:pt x="257175" y="562018"/>
                      <a:pt x="257175" y="562018"/>
                    </a:cubicBezTo>
                    <a:cubicBezTo>
                      <a:pt x="257175" y="562018"/>
                      <a:pt x="251460" y="564875"/>
                      <a:pt x="246698" y="564875"/>
                    </a:cubicBezTo>
                    <a:cubicBezTo>
                      <a:pt x="241935" y="564875"/>
                      <a:pt x="236220" y="564875"/>
                      <a:pt x="236220" y="564875"/>
                    </a:cubicBezTo>
                    <a:lnTo>
                      <a:pt x="225743" y="564875"/>
                    </a:lnTo>
                    <a:cubicBezTo>
                      <a:pt x="225743" y="564875"/>
                      <a:pt x="212408" y="564875"/>
                      <a:pt x="206693" y="564875"/>
                    </a:cubicBezTo>
                    <a:cubicBezTo>
                      <a:pt x="200978" y="564875"/>
                      <a:pt x="196215" y="563923"/>
                      <a:pt x="192405" y="563923"/>
                    </a:cubicBezTo>
                    <a:cubicBezTo>
                      <a:pt x="187643" y="563923"/>
                      <a:pt x="186690" y="561065"/>
                      <a:pt x="186690" y="561065"/>
                    </a:cubicBezTo>
                    <a:lnTo>
                      <a:pt x="178118" y="560113"/>
                    </a:lnTo>
                    <a:lnTo>
                      <a:pt x="170498" y="560113"/>
                    </a:lnTo>
                    <a:lnTo>
                      <a:pt x="161925" y="562018"/>
                    </a:lnTo>
                    <a:cubicBezTo>
                      <a:pt x="161925" y="562018"/>
                      <a:pt x="161925" y="562018"/>
                      <a:pt x="153353" y="564875"/>
                    </a:cubicBezTo>
                    <a:lnTo>
                      <a:pt x="151448" y="570590"/>
                    </a:lnTo>
                    <a:lnTo>
                      <a:pt x="149543" y="581068"/>
                    </a:lnTo>
                    <a:lnTo>
                      <a:pt x="144780" y="586783"/>
                    </a:lnTo>
                    <a:lnTo>
                      <a:pt x="141923" y="592498"/>
                    </a:lnTo>
                    <a:lnTo>
                      <a:pt x="144780" y="602975"/>
                    </a:lnTo>
                    <a:lnTo>
                      <a:pt x="145733" y="611548"/>
                    </a:lnTo>
                    <a:cubicBezTo>
                      <a:pt x="145733" y="611548"/>
                      <a:pt x="143828" y="622025"/>
                      <a:pt x="143828" y="624883"/>
                    </a:cubicBezTo>
                    <a:cubicBezTo>
                      <a:pt x="143828" y="627740"/>
                      <a:pt x="144780" y="631550"/>
                      <a:pt x="144780" y="631550"/>
                    </a:cubicBezTo>
                    <a:lnTo>
                      <a:pt x="145733" y="642028"/>
                    </a:lnTo>
                    <a:lnTo>
                      <a:pt x="167640" y="647743"/>
                    </a:lnTo>
                    <a:lnTo>
                      <a:pt x="188595" y="649648"/>
                    </a:lnTo>
                    <a:lnTo>
                      <a:pt x="204788" y="648695"/>
                    </a:lnTo>
                    <a:lnTo>
                      <a:pt x="223838" y="646790"/>
                    </a:lnTo>
                    <a:lnTo>
                      <a:pt x="237173" y="647743"/>
                    </a:lnTo>
                    <a:cubicBezTo>
                      <a:pt x="237173" y="647743"/>
                      <a:pt x="245745" y="646790"/>
                      <a:pt x="251460" y="644885"/>
                    </a:cubicBezTo>
                    <a:cubicBezTo>
                      <a:pt x="257175" y="642980"/>
                      <a:pt x="260033" y="642980"/>
                      <a:pt x="260033" y="642980"/>
                    </a:cubicBezTo>
                    <a:lnTo>
                      <a:pt x="265748" y="642028"/>
                    </a:lnTo>
                    <a:lnTo>
                      <a:pt x="280988" y="635360"/>
                    </a:lnTo>
                    <a:lnTo>
                      <a:pt x="286703" y="633455"/>
                    </a:lnTo>
                    <a:lnTo>
                      <a:pt x="292418" y="629645"/>
                    </a:lnTo>
                    <a:lnTo>
                      <a:pt x="302895" y="622978"/>
                    </a:lnTo>
                    <a:lnTo>
                      <a:pt x="302895" y="617263"/>
                    </a:lnTo>
                    <a:cubicBezTo>
                      <a:pt x="302895" y="617263"/>
                      <a:pt x="302895" y="613453"/>
                      <a:pt x="305753" y="608690"/>
                    </a:cubicBezTo>
                    <a:lnTo>
                      <a:pt x="313373" y="607738"/>
                    </a:lnTo>
                    <a:lnTo>
                      <a:pt x="319088" y="602975"/>
                    </a:lnTo>
                    <a:lnTo>
                      <a:pt x="320993" y="597260"/>
                    </a:lnTo>
                    <a:cubicBezTo>
                      <a:pt x="320993" y="597260"/>
                      <a:pt x="320993" y="597260"/>
                      <a:pt x="326708" y="593450"/>
                    </a:cubicBezTo>
                    <a:lnTo>
                      <a:pt x="344805" y="589640"/>
                    </a:lnTo>
                    <a:lnTo>
                      <a:pt x="353378" y="582020"/>
                    </a:lnTo>
                    <a:lnTo>
                      <a:pt x="359093" y="579163"/>
                    </a:lnTo>
                    <a:lnTo>
                      <a:pt x="361950" y="574400"/>
                    </a:lnTo>
                    <a:lnTo>
                      <a:pt x="366713" y="570590"/>
                    </a:lnTo>
                    <a:lnTo>
                      <a:pt x="368618" y="566780"/>
                    </a:lnTo>
                    <a:lnTo>
                      <a:pt x="374333" y="562018"/>
                    </a:lnTo>
                    <a:lnTo>
                      <a:pt x="382905" y="563923"/>
                    </a:lnTo>
                    <a:lnTo>
                      <a:pt x="388620" y="563923"/>
                    </a:lnTo>
                    <a:lnTo>
                      <a:pt x="391478" y="568685"/>
                    </a:lnTo>
                    <a:lnTo>
                      <a:pt x="397193" y="571543"/>
                    </a:lnTo>
                    <a:lnTo>
                      <a:pt x="404813" y="573448"/>
                    </a:lnTo>
                    <a:lnTo>
                      <a:pt x="410528" y="572495"/>
                    </a:lnTo>
                    <a:lnTo>
                      <a:pt x="416243" y="571543"/>
                    </a:lnTo>
                    <a:lnTo>
                      <a:pt x="426720" y="565828"/>
                    </a:lnTo>
                    <a:lnTo>
                      <a:pt x="434340" y="560113"/>
                    </a:lnTo>
                    <a:lnTo>
                      <a:pt x="440055" y="557255"/>
                    </a:lnTo>
                    <a:lnTo>
                      <a:pt x="447675" y="553445"/>
                    </a:lnTo>
                    <a:lnTo>
                      <a:pt x="455295" y="554398"/>
                    </a:lnTo>
                    <a:lnTo>
                      <a:pt x="462915" y="554398"/>
                    </a:lnTo>
                    <a:lnTo>
                      <a:pt x="468630" y="556303"/>
                    </a:lnTo>
                    <a:lnTo>
                      <a:pt x="474345" y="558208"/>
                    </a:lnTo>
                    <a:lnTo>
                      <a:pt x="482918" y="562018"/>
                    </a:lnTo>
                    <a:lnTo>
                      <a:pt x="493395" y="568685"/>
                    </a:lnTo>
                    <a:lnTo>
                      <a:pt x="496253" y="574400"/>
                    </a:lnTo>
                    <a:lnTo>
                      <a:pt x="504825" y="580115"/>
                    </a:lnTo>
                    <a:lnTo>
                      <a:pt x="512445" y="585830"/>
                    </a:lnTo>
                    <a:lnTo>
                      <a:pt x="521018" y="592498"/>
                    </a:lnTo>
                    <a:lnTo>
                      <a:pt x="526733" y="594403"/>
                    </a:lnTo>
                    <a:lnTo>
                      <a:pt x="537210" y="598213"/>
                    </a:lnTo>
                    <a:lnTo>
                      <a:pt x="551498" y="603928"/>
                    </a:lnTo>
                    <a:lnTo>
                      <a:pt x="560070" y="605833"/>
                    </a:lnTo>
                    <a:lnTo>
                      <a:pt x="561023" y="610595"/>
                    </a:lnTo>
                    <a:lnTo>
                      <a:pt x="563880" y="615358"/>
                    </a:lnTo>
                    <a:lnTo>
                      <a:pt x="566738" y="620120"/>
                    </a:lnTo>
                    <a:lnTo>
                      <a:pt x="567690" y="626788"/>
                    </a:lnTo>
                    <a:lnTo>
                      <a:pt x="575310" y="629645"/>
                    </a:lnTo>
                    <a:lnTo>
                      <a:pt x="581025" y="630598"/>
                    </a:lnTo>
                    <a:lnTo>
                      <a:pt x="589598" y="627740"/>
                    </a:lnTo>
                    <a:cubicBezTo>
                      <a:pt x="589598" y="627740"/>
                      <a:pt x="589598" y="627740"/>
                      <a:pt x="589598" y="620120"/>
                    </a:cubicBezTo>
                    <a:cubicBezTo>
                      <a:pt x="589598" y="612500"/>
                      <a:pt x="589598" y="620120"/>
                      <a:pt x="589598" y="612500"/>
                    </a:cubicBezTo>
                    <a:cubicBezTo>
                      <a:pt x="589598" y="611548"/>
                      <a:pt x="589598" y="610595"/>
                      <a:pt x="589598" y="609643"/>
                    </a:cubicBezTo>
                    <a:cubicBezTo>
                      <a:pt x="589598" y="609643"/>
                      <a:pt x="589598" y="609643"/>
                      <a:pt x="589598" y="608690"/>
                    </a:cubicBezTo>
                    <a:cubicBezTo>
                      <a:pt x="589598" y="608690"/>
                      <a:pt x="589598" y="608690"/>
                      <a:pt x="589598" y="608690"/>
                    </a:cubicBezTo>
                    <a:cubicBezTo>
                      <a:pt x="589598" y="604880"/>
                      <a:pt x="589598" y="608690"/>
                      <a:pt x="588645" y="604880"/>
                    </a:cubicBezTo>
                    <a:cubicBezTo>
                      <a:pt x="587693" y="601070"/>
                      <a:pt x="594360" y="602023"/>
                      <a:pt x="594360" y="602023"/>
                    </a:cubicBezTo>
                    <a:lnTo>
                      <a:pt x="601980" y="597260"/>
                    </a:lnTo>
                    <a:lnTo>
                      <a:pt x="598170" y="590593"/>
                    </a:lnTo>
                    <a:lnTo>
                      <a:pt x="592455" y="589640"/>
                    </a:lnTo>
                    <a:lnTo>
                      <a:pt x="584835" y="587735"/>
                    </a:lnTo>
                    <a:lnTo>
                      <a:pt x="579120" y="586783"/>
                    </a:lnTo>
                    <a:lnTo>
                      <a:pt x="573405" y="584878"/>
                    </a:lnTo>
                    <a:lnTo>
                      <a:pt x="561975" y="578210"/>
                    </a:lnTo>
                    <a:cubicBezTo>
                      <a:pt x="561975" y="578210"/>
                      <a:pt x="561975" y="578210"/>
                      <a:pt x="557213" y="576305"/>
                    </a:cubicBezTo>
                    <a:cubicBezTo>
                      <a:pt x="552450" y="574400"/>
                      <a:pt x="549593" y="571543"/>
                      <a:pt x="549593" y="571543"/>
                    </a:cubicBezTo>
                    <a:lnTo>
                      <a:pt x="532448" y="562018"/>
                    </a:lnTo>
                    <a:lnTo>
                      <a:pt x="521018" y="556303"/>
                    </a:lnTo>
                    <a:cubicBezTo>
                      <a:pt x="521018" y="556303"/>
                      <a:pt x="513398" y="548683"/>
                      <a:pt x="514350" y="545825"/>
                    </a:cubicBezTo>
                    <a:cubicBezTo>
                      <a:pt x="514350" y="542968"/>
                      <a:pt x="514350" y="541063"/>
                      <a:pt x="514350" y="541063"/>
                    </a:cubicBezTo>
                    <a:lnTo>
                      <a:pt x="519113" y="536300"/>
                    </a:lnTo>
                    <a:cubicBezTo>
                      <a:pt x="519113" y="536300"/>
                      <a:pt x="536258" y="539158"/>
                      <a:pt x="541020" y="540110"/>
                    </a:cubicBezTo>
                    <a:cubicBezTo>
                      <a:pt x="545783" y="541063"/>
                      <a:pt x="546735" y="542015"/>
                      <a:pt x="546735" y="542015"/>
                    </a:cubicBezTo>
                    <a:lnTo>
                      <a:pt x="554355" y="545825"/>
                    </a:lnTo>
                    <a:lnTo>
                      <a:pt x="560070" y="549635"/>
                    </a:lnTo>
                    <a:lnTo>
                      <a:pt x="574358" y="554398"/>
                    </a:lnTo>
                    <a:lnTo>
                      <a:pt x="584835" y="559160"/>
                    </a:lnTo>
                    <a:lnTo>
                      <a:pt x="592455" y="563923"/>
                    </a:lnTo>
                    <a:lnTo>
                      <a:pt x="608648" y="569638"/>
                    </a:lnTo>
                    <a:lnTo>
                      <a:pt x="617220" y="578210"/>
                    </a:lnTo>
                    <a:lnTo>
                      <a:pt x="621030" y="584878"/>
                    </a:lnTo>
                    <a:lnTo>
                      <a:pt x="628650" y="591545"/>
                    </a:lnTo>
                    <a:lnTo>
                      <a:pt x="632460" y="597260"/>
                    </a:lnTo>
                    <a:lnTo>
                      <a:pt x="637223" y="603928"/>
                    </a:lnTo>
                    <a:lnTo>
                      <a:pt x="638175" y="611548"/>
                    </a:lnTo>
                    <a:lnTo>
                      <a:pt x="641033" y="616310"/>
                    </a:lnTo>
                    <a:lnTo>
                      <a:pt x="649605" y="622025"/>
                    </a:lnTo>
                    <a:lnTo>
                      <a:pt x="653415" y="626788"/>
                    </a:lnTo>
                    <a:lnTo>
                      <a:pt x="661988" y="631550"/>
                    </a:lnTo>
                    <a:lnTo>
                      <a:pt x="667703" y="636313"/>
                    </a:lnTo>
                    <a:lnTo>
                      <a:pt x="667703" y="642028"/>
                    </a:lnTo>
                    <a:lnTo>
                      <a:pt x="670560" y="650600"/>
                    </a:lnTo>
                    <a:lnTo>
                      <a:pt x="678180" y="652505"/>
                    </a:lnTo>
                    <a:lnTo>
                      <a:pt x="688658" y="652505"/>
                    </a:lnTo>
                    <a:lnTo>
                      <a:pt x="701993" y="648695"/>
                    </a:lnTo>
                    <a:cubicBezTo>
                      <a:pt x="701993" y="648695"/>
                      <a:pt x="701993" y="648695"/>
                      <a:pt x="704850" y="645838"/>
                    </a:cubicBezTo>
                    <a:cubicBezTo>
                      <a:pt x="707708" y="642980"/>
                      <a:pt x="704850" y="645838"/>
                      <a:pt x="710565" y="642980"/>
                    </a:cubicBezTo>
                    <a:lnTo>
                      <a:pt x="715328" y="638218"/>
                    </a:lnTo>
                    <a:lnTo>
                      <a:pt x="715328" y="632503"/>
                    </a:lnTo>
                    <a:lnTo>
                      <a:pt x="715328" y="625835"/>
                    </a:lnTo>
                    <a:lnTo>
                      <a:pt x="712470" y="621073"/>
                    </a:lnTo>
                    <a:cubicBezTo>
                      <a:pt x="712470" y="621073"/>
                      <a:pt x="712470" y="621073"/>
                      <a:pt x="712470" y="616310"/>
                    </a:cubicBezTo>
                    <a:cubicBezTo>
                      <a:pt x="712470" y="611548"/>
                      <a:pt x="712470" y="616310"/>
                      <a:pt x="711518" y="611548"/>
                    </a:cubicBezTo>
                    <a:lnTo>
                      <a:pt x="713423" y="604880"/>
                    </a:lnTo>
                    <a:lnTo>
                      <a:pt x="719138" y="601070"/>
                    </a:lnTo>
                    <a:lnTo>
                      <a:pt x="741045" y="602975"/>
                    </a:lnTo>
                    <a:lnTo>
                      <a:pt x="748665" y="607738"/>
                    </a:lnTo>
                    <a:lnTo>
                      <a:pt x="749618" y="612500"/>
                    </a:lnTo>
                    <a:lnTo>
                      <a:pt x="753428" y="623930"/>
                    </a:lnTo>
                    <a:lnTo>
                      <a:pt x="756285" y="630598"/>
                    </a:lnTo>
                    <a:lnTo>
                      <a:pt x="763905" y="637265"/>
                    </a:lnTo>
                    <a:lnTo>
                      <a:pt x="772478" y="641075"/>
                    </a:lnTo>
                    <a:lnTo>
                      <a:pt x="773430" y="644885"/>
                    </a:lnTo>
                    <a:lnTo>
                      <a:pt x="783908" y="646790"/>
                    </a:lnTo>
                    <a:cubicBezTo>
                      <a:pt x="783908" y="646790"/>
                      <a:pt x="789623" y="648695"/>
                      <a:pt x="801053" y="650600"/>
                    </a:cubicBezTo>
                    <a:cubicBezTo>
                      <a:pt x="812483" y="652505"/>
                      <a:pt x="812483" y="651553"/>
                      <a:pt x="812483" y="651553"/>
                    </a:cubicBezTo>
                    <a:lnTo>
                      <a:pt x="826770" y="651553"/>
                    </a:lnTo>
                    <a:cubicBezTo>
                      <a:pt x="826770" y="651553"/>
                      <a:pt x="835343" y="652505"/>
                      <a:pt x="840105" y="651553"/>
                    </a:cubicBezTo>
                    <a:cubicBezTo>
                      <a:pt x="844868" y="650600"/>
                      <a:pt x="848678" y="651553"/>
                      <a:pt x="848678" y="651553"/>
                    </a:cubicBezTo>
                    <a:lnTo>
                      <a:pt x="862965" y="650600"/>
                    </a:lnTo>
                    <a:lnTo>
                      <a:pt x="874395" y="650600"/>
                    </a:lnTo>
                    <a:cubicBezTo>
                      <a:pt x="874395" y="650600"/>
                      <a:pt x="882015" y="651553"/>
                      <a:pt x="887730" y="650600"/>
                    </a:cubicBezTo>
                    <a:cubicBezTo>
                      <a:pt x="893445" y="649648"/>
                      <a:pt x="896303" y="653458"/>
                      <a:pt x="896303" y="653458"/>
                    </a:cubicBezTo>
                    <a:lnTo>
                      <a:pt x="904875" y="660125"/>
                    </a:lnTo>
                    <a:lnTo>
                      <a:pt x="918210" y="662983"/>
                    </a:lnTo>
                    <a:lnTo>
                      <a:pt x="918210" y="666793"/>
                    </a:lnTo>
                    <a:lnTo>
                      <a:pt x="918210" y="673460"/>
                    </a:lnTo>
                    <a:lnTo>
                      <a:pt x="912495" y="677270"/>
                    </a:lnTo>
                    <a:cubicBezTo>
                      <a:pt x="912495" y="677270"/>
                      <a:pt x="912495" y="677270"/>
                      <a:pt x="904875" y="681080"/>
                    </a:cubicBezTo>
                    <a:lnTo>
                      <a:pt x="902018" y="684890"/>
                    </a:lnTo>
                    <a:cubicBezTo>
                      <a:pt x="902018" y="684890"/>
                      <a:pt x="897255" y="688700"/>
                      <a:pt x="896303" y="691558"/>
                    </a:cubicBezTo>
                    <a:cubicBezTo>
                      <a:pt x="894398" y="694415"/>
                      <a:pt x="896303" y="699178"/>
                      <a:pt x="894398" y="702035"/>
                    </a:cubicBezTo>
                    <a:cubicBezTo>
                      <a:pt x="892493" y="704893"/>
                      <a:pt x="894398" y="711560"/>
                      <a:pt x="894398" y="711560"/>
                    </a:cubicBezTo>
                    <a:lnTo>
                      <a:pt x="889635" y="717275"/>
                    </a:lnTo>
                    <a:lnTo>
                      <a:pt x="881063" y="720133"/>
                    </a:lnTo>
                    <a:lnTo>
                      <a:pt x="862013" y="722038"/>
                    </a:lnTo>
                    <a:cubicBezTo>
                      <a:pt x="862013" y="722038"/>
                      <a:pt x="862013" y="722038"/>
                      <a:pt x="850583" y="722038"/>
                    </a:cubicBezTo>
                    <a:cubicBezTo>
                      <a:pt x="839153" y="722038"/>
                      <a:pt x="850583" y="722038"/>
                      <a:pt x="842963" y="721085"/>
                    </a:cubicBezTo>
                    <a:cubicBezTo>
                      <a:pt x="835343" y="720133"/>
                      <a:pt x="834390" y="724895"/>
                      <a:pt x="834390" y="724895"/>
                    </a:cubicBezTo>
                    <a:cubicBezTo>
                      <a:pt x="834390" y="724895"/>
                      <a:pt x="815340" y="726800"/>
                      <a:pt x="807720" y="727753"/>
                    </a:cubicBezTo>
                    <a:cubicBezTo>
                      <a:pt x="800100" y="728705"/>
                      <a:pt x="793433" y="727753"/>
                      <a:pt x="793433" y="727753"/>
                    </a:cubicBezTo>
                    <a:cubicBezTo>
                      <a:pt x="793433" y="727753"/>
                      <a:pt x="777240" y="725848"/>
                      <a:pt x="771525" y="725848"/>
                    </a:cubicBezTo>
                    <a:cubicBezTo>
                      <a:pt x="765810" y="725848"/>
                      <a:pt x="758190" y="723943"/>
                      <a:pt x="758190" y="723943"/>
                    </a:cubicBezTo>
                    <a:lnTo>
                      <a:pt x="750570" y="722038"/>
                    </a:lnTo>
                    <a:lnTo>
                      <a:pt x="734378" y="720133"/>
                    </a:lnTo>
                    <a:lnTo>
                      <a:pt x="718185" y="715370"/>
                    </a:lnTo>
                    <a:lnTo>
                      <a:pt x="706755" y="714418"/>
                    </a:lnTo>
                    <a:cubicBezTo>
                      <a:pt x="706755" y="714418"/>
                      <a:pt x="688658" y="713465"/>
                      <a:pt x="684848" y="711560"/>
                    </a:cubicBezTo>
                    <a:cubicBezTo>
                      <a:pt x="680085" y="709655"/>
                      <a:pt x="667703" y="711560"/>
                      <a:pt x="667703" y="711560"/>
                    </a:cubicBezTo>
                    <a:cubicBezTo>
                      <a:pt x="667703" y="711560"/>
                      <a:pt x="656273" y="713465"/>
                      <a:pt x="651510" y="713465"/>
                    </a:cubicBezTo>
                    <a:cubicBezTo>
                      <a:pt x="646748" y="713465"/>
                      <a:pt x="648653" y="719180"/>
                      <a:pt x="648653" y="719180"/>
                    </a:cubicBezTo>
                    <a:cubicBezTo>
                      <a:pt x="648653" y="719180"/>
                      <a:pt x="641033" y="727753"/>
                      <a:pt x="632460" y="728705"/>
                    </a:cubicBezTo>
                    <a:cubicBezTo>
                      <a:pt x="623888" y="729658"/>
                      <a:pt x="611505" y="726800"/>
                      <a:pt x="607695" y="726800"/>
                    </a:cubicBezTo>
                    <a:cubicBezTo>
                      <a:pt x="602933" y="726800"/>
                      <a:pt x="601980" y="725848"/>
                      <a:pt x="596265" y="723943"/>
                    </a:cubicBezTo>
                    <a:cubicBezTo>
                      <a:pt x="590550" y="722038"/>
                      <a:pt x="585788" y="721085"/>
                      <a:pt x="585788" y="721085"/>
                    </a:cubicBezTo>
                    <a:lnTo>
                      <a:pt x="571500" y="717275"/>
                    </a:lnTo>
                    <a:cubicBezTo>
                      <a:pt x="571500" y="717275"/>
                      <a:pt x="565785" y="717275"/>
                      <a:pt x="560070" y="714418"/>
                    </a:cubicBezTo>
                    <a:cubicBezTo>
                      <a:pt x="554355" y="711560"/>
                      <a:pt x="548640" y="710608"/>
                      <a:pt x="548640" y="710608"/>
                    </a:cubicBezTo>
                    <a:lnTo>
                      <a:pt x="537210" y="707750"/>
                    </a:lnTo>
                    <a:cubicBezTo>
                      <a:pt x="537210" y="707750"/>
                      <a:pt x="525780" y="705845"/>
                      <a:pt x="521018" y="704893"/>
                    </a:cubicBezTo>
                    <a:cubicBezTo>
                      <a:pt x="516255" y="703940"/>
                      <a:pt x="515303" y="701083"/>
                      <a:pt x="515303" y="701083"/>
                    </a:cubicBezTo>
                    <a:lnTo>
                      <a:pt x="507683" y="697273"/>
                    </a:lnTo>
                    <a:lnTo>
                      <a:pt x="501968" y="697273"/>
                    </a:lnTo>
                    <a:lnTo>
                      <a:pt x="494348" y="694415"/>
                    </a:lnTo>
                    <a:lnTo>
                      <a:pt x="488633" y="689653"/>
                    </a:lnTo>
                    <a:cubicBezTo>
                      <a:pt x="488633" y="689653"/>
                      <a:pt x="484823" y="683938"/>
                      <a:pt x="482918" y="681080"/>
                    </a:cubicBezTo>
                    <a:cubicBezTo>
                      <a:pt x="481965" y="678223"/>
                      <a:pt x="482918" y="675365"/>
                      <a:pt x="482918" y="675365"/>
                    </a:cubicBezTo>
                    <a:lnTo>
                      <a:pt x="485775" y="662983"/>
                    </a:lnTo>
                    <a:cubicBezTo>
                      <a:pt x="485775" y="662983"/>
                      <a:pt x="485775" y="662983"/>
                      <a:pt x="484823" y="655363"/>
                    </a:cubicBezTo>
                    <a:cubicBezTo>
                      <a:pt x="483870" y="647743"/>
                      <a:pt x="484823" y="655363"/>
                      <a:pt x="480060" y="651553"/>
                    </a:cubicBezTo>
                    <a:lnTo>
                      <a:pt x="461010" y="652505"/>
                    </a:lnTo>
                    <a:lnTo>
                      <a:pt x="450533" y="652505"/>
                    </a:lnTo>
                    <a:lnTo>
                      <a:pt x="440055" y="652505"/>
                    </a:lnTo>
                    <a:lnTo>
                      <a:pt x="421005" y="651553"/>
                    </a:lnTo>
                    <a:lnTo>
                      <a:pt x="410528" y="651553"/>
                    </a:lnTo>
                    <a:lnTo>
                      <a:pt x="402908" y="650600"/>
                    </a:lnTo>
                    <a:lnTo>
                      <a:pt x="392430" y="650600"/>
                    </a:lnTo>
                    <a:lnTo>
                      <a:pt x="373380" y="650600"/>
                    </a:lnTo>
                    <a:lnTo>
                      <a:pt x="365760" y="650600"/>
                    </a:lnTo>
                    <a:lnTo>
                      <a:pt x="352425" y="650600"/>
                    </a:lnTo>
                    <a:lnTo>
                      <a:pt x="339090" y="650600"/>
                    </a:lnTo>
                    <a:lnTo>
                      <a:pt x="330518" y="653458"/>
                    </a:lnTo>
                    <a:lnTo>
                      <a:pt x="324803" y="658220"/>
                    </a:lnTo>
                    <a:lnTo>
                      <a:pt x="316230" y="659173"/>
                    </a:lnTo>
                    <a:lnTo>
                      <a:pt x="304800" y="662030"/>
                    </a:lnTo>
                    <a:lnTo>
                      <a:pt x="294323" y="662983"/>
                    </a:lnTo>
                    <a:lnTo>
                      <a:pt x="288608" y="663935"/>
                    </a:lnTo>
                    <a:lnTo>
                      <a:pt x="280988" y="667745"/>
                    </a:lnTo>
                    <a:lnTo>
                      <a:pt x="261938" y="670603"/>
                    </a:lnTo>
                    <a:lnTo>
                      <a:pt x="254318" y="671555"/>
                    </a:lnTo>
                    <a:lnTo>
                      <a:pt x="238125" y="679175"/>
                    </a:lnTo>
                    <a:lnTo>
                      <a:pt x="219075" y="674413"/>
                    </a:lnTo>
                    <a:lnTo>
                      <a:pt x="205740" y="674413"/>
                    </a:lnTo>
                    <a:lnTo>
                      <a:pt x="200025" y="678223"/>
                    </a:lnTo>
                    <a:lnTo>
                      <a:pt x="188595" y="681080"/>
                    </a:lnTo>
                    <a:cubicBezTo>
                      <a:pt x="188595" y="681080"/>
                      <a:pt x="180975" y="684890"/>
                      <a:pt x="177165" y="684890"/>
                    </a:cubicBezTo>
                    <a:cubicBezTo>
                      <a:pt x="172403" y="684890"/>
                      <a:pt x="168593" y="691558"/>
                      <a:pt x="168593" y="691558"/>
                    </a:cubicBezTo>
                    <a:cubicBezTo>
                      <a:pt x="168593" y="691558"/>
                      <a:pt x="168593" y="691558"/>
                      <a:pt x="160020" y="692510"/>
                    </a:cubicBezTo>
                    <a:cubicBezTo>
                      <a:pt x="151448" y="693463"/>
                      <a:pt x="160020" y="692510"/>
                      <a:pt x="155258" y="693463"/>
                    </a:cubicBezTo>
                    <a:cubicBezTo>
                      <a:pt x="150495" y="694415"/>
                      <a:pt x="149543" y="695368"/>
                      <a:pt x="149543" y="695368"/>
                    </a:cubicBezTo>
                    <a:lnTo>
                      <a:pt x="146685" y="701083"/>
                    </a:lnTo>
                    <a:lnTo>
                      <a:pt x="141923" y="706798"/>
                    </a:lnTo>
                    <a:lnTo>
                      <a:pt x="136208" y="711560"/>
                    </a:lnTo>
                    <a:lnTo>
                      <a:pt x="131445" y="721085"/>
                    </a:lnTo>
                    <a:lnTo>
                      <a:pt x="128588" y="729658"/>
                    </a:lnTo>
                    <a:lnTo>
                      <a:pt x="122873" y="740135"/>
                    </a:lnTo>
                    <a:lnTo>
                      <a:pt x="115253" y="744898"/>
                    </a:lnTo>
                    <a:lnTo>
                      <a:pt x="104775" y="749660"/>
                    </a:lnTo>
                    <a:lnTo>
                      <a:pt x="97155" y="746803"/>
                    </a:lnTo>
                    <a:lnTo>
                      <a:pt x="81915" y="754423"/>
                    </a:lnTo>
                    <a:lnTo>
                      <a:pt x="76200" y="756328"/>
                    </a:lnTo>
                    <a:cubicBezTo>
                      <a:pt x="76200" y="756328"/>
                      <a:pt x="71438" y="760138"/>
                      <a:pt x="68580" y="762995"/>
                    </a:cubicBezTo>
                    <a:cubicBezTo>
                      <a:pt x="65723" y="765853"/>
                      <a:pt x="63818" y="767758"/>
                      <a:pt x="63818" y="767758"/>
                    </a:cubicBezTo>
                    <a:cubicBezTo>
                      <a:pt x="63818" y="767758"/>
                      <a:pt x="60960" y="774425"/>
                      <a:pt x="56198" y="781093"/>
                    </a:cubicBezTo>
                    <a:cubicBezTo>
                      <a:pt x="51435" y="787760"/>
                      <a:pt x="56198" y="781093"/>
                      <a:pt x="51435" y="782045"/>
                    </a:cubicBezTo>
                    <a:cubicBezTo>
                      <a:pt x="46673" y="782998"/>
                      <a:pt x="45720" y="786808"/>
                      <a:pt x="40958" y="787760"/>
                    </a:cubicBezTo>
                    <a:cubicBezTo>
                      <a:pt x="36195" y="788713"/>
                      <a:pt x="35243" y="789665"/>
                      <a:pt x="25718" y="794428"/>
                    </a:cubicBezTo>
                    <a:lnTo>
                      <a:pt x="18098" y="802048"/>
                    </a:lnTo>
                    <a:lnTo>
                      <a:pt x="12383" y="815383"/>
                    </a:lnTo>
                    <a:lnTo>
                      <a:pt x="6668" y="823955"/>
                    </a:lnTo>
                    <a:lnTo>
                      <a:pt x="6668" y="834433"/>
                    </a:lnTo>
                    <a:lnTo>
                      <a:pt x="6668" y="839195"/>
                    </a:lnTo>
                    <a:lnTo>
                      <a:pt x="6668" y="850625"/>
                    </a:lnTo>
                    <a:lnTo>
                      <a:pt x="9525" y="864913"/>
                    </a:lnTo>
                    <a:lnTo>
                      <a:pt x="9525" y="874438"/>
                    </a:lnTo>
                    <a:cubicBezTo>
                      <a:pt x="9525" y="874438"/>
                      <a:pt x="10478" y="885868"/>
                      <a:pt x="7620" y="888725"/>
                    </a:cubicBezTo>
                    <a:cubicBezTo>
                      <a:pt x="4763" y="891583"/>
                      <a:pt x="5715" y="894440"/>
                      <a:pt x="5715" y="894440"/>
                    </a:cubicBezTo>
                    <a:lnTo>
                      <a:pt x="2858" y="908728"/>
                    </a:lnTo>
                    <a:lnTo>
                      <a:pt x="0" y="919205"/>
                    </a:lnTo>
                    <a:lnTo>
                      <a:pt x="5715" y="929683"/>
                    </a:lnTo>
                    <a:lnTo>
                      <a:pt x="8573" y="938255"/>
                    </a:lnTo>
                    <a:lnTo>
                      <a:pt x="24765" y="944923"/>
                    </a:lnTo>
                    <a:lnTo>
                      <a:pt x="32385" y="949685"/>
                    </a:lnTo>
                    <a:lnTo>
                      <a:pt x="42863" y="961115"/>
                    </a:lnTo>
                    <a:lnTo>
                      <a:pt x="56198" y="968735"/>
                    </a:lnTo>
                    <a:lnTo>
                      <a:pt x="61913" y="973498"/>
                    </a:lnTo>
                    <a:lnTo>
                      <a:pt x="75248" y="980165"/>
                    </a:lnTo>
                    <a:lnTo>
                      <a:pt x="86678" y="985880"/>
                    </a:lnTo>
                    <a:lnTo>
                      <a:pt x="95250" y="993500"/>
                    </a:lnTo>
                    <a:lnTo>
                      <a:pt x="114300" y="1001120"/>
                    </a:lnTo>
                    <a:lnTo>
                      <a:pt x="120015" y="1009693"/>
                    </a:lnTo>
                    <a:lnTo>
                      <a:pt x="137160" y="1020170"/>
                    </a:lnTo>
                    <a:lnTo>
                      <a:pt x="147638" y="1026838"/>
                    </a:lnTo>
                    <a:cubicBezTo>
                      <a:pt x="147638" y="1026838"/>
                      <a:pt x="153353" y="1026838"/>
                      <a:pt x="165735" y="1026838"/>
                    </a:cubicBezTo>
                    <a:cubicBezTo>
                      <a:pt x="177165" y="1026838"/>
                      <a:pt x="176213" y="1025885"/>
                      <a:pt x="184785" y="1023028"/>
                    </a:cubicBezTo>
                    <a:lnTo>
                      <a:pt x="190500" y="1021123"/>
                    </a:lnTo>
                    <a:lnTo>
                      <a:pt x="201930" y="1019218"/>
                    </a:lnTo>
                    <a:lnTo>
                      <a:pt x="207645" y="1019218"/>
                    </a:lnTo>
                    <a:lnTo>
                      <a:pt x="216218" y="1019218"/>
                    </a:lnTo>
                    <a:lnTo>
                      <a:pt x="224790" y="1019218"/>
                    </a:lnTo>
                    <a:lnTo>
                      <a:pt x="233363" y="1021123"/>
                    </a:lnTo>
                    <a:lnTo>
                      <a:pt x="249555" y="1021123"/>
                    </a:lnTo>
                    <a:lnTo>
                      <a:pt x="258128" y="1020170"/>
                    </a:lnTo>
                    <a:cubicBezTo>
                      <a:pt x="258128" y="1020170"/>
                      <a:pt x="263843" y="1020170"/>
                      <a:pt x="279083" y="1018265"/>
                    </a:cubicBezTo>
                    <a:cubicBezTo>
                      <a:pt x="293370" y="1016360"/>
                      <a:pt x="289560" y="1016360"/>
                      <a:pt x="295275" y="1013503"/>
                    </a:cubicBezTo>
                    <a:cubicBezTo>
                      <a:pt x="295275" y="1013503"/>
                      <a:pt x="303848" y="1009693"/>
                      <a:pt x="306705" y="1006835"/>
                    </a:cubicBezTo>
                    <a:cubicBezTo>
                      <a:pt x="309563" y="1003978"/>
                      <a:pt x="314325" y="1003025"/>
                      <a:pt x="314325" y="1003025"/>
                    </a:cubicBezTo>
                    <a:lnTo>
                      <a:pt x="320040" y="1002073"/>
                    </a:lnTo>
                    <a:lnTo>
                      <a:pt x="334328" y="1002073"/>
                    </a:lnTo>
                    <a:lnTo>
                      <a:pt x="347663" y="1003978"/>
                    </a:lnTo>
                    <a:lnTo>
                      <a:pt x="358140" y="1005883"/>
                    </a:lnTo>
                    <a:lnTo>
                      <a:pt x="366713" y="1006835"/>
                    </a:lnTo>
                    <a:lnTo>
                      <a:pt x="377190" y="1008740"/>
                    </a:lnTo>
                    <a:lnTo>
                      <a:pt x="385763" y="1014455"/>
                    </a:lnTo>
                    <a:lnTo>
                      <a:pt x="394335" y="1021123"/>
                    </a:lnTo>
                    <a:lnTo>
                      <a:pt x="404813" y="1023980"/>
                    </a:lnTo>
                    <a:lnTo>
                      <a:pt x="412433" y="1025885"/>
                    </a:lnTo>
                    <a:lnTo>
                      <a:pt x="429578" y="1027790"/>
                    </a:lnTo>
                    <a:lnTo>
                      <a:pt x="437198" y="1027790"/>
                    </a:lnTo>
                    <a:lnTo>
                      <a:pt x="450533" y="1030648"/>
                    </a:lnTo>
                    <a:lnTo>
                      <a:pt x="451485" y="1036363"/>
                    </a:lnTo>
                    <a:cubicBezTo>
                      <a:pt x="451485" y="1036363"/>
                      <a:pt x="452438" y="1043030"/>
                      <a:pt x="451485" y="1045888"/>
                    </a:cubicBezTo>
                    <a:cubicBezTo>
                      <a:pt x="449580" y="1048745"/>
                      <a:pt x="452438" y="1050650"/>
                      <a:pt x="451485" y="1055413"/>
                    </a:cubicBezTo>
                    <a:cubicBezTo>
                      <a:pt x="449580" y="1060175"/>
                      <a:pt x="451485" y="1066843"/>
                      <a:pt x="451485" y="1066843"/>
                    </a:cubicBezTo>
                    <a:lnTo>
                      <a:pt x="449580" y="1076368"/>
                    </a:lnTo>
                    <a:lnTo>
                      <a:pt x="447675" y="1087798"/>
                    </a:lnTo>
                    <a:lnTo>
                      <a:pt x="447675" y="1095418"/>
                    </a:lnTo>
                    <a:lnTo>
                      <a:pt x="450533" y="1102085"/>
                    </a:lnTo>
                    <a:lnTo>
                      <a:pt x="458153" y="1108753"/>
                    </a:lnTo>
                    <a:lnTo>
                      <a:pt x="465773" y="1112563"/>
                    </a:lnTo>
                    <a:lnTo>
                      <a:pt x="474345" y="1113515"/>
                    </a:lnTo>
                    <a:lnTo>
                      <a:pt x="487680" y="1123040"/>
                    </a:lnTo>
                    <a:lnTo>
                      <a:pt x="493395" y="1129708"/>
                    </a:lnTo>
                    <a:lnTo>
                      <a:pt x="499110" y="1134470"/>
                    </a:lnTo>
                    <a:cubicBezTo>
                      <a:pt x="499110" y="1134470"/>
                      <a:pt x="504825" y="1138280"/>
                      <a:pt x="507683" y="1150663"/>
                    </a:cubicBezTo>
                    <a:cubicBezTo>
                      <a:pt x="510540" y="1163045"/>
                      <a:pt x="507683" y="1150663"/>
                      <a:pt x="510540" y="1157330"/>
                    </a:cubicBezTo>
                    <a:cubicBezTo>
                      <a:pt x="513398" y="1163998"/>
                      <a:pt x="507683" y="1165903"/>
                      <a:pt x="507683" y="1165903"/>
                    </a:cubicBezTo>
                    <a:cubicBezTo>
                      <a:pt x="507683" y="1165903"/>
                      <a:pt x="507683" y="1170665"/>
                      <a:pt x="507683" y="1173523"/>
                    </a:cubicBezTo>
                    <a:cubicBezTo>
                      <a:pt x="507683" y="1176380"/>
                      <a:pt x="518160" y="1182095"/>
                      <a:pt x="518160" y="1182095"/>
                    </a:cubicBezTo>
                    <a:lnTo>
                      <a:pt x="525780" y="1185905"/>
                    </a:lnTo>
                    <a:lnTo>
                      <a:pt x="526733" y="1192573"/>
                    </a:lnTo>
                    <a:lnTo>
                      <a:pt x="523875" y="1198288"/>
                    </a:lnTo>
                    <a:lnTo>
                      <a:pt x="519113" y="1203050"/>
                    </a:lnTo>
                    <a:cubicBezTo>
                      <a:pt x="519113" y="1203050"/>
                      <a:pt x="517208" y="1210670"/>
                      <a:pt x="511493" y="1214480"/>
                    </a:cubicBezTo>
                    <a:cubicBezTo>
                      <a:pt x="505778" y="1218290"/>
                      <a:pt x="511493" y="1214480"/>
                      <a:pt x="506730" y="1219243"/>
                    </a:cubicBezTo>
                    <a:cubicBezTo>
                      <a:pt x="506730" y="1219243"/>
                      <a:pt x="506730" y="1224958"/>
                      <a:pt x="506730" y="1227815"/>
                    </a:cubicBezTo>
                    <a:cubicBezTo>
                      <a:pt x="506730" y="1230673"/>
                      <a:pt x="499110" y="1233530"/>
                      <a:pt x="499110" y="1233530"/>
                    </a:cubicBezTo>
                    <a:cubicBezTo>
                      <a:pt x="499110" y="1233530"/>
                      <a:pt x="496253" y="1243055"/>
                      <a:pt x="491490" y="1245913"/>
                    </a:cubicBezTo>
                    <a:cubicBezTo>
                      <a:pt x="486728" y="1248770"/>
                      <a:pt x="491490" y="1250675"/>
                      <a:pt x="491490" y="1250675"/>
                    </a:cubicBezTo>
                    <a:lnTo>
                      <a:pt x="494348" y="1260200"/>
                    </a:lnTo>
                    <a:cubicBezTo>
                      <a:pt x="494348" y="1260200"/>
                      <a:pt x="497205" y="1273535"/>
                      <a:pt x="495300" y="1280203"/>
                    </a:cubicBezTo>
                    <a:lnTo>
                      <a:pt x="501968" y="1290680"/>
                    </a:lnTo>
                    <a:lnTo>
                      <a:pt x="500063" y="1304015"/>
                    </a:lnTo>
                    <a:lnTo>
                      <a:pt x="502920" y="1310683"/>
                    </a:lnTo>
                    <a:lnTo>
                      <a:pt x="514350" y="1320208"/>
                    </a:lnTo>
                    <a:lnTo>
                      <a:pt x="525780" y="1326875"/>
                    </a:lnTo>
                    <a:cubicBezTo>
                      <a:pt x="525780" y="1326875"/>
                      <a:pt x="531495" y="1333543"/>
                      <a:pt x="534353" y="1337353"/>
                    </a:cubicBezTo>
                    <a:cubicBezTo>
                      <a:pt x="537210" y="1341163"/>
                      <a:pt x="535305" y="1342115"/>
                      <a:pt x="535305" y="1342115"/>
                    </a:cubicBezTo>
                    <a:lnTo>
                      <a:pt x="533400" y="1349735"/>
                    </a:lnTo>
                    <a:lnTo>
                      <a:pt x="533400" y="1360213"/>
                    </a:lnTo>
                    <a:lnTo>
                      <a:pt x="534353" y="1369738"/>
                    </a:lnTo>
                    <a:lnTo>
                      <a:pt x="547688" y="1380215"/>
                    </a:lnTo>
                    <a:lnTo>
                      <a:pt x="553403" y="1388788"/>
                    </a:lnTo>
                    <a:lnTo>
                      <a:pt x="559118" y="1393550"/>
                    </a:lnTo>
                    <a:lnTo>
                      <a:pt x="563880" y="1398313"/>
                    </a:lnTo>
                    <a:lnTo>
                      <a:pt x="573405" y="1410695"/>
                    </a:lnTo>
                    <a:lnTo>
                      <a:pt x="576263" y="1419268"/>
                    </a:lnTo>
                    <a:lnTo>
                      <a:pt x="580073" y="1425935"/>
                    </a:lnTo>
                    <a:lnTo>
                      <a:pt x="588645" y="1436413"/>
                    </a:lnTo>
                    <a:lnTo>
                      <a:pt x="594360" y="1442128"/>
                    </a:lnTo>
                    <a:lnTo>
                      <a:pt x="597218" y="1451653"/>
                    </a:lnTo>
                    <a:lnTo>
                      <a:pt x="597218" y="1458320"/>
                    </a:lnTo>
                    <a:lnTo>
                      <a:pt x="598170" y="1464035"/>
                    </a:lnTo>
                    <a:lnTo>
                      <a:pt x="601980" y="1473560"/>
                    </a:lnTo>
                    <a:lnTo>
                      <a:pt x="612458" y="1473560"/>
                    </a:lnTo>
                    <a:lnTo>
                      <a:pt x="618173" y="1473560"/>
                    </a:lnTo>
                    <a:lnTo>
                      <a:pt x="628650" y="1473560"/>
                    </a:lnTo>
                    <a:lnTo>
                      <a:pt x="639128" y="1473560"/>
                    </a:lnTo>
                    <a:lnTo>
                      <a:pt x="650558" y="1472608"/>
                    </a:lnTo>
                    <a:cubicBezTo>
                      <a:pt x="650558" y="1472608"/>
                      <a:pt x="650558" y="1472608"/>
                      <a:pt x="656273" y="1470703"/>
                    </a:cubicBezTo>
                    <a:cubicBezTo>
                      <a:pt x="661988" y="1468798"/>
                      <a:pt x="667703" y="1469750"/>
                      <a:pt x="667703" y="1469750"/>
                    </a:cubicBezTo>
                    <a:lnTo>
                      <a:pt x="681038" y="1468798"/>
                    </a:lnTo>
                    <a:lnTo>
                      <a:pt x="698183" y="1468798"/>
                    </a:lnTo>
                    <a:lnTo>
                      <a:pt x="719138" y="1466893"/>
                    </a:lnTo>
                    <a:lnTo>
                      <a:pt x="746760" y="1462130"/>
                    </a:lnTo>
                    <a:lnTo>
                      <a:pt x="764858" y="1456415"/>
                    </a:lnTo>
                    <a:cubicBezTo>
                      <a:pt x="764858" y="1456415"/>
                      <a:pt x="773430" y="1452605"/>
                      <a:pt x="775335" y="1447843"/>
                    </a:cubicBezTo>
                    <a:cubicBezTo>
                      <a:pt x="777240" y="1443080"/>
                      <a:pt x="781050" y="1444033"/>
                      <a:pt x="781050" y="1444033"/>
                    </a:cubicBezTo>
                    <a:lnTo>
                      <a:pt x="786765" y="1440223"/>
                    </a:lnTo>
                    <a:cubicBezTo>
                      <a:pt x="786765" y="1440223"/>
                      <a:pt x="795338" y="1438318"/>
                      <a:pt x="802005" y="1434508"/>
                    </a:cubicBezTo>
                    <a:cubicBezTo>
                      <a:pt x="807720" y="1430698"/>
                      <a:pt x="810578" y="1430698"/>
                      <a:pt x="810578" y="1427840"/>
                    </a:cubicBezTo>
                    <a:cubicBezTo>
                      <a:pt x="810578" y="1424983"/>
                      <a:pt x="815340" y="1424030"/>
                      <a:pt x="815340" y="1424030"/>
                    </a:cubicBezTo>
                    <a:cubicBezTo>
                      <a:pt x="815340" y="1424030"/>
                      <a:pt x="820103" y="1418315"/>
                      <a:pt x="821055" y="1415458"/>
                    </a:cubicBezTo>
                    <a:cubicBezTo>
                      <a:pt x="822960" y="1412600"/>
                      <a:pt x="826770" y="1412600"/>
                      <a:pt x="826770" y="1412600"/>
                    </a:cubicBezTo>
                    <a:cubicBezTo>
                      <a:pt x="826770" y="1412600"/>
                      <a:pt x="826770" y="1412600"/>
                      <a:pt x="834390" y="1406885"/>
                    </a:cubicBezTo>
                    <a:cubicBezTo>
                      <a:pt x="842010" y="1401170"/>
                      <a:pt x="834390" y="1406885"/>
                      <a:pt x="836295" y="1404028"/>
                    </a:cubicBezTo>
                    <a:cubicBezTo>
                      <a:pt x="838200" y="1401170"/>
                      <a:pt x="838200" y="1395455"/>
                      <a:pt x="839153" y="1389740"/>
                    </a:cubicBezTo>
                    <a:cubicBezTo>
                      <a:pt x="841058" y="1384025"/>
                      <a:pt x="839153" y="1384978"/>
                      <a:pt x="839153" y="1381168"/>
                    </a:cubicBezTo>
                    <a:cubicBezTo>
                      <a:pt x="839153" y="1377358"/>
                      <a:pt x="843915" y="1373548"/>
                      <a:pt x="843915" y="1370690"/>
                    </a:cubicBezTo>
                    <a:cubicBezTo>
                      <a:pt x="843915" y="1367833"/>
                      <a:pt x="859155" y="1365928"/>
                      <a:pt x="859155" y="1365928"/>
                    </a:cubicBezTo>
                    <a:lnTo>
                      <a:pt x="864870" y="1364975"/>
                    </a:lnTo>
                    <a:lnTo>
                      <a:pt x="870585" y="1364023"/>
                    </a:lnTo>
                    <a:lnTo>
                      <a:pt x="881063" y="1357355"/>
                    </a:lnTo>
                    <a:cubicBezTo>
                      <a:pt x="881063" y="1357355"/>
                      <a:pt x="881063" y="1357355"/>
                      <a:pt x="880110" y="1354498"/>
                    </a:cubicBezTo>
                    <a:cubicBezTo>
                      <a:pt x="879158" y="1351640"/>
                      <a:pt x="882015" y="1350688"/>
                      <a:pt x="880110" y="1347830"/>
                    </a:cubicBezTo>
                    <a:cubicBezTo>
                      <a:pt x="879158" y="1344973"/>
                      <a:pt x="882015" y="1344020"/>
                      <a:pt x="880110" y="1338305"/>
                    </a:cubicBezTo>
                    <a:cubicBezTo>
                      <a:pt x="879158" y="1332590"/>
                      <a:pt x="882015" y="1334495"/>
                      <a:pt x="880110" y="1329733"/>
                    </a:cubicBezTo>
                    <a:cubicBezTo>
                      <a:pt x="879158" y="1324970"/>
                      <a:pt x="882015" y="1325923"/>
                      <a:pt x="880110" y="1317350"/>
                    </a:cubicBezTo>
                    <a:cubicBezTo>
                      <a:pt x="879158" y="1308778"/>
                      <a:pt x="884873" y="1302110"/>
                      <a:pt x="884873" y="1302110"/>
                    </a:cubicBezTo>
                    <a:lnTo>
                      <a:pt x="884873" y="1298300"/>
                    </a:lnTo>
                    <a:cubicBezTo>
                      <a:pt x="884873" y="1298300"/>
                      <a:pt x="897255" y="1290680"/>
                      <a:pt x="902970" y="1287823"/>
                    </a:cubicBezTo>
                    <a:lnTo>
                      <a:pt x="921068" y="1278298"/>
                    </a:lnTo>
                    <a:lnTo>
                      <a:pt x="929640" y="1275440"/>
                    </a:lnTo>
                    <a:lnTo>
                      <a:pt x="935355" y="1272583"/>
                    </a:lnTo>
                    <a:lnTo>
                      <a:pt x="945833" y="1270678"/>
                    </a:lnTo>
                    <a:lnTo>
                      <a:pt x="954405" y="1267820"/>
                    </a:lnTo>
                    <a:lnTo>
                      <a:pt x="962978" y="1264963"/>
                    </a:lnTo>
                    <a:lnTo>
                      <a:pt x="970598" y="1257343"/>
                    </a:lnTo>
                    <a:cubicBezTo>
                      <a:pt x="970598" y="1257343"/>
                      <a:pt x="975360" y="1247818"/>
                      <a:pt x="975360" y="1243055"/>
                    </a:cubicBezTo>
                    <a:cubicBezTo>
                      <a:pt x="975360" y="1238293"/>
                      <a:pt x="977265" y="1231625"/>
                      <a:pt x="975360" y="1227815"/>
                    </a:cubicBezTo>
                    <a:cubicBezTo>
                      <a:pt x="974408" y="1224005"/>
                      <a:pt x="977265" y="1223053"/>
                      <a:pt x="975360" y="1219243"/>
                    </a:cubicBezTo>
                    <a:cubicBezTo>
                      <a:pt x="974408" y="1215433"/>
                      <a:pt x="977265" y="1207813"/>
                      <a:pt x="975360" y="1204955"/>
                    </a:cubicBezTo>
                    <a:cubicBezTo>
                      <a:pt x="974408" y="1202098"/>
                      <a:pt x="975360" y="1193525"/>
                      <a:pt x="975360" y="1193525"/>
                    </a:cubicBezTo>
                    <a:cubicBezTo>
                      <a:pt x="975360" y="1193525"/>
                      <a:pt x="966788" y="1184000"/>
                      <a:pt x="963930" y="1181143"/>
                    </a:cubicBezTo>
                    <a:cubicBezTo>
                      <a:pt x="961073" y="1178285"/>
                      <a:pt x="963930" y="1174475"/>
                      <a:pt x="961073" y="1170665"/>
                    </a:cubicBezTo>
                    <a:cubicBezTo>
                      <a:pt x="958215" y="1166855"/>
                      <a:pt x="962978" y="1165903"/>
                      <a:pt x="960120" y="1159235"/>
                    </a:cubicBezTo>
                    <a:cubicBezTo>
                      <a:pt x="957263" y="1152568"/>
                      <a:pt x="962025" y="1154473"/>
                      <a:pt x="960120" y="1145900"/>
                    </a:cubicBezTo>
                    <a:cubicBezTo>
                      <a:pt x="959168" y="1137328"/>
                      <a:pt x="960120" y="1132565"/>
                      <a:pt x="960120" y="1132565"/>
                    </a:cubicBezTo>
                    <a:lnTo>
                      <a:pt x="965835" y="1121135"/>
                    </a:lnTo>
                    <a:lnTo>
                      <a:pt x="970598" y="1111610"/>
                    </a:lnTo>
                    <a:lnTo>
                      <a:pt x="985838" y="1100180"/>
                    </a:lnTo>
                    <a:lnTo>
                      <a:pt x="1001078" y="1089703"/>
                    </a:lnTo>
                    <a:cubicBezTo>
                      <a:pt x="1001078" y="1089703"/>
                      <a:pt x="1009650" y="1086845"/>
                      <a:pt x="1011555" y="1083988"/>
                    </a:cubicBezTo>
                    <a:cubicBezTo>
                      <a:pt x="1013460" y="1081130"/>
                      <a:pt x="1020128" y="1080178"/>
                      <a:pt x="1022985" y="1077320"/>
                    </a:cubicBezTo>
                    <a:cubicBezTo>
                      <a:pt x="1025843" y="1074463"/>
                      <a:pt x="1033463" y="1072558"/>
                      <a:pt x="1033463" y="1072558"/>
                    </a:cubicBezTo>
                    <a:lnTo>
                      <a:pt x="1051560" y="1063033"/>
                    </a:lnTo>
                    <a:lnTo>
                      <a:pt x="1063943" y="1055413"/>
                    </a:lnTo>
                    <a:lnTo>
                      <a:pt x="1072515" y="1049698"/>
                    </a:lnTo>
                    <a:lnTo>
                      <a:pt x="1094423" y="1042078"/>
                    </a:lnTo>
                    <a:lnTo>
                      <a:pt x="1115378" y="1027790"/>
                    </a:lnTo>
                    <a:lnTo>
                      <a:pt x="1123950" y="1018265"/>
                    </a:lnTo>
                    <a:lnTo>
                      <a:pt x="1125855" y="1011598"/>
                    </a:lnTo>
                    <a:lnTo>
                      <a:pt x="1136333" y="1002073"/>
                    </a:lnTo>
                    <a:lnTo>
                      <a:pt x="1139190" y="997310"/>
                    </a:lnTo>
                    <a:lnTo>
                      <a:pt x="1154430" y="975403"/>
                    </a:lnTo>
                    <a:cubicBezTo>
                      <a:pt x="1154430" y="975403"/>
                      <a:pt x="1157288" y="966830"/>
                      <a:pt x="1156335" y="963973"/>
                    </a:cubicBezTo>
                    <a:cubicBezTo>
                      <a:pt x="1155383" y="961115"/>
                      <a:pt x="1158240" y="958258"/>
                      <a:pt x="1158240" y="958258"/>
                    </a:cubicBezTo>
                    <a:lnTo>
                      <a:pt x="1160145" y="951590"/>
                    </a:lnTo>
                    <a:lnTo>
                      <a:pt x="1141095" y="955400"/>
                    </a:lnTo>
                    <a:lnTo>
                      <a:pt x="1127760" y="955400"/>
                    </a:lnTo>
                    <a:lnTo>
                      <a:pt x="1116330" y="956353"/>
                    </a:lnTo>
                    <a:cubicBezTo>
                      <a:pt x="1116330" y="956353"/>
                      <a:pt x="1102995" y="956353"/>
                      <a:pt x="1095375" y="955400"/>
                    </a:cubicBezTo>
                    <a:cubicBezTo>
                      <a:pt x="1087755" y="954448"/>
                      <a:pt x="1089660" y="955400"/>
                      <a:pt x="1089660" y="955400"/>
                    </a:cubicBezTo>
                    <a:lnTo>
                      <a:pt x="1073468" y="956353"/>
                    </a:lnTo>
                    <a:lnTo>
                      <a:pt x="1067753" y="957305"/>
                    </a:lnTo>
                    <a:lnTo>
                      <a:pt x="1053465" y="957305"/>
                    </a:lnTo>
                    <a:cubicBezTo>
                      <a:pt x="1053465" y="957305"/>
                      <a:pt x="1047750" y="957305"/>
                      <a:pt x="1042035" y="953495"/>
                    </a:cubicBezTo>
                    <a:cubicBezTo>
                      <a:pt x="1042035" y="953495"/>
                      <a:pt x="1036320" y="951590"/>
                      <a:pt x="1030605" y="946828"/>
                    </a:cubicBezTo>
                    <a:cubicBezTo>
                      <a:pt x="1024890" y="942065"/>
                      <a:pt x="1030605" y="946828"/>
                      <a:pt x="1027748" y="943018"/>
                    </a:cubicBezTo>
                    <a:cubicBezTo>
                      <a:pt x="1024890" y="939208"/>
                      <a:pt x="1022033" y="936350"/>
                      <a:pt x="1021080" y="933493"/>
                    </a:cubicBezTo>
                    <a:cubicBezTo>
                      <a:pt x="1020128" y="930635"/>
                      <a:pt x="1004888" y="923968"/>
                      <a:pt x="1004888" y="923968"/>
                    </a:cubicBezTo>
                    <a:lnTo>
                      <a:pt x="993458" y="921110"/>
                    </a:lnTo>
                    <a:lnTo>
                      <a:pt x="984885" y="912538"/>
                    </a:lnTo>
                    <a:lnTo>
                      <a:pt x="976313" y="908728"/>
                    </a:lnTo>
                    <a:lnTo>
                      <a:pt x="963930" y="908728"/>
                    </a:lnTo>
                    <a:cubicBezTo>
                      <a:pt x="963930" y="908728"/>
                      <a:pt x="956310" y="900155"/>
                      <a:pt x="953453" y="896345"/>
                    </a:cubicBezTo>
                    <a:cubicBezTo>
                      <a:pt x="950595" y="892535"/>
                      <a:pt x="949643" y="885868"/>
                      <a:pt x="949643" y="885868"/>
                    </a:cubicBezTo>
                    <a:lnTo>
                      <a:pt x="942975" y="872533"/>
                    </a:lnTo>
                    <a:lnTo>
                      <a:pt x="934403" y="862055"/>
                    </a:lnTo>
                    <a:lnTo>
                      <a:pt x="930593" y="847768"/>
                    </a:lnTo>
                    <a:lnTo>
                      <a:pt x="924878" y="838243"/>
                    </a:lnTo>
                    <a:lnTo>
                      <a:pt x="917258" y="833480"/>
                    </a:lnTo>
                    <a:lnTo>
                      <a:pt x="901065" y="820145"/>
                    </a:lnTo>
                    <a:lnTo>
                      <a:pt x="893445" y="815383"/>
                    </a:lnTo>
                    <a:lnTo>
                      <a:pt x="884873" y="812525"/>
                    </a:lnTo>
                    <a:cubicBezTo>
                      <a:pt x="884873" y="812525"/>
                      <a:pt x="882015" y="802048"/>
                      <a:pt x="881063" y="799190"/>
                    </a:cubicBezTo>
                    <a:cubicBezTo>
                      <a:pt x="880110" y="796333"/>
                      <a:pt x="882968" y="790618"/>
                      <a:pt x="882968" y="790618"/>
                    </a:cubicBezTo>
                    <a:cubicBezTo>
                      <a:pt x="882968" y="790618"/>
                      <a:pt x="882968" y="781093"/>
                      <a:pt x="880110" y="778235"/>
                    </a:cubicBezTo>
                    <a:cubicBezTo>
                      <a:pt x="877253" y="775378"/>
                      <a:pt x="880110" y="774425"/>
                      <a:pt x="880110" y="774425"/>
                    </a:cubicBezTo>
                    <a:cubicBezTo>
                      <a:pt x="880110" y="774425"/>
                      <a:pt x="882015" y="769663"/>
                      <a:pt x="880110" y="766805"/>
                    </a:cubicBezTo>
                    <a:cubicBezTo>
                      <a:pt x="879158" y="763948"/>
                      <a:pt x="884873" y="761090"/>
                      <a:pt x="884873" y="761090"/>
                    </a:cubicBezTo>
                    <a:lnTo>
                      <a:pt x="895350" y="761090"/>
                    </a:lnTo>
                    <a:lnTo>
                      <a:pt x="905828" y="762043"/>
                    </a:lnTo>
                    <a:lnTo>
                      <a:pt x="916305" y="767758"/>
                    </a:lnTo>
                    <a:lnTo>
                      <a:pt x="921068" y="773473"/>
                    </a:lnTo>
                    <a:lnTo>
                      <a:pt x="924878" y="779188"/>
                    </a:lnTo>
                    <a:lnTo>
                      <a:pt x="930593" y="783950"/>
                    </a:lnTo>
                    <a:lnTo>
                      <a:pt x="930593" y="790618"/>
                    </a:lnTo>
                    <a:lnTo>
                      <a:pt x="930593" y="798238"/>
                    </a:lnTo>
                    <a:lnTo>
                      <a:pt x="944880" y="814430"/>
                    </a:lnTo>
                    <a:lnTo>
                      <a:pt x="956310" y="831575"/>
                    </a:lnTo>
                    <a:lnTo>
                      <a:pt x="973455" y="843958"/>
                    </a:lnTo>
                    <a:lnTo>
                      <a:pt x="990600" y="853483"/>
                    </a:lnTo>
                    <a:lnTo>
                      <a:pt x="993458" y="864913"/>
                    </a:lnTo>
                    <a:lnTo>
                      <a:pt x="1000125" y="875390"/>
                    </a:lnTo>
                    <a:lnTo>
                      <a:pt x="1011555" y="883963"/>
                    </a:lnTo>
                    <a:lnTo>
                      <a:pt x="1027748" y="893488"/>
                    </a:lnTo>
                    <a:lnTo>
                      <a:pt x="1031558" y="901108"/>
                    </a:lnTo>
                    <a:lnTo>
                      <a:pt x="1032510" y="913490"/>
                    </a:lnTo>
                    <a:lnTo>
                      <a:pt x="1033463" y="921110"/>
                    </a:lnTo>
                    <a:lnTo>
                      <a:pt x="1037273" y="927778"/>
                    </a:lnTo>
                    <a:lnTo>
                      <a:pt x="1042035" y="931588"/>
                    </a:lnTo>
                    <a:lnTo>
                      <a:pt x="1053465" y="935398"/>
                    </a:lnTo>
                    <a:lnTo>
                      <a:pt x="1061085" y="936350"/>
                    </a:lnTo>
                    <a:lnTo>
                      <a:pt x="1075373" y="936350"/>
                    </a:lnTo>
                    <a:lnTo>
                      <a:pt x="1086803" y="935398"/>
                    </a:lnTo>
                    <a:lnTo>
                      <a:pt x="1101090" y="934445"/>
                    </a:lnTo>
                    <a:cubicBezTo>
                      <a:pt x="1101090" y="934445"/>
                      <a:pt x="1109663" y="934445"/>
                      <a:pt x="1115378" y="930635"/>
                    </a:cubicBezTo>
                    <a:cubicBezTo>
                      <a:pt x="1121093" y="926825"/>
                      <a:pt x="1131570" y="926825"/>
                      <a:pt x="1131570" y="926825"/>
                    </a:cubicBezTo>
                    <a:lnTo>
                      <a:pt x="1140143" y="925873"/>
                    </a:lnTo>
                    <a:cubicBezTo>
                      <a:pt x="1140143" y="925873"/>
                      <a:pt x="1145858" y="925873"/>
                      <a:pt x="1150620" y="923015"/>
                    </a:cubicBezTo>
                    <a:cubicBezTo>
                      <a:pt x="1155383" y="920158"/>
                      <a:pt x="1159193" y="920158"/>
                      <a:pt x="1163955" y="915395"/>
                    </a:cubicBezTo>
                    <a:cubicBezTo>
                      <a:pt x="1168718" y="910633"/>
                      <a:pt x="1180148" y="906823"/>
                      <a:pt x="1180148" y="906823"/>
                    </a:cubicBezTo>
                    <a:lnTo>
                      <a:pt x="1188720" y="903965"/>
                    </a:lnTo>
                    <a:lnTo>
                      <a:pt x="1212533" y="900155"/>
                    </a:lnTo>
                    <a:lnTo>
                      <a:pt x="1228725" y="895393"/>
                    </a:lnTo>
                    <a:cubicBezTo>
                      <a:pt x="1228725" y="895393"/>
                      <a:pt x="1242060" y="887773"/>
                      <a:pt x="1246823" y="882058"/>
                    </a:cubicBezTo>
                    <a:cubicBezTo>
                      <a:pt x="1251585" y="876343"/>
                      <a:pt x="1246823" y="882058"/>
                      <a:pt x="1249680" y="879200"/>
                    </a:cubicBezTo>
                    <a:cubicBezTo>
                      <a:pt x="1252538" y="876343"/>
                      <a:pt x="1263015" y="877295"/>
                      <a:pt x="1263015" y="877295"/>
                    </a:cubicBezTo>
                    <a:lnTo>
                      <a:pt x="1274445" y="872533"/>
                    </a:lnTo>
                    <a:lnTo>
                      <a:pt x="1280160" y="869675"/>
                    </a:lnTo>
                    <a:cubicBezTo>
                      <a:pt x="1280160" y="869675"/>
                      <a:pt x="1298258" y="863960"/>
                      <a:pt x="1299210" y="861103"/>
                    </a:cubicBezTo>
                    <a:cubicBezTo>
                      <a:pt x="1301115" y="858245"/>
                      <a:pt x="1303973" y="857293"/>
                      <a:pt x="1306830" y="852530"/>
                    </a:cubicBezTo>
                    <a:cubicBezTo>
                      <a:pt x="1309688" y="847768"/>
                      <a:pt x="1314450" y="846815"/>
                      <a:pt x="1315403" y="843005"/>
                    </a:cubicBezTo>
                    <a:cubicBezTo>
                      <a:pt x="1317308" y="839195"/>
                      <a:pt x="1314450" y="829670"/>
                      <a:pt x="1314450" y="829670"/>
                    </a:cubicBezTo>
                    <a:cubicBezTo>
                      <a:pt x="1314450" y="829670"/>
                      <a:pt x="1314450" y="829670"/>
                      <a:pt x="1313498" y="824908"/>
                    </a:cubicBezTo>
                    <a:cubicBezTo>
                      <a:pt x="1312545" y="820145"/>
                      <a:pt x="1313498" y="824908"/>
                      <a:pt x="1310640" y="822050"/>
                    </a:cubicBezTo>
                    <a:cubicBezTo>
                      <a:pt x="1307783" y="819193"/>
                      <a:pt x="1304925" y="817288"/>
                      <a:pt x="1304925" y="817288"/>
                    </a:cubicBezTo>
                    <a:cubicBezTo>
                      <a:pt x="1304925" y="817288"/>
                      <a:pt x="1294448" y="813478"/>
                      <a:pt x="1290638" y="813478"/>
                    </a:cubicBezTo>
                    <a:cubicBezTo>
                      <a:pt x="1285875" y="813478"/>
                      <a:pt x="1276350" y="807763"/>
                      <a:pt x="1271588" y="804905"/>
                    </a:cubicBezTo>
                    <a:cubicBezTo>
                      <a:pt x="1266825" y="802048"/>
                      <a:pt x="1271588" y="804905"/>
                      <a:pt x="1270635" y="800143"/>
                    </a:cubicBezTo>
                    <a:cubicBezTo>
                      <a:pt x="1269683" y="795380"/>
                      <a:pt x="1259205" y="795380"/>
                      <a:pt x="1259205" y="795380"/>
                    </a:cubicBezTo>
                    <a:lnTo>
                      <a:pt x="1245870" y="793475"/>
                    </a:lnTo>
                    <a:lnTo>
                      <a:pt x="1238250" y="793475"/>
                    </a:lnTo>
                    <a:lnTo>
                      <a:pt x="1232535" y="793475"/>
                    </a:lnTo>
                    <a:lnTo>
                      <a:pt x="1224915" y="793475"/>
                    </a:lnTo>
                    <a:lnTo>
                      <a:pt x="1217295" y="797285"/>
                    </a:lnTo>
                    <a:lnTo>
                      <a:pt x="1211580" y="801095"/>
                    </a:lnTo>
                    <a:lnTo>
                      <a:pt x="1203960" y="802048"/>
                    </a:lnTo>
                    <a:lnTo>
                      <a:pt x="1192530" y="798238"/>
                    </a:lnTo>
                    <a:cubicBezTo>
                      <a:pt x="1192530" y="798238"/>
                      <a:pt x="1187768" y="794428"/>
                      <a:pt x="1183958" y="793475"/>
                    </a:cubicBezTo>
                    <a:cubicBezTo>
                      <a:pt x="1179195" y="792523"/>
                      <a:pt x="1172528" y="789665"/>
                      <a:pt x="1162050" y="777283"/>
                    </a:cubicBezTo>
                    <a:cubicBezTo>
                      <a:pt x="1152525" y="764900"/>
                      <a:pt x="1162050" y="777283"/>
                      <a:pt x="1157288" y="776330"/>
                    </a:cubicBezTo>
                    <a:cubicBezTo>
                      <a:pt x="1152525" y="775378"/>
                      <a:pt x="1151573" y="772520"/>
                      <a:pt x="1148715" y="769663"/>
                    </a:cubicBezTo>
                    <a:cubicBezTo>
                      <a:pt x="1145858" y="766805"/>
                      <a:pt x="1140143" y="759185"/>
                      <a:pt x="1140143" y="759185"/>
                    </a:cubicBezTo>
                    <a:cubicBezTo>
                      <a:pt x="1140143" y="759185"/>
                      <a:pt x="1136333" y="754423"/>
                      <a:pt x="1132523" y="751565"/>
                    </a:cubicBezTo>
                    <a:cubicBezTo>
                      <a:pt x="1129665" y="748708"/>
                      <a:pt x="1126808" y="741088"/>
                      <a:pt x="1126808" y="741088"/>
                    </a:cubicBezTo>
                    <a:lnTo>
                      <a:pt x="1129665" y="733468"/>
                    </a:lnTo>
                    <a:lnTo>
                      <a:pt x="1138238" y="733468"/>
                    </a:lnTo>
                    <a:lnTo>
                      <a:pt x="1159193" y="736325"/>
                    </a:lnTo>
                    <a:lnTo>
                      <a:pt x="1167765" y="743945"/>
                    </a:lnTo>
                    <a:lnTo>
                      <a:pt x="1173480" y="748708"/>
                    </a:lnTo>
                    <a:lnTo>
                      <a:pt x="1179195" y="755375"/>
                    </a:lnTo>
                    <a:lnTo>
                      <a:pt x="1187768" y="765853"/>
                    </a:lnTo>
                    <a:lnTo>
                      <a:pt x="1193483" y="768710"/>
                    </a:lnTo>
                    <a:lnTo>
                      <a:pt x="1206818" y="774425"/>
                    </a:lnTo>
                    <a:lnTo>
                      <a:pt x="1231583" y="775378"/>
                    </a:lnTo>
                    <a:lnTo>
                      <a:pt x="1245870" y="776330"/>
                    </a:lnTo>
                    <a:lnTo>
                      <a:pt x="1259205" y="777283"/>
                    </a:lnTo>
                    <a:lnTo>
                      <a:pt x="1267778" y="781093"/>
                    </a:lnTo>
                    <a:lnTo>
                      <a:pt x="1276350" y="784903"/>
                    </a:lnTo>
                    <a:lnTo>
                      <a:pt x="1287780" y="789665"/>
                    </a:lnTo>
                    <a:lnTo>
                      <a:pt x="1298258" y="791570"/>
                    </a:lnTo>
                    <a:lnTo>
                      <a:pt x="1308735" y="793475"/>
                    </a:lnTo>
                    <a:lnTo>
                      <a:pt x="1322070" y="796333"/>
                    </a:lnTo>
                    <a:lnTo>
                      <a:pt x="1335405" y="798238"/>
                    </a:lnTo>
                    <a:lnTo>
                      <a:pt x="1357313" y="798238"/>
                    </a:lnTo>
                    <a:lnTo>
                      <a:pt x="1390650" y="798238"/>
                    </a:lnTo>
                    <a:lnTo>
                      <a:pt x="1402080" y="797285"/>
                    </a:lnTo>
                    <a:lnTo>
                      <a:pt x="1415415" y="797285"/>
                    </a:lnTo>
                    <a:lnTo>
                      <a:pt x="1434465" y="798238"/>
                    </a:lnTo>
                    <a:lnTo>
                      <a:pt x="1447800" y="803000"/>
                    </a:lnTo>
                    <a:lnTo>
                      <a:pt x="1459230" y="814430"/>
                    </a:lnTo>
                    <a:lnTo>
                      <a:pt x="1467803" y="821098"/>
                    </a:lnTo>
                    <a:lnTo>
                      <a:pt x="1482090" y="828718"/>
                    </a:lnTo>
                    <a:cubicBezTo>
                      <a:pt x="1482090" y="828718"/>
                      <a:pt x="1489710" y="833480"/>
                      <a:pt x="1495425" y="842053"/>
                    </a:cubicBezTo>
                    <a:cubicBezTo>
                      <a:pt x="1501140" y="850625"/>
                      <a:pt x="1503998" y="845863"/>
                      <a:pt x="1503998" y="845863"/>
                    </a:cubicBezTo>
                    <a:lnTo>
                      <a:pt x="1518285" y="843958"/>
                    </a:lnTo>
                    <a:lnTo>
                      <a:pt x="1524000" y="838243"/>
                    </a:lnTo>
                    <a:lnTo>
                      <a:pt x="1534478" y="837290"/>
                    </a:lnTo>
                    <a:lnTo>
                      <a:pt x="1534478" y="841100"/>
                    </a:lnTo>
                    <a:lnTo>
                      <a:pt x="1540193" y="856340"/>
                    </a:lnTo>
                    <a:cubicBezTo>
                      <a:pt x="1540193" y="856340"/>
                      <a:pt x="1546860" y="868723"/>
                      <a:pt x="1546860" y="871580"/>
                    </a:cubicBezTo>
                    <a:cubicBezTo>
                      <a:pt x="1546860" y="874438"/>
                      <a:pt x="1544955" y="884915"/>
                      <a:pt x="1544955" y="887773"/>
                    </a:cubicBezTo>
                    <a:cubicBezTo>
                      <a:pt x="1544955" y="890630"/>
                      <a:pt x="1548765" y="895393"/>
                      <a:pt x="1548765" y="895393"/>
                    </a:cubicBezTo>
                    <a:lnTo>
                      <a:pt x="1551623" y="900155"/>
                    </a:lnTo>
                    <a:lnTo>
                      <a:pt x="1564005" y="919205"/>
                    </a:lnTo>
                    <a:lnTo>
                      <a:pt x="1571625" y="923968"/>
                    </a:lnTo>
                    <a:cubicBezTo>
                      <a:pt x="1571625" y="923968"/>
                      <a:pt x="1571625" y="930635"/>
                      <a:pt x="1569720" y="933493"/>
                    </a:cubicBezTo>
                    <a:cubicBezTo>
                      <a:pt x="1567815" y="936350"/>
                      <a:pt x="1572578" y="940160"/>
                      <a:pt x="1572578" y="940160"/>
                    </a:cubicBezTo>
                    <a:lnTo>
                      <a:pt x="1578293" y="946828"/>
                    </a:lnTo>
                    <a:lnTo>
                      <a:pt x="1584960" y="958258"/>
                    </a:lnTo>
                    <a:cubicBezTo>
                      <a:pt x="1584960" y="958258"/>
                      <a:pt x="1588770" y="965878"/>
                      <a:pt x="1587818" y="970640"/>
                    </a:cubicBezTo>
                    <a:cubicBezTo>
                      <a:pt x="1585913" y="975403"/>
                      <a:pt x="1604963" y="980165"/>
                      <a:pt x="1604963" y="980165"/>
                    </a:cubicBezTo>
                    <a:cubicBezTo>
                      <a:pt x="1604963" y="980165"/>
                      <a:pt x="1610678" y="982070"/>
                      <a:pt x="1615440" y="982070"/>
                    </a:cubicBezTo>
                    <a:cubicBezTo>
                      <a:pt x="1620203" y="982070"/>
                      <a:pt x="1628775" y="982070"/>
                      <a:pt x="1628775" y="982070"/>
                    </a:cubicBezTo>
                    <a:lnTo>
                      <a:pt x="1634490" y="981118"/>
                    </a:lnTo>
                    <a:lnTo>
                      <a:pt x="1644968" y="974450"/>
                    </a:lnTo>
                    <a:cubicBezTo>
                      <a:pt x="1644968" y="974450"/>
                      <a:pt x="1657350" y="964925"/>
                      <a:pt x="1657350" y="961115"/>
                    </a:cubicBezTo>
                    <a:cubicBezTo>
                      <a:pt x="1657350" y="957305"/>
                      <a:pt x="1660208" y="957305"/>
                      <a:pt x="1660208" y="954448"/>
                    </a:cubicBezTo>
                    <a:cubicBezTo>
                      <a:pt x="1660208" y="951590"/>
                      <a:pt x="1660208" y="947780"/>
                      <a:pt x="1660208" y="943970"/>
                    </a:cubicBezTo>
                    <a:cubicBezTo>
                      <a:pt x="1660208" y="940160"/>
                      <a:pt x="1663065" y="940160"/>
                      <a:pt x="1663065" y="940160"/>
                    </a:cubicBezTo>
                    <a:cubicBezTo>
                      <a:pt x="1663065" y="940160"/>
                      <a:pt x="1667828" y="936350"/>
                      <a:pt x="1670685" y="932540"/>
                    </a:cubicBezTo>
                    <a:cubicBezTo>
                      <a:pt x="1673543" y="928730"/>
                      <a:pt x="1676400" y="922063"/>
                      <a:pt x="1676400" y="922063"/>
                    </a:cubicBezTo>
                    <a:lnTo>
                      <a:pt x="1676400" y="914443"/>
                    </a:lnTo>
                    <a:lnTo>
                      <a:pt x="1676400" y="904918"/>
                    </a:lnTo>
                    <a:lnTo>
                      <a:pt x="1686878" y="903013"/>
                    </a:lnTo>
                    <a:cubicBezTo>
                      <a:pt x="1686878" y="903013"/>
                      <a:pt x="1703070" y="895393"/>
                      <a:pt x="1710690" y="890630"/>
                    </a:cubicBezTo>
                    <a:cubicBezTo>
                      <a:pt x="1718310" y="885868"/>
                      <a:pt x="1710690" y="890630"/>
                      <a:pt x="1712595" y="886820"/>
                    </a:cubicBezTo>
                    <a:cubicBezTo>
                      <a:pt x="1714500" y="883010"/>
                      <a:pt x="1727835" y="875390"/>
                      <a:pt x="1727835" y="872533"/>
                    </a:cubicBezTo>
                    <a:cubicBezTo>
                      <a:pt x="1727835" y="869675"/>
                      <a:pt x="1744028" y="866818"/>
                      <a:pt x="1744028" y="866818"/>
                    </a:cubicBezTo>
                    <a:lnTo>
                      <a:pt x="1751648" y="862055"/>
                    </a:lnTo>
                    <a:lnTo>
                      <a:pt x="1778318" y="847768"/>
                    </a:lnTo>
                    <a:cubicBezTo>
                      <a:pt x="1778318" y="847768"/>
                      <a:pt x="1786890" y="844910"/>
                      <a:pt x="1804988" y="838243"/>
                    </a:cubicBezTo>
                    <a:cubicBezTo>
                      <a:pt x="1813560" y="835385"/>
                      <a:pt x="1816418" y="833480"/>
                      <a:pt x="1817370" y="833480"/>
                    </a:cubicBezTo>
                    <a:lnTo>
                      <a:pt x="1838325" y="829670"/>
                    </a:lnTo>
                    <a:lnTo>
                      <a:pt x="1855470" y="830623"/>
                    </a:lnTo>
                    <a:lnTo>
                      <a:pt x="1865948" y="833480"/>
                    </a:lnTo>
                    <a:lnTo>
                      <a:pt x="1877378" y="836338"/>
                    </a:lnTo>
                    <a:lnTo>
                      <a:pt x="1888808" y="848720"/>
                    </a:lnTo>
                    <a:lnTo>
                      <a:pt x="1898333" y="869675"/>
                    </a:lnTo>
                    <a:lnTo>
                      <a:pt x="1899285" y="883963"/>
                    </a:lnTo>
                    <a:lnTo>
                      <a:pt x="1899285" y="895393"/>
                    </a:lnTo>
                    <a:lnTo>
                      <a:pt x="1913573" y="908728"/>
                    </a:lnTo>
                    <a:lnTo>
                      <a:pt x="1929765" y="905870"/>
                    </a:lnTo>
                    <a:lnTo>
                      <a:pt x="1932623" y="901108"/>
                    </a:lnTo>
                    <a:lnTo>
                      <a:pt x="1943100" y="896345"/>
                    </a:lnTo>
                    <a:lnTo>
                      <a:pt x="1957388" y="895393"/>
                    </a:lnTo>
                    <a:lnTo>
                      <a:pt x="1965008" y="903965"/>
                    </a:lnTo>
                    <a:lnTo>
                      <a:pt x="1979295" y="913490"/>
                    </a:lnTo>
                    <a:lnTo>
                      <a:pt x="1979295" y="919205"/>
                    </a:lnTo>
                    <a:lnTo>
                      <a:pt x="1976438" y="925873"/>
                    </a:lnTo>
                    <a:lnTo>
                      <a:pt x="1976438" y="938255"/>
                    </a:lnTo>
                    <a:lnTo>
                      <a:pt x="1980248" y="947780"/>
                    </a:lnTo>
                    <a:lnTo>
                      <a:pt x="1980248" y="957305"/>
                    </a:lnTo>
                    <a:lnTo>
                      <a:pt x="1980248" y="973498"/>
                    </a:lnTo>
                    <a:cubicBezTo>
                      <a:pt x="1980248" y="973498"/>
                      <a:pt x="1980248" y="980165"/>
                      <a:pt x="1973580" y="989690"/>
                    </a:cubicBezTo>
                    <a:cubicBezTo>
                      <a:pt x="1967865" y="999215"/>
                      <a:pt x="1982153" y="1002073"/>
                      <a:pt x="1982153" y="1002073"/>
                    </a:cubicBezTo>
                    <a:lnTo>
                      <a:pt x="1983105" y="1005883"/>
                    </a:lnTo>
                    <a:lnTo>
                      <a:pt x="1994535" y="1011598"/>
                    </a:lnTo>
                    <a:lnTo>
                      <a:pt x="1994535" y="1015408"/>
                    </a:lnTo>
                    <a:lnTo>
                      <a:pt x="1998345" y="1022075"/>
                    </a:lnTo>
                    <a:lnTo>
                      <a:pt x="2002155" y="1029695"/>
                    </a:lnTo>
                    <a:lnTo>
                      <a:pt x="2008823" y="1039220"/>
                    </a:lnTo>
                    <a:lnTo>
                      <a:pt x="2013585" y="1044935"/>
                    </a:lnTo>
                    <a:cubicBezTo>
                      <a:pt x="2013585" y="1044935"/>
                      <a:pt x="2021205" y="1046840"/>
                      <a:pt x="2033588" y="1048745"/>
                    </a:cubicBezTo>
                    <a:cubicBezTo>
                      <a:pt x="2046923" y="1050650"/>
                      <a:pt x="2038350" y="1052555"/>
                      <a:pt x="2038350" y="1052555"/>
                    </a:cubicBezTo>
                    <a:lnTo>
                      <a:pt x="2049780" y="1057318"/>
                    </a:lnTo>
                    <a:cubicBezTo>
                      <a:pt x="2049780" y="1057318"/>
                      <a:pt x="2055495" y="1059223"/>
                      <a:pt x="2060258" y="1059223"/>
                    </a:cubicBezTo>
                    <a:cubicBezTo>
                      <a:pt x="2065020" y="1059223"/>
                      <a:pt x="2068830" y="1053508"/>
                      <a:pt x="2068830" y="1053508"/>
                    </a:cubicBezTo>
                    <a:cubicBezTo>
                      <a:pt x="2068830" y="1053508"/>
                      <a:pt x="2068830" y="1053508"/>
                      <a:pt x="2067878" y="1048745"/>
                    </a:cubicBezTo>
                    <a:cubicBezTo>
                      <a:pt x="2066925" y="1043983"/>
                      <a:pt x="2069783" y="1043983"/>
                      <a:pt x="2067878" y="1039220"/>
                    </a:cubicBezTo>
                    <a:cubicBezTo>
                      <a:pt x="2066925" y="1034458"/>
                      <a:pt x="2064068" y="1033505"/>
                      <a:pt x="2064068" y="1033505"/>
                    </a:cubicBezTo>
                    <a:lnTo>
                      <a:pt x="2056448" y="1028743"/>
                    </a:lnTo>
                    <a:lnTo>
                      <a:pt x="2045018" y="1022075"/>
                    </a:lnTo>
                    <a:cubicBezTo>
                      <a:pt x="2045018" y="1022075"/>
                      <a:pt x="2045018" y="1022075"/>
                      <a:pt x="2027873" y="1011598"/>
                    </a:cubicBezTo>
                    <a:cubicBezTo>
                      <a:pt x="2027873" y="1011598"/>
                      <a:pt x="2019300" y="1006835"/>
                      <a:pt x="2017395" y="1003025"/>
                    </a:cubicBezTo>
                    <a:cubicBezTo>
                      <a:pt x="2016443" y="999215"/>
                      <a:pt x="2013585" y="993500"/>
                      <a:pt x="2008823" y="990643"/>
                    </a:cubicBezTo>
                    <a:cubicBezTo>
                      <a:pt x="2004060" y="987785"/>
                      <a:pt x="2005013" y="982070"/>
                      <a:pt x="2005013" y="982070"/>
                    </a:cubicBezTo>
                    <a:cubicBezTo>
                      <a:pt x="2005013" y="982070"/>
                      <a:pt x="2006918" y="976355"/>
                      <a:pt x="2004060" y="970640"/>
                    </a:cubicBezTo>
                    <a:cubicBezTo>
                      <a:pt x="2001203" y="964925"/>
                      <a:pt x="2005965" y="964925"/>
                      <a:pt x="2003108" y="962068"/>
                    </a:cubicBezTo>
                    <a:cubicBezTo>
                      <a:pt x="2000250" y="959210"/>
                      <a:pt x="2003108" y="950638"/>
                      <a:pt x="2003108" y="950638"/>
                    </a:cubicBezTo>
                    <a:lnTo>
                      <a:pt x="2008823" y="941113"/>
                    </a:lnTo>
                    <a:lnTo>
                      <a:pt x="2019300" y="941113"/>
                    </a:lnTo>
                    <a:lnTo>
                      <a:pt x="2025015" y="943018"/>
                    </a:lnTo>
                    <a:lnTo>
                      <a:pt x="2033588" y="949685"/>
                    </a:lnTo>
                    <a:lnTo>
                      <a:pt x="2042160" y="950638"/>
                    </a:lnTo>
                    <a:lnTo>
                      <a:pt x="2045970" y="954448"/>
                    </a:lnTo>
                    <a:lnTo>
                      <a:pt x="2051685" y="960163"/>
                    </a:lnTo>
                    <a:lnTo>
                      <a:pt x="2073593" y="968735"/>
                    </a:lnTo>
                    <a:lnTo>
                      <a:pt x="2081213" y="973498"/>
                    </a:lnTo>
                    <a:lnTo>
                      <a:pt x="2081213" y="980165"/>
                    </a:lnTo>
                    <a:lnTo>
                      <a:pt x="2097405" y="985880"/>
                    </a:lnTo>
                    <a:cubicBezTo>
                      <a:pt x="2097405" y="985880"/>
                      <a:pt x="2121218" y="975403"/>
                      <a:pt x="2123123" y="968735"/>
                    </a:cubicBezTo>
                    <a:lnTo>
                      <a:pt x="2139315" y="960163"/>
                    </a:lnTo>
                    <a:lnTo>
                      <a:pt x="2154555" y="956353"/>
                    </a:lnTo>
                    <a:lnTo>
                      <a:pt x="2156460" y="948733"/>
                    </a:lnTo>
                    <a:cubicBezTo>
                      <a:pt x="2156460" y="948733"/>
                      <a:pt x="2158365" y="943970"/>
                      <a:pt x="2159318" y="939208"/>
                    </a:cubicBezTo>
                    <a:cubicBezTo>
                      <a:pt x="2161223" y="934445"/>
                      <a:pt x="2159318" y="939208"/>
                      <a:pt x="2161223" y="935398"/>
                    </a:cubicBezTo>
                    <a:cubicBezTo>
                      <a:pt x="2163128" y="931588"/>
                      <a:pt x="2163128" y="926825"/>
                      <a:pt x="2161223" y="921110"/>
                    </a:cubicBezTo>
                    <a:cubicBezTo>
                      <a:pt x="2160270" y="915395"/>
                      <a:pt x="2163128" y="915395"/>
                      <a:pt x="2161223" y="912538"/>
                    </a:cubicBezTo>
                    <a:cubicBezTo>
                      <a:pt x="2159318" y="909680"/>
                      <a:pt x="2153603" y="908728"/>
                      <a:pt x="2149793" y="905870"/>
                    </a:cubicBezTo>
                    <a:cubicBezTo>
                      <a:pt x="2145030" y="903013"/>
                      <a:pt x="2151698" y="902060"/>
                      <a:pt x="2149793" y="899203"/>
                    </a:cubicBezTo>
                    <a:cubicBezTo>
                      <a:pt x="2148840" y="896345"/>
                      <a:pt x="2144078" y="893488"/>
                      <a:pt x="2144078" y="893488"/>
                    </a:cubicBezTo>
                    <a:lnTo>
                      <a:pt x="2138363" y="889678"/>
                    </a:lnTo>
                    <a:lnTo>
                      <a:pt x="2127885" y="881105"/>
                    </a:lnTo>
                    <a:lnTo>
                      <a:pt x="2111693" y="868723"/>
                    </a:lnTo>
                    <a:cubicBezTo>
                      <a:pt x="2111693" y="868723"/>
                      <a:pt x="2117408" y="860150"/>
                      <a:pt x="2122170" y="853483"/>
                    </a:cubicBezTo>
                    <a:lnTo>
                      <a:pt x="2130743" y="852530"/>
                    </a:lnTo>
                    <a:cubicBezTo>
                      <a:pt x="2130743" y="852530"/>
                      <a:pt x="2136458" y="852530"/>
                      <a:pt x="2145030" y="850625"/>
                    </a:cubicBezTo>
                    <a:cubicBezTo>
                      <a:pt x="2153603" y="848720"/>
                      <a:pt x="2152650" y="849673"/>
                      <a:pt x="2152650" y="844910"/>
                    </a:cubicBezTo>
                    <a:cubicBezTo>
                      <a:pt x="2152650" y="840148"/>
                      <a:pt x="2158365" y="843005"/>
                      <a:pt x="2158365" y="843005"/>
                    </a:cubicBezTo>
                    <a:lnTo>
                      <a:pt x="2165985" y="841100"/>
                    </a:lnTo>
                    <a:lnTo>
                      <a:pt x="2171700" y="844910"/>
                    </a:lnTo>
                    <a:lnTo>
                      <a:pt x="2180273" y="851578"/>
                    </a:lnTo>
                    <a:lnTo>
                      <a:pt x="2190750" y="850625"/>
                    </a:lnTo>
                    <a:lnTo>
                      <a:pt x="2199323" y="845863"/>
                    </a:lnTo>
                    <a:lnTo>
                      <a:pt x="2206943" y="839195"/>
                    </a:lnTo>
                    <a:cubicBezTo>
                      <a:pt x="2206943" y="839195"/>
                      <a:pt x="2214563" y="834433"/>
                      <a:pt x="2223135" y="834433"/>
                    </a:cubicBezTo>
                    <a:cubicBezTo>
                      <a:pt x="2231708" y="834433"/>
                      <a:pt x="2228850" y="833480"/>
                      <a:pt x="2228850" y="833480"/>
                    </a:cubicBezTo>
                    <a:lnTo>
                      <a:pt x="2236470" y="830623"/>
                    </a:lnTo>
                    <a:lnTo>
                      <a:pt x="2247900" y="825860"/>
                    </a:lnTo>
                    <a:lnTo>
                      <a:pt x="2255520" y="824908"/>
                    </a:lnTo>
                    <a:lnTo>
                      <a:pt x="2274570" y="823955"/>
                    </a:lnTo>
                    <a:lnTo>
                      <a:pt x="2286000" y="821098"/>
                    </a:lnTo>
                    <a:lnTo>
                      <a:pt x="2293620" y="815383"/>
                    </a:lnTo>
                    <a:cubicBezTo>
                      <a:pt x="2293620" y="815383"/>
                      <a:pt x="2293620" y="815383"/>
                      <a:pt x="2293620" y="812525"/>
                    </a:cubicBezTo>
                    <a:cubicBezTo>
                      <a:pt x="2293620" y="809668"/>
                      <a:pt x="2308860" y="805858"/>
                      <a:pt x="2309813" y="802048"/>
                    </a:cubicBezTo>
                    <a:cubicBezTo>
                      <a:pt x="2311718" y="798238"/>
                      <a:pt x="2318385" y="796333"/>
                      <a:pt x="2318385" y="796333"/>
                    </a:cubicBezTo>
                    <a:cubicBezTo>
                      <a:pt x="2318385" y="796333"/>
                      <a:pt x="2324100" y="791570"/>
                      <a:pt x="2333625" y="785855"/>
                    </a:cubicBezTo>
                    <a:cubicBezTo>
                      <a:pt x="2342198" y="780140"/>
                      <a:pt x="2348865" y="773473"/>
                      <a:pt x="2348865" y="773473"/>
                    </a:cubicBezTo>
                    <a:lnTo>
                      <a:pt x="2362200" y="766805"/>
                    </a:lnTo>
                    <a:cubicBezTo>
                      <a:pt x="2362200" y="766805"/>
                      <a:pt x="2365058" y="762995"/>
                      <a:pt x="2366963" y="758233"/>
                    </a:cubicBezTo>
                    <a:cubicBezTo>
                      <a:pt x="2368868" y="753470"/>
                      <a:pt x="2366963" y="751565"/>
                      <a:pt x="2366963" y="751565"/>
                    </a:cubicBezTo>
                    <a:cubicBezTo>
                      <a:pt x="2366963" y="751565"/>
                      <a:pt x="2372678" y="742993"/>
                      <a:pt x="2368868" y="728705"/>
                    </a:cubicBezTo>
                    <a:cubicBezTo>
                      <a:pt x="2365058" y="714418"/>
                      <a:pt x="2373630" y="721085"/>
                      <a:pt x="2374583" y="718228"/>
                    </a:cubicBezTo>
                    <a:cubicBezTo>
                      <a:pt x="2376488" y="715370"/>
                      <a:pt x="2374583" y="712513"/>
                      <a:pt x="2374583" y="712513"/>
                    </a:cubicBezTo>
                    <a:cubicBezTo>
                      <a:pt x="2374583" y="712513"/>
                      <a:pt x="2368868" y="700130"/>
                      <a:pt x="2367915" y="697273"/>
                    </a:cubicBezTo>
                    <a:cubicBezTo>
                      <a:pt x="2366963" y="694415"/>
                      <a:pt x="2367915" y="693463"/>
                      <a:pt x="2366963" y="690605"/>
                    </a:cubicBezTo>
                    <a:cubicBezTo>
                      <a:pt x="2365058" y="687748"/>
                      <a:pt x="2366010" y="684890"/>
                      <a:pt x="2366010" y="684890"/>
                    </a:cubicBezTo>
                    <a:cubicBezTo>
                      <a:pt x="2366010" y="684890"/>
                      <a:pt x="2366010" y="684890"/>
                      <a:pt x="2358390" y="682985"/>
                    </a:cubicBezTo>
                    <a:cubicBezTo>
                      <a:pt x="2350770" y="681080"/>
                      <a:pt x="2358390" y="682985"/>
                      <a:pt x="2353628" y="682033"/>
                    </a:cubicBezTo>
                    <a:cubicBezTo>
                      <a:pt x="2348865" y="681080"/>
                      <a:pt x="2337435" y="676318"/>
                      <a:pt x="2336483" y="673460"/>
                    </a:cubicBezTo>
                    <a:cubicBezTo>
                      <a:pt x="2335530" y="670603"/>
                      <a:pt x="2355533" y="669650"/>
                      <a:pt x="2355533" y="669650"/>
                    </a:cubicBezTo>
                    <a:cubicBezTo>
                      <a:pt x="2355533" y="669650"/>
                      <a:pt x="2355533" y="669650"/>
                      <a:pt x="2357438" y="662983"/>
                    </a:cubicBezTo>
                    <a:lnTo>
                      <a:pt x="2367915" y="661078"/>
                    </a:lnTo>
                    <a:cubicBezTo>
                      <a:pt x="2367915" y="661078"/>
                      <a:pt x="2382203" y="662030"/>
                      <a:pt x="2391728" y="658220"/>
                    </a:cubicBezTo>
                    <a:cubicBezTo>
                      <a:pt x="2400300" y="654410"/>
                      <a:pt x="2391728" y="658220"/>
                      <a:pt x="2391728" y="655363"/>
                    </a:cubicBezTo>
                    <a:cubicBezTo>
                      <a:pt x="2391728" y="652505"/>
                      <a:pt x="2393633" y="647743"/>
                      <a:pt x="2390775" y="642028"/>
                    </a:cubicBezTo>
                    <a:cubicBezTo>
                      <a:pt x="2387918" y="636313"/>
                      <a:pt x="2390775" y="642028"/>
                      <a:pt x="2387918" y="638218"/>
                    </a:cubicBezTo>
                    <a:cubicBezTo>
                      <a:pt x="2385060" y="634408"/>
                      <a:pt x="2379345" y="636313"/>
                      <a:pt x="2374583" y="636313"/>
                    </a:cubicBezTo>
                    <a:cubicBezTo>
                      <a:pt x="2369820" y="636313"/>
                      <a:pt x="2361248" y="635360"/>
                      <a:pt x="2361248" y="635360"/>
                    </a:cubicBezTo>
                    <a:lnTo>
                      <a:pt x="2350770" y="635360"/>
                    </a:lnTo>
                    <a:cubicBezTo>
                      <a:pt x="2350770" y="635360"/>
                      <a:pt x="2340293" y="635360"/>
                      <a:pt x="2328863" y="635360"/>
                    </a:cubicBezTo>
                    <a:cubicBezTo>
                      <a:pt x="2317433" y="635360"/>
                      <a:pt x="2328863" y="635360"/>
                      <a:pt x="2315528" y="632503"/>
                    </a:cubicBezTo>
                    <a:cubicBezTo>
                      <a:pt x="2302193" y="629645"/>
                      <a:pt x="2315528" y="632503"/>
                      <a:pt x="2314575" y="630598"/>
                    </a:cubicBezTo>
                    <a:cubicBezTo>
                      <a:pt x="2313623" y="628693"/>
                      <a:pt x="2314575" y="630598"/>
                      <a:pt x="2311718" y="622025"/>
                    </a:cubicBezTo>
                    <a:cubicBezTo>
                      <a:pt x="2308860" y="613453"/>
                      <a:pt x="2330768" y="621073"/>
                      <a:pt x="2330768" y="621073"/>
                    </a:cubicBezTo>
                    <a:lnTo>
                      <a:pt x="2338388" y="620120"/>
                    </a:lnTo>
                    <a:lnTo>
                      <a:pt x="2351723" y="617263"/>
                    </a:lnTo>
                    <a:lnTo>
                      <a:pt x="2354580" y="613453"/>
                    </a:lnTo>
                    <a:lnTo>
                      <a:pt x="2366010" y="608690"/>
                    </a:lnTo>
                    <a:lnTo>
                      <a:pt x="2376488" y="611548"/>
                    </a:lnTo>
                    <a:lnTo>
                      <a:pt x="2380298" y="617263"/>
                    </a:lnTo>
                    <a:lnTo>
                      <a:pt x="2391728" y="617263"/>
                    </a:lnTo>
                    <a:lnTo>
                      <a:pt x="2406968" y="613453"/>
                    </a:lnTo>
                    <a:cubicBezTo>
                      <a:pt x="2406968" y="613453"/>
                      <a:pt x="2412683" y="614405"/>
                      <a:pt x="2427923" y="616310"/>
                    </a:cubicBezTo>
                    <a:cubicBezTo>
                      <a:pt x="2442210" y="618215"/>
                      <a:pt x="2436495" y="624883"/>
                      <a:pt x="2436495" y="624883"/>
                    </a:cubicBezTo>
                    <a:lnTo>
                      <a:pt x="2445068" y="632503"/>
                    </a:lnTo>
                    <a:lnTo>
                      <a:pt x="2448878" y="640123"/>
                    </a:lnTo>
                    <a:lnTo>
                      <a:pt x="2457450" y="643933"/>
                    </a:lnTo>
                    <a:lnTo>
                      <a:pt x="2457450" y="651553"/>
                    </a:lnTo>
                    <a:lnTo>
                      <a:pt x="2455545" y="662030"/>
                    </a:lnTo>
                    <a:lnTo>
                      <a:pt x="2458403" y="669650"/>
                    </a:lnTo>
                    <a:lnTo>
                      <a:pt x="2459355" y="673460"/>
                    </a:lnTo>
                    <a:cubicBezTo>
                      <a:pt x="2459355" y="673460"/>
                      <a:pt x="2467928" y="674413"/>
                      <a:pt x="2472690" y="676318"/>
                    </a:cubicBezTo>
                    <a:cubicBezTo>
                      <a:pt x="2477453" y="678223"/>
                      <a:pt x="2486978" y="677270"/>
                      <a:pt x="2486978" y="677270"/>
                    </a:cubicBezTo>
                    <a:lnTo>
                      <a:pt x="2497455" y="677270"/>
                    </a:lnTo>
                    <a:lnTo>
                      <a:pt x="2507933" y="675365"/>
                    </a:lnTo>
                    <a:lnTo>
                      <a:pt x="2518410" y="670603"/>
                    </a:lnTo>
                    <a:cubicBezTo>
                      <a:pt x="2518410" y="670603"/>
                      <a:pt x="2518410" y="670603"/>
                      <a:pt x="2521268" y="656315"/>
                    </a:cubicBezTo>
                    <a:cubicBezTo>
                      <a:pt x="2521268" y="656315"/>
                      <a:pt x="2516505" y="652505"/>
                      <a:pt x="2517458" y="649648"/>
                    </a:cubicBezTo>
                    <a:cubicBezTo>
                      <a:pt x="2517458" y="646790"/>
                      <a:pt x="2508885" y="642028"/>
                      <a:pt x="2508885" y="642028"/>
                    </a:cubicBezTo>
                    <a:cubicBezTo>
                      <a:pt x="2508885" y="642028"/>
                      <a:pt x="2506028" y="634408"/>
                      <a:pt x="2505075" y="630598"/>
                    </a:cubicBezTo>
                    <a:cubicBezTo>
                      <a:pt x="2504123" y="626788"/>
                      <a:pt x="2504123" y="623930"/>
                      <a:pt x="2502218" y="619168"/>
                    </a:cubicBezTo>
                    <a:cubicBezTo>
                      <a:pt x="2501265" y="614405"/>
                      <a:pt x="2506980" y="612500"/>
                      <a:pt x="2515553" y="603928"/>
                    </a:cubicBezTo>
                    <a:cubicBezTo>
                      <a:pt x="2524125" y="595355"/>
                      <a:pt x="2515553" y="603928"/>
                      <a:pt x="2517458" y="601070"/>
                    </a:cubicBezTo>
                    <a:cubicBezTo>
                      <a:pt x="2519363" y="598213"/>
                      <a:pt x="2522220" y="593450"/>
                      <a:pt x="2525078" y="587735"/>
                    </a:cubicBezTo>
                    <a:cubicBezTo>
                      <a:pt x="2527935" y="582020"/>
                      <a:pt x="2525078" y="587735"/>
                      <a:pt x="2527935" y="582973"/>
                    </a:cubicBezTo>
                    <a:cubicBezTo>
                      <a:pt x="2530793" y="578210"/>
                      <a:pt x="2549843" y="581068"/>
                      <a:pt x="2549843" y="581068"/>
                    </a:cubicBezTo>
                    <a:cubicBezTo>
                      <a:pt x="2549843" y="581068"/>
                      <a:pt x="2566035" y="577258"/>
                      <a:pt x="2579370" y="571543"/>
                    </a:cubicBezTo>
                    <a:cubicBezTo>
                      <a:pt x="2592705" y="565828"/>
                      <a:pt x="2589848" y="568685"/>
                      <a:pt x="2589848" y="568685"/>
                    </a:cubicBezTo>
                    <a:cubicBezTo>
                      <a:pt x="2589848" y="568685"/>
                      <a:pt x="2608898" y="562018"/>
                      <a:pt x="2611755" y="558208"/>
                    </a:cubicBezTo>
                    <a:cubicBezTo>
                      <a:pt x="2614613" y="554398"/>
                      <a:pt x="2620328" y="553445"/>
                      <a:pt x="2624138" y="547730"/>
                    </a:cubicBezTo>
                    <a:cubicBezTo>
                      <a:pt x="2626995" y="542015"/>
                      <a:pt x="2646045" y="542968"/>
                      <a:pt x="2648903" y="539158"/>
                    </a:cubicBezTo>
                    <a:cubicBezTo>
                      <a:pt x="2651760" y="535348"/>
                      <a:pt x="2651760" y="534395"/>
                      <a:pt x="2653665" y="528680"/>
                    </a:cubicBezTo>
                    <a:cubicBezTo>
                      <a:pt x="2655570" y="522965"/>
                      <a:pt x="2662238" y="521060"/>
                      <a:pt x="2662238" y="521060"/>
                    </a:cubicBezTo>
                    <a:lnTo>
                      <a:pt x="2684145" y="512488"/>
                    </a:lnTo>
                    <a:lnTo>
                      <a:pt x="2694623" y="502010"/>
                    </a:lnTo>
                    <a:cubicBezTo>
                      <a:pt x="2694623" y="502010"/>
                      <a:pt x="2696528" y="493438"/>
                      <a:pt x="2696528" y="487723"/>
                    </a:cubicBezTo>
                    <a:cubicBezTo>
                      <a:pt x="2696528" y="482008"/>
                      <a:pt x="2696528" y="481055"/>
                      <a:pt x="2695575" y="478198"/>
                    </a:cubicBezTo>
                    <a:cubicBezTo>
                      <a:pt x="2693670" y="475340"/>
                      <a:pt x="2694623" y="472483"/>
                      <a:pt x="2694623" y="472483"/>
                    </a:cubicBezTo>
                    <a:cubicBezTo>
                      <a:pt x="2694623" y="472483"/>
                      <a:pt x="2702243" y="466768"/>
                      <a:pt x="2707005" y="460100"/>
                    </a:cubicBezTo>
                    <a:cubicBezTo>
                      <a:pt x="2711768" y="453433"/>
                      <a:pt x="2707005" y="460100"/>
                      <a:pt x="2707005" y="453433"/>
                    </a:cubicBezTo>
                    <a:cubicBezTo>
                      <a:pt x="2707005" y="446765"/>
                      <a:pt x="2706053" y="446765"/>
                      <a:pt x="2707005" y="439145"/>
                    </a:cubicBezTo>
                    <a:cubicBezTo>
                      <a:pt x="2708910" y="431525"/>
                      <a:pt x="2712720" y="431525"/>
                      <a:pt x="2711768" y="428668"/>
                    </a:cubicBezTo>
                    <a:cubicBezTo>
                      <a:pt x="2710815" y="425810"/>
                      <a:pt x="2713673" y="422000"/>
                      <a:pt x="2711768" y="416285"/>
                    </a:cubicBezTo>
                    <a:lnTo>
                      <a:pt x="2701290" y="412475"/>
                    </a:lnTo>
                    <a:lnTo>
                      <a:pt x="2689860" y="413428"/>
                    </a:lnTo>
                    <a:cubicBezTo>
                      <a:pt x="2689860" y="413428"/>
                      <a:pt x="2684145" y="414380"/>
                      <a:pt x="2673668" y="416285"/>
                    </a:cubicBezTo>
                    <a:cubicBezTo>
                      <a:pt x="2663190" y="418190"/>
                      <a:pt x="2673668" y="416285"/>
                      <a:pt x="2660333" y="412475"/>
                    </a:cubicBezTo>
                    <a:cubicBezTo>
                      <a:pt x="2646998" y="408665"/>
                      <a:pt x="2657475" y="406760"/>
                      <a:pt x="2653665" y="401998"/>
                    </a:cubicBezTo>
                    <a:cubicBezTo>
                      <a:pt x="2648903" y="397235"/>
                      <a:pt x="2647950" y="401998"/>
                      <a:pt x="2647950" y="401998"/>
                    </a:cubicBezTo>
                    <a:cubicBezTo>
                      <a:pt x="2647950" y="401998"/>
                      <a:pt x="2642235" y="402950"/>
                      <a:pt x="2634615" y="400093"/>
                    </a:cubicBezTo>
                    <a:cubicBezTo>
                      <a:pt x="2626995" y="397235"/>
                      <a:pt x="2634615" y="400093"/>
                      <a:pt x="2629853" y="396283"/>
                    </a:cubicBezTo>
                    <a:cubicBezTo>
                      <a:pt x="2625090" y="392473"/>
                      <a:pt x="2629853" y="396283"/>
                      <a:pt x="2629853" y="393425"/>
                    </a:cubicBezTo>
                    <a:cubicBezTo>
                      <a:pt x="2629853" y="390568"/>
                      <a:pt x="2632710" y="383900"/>
                      <a:pt x="2632710" y="383900"/>
                    </a:cubicBezTo>
                    <a:cubicBezTo>
                      <a:pt x="2632710" y="383900"/>
                      <a:pt x="2653665" y="382948"/>
                      <a:pt x="2676525" y="375328"/>
                    </a:cubicBezTo>
                    <a:cubicBezTo>
                      <a:pt x="2700338" y="366755"/>
                      <a:pt x="2681288" y="368660"/>
                      <a:pt x="2681288" y="368660"/>
                    </a:cubicBezTo>
                    <a:lnTo>
                      <a:pt x="2697480" y="356278"/>
                    </a:lnTo>
                    <a:cubicBezTo>
                      <a:pt x="2697480" y="356278"/>
                      <a:pt x="2716530" y="349610"/>
                      <a:pt x="2716530" y="344848"/>
                    </a:cubicBezTo>
                    <a:cubicBezTo>
                      <a:pt x="2716530" y="340085"/>
                      <a:pt x="2732723" y="338180"/>
                      <a:pt x="2734628" y="334370"/>
                    </a:cubicBezTo>
                    <a:cubicBezTo>
                      <a:pt x="2736533" y="330560"/>
                      <a:pt x="2745105" y="330560"/>
                      <a:pt x="2745105" y="330560"/>
                    </a:cubicBezTo>
                    <a:lnTo>
                      <a:pt x="2777490" y="328655"/>
                    </a:lnTo>
                    <a:lnTo>
                      <a:pt x="2785110" y="327703"/>
                    </a:lnTo>
                    <a:lnTo>
                      <a:pt x="2798445" y="327703"/>
                    </a:lnTo>
                    <a:lnTo>
                      <a:pt x="2814638" y="330560"/>
                    </a:lnTo>
                    <a:lnTo>
                      <a:pt x="2841308" y="331513"/>
                    </a:lnTo>
                    <a:lnTo>
                      <a:pt x="2855595" y="328655"/>
                    </a:lnTo>
                    <a:cubicBezTo>
                      <a:pt x="2855595" y="328655"/>
                      <a:pt x="2867025" y="327703"/>
                      <a:pt x="2869883" y="324845"/>
                    </a:cubicBezTo>
                    <a:cubicBezTo>
                      <a:pt x="2872740" y="321988"/>
                      <a:pt x="2877503" y="324845"/>
                      <a:pt x="2877503" y="324845"/>
                    </a:cubicBezTo>
                    <a:lnTo>
                      <a:pt x="2909888" y="331513"/>
                    </a:lnTo>
                    <a:lnTo>
                      <a:pt x="2924175" y="339133"/>
                    </a:lnTo>
                    <a:lnTo>
                      <a:pt x="2934653" y="341038"/>
                    </a:lnTo>
                    <a:lnTo>
                      <a:pt x="2943225" y="339133"/>
                    </a:lnTo>
                    <a:cubicBezTo>
                      <a:pt x="2943225" y="339133"/>
                      <a:pt x="2956560" y="334370"/>
                      <a:pt x="2956560" y="324845"/>
                    </a:cubicBezTo>
                    <a:cubicBezTo>
                      <a:pt x="2956560" y="315320"/>
                      <a:pt x="2956560" y="324845"/>
                      <a:pt x="2958465" y="320083"/>
                    </a:cubicBezTo>
                    <a:cubicBezTo>
                      <a:pt x="2960370" y="315320"/>
                      <a:pt x="2958465" y="320083"/>
                      <a:pt x="2966085" y="311510"/>
                    </a:cubicBezTo>
                    <a:cubicBezTo>
                      <a:pt x="2973705" y="302938"/>
                      <a:pt x="2971800" y="306748"/>
                      <a:pt x="2971800" y="306748"/>
                    </a:cubicBezTo>
                    <a:lnTo>
                      <a:pt x="2979420" y="303890"/>
                    </a:lnTo>
                    <a:lnTo>
                      <a:pt x="2987040" y="300080"/>
                    </a:lnTo>
                    <a:cubicBezTo>
                      <a:pt x="2987040" y="300080"/>
                      <a:pt x="2992755" y="299128"/>
                      <a:pt x="2995613" y="295318"/>
                    </a:cubicBezTo>
                    <a:cubicBezTo>
                      <a:pt x="2998470" y="291508"/>
                      <a:pt x="3006090" y="291508"/>
                      <a:pt x="3006090" y="291508"/>
                    </a:cubicBezTo>
                    <a:cubicBezTo>
                      <a:pt x="3006090" y="291508"/>
                      <a:pt x="3011805" y="291508"/>
                      <a:pt x="3036570" y="291508"/>
                    </a:cubicBezTo>
                    <a:cubicBezTo>
                      <a:pt x="3061335" y="291508"/>
                      <a:pt x="3044190" y="299128"/>
                      <a:pt x="3044190" y="299128"/>
                    </a:cubicBezTo>
                    <a:cubicBezTo>
                      <a:pt x="3044190" y="299128"/>
                      <a:pt x="3044190" y="299128"/>
                      <a:pt x="3051810" y="301985"/>
                    </a:cubicBezTo>
                    <a:lnTo>
                      <a:pt x="3062288" y="300080"/>
                    </a:lnTo>
                    <a:lnTo>
                      <a:pt x="3075623" y="293413"/>
                    </a:lnTo>
                    <a:lnTo>
                      <a:pt x="3087053" y="289603"/>
                    </a:lnTo>
                    <a:cubicBezTo>
                      <a:pt x="3087053" y="289603"/>
                      <a:pt x="3092768" y="288650"/>
                      <a:pt x="3097530" y="284840"/>
                    </a:cubicBezTo>
                    <a:cubicBezTo>
                      <a:pt x="3102293" y="281030"/>
                      <a:pt x="3105150" y="283888"/>
                      <a:pt x="3105150" y="283888"/>
                    </a:cubicBezTo>
                    <a:cubicBezTo>
                      <a:pt x="3105150" y="283888"/>
                      <a:pt x="3105150" y="283888"/>
                      <a:pt x="3113723" y="287698"/>
                    </a:cubicBezTo>
                    <a:cubicBezTo>
                      <a:pt x="3113723" y="287698"/>
                      <a:pt x="3106103" y="294365"/>
                      <a:pt x="3100388" y="297223"/>
                    </a:cubicBezTo>
                    <a:cubicBezTo>
                      <a:pt x="3094673" y="300080"/>
                      <a:pt x="3089910" y="302938"/>
                      <a:pt x="3089910" y="302938"/>
                    </a:cubicBezTo>
                    <a:lnTo>
                      <a:pt x="3071813" y="311510"/>
                    </a:lnTo>
                    <a:lnTo>
                      <a:pt x="3061335" y="317225"/>
                    </a:lnTo>
                    <a:cubicBezTo>
                      <a:pt x="3061335" y="317225"/>
                      <a:pt x="3058478" y="321035"/>
                      <a:pt x="3052763" y="321988"/>
                    </a:cubicBezTo>
                    <a:cubicBezTo>
                      <a:pt x="3047048" y="322940"/>
                      <a:pt x="3050858" y="325798"/>
                      <a:pt x="3044190" y="328655"/>
                    </a:cubicBezTo>
                    <a:cubicBezTo>
                      <a:pt x="3036570" y="331513"/>
                      <a:pt x="3030855" y="337228"/>
                      <a:pt x="3030855" y="337228"/>
                    </a:cubicBezTo>
                    <a:lnTo>
                      <a:pt x="3015615" y="341990"/>
                    </a:lnTo>
                    <a:cubicBezTo>
                      <a:pt x="3015615" y="341990"/>
                      <a:pt x="3002280" y="349610"/>
                      <a:pt x="2994660" y="351515"/>
                    </a:cubicBezTo>
                    <a:cubicBezTo>
                      <a:pt x="2987040" y="353420"/>
                      <a:pt x="2989898" y="361040"/>
                      <a:pt x="2982278" y="364850"/>
                    </a:cubicBezTo>
                    <a:cubicBezTo>
                      <a:pt x="2974658" y="368660"/>
                      <a:pt x="2979420" y="368660"/>
                      <a:pt x="2979420" y="368660"/>
                    </a:cubicBezTo>
                    <a:cubicBezTo>
                      <a:pt x="2979420" y="368660"/>
                      <a:pt x="2971800" y="375328"/>
                      <a:pt x="2967038" y="379138"/>
                    </a:cubicBezTo>
                    <a:cubicBezTo>
                      <a:pt x="2962275" y="382948"/>
                      <a:pt x="2972753" y="387710"/>
                      <a:pt x="2972753" y="387710"/>
                    </a:cubicBezTo>
                    <a:lnTo>
                      <a:pt x="2968943" y="408665"/>
                    </a:lnTo>
                    <a:lnTo>
                      <a:pt x="2968943" y="418190"/>
                    </a:lnTo>
                    <a:lnTo>
                      <a:pt x="2968943" y="427715"/>
                    </a:lnTo>
                    <a:lnTo>
                      <a:pt x="2968943" y="434383"/>
                    </a:lnTo>
                    <a:lnTo>
                      <a:pt x="2979420" y="440098"/>
                    </a:lnTo>
                    <a:lnTo>
                      <a:pt x="2989898" y="449623"/>
                    </a:lnTo>
                    <a:lnTo>
                      <a:pt x="2990850" y="455338"/>
                    </a:lnTo>
                    <a:cubicBezTo>
                      <a:pt x="2990850" y="455338"/>
                      <a:pt x="2998470" y="458195"/>
                      <a:pt x="3007043" y="457243"/>
                    </a:cubicBezTo>
                    <a:lnTo>
                      <a:pt x="3017520" y="448670"/>
                    </a:lnTo>
                    <a:lnTo>
                      <a:pt x="3020378" y="441050"/>
                    </a:lnTo>
                    <a:lnTo>
                      <a:pt x="3027998" y="435335"/>
                    </a:lnTo>
                    <a:lnTo>
                      <a:pt x="3038475" y="428668"/>
                    </a:lnTo>
                    <a:cubicBezTo>
                      <a:pt x="3038475" y="428668"/>
                      <a:pt x="3038475" y="428668"/>
                      <a:pt x="3037523" y="425810"/>
                    </a:cubicBezTo>
                    <a:cubicBezTo>
                      <a:pt x="3036570" y="422953"/>
                      <a:pt x="3047048" y="416285"/>
                      <a:pt x="3047048" y="416285"/>
                    </a:cubicBezTo>
                    <a:lnTo>
                      <a:pt x="3054668" y="413428"/>
                    </a:lnTo>
                    <a:lnTo>
                      <a:pt x="3072765" y="403903"/>
                    </a:lnTo>
                    <a:cubicBezTo>
                      <a:pt x="3072765" y="403903"/>
                      <a:pt x="3072765" y="403903"/>
                      <a:pt x="3083243" y="397235"/>
                    </a:cubicBezTo>
                    <a:cubicBezTo>
                      <a:pt x="3083243" y="397235"/>
                      <a:pt x="3077528" y="392473"/>
                      <a:pt x="3077528" y="386758"/>
                    </a:cubicBezTo>
                    <a:cubicBezTo>
                      <a:pt x="3077528" y="381043"/>
                      <a:pt x="3077528" y="386758"/>
                      <a:pt x="3080385" y="383900"/>
                    </a:cubicBezTo>
                    <a:cubicBezTo>
                      <a:pt x="3083243" y="381043"/>
                      <a:pt x="3080385" y="383900"/>
                      <a:pt x="3080385" y="381043"/>
                    </a:cubicBezTo>
                    <a:cubicBezTo>
                      <a:pt x="3080385" y="378185"/>
                      <a:pt x="3085148" y="377233"/>
                      <a:pt x="3085148" y="377233"/>
                    </a:cubicBezTo>
                    <a:lnTo>
                      <a:pt x="3092768" y="370565"/>
                    </a:lnTo>
                    <a:cubicBezTo>
                      <a:pt x="3092768" y="370565"/>
                      <a:pt x="3092768" y="370565"/>
                      <a:pt x="3089910" y="357230"/>
                    </a:cubicBezTo>
                    <a:lnTo>
                      <a:pt x="3097530" y="375328"/>
                    </a:lnTo>
                    <a:cubicBezTo>
                      <a:pt x="3097530" y="375328"/>
                      <a:pt x="3097530" y="375328"/>
                      <a:pt x="3097530" y="371518"/>
                    </a:cubicBezTo>
                    <a:cubicBezTo>
                      <a:pt x="3097530" y="367708"/>
                      <a:pt x="3110865" y="366755"/>
                      <a:pt x="3110865" y="366755"/>
                    </a:cubicBezTo>
                    <a:lnTo>
                      <a:pt x="3116580" y="351515"/>
                    </a:lnTo>
                    <a:cubicBezTo>
                      <a:pt x="3116580" y="351515"/>
                      <a:pt x="3124200" y="349610"/>
                      <a:pt x="3148013" y="343895"/>
                    </a:cubicBezTo>
                    <a:cubicBezTo>
                      <a:pt x="3171825" y="338180"/>
                      <a:pt x="3161348" y="342943"/>
                      <a:pt x="3166110" y="342943"/>
                    </a:cubicBezTo>
                    <a:cubicBezTo>
                      <a:pt x="3170873" y="342943"/>
                      <a:pt x="3183255" y="343895"/>
                      <a:pt x="3183255" y="343895"/>
                    </a:cubicBezTo>
                    <a:cubicBezTo>
                      <a:pt x="3183255" y="343895"/>
                      <a:pt x="3243263" y="340085"/>
                      <a:pt x="3253740" y="336275"/>
                    </a:cubicBezTo>
                    <a:cubicBezTo>
                      <a:pt x="3264218" y="332465"/>
                      <a:pt x="3258503" y="332465"/>
                      <a:pt x="3258503" y="332465"/>
                    </a:cubicBezTo>
                    <a:cubicBezTo>
                      <a:pt x="3258503" y="332465"/>
                      <a:pt x="3271838" y="325798"/>
                      <a:pt x="3274695" y="321988"/>
                    </a:cubicBezTo>
                    <a:cubicBezTo>
                      <a:pt x="3277553" y="318178"/>
                      <a:pt x="3288983" y="319130"/>
                      <a:pt x="3301365" y="315320"/>
                    </a:cubicBezTo>
                    <a:cubicBezTo>
                      <a:pt x="3312795" y="311510"/>
                      <a:pt x="3317558" y="304843"/>
                      <a:pt x="3317558" y="304843"/>
                    </a:cubicBezTo>
                    <a:cubicBezTo>
                      <a:pt x="3317558" y="304843"/>
                      <a:pt x="3331845" y="307700"/>
                      <a:pt x="3336608" y="306748"/>
                    </a:cubicBezTo>
                    <a:cubicBezTo>
                      <a:pt x="3341370" y="305795"/>
                      <a:pt x="3358515" y="309605"/>
                      <a:pt x="3358515" y="309605"/>
                    </a:cubicBezTo>
                    <a:cubicBezTo>
                      <a:pt x="3358515" y="309605"/>
                      <a:pt x="3388995" y="306748"/>
                      <a:pt x="3407093" y="300080"/>
                    </a:cubicBezTo>
                    <a:cubicBezTo>
                      <a:pt x="3425190" y="292460"/>
                      <a:pt x="3407093" y="300080"/>
                      <a:pt x="3403283" y="291508"/>
                    </a:cubicBezTo>
                    <a:cubicBezTo>
                      <a:pt x="3399473" y="282935"/>
                      <a:pt x="3383280" y="286745"/>
                      <a:pt x="3380423" y="282935"/>
                    </a:cubicBezTo>
                    <a:cubicBezTo>
                      <a:pt x="3377565" y="279125"/>
                      <a:pt x="3379470" y="279125"/>
                      <a:pt x="3364230" y="270553"/>
                    </a:cubicBezTo>
                    <a:cubicBezTo>
                      <a:pt x="3364230" y="270553"/>
                      <a:pt x="3353753" y="263885"/>
                      <a:pt x="3358515" y="260075"/>
                    </a:cubicBezTo>
                    <a:lnTo>
                      <a:pt x="3369945" y="260075"/>
                    </a:lnTo>
                    <a:cubicBezTo>
                      <a:pt x="3369945" y="260075"/>
                      <a:pt x="3388043" y="259123"/>
                      <a:pt x="3397568" y="257218"/>
                    </a:cubicBezTo>
                    <a:cubicBezTo>
                      <a:pt x="3408045" y="255313"/>
                      <a:pt x="3403283" y="253408"/>
                      <a:pt x="3405188" y="249598"/>
                    </a:cubicBezTo>
                    <a:cubicBezTo>
                      <a:pt x="3407093" y="245788"/>
                      <a:pt x="3408045" y="244835"/>
                      <a:pt x="3408045" y="244835"/>
                    </a:cubicBezTo>
                    <a:lnTo>
                      <a:pt x="3415665" y="241025"/>
                    </a:lnTo>
                    <a:lnTo>
                      <a:pt x="3424238" y="241025"/>
                    </a:lnTo>
                    <a:lnTo>
                      <a:pt x="3432810" y="242930"/>
                    </a:lnTo>
                    <a:lnTo>
                      <a:pt x="3449003" y="250550"/>
                    </a:lnTo>
                    <a:lnTo>
                      <a:pt x="3456623" y="253408"/>
                    </a:lnTo>
                    <a:cubicBezTo>
                      <a:pt x="3456623" y="253408"/>
                      <a:pt x="3465195" y="257218"/>
                      <a:pt x="3472815" y="257218"/>
                    </a:cubicBezTo>
                    <a:cubicBezTo>
                      <a:pt x="3480435" y="257218"/>
                      <a:pt x="3489960" y="260075"/>
                      <a:pt x="3494723" y="260075"/>
                    </a:cubicBezTo>
                    <a:cubicBezTo>
                      <a:pt x="3499485" y="260075"/>
                      <a:pt x="3514725" y="267695"/>
                      <a:pt x="3519488" y="266743"/>
                    </a:cubicBezTo>
                    <a:cubicBezTo>
                      <a:pt x="3524250" y="265790"/>
                      <a:pt x="3529965" y="267695"/>
                      <a:pt x="3535680" y="265790"/>
                    </a:cubicBezTo>
                    <a:cubicBezTo>
                      <a:pt x="3541395" y="263885"/>
                      <a:pt x="3543300" y="261980"/>
                      <a:pt x="3549015" y="255313"/>
                    </a:cubicBezTo>
                    <a:cubicBezTo>
                      <a:pt x="3554730" y="248645"/>
                      <a:pt x="3549015" y="255313"/>
                      <a:pt x="3551873" y="243883"/>
                    </a:cubicBezTo>
                    <a:cubicBezTo>
                      <a:pt x="3554730" y="232453"/>
                      <a:pt x="3560445" y="241025"/>
                      <a:pt x="3560445" y="241025"/>
                    </a:cubicBezTo>
                    <a:lnTo>
                      <a:pt x="3569018" y="237215"/>
                    </a:lnTo>
                    <a:lnTo>
                      <a:pt x="3574733" y="230548"/>
                    </a:lnTo>
                    <a:lnTo>
                      <a:pt x="3568065" y="231500"/>
                    </a:lnTo>
                    <a:close/>
                    <a:moveTo>
                      <a:pt x="601028" y="290555"/>
                    </a:moveTo>
                    <a:cubicBezTo>
                      <a:pt x="601028" y="290555"/>
                      <a:pt x="601028" y="290555"/>
                      <a:pt x="601028" y="290555"/>
                    </a:cubicBezTo>
                    <a:cubicBezTo>
                      <a:pt x="601028" y="290555"/>
                      <a:pt x="601028" y="290555"/>
                      <a:pt x="601028" y="290555"/>
                    </a:cubicBezTo>
                    <a:close/>
                    <a:moveTo>
                      <a:pt x="874395" y="1083035"/>
                    </a:moveTo>
                    <a:lnTo>
                      <a:pt x="867728" y="1091608"/>
                    </a:lnTo>
                    <a:lnTo>
                      <a:pt x="861060" y="1097323"/>
                    </a:lnTo>
                    <a:lnTo>
                      <a:pt x="849630" y="1106848"/>
                    </a:lnTo>
                    <a:lnTo>
                      <a:pt x="838200" y="1104943"/>
                    </a:lnTo>
                    <a:lnTo>
                      <a:pt x="841058" y="1096370"/>
                    </a:lnTo>
                    <a:cubicBezTo>
                      <a:pt x="841058" y="1096370"/>
                      <a:pt x="841058" y="1096370"/>
                      <a:pt x="839153" y="1091608"/>
                    </a:cubicBezTo>
                    <a:cubicBezTo>
                      <a:pt x="837248" y="1087798"/>
                      <a:pt x="845820" y="1085893"/>
                      <a:pt x="845820" y="1085893"/>
                    </a:cubicBezTo>
                    <a:lnTo>
                      <a:pt x="859155" y="1084940"/>
                    </a:lnTo>
                    <a:lnTo>
                      <a:pt x="874395" y="1083035"/>
                    </a:lnTo>
                    <a:close/>
                    <a:moveTo>
                      <a:pt x="1003935" y="591545"/>
                    </a:moveTo>
                    <a:cubicBezTo>
                      <a:pt x="1003935" y="591545"/>
                      <a:pt x="1003935" y="591545"/>
                      <a:pt x="995363" y="595355"/>
                    </a:cubicBezTo>
                    <a:cubicBezTo>
                      <a:pt x="986790" y="599165"/>
                      <a:pt x="995363" y="595355"/>
                      <a:pt x="986790" y="595355"/>
                    </a:cubicBezTo>
                    <a:cubicBezTo>
                      <a:pt x="978218" y="595355"/>
                      <a:pt x="978218" y="595355"/>
                      <a:pt x="978218" y="595355"/>
                    </a:cubicBezTo>
                    <a:lnTo>
                      <a:pt x="958215" y="593450"/>
                    </a:lnTo>
                    <a:lnTo>
                      <a:pt x="918210" y="588688"/>
                    </a:lnTo>
                    <a:cubicBezTo>
                      <a:pt x="918210" y="588688"/>
                      <a:pt x="906780" y="588688"/>
                      <a:pt x="901065" y="588688"/>
                    </a:cubicBezTo>
                    <a:cubicBezTo>
                      <a:pt x="894398" y="588688"/>
                      <a:pt x="885825" y="588688"/>
                      <a:pt x="885825" y="588688"/>
                    </a:cubicBezTo>
                    <a:lnTo>
                      <a:pt x="868680" y="585830"/>
                    </a:lnTo>
                    <a:cubicBezTo>
                      <a:pt x="868680" y="585830"/>
                      <a:pt x="853440" y="586783"/>
                      <a:pt x="846773" y="586783"/>
                    </a:cubicBezTo>
                    <a:cubicBezTo>
                      <a:pt x="840105" y="586783"/>
                      <a:pt x="838200" y="586783"/>
                      <a:pt x="824865" y="589640"/>
                    </a:cubicBezTo>
                    <a:cubicBezTo>
                      <a:pt x="811530" y="592498"/>
                      <a:pt x="824865" y="589640"/>
                      <a:pt x="813435" y="589640"/>
                    </a:cubicBezTo>
                    <a:cubicBezTo>
                      <a:pt x="802005" y="589640"/>
                      <a:pt x="813435" y="589640"/>
                      <a:pt x="802005" y="589640"/>
                    </a:cubicBezTo>
                    <a:cubicBezTo>
                      <a:pt x="790575" y="589640"/>
                      <a:pt x="791528" y="586783"/>
                      <a:pt x="791528" y="586783"/>
                    </a:cubicBezTo>
                    <a:cubicBezTo>
                      <a:pt x="791528" y="586783"/>
                      <a:pt x="791528" y="581068"/>
                      <a:pt x="791528" y="577258"/>
                    </a:cubicBezTo>
                    <a:cubicBezTo>
                      <a:pt x="791528" y="573448"/>
                      <a:pt x="798195" y="571543"/>
                      <a:pt x="802958" y="565828"/>
                    </a:cubicBezTo>
                    <a:cubicBezTo>
                      <a:pt x="807720" y="560113"/>
                      <a:pt x="802958" y="565828"/>
                      <a:pt x="807720" y="560113"/>
                    </a:cubicBezTo>
                    <a:cubicBezTo>
                      <a:pt x="812483" y="554398"/>
                      <a:pt x="809625" y="553445"/>
                      <a:pt x="809625" y="553445"/>
                    </a:cubicBezTo>
                    <a:lnTo>
                      <a:pt x="821055" y="544873"/>
                    </a:lnTo>
                    <a:lnTo>
                      <a:pt x="827723" y="538205"/>
                    </a:lnTo>
                    <a:lnTo>
                      <a:pt x="845820" y="529633"/>
                    </a:lnTo>
                    <a:lnTo>
                      <a:pt x="854393" y="529633"/>
                    </a:lnTo>
                    <a:lnTo>
                      <a:pt x="867728" y="529633"/>
                    </a:lnTo>
                    <a:lnTo>
                      <a:pt x="881063" y="537253"/>
                    </a:lnTo>
                    <a:lnTo>
                      <a:pt x="884873" y="545825"/>
                    </a:lnTo>
                    <a:lnTo>
                      <a:pt x="906780" y="550588"/>
                    </a:lnTo>
                    <a:lnTo>
                      <a:pt x="928688" y="546778"/>
                    </a:lnTo>
                    <a:cubicBezTo>
                      <a:pt x="928688" y="546778"/>
                      <a:pt x="928688" y="546778"/>
                      <a:pt x="926783" y="541063"/>
                    </a:cubicBezTo>
                    <a:cubicBezTo>
                      <a:pt x="924878" y="535348"/>
                      <a:pt x="926783" y="531538"/>
                      <a:pt x="926783" y="531538"/>
                    </a:cubicBezTo>
                    <a:cubicBezTo>
                      <a:pt x="926783" y="531538"/>
                      <a:pt x="933450" y="525823"/>
                      <a:pt x="942023" y="519155"/>
                    </a:cubicBezTo>
                    <a:lnTo>
                      <a:pt x="948690" y="527728"/>
                    </a:lnTo>
                    <a:lnTo>
                      <a:pt x="948690" y="534395"/>
                    </a:lnTo>
                    <a:cubicBezTo>
                      <a:pt x="948690" y="534395"/>
                      <a:pt x="948690" y="534395"/>
                      <a:pt x="946785" y="538205"/>
                    </a:cubicBezTo>
                    <a:cubicBezTo>
                      <a:pt x="944880" y="542015"/>
                      <a:pt x="953453" y="546778"/>
                      <a:pt x="953453" y="546778"/>
                    </a:cubicBezTo>
                    <a:lnTo>
                      <a:pt x="972503" y="561065"/>
                    </a:lnTo>
                    <a:lnTo>
                      <a:pt x="987743" y="571543"/>
                    </a:lnTo>
                    <a:lnTo>
                      <a:pt x="998220" y="579163"/>
                    </a:lnTo>
                    <a:lnTo>
                      <a:pt x="1004888" y="584878"/>
                    </a:lnTo>
                    <a:lnTo>
                      <a:pt x="1003935" y="591545"/>
                    </a:lnTo>
                    <a:close/>
                    <a:moveTo>
                      <a:pt x="1239203" y="609643"/>
                    </a:moveTo>
                    <a:lnTo>
                      <a:pt x="1230630" y="612500"/>
                    </a:lnTo>
                    <a:lnTo>
                      <a:pt x="1212533" y="622025"/>
                    </a:lnTo>
                    <a:lnTo>
                      <a:pt x="1212533" y="627740"/>
                    </a:lnTo>
                    <a:cubicBezTo>
                      <a:pt x="1212533" y="627740"/>
                      <a:pt x="1210628" y="628693"/>
                      <a:pt x="1212533" y="633455"/>
                    </a:cubicBezTo>
                    <a:cubicBezTo>
                      <a:pt x="1214438" y="637265"/>
                      <a:pt x="1219200" y="629645"/>
                      <a:pt x="1214438" y="637265"/>
                    </a:cubicBezTo>
                    <a:cubicBezTo>
                      <a:pt x="1209675" y="645838"/>
                      <a:pt x="1196340" y="645838"/>
                      <a:pt x="1196340" y="645838"/>
                    </a:cubicBezTo>
                    <a:lnTo>
                      <a:pt x="1183005" y="645838"/>
                    </a:lnTo>
                    <a:lnTo>
                      <a:pt x="1169670" y="642980"/>
                    </a:lnTo>
                    <a:lnTo>
                      <a:pt x="1157288" y="625835"/>
                    </a:lnTo>
                    <a:lnTo>
                      <a:pt x="1150620" y="614405"/>
                    </a:lnTo>
                    <a:cubicBezTo>
                      <a:pt x="1150620" y="614405"/>
                      <a:pt x="1143953" y="604880"/>
                      <a:pt x="1143953" y="600118"/>
                    </a:cubicBezTo>
                    <a:cubicBezTo>
                      <a:pt x="1143953" y="596308"/>
                      <a:pt x="1123950" y="586783"/>
                      <a:pt x="1123950" y="586783"/>
                    </a:cubicBezTo>
                    <a:lnTo>
                      <a:pt x="1115378" y="571543"/>
                    </a:lnTo>
                    <a:lnTo>
                      <a:pt x="1113473" y="559160"/>
                    </a:lnTo>
                    <a:cubicBezTo>
                      <a:pt x="1113473" y="559160"/>
                      <a:pt x="1108710" y="555350"/>
                      <a:pt x="1113473" y="550588"/>
                    </a:cubicBezTo>
                    <a:cubicBezTo>
                      <a:pt x="1118235" y="546778"/>
                      <a:pt x="1109663" y="538205"/>
                      <a:pt x="1116330" y="539158"/>
                    </a:cubicBezTo>
                    <a:cubicBezTo>
                      <a:pt x="1122998" y="541063"/>
                      <a:pt x="1129665" y="535348"/>
                      <a:pt x="1129665" y="535348"/>
                    </a:cubicBezTo>
                    <a:cubicBezTo>
                      <a:pt x="1149668" y="534395"/>
                      <a:pt x="1163003" y="531538"/>
                      <a:pt x="1163003" y="531538"/>
                    </a:cubicBezTo>
                    <a:cubicBezTo>
                      <a:pt x="1196340" y="527728"/>
                      <a:pt x="1196340" y="527728"/>
                      <a:pt x="1196340" y="527728"/>
                    </a:cubicBezTo>
                    <a:lnTo>
                      <a:pt x="1201103" y="531538"/>
                    </a:lnTo>
                    <a:cubicBezTo>
                      <a:pt x="1201103" y="535348"/>
                      <a:pt x="1187768" y="540110"/>
                      <a:pt x="1187768" y="540110"/>
                    </a:cubicBezTo>
                    <a:lnTo>
                      <a:pt x="1176338" y="545825"/>
                    </a:lnTo>
                    <a:lnTo>
                      <a:pt x="1176338" y="557255"/>
                    </a:lnTo>
                    <a:cubicBezTo>
                      <a:pt x="1176338" y="557255"/>
                      <a:pt x="1169670" y="565828"/>
                      <a:pt x="1176338" y="568685"/>
                    </a:cubicBezTo>
                    <a:cubicBezTo>
                      <a:pt x="1183005" y="571543"/>
                      <a:pt x="1206818" y="584878"/>
                      <a:pt x="1206818" y="584878"/>
                    </a:cubicBezTo>
                    <a:lnTo>
                      <a:pt x="1222058" y="587735"/>
                    </a:lnTo>
                    <a:lnTo>
                      <a:pt x="1237298" y="593450"/>
                    </a:lnTo>
                    <a:lnTo>
                      <a:pt x="1243965" y="599165"/>
                    </a:lnTo>
                    <a:lnTo>
                      <a:pt x="1239203" y="609643"/>
                    </a:lnTo>
                    <a:close/>
                    <a:moveTo>
                      <a:pt x="1342073" y="556303"/>
                    </a:moveTo>
                    <a:lnTo>
                      <a:pt x="1335405" y="562970"/>
                    </a:lnTo>
                    <a:lnTo>
                      <a:pt x="1322070" y="562970"/>
                    </a:lnTo>
                    <a:cubicBezTo>
                      <a:pt x="1322070" y="562970"/>
                      <a:pt x="1313498" y="558208"/>
                      <a:pt x="1308735" y="554398"/>
                    </a:cubicBezTo>
                    <a:cubicBezTo>
                      <a:pt x="1303973" y="550588"/>
                      <a:pt x="1310640" y="548683"/>
                      <a:pt x="1311593" y="542015"/>
                    </a:cubicBezTo>
                    <a:cubicBezTo>
                      <a:pt x="1311593" y="535348"/>
                      <a:pt x="1311593" y="542015"/>
                      <a:pt x="1316355" y="536300"/>
                    </a:cubicBezTo>
                    <a:lnTo>
                      <a:pt x="1333500" y="536300"/>
                    </a:lnTo>
                    <a:lnTo>
                      <a:pt x="1342073" y="548683"/>
                    </a:lnTo>
                    <a:lnTo>
                      <a:pt x="1342073" y="556303"/>
                    </a:lnTo>
                    <a:close/>
                  </a:path>
                </a:pathLst>
              </a:custGeom>
              <a:grpFill/>
              <a:ln w="9525" cap="flat">
                <a:noFill/>
                <a:prstDash val="solid"/>
                <a:miter/>
              </a:ln>
            </p:spPr>
            <p:txBody>
              <a:bodyPr rtlCol="0" anchor="ctr"/>
              <a:lstStyle/>
              <a:p>
                <a:endParaRPr lang="en-US" sz="1765"/>
              </a:p>
            </p:txBody>
          </p:sp>
          <p:sp>
            <p:nvSpPr>
              <p:cNvPr id="217" name="Freeform: Shape 216">
                <a:extLst>
                  <a:ext uri="{FF2B5EF4-FFF2-40B4-BE49-F238E27FC236}">
                    <a16:creationId xmlns:a16="http://schemas.microsoft.com/office/drawing/2014/main" id="{150D4418-B352-49FE-B652-2F96B7804123}"/>
                  </a:ext>
                </a:extLst>
              </p:cNvPr>
              <p:cNvSpPr/>
              <p:nvPr/>
            </p:nvSpPr>
            <p:spPr>
              <a:xfrm>
                <a:off x="8953529" y="4190729"/>
                <a:ext cx="130567" cy="157171"/>
              </a:xfrm>
              <a:custGeom>
                <a:avLst/>
                <a:gdLst>
                  <a:gd name="connsiteX0" fmla="*/ 126682 w 130567"/>
                  <a:gd name="connsiteY0" fmla="*/ 4763 h 157171"/>
                  <a:gd name="connsiteX1" fmla="*/ 126682 w 130567"/>
                  <a:gd name="connsiteY1" fmla="*/ 10478 h 157171"/>
                  <a:gd name="connsiteX2" fmla="*/ 126682 w 130567"/>
                  <a:gd name="connsiteY2" fmla="*/ 25717 h 157171"/>
                  <a:gd name="connsiteX3" fmla="*/ 126682 w 130567"/>
                  <a:gd name="connsiteY3" fmla="*/ 34290 h 157171"/>
                  <a:gd name="connsiteX4" fmla="*/ 129540 w 130567"/>
                  <a:gd name="connsiteY4" fmla="*/ 45720 h 157171"/>
                  <a:gd name="connsiteX5" fmla="*/ 122872 w 130567"/>
                  <a:gd name="connsiteY5" fmla="*/ 57150 h 157171"/>
                  <a:gd name="connsiteX6" fmla="*/ 117157 w 130567"/>
                  <a:gd name="connsiteY6" fmla="*/ 69533 h 157171"/>
                  <a:gd name="connsiteX7" fmla="*/ 115253 w 130567"/>
                  <a:gd name="connsiteY7" fmla="*/ 75247 h 157171"/>
                  <a:gd name="connsiteX8" fmla="*/ 110490 w 130567"/>
                  <a:gd name="connsiteY8" fmla="*/ 88583 h 157171"/>
                  <a:gd name="connsiteX9" fmla="*/ 107632 w 130567"/>
                  <a:gd name="connsiteY9" fmla="*/ 98108 h 157171"/>
                  <a:gd name="connsiteX10" fmla="*/ 97155 w 130567"/>
                  <a:gd name="connsiteY10" fmla="*/ 112395 h 157171"/>
                  <a:gd name="connsiteX11" fmla="*/ 91440 w 130567"/>
                  <a:gd name="connsiteY11" fmla="*/ 118110 h 157171"/>
                  <a:gd name="connsiteX12" fmla="*/ 79057 w 130567"/>
                  <a:gd name="connsiteY12" fmla="*/ 126683 h 157171"/>
                  <a:gd name="connsiteX13" fmla="*/ 78105 w 130567"/>
                  <a:gd name="connsiteY13" fmla="*/ 133350 h 157171"/>
                  <a:gd name="connsiteX14" fmla="*/ 74295 w 130567"/>
                  <a:gd name="connsiteY14" fmla="*/ 145733 h 157171"/>
                  <a:gd name="connsiteX15" fmla="*/ 69532 w 130567"/>
                  <a:gd name="connsiteY15" fmla="*/ 152400 h 157171"/>
                  <a:gd name="connsiteX16" fmla="*/ 54292 w 130567"/>
                  <a:gd name="connsiteY16" fmla="*/ 155258 h 157171"/>
                  <a:gd name="connsiteX17" fmla="*/ 46672 w 130567"/>
                  <a:gd name="connsiteY17" fmla="*/ 156210 h 157171"/>
                  <a:gd name="connsiteX18" fmla="*/ 35242 w 130567"/>
                  <a:gd name="connsiteY18" fmla="*/ 154305 h 157171"/>
                  <a:gd name="connsiteX19" fmla="*/ 20955 w 130567"/>
                  <a:gd name="connsiteY19" fmla="*/ 144780 h 157171"/>
                  <a:gd name="connsiteX20" fmla="*/ 18097 w 130567"/>
                  <a:gd name="connsiteY20" fmla="*/ 139065 h 157171"/>
                  <a:gd name="connsiteX21" fmla="*/ 12382 w 130567"/>
                  <a:gd name="connsiteY21" fmla="*/ 133350 h 157171"/>
                  <a:gd name="connsiteX22" fmla="*/ 2857 w 130567"/>
                  <a:gd name="connsiteY22" fmla="*/ 129540 h 157171"/>
                  <a:gd name="connsiteX23" fmla="*/ 953 w 130567"/>
                  <a:gd name="connsiteY23" fmla="*/ 120015 h 157171"/>
                  <a:gd name="connsiteX24" fmla="*/ 0 w 130567"/>
                  <a:gd name="connsiteY24" fmla="*/ 113347 h 157171"/>
                  <a:gd name="connsiteX25" fmla="*/ 2857 w 130567"/>
                  <a:gd name="connsiteY25" fmla="*/ 104775 h 157171"/>
                  <a:gd name="connsiteX26" fmla="*/ 10478 w 130567"/>
                  <a:gd name="connsiteY26" fmla="*/ 101917 h 157171"/>
                  <a:gd name="connsiteX27" fmla="*/ 18097 w 130567"/>
                  <a:gd name="connsiteY27" fmla="*/ 98108 h 157171"/>
                  <a:gd name="connsiteX28" fmla="*/ 26670 w 130567"/>
                  <a:gd name="connsiteY28" fmla="*/ 93345 h 157171"/>
                  <a:gd name="connsiteX29" fmla="*/ 31432 w 130567"/>
                  <a:gd name="connsiteY29" fmla="*/ 84772 h 157171"/>
                  <a:gd name="connsiteX30" fmla="*/ 31432 w 130567"/>
                  <a:gd name="connsiteY30" fmla="*/ 74295 h 157171"/>
                  <a:gd name="connsiteX31" fmla="*/ 31432 w 130567"/>
                  <a:gd name="connsiteY31" fmla="*/ 64770 h 157171"/>
                  <a:gd name="connsiteX32" fmla="*/ 32385 w 130567"/>
                  <a:gd name="connsiteY32" fmla="*/ 55245 h 157171"/>
                  <a:gd name="connsiteX33" fmla="*/ 44767 w 130567"/>
                  <a:gd name="connsiteY33" fmla="*/ 48578 h 157171"/>
                  <a:gd name="connsiteX34" fmla="*/ 53340 w 130567"/>
                  <a:gd name="connsiteY34" fmla="*/ 44767 h 157171"/>
                  <a:gd name="connsiteX35" fmla="*/ 63817 w 130567"/>
                  <a:gd name="connsiteY35" fmla="*/ 40958 h 157171"/>
                  <a:gd name="connsiteX36" fmla="*/ 76200 w 130567"/>
                  <a:gd name="connsiteY36" fmla="*/ 34290 h 157171"/>
                  <a:gd name="connsiteX37" fmla="*/ 81915 w 130567"/>
                  <a:gd name="connsiteY37" fmla="*/ 31433 h 157171"/>
                  <a:gd name="connsiteX38" fmla="*/ 93345 w 130567"/>
                  <a:gd name="connsiteY38" fmla="*/ 27622 h 157171"/>
                  <a:gd name="connsiteX39" fmla="*/ 102870 w 130567"/>
                  <a:gd name="connsiteY39" fmla="*/ 18097 h 157171"/>
                  <a:gd name="connsiteX40" fmla="*/ 107632 w 130567"/>
                  <a:gd name="connsiteY40" fmla="*/ 6667 h 157171"/>
                  <a:gd name="connsiteX41" fmla="*/ 115253 w 130567"/>
                  <a:gd name="connsiteY41" fmla="*/ 0 h 157171"/>
                  <a:gd name="connsiteX42" fmla="*/ 126682 w 130567"/>
                  <a:gd name="connsiteY42" fmla="*/ 4763 h 15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567" h="157171">
                    <a:moveTo>
                      <a:pt x="126682" y="4763"/>
                    </a:moveTo>
                    <a:cubicBezTo>
                      <a:pt x="126682" y="4763"/>
                      <a:pt x="125730" y="6667"/>
                      <a:pt x="126682" y="10478"/>
                    </a:cubicBezTo>
                    <a:cubicBezTo>
                      <a:pt x="127635" y="14288"/>
                      <a:pt x="125730" y="22860"/>
                      <a:pt x="126682" y="25717"/>
                    </a:cubicBezTo>
                    <a:cubicBezTo>
                      <a:pt x="127635" y="28575"/>
                      <a:pt x="124778" y="28575"/>
                      <a:pt x="126682" y="34290"/>
                    </a:cubicBezTo>
                    <a:cubicBezTo>
                      <a:pt x="128588" y="40005"/>
                      <a:pt x="132397" y="40958"/>
                      <a:pt x="129540" y="45720"/>
                    </a:cubicBezTo>
                    <a:cubicBezTo>
                      <a:pt x="127635" y="49530"/>
                      <a:pt x="128588" y="44767"/>
                      <a:pt x="122872" y="57150"/>
                    </a:cubicBezTo>
                    <a:cubicBezTo>
                      <a:pt x="117157" y="69533"/>
                      <a:pt x="119063" y="63817"/>
                      <a:pt x="117157" y="69533"/>
                    </a:cubicBezTo>
                    <a:cubicBezTo>
                      <a:pt x="115253" y="75247"/>
                      <a:pt x="116205" y="67628"/>
                      <a:pt x="115253" y="75247"/>
                    </a:cubicBezTo>
                    <a:cubicBezTo>
                      <a:pt x="114300" y="82867"/>
                      <a:pt x="111442" y="83820"/>
                      <a:pt x="110490" y="88583"/>
                    </a:cubicBezTo>
                    <a:cubicBezTo>
                      <a:pt x="109538" y="93345"/>
                      <a:pt x="111442" y="95250"/>
                      <a:pt x="107632" y="98108"/>
                    </a:cubicBezTo>
                    <a:cubicBezTo>
                      <a:pt x="103822" y="101917"/>
                      <a:pt x="97155" y="112395"/>
                      <a:pt x="97155" y="112395"/>
                    </a:cubicBezTo>
                    <a:cubicBezTo>
                      <a:pt x="97155" y="112395"/>
                      <a:pt x="93345" y="113347"/>
                      <a:pt x="91440" y="118110"/>
                    </a:cubicBezTo>
                    <a:cubicBezTo>
                      <a:pt x="89535" y="121920"/>
                      <a:pt x="78105" y="123825"/>
                      <a:pt x="79057" y="126683"/>
                    </a:cubicBezTo>
                    <a:cubicBezTo>
                      <a:pt x="80010" y="129540"/>
                      <a:pt x="78105" y="129540"/>
                      <a:pt x="78105" y="133350"/>
                    </a:cubicBezTo>
                    <a:cubicBezTo>
                      <a:pt x="78105" y="137160"/>
                      <a:pt x="76200" y="141922"/>
                      <a:pt x="74295" y="145733"/>
                    </a:cubicBezTo>
                    <a:cubicBezTo>
                      <a:pt x="73342" y="149542"/>
                      <a:pt x="69532" y="152400"/>
                      <a:pt x="69532" y="152400"/>
                    </a:cubicBezTo>
                    <a:lnTo>
                      <a:pt x="54292" y="155258"/>
                    </a:lnTo>
                    <a:cubicBezTo>
                      <a:pt x="54292" y="155258"/>
                      <a:pt x="53340" y="156210"/>
                      <a:pt x="46672" y="156210"/>
                    </a:cubicBezTo>
                    <a:cubicBezTo>
                      <a:pt x="40005" y="155258"/>
                      <a:pt x="45720" y="160020"/>
                      <a:pt x="35242" y="154305"/>
                    </a:cubicBezTo>
                    <a:cubicBezTo>
                      <a:pt x="25717" y="148590"/>
                      <a:pt x="20955" y="144780"/>
                      <a:pt x="20955" y="144780"/>
                    </a:cubicBezTo>
                    <a:lnTo>
                      <a:pt x="18097" y="139065"/>
                    </a:lnTo>
                    <a:cubicBezTo>
                      <a:pt x="18097" y="139065"/>
                      <a:pt x="16192" y="135255"/>
                      <a:pt x="12382" y="133350"/>
                    </a:cubicBezTo>
                    <a:cubicBezTo>
                      <a:pt x="9525" y="131445"/>
                      <a:pt x="2857" y="129540"/>
                      <a:pt x="2857" y="129540"/>
                    </a:cubicBezTo>
                    <a:lnTo>
                      <a:pt x="953" y="120015"/>
                    </a:lnTo>
                    <a:lnTo>
                      <a:pt x="0" y="113347"/>
                    </a:lnTo>
                    <a:lnTo>
                      <a:pt x="2857" y="104775"/>
                    </a:lnTo>
                    <a:cubicBezTo>
                      <a:pt x="2857" y="104775"/>
                      <a:pt x="7620" y="102870"/>
                      <a:pt x="10478" y="101917"/>
                    </a:cubicBezTo>
                    <a:cubicBezTo>
                      <a:pt x="13335" y="100965"/>
                      <a:pt x="18097" y="98108"/>
                      <a:pt x="18097" y="98108"/>
                    </a:cubicBezTo>
                    <a:lnTo>
                      <a:pt x="26670" y="93345"/>
                    </a:lnTo>
                    <a:lnTo>
                      <a:pt x="31432" y="84772"/>
                    </a:lnTo>
                    <a:lnTo>
                      <a:pt x="31432" y="74295"/>
                    </a:lnTo>
                    <a:lnTo>
                      <a:pt x="31432" y="64770"/>
                    </a:lnTo>
                    <a:lnTo>
                      <a:pt x="32385" y="55245"/>
                    </a:lnTo>
                    <a:lnTo>
                      <a:pt x="44767" y="48578"/>
                    </a:lnTo>
                    <a:lnTo>
                      <a:pt x="53340" y="44767"/>
                    </a:lnTo>
                    <a:cubicBezTo>
                      <a:pt x="53340" y="44767"/>
                      <a:pt x="60007" y="41910"/>
                      <a:pt x="63817" y="40958"/>
                    </a:cubicBezTo>
                    <a:cubicBezTo>
                      <a:pt x="66675" y="40005"/>
                      <a:pt x="76200" y="34290"/>
                      <a:pt x="76200" y="34290"/>
                    </a:cubicBezTo>
                    <a:lnTo>
                      <a:pt x="81915" y="31433"/>
                    </a:lnTo>
                    <a:cubicBezTo>
                      <a:pt x="81915" y="31433"/>
                      <a:pt x="87630" y="31433"/>
                      <a:pt x="93345" y="27622"/>
                    </a:cubicBezTo>
                    <a:cubicBezTo>
                      <a:pt x="99060" y="23813"/>
                      <a:pt x="98107" y="25717"/>
                      <a:pt x="102870" y="18097"/>
                    </a:cubicBezTo>
                    <a:cubicBezTo>
                      <a:pt x="107632" y="10478"/>
                      <a:pt x="107632" y="6667"/>
                      <a:pt x="107632" y="6667"/>
                    </a:cubicBezTo>
                    <a:lnTo>
                      <a:pt x="115253" y="0"/>
                    </a:lnTo>
                    <a:lnTo>
                      <a:pt x="126682" y="4763"/>
                    </a:lnTo>
                    <a:close/>
                  </a:path>
                </a:pathLst>
              </a:custGeom>
              <a:grpFill/>
              <a:ln w="9525" cap="flat">
                <a:noFill/>
                <a:prstDash val="solid"/>
                <a:miter/>
              </a:ln>
            </p:spPr>
            <p:txBody>
              <a:bodyPr rtlCol="0" anchor="ctr"/>
              <a:lstStyle/>
              <a:p>
                <a:endParaRPr lang="en-US" sz="1765"/>
              </a:p>
            </p:txBody>
          </p:sp>
        </p:grpSp>
        <p:sp>
          <p:nvSpPr>
            <p:cNvPr id="416" name="Graphic 69">
              <a:extLst>
                <a:ext uri="{FF2B5EF4-FFF2-40B4-BE49-F238E27FC236}">
                  <a16:creationId xmlns:a16="http://schemas.microsoft.com/office/drawing/2014/main" id="{54863EE4-9BF8-4CF4-9171-B7812E20D057}"/>
                </a:ext>
                <a:ext uri="{C183D7F6-B498-43B3-948B-1728B52AA6E4}">
                  <adec:decorative xmlns:adec="http://schemas.microsoft.com/office/drawing/2017/decorative" val="1"/>
                </a:ext>
              </a:extLst>
            </p:cNvPr>
            <p:cNvSpPr/>
            <p:nvPr/>
          </p:nvSpPr>
          <p:spPr>
            <a:xfrm rot="1954878" flipH="1">
              <a:off x="6247795" y="1699122"/>
              <a:ext cx="3941648" cy="258705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Lst>
              <a:ahLst/>
              <a:cxnLst>
                <a:cxn ang="0">
                  <a:pos x="connsiteX0" y="connsiteY0"/>
                </a:cxn>
                <a:cxn ang="0">
                  <a:pos x="connsiteX1" y="connsiteY1"/>
                </a:cxn>
              </a:cxnLst>
              <a:rect l="l" t="t" r="r" b="b"/>
              <a:pathLst>
                <a:path w="2407349" h="3259011">
                  <a:moveTo>
                    <a:pt x="0" y="291883"/>
                  </a:moveTo>
                  <a:cubicBezTo>
                    <a:pt x="0" y="291883"/>
                    <a:pt x="1953536" y="-1375235"/>
                    <a:pt x="2407349" y="3259011"/>
                  </a:cubicBezTo>
                </a:path>
              </a:pathLst>
            </a:custGeom>
            <a:noFill/>
            <a:ln w="9525" cap="flat">
              <a:solidFill>
                <a:schemeClr val="bg1">
                  <a:alpha val="46000"/>
                </a:schemeClr>
              </a:solidFill>
              <a:prstDash val="solid"/>
              <a:miter/>
            </a:ln>
          </p:spPr>
          <p:txBody>
            <a:bodyPr rtlCol="0" anchor="ctr"/>
            <a:lstStyle/>
            <a:p>
              <a:endParaRPr lang="en-US" sz="1765"/>
            </a:p>
          </p:txBody>
        </p:sp>
        <p:sp>
          <p:nvSpPr>
            <p:cNvPr id="146" name="Graphic 69">
              <a:extLst>
                <a:ext uri="{FF2B5EF4-FFF2-40B4-BE49-F238E27FC236}">
                  <a16:creationId xmlns:a16="http://schemas.microsoft.com/office/drawing/2014/main" id="{FDC1AD8D-174D-4EE9-9626-9E3180B822E1}"/>
                </a:ext>
                <a:ext uri="{C183D7F6-B498-43B3-948B-1728B52AA6E4}">
                  <adec:decorative xmlns:adec="http://schemas.microsoft.com/office/drawing/2017/decorative" val="1"/>
                </a:ext>
              </a:extLst>
            </p:cNvPr>
            <p:cNvSpPr/>
            <p:nvPr/>
          </p:nvSpPr>
          <p:spPr>
            <a:xfrm rot="1041518" flipH="1" flipV="1">
              <a:off x="5737576" y="3229390"/>
              <a:ext cx="1439411" cy="57029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Lst>
              <a:ahLst/>
              <a:cxnLst>
                <a:cxn ang="0">
                  <a:pos x="connsiteX0" y="connsiteY0"/>
                </a:cxn>
                <a:cxn ang="0">
                  <a:pos x="connsiteX1" y="connsiteY1"/>
                </a:cxn>
              </a:cxnLst>
              <a:rect l="l" t="t" r="r" b="b"/>
              <a:pathLst>
                <a:path w="2412439" h="3028514">
                  <a:moveTo>
                    <a:pt x="0" y="12006"/>
                  </a:moveTo>
                  <a:cubicBezTo>
                    <a:pt x="0" y="12006"/>
                    <a:pt x="1892249" y="-359348"/>
                    <a:pt x="2412439" y="3028515"/>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2" name="Graphic 69">
              <a:extLst>
                <a:ext uri="{FF2B5EF4-FFF2-40B4-BE49-F238E27FC236}">
                  <a16:creationId xmlns:a16="http://schemas.microsoft.com/office/drawing/2014/main" id="{AD8762D0-4F1D-46EE-9B8C-2E2F7A480189}"/>
                </a:ext>
                <a:ext uri="{C183D7F6-B498-43B3-948B-1728B52AA6E4}">
                  <adec:decorative xmlns:adec="http://schemas.microsoft.com/office/drawing/2017/decorative" val="1"/>
                </a:ext>
              </a:extLst>
            </p:cNvPr>
            <p:cNvSpPr/>
            <p:nvPr/>
          </p:nvSpPr>
          <p:spPr>
            <a:xfrm rot="1041518" flipH="1" flipV="1">
              <a:off x="6291607" y="3478279"/>
              <a:ext cx="846272" cy="39483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Lst>
              <a:ahLst/>
              <a:cxnLst>
                <a:cxn ang="0">
                  <a:pos x="connsiteX0" y="connsiteY0"/>
                </a:cxn>
                <a:cxn ang="0">
                  <a:pos x="connsiteX1" y="connsiteY1"/>
                </a:cxn>
              </a:cxnLst>
              <a:rect l="l" t="t" r="r" b="b"/>
              <a:pathLst>
                <a:path w="2412439" h="3028514">
                  <a:moveTo>
                    <a:pt x="0" y="12006"/>
                  </a:moveTo>
                  <a:cubicBezTo>
                    <a:pt x="0" y="12006"/>
                    <a:pt x="1892249" y="-359348"/>
                    <a:pt x="2412439" y="3028515"/>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3" name="Graphic 69">
              <a:extLst>
                <a:ext uri="{FF2B5EF4-FFF2-40B4-BE49-F238E27FC236}">
                  <a16:creationId xmlns:a16="http://schemas.microsoft.com/office/drawing/2014/main" id="{9203F50D-3751-49EC-9C6D-CD5A37144DB1}"/>
                </a:ext>
                <a:ext uri="{C183D7F6-B498-43B3-948B-1728B52AA6E4}">
                  <adec:decorative xmlns:adec="http://schemas.microsoft.com/office/drawing/2017/decorative" val="1"/>
                </a:ext>
              </a:extLst>
            </p:cNvPr>
            <p:cNvSpPr/>
            <p:nvPr/>
          </p:nvSpPr>
          <p:spPr>
            <a:xfrm rot="17695877" flipH="1" flipV="1">
              <a:off x="6449358" y="2768651"/>
              <a:ext cx="892341" cy="71934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Lst>
              <a:ahLst/>
              <a:cxnLst>
                <a:cxn ang="0">
                  <a:pos x="connsiteX0" y="connsiteY0"/>
                </a:cxn>
                <a:cxn ang="0">
                  <a:pos x="connsiteX1" y="connsiteY1"/>
                </a:cxn>
              </a:cxnLst>
              <a:rect l="l" t="t" r="r" b="b"/>
              <a:pathLst>
                <a:path w="2412439" h="3016508">
                  <a:moveTo>
                    <a:pt x="0" y="0"/>
                  </a:moveTo>
                  <a:cubicBezTo>
                    <a:pt x="0" y="0"/>
                    <a:pt x="1445793" y="413045"/>
                    <a:pt x="2412439" y="301650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4" name="Graphic 69">
              <a:extLst>
                <a:ext uri="{FF2B5EF4-FFF2-40B4-BE49-F238E27FC236}">
                  <a16:creationId xmlns:a16="http://schemas.microsoft.com/office/drawing/2014/main" id="{02A2EF04-BE3C-440B-96C8-9F684B5221FA}"/>
                </a:ext>
                <a:ext uri="{C183D7F6-B498-43B3-948B-1728B52AA6E4}">
                  <adec:decorative xmlns:adec="http://schemas.microsoft.com/office/drawing/2017/decorative" val="1"/>
                </a:ext>
              </a:extLst>
            </p:cNvPr>
            <p:cNvSpPr/>
            <p:nvPr/>
          </p:nvSpPr>
          <p:spPr>
            <a:xfrm rot="17695877" flipH="1" flipV="1">
              <a:off x="7051164" y="3158055"/>
              <a:ext cx="1334386" cy="837093"/>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5" name="Graphic 69">
              <a:extLst>
                <a:ext uri="{FF2B5EF4-FFF2-40B4-BE49-F238E27FC236}">
                  <a16:creationId xmlns:a16="http://schemas.microsoft.com/office/drawing/2014/main" id="{35F611FA-2342-4034-9781-EE9FDDFB87A2}"/>
                </a:ext>
                <a:ext uri="{C183D7F6-B498-43B3-948B-1728B52AA6E4}">
                  <adec:decorative xmlns:adec="http://schemas.microsoft.com/office/drawing/2017/decorative" val="1"/>
                </a:ext>
              </a:extLst>
            </p:cNvPr>
            <p:cNvSpPr/>
            <p:nvPr/>
          </p:nvSpPr>
          <p:spPr>
            <a:xfrm rot="256138" flipH="1" flipV="1">
              <a:off x="7342255" y="2917951"/>
              <a:ext cx="1617026" cy="1147846"/>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89"/>
                <a:gd name="connsiteX1" fmla="*/ 2409437 w 2409437"/>
                <a:gd name="connsiteY1" fmla="*/ 2960388 h 2960389"/>
              </a:gdLst>
              <a:ahLst/>
              <a:cxnLst>
                <a:cxn ang="0">
                  <a:pos x="connsiteX0" y="connsiteY0"/>
                </a:cxn>
                <a:cxn ang="0">
                  <a:pos x="connsiteX1" y="connsiteY1"/>
                </a:cxn>
              </a:cxnLst>
              <a:rect l="l" t="t" r="r" b="b"/>
              <a:pathLst>
                <a:path w="2409437" h="2960389">
                  <a:moveTo>
                    <a:pt x="0" y="-1"/>
                  </a:moveTo>
                  <a:cubicBezTo>
                    <a:pt x="0" y="-1"/>
                    <a:pt x="1763122" y="87298"/>
                    <a:pt x="2409437" y="2960388"/>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6" name="Graphic 69">
              <a:extLst>
                <a:ext uri="{FF2B5EF4-FFF2-40B4-BE49-F238E27FC236}">
                  <a16:creationId xmlns:a16="http://schemas.microsoft.com/office/drawing/2014/main" id="{D52E2760-B3DB-41E6-AF87-EFAD11BC6731}"/>
                </a:ext>
                <a:ext uri="{C183D7F6-B498-43B3-948B-1728B52AA6E4}">
                  <adec:decorative xmlns:adec="http://schemas.microsoft.com/office/drawing/2017/decorative" val="1"/>
                </a:ext>
              </a:extLst>
            </p:cNvPr>
            <p:cNvSpPr/>
            <p:nvPr/>
          </p:nvSpPr>
          <p:spPr>
            <a:xfrm rot="1703027" flipH="1" flipV="1">
              <a:off x="8159483" y="3323751"/>
              <a:ext cx="938875" cy="62447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7" name="Graphic 69">
              <a:extLst>
                <a:ext uri="{FF2B5EF4-FFF2-40B4-BE49-F238E27FC236}">
                  <a16:creationId xmlns:a16="http://schemas.microsoft.com/office/drawing/2014/main" id="{04D8598A-9032-44A5-8743-6A00ADCF39DC}"/>
                </a:ext>
                <a:ext uri="{C183D7F6-B498-43B3-948B-1728B52AA6E4}">
                  <adec:decorative xmlns:adec="http://schemas.microsoft.com/office/drawing/2017/decorative" val="1"/>
                </a:ext>
              </a:extLst>
            </p:cNvPr>
            <p:cNvSpPr/>
            <p:nvPr/>
          </p:nvSpPr>
          <p:spPr>
            <a:xfrm rot="1703027" flipH="1">
              <a:off x="8333214" y="3270163"/>
              <a:ext cx="1582012" cy="269090"/>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8" name="Graphic 69">
              <a:extLst>
                <a:ext uri="{FF2B5EF4-FFF2-40B4-BE49-F238E27FC236}">
                  <a16:creationId xmlns:a16="http://schemas.microsoft.com/office/drawing/2014/main" id="{5909B384-B899-40AF-AF1A-BF1BB098D2ED}"/>
                </a:ext>
                <a:ext uri="{C183D7F6-B498-43B3-948B-1728B52AA6E4}">
                  <adec:decorative xmlns:adec="http://schemas.microsoft.com/office/drawing/2017/decorative" val="1"/>
                </a:ext>
              </a:extLst>
            </p:cNvPr>
            <p:cNvSpPr/>
            <p:nvPr/>
          </p:nvSpPr>
          <p:spPr>
            <a:xfrm rot="17555955" flipH="1" flipV="1">
              <a:off x="9827721" y="3225126"/>
              <a:ext cx="691999" cy="36386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9" name="Graphic 69">
              <a:extLst>
                <a:ext uri="{FF2B5EF4-FFF2-40B4-BE49-F238E27FC236}">
                  <a16:creationId xmlns:a16="http://schemas.microsoft.com/office/drawing/2014/main" id="{47C06CE3-92E6-49B0-8212-67865F9F8457}"/>
                </a:ext>
                <a:ext uri="{C183D7F6-B498-43B3-948B-1728B52AA6E4}">
                  <adec:decorative xmlns:adec="http://schemas.microsoft.com/office/drawing/2017/decorative" val="1"/>
                </a:ext>
              </a:extLst>
            </p:cNvPr>
            <p:cNvSpPr/>
            <p:nvPr/>
          </p:nvSpPr>
          <p:spPr>
            <a:xfrm rot="17555955" flipH="1" flipV="1">
              <a:off x="10035386" y="2904944"/>
              <a:ext cx="973079" cy="98876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Lst>
              <a:ahLst/>
              <a:cxnLst>
                <a:cxn ang="0">
                  <a:pos x="connsiteX0" y="connsiteY0"/>
                </a:cxn>
                <a:cxn ang="0">
                  <a:pos x="connsiteX1" y="connsiteY1"/>
                </a:cxn>
              </a:cxnLst>
              <a:rect l="l" t="t" r="r" b="b"/>
              <a:pathLst>
                <a:path w="2409437" h="2960391">
                  <a:moveTo>
                    <a:pt x="0" y="1"/>
                  </a:moveTo>
                  <a:cubicBezTo>
                    <a:pt x="0" y="1"/>
                    <a:pt x="2001820" y="656220"/>
                    <a:pt x="2409437" y="2960390"/>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0" name="Graphic 69">
              <a:extLst>
                <a:ext uri="{FF2B5EF4-FFF2-40B4-BE49-F238E27FC236}">
                  <a16:creationId xmlns:a16="http://schemas.microsoft.com/office/drawing/2014/main" id="{F83FA9DB-D813-4E7B-BCCB-36E2E6CCFCE3}"/>
                </a:ext>
                <a:ext uri="{C183D7F6-B498-43B3-948B-1728B52AA6E4}">
                  <adec:decorative xmlns:adec="http://schemas.microsoft.com/office/drawing/2017/decorative" val="1"/>
                </a:ext>
              </a:extLst>
            </p:cNvPr>
            <p:cNvSpPr/>
            <p:nvPr/>
          </p:nvSpPr>
          <p:spPr>
            <a:xfrm flipH="1" flipV="1">
              <a:off x="9878532" y="3639465"/>
              <a:ext cx="1133169" cy="581291"/>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409437"/>
                <a:gd name="connsiteY0" fmla="*/ 4193 h 2964583"/>
                <a:gd name="connsiteX1" fmla="*/ 2409437 w 2409437"/>
                <a:gd name="connsiteY1" fmla="*/ 2964582 h 2964583"/>
              </a:gdLst>
              <a:ahLst/>
              <a:cxnLst>
                <a:cxn ang="0">
                  <a:pos x="connsiteX0" y="connsiteY0"/>
                </a:cxn>
                <a:cxn ang="0">
                  <a:pos x="connsiteX1" y="connsiteY1"/>
                </a:cxn>
              </a:cxnLst>
              <a:rect l="l" t="t" r="r" b="b"/>
              <a:pathLst>
                <a:path w="2409437" h="2964583">
                  <a:moveTo>
                    <a:pt x="0" y="4193"/>
                  </a:moveTo>
                  <a:cubicBezTo>
                    <a:pt x="0" y="4193"/>
                    <a:pt x="1677775" y="-238267"/>
                    <a:pt x="2409437" y="2964582"/>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1" name="Graphic 69">
              <a:extLst>
                <a:ext uri="{FF2B5EF4-FFF2-40B4-BE49-F238E27FC236}">
                  <a16:creationId xmlns:a16="http://schemas.microsoft.com/office/drawing/2014/main" id="{ADEA9E15-B4B0-4AB2-951E-DECDAE7D4880}"/>
                </a:ext>
                <a:ext uri="{C183D7F6-B498-43B3-948B-1728B52AA6E4}">
                  <adec:decorative xmlns:adec="http://schemas.microsoft.com/office/drawing/2017/decorative" val="1"/>
                </a:ext>
              </a:extLst>
            </p:cNvPr>
            <p:cNvSpPr/>
            <p:nvPr/>
          </p:nvSpPr>
          <p:spPr>
            <a:xfrm rot="17555955" flipH="1" flipV="1">
              <a:off x="10666737" y="2840061"/>
              <a:ext cx="276500" cy="62575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23619"/>
                <a:gd name="connsiteY0" fmla="*/ 0 h 2960390"/>
                <a:gd name="connsiteX1" fmla="*/ 2409437 w 2423619"/>
                <a:gd name="connsiteY1" fmla="*/ 2960389 h 2960390"/>
              </a:gdLst>
              <a:ahLst/>
              <a:cxnLst>
                <a:cxn ang="0">
                  <a:pos x="connsiteX0" y="connsiteY0"/>
                </a:cxn>
                <a:cxn ang="0">
                  <a:pos x="connsiteX1" y="connsiteY1"/>
                </a:cxn>
              </a:cxnLst>
              <a:rect l="l" t="t" r="r" b="b"/>
              <a:pathLst>
                <a:path w="2423619" h="2960390">
                  <a:moveTo>
                    <a:pt x="0" y="0"/>
                  </a:moveTo>
                  <a:cubicBezTo>
                    <a:pt x="0" y="0"/>
                    <a:pt x="2639238" y="864545"/>
                    <a:pt x="2409437" y="296038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2" name="Graphic 69">
              <a:extLst>
                <a:ext uri="{FF2B5EF4-FFF2-40B4-BE49-F238E27FC236}">
                  <a16:creationId xmlns:a16="http://schemas.microsoft.com/office/drawing/2014/main" id="{E600F944-55A1-4956-A5AA-4C567E9DC1EB}"/>
                </a:ext>
                <a:ext uri="{C183D7F6-B498-43B3-948B-1728B52AA6E4}">
                  <adec:decorative xmlns:adec="http://schemas.microsoft.com/office/drawing/2017/decorative" val="1"/>
                </a:ext>
              </a:extLst>
            </p:cNvPr>
            <p:cNvSpPr/>
            <p:nvPr/>
          </p:nvSpPr>
          <p:spPr>
            <a:xfrm rot="12576264" flipH="1" flipV="1">
              <a:off x="10874312" y="3201281"/>
              <a:ext cx="523760" cy="102000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23619"/>
                <a:gd name="connsiteY0" fmla="*/ 0 h 2960390"/>
                <a:gd name="connsiteX1" fmla="*/ 2409437 w 2423619"/>
                <a:gd name="connsiteY1" fmla="*/ 2960389 h 2960390"/>
                <a:gd name="connsiteX0" fmla="*/ 0 w 3124456"/>
                <a:gd name="connsiteY0" fmla="*/ 0 h 2960390"/>
                <a:gd name="connsiteX1" fmla="*/ 2409437 w 3124456"/>
                <a:gd name="connsiteY1" fmla="*/ 2960389 h 2960390"/>
              </a:gdLst>
              <a:ahLst/>
              <a:cxnLst>
                <a:cxn ang="0">
                  <a:pos x="connsiteX0" y="connsiteY0"/>
                </a:cxn>
                <a:cxn ang="0">
                  <a:pos x="connsiteX1" y="connsiteY1"/>
                </a:cxn>
              </a:cxnLst>
              <a:rect l="l" t="t" r="r" b="b"/>
              <a:pathLst>
                <a:path w="3124456" h="2960390">
                  <a:moveTo>
                    <a:pt x="0" y="0"/>
                  </a:moveTo>
                  <a:cubicBezTo>
                    <a:pt x="0" y="0"/>
                    <a:pt x="4923576" y="694108"/>
                    <a:pt x="2409437" y="296038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3" name="Graphic 69">
              <a:extLst>
                <a:ext uri="{FF2B5EF4-FFF2-40B4-BE49-F238E27FC236}">
                  <a16:creationId xmlns:a16="http://schemas.microsoft.com/office/drawing/2014/main" id="{6A710367-0939-458F-911E-E6FEA607D672}"/>
                </a:ext>
                <a:ext uri="{C183D7F6-B498-43B3-948B-1728B52AA6E4}">
                  <adec:decorative xmlns:adec="http://schemas.microsoft.com/office/drawing/2017/decorative" val="1"/>
                </a:ext>
              </a:extLst>
            </p:cNvPr>
            <p:cNvSpPr/>
            <p:nvPr/>
          </p:nvSpPr>
          <p:spPr>
            <a:xfrm rot="17555955" flipH="1" flipV="1">
              <a:off x="9571970" y="3183944"/>
              <a:ext cx="761089" cy="199478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512662"/>
                <a:gd name="connsiteY0" fmla="*/ 0 h 2960388"/>
                <a:gd name="connsiteX1" fmla="*/ 2409437 w 2512662"/>
                <a:gd name="connsiteY1" fmla="*/ 2960389 h 2960388"/>
              </a:gdLst>
              <a:ahLst/>
              <a:cxnLst>
                <a:cxn ang="0">
                  <a:pos x="connsiteX0" y="connsiteY0"/>
                </a:cxn>
                <a:cxn ang="0">
                  <a:pos x="connsiteX1" y="connsiteY1"/>
                </a:cxn>
              </a:cxnLst>
              <a:rect l="l" t="t" r="r" b="b"/>
              <a:pathLst>
                <a:path w="2512662" h="2960388">
                  <a:moveTo>
                    <a:pt x="0" y="0"/>
                  </a:moveTo>
                  <a:cubicBezTo>
                    <a:pt x="0" y="0"/>
                    <a:pt x="3111788" y="1045674"/>
                    <a:pt x="2409437" y="296038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4" name="Graphic 69">
              <a:extLst>
                <a:ext uri="{FF2B5EF4-FFF2-40B4-BE49-F238E27FC236}">
                  <a16:creationId xmlns:a16="http://schemas.microsoft.com/office/drawing/2014/main" id="{261FE16C-6610-4E69-B8A8-E2E14A17166E}"/>
                </a:ext>
                <a:ext uri="{C183D7F6-B498-43B3-948B-1728B52AA6E4}">
                  <adec:decorative xmlns:adec="http://schemas.microsoft.com/office/drawing/2017/decorative" val="1"/>
                </a:ext>
              </a:extLst>
            </p:cNvPr>
            <p:cNvSpPr/>
            <p:nvPr/>
          </p:nvSpPr>
          <p:spPr>
            <a:xfrm rot="17555955" flipH="1" flipV="1">
              <a:off x="7662984" y="3198543"/>
              <a:ext cx="619429" cy="1757556"/>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512662"/>
                <a:gd name="connsiteY0" fmla="*/ 0 h 2960388"/>
                <a:gd name="connsiteX1" fmla="*/ 2409437 w 2512662"/>
                <a:gd name="connsiteY1" fmla="*/ 2960389 h 2960388"/>
              </a:gdLst>
              <a:ahLst/>
              <a:cxnLst>
                <a:cxn ang="0">
                  <a:pos x="connsiteX0" y="connsiteY0"/>
                </a:cxn>
                <a:cxn ang="0">
                  <a:pos x="connsiteX1" y="connsiteY1"/>
                </a:cxn>
              </a:cxnLst>
              <a:rect l="l" t="t" r="r" b="b"/>
              <a:pathLst>
                <a:path w="2512662" h="2960388">
                  <a:moveTo>
                    <a:pt x="0" y="0"/>
                  </a:moveTo>
                  <a:cubicBezTo>
                    <a:pt x="0" y="0"/>
                    <a:pt x="3111788" y="1045674"/>
                    <a:pt x="2409437" y="296038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5" name="Graphic 69">
              <a:extLst>
                <a:ext uri="{FF2B5EF4-FFF2-40B4-BE49-F238E27FC236}">
                  <a16:creationId xmlns:a16="http://schemas.microsoft.com/office/drawing/2014/main" id="{4D8B0C85-280D-425A-9530-60FDC77A3811}"/>
                </a:ext>
                <a:ext uri="{C183D7F6-B498-43B3-948B-1728B52AA6E4}">
                  <adec:decorative xmlns:adec="http://schemas.microsoft.com/office/drawing/2017/decorative" val="1"/>
                </a:ext>
              </a:extLst>
            </p:cNvPr>
            <p:cNvSpPr/>
            <p:nvPr/>
          </p:nvSpPr>
          <p:spPr>
            <a:xfrm rot="1703027" flipH="1">
              <a:off x="8503595" y="2626033"/>
              <a:ext cx="1850220" cy="102412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390274"/>
                <a:gd name="connsiteY0" fmla="*/ 62987 h 3015565"/>
                <a:gd name="connsiteX1" fmla="*/ 2390274 w 2390274"/>
                <a:gd name="connsiteY1" fmla="*/ 3015565 h 3015565"/>
                <a:gd name="connsiteX0" fmla="*/ 0 w 2390274"/>
                <a:gd name="connsiteY0" fmla="*/ 120862 h 3073440"/>
                <a:gd name="connsiteX1" fmla="*/ 2390274 w 2390274"/>
                <a:gd name="connsiteY1" fmla="*/ 3073440 h 3073440"/>
              </a:gdLst>
              <a:ahLst/>
              <a:cxnLst>
                <a:cxn ang="0">
                  <a:pos x="connsiteX0" y="connsiteY0"/>
                </a:cxn>
                <a:cxn ang="0">
                  <a:pos x="connsiteX1" y="connsiteY1"/>
                </a:cxn>
              </a:cxnLst>
              <a:rect l="l" t="t" r="r" b="b"/>
              <a:pathLst>
                <a:path w="2390274" h="3073440">
                  <a:moveTo>
                    <a:pt x="0" y="120862"/>
                  </a:moveTo>
                  <a:cubicBezTo>
                    <a:pt x="0" y="120862"/>
                    <a:pt x="1509821" y="-914144"/>
                    <a:pt x="2390274" y="3073440"/>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6" name="Graphic 69">
              <a:extLst>
                <a:ext uri="{FF2B5EF4-FFF2-40B4-BE49-F238E27FC236}">
                  <a16:creationId xmlns:a16="http://schemas.microsoft.com/office/drawing/2014/main" id="{F1A58106-14A0-4450-9DB6-ED792AD27044}"/>
                </a:ext>
                <a:ext uri="{C183D7F6-B498-43B3-948B-1728B52AA6E4}">
                  <adec:decorative xmlns:adec="http://schemas.microsoft.com/office/drawing/2017/decorative" val="1"/>
                </a:ext>
              </a:extLst>
            </p:cNvPr>
            <p:cNvSpPr/>
            <p:nvPr/>
          </p:nvSpPr>
          <p:spPr>
            <a:xfrm rot="1703027" flipH="1">
              <a:off x="7394630" y="2897289"/>
              <a:ext cx="976043" cy="23236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390274"/>
                <a:gd name="connsiteY0" fmla="*/ 62987 h 3015565"/>
                <a:gd name="connsiteX1" fmla="*/ 2390274 w 2390274"/>
                <a:gd name="connsiteY1" fmla="*/ 3015565 h 3015565"/>
                <a:gd name="connsiteX0" fmla="*/ 0 w 2390274"/>
                <a:gd name="connsiteY0" fmla="*/ 120862 h 3073440"/>
                <a:gd name="connsiteX1" fmla="*/ 2390274 w 2390274"/>
                <a:gd name="connsiteY1" fmla="*/ 3073440 h 3073440"/>
              </a:gdLst>
              <a:ahLst/>
              <a:cxnLst>
                <a:cxn ang="0">
                  <a:pos x="connsiteX0" y="connsiteY0"/>
                </a:cxn>
                <a:cxn ang="0">
                  <a:pos x="connsiteX1" y="connsiteY1"/>
                </a:cxn>
              </a:cxnLst>
              <a:rect l="l" t="t" r="r" b="b"/>
              <a:pathLst>
                <a:path w="2390274" h="3073440">
                  <a:moveTo>
                    <a:pt x="0" y="120862"/>
                  </a:moveTo>
                  <a:cubicBezTo>
                    <a:pt x="0" y="120862"/>
                    <a:pt x="1509821" y="-914144"/>
                    <a:pt x="2390274" y="3073440"/>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7" name="Oval 246">
              <a:extLst>
                <a:ext uri="{FF2B5EF4-FFF2-40B4-BE49-F238E27FC236}">
                  <a16:creationId xmlns:a16="http://schemas.microsoft.com/office/drawing/2014/main" id="{DDAE4FC2-441F-48BB-9716-25DBA5A91897}"/>
                </a:ext>
                <a:ext uri="{C183D7F6-B498-43B3-948B-1728B52AA6E4}">
                  <adec:decorative xmlns:adec="http://schemas.microsoft.com/office/drawing/2017/decorative" val="1"/>
                </a:ext>
              </a:extLst>
            </p:cNvPr>
            <p:cNvSpPr/>
            <p:nvPr/>
          </p:nvSpPr>
          <p:spPr bwMode="auto">
            <a:xfrm>
              <a:off x="8355194" y="4243659"/>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48" name="Oval 247">
              <a:extLst>
                <a:ext uri="{FF2B5EF4-FFF2-40B4-BE49-F238E27FC236}">
                  <a16:creationId xmlns:a16="http://schemas.microsoft.com/office/drawing/2014/main" id="{545C0550-FE89-4208-B97B-9B51D459C4E2}"/>
                </a:ext>
                <a:ext uri="{C183D7F6-B498-43B3-948B-1728B52AA6E4}">
                  <adec:decorative xmlns:adec="http://schemas.microsoft.com/office/drawing/2017/decorative" val="1"/>
                </a:ext>
              </a:extLst>
            </p:cNvPr>
            <p:cNvSpPr/>
            <p:nvPr/>
          </p:nvSpPr>
          <p:spPr bwMode="auto">
            <a:xfrm>
              <a:off x="6545444" y="3319734"/>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49" name="Oval 248">
              <a:extLst>
                <a:ext uri="{FF2B5EF4-FFF2-40B4-BE49-F238E27FC236}">
                  <a16:creationId xmlns:a16="http://schemas.microsoft.com/office/drawing/2014/main" id="{BD101562-7FAC-4F1F-9D90-8F1AD46A61C2}"/>
                </a:ext>
                <a:ext uri="{C183D7F6-B498-43B3-948B-1728B52AA6E4}">
                  <adec:decorative xmlns:adec="http://schemas.microsoft.com/office/drawing/2017/decorative" val="1"/>
                </a:ext>
              </a:extLst>
            </p:cNvPr>
            <p:cNvSpPr/>
            <p:nvPr/>
          </p:nvSpPr>
          <p:spPr bwMode="auto">
            <a:xfrm>
              <a:off x="8521882" y="3124472"/>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0" name="Oval 249">
              <a:extLst>
                <a:ext uri="{FF2B5EF4-FFF2-40B4-BE49-F238E27FC236}">
                  <a16:creationId xmlns:a16="http://schemas.microsoft.com/office/drawing/2014/main" id="{842E0E39-ADEB-4C7E-B7DC-A8D8CCB29620}"/>
                </a:ext>
                <a:ext uri="{C183D7F6-B498-43B3-948B-1728B52AA6E4}">
                  <adec:decorative xmlns:adec="http://schemas.microsoft.com/office/drawing/2017/decorative" val="1"/>
                </a:ext>
              </a:extLst>
            </p:cNvPr>
            <p:cNvSpPr/>
            <p:nvPr/>
          </p:nvSpPr>
          <p:spPr bwMode="auto">
            <a:xfrm>
              <a:off x="10136369" y="29244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1" name="Oval 250">
              <a:extLst>
                <a:ext uri="{FF2B5EF4-FFF2-40B4-BE49-F238E27FC236}">
                  <a16:creationId xmlns:a16="http://schemas.microsoft.com/office/drawing/2014/main" id="{B6FACEF4-5C68-4D95-8DF6-A7AB7E4A1EC4}"/>
                </a:ext>
                <a:ext uri="{C183D7F6-B498-43B3-948B-1728B52AA6E4}">
                  <adec:decorative xmlns:adec="http://schemas.microsoft.com/office/drawing/2017/decorative" val="1"/>
                </a:ext>
              </a:extLst>
            </p:cNvPr>
            <p:cNvSpPr/>
            <p:nvPr/>
          </p:nvSpPr>
          <p:spPr bwMode="auto">
            <a:xfrm>
              <a:off x="10045882" y="36483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2" name="Oval 251">
              <a:extLst>
                <a:ext uri="{FF2B5EF4-FFF2-40B4-BE49-F238E27FC236}">
                  <a16:creationId xmlns:a16="http://schemas.microsoft.com/office/drawing/2014/main" id="{7864D2C5-38B0-443F-8E4F-44971AC3ED5A}"/>
                </a:ext>
                <a:ext uri="{C183D7F6-B498-43B3-948B-1728B52AA6E4}">
                  <adec:decorative xmlns:adec="http://schemas.microsoft.com/office/drawing/2017/decorative" val="1"/>
                </a:ext>
              </a:extLst>
            </p:cNvPr>
            <p:cNvSpPr/>
            <p:nvPr/>
          </p:nvSpPr>
          <p:spPr bwMode="auto">
            <a:xfrm>
              <a:off x="11303182" y="340069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3" name="Oval 252">
              <a:extLst>
                <a:ext uri="{FF2B5EF4-FFF2-40B4-BE49-F238E27FC236}">
                  <a16:creationId xmlns:a16="http://schemas.microsoft.com/office/drawing/2014/main" id="{0EA5B4EB-C698-4B2A-8CA0-F52E3626355A}"/>
                </a:ext>
                <a:ext uri="{C183D7F6-B498-43B3-948B-1728B52AA6E4}">
                  <adec:decorative xmlns:adec="http://schemas.microsoft.com/office/drawing/2017/decorative" val="1"/>
                </a:ext>
              </a:extLst>
            </p:cNvPr>
            <p:cNvSpPr/>
            <p:nvPr/>
          </p:nvSpPr>
          <p:spPr bwMode="auto">
            <a:xfrm>
              <a:off x="10779307" y="4176985"/>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4" name="Oval 253">
              <a:extLst>
                <a:ext uri="{FF2B5EF4-FFF2-40B4-BE49-F238E27FC236}">
                  <a16:creationId xmlns:a16="http://schemas.microsoft.com/office/drawing/2014/main" id="{FC5EA6B9-7F7E-4A67-A777-ADAE241C012C}"/>
                </a:ext>
                <a:ext uri="{C183D7F6-B498-43B3-948B-1728B52AA6E4}">
                  <adec:decorative xmlns:adec="http://schemas.microsoft.com/office/drawing/2017/decorative" val="1"/>
                </a:ext>
              </a:extLst>
            </p:cNvPr>
            <p:cNvSpPr/>
            <p:nvPr/>
          </p:nvSpPr>
          <p:spPr bwMode="auto">
            <a:xfrm>
              <a:off x="5859644" y="31530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5" name="Oval 254">
              <a:extLst>
                <a:ext uri="{FF2B5EF4-FFF2-40B4-BE49-F238E27FC236}">
                  <a16:creationId xmlns:a16="http://schemas.microsoft.com/office/drawing/2014/main" id="{60C781F1-488F-4ACB-9A83-CFF6C2BB2357}"/>
                </a:ext>
                <a:ext uri="{C183D7F6-B498-43B3-948B-1728B52AA6E4}">
                  <adec:decorative xmlns:adec="http://schemas.microsoft.com/office/drawing/2017/decorative" val="1"/>
                </a:ext>
              </a:extLst>
            </p:cNvPr>
            <p:cNvSpPr/>
            <p:nvPr/>
          </p:nvSpPr>
          <p:spPr bwMode="auto">
            <a:xfrm>
              <a:off x="7931332" y="3681685"/>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6" name="Oval 255">
              <a:extLst>
                <a:ext uri="{FF2B5EF4-FFF2-40B4-BE49-F238E27FC236}">
                  <a16:creationId xmlns:a16="http://schemas.microsoft.com/office/drawing/2014/main" id="{8F653F12-DFAA-461C-9607-6C0EBCF7284D}"/>
                </a:ext>
                <a:ext uri="{C183D7F6-B498-43B3-948B-1728B52AA6E4}">
                  <adec:decorative xmlns:adec="http://schemas.microsoft.com/office/drawing/2017/decorative" val="1"/>
                </a:ext>
              </a:extLst>
            </p:cNvPr>
            <p:cNvSpPr/>
            <p:nvPr/>
          </p:nvSpPr>
          <p:spPr bwMode="auto">
            <a:xfrm>
              <a:off x="7788457" y="2867298"/>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7" name="Oval 256">
              <a:extLst>
                <a:ext uri="{FF2B5EF4-FFF2-40B4-BE49-F238E27FC236}">
                  <a16:creationId xmlns:a16="http://schemas.microsoft.com/office/drawing/2014/main" id="{BD02F44F-C76D-4B85-A70D-70A1535D60DB}"/>
                </a:ext>
                <a:ext uri="{C183D7F6-B498-43B3-948B-1728B52AA6E4}">
                  <adec:decorative xmlns:adec="http://schemas.microsoft.com/office/drawing/2017/decorative" val="1"/>
                </a:ext>
              </a:extLst>
            </p:cNvPr>
            <p:cNvSpPr/>
            <p:nvPr/>
          </p:nvSpPr>
          <p:spPr bwMode="auto">
            <a:xfrm>
              <a:off x="9826807" y="4410348"/>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17" name="Graphic 69">
              <a:extLst>
                <a:ext uri="{FF2B5EF4-FFF2-40B4-BE49-F238E27FC236}">
                  <a16:creationId xmlns:a16="http://schemas.microsoft.com/office/drawing/2014/main" id="{A3212AE5-554C-4CD9-8279-4DBFCB667CD2}"/>
                </a:ext>
                <a:ext uri="{C183D7F6-B498-43B3-948B-1728B52AA6E4}">
                  <adec:decorative xmlns:adec="http://schemas.microsoft.com/office/drawing/2017/decorative" val="1"/>
                </a:ext>
              </a:extLst>
            </p:cNvPr>
            <p:cNvSpPr/>
            <p:nvPr/>
          </p:nvSpPr>
          <p:spPr>
            <a:xfrm rot="1954878" flipH="1">
              <a:off x="7640291" y="2107464"/>
              <a:ext cx="2719514" cy="1629531"/>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 name="connsiteX0" fmla="*/ 0 w 2407349"/>
                <a:gd name="connsiteY0" fmla="*/ 493755 h 3460883"/>
                <a:gd name="connsiteX1" fmla="*/ 2407349 w 2407349"/>
                <a:gd name="connsiteY1" fmla="*/ 3460883 h 3460883"/>
              </a:gdLst>
              <a:ahLst/>
              <a:cxnLst>
                <a:cxn ang="0">
                  <a:pos x="connsiteX0" y="connsiteY0"/>
                </a:cxn>
                <a:cxn ang="0">
                  <a:pos x="connsiteX1" y="connsiteY1"/>
                </a:cxn>
              </a:cxnLst>
              <a:rect l="l" t="t" r="r" b="b"/>
              <a:pathLst>
                <a:path w="2407349" h="3460883">
                  <a:moveTo>
                    <a:pt x="0" y="493755"/>
                  </a:moveTo>
                  <a:cubicBezTo>
                    <a:pt x="0" y="493755"/>
                    <a:pt x="1990673" y="-1788639"/>
                    <a:pt x="2407349" y="3460883"/>
                  </a:cubicBezTo>
                </a:path>
              </a:pathLst>
            </a:custGeom>
            <a:noFill/>
            <a:ln w="9525" cap="flat">
              <a:solidFill>
                <a:schemeClr val="bg1">
                  <a:alpha val="46000"/>
                </a:schemeClr>
              </a:solidFill>
              <a:prstDash val="solid"/>
              <a:miter/>
            </a:ln>
          </p:spPr>
          <p:txBody>
            <a:bodyPr rtlCol="0" anchor="ctr"/>
            <a:lstStyle/>
            <a:p>
              <a:endParaRPr lang="en-US" sz="1765"/>
            </a:p>
          </p:txBody>
        </p:sp>
        <p:sp>
          <p:nvSpPr>
            <p:cNvPr id="418" name="Graphic 69">
              <a:extLst>
                <a:ext uri="{FF2B5EF4-FFF2-40B4-BE49-F238E27FC236}">
                  <a16:creationId xmlns:a16="http://schemas.microsoft.com/office/drawing/2014/main" id="{B7F19760-2AB5-43C2-9A85-7CCCA2FA86C5}"/>
                </a:ext>
                <a:ext uri="{C183D7F6-B498-43B3-948B-1728B52AA6E4}">
                  <adec:decorative xmlns:adec="http://schemas.microsoft.com/office/drawing/2017/decorative" val="1"/>
                </a:ext>
              </a:extLst>
            </p:cNvPr>
            <p:cNvSpPr/>
            <p:nvPr/>
          </p:nvSpPr>
          <p:spPr>
            <a:xfrm rot="1954878" flipH="1">
              <a:off x="8659022" y="2190989"/>
              <a:ext cx="2358449" cy="172283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 name="connsiteX0" fmla="*/ 0 w 2407349"/>
                <a:gd name="connsiteY0" fmla="*/ 493755 h 3460883"/>
                <a:gd name="connsiteX1" fmla="*/ 2407349 w 2407349"/>
                <a:gd name="connsiteY1" fmla="*/ 3460883 h 3460883"/>
              </a:gdLst>
              <a:ahLst/>
              <a:cxnLst>
                <a:cxn ang="0">
                  <a:pos x="connsiteX0" y="connsiteY0"/>
                </a:cxn>
                <a:cxn ang="0">
                  <a:pos x="connsiteX1" y="connsiteY1"/>
                </a:cxn>
              </a:cxnLst>
              <a:rect l="l" t="t" r="r" b="b"/>
              <a:pathLst>
                <a:path w="2407349" h="3460883">
                  <a:moveTo>
                    <a:pt x="0" y="493755"/>
                  </a:moveTo>
                  <a:cubicBezTo>
                    <a:pt x="0" y="493755"/>
                    <a:pt x="1990673" y="-1788639"/>
                    <a:pt x="2407349" y="3460883"/>
                  </a:cubicBezTo>
                </a:path>
              </a:pathLst>
            </a:custGeom>
            <a:noFill/>
            <a:ln w="9525" cap="flat">
              <a:solidFill>
                <a:schemeClr val="bg1">
                  <a:alpha val="46000"/>
                </a:schemeClr>
              </a:solidFill>
              <a:prstDash val="solid"/>
              <a:miter/>
            </a:ln>
          </p:spPr>
          <p:txBody>
            <a:bodyPr rtlCol="0" anchor="ctr"/>
            <a:lstStyle/>
            <a:p>
              <a:endParaRPr lang="en-US" sz="1765"/>
            </a:p>
          </p:txBody>
        </p:sp>
        <p:sp>
          <p:nvSpPr>
            <p:cNvPr id="220" name="Graphic 218">
              <a:extLst>
                <a:ext uri="{FF2B5EF4-FFF2-40B4-BE49-F238E27FC236}">
                  <a16:creationId xmlns:a16="http://schemas.microsoft.com/office/drawing/2014/main" id="{73235FC1-D43A-4044-BF4B-C19C0646A77A}"/>
                </a:ext>
                <a:ext uri="{C183D7F6-B498-43B3-948B-1728B52AA6E4}">
                  <adec:decorative xmlns:adec="http://schemas.microsoft.com/office/drawing/2017/decorative" val="1"/>
                </a:ext>
              </a:extLst>
            </p:cNvPr>
            <p:cNvSpPr/>
            <p:nvPr/>
          </p:nvSpPr>
          <p:spPr>
            <a:xfrm>
              <a:off x="5554516" y="2262059"/>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221" name="Graphic 218">
              <a:extLst>
                <a:ext uri="{FF2B5EF4-FFF2-40B4-BE49-F238E27FC236}">
                  <a16:creationId xmlns:a16="http://schemas.microsoft.com/office/drawing/2014/main" id="{A5FAC87C-62DF-423A-AFCC-F5ED8BCC684F}"/>
                </a:ext>
                <a:ext uri="{C183D7F6-B498-43B3-948B-1728B52AA6E4}">
                  <adec:decorative xmlns:adec="http://schemas.microsoft.com/office/drawing/2017/decorative" val="1"/>
                </a:ext>
              </a:extLst>
            </p:cNvPr>
            <p:cNvSpPr/>
            <p:nvPr/>
          </p:nvSpPr>
          <p:spPr>
            <a:xfrm>
              <a:off x="6074361" y="26171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222" name="Graphic 218">
              <a:extLst>
                <a:ext uri="{FF2B5EF4-FFF2-40B4-BE49-F238E27FC236}">
                  <a16:creationId xmlns:a16="http://schemas.microsoft.com/office/drawing/2014/main" id="{ECBD924A-E0C7-4889-A113-8B7E3735CC86}"/>
                </a:ext>
                <a:ext uri="{C183D7F6-B498-43B3-948B-1728B52AA6E4}">
                  <adec:decorative xmlns:adec="http://schemas.microsoft.com/office/drawing/2017/decorative" val="1"/>
                </a:ext>
              </a:extLst>
            </p:cNvPr>
            <p:cNvSpPr/>
            <p:nvPr/>
          </p:nvSpPr>
          <p:spPr>
            <a:xfrm>
              <a:off x="6760073" y="32394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223" name="Graphic 218">
              <a:extLst>
                <a:ext uri="{FF2B5EF4-FFF2-40B4-BE49-F238E27FC236}">
                  <a16:creationId xmlns:a16="http://schemas.microsoft.com/office/drawing/2014/main" id="{9FF448E6-C294-473A-BE02-256EE2B0EEA3}"/>
                </a:ext>
                <a:ext uri="{C183D7F6-B498-43B3-948B-1728B52AA6E4}">
                  <adec:decorative xmlns:adec="http://schemas.microsoft.com/office/drawing/2017/decorative" val="1"/>
                </a:ext>
              </a:extLst>
            </p:cNvPr>
            <p:cNvSpPr/>
            <p:nvPr/>
          </p:nvSpPr>
          <p:spPr>
            <a:xfrm>
              <a:off x="8062266" y="2390852"/>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225" name="Graphic 218">
              <a:extLst>
                <a:ext uri="{FF2B5EF4-FFF2-40B4-BE49-F238E27FC236}">
                  <a16:creationId xmlns:a16="http://schemas.microsoft.com/office/drawing/2014/main" id="{90E8A518-582C-4217-9BB1-4B0B5CA727A1}"/>
                </a:ext>
                <a:ext uri="{C183D7F6-B498-43B3-948B-1728B52AA6E4}">
                  <adec:decorative xmlns:adec="http://schemas.microsoft.com/office/drawing/2017/decorative" val="1"/>
                </a:ext>
              </a:extLst>
            </p:cNvPr>
            <p:cNvSpPr/>
            <p:nvPr/>
          </p:nvSpPr>
          <p:spPr>
            <a:xfrm>
              <a:off x="10862468" y="23885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226" name="Graphic 218">
              <a:extLst>
                <a:ext uri="{FF2B5EF4-FFF2-40B4-BE49-F238E27FC236}">
                  <a16:creationId xmlns:a16="http://schemas.microsoft.com/office/drawing/2014/main" id="{FA47E52D-0146-4F62-9E2D-94BAF66E91DD}"/>
                </a:ext>
                <a:ext uri="{C183D7F6-B498-43B3-948B-1728B52AA6E4}">
                  <adec:decorative xmlns:adec="http://schemas.microsoft.com/office/drawing/2017/decorative" val="1"/>
                </a:ext>
              </a:extLst>
            </p:cNvPr>
            <p:cNvSpPr/>
            <p:nvPr/>
          </p:nvSpPr>
          <p:spPr>
            <a:xfrm>
              <a:off x="9579768" y="28965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227" name="Graphic 218">
              <a:extLst>
                <a:ext uri="{FF2B5EF4-FFF2-40B4-BE49-F238E27FC236}">
                  <a16:creationId xmlns:a16="http://schemas.microsoft.com/office/drawing/2014/main" id="{87763265-DDEC-47E2-B194-661FED9697F3}"/>
                </a:ext>
                <a:ext uri="{C183D7F6-B498-43B3-948B-1728B52AA6E4}">
                  <adec:decorative xmlns:adec="http://schemas.microsoft.com/office/drawing/2017/decorative" val="1"/>
                </a:ext>
              </a:extLst>
            </p:cNvPr>
            <p:cNvSpPr/>
            <p:nvPr/>
          </p:nvSpPr>
          <p:spPr>
            <a:xfrm>
              <a:off x="8601868" y="33664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228" name="Graphic 218">
              <a:extLst>
                <a:ext uri="{FF2B5EF4-FFF2-40B4-BE49-F238E27FC236}">
                  <a16:creationId xmlns:a16="http://schemas.microsoft.com/office/drawing/2014/main" id="{24A8BCCC-96F3-4C9A-8D89-E90B7881E105}"/>
                </a:ext>
                <a:ext uri="{C183D7F6-B498-43B3-948B-1728B52AA6E4}">
                  <adec:decorative xmlns:adec="http://schemas.microsoft.com/office/drawing/2017/decorative" val="1"/>
                </a:ext>
              </a:extLst>
            </p:cNvPr>
            <p:cNvSpPr/>
            <p:nvPr/>
          </p:nvSpPr>
          <p:spPr>
            <a:xfrm>
              <a:off x="10710068" y="34553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229" name="Graphic 218">
              <a:extLst>
                <a:ext uri="{FF2B5EF4-FFF2-40B4-BE49-F238E27FC236}">
                  <a16:creationId xmlns:a16="http://schemas.microsoft.com/office/drawing/2014/main" id="{6E4939F9-671F-44DE-9E62-C0484C5CC24E}"/>
                </a:ext>
                <a:ext uri="{C183D7F6-B498-43B3-948B-1728B52AA6E4}">
                  <adec:decorative xmlns:adec="http://schemas.microsoft.com/office/drawing/2017/decorative" val="1"/>
                </a:ext>
              </a:extLst>
            </p:cNvPr>
            <p:cNvSpPr/>
            <p:nvPr/>
          </p:nvSpPr>
          <p:spPr>
            <a:xfrm>
              <a:off x="7103268" y="21218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230" name="Graphic 218">
              <a:extLst>
                <a:ext uri="{FF2B5EF4-FFF2-40B4-BE49-F238E27FC236}">
                  <a16:creationId xmlns:a16="http://schemas.microsoft.com/office/drawing/2014/main" id="{B786E299-F910-4906-BBD8-8B55C259B25B}"/>
                </a:ext>
                <a:ext uri="{C183D7F6-B498-43B3-948B-1728B52AA6E4}">
                  <adec:decorative xmlns:adec="http://schemas.microsoft.com/office/drawing/2017/decorative" val="1"/>
                </a:ext>
              </a:extLst>
            </p:cNvPr>
            <p:cNvSpPr/>
            <p:nvPr/>
          </p:nvSpPr>
          <p:spPr>
            <a:xfrm>
              <a:off x="10167143" y="2398049"/>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endParaRPr lang="en-US" sz="1765"/>
            </a:p>
          </p:txBody>
        </p:sp>
        <p:sp>
          <p:nvSpPr>
            <p:cNvPr id="419" name="Oval 418">
              <a:extLst>
                <a:ext uri="{FF2B5EF4-FFF2-40B4-BE49-F238E27FC236}">
                  <a16:creationId xmlns:a16="http://schemas.microsoft.com/office/drawing/2014/main" id="{FE625CF3-7E9C-494E-A947-E51F533D163D}"/>
                </a:ext>
                <a:ext uri="{C183D7F6-B498-43B3-948B-1728B52AA6E4}">
                  <adec:decorative xmlns:adec="http://schemas.microsoft.com/office/drawing/2017/decorative" val="1"/>
                </a:ext>
              </a:extLst>
            </p:cNvPr>
            <p:cNvSpPr/>
            <p:nvPr/>
          </p:nvSpPr>
          <p:spPr bwMode="auto">
            <a:xfrm>
              <a:off x="9518832" y="2286272"/>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0" name="Oval 419">
              <a:extLst>
                <a:ext uri="{FF2B5EF4-FFF2-40B4-BE49-F238E27FC236}">
                  <a16:creationId xmlns:a16="http://schemas.microsoft.com/office/drawing/2014/main" id="{134BD34D-2920-421B-8196-2722CCD1A0BB}"/>
                </a:ext>
                <a:ext uri="{C183D7F6-B498-43B3-948B-1728B52AA6E4}">
                  <adec:decorative xmlns:adec="http://schemas.microsoft.com/office/drawing/2017/decorative" val="1"/>
                </a:ext>
              </a:extLst>
            </p:cNvPr>
            <p:cNvSpPr/>
            <p:nvPr/>
          </p:nvSpPr>
          <p:spPr bwMode="auto">
            <a:xfrm>
              <a:off x="7056312" y="2057709"/>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4" name="Oval 433">
              <a:extLst>
                <a:ext uri="{FF2B5EF4-FFF2-40B4-BE49-F238E27FC236}">
                  <a16:creationId xmlns:a16="http://schemas.microsoft.com/office/drawing/2014/main" id="{BEE4B5D4-119C-40D0-A40F-119749DDDFE3}"/>
                </a:ext>
                <a:ext uri="{C183D7F6-B498-43B3-948B-1728B52AA6E4}">
                  <adec:decorative xmlns:adec="http://schemas.microsoft.com/office/drawing/2017/decorative" val="1"/>
                </a:ext>
              </a:extLst>
            </p:cNvPr>
            <p:cNvSpPr/>
            <p:nvPr/>
          </p:nvSpPr>
          <p:spPr bwMode="auto">
            <a:xfrm>
              <a:off x="5507701" y="378429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5" name="Oval 434">
              <a:extLst>
                <a:ext uri="{FF2B5EF4-FFF2-40B4-BE49-F238E27FC236}">
                  <a16:creationId xmlns:a16="http://schemas.microsoft.com/office/drawing/2014/main" id="{81140CD0-47E2-4C47-A736-2334CDC17651}"/>
                </a:ext>
                <a:ext uri="{C183D7F6-B498-43B3-948B-1728B52AA6E4}">
                  <adec:decorative xmlns:adec="http://schemas.microsoft.com/office/drawing/2017/decorative" val="1"/>
                </a:ext>
              </a:extLst>
            </p:cNvPr>
            <p:cNvSpPr/>
            <p:nvPr/>
          </p:nvSpPr>
          <p:spPr bwMode="auto">
            <a:xfrm>
              <a:off x="6618951" y="17459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6" name="Oval 435">
              <a:extLst>
                <a:ext uri="{FF2B5EF4-FFF2-40B4-BE49-F238E27FC236}">
                  <a16:creationId xmlns:a16="http://schemas.microsoft.com/office/drawing/2014/main" id="{819CCCE4-9BD1-4220-9CCF-11260C8A5BED}"/>
                </a:ext>
                <a:ext uri="{C183D7F6-B498-43B3-948B-1728B52AA6E4}">
                  <adec:decorative xmlns:adec="http://schemas.microsoft.com/office/drawing/2017/decorative" val="1"/>
                </a:ext>
              </a:extLst>
            </p:cNvPr>
            <p:cNvSpPr/>
            <p:nvPr/>
          </p:nvSpPr>
          <p:spPr bwMode="auto">
            <a:xfrm>
              <a:off x="9235151" y="49971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7" name="Oval 436">
              <a:extLst>
                <a:ext uri="{FF2B5EF4-FFF2-40B4-BE49-F238E27FC236}">
                  <a16:creationId xmlns:a16="http://schemas.microsoft.com/office/drawing/2014/main" id="{FA68F897-AB85-45E5-817D-143513A1BA6C}"/>
                </a:ext>
                <a:ext uri="{C183D7F6-B498-43B3-948B-1728B52AA6E4}">
                  <adec:decorative xmlns:adec="http://schemas.microsoft.com/office/drawing/2017/decorative" val="1"/>
                </a:ext>
              </a:extLst>
            </p:cNvPr>
            <p:cNvSpPr/>
            <p:nvPr/>
          </p:nvSpPr>
          <p:spPr bwMode="auto">
            <a:xfrm>
              <a:off x="9067511" y="8823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8" name="Oval 437">
              <a:extLst>
                <a:ext uri="{FF2B5EF4-FFF2-40B4-BE49-F238E27FC236}">
                  <a16:creationId xmlns:a16="http://schemas.microsoft.com/office/drawing/2014/main" id="{D536BE13-4EF9-406D-98DE-ED5D41070D35}"/>
                </a:ext>
                <a:ext uri="{C183D7F6-B498-43B3-948B-1728B52AA6E4}">
                  <adec:decorative xmlns:adec="http://schemas.microsoft.com/office/drawing/2017/decorative" val="1"/>
                </a:ext>
              </a:extLst>
            </p:cNvPr>
            <p:cNvSpPr/>
            <p:nvPr/>
          </p:nvSpPr>
          <p:spPr bwMode="auto">
            <a:xfrm>
              <a:off x="10530551" y="550768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9" name="Oval 438">
              <a:extLst>
                <a:ext uri="{FF2B5EF4-FFF2-40B4-BE49-F238E27FC236}">
                  <a16:creationId xmlns:a16="http://schemas.microsoft.com/office/drawing/2014/main" id="{2787F28D-BA31-4FC1-82F5-CDFE2CE73DDA}"/>
                </a:ext>
                <a:ext uri="{C183D7F6-B498-43B3-948B-1728B52AA6E4}">
                  <adec:decorative xmlns:adec="http://schemas.microsoft.com/office/drawing/2017/decorative" val="1"/>
                </a:ext>
              </a:extLst>
            </p:cNvPr>
            <p:cNvSpPr/>
            <p:nvPr/>
          </p:nvSpPr>
          <p:spPr bwMode="auto">
            <a:xfrm>
              <a:off x="10073351" y="3108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grpSp>
          <p:nvGrpSpPr>
            <p:cNvPr id="386" name="Graphic 120">
              <a:extLst>
                <a:ext uri="{FF2B5EF4-FFF2-40B4-BE49-F238E27FC236}">
                  <a16:creationId xmlns:a16="http://schemas.microsoft.com/office/drawing/2014/main" id="{944D03D4-C528-4A88-8914-7813C2FEFC9F}"/>
                </a:ext>
                <a:ext uri="{C183D7F6-B498-43B3-948B-1728B52AA6E4}">
                  <adec:decorative xmlns:adec="http://schemas.microsoft.com/office/drawing/2017/decorative" val="1"/>
                </a:ext>
              </a:extLst>
            </p:cNvPr>
            <p:cNvGrpSpPr/>
            <p:nvPr/>
          </p:nvGrpSpPr>
          <p:grpSpPr>
            <a:xfrm>
              <a:off x="8721584" y="3492591"/>
              <a:ext cx="356832" cy="336440"/>
              <a:chOff x="6051549" y="3340099"/>
              <a:chExt cx="333375" cy="314325"/>
            </a:xfrm>
          </p:grpSpPr>
          <p:sp>
            <p:nvSpPr>
              <p:cNvPr id="387" name="Freeform: Shape 386">
                <a:extLst>
                  <a:ext uri="{FF2B5EF4-FFF2-40B4-BE49-F238E27FC236}">
                    <a16:creationId xmlns:a16="http://schemas.microsoft.com/office/drawing/2014/main" id="{59A5D8B9-83BB-4FE5-81F8-C1BA7A70302F}"/>
                  </a:ext>
                </a:extLst>
              </p:cNvPr>
              <p:cNvSpPr/>
              <p:nvPr/>
            </p:nvSpPr>
            <p:spPr>
              <a:xfrm>
                <a:off x="6267766" y="3540505"/>
                <a:ext cx="72390" cy="72390"/>
              </a:xfrm>
              <a:custGeom>
                <a:avLst/>
                <a:gdLst>
                  <a:gd name="connsiteX0" fmla="*/ 72390 w 72390"/>
                  <a:gd name="connsiteY0" fmla="*/ 36195 h 72390"/>
                  <a:gd name="connsiteX1" fmla="*/ 36195 w 72390"/>
                  <a:gd name="connsiteY1" fmla="*/ 72390 h 72390"/>
                  <a:gd name="connsiteX2" fmla="*/ 0 w 72390"/>
                  <a:gd name="connsiteY2" fmla="*/ 36195 h 72390"/>
                  <a:gd name="connsiteX3" fmla="*/ 36195 w 72390"/>
                  <a:gd name="connsiteY3" fmla="*/ 0 h 72390"/>
                  <a:gd name="connsiteX4" fmla="*/ 72390 w 72390"/>
                  <a:gd name="connsiteY4" fmla="*/ 36195 h 72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 h="72390">
                    <a:moveTo>
                      <a:pt x="72390" y="36195"/>
                    </a:moveTo>
                    <a:cubicBezTo>
                      <a:pt x="72390" y="56185"/>
                      <a:pt x="56185" y="72390"/>
                      <a:pt x="36195" y="72390"/>
                    </a:cubicBezTo>
                    <a:cubicBezTo>
                      <a:pt x="16205" y="72390"/>
                      <a:pt x="0" y="56185"/>
                      <a:pt x="0" y="36195"/>
                    </a:cubicBezTo>
                    <a:cubicBezTo>
                      <a:pt x="0" y="16205"/>
                      <a:pt x="16205" y="0"/>
                      <a:pt x="36195" y="0"/>
                    </a:cubicBezTo>
                    <a:cubicBezTo>
                      <a:pt x="56185" y="0"/>
                      <a:pt x="72390" y="16205"/>
                      <a:pt x="72390" y="36195"/>
                    </a:cubicBezTo>
                    <a:close/>
                  </a:path>
                </a:pathLst>
              </a:custGeom>
              <a:noFill/>
              <a:ln w="12700" cap="flat">
                <a:solidFill>
                  <a:schemeClr val="bg1"/>
                </a:solidFill>
                <a:prstDash val="solid"/>
                <a:miter/>
              </a:ln>
            </p:spPr>
            <p:txBody>
              <a:bodyPr rtlCol="0" anchor="ctr"/>
              <a:lstStyle/>
              <a:p>
                <a:endParaRPr lang="en-US" sz="1765"/>
              </a:p>
            </p:txBody>
          </p:sp>
          <p:sp>
            <p:nvSpPr>
              <p:cNvPr id="388" name="Freeform: Shape 387">
                <a:extLst>
                  <a:ext uri="{FF2B5EF4-FFF2-40B4-BE49-F238E27FC236}">
                    <a16:creationId xmlns:a16="http://schemas.microsoft.com/office/drawing/2014/main" id="{340B13A7-5809-4C8C-87B0-31BE9ECFEAF2}"/>
                  </a:ext>
                </a:extLst>
              </p:cNvPr>
              <p:cNvSpPr/>
              <p:nvPr/>
            </p:nvSpPr>
            <p:spPr>
              <a:xfrm>
                <a:off x="6231095" y="3500309"/>
                <a:ext cx="145732" cy="152781"/>
              </a:xfrm>
              <a:custGeom>
                <a:avLst/>
                <a:gdLst>
                  <a:gd name="connsiteX0" fmla="*/ 136398 w 145732"/>
                  <a:gd name="connsiteY0" fmla="*/ 76391 h 152781"/>
                  <a:gd name="connsiteX1" fmla="*/ 133350 w 145732"/>
                  <a:gd name="connsiteY1" fmla="*/ 56864 h 152781"/>
                  <a:gd name="connsiteX2" fmla="*/ 145733 w 145732"/>
                  <a:gd name="connsiteY2" fmla="*/ 49721 h 152781"/>
                  <a:gd name="connsiteX3" fmla="*/ 132398 w 145732"/>
                  <a:gd name="connsiteY3" fmla="*/ 26670 h 152781"/>
                  <a:gd name="connsiteX4" fmla="*/ 119920 w 145732"/>
                  <a:gd name="connsiteY4" fmla="*/ 33814 h 152781"/>
                  <a:gd name="connsiteX5" fmla="*/ 86201 w 145732"/>
                  <a:gd name="connsiteY5" fmla="*/ 14288 h 152781"/>
                  <a:gd name="connsiteX6" fmla="*/ 86201 w 145732"/>
                  <a:gd name="connsiteY6" fmla="*/ 0 h 152781"/>
                  <a:gd name="connsiteX7" fmla="*/ 59531 w 145732"/>
                  <a:gd name="connsiteY7" fmla="*/ 0 h 152781"/>
                  <a:gd name="connsiteX8" fmla="*/ 59531 w 145732"/>
                  <a:gd name="connsiteY8" fmla="*/ 14288 h 152781"/>
                  <a:gd name="connsiteX9" fmla="*/ 25813 w 145732"/>
                  <a:gd name="connsiteY9" fmla="*/ 33814 h 152781"/>
                  <a:gd name="connsiteX10" fmla="*/ 13335 w 145732"/>
                  <a:gd name="connsiteY10" fmla="*/ 26670 h 152781"/>
                  <a:gd name="connsiteX11" fmla="*/ 0 w 145732"/>
                  <a:gd name="connsiteY11" fmla="*/ 49721 h 152781"/>
                  <a:gd name="connsiteX12" fmla="*/ 12382 w 145732"/>
                  <a:gd name="connsiteY12" fmla="*/ 56864 h 152781"/>
                  <a:gd name="connsiteX13" fmla="*/ 9334 w 145732"/>
                  <a:gd name="connsiteY13" fmla="*/ 76391 h 152781"/>
                  <a:gd name="connsiteX14" fmla="*/ 12382 w 145732"/>
                  <a:gd name="connsiteY14" fmla="*/ 95917 h 152781"/>
                  <a:gd name="connsiteX15" fmla="*/ 0 w 145732"/>
                  <a:gd name="connsiteY15" fmla="*/ 103061 h 152781"/>
                  <a:gd name="connsiteX16" fmla="*/ 13335 w 145732"/>
                  <a:gd name="connsiteY16" fmla="*/ 126111 h 152781"/>
                  <a:gd name="connsiteX17" fmla="*/ 25813 w 145732"/>
                  <a:gd name="connsiteY17" fmla="*/ 118967 h 152781"/>
                  <a:gd name="connsiteX18" fmla="*/ 59531 w 145732"/>
                  <a:gd name="connsiteY18" fmla="*/ 138494 h 152781"/>
                  <a:gd name="connsiteX19" fmla="*/ 59531 w 145732"/>
                  <a:gd name="connsiteY19" fmla="*/ 152781 h 152781"/>
                  <a:gd name="connsiteX20" fmla="*/ 86201 w 145732"/>
                  <a:gd name="connsiteY20" fmla="*/ 152781 h 152781"/>
                  <a:gd name="connsiteX21" fmla="*/ 86201 w 145732"/>
                  <a:gd name="connsiteY21" fmla="*/ 138494 h 152781"/>
                  <a:gd name="connsiteX22" fmla="*/ 119920 w 145732"/>
                  <a:gd name="connsiteY22" fmla="*/ 118967 h 152781"/>
                  <a:gd name="connsiteX23" fmla="*/ 132398 w 145732"/>
                  <a:gd name="connsiteY23" fmla="*/ 126111 h 152781"/>
                  <a:gd name="connsiteX24" fmla="*/ 145733 w 145732"/>
                  <a:gd name="connsiteY24" fmla="*/ 103061 h 152781"/>
                  <a:gd name="connsiteX25" fmla="*/ 133350 w 145732"/>
                  <a:gd name="connsiteY25" fmla="*/ 95917 h 152781"/>
                  <a:gd name="connsiteX26" fmla="*/ 136398 w 145732"/>
                  <a:gd name="connsiteY26" fmla="*/ 76391 h 15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732" h="152781">
                    <a:moveTo>
                      <a:pt x="136398" y="76391"/>
                    </a:moveTo>
                    <a:cubicBezTo>
                      <a:pt x="136398" y="69628"/>
                      <a:pt x="135255" y="63056"/>
                      <a:pt x="133350" y="56864"/>
                    </a:cubicBezTo>
                    <a:lnTo>
                      <a:pt x="145733" y="49721"/>
                    </a:lnTo>
                    <a:lnTo>
                      <a:pt x="132398" y="26670"/>
                    </a:lnTo>
                    <a:lnTo>
                      <a:pt x="119920" y="33814"/>
                    </a:lnTo>
                    <a:cubicBezTo>
                      <a:pt x="111157" y="24098"/>
                      <a:pt x="99441" y="17145"/>
                      <a:pt x="86201" y="14288"/>
                    </a:cubicBezTo>
                    <a:lnTo>
                      <a:pt x="86201" y="0"/>
                    </a:lnTo>
                    <a:lnTo>
                      <a:pt x="59531" y="0"/>
                    </a:lnTo>
                    <a:lnTo>
                      <a:pt x="59531" y="14288"/>
                    </a:lnTo>
                    <a:cubicBezTo>
                      <a:pt x="46291" y="17145"/>
                      <a:pt x="34576" y="24098"/>
                      <a:pt x="25813" y="33814"/>
                    </a:cubicBezTo>
                    <a:lnTo>
                      <a:pt x="13335" y="26670"/>
                    </a:lnTo>
                    <a:lnTo>
                      <a:pt x="0" y="49721"/>
                    </a:lnTo>
                    <a:lnTo>
                      <a:pt x="12382" y="56864"/>
                    </a:lnTo>
                    <a:cubicBezTo>
                      <a:pt x="10382" y="63056"/>
                      <a:pt x="9334" y="69533"/>
                      <a:pt x="9334" y="76391"/>
                    </a:cubicBezTo>
                    <a:cubicBezTo>
                      <a:pt x="9334" y="83153"/>
                      <a:pt x="10478" y="89726"/>
                      <a:pt x="12382" y="95917"/>
                    </a:cubicBezTo>
                    <a:lnTo>
                      <a:pt x="0" y="103061"/>
                    </a:lnTo>
                    <a:lnTo>
                      <a:pt x="13335" y="126111"/>
                    </a:lnTo>
                    <a:lnTo>
                      <a:pt x="25813" y="118967"/>
                    </a:lnTo>
                    <a:cubicBezTo>
                      <a:pt x="34576" y="128683"/>
                      <a:pt x="46291" y="135636"/>
                      <a:pt x="59531" y="138494"/>
                    </a:cubicBezTo>
                    <a:lnTo>
                      <a:pt x="59531" y="152781"/>
                    </a:lnTo>
                    <a:lnTo>
                      <a:pt x="86201" y="152781"/>
                    </a:lnTo>
                    <a:lnTo>
                      <a:pt x="86201" y="138494"/>
                    </a:lnTo>
                    <a:cubicBezTo>
                      <a:pt x="99441" y="135636"/>
                      <a:pt x="111157" y="128683"/>
                      <a:pt x="119920" y="118967"/>
                    </a:cubicBezTo>
                    <a:lnTo>
                      <a:pt x="132398" y="126111"/>
                    </a:lnTo>
                    <a:lnTo>
                      <a:pt x="145733" y="103061"/>
                    </a:lnTo>
                    <a:lnTo>
                      <a:pt x="133350" y="95917"/>
                    </a:lnTo>
                    <a:cubicBezTo>
                      <a:pt x="135350" y="89726"/>
                      <a:pt x="136398" y="83153"/>
                      <a:pt x="136398" y="76391"/>
                    </a:cubicBezTo>
                    <a:close/>
                  </a:path>
                </a:pathLst>
              </a:custGeom>
              <a:noFill/>
              <a:ln w="12700" cap="flat">
                <a:solidFill>
                  <a:schemeClr val="bg1"/>
                </a:solidFill>
                <a:prstDash val="solid"/>
                <a:miter/>
              </a:ln>
            </p:spPr>
            <p:txBody>
              <a:bodyPr rtlCol="0" anchor="ctr"/>
              <a:lstStyle/>
              <a:p>
                <a:endParaRPr lang="en-US" sz="1765"/>
              </a:p>
            </p:txBody>
          </p:sp>
          <p:sp>
            <p:nvSpPr>
              <p:cNvPr id="389" name="Freeform: Shape 388">
                <a:extLst>
                  <a:ext uri="{FF2B5EF4-FFF2-40B4-BE49-F238E27FC236}">
                    <a16:creationId xmlns:a16="http://schemas.microsoft.com/office/drawing/2014/main" id="{B2ED74EA-BBD9-4CF7-888F-CBF358A64067}"/>
                  </a:ext>
                </a:extLst>
              </p:cNvPr>
              <p:cNvSpPr/>
              <p:nvPr/>
            </p:nvSpPr>
            <p:spPr>
              <a:xfrm>
                <a:off x="6058502" y="3348766"/>
                <a:ext cx="306800" cy="188975"/>
              </a:xfrm>
              <a:custGeom>
                <a:avLst/>
                <a:gdLst>
                  <a:gd name="connsiteX0" fmla="*/ 0 w 306800"/>
                  <a:gd name="connsiteY0" fmla="*/ 188976 h 188975"/>
                  <a:gd name="connsiteX1" fmla="*/ 150114 w 306800"/>
                  <a:gd name="connsiteY1" fmla="*/ 38767 h 188975"/>
                  <a:gd name="connsiteX2" fmla="*/ 209074 w 306800"/>
                  <a:gd name="connsiteY2" fmla="*/ 97727 h 188975"/>
                  <a:gd name="connsiteX3" fmla="*/ 306800 w 306800"/>
                  <a:gd name="connsiteY3" fmla="*/ 0 h 188975"/>
                </a:gdLst>
                <a:ahLst/>
                <a:cxnLst>
                  <a:cxn ang="0">
                    <a:pos x="connsiteX0" y="connsiteY0"/>
                  </a:cxn>
                  <a:cxn ang="0">
                    <a:pos x="connsiteX1" y="connsiteY1"/>
                  </a:cxn>
                  <a:cxn ang="0">
                    <a:pos x="connsiteX2" y="connsiteY2"/>
                  </a:cxn>
                  <a:cxn ang="0">
                    <a:pos x="connsiteX3" y="connsiteY3"/>
                  </a:cxn>
                </a:cxnLst>
                <a:rect l="l" t="t" r="r" b="b"/>
                <a:pathLst>
                  <a:path w="306800" h="188975">
                    <a:moveTo>
                      <a:pt x="0" y="188976"/>
                    </a:moveTo>
                    <a:lnTo>
                      <a:pt x="150114" y="38767"/>
                    </a:lnTo>
                    <a:lnTo>
                      <a:pt x="209074" y="97727"/>
                    </a:lnTo>
                    <a:lnTo>
                      <a:pt x="306800" y="0"/>
                    </a:lnTo>
                  </a:path>
                </a:pathLst>
              </a:custGeom>
              <a:noFill/>
              <a:ln w="12700" cap="flat">
                <a:solidFill>
                  <a:schemeClr val="bg1"/>
                </a:solidFill>
                <a:prstDash val="solid"/>
                <a:miter/>
              </a:ln>
            </p:spPr>
            <p:txBody>
              <a:bodyPr rtlCol="0" anchor="ctr"/>
              <a:lstStyle/>
              <a:p>
                <a:endParaRPr lang="en-US" sz="1765"/>
              </a:p>
            </p:txBody>
          </p:sp>
          <p:sp>
            <p:nvSpPr>
              <p:cNvPr id="390" name="Freeform: Shape 389">
                <a:extLst>
                  <a:ext uri="{FF2B5EF4-FFF2-40B4-BE49-F238E27FC236}">
                    <a16:creationId xmlns:a16="http://schemas.microsoft.com/office/drawing/2014/main" id="{98BFC463-7FC1-423F-A16C-AFFB94E448BD}"/>
                  </a:ext>
                </a:extLst>
              </p:cNvPr>
              <p:cNvSpPr/>
              <p:nvPr/>
            </p:nvSpPr>
            <p:spPr>
              <a:xfrm>
                <a:off x="6303961" y="3344956"/>
                <a:ext cx="66293" cy="66865"/>
              </a:xfrm>
              <a:custGeom>
                <a:avLst/>
                <a:gdLst>
                  <a:gd name="connsiteX0" fmla="*/ 0 w 66293"/>
                  <a:gd name="connsiteY0" fmla="*/ 0 h 66865"/>
                  <a:gd name="connsiteX1" fmla="*/ 66294 w 66293"/>
                  <a:gd name="connsiteY1" fmla="*/ 0 h 66865"/>
                  <a:gd name="connsiteX2" fmla="*/ 66294 w 66293"/>
                  <a:gd name="connsiteY2" fmla="*/ 66866 h 66865"/>
                </a:gdLst>
                <a:ahLst/>
                <a:cxnLst>
                  <a:cxn ang="0">
                    <a:pos x="connsiteX0" y="connsiteY0"/>
                  </a:cxn>
                  <a:cxn ang="0">
                    <a:pos x="connsiteX1" y="connsiteY1"/>
                  </a:cxn>
                  <a:cxn ang="0">
                    <a:pos x="connsiteX2" y="connsiteY2"/>
                  </a:cxn>
                </a:cxnLst>
                <a:rect l="l" t="t" r="r" b="b"/>
                <a:pathLst>
                  <a:path w="66293" h="66865">
                    <a:moveTo>
                      <a:pt x="0" y="0"/>
                    </a:moveTo>
                    <a:lnTo>
                      <a:pt x="66294" y="0"/>
                    </a:lnTo>
                    <a:lnTo>
                      <a:pt x="66294" y="66866"/>
                    </a:lnTo>
                  </a:path>
                </a:pathLst>
              </a:custGeom>
              <a:noFill/>
              <a:ln w="12700" cap="flat">
                <a:solidFill>
                  <a:schemeClr val="bg1"/>
                </a:solidFill>
                <a:prstDash val="solid"/>
                <a:miter/>
              </a:ln>
            </p:spPr>
            <p:txBody>
              <a:bodyPr rtlCol="0" anchor="ctr"/>
              <a:lstStyle/>
              <a:p>
                <a:endParaRPr lang="en-US" sz="1765"/>
              </a:p>
            </p:txBody>
          </p:sp>
          <p:sp>
            <p:nvSpPr>
              <p:cNvPr id="391" name="Freeform: Shape 390">
                <a:extLst>
                  <a:ext uri="{FF2B5EF4-FFF2-40B4-BE49-F238E27FC236}">
                    <a16:creationId xmlns:a16="http://schemas.microsoft.com/office/drawing/2014/main" id="{D9F121DF-6E80-482D-ADF3-C346B8D53FBB}"/>
                  </a:ext>
                </a:extLst>
              </p:cNvPr>
              <p:cNvSpPr/>
              <p:nvPr/>
            </p:nvSpPr>
            <p:spPr>
              <a:xfrm>
                <a:off x="6064407" y="3584224"/>
                <a:ext cx="9525" cy="41910"/>
              </a:xfrm>
              <a:custGeom>
                <a:avLst/>
                <a:gdLst>
                  <a:gd name="connsiteX0" fmla="*/ 0 w 9525"/>
                  <a:gd name="connsiteY0" fmla="*/ 0 h 41910"/>
                  <a:gd name="connsiteX1" fmla="*/ 0 w 9525"/>
                  <a:gd name="connsiteY1" fmla="*/ 41910 h 41910"/>
                </a:gdLst>
                <a:ahLst/>
                <a:cxnLst>
                  <a:cxn ang="0">
                    <a:pos x="connsiteX0" y="connsiteY0"/>
                  </a:cxn>
                  <a:cxn ang="0">
                    <a:pos x="connsiteX1" y="connsiteY1"/>
                  </a:cxn>
                </a:cxnLst>
                <a:rect l="l" t="t" r="r" b="b"/>
                <a:pathLst>
                  <a:path w="9525" h="41910">
                    <a:moveTo>
                      <a:pt x="0" y="0"/>
                    </a:moveTo>
                    <a:lnTo>
                      <a:pt x="0" y="41910"/>
                    </a:lnTo>
                  </a:path>
                </a:pathLst>
              </a:custGeom>
              <a:noFill/>
              <a:ln w="12700" cap="flat">
                <a:solidFill>
                  <a:schemeClr val="bg1"/>
                </a:solidFill>
                <a:prstDash val="solid"/>
                <a:miter/>
              </a:ln>
            </p:spPr>
            <p:txBody>
              <a:bodyPr rtlCol="0" anchor="ctr"/>
              <a:lstStyle/>
              <a:p>
                <a:endParaRPr lang="en-US" sz="1765"/>
              </a:p>
            </p:txBody>
          </p:sp>
          <p:sp>
            <p:nvSpPr>
              <p:cNvPr id="392" name="Freeform: Shape 391">
                <a:extLst>
                  <a:ext uri="{FF2B5EF4-FFF2-40B4-BE49-F238E27FC236}">
                    <a16:creationId xmlns:a16="http://schemas.microsoft.com/office/drawing/2014/main" id="{B9B008A4-08BA-4363-BA87-F1BDD72C1E7C}"/>
                  </a:ext>
                </a:extLst>
              </p:cNvPr>
              <p:cNvSpPr/>
              <p:nvPr/>
            </p:nvSpPr>
            <p:spPr>
              <a:xfrm>
                <a:off x="6104412" y="3542219"/>
                <a:ext cx="9525" cy="83915"/>
              </a:xfrm>
              <a:custGeom>
                <a:avLst/>
                <a:gdLst>
                  <a:gd name="connsiteX0" fmla="*/ 0 w 9525"/>
                  <a:gd name="connsiteY0" fmla="*/ 0 h 83915"/>
                  <a:gd name="connsiteX1" fmla="*/ 0 w 9525"/>
                  <a:gd name="connsiteY1" fmla="*/ 83915 h 83915"/>
                </a:gdLst>
                <a:ahLst/>
                <a:cxnLst>
                  <a:cxn ang="0">
                    <a:pos x="connsiteX0" y="connsiteY0"/>
                  </a:cxn>
                  <a:cxn ang="0">
                    <a:pos x="connsiteX1" y="connsiteY1"/>
                  </a:cxn>
                </a:cxnLst>
                <a:rect l="l" t="t" r="r" b="b"/>
                <a:pathLst>
                  <a:path w="9525" h="83915">
                    <a:moveTo>
                      <a:pt x="0" y="0"/>
                    </a:moveTo>
                    <a:lnTo>
                      <a:pt x="0" y="83915"/>
                    </a:lnTo>
                  </a:path>
                </a:pathLst>
              </a:custGeom>
              <a:noFill/>
              <a:ln w="12700" cap="flat">
                <a:solidFill>
                  <a:schemeClr val="bg1"/>
                </a:solidFill>
                <a:prstDash val="solid"/>
                <a:miter/>
              </a:ln>
            </p:spPr>
            <p:txBody>
              <a:bodyPr rtlCol="0" anchor="ctr"/>
              <a:lstStyle/>
              <a:p>
                <a:endParaRPr lang="en-US" sz="1765"/>
              </a:p>
            </p:txBody>
          </p:sp>
          <p:sp>
            <p:nvSpPr>
              <p:cNvPr id="393" name="Freeform: Shape 392">
                <a:extLst>
                  <a:ext uri="{FF2B5EF4-FFF2-40B4-BE49-F238E27FC236}">
                    <a16:creationId xmlns:a16="http://schemas.microsoft.com/office/drawing/2014/main" id="{1A72A893-E8F0-4B42-A991-2D4397F55A8D}"/>
                  </a:ext>
                </a:extLst>
              </p:cNvPr>
              <p:cNvSpPr/>
              <p:nvPr/>
            </p:nvSpPr>
            <p:spPr>
              <a:xfrm>
                <a:off x="6149180" y="3500595"/>
                <a:ext cx="9525" cy="125539"/>
              </a:xfrm>
              <a:custGeom>
                <a:avLst/>
                <a:gdLst>
                  <a:gd name="connsiteX0" fmla="*/ 0 w 9525"/>
                  <a:gd name="connsiteY0" fmla="*/ 0 h 125539"/>
                  <a:gd name="connsiteX1" fmla="*/ 0 w 9525"/>
                  <a:gd name="connsiteY1" fmla="*/ 125540 h 125539"/>
                </a:gdLst>
                <a:ahLst/>
                <a:cxnLst>
                  <a:cxn ang="0">
                    <a:pos x="connsiteX0" y="connsiteY0"/>
                  </a:cxn>
                  <a:cxn ang="0">
                    <a:pos x="connsiteX1" y="connsiteY1"/>
                  </a:cxn>
                </a:cxnLst>
                <a:rect l="l" t="t" r="r" b="b"/>
                <a:pathLst>
                  <a:path w="9525" h="125539">
                    <a:moveTo>
                      <a:pt x="0" y="0"/>
                    </a:moveTo>
                    <a:lnTo>
                      <a:pt x="0" y="125540"/>
                    </a:lnTo>
                  </a:path>
                </a:pathLst>
              </a:custGeom>
              <a:noFill/>
              <a:ln w="12700" cap="flat">
                <a:solidFill>
                  <a:schemeClr val="bg1"/>
                </a:solidFill>
                <a:prstDash val="solid"/>
                <a:miter/>
              </a:ln>
            </p:spPr>
            <p:txBody>
              <a:bodyPr rtlCol="0" anchor="ctr"/>
              <a:lstStyle/>
              <a:p>
                <a:endParaRPr lang="en-US" sz="1765"/>
              </a:p>
            </p:txBody>
          </p:sp>
          <p:sp>
            <p:nvSpPr>
              <p:cNvPr id="394" name="Freeform: Shape 393">
                <a:extLst>
                  <a:ext uri="{FF2B5EF4-FFF2-40B4-BE49-F238E27FC236}">
                    <a16:creationId xmlns:a16="http://schemas.microsoft.com/office/drawing/2014/main" id="{BB702199-4EB9-49BE-B518-C668439E29B7}"/>
                  </a:ext>
                </a:extLst>
              </p:cNvPr>
              <p:cNvSpPr/>
              <p:nvPr/>
            </p:nvSpPr>
            <p:spPr>
              <a:xfrm>
                <a:off x="6186708" y="3462876"/>
                <a:ext cx="9525" cy="163258"/>
              </a:xfrm>
              <a:custGeom>
                <a:avLst/>
                <a:gdLst>
                  <a:gd name="connsiteX0" fmla="*/ 0 w 9525"/>
                  <a:gd name="connsiteY0" fmla="*/ 0 h 163258"/>
                  <a:gd name="connsiteX1" fmla="*/ 0 w 9525"/>
                  <a:gd name="connsiteY1" fmla="*/ 163259 h 163258"/>
                </a:gdLst>
                <a:ahLst/>
                <a:cxnLst>
                  <a:cxn ang="0">
                    <a:pos x="connsiteX0" y="connsiteY0"/>
                  </a:cxn>
                  <a:cxn ang="0">
                    <a:pos x="connsiteX1" y="connsiteY1"/>
                  </a:cxn>
                </a:cxnLst>
                <a:rect l="l" t="t" r="r" b="b"/>
                <a:pathLst>
                  <a:path w="9525" h="163258">
                    <a:moveTo>
                      <a:pt x="0" y="0"/>
                    </a:moveTo>
                    <a:lnTo>
                      <a:pt x="0" y="163259"/>
                    </a:lnTo>
                  </a:path>
                </a:pathLst>
              </a:custGeom>
              <a:noFill/>
              <a:ln w="12700" cap="flat">
                <a:solidFill>
                  <a:schemeClr val="bg1"/>
                </a:solidFill>
                <a:prstDash val="solid"/>
                <a:miter/>
              </a:ln>
            </p:spPr>
            <p:txBody>
              <a:bodyPr rtlCol="0" anchor="ctr"/>
              <a:lstStyle/>
              <a:p>
                <a:endParaRPr lang="en-US" sz="1765"/>
              </a:p>
            </p:txBody>
          </p:sp>
          <p:sp>
            <p:nvSpPr>
              <p:cNvPr id="395" name="Freeform: Shape 394">
                <a:extLst>
                  <a:ext uri="{FF2B5EF4-FFF2-40B4-BE49-F238E27FC236}">
                    <a16:creationId xmlns:a16="http://schemas.microsoft.com/office/drawing/2014/main" id="{70049961-F974-4FC1-8C80-549EB9C78F53}"/>
                  </a:ext>
                </a:extLst>
              </p:cNvPr>
              <p:cNvSpPr/>
              <p:nvPr/>
            </p:nvSpPr>
            <p:spPr>
              <a:xfrm>
                <a:off x="6224808" y="3457542"/>
                <a:ext cx="9525" cy="37052"/>
              </a:xfrm>
              <a:custGeom>
                <a:avLst/>
                <a:gdLst>
                  <a:gd name="connsiteX0" fmla="*/ 0 w 9525"/>
                  <a:gd name="connsiteY0" fmla="*/ 0 h 37052"/>
                  <a:gd name="connsiteX1" fmla="*/ 0 w 9525"/>
                  <a:gd name="connsiteY1" fmla="*/ 37052 h 37052"/>
                </a:gdLst>
                <a:ahLst/>
                <a:cxnLst>
                  <a:cxn ang="0">
                    <a:pos x="connsiteX0" y="connsiteY0"/>
                  </a:cxn>
                  <a:cxn ang="0">
                    <a:pos x="connsiteX1" y="connsiteY1"/>
                  </a:cxn>
                </a:cxnLst>
                <a:rect l="l" t="t" r="r" b="b"/>
                <a:pathLst>
                  <a:path w="9525" h="37052">
                    <a:moveTo>
                      <a:pt x="0" y="0"/>
                    </a:moveTo>
                    <a:lnTo>
                      <a:pt x="0" y="37052"/>
                    </a:lnTo>
                  </a:path>
                </a:pathLst>
              </a:custGeom>
              <a:noFill/>
              <a:ln w="12700" cap="flat">
                <a:solidFill>
                  <a:schemeClr val="bg1"/>
                </a:solidFill>
                <a:prstDash val="solid"/>
                <a:miter/>
              </a:ln>
            </p:spPr>
            <p:txBody>
              <a:bodyPr rtlCol="0" anchor="ctr"/>
              <a:lstStyle/>
              <a:p>
                <a:endParaRPr lang="en-US" sz="1765"/>
              </a:p>
            </p:txBody>
          </p:sp>
          <p:sp>
            <p:nvSpPr>
              <p:cNvPr id="396" name="Freeform: Shape 395">
                <a:extLst>
                  <a:ext uri="{FF2B5EF4-FFF2-40B4-BE49-F238E27FC236}">
                    <a16:creationId xmlns:a16="http://schemas.microsoft.com/office/drawing/2014/main" id="{1DEE2700-8ADC-485A-8DD4-5EC724332D79}"/>
                  </a:ext>
                </a:extLst>
              </p:cNvPr>
              <p:cNvSpPr/>
              <p:nvPr/>
            </p:nvSpPr>
            <p:spPr>
              <a:xfrm>
                <a:off x="6267766" y="3470972"/>
                <a:ext cx="9525" cy="23621"/>
              </a:xfrm>
              <a:custGeom>
                <a:avLst/>
                <a:gdLst>
                  <a:gd name="connsiteX0" fmla="*/ 0 w 9525"/>
                  <a:gd name="connsiteY0" fmla="*/ 0 h 23621"/>
                  <a:gd name="connsiteX1" fmla="*/ 0 w 9525"/>
                  <a:gd name="connsiteY1" fmla="*/ 23622 h 23621"/>
                </a:gdLst>
                <a:ahLst/>
                <a:cxnLst>
                  <a:cxn ang="0">
                    <a:pos x="connsiteX0" y="connsiteY0"/>
                  </a:cxn>
                  <a:cxn ang="0">
                    <a:pos x="connsiteX1" y="connsiteY1"/>
                  </a:cxn>
                </a:cxnLst>
                <a:rect l="l" t="t" r="r" b="b"/>
                <a:pathLst>
                  <a:path w="9525" h="23621">
                    <a:moveTo>
                      <a:pt x="0" y="0"/>
                    </a:moveTo>
                    <a:lnTo>
                      <a:pt x="0" y="23622"/>
                    </a:lnTo>
                  </a:path>
                </a:pathLst>
              </a:custGeom>
              <a:noFill/>
              <a:ln w="12700" cap="flat">
                <a:solidFill>
                  <a:schemeClr val="bg1"/>
                </a:solidFill>
                <a:prstDash val="solid"/>
                <a:miter/>
              </a:ln>
            </p:spPr>
            <p:txBody>
              <a:bodyPr rtlCol="0" anchor="ctr"/>
              <a:lstStyle/>
              <a:p>
                <a:endParaRPr lang="en-US" sz="1765"/>
              </a:p>
            </p:txBody>
          </p:sp>
          <p:sp>
            <p:nvSpPr>
              <p:cNvPr id="397" name="Freeform: Shape 396">
                <a:extLst>
                  <a:ext uri="{FF2B5EF4-FFF2-40B4-BE49-F238E27FC236}">
                    <a16:creationId xmlns:a16="http://schemas.microsoft.com/office/drawing/2014/main" id="{D6860060-B6D1-4378-ABA3-851B245B33B3}"/>
                  </a:ext>
                </a:extLst>
              </p:cNvPr>
              <p:cNvSpPr/>
              <p:nvPr/>
            </p:nvSpPr>
            <p:spPr>
              <a:xfrm>
                <a:off x="6310914" y="3457542"/>
                <a:ext cx="9525" cy="18954"/>
              </a:xfrm>
              <a:custGeom>
                <a:avLst/>
                <a:gdLst>
                  <a:gd name="connsiteX0" fmla="*/ 0 w 9525"/>
                  <a:gd name="connsiteY0" fmla="*/ 0 h 18954"/>
                  <a:gd name="connsiteX1" fmla="*/ 0 w 9525"/>
                  <a:gd name="connsiteY1" fmla="*/ 18955 h 18954"/>
                </a:gdLst>
                <a:ahLst/>
                <a:cxnLst>
                  <a:cxn ang="0">
                    <a:pos x="connsiteX0" y="connsiteY0"/>
                  </a:cxn>
                  <a:cxn ang="0">
                    <a:pos x="connsiteX1" y="connsiteY1"/>
                  </a:cxn>
                </a:cxnLst>
                <a:rect l="l" t="t" r="r" b="b"/>
                <a:pathLst>
                  <a:path w="9525" h="18954">
                    <a:moveTo>
                      <a:pt x="0" y="0"/>
                    </a:moveTo>
                    <a:lnTo>
                      <a:pt x="0" y="18955"/>
                    </a:lnTo>
                  </a:path>
                </a:pathLst>
              </a:custGeom>
              <a:noFill/>
              <a:ln w="12700" cap="flat">
                <a:solidFill>
                  <a:schemeClr val="bg1"/>
                </a:solidFill>
                <a:prstDash val="solid"/>
                <a:miter/>
              </a:ln>
            </p:spPr>
            <p:txBody>
              <a:bodyPr rtlCol="0" anchor="ctr"/>
              <a:lstStyle/>
              <a:p>
                <a:endParaRPr lang="en-US" sz="1765"/>
              </a:p>
            </p:txBody>
          </p:sp>
          <p:sp>
            <p:nvSpPr>
              <p:cNvPr id="398" name="Freeform: Shape 397">
                <a:extLst>
                  <a:ext uri="{FF2B5EF4-FFF2-40B4-BE49-F238E27FC236}">
                    <a16:creationId xmlns:a16="http://schemas.microsoft.com/office/drawing/2014/main" id="{4C447326-3DDB-45D1-BB15-D8F01AA4B669}"/>
                  </a:ext>
                </a:extLst>
              </p:cNvPr>
              <p:cNvSpPr/>
              <p:nvPr/>
            </p:nvSpPr>
            <p:spPr>
              <a:xfrm>
                <a:off x="6349014" y="3437920"/>
                <a:ext cx="9525" cy="45624"/>
              </a:xfrm>
              <a:custGeom>
                <a:avLst/>
                <a:gdLst>
                  <a:gd name="connsiteX0" fmla="*/ 0 w 9525"/>
                  <a:gd name="connsiteY0" fmla="*/ 0 h 45624"/>
                  <a:gd name="connsiteX1" fmla="*/ 0 w 9525"/>
                  <a:gd name="connsiteY1" fmla="*/ 45625 h 45624"/>
                </a:gdLst>
                <a:ahLst/>
                <a:cxnLst>
                  <a:cxn ang="0">
                    <a:pos x="connsiteX0" y="connsiteY0"/>
                  </a:cxn>
                  <a:cxn ang="0">
                    <a:pos x="connsiteX1" y="connsiteY1"/>
                  </a:cxn>
                </a:cxnLst>
                <a:rect l="l" t="t" r="r" b="b"/>
                <a:pathLst>
                  <a:path w="9525" h="45624">
                    <a:moveTo>
                      <a:pt x="0" y="0"/>
                    </a:moveTo>
                    <a:lnTo>
                      <a:pt x="0" y="45625"/>
                    </a:lnTo>
                  </a:path>
                </a:pathLst>
              </a:custGeom>
              <a:noFill/>
              <a:ln w="12700" cap="flat">
                <a:solidFill>
                  <a:schemeClr val="bg1"/>
                </a:solidFill>
                <a:prstDash val="solid"/>
                <a:miter/>
              </a:ln>
            </p:spPr>
            <p:txBody>
              <a:bodyPr rtlCol="0" anchor="ctr"/>
              <a:lstStyle/>
              <a:p>
                <a:endParaRPr lang="en-US" sz="1765"/>
              </a:p>
            </p:txBody>
          </p:sp>
        </p:grpSp>
        <p:grpSp>
          <p:nvGrpSpPr>
            <p:cNvPr id="399" name="Graphic 42">
              <a:extLst>
                <a:ext uri="{FF2B5EF4-FFF2-40B4-BE49-F238E27FC236}">
                  <a16:creationId xmlns:a16="http://schemas.microsoft.com/office/drawing/2014/main" id="{0A1CA319-BAD9-46BB-A19D-73150E43443B}"/>
                </a:ext>
                <a:ext uri="{C183D7F6-B498-43B3-948B-1728B52AA6E4}">
                  <adec:decorative xmlns:adec="http://schemas.microsoft.com/office/drawing/2017/decorative" val="1"/>
                </a:ext>
              </a:extLst>
            </p:cNvPr>
            <p:cNvGrpSpPr/>
            <p:nvPr/>
          </p:nvGrpSpPr>
          <p:grpSpPr>
            <a:xfrm>
              <a:off x="6252211" y="2763954"/>
              <a:ext cx="240564" cy="279162"/>
              <a:chOff x="5565964" y="2740119"/>
              <a:chExt cx="1303810" cy="1512998"/>
            </a:xfrm>
            <a:noFill/>
          </p:grpSpPr>
          <p:sp>
            <p:nvSpPr>
              <p:cNvPr id="400" name="Freeform: Shape 399">
                <a:extLst>
                  <a:ext uri="{FF2B5EF4-FFF2-40B4-BE49-F238E27FC236}">
                    <a16:creationId xmlns:a16="http://schemas.microsoft.com/office/drawing/2014/main" id="{5ACBA3E9-9B99-40A6-B040-5E0DFB30A1EF}"/>
                  </a:ext>
                </a:extLst>
              </p:cNvPr>
              <p:cNvSpPr/>
              <p:nvPr/>
            </p:nvSpPr>
            <p:spPr>
              <a:xfrm>
                <a:off x="5950237" y="3351397"/>
                <a:ext cx="919538" cy="901721"/>
              </a:xfrm>
              <a:custGeom>
                <a:avLst/>
                <a:gdLst>
                  <a:gd name="connsiteX0" fmla="*/ 799780 w 919538"/>
                  <a:gd name="connsiteY0" fmla="*/ 751179 h 901721"/>
                  <a:gd name="connsiteX1" fmla="*/ 771586 w 919538"/>
                  <a:gd name="connsiteY1" fmla="*/ 117766 h 901721"/>
                  <a:gd name="connsiteX2" fmla="*/ 121981 w 919538"/>
                  <a:gd name="connsiteY2" fmla="*/ 145579 h 901721"/>
                  <a:gd name="connsiteX3" fmla="*/ 150175 w 919538"/>
                  <a:gd name="connsiteY3" fmla="*/ 784612 h 901721"/>
                  <a:gd name="connsiteX4" fmla="*/ 799780 w 919538"/>
                  <a:gd name="connsiteY4" fmla="*/ 751179 h 901721"/>
                  <a:gd name="connsiteX5" fmla="*/ 799780 w 919538"/>
                  <a:gd name="connsiteY5" fmla="*/ 751179 h 901721"/>
                  <a:gd name="connsiteX6" fmla="*/ 799780 w 919538"/>
                  <a:gd name="connsiteY6" fmla="*/ 751179 h 901721"/>
                  <a:gd name="connsiteX7" fmla="*/ 799780 w 919538"/>
                  <a:gd name="connsiteY7" fmla="*/ 751179 h 90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538" h="901721">
                    <a:moveTo>
                      <a:pt x="799780" y="751179"/>
                    </a:moveTo>
                    <a:cubicBezTo>
                      <a:pt x="969230" y="567823"/>
                      <a:pt x="957991" y="284454"/>
                      <a:pt x="771586" y="117766"/>
                    </a:cubicBezTo>
                    <a:cubicBezTo>
                      <a:pt x="585182" y="-48921"/>
                      <a:pt x="291431" y="-37777"/>
                      <a:pt x="121981" y="145579"/>
                    </a:cubicBezTo>
                    <a:cubicBezTo>
                      <a:pt x="-53088" y="328936"/>
                      <a:pt x="-36229" y="617924"/>
                      <a:pt x="150175" y="784612"/>
                    </a:cubicBezTo>
                    <a:cubicBezTo>
                      <a:pt x="336580" y="951204"/>
                      <a:pt x="624616" y="940060"/>
                      <a:pt x="799780" y="751179"/>
                    </a:cubicBezTo>
                    <a:lnTo>
                      <a:pt x="799780" y="751179"/>
                    </a:lnTo>
                    <a:lnTo>
                      <a:pt x="799780" y="751179"/>
                    </a:lnTo>
                    <a:lnTo>
                      <a:pt x="799780" y="751179"/>
                    </a:lnTo>
                    <a:close/>
                  </a:path>
                </a:pathLst>
              </a:custGeom>
              <a:noFill/>
              <a:ln w="12700" cap="sq">
                <a:solidFill>
                  <a:schemeClr val="bg1"/>
                </a:solidFill>
                <a:prstDash val="solid"/>
                <a:miter/>
              </a:ln>
            </p:spPr>
            <p:txBody>
              <a:bodyPr rtlCol="0" anchor="ctr"/>
              <a:lstStyle/>
              <a:p>
                <a:endParaRPr lang="en-IN" sz="1765"/>
              </a:p>
            </p:txBody>
          </p:sp>
          <p:sp>
            <p:nvSpPr>
              <p:cNvPr id="401" name="Freeform: Shape 400">
                <a:extLst>
                  <a:ext uri="{FF2B5EF4-FFF2-40B4-BE49-F238E27FC236}">
                    <a16:creationId xmlns:a16="http://schemas.microsoft.com/office/drawing/2014/main" id="{38D6FB2D-45D3-46C4-98EE-9B7A5C08C0E1}"/>
                  </a:ext>
                </a:extLst>
              </p:cNvPr>
              <p:cNvSpPr/>
              <p:nvPr/>
            </p:nvSpPr>
            <p:spPr>
              <a:xfrm>
                <a:off x="5565964" y="2740119"/>
                <a:ext cx="991171" cy="1393983"/>
              </a:xfrm>
              <a:custGeom>
                <a:avLst/>
                <a:gdLst>
                  <a:gd name="connsiteX0" fmla="*/ 405479 w 991171"/>
                  <a:gd name="connsiteY0" fmla="*/ 1393984 h 1393983"/>
                  <a:gd name="connsiteX1" fmla="*/ 0 w 991171"/>
                  <a:gd name="connsiteY1" fmla="*/ 1393984 h 1393983"/>
                  <a:gd name="connsiteX2" fmla="*/ 0 w 991171"/>
                  <a:gd name="connsiteY2" fmla="*/ 0 h 1393983"/>
                  <a:gd name="connsiteX3" fmla="*/ 991172 w 991171"/>
                  <a:gd name="connsiteY3" fmla="*/ 762 h 1393983"/>
                  <a:gd name="connsiteX4" fmla="*/ 991172 w 991171"/>
                  <a:gd name="connsiteY4" fmla="*/ 533114 h 139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71" h="1393983">
                    <a:moveTo>
                      <a:pt x="405479" y="1393984"/>
                    </a:moveTo>
                    <a:cubicBezTo>
                      <a:pt x="0" y="1393984"/>
                      <a:pt x="0" y="1393984"/>
                      <a:pt x="0" y="1393984"/>
                    </a:cubicBezTo>
                    <a:lnTo>
                      <a:pt x="0" y="0"/>
                    </a:lnTo>
                    <a:lnTo>
                      <a:pt x="991172" y="762"/>
                    </a:lnTo>
                    <a:cubicBezTo>
                      <a:pt x="991172" y="533114"/>
                      <a:pt x="991172" y="533114"/>
                      <a:pt x="991172" y="533114"/>
                    </a:cubicBezTo>
                  </a:path>
                </a:pathLst>
              </a:custGeom>
              <a:noFill/>
              <a:ln w="12700" cap="sq">
                <a:solidFill>
                  <a:schemeClr val="bg1"/>
                </a:solidFill>
                <a:prstDash val="solid"/>
                <a:miter/>
              </a:ln>
            </p:spPr>
            <p:txBody>
              <a:bodyPr rtlCol="0" anchor="ctr"/>
              <a:lstStyle/>
              <a:p>
                <a:endParaRPr lang="en-IN" sz="1765"/>
              </a:p>
            </p:txBody>
          </p:sp>
          <p:sp>
            <p:nvSpPr>
              <p:cNvPr id="402" name="Freeform: Shape 401">
                <a:extLst>
                  <a:ext uri="{FF2B5EF4-FFF2-40B4-BE49-F238E27FC236}">
                    <a16:creationId xmlns:a16="http://schemas.microsoft.com/office/drawing/2014/main" id="{10C8EF3B-DEAE-456F-904E-C9BCE5B9CCF4}"/>
                  </a:ext>
                </a:extLst>
              </p:cNvPr>
              <p:cNvSpPr/>
              <p:nvPr/>
            </p:nvSpPr>
            <p:spPr>
              <a:xfrm>
                <a:off x="6143751" y="3674712"/>
                <a:ext cx="518731" cy="323659"/>
              </a:xfrm>
              <a:custGeom>
                <a:avLst/>
                <a:gdLst>
                  <a:gd name="connsiteX0" fmla="*/ 0 w 518731"/>
                  <a:gd name="connsiteY0" fmla="*/ 145828 h 323659"/>
                  <a:gd name="connsiteX1" fmla="*/ 150304 w 518731"/>
                  <a:gd name="connsiteY1" fmla="*/ 323660 h 323659"/>
                  <a:gd name="connsiteX2" fmla="*/ 518732 w 518731"/>
                  <a:gd name="connsiteY2" fmla="*/ 0 h 323659"/>
                </a:gdLst>
                <a:ahLst/>
                <a:cxnLst>
                  <a:cxn ang="0">
                    <a:pos x="connsiteX0" y="connsiteY0"/>
                  </a:cxn>
                  <a:cxn ang="0">
                    <a:pos x="connsiteX1" y="connsiteY1"/>
                  </a:cxn>
                  <a:cxn ang="0">
                    <a:pos x="connsiteX2" y="connsiteY2"/>
                  </a:cxn>
                </a:cxnLst>
                <a:rect l="l" t="t" r="r" b="b"/>
                <a:pathLst>
                  <a:path w="518731" h="323659">
                    <a:moveTo>
                      <a:pt x="0" y="145828"/>
                    </a:moveTo>
                    <a:lnTo>
                      <a:pt x="150304" y="323660"/>
                    </a:lnTo>
                    <a:lnTo>
                      <a:pt x="518732" y="0"/>
                    </a:lnTo>
                  </a:path>
                </a:pathLst>
              </a:custGeom>
              <a:noFill/>
              <a:ln w="12700" cap="sq">
                <a:solidFill>
                  <a:schemeClr val="bg1"/>
                </a:solidFill>
                <a:prstDash val="solid"/>
                <a:miter/>
              </a:ln>
            </p:spPr>
            <p:txBody>
              <a:bodyPr rtlCol="0" anchor="ctr"/>
              <a:lstStyle/>
              <a:p>
                <a:endParaRPr lang="en-IN" sz="1765"/>
              </a:p>
            </p:txBody>
          </p:sp>
          <p:sp>
            <p:nvSpPr>
              <p:cNvPr id="403" name="Freeform: Shape 402">
                <a:extLst>
                  <a:ext uri="{FF2B5EF4-FFF2-40B4-BE49-F238E27FC236}">
                    <a16:creationId xmlns:a16="http://schemas.microsoft.com/office/drawing/2014/main" id="{5108C8EF-C270-4563-A854-E46AB58459FA}"/>
                  </a:ext>
                </a:extLst>
              </p:cNvPr>
              <p:cNvSpPr/>
              <p:nvPr/>
            </p:nvSpPr>
            <p:spPr>
              <a:xfrm>
                <a:off x="5641688" y="2844513"/>
                <a:ext cx="811339" cy="1101185"/>
              </a:xfrm>
              <a:custGeom>
                <a:avLst/>
                <a:gdLst>
                  <a:gd name="connsiteX0" fmla="*/ 166402 w 811339"/>
                  <a:gd name="connsiteY0" fmla="*/ 0 h 1101185"/>
                  <a:gd name="connsiteX1" fmla="*/ 645033 w 811339"/>
                  <a:gd name="connsiteY1" fmla="*/ 0 h 1101185"/>
                  <a:gd name="connsiteX2" fmla="*/ 0 w 811339"/>
                  <a:gd name="connsiteY2" fmla="*/ 183547 h 1101185"/>
                  <a:gd name="connsiteX3" fmla="*/ 811340 w 811339"/>
                  <a:gd name="connsiteY3" fmla="*/ 183547 h 1101185"/>
                  <a:gd name="connsiteX4" fmla="*/ 0 w 811339"/>
                  <a:gd name="connsiteY4" fmla="*/ 367093 h 1101185"/>
                  <a:gd name="connsiteX5" fmla="*/ 811340 w 811339"/>
                  <a:gd name="connsiteY5" fmla="*/ 367093 h 1101185"/>
                  <a:gd name="connsiteX6" fmla="*/ 0 w 811339"/>
                  <a:gd name="connsiteY6" fmla="*/ 550640 h 1101185"/>
                  <a:gd name="connsiteX7" fmla="*/ 459581 w 811339"/>
                  <a:gd name="connsiteY7" fmla="*/ 550640 h 1101185"/>
                  <a:gd name="connsiteX8" fmla="*/ 0 w 811339"/>
                  <a:gd name="connsiteY8" fmla="*/ 734187 h 1101185"/>
                  <a:gd name="connsiteX9" fmla="*/ 316135 w 811339"/>
                  <a:gd name="connsiteY9" fmla="*/ 734187 h 1101185"/>
                  <a:gd name="connsiteX10" fmla="*/ 0 w 811339"/>
                  <a:gd name="connsiteY10" fmla="*/ 917639 h 1101185"/>
                  <a:gd name="connsiteX11" fmla="*/ 275177 w 811339"/>
                  <a:gd name="connsiteY11" fmla="*/ 917639 h 1101185"/>
                  <a:gd name="connsiteX12" fmla="*/ 0 w 811339"/>
                  <a:gd name="connsiteY12" fmla="*/ 1101185 h 1101185"/>
                  <a:gd name="connsiteX13" fmla="*/ 275177 w 811339"/>
                  <a:gd name="connsiteY13" fmla="*/ 1101185 h 110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1339" h="1101185">
                    <a:moveTo>
                      <a:pt x="166402" y="0"/>
                    </a:moveTo>
                    <a:lnTo>
                      <a:pt x="645033" y="0"/>
                    </a:lnTo>
                    <a:moveTo>
                      <a:pt x="0" y="183547"/>
                    </a:moveTo>
                    <a:lnTo>
                      <a:pt x="811340" y="183547"/>
                    </a:lnTo>
                    <a:moveTo>
                      <a:pt x="0" y="367093"/>
                    </a:moveTo>
                    <a:lnTo>
                      <a:pt x="811340" y="367093"/>
                    </a:lnTo>
                    <a:moveTo>
                      <a:pt x="0" y="550640"/>
                    </a:moveTo>
                    <a:lnTo>
                      <a:pt x="459581" y="550640"/>
                    </a:lnTo>
                    <a:moveTo>
                      <a:pt x="0" y="734187"/>
                    </a:moveTo>
                    <a:lnTo>
                      <a:pt x="316135" y="734187"/>
                    </a:lnTo>
                    <a:moveTo>
                      <a:pt x="0" y="917639"/>
                    </a:moveTo>
                    <a:lnTo>
                      <a:pt x="275177" y="917639"/>
                    </a:lnTo>
                    <a:moveTo>
                      <a:pt x="0" y="1101185"/>
                    </a:moveTo>
                    <a:lnTo>
                      <a:pt x="275177" y="1101185"/>
                    </a:lnTo>
                  </a:path>
                </a:pathLst>
              </a:custGeom>
              <a:noFill/>
              <a:ln w="12700" cap="sq">
                <a:solidFill>
                  <a:schemeClr val="bg1"/>
                </a:solidFill>
                <a:prstDash val="solid"/>
                <a:miter/>
              </a:ln>
            </p:spPr>
            <p:txBody>
              <a:bodyPr rtlCol="0" anchor="ctr"/>
              <a:lstStyle/>
              <a:p>
                <a:endParaRPr lang="en-IN" sz="1765"/>
              </a:p>
            </p:txBody>
          </p:sp>
        </p:grpSp>
        <p:grpSp>
          <p:nvGrpSpPr>
            <p:cNvPr id="404" name="Graphic 81">
              <a:extLst>
                <a:ext uri="{FF2B5EF4-FFF2-40B4-BE49-F238E27FC236}">
                  <a16:creationId xmlns:a16="http://schemas.microsoft.com/office/drawing/2014/main" id="{085FC806-48E6-4EAE-A9A9-3D0FE7E5B8FE}"/>
                </a:ext>
                <a:ext uri="{C183D7F6-B498-43B3-948B-1728B52AA6E4}">
                  <adec:decorative xmlns:adec="http://schemas.microsoft.com/office/drawing/2017/decorative" val="1"/>
                </a:ext>
              </a:extLst>
            </p:cNvPr>
            <p:cNvGrpSpPr/>
            <p:nvPr/>
          </p:nvGrpSpPr>
          <p:grpSpPr>
            <a:xfrm>
              <a:off x="5683217" y="2353532"/>
              <a:ext cx="338862" cy="358584"/>
              <a:chOff x="5889651" y="3149733"/>
              <a:chExt cx="661095" cy="699572"/>
            </a:xfrm>
          </p:grpSpPr>
          <p:sp>
            <p:nvSpPr>
              <p:cNvPr id="405" name="Freeform: Shape 404">
                <a:extLst>
                  <a:ext uri="{FF2B5EF4-FFF2-40B4-BE49-F238E27FC236}">
                    <a16:creationId xmlns:a16="http://schemas.microsoft.com/office/drawing/2014/main" id="{F06C42E0-9A43-43A4-A126-814F30B00E35}"/>
                  </a:ext>
                </a:extLst>
              </p:cNvPr>
              <p:cNvSpPr/>
              <p:nvPr/>
            </p:nvSpPr>
            <p:spPr>
              <a:xfrm>
                <a:off x="6079362" y="3227323"/>
                <a:ext cx="283464" cy="49339"/>
              </a:xfrm>
              <a:custGeom>
                <a:avLst/>
                <a:gdLst>
                  <a:gd name="connsiteX0" fmla="*/ 0 w 283464"/>
                  <a:gd name="connsiteY0" fmla="*/ 23622 h 49339"/>
                  <a:gd name="connsiteX1" fmla="*/ 117443 w 283464"/>
                  <a:gd name="connsiteY1" fmla="*/ 0 h 49339"/>
                  <a:gd name="connsiteX2" fmla="*/ 283464 w 283464"/>
                  <a:gd name="connsiteY2" fmla="*/ 49340 h 49339"/>
                </a:gdLst>
                <a:ahLst/>
                <a:cxnLst>
                  <a:cxn ang="0">
                    <a:pos x="connsiteX0" y="connsiteY0"/>
                  </a:cxn>
                  <a:cxn ang="0">
                    <a:pos x="connsiteX1" y="connsiteY1"/>
                  </a:cxn>
                  <a:cxn ang="0">
                    <a:pos x="connsiteX2" y="connsiteY2"/>
                  </a:cxn>
                </a:cxnLst>
                <a:rect l="l" t="t" r="r" b="b"/>
                <a:pathLst>
                  <a:path w="283464" h="49339">
                    <a:moveTo>
                      <a:pt x="0" y="23622"/>
                    </a:moveTo>
                    <a:cubicBezTo>
                      <a:pt x="36100" y="8477"/>
                      <a:pt x="75819" y="0"/>
                      <a:pt x="117443" y="0"/>
                    </a:cubicBezTo>
                    <a:cubicBezTo>
                      <a:pt x="178689" y="0"/>
                      <a:pt x="235649" y="18098"/>
                      <a:pt x="283464" y="4934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06" name="Freeform: Shape 405">
                <a:extLst>
                  <a:ext uri="{FF2B5EF4-FFF2-40B4-BE49-F238E27FC236}">
                    <a16:creationId xmlns:a16="http://schemas.microsoft.com/office/drawing/2014/main" id="{399BB92A-C91A-448A-9610-EF9091E0CFE5}"/>
                  </a:ext>
                </a:extLst>
              </p:cNvPr>
              <p:cNvSpPr/>
              <p:nvPr/>
            </p:nvSpPr>
            <p:spPr>
              <a:xfrm>
                <a:off x="5889719" y="3345052"/>
                <a:ext cx="614267" cy="504253"/>
              </a:xfrm>
              <a:custGeom>
                <a:avLst/>
                <a:gdLst>
                  <a:gd name="connsiteX0" fmla="*/ 575596 w 614267"/>
                  <a:gd name="connsiteY0" fmla="*/ 42481 h 504253"/>
                  <a:gd name="connsiteX1" fmla="*/ 614267 w 614267"/>
                  <a:gd name="connsiteY1" fmla="*/ 194215 h 504253"/>
                  <a:gd name="connsiteX2" fmla="*/ 307181 w 614267"/>
                  <a:gd name="connsiteY2" fmla="*/ 504254 h 504253"/>
                  <a:gd name="connsiteX3" fmla="*/ 0 w 614267"/>
                  <a:gd name="connsiteY3" fmla="*/ 194215 h 504253"/>
                  <a:gd name="connsiteX4" fmla="*/ 0 w 614267"/>
                  <a:gd name="connsiteY4" fmla="*/ 194215 h 504253"/>
                  <a:gd name="connsiteX5" fmla="*/ 66580 w 614267"/>
                  <a:gd name="connsiteY5" fmla="*/ 0 h 5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267" h="504253">
                    <a:moveTo>
                      <a:pt x="575596" y="42481"/>
                    </a:moveTo>
                    <a:cubicBezTo>
                      <a:pt x="600266" y="87440"/>
                      <a:pt x="614267" y="139160"/>
                      <a:pt x="614267" y="194215"/>
                    </a:cubicBezTo>
                    <a:cubicBezTo>
                      <a:pt x="614267" y="364141"/>
                      <a:pt x="477393" y="504254"/>
                      <a:pt x="307181" y="504254"/>
                    </a:cubicBezTo>
                    <a:cubicBezTo>
                      <a:pt x="136970" y="504254"/>
                      <a:pt x="0" y="364141"/>
                      <a:pt x="0" y="194215"/>
                    </a:cubicBezTo>
                    <a:lnTo>
                      <a:pt x="0" y="194215"/>
                    </a:lnTo>
                    <a:cubicBezTo>
                      <a:pt x="0" y="121348"/>
                      <a:pt x="24098" y="54102"/>
                      <a:pt x="6658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07" name="Freeform: Shape 406">
                <a:extLst>
                  <a:ext uri="{FF2B5EF4-FFF2-40B4-BE49-F238E27FC236}">
                    <a16:creationId xmlns:a16="http://schemas.microsoft.com/office/drawing/2014/main" id="{8BC525BB-B847-45DB-BE18-D558E7E88124}"/>
                  </a:ext>
                </a:extLst>
              </p:cNvPr>
              <p:cNvSpPr/>
              <p:nvPr/>
            </p:nvSpPr>
            <p:spPr>
              <a:xfrm>
                <a:off x="5948965" y="3354387"/>
                <a:ext cx="60102" cy="9525"/>
              </a:xfrm>
              <a:custGeom>
                <a:avLst/>
                <a:gdLst>
                  <a:gd name="connsiteX0" fmla="*/ 60103 w 60102"/>
                  <a:gd name="connsiteY0" fmla="*/ 0 h 9525"/>
                  <a:gd name="connsiteX1" fmla="*/ 0 w 60102"/>
                  <a:gd name="connsiteY1" fmla="*/ 0 h 9525"/>
                </a:gdLst>
                <a:ahLst/>
                <a:cxnLst>
                  <a:cxn ang="0">
                    <a:pos x="connsiteX0" y="connsiteY0"/>
                  </a:cxn>
                  <a:cxn ang="0">
                    <a:pos x="connsiteX1" y="connsiteY1"/>
                  </a:cxn>
                </a:cxnLst>
                <a:rect l="l" t="t" r="r" b="b"/>
                <a:pathLst>
                  <a:path w="60102" h="9525">
                    <a:moveTo>
                      <a:pt x="60103" y="0"/>
                    </a:moveTo>
                    <a:cubicBezTo>
                      <a:pt x="0" y="0"/>
                      <a:pt x="0" y="0"/>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08" name="Freeform: Shape 407">
                <a:extLst>
                  <a:ext uri="{FF2B5EF4-FFF2-40B4-BE49-F238E27FC236}">
                    <a16:creationId xmlns:a16="http://schemas.microsoft.com/office/drawing/2014/main" id="{11E34BB1-ECA7-47C6-B23A-4CE44FCD1A2B}"/>
                  </a:ext>
                </a:extLst>
              </p:cNvPr>
              <p:cNvSpPr/>
              <p:nvPr/>
            </p:nvSpPr>
            <p:spPr>
              <a:xfrm>
                <a:off x="5928676" y="3315048"/>
                <a:ext cx="229266" cy="498729"/>
              </a:xfrm>
              <a:custGeom>
                <a:avLst/>
                <a:gdLst>
                  <a:gd name="connsiteX0" fmla="*/ 125730 w 229266"/>
                  <a:gd name="connsiteY0" fmla="*/ 498729 h 498729"/>
                  <a:gd name="connsiteX1" fmla="*/ 149828 w 229266"/>
                  <a:gd name="connsiteY1" fmla="*/ 470726 h 498729"/>
                  <a:gd name="connsiteX2" fmla="*/ 142399 w 229266"/>
                  <a:gd name="connsiteY2" fmla="*/ 420338 h 498729"/>
                  <a:gd name="connsiteX3" fmla="*/ 94298 w 229266"/>
                  <a:gd name="connsiteY3" fmla="*/ 388620 h 498729"/>
                  <a:gd name="connsiteX4" fmla="*/ 31433 w 229266"/>
                  <a:gd name="connsiteY4" fmla="*/ 388620 h 498729"/>
                  <a:gd name="connsiteX5" fmla="*/ 0 w 229266"/>
                  <a:gd name="connsiteY5" fmla="*/ 317659 h 498729"/>
                  <a:gd name="connsiteX6" fmla="*/ 31433 w 229266"/>
                  <a:gd name="connsiteY6" fmla="*/ 226124 h 498729"/>
                  <a:gd name="connsiteX7" fmla="*/ 68390 w 229266"/>
                  <a:gd name="connsiteY7" fmla="*/ 224218 h 498729"/>
                  <a:gd name="connsiteX8" fmla="*/ 109061 w 229266"/>
                  <a:gd name="connsiteY8" fmla="*/ 272796 h 498729"/>
                  <a:gd name="connsiteX9" fmla="*/ 149733 w 229266"/>
                  <a:gd name="connsiteY9" fmla="*/ 252222 h 498729"/>
                  <a:gd name="connsiteX10" fmla="*/ 133064 w 229266"/>
                  <a:gd name="connsiteY10" fmla="*/ 203644 h 498729"/>
                  <a:gd name="connsiteX11" fmla="*/ 147828 w 229266"/>
                  <a:gd name="connsiteY11" fmla="*/ 143828 h 498729"/>
                  <a:gd name="connsiteX12" fmla="*/ 229267 w 229266"/>
                  <a:gd name="connsiteY12" fmla="*/ 61627 h 498729"/>
                  <a:gd name="connsiteX13" fmla="*/ 181166 w 229266"/>
                  <a:gd name="connsiteY13" fmla="*/ 0 h 498729"/>
                  <a:gd name="connsiteX14" fmla="*/ 153067 w 229266"/>
                  <a:gd name="connsiteY14" fmla="*/ 33147 h 498729"/>
                  <a:gd name="connsiteX15" fmla="*/ 147923 w 229266"/>
                  <a:gd name="connsiteY15" fmla="*/ 39338 h 49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9266" h="498729">
                    <a:moveTo>
                      <a:pt x="125730" y="498729"/>
                    </a:moveTo>
                    <a:cubicBezTo>
                      <a:pt x="149828" y="470726"/>
                      <a:pt x="149828" y="470726"/>
                      <a:pt x="149828" y="470726"/>
                    </a:cubicBezTo>
                    <a:cubicBezTo>
                      <a:pt x="142399" y="420338"/>
                      <a:pt x="142399" y="420338"/>
                      <a:pt x="142399" y="420338"/>
                    </a:cubicBezTo>
                    <a:cubicBezTo>
                      <a:pt x="94298" y="388620"/>
                      <a:pt x="94298" y="388620"/>
                      <a:pt x="94298" y="388620"/>
                    </a:cubicBezTo>
                    <a:cubicBezTo>
                      <a:pt x="31433" y="388620"/>
                      <a:pt x="31433" y="388620"/>
                      <a:pt x="31433" y="388620"/>
                    </a:cubicBezTo>
                    <a:cubicBezTo>
                      <a:pt x="0" y="317659"/>
                      <a:pt x="0" y="317659"/>
                      <a:pt x="0" y="317659"/>
                    </a:cubicBezTo>
                    <a:cubicBezTo>
                      <a:pt x="31433" y="226124"/>
                      <a:pt x="31433" y="226124"/>
                      <a:pt x="31433" y="226124"/>
                    </a:cubicBezTo>
                    <a:cubicBezTo>
                      <a:pt x="68390" y="224218"/>
                      <a:pt x="68390" y="224218"/>
                      <a:pt x="68390" y="224218"/>
                    </a:cubicBezTo>
                    <a:cubicBezTo>
                      <a:pt x="109061" y="272796"/>
                      <a:pt x="109061" y="272796"/>
                      <a:pt x="109061" y="272796"/>
                    </a:cubicBezTo>
                    <a:cubicBezTo>
                      <a:pt x="149733" y="252222"/>
                      <a:pt x="149733" y="252222"/>
                      <a:pt x="149733" y="252222"/>
                    </a:cubicBezTo>
                    <a:cubicBezTo>
                      <a:pt x="133064" y="203644"/>
                      <a:pt x="133064" y="203644"/>
                      <a:pt x="133064" y="203644"/>
                    </a:cubicBezTo>
                    <a:cubicBezTo>
                      <a:pt x="147828" y="143828"/>
                      <a:pt x="147828" y="143828"/>
                      <a:pt x="147828" y="143828"/>
                    </a:cubicBezTo>
                    <a:cubicBezTo>
                      <a:pt x="229267" y="61627"/>
                      <a:pt x="229267" y="61627"/>
                      <a:pt x="229267" y="61627"/>
                    </a:cubicBezTo>
                    <a:cubicBezTo>
                      <a:pt x="181166" y="0"/>
                      <a:pt x="181166" y="0"/>
                      <a:pt x="181166" y="0"/>
                    </a:cubicBezTo>
                    <a:cubicBezTo>
                      <a:pt x="165830" y="18097"/>
                      <a:pt x="157544" y="27813"/>
                      <a:pt x="153067" y="33147"/>
                    </a:cubicBezTo>
                    <a:cubicBezTo>
                      <a:pt x="147923" y="39338"/>
                      <a:pt x="147923" y="39338"/>
                      <a:pt x="147923" y="3933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09" name="Freeform: Shape 408">
                <a:extLst>
                  <a:ext uri="{FF2B5EF4-FFF2-40B4-BE49-F238E27FC236}">
                    <a16:creationId xmlns:a16="http://schemas.microsoft.com/office/drawing/2014/main" id="{53DD8EF5-609C-4585-9696-24E09C4D028D}"/>
                  </a:ext>
                </a:extLst>
              </p:cNvPr>
              <p:cNvSpPr/>
              <p:nvPr/>
            </p:nvSpPr>
            <p:spPr>
              <a:xfrm>
                <a:off x="6187566" y="3272186"/>
                <a:ext cx="316420" cy="495014"/>
              </a:xfrm>
              <a:custGeom>
                <a:avLst/>
                <a:gdLst>
                  <a:gd name="connsiteX0" fmla="*/ 166592 w 316420"/>
                  <a:gd name="connsiteY0" fmla="*/ 0 h 495014"/>
                  <a:gd name="connsiteX1" fmla="*/ 48196 w 316420"/>
                  <a:gd name="connsiteY1" fmla="*/ 59817 h 495014"/>
                  <a:gd name="connsiteX2" fmla="*/ 74105 w 316420"/>
                  <a:gd name="connsiteY2" fmla="*/ 127063 h 495014"/>
                  <a:gd name="connsiteX3" fmla="*/ 136969 w 316420"/>
                  <a:gd name="connsiteY3" fmla="*/ 127063 h 495014"/>
                  <a:gd name="connsiteX4" fmla="*/ 107347 w 316420"/>
                  <a:gd name="connsiteY4" fmla="*/ 170021 h 495014"/>
                  <a:gd name="connsiteX5" fmla="*/ 48101 w 316420"/>
                  <a:gd name="connsiteY5" fmla="*/ 198025 h 495014"/>
                  <a:gd name="connsiteX6" fmla="*/ 0 w 316420"/>
                  <a:gd name="connsiteY6" fmla="*/ 268986 h 495014"/>
                  <a:gd name="connsiteX7" fmla="*/ 14764 w 316420"/>
                  <a:gd name="connsiteY7" fmla="*/ 336232 h 495014"/>
                  <a:gd name="connsiteX8" fmla="*/ 83249 w 316420"/>
                  <a:gd name="connsiteY8" fmla="*/ 375476 h 495014"/>
                  <a:gd name="connsiteX9" fmla="*/ 105442 w 316420"/>
                  <a:gd name="connsiteY9" fmla="*/ 351187 h 495014"/>
                  <a:gd name="connsiteX10" fmla="*/ 125825 w 316420"/>
                  <a:gd name="connsiteY10" fmla="*/ 411004 h 495014"/>
                  <a:gd name="connsiteX11" fmla="*/ 103632 w 316420"/>
                  <a:gd name="connsiteY11" fmla="*/ 495014 h 495014"/>
                  <a:gd name="connsiteX12" fmla="*/ 155448 w 316420"/>
                  <a:gd name="connsiteY12" fmla="*/ 470726 h 495014"/>
                  <a:gd name="connsiteX13" fmla="*/ 181356 w 316420"/>
                  <a:gd name="connsiteY13" fmla="*/ 433388 h 495014"/>
                  <a:gd name="connsiteX14" fmla="*/ 181356 w 316420"/>
                  <a:gd name="connsiteY14" fmla="*/ 268986 h 495014"/>
                  <a:gd name="connsiteX15" fmla="*/ 144399 w 316420"/>
                  <a:gd name="connsiteY15" fmla="*/ 211074 h 495014"/>
                  <a:gd name="connsiteX16" fmla="*/ 181356 w 316420"/>
                  <a:gd name="connsiteY16" fmla="*/ 186785 h 495014"/>
                  <a:gd name="connsiteX17" fmla="*/ 227648 w 316420"/>
                  <a:gd name="connsiteY17" fmla="*/ 211074 h 495014"/>
                  <a:gd name="connsiteX18" fmla="*/ 268319 w 316420"/>
                  <a:gd name="connsiteY18" fmla="*/ 272701 h 495014"/>
                  <a:gd name="connsiteX19" fmla="*/ 268319 w 316420"/>
                  <a:gd name="connsiteY19" fmla="*/ 302609 h 495014"/>
                  <a:gd name="connsiteX20" fmla="*/ 316421 w 316420"/>
                  <a:gd name="connsiteY20" fmla="*/ 293180 h 49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6420" h="495014">
                    <a:moveTo>
                      <a:pt x="166592" y="0"/>
                    </a:moveTo>
                    <a:cubicBezTo>
                      <a:pt x="48196" y="59817"/>
                      <a:pt x="48196" y="59817"/>
                      <a:pt x="48196" y="59817"/>
                    </a:cubicBezTo>
                    <a:cubicBezTo>
                      <a:pt x="74105" y="127063"/>
                      <a:pt x="74105" y="127063"/>
                      <a:pt x="74105" y="127063"/>
                    </a:cubicBezTo>
                    <a:cubicBezTo>
                      <a:pt x="136969" y="127063"/>
                      <a:pt x="136969" y="127063"/>
                      <a:pt x="136969" y="127063"/>
                    </a:cubicBezTo>
                    <a:cubicBezTo>
                      <a:pt x="107347" y="170021"/>
                      <a:pt x="107347" y="170021"/>
                      <a:pt x="107347" y="170021"/>
                    </a:cubicBezTo>
                    <a:cubicBezTo>
                      <a:pt x="48101" y="198025"/>
                      <a:pt x="48101" y="198025"/>
                      <a:pt x="48101" y="198025"/>
                    </a:cubicBezTo>
                    <a:cubicBezTo>
                      <a:pt x="0" y="268986"/>
                      <a:pt x="0" y="268986"/>
                      <a:pt x="0" y="268986"/>
                    </a:cubicBezTo>
                    <a:cubicBezTo>
                      <a:pt x="14764" y="336232"/>
                      <a:pt x="14764" y="336232"/>
                      <a:pt x="14764" y="336232"/>
                    </a:cubicBezTo>
                    <a:cubicBezTo>
                      <a:pt x="83249" y="375476"/>
                      <a:pt x="83249" y="375476"/>
                      <a:pt x="83249" y="375476"/>
                    </a:cubicBezTo>
                    <a:cubicBezTo>
                      <a:pt x="105442" y="351187"/>
                      <a:pt x="105442" y="351187"/>
                      <a:pt x="105442" y="351187"/>
                    </a:cubicBezTo>
                    <a:cubicBezTo>
                      <a:pt x="125825" y="411004"/>
                      <a:pt x="125825" y="411004"/>
                      <a:pt x="125825" y="411004"/>
                    </a:cubicBezTo>
                    <a:cubicBezTo>
                      <a:pt x="103632" y="495014"/>
                      <a:pt x="103632" y="495014"/>
                      <a:pt x="103632" y="495014"/>
                    </a:cubicBezTo>
                    <a:cubicBezTo>
                      <a:pt x="155448" y="470726"/>
                      <a:pt x="155448" y="470726"/>
                      <a:pt x="155448" y="470726"/>
                    </a:cubicBezTo>
                    <a:cubicBezTo>
                      <a:pt x="181356" y="433388"/>
                      <a:pt x="181356" y="433388"/>
                      <a:pt x="181356" y="433388"/>
                    </a:cubicBezTo>
                    <a:cubicBezTo>
                      <a:pt x="181356" y="268986"/>
                      <a:pt x="181356" y="268986"/>
                      <a:pt x="181356" y="268986"/>
                    </a:cubicBezTo>
                    <a:cubicBezTo>
                      <a:pt x="144399" y="211074"/>
                      <a:pt x="144399" y="211074"/>
                      <a:pt x="144399" y="211074"/>
                    </a:cubicBezTo>
                    <a:cubicBezTo>
                      <a:pt x="181356" y="186785"/>
                      <a:pt x="181356" y="186785"/>
                      <a:pt x="181356" y="186785"/>
                    </a:cubicBezTo>
                    <a:cubicBezTo>
                      <a:pt x="227648" y="211074"/>
                      <a:pt x="227648" y="211074"/>
                      <a:pt x="227648" y="211074"/>
                    </a:cubicBezTo>
                    <a:cubicBezTo>
                      <a:pt x="268319" y="272701"/>
                      <a:pt x="268319" y="272701"/>
                      <a:pt x="268319" y="272701"/>
                    </a:cubicBezTo>
                    <a:cubicBezTo>
                      <a:pt x="268319" y="302609"/>
                      <a:pt x="268319" y="302609"/>
                      <a:pt x="268319" y="302609"/>
                    </a:cubicBezTo>
                    <a:cubicBezTo>
                      <a:pt x="316421" y="293180"/>
                      <a:pt x="316421" y="293180"/>
                      <a:pt x="316421" y="29318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10" name="Freeform: Shape 409">
                <a:extLst>
                  <a:ext uri="{FF2B5EF4-FFF2-40B4-BE49-F238E27FC236}">
                    <a16:creationId xmlns:a16="http://schemas.microsoft.com/office/drawing/2014/main" id="{063DB7C0-2832-49F5-AB56-B3FB5F3864FF}"/>
                  </a:ext>
                </a:extLst>
              </p:cNvPr>
              <p:cNvSpPr/>
              <p:nvPr/>
            </p:nvSpPr>
            <p:spPr>
              <a:xfrm>
                <a:off x="6378704" y="3177396"/>
                <a:ext cx="172042" cy="262430"/>
              </a:xfrm>
              <a:custGeom>
                <a:avLst/>
                <a:gdLst>
                  <a:gd name="connsiteX0" fmla="*/ 143761 w 172042"/>
                  <a:gd name="connsiteY0" fmla="*/ 148987 h 262430"/>
                  <a:gd name="connsiteX1" fmla="*/ 11078 w 172042"/>
                  <a:gd name="connsiteY1" fmla="*/ 262430 h 262430"/>
                  <a:gd name="connsiteX2" fmla="*/ 219 w 172042"/>
                  <a:gd name="connsiteY2" fmla="*/ 88218 h 262430"/>
                  <a:gd name="connsiteX3" fmla="*/ 5744 w 172042"/>
                  <a:gd name="connsiteY3" fmla="*/ 52975 h 262430"/>
                  <a:gd name="connsiteX4" fmla="*/ 119282 w 172042"/>
                  <a:gd name="connsiteY4" fmla="*/ 6874 h 262430"/>
                  <a:gd name="connsiteX5" fmla="*/ 165097 w 172042"/>
                  <a:gd name="connsiteY5" fmla="*/ 120508 h 262430"/>
                  <a:gd name="connsiteX6" fmla="*/ 143761 w 172042"/>
                  <a:gd name="connsiteY6" fmla="*/ 148987 h 262430"/>
                  <a:gd name="connsiteX7" fmla="*/ 143761 w 172042"/>
                  <a:gd name="connsiteY7" fmla="*/ 148987 h 262430"/>
                  <a:gd name="connsiteX8" fmla="*/ 104232 w 172042"/>
                  <a:gd name="connsiteY8" fmla="*/ 42688 h 262430"/>
                  <a:gd name="connsiteX9" fmla="*/ 41367 w 172042"/>
                  <a:gd name="connsiteY9" fmla="*/ 68215 h 262430"/>
                  <a:gd name="connsiteX10" fmla="*/ 66704 w 172042"/>
                  <a:gd name="connsiteY10" fmla="*/ 131080 h 262430"/>
                  <a:gd name="connsiteX11" fmla="*/ 129569 w 172042"/>
                  <a:gd name="connsiteY11" fmla="*/ 105553 h 262430"/>
                  <a:gd name="connsiteX12" fmla="*/ 104232 w 172042"/>
                  <a:gd name="connsiteY12" fmla="*/ 42688 h 262430"/>
                  <a:gd name="connsiteX13" fmla="*/ 104232 w 172042"/>
                  <a:gd name="connsiteY13" fmla="*/ 42688 h 26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042" h="262430">
                    <a:moveTo>
                      <a:pt x="143761" y="148987"/>
                    </a:moveTo>
                    <a:cubicBezTo>
                      <a:pt x="11078" y="262430"/>
                      <a:pt x="11078" y="262430"/>
                      <a:pt x="11078" y="262430"/>
                    </a:cubicBezTo>
                    <a:cubicBezTo>
                      <a:pt x="219" y="88218"/>
                      <a:pt x="219" y="88218"/>
                      <a:pt x="219" y="88218"/>
                    </a:cubicBezTo>
                    <a:cubicBezTo>
                      <a:pt x="-638" y="76216"/>
                      <a:pt x="981" y="64310"/>
                      <a:pt x="5744" y="52975"/>
                    </a:cubicBezTo>
                    <a:cubicBezTo>
                      <a:pt x="24413" y="8875"/>
                      <a:pt x="75276" y="-11795"/>
                      <a:pt x="119282" y="6874"/>
                    </a:cubicBezTo>
                    <a:cubicBezTo>
                      <a:pt x="163287" y="25543"/>
                      <a:pt x="183861" y="76407"/>
                      <a:pt x="165097" y="120508"/>
                    </a:cubicBezTo>
                    <a:cubicBezTo>
                      <a:pt x="160430" y="131747"/>
                      <a:pt x="153000" y="141272"/>
                      <a:pt x="143761" y="148987"/>
                    </a:cubicBezTo>
                    <a:lnTo>
                      <a:pt x="143761" y="148987"/>
                    </a:lnTo>
                    <a:close/>
                    <a:moveTo>
                      <a:pt x="104232" y="42688"/>
                    </a:moveTo>
                    <a:cubicBezTo>
                      <a:pt x="79848" y="32401"/>
                      <a:pt x="51749" y="43831"/>
                      <a:pt x="41367" y="68215"/>
                    </a:cubicBezTo>
                    <a:cubicBezTo>
                      <a:pt x="30985" y="92599"/>
                      <a:pt x="42415" y="120793"/>
                      <a:pt x="66704" y="131080"/>
                    </a:cubicBezTo>
                    <a:cubicBezTo>
                      <a:pt x="91088" y="141367"/>
                      <a:pt x="119186" y="129937"/>
                      <a:pt x="129569" y="105553"/>
                    </a:cubicBezTo>
                    <a:cubicBezTo>
                      <a:pt x="139951" y="81169"/>
                      <a:pt x="128521" y="53071"/>
                      <a:pt x="104232" y="42688"/>
                    </a:cubicBezTo>
                    <a:lnTo>
                      <a:pt x="104232" y="4268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11" name="Freeform: Shape 410">
                <a:extLst>
                  <a:ext uri="{FF2B5EF4-FFF2-40B4-BE49-F238E27FC236}">
                    <a16:creationId xmlns:a16="http://schemas.microsoft.com/office/drawing/2014/main" id="{B1A66EB6-EDCA-4769-9305-F1DF71DE6EE8}"/>
                  </a:ext>
                </a:extLst>
              </p:cNvPr>
              <p:cNvSpPr/>
              <p:nvPr/>
            </p:nvSpPr>
            <p:spPr>
              <a:xfrm>
                <a:off x="5889651" y="3149733"/>
                <a:ext cx="193421" cy="244850"/>
              </a:xfrm>
              <a:custGeom>
                <a:avLst/>
                <a:gdLst>
                  <a:gd name="connsiteX0" fmla="*/ 170657 w 193421"/>
                  <a:gd name="connsiteY0" fmla="*/ 71781 h 244849"/>
                  <a:gd name="connsiteX1" fmla="*/ 193422 w 193421"/>
                  <a:gd name="connsiteY1" fmla="*/ 244850 h 244849"/>
                  <a:gd name="connsiteX2" fmla="*/ 41498 w 193421"/>
                  <a:gd name="connsiteY2" fmla="*/ 159030 h 244849"/>
                  <a:gd name="connsiteX3" fmla="*/ 14923 w 193421"/>
                  <a:gd name="connsiteY3" fmla="*/ 135122 h 244849"/>
                  <a:gd name="connsiteX4" fmla="*/ 38164 w 193421"/>
                  <a:gd name="connsiteY4" fmla="*/ 14821 h 244849"/>
                  <a:gd name="connsiteX5" fmla="*/ 158465 w 193421"/>
                  <a:gd name="connsiteY5" fmla="*/ 38253 h 244849"/>
                  <a:gd name="connsiteX6" fmla="*/ 170657 w 193421"/>
                  <a:gd name="connsiteY6" fmla="*/ 71781 h 244849"/>
                  <a:gd name="connsiteX7" fmla="*/ 170657 w 193421"/>
                  <a:gd name="connsiteY7" fmla="*/ 71781 h 244849"/>
                  <a:gd name="connsiteX8" fmla="*/ 59976 w 193421"/>
                  <a:gd name="connsiteY8" fmla="*/ 47111 h 244849"/>
                  <a:gd name="connsiteX9" fmla="*/ 47118 w 193421"/>
                  <a:gd name="connsiteY9" fmla="*/ 113691 h 244849"/>
                  <a:gd name="connsiteX10" fmla="*/ 113697 w 193421"/>
                  <a:gd name="connsiteY10" fmla="*/ 126645 h 244849"/>
                  <a:gd name="connsiteX11" fmla="*/ 126556 w 193421"/>
                  <a:gd name="connsiteY11" fmla="*/ 60065 h 244849"/>
                  <a:gd name="connsiteX12" fmla="*/ 59976 w 193421"/>
                  <a:gd name="connsiteY12" fmla="*/ 47111 h 244849"/>
                  <a:gd name="connsiteX13" fmla="*/ 59976 w 193421"/>
                  <a:gd name="connsiteY13" fmla="*/ 47111 h 24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3421" h="244849">
                    <a:moveTo>
                      <a:pt x="170657" y="71781"/>
                    </a:moveTo>
                    <a:cubicBezTo>
                      <a:pt x="193422" y="244850"/>
                      <a:pt x="193422" y="244850"/>
                      <a:pt x="193422" y="244850"/>
                    </a:cubicBezTo>
                    <a:cubicBezTo>
                      <a:pt x="41498" y="159030"/>
                      <a:pt x="41498" y="159030"/>
                      <a:pt x="41498" y="159030"/>
                    </a:cubicBezTo>
                    <a:cubicBezTo>
                      <a:pt x="31020" y="153219"/>
                      <a:pt x="21876" y="145314"/>
                      <a:pt x="14923" y="135122"/>
                    </a:cubicBezTo>
                    <a:cubicBezTo>
                      <a:pt x="-11937" y="95403"/>
                      <a:pt x="-1555" y="41586"/>
                      <a:pt x="38164" y="14821"/>
                    </a:cubicBezTo>
                    <a:cubicBezTo>
                      <a:pt x="77883" y="-11944"/>
                      <a:pt x="131604" y="-1467"/>
                      <a:pt x="158465" y="38253"/>
                    </a:cubicBezTo>
                    <a:cubicBezTo>
                      <a:pt x="165323" y="48444"/>
                      <a:pt x="169228" y="59874"/>
                      <a:pt x="170657" y="71781"/>
                    </a:cubicBezTo>
                    <a:lnTo>
                      <a:pt x="170657" y="71781"/>
                    </a:lnTo>
                    <a:close/>
                    <a:moveTo>
                      <a:pt x="59976" y="47111"/>
                    </a:moveTo>
                    <a:cubicBezTo>
                      <a:pt x="38069" y="61875"/>
                      <a:pt x="32259" y="91688"/>
                      <a:pt x="47118" y="113691"/>
                    </a:cubicBezTo>
                    <a:cubicBezTo>
                      <a:pt x="61977" y="135693"/>
                      <a:pt x="91790" y="141504"/>
                      <a:pt x="113697" y="126645"/>
                    </a:cubicBezTo>
                    <a:cubicBezTo>
                      <a:pt x="135605" y="111786"/>
                      <a:pt x="141415" y="82068"/>
                      <a:pt x="126556" y="60065"/>
                    </a:cubicBezTo>
                    <a:cubicBezTo>
                      <a:pt x="111697" y="38062"/>
                      <a:pt x="81979" y="32347"/>
                      <a:pt x="59976" y="47111"/>
                    </a:cubicBezTo>
                    <a:lnTo>
                      <a:pt x="59976" y="4711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grpSp>
        <p:grpSp>
          <p:nvGrpSpPr>
            <p:cNvPr id="412" name="Group 411">
              <a:extLst>
                <a:ext uri="{FF2B5EF4-FFF2-40B4-BE49-F238E27FC236}">
                  <a16:creationId xmlns:a16="http://schemas.microsoft.com/office/drawing/2014/main" id="{32DE551E-1FB9-4F50-82EE-ED86A1611EA4}"/>
                </a:ext>
                <a:ext uri="{C183D7F6-B498-43B3-948B-1728B52AA6E4}">
                  <adec:decorative xmlns:adec="http://schemas.microsoft.com/office/drawing/2017/decorative" val="1"/>
                </a:ext>
              </a:extLst>
            </p:cNvPr>
            <p:cNvGrpSpPr/>
            <p:nvPr/>
          </p:nvGrpSpPr>
          <p:grpSpPr>
            <a:xfrm>
              <a:off x="10257688" y="2488578"/>
              <a:ext cx="342608" cy="319701"/>
              <a:chOff x="4367801" y="4961575"/>
              <a:chExt cx="341947" cy="319087"/>
            </a:xfrm>
          </p:grpSpPr>
          <p:sp>
            <p:nvSpPr>
              <p:cNvPr id="413" name="Freeform: Shape 412">
                <a:extLst>
                  <a:ext uri="{FF2B5EF4-FFF2-40B4-BE49-F238E27FC236}">
                    <a16:creationId xmlns:a16="http://schemas.microsoft.com/office/drawing/2014/main" id="{CBD3C9F8-7ED7-4A77-B7B7-BBE88A3336E5}"/>
                  </a:ext>
                </a:extLst>
              </p:cNvPr>
              <p:cNvSpPr/>
              <p:nvPr/>
            </p:nvSpPr>
            <p:spPr>
              <a:xfrm>
                <a:off x="4490673" y="4961575"/>
                <a:ext cx="219075" cy="228600"/>
              </a:xfrm>
              <a:custGeom>
                <a:avLst/>
                <a:gdLst>
                  <a:gd name="connsiteX0" fmla="*/ 74976 w 219075"/>
                  <a:gd name="connsiteY0" fmla="*/ 205468 h 228600"/>
                  <a:gd name="connsiteX1" fmla="*/ 114028 w 219075"/>
                  <a:gd name="connsiteY1" fmla="*/ 213088 h 228600"/>
                  <a:gd name="connsiteX2" fmla="*/ 166416 w 219075"/>
                  <a:gd name="connsiteY2" fmla="*/ 199753 h 228600"/>
                  <a:gd name="connsiteX3" fmla="*/ 220708 w 219075"/>
                  <a:gd name="connsiteY3" fmla="*/ 230233 h 228600"/>
                  <a:gd name="connsiteX4" fmla="*/ 196896 w 219075"/>
                  <a:gd name="connsiteY4" fmla="*/ 174036 h 228600"/>
                  <a:gd name="connsiteX5" fmla="*/ 220708 w 219075"/>
                  <a:gd name="connsiteY5" fmla="*/ 110218 h 228600"/>
                  <a:gd name="connsiteX6" fmla="*/ 114028 w 219075"/>
                  <a:gd name="connsiteY6" fmla="*/ 7348 h 228600"/>
                  <a:gd name="connsiteX7" fmla="*/ 7348 w 219075"/>
                  <a:gd name="connsiteY7" fmla="*/ 11021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228600">
                    <a:moveTo>
                      <a:pt x="74976" y="205468"/>
                    </a:moveTo>
                    <a:cubicBezTo>
                      <a:pt x="87358" y="210231"/>
                      <a:pt x="100693" y="213088"/>
                      <a:pt x="114028" y="213088"/>
                    </a:cubicBezTo>
                    <a:cubicBezTo>
                      <a:pt x="133078" y="213088"/>
                      <a:pt x="151176" y="208326"/>
                      <a:pt x="166416" y="199753"/>
                    </a:cubicBezTo>
                    <a:cubicBezTo>
                      <a:pt x="174036" y="208326"/>
                      <a:pt x="191181" y="222613"/>
                      <a:pt x="220708" y="230233"/>
                    </a:cubicBezTo>
                    <a:cubicBezTo>
                      <a:pt x="213088" y="218803"/>
                      <a:pt x="199753" y="198801"/>
                      <a:pt x="196896" y="174036"/>
                    </a:cubicBezTo>
                    <a:cubicBezTo>
                      <a:pt x="211183" y="156891"/>
                      <a:pt x="220708" y="134031"/>
                      <a:pt x="220708" y="110218"/>
                    </a:cubicBezTo>
                    <a:cubicBezTo>
                      <a:pt x="220708" y="54021"/>
                      <a:pt x="173083" y="7348"/>
                      <a:pt x="114028" y="7348"/>
                    </a:cubicBezTo>
                    <a:cubicBezTo>
                      <a:pt x="54973" y="7348"/>
                      <a:pt x="7348" y="53068"/>
                      <a:pt x="7348" y="11021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sp>
            <p:nvSpPr>
              <p:cNvPr id="414" name="Freeform: Shape 413">
                <a:extLst>
                  <a:ext uri="{FF2B5EF4-FFF2-40B4-BE49-F238E27FC236}">
                    <a16:creationId xmlns:a16="http://schemas.microsoft.com/office/drawing/2014/main" id="{CBD2B583-5792-4B83-85D9-48BFC08C53AD}"/>
                  </a:ext>
                </a:extLst>
              </p:cNvPr>
              <p:cNvSpPr/>
              <p:nvPr/>
            </p:nvSpPr>
            <p:spPr>
              <a:xfrm>
                <a:off x="4367801" y="5061587"/>
                <a:ext cx="200025" cy="219075"/>
              </a:xfrm>
              <a:custGeom>
                <a:avLst/>
                <a:gdLst>
                  <a:gd name="connsiteX0" fmla="*/ 102598 w 200025"/>
                  <a:gd name="connsiteY0" fmla="*/ 7348 h 219075"/>
                  <a:gd name="connsiteX1" fmla="*/ 7348 w 200025"/>
                  <a:gd name="connsiteY1" fmla="*/ 98788 h 219075"/>
                  <a:gd name="connsiteX2" fmla="*/ 34018 w 200025"/>
                  <a:gd name="connsiteY2" fmla="*/ 162606 h 219075"/>
                  <a:gd name="connsiteX3" fmla="*/ 11158 w 200025"/>
                  <a:gd name="connsiteY3" fmla="*/ 213088 h 219075"/>
                  <a:gd name="connsiteX4" fmla="*/ 64498 w 200025"/>
                  <a:gd name="connsiteY4" fmla="*/ 182608 h 219075"/>
                  <a:gd name="connsiteX5" fmla="*/ 101646 w 200025"/>
                  <a:gd name="connsiteY5" fmla="*/ 190228 h 219075"/>
                  <a:gd name="connsiteX6" fmla="*/ 196896 w 200025"/>
                  <a:gd name="connsiteY6" fmla="*/ 98788 h 219075"/>
                  <a:gd name="connsiteX7" fmla="*/ 102598 w 200025"/>
                  <a:gd name="connsiteY7" fmla="*/ 734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19075">
                    <a:moveTo>
                      <a:pt x="102598" y="7348"/>
                    </a:moveTo>
                    <a:cubicBezTo>
                      <a:pt x="50211" y="7348"/>
                      <a:pt x="7348" y="48306"/>
                      <a:pt x="7348" y="98788"/>
                    </a:cubicBezTo>
                    <a:cubicBezTo>
                      <a:pt x="7348" y="123553"/>
                      <a:pt x="17826" y="145461"/>
                      <a:pt x="34018" y="162606"/>
                    </a:cubicBezTo>
                    <a:cubicBezTo>
                      <a:pt x="32113" y="185466"/>
                      <a:pt x="18778" y="201658"/>
                      <a:pt x="11158" y="213088"/>
                    </a:cubicBezTo>
                    <a:cubicBezTo>
                      <a:pt x="39733" y="205468"/>
                      <a:pt x="56878" y="191181"/>
                      <a:pt x="64498" y="182608"/>
                    </a:cubicBezTo>
                    <a:cubicBezTo>
                      <a:pt x="75928" y="187371"/>
                      <a:pt x="88311" y="190228"/>
                      <a:pt x="101646" y="190228"/>
                    </a:cubicBezTo>
                    <a:cubicBezTo>
                      <a:pt x="154033" y="190228"/>
                      <a:pt x="196896" y="149271"/>
                      <a:pt x="196896" y="98788"/>
                    </a:cubicBezTo>
                    <a:cubicBezTo>
                      <a:pt x="197848" y="48306"/>
                      <a:pt x="154986" y="7348"/>
                      <a:pt x="102598" y="7348"/>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3">
                  <a:gradFill>
                    <a:gsLst>
                      <a:gs pos="0">
                        <a:srgbClr val="505050"/>
                      </a:gs>
                      <a:gs pos="100000">
                        <a:srgbClr val="505050"/>
                      </a:gs>
                    </a:gsLst>
                    <a:lin ang="5400000" scaled="1"/>
                  </a:gradFill>
                </a:endParaRPr>
              </a:p>
            </p:txBody>
          </p:sp>
        </p:grpSp>
        <p:grpSp>
          <p:nvGrpSpPr>
            <p:cNvPr id="415" name="Group 414">
              <a:extLst>
                <a:ext uri="{FF2B5EF4-FFF2-40B4-BE49-F238E27FC236}">
                  <a16:creationId xmlns:a16="http://schemas.microsoft.com/office/drawing/2014/main" id="{E96B35F7-4938-4300-B845-5E724E41A613}"/>
                </a:ext>
                <a:ext uri="{C183D7F6-B498-43B3-948B-1728B52AA6E4}">
                  <adec:decorative xmlns:adec="http://schemas.microsoft.com/office/drawing/2017/decorative" val="1"/>
                </a:ext>
              </a:extLst>
            </p:cNvPr>
            <p:cNvGrpSpPr/>
            <p:nvPr/>
          </p:nvGrpSpPr>
          <p:grpSpPr>
            <a:xfrm>
              <a:off x="10974217" y="2519786"/>
              <a:ext cx="372767" cy="251017"/>
              <a:chOff x="8303420" y="3006302"/>
              <a:chExt cx="686166" cy="462057"/>
            </a:xfrm>
          </p:grpSpPr>
          <p:grpSp>
            <p:nvGrpSpPr>
              <p:cNvPr id="421" name="Graphic 460">
                <a:extLst>
                  <a:ext uri="{FF2B5EF4-FFF2-40B4-BE49-F238E27FC236}">
                    <a16:creationId xmlns:a16="http://schemas.microsoft.com/office/drawing/2014/main" id="{4A725118-E6FF-4CBD-AEA2-B4BF5F85A880}"/>
                  </a:ext>
                </a:extLst>
              </p:cNvPr>
              <p:cNvGrpSpPr/>
              <p:nvPr/>
            </p:nvGrpSpPr>
            <p:grpSpPr>
              <a:xfrm>
                <a:off x="8303420" y="3006302"/>
                <a:ext cx="686166" cy="462057"/>
                <a:chOff x="5876630" y="3267709"/>
                <a:chExt cx="686166" cy="462057"/>
              </a:xfrm>
            </p:grpSpPr>
            <p:sp>
              <p:nvSpPr>
                <p:cNvPr id="447" name="Freeform: Shape 446">
                  <a:extLst>
                    <a:ext uri="{FF2B5EF4-FFF2-40B4-BE49-F238E27FC236}">
                      <a16:creationId xmlns:a16="http://schemas.microsoft.com/office/drawing/2014/main" id="{54942421-7924-43AD-9295-A63A54E361A5}"/>
                    </a:ext>
                  </a:extLst>
                </p:cNvPr>
                <p:cNvSpPr/>
                <p:nvPr/>
              </p:nvSpPr>
              <p:spPr>
                <a:xfrm>
                  <a:off x="5876630" y="3267709"/>
                  <a:ext cx="686166" cy="462057"/>
                </a:xfrm>
                <a:custGeom>
                  <a:avLst/>
                  <a:gdLst>
                    <a:gd name="connsiteX0" fmla="*/ 0 w 462057"/>
                    <a:gd name="connsiteY0" fmla="*/ 0 h 462057"/>
                    <a:gd name="connsiteX1" fmla="*/ 462058 w 462057"/>
                    <a:gd name="connsiteY1" fmla="*/ 0 h 462057"/>
                    <a:gd name="connsiteX2" fmla="*/ 462058 w 462057"/>
                    <a:gd name="connsiteY2" fmla="*/ 462058 h 462057"/>
                    <a:gd name="connsiteX3" fmla="*/ 0 w 462057"/>
                    <a:gd name="connsiteY3" fmla="*/ 462058 h 462057"/>
                  </a:gdLst>
                  <a:ahLst/>
                  <a:cxnLst>
                    <a:cxn ang="0">
                      <a:pos x="connsiteX0" y="connsiteY0"/>
                    </a:cxn>
                    <a:cxn ang="0">
                      <a:pos x="connsiteX1" y="connsiteY1"/>
                    </a:cxn>
                    <a:cxn ang="0">
                      <a:pos x="connsiteX2" y="connsiteY2"/>
                    </a:cxn>
                    <a:cxn ang="0">
                      <a:pos x="connsiteX3" y="connsiteY3"/>
                    </a:cxn>
                  </a:cxnLst>
                  <a:rect l="l" t="t" r="r" b="b"/>
                  <a:pathLst>
                    <a:path w="462057" h="462057">
                      <a:moveTo>
                        <a:pt x="0" y="0"/>
                      </a:moveTo>
                      <a:lnTo>
                        <a:pt x="462058" y="0"/>
                      </a:lnTo>
                      <a:lnTo>
                        <a:pt x="462058" y="462058"/>
                      </a:lnTo>
                      <a:lnTo>
                        <a:pt x="0" y="46205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48" name="Freeform: Shape 447">
                  <a:extLst>
                    <a:ext uri="{FF2B5EF4-FFF2-40B4-BE49-F238E27FC236}">
                      <a16:creationId xmlns:a16="http://schemas.microsoft.com/office/drawing/2014/main" id="{2F93E5AD-B2DE-44FA-AE51-57E0C1AEAB2C}"/>
                    </a:ext>
                  </a:extLst>
                </p:cNvPr>
                <p:cNvSpPr/>
                <p:nvPr/>
              </p:nvSpPr>
              <p:spPr>
                <a:xfrm>
                  <a:off x="5876630" y="3352196"/>
                  <a:ext cx="686166" cy="9525"/>
                </a:xfrm>
                <a:custGeom>
                  <a:avLst/>
                  <a:gdLst>
                    <a:gd name="connsiteX0" fmla="*/ 0 w 462057"/>
                    <a:gd name="connsiteY0" fmla="*/ 0 h 9525"/>
                    <a:gd name="connsiteX1" fmla="*/ 462058 w 462057"/>
                    <a:gd name="connsiteY1" fmla="*/ 0 h 9525"/>
                  </a:gdLst>
                  <a:ahLst/>
                  <a:cxnLst>
                    <a:cxn ang="0">
                      <a:pos x="connsiteX0" y="connsiteY0"/>
                    </a:cxn>
                    <a:cxn ang="0">
                      <a:pos x="connsiteX1" y="connsiteY1"/>
                    </a:cxn>
                  </a:cxnLst>
                  <a:rect l="l" t="t" r="r" b="b"/>
                  <a:pathLst>
                    <a:path w="462057" h="9525">
                      <a:moveTo>
                        <a:pt x="0" y="0"/>
                      </a:moveTo>
                      <a:lnTo>
                        <a:pt x="46205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49" name="Freeform: Shape 448">
                  <a:extLst>
                    <a:ext uri="{FF2B5EF4-FFF2-40B4-BE49-F238E27FC236}">
                      <a16:creationId xmlns:a16="http://schemas.microsoft.com/office/drawing/2014/main" id="{7959948E-460A-4E36-94B2-529158150572}"/>
                    </a:ext>
                  </a:extLst>
                </p:cNvPr>
                <p:cNvSpPr/>
                <p:nvPr/>
              </p:nvSpPr>
              <p:spPr>
                <a:xfrm>
                  <a:off x="6381314" y="3295046"/>
                  <a:ext cx="24193" cy="24193"/>
                </a:xfrm>
                <a:custGeom>
                  <a:avLst/>
                  <a:gdLst>
                    <a:gd name="connsiteX0" fmla="*/ 24194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4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4" y="12097"/>
                      </a:moveTo>
                      <a:cubicBezTo>
                        <a:pt x="24194" y="18778"/>
                        <a:pt x="18778" y="24194"/>
                        <a:pt x="12097" y="24194"/>
                      </a:cubicBezTo>
                      <a:cubicBezTo>
                        <a:pt x="5416" y="24194"/>
                        <a:pt x="0" y="18778"/>
                        <a:pt x="0" y="12097"/>
                      </a:cubicBezTo>
                      <a:cubicBezTo>
                        <a:pt x="0" y="5416"/>
                        <a:pt x="5416" y="0"/>
                        <a:pt x="12097" y="0"/>
                      </a:cubicBezTo>
                      <a:cubicBezTo>
                        <a:pt x="18778" y="0"/>
                        <a:pt x="24194" y="5416"/>
                        <a:pt x="24194"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50" name="Freeform: Shape 449">
                  <a:extLst>
                    <a:ext uri="{FF2B5EF4-FFF2-40B4-BE49-F238E27FC236}">
                      <a16:creationId xmlns:a16="http://schemas.microsoft.com/office/drawing/2014/main" id="{2F94A22F-249C-4064-980C-E1D4622B174E}"/>
                    </a:ext>
                  </a:extLst>
                </p:cNvPr>
                <p:cNvSpPr/>
                <p:nvPr/>
              </p:nvSpPr>
              <p:spPr>
                <a:xfrm>
                  <a:off x="642989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51" name="Freeform: Shape 450">
                  <a:extLst>
                    <a:ext uri="{FF2B5EF4-FFF2-40B4-BE49-F238E27FC236}">
                      <a16:creationId xmlns:a16="http://schemas.microsoft.com/office/drawing/2014/main" id="{9B0E77DC-26B2-4513-89D3-C6E7BB72604B}"/>
                    </a:ext>
                  </a:extLst>
                </p:cNvPr>
                <p:cNvSpPr/>
                <p:nvPr/>
              </p:nvSpPr>
              <p:spPr>
                <a:xfrm>
                  <a:off x="648504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grpSp>
          <p:grpSp>
            <p:nvGrpSpPr>
              <p:cNvPr id="422" name="Graphic 584">
                <a:extLst>
                  <a:ext uri="{FF2B5EF4-FFF2-40B4-BE49-F238E27FC236}">
                    <a16:creationId xmlns:a16="http://schemas.microsoft.com/office/drawing/2014/main" id="{9BFE1224-DFC6-46C3-8ECB-264A4D04C98F}"/>
                  </a:ext>
                </a:extLst>
              </p:cNvPr>
              <p:cNvGrpSpPr/>
              <p:nvPr/>
            </p:nvGrpSpPr>
            <p:grpSpPr>
              <a:xfrm>
                <a:off x="8404338" y="3140788"/>
                <a:ext cx="472756" cy="280074"/>
                <a:chOff x="6089078" y="3382390"/>
                <a:chExt cx="254031" cy="150495"/>
              </a:xfrm>
            </p:grpSpPr>
            <p:sp>
              <p:nvSpPr>
                <p:cNvPr id="426" name="Freeform: Shape 425">
                  <a:extLst>
                    <a:ext uri="{FF2B5EF4-FFF2-40B4-BE49-F238E27FC236}">
                      <a16:creationId xmlns:a16="http://schemas.microsoft.com/office/drawing/2014/main" id="{2C18C840-9DAA-41FD-8BB8-956C1A87CB85}"/>
                    </a:ext>
                  </a:extLst>
                </p:cNvPr>
                <p:cNvSpPr/>
                <p:nvPr/>
              </p:nvSpPr>
              <p:spPr>
                <a:xfrm>
                  <a:off x="6089078" y="3522121"/>
                  <a:ext cx="125634" cy="9525"/>
                </a:xfrm>
                <a:custGeom>
                  <a:avLst/>
                  <a:gdLst>
                    <a:gd name="connsiteX0" fmla="*/ 125635 w 125634"/>
                    <a:gd name="connsiteY0" fmla="*/ 0 h 9525"/>
                    <a:gd name="connsiteX1" fmla="*/ 0 w 125634"/>
                    <a:gd name="connsiteY1" fmla="*/ 0 h 9525"/>
                  </a:gdLst>
                  <a:ahLst/>
                  <a:cxnLst>
                    <a:cxn ang="0">
                      <a:pos x="connsiteX0" y="connsiteY0"/>
                    </a:cxn>
                    <a:cxn ang="0">
                      <a:pos x="connsiteX1" y="connsiteY1"/>
                    </a:cxn>
                  </a:cxnLst>
                  <a:rect l="l" t="t" r="r" b="b"/>
                  <a:pathLst>
                    <a:path w="125634" h="9525">
                      <a:moveTo>
                        <a:pt x="125635" y="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27" name="Freeform: Shape 426">
                  <a:extLst>
                    <a:ext uri="{FF2B5EF4-FFF2-40B4-BE49-F238E27FC236}">
                      <a16:creationId xmlns:a16="http://schemas.microsoft.com/office/drawing/2014/main" id="{0531A5C1-E614-4DE5-AC1F-13F82AB97A31}"/>
                    </a:ext>
                  </a:extLst>
                </p:cNvPr>
                <p:cNvSpPr/>
                <p:nvPr/>
              </p:nvSpPr>
              <p:spPr>
                <a:xfrm>
                  <a:off x="6103937" y="3459637"/>
                  <a:ext cx="9525" cy="62483"/>
                </a:xfrm>
                <a:custGeom>
                  <a:avLst/>
                  <a:gdLst>
                    <a:gd name="connsiteX0" fmla="*/ 0 w 9525"/>
                    <a:gd name="connsiteY0" fmla="*/ 62484 h 62483"/>
                    <a:gd name="connsiteX1" fmla="*/ 0 w 9525"/>
                    <a:gd name="connsiteY1" fmla="*/ 0 h 62483"/>
                  </a:gdLst>
                  <a:ahLst/>
                  <a:cxnLst>
                    <a:cxn ang="0">
                      <a:pos x="connsiteX0" y="connsiteY0"/>
                    </a:cxn>
                    <a:cxn ang="0">
                      <a:pos x="connsiteX1" y="connsiteY1"/>
                    </a:cxn>
                  </a:cxnLst>
                  <a:rect l="l" t="t" r="r" b="b"/>
                  <a:pathLst>
                    <a:path w="9525" h="62483">
                      <a:moveTo>
                        <a:pt x="0" y="62484"/>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30" name="Freeform: Shape 429">
                  <a:extLst>
                    <a:ext uri="{FF2B5EF4-FFF2-40B4-BE49-F238E27FC236}">
                      <a16:creationId xmlns:a16="http://schemas.microsoft.com/office/drawing/2014/main" id="{D06992DB-6EE0-47F2-AE35-9D180AACA7EB}"/>
                    </a:ext>
                  </a:extLst>
                </p:cNvPr>
                <p:cNvSpPr/>
                <p:nvPr/>
              </p:nvSpPr>
              <p:spPr>
                <a:xfrm>
                  <a:off x="6133750" y="3480402"/>
                  <a:ext cx="9525" cy="41719"/>
                </a:xfrm>
                <a:custGeom>
                  <a:avLst/>
                  <a:gdLst>
                    <a:gd name="connsiteX0" fmla="*/ 0 w 9525"/>
                    <a:gd name="connsiteY0" fmla="*/ 41720 h 41719"/>
                    <a:gd name="connsiteX1" fmla="*/ 0 w 9525"/>
                    <a:gd name="connsiteY1" fmla="*/ 0 h 41719"/>
                  </a:gdLst>
                  <a:ahLst/>
                  <a:cxnLst>
                    <a:cxn ang="0">
                      <a:pos x="connsiteX0" y="connsiteY0"/>
                    </a:cxn>
                    <a:cxn ang="0">
                      <a:pos x="connsiteX1" y="connsiteY1"/>
                    </a:cxn>
                  </a:cxnLst>
                  <a:rect l="l" t="t" r="r" b="b"/>
                  <a:pathLst>
                    <a:path w="9525" h="41719">
                      <a:moveTo>
                        <a:pt x="0" y="4172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31" name="Freeform: Shape 430">
                  <a:extLst>
                    <a:ext uri="{FF2B5EF4-FFF2-40B4-BE49-F238E27FC236}">
                      <a16:creationId xmlns:a16="http://schemas.microsoft.com/office/drawing/2014/main" id="{3A366CC1-0FBD-47EF-9845-9FD6F877650C}"/>
                    </a:ext>
                  </a:extLst>
                </p:cNvPr>
                <p:cNvSpPr/>
                <p:nvPr/>
              </p:nvSpPr>
              <p:spPr>
                <a:xfrm>
                  <a:off x="6163468" y="3475163"/>
                  <a:ext cx="9525" cy="46958"/>
                </a:xfrm>
                <a:custGeom>
                  <a:avLst/>
                  <a:gdLst>
                    <a:gd name="connsiteX0" fmla="*/ 0 w 9525"/>
                    <a:gd name="connsiteY0" fmla="*/ 46958 h 46958"/>
                    <a:gd name="connsiteX1" fmla="*/ 0 w 9525"/>
                    <a:gd name="connsiteY1" fmla="*/ 0 h 46958"/>
                  </a:gdLst>
                  <a:ahLst/>
                  <a:cxnLst>
                    <a:cxn ang="0">
                      <a:pos x="connsiteX0" y="connsiteY0"/>
                    </a:cxn>
                    <a:cxn ang="0">
                      <a:pos x="connsiteX1" y="connsiteY1"/>
                    </a:cxn>
                  </a:cxnLst>
                  <a:rect l="l" t="t" r="r" b="b"/>
                  <a:pathLst>
                    <a:path w="9525" h="46958">
                      <a:moveTo>
                        <a:pt x="0" y="46958"/>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33" name="Freeform: Shape 432">
                  <a:extLst>
                    <a:ext uri="{FF2B5EF4-FFF2-40B4-BE49-F238E27FC236}">
                      <a16:creationId xmlns:a16="http://schemas.microsoft.com/office/drawing/2014/main" id="{3259CEA7-5ACE-4EFD-A67E-4AFD2AA24471}"/>
                    </a:ext>
                  </a:extLst>
                </p:cNvPr>
                <p:cNvSpPr/>
                <p:nvPr/>
              </p:nvSpPr>
              <p:spPr>
                <a:xfrm>
                  <a:off x="6193281" y="3500119"/>
                  <a:ext cx="9525" cy="22002"/>
                </a:xfrm>
                <a:custGeom>
                  <a:avLst/>
                  <a:gdLst>
                    <a:gd name="connsiteX0" fmla="*/ 0 w 9525"/>
                    <a:gd name="connsiteY0" fmla="*/ 22003 h 22002"/>
                    <a:gd name="connsiteX1" fmla="*/ 0 w 9525"/>
                    <a:gd name="connsiteY1" fmla="*/ 0 h 22002"/>
                  </a:gdLst>
                  <a:ahLst/>
                  <a:cxnLst>
                    <a:cxn ang="0">
                      <a:pos x="connsiteX0" y="connsiteY0"/>
                    </a:cxn>
                    <a:cxn ang="0">
                      <a:pos x="connsiteX1" y="connsiteY1"/>
                    </a:cxn>
                  </a:cxnLst>
                  <a:rect l="l" t="t" r="r" b="b"/>
                  <a:pathLst>
                    <a:path w="9525" h="22002">
                      <a:moveTo>
                        <a:pt x="0" y="22003"/>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40" name="Freeform: Shape 439">
                  <a:extLst>
                    <a:ext uri="{FF2B5EF4-FFF2-40B4-BE49-F238E27FC236}">
                      <a16:creationId xmlns:a16="http://schemas.microsoft.com/office/drawing/2014/main" id="{506AA264-38F9-4C6A-9388-AD557854EECA}"/>
                    </a:ext>
                  </a:extLst>
                </p:cNvPr>
                <p:cNvSpPr/>
                <p:nvPr/>
              </p:nvSpPr>
              <p:spPr>
                <a:xfrm>
                  <a:off x="6100412" y="3390581"/>
                  <a:ext cx="92868"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41" name="Freeform: Shape 440">
                  <a:extLst>
                    <a:ext uri="{FF2B5EF4-FFF2-40B4-BE49-F238E27FC236}">
                      <a16:creationId xmlns:a16="http://schemas.microsoft.com/office/drawing/2014/main" id="{E09BCED2-8686-4842-9B26-50D279D69C96}"/>
                    </a:ext>
                  </a:extLst>
                </p:cNvPr>
                <p:cNvSpPr/>
                <p:nvPr/>
              </p:nvSpPr>
              <p:spPr>
                <a:xfrm>
                  <a:off x="6100412" y="3415060"/>
                  <a:ext cx="92868"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42" name="Freeform: Shape 441">
                  <a:extLst>
                    <a:ext uri="{FF2B5EF4-FFF2-40B4-BE49-F238E27FC236}">
                      <a16:creationId xmlns:a16="http://schemas.microsoft.com/office/drawing/2014/main" id="{91089184-E729-40B7-8215-060B5C6A95C6}"/>
                    </a:ext>
                  </a:extLst>
                </p:cNvPr>
                <p:cNvSpPr/>
                <p:nvPr/>
              </p:nvSpPr>
              <p:spPr>
                <a:xfrm>
                  <a:off x="6260528" y="3498880"/>
                  <a:ext cx="82581"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43" name="Freeform: Shape 442">
                  <a:extLst>
                    <a:ext uri="{FF2B5EF4-FFF2-40B4-BE49-F238E27FC236}">
                      <a16:creationId xmlns:a16="http://schemas.microsoft.com/office/drawing/2014/main" id="{7137FD65-5CD8-489F-B56F-2D9E928350DA}"/>
                    </a:ext>
                  </a:extLst>
                </p:cNvPr>
                <p:cNvSpPr/>
                <p:nvPr/>
              </p:nvSpPr>
              <p:spPr>
                <a:xfrm>
                  <a:off x="6260528" y="3523360"/>
                  <a:ext cx="82581"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44" name="Freeform: Shape 443">
                  <a:extLst>
                    <a:ext uri="{FF2B5EF4-FFF2-40B4-BE49-F238E27FC236}">
                      <a16:creationId xmlns:a16="http://schemas.microsoft.com/office/drawing/2014/main" id="{2C59D963-0F41-4DAB-A662-4C47B0E5D501}"/>
                    </a:ext>
                  </a:extLst>
                </p:cNvPr>
                <p:cNvSpPr/>
                <p:nvPr/>
              </p:nvSpPr>
              <p:spPr>
                <a:xfrm>
                  <a:off x="6264814" y="3382390"/>
                  <a:ext cx="70294" cy="70294"/>
                </a:xfrm>
                <a:custGeom>
                  <a:avLst/>
                  <a:gdLst>
                    <a:gd name="connsiteX0" fmla="*/ 70295 w 70294"/>
                    <a:gd name="connsiteY0" fmla="*/ 35147 h 70294"/>
                    <a:gd name="connsiteX1" fmla="*/ 35147 w 70294"/>
                    <a:gd name="connsiteY1" fmla="*/ 70295 h 70294"/>
                    <a:gd name="connsiteX2" fmla="*/ 0 w 70294"/>
                    <a:gd name="connsiteY2" fmla="*/ 35147 h 70294"/>
                    <a:gd name="connsiteX3" fmla="*/ 35147 w 70294"/>
                    <a:gd name="connsiteY3" fmla="*/ 0 h 70294"/>
                    <a:gd name="connsiteX4" fmla="*/ 70295 w 70294"/>
                    <a:gd name="connsiteY4" fmla="*/ 35147 h 7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4" h="70294">
                      <a:moveTo>
                        <a:pt x="70295" y="35147"/>
                      </a:moveTo>
                      <a:cubicBezTo>
                        <a:pt x="70295" y="54559"/>
                        <a:pt x="54559" y="70295"/>
                        <a:pt x="35147" y="70295"/>
                      </a:cubicBezTo>
                      <a:cubicBezTo>
                        <a:pt x="15736" y="70295"/>
                        <a:pt x="0" y="54559"/>
                        <a:pt x="0" y="35147"/>
                      </a:cubicBezTo>
                      <a:cubicBezTo>
                        <a:pt x="0" y="15736"/>
                        <a:pt x="15736" y="0"/>
                        <a:pt x="35147" y="0"/>
                      </a:cubicBezTo>
                      <a:cubicBezTo>
                        <a:pt x="54559" y="0"/>
                        <a:pt x="70295" y="15736"/>
                        <a:pt x="70295" y="3514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45" name="Freeform: Shape 444">
                  <a:extLst>
                    <a:ext uri="{FF2B5EF4-FFF2-40B4-BE49-F238E27FC236}">
                      <a16:creationId xmlns:a16="http://schemas.microsoft.com/office/drawing/2014/main" id="{7DB096AF-23CA-4C99-AFDA-C136FC70BC29}"/>
                    </a:ext>
                  </a:extLst>
                </p:cNvPr>
                <p:cNvSpPr/>
                <p:nvPr/>
              </p:nvSpPr>
              <p:spPr>
                <a:xfrm>
                  <a:off x="6303009" y="3390581"/>
                  <a:ext cx="17049" cy="25717"/>
                </a:xfrm>
                <a:custGeom>
                  <a:avLst/>
                  <a:gdLst>
                    <a:gd name="connsiteX0" fmla="*/ 17050 w 17049"/>
                    <a:gd name="connsiteY0" fmla="*/ 0 h 25717"/>
                    <a:gd name="connsiteX1" fmla="*/ 0 w 17049"/>
                    <a:gd name="connsiteY1" fmla="*/ 25718 h 25717"/>
                  </a:gdLst>
                  <a:ahLst/>
                  <a:cxnLst>
                    <a:cxn ang="0">
                      <a:pos x="connsiteX0" y="connsiteY0"/>
                    </a:cxn>
                    <a:cxn ang="0">
                      <a:pos x="connsiteX1" y="connsiteY1"/>
                    </a:cxn>
                  </a:cxnLst>
                  <a:rect l="l" t="t" r="r" b="b"/>
                  <a:pathLst>
                    <a:path w="17049" h="25717">
                      <a:moveTo>
                        <a:pt x="17050" y="0"/>
                      </a:moveTo>
                      <a:lnTo>
                        <a:pt x="0" y="25718"/>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446" name="Freeform: Shape 445">
                  <a:extLst>
                    <a:ext uri="{FF2B5EF4-FFF2-40B4-BE49-F238E27FC236}">
                      <a16:creationId xmlns:a16="http://schemas.microsoft.com/office/drawing/2014/main" id="{A800983A-D43E-44A2-9F38-6A3C6D882950}"/>
                    </a:ext>
                  </a:extLst>
                </p:cNvPr>
                <p:cNvSpPr/>
                <p:nvPr/>
              </p:nvSpPr>
              <p:spPr>
                <a:xfrm>
                  <a:off x="6291674" y="3384866"/>
                  <a:ext cx="33623" cy="53911"/>
                </a:xfrm>
                <a:custGeom>
                  <a:avLst/>
                  <a:gdLst>
                    <a:gd name="connsiteX0" fmla="*/ 0 w 33623"/>
                    <a:gd name="connsiteY0" fmla="*/ 0 h 53911"/>
                    <a:gd name="connsiteX1" fmla="*/ 8287 w 33623"/>
                    <a:gd name="connsiteY1" fmla="*/ 32671 h 53911"/>
                    <a:gd name="connsiteX2" fmla="*/ 33623 w 33623"/>
                    <a:gd name="connsiteY2" fmla="*/ 53911 h 53911"/>
                  </a:gdLst>
                  <a:ahLst/>
                  <a:cxnLst>
                    <a:cxn ang="0">
                      <a:pos x="connsiteX0" y="connsiteY0"/>
                    </a:cxn>
                    <a:cxn ang="0">
                      <a:pos x="connsiteX1" y="connsiteY1"/>
                    </a:cxn>
                    <a:cxn ang="0">
                      <a:pos x="connsiteX2" y="connsiteY2"/>
                    </a:cxn>
                  </a:cxnLst>
                  <a:rect l="l" t="t" r="r" b="b"/>
                  <a:pathLst>
                    <a:path w="33623" h="53911">
                      <a:moveTo>
                        <a:pt x="0" y="0"/>
                      </a:moveTo>
                      <a:lnTo>
                        <a:pt x="8287" y="32671"/>
                      </a:lnTo>
                      <a:lnTo>
                        <a:pt x="33623" y="53911"/>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grpSp>
        </p:grpSp>
        <p:grpSp>
          <p:nvGrpSpPr>
            <p:cNvPr id="452" name="Graphic 103">
              <a:extLst>
                <a:ext uri="{FF2B5EF4-FFF2-40B4-BE49-F238E27FC236}">
                  <a16:creationId xmlns:a16="http://schemas.microsoft.com/office/drawing/2014/main" id="{346E8E34-064F-40BB-8E5B-B09EFB348849}"/>
                </a:ext>
                <a:ext uri="{C183D7F6-B498-43B3-948B-1728B52AA6E4}">
                  <adec:decorative xmlns:adec="http://schemas.microsoft.com/office/drawing/2017/decorative" val="1"/>
                </a:ext>
              </a:extLst>
            </p:cNvPr>
            <p:cNvGrpSpPr/>
            <p:nvPr/>
          </p:nvGrpSpPr>
          <p:grpSpPr>
            <a:xfrm>
              <a:off x="8191733" y="2520208"/>
              <a:ext cx="337330" cy="292944"/>
              <a:chOff x="5464401" y="5731801"/>
              <a:chExt cx="465183" cy="403975"/>
            </a:xfrm>
          </p:grpSpPr>
          <p:sp>
            <p:nvSpPr>
              <p:cNvPr id="453" name="Freeform: Shape 452">
                <a:extLst>
                  <a:ext uri="{FF2B5EF4-FFF2-40B4-BE49-F238E27FC236}">
                    <a16:creationId xmlns:a16="http://schemas.microsoft.com/office/drawing/2014/main" id="{96143641-71AE-433E-BB3F-20B9490ADA45}"/>
                  </a:ext>
                </a:extLst>
              </p:cNvPr>
              <p:cNvSpPr/>
              <p:nvPr/>
            </p:nvSpPr>
            <p:spPr>
              <a:xfrm>
                <a:off x="5628439" y="5738166"/>
                <a:ext cx="298941" cy="298941"/>
              </a:xfrm>
              <a:custGeom>
                <a:avLst/>
                <a:gdLst>
                  <a:gd name="connsiteX0" fmla="*/ 298941 w 298941"/>
                  <a:gd name="connsiteY0" fmla="*/ 149471 h 298941"/>
                  <a:gd name="connsiteX1" fmla="*/ 149471 w 298941"/>
                  <a:gd name="connsiteY1" fmla="*/ 298941 h 298941"/>
                  <a:gd name="connsiteX2" fmla="*/ 0 w 298941"/>
                  <a:gd name="connsiteY2" fmla="*/ 149471 h 298941"/>
                  <a:gd name="connsiteX3" fmla="*/ 149471 w 298941"/>
                  <a:gd name="connsiteY3" fmla="*/ 0 h 298941"/>
                  <a:gd name="connsiteX4" fmla="*/ 298941 w 298941"/>
                  <a:gd name="connsiteY4" fmla="*/ 149471 h 29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41" h="298941">
                    <a:moveTo>
                      <a:pt x="298941" y="149471"/>
                    </a:moveTo>
                    <a:cubicBezTo>
                      <a:pt x="298941" y="232021"/>
                      <a:pt x="232021" y="298941"/>
                      <a:pt x="149471" y="298941"/>
                    </a:cubicBezTo>
                    <a:cubicBezTo>
                      <a:pt x="66920" y="298941"/>
                      <a:pt x="0" y="232021"/>
                      <a:pt x="0" y="149471"/>
                    </a:cubicBezTo>
                    <a:cubicBezTo>
                      <a:pt x="0" y="66920"/>
                      <a:pt x="66920" y="0"/>
                      <a:pt x="149471" y="0"/>
                    </a:cubicBezTo>
                    <a:cubicBezTo>
                      <a:pt x="232021" y="0"/>
                      <a:pt x="298941" y="66920"/>
                      <a:pt x="298941" y="149471"/>
                    </a:cubicBezTo>
                    <a:close/>
                  </a:path>
                </a:pathLst>
              </a:custGeom>
              <a:noFill/>
              <a:ln w="12700" cap="flat">
                <a:solidFill>
                  <a:schemeClr val="bg1"/>
                </a:solidFill>
                <a:prstDash val="solid"/>
                <a:miter/>
              </a:ln>
            </p:spPr>
            <p:txBody>
              <a:bodyPr rtlCol="0" anchor="ctr"/>
              <a:lstStyle/>
              <a:p>
                <a:endParaRPr lang="en-US" sz="1765"/>
              </a:p>
            </p:txBody>
          </p:sp>
          <p:sp>
            <p:nvSpPr>
              <p:cNvPr id="454" name="Freeform: Shape 453">
                <a:extLst>
                  <a:ext uri="{FF2B5EF4-FFF2-40B4-BE49-F238E27FC236}">
                    <a16:creationId xmlns:a16="http://schemas.microsoft.com/office/drawing/2014/main" id="{D77822F0-6800-4956-8EB8-A2605CB91FEE}"/>
                  </a:ext>
                </a:extLst>
              </p:cNvPr>
              <p:cNvSpPr/>
              <p:nvPr/>
            </p:nvSpPr>
            <p:spPr>
              <a:xfrm>
                <a:off x="5771911" y="5800354"/>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455" name="Freeform: Shape 454">
                <a:extLst>
                  <a:ext uri="{FF2B5EF4-FFF2-40B4-BE49-F238E27FC236}">
                    <a16:creationId xmlns:a16="http://schemas.microsoft.com/office/drawing/2014/main" id="{B1F091FB-C809-4B86-AB9B-C0F3EF1EBA95}"/>
                  </a:ext>
                </a:extLst>
              </p:cNvPr>
              <p:cNvSpPr/>
              <p:nvPr/>
            </p:nvSpPr>
            <p:spPr>
              <a:xfrm>
                <a:off x="5680099" y="5886413"/>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456" name="Freeform: Shape 455">
                <a:extLst>
                  <a:ext uri="{FF2B5EF4-FFF2-40B4-BE49-F238E27FC236}">
                    <a16:creationId xmlns:a16="http://schemas.microsoft.com/office/drawing/2014/main" id="{BBDDFDD9-3C38-4D13-B06A-61C40359E08F}"/>
                  </a:ext>
                </a:extLst>
              </p:cNvPr>
              <p:cNvSpPr/>
              <p:nvPr/>
            </p:nvSpPr>
            <p:spPr>
              <a:xfrm>
                <a:off x="5550215" y="5818594"/>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457" name="Freeform: Shape 456">
                <a:extLst>
                  <a:ext uri="{FF2B5EF4-FFF2-40B4-BE49-F238E27FC236}">
                    <a16:creationId xmlns:a16="http://schemas.microsoft.com/office/drawing/2014/main" id="{FD94A08A-45B1-4D9A-807A-52E2B2A1D227}"/>
                  </a:ext>
                </a:extLst>
              </p:cNvPr>
              <p:cNvSpPr/>
              <p:nvPr/>
            </p:nvSpPr>
            <p:spPr>
              <a:xfrm>
                <a:off x="5470644" y="5923383"/>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458" name="Freeform: Shape 457">
                <a:extLst>
                  <a:ext uri="{FF2B5EF4-FFF2-40B4-BE49-F238E27FC236}">
                    <a16:creationId xmlns:a16="http://schemas.microsoft.com/office/drawing/2014/main" id="{81762B70-65EF-4653-9BF8-27B988D79FFE}"/>
                  </a:ext>
                </a:extLst>
              </p:cNvPr>
              <p:cNvSpPr/>
              <p:nvPr/>
            </p:nvSpPr>
            <p:spPr>
              <a:xfrm>
                <a:off x="5867273" y="5923383"/>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endParaRPr lang="en-US" sz="1765"/>
              </a:p>
            </p:txBody>
          </p:sp>
          <p:sp>
            <p:nvSpPr>
              <p:cNvPr id="459" name="Freeform: Shape 458">
                <a:extLst>
                  <a:ext uri="{FF2B5EF4-FFF2-40B4-BE49-F238E27FC236}">
                    <a16:creationId xmlns:a16="http://schemas.microsoft.com/office/drawing/2014/main" id="{BBDFFFD0-3223-49AB-918D-EFC1AA0AF91C}"/>
                  </a:ext>
                </a:extLst>
              </p:cNvPr>
              <p:cNvSpPr/>
              <p:nvPr/>
            </p:nvSpPr>
            <p:spPr>
              <a:xfrm>
                <a:off x="5565272" y="6001117"/>
                <a:ext cx="115438" cy="129394"/>
              </a:xfrm>
              <a:custGeom>
                <a:avLst/>
                <a:gdLst>
                  <a:gd name="connsiteX0" fmla="*/ 115439 w 115438"/>
                  <a:gd name="connsiteY0" fmla="*/ 0 h 129394"/>
                  <a:gd name="connsiteX1" fmla="*/ 0 w 115438"/>
                  <a:gd name="connsiteY1" fmla="*/ 129394 h 129394"/>
                </a:gdLst>
                <a:ahLst/>
                <a:cxnLst>
                  <a:cxn ang="0">
                    <a:pos x="connsiteX0" y="connsiteY0"/>
                  </a:cxn>
                  <a:cxn ang="0">
                    <a:pos x="connsiteX1" y="connsiteY1"/>
                  </a:cxn>
                </a:cxnLst>
                <a:rect l="l" t="t" r="r" b="b"/>
                <a:pathLst>
                  <a:path w="115438" h="129394">
                    <a:moveTo>
                      <a:pt x="115439" y="0"/>
                    </a:moveTo>
                    <a:lnTo>
                      <a:pt x="0" y="129394"/>
                    </a:lnTo>
                  </a:path>
                </a:pathLst>
              </a:custGeom>
              <a:noFill/>
              <a:ln w="12700" cap="flat">
                <a:solidFill>
                  <a:schemeClr val="bg1"/>
                </a:solidFill>
                <a:prstDash val="solid"/>
                <a:miter/>
              </a:ln>
            </p:spPr>
            <p:txBody>
              <a:bodyPr rtlCol="0" anchor="ctr"/>
              <a:lstStyle/>
              <a:p>
                <a:endParaRPr lang="en-US" sz="1765"/>
              </a:p>
            </p:txBody>
          </p:sp>
          <p:sp>
            <p:nvSpPr>
              <p:cNvPr id="460" name="Freeform: Shape 459">
                <a:extLst>
                  <a:ext uri="{FF2B5EF4-FFF2-40B4-BE49-F238E27FC236}">
                    <a16:creationId xmlns:a16="http://schemas.microsoft.com/office/drawing/2014/main" id="{814A7EB9-B368-472E-902A-0B9B3415FA3A}"/>
                  </a:ext>
                </a:extLst>
              </p:cNvPr>
              <p:cNvSpPr/>
              <p:nvPr/>
            </p:nvSpPr>
            <p:spPr>
              <a:xfrm>
                <a:off x="5498432" y="5851402"/>
                <a:ext cx="59616" cy="76632"/>
              </a:xfrm>
              <a:custGeom>
                <a:avLst/>
                <a:gdLst>
                  <a:gd name="connsiteX0" fmla="*/ 0 w 59616"/>
                  <a:gd name="connsiteY0" fmla="*/ 76633 h 76632"/>
                  <a:gd name="connsiteX1" fmla="*/ 59617 w 59616"/>
                  <a:gd name="connsiteY1" fmla="*/ 0 h 76632"/>
                </a:gdLst>
                <a:ahLst/>
                <a:cxnLst>
                  <a:cxn ang="0">
                    <a:pos x="connsiteX0" y="connsiteY0"/>
                  </a:cxn>
                  <a:cxn ang="0">
                    <a:pos x="connsiteX1" y="connsiteY1"/>
                  </a:cxn>
                </a:cxnLst>
                <a:rect l="l" t="t" r="r" b="b"/>
                <a:pathLst>
                  <a:path w="59616" h="76632">
                    <a:moveTo>
                      <a:pt x="0" y="76633"/>
                    </a:moveTo>
                    <a:lnTo>
                      <a:pt x="59617" y="0"/>
                    </a:lnTo>
                  </a:path>
                </a:pathLst>
              </a:custGeom>
              <a:noFill/>
              <a:ln w="12700" cap="flat">
                <a:solidFill>
                  <a:schemeClr val="bg1"/>
                </a:solidFill>
                <a:prstDash val="solid"/>
                <a:miter/>
              </a:ln>
            </p:spPr>
            <p:txBody>
              <a:bodyPr rtlCol="0" anchor="ctr"/>
              <a:lstStyle/>
              <a:p>
                <a:endParaRPr lang="en-US" sz="1765"/>
              </a:p>
            </p:txBody>
          </p:sp>
          <p:sp>
            <p:nvSpPr>
              <p:cNvPr id="461" name="Freeform: Shape 460">
                <a:extLst>
                  <a:ext uri="{FF2B5EF4-FFF2-40B4-BE49-F238E27FC236}">
                    <a16:creationId xmlns:a16="http://schemas.microsoft.com/office/drawing/2014/main" id="{1602A2FB-8830-4D4D-A6D9-D97A4CC9EE8D}"/>
                  </a:ext>
                </a:extLst>
              </p:cNvPr>
              <p:cNvSpPr/>
              <p:nvPr/>
            </p:nvSpPr>
            <p:spPr>
              <a:xfrm>
                <a:off x="5583022" y="5845281"/>
                <a:ext cx="97076" cy="53863"/>
              </a:xfrm>
              <a:custGeom>
                <a:avLst/>
                <a:gdLst>
                  <a:gd name="connsiteX0" fmla="*/ 0 w 97076"/>
                  <a:gd name="connsiteY0" fmla="*/ 0 h 53863"/>
                  <a:gd name="connsiteX1" fmla="*/ 97076 w 97076"/>
                  <a:gd name="connsiteY1" fmla="*/ 53863 h 53863"/>
                </a:gdLst>
                <a:ahLst/>
                <a:cxnLst>
                  <a:cxn ang="0">
                    <a:pos x="connsiteX0" y="connsiteY0"/>
                  </a:cxn>
                  <a:cxn ang="0">
                    <a:pos x="connsiteX1" y="connsiteY1"/>
                  </a:cxn>
                </a:cxnLst>
                <a:rect l="l" t="t" r="r" b="b"/>
                <a:pathLst>
                  <a:path w="97076" h="53863">
                    <a:moveTo>
                      <a:pt x="0" y="0"/>
                    </a:moveTo>
                    <a:lnTo>
                      <a:pt x="97076" y="53863"/>
                    </a:lnTo>
                  </a:path>
                </a:pathLst>
              </a:custGeom>
              <a:noFill/>
              <a:ln w="12700" cap="flat">
                <a:solidFill>
                  <a:schemeClr val="bg1"/>
                </a:solidFill>
                <a:prstDash val="solid"/>
                <a:miter/>
              </a:ln>
            </p:spPr>
            <p:txBody>
              <a:bodyPr rtlCol="0" anchor="ctr"/>
              <a:lstStyle/>
              <a:p>
                <a:endParaRPr lang="en-US" sz="1765"/>
              </a:p>
            </p:txBody>
          </p:sp>
          <p:sp>
            <p:nvSpPr>
              <p:cNvPr id="462" name="Freeform: Shape 461">
                <a:extLst>
                  <a:ext uri="{FF2B5EF4-FFF2-40B4-BE49-F238E27FC236}">
                    <a16:creationId xmlns:a16="http://schemas.microsoft.com/office/drawing/2014/main" id="{2A7954F8-18B9-4587-884B-0A2CC0F6F7D0}"/>
                  </a:ext>
                </a:extLst>
              </p:cNvPr>
              <p:cNvSpPr/>
              <p:nvPr/>
            </p:nvSpPr>
            <p:spPr>
              <a:xfrm>
                <a:off x="5709111" y="5825204"/>
                <a:ext cx="62799" cy="67206"/>
              </a:xfrm>
              <a:custGeom>
                <a:avLst/>
                <a:gdLst>
                  <a:gd name="connsiteX0" fmla="*/ 62800 w 62799"/>
                  <a:gd name="connsiteY0" fmla="*/ 0 h 67206"/>
                  <a:gd name="connsiteX1" fmla="*/ 0 w 62799"/>
                  <a:gd name="connsiteY1" fmla="*/ 67207 h 67206"/>
                </a:gdLst>
                <a:ahLst/>
                <a:cxnLst>
                  <a:cxn ang="0">
                    <a:pos x="connsiteX0" y="connsiteY0"/>
                  </a:cxn>
                  <a:cxn ang="0">
                    <a:pos x="connsiteX1" y="connsiteY1"/>
                  </a:cxn>
                </a:cxnLst>
                <a:rect l="l" t="t" r="r" b="b"/>
                <a:pathLst>
                  <a:path w="62799" h="67206">
                    <a:moveTo>
                      <a:pt x="62800" y="0"/>
                    </a:moveTo>
                    <a:lnTo>
                      <a:pt x="0" y="67207"/>
                    </a:lnTo>
                  </a:path>
                </a:pathLst>
              </a:custGeom>
              <a:noFill/>
              <a:ln w="12700" cap="flat">
                <a:solidFill>
                  <a:schemeClr val="bg1"/>
                </a:solidFill>
                <a:prstDash val="solid"/>
                <a:miter/>
              </a:ln>
            </p:spPr>
            <p:txBody>
              <a:bodyPr rtlCol="0" anchor="ctr"/>
              <a:lstStyle/>
              <a:p>
                <a:endParaRPr lang="en-US" sz="1765"/>
              </a:p>
            </p:txBody>
          </p:sp>
          <p:sp>
            <p:nvSpPr>
              <p:cNvPr id="463" name="Freeform: Shape 462">
                <a:extLst>
                  <a:ext uri="{FF2B5EF4-FFF2-40B4-BE49-F238E27FC236}">
                    <a16:creationId xmlns:a16="http://schemas.microsoft.com/office/drawing/2014/main" id="{29B6F1EA-030D-4BE8-B830-AD3FED6E4FB3}"/>
                  </a:ext>
                </a:extLst>
              </p:cNvPr>
              <p:cNvSpPr/>
              <p:nvPr/>
            </p:nvSpPr>
            <p:spPr>
              <a:xfrm>
                <a:off x="5798965" y="5829122"/>
                <a:ext cx="75163" cy="94383"/>
              </a:xfrm>
              <a:custGeom>
                <a:avLst/>
                <a:gdLst>
                  <a:gd name="connsiteX0" fmla="*/ 75164 w 75163"/>
                  <a:gd name="connsiteY0" fmla="*/ 94383 h 94383"/>
                  <a:gd name="connsiteX1" fmla="*/ 0 w 75163"/>
                  <a:gd name="connsiteY1" fmla="*/ 0 h 94383"/>
                </a:gdLst>
                <a:ahLst/>
                <a:cxnLst>
                  <a:cxn ang="0">
                    <a:pos x="connsiteX0" y="connsiteY0"/>
                  </a:cxn>
                  <a:cxn ang="0">
                    <a:pos x="connsiteX1" y="connsiteY1"/>
                  </a:cxn>
                </a:cxnLst>
                <a:rect l="l" t="t" r="r" b="b"/>
                <a:pathLst>
                  <a:path w="75163" h="94383">
                    <a:moveTo>
                      <a:pt x="75164" y="94383"/>
                    </a:moveTo>
                    <a:lnTo>
                      <a:pt x="0" y="0"/>
                    </a:lnTo>
                  </a:path>
                </a:pathLst>
              </a:custGeom>
              <a:noFill/>
              <a:ln w="12700" cap="flat">
                <a:solidFill>
                  <a:schemeClr val="bg1"/>
                </a:solidFill>
                <a:prstDash val="solid"/>
                <a:miter/>
              </a:ln>
            </p:spPr>
            <p:txBody>
              <a:bodyPr rtlCol="0" anchor="ctr"/>
              <a:lstStyle/>
              <a:p>
                <a:endParaRPr lang="en-US" sz="1765"/>
              </a:p>
            </p:txBody>
          </p:sp>
        </p:grpSp>
        <p:grpSp>
          <p:nvGrpSpPr>
            <p:cNvPr id="464" name="Group 463">
              <a:extLst>
                <a:ext uri="{FF2B5EF4-FFF2-40B4-BE49-F238E27FC236}">
                  <a16:creationId xmlns:a16="http://schemas.microsoft.com/office/drawing/2014/main" id="{B572D269-72FA-4093-A19B-90ECE751E74F}"/>
                </a:ext>
                <a:ext uri="{C183D7F6-B498-43B3-948B-1728B52AA6E4}">
                  <adec:decorative xmlns:adec="http://schemas.microsoft.com/office/drawing/2017/decorative" val="1"/>
                </a:ext>
              </a:extLst>
            </p:cNvPr>
            <p:cNvGrpSpPr/>
            <p:nvPr/>
          </p:nvGrpSpPr>
          <p:grpSpPr>
            <a:xfrm>
              <a:off x="6919770" y="3395632"/>
              <a:ext cx="276871" cy="280066"/>
              <a:chOff x="2551096" y="4928951"/>
              <a:chExt cx="493503" cy="499198"/>
            </a:xfrm>
          </p:grpSpPr>
          <p:sp>
            <p:nvSpPr>
              <p:cNvPr id="465" name="Freeform: Shape 464">
                <a:extLst>
                  <a:ext uri="{FF2B5EF4-FFF2-40B4-BE49-F238E27FC236}">
                    <a16:creationId xmlns:a16="http://schemas.microsoft.com/office/drawing/2014/main" id="{B1CBB19D-8C61-4B62-A266-10A70AEF8A71}"/>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12700" cap="flat">
                <a:solidFill>
                  <a:schemeClr val="bg1"/>
                </a:solidFill>
                <a:prstDash val="solid"/>
                <a:miter/>
              </a:ln>
            </p:spPr>
            <p:txBody>
              <a:bodyPr rtlCol="0" anchor="ctr"/>
              <a:lstStyle/>
              <a:p>
                <a:endParaRPr lang="en-US" sz="1765"/>
              </a:p>
            </p:txBody>
          </p:sp>
          <p:sp>
            <p:nvSpPr>
              <p:cNvPr id="466" name="Freeform: Shape 465">
                <a:extLst>
                  <a:ext uri="{FF2B5EF4-FFF2-40B4-BE49-F238E27FC236}">
                    <a16:creationId xmlns:a16="http://schemas.microsoft.com/office/drawing/2014/main" id="{CFD75D02-4AEA-410B-AD17-A6F17F4EF6F1}"/>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12700" cap="flat">
                <a:solidFill>
                  <a:schemeClr val="bg1"/>
                </a:solidFill>
                <a:prstDash val="solid"/>
                <a:miter/>
              </a:ln>
            </p:spPr>
            <p:txBody>
              <a:bodyPr rtlCol="0" anchor="ctr"/>
              <a:lstStyle/>
              <a:p>
                <a:endParaRPr lang="en-US" sz="1765"/>
              </a:p>
            </p:txBody>
          </p:sp>
        </p:grpSp>
        <p:sp>
          <p:nvSpPr>
            <p:cNvPr id="467" name="Freeform: Shape 466">
              <a:extLst>
                <a:ext uri="{FF2B5EF4-FFF2-40B4-BE49-F238E27FC236}">
                  <a16:creationId xmlns:a16="http://schemas.microsoft.com/office/drawing/2014/main" id="{DFBD36DE-A571-4C4A-9C14-F6F73B69E4B2}"/>
                </a:ext>
                <a:ext uri="{C183D7F6-B498-43B3-948B-1728B52AA6E4}">
                  <adec:decorative xmlns:adec="http://schemas.microsoft.com/office/drawing/2017/decorative" val="1"/>
                </a:ext>
              </a:extLst>
            </p:cNvPr>
            <p:cNvSpPr/>
            <p:nvPr/>
          </p:nvSpPr>
          <p:spPr>
            <a:xfrm>
              <a:off x="9716823" y="3015460"/>
              <a:ext cx="322154" cy="327510"/>
            </a:xfrm>
            <a:custGeom>
              <a:avLst/>
              <a:gdLst>
                <a:gd name="connsiteX0" fmla="*/ 443865 w 458152"/>
                <a:gd name="connsiteY0" fmla="*/ 194310 h 465772"/>
                <a:gd name="connsiteX1" fmla="*/ 458153 w 458152"/>
                <a:gd name="connsiteY1" fmla="*/ 210502 h 465772"/>
                <a:gd name="connsiteX2" fmla="*/ 458153 w 458152"/>
                <a:gd name="connsiteY2" fmla="*/ 232410 h 465772"/>
                <a:gd name="connsiteX3" fmla="*/ 458153 w 458152"/>
                <a:gd name="connsiteY3" fmla="*/ 254318 h 465772"/>
                <a:gd name="connsiteX4" fmla="*/ 443865 w 458152"/>
                <a:gd name="connsiteY4" fmla="*/ 270510 h 465772"/>
                <a:gd name="connsiteX5" fmla="*/ 401003 w 458152"/>
                <a:gd name="connsiteY5" fmla="*/ 278130 h 465772"/>
                <a:gd name="connsiteX6" fmla="*/ 381953 w 458152"/>
                <a:gd name="connsiteY6" fmla="*/ 324803 h 465772"/>
                <a:gd name="connsiteX7" fmla="*/ 407670 w 458152"/>
                <a:gd name="connsiteY7" fmla="*/ 360998 h 465772"/>
                <a:gd name="connsiteX8" fmla="*/ 405765 w 458152"/>
                <a:gd name="connsiteY8" fmla="*/ 382905 h 465772"/>
                <a:gd name="connsiteX9" fmla="*/ 391478 w 458152"/>
                <a:gd name="connsiteY9" fmla="*/ 398145 h 465772"/>
                <a:gd name="connsiteX10" fmla="*/ 377190 w 458152"/>
                <a:gd name="connsiteY10" fmla="*/ 413385 h 465772"/>
                <a:gd name="connsiteX11" fmla="*/ 356235 w 458152"/>
                <a:gd name="connsiteY11" fmla="*/ 415290 h 465772"/>
                <a:gd name="connsiteX12" fmla="*/ 320993 w 458152"/>
                <a:gd name="connsiteY12" fmla="*/ 389573 h 465772"/>
                <a:gd name="connsiteX13" fmla="*/ 276225 w 458152"/>
                <a:gd name="connsiteY13" fmla="*/ 408623 h 465772"/>
                <a:gd name="connsiteX14" fmla="*/ 268605 w 458152"/>
                <a:gd name="connsiteY14" fmla="*/ 451485 h 465772"/>
                <a:gd name="connsiteX15" fmla="*/ 252413 w 458152"/>
                <a:gd name="connsiteY15" fmla="*/ 465773 h 465772"/>
                <a:gd name="connsiteX16" fmla="*/ 230505 w 458152"/>
                <a:gd name="connsiteY16" fmla="*/ 465773 h 465772"/>
                <a:gd name="connsiteX17" fmla="*/ 209550 w 458152"/>
                <a:gd name="connsiteY17" fmla="*/ 465773 h 465772"/>
                <a:gd name="connsiteX18" fmla="*/ 193357 w 458152"/>
                <a:gd name="connsiteY18" fmla="*/ 451485 h 465772"/>
                <a:gd name="connsiteX19" fmla="*/ 185738 w 458152"/>
                <a:gd name="connsiteY19" fmla="*/ 408623 h 465772"/>
                <a:gd name="connsiteX20" fmla="*/ 140018 w 458152"/>
                <a:gd name="connsiteY20" fmla="*/ 389573 h 465772"/>
                <a:gd name="connsiteX21" fmla="*/ 104775 w 458152"/>
                <a:gd name="connsiteY21" fmla="*/ 415290 h 465772"/>
                <a:gd name="connsiteX22" fmla="*/ 83820 w 458152"/>
                <a:gd name="connsiteY22" fmla="*/ 413385 h 465772"/>
                <a:gd name="connsiteX23" fmla="*/ 69532 w 458152"/>
                <a:gd name="connsiteY23" fmla="*/ 398145 h 465772"/>
                <a:gd name="connsiteX24" fmla="*/ 55245 w 458152"/>
                <a:gd name="connsiteY24" fmla="*/ 382905 h 465772"/>
                <a:gd name="connsiteX25" fmla="*/ 52388 w 458152"/>
                <a:gd name="connsiteY25" fmla="*/ 362903 h 465772"/>
                <a:gd name="connsiteX26" fmla="*/ 77153 w 458152"/>
                <a:gd name="connsiteY26" fmla="*/ 326708 h 465772"/>
                <a:gd name="connsiteX27" fmla="*/ 57150 w 458152"/>
                <a:gd name="connsiteY27" fmla="*/ 280035 h 465772"/>
                <a:gd name="connsiteX28" fmla="*/ 14288 w 458152"/>
                <a:gd name="connsiteY28" fmla="*/ 272415 h 465772"/>
                <a:gd name="connsiteX29" fmla="*/ 0 w 458152"/>
                <a:gd name="connsiteY29" fmla="*/ 256223 h 465772"/>
                <a:gd name="connsiteX30" fmla="*/ 0 w 458152"/>
                <a:gd name="connsiteY30" fmla="*/ 234315 h 465772"/>
                <a:gd name="connsiteX31" fmla="*/ 0 w 458152"/>
                <a:gd name="connsiteY31" fmla="*/ 212408 h 465772"/>
                <a:gd name="connsiteX32" fmla="*/ 14288 w 458152"/>
                <a:gd name="connsiteY32" fmla="*/ 196215 h 465772"/>
                <a:gd name="connsiteX33" fmla="*/ 57150 w 458152"/>
                <a:gd name="connsiteY33" fmla="*/ 189548 h 465772"/>
                <a:gd name="connsiteX34" fmla="*/ 76200 w 458152"/>
                <a:gd name="connsiteY34" fmla="*/ 142875 h 465772"/>
                <a:gd name="connsiteX35" fmla="*/ 51435 w 458152"/>
                <a:gd name="connsiteY35" fmla="*/ 106680 h 465772"/>
                <a:gd name="connsiteX36" fmla="*/ 53340 w 458152"/>
                <a:gd name="connsiteY36" fmla="*/ 84773 h 465772"/>
                <a:gd name="connsiteX37" fmla="*/ 67628 w 458152"/>
                <a:gd name="connsiteY37" fmla="*/ 69532 h 465772"/>
                <a:gd name="connsiteX38" fmla="*/ 81915 w 458152"/>
                <a:gd name="connsiteY38" fmla="*/ 54293 h 465772"/>
                <a:gd name="connsiteX39" fmla="*/ 102870 w 458152"/>
                <a:gd name="connsiteY39" fmla="*/ 52388 h 465772"/>
                <a:gd name="connsiteX40" fmla="*/ 138113 w 458152"/>
                <a:gd name="connsiteY40" fmla="*/ 77152 h 465772"/>
                <a:gd name="connsiteX41" fmla="*/ 184785 w 458152"/>
                <a:gd name="connsiteY41" fmla="*/ 57150 h 465772"/>
                <a:gd name="connsiteX42" fmla="*/ 192405 w 458152"/>
                <a:gd name="connsiteY42" fmla="*/ 14288 h 465772"/>
                <a:gd name="connsiteX43" fmla="*/ 208598 w 458152"/>
                <a:gd name="connsiteY43" fmla="*/ 0 h 465772"/>
                <a:gd name="connsiteX44" fmla="*/ 229553 w 458152"/>
                <a:gd name="connsiteY44" fmla="*/ 0 h 465772"/>
                <a:gd name="connsiteX45" fmla="*/ 250507 w 458152"/>
                <a:gd name="connsiteY45" fmla="*/ 0 h 465772"/>
                <a:gd name="connsiteX46" fmla="*/ 266700 w 458152"/>
                <a:gd name="connsiteY46" fmla="*/ 14288 h 465772"/>
                <a:gd name="connsiteX47" fmla="*/ 274320 w 458152"/>
                <a:gd name="connsiteY47" fmla="*/ 58103 h 465772"/>
                <a:gd name="connsiteX48" fmla="*/ 320040 w 458152"/>
                <a:gd name="connsiteY48" fmla="*/ 77152 h 465772"/>
                <a:gd name="connsiteX49" fmla="*/ 355282 w 458152"/>
                <a:gd name="connsiteY49" fmla="*/ 51435 h 465772"/>
                <a:gd name="connsiteX50" fmla="*/ 376238 w 458152"/>
                <a:gd name="connsiteY50" fmla="*/ 53340 h 465772"/>
                <a:gd name="connsiteX51" fmla="*/ 390525 w 458152"/>
                <a:gd name="connsiteY51" fmla="*/ 68580 h 465772"/>
                <a:gd name="connsiteX52" fmla="*/ 406718 w 458152"/>
                <a:gd name="connsiteY52" fmla="*/ 83820 h 465772"/>
                <a:gd name="connsiteX53" fmla="*/ 408623 w 458152"/>
                <a:gd name="connsiteY53" fmla="*/ 105727 h 465772"/>
                <a:gd name="connsiteX54" fmla="*/ 382905 w 458152"/>
                <a:gd name="connsiteY54" fmla="*/ 141923 h 465772"/>
                <a:gd name="connsiteX55" fmla="*/ 401955 w 458152"/>
                <a:gd name="connsiteY55" fmla="*/ 188595 h 465772"/>
                <a:gd name="connsiteX56" fmla="*/ 443865 w 458152"/>
                <a:gd name="connsiteY56" fmla="*/ 194310 h 465772"/>
                <a:gd name="connsiteX57" fmla="*/ 443865 w 458152"/>
                <a:gd name="connsiteY57" fmla="*/ 194310 h 465772"/>
                <a:gd name="connsiteX58" fmla="*/ 112395 w 458152"/>
                <a:gd name="connsiteY58" fmla="*/ 272415 h 465772"/>
                <a:gd name="connsiteX59" fmla="*/ 232410 w 458152"/>
                <a:gd name="connsiteY59" fmla="*/ 360045 h 465772"/>
                <a:gd name="connsiteX60" fmla="*/ 355282 w 458152"/>
                <a:gd name="connsiteY60" fmla="*/ 263843 h 465772"/>
                <a:gd name="connsiteX61" fmla="*/ 112395 w 458152"/>
                <a:gd name="connsiteY61" fmla="*/ 196215 h 465772"/>
                <a:gd name="connsiteX62" fmla="*/ 233363 w 458152"/>
                <a:gd name="connsiteY62" fmla="*/ 106680 h 465772"/>
                <a:gd name="connsiteX63" fmla="*/ 351473 w 458152"/>
                <a:gd name="connsiteY63" fmla="*/ 188595 h 465772"/>
                <a:gd name="connsiteX64" fmla="*/ 346710 w 458152"/>
                <a:gd name="connsiteY64" fmla="*/ 188595 h 465772"/>
                <a:gd name="connsiteX65" fmla="*/ 292418 w 458152"/>
                <a:gd name="connsiteY65" fmla="*/ 188595 h 465772"/>
                <a:gd name="connsiteX66" fmla="*/ 350520 w 458152"/>
                <a:gd name="connsiteY66" fmla="*/ 129540 h 465772"/>
                <a:gd name="connsiteX67" fmla="*/ 350520 w 458152"/>
                <a:gd name="connsiteY67" fmla="*/ 188595 h 465772"/>
                <a:gd name="connsiteX68" fmla="*/ 343853 w 458152"/>
                <a:gd name="connsiteY68" fmla="*/ 188595 h 465772"/>
                <a:gd name="connsiteX69" fmla="*/ 119063 w 458152"/>
                <a:gd name="connsiteY69" fmla="*/ 272415 h 465772"/>
                <a:gd name="connsiteX70" fmla="*/ 170498 w 458152"/>
                <a:gd name="connsiteY70" fmla="*/ 272415 h 465772"/>
                <a:gd name="connsiteX71" fmla="*/ 112395 w 458152"/>
                <a:gd name="connsiteY71" fmla="*/ 331470 h 465772"/>
                <a:gd name="connsiteX72" fmla="*/ 112395 w 458152"/>
                <a:gd name="connsiteY72" fmla="*/ 272415 h 465772"/>
                <a:gd name="connsiteX73" fmla="*/ 119063 w 458152"/>
                <a:gd name="connsiteY73" fmla="*/ 272415 h 46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58152" h="465772">
                  <a:moveTo>
                    <a:pt x="443865" y="194310"/>
                  </a:moveTo>
                  <a:cubicBezTo>
                    <a:pt x="452438" y="196215"/>
                    <a:pt x="458153" y="202883"/>
                    <a:pt x="458153" y="210502"/>
                  </a:cubicBezTo>
                  <a:lnTo>
                    <a:pt x="458153" y="232410"/>
                  </a:lnTo>
                  <a:lnTo>
                    <a:pt x="458153" y="254318"/>
                  </a:lnTo>
                  <a:cubicBezTo>
                    <a:pt x="458153" y="262890"/>
                    <a:pt x="452438" y="269558"/>
                    <a:pt x="443865" y="270510"/>
                  </a:cubicBezTo>
                  <a:lnTo>
                    <a:pt x="401003" y="278130"/>
                  </a:lnTo>
                  <a:cubicBezTo>
                    <a:pt x="397193" y="294323"/>
                    <a:pt x="390525" y="309563"/>
                    <a:pt x="381953" y="324803"/>
                  </a:cubicBezTo>
                  <a:lnTo>
                    <a:pt x="407670" y="360998"/>
                  </a:lnTo>
                  <a:cubicBezTo>
                    <a:pt x="412432" y="367665"/>
                    <a:pt x="411480" y="377190"/>
                    <a:pt x="405765" y="382905"/>
                  </a:cubicBezTo>
                  <a:lnTo>
                    <a:pt x="391478" y="398145"/>
                  </a:lnTo>
                  <a:lnTo>
                    <a:pt x="377190" y="413385"/>
                  </a:lnTo>
                  <a:cubicBezTo>
                    <a:pt x="371475" y="419100"/>
                    <a:pt x="362903" y="420053"/>
                    <a:pt x="356235" y="415290"/>
                  </a:cubicBezTo>
                  <a:lnTo>
                    <a:pt x="320993" y="389573"/>
                  </a:lnTo>
                  <a:cubicBezTo>
                    <a:pt x="306705" y="398145"/>
                    <a:pt x="291465" y="404813"/>
                    <a:pt x="276225" y="408623"/>
                  </a:cubicBezTo>
                  <a:lnTo>
                    <a:pt x="268605" y="451485"/>
                  </a:lnTo>
                  <a:cubicBezTo>
                    <a:pt x="266700" y="460058"/>
                    <a:pt x="260032" y="465773"/>
                    <a:pt x="252413" y="465773"/>
                  </a:cubicBezTo>
                  <a:lnTo>
                    <a:pt x="230505" y="465773"/>
                  </a:lnTo>
                  <a:lnTo>
                    <a:pt x="209550" y="465773"/>
                  </a:lnTo>
                  <a:cubicBezTo>
                    <a:pt x="200978" y="465773"/>
                    <a:pt x="195263" y="460058"/>
                    <a:pt x="193357" y="451485"/>
                  </a:cubicBezTo>
                  <a:lnTo>
                    <a:pt x="185738" y="408623"/>
                  </a:lnTo>
                  <a:cubicBezTo>
                    <a:pt x="170498" y="404813"/>
                    <a:pt x="154305" y="398145"/>
                    <a:pt x="140018" y="389573"/>
                  </a:cubicBezTo>
                  <a:lnTo>
                    <a:pt x="104775" y="415290"/>
                  </a:lnTo>
                  <a:cubicBezTo>
                    <a:pt x="98107" y="420053"/>
                    <a:pt x="89535" y="419100"/>
                    <a:pt x="83820" y="413385"/>
                  </a:cubicBezTo>
                  <a:lnTo>
                    <a:pt x="69532" y="398145"/>
                  </a:lnTo>
                  <a:lnTo>
                    <a:pt x="55245" y="382905"/>
                  </a:lnTo>
                  <a:cubicBezTo>
                    <a:pt x="49530" y="377190"/>
                    <a:pt x="48578" y="367665"/>
                    <a:pt x="52388" y="362903"/>
                  </a:cubicBezTo>
                  <a:lnTo>
                    <a:pt x="77153" y="326708"/>
                  </a:lnTo>
                  <a:cubicBezTo>
                    <a:pt x="68580" y="311468"/>
                    <a:pt x="61913" y="296228"/>
                    <a:pt x="57150" y="280035"/>
                  </a:cubicBezTo>
                  <a:lnTo>
                    <a:pt x="14288" y="272415"/>
                  </a:lnTo>
                  <a:cubicBezTo>
                    <a:pt x="5715" y="270510"/>
                    <a:pt x="0" y="263843"/>
                    <a:pt x="0" y="256223"/>
                  </a:cubicBezTo>
                  <a:lnTo>
                    <a:pt x="0" y="234315"/>
                  </a:lnTo>
                  <a:lnTo>
                    <a:pt x="0" y="212408"/>
                  </a:lnTo>
                  <a:cubicBezTo>
                    <a:pt x="0" y="203835"/>
                    <a:pt x="5715" y="197168"/>
                    <a:pt x="14288" y="196215"/>
                  </a:cubicBezTo>
                  <a:lnTo>
                    <a:pt x="57150" y="189548"/>
                  </a:lnTo>
                  <a:cubicBezTo>
                    <a:pt x="60960" y="173355"/>
                    <a:pt x="67628" y="158115"/>
                    <a:pt x="76200" y="142875"/>
                  </a:cubicBezTo>
                  <a:lnTo>
                    <a:pt x="51435" y="106680"/>
                  </a:lnTo>
                  <a:cubicBezTo>
                    <a:pt x="46673" y="100013"/>
                    <a:pt x="47625" y="90488"/>
                    <a:pt x="53340" y="84773"/>
                  </a:cubicBezTo>
                  <a:lnTo>
                    <a:pt x="67628" y="69532"/>
                  </a:lnTo>
                  <a:lnTo>
                    <a:pt x="81915" y="54293"/>
                  </a:lnTo>
                  <a:cubicBezTo>
                    <a:pt x="87630" y="48578"/>
                    <a:pt x="96203" y="47625"/>
                    <a:pt x="102870" y="52388"/>
                  </a:cubicBezTo>
                  <a:lnTo>
                    <a:pt x="138113" y="77152"/>
                  </a:lnTo>
                  <a:cubicBezTo>
                    <a:pt x="152400" y="67628"/>
                    <a:pt x="168593" y="60960"/>
                    <a:pt x="184785" y="57150"/>
                  </a:cubicBezTo>
                  <a:lnTo>
                    <a:pt x="192405" y="14288"/>
                  </a:lnTo>
                  <a:cubicBezTo>
                    <a:pt x="194310" y="5715"/>
                    <a:pt x="200978" y="0"/>
                    <a:pt x="208598" y="0"/>
                  </a:cubicBezTo>
                  <a:lnTo>
                    <a:pt x="229553" y="0"/>
                  </a:lnTo>
                  <a:lnTo>
                    <a:pt x="250507" y="0"/>
                  </a:lnTo>
                  <a:cubicBezTo>
                    <a:pt x="259080" y="0"/>
                    <a:pt x="264795" y="5715"/>
                    <a:pt x="266700" y="14288"/>
                  </a:cubicBezTo>
                  <a:lnTo>
                    <a:pt x="274320" y="58103"/>
                  </a:lnTo>
                  <a:cubicBezTo>
                    <a:pt x="289560" y="61913"/>
                    <a:pt x="305753" y="68580"/>
                    <a:pt x="320040" y="77152"/>
                  </a:cubicBezTo>
                  <a:lnTo>
                    <a:pt x="355282" y="51435"/>
                  </a:lnTo>
                  <a:cubicBezTo>
                    <a:pt x="361950" y="47625"/>
                    <a:pt x="370523" y="47625"/>
                    <a:pt x="376238" y="53340"/>
                  </a:cubicBezTo>
                  <a:lnTo>
                    <a:pt x="390525" y="68580"/>
                  </a:lnTo>
                  <a:lnTo>
                    <a:pt x="406718" y="83820"/>
                  </a:lnTo>
                  <a:cubicBezTo>
                    <a:pt x="412432" y="89535"/>
                    <a:pt x="413385" y="99060"/>
                    <a:pt x="408623" y="105727"/>
                  </a:cubicBezTo>
                  <a:lnTo>
                    <a:pt x="382905" y="141923"/>
                  </a:lnTo>
                  <a:cubicBezTo>
                    <a:pt x="391478" y="157163"/>
                    <a:pt x="397193" y="171450"/>
                    <a:pt x="401955" y="188595"/>
                  </a:cubicBezTo>
                  <a:lnTo>
                    <a:pt x="443865" y="194310"/>
                  </a:lnTo>
                  <a:lnTo>
                    <a:pt x="443865" y="194310"/>
                  </a:lnTo>
                  <a:close/>
                  <a:moveTo>
                    <a:pt x="112395" y="272415"/>
                  </a:moveTo>
                  <a:cubicBezTo>
                    <a:pt x="128588" y="322898"/>
                    <a:pt x="177165" y="360045"/>
                    <a:pt x="232410" y="360045"/>
                  </a:cubicBezTo>
                  <a:cubicBezTo>
                    <a:pt x="291465" y="360045"/>
                    <a:pt x="341948" y="319088"/>
                    <a:pt x="355282" y="263843"/>
                  </a:cubicBezTo>
                  <a:moveTo>
                    <a:pt x="112395" y="196215"/>
                  </a:moveTo>
                  <a:cubicBezTo>
                    <a:pt x="127635" y="144780"/>
                    <a:pt x="177165" y="106680"/>
                    <a:pt x="233363" y="106680"/>
                  </a:cubicBezTo>
                  <a:cubicBezTo>
                    <a:pt x="287655" y="106680"/>
                    <a:pt x="333375" y="140018"/>
                    <a:pt x="351473" y="188595"/>
                  </a:cubicBezTo>
                  <a:moveTo>
                    <a:pt x="346710" y="188595"/>
                  </a:moveTo>
                  <a:cubicBezTo>
                    <a:pt x="292418" y="188595"/>
                    <a:pt x="292418" y="188595"/>
                    <a:pt x="292418" y="188595"/>
                  </a:cubicBezTo>
                  <a:moveTo>
                    <a:pt x="350520" y="129540"/>
                  </a:moveTo>
                  <a:cubicBezTo>
                    <a:pt x="350520" y="129540"/>
                    <a:pt x="350520" y="129540"/>
                    <a:pt x="350520" y="188595"/>
                  </a:cubicBezTo>
                  <a:cubicBezTo>
                    <a:pt x="350520" y="188595"/>
                    <a:pt x="350520" y="188595"/>
                    <a:pt x="343853" y="188595"/>
                  </a:cubicBezTo>
                  <a:moveTo>
                    <a:pt x="119063" y="272415"/>
                  </a:moveTo>
                  <a:cubicBezTo>
                    <a:pt x="170498" y="272415"/>
                    <a:pt x="170498" y="272415"/>
                    <a:pt x="170498" y="272415"/>
                  </a:cubicBezTo>
                  <a:moveTo>
                    <a:pt x="112395" y="331470"/>
                  </a:moveTo>
                  <a:cubicBezTo>
                    <a:pt x="112395" y="331470"/>
                    <a:pt x="112395" y="331470"/>
                    <a:pt x="112395" y="272415"/>
                  </a:cubicBezTo>
                  <a:cubicBezTo>
                    <a:pt x="112395" y="272415"/>
                    <a:pt x="112395" y="272415"/>
                    <a:pt x="119063" y="272415"/>
                  </a:cubicBezTo>
                </a:path>
              </a:pathLst>
            </a:custGeom>
            <a:noFill/>
            <a:ln w="12700" cap="flat">
              <a:solidFill>
                <a:schemeClr val="bg1"/>
              </a:solidFill>
              <a:prstDash val="solid"/>
              <a:miter/>
            </a:ln>
          </p:spPr>
          <p:txBody>
            <a:bodyPr rtlCol="0" anchor="ctr"/>
            <a:lstStyle/>
            <a:p>
              <a:endParaRPr lang="en-US" sz="1765"/>
            </a:p>
          </p:txBody>
        </p:sp>
        <p:sp>
          <p:nvSpPr>
            <p:cNvPr id="468" name="Graphic 1">
              <a:extLst>
                <a:ext uri="{FF2B5EF4-FFF2-40B4-BE49-F238E27FC236}">
                  <a16:creationId xmlns:a16="http://schemas.microsoft.com/office/drawing/2014/main" id="{C9490F2D-181B-43C3-AE93-9DE536CC9B97}"/>
                </a:ext>
                <a:ext uri="{C183D7F6-B498-43B3-948B-1728B52AA6E4}">
                  <adec:decorative xmlns:adec="http://schemas.microsoft.com/office/drawing/2017/decorative" val="1"/>
                </a:ext>
              </a:extLst>
            </p:cNvPr>
            <p:cNvSpPr/>
            <p:nvPr/>
          </p:nvSpPr>
          <p:spPr>
            <a:xfrm>
              <a:off x="7247129" y="2221163"/>
              <a:ext cx="308543" cy="326940"/>
            </a:xfrm>
            <a:custGeom>
              <a:avLst/>
              <a:gdLst>
                <a:gd name="connsiteX0" fmla="*/ 414877 w 498415"/>
                <a:gd name="connsiteY0" fmla="*/ 471497 h 528133"/>
                <a:gd name="connsiteX1" fmla="*/ 395055 w 498415"/>
                <a:gd name="connsiteY1" fmla="*/ 479993 h 528133"/>
                <a:gd name="connsiteX2" fmla="*/ 386559 w 498415"/>
                <a:gd name="connsiteY2" fmla="*/ 499816 h 528133"/>
                <a:gd name="connsiteX3" fmla="*/ 395055 w 498415"/>
                <a:gd name="connsiteY3" fmla="*/ 519638 h 528133"/>
                <a:gd name="connsiteX4" fmla="*/ 414877 w 498415"/>
                <a:gd name="connsiteY4" fmla="*/ 528134 h 528133"/>
                <a:gd name="connsiteX5" fmla="*/ 246384 w 498415"/>
                <a:gd name="connsiteY5" fmla="*/ 526718 h 528133"/>
                <a:gd name="connsiteX6" fmla="*/ 226561 w 498415"/>
                <a:gd name="connsiteY6" fmla="*/ 518222 h 528133"/>
                <a:gd name="connsiteX7" fmla="*/ 218066 w 498415"/>
                <a:gd name="connsiteY7" fmla="*/ 498400 h 528133"/>
                <a:gd name="connsiteX8" fmla="*/ 226561 w 498415"/>
                <a:gd name="connsiteY8" fmla="*/ 478577 h 528133"/>
                <a:gd name="connsiteX9" fmla="*/ 246384 w 498415"/>
                <a:gd name="connsiteY9" fmla="*/ 470081 h 528133"/>
                <a:gd name="connsiteX10" fmla="*/ 414877 w 498415"/>
                <a:gd name="connsiteY10" fmla="*/ 470081 h 528133"/>
                <a:gd name="connsiteX11" fmla="*/ 470098 w 498415"/>
                <a:gd name="connsiteY11" fmla="*/ 249200 h 528133"/>
                <a:gd name="connsiteX12" fmla="*/ 283198 w 498415"/>
                <a:gd name="connsiteY12" fmla="*/ 249200 h 528133"/>
                <a:gd name="connsiteX13" fmla="*/ 254880 w 498415"/>
                <a:gd name="connsiteY13" fmla="*/ 277518 h 528133"/>
                <a:gd name="connsiteX14" fmla="*/ 254880 w 498415"/>
                <a:gd name="connsiteY14" fmla="*/ 471497 h 528133"/>
                <a:gd name="connsiteX15" fmla="*/ 441780 w 498415"/>
                <a:gd name="connsiteY15" fmla="*/ 304420 h 528133"/>
                <a:gd name="connsiteX16" fmla="*/ 470098 w 498415"/>
                <a:gd name="connsiteY16" fmla="*/ 304420 h 528133"/>
                <a:gd name="connsiteX17" fmla="*/ 498416 w 498415"/>
                <a:gd name="connsiteY17" fmla="*/ 276102 h 528133"/>
                <a:gd name="connsiteX18" fmla="*/ 470098 w 498415"/>
                <a:gd name="connsiteY18" fmla="*/ 247784 h 528133"/>
                <a:gd name="connsiteX19" fmla="*/ 441780 w 498415"/>
                <a:gd name="connsiteY19" fmla="*/ 276102 h 528133"/>
                <a:gd name="connsiteX20" fmla="*/ 441780 w 498415"/>
                <a:gd name="connsiteY20" fmla="*/ 423356 h 528133"/>
                <a:gd name="connsiteX21" fmla="*/ 441780 w 498415"/>
                <a:gd name="connsiteY21" fmla="*/ 424772 h 528133"/>
                <a:gd name="connsiteX22" fmla="*/ 441780 w 498415"/>
                <a:gd name="connsiteY22" fmla="*/ 498400 h 528133"/>
                <a:gd name="connsiteX23" fmla="*/ 246384 w 498415"/>
                <a:gd name="connsiteY23" fmla="*/ 526718 h 528133"/>
                <a:gd name="connsiteX24" fmla="*/ 414877 w 498415"/>
                <a:gd name="connsiteY24" fmla="*/ 526718 h 528133"/>
                <a:gd name="connsiteX25" fmla="*/ 443195 w 498415"/>
                <a:gd name="connsiteY25" fmla="*/ 498400 h 528133"/>
                <a:gd name="connsiteX26" fmla="*/ 283198 w 498415"/>
                <a:gd name="connsiteY26" fmla="*/ 304420 h 528133"/>
                <a:gd name="connsiteX27" fmla="*/ 413461 w 498415"/>
                <a:gd name="connsiteY27" fmla="*/ 304420 h 528133"/>
                <a:gd name="connsiteX28" fmla="*/ 283198 w 498415"/>
                <a:gd name="connsiteY28" fmla="*/ 341234 h 528133"/>
                <a:gd name="connsiteX29" fmla="*/ 413461 w 498415"/>
                <a:gd name="connsiteY29" fmla="*/ 341234 h 528133"/>
                <a:gd name="connsiteX30" fmla="*/ 283198 w 498415"/>
                <a:gd name="connsiteY30" fmla="*/ 378047 h 528133"/>
                <a:gd name="connsiteX31" fmla="*/ 413461 w 498415"/>
                <a:gd name="connsiteY31" fmla="*/ 378047 h 528133"/>
                <a:gd name="connsiteX32" fmla="*/ 283198 w 498415"/>
                <a:gd name="connsiteY32" fmla="*/ 416277 h 528133"/>
                <a:gd name="connsiteX33" fmla="*/ 413461 w 498415"/>
                <a:gd name="connsiteY33" fmla="*/ 416277 h 528133"/>
                <a:gd name="connsiteX34" fmla="*/ 205323 w 498415"/>
                <a:gd name="connsiteY34" fmla="*/ 416277 h 528133"/>
                <a:gd name="connsiteX35" fmla="*/ 16 w 498415"/>
                <a:gd name="connsiteY35" fmla="*/ 209554 h 528133"/>
                <a:gd name="connsiteX36" fmla="*/ 16 w 498415"/>
                <a:gd name="connsiteY36" fmla="*/ 209554 h 528133"/>
                <a:gd name="connsiteX37" fmla="*/ 16 w 498415"/>
                <a:gd name="connsiteY37" fmla="*/ 209554 h 528133"/>
                <a:gd name="connsiteX38" fmla="*/ 16 w 498415"/>
                <a:gd name="connsiteY38" fmla="*/ 209554 h 528133"/>
                <a:gd name="connsiteX39" fmla="*/ 205323 w 498415"/>
                <a:gd name="connsiteY39" fmla="*/ 0 h 528133"/>
                <a:gd name="connsiteX40" fmla="*/ 409214 w 498415"/>
                <a:gd name="connsiteY40" fmla="*/ 208138 h 528133"/>
                <a:gd name="connsiteX41" fmla="*/ 310100 w 498415"/>
                <a:gd name="connsiteY41" fmla="*/ 208138 h 528133"/>
                <a:gd name="connsiteX42" fmla="*/ 205323 w 498415"/>
                <a:gd name="connsiteY42" fmla="*/ 0 h 528133"/>
                <a:gd name="connsiteX43" fmla="*/ 100546 w 498415"/>
                <a:gd name="connsiteY43" fmla="*/ 208138 h 528133"/>
                <a:gd name="connsiteX44" fmla="*/ 205323 w 498415"/>
                <a:gd name="connsiteY44" fmla="*/ 414861 h 528133"/>
                <a:gd name="connsiteX45" fmla="*/ 205323 w 498415"/>
                <a:gd name="connsiteY45" fmla="*/ 414861 h 528133"/>
                <a:gd name="connsiteX46" fmla="*/ 205323 w 498415"/>
                <a:gd name="connsiteY46" fmla="*/ 414861 h 528133"/>
                <a:gd name="connsiteX47" fmla="*/ 205323 w 498415"/>
                <a:gd name="connsiteY47" fmla="*/ 414861 h 528133"/>
                <a:gd name="connsiteX48" fmla="*/ 8512 w 498415"/>
                <a:gd name="connsiteY48" fmla="*/ 144423 h 528133"/>
                <a:gd name="connsiteX49" fmla="*/ 399302 w 498415"/>
                <a:gd name="connsiteY49" fmla="*/ 144423 h 528133"/>
                <a:gd name="connsiteX50" fmla="*/ 8512 w 498415"/>
                <a:gd name="connsiteY50" fmla="*/ 281766 h 528133"/>
                <a:gd name="connsiteX51" fmla="*/ 205323 w 498415"/>
                <a:gd name="connsiteY51" fmla="*/ 281766 h 52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8415" h="528133">
                  <a:moveTo>
                    <a:pt x="414877" y="471497"/>
                  </a:moveTo>
                  <a:cubicBezTo>
                    <a:pt x="407798" y="471497"/>
                    <a:pt x="400718" y="474329"/>
                    <a:pt x="395055" y="479993"/>
                  </a:cubicBezTo>
                  <a:cubicBezTo>
                    <a:pt x="389391" y="485656"/>
                    <a:pt x="386559" y="491320"/>
                    <a:pt x="386559" y="499816"/>
                  </a:cubicBezTo>
                  <a:cubicBezTo>
                    <a:pt x="386559" y="506895"/>
                    <a:pt x="389391" y="513975"/>
                    <a:pt x="395055" y="519638"/>
                  </a:cubicBezTo>
                  <a:cubicBezTo>
                    <a:pt x="400718" y="525302"/>
                    <a:pt x="407798" y="528134"/>
                    <a:pt x="414877" y="528134"/>
                  </a:cubicBezTo>
                  <a:moveTo>
                    <a:pt x="246384" y="526718"/>
                  </a:moveTo>
                  <a:cubicBezTo>
                    <a:pt x="237889" y="526718"/>
                    <a:pt x="232225" y="523886"/>
                    <a:pt x="226561" y="518222"/>
                  </a:cubicBezTo>
                  <a:cubicBezTo>
                    <a:pt x="220898" y="512559"/>
                    <a:pt x="218066" y="506895"/>
                    <a:pt x="218066" y="498400"/>
                  </a:cubicBezTo>
                  <a:cubicBezTo>
                    <a:pt x="218066" y="491320"/>
                    <a:pt x="220898" y="484240"/>
                    <a:pt x="226561" y="478577"/>
                  </a:cubicBezTo>
                  <a:cubicBezTo>
                    <a:pt x="232225" y="472913"/>
                    <a:pt x="239305" y="470081"/>
                    <a:pt x="246384" y="470081"/>
                  </a:cubicBezTo>
                  <a:cubicBezTo>
                    <a:pt x="414877" y="470081"/>
                    <a:pt x="414877" y="470081"/>
                    <a:pt x="414877" y="470081"/>
                  </a:cubicBezTo>
                  <a:moveTo>
                    <a:pt x="470098" y="249200"/>
                  </a:moveTo>
                  <a:cubicBezTo>
                    <a:pt x="283198" y="249200"/>
                    <a:pt x="283198" y="249200"/>
                    <a:pt x="283198" y="249200"/>
                  </a:cubicBezTo>
                  <a:cubicBezTo>
                    <a:pt x="267623" y="249200"/>
                    <a:pt x="254880" y="261943"/>
                    <a:pt x="254880" y="277518"/>
                  </a:cubicBezTo>
                  <a:cubicBezTo>
                    <a:pt x="254880" y="471497"/>
                    <a:pt x="254880" y="471497"/>
                    <a:pt x="254880" y="471497"/>
                  </a:cubicBezTo>
                  <a:moveTo>
                    <a:pt x="441780" y="304420"/>
                  </a:moveTo>
                  <a:cubicBezTo>
                    <a:pt x="470098" y="304420"/>
                    <a:pt x="470098" y="304420"/>
                    <a:pt x="470098" y="304420"/>
                  </a:cubicBezTo>
                  <a:cubicBezTo>
                    <a:pt x="485673" y="304420"/>
                    <a:pt x="498416" y="291677"/>
                    <a:pt x="498416" y="276102"/>
                  </a:cubicBezTo>
                  <a:cubicBezTo>
                    <a:pt x="498416" y="260527"/>
                    <a:pt x="485673" y="247784"/>
                    <a:pt x="470098" y="247784"/>
                  </a:cubicBezTo>
                  <a:cubicBezTo>
                    <a:pt x="454523" y="247784"/>
                    <a:pt x="441780" y="260527"/>
                    <a:pt x="441780" y="276102"/>
                  </a:cubicBezTo>
                  <a:cubicBezTo>
                    <a:pt x="441780" y="423356"/>
                    <a:pt x="441780" y="423356"/>
                    <a:pt x="441780" y="423356"/>
                  </a:cubicBezTo>
                  <a:moveTo>
                    <a:pt x="441780" y="424772"/>
                  </a:moveTo>
                  <a:cubicBezTo>
                    <a:pt x="441780" y="498400"/>
                    <a:pt x="441780" y="498400"/>
                    <a:pt x="441780" y="498400"/>
                  </a:cubicBezTo>
                  <a:moveTo>
                    <a:pt x="246384" y="526718"/>
                  </a:moveTo>
                  <a:cubicBezTo>
                    <a:pt x="414877" y="526718"/>
                    <a:pt x="414877" y="526718"/>
                    <a:pt x="414877" y="526718"/>
                  </a:cubicBezTo>
                  <a:cubicBezTo>
                    <a:pt x="430452" y="526718"/>
                    <a:pt x="443195" y="513975"/>
                    <a:pt x="443195" y="498400"/>
                  </a:cubicBezTo>
                  <a:moveTo>
                    <a:pt x="283198" y="304420"/>
                  </a:moveTo>
                  <a:cubicBezTo>
                    <a:pt x="413461" y="304420"/>
                    <a:pt x="413461" y="304420"/>
                    <a:pt x="413461" y="304420"/>
                  </a:cubicBezTo>
                  <a:moveTo>
                    <a:pt x="283198" y="341234"/>
                  </a:moveTo>
                  <a:cubicBezTo>
                    <a:pt x="413461" y="341234"/>
                    <a:pt x="413461" y="341234"/>
                    <a:pt x="413461" y="341234"/>
                  </a:cubicBezTo>
                  <a:moveTo>
                    <a:pt x="283198" y="378047"/>
                  </a:moveTo>
                  <a:cubicBezTo>
                    <a:pt x="413461" y="378047"/>
                    <a:pt x="413461" y="378047"/>
                    <a:pt x="413461" y="378047"/>
                  </a:cubicBezTo>
                  <a:moveTo>
                    <a:pt x="283198" y="416277"/>
                  </a:moveTo>
                  <a:cubicBezTo>
                    <a:pt x="413461" y="416277"/>
                    <a:pt x="413461" y="416277"/>
                    <a:pt x="413461" y="416277"/>
                  </a:cubicBezTo>
                  <a:moveTo>
                    <a:pt x="205323" y="416277"/>
                  </a:moveTo>
                  <a:cubicBezTo>
                    <a:pt x="92050" y="416277"/>
                    <a:pt x="16" y="322827"/>
                    <a:pt x="16" y="209554"/>
                  </a:cubicBezTo>
                  <a:lnTo>
                    <a:pt x="16" y="209554"/>
                  </a:lnTo>
                  <a:lnTo>
                    <a:pt x="16" y="209554"/>
                  </a:lnTo>
                  <a:lnTo>
                    <a:pt x="16" y="209554"/>
                  </a:lnTo>
                  <a:cubicBezTo>
                    <a:pt x="-1400" y="93450"/>
                    <a:pt x="90634" y="0"/>
                    <a:pt x="205323" y="0"/>
                  </a:cubicBezTo>
                  <a:cubicBezTo>
                    <a:pt x="318596" y="0"/>
                    <a:pt x="409214" y="93450"/>
                    <a:pt x="409214" y="208138"/>
                  </a:cubicBezTo>
                  <a:moveTo>
                    <a:pt x="310100" y="208138"/>
                  </a:moveTo>
                  <a:cubicBezTo>
                    <a:pt x="310100" y="93450"/>
                    <a:pt x="263375" y="0"/>
                    <a:pt x="205323" y="0"/>
                  </a:cubicBezTo>
                  <a:cubicBezTo>
                    <a:pt x="147271" y="0"/>
                    <a:pt x="100546" y="93450"/>
                    <a:pt x="100546" y="208138"/>
                  </a:cubicBezTo>
                  <a:cubicBezTo>
                    <a:pt x="100546" y="321411"/>
                    <a:pt x="147271" y="414861"/>
                    <a:pt x="205323" y="414861"/>
                  </a:cubicBezTo>
                  <a:lnTo>
                    <a:pt x="205323" y="414861"/>
                  </a:lnTo>
                  <a:lnTo>
                    <a:pt x="205323" y="414861"/>
                  </a:lnTo>
                  <a:lnTo>
                    <a:pt x="205323" y="414861"/>
                  </a:lnTo>
                  <a:moveTo>
                    <a:pt x="8512" y="144423"/>
                  </a:moveTo>
                  <a:cubicBezTo>
                    <a:pt x="399302" y="144423"/>
                    <a:pt x="399302" y="144423"/>
                    <a:pt x="399302" y="144423"/>
                  </a:cubicBezTo>
                  <a:moveTo>
                    <a:pt x="8512" y="281766"/>
                  </a:moveTo>
                  <a:lnTo>
                    <a:pt x="205323" y="281766"/>
                  </a:lnTo>
                </a:path>
              </a:pathLst>
            </a:custGeom>
            <a:noFill/>
            <a:ln w="12700" cap="flat">
              <a:solidFill>
                <a:schemeClr val="bg1"/>
              </a:solidFill>
              <a:prstDash val="solid"/>
              <a:miter/>
            </a:ln>
          </p:spPr>
          <p:txBody>
            <a:bodyPr rtlCol="0" anchor="ctr"/>
            <a:lstStyle/>
            <a:p>
              <a:endParaRPr lang="en-US" sz="1765"/>
            </a:p>
          </p:txBody>
        </p:sp>
        <p:sp>
          <p:nvSpPr>
            <p:cNvPr id="469" name="Freeform: Shape 468">
              <a:extLst>
                <a:ext uri="{FF2B5EF4-FFF2-40B4-BE49-F238E27FC236}">
                  <a16:creationId xmlns:a16="http://schemas.microsoft.com/office/drawing/2014/main" id="{70907F52-8617-458A-968D-838554B171FC}"/>
                </a:ext>
                <a:ext uri="{C183D7F6-B498-43B3-948B-1728B52AA6E4}">
                  <adec:decorative xmlns:adec="http://schemas.microsoft.com/office/drawing/2017/decorative" val="1"/>
                </a:ext>
              </a:extLst>
            </p:cNvPr>
            <p:cNvSpPr/>
            <p:nvPr/>
          </p:nvSpPr>
          <p:spPr>
            <a:xfrm>
              <a:off x="10844930" y="3548576"/>
              <a:ext cx="326540" cy="381023"/>
            </a:xfrm>
            <a:custGeom>
              <a:avLst/>
              <a:gdLst>
                <a:gd name="connsiteX0" fmla="*/ 410247 w 431562"/>
                <a:gd name="connsiteY0" fmla="*/ 342796 h 503568"/>
                <a:gd name="connsiteX1" fmla="*/ 410247 w 431562"/>
                <a:gd name="connsiteY1" fmla="*/ 160772 h 503568"/>
                <a:gd name="connsiteX2" fmla="*/ 237463 w 431562"/>
                <a:gd name="connsiteY2" fmla="*/ 466610 h 503568"/>
                <a:gd name="connsiteX3" fmla="*/ 396387 w 431562"/>
                <a:gd name="connsiteY3" fmla="*/ 378832 h 503568"/>
                <a:gd name="connsiteX4" fmla="*/ 43427 w 431562"/>
                <a:gd name="connsiteY4" fmla="*/ 378832 h 503568"/>
                <a:gd name="connsiteX5" fmla="*/ 202351 w 431562"/>
                <a:gd name="connsiteY5" fmla="*/ 466610 h 503568"/>
                <a:gd name="connsiteX6" fmla="*/ 21251 w 431562"/>
                <a:gd name="connsiteY6" fmla="*/ 160772 h 503568"/>
                <a:gd name="connsiteX7" fmla="*/ 21251 w 431562"/>
                <a:gd name="connsiteY7" fmla="*/ 342796 h 503568"/>
                <a:gd name="connsiteX8" fmla="*/ 201427 w 431562"/>
                <a:gd name="connsiteY8" fmla="*/ 36035 h 503568"/>
                <a:gd name="connsiteX9" fmla="*/ 42503 w 431562"/>
                <a:gd name="connsiteY9" fmla="*/ 123813 h 503568"/>
                <a:gd name="connsiteX10" fmla="*/ 216211 w 431562"/>
                <a:gd name="connsiteY10" fmla="*/ 0 h 503568"/>
                <a:gd name="connsiteX11" fmla="*/ 194959 w 431562"/>
                <a:gd name="connsiteY11" fmla="*/ 22175 h 503568"/>
                <a:gd name="connsiteX12" fmla="*/ 196808 w 431562"/>
                <a:gd name="connsiteY12" fmla="*/ 31415 h 503568"/>
                <a:gd name="connsiteX13" fmla="*/ 216211 w 431562"/>
                <a:gd name="connsiteY13" fmla="*/ 43427 h 503568"/>
                <a:gd name="connsiteX14" fmla="*/ 235615 w 431562"/>
                <a:gd name="connsiteY14" fmla="*/ 31415 h 503568"/>
                <a:gd name="connsiteX15" fmla="*/ 238387 w 431562"/>
                <a:gd name="connsiteY15" fmla="*/ 21251 h 503568"/>
                <a:gd name="connsiteX16" fmla="*/ 216211 w 431562"/>
                <a:gd name="connsiteY16" fmla="*/ 0 h 503568"/>
                <a:gd name="connsiteX17" fmla="*/ 216211 w 431562"/>
                <a:gd name="connsiteY17" fmla="*/ 0 h 503568"/>
                <a:gd name="connsiteX18" fmla="*/ 216211 w 431562"/>
                <a:gd name="connsiteY18" fmla="*/ 459218 h 503568"/>
                <a:gd name="connsiteX19" fmla="*/ 197731 w 431562"/>
                <a:gd name="connsiteY19" fmla="*/ 470306 h 503568"/>
                <a:gd name="connsiteX20" fmla="*/ 194959 w 431562"/>
                <a:gd name="connsiteY20" fmla="*/ 481393 h 503568"/>
                <a:gd name="connsiteX21" fmla="*/ 216211 w 431562"/>
                <a:gd name="connsiteY21" fmla="*/ 503569 h 503568"/>
                <a:gd name="connsiteX22" fmla="*/ 237463 w 431562"/>
                <a:gd name="connsiteY22" fmla="*/ 481393 h 503568"/>
                <a:gd name="connsiteX23" fmla="*/ 234690 w 431562"/>
                <a:gd name="connsiteY23" fmla="*/ 470306 h 503568"/>
                <a:gd name="connsiteX24" fmla="*/ 216211 w 431562"/>
                <a:gd name="connsiteY24" fmla="*/ 459218 h 503568"/>
                <a:gd name="connsiteX25" fmla="*/ 216211 w 431562"/>
                <a:gd name="connsiteY25" fmla="*/ 459218 h 503568"/>
                <a:gd name="connsiteX26" fmla="*/ 22175 w 431562"/>
                <a:gd name="connsiteY26" fmla="*/ 342796 h 503568"/>
                <a:gd name="connsiteX27" fmla="*/ 22175 w 431562"/>
                <a:gd name="connsiteY27" fmla="*/ 342796 h 503568"/>
                <a:gd name="connsiteX28" fmla="*/ 0 w 431562"/>
                <a:gd name="connsiteY28" fmla="*/ 364972 h 503568"/>
                <a:gd name="connsiteX29" fmla="*/ 21251 w 431562"/>
                <a:gd name="connsiteY29" fmla="*/ 387147 h 503568"/>
                <a:gd name="connsiteX30" fmla="*/ 39731 w 431562"/>
                <a:gd name="connsiteY30" fmla="*/ 376060 h 503568"/>
                <a:gd name="connsiteX31" fmla="*/ 42503 w 431562"/>
                <a:gd name="connsiteY31" fmla="*/ 364972 h 503568"/>
                <a:gd name="connsiteX32" fmla="*/ 22175 w 431562"/>
                <a:gd name="connsiteY32" fmla="*/ 342796 h 503568"/>
                <a:gd name="connsiteX33" fmla="*/ 22175 w 431562"/>
                <a:gd name="connsiteY33" fmla="*/ 342796 h 503568"/>
                <a:gd name="connsiteX34" fmla="*/ 21251 w 431562"/>
                <a:gd name="connsiteY34" fmla="*/ 116421 h 503568"/>
                <a:gd name="connsiteX35" fmla="*/ 0 w 431562"/>
                <a:gd name="connsiteY35" fmla="*/ 138597 h 503568"/>
                <a:gd name="connsiteX36" fmla="*/ 21251 w 431562"/>
                <a:gd name="connsiteY36" fmla="*/ 160772 h 503568"/>
                <a:gd name="connsiteX37" fmla="*/ 21251 w 431562"/>
                <a:gd name="connsiteY37" fmla="*/ 160772 h 503568"/>
                <a:gd name="connsiteX38" fmla="*/ 42503 w 431562"/>
                <a:gd name="connsiteY38" fmla="*/ 138597 h 503568"/>
                <a:gd name="connsiteX39" fmla="*/ 39731 w 431562"/>
                <a:gd name="connsiteY39" fmla="*/ 128433 h 503568"/>
                <a:gd name="connsiteX40" fmla="*/ 21251 w 431562"/>
                <a:gd name="connsiteY40" fmla="*/ 116421 h 503568"/>
                <a:gd name="connsiteX41" fmla="*/ 21251 w 431562"/>
                <a:gd name="connsiteY41" fmla="*/ 116421 h 503568"/>
                <a:gd name="connsiteX42" fmla="*/ 411171 w 431562"/>
                <a:gd name="connsiteY42" fmla="*/ 342796 h 503568"/>
                <a:gd name="connsiteX43" fmla="*/ 411171 w 431562"/>
                <a:gd name="connsiteY43" fmla="*/ 342796 h 503568"/>
                <a:gd name="connsiteX44" fmla="*/ 388995 w 431562"/>
                <a:gd name="connsiteY44" fmla="*/ 364972 h 503568"/>
                <a:gd name="connsiteX45" fmla="*/ 391767 w 431562"/>
                <a:gd name="connsiteY45" fmla="*/ 376060 h 503568"/>
                <a:gd name="connsiteX46" fmla="*/ 410247 w 431562"/>
                <a:gd name="connsiteY46" fmla="*/ 387147 h 503568"/>
                <a:gd name="connsiteX47" fmla="*/ 431499 w 431562"/>
                <a:gd name="connsiteY47" fmla="*/ 364972 h 503568"/>
                <a:gd name="connsiteX48" fmla="*/ 411171 w 431562"/>
                <a:gd name="connsiteY48" fmla="*/ 342796 h 503568"/>
                <a:gd name="connsiteX49" fmla="*/ 411171 w 431562"/>
                <a:gd name="connsiteY49" fmla="*/ 342796 h 503568"/>
                <a:gd name="connsiteX50" fmla="*/ 410247 w 431562"/>
                <a:gd name="connsiteY50" fmla="*/ 160772 h 503568"/>
                <a:gd name="connsiteX51" fmla="*/ 410247 w 431562"/>
                <a:gd name="connsiteY51" fmla="*/ 160772 h 503568"/>
                <a:gd name="connsiteX52" fmla="*/ 431499 w 431562"/>
                <a:gd name="connsiteY52" fmla="*/ 138597 h 503568"/>
                <a:gd name="connsiteX53" fmla="*/ 410247 w 431562"/>
                <a:gd name="connsiteY53" fmla="*/ 116421 h 503568"/>
                <a:gd name="connsiteX54" fmla="*/ 391767 w 431562"/>
                <a:gd name="connsiteY54" fmla="*/ 127509 h 503568"/>
                <a:gd name="connsiteX55" fmla="*/ 388995 w 431562"/>
                <a:gd name="connsiteY55" fmla="*/ 138597 h 503568"/>
                <a:gd name="connsiteX56" fmla="*/ 410247 w 431562"/>
                <a:gd name="connsiteY56" fmla="*/ 160772 h 503568"/>
                <a:gd name="connsiteX57" fmla="*/ 410247 w 431562"/>
                <a:gd name="connsiteY57" fmla="*/ 160772 h 503568"/>
                <a:gd name="connsiteX58" fmla="*/ 104410 w 431562"/>
                <a:gd name="connsiteY58" fmla="*/ 180176 h 503568"/>
                <a:gd name="connsiteX59" fmla="*/ 104410 w 431562"/>
                <a:gd name="connsiteY59" fmla="*/ 352036 h 503568"/>
                <a:gd name="connsiteX60" fmla="*/ 326165 w 431562"/>
                <a:gd name="connsiteY60" fmla="*/ 352036 h 503568"/>
                <a:gd name="connsiteX61" fmla="*/ 129357 w 431562"/>
                <a:gd name="connsiteY61" fmla="*/ 352036 h 503568"/>
                <a:gd name="connsiteX62" fmla="*/ 162620 w 431562"/>
                <a:gd name="connsiteY62" fmla="*/ 276270 h 503568"/>
                <a:gd name="connsiteX63" fmla="*/ 223603 w 431562"/>
                <a:gd name="connsiteY63" fmla="*/ 300293 h 503568"/>
                <a:gd name="connsiteX64" fmla="*/ 312305 w 431562"/>
                <a:gd name="connsiteY64" fmla="*/ 170936 h 50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31562" h="503568">
                  <a:moveTo>
                    <a:pt x="410247" y="342796"/>
                  </a:moveTo>
                  <a:lnTo>
                    <a:pt x="410247" y="160772"/>
                  </a:lnTo>
                  <a:moveTo>
                    <a:pt x="237463" y="466610"/>
                  </a:moveTo>
                  <a:lnTo>
                    <a:pt x="396387" y="378832"/>
                  </a:lnTo>
                  <a:moveTo>
                    <a:pt x="43427" y="378832"/>
                  </a:moveTo>
                  <a:lnTo>
                    <a:pt x="202351" y="466610"/>
                  </a:lnTo>
                  <a:moveTo>
                    <a:pt x="21251" y="160772"/>
                  </a:moveTo>
                  <a:lnTo>
                    <a:pt x="21251" y="342796"/>
                  </a:lnTo>
                  <a:moveTo>
                    <a:pt x="201427" y="36035"/>
                  </a:moveTo>
                  <a:lnTo>
                    <a:pt x="42503" y="123813"/>
                  </a:lnTo>
                  <a:moveTo>
                    <a:pt x="216211" y="0"/>
                  </a:moveTo>
                  <a:cubicBezTo>
                    <a:pt x="204199" y="0"/>
                    <a:pt x="194959" y="10164"/>
                    <a:pt x="194959" y="22175"/>
                  </a:cubicBezTo>
                  <a:cubicBezTo>
                    <a:pt x="194959" y="25871"/>
                    <a:pt x="195884" y="28643"/>
                    <a:pt x="196808" y="31415"/>
                  </a:cubicBezTo>
                  <a:cubicBezTo>
                    <a:pt x="200504" y="38807"/>
                    <a:pt x="207895" y="43427"/>
                    <a:pt x="216211" y="43427"/>
                  </a:cubicBezTo>
                  <a:cubicBezTo>
                    <a:pt x="224527" y="43427"/>
                    <a:pt x="231919" y="38807"/>
                    <a:pt x="235615" y="31415"/>
                  </a:cubicBezTo>
                  <a:cubicBezTo>
                    <a:pt x="237463" y="28643"/>
                    <a:pt x="238387" y="24947"/>
                    <a:pt x="238387" y="21251"/>
                  </a:cubicBezTo>
                  <a:cubicBezTo>
                    <a:pt x="237463" y="10164"/>
                    <a:pt x="228223" y="0"/>
                    <a:pt x="216211" y="0"/>
                  </a:cubicBezTo>
                  <a:lnTo>
                    <a:pt x="216211" y="0"/>
                  </a:lnTo>
                  <a:close/>
                  <a:moveTo>
                    <a:pt x="216211" y="459218"/>
                  </a:moveTo>
                  <a:cubicBezTo>
                    <a:pt x="207895" y="459218"/>
                    <a:pt x="201427" y="463838"/>
                    <a:pt x="197731" y="470306"/>
                  </a:cubicBezTo>
                  <a:cubicBezTo>
                    <a:pt x="195884" y="473077"/>
                    <a:pt x="194959" y="476774"/>
                    <a:pt x="194959" y="481393"/>
                  </a:cubicBezTo>
                  <a:cubicBezTo>
                    <a:pt x="194959" y="493405"/>
                    <a:pt x="204199" y="503569"/>
                    <a:pt x="216211" y="503569"/>
                  </a:cubicBezTo>
                  <a:cubicBezTo>
                    <a:pt x="228223" y="503569"/>
                    <a:pt x="237463" y="493405"/>
                    <a:pt x="237463" y="481393"/>
                  </a:cubicBezTo>
                  <a:cubicBezTo>
                    <a:pt x="237463" y="477697"/>
                    <a:pt x="236539" y="474001"/>
                    <a:pt x="234690" y="470306"/>
                  </a:cubicBezTo>
                  <a:cubicBezTo>
                    <a:pt x="230995" y="463838"/>
                    <a:pt x="224527" y="459218"/>
                    <a:pt x="216211" y="459218"/>
                  </a:cubicBezTo>
                  <a:lnTo>
                    <a:pt x="216211" y="459218"/>
                  </a:lnTo>
                  <a:close/>
                  <a:moveTo>
                    <a:pt x="22175" y="342796"/>
                  </a:moveTo>
                  <a:cubicBezTo>
                    <a:pt x="22175" y="342796"/>
                    <a:pt x="22175" y="342796"/>
                    <a:pt x="22175" y="342796"/>
                  </a:cubicBezTo>
                  <a:cubicBezTo>
                    <a:pt x="10164" y="342796"/>
                    <a:pt x="0" y="352960"/>
                    <a:pt x="0" y="364972"/>
                  </a:cubicBezTo>
                  <a:cubicBezTo>
                    <a:pt x="0" y="376984"/>
                    <a:pt x="9240" y="387147"/>
                    <a:pt x="21251" y="387147"/>
                  </a:cubicBezTo>
                  <a:cubicBezTo>
                    <a:pt x="29567" y="387147"/>
                    <a:pt x="36035" y="382527"/>
                    <a:pt x="39731" y="376060"/>
                  </a:cubicBezTo>
                  <a:cubicBezTo>
                    <a:pt x="41579" y="373288"/>
                    <a:pt x="42503" y="369592"/>
                    <a:pt x="42503" y="364972"/>
                  </a:cubicBezTo>
                  <a:cubicBezTo>
                    <a:pt x="43427" y="352960"/>
                    <a:pt x="33263" y="342796"/>
                    <a:pt x="22175" y="342796"/>
                  </a:cubicBezTo>
                  <a:lnTo>
                    <a:pt x="22175" y="342796"/>
                  </a:lnTo>
                  <a:close/>
                  <a:moveTo>
                    <a:pt x="21251" y="116421"/>
                  </a:moveTo>
                  <a:cubicBezTo>
                    <a:pt x="9240" y="116421"/>
                    <a:pt x="0" y="126585"/>
                    <a:pt x="0" y="138597"/>
                  </a:cubicBezTo>
                  <a:cubicBezTo>
                    <a:pt x="0" y="150609"/>
                    <a:pt x="10164" y="160772"/>
                    <a:pt x="21251" y="160772"/>
                  </a:cubicBezTo>
                  <a:cubicBezTo>
                    <a:pt x="21251" y="160772"/>
                    <a:pt x="21251" y="160772"/>
                    <a:pt x="21251" y="160772"/>
                  </a:cubicBezTo>
                  <a:cubicBezTo>
                    <a:pt x="33263" y="160772"/>
                    <a:pt x="42503" y="150609"/>
                    <a:pt x="42503" y="138597"/>
                  </a:cubicBezTo>
                  <a:cubicBezTo>
                    <a:pt x="42503" y="134901"/>
                    <a:pt x="41579" y="131205"/>
                    <a:pt x="39731" y="128433"/>
                  </a:cubicBezTo>
                  <a:cubicBezTo>
                    <a:pt x="36959" y="121041"/>
                    <a:pt x="29567" y="116421"/>
                    <a:pt x="21251" y="116421"/>
                  </a:cubicBezTo>
                  <a:lnTo>
                    <a:pt x="21251" y="116421"/>
                  </a:lnTo>
                  <a:close/>
                  <a:moveTo>
                    <a:pt x="411171" y="342796"/>
                  </a:moveTo>
                  <a:cubicBezTo>
                    <a:pt x="411171" y="342796"/>
                    <a:pt x="411171" y="342796"/>
                    <a:pt x="411171" y="342796"/>
                  </a:cubicBezTo>
                  <a:cubicBezTo>
                    <a:pt x="399159" y="342796"/>
                    <a:pt x="388995" y="352960"/>
                    <a:pt x="388995" y="364972"/>
                  </a:cubicBezTo>
                  <a:cubicBezTo>
                    <a:pt x="388995" y="368668"/>
                    <a:pt x="389919" y="372364"/>
                    <a:pt x="391767" y="376060"/>
                  </a:cubicBezTo>
                  <a:cubicBezTo>
                    <a:pt x="395463" y="382527"/>
                    <a:pt x="401931" y="387147"/>
                    <a:pt x="410247" y="387147"/>
                  </a:cubicBezTo>
                  <a:cubicBezTo>
                    <a:pt x="422259" y="387147"/>
                    <a:pt x="431499" y="376984"/>
                    <a:pt x="431499" y="364972"/>
                  </a:cubicBezTo>
                  <a:cubicBezTo>
                    <a:pt x="432422" y="352960"/>
                    <a:pt x="423183" y="342796"/>
                    <a:pt x="411171" y="342796"/>
                  </a:cubicBezTo>
                  <a:lnTo>
                    <a:pt x="411171" y="342796"/>
                  </a:lnTo>
                  <a:close/>
                  <a:moveTo>
                    <a:pt x="410247" y="160772"/>
                  </a:moveTo>
                  <a:cubicBezTo>
                    <a:pt x="411171" y="160772"/>
                    <a:pt x="411171" y="160772"/>
                    <a:pt x="410247" y="160772"/>
                  </a:cubicBezTo>
                  <a:cubicBezTo>
                    <a:pt x="422259" y="160772"/>
                    <a:pt x="431499" y="150609"/>
                    <a:pt x="431499" y="138597"/>
                  </a:cubicBezTo>
                  <a:cubicBezTo>
                    <a:pt x="431499" y="126585"/>
                    <a:pt x="421334" y="116421"/>
                    <a:pt x="410247" y="116421"/>
                  </a:cubicBezTo>
                  <a:cubicBezTo>
                    <a:pt x="401931" y="116421"/>
                    <a:pt x="395463" y="121041"/>
                    <a:pt x="391767" y="127509"/>
                  </a:cubicBezTo>
                  <a:cubicBezTo>
                    <a:pt x="389919" y="130281"/>
                    <a:pt x="388995" y="133977"/>
                    <a:pt x="388995" y="138597"/>
                  </a:cubicBezTo>
                  <a:cubicBezTo>
                    <a:pt x="388995" y="150609"/>
                    <a:pt x="399159" y="160772"/>
                    <a:pt x="410247" y="160772"/>
                  </a:cubicBezTo>
                  <a:lnTo>
                    <a:pt x="410247" y="160772"/>
                  </a:lnTo>
                  <a:close/>
                  <a:moveTo>
                    <a:pt x="104410" y="180176"/>
                  </a:moveTo>
                  <a:lnTo>
                    <a:pt x="104410" y="352036"/>
                  </a:lnTo>
                  <a:lnTo>
                    <a:pt x="326165" y="352036"/>
                  </a:lnTo>
                  <a:moveTo>
                    <a:pt x="129357" y="352036"/>
                  </a:moveTo>
                  <a:lnTo>
                    <a:pt x="162620" y="276270"/>
                  </a:lnTo>
                  <a:lnTo>
                    <a:pt x="223603" y="300293"/>
                  </a:lnTo>
                  <a:lnTo>
                    <a:pt x="312305" y="170936"/>
                  </a:lnTo>
                </a:path>
              </a:pathLst>
            </a:custGeom>
            <a:noFill/>
            <a:ln w="12700" cap="flat">
              <a:solidFill>
                <a:schemeClr val="bg1"/>
              </a:solidFill>
              <a:prstDash val="solid"/>
              <a:miter/>
            </a:ln>
          </p:spPr>
          <p:txBody>
            <a:bodyPr rtlCol="0" anchor="ctr"/>
            <a:lstStyle/>
            <a:p>
              <a:endParaRPr lang="en-US" sz="1765"/>
            </a:p>
          </p:txBody>
        </p:sp>
      </p:grpSp>
      <p:sp>
        <p:nvSpPr>
          <p:cNvPr id="6" name="Rectangle 5">
            <a:extLst>
              <a:ext uri="{FF2B5EF4-FFF2-40B4-BE49-F238E27FC236}">
                <a16:creationId xmlns:a16="http://schemas.microsoft.com/office/drawing/2014/main" id="{D3966B1B-A2D7-6AC0-656A-86DBB5758AD4}"/>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bg1"/>
                </a:solidFill>
                <a:latin typeface="+mn-lt"/>
              </a:rPr>
              <a:t>Microsoft Confidential</a:t>
            </a:r>
          </a:p>
        </p:txBody>
      </p:sp>
      <p:sp>
        <p:nvSpPr>
          <p:cNvPr id="7" name="TextBox 6">
            <a:extLst>
              <a:ext uri="{FF2B5EF4-FFF2-40B4-BE49-F238E27FC236}">
                <a16:creationId xmlns:a16="http://schemas.microsoft.com/office/drawing/2014/main" id="{2D1E0A35-AC01-A024-A472-D67C58C87955}"/>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bg1"/>
                </a:solidFill>
                <a:latin typeface="+mj-lt"/>
              </a:rPr>
              <a:t>Modern Work Enablement</a:t>
            </a:r>
          </a:p>
        </p:txBody>
      </p:sp>
    </p:spTree>
    <p:extLst>
      <p:ext uri="{BB962C8B-B14F-4D97-AF65-F5344CB8AC3E}">
        <p14:creationId xmlns:p14="http://schemas.microsoft.com/office/powerpoint/2010/main" val="973525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1652">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p:ph type="title" hasCustomPrompt="1"/>
          </p:nvPr>
        </p:nvSpPr>
        <p:spPr>
          <a:xfrm>
            <a:off x="572717" y="2889253"/>
            <a:ext cx="3810180" cy="727763"/>
          </a:xfrm>
          <a:noFill/>
        </p:spPr>
        <p:txBody>
          <a:bodyPr lIns="0" tIns="91440" rIns="0" bIns="91440" anchor="b" anchorCtr="0"/>
          <a:lstStyle>
            <a:lvl1pPr>
              <a:defRPr sz="3529" b="1" spc="-99" baseline="0">
                <a:solidFill>
                  <a:schemeClr val="accent3"/>
                </a:solidFill>
              </a:defRPr>
            </a:lvl1pPr>
          </a:lstStyle>
          <a:p>
            <a:r>
              <a:rPr lang="en-US"/>
              <a:t>Presentation title</a:t>
            </a:r>
          </a:p>
        </p:txBody>
      </p:sp>
      <p:sp>
        <p:nvSpPr>
          <p:cNvPr id="16" name="Text Placeholder 4">
            <a:extLst>
              <a:ext uri="{FF2B5EF4-FFF2-40B4-BE49-F238E27FC236}">
                <a16:creationId xmlns:a16="http://schemas.microsoft.com/office/drawing/2014/main" id="{744383EB-BE88-497D-A24B-D7A9C21794EE}"/>
              </a:ext>
            </a:extLst>
          </p:cNvPr>
          <p:cNvSpPr>
            <a:spLocks noGrp="1"/>
          </p:cNvSpPr>
          <p:nvPr>
            <p:ph type="body" sz="quarter" idx="12" hasCustomPrompt="1"/>
          </p:nvPr>
        </p:nvSpPr>
        <p:spPr>
          <a:xfrm>
            <a:off x="572716" y="3916790"/>
            <a:ext cx="3827949"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p:nvPicPr>
        <p:blipFill>
          <a:blip r:embed="rId2"/>
          <a:stretch>
            <a:fillRect/>
          </a:stretch>
        </p:blipFill>
        <p:spPr bwMode="black">
          <a:xfrm>
            <a:off x="572717" y="574356"/>
            <a:ext cx="1339387" cy="286897"/>
          </a:xfrm>
          <a:prstGeom prst="rect">
            <a:avLst/>
          </a:prstGeom>
        </p:spPr>
      </p:pic>
      <p:grpSp>
        <p:nvGrpSpPr>
          <p:cNvPr id="2" name="Group 1">
            <a:extLst>
              <a:ext uri="{FF2B5EF4-FFF2-40B4-BE49-F238E27FC236}">
                <a16:creationId xmlns:a16="http://schemas.microsoft.com/office/drawing/2014/main" id="{8A9BC49A-4C29-468A-9BB6-5069DBB020DF}"/>
              </a:ext>
              <a:ext uri="{C183D7F6-B498-43B3-948B-1728B52AA6E4}">
                <adec:decorative xmlns:adec="http://schemas.microsoft.com/office/drawing/2017/decorative" val="1"/>
              </a:ext>
            </a:extLst>
          </p:cNvPr>
          <p:cNvGrpSpPr/>
          <p:nvPr userDrawn="1"/>
        </p:nvGrpSpPr>
        <p:grpSpPr>
          <a:xfrm>
            <a:off x="4070307" y="1"/>
            <a:ext cx="8121695" cy="6858000"/>
            <a:chOff x="4151925" y="1"/>
            <a:chExt cx="8284551" cy="6994525"/>
          </a:xfrm>
        </p:grpSpPr>
        <p:sp>
          <p:nvSpPr>
            <p:cNvPr id="1164" name="Freeform: Shape 1163">
              <a:extLst>
                <a:ext uri="{FF2B5EF4-FFF2-40B4-BE49-F238E27FC236}">
                  <a16:creationId xmlns:a16="http://schemas.microsoft.com/office/drawing/2014/main" id="{5EA46812-E7FF-4DEB-AEF6-A898128F39AD}"/>
                </a:ext>
                <a:ext uri="{C183D7F6-B498-43B3-948B-1728B52AA6E4}">
                  <adec:decorative xmlns:adec="http://schemas.microsoft.com/office/drawing/2017/decorative" val="1"/>
                </a:ext>
              </a:extLst>
            </p:cNvPr>
            <p:cNvSpPr/>
            <p:nvPr userDrawn="1"/>
          </p:nvSpPr>
          <p:spPr>
            <a:xfrm flipH="1" flipV="1">
              <a:off x="4151925" y="1"/>
              <a:ext cx="2626806" cy="3905171"/>
            </a:xfrm>
            <a:custGeom>
              <a:avLst/>
              <a:gdLst>
                <a:gd name="connsiteX0" fmla="*/ 1200667 w 2626806"/>
                <a:gd name="connsiteY0" fmla="*/ 3105 h 3905171"/>
                <a:gd name="connsiteX1" fmla="*/ 1199844 w 2626806"/>
                <a:gd name="connsiteY1" fmla="*/ 361 h 3905171"/>
                <a:gd name="connsiteX2" fmla="*/ 1200667 w 2626806"/>
                <a:gd name="connsiteY2" fmla="*/ 909 h 3905171"/>
                <a:gd name="connsiteX3" fmla="*/ 1200667 w 2626806"/>
                <a:gd name="connsiteY3" fmla="*/ 3105 h 3905171"/>
                <a:gd name="connsiteX4" fmla="*/ 1126038 w 2626806"/>
                <a:gd name="connsiteY4" fmla="*/ 115049 h 3905171"/>
                <a:gd name="connsiteX5" fmla="*/ 1121648 w 2626806"/>
                <a:gd name="connsiteY5" fmla="*/ 110659 h 3905171"/>
                <a:gd name="connsiteX6" fmla="*/ 1126038 w 2626806"/>
                <a:gd name="connsiteY6" fmla="*/ 106269 h 3905171"/>
                <a:gd name="connsiteX7" fmla="*/ 1130428 w 2626806"/>
                <a:gd name="connsiteY7" fmla="*/ 110659 h 3905171"/>
                <a:gd name="connsiteX8" fmla="*/ 1126038 w 2626806"/>
                <a:gd name="connsiteY8" fmla="*/ 115049 h 3905171"/>
                <a:gd name="connsiteX9" fmla="*/ 924097 w 2626806"/>
                <a:gd name="connsiteY9" fmla="*/ 167725 h 3905171"/>
                <a:gd name="connsiteX10" fmla="*/ 917512 w 2626806"/>
                <a:gd name="connsiteY10" fmla="*/ 161140 h 3905171"/>
                <a:gd name="connsiteX11" fmla="*/ 924097 w 2626806"/>
                <a:gd name="connsiteY11" fmla="*/ 154555 h 3905171"/>
                <a:gd name="connsiteX12" fmla="*/ 930682 w 2626806"/>
                <a:gd name="connsiteY12" fmla="*/ 161140 h 3905171"/>
                <a:gd name="connsiteX13" fmla="*/ 924097 w 2626806"/>
                <a:gd name="connsiteY13" fmla="*/ 167725 h 3905171"/>
                <a:gd name="connsiteX14" fmla="*/ 1259933 w 2626806"/>
                <a:gd name="connsiteY14" fmla="*/ 178707 h 3905171"/>
                <a:gd name="connsiteX15" fmla="*/ 1257738 w 2626806"/>
                <a:gd name="connsiteY15" fmla="*/ 176512 h 3905171"/>
                <a:gd name="connsiteX16" fmla="*/ 1259933 w 2626806"/>
                <a:gd name="connsiteY16" fmla="*/ 174318 h 3905171"/>
                <a:gd name="connsiteX17" fmla="*/ 1262128 w 2626806"/>
                <a:gd name="connsiteY17" fmla="*/ 176512 h 3905171"/>
                <a:gd name="connsiteX18" fmla="*/ 1259933 w 2626806"/>
                <a:gd name="connsiteY18" fmla="*/ 178707 h 3905171"/>
                <a:gd name="connsiteX19" fmla="*/ 1057992 w 2626806"/>
                <a:gd name="connsiteY19" fmla="*/ 229189 h 3905171"/>
                <a:gd name="connsiteX20" fmla="*/ 1053602 w 2626806"/>
                <a:gd name="connsiteY20" fmla="*/ 224799 h 3905171"/>
                <a:gd name="connsiteX21" fmla="*/ 1057992 w 2626806"/>
                <a:gd name="connsiteY21" fmla="*/ 220409 h 3905171"/>
                <a:gd name="connsiteX22" fmla="*/ 1062382 w 2626806"/>
                <a:gd name="connsiteY22" fmla="*/ 224799 h 3905171"/>
                <a:gd name="connsiteX23" fmla="*/ 1057992 w 2626806"/>
                <a:gd name="connsiteY23" fmla="*/ 229189 h 3905171"/>
                <a:gd name="connsiteX24" fmla="*/ 862637 w 2626806"/>
                <a:gd name="connsiteY24" fmla="*/ 284060 h 3905171"/>
                <a:gd name="connsiteX25" fmla="*/ 856052 w 2626806"/>
                <a:gd name="connsiteY25" fmla="*/ 277476 h 3905171"/>
                <a:gd name="connsiteX26" fmla="*/ 862637 w 2626806"/>
                <a:gd name="connsiteY26" fmla="*/ 270890 h 3905171"/>
                <a:gd name="connsiteX27" fmla="*/ 869222 w 2626806"/>
                <a:gd name="connsiteY27" fmla="*/ 277476 h 3905171"/>
                <a:gd name="connsiteX28" fmla="*/ 862637 w 2626806"/>
                <a:gd name="connsiteY28" fmla="*/ 284060 h 3905171"/>
                <a:gd name="connsiteX29" fmla="*/ 676061 w 2626806"/>
                <a:gd name="connsiteY29" fmla="*/ 338932 h 3905171"/>
                <a:gd name="connsiteX30" fmla="*/ 671671 w 2626806"/>
                <a:gd name="connsiteY30" fmla="*/ 334542 h 3905171"/>
                <a:gd name="connsiteX31" fmla="*/ 676061 w 2626806"/>
                <a:gd name="connsiteY31" fmla="*/ 330153 h 3905171"/>
                <a:gd name="connsiteX32" fmla="*/ 680451 w 2626806"/>
                <a:gd name="connsiteY32" fmla="*/ 334542 h 3905171"/>
                <a:gd name="connsiteX33" fmla="*/ 676061 w 2626806"/>
                <a:gd name="connsiteY33" fmla="*/ 338932 h 3905171"/>
                <a:gd name="connsiteX34" fmla="*/ 996532 w 2626806"/>
                <a:gd name="connsiteY34" fmla="*/ 352109 h 3905171"/>
                <a:gd name="connsiteX35" fmla="*/ 987752 w 2626806"/>
                <a:gd name="connsiteY35" fmla="*/ 343329 h 3905171"/>
                <a:gd name="connsiteX36" fmla="*/ 996532 w 2626806"/>
                <a:gd name="connsiteY36" fmla="*/ 334548 h 3905171"/>
                <a:gd name="connsiteX37" fmla="*/ 1005312 w 2626806"/>
                <a:gd name="connsiteY37" fmla="*/ 343329 h 3905171"/>
                <a:gd name="connsiteX38" fmla="*/ 996532 w 2626806"/>
                <a:gd name="connsiteY38" fmla="*/ 352109 h 3905171"/>
                <a:gd name="connsiteX39" fmla="*/ 807762 w 2626806"/>
                <a:gd name="connsiteY39" fmla="*/ 404785 h 3905171"/>
                <a:gd name="connsiteX40" fmla="*/ 803372 w 2626806"/>
                <a:gd name="connsiteY40" fmla="*/ 400395 h 3905171"/>
                <a:gd name="connsiteX41" fmla="*/ 807762 w 2626806"/>
                <a:gd name="connsiteY41" fmla="*/ 396005 h 3905171"/>
                <a:gd name="connsiteX42" fmla="*/ 812152 w 2626806"/>
                <a:gd name="connsiteY42" fmla="*/ 400395 h 3905171"/>
                <a:gd name="connsiteX43" fmla="*/ 807762 w 2626806"/>
                <a:gd name="connsiteY43" fmla="*/ 404785 h 3905171"/>
                <a:gd name="connsiteX44" fmla="*/ 1130428 w 2626806"/>
                <a:gd name="connsiteY44" fmla="*/ 409182 h 3905171"/>
                <a:gd name="connsiteX45" fmla="*/ 1128232 w 2626806"/>
                <a:gd name="connsiteY45" fmla="*/ 406987 h 3905171"/>
                <a:gd name="connsiteX46" fmla="*/ 1130428 w 2626806"/>
                <a:gd name="connsiteY46" fmla="*/ 404792 h 3905171"/>
                <a:gd name="connsiteX47" fmla="*/ 1132623 w 2626806"/>
                <a:gd name="connsiteY47" fmla="*/ 406987 h 3905171"/>
                <a:gd name="connsiteX48" fmla="*/ 1130428 w 2626806"/>
                <a:gd name="connsiteY48" fmla="*/ 409182 h 3905171"/>
                <a:gd name="connsiteX49" fmla="*/ 627771 w 2626806"/>
                <a:gd name="connsiteY49" fmla="*/ 466241 h 3905171"/>
                <a:gd name="connsiteX50" fmla="*/ 621186 w 2626806"/>
                <a:gd name="connsiteY50" fmla="*/ 459656 h 3905171"/>
                <a:gd name="connsiteX51" fmla="*/ 627771 w 2626806"/>
                <a:gd name="connsiteY51" fmla="*/ 453072 h 3905171"/>
                <a:gd name="connsiteX52" fmla="*/ 634356 w 2626806"/>
                <a:gd name="connsiteY52" fmla="*/ 459656 h 3905171"/>
                <a:gd name="connsiteX53" fmla="*/ 627771 w 2626806"/>
                <a:gd name="connsiteY53" fmla="*/ 466241 h 3905171"/>
                <a:gd name="connsiteX54" fmla="*/ 941657 w 2626806"/>
                <a:gd name="connsiteY54" fmla="*/ 470639 h 3905171"/>
                <a:gd name="connsiteX55" fmla="*/ 935072 w 2626806"/>
                <a:gd name="connsiteY55" fmla="*/ 464053 h 3905171"/>
                <a:gd name="connsiteX56" fmla="*/ 941657 w 2626806"/>
                <a:gd name="connsiteY56" fmla="*/ 457468 h 3905171"/>
                <a:gd name="connsiteX57" fmla="*/ 948242 w 2626806"/>
                <a:gd name="connsiteY57" fmla="*/ 464053 h 3905171"/>
                <a:gd name="connsiteX58" fmla="*/ 941657 w 2626806"/>
                <a:gd name="connsiteY58" fmla="*/ 470639 h 3905171"/>
                <a:gd name="connsiteX59" fmla="*/ 761667 w 2626806"/>
                <a:gd name="connsiteY59" fmla="*/ 529905 h 3905171"/>
                <a:gd name="connsiteX60" fmla="*/ 755082 w 2626806"/>
                <a:gd name="connsiteY60" fmla="*/ 523320 h 3905171"/>
                <a:gd name="connsiteX61" fmla="*/ 761667 w 2626806"/>
                <a:gd name="connsiteY61" fmla="*/ 516734 h 3905171"/>
                <a:gd name="connsiteX62" fmla="*/ 768252 w 2626806"/>
                <a:gd name="connsiteY62" fmla="*/ 523320 h 3905171"/>
                <a:gd name="connsiteX63" fmla="*/ 761667 w 2626806"/>
                <a:gd name="connsiteY63" fmla="*/ 529905 h 3905171"/>
                <a:gd name="connsiteX64" fmla="*/ 586066 w 2626806"/>
                <a:gd name="connsiteY64" fmla="*/ 593557 h 3905171"/>
                <a:gd name="connsiteX65" fmla="*/ 579481 w 2626806"/>
                <a:gd name="connsiteY65" fmla="*/ 586972 h 3905171"/>
                <a:gd name="connsiteX66" fmla="*/ 586066 w 2626806"/>
                <a:gd name="connsiteY66" fmla="*/ 580387 h 3905171"/>
                <a:gd name="connsiteX67" fmla="*/ 592651 w 2626806"/>
                <a:gd name="connsiteY67" fmla="*/ 586972 h 3905171"/>
                <a:gd name="connsiteX68" fmla="*/ 586066 w 2626806"/>
                <a:gd name="connsiteY68" fmla="*/ 593557 h 3905171"/>
                <a:gd name="connsiteX69" fmla="*/ 895563 w 2626806"/>
                <a:gd name="connsiteY69" fmla="*/ 593563 h 3905171"/>
                <a:gd name="connsiteX70" fmla="*/ 891173 w 2626806"/>
                <a:gd name="connsiteY70" fmla="*/ 589174 h 3905171"/>
                <a:gd name="connsiteX71" fmla="*/ 895563 w 2626806"/>
                <a:gd name="connsiteY71" fmla="*/ 584784 h 3905171"/>
                <a:gd name="connsiteX72" fmla="*/ 899953 w 2626806"/>
                <a:gd name="connsiteY72" fmla="*/ 589174 h 3905171"/>
                <a:gd name="connsiteX73" fmla="*/ 895563 w 2626806"/>
                <a:gd name="connsiteY73" fmla="*/ 593563 h 3905171"/>
                <a:gd name="connsiteX74" fmla="*/ 1029457 w 2626806"/>
                <a:gd name="connsiteY74" fmla="*/ 657221 h 3905171"/>
                <a:gd name="connsiteX75" fmla="*/ 1025067 w 2626806"/>
                <a:gd name="connsiteY75" fmla="*/ 652833 h 3905171"/>
                <a:gd name="connsiteX76" fmla="*/ 1029457 w 2626806"/>
                <a:gd name="connsiteY76" fmla="*/ 648443 h 3905171"/>
                <a:gd name="connsiteX77" fmla="*/ 1033847 w 2626806"/>
                <a:gd name="connsiteY77" fmla="*/ 652833 h 3905171"/>
                <a:gd name="connsiteX78" fmla="*/ 1029457 w 2626806"/>
                <a:gd name="connsiteY78" fmla="*/ 657221 h 3905171"/>
                <a:gd name="connsiteX79" fmla="*/ 719962 w 2626806"/>
                <a:gd name="connsiteY79" fmla="*/ 661605 h 3905171"/>
                <a:gd name="connsiteX80" fmla="*/ 708987 w 2626806"/>
                <a:gd name="connsiteY80" fmla="*/ 650631 h 3905171"/>
                <a:gd name="connsiteX81" fmla="*/ 719962 w 2626806"/>
                <a:gd name="connsiteY81" fmla="*/ 639656 h 3905171"/>
                <a:gd name="connsiteX82" fmla="*/ 730936 w 2626806"/>
                <a:gd name="connsiteY82" fmla="*/ 650631 h 3905171"/>
                <a:gd name="connsiteX83" fmla="*/ 719962 w 2626806"/>
                <a:gd name="connsiteY83" fmla="*/ 661605 h 3905171"/>
                <a:gd name="connsiteX84" fmla="*/ 550946 w 2626806"/>
                <a:gd name="connsiteY84" fmla="*/ 720866 h 3905171"/>
                <a:gd name="connsiteX85" fmla="*/ 544361 w 2626806"/>
                <a:gd name="connsiteY85" fmla="*/ 714282 h 3905171"/>
                <a:gd name="connsiteX86" fmla="*/ 550946 w 2626806"/>
                <a:gd name="connsiteY86" fmla="*/ 707697 h 3905171"/>
                <a:gd name="connsiteX87" fmla="*/ 557531 w 2626806"/>
                <a:gd name="connsiteY87" fmla="*/ 714282 h 3905171"/>
                <a:gd name="connsiteX88" fmla="*/ 550946 w 2626806"/>
                <a:gd name="connsiteY88" fmla="*/ 720866 h 3905171"/>
                <a:gd name="connsiteX89" fmla="*/ 856052 w 2626806"/>
                <a:gd name="connsiteY89" fmla="*/ 723070 h 3905171"/>
                <a:gd name="connsiteX90" fmla="*/ 849467 w 2626806"/>
                <a:gd name="connsiteY90" fmla="*/ 716484 h 3905171"/>
                <a:gd name="connsiteX91" fmla="*/ 856052 w 2626806"/>
                <a:gd name="connsiteY91" fmla="*/ 709900 h 3905171"/>
                <a:gd name="connsiteX92" fmla="*/ 862637 w 2626806"/>
                <a:gd name="connsiteY92" fmla="*/ 716484 h 3905171"/>
                <a:gd name="connsiteX93" fmla="*/ 856052 w 2626806"/>
                <a:gd name="connsiteY93" fmla="*/ 723070 h 3905171"/>
                <a:gd name="connsiteX94" fmla="*/ 384126 w 2626806"/>
                <a:gd name="connsiteY94" fmla="*/ 782321 h 3905171"/>
                <a:gd name="connsiteX95" fmla="*/ 379736 w 2626806"/>
                <a:gd name="connsiteY95" fmla="*/ 777931 h 3905171"/>
                <a:gd name="connsiteX96" fmla="*/ 384126 w 2626806"/>
                <a:gd name="connsiteY96" fmla="*/ 773541 h 3905171"/>
                <a:gd name="connsiteX97" fmla="*/ 388516 w 2626806"/>
                <a:gd name="connsiteY97" fmla="*/ 777931 h 3905171"/>
                <a:gd name="connsiteX98" fmla="*/ 384126 w 2626806"/>
                <a:gd name="connsiteY98" fmla="*/ 782321 h 3905171"/>
                <a:gd name="connsiteX99" fmla="*/ 992142 w 2626806"/>
                <a:gd name="connsiteY99" fmla="*/ 784532 h 3905171"/>
                <a:gd name="connsiteX100" fmla="*/ 989947 w 2626806"/>
                <a:gd name="connsiteY100" fmla="*/ 782337 h 3905171"/>
                <a:gd name="connsiteX101" fmla="*/ 992142 w 2626806"/>
                <a:gd name="connsiteY101" fmla="*/ 780142 h 3905171"/>
                <a:gd name="connsiteX102" fmla="*/ 994337 w 2626806"/>
                <a:gd name="connsiteY102" fmla="*/ 782337 h 3905171"/>
                <a:gd name="connsiteX103" fmla="*/ 992142 w 2626806"/>
                <a:gd name="connsiteY103" fmla="*/ 784532 h 3905171"/>
                <a:gd name="connsiteX104" fmla="*/ 687037 w 2626806"/>
                <a:gd name="connsiteY104" fmla="*/ 788915 h 3905171"/>
                <a:gd name="connsiteX105" fmla="*/ 678257 w 2626806"/>
                <a:gd name="connsiteY105" fmla="*/ 780135 h 3905171"/>
                <a:gd name="connsiteX106" fmla="*/ 687037 w 2626806"/>
                <a:gd name="connsiteY106" fmla="*/ 771355 h 3905171"/>
                <a:gd name="connsiteX107" fmla="*/ 695817 w 2626806"/>
                <a:gd name="connsiteY107" fmla="*/ 780135 h 3905171"/>
                <a:gd name="connsiteX108" fmla="*/ 687037 w 2626806"/>
                <a:gd name="connsiteY108" fmla="*/ 788915 h 3905171"/>
                <a:gd name="connsiteX109" fmla="*/ 1128232 w 2626806"/>
                <a:gd name="connsiteY109" fmla="*/ 848193 h 3905171"/>
                <a:gd name="connsiteX110" fmla="*/ 1126038 w 2626806"/>
                <a:gd name="connsiteY110" fmla="*/ 845997 h 3905171"/>
                <a:gd name="connsiteX111" fmla="*/ 1128232 w 2626806"/>
                <a:gd name="connsiteY111" fmla="*/ 843803 h 3905171"/>
                <a:gd name="connsiteX112" fmla="*/ 1130428 w 2626806"/>
                <a:gd name="connsiteY112" fmla="*/ 845997 h 3905171"/>
                <a:gd name="connsiteX113" fmla="*/ 1128232 w 2626806"/>
                <a:gd name="connsiteY113" fmla="*/ 848193 h 3905171"/>
                <a:gd name="connsiteX114" fmla="*/ 825322 w 2626806"/>
                <a:gd name="connsiteY114" fmla="*/ 852574 h 3905171"/>
                <a:gd name="connsiteX115" fmla="*/ 818737 w 2626806"/>
                <a:gd name="connsiteY115" fmla="*/ 845989 h 3905171"/>
                <a:gd name="connsiteX116" fmla="*/ 825322 w 2626806"/>
                <a:gd name="connsiteY116" fmla="*/ 839403 h 3905171"/>
                <a:gd name="connsiteX117" fmla="*/ 831907 w 2626806"/>
                <a:gd name="connsiteY117" fmla="*/ 845989 h 3905171"/>
                <a:gd name="connsiteX118" fmla="*/ 825322 w 2626806"/>
                <a:gd name="connsiteY118" fmla="*/ 852574 h 3905171"/>
                <a:gd name="connsiteX119" fmla="*/ 522412 w 2626806"/>
                <a:gd name="connsiteY119" fmla="*/ 854761 h 3905171"/>
                <a:gd name="connsiteX120" fmla="*/ 511437 w 2626806"/>
                <a:gd name="connsiteY120" fmla="*/ 843786 h 3905171"/>
                <a:gd name="connsiteX121" fmla="*/ 522412 w 2626806"/>
                <a:gd name="connsiteY121" fmla="*/ 832812 h 3905171"/>
                <a:gd name="connsiteX122" fmla="*/ 533386 w 2626806"/>
                <a:gd name="connsiteY122" fmla="*/ 843786 h 3905171"/>
                <a:gd name="connsiteX123" fmla="*/ 522412 w 2626806"/>
                <a:gd name="connsiteY123" fmla="*/ 854761 h 3905171"/>
                <a:gd name="connsiteX124" fmla="*/ 963607 w 2626806"/>
                <a:gd name="connsiteY124" fmla="*/ 914039 h 3905171"/>
                <a:gd name="connsiteX125" fmla="*/ 959217 w 2626806"/>
                <a:gd name="connsiteY125" fmla="*/ 909650 h 3905171"/>
                <a:gd name="connsiteX126" fmla="*/ 963607 w 2626806"/>
                <a:gd name="connsiteY126" fmla="*/ 905260 h 3905171"/>
                <a:gd name="connsiteX127" fmla="*/ 967997 w 2626806"/>
                <a:gd name="connsiteY127" fmla="*/ 909650 h 3905171"/>
                <a:gd name="connsiteX128" fmla="*/ 963607 w 2626806"/>
                <a:gd name="connsiteY128" fmla="*/ 914039 h 3905171"/>
                <a:gd name="connsiteX129" fmla="*/ 362176 w 2626806"/>
                <a:gd name="connsiteY129" fmla="*/ 918413 h 3905171"/>
                <a:gd name="connsiteX130" fmla="*/ 353396 w 2626806"/>
                <a:gd name="connsiteY130" fmla="*/ 909633 h 3905171"/>
                <a:gd name="connsiteX131" fmla="*/ 362176 w 2626806"/>
                <a:gd name="connsiteY131" fmla="*/ 900853 h 3905171"/>
                <a:gd name="connsiteX132" fmla="*/ 370956 w 2626806"/>
                <a:gd name="connsiteY132" fmla="*/ 909633 h 3905171"/>
                <a:gd name="connsiteX133" fmla="*/ 362176 w 2626806"/>
                <a:gd name="connsiteY133" fmla="*/ 918413 h 3905171"/>
                <a:gd name="connsiteX134" fmla="*/ 662892 w 2626806"/>
                <a:gd name="connsiteY134" fmla="*/ 922812 h 3905171"/>
                <a:gd name="connsiteX135" fmla="*/ 649722 w 2626806"/>
                <a:gd name="connsiteY135" fmla="*/ 909641 h 3905171"/>
                <a:gd name="connsiteX136" fmla="*/ 662892 w 2626806"/>
                <a:gd name="connsiteY136" fmla="*/ 896470 h 3905171"/>
                <a:gd name="connsiteX137" fmla="*/ 676061 w 2626806"/>
                <a:gd name="connsiteY137" fmla="*/ 909641 h 3905171"/>
                <a:gd name="connsiteX138" fmla="*/ 662892 w 2626806"/>
                <a:gd name="connsiteY138" fmla="*/ 922812 h 3905171"/>
                <a:gd name="connsiteX139" fmla="*/ 801177 w 2626806"/>
                <a:gd name="connsiteY139" fmla="*/ 982080 h 3905171"/>
                <a:gd name="connsiteX140" fmla="*/ 792397 w 2626806"/>
                <a:gd name="connsiteY140" fmla="*/ 973300 h 3905171"/>
                <a:gd name="connsiteX141" fmla="*/ 801177 w 2626806"/>
                <a:gd name="connsiteY141" fmla="*/ 964521 h 3905171"/>
                <a:gd name="connsiteX142" fmla="*/ 809957 w 2626806"/>
                <a:gd name="connsiteY142" fmla="*/ 973300 h 3905171"/>
                <a:gd name="connsiteX143" fmla="*/ 801177 w 2626806"/>
                <a:gd name="connsiteY143" fmla="*/ 982080 h 3905171"/>
                <a:gd name="connsiteX144" fmla="*/ 502657 w 2626806"/>
                <a:gd name="connsiteY144" fmla="*/ 990852 h 3905171"/>
                <a:gd name="connsiteX145" fmla="*/ 487291 w 2626806"/>
                <a:gd name="connsiteY145" fmla="*/ 975487 h 3905171"/>
                <a:gd name="connsiteX146" fmla="*/ 502657 w 2626806"/>
                <a:gd name="connsiteY146" fmla="*/ 960123 h 3905171"/>
                <a:gd name="connsiteX147" fmla="*/ 518022 w 2626806"/>
                <a:gd name="connsiteY147" fmla="*/ 975487 h 3905171"/>
                <a:gd name="connsiteX148" fmla="*/ 502657 w 2626806"/>
                <a:gd name="connsiteY148" fmla="*/ 990852 h 3905171"/>
                <a:gd name="connsiteX149" fmla="*/ 941657 w 2626806"/>
                <a:gd name="connsiteY149" fmla="*/ 1047934 h 3905171"/>
                <a:gd name="connsiteX150" fmla="*/ 935072 w 2626806"/>
                <a:gd name="connsiteY150" fmla="*/ 1041349 h 3905171"/>
                <a:gd name="connsiteX151" fmla="*/ 941657 w 2626806"/>
                <a:gd name="connsiteY151" fmla="*/ 1034764 h 3905171"/>
                <a:gd name="connsiteX152" fmla="*/ 948242 w 2626806"/>
                <a:gd name="connsiteY152" fmla="*/ 1041349 h 3905171"/>
                <a:gd name="connsiteX153" fmla="*/ 941657 w 2626806"/>
                <a:gd name="connsiteY153" fmla="*/ 1047934 h 3905171"/>
                <a:gd name="connsiteX154" fmla="*/ 344616 w 2626806"/>
                <a:gd name="connsiteY154" fmla="*/ 1052308 h 3905171"/>
                <a:gd name="connsiteX155" fmla="*/ 333641 w 2626806"/>
                <a:gd name="connsiteY155" fmla="*/ 1041333 h 3905171"/>
                <a:gd name="connsiteX156" fmla="*/ 344616 w 2626806"/>
                <a:gd name="connsiteY156" fmla="*/ 1030358 h 3905171"/>
                <a:gd name="connsiteX157" fmla="*/ 355591 w 2626806"/>
                <a:gd name="connsiteY157" fmla="*/ 1041333 h 3905171"/>
                <a:gd name="connsiteX158" fmla="*/ 344616 w 2626806"/>
                <a:gd name="connsiteY158" fmla="*/ 1052308 h 3905171"/>
                <a:gd name="connsiteX159" fmla="*/ 643136 w 2626806"/>
                <a:gd name="connsiteY159" fmla="*/ 1052315 h 3905171"/>
                <a:gd name="connsiteX160" fmla="*/ 629966 w 2626806"/>
                <a:gd name="connsiteY160" fmla="*/ 1041339 h 3905171"/>
                <a:gd name="connsiteX161" fmla="*/ 643136 w 2626806"/>
                <a:gd name="connsiteY161" fmla="*/ 1028170 h 3905171"/>
                <a:gd name="connsiteX162" fmla="*/ 656306 w 2626806"/>
                <a:gd name="connsiteY162" fmla="*/ 1039145 h 3905171"/>
                <a:gd name="connsiteX163" fmla="*/ 643136 w 2626806"/>
                <a:gd name="connsiteY163" fmla="*/ 1052315 h 3905171"/>
                <a:gd name="connsiteX164" fmla="*/ 190966 w 2626806"/>
                <a:gd name="connsiteY164" fmla="*/ 1111568 h 3905171"/>
                <a:gd name="connsiteX165" fmla="*/ 186576 w 2626806"/>
                <a:gd name="connsiteY165" fmla="*/ 1107179 h 3905171"/>
                <a:gd name="connsiteX166" fmla="*/ 190966 w 2626806"/>
                <a:gd name="connsiteY166" fmla="*/ 1102790 h 3905171"/>
                <a:gd name="connsiteX167" fmla="*/ 195356 w 2626806"/>
                <a:gd name="connsiteY167" fmla="*/ 1107179 h 3905171"/>
                <a:gd name="connsiteX168" fmla="*/ 190966 w 2626806"/>
                <a:gd name="connsiteY168" fmla="*/ 1111568 h 3905171"/>
                <a:gd name="connsiteX169" fmla="*/ 1082137 w 2626806"/>
                <a:gd name="connsiteY169" fmla="*/ 1111597 h 3905171"/>
                <a:gd name="connsiteX170" fmla="*/ 1077747 w 2626806"/>
                <a:gd name="connsiteY170" fmla="*/ 1107205 h 3905171"/>
                <a:gd name="connsiteX171" fmla="*/ 1082137 w 2626806"/>
                <a:gd name="connsiteY171" fmla="*/ 1102815 h 3905171"/>
                <a:gd name="connsiteX172" fmla="*/ 1086527 w 2626806"/>
                <a:gd name="connsiteY172" fmla="*/ 1107205 h 3905171"/>
                <a:gd name="connsiteX173" fmla="*/ 1082137 w 2626806"/>
                <a:gd name="connsiteY173" fmla="*/ 1111597 h 3905171"/>
                <a:gd name="connsiteX174" fmla="*/ 785812 w 2626806"/>
                <a:gd name="connsiteY174" fmla="*/ 1113780 h 3905171"/>
                <a:gd name="connsiteX175" fmla="*/ 779227 w 2626806"/>
                <a:gd name="connsiteY175" fmla="*/ 1107195 h 3905171"/>
                <a:gd name="connsiteX176" fmla="*/ 785812 w 2626806"/>
                <a:gd name="connsiteY176" fmla="*/ 1100611 h 3905171"/>
                <a:gd name="connsiteX177" fmla="*/ 792397 w 2626806"/>
                <a:gd name="connsiteY177" fmla="*/ 1107195 h 3905171"/>
                <a:gd name="connsiteX178" fmla="*/ 785812 w 2626806"/>
                <a:gd name="connsiteY178" fmla="*/ 1113780 h 3905171"/>
                <a:gd name="connsiteX179" fmla="*/ 487291 w 2626806"/>
                <a:gd name="connsiteY179" fmla="*/ 1118161 h 3905171"/>
                <a:gd name="connsiteX180" fmla="*/ 476316 w 2626806"/>
                <a:gd name="connsiteY180" fmla="*/ 1107187 h 3905171"/>
                <a:gd name="connsiteX181" fmla="*/ 487291 w 2626806"/>
                <a:gd name="connsiteY181" fmla="*/ 1096211 h 3905171"/>
                <a:gd name="connsiteX182" fmla="*/ 498267 w 2626806"/>
                <a:gd name="connsiteY182" fmla="*/ 1107187 h 3905171"/>
                <a:gd name="connsiteX183" fmla="*/ 487291 w 2626806"/>
                <a:gd name="connsiteY183" fmla="*/ 1118161 h 3905171"/>
                <a:gd name="connsiteX184" fmla="*/ 928488 w 2626806"/>
                <a:gd name="connsiteY184" fmla="*/ 1179636 h 3905171"/>
                <a:gd name="connsiteX185" fmla="*/ 921902 w 2626806"/>
                <a:gd name="connsiteY185" fmla="*/ 1173050 h 3905171"/>
                <a:gd name="connsiteX186" fmla="*/ 928488 w 2626806"/>
                <a:gd name="connsiteY186" fmla="*/ 1166466 h 3905171"/>
                <a:gd name="connsiteX187" fmla="*/ 935072 w 2626806"/>
                <a:gd name="connsiteY187" fmla="*/ 1173050 h 3905171"/>
                <a:gd name="connsiteX188" fmla="*/ 928488 w 2626806"/>
                <a:gd name="connsiteY188" fmla="*/ 1179636 h 3905171"/>
                <a:gd name="connsiteX189" fmla="*/ 335836 w 2626806"/>
                <a:gd name="connsiteY189" fmla="*/ 1184007 h 3905171"/>
                <a:gd name="connsiteX190" fmla="*/ 324861 w 2626806"/>
                <a:gd name="connsiteY190" fmla="*/ 1173034 h 3905171"/>
                <a:gd name="connsiteX191" fmla="*/ 335836 w 2626806"/>
                <a:gd name="connsiteY191" fmla="*/ 1162058 h 3905171"/>
                <a:gd name="connsiteX192" fmla="*/ 346811 w 2626806"/>
                <a:gd name="connsiteY192" fmla="*/ 1173034 h 3905171"/>
                <a:gd name="connsiteX193" fmla="*/ 335836 w 2626806"/>
                <a:gd name="connsiteY193" fmla="*/ 1184007 h 3905171"/>
                <a:gd name="connsiteX194" fmla="*/ 632161 w 2626806"/>
                <a:gd name="connsiteY194" fmla="*/ 1186210 h 3905171"/>
                <a:gd name="connsiteX195" fmla="*/ 618991 w 2626806"/>
                <a:gd name="connsiteY195" fmla="*/ 1173040 h 3905171"/>
                <a:gd name="connsiteX196" fmla="*/ 632161 w 2626806"/>
                <a:gd name="connsiteY196" fmla="*/ 1159871 h 3905171"/>
                <a:gd name="connsiteX197" fmla="*/ 645332 w 2626806"/>
                <a:gd name="connsiteY197" fmla="*/ 1173040 h 3905171"/>
                <a:gd name="connsiteX198" fmla="*/ 632161 w 2626806"/>
                <a:gd name="connsiteY198" fmla="*/ 1186210 h 3905171"/>
                <a:gd name="connsiteX199" fmla="*/ 1073357 w 2626806"/>
                <a:gd name="connsiteY199" fmla="*/ 1243268 h 3905171"/>
                <a:gd name="connsiteX200" fmla="*/ 1068967 w 2626806"/>
                <a:gd name="connsiteY200" fmla="*/ 1238878 h 3905171"/>
                <a:gd name="connsiteX201" fmla="*/ 1073357 w 2626806"/>
                <a:gd name="connsiteY201" fmla="*/ 1234489 h 3905171"/>
                <a:gd name="connsiteX202" fmla="*/ 1077747 w 2626806"/>
                <a:gd name="connsiteY202" fmla="*/ 1238878 h 3905171"/>
                <a:gd name="connsiteX203" fmla="*/ 1073357 w 2626806"/>
                <a:gd name="connsiteY203" fmla="*/ 1243268 h 3905171"/>
                <a:gd name="connsiteX204" fmla="*/ 184380 w 2626806"/>
                <a:gd name="connsiteY204" fmla="*/ 1247655 h 3905171"/>
                <a:gd name="connsiteX205" fmla="*/ 175600 w 2626806"/>
                <a:gd name="connsiteY205" fmla="*/ 1238875 h 3905171"/>
                <a:gd name="connsiteX206" fmla="*/ 184380 w 2626806"/>
                <a:gd name="connsiteY206" fmla="*/ 1230096 h 3905171"/>
                <a:gd name="connsiteX207" fmla="*/ 193160 w 2626806"/>
                <a:gd name="connsiteY207" fmla="*/ 1238875 h 3905171"/>
                <a:gd name="connsiteX208" fmla="*/ 184380 w 2626806"/>
                <a:gd name="connsiteY208" fmla="*/ 1247655 h 3905171"/>
                <a:gd name="connsiteX209" fmla="*/ 777032 w 2626806"/>
                <a:gd name="connsiteY209" fmla="*/ 1249851 h 3905171"/>
                <a:gd name="connsiteX210" fmla="*/ 768252 w 2626806"/>
                <a:gd name="connsiteY210" fmla="*/ 1241072 h 3905171"/>
                <a:gd name="connsiteX211" fmla="*/ 777032 w 2626806"/>
                <a:gd name="connsiteY211" fmla="*/ 1232294 h 3905171"/>
                <a:gd name="connsiteX212" fmla="*/ 785812 w 2626806"/>
                <a:gd name="connsiteY212" fmla="*/ 1241072 h 3905171"/>
                <a:gd name="connsiteX213" fmla="*/ 777032 w 2626806"/>
                <a:gd name="connsiteY213" fmla="*/ 1249851 h 3905171"/>
                <a:gd name="connsiteX214" fmla="*/ 480706 w 2626806"/>
                <a:gd name="connsiteY214" fmla="*/ 1252047 h 3905171"/>
                <a:gd name="connsiteX215" fmla="*/ 467536 w 2626806"/>
                <a:gd name="connsiteY215" fmla="*/ 1238878 h 3905171"/>
                <a:gd name="connsiteX216" fmla="*/ 480706 w 2626806"/>
                <a:gd name="connsiteY216" fmla="*/ 1225707 h 3905171"/>
                <a:gd name="connsiteX217" fmla="*/ 493877 w 2626806"/>
                <a:gd name="connsiteY217" fmla="*/ 1238878 h 3905171"/>
                <a:gd name="connsiteX218" fmla="*/ 480706 w 2626806"/>
                <a:gd name="connsiteY218" fmla="*/ 1252047 h 3905171"/>
                <a:gd name="connsiteX219" fmla="*/ 1220423 w 2626806"/>
                <a:gd name="connsiteY219" fmla="*/ 1309118 h 3905171"/>
                <a:gd name="connsiteX220" fmla="*/ 1218228 w 2626806"/>
                <a:gd name="connsiteY220" fmla="*/ 1306923 h 3905171"/>
                <a:gd name="connsiteX221" fmla="*/ 1220423 w 2626806"/>
                <a:gd name="connsiteY221" fmla="*/ 1304729 h 3905171"/>
                <a:gd name="connsiteX222" fmla="*/ 1222618 w 2626806"/>
                <a:gd name="connsiteY222" fmla="*/ 1306923 h 3905171"/>
                <a:gd name="connsiteX223" fmla="*/ 1220423 w 2626806"/>
                <a:gd name="connsiteY223" fmla="*/ 1309118 h 3905171"/>
                <a:gd name="connsiteX224" fmla="*/ 924097 w 2626806"/>
                <a:gd name="connsiteY224" fmla="*/ 1313508 h 3905171"/>
                <a:gd name="connsiteX225" fmla="*/ 917512 w 2626806"/>
                <a:gd name="connsiteY225" fmla="*/ 1306923 h 3905171"/>
                <a:gd name="connsiteX226" fmla="*/ 924097 w 2626806"/>
                <a:gd name="connsiteY226" fmla="*/ 1300336 h 3905171"/>
                <a:gd name="connsiteX227" fmla="*/ 930682 w 2626806"/>
                <a:gd name="connsiteY227" fmla="*/ 1306923 h 3905171"/>
                <a:gd name="connsiteX228" fmla="*/ 924097 w 2626806"/>
                <a:gd name="connsiteY228" fmla="*/ 1313508 h 3905171"/>
                <a:gd name="connsiteX229" fmla="*/ 331446 w 2626806"/>
                <a:gd name="connsiteY229" fmla="*/ 1317896 h 3905171"/>
                <a:gd name="connsiteX230" fmla="*/ 320471 w 2626806"/>
                <a:gd name="connsiteY230" fmla="*/ 1306921 h 3905171"/>
                <a:gd name="connsiteX231" fmla="*/ 331446 w 2626806"/>
                <a:gd name="connsiteY231" fmla="*/ 1295947 h 3905171"/>
                <a:gd name="connsiteX232" fmla="*/ 342421 w 2626806"/>
                <a:gd name="connsiteY232" fmla="*/ 1306921 h 3905171"/>
                <a:gd name="connsiteX233" fmla="*/ 331446 w 2626806"/>
                <a:gd name="connsiteY233" fmla="*/ 1317896 h 3905171"/>
                <a:gd name="connsiteX234" fmla="*/ 627771 w 2626806"/>
                <a:gd name="connsiteY234" fmla="*/ 1322289 h 3905171"/>
                <a:gd name="connsiteX235" fmla="*/ 612407 w 2626806"/>
                <a:gd name="connsiteY235" fmla="*/ 1306923 h 3905171"/>
                <a:gd name="connsiteX236" fmla="*/ 627771 w 2626806"/>
                <a:gd name="connsiteY236" fmla="*/ 1291557 h 3905171"/>
                <a:gd name="connsiteX237" fmla="*/ 643136 w 2626806"/>
                <a:gd name="connsiteY237" fmla="*/ 1306923 h 3905171"/>
                <a:gd name="connsiteX238" fmla="*/ 627771 w 2626806"/>
                <a:gd name="connsiteY238" fmla="*/ 1322289 h 3905171"/>
                <a:gd name="connsiteX239" fmla="*/ 1073357 w 2626806"/>
                <a:gd name="connsiteY239" fmla="*/ 1374967 h 3905171"/>
                <a:gd name="connsiteX240" fmla="*/ 1071162 w 2626806"/>
                <a:gd name="connsiteY240" fmla="*/ 1372772 h 3905171"/>
                <a:gd name="connsiteX241" fmla="*/ 1073357 w 2626806"/>
                <a:gd name="connsiteY241" fmla="*/ 1370577 h 3905171"/>
                <a:gd name="connsiteX242" fmla="*/ 1075553 w 2626806"/>
                <a:gd name="connsiteY242" fmla="*/ 1372772 h 3905171"/>
                <a:gd name="connsiteX243" fmla="*/ 1073357 w 2626806"/>
                <a:gd name="connsiteY243" fmla="*/ 1374967 h 3905171"/>
                <a:gd name="connsiteX244" fmla="*/ 184380 w 2626806"/>
                <a:gd name="connsiteY244" fmla="*/ 1383745 h 3905171"/>
                <a:gd name="connsiteX245" fmla="*/ 173405 w 2626806"/>
                <a:gd name="connsiteY245" fmla="*/ 1372769 h 3905171"/>
                <a:gd name="connsiteX246" fmla="*/ 184380 w 2626806"/>
                <a:gd name="connsiteY246" fmla="*/ 1361794 h 3905171"/>
                <a:gd name="connsiteX247" fmla="*/ 195356 w 2626806"/>
                <a:gd name="connsiteY247" fmla="*/ 1372769 h 3905171"/>
                <a:gd name="connsiteX248" fmla="*/ 184380 w 2626806"/>
                <a:gd name="connsiteY248" fmla="*/ 1383745 h 3905171"/>
                <a:gd name="connsiteX249" fmla="*/ 777032 w 2626806"/>
                <a:gd name="connsiteY249" fmla="*/ 1383748 h 3905171"/>
                <a:gd name="connsiteX250" fmla="*/ 766057 w 2626806"/>
                <a:gd name="connsiteY250" fmla="*/ 1372772 h 3905171"/>
                <a:gd name="connsiteX251" fmla="*/ 777032 w 2626806"/>
                <a:gd name="connsiteY251" fmla="*/ 1361796 h 3905171"/>
                <a:gd name="connsiteX252" fmla="*/ 788007 w 2626806"/>
                <a:gd name="connsiteY252" fmla="*/ 1372772 h 3905171"/>
                <a:gd name="connsiteX253" fmla="*/ 777032 w 2626806"/>
                <a:gd name="connsiteY253" fmla="*/ 1383748 h 3905171"/>
                <a:gd name="connsiteX254" fmla="*/ 480706 w 2626806"/>
                <a:gd name="connsiteY254" fmla="*/ 1385943 h 3905171"/>
                <a:gd name="connsiteX255" fmla="*/ 467536 w 2626806"/>
                <a:gd name="connsiteY255" fmla="*/ 1372772 h 3905171"/>
                <a:gd name="connsiteX256" fmla="*/ 480706 w 2626806"/>
                <a:gd name="connsiteY256" fmla="*/ 1359601 h 3905171"/>
                <a:gd name="connsiteX257" fmla="*/ 493877 w 2626806"/>
                <a:gd name="connsiteY257" fmla="*/ 1372772 h 3905171"/>
                <a:gd name="connsiteX258" fmla="*/ 480706 w 2626806"/>
                <a:gd name="connsiteY258" fmla="*/ 1385943 h 3905171"/>
                <a:gd name="connsiteX259" fmla="*/ 1224813 w 2626806"/>
                <a:gd name="connsiteY259" fmla="*/ 1443018 h 3905171"/>
                <a:gd name="connsiteX260" fmla="*/ 1220423 w 2626806"/>
                <a:gd name="connsiteY260" fmla="*/ 1438627 h 3905171"/>
                <a:gd name="connsiteX261" fmla="*/ 1224813 w 2626806"/>
                <a:gd name="connsiteY261" fmla="*/ 1434235 h 3905171"/>
                <a:gd name="connsiteX262" fmla="*/ 1229203 w 2626806"/>
                <a:gd name="connsiteY262" fmla="*/ 1438627 h 3905171"/>
                <a:gd name="connsiteX263" fmla="*/ 1224813 w 2626806"/>
                <a:gd name="connsiteY263" fmla="*/ 1443018 h 3905171"/>
                <a:gd name="connsiteX264" fmla="*/ 928488 w 2626806"/>
                <a:gd name="connsiteY264" fmla="*/ 1447408 h 3905171"/>
                <a:gd name="connsiteX265" fmla="*/ 919708 w 2626806"/>
                <a:gd name="connsiteY265" fmla="*/ 1438627 h 3905171"/>
                <a:gd name="connsiteX266" fmla="*/ 928488 w 2626806"/>
                <a:gd name="connsiteY266" fmla="*/ 1429847 h 3905171"/>
                <a:gd name="connsiteX267" fmla="*/ 937268 w 2626806"/>
                <a:gd name="connsiteY267" fmla="*/ 1438627 h 3905171"/>
                <a:gd name="connsiteX268" fmla="*/ 928488 w 2626806"/>
                <a:gd name="connsiteY268" fmla="*/ 1447408 h 3905171"/>
                <a:gd name="connsiteX269" fmla="*/ 335836 w 2626806"/>
                <a:gd name="connsiteY269" fmla="*/ 1449601 h 3905171"/>
                <a:gd name="connsiteX270" fmla="*/ 324861 w 2626806"/>
                <a:gd name="connsiteY270" fmla="*/ 1438625 h 3905171"/>
                <a:gd name="connsiteX271" fmla="*/ 335836 w 2626806"/>
                <a:gd name="connsiteY271" fmla="*/ 1427650 h 3905171"/>
                <a:gd name="connsiteX272" fmla="*/ 346811 w 2626806"/>
                <a:gd name="connsiteY272" fmla="*/ 1438625 h 3905171"/>
                <a:gd name="connsiteX273" fmla="*/ 335836 w 2626806"/>
                <a:gd name="connsiteY273" fmla="*/ 1449601 h 3905171"/>
                <a:gd name="connsiteX274" fmla="*/ 632161 w 2626806"/>
                <a:gd name="connsiteY274" fmla="*/ 1453993 h 3905171"/>
                <a:gd name="connsiteX275" fmla="*/ 616797 w 2626806"/>
                <a:gd name="connsiteY275" fmla="*/ 1438627 h 3905171"/>
                <a:gd name="connsiteX276" fmla="*/ 632161 w 2626806"/>
                <a:gd name="connsiteY276" fmla="*/ 1423261 h 3905171"/>
                <a:gd name="connsiteX277" fmla="*/ 647526 w 2626806"/>
                <a:gd name="connsiteY277" fmla="*/ 1438627 h 3905171"/>
                <a:gd name="connsiteX278" fmla="*/ 632161 w 2626806"/>
                <a:gd name="connsiteY278" fmla="*/ 1453993 h 3905171"/>
                <a:gd name="connsiteX279" fmla="*/ 1380658 w 2626806"/>
                <a:gd name="connsiteY279" fmla="*/ 1508871 h 3905171"/>
                <a:gd name="connsiteX280" fmla="*/ 1378462 w 2626806"/>
                <a:gd name="connsiteY280" fmla="*/ 1506674 h 3905171"/>
                <a:gd name="connsiteX281" fmla="*/ 1380658 w 2626806"/>
                <a:gd name="connsiteY281" fmla="*/ 1504479 h 3905171"/>
                <a:gd name="connsiteX282" fmla="*/ 1382853 w 2626806"/>
                <a:gd name="connsiteY282" fmla="*/ 1506674 h 3905171"/>
                <a:gd name="connsiteX283" fmla="*/ 1380658 w 2626806"/>
                <a:gd name="connsiteY283" fmla="*/ 1508871 h 3905171"/>
                <a:gd name="connsiteX284" fmla="*/ 1082137 w 2626806"/>
                <a:gd name="connsiteY284" fmla="*/ 1511065 h 3905171"/>
                <a:gd name="connsiteX285" fmla="*/ 1077747 w 2626806"/>
                <a:gd name="connsiteY285" fmla="*/ 1506674 h 3905171"/>
                <a:gd name="connsiteX286" fmla="*/ 1082137 w 2626806"/>
                <a:gd name="connsiteY286" fmla="*/ 1502284 h 3905171"/>
                <a:gd name="connsiteX287" fmla="*/ 1086527 w 2626806"/>
                <a:gd name="connsiteY287" fmla="*/ 1506674 h 3905171"/>
                <a:gd name="connsiteX288" fmla="*/ 1082137 w 2626806"/>
                <a:gd name="connsiteY288" fmla="*/ 1511065 h 3905171"/>
                <a:gd name="connsiteX289" fmla="*/ 785812 w 2626806"/>
                <a:gd name="connsiteY289" fmla="*/ 1515453 h 3905171"/>
                <a:gd name="connsiteX290" fmla="*/ 774837 w 2626806"/>
                <a:gd name="connsiteY290" fmla="*/ 1504479 h 3905171"/>
                <a:gd name="connsiteX291" fmla="*/ 785812 w 2626806"/>
                <a:gd name="connsiteY291" fmla="*/ 1493504 h 3905171"/>
                <a:gd name="connsiteX292" fmla="*/ 796787 w 2626806"/>
                <a:gd name="connsiteY292" fmla="*/ 1504479 h 3905171"/>
                <a:gd name="connsiteX293" fmla="*/ 785812 w 2626806"/>
                <a:gd name="connsiteY293" fmla="*/ 1515453 h 3905171"/>
                <a:gd name="connsiteX294" fmla="*/ 487291 w 2626806"/>
                <a:gd name="connsiteY294" fmla="*/ 1519845 h 3905171"/>
                <a:gd name="connsiteX295" fmla="*/ 474122 w 2626806"/>
                <a:gd name="connsiteY295" fmla="*/ 1506673 h 3905171"/>
                <a:gd name="connsiteX296" fmla="*/ 487291 w 2626806"/>
                <a:gd name="connsiteY296" fmla="*/ 1493504 h 3905171"/>
                <a:gd name="connsiteX297" fmla="*/ 500461 w 2626806"/>
                <a:gd name="connsiteY297" fmla="*/ 1506673 h 3905171"/>
                <a:gd name="connsiteX298" fmla="*/ 487291 w 2626806"/>
                <a:gd name="connsiteY298" fmla="*/ 1519845 h 3905171"/>
                <a:gd name="connsiteX299" fmla="*/ 190966 w 2626806"/>
                <a:gd name="connsiteY299" fmla="*/ 1522037 h 3905171"/>
                <a:gd name="connsiteX300" fmla="*/ 175600 w 2626806"/>
                <a:gd name="connsiteY300" fmla="*/ 1506672 h 3905171"/>
                <a:gd name="connsiteX301" fmla="*/ 190966 w 2626806"/>
                <a:gd name="connsiteY301" fmla="*/ 1491306 h 3905171"/>
                <a:gd name="connsiteX302" fmla="*/ 206330 w 2626806"/>
                <a:gd name="connsiteY302" fmla="*/ 1506672 h 3905171"/>
                <a:gd name="connsiteX303" fmla="*/ 190966 w 2626806"/>
                <a:gd name="connsiteY303" fmla="*/ 1522037 h 3905171"/>
                <a:gd name="connsiteX304" fmla="*/ 48291 w 2626806"/>
                <a:gd name="connsiteY304" fmla="*/ 1574711 h 3905171"/>
                <a:gd name="connsiteX305" fmla="*/ 46095 w 2626806"/>
                <a:gd name="connsiteY305" fmla="*/ 1572515 h 3905171"/>
                <a:gd name="connsiteX306" fmla="*/ 48291 w 2626806"/>
                <a:gd name="connsiteY306" fmla="*/ 1570320 h 3905171"/>
                <a:gd name="connsiteX307" fmla="*/ 50485 w 2626806"/>
                <a:gd name="connsiteY307" fmla="*/ 1572515 h 3905171"/>
                <a:gd name="connsiteX308" fmla="*/ 48291 w 2626806"/>
                <a:gd name="connsiteY308" fmla="*/ 1574711 h 3905171"/>
                <a:gd name="connsiteX309" fmla="*/ 1240178 w 2626806"/>
                <a:gd name="connsiteY309" fmla="*/ 1574718 h 3905171"/>
                <a:gd name="connsiteX310" fmla="*/ 1235788 w 2626806"/>
                <a:gd name="connsiteY310" fmla="*/ 1570330 h 3905171"/>
                <a:gd name="connsiteX311" fmla="*/ 1240178 w 2626806"/>
                <a:gd name="connsiteY311" fmla="*/ 1565939 h 3905171"/>
                <a:gd name="connsiteX312" fmla="*/ 1244568 w 2626806"/>
                <a:gd name="connsiteY312" fmla="*/ 1570330 h 3905171"/>
                <a:gd name="connsiteX313" fmla="*/ 1240178 w 2626806"/>
                <a:gd name="connsiteY313" fmla="*/ 1574718 h 3905171"/>
                <a:gd name="connsiteX314" fmla="*/ 941658 w 2626806"/>
                <a:gd name="connsiteY314" fmla="*/ 1581301 h 3905171"/>
                <a:gd name="connsiteX315" fmla="*/ 930682 w 2626806"/>
                <a:gd name="connsiteY315" fmla="*/ 1570330 h 3905171"/>
                <a:gd name="connsiteX316" fmla="*/ 941658 w 2626806"/>
                <a:gd name="connsiteY316" fmla="*/ 1559352 h 3905171"/>
                <a:gd name="connsiteX317" fmla="*/ 952633 w 2626806"/>
                <a:gd name="connsiteY317" fmla="*/ 1570330 h 3905171"/>
                <a:gd name="connsiteX318" fmla="*/ 941658 w 2626806"/>
                <a:gd name="connsiteY318" fmla="*/ 1581301 h 3905171"/>
                <a:gd name="connsiteX319" fmla="*/ 344616 w 2626806"/>
                <a:gd name="connsiteY319" fmla="*/ 1583497 h 3905171"/>
                <a:gd name="connsiteX320" fmla="*/ 331446 w 2626806"/>
                <a:gd name="connsiteY320" fmla="*/ 1570326 h 3905171"/>
                <a:gd name="connsiteX321" fmla="*/ 344616 w 2626806"/>
                <a:gd name="connsiteY321" fmla="*/ 1557157 h 3905171"/>
                <a:gd name="connsiteX322" fmla="*/ 357786 w 2626806"/>
                <a:gd name="connsiteY322" fmla="*/ 1570326 h 3905171"/>
                <a:gd name="connsiteX323" fmla="*/ 344616 w 2626806"/>
                <a:gd name="connsiteY323" fmla="*/ 1583497 h 3905171"/>
                <a:gd name="connsiteX324" fmla="*/ 643136 w 2626806"/>
                <a:gd name="connsiteY324" fmla="*/ 1587890 h 3905171"/>
                <a:gd name="connsiteX325" fmla="*/ 627771 w 2626806"/>
                <a:gd name="connsiteY325" fmla="*/ 1572522 h 3905171"/>
                <a:gd name="connsiteX326" fmla="*/ 643136 w 2626806"/>
                <a:gd name="connsiteY326" fmla="*/ 1557159 h 3905171"/>
                <a:gd name="connsiteX327" fmla="*/ 658502 w 2626806"/>
                <a:gd name="connsiteY327" fmla="*/ 1572522 h 3905171"/>
                <a:gd name="connsiteX328" fmla="*/ 643136 w 2626806"/>
                <a:gd name="connsiteY328" fmla="*/ 1587890 h 3905171"/>
                <a:gd name="connsiteX329" fmla="*/ 1402608 w 2626806"/>
                <a:gd name="connsiteY329" fmla="*/ 1640569 h 3905171"/>
                <a:gd name="connsiteX330" fmla="*/ 1398218 w 2626806"/>
                <a:gd name="connsiteY330" fmla="*/ 1636179 h 3905171"/>
                <a:gd name="connsiteX331" fmla="*/ 1402608 w 2626806"/>
                <a:gd name="connsiteY331" fmla="*/ 1631790 h 3905171"/>
                <a:gd name="connsiteX332" fmla="*/ 1406998 w 2626806"/>
                <a:gd name="connsiteY332" fmla="*/ 1636179 h 3905171"/>
                <a:gd name="connsiteX333" fmla="*/ 1402608 w 2626806"/>
                <a:gd name="connsiteY333" fmla="*/ 1640569 h 3905171"/>
                <a:gd name="connsiteX334" fmla="*/ 1101892 w 2626806"/>
                <a:gd name="connsiteY334" fmla="*/ 1642767 h 3905171"/>
                <a:gd name="connsiteX335" fmla="*/ 1095307 w 2626806"/>
                <a:gd name="connsiteY335" fmla="*/ 1636179 h 3905171"/>
                <a:gd name="connsiteX336" fmla="*/ 1101892 w 2626806"/>
                <a:gd name="connsiteY336" fmla="*/ 1629595 h 3905171"/>
                <a:gd name="connsiteX337" fmla="*/ 1108478 w 2626806"/>
                <a:gd name="connsiteY337" fmla="*/ 1636179 h 3905171"/>
                <a:gd name="connsiteX338" fmla="*/ 1101892 w 2626806"/>
                <a:gd name="connsiteY338" fmla="*/ 1642767 h 3905171"/>
                <a:gd name="connsiteX339" fmla="*/ 801177 w 2626806"/>
                <a:gd name="connsiteY339" fmla="*/ 1647154 h 3905171"/>
                <a:gd name="connsiteX340" fmla="*/ 790202 w 2626806"/>
                <a:gd name="connsiteY340" fmla="*/ 1636179 h 3905171"/>
                <a:gd name="connsiteX341" fmla="*/ 801177 w 2626806"/>
                <a:gd name="connsiteY341" fmla="*/ 1625205 h 3905171"/>
                <a:gd name="connsiteX342" fmla="*/ 812152 w 2626806"/>
                <a:gd name="connsiteY342" fmla="*/ 1636179 h 3905171"/>
                <a:gd name="connsiteX343" fmla="*/ 801177 w 2626806"/>
                <a:gd name="connsiteY343" fmla="*/ 1647154 h 3905171"/>
                <a:gd name="connsiteX344" fmla="*/ 204135 w 2626806"/>
                <a:gd name="connsiteY344" fmla="*/ 1653735 h 3905171"/>
                <a:gd name="connsiteX345" fmla="*/ 188770 w 2626806"/>
                <a:gd name="connsiteY345" fmla="*/ 1638372 h 3905171"/>
                <a:gd name="connsiteX346" fmla="*/ 204135 w 2626806"/>
                <a:gd name="connsiteY346" fmla="*/ 1623006 h 3905171"/>
                <a:gd name="connsiteX347" fmla="*/ 219501 w 2626806"/>
                <a:gd name="connsiteY347" fmla="*/ 1638372 h 3905171"/>
                <a:gd name="connsiteX348" fmla="*/ 204135 w 2626806"/>
                <a:gd name="connsiteY348" fmla="*/ 1653735 h 3905171"/>
                <a:gd name="connsiteX349" fmla="*/ 502657 w 2626806"/>
                <a:gd name="connsiteY349" fmla="*/ 1653740 h 3905171"/>
                <a:gd name="connsiteX350" fmla="*/ 485096 w 2626806"/>
                <a:gd name="connsiteY350" fmla="*/ 1638375 h 3905171"/>
                <a:gd name="connsiteX351" fmla="*/ 502657 w 2626806"/>
                <a:gd name="connsiteY351" fmla="*/ 1620814 h 3905171"/>
                <a:gd name="connsiteX352" fmla="*/ 520217 w 2626806"/>
                <a:gd name="connsiteY352" fmla="*/ 1636179 h 3905171"/>
                <a:gd name="connsiteX353" fmla="*/ 502657 w 2626806"/>
                <a:gd name="connsiteY353" fmla="*/ 1653740 h 3905171"/>
                <a:gd name="connsiteX354" fmla="*/ 1264323 w 2626806"/>
                <a:gd name="connsiteY354" fmla="*/ 1706417 h 3905171"/>
                <a:gd name="connsiteX355" fmla="*/ 1259933 w 2626806"/>
                <a:gd name="connsiteY355" fmla="*/ 1702029 h 3905171"/>
                <a:gd name="connsiteX356" fmla="*/ 1264323 w 2626806"/>
                <a:gd name="connsiteY356" fmla="*/ 1697638 h 3905171"/>
                <a:gd name="connsiteX357" fmla="*/ 1268713 w 2626806"/>
                <a:gd name="connsiteY357" fmla="*/ 1702029 h 3905171"/>
                <a:gd name="connsiteX358" fmla="*/ 1264323 w 2626806"/>
                <a:gd name="connsiteY358" fmla="*/ 1706417 h 3905171"/>
                <a:gd name="connsiteX359" fmla="*/ 63656 w 2626806"/>
                <a:gd name="connsiteY359" fmla="*/ 1708606 h 3905171"/>
                <a:gd name="connsiteX360" fmla="*/ 59265 w 2626806"/>
                <a:gd name="connsiteY360" fmla="*/ 1704216 h 3905171"/>
                <a:gd name="connsiteX361" fmla="*/ 63656 w 2626806"/>
                <a:gd name="connsiteY361" fmla="*/ 1699826 h 3905171"/>
                <a:gd name="connsiteX362" fmla="*/ 68046 w 2626806"/>
                <a:gd name="connsiteY362" fmla="*/ 1704216 h 3905171"/>
                <a:gd name="connsiteX363" fmla="*/ 63656 w 2626806"/>
                <a:gd name="connsiteY363" fmla="*/ 1708606 h 3905171"/>
                <a:gd name="connsiteX364" fmla="*/ 963607 w 2626806"/>
                <a:gd name="connsiteY364" fmla="*/ 1710809 h 3905171"/>
                <a:gd name="connsiteX365" fmla="*/ 954827 w 2626806"/>
                <a:gd name="connsiteY365" fmla="*/ 1702029 h 3905171"/>
                <a:gd name="connsiteX366" fmla="*/ 963607 w 2626806"/>
                <a:gd name="connsiteY366" fmla="*/ 1693250 h 3905171"/>
                <a:gd name="connsiteX367" fmla="*/ 972387 w 2626806"/>
                <a:gd name="connsiteY367" fmla="*/ 1702029 h 3905171"/>
                <a:gd name="connsiteX368" fmla="*/ 963607 w 2626806"/>
                <a:gd name="connsiteY368" fmla="*/ 1710809 h 3905171"/>
                <a:gd name="connsiteX369" fmla="*/ 362176 w 2626806"/>
                <a:gd name="connsiteY369" fmla="*/ 1715196 h 3905171"/>
                <a:gd name="connsiteX370" fmla="*/ 351201 w 2626806"/>
                <a:gd name="connsiteY370" fmla="*/ 1704223 h 3905171"/>
                <a:gd name="connsiteX371" fmla="*/ 362176 w 2626806"/>
                <a:gd name="connsiteY371" fmla="*/ 1693247 h 3905171"/>
                <a:gd name="connsiteX372" fmla="*/ 373151 w 2626806"/>
                <a:gd name="connsiteY372" fmla="*/ 1704223 h 3905171"/>
                <a:gd name="connsiteX373" fmla="*/ 362176 w 2626806"/>
                <a:gd name="connsiteY373" fmla="*/ 1715196 h 3905171"/>
                <a:gd name="connsiteX374" fmla="*/ 662892 w 2626806"/>
                <a:gd name="connsiteY374" fmla="*/ 1719588 h 3905171"/>
                <a:gd name="connsiteX375" fmla="*/ 647526 w 2626806"/>
                <a:gd name="connsiteY375" fmla="*/ 1704223 h 3905171"/>
                <a:gd name="connsiteX376" fmla="*/ 662892 w 2626806"/>
                <a:gd name="connsiteY376" fmla="*/ 1688860 h 3905171"/>
                <a:gd name="connsiteX377" fmla="*/ 678257 w 2626806"/>
                <a:gd name="connsiteY377" fmla="*/ 1704223 h 3905171"/>
                <a:gd name="connsiteX378" fmla="*/ 662892 w 2626806"/>
                <a:gd name="connsiteY378" fmla="*/ 1719588 h 3905171"/>
                <a:gd name="connsiteX379" fmla="*/ 1435533 w 2626806"/>
                <a:gd name="connsiteY379" fmla="*/ 1767878 h 3905171"/>
                <a:gd name="connsiteX380" fmla="*/ 1431143 w 2626806"/>
                <a:gd name="connsiteY380" fmla="*/ 1763487 h 3905171"/>
                <a:gd name="connsiteX381" fmla="*/ 1435533 w 2626806"/>
                <a:gd name="connsiteY381" fmla="*/ 1759098 h 3905171"/>
                <a:gd name="connsiteX382" fmla="*/ 1439923 w 2626806"/>
                <a:gd name="connsiteY382" fmla="*/ 1763487 h 3905171"/>
                <a:gd name="connsiteX383" fmla="*/ 1435533 w 2626806"/>
                <a:gd name="connsiteY383" fmla="*/ 1767878 h 3905171"/>
                <a:gd name="connsiteX384" fmla="*/ 1128232 w 2626806"/>
                <a:gd name="connsiteY384" fmla="*/ 1772266 h 3905171"/>
                <a:gd name="connsiteX385" fmla="*/ 1121648 w 2626806"/>
                <a:gd name="connsiteY385" fmla="*/ 1765682 h 3905171"/>
                <a:gd name="connsiteX386" fmla="*/ 1128232 w 2626806"/>
                <a:gd name="connsiteY386" fmla="*/ 1759098 h 3905171"/>
                <a:gd name="connsiteX387" fmla="*/ 1134817 w 2626806"/>
                <a:gd name="connsiteY387" fmla="*/ 1765682 h 3905171"/>
                <a:gd name="connsiteX388" fmla="*/ 1128232 w 2626806"/>
                <a:gd name="connsiteY388" fmla="*/ 1772266 h 3905171"/>
                <a:gd name="connsiteX389" fmla="*/ 825322 w 2626806"/>
                <a:gd name="connsiteY389" fmla="*/ 1778852 h 3905171"/>
                <a:gd name="connsiteX390" fmla="*/ 814347 w 2626806"/>
                <a:gd name="connsiteY390" fmla="*/ 1767878 h 3905171"/>
                <a:gd name="connsiteX391" fmla="*/ 825322 w 2626806"/>
                <a:gd name="connsiteY391" fmla="*/ 1756902 h 3905171"/>
                <a:gd name="connsiteX392" fmla="*/ 836297 w 2626806"/>
                <a:gd name="connsiteY392" fmla="*/ 1767878 h 3905171"/>
                <a:gd name="connsiteX393" fmla="*/ 825322 w 2626806"/>
                <a:gd name="connsiteY393" fmla="*/ 1778852 h 3905171"/>
                <a:gd name="connsiteX394" fmla="*/ 522412 w 2626806"/>
                <a:gd name="connsiteY394" fmla="*/ 1781047 h 3905171"/>
                <a:gd name="connsiteX395" fmla="*/ 509241 w 2626806"/>
                <a:gd name="connsiteY395" fmla="*/ 1767878 h 3905171"/>
                <a:gd name="connsiteX396" fmla="*/ 522412 w 2626806"/>
                <a:gd name="connsiteY396" fmla="*/ 1754706 h 3905171"/>
                <a:gd name="connsiteX397" fmla="*/ 535582 w 2626806"/>
                <a:gd name="connsiteY397" fmla="*/ 1767878 h 3905171"/>
                <a:gd name="connsiteX398" fmla="*/ 522412 w 2626806"/>
                <a:gd name="connsiteY398" fmla="*/ 1781047 h 3905171"/>
                <a:gd name="connsiteX399" fmla="*/ 221695 w 2626806"/>
                <a:gd name="connsiteY399" fmla="*/ 1785434 h 3905171"/>
                <a:gd name="connsiteX400" fmla="*/ 204135 w 2626806"/>
                <a:gd name="connsiteY400" fmla="*/ 1767874 h 3905171"/>
                <a:gd name="connsiteX401" fmla="*/ 221695 w 2626806"/>
                <a:gd name="connsiteY401" fmla="*/ 1750314 h 3905171"/>
                <a:gd name="connsiteX402" fmla="*/ 239255 w 2626806"/>
                <a:gd name="connsiteY402" fmla="*/ 1767874 h 3905171"/>
                <a:gd name="connsiteX403" fmla="*/ 221695 w 2626806"/>
                <a:gd name="connsiteY403" fmla="*/ 1785434 h 3905171"/>
                <a:gd name="connsiteX404" fmla="*/ 1611134 w 2626806"/>
                <a:gd name="connsiteY404" fmla="*/ 1829335 h 3905171"/>
                <a:gd name="connsiteX405" fmla="*/ 1608939 w 2626806"/>
                <a:gd name="connsiteY405" fmla="*/ 1827141 h 3905171"/>
                <a:gd name="connsiteX406" fmla="*/ 1611134 w 2626806"/>
                <a:gd name="connsiteY406" fmla="*/ 1824945 h 3905171"/>
                <a:gd name="connsiteX407" fmla="*/ 1613329 w 2626806"/>
                <a:gd name="connsiteY407" fmla="*/ 1827141 h 3905171"/>
                <a:gd name="connsiteX408" fmla="*/ 1611134 w 2626806"/>
                <a:gd name="connsiteY408" fmla="*/ 1829335 h 3905171"/>
                <a:gd name="connsiteX409" fmla="*/ 1299443 w 2626806"/>
                <a:gd name="connsiteY409" fmla="*/ 1833728 h 3905171"/>
                <a:gd name="connsiteX410" fmla="*/ 1295053 w 2626806"/>
                <a:gd name="connsiteY410" fmla="*/ 1829335 h 3905171"/>
                <a:gd name="connsiteX411" fmla="*/ 1299443 w 2626806"/>
                <a:gd name="connsiteY411" fmla="*/ 1824945 h 3905171"/>
                <a:gd name="connsiteX412" fmla="*/ 1303833 w 2626806"/>
                <a:gd name="connsiteY412" fmla="*/ 1829335 h 3905171"/>
                <a:gd name="connsiteX413" fmla="*/ 1299443 w 2626806"/>
                <a:gd name="connsiteY413" fmla="*/ 1833728 h 3905171"/>
                <a:gd name="connsiteX414" fmla="*/ 83410 w 2626806"/>
                <a:gd name="connsiteY414" fmla="*/ 1840308 h 3905171"/>
                <a:gd name="connsiteX415" fmla="*/ 76826 w 2626806"/>
                <a:gd name="connsiteY415" fmla="*/ 1833722 h 3905171"/>
                <a:gd name="connsiteX416" fmla="*/ 83410 w 2626806"/>
                <a:gd name="connsiteY416" fmla="*/ 1827136 h 3905171"/>
                <a:gd name="connsiteX417" fmla="*/ 89996 w 2626806"/>
                <a:gd name="connsiteY417" fmla="*/ 1833722 h 3905171"/>
                <a:gd name="connsiteX418" fmla="*/ 83410 w 2626806"/>
                <a:gd name="connsiteY418" fmla="*/ 1840308 h 3905171"/>
                <a:gd name="connsiteX419" fmla="*/ 992142 w 2626806"/>
                <a:gd name="connsiteY419" fmla="*/ 1840312 h 3905171"/>
                <a:gd name="connsiteX420" fmla="*/ 983362 w 2626806"/>
                <a:gd name="connsiteY420" fmla="*/ 1831531 h 3905171"/>
                <a:gd name="connsiteX421" fmla="*/ 992142 w 2626806"/>
                <a:gd name="connsiteY421" fmla="*/ 1822751 h 3905171"/>
                <a:gd name="connsiteX422" fmla="*/ 1000922 w 2626806"/>
                <a:gd name="connsiteY422" fmla="*/ 1831531 h 3905171"/>
                <a:gd name="connsiteX423" fmla="*/ 992142 w 2626806"/>
                <a:gd name="connsiteY423" fmla="*/ 1840312 h 3905171"/>
                <a:gd name="connsiteX424" fmla="*/ 384126 w 2626806"/>
                <a:gd name="connsiteY424" fmla="*/ 1849091 h 3905171"/>
                <a:gd name="connsiteX425" fmla="*/ 368761 w 2626806"/>
                <a:gd name="connsiteY425" fmla="*/ 1833725 h 3905171"/>
                <a:gd name="connsiteX426" fmla="*/ 384126 w 2626806"/>
                <a:gd name="connsiteY426" fmla="*/ 1818360 h 3905171"/>
                <a:gd name="connsiteX427" fmla="*/ 399491 w 2626806"/>
                <a:gd name="connsiteY427" fmla="*/ 1833725 h 3905171"/>
                <a:gd name="connsiteX428" fmla="*/ 384126 w 2626806"/>
                <a:gd name="connsiteY428" fmla="*/ 1849091 h 3905171"/>
                <a:gd name="connsiteX429" fmla="*/ 687037 w 2626806"/>
                <a:gd name="connsiteY429" fmla="*/ 1851287 h 3905171"/>
                <a:gd name="connsiteX430" fmla="*/ 669476 w 2626806"/>
                <a:gd name="connsiteY430" fmla="*/ 1833728 h 3905171"/>
                <a:gd name="connsiteX431" fmla="*/ 687037 w 2626806"/>
                <a:gd name="connsiteY431" fmla="*/ 1816165 h 3905171"/>
                <a:gd name="connsiteX432" fmla="*/ 704597 w 2626806"/>
                <a:gd name="connsiteY432" fmla="*/ 1833728 h 3905171"/>
                <a:gd name="connsiteX433" fmla="*/ 687037 w 2626806"/>
                <a:gd name="connsiteY433" fmla="*/ 1851287 h 3905171"/>
                <a:gd name="connsiteX434" fmla="*/ 1477238 w 2626806"/>
                <a:gd name="connsiteY434" fmla="*/ 1895184 h 3905171"/>
                <a:gd name="connsiteX435" fmla="*/ 1472848 w 2626806"/>
                <a:gd name="connsiteY435" fmla="*/ 1890793 h 3905171"/>
                <a:gd name="connsiteX436" fmla="*/ 1477238 w 2626806"/>
                <a:gd name="connsiteY436" fmla="*/ 1886403 h 3905171"/>
                <a:gd name="connsiteX437" fmla="*/ 1481628 w 2626806"/>
                <a:gd name="connsiteY437" fmla="*/ 1890793 h 3905171"/>
                <a:gd name="connsiteX438" fmla="*/ 1477238 w 2626806"/>
                <a:gd name="connsiteY438" fmla="*/ 1895184 h 3905171"/>
                <a:gd name="connsiteX439" fmla="*/ 1165548 w 2626806"/>
                <a:gd name="connsiteY439" fmla="*/ 1899573 h 3905171"/>
                <a:gd name="connsiteX440" fmla="*/ 1158963 w 2626806"/>
                <a:gd name="connsiteY440" fmla="*/ 1892988 h 3905171"/>
                <a:gd name="connsiteX441" fmla="*/ 1165548 w 2626806"/>
                <a:gd name="connsiteY441" fmla="*/ 1886403 h 3905171"/>
                <a:gd name="connsiteX442" fmla="*/ 1172133 w 2626806"/>
                <a:gd name="connsiteY442" fmla="*/ 1892988 h 3905171"/>
                <a:gd name="connsiteX443" fmla="*/ 1165548 w 2626806"/>
                <a:gd name="connsiteY443" fmla="*/ 1899573 h 3905171"/>
                <a:gd name="connsiteX444" fmla="*/ 550947 w 2626806"/>
                <a:gd name="connsiteY444" fmla="*/ 1910549 h 3905171"/>
                <a:gd name="connsiteX445" fmla="*/ 537776 w 2626806"/>
                <a:gd name="connsiteY445" fmla="*/ 1897379 h 3905171"/>
                <a:gd name="connsiteX446" fmla="*/ 550947 w 2626806"/>
                <a:gd name="connsiteY446" fmla="*/ 1884210 h 3905171"/>
                <a:gd name="connsiteX447" fmla="*/ 564117 w 2626806"/>
                <a:gd name="connsiteY447" fmla="*/ 1897379 h 3905171"/>
                <a:gd name="connsiteX448" fmla="*/ 550947 w 2626806"/>
                <a:gd name="connsiteY448" fmla="*/ 1910549 h 3905171"/>
                <a:gd name="connsiteX449" fmla="*/ 856052 w 2626806"/>
                <a:gd name="connsiteY449" fmla="*/ 1912745 h 3905171"/>
                <a:gd name="connsiteX450" fmla="*/ 840687 w 2626806"/>
                <a:gd name="connsiteY450" fmla="*/ 1897379 h 3905171"/>
                <a:gd name="connsiteX451" fmla="*/ 856052 w 2626806"/>
                <a:gd name="connsiteY451" fmla="*/ 1882014 h 3905171"/>
                <a:gd name="connsiteX452" fmla="*/ 871417 w 2626806"/>
                <a:gd name="connsiteY452" fmla="*/ 1897379 h 3905171"/>
                <a:gd name="connsiteX453" fmla="*/ 856052 w 2626806"/>
                <a:gd name="connsiteY453" fmla="*/ 1912745 h 3905171"/>
                <a:gd name="connsiteX454" fmla="*/ 248036 w 2626806"/>
                <a:gd name="connsiteY454" fmla="*/ 1917135 h 3905171"/>
                <a:gd name="connsiteX455" fmla="*/ 230475 w 2626806"/>
                <a:gd name="connsiteY455" fmla="*/ 1899573 h 3905171"/>
                <a:gd name="connsiteX456" fmla="*/ 248036 w 2626806"/>
                <a:gd name="connsiteY456" fmla="*/ 1882013 h 3905171"/>
                <a:gd name="connsiteX457" fmla="*/ 265596 w 2626806"/>
                <a:gd name="connsiteY457" fmla="*/ 1899573 h 3905171"/>
                <a:gd name="connsiteX458" fmla="*/ 248036 w 2626806"/>
                <a:gd name="connsiteY458" fmla="*/ 1917135 h 3905171"/>
                <a:gd name="connsiteX459" fmla="*/ 1343343 w 2626806"/>
                <a:gd name="connsiteY459" fmla="*/ 1958840 h 3905171"/>
                <a:gd name="connsiteX460" fmla="*/ 1338953 w 2626806"/>
                <a:gd name="connsiteY460" fmla="*/ 1954449 h 3905171"/>
                <a:gd name="connsiteX461" fmla="*/ 1343343 w 2626806"/>
                <a:gd name="connsiteY461" fmla="*/ 1950060 h 3905171"/>
                <a:gd name="connsiteX462" fmla="*/ 1347733 w 2626806"/>
                <a:gd name="connsiteY462" fmla="*/ 1954449 h 3905171"/>
                <a:gd name="connsiteX463" fmla="*/ 1343343 w 2626806"/>
                <a:gd name="connsiteY463" fmla="*/ 1958840 h 3905171"/>
                <a:gd name="connsiteX464" fmla="*/ 1029457 w 2626806"/>
                <a:gd name="connsiteY464" fmla="*/ 1972010 h 3905171"/>
                <a:gd name="connsiteX465" fmla="*/ 1016287 w 2626806"/>
                <a:gd name="connsiteY465" fmla="*/ 1958840 h 3905171"/>
                <a:gd name="connsiteX466" fmla="*/ 1029457 w 2626806"/>
                <a:gd name="connsiteY466" fmla="*/ 1945670 h 3905171"/>
                <a:gd name="connsiteX467" fmla="*/ 1042627 w 2626806"/>
                <a:gd name="connsiteY467" fmla="*/ 1958840 h 3905171"/>
                <a:gd name="connsiteX468" fmla="*/ 1029457 w 2626806"/>
                <a:gd name="connsiteY468" fmla="*/ 1972010 h 3905171"/>
                <a:gd name="connsiteX469" fmla="*/ 109751 w 2626806"/>
                <a:gd name="connsiteY469" fmla="*/ 1974202 h 3905171"/>
                <a:gd name="connsiteX470" fmla="*/ 100971 w 2626806"/>
                <a:gd name="connsiteY470" fmla="*/ 1965424 h 3905171"/>
                <a:gd name="connsiteX471" fmla="*/ 109751 w 2626806"/>
                <a:gd name="connsiteY471" fmla="*/ 1956642 h 3905171"/>
                <a:gd name="connsiteX472" fmla="*/ 118531 w 2626806"/>
                <a:gd name="connsiteY472" fmla="*/ 1965424 h 3905171"/>
                <a:gd name="connsiteX473" fmla="*/ 109751 w 2626806"/>
                <a:gd name="connsiteY473" fmla="*/ 1974202 h 3905171"/>
                <a:gd name="connsiteX474" fmla="*/ 414856 w 2626806"/>
                <a:gd name="connsiteY474" fmla="*/ 1980788 h 3905171"/>
                <a:gd name="connsiteX475" fmla="*/ 397296 w 2626806"/>
                <a:gd name="connsiteY475" fmla="*/ 1963228 h 3905171"/>
                <a:gd name="connsiteX476" fmla="*/ 414856 w 2626806"/>
                <a:gd name="connsiteY476" fmla="*/ 1945670 h 3905171"/>
                <a:gd name="connsiteX477" fmla="*/ 432416 w 2626806"/>
                <a:gd name="connsiteY477" fmla="*/ 1963228 h 3905171"/>
                <a:gd name="connsiteX478" fmla="*/ 414856 w 2626806"/>
                <a:gd name="connsiteY478" fmla="*/ 1980788 h 3905171"/>
                <a:gd name="connsiteX479" fmla="*/ 719962 w 2626806"/>
                <a:gd name="connsiteY479" fmla="*/ 1985177 h 3905171"/>
                <a:gd name="connsiteX480" fmla="*/ 695817 w 2626806"/>
                <a:gd name="connsiteY480" fmla="*/ 1961036 h 3905171"/>
                <a:gd name="connsiteX481" fmla="*/ 719962 w 2626806"/>
                <a:gd name="connsiteY481" fmla="*/ 1936888 h 3905171"/>
                <a:gd name="connsiteX482" fmla="*/ 744107 w 2626806"/>
                <a:gd name="connsiteY482" fmla="*/ 1961036 h 3905171"/>
                <a:gd name="connsiteX483" fmla="*/ 719962 w 2626806"/>
                <a:gd name="connsiteY483" fmla="*/ 1985177 h 3905171"/>
                <a:gd name="connsiteX484" fmla="*/ 1529919 w 2626806"/>
                <a:gd name="connsiteY484" fmla="*/ 2018101 h 3905171"/>
                <a:gd name="connsiteX485" fmla="*/ 1525528 w 2626806"/>
                <a:gd name="connsiteY485" fmla="*/ 2013711 h 3905171"/>
                <a:gd name="connsiteX486" fmla="*/ 1529919 w 2626806"/>
                <a:gd name="connsiteY486" fmla="*/ 2009323 h 3905171"/>
                <a:gd name="connsiteX487" fmla="*/ 1534309 w 2626806"/>
                <a:gd name="connsiteY487" fmla="*/ 2013711 h 3905171"/>
                <a:gd name="connsiteX488" fmla="*/ 1529919 w 2626806"/>
                <a:gd name="connsiteY488" fmla="*/ 2018101 h 3905171"/>
                <a:gd name="connsiteX489" fmla="*/ 1209448 w 2626806"/>
                <a:gd name="connsiteY489" fmla="*/ 2024688 h 3905171"/>
                <a:gd name="connsiteX490" fmla="*/ 1205058 w 2626806"/>
                <a:gd name="connsiteY490" fmla="*/ 2020297 h 3905171"/>
                <a:gd name="connsiteX491" fmla="*/ 1209448 w 2626806"/>
                <a:gd name="connsiteY491" fmla="*/ 2015906 h 3905171"/>
                <a:gd name="connsiteX492" fmla="*/ 1213838 w 2626806"/>
                <a:gd name="connsiteY492" fmla="*/ 2020297 h 3905171"/>
                <a:gd name="connsiteX493" fmla="*/ 1209448 w 2626806"/>
                <a:gd name="connsiteY493" fmla="*/ 2024688 h 3905171"/>
                <a:gd name="connsiteX494" fmla="*/ 895563 w 2626806"/>
                <a:gd name="connsiteY494" fmla="*/ 2037856 h 3905171"/>
                <a:gd name="connsiteX495" fmla="*/ 882393 w 2626806"/>
                <a:gd name="connsiteY495" fmla="*/ 2024688 h 3905171"/>
                <a:gd name="connsiteX496" fmla="*/ 895563 w 2626806"/>
                <a:gd name="connsiteY496" fmla="*/ 2011516 h 3905171"/>
                <a:gd name="connsiteX497" fmla="*/ 908732 w 2626806"/>
                <a:gd name="connsiteY497" fmla="*/ 2024688 h 3905171"/>
                <a:gd name="connsiteX498" fmla="*/ 895563 w 2626806"/>
                <a:gd name="connsiteY498" fmla="*/ 2037856 h 3905171"/>
                <a:gd name="connsiteX499" fmla="*/ 586066 w 2626806"/>
                <a:gd name="connsiteY499" fmla="*/ 2042247 h 3905171"/>
                <a:gd name="connsiteX500" fmla="*/ 570701 w 2626806"/>
                <a:gd name="connsiteY500" fmla="*/ 2026880 h 3905171"/>
                <a:gd name="connsiteX501" fmla="*/ 586066 w 2626806"/>
                <a:gd name="connsiteY501" fmla="*/ 2011516 h 3905171"/>
                <a:gd name="connsiteX502" fmla="*/ 601431 w 2626806"/>
                <a:gd name="connsiteY502" fmla="*/ 2026880 h 3905171"/>
                <a:gd name="connsiteX503" fmla="*/ 586066 w 2626806"/>
                <a:gd name="connsiteY503" fmla="*/ 2042247 h 3905171"/>
                <a:gd name="connsiteX504" fmla="*/ 278766 w 2626806"/>
                <a:gd name="connsiteY504" fmla="*/ 2046634 h 3905171"/>
                <a:gd name="connsiteX505" fmla="*/ 259010 w 2626806"/>
                <a:gd name="connsiteY505" fmla="*/ 2026880 h 3905171"/>
                <a:gd name="connsiteX506" fmla="*/ 278766 w 2626806"/>
                <a:gd name="connsiteY506" fmla="*/ 2007125 h 3905171"/>
                <a:gd name="connsiteX507" fmla="*/ 298521 w 2626806"/>
                <a:gd name="connsiteY507" fmla="*/ 2026880 h 3905171"/>
                <a:gd name="connsiteX508" fmla="*/ 278766 w 2626806"/>
                <a:gd name="connsiteY508" fmla="*/ 2046634 h 3905171"/>
                <a:gd name="connsiteX509" fmla="*/ 1725273 w 2626806"/>
                <a:gd name="connsiteY509" fmla="*/ 2068584 h 3905171"/>
                <a:gd name="connsiteX510" fmla="*/ 1720883 w 2626806"/>
                <a:gd name="connsiteY510" fmla="*/ 2064194 h 3905171"/>
                <a:gd name="connsiteX511" fmla="*/ 1725273 w 2626806"/>
                <a:gd name="connsiteY511" fmla="*/ 2059803 h 3905171"/>
                <a:gd name="connsiteX512" fmla="*/ 1729663 w 2626806"/>
                <a:gd name="connsiteY512" fmla="*/ 2064194 h 3905171"/>
                <a:gd name="connsiteX513" fmla="*/ 1725273 w 2626806"/>
                <a:gd name="connsiteY513" fmla="*/ 2068584 h 3905171"/>
                <a:gd name="connsiteX514" fmla="*/ 1396023 w 2626806"/>
                <a:gd name="connsiteY514" fmla="*/ 2081753 h 3905171"/>
                <a:gd name="connsiteX515" fmla="*/ 1391633 w 2626806"/>
                <a:gd name="connsiteY515" fmla="*/ 2077362 h 3905171"/>
                <a:gd name="connsiteX516" fmla="*/ 1396023 w 2626806"/>
                <a:gd name="connsiteY516" fmla="*/ 2072974 h 3905171"/>
                <a:gd name="connsiteX517" fmla="*/ 1400413 w 2626806"/>
                <a:gd name="connsiteY517" fmla="*/ 2077362 h 3905171"/>
                <a:gd name="connsiteX518" fmla="*/ 1396023 w 2626806"/>
                <a:gd name="connsiteY518" fmla="*/ 2081753 h 3905171"/>
                <a:gd name="connsiteX519" fmla="*/ 1075553 w 2626806"/>
                <a:gd name="connsiteY519" fmla="*/ 2097117 h 3905171"/>
                <a:gd name="connsiteX520" fmla="*/ 1062382 w 2626806"/>
                <a:gd name="connsiteY520" fmla="*/ 2083948 h 3905171"/>
                <a:gd name="connsiteX521" fmla="*/ 1075553 w 2626806"/>
                <a:gd name="connsiteY521" fmla="*/ 2070780 h 3905171"/>
                <a:gd name="connsiteX522" fmla="*/ 1088722 w 2626806"/>
                <a:gd name="connsiteY522" fmla="*/ 2083948 h 3905171"/>
                <a:gd name="connsiteX523" fmla="*/ 1075553 w 2626806"/>
                <a:gd name="connsiteY523" fmla="*/ 2097117 h 3905171"/>
                <a:gd name="connsiteX524" fmla="*/ 142676 w 2626806"/>
                <a:gd name="connsiteY524" fmla="*/ 2099312 h 3905171"/>
                <a:gd name="connsiteX525" fmla="*/ 136091 w 2626806"/>
                <a:gd name="connsiteY525" fmla="*/ 2092727 h 3905171"/>
                <a:gd name="connsiteX526" fmla="*/ 142676 w 2626806"/>
                <a:gd name="connsiteY526" fmla="*/ 2086143 h 3905171"/>
                <a:gd name="connsiteX527" fmla="*/ 149261 w 2626806"/>
                <a:gd name="connsiteY527" fmla="*/ 2092727 h 3905171"/>
                <a:gd name="connsiteX528" fmla="*/ 142676 w 2626806"/>
                <a:gd name="connsiteY528" fmla="*/ 2099312 h 3905171"/>
                <a:gd name="connsiteX529" fmla="*/ 449976 w 2626806"/>
                <a:gd name="connsiteY529" fmla="*/ 2110286 h 3905171"/>
                <a:gd name="connsiteX530" fmla="*/ 430221 w 2626806"/>
                <a:gd name="connsiteY530" fmla="*/ 2090534 h 3905171"/>
                <a:gd name="connsiteX531" fmla="*/ 449976 w 2626806"/>
                <a:gd name="connsiteY531" fmla="*/ 2070780 h 3905171"/>
                <a:gd name="connsiteX532" fmla="*/ 469732 w 2626806"/>
                <a:gd name="connsiteY532" fmla="*/ 2090534 h 3905171"/>
                <a:gd name="connsiteX533" fmla="*/ 449976 w 2626806"/>
                <a:gd name="connsiteY533" fmla="*/ 2110286 h 3905171"/>
                <a:gd name="connsiteX534" fmla="*/ 761667 w 2626806"/>
                <a:gd name="connsiteY534" fmla="*/ 2110286 h 3905171"/>
                <a:gd name="connsiteX535" fmla="*/ 739717 w 2626806"/>
                <a:gd name="connsiteY535" fmla="*/ 2088339 h 3905171"/>
                <a:gd name="connsiteX536" fmla="*/ 761667 w 2626806"/>
                <a:gd name="connsiteY536" fmla="*/ 2066389 h 3905171"/>
                <a:gd name="connsiteX537" fmla="*/ 783617 w 2626806"/>
                <a:gd name="connsiteY537" fmla="*/ 2088339 h 3905171"/>
                <a:gd name="connsiteX538" fmla="*/ 761667 w 2626806"/>
                <a:gd name="connsiteY538" fmla="*/ 2110286 h 3905171"/>
                <a:gd name="connsiteX539" fmla="*/ 1591378 w 2626806"/>
                <a:gd name="connsiteY539" fmla="*/ 2136627 h 3905171"/>
                <a:gd name="connsiteX540" fmla="*/ 1584794 w 2626806"/>
                <a:gd name="connsiteY540" fmla="*/ 2130041 h 3905171"/>
                <a:gd name="connsiteX541" fmla="*/ 1591378 w 2626806"/>
                <a:gd name="connsiteY541" fmla="*/ 2123457 h 3905171"/>
                <a:gd name="connsiteX542" fmla="*/ 1597964 w 2626806"/>
                <a:gd name="connsiteY542" fmla="*/ 2130041 h 3905171"/>
                <a:gd name="connsiteX543" fmla="*/ 1591378 w 2626806"/>
                <a:gd name="connsiteY543" fmla="*/ 2136627 h 3905171"/>
                <a:gd name="connsiteX544" fmla="*/ 1262128 w 2626806"/>
                <a:gd name="connsiteY544" fmla="*/ 2147601 h 3905171"/>
                <a:gd name="connsiteX545" fmla="*/ 1255543 w 2626806"/>
                <a:gd name="connsiteY545" fmla="*/ 2141017 h 3905171"/>
                <a:gd name="connsiteX546" fmla="*/ 1262128 w 2626806"/>
                <a:gd name="connsiteY546" fmla="*/ 2134430 h 3905171"/>
                <a:gd name="connsiteX547" fmla="*/ 1268713 w 2626806"/>
                <a:gd name="connsiteY547" fmla="*/ 2141017 h 3905171"/>
                <a:gd name="connsiteX548" fmla="*/ 1262128 w 2626806"/>
                <a:gd name="connsiteY548" fmla="*/ 2147601 h 3905171"/>
                <a:gd name="connsiteX549" fmla="*/ 6586 w 2626806"/>
                <a:gd name="connsiteY549" fmla="*/ 2165160 h 3905171"/>
                <a:gd name="connsiteX550" fmla="*/ 0 w 2626806"/>
                <a:gd name="connsiteY550" fmla="*/ 2158574 h 3905171"/>
                <a:gd name="connsiteX551" fmla="*/ 6586 w 2626806"/>
                <a:gd name="connsiteY551" fmla="*/ 2151990 h 3905171"/>
                <a:gd name="connsiteX552" fmla="*/ 13170 w 2626806"/>
                <a:gd name="connsiteY552" fmla="*/ 2158574 h 3905171"/>
                <a:gd name="connsiteX553" fmla="*/ 6586 w 2626806"/>
                <a:gd name="connsiteY553" fmla="*/ 2165160 h 3905171"/>
                <a:gd name="connsiteX554" fmla="*/ 941658 w 2626806"/>
                <a:gd name="connsiteY554" fmla="*/ 2165160 h 3905171"/>
                <a:gd name="connsiteX555" fmla="*/ 926292 w 2626806"/>
                <a:gd name="connsiteY555" fmla="*/ 2149796 h 3905171"/>
                <a:gd name="connsiteX556" fmla="*/ 941658 w 2626806"/>
                <a:gd name="connsiteY556" fmla="*/ 2134430 h 3905171"/>
                <a:gd name="connsiteX557" fmla="*/ 957023 w 2626806"/>
                <a:gd name="connsiteY557" fmla="*/ 2149796 h 3905171"/>
                <a:gd name="connsiteX558" fmla="*/ 941658 w 2626806"/>
                <a:gd name="connsiteY558" fmla="*/ 2165160 h 3905171"/>
                <a:gd name="connsiteX559" fmla="*/ 627771 w 2626806"/>
                <a:gd name="connsiteY559" fmla="*/ 2171744 h 3905171"/>
                <a:gd name="connsiteX560" fmla="*/ 608016 w 2626806"/>
                <a:gd name="connsiteY560" fmla="*/ 2151990 h 3905171"/>
                <a:gd name="connsiteX561" fmla="*/ 627771 w 2626806"/>
                <a:gd name="connsiteY561" fmla="*/ 2132235 h 3905171"/>
                <a:gd name="connsiteX562" fmla="*/ 647526 w 2626806"/>
                <a:gd name="connsiteY562" fmla="*/ 2151990 h 3905171"/>
                <a:gd name="connsiteX563" fmla="*/ 627771 w 2626806"/>
                <a:gd name="connsiteY563" fmla="*/ 2171744 h 3905171"/>
                <a:gd name="connsiteX564" fmla="*/ 316081 w 2626806"/>
                <a:gd name="connsiteY564" fmla="*/ 2173938 h 3905171"/>
                <a:gd name="connsiteX565" fmla="*/ 298521 w 2626806"/>
                <a:gd name="connsiteY565" fmla="*/ 2156380 h 3905171"/>
                <a:gd name="connsiteX566" fmla="*/ 316081 w 2626806"/>
                <a:gd name="connsiteY566" fmla="*/ 2138821 h 3905171"/>
                <a:gd name="connsiteX567" fmla="*/ 333641 w 2626806"/>
                <a:gd name="connsiteY567" fmla="*/ 2156380 h 3905171"/>
                <a:gd name="connsiteX568" fmla="*/ 316081 w 2626806"/>
                <a:gd name="connsiteY568" fmla="*/ 2173938 h 3905171"/>
                <a:gd name="connsiteX569" fmla="*/ 1799903 w 2626806"/>
                <a:gd name="connsiteY569" fmla="*/ 2178330 h 3905171"/>
                <a:gd name="connsiteX570" fmla="*/ 1798257 w 2626806"/>
                <a:gd name="connsiteY570" fmla="*/ 2175586 h 3905171"/>
                <a:gd name="connsiteX571" fmla="*/ 1799903 w 2626806"/>
                <a:gd name="connsiteY571" fmla="*/ 2176135 h 3905171"/>
                <a:gd name="connsiteX572" fmla="*/ 1799903 w 2626806"/>
                <a:gd name="connsiteY572" fmla="*/ 2177507 h 3905171"/>
                <a:gd name="connsiteX573" fmla="*/ 1457483 w 2626806"/>
                <a:gd name="connsiteY573" fmla="*/ 2200279 h 3905171"/>
                <a:gd name="connsiteX574" fmla="*/ 1453093 w 2626806"/>
                <a:gd name="connsiteY574" fmla="*/ 2195891 h 3905171"/>
                <a:gd name="connsiteX575" fmla="*/ 1457483 w 2626806"/>
                <a:gd name="connsiteY575" fmla="*/ 2191500 h 3905171"/>
                <a:gd name="connsiteX576" fmla="*/ 1461873 w 2626806"/>
                <a:gd name="connsiteY576" fmla="*/ 2195891 h 3905171"/>
                <a:gd name="connsiteX577" fmla="*/ 1457483 w 2626806"/>
                <a:gd name="connsiteY577" fmla="*/ 2200279 h 3905171"/>
                <a:gd name="connsiteX578" fmla="*/ 1130428 w 2626806"/>
                <a:gd name="connsiteY578" fmla="*/ 2217839 h 3905171"/>
                <a:gd name="connsiteX579" fmla="*/ 1117258 w 2626806"/>
                <a:gd name="connsiteY579" fmla="*/ 2204671 h 3905171"/>
                <a:gd name="connsiteX580" fmla="*/ 1130428 w 2626806"/>
                <a:gd name="connsiteY580" fmla="*/ 2191500 h 3905171"/>
                <a:gd name="connsiteX581" fmla="*/ 1143597 w 2626806"/>
                <a:gd name="connsiteY581" fmla="*/ 2204671 h 3905171"/>
                <a:gd name="connsiteX582" fmla="*/ 1130428 w 2626806"/>
                <a:gd name="connsiteY582" fmla="*/ 2217839 h 3905171"/>
                <a:gd name="connsiteX583" fmla="*/ 493877 w 2626806"/>
                <a:gd name="connsiteY583" fmla="*/ 2237594 h 3905171"/>
                <a:gd name="connsiteX584" fmla="*/ 474122 w 2626806"/>
                <a:gd name="connsiteY584" fmla="*/ 2217839 h 3905171"/>
                <a:gd name="connsiteX585" fmla="*/ 493877 w 2626806"/>
                <a:gd name="connsiteY585" fmla="*/ 2198085 h 3905171"/>
                <a:gd name="connsiteX586" fmla="*/ 513631 w 2626806"/>
                <a:gd name="connsiteY586" fmla="*/ 2217839 h 3905171"/>
                <a:gd name="connsiteX587" fmla="*/ 493877 w 2626806"/>
                <a:gd name="connsiteY587" fmla="*/ 2237594 h 3905171"/>
                <a:gd name="connsiteX588" fmla="*/ 807762 w 2626806"/>
                <a:gd name="connsiteY588" fmla="*/ 2239789 h 3905171"/>
                <a:gd name="connsiteX589" fmla="*/ 781422 w 2626806"/>
                <a:gd name="connsiteY589" fmla="*/ 2213449 h 3905171"/>
                <a:gd name="connsiteX590" fmla="*/ 807762 w 2626806"/>
                <a:gd name="connsiteY590" fmla="*/ 2187110 h 3905171"/>
                <a:gd name="connsiteX591" fmla="*/ 834102 w 2626806"/>
                <a:gd name="connsiteY591" fmla="*/ 2213449 h 3905171"/>
                <a:gd name="connsiteX592" fmla="*/ 807762 w 2626806"/>
                <a:gd name="connsiteY592" fmla="*/ 2239789 h 3905171"/>
                <a:gd name="connsiteX593" fmla="*/ 179991 w 2626806"/>
                <a:gd name="connsiteY593" fmla="*/ 2246374 h 3905171"/>
                <a:gd name="connsiteX594" fmla="*/ 155846 w 2626806"/>
                <a:gd name="connsiteY594" fmla="*/ 2222229 h 3905171"/>
                <a:gd name="connsiteX595" fmla="*/ 179991 w 2626806"/>
                <a:gd name="connsiteY595" fmla="*/ 2198085 h 3905171"/>
                <a:gd name="connsiteX596" fmla="*/ 204136 w 2626806"/>
                <a:gd name="connsiteY596" fmla="*/ 2222229 h 3905171"/>
                <a:gd name="connsiteX597" fmla="*/ 179991 w 2626806"/>
                <a:gd name="connsiteY597" fmla="*/ 2246374 h 3905171"/>
                <a:gd name="connsiteX598" fmla="*/ 1663814 w 2626806"/>
                <a:gd name="connsiteY598" fmla="*/ 2246374 h 3905171"/>
                <a:gd name="connsiteX599" fmla="*/ 1659424 w 2626806"/>
                <a:gd name="connsiteY599" fmla="*/ 2241984 h 3905171"/>
                <a:gd name="connsiteX600" fmla="*/ 1663814 w 2626806"/>
                <a:gd name="connsiteY600" fmla="*/ 2237594 h 3905171"/>
                <a:gd name="connsiteX601" fmla="*/ 1668204 w 2626806"/>
                <a:gd name="connsiteY601" fmla="*/ 2241984 h 3905171"/>
                <a:gd name="connsiteX602" fmla="*/ 1663814 w 2626806"/>
                <a:gd name="connsiteY602" fmla="*/ 2246374 h 3905171"/>
                <a:gd name="connsiteX603" fmla="*/ 1325783 w 2626806"/>
                <a:gd name="connsiteY603" fmla="*/ 2270519 h 3905171"/>
                <a:gd name="connsiteX604" fmla="*/ 1314808 w 2626806"/>
                <a:gd name="connsiteY604" fmla="*/ 2259544 h 3905171"/>
                <a:gd name="connsiteX605" fmla="*/ 1325783 w 2626806"/>
                <a:gd name="connsiteY605" fmla="*/ 2248569 h 3905171"/>
                <a:gd name="connsiteX606" fmla="*/ 1336759 w 2626806"/>
                <a:gd name="connsiteY606" fmla="*/ 2259544 h 3905171"/>
                <a:gd name="connsiteX607" fmla="*/ 1325783 w 2626806"/>
                <a:gd name="connsiteY607" fmla="*/ 2270519 h 3905171"/>
                <a:gd name="connsiteX608" fmla="*/ 1881119 w 2626806"/>
                <a:gd name="connsiteY608" fmla="*/ 2283689 h 3905171"/>
                <a:gd name="connsiteX609" fmla="*/ 1876729 w 2626806"/>
                <a:gd name="connsiteY609" fmla="*/ 2279299 h 3905171"/>
                <a:gd name="connsiteX610" fmla="*/ 1881119 w 2626806"/>
                <a:gd name="connsiteY610" fmla="*/ 2274909 h 3905171"/>
                <a:gd name="connsiteX611" fmla="*/ 1885509 w 2626806"/>
                <a:gd name="connsiteY611" fmla="*/ 2279299 h 3905171"/>
                <a:gd name="connsiteX612" fmla="*/ 1881119 w 2626806"/>
                <a:gd name="connsiteY612" fmla="*/ 2283689 h 3905171"/>
                <a:gd name="connsiteX613" fmla="*/ 46095 w 2626806"/>
                <a:gd name="connsiteY613" fmla="*/ 2288078 h 3905171"/>
                <a:gd name="connsiteX614" fmla="*/ 43901 w 2626806"/>
                <a:gd name="connsiteY614" fmla="*/ 2285884 h 3905171"/>
                <a:gd name="connsiteX615" fmla="*/ 46095 w 2626806"/>
                <a:gd name="connsiteY615" fmla="*/ 2283688 h 3905171"/>
                <a:gd name="connsiteX616" fmla="*/ 48291 w 2626806"/>
                <a:gd name="connsiteY616" fmla="*/ 2285884 h 3905171"/>
                <a:gd name="connsiteX617" fmla="*/ 46095 w 2626806"/>
                <a:gd name="connsiteY617" fmla="*/ 2288078 h 3905171"/>
                <a:gd name="connsiteX618" fmla="*/ 996532 w 2626806"/>
                <a:gd name="connsiteY618" fmla="*/ 2288079 h 3905171"/>
                <a:gd name="connsiteX619" fmla="*/ 976777 w 2626806"/>
                <a:gd name="connsiteY619" fmla="*/ 2268324 h 3905171"/>
                <a:gd name="connsiteX620" fmla="*/ 996532 w 2626806"/>
                <a:gd name="connsiteY620" fmla="*/ 2248569 h 3905171"/>
                <a:gd name="connsiteX621" fmla="*/ 1016287 w 2626806"/>
                <a:gd name="connsiteY621" fmla="*/ 2268324 h 3905171"/>
                <a:gd name="connsiteX622" fmla="*/ 996532 w 2626806"/>
                <a:gd name="connsiteY622" fmla="*/ 2288079 h 3905171"/>
                <a:gd name="connsiteX623" fmla="*/ 359981 w 2626806"/>
                <a:gd name="connsiteY623" fmla="*/ 2301248 h 3905171"/>
                <a:gd name="connsiteX624" fmla="*/ 340226 w 2626806"/>
                <a:gd name="connsiteY624" fmla="*/ 2281493 h 3905171"/>
                <a:gd name="connsiteX625" fmla="*/ 359981 w 2626806"/>
                <a:gd name="connsiteY625" fmla="*/ 2261738 h 3905171"/>
                <a:gd name="connsiteX626" fmla="*/ 379736 w 2626806"/>
                <a:gd name="connsiteY626" fmla="*/ 2281493 h 3905171"/>
                <a:gd name="connsiteX627" fmla="*/ 359981 w 2626806"/>
                <a:gd name="connsiteY627" fmla="*/ 2301248 h 3905171"/>
                <a:gd name="connsiteX628" fmla="*/ 676061 w 2626806"/>
                <a:gd name="connsiteY628" fmla="*/ 2301249 h 3905171"/>
                <a:gd name="connsiteX629" fmla="*/ 651916 w 2626806"/>
                <a:gd name="connsiteY629" fmla="*/ 2277104 h 3905171"/>
                <a:gd name="connsiteX630" fmla="*/ 676061 w 2626806"/>
                <a:gd name="connsiteY630" fmla="*/ 2252959 h 3905171"/>
                <a:gd name="connsiteX631" fmla="*/ 700207 w 2626806"/>
                <a:gd name="connsiteY631" fmla="*/ 2277104 h 3905171"/>
                <a:gd name="connsiteX632" fmla="*/ 676061 w 2626806"/>
                <a:gd name="connsiteY632" fmla="*/ 2301249 h 3905171"/>
                <a:gd name="connsiteX633" fmla="*/ 1529919 w 2626806"/>
                <a:gd name="connsiteY633" fmla="*/ 2312223 h 3905171"/>
                <a:gd name="connsiteX634" fmla="*/ 1523333 w 2626806"/>
                <a:gd name="connsiteY634" fmla="*/ 2305638 h 3905171"/>
                <a:gd name="connsiteX635" fmla="*/ 1529919 w 2626806"/>
                <a:gd name="connsiteY635" fmla="*/ 2299053 h 3905171"/>
                <a:gd name="connsiteX636" fmla="*/ 1536503 w 2626806"/>
                <a:gd name="connsiteY636" fmla="*/ 2305638 h 3905171"/>
                <a:gd name="connsiteX637" fmla="*/ 1529919 w 2626806"/>
                <a:gd name="connsiteY637" fmla="*/ 2312223 h 3905171"/>
                <a:gd name="connsiteX638" fmla="*/ 1191888 w 2626806"/>
                <a:gd name="connsiteY638" fmla="*/ 2334173 h 3905171"/>
                <a:gd name="connsiteX639" fmla="*/ 1180912 w 2626806"/>
                <a:gd name="connsiteY639" fmla="*/ 2323199 h 3905171"/>
                <a:gd name="connsiteX640" fmla="*/ 1191888 w 2626806"/>
                <a:gd name="connsiteY640" fmla="*/ 2312223 h 3905171"/>
                <a:gd name="connsiteX641" fmla="*/ 1202863 w 2626806"/>
                <a:gd name="connsiteY641" fmla="*/ 2323199 h 3905171"/>
                <a:gd name="connsiteX642" fmla="*/ 1191888 w 2626806"/>
                <a:gd name="connsiteY642" fmla="*/ 2334173 h 3905171"/>
                <a:gd name="connsiteX643" fmla="*/ 1745028 w 2626806"/>
                <a:gd name="connsiteY643" fmla="*/ 2351734 h 3905171"/>
                <a:gd name="connsiteX644" fmla="*/ 1740639 w 2626806"/>
                <a:gd name="connsiteY644" fmla="*/ 2347344 h 3905171"/>
                <a:gd name="connsiteX645" fmla="*/ 1745028 w 2626806"/>
                <a:gd name="connsiteY645" fmla="*/ 2342953 h 3905171"/>
                <a:gd name="connsiteX646" fmla="*/ 1749418 w 2626806"/>
                <a:gd name="connsiteY646" fmla="*/ 2347344 h 3905171"/>
                <a:gd name="connsiteX647" fmla="*/ 1745028 w 2626806"/>
                <a:gd name="connsiteY647" fmla="*/ 2351734 h 3905171"/>
                <a:gd name="connsiteX648" fmla="*/ 542166 w 2626806"/>
                <a:gd name="connsiteY648" fmla="*/ 2360514 h 3905171"/>
                <a:gd name="connsiteX649" fmla="*/ 522412 w 2626806"/>
                <a:gd name="connsiteY649" fmla="*/ 2340758 h 3905171"/>
                <a:gd name="connsiteX650" fmla="*/ 542166 w 2626806"/>
                <a:gd name="connsiteY650" fmla="*/ 2321003 h 3905171"/>
                <a:gd name="connsiteX651" fmla="*/ 561922 w 2626806"/>
                <a:gd name="connsiteY651" fmla="*/ 2340758 h 3905171"/>
                <a:gd name="connsiteX652" fmla="*/ 542166 w 2626806"/>
                <a:gd name="connsiteY652" fmla="*/ 2360514 h 3905171"/>
                <a:gd name="connsiteX653" fmla="*/ 862637 w 2626806"/>
                <a:gd name="connsiteY653" fmla="*/ 2360514 h 3905171"/>
                <a:gd name="connsiteX654" fmla="*/ 836297 w 2626806"/>
                <a:gd name="connsiteY654" fmla="*/ 2334174 h 3905171"/>
                <a:gd name="connsiteX655" fmla="*/ 862637 w 2626806"/>
                <a:gd name="connsiteY655" fmla="*/ 2307834 h 3905171"/>
                <a:gd name="connsiteX656" fmla="*/ 888977 w 2626806"/>
                <a:gd name="connsiteY656" fmla="*/ 2334174 h 3905171"/>
                <a:gd name="connsiteX657" fmla="*/ 862637 w 2626806"/>
                <a:gd name="connsiteY657" fmla="*/ 2360514 h 3905171"/>
                <a:gd name="connsiteX658" fmla="*/ 223891 w 2626806"/>
                <a:gd name="connsiteY658" fmla="*/ 2371488 h 3905171"/>
                <a:gd name="connsiteX659" fmla="*/ 199745 w 2626806"/>
                <a:gd name="connsiteY659" fmla="*/ 2347344 h 3905171"/>
                <a:gd name="connsiteX660" fmla="*/ 223891 w 2626806"/>
                <a:gd name="connsiteY660" fmla="*/ 2323199 h 3905171"/>
                <a:gd name="connsiteX661" fmla="*/ 248036 w 2626806"/>
                <a:gd name="connsiteY661" fmla="*/ 2347344 h 3905171"/>
                <a:gd name="connsiteX662" fmla="*/ 223891 w 2626806"/>
                <a:gd name="connsiteY662" fmla="*/ 2371488 h 3905171"/>
                <a:gd name="connsiteX663" fmla="*/ 1393828 w 2626806"/>
                <a:gd name="connsiteY663" fmla="*/ 2380269 h 3905171"/>
                <a:gd name="connsiteX664" fmla="*/ 1385048 w 2626806"/>
                <a:gd name="connsiteY664" fmla="*/ 2371488 h 3905171"/>
                <a:gd name="connsiteX665" fmla="*/ 1393828 w 2626806"/>
                <a:gd name="connsiteY665" fmla="*/ 2362708 h 3905171"/>
                <a:gd name="connsiteX666" fmla="*/ 1402608 w 2626806"/>
                <a:gd name="connsiteY666" fmla="*/ 2371488 h 3905171"/>
                <a:gd name="connsiteX667" fmla="*/ 1393828 w 2626806"/>
                <a:gd name="connsiteY667" fmla="*/ 2380269 h 3905171"/>
                <a:gd name="connsiteX668" fmla="*/ 1973310 w 2626806"/>
                <a:gd name="connsiteY668" fmla="*/ 2380269 h 3905171"/>
                <a:gd name="connsiteX669" fmla="*/ 1968920 w 2626806"/>
                <a:gd name="connsiteY669" fmla="*/ 2375879 h 3905171"/>
                <a:gd name="connsiteX670" fmla="*/ 1973310 w 2626806"/>
                <a:gd name="connsiteY670" fmla="*/ 2371488 h 3905171"/>
                <a:gd name="connsiteX671" fmla="*/ 1977700 w 2626806"/>
                <a:gd name="connsiteY671" fmla="*/ 2375879 h 3905171"/>
                <a:gd name="connsiteX672" fmla="*/ 1973310 w 2626806"/>
                <a:gd name="connsiteY672" fmla="*/ 2380269 h 3905171"/>
                <a:gd name="connsiteX673" fmla="*/ 1057992 w 2626806"/>
                <a:gd name="connsiteY673" fmla="*/ 2410999 h 3905171"/>
                <a:gd name="connsiteX674" fmla="*/ 1036042 w 2626806"/>
                <a:gd name="connsiteY674" fmla="*/ 2389049 h 3905171"/>
                <a:gd name="connsiteX675" fmla="*/ 1057992 w 2626806"/>
                <a:gd name="connsiteY675" fmla="*/ 2367098 h 3905171"/>
                <a:gd name="connsiteX676" fmla="*/ 1079943 w 2626806"/>
                <a:gd name="connsiteY676" fmla="*/ 2389049 h 3905171"/>
                <a:gd name="connsiteX677" fmla="*/ 1057992 w 2626806"/>
                <a:gd name="connsiteY677" fmla="*/ 2410999 h 3905171"/>
                <a:gd name="connsiteX678" fmla="*/ 728742 w 2626806"/>
                <a:gd name="connsiteY678" fmla="*/ 2419779 h 3905171"/>
                <a:gd name="connsiteX679" fmla="*/ 706792 w 2626806"/>
                <a:gd name="connsiteY679" fmla="*/ 2397829 h 3905171"/>
                <a:gd name="connsiteX680" fmla="*/ 728742 w 2626806"/>
                <a:gd name="connsiteY680" fmla="*/ 2375879 h 3905171"/>
                <a:gd name="connsiteX681" fmla="*/ 750692 w 2626806"/>
                <a:gd name="connsiteY681" fmla="*/ 2397829 h 3905171"/>
                <a:gd name="connsiteX682" fmla="*/ 728742 w 2626806"/>
                <a:gd name="connsiteY682" fmla="*/ 2419779 h 3905171"/>
                <a:gd name="connsiteX683" fmla="*/ 1608939 w 2626806"/>
                <a:gd name="connsiteY683" fmla="*/ 2419779 h 3905171"/>
                <a:gd name="connsiteX684" fmla="*/ 1604549 w 2626806"/>
                <a:gd name="connsiteY684" fmla="*/ 2415389 h 3905171"/>
                <a:gd name="connsiteX685" fmla="*/ 1608939 w 2626806"/>
                <a:gd name="connsiteY685" fmla="*/ 2410999 h 3905171"/>
                <a:gd name="connsiteX686" fmla="*/ 1613329 w 2626806"/>
                <a:gd name="connsiteY686" fmla="*/ 2415389 h 3905171"/>
                <a:gd name="connsiteX687" fmla="*/ 1608939 w 2626806"/>
                <a:gd name="connsiteY687" fmla="*/ 2419779 h 3905171"/>
                <a:gd name="connsiteX688" fmla="*/ 408271 w 2626806"/>
                <a:gd name="connsiteY688" fmla="*/ 2426364 h 3905171"/>
                <a:gd name="connsiteX689" fmla="*/ 388516 w 2626806"/>
                <a:gd name="connsiteY689" fmla="*/ 2406609 h 3905171"/>
                <a:gd name="connsiteX690" fmla="*/ 408271 w 2626806"/>
                <a:gd name="connsiteY690" fmla="*/ 2386853 h 3905171"/>
                <a:gd name="connsiteX691" fmla="*/ 428027 w 2626806"/>
                <a:gd name="connsiteY691" fmla="*/ 2406609 h 3905171"/>
                <a:gd name="connsiteX692" fmla="*/ 408271 w 2626806"/>
                <a:gd name="connsiteY692" fmla="*/ 2426364 h 3905171"/>
                <a:gd name="connsiteX693" fmla="*/ 1259933 w 2626806"/>
                <a:gd name="connsiteY693" fmla="*/ 2450509 h 3905171"/>
                <a:gd name="connsiteX694" fmla="*/ 1246763 w 2626806"/>
                <a:gd name="connsiteY694" fmla="*/ 2437339 h 3905171"/>
                <a:gd name="connsiteX695" fmla="*/ 1259933 w 2626806"/>
                <a:gd name="connsiteY695" fmla="*/ 2424169 h 3905171"/>
                <a:gd name="connsiteX696" fmla="*/ 1273103 w 2626806"/>
                <a:gd name="connsiteY696" fmla="*/ 2437339 h 3905171"/>
                <a:gd name="connsiteX697" fmla="*/ 1259933 w 2626806"/>
                <a:gd name="connsiteY697" fmla="*/ 2450509 h 3905171"/>
                <a:gd name="connsiteX698" fmla="*/ 1832829 w 2626806"/>
                <a:gd name="connsiteY698" fmla="*/ 2452704 h 3905171"/>
                <a:gd name="connsiteX699" fmla="*/ 1826244 w 2626806"/>
                <a:gd name="connsiteY699" fmla="*/ 2446119 h 3905171"/>
                <a:gd name="connsiteX700" fmla="*/ 1832829 w 2626806"/>
                <a:gd name="connsiteY700" fmla="*/ 2439534 h 3905171"/>
                <a:gd name="connsiteX701" fmla="*/ 1839414 w 2626806"/>
                <a:gd name="connsiteY701" fmla="*/ 2446119 h 3905171"/>
                <a:gd name="connsiteX702" fmla="*/ 1832829 w 2626806"/>
                <a:gd name="connsiteY702" fmla="*/ 2452704 h 3905171"/>
                <a:gd name="connsiteX703" fmla="*/ 2074279 w 2626806"/>
                <a:gd name="connsiteY703" fmla="*/ 2465874 h 3905171"/>
                <a:gd name="connsiteX704" fmla="*/ 2073456 w 2626806"/>
                <a:gd name="connsiteY704" fmla="*/ 2463130 h 3905171"/>
                <a:gd name="connsiteX705" fmla="*/ 2074279 w 2626806"/>
                <a:gd name="connsiteY705" fmla="*/ 2463679 h 3905171"/>
                <a:gd name="connsiteX706" fmla="*/ 2074279 w 2626806"/>
                <a:gd name="connsiteY706" fmla="*/ 2465874 h 3905171"/>
                <a:gd name="connsiteX707" fmla="*/ 924097 w 2626806"/>
                <a:gd name="connsiteY707" fmla="*/ 2476849 h 3905171"/>
                <a:gd name="connsiteX708" fmla="*/ 899953 w 2626806"/>
                <a:gd name="connsiteY708" fmla="*/ 2452704 h 3905171"/>
                <a:gd name="connsiteX709" fmla="*/ 924097 w 2626806"/>
                <a:gd name="connsiteY709" fmla="*/ 2428558 h 3905171"/>
                <a:gd name="connsiteX710" fmla="*/ 948242 w 2626806"/>
                <a:gd name="connsiteY710" fmla="*/ 2452704 h 3905171"/>
                <a:gd name="connsiteX711" fmla="*/ 924097 w 2626806"/>
                <a:gd name="connsiteY711" fmla="*/ 2476849 h 3905171"/>
                <a:gd name="connsiteX712" fmla="*/ 597041 w 2626806"/>
                <a:gd name="connsiteY712" fmla="*/ 2485629 h 3905171"/>
                <a:gd name="connsiteX713" fmla="*/ 575091 w 2626806"/>
                <a:gd name="connsiteY713" fmla="*/ 2463679 h 3905171"/>
                <a:gd name="connsiteX714" fmla="*/ 597041 w 2626806"/>
                <a:gd name="connsiteY714" fmla="*/ 2441729 h 3905171"/>
                <a:gd name="connsiteX715" fmla="*/ 618991 w 2626806"/>
                <a:gd name="connsiteY715" fmla="*/ 2463679 h 3905171"/>
                <a:gd name="connsiteX716" fmla="*/ 597041 w 2626806"/>
                <a:gd name="connsiteY716" fmla="*/ 2485629 h 3905171"/>
                <a:gd name="connsiteX717" fmla="*/ 1472848 w 2626806"/>
                <a:gd name="connsiteY717" fmla="*/ 2490019 h 3905171"/>
                <a:gd name="connsiteX718" fmla="*/ 1464068 w 2626806"/>
                <a:gd name="connsiteY718" fmla="*/ 2481239 h 3905171"/>
                <a:gd name="connsiteX719" fmla="*/ 1472848 w 2626806"/>
                <a:gd name="connsiteY719" fmla="*/ 2472459 h 3905171"/>
                <a:gd name="connsiteX720" fmla="*/ 1481628 w 2626806"/>
                <a:gd name="connsiteY720" fmla="*/ 2481239 h 3905171"/>
                <a:gd name="connsiteX721" fmla="*/ 1472848 w 2626806"/>
                <a:gd name="connsiteY721" fmla="*/ 2490019 h 3905171"/>
                <a:gd name="connsiteX722" fmla="*/ 274376 w 2626806"/>
                <a:gd name="connsiteY722" fmla="*/ 2494409 h 3905171"/>
                <a:gd name="connsiteX723" fmla="*/ 250230 w 2626806"/>
                <a:gd name="connsiteY723" fmla="*/ 2470264 h 3905171"/>
                <a:gd name="connsiteX724" fmla="*/ 274376 w 2626806"/>
                <a:gd name="connsiteY724" fmla="*/ 2446119 h 3905171"/>
                <a:gd name="connsiteX725" fmla="*/ 298521 w 2626806"/>
                <a:gd name="connsiteY725" fmla="*/ 2470264 h 3905171"/>
                <a:gd name="connsiteX726" fmla="*/ 274376 w 2626806"/>
                <a:gd name="connsiteY726" fmla="*/ 2494409 h 3905171"/>
                <a:gd name="connsiteX727" fmla="*/ 1126038 w 2626806"/>
                <a:gd name="connsiteY727" fmla="*/ 2522944 h 3905171"/>
                <a:gd name="connsiteX728" fmla="*/ 1104088 w 2626806"/>
                <a:gd name="connsiteY728" fmla="*/ 2500994 h 3905171"/>
                <a:gd name="connsiteX729" fmla="*/ 1126038 w 2626806"/>
                <a:gd name="connsiteY729" fmla="*/ 2479044 h 3905171"/>
                <a:gd name="connsiteX730" fmla="*/ 1147987 w 2626806"/>
                <a:gd name="connsiteY730" fmla="*/ 2500994 h 3905171"/>
                <a:gd name="connsiteX731" fmla="*/ 1126038 w 2626806"/>
                <a:gd name="connsiteY731" fmla="*/ 2522944 h 3905171"/>
                <a:gd name="connsiteX732" fmla="*/ 1694544 w 2626806"/>
                <a:gd name="connsiteY732" fmla="*/ 2522944 h 3905171"/>
                <a:gd name="connsiteX733" fmla="*/ 1685764 w 2626806"/>
                <a:gd name="connsiteY733" fmla="*/ 2514164 h 3905171"/>
                <a:gd name="connsiteX734" fmla="*/ 1694544 w 2626806"/>
                <a:gd name="connsiteY734" fmla="*/ 2505384 h 3905171"/>
                <a:gd name="connsiteX735" fmla="*/ 1703324 w 2626806"/>
                <a:gd name="connsiteY735" fmla="*/ 2514164 h 3905171"/>
                <a:gd name="connsiteX736" fmla="*/ 1694544 w 2626806"/>
                <a:gd name="connsiteY736" fmla="*/ 2522944 h 3905171"/>
                <a:gd name="connsiteX737" fmla="*/ 1931604 w 2626806"/>
                <a:gd name="connsiteY737" fmla="*/ 2542699 h 3905171"/>
                <a:gd name="connsiteX738" fmla="*/ 1925019 w 2626806"/>
                <a:gd name="connsiteY738" fmla="*/ 2536114 h 3905171"/>
                <a:gd name="connsiteX739" fmla="*/ 1931604 w 2626806"/>
                <a:gd name="connsiteY739" fmla="*/ 2529529 h 3905171"/>
                <a:gd name="connsiteX740" fmla="*/ 1938189 w 2626806"/>
                <a:gd name="connsiteY740" fmla="*/ 2536114 h 3905171"/>
                <a:gd name="connsiteX741" fmla="*/ 1931604 w 2626806"/>
                <a:gd name="connsiteY741" fmla="*/ 2542699 h 3905171"/>
                <a:gd name="connsiteX742" fmla="*/ 2181835 w 2626806"/>
                <a:gd name="connsiteY742" fmla="*/ 2544894 h 3905171"/>
                <a:gd name="connsiteX743" fmla="*/ 2179639 w 2626806"/>
                <a:gd name="connsiteY743" fmla="*/ 2542699 h 3905171"/>
                <a:gd name="connsiteX744" fmla="*/ 2181835 w 2626806"/>
                <a:gd name="connsiteY744" fmla="*/ 2540504 h 3905171"/>
                <a:gd name="connsiteX745" fmla="*/ 2184030 w 2626806"/>
                <a:gd name="connsiteY745" fmla="*/ 2542699 h 3905171"/>
                <a:gd name="connsiteX746" fmla="*/ 2181835 w 2626806"/>
                <a:gd name="connsiteY746" fmla="*/ 2544894 h 3905171"/>
                <a:gd name="connsiteX747" fmla="*/ 790202 w 2626806"/>
                <a:gd name="connsiteY747" fmla="*/ 2549284 h 3905171"/>
                <a:gd name="connsiteX748" fmla="*/ 757277 w 2626806"/>
                <a:gd name="connsiteY748" fmla="*/ 2516359 h 3905171"/>
                <a:gd name="connsiteX749" fmla="*/ 790202 w 2626806"/>
                <a:gd name="connsiteY749" fmla="*/ 2483434 h 3905171"/>
                <a:gd name="connsiteX750" fmla="*/ 823127 w 2626806"/>
                <a:gd name="connsiteY750" fmla="*/ 2516359 h 3905171"/>
                <a:gd name="connsiteX751" fmla="*/ 790202 w 2626806"/>
                <a:gd name="connsiteY751" fmla="*/ 2549284 h 3905171"/>
                <a:gd name="connsiteX752" fmla="*/ 463146 w 2626806"/>
                <a:gd name="connsiteY752" fmla="*/ 2553674 h 3905171"/>
                <a:gd name="connsiteX753" fmla="*/ 436806 w 2626806"/>
                <a:gd name="connsiteY753" fmla="*/ 2527334 h 3905171"/>
                <a:gd name="connsiteX754" fmla="*/ 463146 w 2626806"/>
                <a:gd name="connsiteY754" fmla="*/ 2500994 h 3905171"/>
                <a:gd name="connsiteX755" fmla="*/ 489487 w 2626806"/>
                <a:gd name="connsiteY755" fmla="*/ 2527334 h 3905171"/>
                <a:gd name="connsiteX756" fmla="*/ 463146 w 2626806"/>
                <a:gd name="connsiteY756" fmla="*/ 2553674 h 3905171"/>
                <a:gd name="connsiteX757" fmla="*/ 1336757 w 2626806"/>
                <a:gd name="connsiteY757" fmla="*/ 2562454 h 3905171"/>
                <a:gd name="connsiteX758" fmla="*/ 1321393 w 2626806"/>
                <a:gd name="connsiteY758" fmla="*/ 2547089 h 3905171"/>
                <a:gd name="connsiteX759" fmla="*/ 1336757 w 2626806"/>
                <a:gd name="connsiteY759" fmla="*/ 2531724 h 3905171"/>
                <a:gd name="connsiteX760" fmla="*/ 1352123 w 2626806"/>
                <a:gd name="connsiteY760" fmla="*/ 2547089 h 3905171"/>
                <a:gd name="connsiteX761" fmla="*/ 1336757 w 2626806"/>
                <a:gd name="connsiteY761" fmla="*/ 2562454 h 3905171"/>
                <a:gd name="connsiteX762" fmla="*/ 1556258 w 2626806"/>
                <a:gd name="connsiteY762" fmla="*/ 2593185 h 3905171"/>
                <a:gd name="connsiteX763" fmla="*/ 1545283 w 2626806"/>
                <a:gd name="connsiteY763" fmla="*/ 2582209 h 3905171"/>
                <a:gd name="connsiteX764" fmla="*/ 1556258 w 2626806"/>
                <a:gd name="connsiteY764" fmla="*/ 2571234 h 3905171"/>
                <a:gd name="connsiteX765" fmla="*/ 1567234 w 2626806"/>
                <a:gd name="connsiteY765" fmla="*/ 2582209 h 3905171"/>
                <a:gd name="connsiteX766" fmla="*/ 1556258 w 2626806"/>
                <a:gd name="connsiteY766" fmla="*/ 2593185 h 3905171"/>
                <a:gd name="connsiteX767" fmla="*/ 992142 w 2626806"/>
                <a:gd name="connsiteY767" fmla="*/ 2601965 h 3905171"/>
                <a:gd name="connsiteX768" fmla="*/ 957022 w 2626806"/>
                <a:gd name="connsiteY768" fmla="*/ 2566844 h 3905171"/>
                <a:gd name="connsiteX769" fmla="*/ 992142 w 2626806"/>
                <a:gd name="connsiteY769" fmla="*/ 2531724 h 3905171"/>
                <a:gd name="connsiteX770" fmla="*/ 1027262 w 2626806"/>
                <a:gd name="connsiteY770" fmla="*/ 2566844 h 3905171"/>
                <a:gd name="connsiteX771" fmla="*/ 992142 w 2626806"/>
                <a:gd name="connsiteY771" fmla="*/ 2601965 h 3905171"/>
                <a:gd name="connsiteX772" fmla="*/ 656306 w 2626806"/>
                <a:gd name="connsiteY772" fmla="*/ 2617330 h 3905171"/>
                <a:gd name="connsiteX773" fmla="*/ 618991 w 2626806"/>
                <a:gd name="connsiteY773" fmla="*/ 2580014 h 3905171"/>
                <a:gd name="connsiteX774" fmla="*/ 656306 w 2626806"/>
                <a:gd name="connsiteY774" fmla="*/ 2542699 h 3905171"/>
                <a:gd name="connsiteX775" fmla="*/ 693621 w 2626806"/>
                <a:gd name="connsiteY775" fmla="*/ 2580014 h 3905171"/>
                <a:gd name="connsiteX776" fmla="*/ 656306 w 2626806"/>
                <a:gd name="connsiteY776" fmla="*/ 2617330 h 3905171"/>
                <a:gd name="connsiteX777" fmla="*/ 1788929 w 2626806"/>
                <a:gd name="connsiteY777" fmla="*/ 2617330 h 3905171"/>
                <a:gd name="connsiteX778" fmla="*/ 1780149 w 2626806"/>
                <a:gd name="connsiteY778" fmla="*/ 2608549 h 3905171"/>
                <a:gd name="connsiteX779" fmla="*/ 1788929 w 2626806"/>
                <a:gd name="connsiteY779" fmla="*/ 2599769 h 3905171"/>
                <a:gd name="connsiteX780" fmla="*/ 1797709 w 2626806"/>
                <a:gd name="connsiteY780" fmla="*/ 2608549 h 3905171"/>
                <a:gd name="connsiteX781" fmla="*/ 1788929 w 2626806"/>
                <a:gd name="connsiteY781" fmla="*/ 2617330 h 3905171"/>
                <a:gd name="connsiteX782" fmla="*/ 329251 w 2626806"/>
                <a:gd name="connsiteY782" fmla="*/ 2619524 h 3905171"/>
                <a:gd name="connsiteX783" fmla="*/ 300715 w 2626806"/>
                <a:gd name="connsiteY783" fmla="*/ 2590989 h 3905171"/>
                <a:gd name="connsiteX784" fmla="*/ 329251 w 2626806"/>
                <a:gd name="connsiteY784" fmla="*/ 2562454 h 3905171"/>
                <a:gd name="connsiteX785" fmla="*/ 357786 w 2626806"/>
                <a:gd name="connsiteY785" fmla="*/ 2590989 h 3905171"/>
                <a:gd name="connsiteX786" fmla="*/ 329251 w 2626806"/>
                <a:gd name="connsiteY786" fmla="*/ 2619524 h 3905171"/>
                <a:gd name="connsiteX787" fmla="*/ 2034770 w 2626806"/>
                <a:gd name="connsiteY787" fmla="*/ 2626110 h 3905171"/>
                <a:gd name="connsiteX788" fmla="*/ 2028184 w 2626806"/>
                <a:gd name="connsiteY788" fmla="*/ 2619524 h 3905171"/>
                <a:gd name="connsiteX789" fmla="*/ 2034770 w 2626806"/>
                <a:gd name="connsiteY789" fmla="*/ 2612940 h 3905171"/>
                <a:gd name="connsiteX790" fmla="*/ 2041355 w 2626806"/>
                <a:gd name="connsiteY790" fmla="*/ 2619524 h 3905171"/>
                <a:gd name="connsiteX791" fmla="*/ 2034770 w 2626806"/>
                <a:gd name="connsiteY791" fmla="*/ 2626110 h 3905171"/>
                <a:gd name="connsiteX792" fmla="*/ 1200668 w 2626806"/>
                <a:gd name="connsiteY792" fmla="*/ 2632694 h 3905171"/>
                <a:gd name="connsiteX793" fmla="*/ 1178718 w 2626806"/>
                <a:gd name="connsiteY793" fmla="*/ 2610745 h 3905171"/>
                <a:gd name="connsiteX794" fmla="*/ 1200668 w 2626806"/>
                <a:gd name="connsiteY794" fmla="*/ 2588795 h 3905171"/>
                <a:gd name="connsiteX795" fmla="*/ 1222618 w 2626806"/>
                <a:gd name="connsiteY795" fmla="*/ 2610745 h 3905171"/>
                <a:gd name="connsiteX796" fmla="*/ 1200668 w 2626806"/>
                <a:gd name="connsiteY796" fmla="*/ 2632694 h 3905171"/>
                <a:gd name="connsiteX797" fmla="*/ 858247 w 2626806"/>
                <a:gd name="connsiteY797" fmla="*/ 2663425 h 3905171"/>
                <a:gd name="connsiteX798" fmla="*/ 825322 w 2626806"/>
                <a:gd name="connsiteY798" fmla="*/ 2630500 h 3905171"/>
                <a:gd name="connsiteX799" fmla="*/ 858247 w 2626806"/>
                <a:gd name="connsiteY799" fmla="*/ 2597575 h 3905171"/>
                <a:gd name="connsiteX800" fmla="*/ 891173 w 2626806"/>
                <a:gd name="connsiteY800" fmla="*/ 2630500 h 3905171"/>
                <a:gd name="connsiteX801" fmla="*/ 858247 w 2626806"/>
                <a:gd name="connsiteY801" fmla="*/ 2663425 h 3905171"/>
                <a:gd name="connsiteX802" fmla="*/ 1417973 w 2626806"/>
                <a:gd name="connsiteY802" fmla="*/ 2665619 h 3905171"/>
                <a:gd name="connsiteX803" fmla="*/ 1402608 w 2626806"/>
                <a:gd name="connsiteY803" fmla="*/ 2650254 h 3905171"/>
                <a:gd name="connsiteX804" fmla="*/ 1417973 w 2626806"/>
                <a:gd name="connsiteY804" fmla="*/ 2634889 h 3905171"/>
                <a:gd name="connsiteX805" fmla="*/ 1433338 w 2626806"/>
                <a:gd name="connsiteY805" fmla="*/ 2650254 h 3905171"/>
                <a:gd name="connsiteX806" fmla="*/ 1417973 w 2626806"/>
                <a:gd name="connsiteY806" fmla="*/ 2665619 h 3905171"/>
                <a:gd name="connsiteX807" fmla="*/ 2414506 w 2626806"/>
                <a:gd name="connsiteY807" fmla="*/ 2670010 h 3905171"/>
                <a:gd name="connsiteX808" fmla="*/ 2412311 w 2626806"/>
                <a:gd name="connsiteY808" fmla="*/ 2667815 h 3905171"/>
                <a:gd name="connsiteX809" fmla="*/ 2414506 w 2626806"/>
                <a:gd name="connsiteY809" fmla="*/ 2665619 h 3905171"/>
                <a:gd name="connsiteX810" fmla="*/ 2416700 w 2626806"/>
                <a:gd name="connsiteY810" fmla="*/ 2667815 h 3905171"/>
                <a:gd name="connsiteX811" fmla="*/ 2414506 w 2626806"/>
                <a:gd name="connsiteY811" fmla="*/ 2670010 h 3905171"/>
                <a:gd name="connsiteX812" fmla="*/ 522412 w 2626806"/>
                <a:gd name="connsiteY812" fmla="*/ 2672205 h 3905171"/>
                <a:gd name="connsiteX813" fmla="*/ 496071 w 2626806"/>
                <a:gd name="connsiteY813" fmla="*/ 2645865 h 3905171"/>
                <a:gd name="connsiteX814" fmla="*/ 522412 w 2626806"/>
                <a:gd name="connsiteY814" fmla="*/ 2619524 h 3905171"/>
                <a:gd name="connsiteX815" fmla="*/ 548752 w 2626806"/>
                <a:gd name="connsiteY815" fmla="*/ 2645865 h 3905171"/>
                <a:gd name="connsiteX816" fmla="*/ 522412 w 2626806"/>
                <a:gd name="connsiteY816" fmla="*/ 2672205 h 3905171"/>
                <a:gd name="connsiteX817" fmla="*/ 195356 w 2626806"/>
                <a:gd name="connsiteY817" fmla="*/ 2674399 h 3905171"/>
                <a:gd name="connsiteX818" fmla="*/ 175600 w 2626806"/>
                <a:gd name="connsiteY818" fmla="*/ 2654644 h 3905171"/>
                <a:gd name="connsiteX819" fmla="*/ 195356 w 2626806"/>
                <a:gd name="connsiteY819" fmla="*/ 2634889 h 3905171"/>
                <a:gd name="connsiteX820" fmla="*/ 215111 w 2626806"/>
                <a:gd name="connsiteY820" fmla="*/ 2654644 h 3905171"/>
                <a:gd name="connsiteX821" fmla="*/ 195356 w 2626806"/>
                <a:gd name="connsiteY821" fmla="*/ 2674399 h 3905171"/>
                <a:gd name="connsiteX822" fmla="*/ 1648449 w 2626806"/>
                <a:gd name="connsiteY822" fmla="*/ 2691960 h 3905171"/>
                <a:gd name="connsiteX823" fmla="*/ 1635279 w 2626806"/>
                <a:gd name="connsiteY823" fmla="*/ 2678790 h 3905171"/>
                <a:gd name="connsiteX824" fmla="*/ 1648449 w 2626806"/>
                <a:gd name="connsiteY824" fmla="*/ 2665619 h 3905171"/>
                <a:gd name="connsiteX825" fmla="*/ 1661619 w 2626806"/>
                <a:gd name="connsiteY825" fmla="*/ 2678790 h 3905171"/>
                <a:gd name="connsiteX826" fmla="*/ 1648449 w 2626806"/>
                <a:gd name="connsiteY826" fmla="*/ 2691960 h 3905171"/>
                <a:gd name="connsiteX827" fmla="*/ 2144518 w 2626806"/>
                <a:gd name="connsiteY827" fmla="*/ 2700740 h 3905171"/>
                <a:gd name="connsiteX828" fmla="*/ 2137934 w 2626806"/>
                <a:gd name="connsiteY828" fmla="*/ 2694155 h 3905171"/>
                <a:gd name="connsiteX829" fmla="*/ 2144518 w 2626806"/>
                <a:gd name="connsiteY829" fmla="*/ 2687570 h 3905171"/>
                <a:gd name="connsiteX830" fmla="*/ 2151104 w 2626806"/>
                <a:gd name="connsiteY830" fmla="*/ 2694155 h 3905171"/>
                <a:gd name="connsiteX831" fmla="*/ 2144518 w 2626806"/>
                <a:gd name="connsiteY831" fmla="*/ 2700740 h 3905171"/>
                <a:gd name="connsiteX832" fmla="*/ 1889899 w 2626806"/>
                <a:gd name="connsiteY832" fmla="*/ 2705129 h 3905171"/>
                <a:gd name="connsiteX833" fmla="*/ 1878924 w 2626806"/>
                <a:gd name="connsiteY833" fmla="*/ 2694154 h 3905171"/>
                <a:gd name="connsiteX834" fmla="*/ 1889899 w 2626806"/>
                <a:gd name="connsiteY834" fmla="*/ 2683179 h 3905171"/>
                <a:gd name="connsiteX835" fmla="*/ 1900874 w 2626806"/>
                <a:gd name="connsiteY835" fmla="*/ 2694154 h 3905171"/>
                <a:gd name="connsiteX836" fmla="*/ 1889899 w 2626806"/>
                <a:gd name="connsiteY836" fmla="*/ 2705129 h 3905171"/>
                <a:gd name="connsiteX837" fmla="*/ 1064577 w 2626806"/>
                <a:gd name="connsiteY837" fmla="*/ 2711715 h 3905171"/>
                <a:gd name="connsiteX838" fmla="*/ 1029457 w 2626806"/>
                <a:gd name="connsiteY838" fmla="*/ 2676595 h 3905171"/>
                <a:gd name="connsiteX839" fmla="*/ 1064577 w 2626806"/>
                <a:gd name="connsiteY839" fmla="*/ 2641475 h 3905171"/>
                <a:gd name="connsiteX840" fmla="*/ 1099698 w 2626806"/>
                <a:gd name="connsiteY840" fmla="*/ 2676595 h 3905171"/>
                <a:gd name="connsiteX841" fmla="*/ 1064577 w 2626806"/>
                <a:gd name="connsiteY841" fmla="*/ 2711715 h 3905171"/>
                <a:gd name="connsiteX842" fmla="*/ 2539620 w 2626806"/>
                <a:gd name="connsiteY842" fmla="*/ 2716105 h 3905171"/>
                <a:gd name="connsiteX843" fmla="*/ 2538797 w 2626806"/>
                <a:gd name="connsiteY843" fmla="*/ 2713362 h 3905171"/>
                <a:gd name="connsiteX844" fmla="*/ 2539620 w 2626806"/>
                <a:gd name="connsiteY844" fmla="*/ 2713910 h 3905171"/>
                <a:gd name="connsiteX845" fmla="*/ 2539620 w 2626806"/>
                <a:gd name="connsiteY845" fmla="*/ 2716105 h 3905171"/>
                <a:gd name="connsiteX846" fmla="*/ 722156 w 2626806"/>
                <a:gd name="connsiteY846" fmla="*/ 2733665 h 3905171"/>
                <a:gd name="connsiteX847" fmla="*/ 682647 w 2626806"/>
                <a:gd name="connsiteY847" fmla="*/ 2694155 h 3905171"/>
                <a:gd name="connsiteX848" fmla="*/ 722156 w 2626806"/>
                <a:gd name="connsiteY848" fmla="*/ 2654645 h 3905171"/>
                <a:gd name="connsiteX849" fmla="*/ 761667 w 2626806"/>
                <a:gd name="connsiteY849" fmla="*/ 2694155 h 3905171"/>
                <a:gd name="connsiteX850" fmla="*/ 722156 w 2626806"/>
                <a:gd name="connsiteY850" fmla="*/ 2733665 h 3905171"/>
                <a:gd name="connsiteX851" fmla="*/ 390711 w 2626806"/>
                <a:gd name="connsiteY851" fmla="*/ 2740250 h 3905171"/>
                <a:gd name="connsiteX852" fmla="*/ 359981 w 2626806"/>
                <a:gd name="connsiteY852" fmla="*/ 2709519 h 3905171"/>
                <a:gd name="connsiteX853" fmla="*/ 390711 w 2626806"/>
                <a:gd name="connsiteY853" fmla="*/ 2678789 h 3905171"/>
                <a:gd name="connsiteX854" fmla="*/ 421441 w 2626806"/>
                <a:gd name="connsiteY854" fmla="*/ 2709519 h 3905171"/>
                <a:gd name="connsiteX855" fmla="*/ 390711 w 2626806"/>
                <a:gd name="connsiteY855" fmla="*/ 2740250 h 3905171"/>
                <a:gd name="connsiteX856" fmla="*/ 1281883 w 2626806"/>
                <a:gd name="connsiteY856" fmla="*/ 2742444 h 3905171"/>
                <a:gd name="connsiteX857" fmla="*/ 1255543 w 2626806"/>
                <a:gd name="connsiteY857" fmla="*/ 2716104 h 3905171"/>
                <a:gd name="connsiteX858" fmla="*/ 1281883 w 2626806"/>
                <a:gd name="connsiteY858" fmla="*/ 2689764 h 3905171"/>
                <a:gd name="connsiteX859" fmla="*/ 1308223 w 2626806"/>
                <a:gd name="connsiteY859" fmla="*/ 2716104 h 3905171"/>
                <a:gd name="connsiteX860" fmla="*/ 1281883 w 2626806"/>
                <a:gd name="connsiteY860" fmla="*/ 2742444 h 3905171"/>
                <a:gd name="connsiteX861" fmla="*/ 2260855 w 2626806"/>
                <a:gd name="connsiteY861" fmla="*/ 2764395 h 3905171"/>
                <a:gd name="connsiteX862" fmla="*/ 2256465 w 2626806"/>
                <a:gd name="connsiteY862" fmla="*/ 2760004 h 3905171"/>
                <a:gd name="connsiteX863" fmla="*/ 2260855 w 2626806"/>
                <a:gd name="connsiteY863" fmla="*/ 2755614 h 3905171"/>
                <a:gd name="connsiteX864" fmla="*/ 2265245 w 2626806"/>
                <a:gd name="connsiteY864" fmla="*/ 2760004 h 3905171"/>
                <a:gd name="connsiteX865" fmla="*/ 2260855 w 2626806"/>
                <a:gd name="connsiteY865" fmla="*/ 2764395 h 3905171"/>
                <a:gd name="connsiteX866" fmla="*/ 1507968 w 2626806"/>
                <a:gd name="connsiteY866" fmla="*/ 2766589 h 3905171"/>
                <a:gd name="connsiteX867" fmla="*/ 1488214 w 2626806"/>
                <a:gd name="connsiteY867" fmla="*/ 2746834 h 3905171"/>
                <a:gd name="connsiteX868" fmla="*/ 1507968 w 2626806"/>
                <a:gd name="connsiteY868" fmla="*/ 2727079 h 3905171"/>
                <a:gd name="connsiteX869" fmla="*/ 1527723 w 2626806"/>
                <a:gd name="connsiteY869" fmla="*/ 2746834 h 3905171"/>
                <a:gd name="connsiteX870" fmla="*/ 1507968 w 2626806"/>
                <a:gd name="connsiteY870" fmla="*/ 2766589 h 3905171"/>
                <a:gd name="connsiteX871" fmla="*/ 930682 w 2626806"/>
                <a:gd name="connsiteY871" fmla="*/ 2777565 h 3905171"/>
                <a:gd name="connsiteX872" fmla="*/ 893367 w 2626806"/>
                <a:gd name="connsiteY872" fmla="*/ 2740250 h 3905171"/>
                <a:gd name="connsiteX873" fmla="*/ 930682 w 2626806"/>
                <a:gd name="connsiteY873" fmla="*/ 2702934 h 3905171"/>
                <a:gd name="connsiteX874" fmla="*/ 967997 w 2626806"/>
                <a:gd name="connsiteY874" fmla="*/ 2740250 h 3905171"/>
                <a:gd name="connsiteX875" fmla="*/ 930682 w 2626806"/>
                <a:gd name="connsiteY875" fmla="*/ 2777565 h 3905171"/>
                <a:gd name="connsiteX876" fmla="*/ 256816 w 2626806"/>
                <a:gd name="connsiteY876" fmla="*/ 2781955 h 3905171"/>
                <a:gd name="connsiteX877" fmla="*/ 248036 w 2626806"/>
                <a:gd name="connsiteY877" fmla="*/ 2773175 h 3905171"/>
                <a:gd name="connsiteX878" fmla="*/ 256816 w 2626806"/>
                <a:gd name="connsiteY878" fmla="*/ 2764395 h 3905171"/>
                <a:gd name="connsiteX879" fmla="*/ 265596 w 2626806"/>
                <a:gd name="connsiteY879" fmla="*/ 2773175 h 3905171"/>
                <a:gd name="connsiteX880" fmla="*/ 256816 w 2626806"/>
                <a:gd name="connsiteY880" fmla="*/ 2781955 h 3905171"/>
                <a:gd name="connsiteX881" fmla="*/ 1745028 w 2626806"/>
                <a:gd name="connsiteY881" fmla="*/ 2781955 h 3905171"/>
                <a:gd name="connsiteX882" fmla="*/ 1731859 w 2626806"/>
                <a:gd name="connsiteY882" fmla="*/ 2768785 h 3905171"/>
                <a:gd name="connsiteX883" fmla="*/ 1745028 w 2626806"/>
                <a:gd name="connsiteY883" fmla="*/ 2755614 h 3905171"/>
                <a:gd name="connsiteX884" fmla="*/ 1758198 w 2626806"/>
                <a:gd name="connsiteY884" fmla="*/ 2768785 h 3905171"/>
                <a:gd name="connsiteX885" fmla="*/ 1745028 w 2626806"/>
                <a:gd name="connsiteY885" fmla="*/ 2781955 h 3905171"/>
                <a:gd name="connsiteX886" fmla="*/ 1995259 w 2626806"/>
                <a:gd name="connsiteY886" fmla="*/ 2781955 h 3905171"/>
                <a:gd name="connsiteX887" fmla="*/ 1986479 w 2626806"/>
                <a:gd name="connsiteY887" fmla="*/ 2773175 h 3905171"/>
                <a:gd name="connsiteX888" fmla="*/ 1995259 w 2626806"/>
                <a:gd name="connsiteY888" fmla="*/ 2764395 h 3905171"/>
                <a:gd name="connsiteX889" fmla="*/ 2004039 w 2626806"/>
                <a:gd name="connsiteY889" fmla="*/ 2773175 h 3905171"/>
                <a:gd name="connsiteX890" fmla="*/ 1995259 w 2626806"/>
                <a:gd name="connsiteY890" fmla="*/ 2781955 h 3905171"/>
                <a:gd name="connsiteX891" fmla="*/ 588261 w 2626806"/>
                <a:gd name="connsiteY891" fmla="*/ 2795125 h 3905171"/>
                <a:gd name="connsiteX892" fmla="*/ 555336 w 2626806"/>
                <a:gd name="connsiteY892" fmla="*/ 2762199 h 3905171"/>
                <a:gd name="connsiteX893" fmla="*/ 588261 w 2626806"/>
                <a:gd name="connsiteY893" fmla="*/ 2729274 h 3905171"/>
                <a:gd name="connsiteX894" fmla="*/ 621186 w 2626806"/>
                <a:gd name="connsiteY894" fmla="*/ 2762199 h 3905171"/>
                <a:gd name="connsiteX895" fmla="*/ 588261 w 2626806"/>
                <a:gd name="connsiteY895" fmla="*/ 2795125 h 3905171"/>
                <a:gd name="connsiteX896" fmla="*/ 1145793 w 2626806"/>
                <a:gd name="connsiteY896" fmla="*/ 2817074 h 3905171"/>
                <a:gd name="connsiteX897" fmla="*/ 1110672 w 2626806"/>
                <a:gd name="connsiteY897" fmla="*/ 2781955 h 3905171"/>
                <a:gd name="connsiteX898" fmla="*/ 1145793 w 2626806"/>
                <a:gd name="connsiteY898" fmla="*/ 2746834 h 3905171"/>
                <a:gd name="connsiteX899" fmla="*/ 1180912 w 2626806"/>
                <a:gd name="connsiteY899" fmla="*/ 2781955 h 3905171"/>
                <a:gd name="connsiteX900" fmla="*/ 1145793 w 2626806"/>
                <a:gd name="connsiteY900" fmla="*/ 2817074 h 3905171"/>
                <a:gd name="connsiteX901" fmla="*/ 2381579 w 2626806"/>
                <a:gd name="connsiteY901" fmla="*/ 2823660 h 3905171"/>
                <a:gd name="connsiteX902" fmla="*/ 2372799 w 2626806"/>
                <a:gd name="connsiteY902" fmla="*/ 2814880 h 3905171"/>
                <a:gd name="connsiteX903" fmla="*/ 2381579 w 2626806"/>
                <a:gd name="connsiteY903" fmla="*/ 2806100 h 3905171"/>
                <a:gd name="connsiteX904" fmla="*/ 2390360 w 2626806"/>
                <a:gd name="connsiteY904" fmla="*/ 2814880 h 3905171"/>
                <a:gd name="connsiteX905" fmla="*/ 2381579 w 2626806"/>
                <a:gd name="connsiteY905" fmla="*/ 2823660 h 3905171"/>
                <a:gd name="connsiteX906" fmla="*/ 794592 w 2626806"/>
                <a:gd name="connsiteY906" fmla="*/ 2852195 h 3905171"/>
                <a:gd name="connsiteX907" fmla="*/ 748497 w 2626806"/>
                <a:gd name="connsiteY907" fmla="*/ 2806100 h 3905171"/>
                <a:gd name="connsiteX908" fmla="*/ 794592 w 2626806"/>
                <a:gd name="connsiteY908" fmla="*/ 2760004 h 3905171"/>
                <a:gd name="connsiteX909" fmla="*/ 840687 w 2626806"/>
                <a:gd name="connsiteY909" fmla="*/ 2806100 h 3905171"/>
                <a:gd name="connsiteX910" fmla="*/ 794592 w 2626806"/>
                <a:gd name="connsiteY910" fmla="*/ 2852195 h 3905171"/>
                <a:gd name="connsiteX911" fmla="*/ 1369682 w 2626806"/>
                <a:gd name="connsiteY911" fmla="*/ 2852195 h 3905171"/>
                <a:gd name="connsiteX912" fmla="*/ 1332367 w 2626806"/>
                <a:gd name="connsiteY912" fmla="*/ 2814880 h 3905171"/>
                <a:gd name="connsiteX913" fmla="*/ 1369682 w 2626806"/>
                <a:gd name="connsiteY913" fmla="*/ 2777565 h 3905171"/>
                <a:gd name="connsiteX914" fmla="*/ 1406998 w 2626806"/>
                <a:gd name="connsiteY914" fmla="*/ 2814880 h 3905171"/>
                <a:gd name="connsiteX915" fmla="*/ 1369682 w 2626806"/>
                <a:gd name="connsiteY915" fmla="*/ 2852195 h 3905171"/>
                <a:gd name="connsiteX916" fmla="*/ 2109399 w 2626806"/>
                <a:gd name="connsiteY916" fmla="*/ 2856585 h 3905171"/>
                <a:gd name="connsiteX917" fmla="*/ 2096230 w 2626806"/>
                <a:gd name="connsiteY917" fmla="*/ 2843415 h 3905171"/>
                <a:gd name="connsiteX918" fmla="*/ 2109399 w 2626806"/>
                <a:gd name="connsiteY918" fmla="*/ 2830245 h 3905171"/>
                <a:gd name="connsiteX919" fmla="*/ 2122570 w 2626806"/>
                <a:gd name="connsiteY919" fmla="*/ 2843415 h 3905171"/>
                <a:gd name="connsiteX920" fmla="*/ 2109399 w 2626806"/>
                <a:gd name="connsiteY920" fmla="*/ 2856585 h 3905171"/>
                <a:gd name="connsiteX921" fmla="*/ 454366 w 2626806"/>
                <a:gd name="connsiteY921" fmla="*/ 2858780 h 3905171"/>
                <a:gd name="connsiteX922" fmla="*/ 419246 w 2626806"/>
                <a:gd name="connsiteY922" fmla="*/ 2823660 h 3905171"/>
                <a:gd name="connsiteX923" fmla="*/ 454366 w 2626806"/>
                <a:gd name="connsiteY923" fmla="*/ 2788539 h 3905171"/>
                <a:gd name="connsiteX924" fmla="*/ 489487 w 2626806"/>
                <a:gd name="connsiteY924" fmla="*/ 2823660 h 3905171"/>
                <a:gd name="connsiteX925" fmla="*/ 454366 w 2626806"/>
                <a:gd name="connsiteY925" fmla="*/ 2858780 h 3905171"/>
                <a:gd name="connsiteX926" fmla="*/ 2506696 w 2626806"/>
                <a:gd name="connsiteY926" fmla="*/ 2867560 h 3905171"/>
                <a:gd name="connsiteX927" fmla="*/ 2497916 w 2626806"/>
                <a:gd name="connsiteY927" fmla="*/ 2858780 h 3905171"/>
                <a:gd name="connsiteX928" fmla="*/ 2506696 w 2626806"/>
                <a:gd name="connsiteY928" fmla="*/ 2849999 h 3905171"/>
                <a:gd name="connsiteX929" fmla="*/ 2515476 w 2626806"/>
                <a:gd name="connsiteY929" fmla="*/ 2858780 h 3905171"/>
                <a:gd name="connsiteX930" fmla="*/ 2506696 w 2626806"/>
                <a:gd name="connsiteY930" fmla="*/ 2867560 h 3905171"/>
                <a:gd name="connsiteX931" fmla="*/ 1604549 w 2626806"/>
                <a:gd name="connsiteY931" fmla="*/ 2869755 h 3905171"/>
                <a:gd name="connsiteX932" fmla="*/ 1576014 w 2626806"/>
                <a:gd name="connsiteY932" fmla="*/ 2841220 h 3905171"/>
                <a:gd name="connsiteX933" fmla="*/ 1604549 w 2626806"/>
                <a:gd name="connsiteY933" fmla="*/ 2812684 h 3905171"/>
                <a:gd name="connsiteX934" fmla="*/ 1633084 w 2626806"/>
                <a:gd name="connsiteY934" fmla="*/ 2841220 h 3905171"/>
                <a:gd name="connsiteX935" fmla="*/ 1604549 w 2626806"/>
                <a:gd name="connsiteY935" fmla="*/ 2869755 h 3905171"/>
                <a:gd name="connsiteX936" fmla="*/ 1850389 w 2626806"/>
                <a:gd name="connsiteY936" fmla="*/ 2874144 h 3905171"/>
                <a:gd name="connsiteX937" fmla="*/ 1826244 w 2626806"/>
                <a:gd name="connsiteY937" fmla="*/ 2849999 h 3905171"/>
                <a:gd name="connsiteX938" fmla="*/ 1850389 w 2626806"/>
                <a:gd name="connsiteY938" fmla="*/ 2825855 h 3905171"/>
                <a:gd name="connsiteX939" fmla="*/ 1874534 w 2626806"/>
                <a:gd name="connsiteY939" fmla="*/ 2849999 h 3905171"/>
                <a:gd name="connsiteX940" fmla="*/ 1850389 w 2626806"/>
                <a:gd name="connsiteY940" fmla="*/ 2874144 h 3905171"/>
                <a:gd name="connsiteX941" fmla="*/ 1009702 w 2626806"/>
                <a:gd name="connsiteY941" fmla="*/ 2891704 h 3905171"/>
                <a:gd name="connsiteX942" fmla="*/ 967997 w 2626806"/>
                <a:gd name="connsiteY942" fmla="*/ 2849999 h 3905171"/>
                <a:gd name="connsiteX943" fmla="*/ 1009702 w 2626806"/>
                <a:gd name="connsiteY943" fmla="*/ 2808294 h 3905171"/>
                <a:gd name="connsiteX944" fmla="*/ 1051407 w 2626806"/>
                <a:gd name="connsiteY944" fmla="*/ 2849999 h 3905171"/>
                <a:gd name="connsiteX945" fmla="*/ 1009702 w 2626806"/>
                <a:gd name="connsiteY945" fmla="*/ 2891704 h 3905171"/>
                <a:gd name="connsiteX946" fmla="*/ 2225735 w 2626806"/>
                <a:gd name="connsiteY946" fmla="*/ 2915850 h 3905171"/>
                <a:gd name="connsiteX947" fmla="*/ 2216954 w 2626806"/>
                <a:gd name="connsiteY947" fmla="*/ 2907069 h 3905171"/>
                <a:gd name="connsiteX948" fmla="*/ 2225735 w 2626806"/>
                <a:gd name="connsiteY948" fmla="*/ 2898290 h 3905171"/>
                <a:gd name="connsiteX949" fmla="*/ 2234515 w 2626806"/>
                <a:gd name="connsiteY949" fmla="*/ 2907069 h 3905171"/>
                <a:gd name="connsiteX950" fmla="*/ 2225735 w 2626806"/>
                <a:gd name="connsiteY950" fmla="*/ 2915850 h 3905171"/>
                <a:gd name="connsiteX951" fmla="*/ 320471 w 2626806"/>
                <a:gd name="connsiteY951" fmla="*/ 2918045 h 3905171"/>
                <a:gd name="connsiteX952" fmla="*/ 291936 w 2626806"/>
                <a:gd name="connsiteY952" fmla="*/ 2889510 h 3905171"/>
                <a:gd name="connsiteX953" fmla="*/ 320471 w 2626806"/>
                <a:gd name="connsiteY953" fmla="*/ 2860975 h 3905171"/>
                <a:gd name="connsiteX954" fmla="*/ 349006 w 2626806"/>
                <a:gd name="connsiteY954" fmla="*/ 2889510 h 3905171"/>
                <a:gd name="connsiteX955" fmla="*/ 320471 w 2626806"/>
                <a:gd name="connsiteY955" fmla="*/ 2918045 h 3905171"/>
                <a:gd name="connsiteX956" fmla="*/ 660696 w 2626806"/>
                <a:gd name="connsiteY956" fmla="*/ 2918045 h 3905171"/>
                <a:gd name="connsiteX957" fmla="*/ 614601 w 2626806"/>
                <a:gd name="connsiteY957" fmla="*/ 2871950 h 3905171"/>
                <a:gd name="connsiteX958" fmla="*/ 660696 w 2626806"/>
                <a:gd name="connsiteY958" fmla="*/ 2825855 h 3905171"/>
                <a:gd name="connsiteX959" fmla="*/ 706792 w 2626806"/>
                <a:gd name="connsiteY959" fmla="*/ 2871950 h 3905171"/>
                <a:gd name="connsiteX960" fmla="*/ 660696 w 2626806"/>
                <a:gd name="connsiteY960" fmla="*/ 2918045 h 3905171"/>
                <a:gd name="connsiteX961" fmla="*/ 1231398 w 2626806"/>
                <a:gd name="connsiteY961" fmla="*/ 2924630 h 3905171"/>
                <a:gd name="connsiteX962" fmla="*/ 1189693 w 2626806"/>
                <a:gd name="connsiteY962" fmla="*/ 2882925 h 3905171"/>
                <a:gd name="connsiteX963" fmla="*/ 1231398 w 2626806"/>
                <a:gd name="connsiteY963" fmla="*/ 2841220 h 3905171"/>
                <a:gd name="connsiteX964" fmla="*/ 1273103 w 2626806"/>
                <a:gd name="connsiteY964" fmla="*/ 2882925 h 3905171"/>
                <a:gd name="connsiteX965" fmla="*/ 1231398 w 2626806"/>
                <a:gd name="connsiteY965" fmla="*/ 2924630 h 3905171"/>
                <a:gd name="connsiteX966" fmla="*/ 1960140 w 2626806"/>
                <a:gd name="connsiteY966" fmla="*/ 2946580 h 3905171"/>
                <a:gd name="connsiteX967" fmla="*/ 1940384 w 2626806"/>
                <a:gd name="connsiteY967" fmla="*/ 2926825 h 3905171"/>
                <a:gd name="connsiteX968" fmla="*/ 1960140 w 2626806"/>
                <a:gd name="connsiteY968" fmla="*/ 2907069 h 3905171"/>
                <a:gd name="connsiteX969" fmla="*/ 1979894 w 2626806"/>
                <a:gd name="connsiteY969" fmla="*/ 2926825 h 3905171"/>
                <a:gd name="connsiteX970" fmla="*/ 1960140 w 2626806"/>
                <a:gd name="connsiteY970" fmla="*/ 2946580 h 3905171"/>
                <a:gd name="connsiteX971" fmla="*/ 1461873 w 2626806"/>
                <a:gd name="connsiteY971" fmla="*/ 2948775 h 3905171"/>
                <a:gd name="connsiteX972" fmla="*/ 1424558 w 2626806"/>
                <a:gd name="connsiteY972" fmla="*/ 2911460 h 3905171"/>
                <a:gd name="connsiteX973" fmla="*/ 1461873 w 2626806"/>
                <a:gd name="connsiteY973" fmla="*/ 2874144 h 3905171"/>
                <a:gd name="connsiteX974" fmla="*/ 1499188 w 2626806"/>
                <a:gd name="connsiteY974" fmla="*/ 2911460 h 3905171"/>
                <a:gd name="connsiteX975" fmla="*/ 1461873 w 2626806"/>
                <a:gd name="connsiteY975" fmla="*/ 2948775 h 3905171"/>
                <a:gd name="connsiteX976" fmla="*/ 1705519 w 2626806"/>
                <a:gd name="connsiteY976" fmla="*/ 2953165 h 3905171"/>
                <a:gd name="connsiteX977" fmla="*/ 1679178 w 2626806"/>
                <a:gd name="connsiteY977" fmla="*/ 2926825 h 3905171"/>
                <a:gd name="connsiteX978" fmla="*/ 1705519 w 2626806"/>
                <a:gd name="connsiteY978" fmla="*/ 2900485 h 3905171"/>
                <a:gd name="connsiteX979" fmla="*/ 1731859 w 2626806"/>
                <a:gd name="connsiteY979" fmla="*/ 2926825 h 3905171"/>
                <a:gd name="connsiteX980" fmla="*/ 1705519 w 2626806"/>
                <a:gd name="connsiteY980" fmla="*/ 2953165 h 3905171"/>
                <a:gd name="connsiteX981" fmla="*/ 873612 w 2626806"/>
                <a:gd name="connsiteY981" fmla="*/ 2961945 h 3905171"/>
                <a:gd name="connsiteX982" fmla="*/ 827517 w 2626806"/>
                <a:gd name="connsiteY982" fmla="*/ 2915850 h 3905171"/>
                <a:gd name="connsiteX983" fmla="*/ 873612 w 2626806"/>
                <a:gd name="connsiteY983" fmla="*/ 2869755 h 3905171"/>
                <a:gd name="connsiteX984" fmla="*/ 919708 w 2626806"/>
                <a:gd name="connsiteY984" fmla="*/ 2915850 h 3905171"/>
                <a:gd name="connsiteX985" fmla="*/ 873612 w 2626806"/>
                <a:gd name="connsiteY985" fmla="*/ 2961945 h 3905171"/>
                <a:gd name="connsiteX986" fmla="*/ 526802 w 2626806"/>
                <a:gd name="connsiteY986" fmla="*/ 2972920 h 3905171"/>
                <a:gd name="connsiteX987" fmla="*/ 491681 w 2626806"/>
                <a:gd name="connsiteY987" fmla="*/ 2937800 h 3905171"/>
                <a:gd name="connsiteX988" fmla="*/ 526802 w 2626806"/>
                <a:gd name="connsiteY988" fmla="*/ 2902680 h 3905171"/>
                <a:gd name="connsiteX989" fmla="*/ 561922 w 2626806"/>
                <a:gd name="connsiteY989" fmla="*/ 2937800 h 3905171"/>
                <a:gd name="connsiteX990" fmla="*/ 526802 w 2626806"/>
                <a:gd name="connsiteY990" fmla="*/ 2972920 h 3905171"/>
                <a:gd name="connsiteX991" fmla="*/ 2348655 w 2626806"/>
                <a:gd name="connsiteY991" fmla="*/ 2972920 h 3905171"/>
                <a:gd name="connsiteX992" fmla="*/ 2335485 w 2626806"/>
                <a:gd name="connsiteY992" fmla="*/ 2959750 h 3905171"/>
                <a:gd name="connsiteX993" fmla="*/ 2348655 w 2626806"/>
                <a:gd name="connsiteY993" fmla="*/ 2946580 h 3905171"/>
                <a:gd name="connsiteX994" fmla="*/ 2361825 w 2626806"/>
                <a:gd name="connsiteY994" fmla="*/ 2959750 h 3905171"/>
                <a:gd name="connsiteX995" fmla="*/ 2348655 w 2626806"/>
                <a:gd name="connsiteY995" fmla="*/ 2972920 h 3905171"/>
                <a:gd name="connsiteX996" fmla="*/ 1093112 w 2626806"/>
                <a:gd name="connsiteY996" fmla="*/ 2990480 h 3905171"/>
                <a:gd name="connsiteX997" fmla="*/ 1055797 w 2626806"/>
                <a:gd name="connsiteY997" fmla="*/ 2953165 h 3905171"/>
                <a:gd name="connsiteX998" fmla="*/ 1093112 w 2626806"/>
                <a:gd name="connsiteY998" fmla="*/ 2915850 h 3905171"/>
                <a:gd name="connsiteX999" fmla="*/ 1130428 w 2626806"/>
                <a:gd name="connsiteY999" fmla="*/ 2953165 h 3905171"/>
                <a:gd name="connsiteX1000" fmla="*/ 1093112 w 2626806"/>
                <a:gd name="connsiteY1000" fmla="*/ 2990480 h 3905171"/>
                <a:gd name="connsiteX1001" fmla="*/ 2074279 w 2626806"/>
                <a:gd name="connsiteY1001" fmla="*/ 3012430 h 3905171"/>
                <a:gd name="connsiteX1002" fmla="*/ 2056718 w 2626806"/>
                <a:gd name="connsiteY1002" fmla="*/ 2994870 h 3905171"/>
                <a:gd name="connsiteX1003" fmla="*/ 2074279 w 2626806"/>
                <a:gd name="connsiteY1003" fmla="*/ 2977311 h 3905171"/>
                <a:gd name="connsiteX1004" fmla="*/ 2091839 w 2626806"/>
                <a:gd name="connsiteY1004" fmla="*/ 2994870 h 3905171"/>
                <a:gd name="connsiteX1005" fmla="*/ 2074279 w 2626806"/>
                <a:gd name="connsiteY1005" fmla="*/ 3012430 h 3905171"/>
                <a:gd name="connsiteX1006" fmla="*/ 2473770 w 2626806"/>
                <a:gd name="connsiteY1006" fmla="*/ 3016820 h 3905171"/>
                <a:gd name="connsiteX1007" fmla="*/ 2460600 w 2626806"/>
                <a:gd name="connsiteY1007" fmla="*/ 3003649 h 3905171"/>
                <a:gd name="connsiteX1008" fmla="*/ 2473770 w 2626806"/>
                <a:gd name="connsiteY1008" fmla="*/ 2990480 h 3905171"/>
                <a:gd name="connsiteX1009" fmla="*/ 2486940 w 2626806"/>
                <a:gd name="connsiteY1009" fmla="*/ 3003649 h 3905171"/>
                <a:gd name="connsiteX1010" fmla="*/ 2473770 w 2626806"/>
                <a:gd name="connsiteY1010" fmla="*/ 3016820 h 3905171"/>
                <a:gd name="connsiteX1011" fmla="*/ 390711 w 2626806"/>
                <a:gd name="connsiteY1011" fmla="*/ 3021210 h 3905171"/>
                <a:gd name="connsiteX1012" fmla="*/ 370956 w 2626806"/>
                <a:gd name="connsiteY1012" fmla="*/ 3001455 h 3905171"/>
                <a:gd name="connsiteX1013" fmla="*/ 390711 w 2626806"/>
                <a:gd name="connsiteY1013" fmla="*/ 2981700 h 3905171"/>
                <a:gd name="connsiteX1014" fmla="*/ 410466 w 2626806"/>
                <a:gd name="connsiteY1014" fmla="*/ 3001455 h 3905171"/>
                <a:gd name="connsiteX1015" fmla="*/ 390711 w 2626806"/>
                <a:gd name="connsiteY1015" fmla="*/ 3021210 h 3905171"/>
                <a:gd name="connsiteX1016" fmla="*/ 1321393 w 2626806"/>
                <a:gd name="connsiteY1016" fmla="*/ 3023405 h 3905171"/>
                <a:gd name="connsiteX1017" fmla="*/ 1279688 w 2626806"/>
                <a:gd name="connsiteY1017" fmla="*/ 2981700 h 3905171"/>
                <a:gd name="connsiteX1018" fmla="*/ 1321393 w 2626806"/>
                <a:gd name="connsiteY1018" fmla="*/ 2939995 h 3905171"/>
                <a:gd name="connsiteX1019" fmla="*/ 1363099 w 2626806"/>
                <a:gd name="connsiteY1019" fmla="*/ 2981700 h 3905171"/>
                <a:gd name="connsiteX1020" fmla="*/ 1321393 w 2626806"/>
                <a:gd name="connsiteY1020" fmla="*/ 3023405 h 3905171"/>
                <a:gd name="connsiteX1021" fmla="*/ 737522 w 2626806"/>
                <a:gd name="connsiteY1021" fmla="*/ 3029990 h 3905171"/>
                <a:gd name="connsiteX1022" fmla="*/ 689232 w 2626806"/>
                <a:gd name="connsiteY1022" fmla="*/ 2981700 h 3905171"/>
                <a:gd name="connsiteX1023" fmla="*/ 737522 w 2626806"/>
                <a:gd name="connsiteY1023" fmla="*/ 2933410 h 3905171"/>
                <a:gd name="connsiteX1024" fmla="*/ 785812 w 2626806"/>
                <a:gd name="connsiteY1024" fmla="*/ 2981700 h 3905171"/>
                <a:gd name="connsiteX1025" fmla="*/ 737522 w 2626806"/>
                <a:gd name="connsiteY1025" fmla="*/ 3029990 h 3905171"/>
                <a:gd name="connsiteX1026" fmla="*/ 1810879 w 2626806"/>
                <a:gd name="connsiteY1026" fmla="*/ 3036575 h 3905171"/>
                <a:gd name="connsiteX1027" fmla="*/ 1780149 w 2626806"/>
                <a:gd name="connsiteY1027" fmla="*/ 3005846 h 3905171"/>
                <a:gd name="connsiteX1028" fmla="*/ 1810879 w 2626806"/>
                <a:gd name="connsiteY1028" fmla="*/ 2975115 h 3905171"/>
                <a:gd name="connsiteX1029" fmla="*/ 1841609 w 2626806"/>
                <a:gd name="connsiteY1029" fmla="*/ 3005846 h 3905171"/>
                <a:gd name="connsiteX1030" fmla="*/ 1810879 w 2626806"/>
                <a:gd name="connsiteY1030" fmla="*/ 3036575 h 3905171"/>
                <a:gd name="connsiteX1031" fmla="*/ 1560648 w 2626806"/>
                <a:gd name="connsiteY1031" fmla="*/ 3040965 h 3905171"/>
                <a:gd name="connsiteX1032" fmla="*/ 1521139 w 2626806"/>
                <a:gd name="connsiteY1032" fmla="*/ 3001455 h 3905171"/>
                <a:gd name="connsiteX1033" fmla="*/ 1560648 w 2626806"/>
                <a:gd name="connsiteY1033" fmla="*/ 2961945 h 3905171"/>
                <a:gd name="connsiteX1034" fmla="*/ 1600159 w 2626806"/>
                <a:gd name="connsiteY1034" fmla="*/ 3001455 h 3905171"/>
                <a:gd name="connsiteX1035" fmla="*/ 1560648 w 2626806"/>
                <a:gd name="connsiteY1035" fmla="*/ 3040965 h 3905171"/>
                <a:gd name="connsiteX1036" fmla="*/ 2601080 w 2626806"/>
                <a:gd name="connsiteY1036" fmla="*/ 3047550 h 3905171"/>
                <a:gd name="connsiteX1037" fmla="*/ 2592300 w 2626806"/>
                <a:gd name="connsiteY1037" fmla="*/ 3038769 h 3905171"/>
                <a:gd name="connsiteX1038" fmla="*/ 2601080 w 2626806"/>
                <a:gd name="connsiteY1038" fmla="*/ 3029990 h 3905171"/>
                <a:gd name="connsiteX1039" fmla="*/ 2609860 w 2626806"/>
                <a:gd name="connsiteY1039" fmla="*/ 3038769 h 3905171"/>
                <a:gd name="connsiteX1040" fmla="*/ 2601080 w 2626806"/>
                <a:gd name="connsiteY1040" fmla="*/ 3047550 h 3905171"/>
                <a:gd name="connsiteX1041" fmla="*/ 954827 w 2626806"/>
                <a:gd name="connsiteY1041" fmla="*/ 3062915 h 3905171"/>
                <a:gd name="connsiteX1042" fmla="*/ 910927 w 2626806"/>
                <a:gd name="connsiteY1042" fmla="*/ 3019016 h 3905171"/>
                <a:gd name="connsiteX1043" fmla="*/ 954827 w 2626806"/>
                <a:gd name="connsiteY1043" fmla="*/ 2975115 h 3905171"/>
                <a:gd name="connsiteX1044" fmla="*/ 998728 w 2626806"/>
                <a:gd name="connsiteY1044" fmla="*/ 3019016 h 3905171"/>
                <a:gd name="connsiteX1045" fmla="*/ 954827 w 2626806"/>
                <a:gd name="connsiteY1045" fmla="*/ 3062915 h 3905171"/>
                <a:gd name="connsiteX1046" fmla="*/ 2192810 w 2626806"/>
                <a:gd name="connsiteY1046" fmla="*/ 3071696 h 3905171"/>
                <a:gd name="connsiteX1047" fmla="*/ 2175250 w 2626806"/>
                <a:gd name="connsiteY1047" fmla="*/ 3054135 h 3905171"/>
                <a:gd name="connsiteX1048" fmla="*/ 2192810 w 2626806"/>
                <a:gd name="connsiteY1048" fmla="*/ 3036575 h 3905171"/>
                <a:gd name="connsiteX1049" fmla="*/ 2210370 w 2626806"/>
                <a:gd name="connsiteY1049" fmla="*/ 3054135 h 3905171"/>
                <a:gd name="connsiteX1050" fmla="*/ 2192810 w 2626806"/>
                <a:gd name="connsiteY1050" fmla="*/ 3071696 h 3905171"/>
                <a:gd name="connsiteX1051" fmla="*/ 1183108 w 2626806"/>
                <a:gd name="connsiteY1051" fmla="*/ 3093646 h 3905171"/>
                <a:gd name="connsiteX1052" fmla="*/ 1141403 w 2626806"/>
                <a:gd name="connsiteY1052" fmla="*/ 3051941 h 3905171"/>
                <a:gd name="connsiteX1053" fmla="*/ 1183108 w 2626806"/>
                <a:gd name="connsiteY1053" fmla="*/ 3010236 h 3905171"/>
                <a:gd name="connsiteX1054" fmla="*/ 1224813 w 2626806"/>
                <a:gd name="connsiteY1054" fmla="*/ 3051941 h 3905171"/>
                <a:gd name="connsiteX1055" fmla="*/ 1183108 w 2626806"/>
                <a:gd name="connsiteY1055" fmla="*/ 3093646 h 3905171"/>
                <a:gd name="connsiteX1056" fmla="*/ 601432 w 2626806"/>
                <a:gd name="connsiteY1056" fmla="*/ 3095840 h 3905171"/>
                <a:gd name="connsiteX1057" fmla="*/ 553142 w 2626806"/>
                <a:gd name="connsiteY1057" fmla="*/ 3047551 h 3905171"/>
                <a:gd name="connsiteX1058" fmla="*/ 601432 w 2626806"/>
                <a:gd name="connsiteY1058" fmla="*/ 2999260 h 3905171"/>
                <a:gd name="connsiteX1059" fmla="*/ 649722 w 2626806"/>
                <a:gd name="connsiteY1059" fmla="*/ 3047551 h 3905171"/>
                <a:gd name="connsiteX1060" fmla="*/ 601432 w 2626806"/>
                <a:gd name="connsiteY1060" fmla="*/ 3095840 h 3905171"/>
                <a:gd name="connsiteX1061" fmla="*/ 1922824 w 2626806"/>
                <a:gd name="connsiteY1061" fmla="*/ 3109010 h 3905171"/>
                <a:gd name="connsiteX1062" fmla="*/ 1894289 w 2626806"/>
                <a:gd name="connsiteY1062" fmla="*/ 3080475 h 3905171"/>
                <a:gd name="connsiteX1063" fmla="*/ 1922824 w 2626806"/>
                <a:gd name="connsiteY1063" fmla="*/ 3051940 h 3905171"/>
                <a:gd name="connsiteX1064" fmla="*/ 1951360 w 2626806"/>
                <a:gd name="connsiteY1064" fmla="*/ 3080475 h 3905171"/>
                <a:gd name="connsiteX1065" fmla="*/ 1922824 w 2626806"/>
                <a:gd name="connsiteY1065" fmla="*/ 3109010 h 3905171"/>
                <a:gd name="connsiteX1066" fmla="*/ 1417973 w 2626806"/>
                <a:gd name="connsiteY1066" fmla="*/ 3113401 h 3905171"/>
                <a:gd name="connsiteX1067" fmla="*/ 1376268 w 2626806"/>
                <a:gd name="connsiteY1067" fmla="*/ 3071696 h 3905171"/>
                <a:gd name="connsiteX1068" fmla="*/ 1417973 w 2626806"/>
                <a:gd name="connsiteY1068" fmla="*/ 3029990 h 3905171"/>
                <a:gd name="connsiteX1069" fmla="*/ 1459678 w 2626806"/>
                <a:gd name="connsiteY1069" fmla="*/ 3071696 h 3905171"/>
                <a:gd name="connsiteX1070" fmla="*/ 1417973 w 2626806"/>
                <a:gd name="connsiteY1070" fmla="*/ 3113401 h 3905171"/>
                <a:gd name="connsiteX1071" fmla="*/ 1666009 w 2626806"/>
                <a:gd name="connsiteY1071" fmla="*/ 3115596 h 3905171"/>
                <a:gd name="connsiteX1072" fmla="*/ 1633084 w 2626806"/>
                <a:gd name="connsiteY1072" fmla="*/ 3082670 h 3905171"/>
                <a:gd name="connsiteX1073" fmla="*/ 1666009 w 2626806"/>
                <a:gd name="connsiteY1073" fmla="*/ 3049745 h 3905171"/>
                <a:gd name="connsiteX1074" fmla="*/ 1698934 w 2626806"/>
                <a:gd name="connsiteY1074" fmla="*/ 3082670 h 3905171"/>
                <a:gd name="connsiteX1075" fmla="*/ 1666009 w 2626806"/>
                <a:gd name="connsiteY1075" fmla="*/ 3115596 h 3905171"/>
                <a:gd name="connsiteX1076" fmla="*/ 2313535 w 2626806"/>
                <a:gd name="connsiteY1076" fmla="*/ 3126571 h 3905171"/>
                <a:gd name="connsiteX1077" fmla="*/ 2291585 w 2626806"/>
                <a:gd name="connsiteY1077" fmla="*/ 3104621 h 3905171"/>
                <a:gd name="connsiteX1078" fmla="*/ 2313535 w 2626806"/>
                <a:gd name="connsiteY1078" fmla="*/ 3082670 h 3905171"/>
                <a:gd name="connsiteX1079" fmla="*/ 2335485 w 2626806"/>
                <a:gd name="connsiteY1079" fmla="*/ 3104621 h 3905171"/>
                <a:gd name="connsiteX1080" fmla="*/ 2313535 w 2626806"/>
                <a:gd name="connsiteY1080" fmla="*/ 3126571 h 3905171"/>
                <a:gd name="connsiteX1081" fmla="*/ 818737 w 2626806"/>
                <a:gd name="connsiteY1081" fmla="*/ 3133156 h 3905171"/>
                <a:gd name="connsiteX1082" fmla="*/ 770447 w 2626806"/>
                <a:gd name="connsiteY1082" fmla="*/ 3084866 h 3905171"/>
                <a:gd name="connsiteX1083" fmla="*/ 818737 w 2626806"/>
                <a:gd name="connsiteY1083" fmla="*/ 3036575 h 3905171"/>
                <a:gd name="connsiteX1084" fmla="*/ 867027 w 2626806"/>
                <a:gd name="connsiteY1084" fmla="*/ 3084866 h 3905171"/>
                <a:gd name="connsiteX1085" fmla="*/ 818737 w 2626806"/>
                <a:gd name="connsiteY1085" fmla="*/ 3133156 h 3905171"/>
                <a:gd name="connsiteX1086" fmla="*/ 465342 w 2626806"/>
                <a:gd name="connsiteY1086" fmla="*/ 3150716 h 3905171"/>
                <a:gd name="connsiteX1087" fmla="*/ 425831 w 2626806"/>
                <a:gd name="connsiteY1087" fmla="*/ 3111206 h 3905171"/>
                <a:gd name="connsiteX1088" fmla="*/ 465342 w 2626806"/>
                <a:gd name="connsiteY1088" fmla="*/ 3071696 h 3905171"/>
                <a:gd name="connsiteX1089" fmla="*/ 504851 w 2626806"/>
                <a:gd name="connsiteY1089" fmla="*/ 3111206 h 3905171"/>
                <a:gd name="connsiteX1090" fmla="*/ 465342 w 2626806"/>
                <a:gd name="connsiteY1090" fmla="*/ 3150716 h 3905171"/>
                <a:gd name="connsiteX1091" fmla="*/ 1042627 w 2626806"/>
                <a:gd name="connsiteY1091" fmla="*/ 3161690 h 3905171"/>
                <a:gd name="connsiteX1092" fmla="*/ 1000922 w 2626806"/>
                <a:gd name="connsiteY1092" fmla="*/ 3119985 h 3905171"/>
                <a:gd name="connsiteX1093" fmla="*/ 1042627 w 2626806"/>
                <a:gd name="connsiteY1093" fmla="*/ 3078280 h 3905171"/>
                <a:gd name="connsiteX1094" fmla="*/ 1084333 w 2626806"/>
                <a:gd name="connsiteY1094" fmla="*/ 3119985 h 3905171"/>
                <a:gd name="connsiteX1095" fmla="*/ 1042627 w 2626806"/>
                <a:gd name="connsiteY1095" fmla="*/ 3161690 h 3905171"/>
                <a:gd name="connsiteX1096" fmla="*/ 2440845 w 2626806"/>
                <a:gd name="connsiteY1096" fmla="*/ 3166081 h 3905171"/>
                <a:gd name="connsiteX1097" fmla="*/ 2423286 w 2626806"/>
                <a:gd name="connsiteY1097" fmla="*/ 3148520 h 3905171"/>
                <a:gd name="connsiteX1098" fmla="*/ 2440845 w 2626806"/>
                <a:gd name="connsiteY1098" fmla="*/ 3130960 h 3905171"/>
                <a:gd name="connsiteX1099" fmla="*/ 2458405 w 2626806"/>
                <a:gd name="connsiteY1099" fmla="*/ 3148520 h 3905171"/>
                <a:gd name="connsiteX1100" fmla="*/ 2440845 w 2626806"/>
                <a:gd name="connsiteY1100" fmla="*/ 3166081 h 3905171"/>
                <a:gd name="connsiteX1101" fmla="*/ 2039159 w 2626806"/>
                <a:gd name="connsiteY1101" fmla="*/ 3177055 h 3905171"/>
                <a:gd name="connsiteX1102" fmla="*/ 2006235 w 2626806"/>
                <a:gd name="connsiteY1102" fmla="*/ 3144130 h 3905171"/>
                <a:gd name="connsiteX1103" fmla="*/ 2039159 w 2626806"/>
                <a:gd name="connsiteY1103" fmla="*/ 3111205 h 3905171"/>
                <a:gd name="connsiteX1104" fmla="*/ 2072084 w 2626806"/>
                <a:gd name="connsiteY1104" fmla="*/ 3144130 h 3905171"/>
                <a:gd name="connsiteX1105" fmla="*/ 2039159 w 2626806"/>
                <a:gd name="connsiteY1105" fmla="*/ 3177055 h 3905171"/>
                <a:gd name="connsiteX1106" fmla="*/ 331446 w 2626806"/>
                <a:gd name="connsiteY1106" fmla="*/ 3181445 h 3905171"/>
                <a:gd name="connsiteX1107" fmla="*/ 327056 w 2626806"/>
                <a:gd name="connsiteY1107" fmla="*/ 3177055 h 3905171"/>
                <a:gd name="connsiteX1108" fmla="*/ 331446 w 2626806"/>
                <a:gd name="connsiteY1108" fmla="*/ 3172665 h 3905171"/>
                <a:gd name="connsiteX1109" fmla="*/ 335836 w 2626806"/>
                <a:gd name="connsiteY1109" fmla="*/ 3177055 h 3905171"/>
                <a:gd name="connsiteX1110" fmla="*/ 331446 w 2626806"/>
                <a:gd name="connsiteY1110" fmla="*/ 3181445 h 3905171"/>
                <a:gd name="connsiteX1111" fmla="*/ 1277493 w 2626806"/>
                <a:gd name="connsiteY1111" fmla="*/ 3185835 h 3905171"/>
                <a:gd name="connsiteX1112" fmla="*/ 1235788 w 2626806"/>
                <a:gd name="connsiteY1112" fmla="*/ 3144130 h 3905171"/>
                <a:gd name="connsiteX1113" fmla="*/ 1277493 w 2626806"/>
                <a:gd name="connsiteY1113" fmla="*/ 3102425 h 3905171"/>
                <a:gd name="connsiteX1114" fmla="*/ 1319198 w 2626806"/>
                <a:gd name="connsiteY1114" fmla="*/ 3144130 h 3905171"/>
                <a:gd name="connsiteX1115" fmla="*/ 1277493 w 2626806"/>
                <a:gd name="connsiteY1115" fmla="*/ 3185835 h 3905171"/>
                <a:gd name="connsiteX1116" fmla="*/ 2568156 w 2626806"/>
                <a:gd name="connsiteY1116" fmla="*/ 3192420 h 3905171"/>
                <a:gd name="connsiteX1117" fmla="*/ 2557181 w 2626806"/>
                <a:gd name="connsiteY1117" fmla="*/ 3181445 h 3905171"/>
                <a:gd name="connsiteX1118" fmla="*/ 2568156 w 2626806"/>
                <a:gd name="connsiteY1118" fmla="*/ 3170470 h 3905171"/>
                <a:gd name="connsiteX1119" fmla="*/ 2579131 w 2626806"/>
                <a:gd name="connsiteY1119" fmla="*/ 3181445 h 3905171"/>
                <a:gd name="connsiteX1120" fmla="*/ 2568156 w 2626806"/>
                <a:gd name="connsiteY1120" fmla="*/ 3192420 h 3905171"/>
                <a:gd name="connsiteX1121" fmla="*/ 1521139 w 2626806"/>
                <a:gd name="connsiteY1121" fmla="*/ 3196810 h 3905171"/>
                <a:gd name="connsiteX1122" fmla="*/ 1481628 w 2626806"/>
                <a:gd name="connsiteY1122" fmla="*/ 3157300 h 3905171"/>
                <a:gd name="connsiteX1123" fmla="*/ 1521139 w 2626806"/>
                <a:gd name="connsiteY1123" fmla="*/ 3117790 h 3905171"/>
                <a:gd name="connsiteX1124" fmla="*/ 1560648 w 2626806"/>
                <a:gd name="connsiteY1124" fmla="*/ 3157300 h 3905171"/>
                <a:gd name="connsiteX1125" fmla="*/ 1521139 w 2626806"/>
                <a:gd name="connsiteY1125" fmla="*/ 3196810 h 3905171"/>
                <a:gd name="connsiteX1126" fmla="*/ 1773564 w 2626806"/>
                <a:gd name="connsiteY1126" fmla="*/ 3196810 h 3905171"/>
                <a:gd name="connsiteX1127" fmla="*/ 1736249 w 2626806"/>
                <a:gd name="connsiteY1127" fmla="*/ 3159495 h 3905171"/>
                <a:gd name="connsiteX1128" fmla="*/ 1773564 w 2626806"/>
                <a:gd name="connsiteY1128" fmla="*/ 3122180 h 3905171"/>
                <a:gd name="connsiteX1129" fmla="*/ 1810879 w 2626806"/>
                <a:gd name="connsiteY1129" fmla="*/ 3159495 h 3905171"/>
                <a:gd name="connsiteX1130" fmla="*/ 1773564 w 2626806"/>
                <a:gd name="connsiteY1130" fmla="*/ 3196810 h 3905171"/>
                <a:gd name="connsiteX1131" fmla="*/ 682647 w 2626806"/>
                <a:gd name="connsiteY1131" fmla="*/ 3201201 h 3905171"/>
                <a:gd name="connsiteX1132" fmla="*/ 634356 w 2626806"/>
                <a:gd name="connsiteY1132" fmla="*/ 3152911 h 3905171"/>
                <a:gd name="connsiteX1133" fmla="*/ 682647 w 2626806"/>
                <a:gd name="connsiteY1133" fmla="*/ 3104621 h 3905171"/>
                <a:gd name="connsiteX1134" fmla="*/ 730936 w 2626806"/>
                <a:gd name="connsiteY1134" fmla="*/ 3152911 h 3905171"/>
                <a:gd name="connsiteX1135" fmla="*/ 682647 w 2626806"/>
                <a:gd name="connsiteY1135" fmla="*/ 3201201 h 3905171"/>
                <a:gd name="connsiteX1136" fmla="*/ 2157690 w 2626806"/>
                <a:gd name="connsiteY1136" fmla="*/ 3225345 h 3905171"/>
                <a:gd name="connsiteX1137" fmla="*/ 2133544 w 2626806"/>
                <a:gd name="connsiteY1137" fmla="*/ 3201200 h 3905171"/>
                <a:gd name="connsiteX1138" fmla="*/ 2157690 w 2626806"/>
                <a:gd name="connsiteY1138" fmla="*/ 3177055 h 3905171"/>
                <a:gd name="connsiteX1139" fmla="*/ 2181835 w 2626806"/>
                <a:gd name="connsiteY1139" fmla="*/ 3201200 h 3905171"/>
                <a:gd name="connsiteX1140" fmla="*/ 2157690 w 2626806"/>
                <a:gd name="connsiteY1140" fmla="*/ 3225345 h 3905171"/>
                <a:gd name="connsiteX1141" fmla="*/ 904342 w 2626806"/>
                <a:gd name="connsiteY1141" fmla="*/ 3231931 h 3905171"/>
                <a:gd name="connsiteX1142" fmla="*/ 858247 w 2626806"/>
                <a:gd name="connsiteY1142" fmla="*/ 3185835 h 3905171"/>
                <a:gd name="connsiteX1143" fmla="*/ 904342 w 2626806"/>
                <a:gd name="connsiteY1143" fmla="*/ 3139740 h 3905171"/>
                <a:gd name="connsiteX1144" fmla="*/ 950437 w 2626806"/>
                <a:gd name="connsiteY1144" fmla="*/ 3185835 h 3905171"/>
                <a:gd name="connsiteX1145" fmla="*/ 904342 w 2626806"/>
                <a:gd name="connsiteY1145" fmla="*/ 3231931 h 3905171"/>
                <a:gd name="connsiteX1146" fmla="*/ 1137013 w 2626806"/>
                <a:gd name="connsiteY1146" fmla="*/ 3256076 h 3905171"/>
                <a:gd name="connsiteX1147" fmla="*/ 1095307 w 2626806"/>
                <a:gd name="connsiteY1147" fmla="*/ 3214370 h 3905171"/>
                <a:gd name="connsiteX1148" fmla="*/ 1137013 w 2626806"/>
                <a:gd name="connsiteY1148" fmla="*/ 3172665 h 3905171"/>
                <a:gd name="connsiteX1149" fmla="*/ 1178718 w 2626806"/>
                <a:gd name="connsiteY1149" fmla="*/ 3214370 h 3905171"/>
                <a:gd name="connsiteX1150" fmla="*/ 1137013 w 2626806"/>
                <a:gd name="connsiteY1150" fmla="*/ 3256076 h 3905171"/>
                <a:gd name="connsiteX1151" fmla="*/ 546556 w 2626806"/>
                <a:gd name="connsiteY1151" fmla="*/ 3258270 h 3905171"/>
                <a:gd name="connsiteX1152" fmla="*/ 507047 w 2626806"/>
                <a:gd name="connsiteY1152" fmla="*/ 3218760 h 3905171"/>
                <a:gd name="connsiteX1153" fmla="*/ 546556 w 2626806"/>
                <a:gd name="connsiteY1153" fmla="*/ 3179250 h 3905171"/>
                <a:gd name="connsiteX1154" fmla="*/ 586067 w 2626806"/>
                <a:gd name="connsiteY1154" fmla="*/ 3218760 h 3905171"/>
                <a:gd name="connsiteX1155" fmla="*/ 546556 w 2626806"/>
                <a:gd name="connsiteY1155" fmla="*/ 3258270 h 3905171"/>
                <a:gd name="connsiteX1156" fmla="*/ 1887704 w 2626806"/>
                <a:gd name="connsiteY1156" fmla="*/ 3264856 h 3905171"/>
                <a:gd name="connsiteX1157" fmla="*/ 1852584 w 2626806"/>
                <a:gd name="connsiteY1157" fmla="*/ 3229735 h 3905171"/>
                <a:gd name="connsiteX1158" fmla="*/ 1887704 w 2626806"/>
                <a:gd name="connsiteY1158" fmla="*/ 3194615 h 3905171"/>
                <a:gd name="connsiteX1159" fmla="*/ 1922824 w 2626806"/>
                <a:gd name="connsiteY1159" fmla="*/ 3229735 h 3905171"/>
                <a:gd name="connsiteX1160" fmla="*/ 1887704 w 2626806"/>
                <a:gd name="connsiteY1160" fmla="*/ 3264856 h 3905171"/>
                <a:gd name="connsiteX1161" fmla="*/ 1376268 w 2626806"/>
                <a:gd name="connsiteY1161" fmla="*/ 3271440 h 3905171"/>
                <a:gd name="connsiteX1162" fmla="*/ 1336757 w 2626806"/>
                <a:gd name="connsiteY1162" fmla="*/ 3231931 h 3905171"/>
                <a:gd name="connsiteX1163" fmla="*/ 1376268 w 2626806"/>
                <a:gd name="connsiteY1163" fmla="*/ 3192420 h 3905171"/>
                <a:gd name="connsiteX1164" fmla="*/ 1415778 w 2626806"/>
                <a:gd name="connsiteY1164" fmla="*/ 3231931 h 3905171"/>
                <a:gd name="connsiteX1165" fmla="*/ 1376268 w 2626806"/>
                <a:gd name="connsiteY1165" fmla="*/ 3271440 h 3905171"/>
                <a:gd name="connsiteX1166" fmla="*/ 1626499 w 2626806"/>
                <a:gd name="connsiteY1166" fmla="*/ 3273635 h 3905171"/>
                <a:gd name="connsiteX1167" fmla="*/ 1589184 w 2626806"/>
                <a:gd name="connsiteY1167" fmla="*/ 3236321 h 3905171"/>
                <a:gd name="connsiteX1168" fmla="*/ 1626499 w 2626806"/>
                <a:gd name="connsiteY1168" fmla="*/ 3199006 h 3905171"/>
                <a:gd name="connsiteX1169" fmla="*/ 1663814 w 2626806"/>
                <a:gd name="connsiteY1169" fmla="*/ 3236321 h 3905171"/>
                <a:gd name="connsiteX1170" fmla="*/ 1626499 w 2626806"/>
                <a:gd name="connsiteY1170" fmla="*/ 3273635 h 3905171"/>
                <a:gd name="connsiteX1171" fmla="*/ 2280611 w 2626806"/>
                <a:gd name="connsiteY1171" fmla="*/ 3280220 h 3905171"/>
                <a:gd name="connsiteX1172" fmla="*/ 2252075 w 2626806"/>
                <a:gd name="connsiteY1172" fmla="*/ 3251686 h 3905171"/>
                <a:gd name="connsiteX1173" fmla="*/ 2280611 w 2626806"/>
                <a:gd name="connsiteY1173" fmla="*/ 3223151 h 3905171"/>
                <a:gd name="connsiteX1174" fmla="*/ 2309145 w 2626806"/>
                <a:gd name="connsiteY1174" fmla="*/ 3251686 h 3905171"/>
                <a:gd name="connsiteX1175" fmla="*/ 2280611 w 2626806"/>
                <a:gd name="connsiteY1175" fmla="*/ 3280220 h 3905171"/>
                <a:gd name="connsiteX1176" fmla="*/ 768252 w 2626806"/>
                <a:gd name="connsiteY1176" fmla="*/ 3302171 h 3905171"/>
                <a:gd name="connsiteX1177" fmla="*/ 719962 w 2626806"/>
                <a:gd name="connsiteY1177" fmla="*/ 3253880 h 3905171"/>
                <a:gd name="connsiteX1178" fmla="*/ 768252 w 2626806"/>
                <a:gd name="connsiteY1178" fmla="*/ 3205590 h 3905171"/>
                <a:gd name="connsiteX1179" fmla="*/ 816542 w 2626806"/>
                <a:gd name="connsiteY1179" fmla="*/ 3253880 h 3905171"/>
                <a:gd name="connsiteX1180" fmla="*/ 768252 w 2626806"/>
                <a:gd name="connsiteY1180" fmla="*/ 3302171 h 3905171"/>
                <a:gd name="connsiteX1181" fmla="*/ 2407920 w 2626806"/>
                <a:gd name="connsiteY1181" fmla="*/ 3317536 h 3905171"/>
                <a:gd name="connsiteX1182" fmla="*/ 2383775 w 2626806"/>
                <a:gd name="connsiteY1182" fmla="*/ 3293391 h 3905171"/>
                <a:gd name="connsiteX1183" fmla="*/ 2407920 w 2626806"/>
                <a:gd name="connsiteY1183" fmla="*/ 3269246 h 3905171"/>
                <a:gd name="connsiteX1184" fmla="*/ 2432066 w 2626806"/>
                <a:gd name="connsiteY1184" fmla="*/ 3293391 h 3905171"/>
                <a:gd name="connsiteX1185" fmla="*/ 2407920 w 2626806"/>
                <a:gd name="connsiteY1185" fmla="*/ 3317536 h 3905171"/>
                <a:gd name="connsiteX1186" fmla="*/ 996532 w 2626806"/>
                <a:gd name="connsiteY1186" fmla="*/ 3330706 h 3905171"/>
                <a:gd name="connsiteX1187" fmla="*/ 948242 w 2626806"/>
                <a:gd name="connsiteY1187" fmla="*/ 3282415 h 3905171"/>
                <a:gd name="connsiteX1188" fmla="*/ 996532 w 2626806"/>
                <a:gd name="connsiteY1188" fmla="*/ 3234125 h 3905171"/>
                <a:gd name="connsiteX1189" fmla="*/ 1044822 w 2626806"/>
                <a:gd name="connsiteY1189" fmla="*/ 3282415 h 3905171"/>
                <a:gd name="connsiteX1190" fmla="*/ 996532 w 2626806"/>
                <a:gd name="connsiteY1190" fmla="*/ 3330706 h 3905171"/>
                <a:gd name="connsiteX1191" fmla="*/ 2004039 w 2626806"/>
                <a:gd name="connsiteY1191" fmla="*/ 3330706 h 3905171"/>
                <a:gd name="connsiteX1192" fmla="*/ 1964530 w 2626806"/>
                <a:gd name="connsiteY1192" fmla="*/ 3291195 h 3905171"/>
                <a:gd name="connsiteX1193" fmla="*/ 2004039 w 2626806"/>
                <a:gd name="connsiteY1193" fmla="*/ 3251686 h 3905171"/>
                <a:gd name="connsiteX1194" fmla="*/ 2043550 w 2626806"/>
                <a:gd name="connsiteY1194" fmla="*/ 3291195 h 3905171"/>
                <a:gd name="connsiteX1195" fmla="*/ 2004039 w 2626806"/>
                <a:gd name="connsiteY1195" fmla="*/ 3330706 h 3905171"/>
                <a:gd name="connsiteX1196" fmla="*/ 2535230 w 2626806"/>
                <a:gd name="connsiteY1196" fmla="*/ 3346071 h 3905171"/>
                <a:gd name="connsiteX1197" fmla="*/ 2515476 w 2626806"/>
                <a:gd name="connsiteY1197" fmla="*/ 3326316 h 3905171"/>
                <a:gd name="connsiteX1198" fmla="*/ 2535230 w 2626806"/>
                <a:gd name="connsiteY1198" fmla="*/ 3306561 h 3905171"/>
                <a:gd name="connsiteX1199" fmla="*/ 2554985 w 2626806"/>
                <a:gd name="connsiteY1199" fmla="*/ 3326316 h 3905171"/>
                <a:gd name="connsiteX1200" fmla="*/ 2535230 w 2626806"/>
                <a:gd name="connsiteY1200" fmla="*/ 3346071 h 3905171"/>
                <a:gd name="connsiteX1201" fmla="*/ 1233593 w 2626806"/>
                <a:gd name="connsiteY1201" fmla="*/ 3350461 h 3905171"/>
                <a:gd name="connsiteX1202" fmla="*/ 1187498 w 2626806"/>
                <a:gd name="connsiteY1202" fmla="*/ 3304365 h 3905171"/>
                <a:gd name="connsiteX1203" fmla="*/ 1233593 w 2626806"/>
                <a:gd name="connsiteY1203" fmla="*/ 3258270 h 3905171"/>
                <a:gd name="connsiteX1204" fmla="*/ 1279688 w 2626806"/>
                <a:gd name="connsiteY1204" fmla="*/ 3304365 h 3905171"/>
                <a:gd name="connsiteX1205" fmla="*/ 1233593 w 2626806"/>
                <a:gd name="connsiteY1205" fmla="*/ 3350461 h 3905171"/>
                <a:gd name="connsiteX1206" fmla="*/ 1736249 w 2626806"/>
                <a:gd name="connsiteY1206" fmla="*/ 3352655 h 3905171"/>
                <a:gd name="connsiteX1207" fmla="*/ 1694544 w 2626806"/>
                <a:gd name="connsiteY1207" fmla="*/ 3310951 h 3905171"/>
                <a:gd name="connsiteX1208" fmla="*/ 1736249 w 2626806"/>
                <a:gd name="connsiteY1208" fmla="*/ 3269246 h 3905171"/>
                <a:gd name="connsiteX1209" fmla="*/ 1777954 w 2626806"/>
                <a:gd name="connsiteY1209" fmla="*/ 3310951 h 3905171"/>
                <a:gd name="connsiteX1210" fmla="*/ 1736249 w 2626806"/>
                <a:gd name="connsiteY1210" fmla="*/ 3352655 h 3905171"/>
                <a:gd name="connsiteX1211" fmla="*/ 1479433 w 2626806"/>
                <a:gd name="connsiteY1211" fmla="*/ 3359241 h 3905171"/>
                <a:gd name="connsiteX1212" fmla="*/ 1435533 w 2626806"/>
                <a:gd name="connsiteY1212" fmla="*/ 3315341 h 3905171"/>
                <a:gd name="connsiteX1213" fmla="*/ 1479433 w 2626806"/>
                <a:gd name="connsiteY1213" fmla="*/ 3271440 h 3905171"/>
                <a:gd name="connsiteX1214" fmla="*/ 1523333 w 2626806"/>
                <a:gd name="connsiteY1214" fmla="*/ 3315341 h 3905171"/>
                <a:gd name="connsiteX1215" fmla="*/ 1479433 w 2626806"/>
                <a:gd name="connsiteY1215" fmla="*/ 3359241 h 3905171"/>
                <a:gd name="connsiteX1216" fmla="*/ 629966 w 2626806"/>
                <a:gd name="connsiteY1216" fmla="*/ 3370215 h 3905171"/>
                <a:gd name="connsiteX1217" fmla="*/ 581676 w 2626806"/>
                <a:gd name="connsiteY1217" fmla="*/ 3321926 h 3905171"/>
                <a:gd name="connsiteX1218" fmla="*/ 629966 w 2626806"/>
                <a:gd name="connsiteY1218" fmla="*/ 3273635 h 3905171"/>
                <a:gd name="connsiteX1219" fmla="*/ 678257 w 2626806"/>
                <a:gd name="connsiteY1219" fmla="*/ 3321926 h 3905171"/>
                <a:gd name="connsiteX1220" fmla="*/ 629966 w 2626806"/>
                <a:gd name="connsiteY1220" fmla="*/ 3370215 h 3905171"/>
                <a:gd name="connsiteX1221" fmla="*/ 2124766 w 2626806"/>
                <a:gd name="connsiteY1221" fmla="*/ 3381191 h 3905171"/>
                <a:gd name="connsiteX1222" fmla="*/ 2091840 w 2626806"/>
                <a:gd name="connsiteY1222" fmla="*/ 3348266 h 3905171"/>
                <a:gd name="connsiteX1223" fmla="*/ 2124766 w 2626806"/>
                <a:gd name="connsiteY1223" fmla="*/ 3315341 h 3905171"/>
                <a:gd name="connsiteX1224" fmla="*/ 2157690 w 2626806"/>
                <a:gd name="connsiteY1224" fmla="*/ 3348266 h 3905171"/>
                <a:gd name="connsiteX1225" fmla="*/ 2124766 w 2626806"/>
                <a:gd name="connsiteY1225" fmla="*/ 3381191 h 3905171"/>
                <a:gd name="connsiteX1226" fmla="*/ 856052 w 2626806"/>
                <a:gd name="connsiteY1226" fmla="*/ 3400945 h 3905171"/>
                <a:gd name="connsiteX1227" fmla="*/ 807762 w 2626806"/>
                <a:gd name="connsiteY1227" fmla="*/ 3352656 h 3905171"/>
                <a:gd name="connsiteX1228" fmla="*/ 856052 w 2626806"/>
                <a:gd name="connsiteY1228" fmla="*/ 3304365 h 3905171"/>
                <a:gd name="connsiteX1229" fmla="*/ 904342 w 2626806"/>
                <a:gd name="connsiteY1229" fmla="*/ 3352656 h 3905171"/>
                <a:gd name="connsiteX1230" fmla="*/ 856052 w 2626806"/>
                <a:gd name="connsiteY1230" fmla="*/ 3400945 h 3905171"/>
                <a:gd name="connsiteX1231" fmla="*/ 491681 w 2626806"/>
                <a:gd name="connsiteY1231" fmla="*/ 3405336 h 3905171"/>
                <a:gd name="connsiteX1232" fmla="*/ 474122 w 2626806"/>
                <a:gd name="connsiteY1232" fmla="*/ 3387776 h 3905171"/>
                <a:gd name="connsiteX1233" fmla="*/ 491681 w 2626806"/>
                <a:gd name="connsiteY1233" fmla="*/ 3370215 h 3905171"/>
                <a:gd name="connsiteX1234" fmla="*/ 509241 w 2626806"/>
                <a:gd name="connsiteY1234" fmla="*/ 3387776 h 3905171"/>
                <a:gd name="connsiteX1235" fmla="*/ 491681 w 2626806"/>
                <a:gd name="connsiteY1235" fmla="*/ 3405336 h 3905171"/>
                <a:gd name="connsiteX1236" fmla="*/ 1850389 w 2626806"/>
                <a:gd name="connsiteY1236" fmla="*/ 3418506 h 3905171"/>
                <a:gd name="connsiteX1237" fmla="*/ 1810879 w 2626806"/>
                <a:gd name="connsiteY1237" fmla="*/ 3378996 h 3905171"/>
                <a:gd name="connsiteX1238" fmla="*/ 1850389 w 2626806"/>
                <a:gd name="connsiteY1238" fmla="*/ 3339486 h 3905171"/>
                <a:gd name="connsiteX1239" fmla="*/ 1887704 w 2626806"/>
                <a:gd name="connsiteY1239" fmla="*/ 3378996 h 3905171"/>
                <a:gd name="connsiteX1240" fmla="*/ 1850389 w 2626806"/>
                <a:gd name="connsiteY1240" fmla="*/ 3418506 h 3905171"/>
                <a:gd name="connsiteX1241" fmla="*/ 1090917 w 2626806"/>
                <a:gd name="connsiteY1241" fmla="*/ 3422896 h 3905171"/>
                <a:gd name="connsiteX1242" fmla="*/ 1044822 w 2626806"/>
                <a:gd name="connsiteY1242" fmla="*/ 3376801 h 3905171"/>
                <a:gd name="connsiteX1243" fmla="*/ 1090917 w 2626806"/>
                <a:gd name="connsiteY1243" fmla="*/ 3330706 h 3905171"/>
                <a:gd name="connsiteX1244" fmla="*/ 1137013 w 2626806"/>
                <a:gd name="connsiteY1244" fmla="*/ 3376801 h 3905171"/>
                <a:gd name="connsiteX1245" fmla="*/ 1090917 w 2626806"/>
                <a:gd name="connsiteY1245" fmla="*/ 3422896 h 3905171"/>
                <a:gd name="connsiteX1246" fmla="*/ 2247685 w 2626806"/>
                <a:gd name="connsiteY1246" fmla="*/ 3431676 h 3905171"/>
                <a:gd name="connsiteX1247" fmla="*/ 2212564 w 2626806"/>
                <a:gd name="connsiteY1247" fmla="*/ 3396556 h 3905171"/>
                <a:gd name="connsiteX1248" fmla="*/ 2247685 w 2626806"/>
                <a:gd name="connsiteY1248" fmla="*/ 3361436 h 3905171"/>
                <a:gd name="connsiteX1249" fmla="*/ 2282805 w 2626806"/>
                <a:gd name="connsiteY1249" fmla="*/ 3396556 h 3905171"/>
                <a:gd name="connsiteX1250" fmla="*/ 2247685 w 2626806"/>
                <a:gd name="connsiteY1250" fmla="*/ 3431676 h 3905171"/>
                <a:gd name="connsiteX1251" fmla="*/ 1334563 w 2626806"/>
                <a:gd name="connsiteY1251" fmla="*/ 3433871 h 3905171"/>
                <a:gd name="connsiteX1252" fmla="*/ 1290663 w 2626806"/>
                <a:gd name="connsiteY1252" fmla="*/ 3389971 h 3905171"/>
                <a:gd name="connsiteX1253" fmla="*/ 1334563 w 2626806"/>
                <a:gd name="connsiteY1253" fmla="*/ 3346071 h 3905171"/>
                <a:gd name="connsiteX1254" fmla="*/ 1378464 w 2626806"/>
                <a:gd name="connsiteY1254" fmla="*/ 3389971 h 3905171"/>
                <a:gd name="connsiteX1255" fmla="*/ 1334563 w 2626806"/>
                <a:gd name="connsiteY1255" fmla="*/ 3433871 h 3905171"/>
                <a:gd name="connsiteX1256" fmla="*/ 1589184 w 2626806"/>
                <a:gd name="connsiteY1256" fmla="*/ 3436066 h 3905171"/>
                <a:gd name="connsiteX1257" fmla="*/ 1545283 w 2626806"/>
                <a:gd name="connsiteY1257" fmla="*/ 3392166 h 3905171"/>
                <a:gd name="connsiteX1258" fmla="*/ 1589184 w 2626806"/>
                <a:gd name="connsiteY1258" fmla="*/ 3348266 h 3905171"/>
                <a:gd name="connsiteX1259" fmla="*/ 1633084 w 2626806"/>
                <a:gd name="connsiteY1259" fmla="*/ 3392166 h 3905171"/>
                <a:gd name="connsiteX1260" fmla="*/ 1589184 w 2626806"/>
                <a:gd name="connsiteY1260" fmla="*/ 3436066 h 3905171"/>
                <a:gd name="connsiteX1261" fmla="*/ 717766 w 2626806"/>
                <a:gd name="connsiteY1261" fmla="*/ 3460211 h 3905171"/>
                <a:gd name="connsiteX1262" fmla="*/ 678257 w 2626806"/>
                <a:gd name="connsiteY1262" fmla="*/ 3420701 h 3905171"/>
                <a:gd name="connsiteX1263" fmla="*/ 717766 w 2626806"/>
                <a:gd name="connsiteY1263" fmla="*/ 3381191 h 3905171"/>
                <a:gd name="connsiteX1264" fmla="*/ 757277 w 2626806"/>
                <a:gd name="connsiteY1264" fmla="*/ 3420701 h 3905171"/>
                <a:gd name="connsiteX1265" fmla="*/ 717766 w 2626806"/>
                <a:gd name="connsiteY1265" fmla="*/ 3460211 h 3905171"/>
                <a:gd name="connsiteX1266" fmla="*/ 2374995 w 2626806"/>
                <a:gd name="connsiteY1266" fmla="*/ 3468991 h 3905171"/>
                <a:gd name="connsiteX1267" fmla="*/ 2344265 w 2626806"/>
                <a:gd name="connsiteY1267" fmla="*/ 3438260 h 3905171"/>
                <a:gd name="connsiteX1268" fmla="*/ 2374995 w 2626806"/>
                <a:gd name="connsiteY1268" fmla="*/ 3407531 h 3905171"/>
                <a:gd name="connsiteX1269" fmla="*/ 2405726 w 2626806"/>
                <a:gd name="connsiteY1269" fmla="*/ 3438260 h 3905171"/>
                <a:gd name="connsiteX1270" fmla="*/ 2374995 w 2626806"/>
                <a:gd name="connsiteY1270" fmla="*/ 3468991 h 3905171"/>
                <a:gd name="connsiteX1271" fmla="*/ 1968920 w 2626806"/>
                <a:gd name="connsiteY1271" fmla="*/ 3477771 h 3905171"/>
                <a:gd name="connsiteX1272" fmla="*/ 1929409 w 2626806"/>
                <a:gd name="connsiteY1272" fmla="*/ 3438261 h 3905171"/>
                <a:gd name="connsiteX1273" fmla="*/ 1968920 w 2626806"/>
                <a:gd name="connsiteY1273" fmla="*/ 3398751 h 3905171"/>
                <a:gd name="connsiteX1274" fmla="*/ 2008430 w 2626806"/>
                <a:gd name="connsiteY1274" fmla="*/ 3438261 h 3905171"/>
                <a:gd name="connsiteX1275" fmla="*/ 1968920 w 2626806"/>
                <a:gd name="connsiteY1275" fmla="*/ 3477771 h 3905171"/>
                <a:gd name="connsiteX1276" fmla="*/ 579481 w 2626806"/>
                <a:gd name="connsiteY1276" fmla="*/ 3493135 h 3905171"/>
                <a:gd name="connsiteX1277" fmla="*/ 575091 w 2626806"/>
                <a:gd name="connsiteY1277" fmla="*/ 3488745 h 3905171"/>
                <a:gd name="connsiteX1278" fmla="*/ 579481 w 2626806"/>
                <a:gd name="connsiteY1278" fmla="*/ 3484355 h 3905171"/>
                <a:gd name="connsiteX1279" fmla="*/ 583871 w 2626806"/>
                <a:gd name="connsiteY1279" fmla="*/ 3488745 h 3905171"/>
                <a:gd name="connsiteX1280" fmla="*/ 579481 w 2626806"/>
                <a:gd name="connsiteY1280" fmla="*/ 3493135 h 3905171"/>
                <a:gd name="connsiteX1281" fmla="*/ 950437 w 2626806"/>
                <a:gd name="connsiteY1281" fmla="*/ 3497526 h 3905171"/>
                <a:gd name="connsiteX1282" fmla="*/ 899953 w 2626806"/>
                <a:gd name="connsiteY1282" fmla="*/ 3447040 h 3905171"/>
                <a:gd name="connsiteX1283" fmla="*/ 950437 w 2626806"/>
                <a:gd name="connsiteY1283" fmla="*/ 3396555 h 3905171"/>
                <a:gd name="connsiteX1284" fmla="*/ 1000922 w 2626806"/>
                <a:gd name="connsiteY1284" fmla="*/ 3447040 h 3905171"/>
                <a:gd name="connsiteX1285" fmla="*/ 950437 w 2626806"/>
                <a:gd name="connsiteY1285" fmla="*/ 3497526 h 3905171"/>
                <a:gd name="connsiteX1286" fmla="*/ 2502304 w 2626806"/>
                <a:gd name="connsiteY1286" fmla="*/ 3501916 h 3905171"/>
                <a:gd name="connsiteX1287" fmla="*/ 2471576 w 2626806"/>
                <a:gd name="connsiteY1287" fmla="*/ 3471185 h 3905171"/>
                <a:gd name="connsiteX1288" fmla="*/ 2502304 w 2626806"/>
                <a:gd name="connsiteY1288" fmla="*/ 3440456 h 3905171"/>
                <a:gd name="connsiteX1289" fmla="*/ 2533036 w 2626806"/>
                <a:gd name="connsiteY1289" fmla="*/ 3471185 h 3905171"/>
                <a:gd name="connsiteX1290" fmla="*/ 2502304 w 2626806"/>
                <a:gd name="connsiteY1290" fmla="*/ 3501916 h 3905171"/>
                <a:gd name="connsiteX1291" fmla="*/ 1191888 w 2626806"/>
                <a:gd name="connsiteY1291" fmla="*/ 3510696 h 3905171"/>
                <a:gd name="connsiteX1292" fmla="*/ 1145793 w 2626806"/>
                <a:gd name="connsiteY1292" fmla="*/ 3464600 h 3905171"/>
                <a:gd name="connsiteX1293" fmla="*/ 1191888 w 2626806"/>
                <a:gd name="connsiteY1293" fmla="*/ 3418505 h 3905171"/>
                <a:gd name="connsiteX1294" fmla="*/ 1237983 w 2626806"/>
                <a:gd name="connsiteY1294" fmla="*/ 3464600 h 3905171"/>
                <a:gd name="connsiteX1295" fmla="*/ 1191888 w 2626806"/>
                <a:gd name="connsiteY1295" fmla="*/ 3510696 h 3905171"/>
                <a:gd name="connsiteX1296" fmla="*/ 1701129 w 2626806"/>
                <a:gd name="connsiteY1296" fmla="*/ 3510696 h 3905171"/>
                <a:gd name="connsiteX1297" fmla="*/ 1652839 w 2626806"/>
                <a:gd name="connsiteY1297" fmla="*/ 3462405 h 3905171"/>
                <a:gd name="connsiteX1298" fmla="*/ 1701129 w 2626806"/>
                <a:gd name="connsiteY1298" fmla="*/ 3414115 h 3905171"/>
                <a:gd name="connsiteX1299" fmla="*/ 1749419 w 2626806"/>
                <a:gd name="connsiteY1299" fmla="*/ 3462405 h 3905171"/>
                <a:gd name="connsiteX1300" fmla="*/ 1701129 w 2626806"/>
                <a:gd name="connsiteY1300" fmla="*/ 3510696 h 3905171"/>
                <a:gd name="connsiteX1301" fmla="*/ 1442118 w 2626806"/>
                <a:gd name="connsiteY1301" fmla="*/ 3515086 h 3905171"/>
                <a:gd name="connsiteX1302" fmla="*/ 1396023 w 2626806"/>
                <a:gd name="connsiteY1302" fmla="*/ 3468991 h 3905171"/>
                <a:gd name="connsiteX1303" fmla="*/ 1442118 w 2626806"/>
                <a:gd name="connsiteY1303" fmla="*/ 3422896 h 3905171"/>
                <a:gd name="connsiteX1304" fmla="*/ 1488214 w 2626806"/>
                <a:gd name="connsiteY1304" fmla="*/ 3468991 h 3905171"/>
                <a:gd name="connsiteX1305" fmla="*/ 1442118 w 2626806"/>
                <a:gd name="connsiteY1305" fmla="*/ 3515086 h 3905171"/>
                <a:gd name="connsiteX1306" fmla="*/ 2626806 w 2626806"/>
                <a:gd name="connsiteY1306" fmla="*/ 3521105 h 3905171"/>
                <a:gd name="connsiteX1307" fmla="*/ 2613976 w 2626806"/>
                <a:gd name="connsiteY1307" fmla="*/ 3516184 h 3905171"/>
                <a:gd name="connsiteX1308" fmla="*/ 2605470 w 2626806"/>
                <a:gd name="connsiteY1308" fmla="*/ 3495331 h 3905171"/>
                <a:gd name="connsiteX1309" fmla="*/ 2613976 w 2626806"/>
                <a:gd name="connsiteY1309" fmla="*/ 3475302 h 3905171"/>
                <a:gd name="connsiteX1310" fmla="*/ 2626806 w 2626806"/>
                <a:gd name="connsiteY1310" fmla="*/ 3469853 h 3905171"/>
                <a:gd name="connsiteX1311" fmla="*/ 2089644 w 2626806"/>
                <a:gd name="connsiteY1311" fmla="*/ 3530452 h 3905171"/>
                <a:gd name="connsiteX1312" fmla="*/ 2054524 w 2626806"/>
                <a:gd name="connsiteY1312" fmla="*/ 3495331 h 3905171"/>
                <a:gd name="connsiteX1313" fmla="*/ 2089644 w 2626806"/>
                <a:gd name="connsiteY1313" fmla="*/ 3460211 h 3905171"/>
                <a:gd name="connsiteX1314" fmla="*/ 2124764 w 2626806"/>
                <a:gd name="connsiteY1314" fmla="*/ 3495331 h 3905171"/>
                <a:gd name="connsiteX1315" fmla="*/ 2089644 w 2626806"/>
                <a:gd name="connsiteY1315" fmla="*/ 3530452 h 3905171"/>
                <a:gd name="connsiteX1316" fmla="*/ 809957 w 2626806"/>
                <a:gd name="connsiteY1316" fmla="*/ 3565571 h 3905171"/>
                <a:gd name="connsiteX1317" fmla="*/ 759472 w 2626806"/>
                <a:gd name="connsiteY1317" fmla="*/ 3515086 h 3905171"/>
                <a:gd name="connsiteX1318" fmla="*/ 809957 w 2626806"/>
                <a:gd name="connsiteY1318" fmla="*/ 3464600 h 3905171"/>
                <a:gd name="connsiteX1319" fmla="*/ 860442 w 2626806"/>
                <a:gd name="connsiteY1319" fmla="*/ 3515086 h 3905171"/>
                <a:gd name="connsiteX1320" fmla="*/ 809957 w 2626806"/>
                <a:gd name="connsiteY1320" fmla="*/ 3565571 h 3905171"/>
                <a:gd name="connsiteX1321" fmla="*/ 1815269 w 2626806"/>
                <a:gd name="connsiteY1321" fmla="*/ 3569961 h 3905171"/>
                <a:gd name="connsiteX1322" fmla="*/ 1773564 w 2626806"/>
                <a:gd name="connsiteY1322" fmla="*/ 3528256 h 3905171"/>
                <a:gd name="connsiteX1323" fmla="*/ 1815269 w 2626806"/>
                <a:gd name="connsiteY1323" fmla="*/ 3486551 h 3905171"/>
                <a:gd name="connsiteX1324" fmla="*/ 1856974 w 2626806"/>
                <a:gd name="connsiteY1324" fmla="*/ 3528256 h 3905171"/>
                <a:gd name="connsiteX1325" fmla="*/ 1815269 w 2626806"/>
                <a:gd name="connsiteY1325" fmla="*/ 3569961 h 3905171"/>
                <a:gd name="connsiteX1326" fmla="*/ 2214759 w 2626806"/>
                <a:gd name="connsiteY1326" fmla="*/ 3578741 h 3905171"/>
                <a:gd name="connsiteX1327" fmla="*/ 2179639 w 2626806"/>
                <a:gd name="connsiteY1327" fmla="*/ 3543621 h 3905171"/>
                <a:gd name="connsiteX1328" fmla="*/ 2214759 w 2626806"/>
                <a:gd name="connsiteY1328" fmla="*/ 3508500 h 3905171"/>
                <a:gd name="connsiteX1329" fmla="*/ 2249879 w 2626806"/>
                <a:gd name="connsiteY1329" fmla="*/ 3543621 h 3905171"/>
                <a:gd name="connsiteX1330" fmla="*/ 2214759 w 2626806"/>
                <a:gd name="connsiteY1330" fmla="*/ 3578741 h 3905171"/>
                <a:gd name="connsiteX1331" fmla="*/ 1049212 w 2626806"/>
                <a:gd name="connsiteY1331" fmla="*/ 3585327 h 3905171"/>
                <a:gd name="connsiteX1332" fmla="*/ 1000922 w 2626806"/>
                <a:gd name="connsiteY1332" fmla="*/ 3537036 h 3905171"/>
                <a:gd name="connsiteX1333" fmla="*/ 1049212 w 2626806"/>
                <a:gd name="connsiteY1333" fmla="*/ 3488746 h 3905171"/>
                <a:gd name="connsiteX1334" fmla="*/ 1097502 w 2626806"/>
                <a:gd name="connsiteY1334" fmla="*/ 3537036 h 3905171"/>
                <a:gd name="connsiteX1335" fmla="*/ 1049212 w 2626806"/>
                <a:gd name="connsiteY1335" fmla="*/ 3585327 h 3905171"/>
                <a:gd name="connsiteX1336" fmla="*/ 1295053 w 2626806"/>
                <a:gd name="connsiteY1336" fmla="*/ 3594106 h 3905171"/>
                <a:gd name="connsiteX1337" fmla="*/ 1246763 w 2626806"/>
                <a:gd name="connsiteY1337" fmla="*/ 3545816 h 3905171"/>
                <a:gd name="connsiteX1338" fmla="*/ 1295053 w 2626806"/>
                <a:gd name="connsiteY1338" fmla="*/ 3497526 h 3905171"/>
                <a:gd name="connsiteX1339" fmla="*/ 1343343 w 2626806"/>
                <a:gd name="connsiteY1339" fmla="*/ 3545816 h 3905171"/>
                <a:gd name="connsiteX1340" fmla="*/ 1295053 w 2626806"/>
                <a:gd name="connsiteY1340" fmla="*/ 3594106 h 3905171"/>
                <a:gd name="connsiteX1341" fmla="*/ 1551869 w 2626806"/>
                <a:gd name="connsiteY1341" fmla="*/ 3594106 h 3905171"/>
                <a:gd name="connsiteX1342" fmla="*/ 1503578 w 2626806"/>
                <a:gd name="connsiteY1342" fmla="*/ 3545816 h 3905171"/>
                <a:gd name="connsiteX1343" fmla="*/ 1551869 w 2626806"/>
                <a:gd name="connsiteY1343" fmla="*/ 3497526 h 3905171"/>
                <a:gd name="connsiteX1344" fmla="*/ 1600159 w 2626806"/>
                <a:gd name="connsiteY1344" fmla="*/ 3545816 h 3905171"/>
                <a:gd name="connsiteX1345" fmla="*/ 1551869 w 2626806"/>
                <a:gd name="connsiteY1345" fmla="*/ 3594106 h 3905171"/>
                <a:gd name="connsiteX1346" fmla="*/ 671671 w 2626806"/>
                <a:gd name="connsiteY1346" fmla="*/ 3596301 h 3905171"/>
                <a:gd name="connsiteX1347" fmla="*/ 660696 w 2626806"/>
                <a:gd name="connsiteY1347" fmla="*/ 3585326 h 3905171"/>
                <a:gd name="connsiteX1348" fmla="*/ 671671 w 2626806"/>
                <a:gd name="connsiteY1348" fmla="*/ 3574351 h 3905171"/>
                <a:gd name="connsiteX1349" fmla="*/ 682647 w 2626806"/>
                <a:gd name="connsiteY1349" fmla="*/ 3585326 h 3905171"/>
                <a:gd name="connsiteX1350" fmla="*/ 671671 w 2626806"/>
                <a:gd name="connsiteY1350" fmla="*/ 3596301 h 3905171"/>
                <a:gd name="connsiteX1351" fmla="*/ 2342071 w 2626806"/>
                <a:gd name="connsiteY1351" fmla="*/ 3618251 h 3905171"/>
                <a:gd name="connsiteX1352" fmla="*/ 2304755 w 2626806"/>
                <a:gd name="connsiteY1352" fmla="*/ 3580936 h 3905171"/>
                <a:gd name="connsiteX1353" fmla="*/ 2342071 w 2626806"/>
                <a:gd name="connsiteY1353" fmla="*/ 3543621 h 3905171"/>
                <a:gd name="connsiteX1354" fmla="*/ 2379385 w 2626806"/>
                <a:gd name="connsiteY1354" fmla="*/ 3580936 h 3905171"/>
                <a:gd name="connsiteX1355" fmla="*/ 2342071 w 2626806"/>
                <a:gd name="connsiteY1355" fmla="*/ 3618251 h 3905171"/>
                <a:gd name="connsiteX1356" fmla="*/ 1935994 w 2626806"/>
                <a:gd name="connsiteY1356" fmla="*/ 3629226 h 3905171"/>
                <a:gd name="connsiteX1357" fmla="*/ 1894289 w 2626806"/>
                <a:gd name="connsiteY1357" fmla="*/ 3587521 h 3905171"/>
                <a:gd name="connsiteX1358" fmla="*/ 1935994 w 2626806"/>
                <a:gd name="connsiteY1358" fmla="*/ 3545816 h 3905171"/>
                <a:gd name="connsiteX1359" fmla="*/ 1977700 w 2626806"/>
                <a:gd name="connsiteY1359" fmla="*/ 3587521 h 3905171"/>
                <a:gd name="connsiteX1360" fmla="*/ 1935994 w 2626806"/>
                <a:gd name="connsiteY1360" fmla="*/ 3629226 h 3905171"/>
                <a:gd name="connsiteX1361" fmla="*/ 2469380 w 2626806"/>
                <a:gd name="connsiteY1361" fmla="*/ 3651176 h 3905171"/>
                <a:gd name="connsiteX1362" fmla="*/ 2434260 w 2626806"/>
                <a:gd name="connsiteY1362" fmla="*/ 3616056 h 3905171"/>
                <a:gd name="connsiteX1363" fmla="*/ 2469380 w 2626806"/>
                <a:gd name="connsiteY1363" fmla="*/ 3580936 h 3905171"/>
                <a:gd name="connsiteX1364" fmla="*/ 2504500 w 2626806"/>
                <a:gd name="connsiteY1364" fmla="*/ 3616056 h 3905171"/>
                <a:gd name="connsiteX1365" fmla="*/ 2469380 w 2626806"/>
                <a:gd name="connsiteY1365" fmla="*/ 3651176 h 3905171"/>
                <a:gd name="connsiteX1366" fmla="*/ 906537 w 2626806"/>
                <a:gd name="connsiteY1366" fmla="*/ 3655566 h 3905171"/>
                <a:gd name="connsiteX1367" fmla="*/ 858247 w 2626806"/>
                <a:gd name="connsiteY1367" fmla="*/ 3607276 h 3905171"/>
                <a:gd name="connsiteX1368" fmla="*/ 906537 w 2626806"/>
                <a:gd name="connsiteY1368" fmla="*/ 3558986 h 3905171"/>
                <a:gd name="connsiteX1369" fmla="*/ 954827 w 2626806"/>
                <a:gd name="connsiteY1369" fmla="*/ 3607276 h 3905171"/>
                <a:gd name="connsiteX1370" fmla="*/ 906537 w 2626806"/>
                <a:gd name="connsiteY1370" fmla="*/ 3655566 h 3905171"/>
                <a:gd name="connsiteX1371" fmla="*/ 1663814 w 2626806"/>
                <a:gd name="connsiteY1371" fmla="*/ 3662151 h 3905171"/>
                <a:gd name="connsiteX1372" fmla="*/ 1615523 w 2626806"/>
                <a:gd name="connsiteY1372" fmla="*/ 3613861 h 3905171"/>
                <a:gd name="connsiteX1373" fmla="*/ 1663814 w 2626806"/>
                <a:gd name="connsiteY1373" fmla="*/ 3565571 h 3905171"/>
                <a:gd name="connsiteX1374" fmla="*/ 1712104 w 2626806"/>
                <a:gd name="connsiteY1374" fmla="*/ 3613861 h 3905171"/>
                <a:gd name="connsiteX1375" fmla="*/ 1663814 w 2626806"/>
                <a:gd name="connsiteY1375" fmla="*/ 3662151 h 3905171"/>
                <a:gd name="connsiteX1376" fmla="*/ 1150183 w 2626806"/>
                <a:gd name="connsiteY1376" fmla="*/ 3670931 h 3905171"/>
                <a:gd name="connsiteX1377" fmla="*/ 1101892 w 2626806"/>
                <a:gd name="connsiteY1377" fmla="*/ 3622641 h 3905171"/>
                <a:gd name="connsiteX1378" fmla="*/ 1150183 w 2626806"/>
                <a:gd name="connsiteY1378" fmla="*/ 3574351 h 3905171"/>
                <a:gd name="connsiteX1379" fmla="*/ 1198473 w 2626806"/>
                <a:gd name="connsiteY1379" fmla="*/ 3622641 h 3905171"/>
                <a:gd name="connsiteX1380" fmla="*/ 1150183 w 2626806"/>
                <a:gd name="connsiteY1380" fmla="*/ 3670931 h 3905171"/>
                <a:gd name="connsiteX1381" fmla="*/ 1402608 w 2626806"/>
                <a:gd name="connsiteY1381" fmla="*/ 3670931 h 3905171"/>
                <a:gd name="connsiteX1382" fmla="*/ 1354318 w 2626806"/>
                <a:gd name="connsiteY1382" fmla="*/ 3622641 h 3905171"/>
                <a:gd name="connsiteX1383" fmla="*/ 1402608 w 2626806"/>
                <a:gd name="connsiteY1383" fmla="*/ 3574351 h 3905171"/>
                <a:gd name="connsiteX1384" fmla="*/ 1450898 w 2626806"/>
                <a:gd name="connsiteY1384" fmla="*/ 3622641 h 3905171"/>
                <a:gd name="connsiteX1385" fmla="*/ 1402608 w 2626806"/>
                <a:gd name="connsiteY1385" fmla="*/ 3670931 h 3905171"/>
                <a:gd name="connsiteX1386" fmla="*/ 2601080 w 2626806"/>
                <a:gd name="connsiteY1386" fmla="*/ 3679711 h 3905171"/>
                <a:gd name="connsiteX1387" fmla="*/ 2561570 w 2626806"/>
                <a:gd name="connsiteY1387" fmla="*/ 3640201 h 3905171"/>
                <a:gd name="connsiteX1388" fmla="*/ 2601080 w 2626806"/>
                <a:gd name="connsiteY1388" fmla="*/ 3600691 h 3905171"/>
                <a:gd name="connsiteX1389" fmla="*/ 2616514 w 2626806"/>
                <a:gd name="connsiteY1389" fmla="*/ 3603778 h 3905171"/>
                <a:gd name="connsiteX1390" fmla="*/ 2626806 w 2626806"/>
                <a:gd name="connsiteY1390" fmla="*/ 3610695 h 3905171"/>
                <a:gd name="connsiteX1391" fmla="*/ 2626806 w 2626806"/>
                <a:gd name="connsiteY1391" fmla="*/ 3669707 h 3905171"/>
                <a:gd name="connsiteX1392" fmla="*/ 2616514 w 2626806"/>
                <a:gd name="connsiteY1392" fmla="*/ 3676625 h 3905171"/>
                <a:gd name="connsiteX1393" fmla="*/ 2601080 w 2626806"/>
                <a:gd name="connsiteY1393" fmla="*/ 3679711 h 3905171"/>
                <a:gd name="connsiteX1394" fmla="*/ 2056720 w 2626806"/>
                <a:gd name="connsiteY1394" fmla="*/ 3681905 h 3905171"/>
                <a:gd name="connsiteX1395" fmla="*/ 2015015 w 2626806"/>
                <a:gd name="connsiteY1395" fmla="*/ 3640201 h 3905171"/>
                <a:gd name="connsiteX1396" fmla="*/ 2056720 w 2626806"/>
                <a:gd name="connsiteY1396" fmla="*/ 3598496 h 3905171"/>
                <a:gd name="connsiteX1397" fmla="*/ 2098425 w 2626806"/>
                <a:gd name="connsiteY1397" fmla="*/ 3640201 h 3905171"/>
                <a:gd name="connsiteX1398" fmla="*/ 2056720 w 2626806"/>
                <a:gd name="connsiteY1398" fmla="*/ 3681905 h 3905171"/>
                <a:gd name="connsiteX1399" fmla="*/ 766057 w 2626806"/>
                <a:gd name="connsiteY1399" fmla="*/ 3721416 h 3905171"/>
                <a:gd name="connsiteX1400" fmla="*/ 722156 w 2626806"/>
                <a:gd name="connsiteY1400" fmla="*/ 3677516 h 3905171"/>
                <a:gd name="connsiteX1401" fmla="*/ 766057 w 2626806"/>
                <a:gd name="connsiteY1401" fmla="*/ 3633616 h 3905171"/>
                <a:gd name="connsiteX1402" fmla="*/ 809957 w 2626806"/>
                <a:gd name="connsiteY1402" fmla="*/ 3677516 h 3905171"/>
                <a:gd name="connsiteX1403" fmla="*/ 766057 w 2626806"/>
                <a:gd name="connsiteY1403" fmla="*/ 3721416 h 3905171"/>
                <a:gd name="connsiteX1404" fmla="*/ 1782344 w 2626806"/>
                <a:gd name="connsiteY1404" fmla="*/ 3723612 h 3905171"/>
                <a:gd name="connsiteX1405" fmla="*/ 1736249 w 2626806"/>
                <a:gd name="connsiteY1405" fmla="*/ 3677516 h 3905171"/>
                <a:gd name="connsiteX1406" fmla="*/ 1782344 w 2626806"/>
                <a:gd name="connsiteY1406" fmla="*/ 3631421 h 3905171"/>
                <a:gd name="connsiteX1407" fmla="*/ 1828439 w 2626806"/>
                <a:gd name="connsiteY1407" fmla="*/ 3677516 h 3905171"/>
                <a:gd name="connsiteX1408" fmla="*/ 1782344 w 2626806"/>
                <a:gd name="connsiteY1408" fmla="*/ 3723612 h 3905171"/>
                <a:gd name="connsiteX1409" fmla="*/ 2181835 w 2626806"/>
                <a:gd name="connsiteY1409" fmla="*/ 3730196 h 3905171"/>
                <a:gd name="connsiteX1410" fmla="*/ 2137934 w 2626806"/>
                <a:gd name="connsiteY1410" fmla="*/ 3686297 h 3905171"/>
                <a:gd name="connsiteX1411" fmla="*/ 2181835 w 2626806"/>
                <a:gd name="connsiteY1411" fmla="*/ 3642396 h 3905171"/>
                <a:gd name="connsiteX1412" fmla="*/ 2225735 w 2626806"/>
                <a:gd name="connsiteY1412" fmla="*/ 3686297 h 3905171"/>
                <a:gd name="connsiteX1413" fmla="*/ 2181835 w 2626806"/>
                <a:gd name="connsiteY1413" fmla="*/ 3730196 h 3905171"/>
                <a:gd name="connsiteX1414" fmla="*/ 1007507 w 2626806"/>
                <a:gd name="connsiteY1414" fmla="*/ 3738977 h 3905171"/>
                <a:gd name="connsiteX1415" fmla="*/ 963607 w 2626806"/>
                <a:gd name="connsiteY1415" fmla="*/ 3695076 h 3905171"/>
                <a:gd name="connsiteX1416" fmla="*/ 1007507 w 2626806"/>
                <a:gd name="connsiteY1416" fmla="*/ 3651176 h 3905171"/>
                <a:gd name="connsiteX1417" fmla="*/ 1051407 w 2626806"/>
                <a:gd name="connsiteY1417" fmla="*/ 3695076 h 3905171"/>
                <a:gd name="connsiteX1418" fmla="*/ 1007507 w 2626806"/>
                <a:gd name="connsiteY1418" fmla="*/ 3738977 h 3905171"/>
                <a:gd name="connsiteX1419" fmla="*/ 1514553 w 2626806"/>
                <a:gd name="connsiteY1419" fmla="*/ 3743367 h 3905171"/>
                <a:gd name="connsiteX1420" fmla="*/ 1468458 w 2626806"/>
                <a:gd name="connsiteY1420" fmla="*/ 3697271 h 3905171"/>
                <a:gd name="connsiteX1421" fmla="*/ 1514553 w 2626806"/>
                <a:gd name="connsiteY1421" fmla="*/ 3651176 h 3905171"/>
                <a:gd name="connsiteX1422" fmla="*/ 1560648 w 2626806"/>
                <a:gd name="connsiteY1422" fmla="*/ 3697271 h 3905171"/>
                <a:gd name="connsiteX1423" fmla="*/ 1514553 w 2626806"/>
                <a:gd name="connsiteY1423" fmla="*/ 3743367 h 3905171"/>
                <a:gd name="connsiteX1424" fmla="*/ 1257738 w 2626806"/>
                <a:gd name="connsiteY1424" fmla="*/ 3749951 h 3905171"/>
                <a:gd name="connsiteX1425" fmla="*/ 1209448 w 2626806"/>
                <a:gd name="connsiteY1425" fmla="*/ 3701661 h 3905171"/>
                <a:gd name="connsiteX1426" fmla="*/ 1257738 w 2626806"/>
                <a:gd name="connsiteY1426" fmla="*/ 3653371 h 3905171"/>
                <a:gd name="connsiteX1427" fmla="*/ 1306028 w 2626806"/>
                <a:gd name="connsiteY1427" fmla="*/ 3701661 h 3905171"/>
                <a:gd name="connsiteX1428" fmla="*/ 1257738 w 2626806"/>
                <a:gd name="connsiteY1428" fmla="*/ 3749951 h 3905171"/>
                <a:gd name="connsiteX1429" fmla="*/ 2309145 w 2626806"/>
                <a:gd name="connsiteY1429" fmla="*/ 3771902 h 3905171"/>
                <a:gd name="connsiteX1430" fmla="*/ 2263051 w 2626806"/>
                <a:gd name="connsiteY1430" fmla="*/ 3725806 h 3905171"/>
                <a:gd name="connsiteX1431" fmla="*/ 2309145 w 2626806"/>
                <a:gd name="connsiteY1431" fmla="*/ 3679711 h 3905171"/>
                <a:gd name="connsiteX1432" fmla="*/ 2355239 w 2626806"/>
                <a:gd name="connsiteY1432" fmla="*/ 3725806 h 3905171"/>
                <a:gd name="connsiteX1433" fmla="*/ 2309145 w 2626806"/>
                <a:gd name="connsiteY1433" fmla="*/ 3771902 h 3905171"/>
                <a:gd name="connsiteX1434" fmla="*/ 1900874 w 2626806"/>
                <a:gd name="connsiteY1434" fmla="*/ 3782876 h 3905171"/>
                <a:gd name="connsiteX1435" fmla="*/ 1852584 w 2626806"/>
                <a:gd name="connsiteY1435" fmla="*/ 3734586 h 3905171"/>
                <a:gd name="connsiteX1436" fmla="*/ 1900874 w 2626806"/>
                <a:gd name="connsiteY1436" fmla="*/ 3686297 h 3905171"/>
                <a:gd name="connsiteX1437" fmla="*/ 1949164 w 2626806"/>
                <a:gd name="connsiteY1437" fmla="*/ 3734586 h 3905171"/>
                <a:gd name="connsiteX1438" fmla="*/ 1900874 w 2626806"/>
                <a:gd name="connsiteY1438" fmla="*/ 3782876 h 3905171"/>
                <a:gd name="connsiteX1439" fmla="*/ 864832 w 2626806"/>
                <a:gd name="connsiteY1439" fmla="*/ 3798242 h 3905171"/>
                <a:gd name="connsiteX1440" fmla="*/ 834102 w 2626806"/>
                <a:gd name="connsiteY1440" fmla="*/ 3767511 h 3905171"/>
                <a:gd name="connsiteX1441" fmla="*/ 864832 w 2626806"/>
                <a:gd name="connsiteY1441" fmla="*/ 3736781 h 3905171"/>
                <a:gd name="connsiteX1442" fmla="*/ 895563 w 2626806"/>
                <a:gd name="connsiteY1442" fmla="*/ 3767511 h 3905171"/>
                <a:gd name="connsiteX1443" fmla="*/ 864832 w 2626806"/>
                <a:gd name="connsiteY1443" fmla="*/ 3798242 h 3905171"/>
                <a:gd name="connsiteX1444" fmla="*/ 2436456 w 2626806"/>
                <a:gd name="connsiteY1444" fmla="*/ 3800437 h 3905171"/>
                <a:gd name="connsiteX1445" fmla="*/ 2394751 w 2626806"/>
                <a:gd name="connsiteY1445" fmla="*/ 3758731 h 3905171"/>
                <a:gd name="connsiteX1446" fmla="*/ 2436456 w 2626806"/>
                <a:gd name="connsiteY1446" fmla="*/ 3717026 h 3905171"/>
                <a:gd name="connsiteX1447" fmla="*/ 2478160 w 2626806"/>
                <a:gd name="connsiteY1447" fmla="*/ 3758731 h 3905171"/>
                <a:gd name="connsiteX1448" fmla="*/ 2436456 w 2626806"/>
                <a:gd name="connsiteY1448" fmla="*/ 3800437 h 3905171"/>
                <a:gd name="connsiteX1449" fmla="*/ 1628694 w 2626806"/>
                <a:gd name="connsiteY1449" fmla="*/ 3811412 h 3905171"/>
                <a:gd name="connsiteX1450" fmla="*/ 1580404 w 2626806"/>
                <a:gd name="connsiteY1450" fmla="*/ 3763121 h 3905171"/>
                <a:gd name="connsiteX1451" fmla="*/ 1628694 w 2626806"/>
                <a:gd name="connsiteY1451" fmla="*/ 3714832 h 3905171"/>
                <a:gd name="connsiteX1452" fmla="*/ 1676984 w 2626806"/>
                <a:gd name="connsiteY1452" fmla="*/ 3763121 h 3905171"/>
                <a:gd name="connsiteX1453" fmla="*/ 1628694 w 2626806"/>
                <a:gd name="connsiteY1453" fmla="*/ 3811412 h 3905171"/>
                <a:gd name="connsiteX1454" fmla="*/ 2568156 w 2626806"/>
                <a:gd name="connsiteY1454" fmla="*/ 3822387 h 3905171"/>
                <a:gd name="connsiteX1455" fmla="*/ 2530840 w 2626806"/>
                <a:gd name="connsiteY1455" fmla="*/ 3785072 h 3905171"/>
                <a:gd name="connsiteX1456" fmla="*/ 2568156 w 2626806"/>
                <a:gd name="connsiteY1456" fmla="*/ 3747757 h 3905171"/>
                <a:gd name="connsiteX1457" fmla="*/ 2605470 w 2626806"/>
                <a:gd name="connsiteY1457" fmla="*/ 3785072 h 3905171"/>
                <a:gd name="connsiteX1458" fmla="*/ 2568156 w 2626806"/>
                <a:gd name="connsiteY1458" fmla="*/ 3822387 h 3905171"/>
                <a:gd name="connsiteX1459" fmla="*/ 1365293 w 2626806"/>
                <a:gd name="connsiteY1459" fmla="*/ 3824582 h 3905171"/>
                <a:gd name="connsiteX1460" fmla="*/ 1319198 w 2626806"/>
                <a:gd name="connsiteY1460" fmla="*/ 3778487 h 3905171"/>
                <a:gd name="connsiteX1461" fmla="*/ 1365293 w 2626806"/>
                <a:gd name="connsiteY1461" fmla="*/ 3732392 h 3905171"/>
                <a:gd name="connsiteX1462" fmla="*/ 1411388 w 2626806"/>
                <a:gd name="connsiteY1462" fmla="*/ 3778487 h 3905171"/>
                <a:gd name="connsiteX1463" fmla="*/ 1365293 w 2626806"/>
                <a:gd name="connsiteY1463" fmla="*/ 3824582 h 3905171"/>
                <a:gd name="connsiteX1464" fmla="*/ 1110672 w 2626806"/>
                <a:gd name="connsiteY1464" fmla="*/ 3828971 h 3905171"/>
                <a:gd name="connsiteX1465" fmla="*/ 1057992 w 2626806"/>
                <a:gd name="connsiteY1465" fmla="*/ 3776292 h 3905171"/>
                <a:gd name="connsiteX1466" fmla="*/ 1110672 w 2626806"/>
                <a:gd name="connsiteY1466" fmla="*/ 3723612 h 3905171"/>
                <a:gd name="connsiteX1467" fmla="*/ 1163353 w 2626806"/>
                <a:gd name="connsiteY1467" fmla="*/ 3776292 h 3905171"/>
                <a:gd name="connsiteX1468" fmla="*/ 1110672 w 2626806"/>
                <a:gd name="connsiteY1468" fmla="*/ 3828971 h 3905171"/>
                <a:gd name="connsiteX1469" fmla="*/ 2023795 w 2626806"/>
                <a:gd name="connsiteY1469" fmla="*/ 3833362 h 3905171"/>
                <a:gd name="connsiteX1470" fmla="*/ 1977700 w 2626806"/>
                <a:gd name="connsiteY1470" fmla="*/ 3787266 h 3905171"/>
                <a:gd name="connsiteX1471" fmla="*/ 2023795 w 2626806"/>
                <a:gd name="connsiteY1471" fmla="*/ 3741171 h 3905171"/>
                <a:gd name="connsiteX1472" fmla="*/ 2069890 w 2626806"/>
                <a:gd name="connsiteY1472" fmla="*/ 3787266 h 3905171"/>
                <a:gd name="connsiteX1473" fmla="*/ 2023795 w 2626806"/>
                <a:gd name="connsiteY1473" fmla="*/ 3833362 h 3905171"/>
                <a:gd name="connsiteX1474" fmla="*/ 1747224 w 2626806"/>
                <a:gd name="connsiteY1474" fmla="*/ 3872872 h 3905171"/>
                <a:gd name="connsiteX1475" fmla="*/ 1698933 w 2626806"/>
                <a:gd name="connsiteY1475" fmla="*/ 3824582 h 3905171"/>
                <a:gd name="connsiteX1476" fmla="*/ 1747224 w 2626806"/>
                <a:gd name="connsiteY1476" fmla="*/ 3776292 h 3905171"/>
                <a:gd name="connsiteX1477" fmla="*/ 1795514 w 2626806"/>
                <a:gd name="connsiteY1477" fmla="*/ 3824582 h 3905171"/>
                <a:gd name="connsiteX1478" fmla="*/ 1747224 w 2626806"/>
                <a:gd name="connsiteY1478" fmla="*/ 3872872 h 3905171"/>
                <a:gd name="connsiteX1479" fmla="*/ 965802 w 2626806"/>
                <a:gd name="connsiteY1479" fmla="*/ 3879457 h 3905171"/>
                <a:gd name="connsiteX1480" fmla="*/ 939462 w 2626806"/>
                <a:gd name="connsiteY1480" fmla="*/ 3853117 h 3905171"/>
                <a:gd name="connsiteX1481" fmla="*/ 965802 w 2626806"/>
                <a:gd name="connsiteY1481" fmla="*/ 3826777 h 3905171"/>
                <a:gd name="connsiteX1482" fmla="*/ 992142 w 2626806"/>
                <a:gd name="connsiteY1482" fmla="*/ 3853117 h 3905171"/>
                <a:gd name="connsiteX1483" fmla="*/ 965802 w 2626806"/>
                <a:gd name="connsiteY1483" fmla="*/ 3879457 h 3905171"/>
                <a:gd name="connsiteX1484" fmla="*/ 2148910 w 2626806"/>
                <a:gd name="connsiteY1484" fmla="*/ 3879457 h 3905171"/>
                <a:gd name="connsiteX1485" fmla="*/ 2102815 w 2626806"/>
                <a:gd name="connsiteY1485" fmla="*/ 3833362 h 3905171"/>
                <a:gd name="connsiteX1486" fmla="*/ 2148910 w 2626806"/>
                <a:gd name="connsiteY1486" fmla="*/ 3787266 h 3905171"/>
                <a:gd name="connsiteX1487" fmla="*/ 2195006 w 2626806"/>
                <a:gd name="connsiteY1487" fmla="*/ 3833362 h 3905171"/>
                <a:gd name="connsiteX1488" fmla="*/ 2148910 w 2626806"/>
                <a:gd name="connsiteY1488" fmla="*/ 3879457 h 3905171"/>
                <a:gd name="connsiteX1489" fmla="*/ 1479433 w 2626806"/>
                <a:gd name="connsiteY1489" fmla="*/ 3890431 h 3905171"/>
                <a:gd name="connsiteX1490" fmla="*/ 1435533 w 2626806"/>
                <a:gd name="connsiteY1490" fmla="*/ 3846531 h 3905171"/>
                <a:gd name="connsiteX1491" fmla="*/ 1479433 w 2626806"/>
                <a:gd name="connsiteY1491" fmla="*/ 3802631 h 3905171"/>
                <a:gd name="connsiteX1492" fmla="*/ 1523333 w 2626806"/>
                <a:gd name="connsiteY1492" fmla="*/ 3846531 h 3905171"/>
                <a:gd name="connsiteX1493" fmla="*/ 1479433 w 2626806"/>
                <a:gd name="connsiteY1493" fmla="*/ 3890431 h 3905171"/>
                <a:gd name="connsiteX1494" fmla="*/ 1106195 w 2626806"/>
                <a:gd name="connsiteY1494" fmla="*/ 3905171 h 3905171"/>
                <a:gd name="connsiteX1495" fmla="*/ 1034905 w 2626806"/>
                <a:gd name="connsiteY1495" fmla="*/ 3905171 h 3905171"/>
                <a:gd name="connsiteX1496" fmla="*/ 1039060 w 2626806"/>
                <a:gd name="connsiteY1496" fmla="*/ 3899211 h 3905171"/>
                <a:gd name="connsiteX1497" fmla="*/ 1071162 w 2626806"/>
                <a:gd name="connsiteY1497" fmla="*/ 3886041 h 3905171"/>
                <a:gd name="connsiteX1498" fmla="*/ 1104087 w 2626806"/>
                <a:gd name="connsiteY1498" fmla="*/ 3900035 h 3905171"/>
                <a:gd name="connsiteX1499" fmla="*/ 1225200 w 2626806"/>
                <a:gd name="connsiteY1499" fmla="*/ 3905171 h 3905171"/>
                <a:gd name="connsiteX1500" fmla="*/ 1211629 w 2626806"/>
                <a:gd name="connsiteY1500" fmla="*/ 3905171 h 3905171"/>
                <a:gd name="connsiteX1501" fmla="*/ 1182285 w 2626806"/>
                <a:gd name="connsiteY1501" fmla="*/ 3892627 h 3905171"/>
                <a:gd name="connsiteX1502" fmla="*/ 1167743 w 2626806"/>
                <a:gd name="connsiteY1502" fmla="*/ 3857506 h 3905171"/>
                <a:gd name="connsiteX1503" fmla="*/ 1218228 w 2626806"/>
                <a:gd name="connsiteY1503" fmla="*/ 3807022 h 3905171"/>
                <a:gd name="connsiteX1504" fmla="*/ 1268713 w 2626806"/>
                <a:gd name="connsiteY1504" fmla="*/ 3857506 h 3905171"/>
                <a:gd name="connsiteX1505" fmla="*/ 1254171 w 2626806"/>
                <a:gd name="connsiteY1505" fmla="*/ 3893450 h 3905171"/>
                <a:gd name="connsiteX1506" fmla="*/ 1371361 w 2626806"/>
                <a:gd name="connsiteY1506" fmla="*/ 3905171 h 3905171"/>
                <a:gd name="connsiteX1507" fmla="*/ 1284594 w 2626806"/>
                <a:gd name="connsiteY1507" fmla="*/ 3905171 h 3905171"/>
                <a:gd name="connsiteX1508" fmla="*/ 1292034 w 2626806"/>
                <a:gd name="connsiteY1508" fmla="*/ 3893998 h 3905171"/>
                <a:gd name="connsiteX1509" fmla="*/ 1327977 w 2626806"/>
                <a:gd name="connsiteY1509" fmla="*/ 3879456 h 3905171"/>
                <a:gd name="connsiteX1510" fmla="*/ 1363920 w 2626806"/>
                <a:gd name="connsiteY1510" fmla="*/ 3893998 h 3905171"/>
                <a:gd name="connsiteX1511" fmla="*/ 1634475 w 2626806"/>
                <a:gd name="connsiteY1511" fmla="*/ 3905171 h 3905171"/>
                <a:gd name="connsiteX1512" fmla="*/ 1552672 w 2626806"/>
                <a:gd name="connsiteY1512" fmla="*/ 3905171 h 3905171"/>
                <a:gd name="connsiteX1513" fmla="*/ 1562569 w 2626806"/>
                <a:gd name="connsiteY1513" fmla="*/ 3881377 h 3905171"/>
                <a:gd name="connsiteX1514" fmla="*/ 1593574 w 2626806"/>
                <a:gd name="connsiteY1514" fmla="*/ 3868481 h 3905171"/>
                <a:gd name="connsiteX1515" fmla="*/ 1624578 w 2626806"/>
                <a:gd name="connsiteY1515" fmla="*/ 3881377 h 3905171"/>
                <a:gd name="connsiteX1516" fmla="*/ 1909099 w 2626806"/>
                <a:gd name="connsiteY1516" fmla="*/ 3905171 h 3905171"/>
                <a:gd name="connsiteX1517" fmla="*/ 1824848 w 2626806"/>
                <a:gd name="connsiteY1517" fmla="*/ 3905171 h 3905171"/>
                <a:gd name="connsiteX1518" fmla="*/ 1822266 w 2626806"/>
                <a:gd name="connsiteY1518" fmla="*/ 3901235 h 3905171"/>
                <a:gd name="connsiteX1519" fmla="*/ 1819659 w 2626806"/>
                <a:gd name="connsiteY1519" fmla="*/ 3881652 h 3905171"/>
                <a:gd name="connsiteX1520" fmla="*/ 1867949 w 2626806"/>
                <a:gd name="connsiteY1520" fmla="*/ 3833362 h 3905171"/>
                <a:gd name="connsiteX1521" fmla="*/ 1916239 w 2626806"/>
                <a:gd name="connsiteY1521" fmla="*/ 3881652 h 3905171"/>
                <a:gd name="connsiteX1522" fmla="*/ 1912398 w 2626806"/>
                <a:gd name="connsiteY1522" fmla="*/ 3900310 h 3905171"/>
                <a:gd name="connsiteX1523" fmla="*/ 2029680 w 2626806"/>
                <a:gd name="connsiteY1523" fmla="*/ 3905171 h 3905171"/>
                <a:gd name="connsiteX1524" fmla="*/ 1952059 w 2626806"/>
                <a:gd name="connsiteY1524" fmla="*/ 3905171 h 3905171"/>
                <a:gd name="connsiteX1525" fmla="*/ 1956847 w 2626806"/>
                <a:gd name="connsiteY1525" fmla="*/ 3898115 h 3905171"/>
                <a:gd name="connsiteX1526" fmla="*/ 1990869 w 2626806"/>
                <a:gd name="connsiteY1526" fmla="*/ 3883847 h 3905171"/>
                <a:gd name="connsiteX1527" fmla="*/ 2024892 w 2626806"/>
                <a:gd name="connsiteY1527" fmla="*/ 3898115 h 3905171"/>
                <a:gd name="connsiteX1528" fmla="*/ 2304497 w 2626806"/>
                <a:gd name="connsiteY1528" fmla="*/ 3905171 h 3905171"/>
                <a:gd name="connsiteX1529" fmla="*/ 2247217 w 2626806"/>
                <a:gd name="connsiteY1529" fmla="*/ 3905171 h 3905171"/>
                <a:gd name="connsiteX1530" fmla="*/ 2243294 w 2626806"/>
                <a:gd name="connsiteY1530" fmla="*/ 3903602 h 3905171"/>
                <a:gd name="connsiteX1531" fmla="*/ 2230124 w 2626806"/>
                <a:gd name="connsiteY1531" fmla="*/ 3870677 h 3905171"/>
                <a:gd name="connsiteX1532" fmla="*/ 2276219 w 2626806"/>
                <a:gd name="connsiteY1532" fmla="*/ 3824581 h 3905171"/>
                <a:gd name="connsiteX1533" fmla="*/ 2322315 w 2626806"/>
                <a:gd name="connsiteY1533" fmla="*/ 3870677 h 3905171"/>
                <a:gd name="connsiteX1534" fmla="*/ 2308322 w 2626806"/>
                <a:gd name="connsiteY1534" fmla="*/ 3903602 h 3905171"/>
                <a:gd name="connsiteX1535" fmla="*/ 2448998 w 2626806"/>
                <a:gd name="connsiteY1535" fmla="*/ 3905171 h 3905171"/>
                <a:gd name="connsiteX1536" fmla="*/ 2357761 w 2626806"/>
                <a:gd name="connsiteY1536" fmla="*/ 3905171 h 3905171"/>
                <a:gd name="connsiteX1537" fmla="*/ 2357435 w 2626806"/>
                <a:gd name="connsiteY1537" fmla="*/ 3903602 h 3905171"/>
                <a:gd name="connsiteX1538" fmla="*/ 2403531 w 2626806"/>
                <a:gd name="connsiteY1538" fmla="*/ 3857506 h 3905171"/>
                <a:gd name="connsiteX1539" fmla="*/ 2449625 w 2626806"/>
                <a:gd name="connsiteY1539" fmla="*/ 3903602 h 3905171"/>
                <a:gd name="connsiteX1540" fmla="*/ 2565556 w 2626806"/>
                <a:gd name="connsiteY1540" fmla="*/ 3905171 h 3905171"/>
                <a:gd name="connsiteX1541" fmla="*/ 2504463 w 2626806"/>
                <a:gd name="connsiteY1541" fmla="*/ 3905171 h 3905171"/>
                <a:gd name="connsiteX1542" fmla="*/ 2505322 w 2626806"/>
                <a:gd name="connsiteY1542" fmla="*/ 3903053 h 3905171"/>
                <a:gd name="connsiteX1543" fmla="*/ 2535230 w 2626806"/>
                <a:gd name="connsiteY1543" fmla="*/ 3890431 h 3905171"/>
                <a:gd name="connsiteX1544" fmla="*/ 2564315 w 2626806"/>
                <a:gd name="connsiteY1544" fmla="*/ 3902230 h 390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Lst>
              <a:rect l="l" t="t" r="r" b="b"/>
              <a:pathLst>
                <a:path w="2626806" h="3905171">
                  <a:moveTo>
                    <a:pt x="1200667" y="3105"/>
                  </a:moveTo>
                  <a:cubicBezTo>
                    <a:pt x="1199570" y="2007"/>
                    <a:pt x="1199570" y="909"/>
                    <a:pt x="1199844" y="361"/>
                  </a:cubicBezTo>
                  <a:cubicBezTo>
                    <a:pt x="1200118" y="-188"/>
                    <a:pt x="1200667" y="-188"/>
                    <a:pt x="1200667" y="909"/>
                  </a:cubicBezTo>
                  <a:cubicBezTo>
                    <a:pt x="1200667" y="909"/>
                    <a:pt x="1202862" y="909"/>
                    <a:pt x="1200667" y="3105"/>
                  </a:cubicBezTo>
                  <a:close/>
                  <a:moveTo>
                    <a:pt x="1126038" y="115049"/>
                  </a:moveTo>
                  <a:cubicBezTo>
                    <a:pt x="1123842" y="115049"/>
                    <a:pt x="1121648" y="112853"/>
                    <a:pt x="1121648" y="110659"/>
                  </a:cubicBezTo>
                  <a:cubicBezTo>
                    <a:pt x="1121648" y="108463"/>
                    <a:pt x="1123842" y="106269"/>
                    <a:pt x="1126038" y="106269"/>
                  </a:cubicBezTo>
                  <a:cubicBezTo>
                    <a:pt x="1128232" y="106269"/>
                    <a:pt x="1130428" y="108463"/>
                    <a:pt x="1130428" y="110659"/>
                  </a:cubicBezTo>
                  <a:cubicBezTo>
                    <a:pt x="1130428" y="112853"/>
                    <a:pt x="1128232" y="115049"/>
                    <a:pt x="1126038" y="115049"/>
                  </a:cubicBezTo>
                  <a:close/>
                  <a:moveTo>
                    <a:pt x="924097" y="167725"/>
                  </a:moveTo>
                  <a:cubicBezTo>
                    <a:pt x="919707" y="167725"/>
                    <a:pt x="917512" y="163335"/>
                    <a:pt x="917512" y="161140"/>
                  </a:cubicBezTo>
                  <a:cubicBezTo>
                    <a:pt x="917512" y="156750"/>
                    <a:pt x="919707" y="154555"/>
                    <a:pt x="924097" y="154555"/>
                  </a:cubicBezTo>
                  <a:cubicBezTo>
                    <a:pt x="928487" y="154555"/>
                    <a:pt x="930682" y="156750"/>
                    <a:pt x="930682" y="161140"/>
                  </a:cubicBezTo>
                  <a:cubicBezTo>
                    <a:pt x="930682" y="165530"/>
                    <a:pt x="928487" y="167725"/>
                    <a:pt x="924097" y="167725"/>
                  </a:cubicBezTo>
                  <a:close/>
                  <a:moveTo>
                    <a:pt x="1259933" y="178707"/>
                  </a:moveTo>
                  <a:cubicBezTo>
                    <a:pt x="1257738" y="178707"/>
                    <a:pt x="1257738" y="176512"/>
                    <a:pt x="1257738" y="176512"/>
                  </a:cubicBezTo>
                  <a:cubicBezTo>
                    <a:pt x="1257738" y="176512"/>
                    <a:pt x="1257738" y="174318"/>
                    <a:pt x="1259933" y="174318"/>
                  </a:cubicBezTo>
                  <a:cubicBezTo>
                    <a:pt x="1259933" y="174318"/>
                    <a:pt x="1262128" y="174318"/>
                    <a:pt x="1262128" y="176512"/>
                  </a:cubicBezTo>
                  <a:cubicBezTo>
                    <a:pt x="1262128" y="176512"/>
                    <a:pt x="1262128" y="178707"/>
                    <a:pt x="1259933" y="178707"/>
                  </a:cubicBezTo>
                  <a:close/>
                  <a:moveTo>
                    <a:pt x="1057992" y="229189"/>
                  </a:moveTo>
                  <a:cubicBezTo>
                    <a:pt x="1055797" y="229189"/>
                    <a:pt x="1053602" y="226994"/>
                    <a:pt x="1053602" y="224799"/>
                  </a:cubicBezTo>
                  <a:cubicBezTo>
                    <a:pt x="1053602" y="222604"/>
                    <a:pt x="1055797" y="220409"/>
                    <a:pt x="1057992" y="220409"/>
                  </a:cubicBezTo>
                  <a:cubicBezTo>
                    <a:pt x="1060187" y="220409"/>
                    <a:pt x="1062382" y="222604"/>
                    <a:pt x="1062382" y="224799"/>
                  </a:cubicBezTo>
                  <a:cubicBezTo>
                    <a:pt x="1062382" y="226994"/>
                    <a:pt x="1060187" y="229189"/>
                    <a:pt x="1057992" y="229189"/>
                  </a:cubicBezTo>
                  <a:close/>
                  <a:moveTo>
                    <a:pt x="862637" y="284060"/>
                  </a:moveTo>
                  <a:cubicBezTo>
                    <a:pt x="860442" y="284060"/>
                    <a:pt x="856052" y="281865"/>
                    <a:pt x="856052" y="277476"/>
                  </a:cubicBezTo>
                  <a:cubicBezTo>
                    <a:pt x="856052" y="273086"/>
                    <a:pt x="858247" y="270890"/>
                    <a:pt x="862637" y="270890"/>
                  </a:cubicBezTo>
                  <a:cubicBezTo>
                    <a:pt x="867027" y="270890"/>
                    <a:pt x="869222" y="273086"/>
                    <a:pt x="869222" y="277476"/>
                  </a:cubicBezTo>
                  <a:cubicBezTo>
                    <a:pt x="869222" y="281865"/>
                    <a:pt x="867027" y="284060"/>
                    <a:pt x="862637" y="284060"/>
                  </a:cubicBezTo>
                  <a:close/>
                  <a:moveTo>
                    <a:pt x="676061" y="338932"/>
                  </a:moveTo>
                  <a:cubicBezTo>
                    <a:pt x="673866" y="338932"/>
                    <a:pt x="671671" y="336737"/>
                    <a:pt x="671671" y="334542"/>
                  </a:cubicBezTo>
                  <a:cubicBezTo>
                    <a:pt x="671671" y="332347"/>
                    <a:pt x="673866" y="330153"/>
                    <a:pt x="676061" y="330153"/>
                  </a:cubicBezTo>
                  <a:cubicBezTo>
                    <a:pt x="678257" y="330153"/>
                    <a:pt x="680451" y="332347"/>
                    <a:pt x="680451" y="334542"/>
                  </a:cubicBezTo>
                  <a:cubicBezTo>
                    <a:pt x="680451" y="336737"/>
                    <a:pt x="678257" y="338932"/>
                    <a:pt x="676061" y="338932"/>
                  </a:cubicBezTo>
                  <a:close/>
                  <a:moveTo>
                    <a:pt x="996532" y="352109"/>
                  </a:moveTo>
                  <a:cubicBezTo>
                    <a:pt x="992142" y="352109"/>
                    <a:pt x="987752" y="347718"/>
                    <a:pt x="987752" y="343329"/>
                  </a:cubicBezTo>
                  <a:cubicBezTo>
                    <a:pt x="987752" y="338938"/>
                    <a:pt x="992142" y="334548"/>
                    <a:pt x="996532" y="334548"/>
                  </a:cubicBezTo>
                  <a:cubicBezTo>
                    <a:pt x="1000922" y="334548"/>
                    <a:pt x="1005312" y="338938"/>
                    <a:pt x="1005312" y="343329"/>
                  </a:cubicBezTo>
                  <a:cubicBezTo>
                    <a:pt x="1005312" y="347718"/>
                    <a:pt x="1000922" y="352109"/>
                    <a:pt x="996532" y="352109"/>
                  </a:cubicBezTo>
                  <a:close/>
                  <a:moveTo>
                    <a:pt x="807762" y="404785"/>
                  </a:moveTo>
                  <a:cubicBezTo>
                    <a:pt x="805567" y="404785"/>
                    <a:pt x="803372" y="402590"/>
                    <a:pt x="803372" y="400395"/>
                  </a:cubicBezTo>
                  <a:cubicBezTo>
                    <a:pt x="803372" y="398200"/>
                    <a:pt x="805567" y="396005"/>
                    <a:pt x="807762" y="396005"/>
                  </a:cubicBezTo>
                  <a:cubicBezTo>
                    <a:pt x="809957" y="396005"/>
                    <a:pt x="812152" y="398200"/>
                    <a:pt x="812152" y="400395"/>
                  </a:cubicBezTo>
                  <a:cubicBezTo>
                    <a:pt x="812152" y="402590"/>
                    <a:pt x="809957" y="404785"/>
                    <a:pt x="807762" y="404785"/>
                  </a:cubicBezTo>
                  <a:close/>
                  <a:moveTo>
                    <a:pt x="1130428" y="409182"/>
                  </a:moveTo>
                  <a:cubicBezTo>
                    <a:pt x="1128232" y="409182"/>
                    <a:pt x="1126038" y="409182"/>
                    <a:pt x="1128232" y="406987"/>
                  </a:cubicBezTo>
                  <a:cubicBezTo>
                    <a:pt x="1128232" y="406987"/>
                    <a:pt x="1130428" y="404792"/>
                    <a:pt x="1130428" y="404792"/>
                  </a:cubicBezTo>
                  <a:cubicBezTo>
                    <a:pt x="1130428" y="404792"/>
                    <a:pt x="1132623" y="404792"/>
                    <a:pt x="1132623" y="406987"/>
                  </a:cubicBezTo>
                  <a:cubicBezTo>
                    <a:pt x="1132623" y="406987"/>
                    <a:pt x="1132623" y="409182"/>
                    <a:pt x="1130428" y="409182"/>
                  </a:cubicBezTo>
                  <a:close/>
                  <a:moveTo>
                    <a:pt x="627771" y="466241"/>
                  </a:moveTo>
                  <a:cubicBezTo>
                    <a:pt x="623381" y="466241"/>
                    <a:pt x="618991" y="464046"/>
                    <a:pt x="621186" y="459656"/>
                  </a:cubicBezTo>
                  <a:cubicBezTo>
                    <a:pt x="621186" y="457462"/>
                    <a:pt x="623381" y="453072"/>
                    <a:pt x="627771" y="453072"/>
                  </a:cubicBezTo>
                  <a:cubicBezTo>
                    <a:pt x="629966" y="453072"/>
                    <a:pt x="634356" y="455266"/>
                    <a:pt x="634356" y="459656"/>
                  </a:cubicBezTo>
                  <a:cubicBezTo>
                    <a:pt x="634356" y="461852"/>
                    <a:pt x="632161" y="466241"/>
                    <a:pt x="627771" y="466241"/>
                  </a:cubicBezTo>
                  <a:close/>
                  <a:moveTo>
                    <a:pt x="941657" y="470639"/>
                  </a:moveTo>
                  <a:cubicBezTo>
                    <a:pt x="939462" y="470639"/>
                    <a:pt x="935072" y="468444"/>
                    <a:pt x="935072" y="464053"/>
                  </a:cubicBezTo>
                  <a:cubicBezTo>
                    <a:pt x="935072" y="459664"/>
                    <a:pt x="939462" y="457468"/>
                    <a:pt x="941657" y="457468"/>
                  </a:cubicBezTo>
                  <a:cubicBezTo>
                    <a:pt x="946047" y="457468"/>
                    <a:pt x="948242" y="459664"/>
                    <a:pt x="948242" y="464053"/>
                  </a:cubicBezTo>
                  <a:cubicBezTo>
                    <a:pt x="948242" y="468444"/>
                    <a:pt x="943852" y="470639"/>
                    <a:pt x="941657" y="470639"/>
                  </a:cubicBezTo>
                  <a:close/>
                  <a:moveTo>
                    <a:pt x="761667" y="529905"/>
                  </a:moveTo>
                  <a:cubicBezTo>
                    <a:pt x="757277" y="529905"/>
                    <a:pt x="755082" y="527710"/>
                    <a:pt x="755082" y="523320"/>
                  </a:cubicBezTo>
                  <a:cubicBezTo>
                    <a:pt x="755082" y="518931"/>
                    <a:pt x="757277" y="516734"/>
                    <a:pt x="761667" y="516734"/>
                  </a:cubicBezTo>
                  <a:cubicBezTo>
                    <a:pt x="766057" y="516734"/>
                    <a:pt x="768252" y="518931"/>
                    <a:pt x="768252" y="523320"/>
                  </a:cubicBezTo>
                  <a:cubicBezTo>
                    <a:pt x="768252" y="527710"/>
                    <a:pt x="766057" y="529905"/>
                    <a:pt x="761667" y="529905"/>
                  </a:cubicBezTo>
                  <a:close/>
                  <a:moveTo>
                    <a:pt x="586066" y="593557"/>
                  </a:moveTo>
                  <a:cubicBezTo>
                    <a:pt x="581676" y="593557"/>
                    <a:pt x="577286" y="589166"/>
                    <a:pt x="579481" y="586972"/>
                  </a:cubicBezTo>
                  <a:cubicBezTo>
                    <a:pt x="579481" y="584776"/>
                    <a:pt x="581676" y="580387"/>
                    <a:pt x="586066" y="580387"/>
                  </a:cubicBezTo>
                  <a:cubicBezTo>
                    <a:pt x="588261" y="580387"/>
                    <a:pt x="592651" y="582582"/>
                    <a:pt x="592651" y="586972"/>
                  </a:cubicBezTo>
                  <a:cubicBezTo>
                    <a:pt x="592651" y="589166"/>
                    <a:pt x="590456" y="593557"/>
                    <a:pt x="586066" y="593557"/>
                  </a:cubicBezTo>
                  <a:close/>
                  <a:moveTo>
                    <a:pt x="895563" y="593563"/>
                  </a:moveTo>
                  <a:cubicBezTo>
                    <a:pt x="893367" y="593563"/>
                    <a:pt x="891173" y="591367"/>
                    <a:pt x="891173" y="589174"/>
                  </a:cubicBezTo>
                  <a:cubicBezTo>
                    <a:pt x="891173" y="586979"/>
                    <a:pt x="893367" y="584784"/>
                    <a:pt x="895563" y="584784"/>
                  </a:cubicBezTo>
                  <a:cubicBezTo>
                    <a:pt x="897757" y="584784"/>
                    <a:pt x="899953" y="586979"/>
                    <a:pt x="899953" y="589174"/>
                  </a:cubicBezTo>
                  <a:cubicBezTo>
                    <a:pt x="899953" y="591367"/>
                    <a:pt x="897757" y="593563"/>
                    <a:pt x="895563" y="593563"/>
                  </a:cubicBezTo>
                  <a:close/>
                  <a:moveTo>
                    <a:pt x="1029457" y="657221"/>
                  </a:moveTo>
                  <a:cubicBezTo>
                    <a:pt x="1027033" y="657221"/>
                    <a:pt x="1025067" y="655258"/>
                    <a:pt x="1025067" y="652833"/>
                  </a:cubicBezTo>
                  <a:cubicBezTo>
                    <a:pt x="1025067" y="650408"/>
                    <a:pt x="1027033" y="648443"/>
                    <a:pt x="1029457" y="648443"/>
                  </a:cubicBezTo>
                  <a:cubicBezTo>
                    <a:pt x="1031882" y="648443"/>
                    <a:pt x="1033847" y="650408"/>
                    <a:pt x="1033847" y="652833"/>
                  </a:cubicBezTo>
                  <a:cubicBezTo>
                    <a:pt x="1033847" y="655258"/>
                    <a:pt x="1031882" y="657221"/>
                    <a:pt x="1029457" y="657221"/>
                  </a:cubicBezTo>
                  <a:close/>
                  <a:moveTo>
                    <a:pt x="719962" y="661605"/>
                  </a:moveTo>
                  <a:cubicBezTo>
                    <a:pt x="715572" y="661605"/>
                    <a:pt x="708987" y="657215"/>
                    <a:pt x="708987" y="650631"/>
                  </a:cubicBezTo>
                  <a:cubicBezTo>
                    <a:pt x="708987" y="644046"/>
                    <a:pt x="713377" y="639656"/>
                    <a:pt x="719962" y="639656"/>
                  </a:cubicBezTo>
                  <a:cubicBezTo>
                    <a:pt x="726546" y="639656"/>
                    <a:pt x="730936" y="644046"/>
                    <a:pt x="730936" y="650631"/>
                  </a:cubicBezTo>
                  <a:cubicBezTo>
                    <a:pt x="730936" y="657215"/>
                    <a:pt x="726546" y="661605"/>
                    <a:pt x="719962" y="661605"/>
                  </a:cubicBezTo>
                  <a:close/>
                  <a:moveTo>
                    <a:pt x="550946" y="720866"/>
                  </a:moveTo>
                  <a:cubicBezTo>
                    <a:pt x="546556" y="720866"/>
                    <a:pt x="544361" y="718672"/>
                    <a:pt x="544361" y="714282"/>
                  </a:cubicBezTo>
                  <a:cubicBezTo>
                    <a:pt x="544361" y="712086"/>
                    <a:pt x="546556" y="707697"/>
                    <a:pt x="550946" y="707697"/>
                  </a:cubicBezTo>
                  <a:cubicBezTo>
                    <a:pt x="553141" y="707697"/>
                    <a:pt x="557531" y="709892"/>
                    <a:pt x="557531" y="714282"/>
                  </a:cubicBezTo>
                  <a:cubicBezTo>
                    <a:pt x="557531" y="716477"/>
                    <a:pt x="555336" y="720866"/>
                    <a:pt x="550946" y="720866"/>
                  </a:cubicBezTo>
                  <a:close/>
                  <a:moveTo>
                    <a:pt x="856052" y="723070"/>
                  </a:moveTo>
                  <a:cubicBezTo>
                    <a:pt x="851662" y="723070"/>
                    <a:pt x="849467" y="718680"/>
                    <a:pt x="849467" y="716484"/>
                  </a:cubicBezTo>
                  <a:cubicBezTo>
                    <a:pt x="849467" y="714288"/>
                    <a:pt x="851662" y="709900"/>
                    <a:pt x="856052" y="709900"/>
                  </a:cubicBezTo>
                  <a:cubicBezTo>
                    <a:pt x="858247" y="709900"/>
                    <a:pt x="862637" y="712094"/>
                    <a:pt x="862637" y="716484"/>
                  </a:cubicBezTo>
                  <a:cubicBezTo>
                    <a:pt x="862637" y="718680"/>
                    <a:pt x="860442" y="723070"/>
                    <a:pt x="856052" y="723070"/>
                  </a:cubicBezTo>
                  <a:close/>
                  <a:moveTo>
                    <a:pt x="384126" y="782321"/>
                  </a:moveTo>
                  <a:cubicBezTo>
                    <a:pt x="381931" y="782321"/>
                    <a:pt x="379736" y="780126"/>
                    <a:pt x="379736" y="777931"/>
                  </a:cubicBezTo>
                  <a:cubicBezTo>
                    <a:pt x="379736" y="775737"/>
                    <a:pt x="381931" y="773541"/>
                    <a:pt x="384126" y="773541"/>
                  </a:cubicBezTo>
                  <a:cubicBezTo>
                    <a:pt x="386321" y="773541"/>
                    <a:pt x="388516" y="775737"/>
                    <a:pt x="388516" y="777931"/>
                  </a:cubicBezTo>
                  <a:cubicBezTo>
                    <a:pt x="388516" y="780126"/>
                    <a:pt x="386321" y="782321"/>
                    <a:pt x="384126" y="782321"/>
                  </a:cubicBezTo>
                  <a:close/>
                  <a:moveTo>
                    <a:pt x="992142" y="784532"/>
                  </a:moveTo>
                  <a:cubicBezTo>
                    <a:pt x="989947" y="784532"/>
                    <a:pt x="989947" y="782337"/>
                    <a:pt x="989947" y="782337"/>
                  </a:cubicBezTo>
                  <a:cubicBezTo>
                    <a:pt x="989947" y="782337"/>
                    <a:pt x="989947" y="780142"/>
                    <a:pt x="992142" y="780142"/>
                  </a:cubicBezTo>
                  <a:cubicBezTo>
                    <a:pt x="992142" y="780142"/>
                    <a:pt x="994337" y="782337"/>
                    <a:pt x="994337" y="782337"/>
                  </a:cubicBezTo>
                  <a:cubicBezTo>
                    <a:pt x="994337" y="782337"/>
                    <a:pt x="994337" y="784532"/>
                    <a:pt x="992142" y="784532"/>
                  </a:cubicBezTo>
                  <a:close/>
                  <a:moveTo>
                    <a:pt x="687037" y="788915"/>
                  </a:moveTo>
                  <a:cubicBezTo>
                    <a:pt x="682187" y="788915"/>
                    <a:pt x="678257" y="784984"/>
                    <a:pt x="678257" y="780135"/>
                  </a:cubicBezTo>
                  <a:cubicBezTo>
                    <a:pt x="678257" y="775286"/>
                    <a:pt x="682187" y="771355"/>
                    <a:pt x="687037" y="771355"/>
                  </a:cubicBezTo>
                  <a:cubicBezTo>
                    <a:pt x="691886" y="771355"/>
                    <a:pt x="695817" y="775286"/>
                    <a:pt x="695817" y="780135"/>
                  </a:cubicBezTo>
                  <a:cubicBezTo>
                    <a:pt x="695817" y="784984"/>
                    <a:pt x="691886" y="788915"/>
                    <a:pt x="687037" y="788915"/>
                  </a:cubicBezTo>
                  <a:close/>
                  <a:moveTo>
                    <a:pt x="1128232" y="848193"/>
                  </a:moveTo>
                  <a:cubicBezTo>
                    <a:pt x="1126038" y="848193"/>
                    <a:pt x="1126038" y="848193"/>
                    <a:pt x="1126038" y="845997"/>
                  </a:cubicBezTo>
                  <a:cubicBezTo>
                    <a:pt x="1126038" y="845997"/>
                    <a:pt x="1128232" y="843803"/>
                    <a:pt x="1128232" y="843803"/>
                  </a:cubicBezTo>
                  <a:cubicBezTo>
                    <a:pt x="1128232" y="843803"/>
                    <a:pt x="1130428" y="843803"/>
                    <a:pt x="1130428" y="845997"/>
                  </a:cubicBezTo>
                  <a:cubicBezTo>
                    <a:pt x="1130428" y="845997"/>
                    <a:pt x="1130428" y="848193"/>
                    <a:pt x="1128232" y="848193"/>
                  </a:cubicBezTo>
                  <a:close/>
                  <a:moveTo>
                    <a:pt x="825322" y="852574"/>
                  </a:moveTo>
                  <a:cubicBezTo>
                    <a:pt x="820932" y="852574"/>
                    <a:pt x="816542" y="848183"/>
                    <a:pt x="818737" y="845989"/>
                  </a:cubicBezTo>
                  <a:cubicBezTo>
                    <a:pt x="818737" y="843793"/>
                    <a:pt x="820932" y="839403"/>
                    <a:pt x="825322" y="839403"/>
                  </a:cubicBezTo>
                  <a:cubicBezTo>
                    <a:pt x="827517" y="839403"/>
                    <a:pt x="831907" y="841597"/>
                    <a:pt x="831907" y="845989"/>
                  </a:cubicBezTo>
                  <a:cubicBezTo>
                    <a:pt x="831907" y="848183"/>
                    <a:pt x="829712" y="852574"/>
                    <a:pt x="825322" y="852574"/>
                  </a:cubicBezTo>
                  <a:close/>
                  <a:moveTo>
                    <a:pt x="522412" y="854761"/>
                  </a:moveTo>
                  <a:cubicBezTo>
                    <a:pt x="515827" y="854761"/>
                    <a:pt x="511437" y="850371"/>
                    <a:pt x="511437" y="843786"/>
                  </a:cubicBezTo>
                  <a:cubicBezTo>
                    <a:pt x="511437" y="837202"/>
                    <a:pt x="515827" y="832812"/>
                    <a:pt x="522412" y="832812"/>
                  </a:cubicBezTo>
                  <a:cubicBezTo>
                    <a:pt x="528996" y="832812"/>
                    <a:pt x="533386" y="837202"/>
                    <a:pt x="533386" y="843786"/>
                  </a:cubicBezTo>
                  <a:cubicBezTo>
                    <a:pt x="533386" y="850371"/>
                    <a:pt x="528996" y="854761"/>
                    <a:pt x="522412" y="854761"/>
                  </a:cubicBezTo>
                  <a:close/>
                  <a:moveTo>
                    <a:pt x="963607" y="914039"/>
                  </a:moveTo>
                  <a:cubicBezTo>
                    <a:pt x="959217" y="914039"/>
                    <a:pt x="957023" y="911845"/>
                    <a:pt x="959217" y="909650"/>
                  </a:cubicBezTo>
                  <a:cubicBezTo>
                    <a:pt x="959217" y="907454"/>
                    <a:pt x="961413" y="905260"/>
                    <a:pt x="963607" y="905260"/>
                  </a:cubicBezTo>
                  <a:cubicBezTo>
                    <a:pt x="965803" y="905260"/>
                    <a:pt x="967997" y="907454"/>
                    <a:pt x="967997" y="909650"/>
                  </a:cubicBezTo>
                  <a:cubicBezTo>
                    <a:pt x="967997" y="911845"/>
                    <a:pt x="965803" y="914039"/>
                    <a:pt x="963607" y="914039"/>
                  </a:cubicBezTo>
                  <a:close/>
                  <a:moveTo>
                    <a:pt x="362176" y="918413"/>
                  </a:moveTo>
                  <a:cubicBezTo>
                    <a:pt x="357327" y="918413"/>
                    <a:pt x="353396" y="914482"/>
                    <a:pt x="353396" y="909633"/>
                  </a:cubicBezTo>
                  <a:cubicBezTo>
                    <a:pt x="353396" y="904783"/>
                    <a:pt x="357327" y="900853"/>
                    <a:pt x="362176" y="900853"/>
                  </a:cubicBezTo>
                  <a:cubicBezTo>
                    <a:pt x="367025" y="900853"/>
                    <a:pt x="370956" y="904783"/>
                    <a:pt x="370956" y="909633"/>
                  </a:cubicBezTo>
                  <a:cubicBezTo>
                    <a:pt x="370956" y="914482"/>
                    <a:pt x="367025" y="918413"/>
                    <a:pt x="362176" y="918413"/>
                  </a:cubicBezTo>
                  <a:close/>
                  <a:moveTo>
                    <a:pt x="662892" y="922812"/>
                  </a:moveTo>
                  <a:cubicBezTo>
                    <a:pt x="654112" y="922812"/>
                    <a:pt x="649722" y="916226"/>
                    <a:pt x="649722" y="909641"/>
                  </a:cubicBezTo>
                  <a:cubicBezTo>
                    <a:pt x="649722" y="900861"/>
                    <a:pt x="656306" y="896470"/>
                    <a:pt x="662892" y="896470"/>
                  </a:cubicBezTo>
                  <a:cubicBezTo>
                    <a:pt x="671671" y="896470"/>
                    <a:pt x="676061" y="903056"/>
                    <a:pt x="676061" y="909641"/>
                  </a:cubicBezTo>
                  <a:cubicBezTo>
                    <a:pt x="676061" y="916226"/>
                    <a:pt x="669476" y="922812"/>
                    <a:pt x="662892" y="922812"/>
                  </a:cubicBezTo>
                  <a:close/>
                  <a:moveTo>
                    <a:pt x="801177" y="982080"/>
                  </a:moveTo>
                  <a:cubicBezTo>
                    <a:pt x="796787" y="982080"/>
                    <a:pt x="792397" y="979884"/>
                    <a:pt x="792397" y="973300"/>
                  </a:cubicBezTo>
                  <a:cubicBezTo>
                    <a:pt x="792397" y="968910"/>
                    <a:pt x="796787" y="964521"/>
                    <a:pt x="801177" y="964521"/>
                  </a:cubicBezTo>
                  <a:cubicBezTo>
                    <a:pt x="805567" y="964521"/>
                    <a:pt x="809957" y="968910"/>
                    <a:pt x="809957" y="973300"/>
                  </a:cubicBezTo>
                  <a:cubicBezTo>
                    <a:pt x="809957" y="977690"/>
                    <a:pt x="805567" y="982080"/>
                    <a:pt x="801177" y="982080"/>
                  </a:cubicBezTo>
                  <a:close/>
                  <a:moveTo>
                    <a:pt x="502657" y="990852"/>
                  </a:moveTo>
                  <a:cubicBezTo>
                    <a:pt x="494171" y="990852"/>
                    <a:pt x="487291" y="983972"/>
                    <a:pt x="487291" y="975487"/>
                  </a:cubicBezTo>
                  <a:cubicBezTo>
                    <a:pt x="487291" y="967001"/>
                    <a:pt x="494171" y="960123"/>
                    <a:pt x="502657" y="960123"/>
                  </a:cubicBezTo>
                  <a:cubicBezTo>
                    <a:pt x="511142" y="960123"/>
                    <a:pt x="518022" y="967001"/>
                    <a:pt x="518022" y="975487"/>
                  </a:cubicBezTo>
                  <a:cubicBezTo>
                    <a:pt x="518022" y="983972"/>
                    <a:pt x="511142" y="990852"/>
                    <a:pt x="502657" y="990852"/>
                  </a:cubicBezTo>
                  <a:close/>
                  <a:moveTo>
                    <a:pt x="941657" y="1047934"/>
                  </a:moveTo>
                  <a:cubicBezTo>
                    <a:pt x="937267" y="1047934"/>
                    <a:pt x="935072" y="1045739"/>
                    <a:pt x="935072" y="1041349"/>
                  </a:cubicBezTo>
                  <a:cubicBezTo>
                    <a:pt x="935072" y="1036959"/>
                    <a:pt x="937267" y="1034764"/>
                    <a:pt x="941657" y="1034764"/>
                  </a:cubicBezTo>
                  <a:cubicBezTo>
                    <a:pt x="946047" y="1034764"/>
                    <a:pt x="948242" y="1036959"/>
                    <a:pt x="948242" y="1041349"/>
                  </a:cubicBezTo>
                  <a:cubicBezTo>
                    <a:pt x="948242" y="1045739"/>
                    <a:pt x="946047" y="1047934"/>
                    <a:pt x="941657" y="1047934"/>
                  </a:cubicBezTo>
                  <a:close/>
                  <a:moveTo>
                    <a:pt x="344616" y="1052308"/>
                  </a:moveTo>
                  <a:cubicBezTo>
                    <a:pt x="340226" y="1052308"/>
                    <a:pt x="335836" y="1045722"/>
                    <a:pt x="333641" y="1041333"/>
                  </a:cubicBezTo>
                  <a:cubicBezTo>
                    <a:pt x="333641" y="1034748"/>
                    <a:pt x="338031" y="1030358"/>
                    <a:pt x="344616" y="1030358"/>
                  </a:cubicBezTo>
                  <a:cubicBezTo>
                    <a:pt x="351201" y="1030358"/>
                    <a:pt x="355591" y="1034748"/>
                    <a:pt x="355591" y="1041333"/>
                  </a:cubicBezTo>
                  <a:cubicBezTo>
                    <a:pt x="355591" y="1047918"/>
                    <a:pt x="351201" y="1052308"/>
                    <a:pt x="344616" y="1052308"/>
                  </a:cubicBezTo>
                  <a:close/>
                  <a:moveTo>
                    <a:pt x="643136" y="1052315"/>
                  </a:moveTo>
                  <a:cubicBezTo>
                    <a:pt x="636551" y="1052315"/>
                    <a:pt x="629966" y="1047925"/>
                    <a:pt x="629966" y="1041339"/>
                  </a:cubicBezTo>
                  <a:cubicBezTo>
                    <a:pt x="629966" y="1034755"/>
                    <a:pt x="636551" y="1028170"/>
                    <a:pt x="643136" y="1028170"/>
                  </a:cubicBezTo>
                  <a:cubicBezTo>
                    <a:pt x="649722" y="1028170"/>
                    <a:pt x="656306" y="1032561"/>
                    <a:pt x="656306" y="1039145"/>
                  </a:cubicBezTo>
                  <a:cubicBezTo>
                    <a:pt x="656306" y="1045731"/>
                    <a:pt x="649722" y="1052315"/>
                    <a:pt x="643136" y="1052315"/>
                  </a:cubicBezTo>
                  <a:close/>
                  <a:moveTo>
                    <a:pt x="190966" y="1111568"/>
                  </a:moveTo>
                  <a:cubicBezTo>
                    <a:pt x="188770" y="1111568"/>
                    <a:pt x="186576" y="1109374"/>
                    <a:pt x="186576" y="1107179"/>
                  </a:cubicBezTo>
                  <a:cubicBezTo>
                    <a:pt x="186576" y="1104985"/>
                    <a:pt x="188770" y="1102790"/>
                    <a:pt x="190966" y="1102790"/>
                  </a:cubicBezTo>
                  <a:cubicBezTo>
                    <a:pt x="193160" y="1102790"/>
                    <a:pt x="195356" y="1104985"/>
                    <a:pt x="195356" y="1107179"/>
                  </a:cubicBezTo>
                  <a:cubicBezTo>
                    <a:pt x="195356" y="1109374"/>
                    <a:pt x="193160" y="1111568"/>
                    <a:pt x="190966" y="1111568"/>
                  </a:cubicBezTo>
                  <a:close/>
                  <a:moveTo>
                    <a:pt x="1082137" y="1111597"/>
                  </a:moveTo>
                  <a:cubicBezTo>
                    <a:pt x="1079943" y="1111597"/>
                    <a:pt x="1077747" y="1109400"/>
                    <a:pt x="1077747" y="1107205"/>
                  </a:cubicBezTo>
                  <a:cubicBezTo>
                    <a:pt x="1077747" y="1105010"/>
                    <a:pt x="1079943" y="1102815"/>
                    <a:pt x="1082137" y="1102815"/>
                  </a:cubicBezTo>
                  <a:cubicBezTo>
                    <a:pt x="1084333" y="1102815"/>
                    <a:pt x="1086527" y="1105010"/>
                    <a:pt x="1086527" y="1107205"/>
                  </a:cubicBezTo>
                  <a:cubicBezTo>
                    <a:pt x="1086527" y="1109400"/>
                    <a:pt x="1084333" y="1111597"/>
                    <a:pt x="1082137" y="1111597"/>
                  </a:cubicBezTo>
                  <a:close/>
                  <a:moveTo>
                    <a:pt x="785812" y="1113780"/>
                  </a:moveTo>
                  <a:cubicBezTo>
                    <a:pt x="781422" y="1113780"/>
                    <a:pt x="777032" y="1111584"/>
                    <a:pt x="779227" y="1107195"/>
                  </a:cubicBezTo>
                  <a:cubicBezTo>
                    <a:pt x="779227" y="1105000"/>
                    <a:pt x="781422" y="1100611"/>
                    <a:pt x="785812" y="1100611"/>
                  </a:cubicBezTo>
                  <a:cubicBezTo>
                    <a:pt x="790202" y="1100611"/>
                    <a:pt x="792397" y="1102804"/>
                    <a:pt x="792397" y="1107195"/>
                  </a:cubicBezTo>
                  <a:cubicBezTo>
                    <a:pt x="792397" y="1109390"/>
                    <a:pt x="790202" y="1113780"/>
                    <a:pt x="785812" y="1113780"/>
                  </a:cubicBezTo>
                  <a:close/>
                  <a:moveTo>
                    <a:pt x="487291" y="1118161"/>
                  </a:moveTo>
                  <a:cubicBezTo>
                    <a:pt x="482901" y="1118161"/>
                    <a:pt x="476316" y="1113770"/>
                    <a:pt x="476316" y="1107187"/>
                  </a:cubicBezTo>
                  <a:cubicBezTo>
                    <a:pt x="476316" y="1100602"/>
                    <a:pt x="480706" y="1096211"/>
                    <a:pt x="487291" y="1096211"/>
                  </a:cubicBezTo>
                  <a:cubicBezTo>
                    <a:pt x="493877" y="1096211"/>
                    <a:pt x="498267" y="1100602"/>
                    <a:pt x="498267" y="1107187"/>
                  </a:cubicBezTo>
                  <a:cubicBezTo>
                    <a:pt x="498267" y="1113770"/>
                    <a:pt x="493877" y="1118161"/>
                    <a:pt x="487291" y="1118161"/>
                  </a:cubicBezTo>
                  <a:close/>
                  <a:moveTo>
                    <a:pt x="928488" y="1179636"/>
                  </a:moveTo>
                  <a:cubicBezTo>
                    <a:pt x="924098" y="1179636"/>
                    <a:pt x="921902" y="1177440"/>
                    <a:pt x="921902" y="1173050"/>
                  </a:cubicBezTo>
                  <a:cubicBezTo>
                    <a:pt x="921902" y="1168661"/>
                    <a:pt x="924098" y="1166466"/>
                    <a:pt x="928488" y="1166466"/>
                  </a:cubicBezTo>
                  <a:cubicBezTo>
                    <a:pt x="932878" y="1166466"/>
                    <a:pt x="935072" y="1168661"/>
                    <a:pt x="935072" y="1173050"/>
                  </a:cubicBezTo>
                  <a:cubicBezTo>
                    <a:pt x="935072" y="1177440"/>
                    <a:pt x="932878" y="1179636"/>
                    <a:pt x="928488" y="1179636"/>
                  </a:cubicBezTo>
                  <a:close/>
                  <a:moveTo>
                    <a:pt x="335836" y="1184007"/>
                  </a:moveTo>
                  <a:cubicBezTo>
                    <a:pt x="329251" y="1184007"/>
                    <a:pt x="324861" y="1179617"/>
                    <a:pt x="324861" y="1173034"/>
                  </a:cubicBezTo>
                  <a:cubicBezTo>
                    <a:pt x="324861" y="1166447"/>
                    <a:pt x="329251" y="1162058"/>
                    <a:pt x="335836" y="1162058"/>
                  </a:cubicBezTo>
                  <a:cubicBezTo>
                    <a:pt x="342421" y="1162058"/>
                    <a:pt x="346811" y="1166447"/>
                    <a:pt x="346811" y="1173034"/>
                  </a:cubicBezTo>
                  <a:cubicBezTo>
                    <a:pt x="346811" y="1179617"/>
                    <a:pt x="342421" y="1184007"/>
                    <a:pt x="335836" y="1184007"/>
                  </a:cubicBezTo>
                  <a:close/>
                  <a:moveTo>
                    <a:pt x="632161" y="1186210"/>
                  </a:moveTo>
                  <a:cubicBezTo>
                    <a:pt x="625576" y="1186210"/>
                    <a:pt x="618991" y="1179626"/>
                    <a:pt x="618991" y="1173040"/>
                  </a:cubicBezTo>
                  <a:cubicBezTo>
                    <a:pt x="618991" y="1166456"/>
                    <a:pt x="625576" y="1159871"/>
                    <a:pt x="632161" y="1159871"/>
                  </a:cubicBezTo>
                  <a:cubicBezTo>
                    <a:pt x="638746" y="1159871"/>
                    <a:pt x="645332" y="1166456"/>
                    <a:pt x="645332" y="1173040"/>
                  </a:cubicBezTo>
                  <a:cubicBezTo>
                    <a:pt x="645332" y="1181820"/>
                    <a:pt x="638746" y="1186210"/>
                    <a:pt x="632161" y="1186210"/>
                  </a:cubicBezTo>
                  <a:close/>
                  <a:moveTo>
                    <a:pt x="1073357" y="1243268"/>
                  </a:moveTo>
                  <a:cubicBezTo>
                    <a:pt x="1071162" y="1243268"/>
                    <a:pt x="1068967" y="1243268"/>
                    <a:pt x="1068967" y="1238878"/>
                  </a:cubicBezTo>
                  <a:cubicBezTo>
                    <a:pt x="1068967" y="1236683"/>
                    <a:pt x="1071162" y="1234489"/>
                    <a:pt x="1073357" y="1234489"/>
                  </a:cubicBezTo>
                  <a:cubicBezTo>
                    <a:pt x="1075553" y="1234489"/>
                    <a:pt x="1077747" y="1236683"/>
                    <a:pt x="1077747" y="1238878"/>
                  </a:cubicBezTo>
                  <a:cubicBezTo>
                    <a:pt x="1077747" y="1241072"/>
                    <a:pt x="1075553" y="1243268"/>
                    <a:pt x="1073357" y="1243268"/>
                  </a:cubicBezTo>
                  <a:close/>
                  <a:moveTo>
                    <a:pt x="184380" y="1247655"/>
                  </a:moveTo>
                  <a:cubicBezTo>
                    <a:pt x="179990" y="1247655"/>
                    <a:pt x="175600" y="1245460"/>
                    <a:pt x="175600" y="1238875"/>
                  </a:cubicBezTo>
                  <a:cubicBezTo>
                    <a:pt x="175600" y="1234486"/>
                    <a:pt x="179990" y="1230096"/>
                    <a:pt x="184380" y="1230096"/>
                  </a:cubicBezTo>
                  <a:cubicBezTo>
                    <a:pt x="188770" y="1230096"/>
                    <a:pt x="193160" y="1234486"/>
                    <a:pt x="193160" y="1238875"/>
                  </a:cubicBezTo>
                  <a:cubicBezTo>
                    <a:pt x="193160" y="1243264"/>
                    <a:pt x="188770" y="1247655"/>
                    <a:pt x="184380" y="1247655"/>
                  </a:cubicBezTo>
                  <a:close/>
                  <a:moveTo>
                    <a:pt x="777032" y="1249851"/>
                  </a:moveTo>
                  <a:cubicBezTo>
                    <a:pt x="772642" y="1249851"/>
                    <a:pt x="768252" y="1245464"/>
                    <a:pt x="768252" y="1241072"/>
                  </a:cubicBezTo>
                  <a:cubicBezTo>
                    <a:pt x="768252" y="1236683"/>
                    <a:pt x="772642" y="1232294"/>
                    <a:pt x="777032" y="1232294"/>
                  </a:cubicBezTo>
                  <a:cubicBezTo>
                    <a:pt x="781422" y="1232294"/>
                    <a:pt x="785812" y="1236683"/>
                    <a:pt x="785812" y="1241072"/>
                  </a:cubicBezTo>
                  <a:cubicBezTo>
                    <a:pt x="785812" y="1245464"/>
                    <a:pt x="781422" y="1249851"/>
                    <a:pt x="777032" y="1249851"/>
                  </a:cubicBezTo>
                  <a:close/>
                  <a:moveTo>
                    <a:pt x="480706" y="1252047"/>
                  </a:moveTo>
                  <a:cubicBezTo>
                    <a:pt x="474122" y="1252047"/>
                    <a:pt x="467536" y="1247658"/>
                    <a:pt x="467536" y="1238878"/>
                  </a:cubicBezTo>
                  <a:cubicBezTo>
                    <a:pt x="467536" y="1232294"/>
                    <a:pt x="474122" y="1225707"/>
                    <a:pt x="480706" y="1225707"/>
                  </a:cubicBezTo>
                  <a:cubicBezTo>
                    <a:pt x="487291" y="1225707"/>
                    <a:pt x="493877" y="1232294"/>
                    <a:pt x="493877" y="1238878"/>
                  </a:cubicBezTo>
                  <a:cubicBezTo>
                    <a:pt x="493877" y="1245464"/>
                    <a:pt x="487291" y="1252047"/>
                    <a:pt x="480706" y="1252047"/>
                  </a:cubicBezTo>
                  <a:close/>
                  <a:moveTo>
                    <a:pt x="1220423" y="1309118"/>
                  </a:moveTo>
                  <a:cubicBezTo>
                    <a:pt x="1218228" y="1309118"/>
                    <a:pt x="1218228" y="1306923"/>
                    <a:pt x="1218228" y="1306923"/>
                  </a:cubicBezTo>
                  <a:cubicBezTo>
                    <a:pt x="1218228" y="1306923"/>
                    <a:pt x="1218228" y="1304729"/>
                    <a:pt x="1220423" y="1304729"/>
                  </a:cubicBezTo>
                  <a:cubicBezTo>
                    <a:pt x="1220423" y="1304729"/>
                    <a:pt x="1222618" y="1306923"/>
                    <a:pt x="1222618" y="1306923"/>
                  </a:cubicBezTo>
                  <a:cubicBezTo>
                    <a:pt x="1222618" y="1306923"/>
                    <a:pt x="1222618" y="1309118"/>
                    <a:pt x="1220423" y="1309118"/>
                  </a:cubicBezTo>
                  <a:close/>
                  <a:moveTo>
                    <a:pt x="924097" y="1313508"/>
                  </a:moveTo>
                  <a:cubicBezTo>
                    <a:pt x="919707" y="1313508"/>
                    <a:pt x="917512" y="1311314"/>
                    <a:pt x="917512" y="1306923"/>
                  </a:cubicBezTo>
                  <a:cubicBezTo>
                    <a:pt x="917512" y="1304729"/>
                    <a:pt x="919707" y="1300336"/>
                    <a:pt x="924097" y="1300336"/>
                  </a:cubicBezTo>
                  <a:cubicBezTo>
                    <a:pt x="926292" y="1300336"/>
                    <a:pt x="930682" y="1302532"/>
                    <a:pt x="930682" y="1306923"/>
                  </a:cubicBezTo>
                  <a:cubicBezTo>
                    <a:pt x="930682" y="1309118"/>
                    <a:pt x="928487" y="1313508"/>
                    <a:pt x="924097" y="1313508"/>
                  </a:cubicBezTo>
                  <a:close/>
                  <a:moveTo>
                    <a:pt x="331446" y="1317896"/>
                  </a:moveTo>
                  <a:cubicBezTo>
                    <a:pt x="327056" y="1317896"/>
                    <a:pt x="320471" y="1311312"/>
                    <a:pt x="320471" y="1306921"/>
                  </a:cubicBezTo>
                  <a:cubicBezTo>
                    <a:pt x="320471" y="1300336"/>
                    <a:pt x="324861" y="1295947"/>
                    <a:pt x="331446" y="1295947"/>
                  </a:cubicBezTo>
                  <a:cubicBezTo>
                    <a:pt x="338031" y="1295947"/>
                    <a:pt x="342421" y="1300336"/>
                    <a:pt x="342421" y="1306921"/>
                  </a:cubicBezTo>
                  <a:cubicBezTo>
                    <a:pt x="342421" y="1313508"/>
                    <a:pt x="338031" y="1317896"/>
                    <a:pt x="331446" y="1317896"/>
                  </a:cubicBezTo>
                  <a:close/>
                  <a:moveTo>
                    <a:pt x="627771" y="1322289"/>
                  </a:moveTo>
                  <a:cubicBezTo>
                    <a:pt x="618991" y="1322289"/>
                    <a:pt x="612407" y="1315704"/>
                    <a:pt x="612407" y="1306923"/>
                  </a:cubicBezTo>
                  <a:cubicBezTo>
                    <a:pt x="612407" y="1298144"/>
                    <a:pt x="618991" y="1291557"/>
                    <a:pt x="627771" y="1291557"/>
                  </a:cubicBezTo>
                  <a:cubicBezTo>
                    <a:pt x="636551" y="1291557"/>
                    <a:pt x="643136" y="1298144"/>
                    <a:pt x="643136" y="1306923"/>
                  </a:cubicBezTo>
                  <a:cubicBezTo>
                    <a:pt x="643136" y="1315704"/>
                    <a:pt x="636551" y="1322289"/>
                    <a:pt x="627771" y="1322289"/>
                  </a:cubicBezTo>
                  <a:close/>
                  <a:moveTo>
                    <a:pt x="1073357" y="1374967"/>
                  </a:moveTo>
                  <a:cubicBezTo>
                    <a:pt x="1071162" y="1374967"/>
                    <a:pt x="1071162" y="1374967"/>
                    <a:pt x="1071162" y="1372772"/>
                  </a:cubicBezTo>
                  <a:cubicBezTo>
                    <a:pt x="1071162" y="1372772"/>
                    <a:pt x="1071162" y="1370577"/>
                    <a:pt x="1073357" y="1370577"/>
                  </a:cubicBezTo>
                  <a:cubicBezTo>
                    <a:pt x="1073357" y="1370577"/>
                    <a:pt x="1075553" y="1370577"/>
                    <a:pt x="1075553" y="1372772"/>
                  </a:cubicBezTo>
                  <a:cubicBezTo>
                    <a:pt x="1075553" y="1372772"/>
                    <a:pt x="1075553" y="1374967"/>
                    <a:pt x="1073357" y="1374967"/>
                  </a:cubicBezTo>
                  <a:close/>
                  <a:moveTo>
                    <a:pt x="184380" y="1383745"/>
                  </a:moveTo>
                  <a:cubicBezTo>
                    <a:pt x="179990" y="1383745"/>
                    <a:pt x="175600" y="1379355"/>
                    <a:pt x="173405" y="1372769"/>
                  </a:cubicBezTo>
                  <a:cubicBezTo>
                    <a:pt x="173405" y="1366183"/>
                    <a:pt x="177795" y="1361794"/>
                    <a:pt x="184380" y="1361794"/>
                  </a:cubicBezTo>
                  <a:cubicBezTo>
                    <a:pt x="190966" y="1361794"/>
                    <a:pt x="195356" y="1366183"/>
                    <a:pt x="195356" y="1372769"/>
                  </a:cubicBezTo>
                  <a:cubicBezTo>
                    <a:pt x="195356" y="1379355"/>
                    <a:pt x="190966" y="1383745"/>
                    <a:pt x="184380" y="1383745"/>
                  </a:cubicBezTo>
                  <a:close/>
                  <a:moveTo>
                    <a:pt x="777032" y="1383748"/>
                  </a:moveTo>
                  <a:cubicBezTo>
                    <a:pt x="772642" y="1383748"/>
                    <a:pt x="766057" y="1379358"/>
                    <a:pt x="766057" y="1372772"/>
                  </a:cubicBezTo>
                  <a:cubicBezTo>
                    <a:pt x="766057" y="1366187"/>
                    <a:pt x="770447" y="1361796"/>
                    <a:pt x="777032" y="1361796"/>
                  </a:cubicBezTo>
                  <a:cubicBezTo>
                    <a:pt x="783617" y="1361796"/>
                    <a:pt x="788007" y="1366187"/>
                    <a:pt x="788007" y="1372772"/>
                  </a:cubicBezTo>
                  <a:cubicBezTo>
                    <a:pt x="788007" y="1379358"/>
                    <a:pt x="783617" y="1383748"/>
                    <a:pt x="777032" y="1383748"/>
                  </a:cubicBezTo>
                  <a:close/>
                  <a:moveTo>
                    <a:pt x="480706" y="1385943"/>
                  </a:moveTo>
                  <a:cubicBezTo>
                    <a:pt x="474122" y="1385943"/>
                    <a:pt x="469732" y="1379357"/>
                    <a:pt x="467536" y="1372772"/>
                  </a:cubicBezTo>
                  <a:cubicBezTo>
                    <a:pt x="467536" y="1366187"/>
                    <a:pt x="474122" y="1359601"/>
                    <a:pt x="480706" y="1359601"/>
                  </a:cubicBezTo>
                  <a:cubicBezTo>
                    <a:pt x="487291" y="1359601"/>
                    <a:pt x="493877" y="1366187"/>
                    <a:pt x="493877" y="1372772"/>
                  </a:cubicBezTo>
                  <a:cubicBezTo>
                    <a:pt x="493877" y="1379357"/>
                    <a:pt x="487291" y="1385943"/>
                    <a:pt x="480706" y="1385943"/>
                  </a:cubicBezTo>
                  <a:close/>
                  <a:moveTo>
                    <a:pt x="1224813" y="1443018"/>
                  </a:moveTo>
                  <a:cubicBezTo>
                    <a:pt x="1222618" y="1443018"/>
                    <a:pt x="1220423" y="1440822"/>
                    <a:pt x="1220423" y="1438627"/>
                  </a:cubicBezTo>
                  <a:cubicBezTo>
                    <a:pt x="1220423" y="1436431"/>
                    <a:pt x="1222618" y="1434235"/>
                    <a:pt x="1224813" y="1434235"/>
                  </a:cubicBezTo>
                  <a:cubicBezTo>
                    <a:pt x="1227008" y="1434235"/>
                    <a:pt x="1229203" y="1436431"/>
                    <a:pt x="1229203" y="1438627"/>
                  </a:cubicBezTo>
                  <a:cubicBezTo>
                    <a:pt x="1229203" y="1440822"/>
                    <a:pt x="1227008" y="1443018"/>
                    <a:pt x="1224813" y="1443018"/>
                  </a:cubicBezTo>
                  <a:close/>
                  <a:moveTo>
                    <a:pt x="928488" y="1447408"/>
                  </a:moveTo>
                  <a:cubicBezTo>
                    <a:pt x="924098" y="1447408"/>
                    <a:pt x="921902" y="1443018"/>
                    <a:pt x="919708" y="1438627"/>
                  </a:cubicBezTo>
                  <a:cubicBezTo>
                    <a:pt x="919708" y="1434235"/>
                    <a:pt x="924098" y="1429847"/>
                    <a:pt x="928488" y="1429847"/>
                  </a:cubicBezTo>
                  <a:cubicBezTo>
                    <a:pt x="932878" y="1429847"/>
                    <a:pt x="937268" y="1434235"/>
                    <a:pt x="937268" y="1438627"/>
                  </a:cubicBezTo>
                  <a:cubicBezTo>
                    <a:pt x="937268" y="1443018"/>
                    <a:pt x="932878" y="1447408"/>
                    <a:pt x="928488" y="1447408"/>
                  </a:cubicBezTo>
                  <a:close/>
                  <a:moveTo>
                    <a:pt x="335836" y="1449601"/>
                  </a:moveTo>
                  <a:cubicBezTo>
                    <a:pt x="329774" y="1449601"/>
                    <a:pt x="324861" y="1444687"/>
                    <a:pt x="324861" y="1438625"/>
                  </a:cubicBezTo>
                  <a:cubicBezTo>
                    <a:pt x="324861" y="1432563"/>
                    <a:pt x="329774" y="1427650"/>
                    <a:pt x="335836" y="1427650"/>
                  </a:cubicBezTo>
                  <a:cubicBezTo>
                    <a:pt x="341897" y="1427650"/>
                    <a:pt x="346811" y="1432563"/>
                    <a:pt x="346811" y="1438625"/>
                  </a:cubicBezTo>
                  <a:cubicBezTo>
                    <a:pt x="346811" y="1444687"/>
                    <a:pt x="341897" y="1449601"/>
                    <a:pt x="335836" y="1449601"/>
                  </a:cubicBezTo>
                  <a:close/>
                  <a:moveTo>
                    <a:pt x="632161" y="1453993"/>
                  </a:moveTo>
                  <a:cubicBezTo>
                    <a:pt x="623381" y="1453993"/>
                    <a:pt x="616797" y="1447408"/>
                    <a:pt x="616797" y="1438627"/>
                  </a:cubicBezTo>
                  <a:cubicBezTo>
                    <a:pt x="616797" y="1429847"/>
                    <a:pt x="623381" y="1423261"/>
                    <a:pt x="632161" y="1423261"/>
                  </a:cubicBezTo>
                  <a:cubicBezTo>
                    <a:pt x="640941" y="1423261"/>
                    <a:pt x="647526" y="1429847"/>
                    <a:pt x="647526" y="1438627"/>
                  </a:cubicBezTo>
                  <a:cubicBezTo>
                    <a:pt x="647526" y="1447408"/>
                    <a:pt x="640941" y="1453993"/>
                    <a:pt x="632161" y="1453993"/>
                  </a:cubicBezTo>
                  <a:close/>
                  <a:moveTo>
                    <a:pt x="1380658" y="1508871"/>
                  </a:moveTo>
                  <a:cubicBezTo>
                    <a:pt x="1378462" y="1508871"/>
                    <a:pt x="1378462" y="1506674"/>
                    <a:pt x="1378462" y="1506674"/>
                  </a:cubicBezTo>
                  <a:cubicBezTo>
                    <a:pt x="1378462" y="1506674"/>
                    <a:pt x="1378462" y="1504479"/>
                    <a:pt x="1380658" y="1504479"/>
                  </a:cubicBezTo>
                  <a:cubicBezTo>
                    <a:pt x="1380658" y="1504479"/>
                    <a:pt x="1382853" y="1504479"/>
                    <a:pt x="1382853" y="1506674"/>
                  </a:cubicBezTo>
                  <a:cubicBezTo>
                    <a:pt x="1382853" y="1506674"/>
                    <a:pt x="1382853" y="1508871"/>
                    <a:pt x="1380658" y="1508871"/>
                  </a:cubicBezTo>
                  <a:close/>
                  <a:moveTo>
                    <a:pt x="1082137" y="1511065"/>
                  </a:moveTo>
                  <a:cubicBezTo>
                    <a:pt x="1079943" y="1511065"/>
                    <a:pt x="1077747" y="1508871"/>
                    <a:pt x="1077747" y="1506674"/>
                  </a:cubicBezTo>
                  <a:cubicBezTo>
                    <a:pt x="1077747" y="1504479"/>
                    <a:pt x="1079943" y="1502284"/>
                    <a:pt x="1082137" y="1502284"/>
                  </a:cubicBezTo>
                  <a:cubicBezTo>
                    <a:pt x="1084333" y="1502284"/>
                    <a:pt x="1086527" y="1504479"/>
                    <a:pt x="1086527" y="1506674"/>
                  </a:cubicBezTo>
                  <a:cubicBezTo>
                    <a:pt x="1086527" y="1508871"/>
                    <a:pt x="1084333" y="1511065"/>
                    <a:pt x="1082137" y="1511065"/>
                  </a:cubicBezTo>
                  <a:close/>
                  <a:moveTo>
                    <a:pt x="785812" y="1515453"/>
                  </a:moveTo>
                  <a:cubicBezTo>
                    <a:pt x="779227" y="1515453"/>
                    <a:pt x="774837" y="1511065"/>
                    <a:pt x="774837" y="1504479"/>
                  </a:cubicBezTo>
                  <a:cubicBezTo>
                    <a:pt x="774837" y="1497894"/>
                    <a:pt x="779227" y="1493504"/>
                    <a:pt x="785812" y="1493504"/>
                  </a:cubicBezTo>
                  <a:cubicBezTo>
                    <a:pt x="792397" y="1493504"/>
                    <a:pt x="796787" y="1497894"/>
                    <a:pt x="796787" y="1504479"/>
                  </a:cubicBezTo>
                  <a:cubicBezTo>
                    <a:pt x="796787" y="1511065"/>
                    <a:pt x="792397" y="1515453"/>
                    <a:pt x="785812" y="1515453"/>
                  </a:cubicBezTo>
                  <a:close/>
                  <a:moveTo>
                    <a:pt x="487291" y="1519845"/>
                  </a:moveTo>
                  <a:cubicBezTo>
                    <a:pt x="480706" y="1519845"/>
                    <a:pt x="474122" y="1513259"/>
                    <a:pt x="474122" y="1506673"/>
                  </a:cubicBezTo>
                  <a:cubicBezTo>
                    <a:pt x="474122" y="1500088"/>
                    <a:pt x="480706" y="1493504"/>
                    <a:pt x="487291" y="1493504"/>
                  </a:cubicBezTo>
                  <a:cubicBezTo>
                    <a:pt x="493877" y="1493504"/>
                    <a:pt x="500461" y="1500088"/>
                    <a:pt x="500461" y="1506673"/>
                  </a:cubicBezTo>
                  <a:cubicBezTo>
                    <a:pt x="500461" y="1513259"/>
                    <a:pt x="493877" y="1519845"/>
                    <a:pt x="487291" y="1519845"/>
                  </a:cubicBezTo>
                  <a:close/>
                  <a:moveTo>
                    <a:pt x="190966" y="1522037"/>
                  </a:moveTo>
                  <a:cubicBezTo>
                    <a:pt x="182185" y="1522037"/>
                    <a:pt x="175600" y="1513258"/>
                    <a:pt x="175600" y="1506672"/>
                  </a:cubicBezTo>
                  <a:cubicBezTo>
                    <a:pt x="175600" y="1497891"/>
                    <a:pt x="182185" y="1491306"/>
                    <a:pt x="190966" y="1491306"/>
                  </a:cubicBezTo>
                  <a:cubicBezTo>
                    <a:pt x="199745" y="1491306"/>
                    <a:pt x="206330" y="1497891"/>
                    <a:pt x="206330" y="1506672"/>
                  </a:cubicBezTo>
                  <a:cubicBezTo>
                    <a:pt x="206330" y="1515452"/>
                    <a:pt x="199745" y="1522037"/>
                    <a:pt x="190966" y="1522037"/>
                  </a:cubicBezTo>
                  <a:close/>
                  <a:moveTo>
                    <a:pt x="48291" y="1574711"/>
                  </a:moveTo>
                  <a:cubicBezTo>
                    <a:pt x="46095" y="1574711"/>
                    <a:pt x="46095" y="1572515"/>
                    <a:pt x="46095" y="1572515"/>
                  </a:cubicBezTo>
                  <a:cubicBezTo>
                    <a:pt x="46095" y="1572515"/>
                    <a:pt x="46095" y="1570320"/>
                    <a:pt x="48291" y="1570320"/>
                  </a:cubicBezTo>
                  <a:cubicBezTo>
                    <a:pt x="48291" y="1570320"/>
                    <a:pt x="50485" y="1570320"/>
                    <a:pt x="50485" y="1572515"/>
                  </a:cubicBezTo>
                  <a:cubicBezTo>
                    <a:pt x="50485" y="1572515"/>
                    <a:pt x="50485" y="1574711"/>
                    <a:pt x="48291" y="1574711"/>
                  </a:cubicBezTo>
                  <a:close/>
                  <a:moveTo>
                    <a:pt x="1240178" y="1574718"/>
                  </a:moveTo>
                  <a:cubicBezTo>
                    <a:pt x="1237983" y="1574718"/>
                    <a:pt x="1235788" y="1572522"/>
                    <a:pt x="1235788" y="1570330"/>
                  </a:cubicBezTo>
                  <a:cubicBezTo>
                    <a:pt x="1235788" y="1568132"/>
                    <a:pt x="1237983" y="1565939"/>
                    <a:pt x="1240178" y="1565939"/>
                  </a:cubicBezTo>
                  <a:cubicBezTo>
                    <a:pt x="1242373" y="1565939"/>
                    <a:pt x="1244568" y="1568132"/>
                    <a:pt x="1244568" y="1570330"/>
                  </a:cubicBezTo>
                  <a:cubicBezTo>
                    <a:pt x="1244568" y="1572522"/>
                    <a:pt x="1242373" y="1574718"/>
                    <a:pt x="1240178" y="1574718"/>
                  </a:cubicBezTo>
                  <a:close/>
                  <a:moveTo>
                    <a:pt x="941658" y="1581301"/>
                  </a:moveTo>
                  <a:cubicBezTo>
                    <a:pt x="935072" y="1581301"/>
                    <a:pt x="930682" y="1576913"/>
                    <a:pt x="930682" y="1570330"/>
                  </a:cubicBezTo>
                  <a:cubicBezTo>
                    <a:pt x="930682" y="1563744"/>
                    <a:pt x="935072" y="1559352"/>
                    <a:pt x="941658" y="1559352"/>
                  </a:cubicBezTo>
                  <a:cubicBezTo>
                    <a:pt x="948243" y="1559352"/>
                    <a:pt x="952633" y="1563744"/>
                    <a:pt x="952633" y="1570330"/>
                  </a:cubicBezTo>
                  <a:cubicBezTo>
                    <a:pt x="952633" y="1576913"/>
                    <a:pt x="948243" y="1581301"/>
                    <a:pt x="941658" y="1581301"/>
                  </a:cubicBezTo>
                  <a:close/>
                  <a:moveTo>
                    <a:pt x="344616" y="1583497"/>
                  </a:moveTo>
                  <a:cubicBezTo>
                    <a:pt x="338031" y="1583497"/>
                    <a:pt x="333641" y="1579104"/>
                    <a:pt x="331446" y="1570326"/>
                  </a:cubicBezTo>
                  <a:cubicBezTo>
                    <a:pt x="331446" y="1563740"/>
                    <a:pt x="338031" y="1557157"/>
                    <a:pt x="344616" y="1557157"/>
                  </a:cubicBezTo>
                  <a:cubicBezTo>
                    <a:pt x="351201" y="1557157"/>
                    <a:pt x="357786" y="1563740"/>
                    <a:pt x="357786" y="1570326"/>
                  </a:cubicBezTo>
                  <a:cubicBezTo>
                    <a:pt x="357786" y="1579104"/>
                    <a:pt x="351201" y="1583497"/>
                    <a:pt x="344616" y="1583497"/>
                  </a:cubicBezTo>
                  <a:close/>
                  <a:moveTo>
                    <a:pt x="643136" y="1587890"/>
                  </a:moveTo>
                  <a:cubicBezTo>
                    <a:pt x="634356" y="1587890"/>
                    <a:pt x="627771" y="1581301"/>
                    <a:pt x="627771" y="1572522"/>
                  </a:cubicBezTo>
                  <a:cubicBezTo>
                    <a:pt x="627771" y="1563744"/>
                    <a:pt x="634356" y="1557159"/>
                    <a:pt x="643136" y="1557159"/>
                  </a:cubicBezTo>
                  <a:cubicBezTo>
                    <a:pt x="651916" y="1557159"/>
                    <a:pt x="658502" y="1563744"/>
                    <a:pt x="658502" y="1572522"/>
                  </a:cubicBezTo>
                  <a:cubicBezTo>
                    <a:pt x="658502" y="1581301"/>
                    <a:pt x="651916" y="1587890"/>
                    <a:pt x="643136" y="1587890"/>
                  </a:cubicBezTo>
                  <a:close/>
                  <a:moveTo>
                    <a:pt x="1402608" y="1640569"/>
                  </a:moveTo>
                  <a:cubicBezTo>
                    <a:pt x="1400413" y="1640569"/>
                    <a:pt x="1398218" y="1638375"/>
                    <a:pt x="1398218" y="1636179"/>
                  </a:cubicBezTo>
                  <a:cubicBezTo>
                    <a:pt x="1398218" y="1633985"/>
                    <a:pt x="1400413" y="1631790"/>
                    <a:pt x="1402608" y="1631790"/>
                  </a:cubicBezTo>
                  <a:cubicBezTo>
                    <a:pt x="1404803" y="1631790"/>
                    <a:pt x="1406998" y="1633985"/>
                    <a:pt x="1406998" y="1636179"/>
                  </a:cubicBezTo>
                  <a:cubicBezTo>
                    <a:pt x="1406998" y="1638375"/>
                    <a:pt x="1404803" y="1640569"/>
                    <a:pt x="1402608" y="1640569"/>
                  </a:cubicBezTo>
                  <a:close/>
                  <a:moveTo>
                    <a:pt x="1101892" y="1642767"/>
                  </a:moveTo>
                  <a:cubicBezTo>
                    <a:pt x="1097502" y="1642767"/>
                    <a:pt x="1095307" y="1640569"/>
                    <a:pt x="1095307" y="1636179"/>
                  </a:cubicBezTo>
                  <a:cubicBezTo>
                    <a:pt x="1095307" y="1631790"/>
                    <a:pt x="1097502" y="1629595"/>
                    <a:pt x="1101892" y="1629595"/>
                  </a:cubicBezTo>
                  <a:cubicBezTo>
                    <a:pt x="1106282" y="1629595"/>
                    <a:pt x="1108478" y="1633985"/>
                    <a:pt x="1108478" y="1636179"/>
                  </a:cubicBezTo>
                  <a:cubicBezTo>
                    <a:pt x="1108478" y="1640569"/>
                    <a:pt x="1104088" y="1642767"/>
                    <a:pt x="1101892" y="1642767"/>
                  </a:cubicBezTo>
                  <a:close/>
                  <a:moveTo>
                    <a:pt x="801177" y="1647154"/>
                  </a:moveTo>
                  <a:cubicBezTo>
                    <a:pt x="794592" y="1647154"/>
                    <a:pt x="790202" y="1642767"/>
                    <a:pt x="790202" y="1636179"/>
                  </a:cubicBezTo>
                  <a:cubicBezTo>
                    <a:pt x="790202" y="1629595"/>
                    <a:pt x="794592" y="1625205"/>
                    <a:pt x="801177" y="1625205"/>
                  </a:cubicBezTo>
                  <a:cubicBezTo>
                    <a:pt x="807762" y="1625205"/>
                    <a:pt x="812152" y="1629595"/>
                    <a:pt x="812152" y="1636179"/>
                  </a:cubicBezTo>
                  <a:cubicBezTo>
                    <a:pt x="812152" y="1642767"/>
                    <a:pt x="807762" y="1647154"/>
                    <a:pt x="801177" y="1647154"/>
                  </a:cubicBezTo>
                  <a:close/>
                  <a:moveTo>
                    <a:pt x="204135" y="1653735"/>
                  </a:moveTo>
                  <a:cubicBezTo>
                    <a:pt x="195356" y="1653735"/>
                    <a:pt x="188770" y="1647151"/>
                    <a:pt x="188770" y="1638372"/>
                  </a:cubicBezTo>
                  <a:cubicBezTo>
                    <a:pt x="188770" y="1629591"/>
                    <a:pt x="195356" y="1623006"/>
                    <a:pt x="204135" y="1623006"/>
                  </a:cubicBezTo>
                  <a:cubicBezTo>
                    <a:pt x="212915" y="1623006"/>
                    <a:pt x="219501" y="1629591"/>
                    <a:pt x="219501" y="1638372"/>
                  </a:cubicBezTo>
                  <a:cubicBezTo>
                    <a:pt x="219501" y="1647151"/>
                    <a:pt x="212915" y="1653735"/>
                    <a:pt x="204135" y="1653735"/>
                  </a:cubicBezTo>
                  <a:close/>
                  <a:moveTo>
                    <a:pt x="502657" y="1653740"/>
                  </a:moveTo>
                  <a:cubicBezTo>
                    <a:pt x="491681" y="1653740"/>
                    <a:pt x="485096" y="1647154"/>
                    <a:pt x="485096" y="1638375"/>
                  </a:cubicBezTo>
                  <a:cubicBezTo>
                    <a:pt x="485096" y="1629595"/>
                    <a:pt x="493877" y="1620814"/>
                    <a:pt x="502657" y="1620814"/>
                  </a:cubicBezTo>
                  <a:cubicBezTo>
                    <a:pt x="511437" y="1620814"/>
                    <a:pt x="520217" y="1627400"/>
                    <a:pt x="520217" y="1636179"/>
                  </a:cubicBezTo>
                  <a:cubicBezTo>
                    <a:pt x="520217" y="1644960"/>
                    <a:pt x="511437" y="1653740"/>
                    <a:pt x="502657" y="1653740"/>
                  </a:cubicBezTo>
                  <a:close/>
                  <a:moveTo>
                    <a:pt x="1264323" y="1706417"/>
                  </a:moveTo>
                  <a:cubicBezTo>
                    <a:pt x="1262128" y="1706417"/>
                    <a:pt x="1259933" y="1704223"/>
                    <a:pt x="1259933" y="1702029"/>
                  </a:cubicBezTo>
                  <a:cubicBezTo>
                    <a:pt x="1259933" y="1699834"/>
                    <a:pt x="1262128" y="1697638"/>
                    <a:pt x="1264323" y="1697638"/>
                  </a:cubicBezTo>
                  <a:cubicBezTo>
                    <a:pt x="1266518" y="1697638"/>
                    <a:pt x="1268713" y="1699834"/>
                    <a:pt x="1268713" y="1702029"/>
                  </a:cubicBezTo>
                  <a:cubicBezTo>
                    <a:pt x="1268713" y="1704223"/>
                    <a:pt x="1266518" y="1706417"/>
                    <a:pt x="1264323" y="1706417"/>
                  </a:cubicBezTo>
                  <a:close/>
                  <a:moveTo>
                    <a:pt x="63656" y="1708606"/>
                  </a:moveTo>
                  <a:cubicBezTo>
                    <a:pt x="61460" y="1708606"/>
                    <a:pt x="59265" y="1706412"/>
                    <a:pt x="59265" y="1704216"/>
                  </a:cubicBezTo>
                  <a:cubicBezTo>
                    <a:pt x="59265" y="1702021"/>
                    <a:pt x="61460" y="1699826"/>
                    <a:pt x="63656" y="1699826"/>
                  </a:cubicBezTo>
                  <a:cubicBezTo>
                    <a:pt x="65850" y="1699826"/>
                    <a:pt x="68046" y="1702021"/>
                    <a:pt x="68046" y="1704216"/>
                  </a:cubicBezTo>
                  <a:cubicBezTo>
                    <a:pt x="68046" y="1706412"/>
                    <a:pt x="65850" y="1708606"/>
                    <a:pt x="63656" y="1708606"/>
                  </a:cubicBezTo>
                  <a:close/>
                  <a:moveTo>
                    <a:pt x="963607" y="1710809"/>
                  </a:moveTo>
                  <a:cubicBezTo>
                    <a:pt x="958758" y="1710809"/>
                    <a:pt x="954827" y="1706878"/>
                    <a:pt x="954827" y="1702029"/>
                  </a:cubicBezTo>
                  <a:cubicBezTo>
                    <a:pt x="954827" y="1697180"/>
                    <a:pt x="958758" y="1693250"/>
                    <a:pt x="963607" y="1693250"/>
                  </a:cubicBezTo>
                  <a:cubicBezTo>
                    <a:pt x="968456" y="1693250"/>
                    <a:pt x="972387" y="1697180"/>
                    <a:pt x="972387" y="1702029"/>
                  </a:cubicBezTo>
                  <a:cubicBezTo>
                    <a:pt x="972387" y="1706878"/>
                    <a:pt x="968456" y="1710809"/>
                    <a:pt x="963607" y="1710809"/>
                  </a:cubicBezTo>
                  <a:close/>
                  <a:moveTo>
                    <a:pt x="362176" y="1715196"/>
                  </a:moveTo>
                  <a:cubicBezTo>
                    <a:pt x="356115" y="1715196"/>
                    <a:pt x="351201" y="1710283"/>
                    <a:pt x="351201" y="1704223"/>
                  </a:cubicBezTo>
                  <a:cubicBezTo>
                    <a:pt x="351201" y="1698161"/>
                    <a:pt x="356115" y="1693247"/>
                    <a:pt x="362176" y="1693247"/>
                  </a:cubicBezTo>
                  <a:cubicBezTo>
                    <a:pt x="368237" y="1693247"/>
                    <a:pt x="373151" y="1698161"/>
                    <a:pt x="373151" y="1704223"/>
                  </a:cubicBezTo>
                  <a:cubicBezTo>
                    <a:pt x="373151" y="1710283"/>
                    <a:pt x="368237" y="1715196"/>
                    <a:pt x="362176" y="1715196"/>
                  </a:cubicBezTo>
                  <a:close/>
                  <a:moveTo>
                    <a:pt x="662892" y="1719588"/>
                  </a:moveTo>
                  <a:cubicBezTo>
                    <a:pt x="654112" y="1719588"/>
                    <a:pt x="645332" y="1710809"/>
                    <a:pt x="647526" y="1704223"/>
                  </a:cubicBezTo>
                  <a:cubicBezTo>
                    <a:pt x="647526" y="1695445"/>
                    <a:pt x="654112" y="1688860"/>
                    <a:pt x="662892" y="1688860"/>
                  </a:cubicBezTo>
                  <a:cubicBezTo>
                    <a:pt x="671671" y="1688860"/>
                    <a:pt x="678257" y="1695445"/>
                    <a:pt x="678257" y="1704223"/>
                  </a:cubicBezTo>
                  <a:cubicBezTo>
                    <a:pt x="678257" y="1713004"/>
                    <a:pt x="671671" y="1719588"/>
                    <a:pt x="662892" y="1719588"/>
                  </a:cubicBezTo>
                  <a:close/>
                  <a:moveTo>
                    <a:pt x="1435533" y="1767878"/>
                  </a:moveTo>
                  <a:cubicBezTo>
                    <a:pt x="1433338" y="1767878"/>
                    <a:pt x="1431143" y="1765682"/>
                    <a:pt x="1431143" y="1763487"/>
                  </a:cubicBezTo>
                  <a:cubicBezTo>
                    <a:pt x="1431143" y="1761292"/>
                    <a:pt x="1433338" y="1759098"/>
                    <a:pt x="1435533" y="1759098"/>
                  </a:cubicBezTo>
                  <a:cubicBezTo>
                    <a:pt x="1437728" y="1759098"/>
                    <a:pt x="1439923" y="1761292"/>
                    <a:pt x="1439923" y="1763487"/>
                  </a:cubicBezTo>
                  <a:cubicBezTo>
                    <a:pt x="1439923" y="1765682"/>
                    <a:pt x="1437728" y="1767878"/>
                    <a:pt x="1435533" y="1767878"/>
                  </a:cubicBezTo>
                  <a:close/>
                  <a:moveTo>
                    <a:pt x="1128232" y="1772266"/>
                  </a:moveTo>
                  <a:cubicBezTo>
                    <a:pt x="1126038" y="1772266"/>
                    <a:pt x="1121648" y="1770071"/>
                    <a:pt x="1121648" y="1765682"/>
                  </a:cubicBezTo>
                  <a:cubicBezTo>
                    <a:pt x="1121648" y="1761292"/>
                    <a:pt x="1123842" y="1759098"/>
                    <a:pt x="1128232" y="1759098"/>
                  </a:cubicBezTo>
                  <a:cubicBezTo>
                    <a:pt x="1132623" y="1759098"/>
                    <a:pt x="1134817" y="1761292"/>
                    <a:pt x="1134817" y="1765682"/>
                  </a:cubicBezTo>
                  <a:cubicBezTo>
                    <a:pt x="1134817" y="1770071"/>
                    <a:pt x="1130428" y="1772266"/>
                    <a:pt x="1128232" y="1772266"/>
                  </a:cubicBezTo>
                  <a:close/>
                  <a:moveTo>
                    <a:pt x="825322" y="1778852"/>
                  </a:moveTo>
                  <a:cubicBezTo>
                    <a:pt x="818737" y="1778852"/>
                    <a:pt x="814347" y="1774462"/>
                    <a:pt x="814347" y="1767878"/>
                  </a:cubicBezTo>
                  <a:cubicBezTo>
                    <a:pt x="814347" y="1761292"/>
                    <a:pt x="818737" y="1756902"/>
                    <a:pt x="825322" y="1756902"/>
                  </a:cubicBezTo>
                  <a:cubicBezTo>
                    <a:pt x="831907" y="1756902"/>
                    <a:pt x="836297" y="1761292"/>
                    <a:pt x="836297" y="1767878"/>
                  </a:cubicBezTo>
                  <a:cubicBezTo>
                    <a:pt x="836297" y="1774462"/>
                    <a:pt x="831907" y="1778852"/>
                    <a:pt x="825322" y="1778852"/>
                  </a:cubicBezTo>
                  <a:close/>
                  <a:moveTo>
                    <a:pt x="522412" y="1781047"/>
                  </a:moveTo>
                  <a:cubicBezTo>
                    <a:pt x="515827" y="1781047"/>
                    <a:pt x="511437" y="1774462"/>
                    <a:pt x="509241" y="1767878"/>
                  </a:cubicBezTo>
                  <a:cubicBezTo>
                    <a:pt x="509241" y="1761292"/>
                    <a:pt x="515827" y="1754706"/>
                    <a:pt x="522412" y="1754706"/>
                  </a:cubicBezTo>
                  <a:cubicBezTo>
                    <a:pt x="528996" y="1754706"/>
                    <a:pt x="535582" y="1761292"/>
                    <a:pt x="535582" y="1767878"/>
                  </a:cubicBezTo>
                  <a:cubicBezTo>
                    <a:pt x="535582" y="1774462"/>
                    <a:pt x="528996" y="1781047"/>
                    <a:pt x="522412" y="1781047"/>
                  </a:cubicBezTo>
                  <a:close/>
                  <a:moveTo>
                    <a:pt x="221695" y="1785434"/>
                  </a:moveTo>
                  <a:cubicBezTo>
                    <a:pt x="212915" y="1785434"/>
                    <a:pt x="206330" y="1778850"/>
                    <a:pt x="204135" y="1767874"/>
                  </a:cubicBezTo>
                  <a:cubicBezTo>
                    <a:pt x="204135" y="1759094"/>
                    <a:pt x="212915" y="1750314"/>
                    <a:pt x="221695" y="1750314"/>
                  </a:cubicBezTo>
                  <a:cubicBezTo>
                    <a:pt x="232671" y="1750314"/>
                    <a:pt x="239255" y="1759094"/>
                    <a:pt x="239255" y="1767874"/>
                  </a:cubicBezTo>
                  <a:cubicBezTo>
                    <a:pt x="239255" y="1776654"/>
                    <a:pt x="230475" y="1785434"/>
                    <a:pt x="221695" y="1785434"/>
                  </a:cubicBezTo>
                  <a:close/>
                  <a:moveTo>
                    <a:pt x="1611134" y="1829335"/>
                  </a:moveTo>
                  <a:cubicBezTo>
                    <a:pt x="1608939" y="1829335"/>
                    <a:pt x="1608939" y="1827141"/>
                    <a:pt x="1608939" y="1827141"/>
                  </a:cubicBezTo>
                  <a:cubicBezTo>
                    <a:pt x="1608939" y="1827141"/>
                    <a:pt x="1608939" y="1824945"/>
                    <a:pt x="1611134" y="1824945"/>
                  </a:cubicBezTo>
                  <a:cubicBezTo>
                    <a:pt x="1611134" y="1824945"/>
                    <a:pt x="1613329" y="1824945"/>
                    <a:pt x="1613329" y="1827141"/>
                  </a:cubicBezTo>
                  <a:cubicBezTo>
                    <a:pt x="1613329" y="1827141"/>
                    <a:pt x="1613329" y="1829335"/>
                    <a:pt x="1611134" y="1829335"/>
                  </a:cubicBezTo>
                  <a:close/>
                  <a:moveTo>
                    <a:pt x="1299443" y="1833728"/>
                  </a:moveTo>
                  <a:cubicBezTo>
                    <a:pt x="1297248" y="1833728"/>
                    <a:pt x="1295053" y="1831531"/>
                    <a:pt x="1295053" y="1829335"/>
                  </a:cubicBezTo>
                  <a:cubicBezTo>
                    <a:pt x="1295053" y="1827141"/>
                    <a:pt x="1297248" y="1824945"/>
                    <a:pt x="1299443" y="1824945"/>
                  </a:cubicBezTo>
                  <a:cubicBezTo>
                    <a:pt x="1301638" y="1824945"/>
                    <a:pt x="1303833" y="1827141"/>
                    <a:pt x="1303833" y="1829335"/>
                  </a:cubicBezTo>
                  <a:cubicBezTo>
                    <a:pt x="1303833" y="1831531"/>
                    <a:pt x="1301638" y="1833728"/>
                    <a:pt x="1299443" y="1833728"/>
                  </a:cubicBezTo>
                  <a:close/>
                  <a:moveTo>
                    <a:pt x="83410" y="1840308"/>
                  </a:moveTo>
                  <a:cubicBezTo>
                    <a:pt x="81216" y="1840308"/>
                    <a:pt x="76826" y="1838113"/>
                    <a:pt x="76826" y="1833722"/>
                  </a:cubicBezTo>
                  <a:cubicBezTo>
                    <a:pt x="76826" y="1829332"/>
                    <a:pt x="81216" y="1827136"/>
                    <a:pt x="83410" y="1827136"/>
                  </a:cubicBezTo>
                  <a:cubicBezTo>
                    <a:pt x="87800" y="1827136"/>
                    <a:pt x="89996" y="1831526"/>
                    <a:pt x="89996" y="1833722"/>
                  </a:cubicBezTo>
                  <a:cubicBezTo>
                    <a:pt x="89996" y="1838113"/>
                    <a:pt x="85606" y="1840308"/>
                    <a:pt x="83410" y="1840308"/>
                  </a:cubicBezTo>
                  <a:close/>
                  <a:moveTo>
                    <a:pt x="992142" y="1840312"/>
                  </a:moveTo>
                  <a:cubicBezTo>
                    <a:pt x="987752" y="1840312"/>
                    <a:pt x="983362" y="1838117"/>
                    <a:pt x="983362" y="1831531"/>
                  </a:cubicBezTo>
                  <a:cubicBezTo>
                    <a:pt x="983362" y="1827141"/>
                    <a:pt x="987752" y="1822751"/>
                    <a:pt x="992142" y="1822751"/>
                  </a:cubicBezTo>
                  <a:cubicBezTo>
                    <a:pt x="996532" y="1822751"/>
                    <a:pt x="1000922" y="1827141"/>
                    <a:pt x="1000922" y="1831531"/>
                  </a:cubicBezTo>
                  <a:cubicBezTo>
                    <a:pt x="1000922" y="1835921"/>
                    <a:pt x="996532" y="1840312"/>
                    <a:pt x="992142" y="1840312"/>
                  </a:cubicBezTo>
                  <a:close/>
                  <a:moveTo>
                    <a:pt x="384126" y="1849091"/>
                  </a:moveTo>
                  <a:cubicBezTo>
                    <a:pt x="377541" y="1849091"/>
                    <a:pt x="368761" y="1842507"/>
                    <a:pt x="368761" y="1833725"/>
                  </a:cubicBezTo>
                  <a:cubicBezTo>
                    <a:pt x="368761" y="1824945"/>
                    <a:pt x="375346" y="1818360"/>
                    <a:pt x="384126" y="1818360"/>
                  </a:cubicBezTo>
                  <a:cubicBezTo>
                    <a:pt x="392906" y="1818360"/>
                    <a:pt x="399491" y="1824945"/>
                    <a:pt x="399491" y="1833725"/>
                  </a:cubicBezTo>
                  <a:cubicBezTo>
                    <a:pt x="399491" y="1842507"/>
                    <a:pt x="392906" y="1849091"/>
                    <a:pt x="384126" y="1849091"/>
                  </a:cubicBezTo>
                  <a:close/>
                  <a:moveTo>
                    <a:pt x="687037" y="1851287"/>
                  </a:moveTo>
                  <a:cubicBezTo>
                    <a:pt x="678257" y="1851287"/>
                    <a:pt x="669476" y="1842507"/>
                    <a:pt x="669476" y="1833728"/>
                  </a:cubicBezTo>
                  <a:cubicBezTo>
                    <a:pt x="669476" y="1824945"/>
                    <a:pt x="678257" y="1816165"/>
                    <a:pt x="687037" y="1816165"/>
                  </a:cubicBezTo>
                  <a:cubicBezTo>
                    <a:pt x="695817" y="1816165"/>
                    <a:pt x="704597" y="1824945"/>
                    <a:pt x="704597" y="1833728"/>
                  </a:cubicBezTo>
                  <a:cubicBezTo>
                    <a:pt x="704597" y="1842507"/>
                    <a:pt x="695817" y="1851287"/>
                    <a:pt x="687037" y="1851287"/>
                  </a:cubicBezTo>
                  <a:close/>
                  <a:moveTo>
                    <a:pt x="1477238" y="1895184"/>
                  </a:moveTo>
                  <a:cubicBezTo>
                    <a:pt x="1475043" y="1895184"/>
                    <a:pt x="1472848" y="1892988"/>
                    <a:pt x="1472848" y="1890793"/>
                  </a:cubicBezTo>
                  <a:cubicBezTo>
                    <a:pt x="1472848" y="1888599"/>
                    <a:pt x="1475043" y="1886403"/>
                    <a:pt x="1477238" y="1886403"/>
                  </a:cubicBezTo>
                  <a:cubicBezTo>
                    <a:pt x="1479433" y="1886403"/>
                    <a:pt x="1481628" y="1888599"/>
                    <a:pt x="1481628" y="1890793"/>
                  </a:cubicBezTo>
                  <a:cubicBezTo>
                    <a:pt x="1481628" y="1892988"/>
                    <a:pt x="1479433" y="1895184"/>
                    <a:pt x="1477238" y="1895184"/>
                  </a:cubicBezTo>
                  <a:close/>
                  <a:moveTo>
                    <a:pt x="1165548" y="1899573"/>
                  </a:moveTo>
                  <a:cubicBezTo>
                    <a:pt x="1161157" y="1899573"/>
                    <a:pt x="1158963" y="1897379"/>
                    <a:pt x="1158963" y="1892988"/>
                  </a:cubicBezTo>
                  <a:cubicBezTo>
                    <a:pt x="1158963" y="1888599"/>
                    <a:pt x="1163353" y="1886403"/>
                    <a:pt x="1165548" y="1886403"/>
                  </a:cubicBezTo>
                  <a:cubicBezTo>
                    <a:pt x="1169938" y="1886403"/>
                    <a:pt x="1172133" y="1890793"/>
                    <a:pt x="1172133" y="1892988"/>
                  </a:cubicBezTo>
                  <a:cubicBezTo>
                    <a:pt x="1172133" y="1897379"/>
                    <a:pt x="1167743" y="1899573"/>
                    <a:pt x="1165548" y="1899573"/>
                  </a:cubicBezTo>
                  <a:close/>
                  <a:moveTo>
                    <a:pt x="550947" y="1910549"/>
                  </a:moveTo>
                  <a:cubicBezTo>
                    <a:pt x="544362" y="1910549"/>
                    <a:pt x="537776" y="1906160"/>
                    <a:pt x="537776" y="1897379"/>
                  </a:cubicBezTo>
                  <a:cubicBezTo>
                    <a:pt x="537776" y="1890793"/>
                    <a:pt x="544362" y="1884210"/>
                    <a:pt x="550947" y="1884210"/>
                  </a:cubicBezTo>
                  <a:cubicBezTo>
                    <a:pt x="559727" y="1884210"/>
                    <a:pt x="564117" y="1890793"/>
                    <a:pt x="564117" y="1897379"/>
                  </a:cubicBezTo>
                  <a:cubicBezTo>
                    <a:pt x="564117" y="1903965"/>
                    <a:pt x="557532" y="1910549"/>
                    <a:pt x="550947" y="1910549"/>
                  </a:cubicBezTo>
                  <a:close/>
                  <a:moveTo>
                    <a:pt x="856052" y="1912745"/>
                  </a:moveTo>
                  <a:cubicBezTo>
                    <a:pt x="847272" y="1912745"/>
                    <a:pt x="840687" y="1906160"/>
                    <a:pt x="840687" y="1897379"/>
                  </a:cubicBezTo>
                  <a:cubicBezTo>
                    <a:pt x="840687" y="1888599"/>
                    <a:pt x="847272" y="1882014"/>
                    <a:pt x="856052" y="1882014"/>
                  </a:cubicBezTo>
                  <a:cubicBezTo>
                    <a:pt x="864832" y="1882014"/>
                    <a:pt x="871417" y="1888599"/>
                    <a:pt x="871417" y="1897379"/>
                  </a:cubicBezTo>
                  <a:cubicBezTo>
                    <a:pt x="871417" y="1906160"/>
                    <a:pt x="864832" y="1912745"/>
                    <a:pt x="856052" y="1912745"/>
                  </a:cubicBezTo>
                  <a:close/>
                  <a:moveTo>
                    <a:pt x="248036" y="1917135"/>
                  </a:moveTo>
                  <a:cubicBezTo>
                    <a:pt x="237061" y="1917135"/>
                    <a:pt x="230475" y="1908354"/>
                    <a:pt x="230475" y="1899573"/>
                  </a:cubicBezTo>
                  <a:cubicBezTo>
                    <a:pt x="230475" y="1890793"/>
                    <a:pt x="239255" y="1882013"/>
                    <a:pt x="248036" y="1882013"/>
                  </a:cubicBezTo>
                  <a:cubicBezTo>
                    <a:pt x="256816" y="1882013"/>
                    <a:pt x="265596" y="1890793"/>
                    <a:pt x="265596" y="1899573"/>
                  </a:cubicBezTo>
                  <a:cubicBezTo>
                    <a:pt x="265596" y="1908354"/>
                    <a:pt x="256816" y="1917135"/>
                    <a:pt x="248036" y="1917135"/>
                  </a:cubicBezTo>
                  <a:close/>
                  <a:moveTo>
                    <a:pt x="1343343" y="1958840"/>
                  </a:moveTo>
                  <a:cubicBezTo>
                    <a:pt x="1341148" y="1958840"/>
                    <a:pt x="1338953" y="1956645"/>
                    <a:pt x="1338953" y="1954449"/>
                  </a:cubicBezTo>
                  <a:cubicBezTo>
                    <a:pt x="1338953" y="1952254"/>
                    <a:pt x="1341148" y="1950060"/>
                    <a:pt x="1343343" y="1950060"/>
                  </a:cubicBezTo>
                  <a:cubicBezTo>
                    <a:pt x="1345537" y="1950060"/>
                    <a:pt x="1347733" y="1952254"/>
                    <a:pt x="1347733" y="1954449"/>
                  </a:cubicBezTo>
                  <a:cubicBezTo>
                    <a:pt x="1347733" y="1956645"/>
                    <a:pt x="1345537" y="1958840"/>
                    <a:pt x="1343343" y="1958840"/>
                  </a:cubicBezTo>
                  <a:close/>
                  <a:moveTo>
                    <a:pt x="1029457" y="1972010"/>
                  </a:moveTo>
                  <a:cubicBezTo>
                    <a:pt x="1022872" y="1972010"/>
                    <a:pt x="1016287" y="1965424"/>
                    <a:pt x="1016287" y="1958840"/>
                  </a:cubicBezTo>
                  <a:cubicBezTo>
                    <a:pt x="1016287" y="1952254"/>
                    <a:pt x="1022872" y="1945670"/>
                    <a:pt x="1029457" y="1945670"/>
                  </a:cubicBezTo>
                  <a:cubicBezTo>
                    <a:pt x="1036042" y="1945670"/>
                    <a:pt x="1042627" y="1952254"/>
                    <a:pt x="1042627" y="1958840"/>
                  </a:cubicBezTo>
                  <a:cubicBezTo>
                    <a:pt x="1042627" y="1965424"/>
                    <a:pt x="1036042" y="1972010"/>
                    <a:pt x="1029457" y="1972010"/>
                  </a:cubicBezTo>
                  <a:close/>
                  <a:moveTo>
                    <a:pt x="109751" y="1974202"/>
                  </a:moveTo>
                  <a:cubicBezTo>
                    <a:pt x="104902" y="1974202"/>
                    <a:pt x="100971" y="1970271"/>
                    <a:pt x="100971" y="1965424"/>
                  </a:cubicBezTo>
                  <a:cubicBezTo>
                    <a:pt x="100971" y="1960572"/>
                    <a:pt x="104902" y="1956642"/>
                    <a:pt x="109751" y="1956642"/>
                  </a:cubicBezTo>
                  <a:cubicBezTo>
                    <a:pt x="114600" y="1956642"/>
                    <a:pt x="118531" y="1960572"/>
                    <a:pt x="118531" y="1965424"/>
                  </a:cubicBezTo>
                  <a:cubicBezTo>
                    <a:pt x="118531" y="1970271"/>
                    <a:pt x="114600" y="1974202"/>
                    <a:pt x="109751" y="1974202"/>
                  </a:cubicBezTo>
                  <a:close/>
                  <a:moveTo>
                    <a:pt x="414856" y="1980788"/>
                  </a:moveTo>
                  <a:cubicBezTo>
                    <a:pt x="406076" y="1980788"/>
                    <a:pt x="397296" y="1974205"/>
                    <a:pt x="397296" y="1963228"/>
                  </a:cubicBezTo>
                  <a:cubicBezTo>
                    <a:pt x="397296" y="1954449"/>
                    <a:pt x="406076" y="1945670"/>
                    <a:pt x="414856" y="1945670"/>
                  </a:cubicBezTo>
                  <a:cubicBezTo>
                    <a:pt x="423636" y="1945670"/>
                    <a:pt x="432416" y="1954449"/>
                    <a:pt x="432416" y="1963228"/>
                  </a:cubicBezTo>
                  <a:cubicBezTo>
                    <a:pt x="432416" y="1972010"/>
                    <a:pt x="423636" y="1980788"/>
                    <a:pt x="414856" y="1980788"/>
                  </a:cubicBezTo>
                  <a:close/>
                  <a:moveTo>
                    <a:pt x="719962" y="1985177"/>
                  </a:moveTo>
                  <a:cubicBezTo>
                    <a:pt x="706792" y="1985177"/>
                    <a:pt x="698011" y="1974205"/>
                    <a:pt x="695817" y="1961036"/>
                  </a:cubicBezTo>
                  <a:cubicBezTo>
                    <a:pt x="695817" y="1947863"/>
                    <a:pt x="706792" y="1936888"/>
                    <a:pt x="719962" y="1936888"/>
                  </a:cubicBezTo>
                  <a:cubicBezTo>
                    <a:pt x="733132" y="1936888"/>
                    <a:pt x="744107" y="1947863"/>
                    <a:pt x="744107" y="1961036"/>
                  </a:cubicBezTo>
                  <a:cubicBezTo>
                    <a:pt x="744107" y="1974205"/>
                    <a:pt x="733132" y="1985177"/>
                    <a:pt x="719962" y="1985177"/>
                  </a:cubicBezTo>
                  <a:close/>
                  <a:moveTo>
                    <a:pt x="1529919" y="2018101"/>
                  </a:moveTo>
                  <a:cubicBezTo>
                    <a:pt x="1527723" y="2018101"/>
                    <a:pt x="1525528" y="2015906"/>
                    <a:pt x="1525528" y="2013711"/>
                  </a:cubicBezTo>
                  <a:cubicBezTo>
                    <a:pt x="1525528" y="2011516"/>
                    <a:pt x="1527723" y="2009323"/>
                    <a:pt x="1529919" y="2009323"/>
                  </a:cubicBezTo>
                  <a:cubicBezTo>
                    <a:pt x="1532113" y="2009323"/>
                    <a:pt x="1534309" y="2011516"/>
                    <a:pt x="1534309" y="2013711"/>
                  </a:cubicBezTo>
                  <a:cubicBezTo>
                    <a:pt x="1534309" y="2015906"/>
                    <a:pt x="1532113" y="2018101"/>
                    <a:pt x="1529919" y="2018101"/>
                  </a:cubicBezTo>
                  <a:close/>
                  <a:moveTo>
                    <a:pt x="1209448" y="2024688"/>
                  </a:moveTo>
                  <a:cubicBezTo>
                    <a:pt x="1207253" y="2024688"/>
                    <a:pt x="1205058" y="2022492"/>
                    <a:pt x="1205058" y="2020297"/>
                  </a:cubicBezTo>
                  <a:cubicBezTo>
                    <a:pt x="1205058" y="2018101"/>
                    <a:pt x="1207253" y="2015906"/>
                    <a:pt x="1209448" y="2015906"/>
                  </a:cubicBezTo>
                  <a:cubicBezTo>
                    <a:pt x="1211643" y="2015906"/>
                    <a:pt x="1213838" y="2018101"/>
                    <a:pt x="1213838" y="2020297"/>
                  </a:cubicBezTo>
                  <a:cubicBezTo>
                    <a:pt x="1213838" y="2022492"/>
                    <a:pt x="1211643" y="2024688"/>
                    <a:pt x="1209448" y="2024688"/>
                  </a:cubicBezTo>
                  <a:close/>
                  <a:moveTo>
                    <a:pt x="895563" y="2037856"/>
                  </a:moveTo>
                  <a:cubicBezTo>
                    <a:pt x="888977" y="2037856"/>
                    <a:pt x="882393" y="2031270"/>
                    <a:pt x="882393" y="2024688"/>
                  </a:cubicBezTo>
                  <a:cubicBezTo>
                    <a:pt x="882393" y="2018101"/>
                    <a:pt x="888977" y="2011516"/>
                    <a:pt x="895563" y="2011516"/>
                  </a:cubicBezTo>
                  <a:cubicBezTo>
                    <a:pt x="902147" y="2011516"/>
                    <a:pt x="908732" y="2018101"/>
                    <a:pt x="908732" y="2024688"/>
                  </a:cubicBezTo>
                  <a:cubicBezTo>
                    <a:pt x="908732" y="2031270"/>
                    <a:pt x="902147" y="2037856"/>
                    <a:pt x="895563" y="2037856"/>
                  </a:cubicBezTo>
                  <a:close/>
                  <a:moveTo>
                    <a:pt x="586066" y="2042247"/>
                  </a:moveTo>
                  <a:cubicBezTo>
                    <a:pt x="577286" y="2042247"/>
                    <a:pt x="570701" y="2035661"/>
                    <a:pt x="570701" y="2026880"/>
                  </a:cubicBezTo>
                  <a:cubicBezTo>
                    <a:pt x="570701" y="2018101"/>
                    <a:pt x="577286" y="2011516"/>
                    <a:pt x="586066" y="2011516"/>
                  </a:cubicBezTo>
                  <a:cubicBezTo>
                    <a:pt x="594846" y="2011516"/>
                    <a:pt x="601431" y="2018101"/>
                    <a:pt x="601431" y="2026880"/>
                  </a:cubicBezTo>
                  <a:cubicBezTo>
                    <a:pt x="601431" y="2035661"/>
                    <a:pt x="594846" y="2042247"/>
                    <a:pt x="586066" y="2042247"/>
                  </a:cubicBezTo>
                  <a:close/>
                  <a:moveTo>
                    <a:pt x="278766" y="2046634"/>
                  </a:moveTo>
                  <a:cubicBezTo>
                    <a:pt x="267790" y="2046634"/>
                    <a:pt x="259010" y="2040052"/>
                    <a:pt x="259010" y="2026880"/>
                  </a:cubicBezTo>
                  <a:cubicBezTo>
                    <a:pt x="259010" y="2015906"/>
                    <a:pt x="267790" y="2007125"/>
                    <a:pt x="278766" y="2007125"/>
                  </a:cubicBezTo>
                  <a:cubicBezTo>
                    <a:pt x="289741" y="2007125"/>
                    <a:pt x="298521" y="2015906"/>
                    <a:pt x="298521" y="2026880"/>
                  </a:cubicBezTo>
                  <a:cubicBezTo>
                    <a:pt x="298521" y="2037856"/>
                    <a:pt x="289741" y="2046634"/>
                    <a:pt x="278766" y="2046634"/>
                  </a:cubicBezTo>
                  <a:close/>
                  <a:moveTo>
                    <a:pt x="1725273" y="2068584"/>
                  </a:moveTo>
                  <a:cubicBezTo>
                    <a:pt x="1725273" y="2068584"/>
                    <a:pt x="1723079" y="2066389"/>
                    <a:pt x="1720883" y="2064194"/>
                  </a:cubicBezTo>
                  <a:cubicBezTo>
                    <a:pt x="1720883" y="2061998"/>
                    <a:pt x="1723079" y="2059803"/>
                    <a:pt x="1725273" y="2059803"/>
                  </a:cubicBezTo>
                  <a:cubicBezTo>
                    <a:pt x="1727469" y="2059803"/>
                    <a:pt x="1729663" y="2061998"/>
                    <a:pt x="1729663" y="2064194"/>
                  </a:cubicBezTo>
                  <a:cubicBezTo>
                    <a:pt x="1729663" y="2066389"/>
                    <a:pt x="1727469" y="2068584"/>
                    <a:pt x="1725273" y="2068584"/>
                  </a:cubicBezTo>
                  <a:close/>
                  <a:moveTo>
                    <a:pt x="1396023" y="2081753"/>
                  </a:moveTo>
                  <a:cubicBezTo>
                    <a:pt x="1393828" y="2081753"/>
                    <a:pt x="1391633" y="2079557"/>
                    <a:pt x="1391633" y="2077362"/>
                  </a:cubicBezTo>
                  <a:cubicBezTo>
                    <a:pt x="1391633" y="2075168"/>
                    <a:pt x="1393828" y="2072974"/>
                    <a:pt x="1396023" y="2072974"/>
                  </a:cubicBezTo>
                  <a:cubicBezTo>
                    <a:pt x="1398218" y="2072974"/>
                    <a:pt x="1400413" y="2075168"/>
                    <a:pt x="1400413" y="2077362"/>
                  </a:cubicBezTo>
                  <a:cubicBezTo>
                    <a:pt x="1400413" y="2079557"/>
                    <a:pt x="1398218" y="2081753"/>
                    <a:pt x="1396023" y="2081753"/>
                  </a:cubicBezTo>
                  <a:close/>
                  <a:moveTo>
                    <a:pt x="1075553" y="2097117"/>
                  </a:moveTo>
                  <a:cubicBezTo>
                    <a:pt x="1068967" y="2097117"/>
                    <a:pt x="1064577" y="2090534"/>
                    <a:pt x="1062382" y="2083948"/>
                  </a:cubicBezTo>
                  <a:cubicBezTo>
                    <a:pt x="1062382" y="2077362"/>
                    <a:pt x="1068967" y="2070780"/>
                    <a:pt x="1075553" y="2070780"/>
                  </a:cubicBezTo>
                  <a:cubicBezTo>
                    <a:pt x="1082137" y="2070780"/>
                    <a:pt x="1088722" y="2077362"/>
                    <a:pt x="1088722" y="2083948"/>
                  </a:cubicBezTo>
                  <a:cubicBezTo>
                    <a:pt x="1088722" y="2090534"/>
                    <a:pt x="1082137" y="2097117"/>
                    <a:pt x="1075553" y="2097117"/>
                  </a:cubicBezTo>
                  <a:close/>
                  <a:moveTo>
                    <a:pt x="142676" y="2099312"/>
                  </a:moveTo>
                  <a:cubicBezTo>
                    <a:pt x="138286" y="2099312"/>
                    <a:pt x="136091" y="2097117"/>
                    <a:pt x="136091" y="2092727"/>
                  </a:cubicBezTo>
                  <a:cubicBezTo>
                    <a:pt x="136091" y="2088339"/>
                    <a:pt x="138286" y="2086143"/>
                    <a:pt x="142676" y="2086143"/>
                  </a:cubicBezTo>
                  <a:cubicBezTo>
                    <a:pt x="147066" y="2086143"/>
                    <a:pt x="149261" y="2088339"/>
                    <a:pt x="149261" y="2092727"/>
                  </a:cubicBezTo>
                  <a:cubicBezTo>
                    <a:pt x="149261" y="2097117"/>
                    <a:pt x="147066" y="2099312"/>
                    <a:pt x="142676" y="2099312"/>
                  </a:cubicBezTo>
                  <a:close/>
                  <a:moveTo>
                    <a:pt x="449976" y="2110286"/>
                  </a:moveTo>
                  <a:cubicBezTo>
                    <a:pt x="439001" y="2110286"/>
                    <a:pt x="432416" y="2101507"/>
                    <a:pt x="430221" y="2090534"/>
                  </a:cubicBezTo>
                  <a:cubicBezTo>
                    <a:pt x="430221" y="2079557"/>
                    <a:pt x="439001" y="2070780"/>
                    <a:pt x="449976" y="2070780"/>
                  </a:cubicBezTo>
                  <a:cubicBezTo>
                    <a:pt x="460952" y="2070780"/>
                    <a:pt x="469732" y="2079557"/>
                    <a:pt x="469732" y="2090534"/>
                  </a:cubicBezTo>
                  <a:cubicBezTo>
                    <a:pt x="469732" y="2101507"/>
                    <a:pt x="460952" y="2110286"/>
                    <a:pt x="449976" y="2110286"/>
                  </a:cubicBezTo>
                  <a:close/>
                  <a:moveTo>
                    <a:pt x="761667" y="2110286"/>
                  </a:moveTo>
                  <a:cubicBezTo>
                    <a:pt x="748497" y="2110286"/>
                    <a:pt x="739717" y="2101507"/>
                    <a:pt x="739717" y="2088339"/>
                  </a:cubicBezTo>
                  <a:cubicBezTo>
                    <a:pt x="739717" y="2075168"/>
                    <a:pt x="750692" y="2066389"/>
                    <a:pt x="761667" y="2066389"/>
                  </a:cubicBezTo>
                  <a:cubicBezTo>
                    <a:pt x="774837" y="2066389"/>
                    <a:pt x="783617" y="2077362"/>
                    <a:pt x="783617" y="2088339"/>
                  </a:cubicBezTo>
                  <a:cubicBezTo>
                    <a:pt x="783617" y="2101507"/>
                    <a:pt x="772642" y="2110286"/>
                    <a:pt x="761667" y="2110286"/>
                  </a:cubicBezTo>
                  <a:close/>
                  <a:moveTo>
                    <a:pt x="1591378" y="2136627"/>
                  </a:moveTo>
                  <a:cubicBezTo>
                    <a:pt x="1589184" y="2136627"/>
                    <a:pt x="1586989" y="2132235"/>
                    <a:pt x="1584794" y="2130041"/>
                  </a:cubicBezTo>
                  <a:cubicBezTo>
                    <a:pt x="1584794" y="2125653"/>
                    <a:pt x="1589184" y="2123457"/>
                    <a:pt x="1591378" y="2123457"/>
                  </a:cubicBezTo>
                  <a:cubicBezTo>
                    <a:pt x="1595769" y="2123457"/>
                    <a:pt x="1597964" y="2125653"/>
                    <a:pt x="1597964" y="2130041"/>
                  </a:cubicBezTo>
                  <a:cubicBezTo>
                    <a:pt x="1597964" y="2134430"/>
                    <a:pt x="1593574" y="2136627"/>
                    <a:pt x="1591378" y="2136627"/>
                  </a:cubicBezTo>
                  <a:close/>
                  <a:moveTo>
                    <a:pt x="1262128" y="2147601"/>
                  </a:moveTo>
                  <a:cubicBezTo>
                    <a:pt x="1259933" y="2147601"/>
                    <a:pt x="1255543" y="2145407"/>
                    <a:pt x="1255543" y="2141017"/>
                  </a:cubicBezTo>
                  <a:cubicBezTo>
                    <a:pt x="1255543" y="2138821"/>
                    <a:pt x="1257738" y="2134430"/>
                    <a:pt x="1262128" y="2134430"/>
                  </a:cubicBezTo>
                  <a:cubicBezTo>
                    <a:pt x="1264323" y="2134430"/>
                    <a:pt x="1268713" y="2136627"/>
                    <a:pt x="1268713" y="2141017"/>
                  </a:cubicBezTo>
                  <a:cubicBezTo>
                    <a:pt x="1268713" y="2143212"/>
                    <a:pt x="1266518" y="2147601"/>
                    <a:pt x="1262128" y="2147601"/>
                  </a:cubicBezTo>
                  <a:close/>
                  <a:moveTo>
                    <a:pt x="6586" y="2165160"/>
                  </a:moveTo>
                  <a:cubicBezTo>
                    <a:pt x="4390" y="2165160"/>
                    <a:pt x="0" y="2162964"/>
                    <a:pt x="0" y="2158574"/>
                  </a:cubicBezTo>
                  <a:cubicBezTo>
                    <a:pt x="0" y="2154185"/>
                    <a:pt x="2196" y="2151990"/>
                    <a:pt x="6586" y="2151990"/>
                  </a:cubicBezTo>
                  <a:cubicBezTo>
                    <a:pt x="10976" y="2151990"/>
                    <a:pt x="13170" y="2154185"/>
                    <a:pt x="13170" y="2158574"/>
                  </a:cubicBezTo>
                  <a:cubicBezTo>
                    <a:pt x="13170" y="2162964"/>
                    <a:pt x="10976" y="2165160"/>
                    <a:pt x="6586" y="2165160"/>
                  </a:cubicBezTo>
                  <a:close/>
                  <a:moveTo>
                    <a:pt x="941658" y="2165160"/>
                  </a:moveTo>
                  <a:cubicBezTo>
                    <a:pt x="932878" y="2165160"/>
                    <a:pt x="926292" y="2156380"/>
                    <a:pt x="926292" y="2149796"/>
                  </a:cubicBezTo>
                  <a:cubicBezTo>
                    <a:pt x="926292" y="2141017"/>
                    <a:pt x="932878" y="2134430"/>
                    <a:pt x="941658" y="2134430"/>
                  </a:cubicBezTo>
                  <a:cubicBezTo>
                    <a:pt x="950437" y="2134430"/>
                    <a:pt x="957023" y="2141017"/>
                    <a:pt x="957023" y="2149796"/>
                  </a:cubicBezTo>
                  <a:cubicBezTo>
                    <a:pt x="957023" y="2158574"/>
                    <a:pt x="950437" y="2165160"/>
                    <a:pt x="941658" y="2165160"/>
                  </a:cubicBezTo>
                  <a:close/>
                  <a:moveTo>
                    <a:pt x="627771" y="2171744"/>
                  </a:moveTo>
                  <a:cubicBezTo>
                    <a:pt x="616797" y="2171744"/>
                    <a:pt x="608016" y="2162964"/>
                    <a:pt x="608016" y="2151990"/>
                  </a:cubicBezTo>
                  <a:cubicBezTo>
                    <a:pt x="608016" y="2141017"/>
                    <a:pt x="616797" y="2132235"/>
                    <a:pt x="627771" y="2132235"/>
                  </a:cubicBezTo>
                  <a:cubicBezTo>
                    <a:pt x="638746" y="2132235"/>
                    <a:pt x="647526" y="2141017"/>
                    <a:pt x="647526" y="2151990"/>
                  </a:cubicBezTo>
                  <a:cubicBezTo>
                    <a:pt x="647526" y="2162964"/>
                    <a:pt x="638746" y="2171744"/>
                    <a:pt x="627771" y="2171744"/>
                  </a:cubicBezTo>
                  <a:close/>
                  <a:moveTo>
                    <a:pt x="316081" y="2173938"/>
                  </a:moveTo>
                  <a:cubicBezTo>
                    <a:pt x="307301" y="2173938"/>
                    <a:pt x="298521" y="2165160"/>
                    <a:pt x="298521" y="2156380"/>
                  </a:cubicBezTo>
                  <a:cubicBezTo>
                    <a:pt x="298521" y="2147601"/>
                    <a:pt x="307301" y="2138821"/>
                    <a:pt x="316081" y="2138821"/>
                  </a:cubicBezTo>
                  <a:cubicBezTo>
                    <a:pt x="324861" y="2138821"/>
                    <a:pt x="333641" y="2147601"/>
                    <a:pt x="333641" y="2156380"/>
                  </a:cubicBezTo>
                  <a:cubicBezTo>
                    <a:pt x="333641" y="2165160"/>
                    <a:pt x="324861" y="2173938"/>
                    <a:pt x="316081" y="2173938"/>
                  </a:cubicBezTo>
                  <a:close/>
                  <a:moveTo>
                    <a:pt x="1799903" y="2178330"/>
                  </a:moveTo>
                  <a:cubicBezTo>
                    <a:pt x="1798807" y="2177231"/>
                    <a:pt x="1798257" y="2176135"/>
                    <a:pt x="1798257" y="2175586"/>
                  </a:cubicBezTo>
                  <a:cubicBezTo>
                    <a:pt x="1798257" y="2175036"/>
                    <a:pt x="1798807" y="2175036"/>
                    <a:pt x="1799903" y="2176135"/>
                  </a:cubicBezTo>
                  <a:lnTo>
                    <a:pt x="1799903" y="2177507"/>
                  </a:lnTo>
                  <a:close/>
                  <a:moveTo>
                    <a:pt x="1457483" y="2200279"/>
                  </a:moveTo>
                  <a:cubicBezTo>
                    <a:pt x="1455288" y="2200279"/>
                    <a:pt x="1453093" y="2198085"/>
                    <a:pt x="1453093" y="2195891"/>
                  </a:cubicBezTo>
                  <a:cubicBezTo>
                    <a:pt x="1453093" y="2193697"/>
                    <a:pt x="1455288" y="2191500"/>
                    <a:pt x="1457483" y="2191500"/>
                  </a:cubicBezTo>
                  <a:cubicBezTo>
                    <a:pt x="1459678" y="2191500"/>
                    <a:pt x="1461873" y="2193697"/>
                    <a:pt x="1461873" y="2195891"/>
                  </a:cubicBezTo>
                  <a:cubicBezTo>
                    <a:pt x="1461873" y="2198085"/>
                    <a:pt x="1459678" y="2200279"/>
                    <a:pt x="1457483" y="2200279"/>
                  </a:cubicBezTo>
                  <a:close/>
                  <a:moveTo>
                    <a:pt x="1130428" y="2217839"/>
                  </a:moveTo>
                  <a:cubicBezTo>
                    <a:pt x="1123842" y="2217839"/>
                    <a:pt x="1117258" y="2211254"/>
                    <a:pt x="1117258" y="2204671"/>
                  </a:cubicBezTo>
                  <a:cubicBezTo>
                    <a:pt x="1117258" y="2198085"/>
                    <a:pt x="1123842" y="2191500"/>
                    <a:pt x="1130428" y="2191500"/>
                  </a:cubicBezTo>
                  <a:cubicBezTo>
                    <a:pt x="1139207" y="2191500"/>
                    <a:pt x="1143597" y="2198085"/>
                    <a:pt x="1143597" y="2204671"/>
                  </a:cubicBezTo>
                  <a:cubicBezTo>
                    <a:pt x="1143597" y="2211254"/>
                    <a:pt x="1137013" y="2217839"/>
                    <a:pt x="1130428" y="2217839"/>
                  </a:cubicBezTo>
                  <a:close/>
                  <a:moveTo>
                    <a:pt x="493877" y="2237594"/>
                  </a:moveTo>
                  <a:cubicBezTo>
                    <a:pt x="482966" y="2237594"/>
                    <a:pt x="474122" y="2228749"/>
                    <a:pt x="474122" y="2217839"/>
                  </a:cubicBezTo>
                  <a:cubicBezTo>
                    <a:pt x="474122" y="2206931"/>
                    <a:pt x="482966" y="2198085"/>
                    <a:pt x="493877" y="2198085"/>
                  </a:cubicBezTo>
                  <a:cubicBezTo>
                    <a:pt x="504787" y="2198085"/>
                    <a:pt x="513631" y="2206931"/>
                    <a:pt x="513631" y="2217839"/>
                  </a:cubicBezTo>
                  <a:cubicBezTo>
                    <a:pt x="513631" y="2228749"/>
                    <a:pt x="504787" y="2237594"/>
                    <a:pt x="493877" y="2237594"/>
                  </a:cubicBezTo>
                  <a:close/>
                  <a:moveTo>
                    <a:pt x="807762" y="2239789"/>
                  </a:moveTo>
                  <a:cubicBezTo>
                    <a:pt x="794592" y="2239789"/>
                    <a:pt x="781422" y="2226619"/>
                    <a:pt x="781422" y="2213449"/>
                  </a:cubicBezTo>
                  <a:cubicBezTo>
                    <a:pt x="781422" y="2200279"/>
                    <a:pt x="792397" y="2187110"/>
                    <a:pt x="807762" y="2187110"/>
                  </a:cubicBezTo>
                  <a:cubicBezTo>
                    <a:pt x="820932" y="2187110"/>
                    <a:pt x="834102" y="2198085"/>
                    <a:pt x="834102" y="2213449"/>
                  </a:cubicBezTo>
                  <a:cubicBezTo>
                    <a:pt x="834102" y="2226619"/>
                    <a:pt x="823127" y="2239789"/>
                    <a:pt x="807762" y="2239789"/>
                  </a:cubicBezTo>
                  <a:close/>
                  <a:moveTo>
                    <a:pt x="179991" y="2246374"/>
                  </a:moveTo>
                  <a:cubicBezTo>
                    <a:pt x="166821" y="2246374"/>
                    <a:pt x="155846" y="2235399"/>
                    <a:pt x="155846" y="2222229"/>
                  </a:cubicBezTo>
                  <a:cubicBezTo>
                    <a:pt x="155846" y="2209060"/>
                    <a:pt x="166821" y="2198085"/>
                    <a:pt x="179991" y="2198085"/>
                  </a:cubicBezTo>
                  <a:cubicBezTo>
                    <a:pt x="193161" y="2198085"/>
                    <a:pt x="204136" y="2209060"/>
                    <a:pt x="204136" y="2222229"/>
                  </a:cubicBezTo>
                  <a:cubicBezTo>
                    <a:pt x="204136" y="2235399"/>
                    <a:pt x="193161" y="2246374"/>
                    <a:pt x="179991" y="2246374"/>
                  </a:cubicBezTo>
                  <a:close/>
                  <a:moveTo>
                    <a:pt x="1663814" y="2246374"/>
                  </a:moveTo>
                  <a:cubicBezTo>
                    <a:pt x="1661619" y="2246374"/>
                    <a:pt x="1659424" y="2244179"/>
                    <a:pt x="1659424" y="2241984"/>
                  </a:cubicBezTo>
                  <a:cubicBezTo>
                    <a:pt x="1659424" y="2239789"/>
                    <a:pt x="1661619" y="2237594"/>
                    <a:pt x="1663814" y="2237594"/>
                  </a:cubicBezTo>
                  <a:cubicBezTo>
                    <a:pt x="1666009" y="2237594"/>
                    <a:pt x="1668204" y="2239789"/>
                    <a:pt x="1668204" y="2241984"/>
                  </a:cubicBezTo>
                  <a:cubicBezTo>
                    <a:pt x="1668204" y="2244179"/>
                    <a:pt x="1666009" y="2246374"/>
                    <a:pt x="1663814" y="2246374"/>
                  </a:cubicBezTo>
                  <a:close/>
                  <a:moveTo>
                    <a:pt x="1325783" y="2270519"/>
                  </a:moveTo>
                  <a:cubicBezTo>
                    <a:pt x="1319198" y="2270519"/>
                    <a:pt x="1314808" y="2263934"/>
                    <a:pt x="1314808" y="2259544"/>
                  </a:cubicBezTo>
                  <a:cubicBezTo>
                    <a:pt x="1314808" y="2252959"/>
                    <a:pt x="1319198" y="2248569"/>
                    <a:pt x="1325783" y="2248569"/>
                  </a:cubicBezTo>
                  <a:cubicBezTo>
                    <a:pt x="1332368" y="2248569"/>
                    <a:pt x="1336759" y="2252959"/>
                    <a:pt x="1336759" y="2259544"/>
                  </a:cubicBezTo>
                  <a:cubicBezTo>
                    <a:pt x="1336759" y="2266129"/>
                    <a:pt x="1332368" y="2270519"/>
                    <a:pt x="1325783" y="2270519"/>
                  </a:cubicBezTo>
                  <a:close/>
                  <a:moveTo>
                    <a:pt x="1881119" y="2283689"/>
                  </a:moveTo>
                  <a:cubicBezTo>
                    <a:pt x="1881119" y="2283689"/>
                    <a:pt x="1876729" y="2281494"/>
                    <a:pt x="1876729" y="2279299"/>
                  </a:cubicBezTo>
                  <a:cubicBezTo>
                    <a:pt x="1876729" y="2277104"/>
                    <a:pt x="1878924" y="2274909"/>
                    <a:pt x="1881119" y="2274909"/>
                  </a:cubicBezTo>
                  <a:cubicBezTo>
                    <a:pt x="1883314" y="2274909"/>
                    <a:pt x="1885509" y="2277104"/>
                    <a:pt x="1885509" y="2279299"/>
                  </a:cubicBezTo>
                  <a:cubicBezTo>
                    <a:pt x="1885509" y="2281494"/>
                    <a:pt x="1883314" y="2283689"/>
                    <a:pt x="1881119" y="2283689"/>
                  </a:cubicBezTo>
                  <a:close/>
                  <a:moveTo>
                    <a:pt x="46095" y="2288078"/>
                  </a:moveTo>
                  <a:cubicBezTo>
                    <a:pt x="43901" y="2288078"/>
                    <a:pt x="43901" y="2288078"/>
                    <a:pt x="43901" y="2285884"/>
                  </a:cubicBezTo>
                  <a:cubicBezTo>
                    <a:pt x="43901" y="2285884"/>
                    <a:pt x="46095" y="2283688"/>
                    <a:pt x="46095" y="2283688"/>
                  </a:cubicBezTo>
                  <a:cubicBezTo>
                    <a:pt x="46095" y="2283688"/>
                    <a:pt x="48291" y="2283688"/>
                    <a:pt x="48291" y="2285884"/>
                  </a:cubicBezTo>
                  <a:cubicBezTo>
                    <a:pt x="48291" y="2285884"/>
                    <a:pt x="48291" y="2288078"/>
                    <a:pt x="46095" y="2288078"/>
                  </a:cubicBezTo>
                  <a:close/>
                  <a:moveTo>
                    <a:pt x="996532" y="2288079"/>
                  </a:moveTo>
                  <a:cubicBezTo>
                    <a:pt x="985557" y="2288079"/>
                    <a:pt x="976777" y="2279299"/>
                    <a:pt x="976777" y="2268324"/>
                  </a:cubicBezTo>
                  <a:cubicBezTo>
                    <a:pt x="976777" y="2257349"/>
                    <a:pt x="985557" y="2248569"/>
                    <a:pt x="996532" y="2248569"/>
                  </a:cubicBezTo>
                  <a:cubicBezTo>
                    <a:pt x="1007507" y="2248569"/>
                    <a:pt x="1016287" y="2257349"/>
                    <a:pt x="1016287" y="2268324"/>
                  </a:cubicBezTo>
                  <a:cubicBezTo>
                    <a:pt x="1016287" y="2279299"/>
                    <a:pt x="1007507" y="2288079"/>
                    <a:pt x="996532" y="2288079"/>
                  </a:cubicBezTo>
                  <a:close/>
                  <a:moveTo>
                    <a:pt x="359981" y="2301248"/>
                  </a:moveTo>
                  <a:cubicBezTo>
                    <a:pt x="349006" y="2301248"/>
                    <a:pt x="340226" y="2292468"/>
                    <a:pt x="340226" y="2281493"/>
                  </a:cubicBezTo>
                  <a:cubicBezTo>
                    <a:pt x="340226" y="2270518"/>
                    <a:pt x="349006" y="2261738"/>
                    <a:pt x="359981" y="2261738"/>
                  </a:cubicBezTo>
                  <a:cubicBezTo>
                    <a:pt x="370956" y="2261738"/>
                    <a:pt x="379736" y="2270518"/>
                    <a:pt x="379736" y="2281493"/>
                  </a:cubicBezTo>
                  <a:cubicBezTo>
                    <a:pt x="379736" y="2292468"/>
                    <a:pt x="370956" y="2301248"/>
                    <a:pt x="359981" y="2301248"/>
                  </a:cubicBezTo>
                  <a:close/>
                  <a:moveTo>
                    <a:pt x="676061" y="2301249"/>
                  </a:moveTo>
                  <a:cubicBezTo>
                    <a:pt x="660696" y="2301249"/>
                    <a:pt x="651916" y="2290274"/>
                    <a:pt x="651916" y="2277104"/>
                  </a:cubicBezTo>
                  <a:cubicBezTo>
                    <a:pt x="651916" y="2263934"/>
                    <a:pt x="662892" y="2252959"/>
                    <a:pt x="676061" y="2252959"/>
                  </a:cubicBezTo>
                  <a:cubicBezTo>
                    <a:pt x="689231" y="2252959"/>
                    <a:pt x="700207" y="2263934"/>
                    <a:pt x="700207" y="2277104"/>
                  </a:cubicBezTo>
                  <a:cubicBezTo>
                    <a:pt x="700207" y="2290274"/>
                    <a:pt x="689231" y="2301249"/>
                    <a:pt x="676061" y="2301249"/>
                  </a:cubicBezTo>
                  <a:close/>
                  <a:moveTo>
                    <a:pt x="1529919" y="2312223"/>
                  </a:moveTo>
                  <a:cubicBezTo>
                    <a:pt x="1525528" y="2312223"/>
                    <a:pt x="1523333" y="2310028"/>
                    <a:pt x="1523333" y="2305638"/>
                  </a:cubicBezTo>
                  <a:cubicBezTo>
                    <a:pt x="1523333" y="2301248"/>
                    <a:pt x="1527723" y="2299053"/>
                    <a:pt x="1529919" y="2299053"/>
                  </a:cubicBezTo>
                  <a:cubicBezTo>
                    <a:pt x="1534309" y="2299053"/>
                    <a:pt x="1536503" y="2303443"/>
                    <a:pt x="1536503" y="2305638"/>
                  </a:cubicBezTo>
                  <a:cubicBezTo>
                    <a:pt x="1536503" y="2310028"/>
                    <a:pt x="1534309" y="2312223"/>
                    <a:pt x="1529919" y="2312223"/>
                  </a:cubicBezTo>
                  <a:close/>
                  <a:moveTo>
                    <a:pt x="1191888" y="2334173"/>
                  </a:moveTo>
                  <a:cubicBezTo>
                    <a:pt x="1185302" y="2334173"/>
                    <a:pt x="1180912" y="2329783"/>
                    <a:pt x="1180912" y="2323199"/>
                  </a:cubicBezTo>
                  <a:cubicBezTo>
                    <a:pt x="1180912" y="2316613"/>
                    <a:pt x="1185302" y="2312223"/>
                    <a:pt x="1191888" y="2312223"/>
                  </a:cubicBezTo>
                  <a:cubicBezTo>
                    <a:pt x="1198473" y="2312223"/>
                    <a:pt x="1202863" y="2316613"/>
                    <a:pt x="1202863" y="2323199"/>
                  </a:cubicBezTo>
                  <a:cubicBezTo>
                    <a:pt x="1202863" y="2329783"/>
                    <a:pt x="1198473" y="2334173"/>
                    <a:pt x="1191888" y="2334173"/>
                  </a:cubicBezTo>
                  <a:close/>
                  <a:moveTo>
                    <a:pt x="1745028" y="2351734"/>
                  </a:moveTo>
                  <a:cubicBezTo>
                    <a:pt x="1742833" y="2351734"/>
                    <a:pt x="1740639" y="2349538"/>
                    <a:pt x="1740639" y="2347344"/>
                  </a:cubicBezTo>
                  <a:cubicBezTo>
                    <a:pt x="1740639" y="2345148"/>
                    <a:pt x="1742833" y="2342953"/>
                    <a:pt x="1745028" y="2342953"/>
                  </a:cubicBezTo>
                  <a:cubicBezTo>
                    <a:pt x="1747224" y="2342953"/>
                    <a:pt x="1749418" y="2345148"/>
                    <a:pt x="1749418" y="2347344"/>
                  </a:cubicBezTo>
                  <a:cubicBezTo>
                    <a:pt x="1749418" y="2349538"/>
                    <a:pt x="1747224" y="2351734"/>
                    <a:pt x="1745028" y="2351734"/>
                  </a:cubicBezTo>
                  <a:close/>
                  <a:moveTo>
                    <a:pt x="542166" y="2360514"/>
                  </a:moveTo>
                  <a:cubicBezTo>
                    <a:pt x="531192" y="2360514"/>
                    <a:pt x="522412" y="2351734"/>
                    <a:pt x="522412" y="2340758"/>
                  </a:cubicBezTo>
                  <a:cubicBezTo>
                    <a:pt x="522412" y="2329783"/>
                    <a:pt x="531192" y="2321003"/>
                    <a:pt x="542166" y="2321003"/>
                  </a:cubicBezTo>
                  <a:cubicBezTo>
                    <a:pt x="553142" y="2321003"/>
                    <a:pt x="561922" y="2329783"/>
                    <a:pt x="561922" y="2340758"/>
                  </a:cubicBezTo>
                  <a:cubicBezTo>
                    <a:pt x="561922" y="2351734"/>
                    <a:pt x="553142" y="2360514"/>
                    <a:pt x="542166" y="2360514"/>
                  </a:cubicBezTo>
                  <a:close/>
                  <a:moveTo>
                    <a:pt x="862637" y="2360514"/>
                  </a:moveTo>
                  <a:cubicBezTo>
                    <a:pt x="847272" y="2360514"/>
                    <a:pt x="836297" y="2349539"/>
                    <a:pt x="836297" y="2334174"/>
                  </a:cubicBezTo>
                  <a:cubicBezTo>
                    <a:pt x="836297" y="2321004"/>
                    <a:pt x="849467" y="2307834"/>
                    <a:pt x="862637" y="2307834"/>
                  </a:cubicBezTo>
                  <a:cubicBezTo>
                    <a:pt x="875807" y="2307834"/>
                    <a:pt x="888977" y="2318809"/>
                    <a:pt x="888977" y="2334174"/>
                  </a:cubicBezTo>
                  <a:cubicBezTo>
                    <a:pt x="888977" y="2347344"/>
                    <a:pt x="878002" y="2360514"/>
                    <a:pt x="862637" y="2360514"/>
                  </a:cubicBezTo>
                  <a:close/>
                  <a:moveTo>
                    <a:pt x="223891" y="2371488"/>
                  </a:moveTo>
                  <a:cubicBezTo>
                    <a:pt x="210720" y="2371488"/>
                    <a:pt x="199745" y="2360514"/>
                    <a:pt x="199745" y="2347344"/>
                  </a:cubicBezTo>
                  <a:cubicBezTo>
                    <a:pt x="199745" y="2334173"/>
                    <a:pt x="210720" y="2323199"/>
                    <a:pt x="223891" y="2323199"/>
                  </a:cubicBezTo>
                  <a:cubicBezTo>
                    <a:pt x="237061" y="2323199"/>
                    <a:pt x="248036" y="2334173"/>
                    <a:pt x="248036" y="2347344"/>
                  </a:cubicBezTo>
                  <a:cubicBezTo>
                    <a:pt x="248036" y="2360514"/>
                    <a:pt x="237061" y="2371488"/>
                    <a:pt x="223891" y="2371488"/>
                  </a:cubicBezTo>
                  <a:close/>
                  <a:moveTo>
                    <a:pt x="1393828" y="2380269"/>
                  </a:moveTo>
                  <a:cubicBezTo>
                    <a:pt x="1389438" y="2380269"/>
                    <a:pt x="1385048" y="2378074"/>
                    <a:pt x="1385048" y="2371488"/>
                  </a:cubicBezTo>
                  <a:cubicBezTo>
                    <a:pt x="1385048" y="2367098"/>
                    <a:pt x="1389438" y="2362708"/>
                    <a:pt x="1393828" y="2362708"/>
                  </a:cubicBezTo>
                  <a:cubicBezTo>
                    <a:pt x="1398218" y="2362708"/>
                    <a:pt x="1402608" y="2367098"/>
                    <a:pt x="1402608" y="2371488"/>
                  </a:cubicBezTo>
                  <a:cubicBezTo>
                    <a:pt x="1402608" y="2375879"/>
                    <a:pt x="1398218" y="2380269"/>
                    <a:pt x="1393828" y="2380269"/>
                  </a:cubicBezTo>
                  <a:close/>
                  <a:moveTo>
                    <a:pt x="1973310" y="2380269"/>
                  </a:moveTo>
                  <a:cubicBezTo>
                    <a:pt x="1971114" y="2380269"/>
                    <a:pt x="1968920" y="2378074"/>
                    <a:pt x="1968920" y="2375879"/>
                  </a:cubicBezTo>
                  <a:cubicBezTo>
                    <a:pt x="1968920" y="2373684"/>
                    <a:pt x="1971114" y="2371488"/>
                    <a:pt x="1973310" y="2371488"/>
                  </a:cubicBezTo>
                  <a:cubicBezTo>
                    <a:pt x="1975505" y="2371488"/>
                    <a:pt x="1977700" y="2373684"/>
                    <a:pt x="1977700" y="2375879"/>
                  </a:cubicBezTo>
                  <a:cubicBezTo>
                    <a:pt x="1977700" y="2378074"/>
                    <a:pt x="1975505" y="2380269"/>
                    <a:pt x="1973310" y="2380269"/>
                  </a:cubicBezTo>
                  <a:close/>
                  <a:moveTo>
                    <a:pt x="1057992" y="2410999"/>
                  </a:moveTo>
                  <a:cubicBezTo>
                    <a:pt x="1044822" y="2410999"/>
                    <a:pt x="1033847" y="2400023"/>
                    <a:pt x="1036042" y="2389049"/>
                  </a:cubicBezTo>
                  <a:cubicBezTo>
                    <a:pt x="1036042" y="2378074"/>
                    <a:pt x="1047017" y="2367098"/>
                    <a:pt x="1057992" y="2367098"/>
                  </a:cubicBezTo>
                  <a:cubicBezTo>
                    <a:pt x="1068967" y="2367098"/>
                    <a:pt x="1079943" y="2375879"/>
                    <a:pt x="1079943" y="2389049"/>
                  </a:cubicBezTo>
                  <a:cubicBezTo>
                    <a:pt x="1079943" y="2400023"/>
                    <a:pt x="1071162" y="2410999"/>
                    <a:pt x="1057992" y="2410999"/>
                  </a:cubicBezTo>
                  <a:close/>
                  <a:moveTo>
                    <a:pt x="728742" y="2419779"/>
                  </a:moveTo>
                  <a:cubicBezTo>
                    <a:pt x="717766" y="2419779"/>
                    <a:pt x="706792" y="2410999"/>
                    <a:pt x="706792" y="2397829"/>
                  </a:cubicBezTo>
                  <a:cubicBezTo>
                    <a:pt x="706792" y="2386853"/>
                    <a:pt x="715572" y="2375879"/>
                    <a:pt x="728742" y="2375879"/>
                  </a:cubicBezTo>
                  <a:cubicBezTo>
                    <a:pt x="739717" y="2375879"/>
                    <a:pt x="750692" y="2384659"/>
                    <a:pt x="750692" y="2397829"/>
                  </a:cubicBezTo>
                  <a:cubicBezTo>
                    <a:pt x="750692" y="2408804"/>
                    <a:pt x="741912" y="2419779"/>
                    <a:pt x="728742" y="2419779"/>
                  </a:cubicBezTo>
                  <a:close/>
                  <a:moveTo>
                    <a:pt x="1608939" y="2419779"/>
                  </a:moveTo>
                  <a:cubicBezTo>
                    <a:pt x="1604549" y="2419779"/>
                    <a:pt x="1602354" y="2417584"/>
                    <a:pt x="1604549" y="2415389"/>
                  </a:cubicBezTo>
                  <a:cubicBezTo>
                    <a:pt x="1604549" y="2413194"/>
                    <a:pt x="1606743" y="2410999"/>
                    <a:pt x="1608939" y="2410999"/>
                  </a:cubicBezTo>
                  <a:cubicBezTo>
                    <a:pt x="1611134" y="2410999"/>
                    <a:pt x="1613329" y="2413194"/>
                    <a:pt x="1613329" y="2415389"/>
                  </a:cubicBezTo>
                  <a:cubicBezTo>
                    <a:pt x="1613329" y="2417584"/>
                    <a:pt x="1611134" y="2419779"/>
                    <a:pt x="1608939" y="2419779"/>
                  </a:cubicBezTo>
                  <a:close/>
                  <a:moveTo>
                    <a:pt x="408271" y="2426364"/>
                  </a:moveTo>
                  <a:cubicBezTo>
                    <a:pt x="397361" y="2426364"/>
                    <a:pt x="388516" y="2417519"/>
                    <a:pt x="388516" y="2406609"/>
                  </a:cubicBezTo>
                  <a:cubicBezTo>
                    <a:pt x="388516" y="2395699"/>
                    <a:pt x="397361" y="2386853"/>
                    <a:pt x="408271" y="2386853"/>
                  </a:cubicBezTo>
                  <a:cubicBezTo>
                    <a:pt x="419181" y="2386853"/>
                    <a:pt x="428027" y="2395699"/>
                    <a:pt x="428027" y="2406609"/>
                  </a:cubicBezTo>
                  <a:cubicBezTo>
                    <a:pt x="428027" y="2417519"/>
                    <a:pt x="419181" y="2426364"/>
                    <a:pt x="408271" y="2426364"/>
                  </a:cubicBezTo>
                  <a:close/>
                  <a:moveTo>
                    <a:pt x="1259933" y="2450509"/>
                  </a:moveTo>
                  <a:cubicBezTo>
                    <a:pt x="1253348" y="2450509"/>
                    <a:pt x="1246763" y="2443924"/>
                    <a:pt x="1246763" y="2437339"/>
                  </a:cubicBezTo>
                  <a:cubicBezTo>
                    <a:pt x="1246763" y="2430754"/>
                    <a:pt x="1253348" y="2424169"/>
                    <a:pt x="1259933" y="2424169"/>
                  </a:cubicBezTo>
                  <a:cubicBezTo>
                    <a:pt x="1266518" y="2424169"/>
                    <a:pt x="1273103" y="2430754"/>
                    <a:pt x="1273103" y="2437339"/>
                  </a:cubicBezTo>
                  <a:cubicBezTo>
                    <a:pt x="1273103" y="2443924"/>
                    <a:pt x="1266518" y="2450509"/>
                    <a:pt x="1259933" y="2450509"/>
                  </a:cubicBezTo>
                  <a:close/>
                  <a:moveTo>
                    <a:pt x="1832829" y="2452704"/>
                  </a:moveTo>
                  <a:cubicBezTo>
                    <a:pt x="1830634" y="2452704"/>
                    <a:pt x="1828439" y="2450509"/>
                    <a:pt x="1826244" y="2446119"/>
                  </a:cubicBezTo>
                  <a:cubicBezTo>
                    <a:pt x="1826244" y="2441729"/>
                    <a:pt x="1828439" y="2439534"/>
                    <a:pt x="1832829" y="2439534"/>
                  </a:cubicBezTo>
                  <a:cubicBezTo>
                    <a:pt x="1837219" y="2439534"/>
                    <a:pt x="1839414" y="2441729"/>
                    <a:pt x="1839414" y="2446119"/>
                  </a:cubicBezTo>
                  <a:cubicBezTo>
                    <a:pt x="1839414" y="2450509"/>
                    <a:pt x="1837219" y="2452704"/>
                    <a:pt x="1832829" y="2452704"/>
                  </a:cubicBezTo>
                  <a:close/>
                  <a:moveTo>
                    <a:pt x="2074279" y="2465874"/>
                  </a:moveTo>
                  <a:cubicBezTo>
                    <a:pt x="2073182" y="2464776"/>
                    <a:pt x="2073182" y="2463679"/>
                    <a:pt x="2073456" y="2463130"/>
                  </a:cubicBezTo>
                  <a:cubicBezTo>
                    <a:pt x="2073730" y="2462581"/>
                    <a:pt x="2074279" y="2462581"/>
                    <a:pt x="2074279" y="2463679"/>
                  </a:cubicBezTo>
                  <a:cubicBezTo>
                    <a:pt x="2074279" y="2463679"/>
                    <a:pt x="2076474" y="2463679"/>
                    <a:pt x="2074279" y="2465874"/>
                  </a:cubicBezTo>
                  <a:close/>
                  <a:moveTo>
                    <a:pt x="924097" y="2476849"/>
                  </a:moveTo>
                  <a:cubicBezTo>
                    <a:pt x="910927" y="2476849"/>
                    <a:pt x="897757" y="2465874"/>
                    <a:pt x="899953" y="2452704"/>
                  </a:cubicBezTo>
                  <a:cubicBezTo>
                    <a:pt x="899953" y="2439534"/>
                    <a:pt x="910927" y="2428558"/>
                    <a:pt x="924097" y="2428558"/>
                  </a:cubicBezTo>
                  <a:cubicBezTo>
                    <a:pt x="937267" y="2428558"/>
                    <a:pt x="948242" y="2439534"/>
                    <a:pt x="948242" y="2452704"/>
                  </a:cubicBezTo>
                  <a:cubicBezTo>
                    <a:pt x="948242" y="2465874"/>
                    <a:pt x="937267" y="2476849"/>
                    <a:pt x="924097" y="2476849"/>
                  </a:cubicBezTo>
                  <a:close/>
                  <a:moveTo>
                    <a:pt x="597041" y="2485629"/>
                  </a:moveTo>
                  <a:cubicBezTo>
                    <a:pt x="583871" y="2485629"/>
                    <a:pt x="572896" y="2474654"/>
                    <a:pt x="575091" y="2463679"/>
                  </a:cubicBezTo>
                  <a:cubicBezTo>
                    <a:pt x="575091" y="2452704"/>
                    <a:pt x="583871" y="2441729"/>
                    <a:pt x="597041" y="2441729"/>
                  </a:cubicBezTo>
                  <a:cubicBezTo>
                    <a:pt x="608016" y="2441729"/>
                    <a:pt x="618991" y="2450509"/>
                    <a:pt x="618991" y="2463679"/>
                  </a:cubicBezTo>
                  <a:cubicBezTo>
                    <a:pt x="618991" y="2474654"/>
                    <a:pt x="610211" y="2485629"/>
                    <a:pt x="597041" y="2485629"/>
                  </a:cubicBezTo>
                  <a:close/>
                  <a:moveTo>
                    <a:pt x="1472848" y="2490019"/>
                  </a:moveTo>
                  <a:cubicBezTo>
                    <a:pt x="1466263" y="2490019"/>
                    <a:pt x="1461873" y="2485629"/>
                    <a:pt x="1464068" y="2481239"/>
                  </a:cubicBezTo>
                  <a:cubicBezTo>
                    <a:pt x="1464068" y="2476849"/>
                    <a:pt x="1468458" y="2472459"/>
                    <a:pt x="1472848" y="2472459"/>
                  </a:cubicBezTo>
                  <a:cubicBezTo>
                    <a:pt x="1477238" y="2472459"/>
                    <a:pt x="1481628" y="2476849"/>
                    <a:pt x="1481628" y="2481239"/>
                  </a:cubicBezTo>
                  <a:cubicBezTo>
                    <a:pt x="1481628" y="2485629"/>
                    <a:pt x="1477238" y="2490019"/>
                    <a:pt x="1472848" y="2490019"/>
                  </a:cubicBezTo>
                  <a:close/>
                  <a:moveTo>
                    <a:pt x="274376" y="2494409"/>
                  </a:moveTo>
                  <a:cubicBezTo>
                    <a:pt x="261206" y="2494409"/>
                    <a:pt x="250230" y="2483434"/>
                    <a:pt x="250230" y="2470264"/>
                  </a:cubicBezTo>
                  <a:cubicBezTo>
                    <a:pt x="250230" y="2457094"/>
                    <a:pt x="261206" y="2446119"/>
                    <a:pt x="274376" y="2446119"/>
                  </a:cubicBezTo>
                  <a:cubicBezTo>
                    <a:pt x="287546" y="2446119"/>
                    <a:pt x="298521" y="2457094"/>
                    <a:pt x="298521" y="2470264"/>
                  </a:cubicBezTo>
                  <a:cubicBezTo>
                    <a:pt x="298521" y="2483434"/>
                    <a:pt x="287546" y="2494409"/>
                    <a:pt x="274376" y="2494409"/>
                  </a:cubicBezTo>
                  <a:close/>
                  <a:moveTo>
                    <a:pt x="1126038" y="2522944"/>
                  </a:moveTo>
                  <a:cubicBezTo>
                    <a:pt x="1113915" y="2522944"/>
                    <a:pt x="1104088" y="2513117"/>
                    <a:pt x="1104088" y="2500994"/>
                  </a:cubicBezTo>
                  <a:cubicBezTo>
                    <a:pt x="1104088" y="2488871"/>
                    <a:pt x="1113915" y="2479044"/>
                    <a:pt x="1126038" y="2479044"/>
                  </a:cubicBezTo>
                  <a:cubicBezTo>
                    <a:pt x="1138160" y="2479044"/>
                    <a:pt x="1147987" y="2488871"/>
                    <a:pt x="1147987" y="2500994"/>
                  </a:cubicBezTo>
                  <a:cubicBezTo>
                    <a:pt x="1147987" y="2513117"/>
                    <a:pt x="1138160" y="2522944"/>
                    <a:pt x="1126038" y="2522944"/>
                  </a:cubicBezTo>
                  <a:close/>
                  <a:moveTo>
                    <a:pt x="1694544" y="2522944"/>
                  </a:moveTo>
                  <a:cubicBezTo>
                    <a:pt x="1690154" y="2522944"/>
                    <a:pt x="1687959" y="2518554"/>
                    <a:pt x="1685764" y="2514164"/>
                  </a:cubicBezTo>
                  <a:cubicBezTo>
                    <a:pt x="1685764" y="2509774"/>
                    <a:pt x="1690154" y="2505384"/>
                    <a:pt x="1694544" y="2505384"/>
                  </a:cubicBezTo>
                  <a:cubicBezTo>
                    <a:pt x="1698934" y="2505384"/>
                    <a:pt x="1703324" y="2509774"/>
                    <a:pt x="1703324" y="2514164"/>
                  </a:cubicBezTo>
                  <a:cubicBezTo>
                    <a:pt x="1703324" y="2518554"/>
                    <a:pt x="1698934" y="2522944"/>
                    <a:pt x="1694544" y="2522944"/>
                  </a:cubicBezTo>
                  <a:close/>
                  <a:moveTo>
                    <a:pt x="1931604" y="2542699"/>
                  </a:moveTo>
                  <a:cubicBezTo>
                    <a:pt x="1927215" y="2542699"/>
                    <a:pt x="1925019" y="2540504"/>
                    <a:pt x="1925019" y="2536114"/>
                  </a:cubicBezTo>
                  <a:cubicBezTo>
                    <a:pt x="1925019" y="2531724"/>
                    <a:pt x="1927215" y="2529529"/>
                    <a:pt x="1931604" y="2529529"/>
                  </a:cubicBezTo>
                  <a:cubicBezTo>
                    <a:pt x="1935994" y="2529529"/>
                    <a:pt x="1938189" y="2533919"/>
                    <a:pt x="1938189" y="2536114"/>
                  </a:cubicBezTo>
                  <a:cubicBezTo>
                    <a:pt x="1938189" y="2540504"/>
                    <a:pt x="1933799" y="2542699"/>
                    <a:pt x="1931604" y="2542699"/>
                  </a:cubicBezTo>
                  <a:close/>
                  <a:moveTo>
                    <a:pt x="2181835" y="2544894"/>
                  </a:moveTo>
                  <a:cubicBezTo>
                    <a:pt x="2179639" y="2544894"/>
                    <a:pt x="2179639" y="2542699"/>
                    <a:pt x="2179639" y="2542699"/>
                  </a:cubicBezTo>
                  <a:cubicBezTo>
                    <a:pt x="2179639" y="2542699"/>
                    <a:pt x="2179639" y="2540504"/>
                    <a:pt x="2181835" y="2540504"/>
                  </a:cubicBezTo>
                  <a:cubicBezTo>
                    <a:pt x="2181835" y="2540504"/>
                    <a:pt x="2184030" y="2540504"/>
                    <a:pt x="2184030" y="2542699"/>
                  </a:cubicBezTo>
                  <a:cubicBezTo>
                    <a:pt x="2184030" y="2542699"/>
                    <a:pt x="2184030" y="2544894"/>
                    <a:pt x="2181835" y="2544894"/>
                  </a:cubicBezTo>
                  <a:close/>
                  <a:moveTo>
                    <a:pt x="790202" y="2549284"/>
                  </a:moveTo>
                  <a:cubicBezTo>
                    <a:pt x="772642" y="2549284"/>
                    <a:pt x="757277" y="2533919"/>
                    <a:pt x="757277" y="2516359"/>
                  </a:cubicBezTo>
                  <a:cubicBezTo>
                    <a:pt x="757277" y="2498799"/>
                    <a:pt x="772642" y="2483434"/>
                    <a:pt x="790202" y="2483434"/>
                  </a:cubicBezTo>
                  <a:cubicBezTo>
                    <a:pt x="807762" y="2483434"/>
                    <a:pt x="823127" y="2498799"/>
                    <a:pt x="823127" y="2516359"/>
                  </a:cubicBezTo>
                  <a:cubicBezTo>
                    <a:pt x="823127" y="2533919"/>
                    <a:pt x="807762" y="2549284"/>
                    <a:pt x="790202" y="2549284"/>
                  </a:cubicBezTo>
                  <a:close/>
                  <a:moveTo>
                    <a:pt x="463146" y="2553674"/>
                  </a:moveTo>
                  <a:cubicBezTo>
                    <a:pt x="447781" y="2553674"/>
                    <a:pt x="434611" y="2542699"/>
                    <a:pt x="436806" y="2527334"/>
                  </a:cubicBezTo>
                  <a:cubicBezTo>
                    <a:pt x="436806" y="2514164"/>
                    <a:pt x="447781" y="2500994"/>
                    <a:pt x="463146" y="2500994"/>
                  </a:cubicBezTo>
                  <a:cubicBezTo>
                    <a:pt x="476316" y="2500994"/>
                    <a:pt x="489487" y="2511969"/>
                    <a:pt x="489487" y="2527334"/>
                  </a:cubicBezTo>
                  <a:cubicBezTo>
                    <a:pt x="489487" y="2540504"/>
                    <a:pt x="478512" y="2553674"/>
                    <a:pt x="463146" y="2553674"/>
                  </a:cubicBezTo>
                  <a:close/>
                  <a:moveTo>
                    <a:pt x="1336757" y="2562454"/>
                  </a:moveTo>
                  <a:cubicBezTo>
                    <a:pt x="1327977" y="2562454"/>
                    <a:pt x="1321393" y="2553674"/>
                    <a:pt x="1321393" y="2547089"/>
                  </a:cubicBezTo>
                  <a:cubicBezTo>
                    <a:pt x="1321393" y="2538309"/>
                    <a:pt x="1327977" y="2531724"/>
                    <a:pt x="1336757" y="2531724"/>
                  </a:cubicBezTo>
                  <a:cubicBezTo>
                    <a:pt x="1345537" y="2531724"/>
                    <a:pt x="1352123" y="2538309"/>
                    <a:pt x="1352123" y="2547089"/>
                  </a:cubicBezTo>
                  <a:cubicBezTo>
                    <a:pt x="1352123" y="2555869"/>
                    <a:pt x="1345537" y="2562454"/>
                    <a:pt x="1336757" y="2562454"/>
                  </a:cubicBezTo>
                  <a:close/>
                  <a:moveTo>
                    <a:pt x="1556258" y="2593185"/>
                  </a:moveTo>
                  <a:cubicBezTo>
                    <a:pt x="1551869" y="2593185"/>
                    <a:pt x="1545283" y="2588795"/>
                    <a:pt x="1545283" y="2582209"/>
                  </a:cubicBezTo>
                  <a:cubicBezTo>
                    <a:pt x="1545283" y="2575624"/>
                    <a:pt x="1549673" y="2571234"/>
                    <a:pt x="1556258" y="2571234"/>
                  </a:cubicBezTo>
                  <a:cubicBezTo>
                    <a:pt x="1562844" y="2571234"/>
                    <a:pt x="1567234" y="2575624"/>
                    <a:pt x="1567234" y="2582209"/>
                  </a:cubicBezTo>
                  <a:cubicBezTo>
                    <a:pt x="1567234" y="2588795"/>
                    <a:pt x="1562844" y="2593185"/>
                    <a:pt x="1556258" y="2593185"/>
                  </a:cubicBezTo>
                  <a:close/>
                  <a:moveTo>
                    <a:pt x="992142" y="2601965"/>
                  </a:moveTo>
                  <a:cubicBezTo>
                    <a:pt x="972387" y="2601965"/>
                    <a:pt x="957022" y="2586599"/>
                    <a:pt x="957022" y="2566844"/>
                  </a:cubicBezTo>
                  <a:cubicBezTo>
                    <a:pt x="957022" y="2547089"/>
                    <a:pt x="972387" y="2531724"/>
                    <a:pt x="992142" y="2531724"/>
                  </a:cubicBezTo>
                  <a:cubicBezTo>
                    <a:pt x="1011897" y="2531724"/>
                    <a:pt x="1027262" y="2547089"/>
                    <a:pt x="1027262" y="2566844"/>
                  </a:cubicBezTo>
                  <a:cubicBezTo>
                    <a:pt x="1027262" y="2586599"/>
                    <a:pt x="1011897" y="2601965"/>
                    <a:pt x="992142" y="2601965"/>
                  </a:cubicBezTo>
                  <a:close/>
                  <a:moveTo>
                    <a:pt x="656306" y="2617330"/>
                  </a:moveTo>
                  <a:cubicBezTo>
                    <a:pt x="636551" y="2617330"/>
                    <a:pt x="618991" y="2601965"/>
                    <a:pt x="618991" y="2580014"/>
                  </a:cubicBezTo>
                  <a:cubicBezTo>
                    <a:pt x="618991" y="2560260"/>
                    <a:pt x="636551" y="2542699"/>
                    <a:pt x="656306" y="2542699"/>
                  </a:cubicBezTo>
                  <a:cubicBezTo>
                    <a:pt x="676061" y="2542699"/>
                    <a:pt x="693621" y="2560260"/>
                    <a:pt x="693621" y="2580014"/>
                  </a:cubicBezTo>
                  <a:cubicBezTo>
                    <a:pt x="693621" y="2599769"/>
                    <a:pt x="676061" y="2617330"/>
                    <a:pt x="656306" y="2617330"/>
                  </a:cubicBezTo>
                  <a:close/>
                  <a:moveTo>
                    <a:pt x="1788929" y="2617330"/>
                  </a:moveTo>
                  <a:cubicBezTo>
                    <a:pt x="1784539" y="2617330"/>
                    <a:pt x="1780149" y="2612940"/>
                    <a:pt x="1780149" y="2608549"/>
                  </a:cubicBezTo>
                  <a:cubicBezTo>
                    <a:pt x="1780149" y="2604159"/>
                    <a:pt x="1784539" y="2599769"/>
                    <a:pt x="1788929" y="2599769"/>
                  </a:cubicBezTo>
                  <a:cubicBezTo>
                    <a:pt x="1793319" y="2599769"/>
                    <a:pt x="1797709" y="2604159"/>
                    <a:pt x="1797709" y="2608549"/>
                  </a:cubicBezTo>
                  <a:cubicBezTo>
                    <a:pt x="1797709" y="2612940"/>
                    <a:pt x="1793319" y="2617330"/>
                    <a:pt x="1788929" y="2617330"/>
                  </a:cubicBezTo>
                  <a:close/>
                  <a:moveTo>
                    <a:pt x="329251" y="2619524"/>
                  </a:moveTo>
                  <a:cubicBezTo>
                    <a:pt x="313886" y="2619524"/>
                    <a:pt x="300715" y="2606355"/>
                    <a:pt x="300715" y="2590989"/>
                  </a:cubicBezTo>
                  <a:cubicBezTo>
                    <a:pt x="300715" y="2575624"/>
                    <a:pt x="313886" y="2562454"/>
                    <a:pt x="329251" y="2562454"/>
                  </a:cubicBezTo>
                  <a:cubicBezTo>
                    <a:pt x="344616" y="2562454"/>
                    <a:pt x="357786" y="2575624"/>
                    <a:pt x="357786" y="2590989"/>
                  </a:cubicBezTo>
                  <a:cubicBezTo>
                    <a:pt x="357786" y="2606355"/>
                    <a:pt x="344616" y="2619524"/>
                    <a:pt x="329251" y="2619524"/>
                  </a:cubicBezTo>
                  <a:close/>
                  <a:moveTo>
                    <a:pt x="2034770" y="2626110"/>
                  </a:moveTo>
                  <a:cubicBezTo>
                    <a:pt x="2030380" y="2626110"/>
                    <a:pt x="2028184" y="2623914"/>
                    <a:pt x="2028184" y="2619524"/>
                  </a:cubicBezTo>
                  <a:cubicBezTo>
                    <a:pt x="2028184" y="2615134"/>
                    <a:pt x="2032574" y="2612940"/>
                    <a:pt x="2034770" y="2612940"/>
                  </a:cubicBezTo>
                  <a:cubicBezTo>
                    <a:pt x="2039160" y="2612940"/>
                    <a:pt x="2041355" y="2617330"/>
                    <a:pt x="2041355" y="2619524"/>
                  </a:cubicBezTo>
                  <a:cubicBezTo>
                    <a:pt x="2041355" y="2623914"/>
                    <a:pt x="2039160" y="2626110"/>
                    <a:pt x="2034770" y="2626110"/>
                  </a:cubicBezTo>
                  <a:close/>
                  <a:moveTo>
                    <a:pt x="1200668" y="2632694"/>
                  </a:moveTo>
                  <a:cubicBezTo>
                    <a:pt x="1189693" y="2632694"/>
                    <a:pt x="1178718" y="2623914"/>
                    <a:pt x="1178718" y="2610745"/>
                  </a:cubicBezTo>
                  <a:cubicBezTo>
                    <a:pt x="1178718" y="2597575"/>
                    <a:pt x="1189693" y="2588795"/>
                    <a:pt x="1200668" y="2588795"/>
                  </a:cubicBezTo>
                  <a:cubicBezTo>
                    <a:pt x="1213838" y="2588795"/>
                    <a:pt x="1222618" y="2597575"/>
                    <a:pt x="1222618" y="2610745"/>
                  </a:cubicBezTo>
                  <a:cubicBezTo>
                    <a:pt x="1222618" y="2623914"/>
                    <a:pt x="1211643" y="2632694"/>
                    <a:pt x="1200668" y="2632694"/>
                  </a:cubicBezTo>
                  <a:close/>
                  <a:moveTo>
                    <a:pt x="858247" y="2663425"/>
                  </a:moveTo>
                  <a:cubicBezTo>
                    <a:pt x="840687" y="2663425"/>
                    <a:pt x="825322" y="2648060"/>
                    <a:pt x="825322" y="2630500"/>
                  </a:cubicBezTo>
                  <a:cubicBezTo>
                    <a:pt x="825322" y="2612940"/>
                    <a:pt x="840687" y="2597575"/>
                    <a:pt x="858247" y="2597575"/>
                  </a:cubicBezTo>
                  <a:cubicBezTo>
                    <a:pt x="875807" y="2597575"/>
                    <a:pt x="891173" y="2612940"/>
                    <a:pt x="891173" y="2630500"/>
                  </a:cubicBezTo>
                  <a:cubicBezTo>
                    <a:pt x="891173" y="2648060"/>
                    <a:pt x="875807" y="2663425"/>
                    <a:pt x="858247" y="2663425"/>
                  </a:cubicBezTo>
                  <a:close/>
                  <a:moveTo>
                    <a:pt x="1417973" y="2665619"/>
                  </a:moveTo>
                  <a:cubicBezTo>
                    <a:pt x="1409193" y="2665619"/>
                    <a:pt x="1402608" y="2659034"/>
                    <a:pt x="1402608" y="2650254"/>
                  </a:cubicBezTo>
                  <a:cubicBezTo>
                    <a:pt x="1402608" y="2641474"/>
                    <a:pt x="1409193" y="2634889"/>
                    <a:pt x="1417973" y="2634889"/>
                  </a:cubicBezTo>
                  <a:cubicBezTo>
                    <a:pt x="1426753" y="2634889"/>
                    <a:pt x="1433338" y="2641474"/>
                    <a:pt x="1433338" y="2650254"/>
                  </a:cubicBezTo>
                  <a:cubicBezTo>
                    <a:pt x="1433338" y="2659034"/>
                    <a:pt x="1426753" y="2665619"/>
                    <a:pt x="1417973" y="2665619"/>
                  </a:cubicBezTo>
                  <a:close/>
                  <a:moveTo>
                    <a:pt x="2414506" y="2670010"/>
                  </a:moveTo>
                  <a:cubicBezTo>
                    <a:pt x="2414506" y="2670010"/>
                    <a:pt x="2412311" y="2670010"/>
                    <a:pt x="2412311" y="2667815"/>
                  </a:cubicBezTo>
                  <a:cubicBezTo>
                    <a:pt x="2412311" y="2667815"/>
                    <a:pt x="2412311" y="2665619"/>
                    <a:pt x="2414506" y="2665619"/>
                  </a:cubicBezTo>
                  <a:cubicBezTo>
                    <a:pt x="2414506" y="2665619"/>
                    <a:pt x="2416700" y="2665619"/>
                    <a:pt x="2416700" y="2667815"/>
                  </a:cubicBezTo>
                  <a:cubicBezTo>
                    <a:pt x="2416700" y="2667815"/>
                    <a:pt x="2416700" y="2670010"/>
                    <a:pt x="2414506" y="2670010"/>
                  </a:cubicBezTo>
                  <a:close/>
                  <a:moveTo>
                    <a:pt x="522412" y="2672205"/>
                  </a:moveTo>
                  <a:cubicBezTo>
                    <a:pt x="509241" y="2672205"/>
                    <a:pt x="496071" y="2659035"/>
                    <a:pt x="496071" y="2645865"/>
                  </a:cubicBezTo>
                  <a:cubicBezTo>
                    <a:pt x="496071" y="2632694"/>
                    <a:pt x="507047" y="2619524"/>
                    <a:pt x="522412" y="2619524"/>
                  </a:cubicBezTo>
                  <a:cubicBezTo>
                    <a:pt x="535582" y="2619524"/>
                    <a:pt x="548752" y="2630500"/>
                    <a:pt x="548752" y="2645865"/>
                  </a:cubicBezTo>
                  <a:cubicBezTo>
                    <a:pt x="548752" y="2659035"/>
                    <a:pt x="537776" y="2672205"/>
                    <a:pt x="522412" y="2672205"/>
                  </a:cubicBezTo>
                  <a:close/>
                  <a:moveTo>
                    <a:pt x="195356" y="2674399"/>
                  </a:moveTo>
                  <a:cubicBezTo>
                    <a:pt x="186576" y="2674399"/>
                    <a:pt x="175600" y="2665619"/>
                    <a:pt x="175600" y="2654644"/>
                  </a:cubicBezTo>
                  <a:cubicBezTo>
                    <a:pt x="175600" y="2643669"/>
                    <a:pt x="184380" y="2634889"/>
                    <a:pt x="195356" y="2634889"/>
                  </a:cubicBezTo>
                  <a:cubicBezTo>
                    <a:pt x="206330" y="2634889"/>
                    <a:pt x="215111" y="2643669"/>
                    <a:pt x="215111" y="2654644"/>
                  </a:cubicBezTo>
                  <a:cubicBezTo>
                    <a:pt x="215111" y="2665619"/>
                    <a:pt x="206330" y="2674399"/>
                    <a:pt x="195356" y="2674399"/>
                  </a:cubicBezTo>
                  <a:close/>
                  <a:moveTo>
                    <a:pt x="1648449" y="2691960"/>
                  </a:moveTo>
                  <a:cubicBezTo>
                    <a:pt x="1641864" y="2691960"/>
                    <a:pt x="1635279" y="2685375"/>
                    <a:pt x="1635279" y="2678790"/>
                  </a:cubicBezTo>
                  <a:cubicBezTo>
                    <a:pt x="1635279" y="2672205"/>
                    <a:pt x="1641864" y="2665619"/>
                    <a:pt x="1648449" y="2665619"/>
                  </a:cubicBezTo>
                  <a:cubicBezTo>
                    <a:pt x="1655034" y="2665619"/>
                    <a:pt x="1661619" y="2672205"/>
                    <a:pt x="1661619" y="2678790"/>
                  </a:cubicBezTo>
                  <a:cubicBezTo>
                    <a:pt x="1661619" y="2685375"/>
                    <a:pt x="1655034" y="2691960"/>
                    <a:pt x="1648449" y="2691960"/>
                  </a:cubicBezTo>
                  <a:close/>
                  <a:moveTo>
                    <a:pt x="2144518" y="2700740"/>
                  </a:moveTo>
                  <a:cubicBezTo>
                    <a:pt x="2142324" y="2700740"/>
                    <a:pt x="2137934" y="2698545"/>
                    <a:pt x="2137934" y="2694155"/>
                  </a:cubicBezTo>
                  <a:cubicBezTo>
                    <a:pt x="2137934" y="2689765"/>
                    <a:pt x="2140130" y="2687570"/>
                    <a:pt x="2144518" y="2687570"/>
                  </a:cubicBezTo>
                  <a:cubicBezTo>
                    <a:pt x="2148910" y="2687570"/>
                    <a:pt x="2151104" y="2689765"/>
                    <a:pt x="2151104" y="2694155"/>
                  </a:cubicBezTo>
                  <a:cubicBezTo>
                    <a:pt x="2151104" y="2698545"/>
                    <a:pt x="2148910" y="2700740"/>
                    <a:pt x="2144518" y="2700740"/>
                  </a:cubicBezTo>
                  <a:close/>
                  <a:moveTo>
                    <a:pt x="1889899" y="2705129"/>
                  </a:moveTo>
                  <a:cubicBezTo>
                    <a:pt x="1883314" y="2705129"/>
                    <a:pt x="1878924" y="2700739"/>
                    <a:pt x="1878924" y="2694154"/>
                  </a:cubicBezTo>
                  <a:cubicBezTo>
                    <a:pt x="1878924" y="2687569"/>
                    <a:pt x="1883314" y="2683179"/>
                    <a:pt x="1889899" y="2683179"/>
                  </a:cubicBezTo>
                  <a:cubicBezTo>
                    <a:pt x="1896484" y="2683179"/>
                    <a:pt x="1900874" y="2687569"/>
                    <a:pt x="1900874" y="2694154"/>
                  </a:cubicBezTo>
                  <a:cubicBezTo>
                    <a:pt x="1900874" y="2700739"/>
                    <a:pt x="1896484" y="2705129"/>
                    <a:pt x="1889899" y="2705129"/>
                  </a:cubicBezTo>
                  <a:close/>
                  <a:moveTo>
                    <a:pt x="1064577" y="2711715"/>
                  </a:moveTo>
                  <a:cubicBezTo>
                    <a:pt x="1047017" y="2711715"/>
                    <a:pt x="1029457" y="2696350"/>
                    <a:pt x="1029457" y="2676595"/>
                  </a:cubicBezTo>
                  <a:cubicBezTo>
                    <a:pt x="1029457" y="2656840"/>
                    <a:pt x="1044822" y="2641475"/>
                    <a:pt x="1064577" y="2641475"/>
                  </a:cubicBezTo>
                  <a:cubicBezTo>
                    <a:pt x="1084333" y="2641475"/>
                    <a:pt x="1099698" y="2656840"/>
                    <a:pt x="1099698" y="2676595"/>
                  </a:cubicBezTo>
                  <a:cubicBezTo>
                    <a:pt x="1099698" y="2696350"/>
                    <a:pt x="1084333" y="2711715"/>
                    <a:pt x="1064577" y="2711715"/>
                  </a:cubicBezTo>
                  <a:close/>
                  <a:moveTo>
                    <a:pt x="2539620" y="2716105"/>
                  </a:moveTo>
                  <a:cubicBezTo>
                    <a:pt x="2538522" y="2715008"/>
                    <a:pt x="2538522" y="2713910"/>
                    <a:pt x="2538797" y="2713362"/>
                  </a:cubicBezTo>
                  <a:cubicBezTo>
                    <a:pt x="2539072" y="2712813"/>
                    <a:pt x="2539620" y="2712813"/>
                    <a:pt x="2539620" y="2713910"/>
                  </a:cubicBezTo>
                  <a:cubicBezTo>
                    <a:pt x="2539620" y="2713910"/>
                    <a:pt x="2541816" y="2713910"/>
                    <a:pt x="2539620" y="2716105"/>
                  </a:cubicBezTo>
                  <a:close/>
                  <a:moveTo>
                    <a:pt x="722156" y="2733665"/>
                  </a:moveTo>
                  <a:cubicBezTo>
                    <a:pt x="702402" y="2733665"/>
                    <a:pt x="684841" y="2716104"/>
                    <a:pt x="682647" y="2694155"/>
                  </a:cubicBezTo>
                  <a:cubicBezTo>
                    <a:pt x="682647" y="2672205"/>
                    <a:pt x="700207" y="2654645"/>
                    <a:pt x="722156" y="2654645"/>
                  </a:cubicBezTo>
                  <a:cubicBezTo>
                    <a:pt x="744107" y="2654645"/>
                    <a:pt x="761667" y="2672205"/>
                    <a:pt x="761667" y="2694155"/>
                  </a:cubicBezTo>
                  <a:cubicBezTo>
                    <a:pt x="761667" y="2716104"/>
                    <a:pt x="744107" y="2733665"/>
                    <a:pt x="722156" y="2733665"/>
                  </a:cubicBezTo>
                  <a:close/>
                  <a:moveTo>
                    <a:pt x="390711" y="2740250"/>
                  </a:moveTo>
                  <a:cubicBezTo>
                    <a:pt x="373151" y="2740250"/>
                    <a:pt x="357786" y="2727079"/>
                    <a:pt x="359981" y="2709519"/>
                  </a:cubicBezTo>
                  <a:cubicBezTo>
                    <a:pt x="359981" y="2691959"/>
                    <a:pt x="373151" y="2678789"/>
                    <a:pt x="390711" y="2678789"/>
                  </a:cubicBezTo>
                  <a:cubicBezTo>
                    <a:pt x="408271" y="2678789"/>
                    <a:pt x="421441" y="2691959"/>
                    <a:pt x="421441" y="2709519"/>
                  </a:cubicBezTo>
                  <a:cubicBezTo>
                    <a:pt x="421441" y="2727079"/>
                    <a:pt x="408271" y="2740250"/>
                    <a:pt x="390711" y="2740250"/>
                  </a:cubicBezTo>
                  <a:close/>
                  <a:moveTo>
                    <a:pt x="1281883" y="2742444"/>
                  </a:moveTo>
                  <a:cubicBezTo>
                    <a:pt x="1266518" y="2742444"/>
                    <a:pt x="1255543" y="2731469"/>
                    <a:pt x="1255543" y="2716104"/>
                  </a:cubicBezTo>
                  <a:cubicBezTo>
                    <a:pt x="1255543" y="2700739"/>
                    <a:pt x="1266518" y="2689764"/>
                    <a:pt x="1281883" y="2689764"/>
                  </a:cubicBezTo>
                  <a:cubicBezTo>
                    <a:pt x="1297248" y="2689764"/>
                    <a:pt x="1308223" y="2700739"/>
                    <a:pt x="1308223" y="2716104"/>
                  </a:cubicBezTo>
                  <a:cubicBezTo>
                    <a:pt x="1308223" y="2731469"/>
                    <a:pt x="1297248" y="2742444"/>
                    <a:pt x="1281883" y="2742444"/>
                  </a:cubicBezTo>
                  <a:close/>
                  <a:moveTo>
                    <a:pt x="2260855" y="2764395"/>
                  </a:moveTo>
                  <a:cubicBezTo>
                    <a:pt x="2258659" y="2764395"/>
                    <a:pt x="2256465" y="2762199"/>
                    <a:pt x="2256465" y="2760004"/>
                  </a:cubicBezTo>
                  <a:cubicBezTo>
                    <a:pt x="2256465" y="2757809"/>
                    <a:pt x="2258659" y="2755614"/>
                    <a:pt x="2260855" y="2755614"/>
                  </a:cubicBezTo>
                  <a:cubicBezTo>
                    <a:pt x="2263051" y="2755614"/>
                    <a:pt x="2265245" y="2757809"/>
                    <a:pt x="2265245" y="2760004"/>
                  </a:cubicBezTo>
                  <a:cubicBezTo>
                    <a:pt x="2265245" y="2762199"/>
                    <a:pt x="2263051" y="2764395"/>
                    <a:pt x="2260855" y="2764395"/>
                  </a:cubicBezTo>
                  <a:close/>
                  <a:moveTo>
                    <a:pt x="1507968" y="2766589"/>
                  </a:moveTo>
                  <a:cubicBezTo>
                    <a:pt x="1496994" y="2766589"/>
                    <a:pt x="1490408" y="2757809"/>
                    <a:pt x="1488214" y="2746834"/>
                  </a:cubicBezTo>
                  <a:cubicBezTo>
                    <a:pt x="1488214" y="2735860"/>
                    <a:pt x="1496994" y="2727079"/>
                    <a:pt x="1507968" y="2727079"/>
                  </a:cubicBezTo>
                  <a:cubicBezTo>
                    <a:pt x="1518943" y="2727079"/>
                    <a:pt x="1527723" y="2735860"/>
                    <a:pt x="1527723" y="2746834"/>
                  </a:cubicBezTo>
                  <a:cubicBezTo>
                    <a:pt x="1527723" y="2757809"/>
                    <a:pt x="1518943" y="2766589"/>
                    <a:pt x="1507968" y="2766589"/>
                  </a:cubicBezTo>
                  <a:close/>
                  <a:moveTo>
                    <a:pt x="930682" y="2777565"/>
                  </a:moveTo>
                  <a:cubicBezTo>
                    <a:pt x="910927" y="2777565"/>
                    <a:pt x="893367" y="2762199"/>
                    <a:pt x="893367" y="2740250"/>
                  </a:cubicBezTo>
                  <a:cubicBezTo>
                    <a:pt x="893367" y="2718299"/>
                    <a:pt x="910927" y="2702934"/>
                    <a:pt x="930682" y="2702934"/>
                  </a:cubicBezTo>
                  <a:cubicBezTo>
                    <a:pt x="952633" y="2702934"/>
                    <a:pt x="967997" y="2720494"/>
                    <a:pt x="967997" y="2740250"/>
                  </a:cubicBezTo>
                  <a:cubicBezTo>
                    <a:pt x="967997" y="2762199"/>
                    <a:pt x="950437" y="2777565"/>
                    <a:pt x="930682" y="2777565"/>
                  </a:cubicBezTo>
                  <a:close/>
                  <a:moveTo>
                    <a:pt x="256816" y="2781955"/>
                  </a:moveTo>
                  <a:cubicBezTo>
                    <a:pt x="250230" y="2781955"/>
                    <a:pt x="248036" y="2777565"/>
                    <a:pt x="248036" y="2773175"/>
                  </a:cubicBezTo>
                  <a:cubicBezTo>
                    <a:pt x="248036" y="2768785"/>
                    <a:pt x="252426" y="2764395"/>
                    <a:pt x="256816" y="2764395"/>
                  </a:cubicBezTo>
                  <a:cubicBezTo>
                    <a:pt x="261206" y="2764395"/>
                    <a:pt x="265596" y="2768785"/>
                    <a:pt x="265596" y="2773175"/>
                  </a:cubicBezTo>
                  <a:cubicBezTo>
                    <a:pt x="265596" y="2777565"/>
                    <a:pt x="261206" y="2781955"/>
                    <a:pt x="256816" y="2781955"/>
                  </a:cubicBezTo>
                  <a:close/>
                  <a:moveTo>
                    <a:pt x="1745028" y="2781955"/>
                  </a:moveTo>
                  <a:cubicBezTo>
                    <a:pt x="1738444" y="2781955"/>
                    <a:pt x="1734053" y="2775369"/>
                    <a:pt x="1731859" y="2768785"/>
                  </a:cubicBezTo>
                  <a:cubicBezTo>
                    <a:pt x="1731859" y="2762199"/>
                    <a:pt x="1738444" y="2755614"/>
                    <a:pt x="1745028" y="2755614"/>
                  </a:cubicBezTo>
                  <a:cubicBezTo>
                    <a:pt x="1751614" y="2755614"/>
                    <a:pt x="1758198" y="2762199"/>
                    <a:pt x="1758198" y="2768785"/>
                  </a:cubicBezTo>
                  <a:cubicBezTo>
                    <a:pt x="1758198" y="2775369"/>
                    <a:pt x="1751614" y="2781955"/>
                    <a:pt x="1745028" y="2781955"/>
                  </a:cubicBezTo>
                  <a:close/>
                  <a:moveTo>
                    <a:pt x="1995259" y="2781955"/>
                  </a:moveTo>
                  <a:cubicBezTo>
                    <a:pt x="1990410" y="2781955"/>
                    <a:pt x="1986479" y="2778023"/>
                    <a:pt x="1986479" y="2773175"/>
                  </a:cubicBezTo>
                  <a:cubicBezTo>
                    <a:pt x="1986479" y="2768325"/>
                    <a:pt x="1990410" y="2764395"/>
                    <a:pt x="1995259" y="2764395"/>
                  </a:cubicBezTo>
                  <a:cubicBezTo>
                    <a:pt x="2000109" y="2764395"/>
                    <a:pt x="2004039" y="2768326"/>
                    <a:pt x="2004039" y="2773175"/>
                  </a:cubicBezTo>
                  <a:cubicBezTo>
                    <a:pt x="2004039" y="2778024"/>
                    <a:pt x="2000109" y="2781955"/>
                    <a:pt x="1995259" y="2781955"/>
                  </a:cubicBezTo>
                  <a:close/>
                  <a:moveTo>
                    <a:pt x="588261" y="2795125"/>
                  </a:moveTo>
                  <a:cubicBezTo>
                    <a:pt x="570701" y="2795125"/>
                    <a:pt x="555336" y="2779759"/>
                    <a:pt x="555336" y="2762199"/>
                  </a:cubicBezTo>
                  <a:cubicBezTo>
                    <a:pt x="555336" y="2744640"/>
                    <a:pt x="568506" y="2729274"/>
                    <a:pt x="588261" y="2729274"/>
                  </a:cubicBezTo>
                  <a:cubicBezTo>
                    <a:pt x="605821" y="2729274"/>
                    <a:pt x="621186" y="2742444"/>
                    <a:pt x="621186" y="2762199"/>
                  </a:cubicBezTo>
                  <a:cubicBezTo>
                    <a:pt x="621186" y="2779759"/>
                    <a:pt x="608016" y="2795125"/>
                    <a:pt x="588261" y="2795125"/>
                  </a:cubicBezTo>
                  <a:close/>
                  <a:moveTo>
                    <a:pt x="1145793" y="2817074"/>
                  </a:moveTo>
                  <a:cubicBezTo>
                    <a:pt x="1126038" y="2817074"/>
                    <a:pt x="1110672" y="2801710"/>
                    <a:pt x="1110672" y="2781955"/>
                  </a:cubicBezTo>
                  <a:cubicBezTo>
                    <a:pt x="1110672" y="2762199"/>
                    <a:pt x="1126038" y="2746834"/>
                    <a:pt x="1145793" y="2746834"/>
                  </a:cubicBezTo>
                  <a:cubicBezTo>
                    <a:pt x="1165548" y="2746834"/>
                    <a:pt x="1180912" y="2762199"/>
                    <a:pt x="1180912" y="2781955"/>
                  </a:cubicBezTo>
                  <a:cubicBezTo>
                    <a:pt x="1180912" y="2801710"/>
                    <a:pt x="1165548" y="2817074"/>
                    <a:pt x="1145793" y="2817074"/>
                  </a:cubicBezTo>
                  <a:close/>
                  <a:moveTo>
                    <a:pt x="2381579" y="2823660"/>
                  </a:moveTo>
                  <a:cubicBezTo>
                    <a:pt x="2377191" y="2823660"/>
                    <a:pt x="2372799" y="2819270"/>
                    <a:pt x="2372799" y="2814880"/>
                  </a:cubicBezTo>
                  <a:cubicBezTo>
                    <a:pt x="2372799" y="2810490"/>
                    <a:pt x="2377191" y="2806100"/>
                    <a:pt x="2381579" y="2806100"/>
                  </a:cubicBezTo>
                  <a:cubicBezTo>
                    <a:pt x="2385971" y="2806100"/>
                    <a:pt x="2390360" y="2810490"/>
                    <a:pt x="2390360" y="2814880"/>
                  </a:cubicBezTo>
                  <a:cubicBezTo>
                    <a:pt x="2390360" y="2819270"/>
                    <a:pt x="2385971" y="2823660"/>
                    <a:pt x="2381579" y="2823660"/>
                  </a:cubicBezTo>
                  <a:close/>
                  <a:moveTo>
                    <a:pt x="794592" y="2852195"/>
                  </a:moveTo>
                  <a:cubicBezTo>
                    <a:pt x="770447" y="2852195"/>
                    <a:pt x="748497" y="2832440"/>
                    <a:pt x="748497" y="2806100"/>
                  </a:cubicBezTo>
                  <a:cubicBezTo>
                    <a:pt x="748497" y="2779759"/>
                    <a:pt x="768252" y="2760004"/>
                    <a:pt x="794592" y="2760004"/>
                  </a:cubicBezTo>
                  <a:cubicBezTo>
                    <a:pt x="820932" y="2760004"/>
                    <a:pt x="840687" y="2779759"/>
                    <a:pt x="840687" y="2806100"/>
                  </a:cubicBezTo>
                  <a:cubicBezTo>
                    <a:pt x="840687" y="2832440"/>
                    <a:pt x="820932" y="2852195"/>
                    <a:pt x="794592" y="2852195"/>
                  </a:cubicBezTo>
                  <a:close/>
                  <a:moveTo>
                    <a:pt x="1369682" y="2852195"/>
                  </a:moveTo>
                  <a:cubicBezTo>
                    <a:pt x="1349928" y="2852195"/>
                    <a:pt x="1332367" y="2836830"/>
                    <a:pt x="1332367" y="2814880"/>
                  </a:cubicBezTo>
                  <a:cubicBezTo>
                    <a:pt x="1332367" y="2792929"/>
                    <a:pt x="1349928" y="2777565"/>
                    <a:pt x="1369682" y="2777565"/>
                  </a:cubicBezTo>
                  <a:cubicBezTo>
                    <a:pt x="1391633" y="2777565"/>
                    <a:pt x="1406998" y="2795125"/>
                    <a:pt x="1406998" y="2814880"/>
                  </a:cubicBezTo>
                  <a:cubicBezTo>
                    <a:pt x="1406998" y="2836830"/>
                    <a:pt x="1389438" y="2852195"/>
                    <a:pt x="1369682" y="2852195"/>
                  </a:cubicBezTo>
                  <a:close/>
                  <a:moveTo>
                    <a:pt x="2109399" y="2856585"/>
                  </a:moveTo>
                  <a:cubicBezTo>
                    <a:pt x="2102815" y="2856585"/>
                    <a:pt x="2096230" y="2852195"/>
                    <a:pt x="2096230" y="2843415"/>
                  </a:cubicBezTo>
                  <a:cubicBezTo>
                    <a:pt x="2096230" y="2836830"/>
                    <a:pt x="2102815" y="2830245"/>
                    <a:pt x="2109399" y="2830245"/>
                  </a:cubicBezTo>
                  <a:cubicBezTo>
                    <a:pt x="2115984" y="2830245"/>
                    <a:pt x="2122570" y="2836830"/>
                    <a:pt x="2122570" y="2843415"/>
                  </a:cubicBezTo>
                  <a:cubicBezTo>
                    <a:pt x="2122570" y="2849999"/>
                    <a:pt x="2115984" y="2856585"/>
                    <a:pt x="2109399" y="2856585"/>
                  </a:cubicBezTo>
                  <a:close/>
                  <a:moveTo>
                    <a:pt x="454366" y="2858780"/>
                  </a:moveTo>
                  <a:cubicBezTo>
                    <a:pt x="436806" y="2858780"/>
                    <a:pt x="419246" y="2843415"/>
                    <a:pt x="419246" y="2823660"/>
                  </a:cubicBezTo>
                  <a:cubicBezTo>
                    <a:pt x="419246" y="2803904"/>
                    <a:pt x="434611" y="2788539"/>
                    <a:pt x="454366" y="2788539"/>
                  </a:cubicBezTo>
                  <a:cubicBezTo>
                    <a:pt x="474122" y="2788539"/>
                    <a:pt x="489487" y="2803904"/>
                    <a:pt x="489487" y="2823660"/>
                  </a:cubicBezTo>
                  <a:cubicBezTo>
                    <a:pt x="489487" y="2843415"/>
                    <a:pt x="474122" y="2858780"/>
                    <a:pt x="454366" y="2858780"/>
                  </a:cubicBezTo>
                  <a:close/>
                  <a:moveTo>
                    <a:pt x="2506696" y="2867560"/>
                  </a:moveTo>
                  <a:cubicBezTo>
                    <a:pt x="2502304" y="2867560"/>
                    <a:pt x="2497916" y="2863170"/>
                    <a:pt x="2497916" y="2858780"/>
                  </a:cubicBezTo>
                  <a:cubicBezTo>
                    <a:pt x="2497916" y="2854389"/>
                    <a:pt x="2502304" y="2849999"/>
                    <a:pt x="2506696" y="2849999"/>
                  </a:cubicBezTo>
                  <a:cubicBezTo>
                    <a:pt x="2511084" y="2849999"/>
                    <a:pt x="2515476" y="2854389"/>
                    <a:pt x="2515476" y="2858780"/>
                  </a:cubicBezTo>
                  <a:cubicBezTo>
                    <a:pt x="2515476" y="2863170"/>
                    <a:pt x="2511084" y="2867560"/>
                    <a:pt x="2506696" y="2867560"/>
                  </a:cubicBezTo>
                  <a:close/>
                  <a:moveTo>
                    <a:pt x="1604549" y="2869755"/>
                  </a:moveTo>
                  <a:cubicBezTo>
                    <a:pt x="1586989" y="2869755"/>
                    <a:pt x="1576014" y="2856585"/>
                    <a:pt x="1576014" y="2841220"/>
                  </a:cubicBezTo>
                  <a:cubicBezTo>
                    <a:pt x="1576014" y="2825855"/>
                    <a:pt x="1589184" y="2812684"/>
                    <a:pt x="1604549" y="2812684"/>
                  </a:cubicBezTo>
                  <a:cubicBezTo>
                    <a:pt x="1619914" y="2812684"/>
                    <a:pt x="1633084" y="2825855"/>
                    <a:pt x="1633084" y="2841220"/>
                  </a:cubicBezTo>
                  <a:cubicBezTo>
                    <a:pt x="1633084" y="2856585"/>
                    <a:pt x="1619914" y="2869755"/>
                    <a:pt x="1604549" y="2869755"/>
                  </a:cubicBezTo>
                  <a:close/>
                  <a:moveTo>
                    <a:pt x="1850389" y="2874144"/>
                  </a:moveTo>
                  <a:cubicBezTo>
                    <a:pt x="1837219" y="2874144"/>
                    <a:pt x="1826244" y="2865365"/>
                    <a:pt x="1826244" y="2849999"/>
                  </a:cubicBezTo>
                  <a:cubicBezTo>
                    <a:pt x="1826244" y="2836830"/>
                    <a:pt x="1837219" y="2825855"/>
                    <a:pt x="1850389" y="2825855"/>
                  </a:cubicBezTo>
                  <a:cubicBezTo>
                    <a:pt x="1863559" y="2825855"/>
                    <a:pt x="1874534" y="2836830"/>
                    <a:pt x="1874534" y="2849999"/>
                  </a:cubicBezTo>
                  <a:cubicBezTo>
                    <a:pt x="1874534" y="2863170"/>
                    <a:pt x="1863559" y="2874144"/>
                    <a:pt x="1850389" y="2874144"/>
                  </a:cubicBezTo>
                  <a:close/>
                  <a:moveTo>
                    <a:pt x="1009702" y="2891704"/>
                  </a:moveTo>
                  <a:cubicBezTo>
                    <a:pt x="985557" y="2891704"/>
                    <a:pt x="967997" y="2871950"/>
                    <a:pt x="967997" y="2849999"/>
                  </a:cubicBezTo>
                  <a:cubicBezTo>
                    <a:pt x="967997" y="2828050"/>
                    <a:pt x="985557" y="2808294"/>
                    <a:pt x="1009702" y="2808294"/>
                  </a:cubicBezTo>
                  <a:cubicBezTo>
                    <a:pt x="1031652" y="2808294"/>
                    <a:pt x="1051407" y="2825855"/>
                    <a:pt x="1051407" y="2849999"/>
                  </a:cubicBezTo>
                  <a:cubicBezTo>
                    <a:pt x="1051407" y="2871950"/>
                    <a:pt x="1033847" y="2891704"/>
                    <a:pt x="1009702" y="2891704"/>
                  </a:cubicBezTo>
                  <a:close/>
                  <a:moveTo>
                    <a:pt x="2225735" y="2915850"/>
                  </a:moveTo>
                  <a:cubicBezTo>
                    <a:pt x="2221344" y="2915850"/>
                    <a:pt x="2216954" y="2911460"/>
                    <a:pt x="2216954" y="2907069"/>
                  </a:cubicBezTo>
                  <a:cubicBezTo>
                    <a:pt x="2216954" y="2902680"/>
                    <a:pt x="2221344" y="2898290"/>
                    <a:pt x="2225735" y="2898290"/>
                  </a:cubicBezTo>
                  <a:cubicBezTo>
                    <a:pt x="2230124" y="2898290"/>
                    <a:pt x="2234515" y="2902680"/>
                    <a:pt x="2234515" y="2907069"/>
                  </a:cubicBezTo>
                  <a:cubicBezTo>
                    <a:pt x="2234515" y="2911460"/>
                    <a:pt x="2230124" y="2915850"/>
                    <a:pt x="2225735" y="2915850"/>
                  </a:cubicBezTo>
                  <a:close/>
                  <a:moveTo>
                    <a:pt x="320471" y="2918045"/>
                  </a:moveTo>
                  <a:cubicBezTo>
                    <a:pt x="305106" y="2918045"/>
                    <a:pt x="291936" y="2904875"/>
                    <a:pt x="291936" y="2889510"/>
                  </a:cubicBezTo>
                  <a:cubicBezTo>
                    <a:pt x="291936" y="2874144"/>
                    <a:pt x="305106" y="2860975"/>
                    <a:pt x="320471" y="2860975"/>
                  </a:cubicBezTo>
                  <a:cubicBezTo>
                    <a:pt x="335836" y="2860975"/>
                    <a:pt x="349006" y="2874144"/>
                    <a:pt x="349006" y="2889510"/>
                  </a:cubicBezTo>
                  <a:cubicBezTo>
                    <a:pt x="349006" y="2904875"/>
                    <a:pt x="335836" y="2918045"/>
                    <a:pt x="320471" y="2918045"/>
                  </a:cubicBezTo>
                  <a:close/>
                  <a:moveTo>
                    <a:pt x="660696" y="2918045"/>
                  </a:moveTo>
                  <a:cubicBezTo>
                    <a:pt x="634356" y="2918045"/>
                    <a:pt x="614601" y="2898290"/>
                    <a:pt x="614601" y="2871950"/>
                  </a:cubicBezTo>
                  <a:cubicBezTo>
                    <a:pt x="614601" y="2845609"/>
                    <a:pt x="634356" y="2825855"/>
                    <a:pt x="660696" y="2825855"/>
                  </a:cubicBezTo>
                  <a:cubicBezTo>
                    <a:pt x="687037" y="2825855"/>
                    <a:pt x="706792" y="2845609"/>
                    <a:pt x="706792" y="2871950"/>
                  </a:cubicBezTo>
                  <a:cubicBezTo>
                    <a:pt x="706792" y="2898290"/>
                    <a:pt x="687037" y="2918045"/>
                    <a:pt x="660696" y="2918045"/>
                  </a:cubicBezTo>
                  <a:close/>
                  <a:moveTo>
                    <a:pt x="1231398" y="2924630"/>
                  </a:moveTo>
                  <a:cubicBezTo>
                    <a:pt x="1207253" y="2924630"/>
                    <a:pt x="1189693" y="2907069"/>
                    <a:pt x="1189693" y="2882925"/>
                  </a:cubicBezTo>
                  <a:cubicBezTo>
                    <a:pt x="1189693" y="2858780"/>
                    <a:pt x="1209448" y="2841220"/>
                    <a:pt x="1231398" y="2841220"/>
                  </a:cubicBezTo>
                  <a:cubicBezTo>
                    <a:pt x="1255543" y="2841220"/>
                    <a:pt x="1273103" y="2860975"/>
                    <a:pt x="1273103" y="2882925"/>
                  </a:cubicBezTo>
                  <a:cubicBezTo>
                    <a:pt x="1273103" y="2907069"/>
                    <a:pt x="1253348" y="2924630"/>
                    <a:pt x="1231398" y="2924630"/>
                  </a:cubicBezTo>
                  <a:close/>
                  <a:moveTo>
                    <a:pt x="1960140" y="2946580"/>
                  </a:moveTo>
                  <a:cubicBezTo>
                    <a:pt x="1949164" y="2946580"/>
                    <a:pt x="1940384" y="2937800"/>
                    <a:pt x="1940384" y="2926825"/>
                  </a:cubicBezTo>
                  <a:cubicBezTo>
                    <a:pt x="1940384" y="2915850"/>
                    <a:pt x="1949164" y="2907069"/>
                    <a:pt x="1960140" y="2907069"/>
                  </a:cubicBezTo>
                  <a:cubicBezTo>
                    <a:pt x="1971114" y="2907069"/>
                    <a:pt x="1979894" y="2915850"/>
                    <a:pt x="1979894" y="2926825"/>
                  </a:cubicBezTo>
                  <a:cubicBezTo>
                    <a:pt x="1979894" y="2937800"/>
                    <a:pt x="1971114" y="2946580"/>
                    <a:pt x="1960140" y="2946580"/>
                  </a:cubicBezTo>
                  <a:close/>
                  <a:moveTo>
                    <a:pt x="1461873" y="2948775"/>
                  </a:moveTo>
                  <a:cubicBezTo>
                    <a:pt x="1442118" y="2948775"/>
                    <a:pt x="1426753" y="2931215"/>
                    <a:pt x="1424558" y="2911460"/>
                  </a:cubicBezTo>
                  <a:cubicBezTo>
                    <a:pt x="1424558" y="2889510"/>
                    <a:pt x="1442118" y="2874144"/>
                    <a:pt x="1461873" y="2874144"/>
                  </a:cubicBezTo>
                  <a:cubicBezTo>
                    <a:pt x="1483823" y="2874144"/>
                    <a:pt x="1499188" y="2891705"/>
                    <a:pt x="1499188" y="2911460"/>
                  </a:cubicBezTo>
                  <a:cubicBezTo>
                    <a:pt x="1499188" y="2933410"/>
                    <a:pt x="1481628" y="2948775"/>
                    <a:pt x="1461873" y="2948775"/>
                  </a:cubicBezTo>
                  <a:close/>
                  <a:moveTo>
                    <a:pt x="1705519" y="2953165"/>
                  </a:moveTo>
                  <a:cubicBezTo>
                    <a:pt x="1690154" y="2953165"/>
                    <a:pt x="1676983" y="2942190"/>
                    <a:pt x="1679178" y="2926825"/>
                  </a:cubicBezTo>
                  <a:cubicBezTo>
                    <a:pt x="1679178" y="2913655"/>
                    <a:pt x="1690154" y="2900485"/>
                    <a:pt x="1705519" y="2900485"/>
                  </a:cubicBezTo>
                  <a:cubicBezTo>
                    <a:pt x="1718689" y="2900485"/>
                    <a:pt x="1731859" y="2911460"/>
                    <a:pt x="1731859" y="2926825"/>
                  </a:cubicBezTo>
                  <a:cubicBezTo>
                    <a:pt x="1731859" y="2939995"/>
                    <a:pt x="1720883" y="2953165"/>
                    <a:pt x="1705519" y="2953165"/>
                  </a:cubicBezTo>
                  <a:close/>
                  <a:moveTo>
                    <a:pt x="873612" y="2961945"/>
                  </a:moveTo>
                  <a:cubicBezTo>
                    <a:pt x="847272" y="2961945"/>
                    <a:pt x="827517" y="2939995"/>
                    <a:pt x="827517" y="2915850"/>
                  </a:cubicBezTo>
                  <a:cubicBezTo>
                    <a:pt x="827517" y="2889510"/>
                    <a:pt x="847272" y="2869755"/>
                    <a:pt x="873612" y="2869755"/>
                  </a:cubicBezTo>
                  <a:cubicBezTo>
                    <a:pt x="899953" y="2869755"/>
                    <a:pt x="919708" y="2889510"/>
                    <a:pt x="919708" y="2915850"/>
                  </a:cubicBezTo>
                  <a:cubicBezTo>
                    <a:pt x="919708" y="2942190"/>
                    <a:pt x="899953" y="2961945"/>
                    <a:pt x="873612" y="2961945"/>
                  </a:cubicBezTo>
                  <a:close/>
                  <a:moveTo>
                    <a:pt x="526802" y="2972920"/>
                  </a:moveTo>
                  <a:cubicBezTo>
                    <a:pt x="507047" y="2972920"/>
                    <a:pt x="491681" y="2957555"/>
                    <a:pt x="491681" y="2937800"/>
                  </a:cubicBezTo>
                  <a:cubicBezTo>
                    <a:pt x="491681" y="2918045"/>
                    <a:pt x="507047" y="2902680"/>
                    <a:pt x="526802" y="2902680"/>
                  </a:cubicBezTo>
                  <a:cubicBezTo>
                    <a:pt x="546556" y="2902680"/>
                    <a:pt x="561922" y="2918045"/>
                    <a:pt x="561922" y="2937800"/>
                  </a:cubicBezTo>
                  <a:cubicBezTo>
                    <a:pt x="561922" y="2957555"/>
                    <a:pt x="546556" y="2972920"/>
                    <a:pt x="526802" y="2972920"/>
                  </a:cubicBezTo>
                  <a:close/>
                  <a:moveTo>
                    <a:pt x="2348655" y="2972920"/>
                  </a:moveTo>
                  <a:cubicBezTo>
                    <a:pt x="2342071" y="2972920"/>
                    <a:pt x="2335485" y="2966335"/>
                    <a:pt x="2335485" y="2959750"/>
                  </a:cubicBezTo>
                  <a:cubicBezTo>
                    <a:pt x="2335485" y="2953165"/>
                    <a:pt x="2342071" y="2946580"/>
                    <a:pt x="2348655" y="2946580"/>
                  </a:cubicBezTo>
                  <a:cubicBezTo>
                    <a:pt x="2355239" y="2946580"/>
                    <a:pt x="2361825" y="2953165"/>
                    <a:pt x="2361825" y="2959750"/>
                  </a:cubicBezTo>
                  <a:cubicBezTo>
                    <a:pt x="2361825" y="2966335"/>
                    <a:pt x="2355239" y="2972920"/>
                    <a:pt x="2348655" y="2972920"/>
                  </a:cubicBezTo>
                  <a:close/>
                  <a:moveTo>
                    <a:pt x="1093112" y="2990480"/>
                  </a:moveTo>
                  <a:cubicBezTo>
                    <a:pt x="1071162" y="2990480"/>
                    <a:pt x="1055797" y="2972920"/>
                    <a:pt x="1055797" y="2953165"/>
                  </a:cubicBezTo>
                  <a:cubicBezTo>
                    <a:pt x="1055797" y="2933410"/>
                    <a:pt x="1071162" y="2915850"/>
                    <a:pt x="1093112" y="2915850"/>
                  </a:cubicBezTo>
                  <a:cubicBezTo>
                    <a:pt x="1112868" y="2915850"/>
                    <a:pt x="1130428" y="2931215"/>
                    <a:pt x="1130428" y="2953165"/>
                  </a:cubicBezTo>
                  <a:cubicBezTo>
                    <a:pt x="1130428" y="2972920"/>
                    <a:pt x="1115062" y="2990480"/>
                    <a:pt x="1093112" y="2990480"/>
                  </a:cubicBezTo>
                  <a:close/>
                  <a:moveTo>
                    <a:pt x="2074279" y="3012430"/>
                  </a:moveTo>
                  <a:cubicBezTo>
                    <a:pt x="2063304" y="3012430"/>
                    <a:pt x="2056718" y="3003650"/>
                    <a:pt x="2056718" y="2994870"/>
                  </a:cubicBezTo>
                  <a:cubicBezTo>
                    <a:pt x="2056718" y="2986090"/>
                    <a:pt x="2065498" y="2977311"/>
                    <a:pt x="2074279" y="2977311"/>
                  </a:cubicBezTo>
                  <a:cubicBezTo>
                    <a:pt x="2083059" y="2977311"/>
                    <a:pt x="2091839" y="2986090"/>
                    <a:pt x="2091839" y="2994870"/>
                  </a:cubicBezTo>
                  <a:cubicBezTo>
                    <a:pt x="2091839" y="3003650"/>
                    <a:pt x="2083059" y="3012430"/>
                    <a:pt x="2074279" y="3012430"/>
                  </a:cubicBezTo>
                  <a:close/>
                  <a:moveTo>
                    <a:pt x="2473770" y="3016820"/>
                  </a:moveTo>
                  <a:cubicBezTo>
                    <a:pt x="2467184" y="3016820"/>
                    <a:pt x="2460600" y="3010235"/>
                    <a:pt x="2460600" y="3003649"/>
                  </a:cubicBezTo>
                  <a:cubicBezTo>
                    <a:pt x="2460600" y="2997064"/>
                    <a:pt x="2467184" y="2990480"/>
                    <a:pt x="2473770" y="2990480"/>
                  </a:cubicBezTo>
                  <a:cubicBezTo>
                    <a:pt x="2480356" y="2990480"/>
                    <a:pt x="2486940" y="2997064"/>
                    <a:pt x="2486940" y="3003649"/>
                  </a:cubicBezTo>
                  <a:cubicBezTo>
                    <a:pt x="2486940" y="3010235"/>
                    <a:pt x="2480356" y="3016820"/>
                    <a:pt x="2473770" y="3016820"/>
                  </a:cubicBezTo>
                  <a:close/>
                  <a:moveTo>
                    <a:pt x="390711" y="3021210"/>
                  </a:moveTo>
                  <a:cubicBezTo>
                    <a:pt x="381931" y="3021210"/>
                    <a:pt x="373151" y="3012430"/>
                    <a:pt x="370956" y="3001455"/>
                  </a:cubicBezTo>
                  <a:cubicBezTo>
                    <a:pt x="370956" y="2990480"/>
                    <a:pt x="379736" y="2981700"/>
                    <a:pt x="390711" y="2981700"/>
                  </a:cubicBezTo>
                  <a:cubicBezTo>
                    <a:pt x="401686" y="2981700"/>
                    <a:pt x="410466" y="2990480"/>
                    <a:pt x="410466" y="3001455"/>
                  </a:cubicBezTo>
                  <a:cubicBezTo>
                    <a:pt x="410466" y="3012430"/>
                    <a:pt x="401686" y="3021210"/>
                    <a:pt x="390711" y="3021210"/>
                  </a:cubicBezTo>
                  <a:close/>
                  <a:moveTo>
                    <a:pt x="1321393" y="3023405"/>
                  </a:moveTo>
                  <a:cubicBezTo>
                    <a:pt x="1299443" y="3023405"/>
                    <a:pt x="1279688" y="3003650"/>
                    <a:pt x="1279688" y="2981700"/>
                  </a:cubicBezTo>
                  <a:cubicBezTo>
                    <a:pt x="1279688" y="2959750"/>
                    <a:pt x="1297248" y="2939995"/>
                    <a:pt x="1321393" y="2939995"/>
                  </a:cubicBezTo>
                  <a:cubicBezTo>
                    <a:pt x="1343343" y="2939995"/>
                    <a:pt x="1363099" y="2959750"/>
                    <a:pt x="1363099" y="2981700"/>
                  </a:cubicBezTo>
                  <a:cubicBezTo>
                    <a:pt x="1363099" y="3003650"/>
                    <a:pt x="1345539" y="3023405"/>
                    <a:pt x="1321393" y="3023405"/>
                  </a:cubicBezTo>
                  <a:close/>
                  <a:moveTo>
                    <a:pt x="737522" y="3029990"/>
                  </a:moveTo>
                  <a:cubicBezTo>
                    <a:pt x="708987" y="3029990"/>
                    <a:pt x="687037" y="3008040"/>
                    <a:pt x="689232" y="2981700"/>
                  </a:cubicBezTo>
                  <a:cubicBezTo>
                    <a:pt x="689232" y="2955360"/>
                    <a:pt x="711182" y="2933410"/>
                    <a:pt x="737522" y="2933410"/>
                  </a:cubicBezTo>
                  <a:cubicBezTo>
                    <a:pt x="763861" y="2933410"/>
                    <a:pt x="785812" y="2955360"/>
                    <a:pt x="785812" y="2981700"/>
                  </a:cubicBezTo>
                  <a:cubicBezTo>
                    <a:pt x="785812" y="3008040"/>
                    <a:pt x="763861" y="3029990"/>
                    <a:pt x="737522" y="3029990"/>
                  </a:cubicBezTo>
                  <a:close/>
                  <a:moveTo>
                    <a:pt x="1810879" y="3036575"/>
                  </a:moveTo>
                  <a:cubicBezTo>
                    <a:pt x="1793319" y="3036575"/>
                    <a:pt x="1780149" y="3023405"/>
                    <a:pt x="1780149" y="3005846"/>
                  </a:cubicBezTo>
                  <a:cubicBezTo>
                    <a:pt x="1780149" y="2988285"/>
                    <a:pt x="1793319" y="2975115"/>
                    <a:pt x="1810879" y="2975115"/>
                  </a:cubicBezTo>
                  <a:cubicBezTo>
                    <a:pt x="1828439" y="2975115"/>
                    <a:pt x="1841609" y="2988285"/>
                    <a:pt x="1841609" y="3005846"/>
                  </a:cubicBezTo>
                  <a:cubicBezTo>
                    <a:pt x="1841609" y="3023405"/>
                    <a:pt x="1828439" y="3036575"/>
                    <a:pt x="1810879" y="3036575"/>
                  </a:cubicBezTo>
                  <a:close/>
                  <a:moveTo>
                    <a:pt x="1560648" y="3040965"/>
                  </a:moveTo>
                  <a:cubicBezTo>
                    <a:pt x="1538699" y="3040965"/>
                    <a:pt x="1521139" y="3021210"/>
                    <a:pt x="1521139" y="3001455"/>
                  </a:cubicBezTo>
                  <a:cubicBezTo>
                    <a:pt x="1521139" y="2979505"/>
                    <a:pt x="1538699" y="2961945"/>
                    <a:pt x="1560648" y="2961945"/>
                  </a:cubicBezTo>
                  <a:cubicBezTo>
                    <a:pt x="1582598" y="2961945"/>
                    <a:pt x="1600159" y="2979505"/>
                    <a:pt x="1600159" y="3001455"/>
                  </a:cubicBezTo>
                  <a:cubicBezTo>
                    <a:pt x="1600159" y="3023405"/>
                    <a:pt x="1582598" y="3040965"/>
                    <a:pt x="1560648" y="3040965"/>
                  </a:cubicBezTo>
                  <a:close/>
                  <a:moveTo>
                    <a:pt x="2601080" y="3047550"/>
                  </a:moveTo>
                  <a:cubicBezTo>
                    <a:pt x="2596690" y="3047550"/>
                    <a:pt x="2592300" y="3043160"/>
                    <a:pt x="2592300" y="3038769"/>
                  </a:cubicBezTo>
                  <a:cubicBezTo>
                    <a:pt x="2592300" y="3034379"/>
                    <a:pt x="2596690" y="3029990"/>
                    <a:pt x="2601080" y="3029990"/>
                  </a:cubicBezTo>
                  <a:cubicBezTo>
                    <a:pt x="2605470" y="3029990"/>
                    <a:pt x="2609860" y="3034379"/>
                    <a:pt x="2609860" y="3038769"/>
                  </a:cubicBezTo>
                  <a:cubicBezTo>
                    <a:pt x="2609860" y="3043160"/>
                    <a:pt x="2605470" y="3047550"/>
                    <a:pt x="2601080" y="3047550"/>
                  </a:cubicBezTo>
                  <a:close/>
                  <a:moveTo>
                    <a:pt x="954827" y="3062915"/>
                  </a:moveTo>
                  <a:cubicBezTo>
                    <a:pt x="930682" y="3062915"/>
                    <a:pt x="910927" y="3043161"/>
                    <a:pt x="910927" y="3019016"/>
                  </a:cubicBezTo>
                  <a:cubicBezTo>
                    <a:pt x="910927" y="2994870"/>
                    <a:pt x="930682" y="2975115"/>
                    <a:pt x="954827" y="2975115"/>
                  </a:cubicBezTo>
                  <a:cubicBezTo>
                    <a:pt x="978973" y="2975115"/>
                    <a:pt x="998728" y="2994870"/>
                    <a:pt x="998728" y="3019016"/>
                  </a:cubicBezTo>
                  <a:cubicBezTo>
                    <a:pt x="998728" y="3043161"/>
                    <a:pt x="978973" y="3062915"/>
                    <a:pt x="954827" y="3062915"/>
                  </a:cubicBezTo>
                  <a:close/>
                  <a:moveTo>
                    <a:pt x="2192810" y="3071696"/>
                  </a:moveTo>
                  <a:cubicBezTo>
                    <a:pt x="2181835" y="3071696"/>
                    <a:pt x="2175250" y="3062915"/>
                    <a:pt x="2175250" y="3054135"/>
                  </a:cubicBezTo>
                  <a:cubicBezTo>
                    <a:pt x="2175250" y="3045355"/>
                    <a:pt x="2184030" y="3036575"/>
                    <a:pt x="2192810" y="3036575"/>
                  </a:cubicBezTo>
                  <a:cubicBezTo>
                    <a:pt x="2201591" y="3036575"/>
                    <a:pt x="2210370" y="3045355"/>
                    <a:pt x="2210370" y="3054135"/>
                  </a:cubicBezTo>
                  <a:cubicBezTo>
                    <a:pt x="2210370" y="3062915"/>
                    <a:pt x="2201591" y="3071696"/>
                    <a:pt x="2192810" y="3071696"/>
                  </a:cubicBezTo>
                  <a:close/>
                  <a:moveTo>
                    <a:pt x="1183108" y="3093646"/>
                  </a:moveTo>
                  <a:cubicBezTo>
                    <a:pt x="1158963" y="3093646"/>
                    <a:pt x="1139207" y="3073891"/>
                    <a:pt x="1141403" y="3051941"/>
                  </a:cubicBezTo>
                  <a:cubicBezTo>
                    <a:pt x="1141403" y="3029990"/>
                    <a:pt x="1158963" y="3010236"/>
                    <a:pt x="1183108" y="3010236"/>
                  </a:cubicBezTo>
                  <a:cubicBezTo>
                    <a:pt x="1205058" y="3010236"/>
                    <a:pt x="1224813" y="3027795"/>
                    <a:pt x="1224813" y="3051941"/>
                  </a:cubicBezTo>
                  <a:cubicBezTo>
                    <a:pt x="1224813" y="3073891"/>
                    <a:pt x="1207253" y="3093646"/>
                    <a:pt x="1183108" y="3093646"/>
                  </a:cubicBezTo>
                  <a:close/>
                  <a:moveTo>
                    <a:pt x="601432" y="3095840"/>
                  </a:moveTo>
                  <a:cubicBezTo>
                    <a:pt x="575091" y="3095840"/>
                    <a:pt x="553142" y="3073891"/>
                    <a:pt x="553142" y="3047551"/>
                  </a:cubicBezTo>
                  <a:cubicBezTo>
                    <a:pt x="553142" y="3021210"/>
                    <a:pt x="575091" y="2999260"/>
                    <a:pt x="601432" y="2999260"/>
                  </a:cubicBezTo>
                  <a:cubicBezTo>
                    <a:pt x="627772" y="2999260"/>
                    <a:pt x="649722" y="3021210"/>
                    <a:pt x="649722" y="3047551"/>
                  </a:cubicBezTo>
                  <a:cubicBezTo>
                    <a:pt x="649722" y="3073891"/>
                    <a:pt x="627772" y="3095840"/>
                    <a:pt x="601432" y="3095840"/>
                  </a:cubicBezTo>
                  <a:close/>
                  <a:moveTo>
                    <a:pt x="1922824" y="3109010"/>
                  </a:moveTo>
                  <a:cubicBezTo>
                    <a:pt x="1905264" y="3109010"/>
                    <a:pt x="1892094" y="3095840"/>
                    <a:pt x="1894289" y="3080475"/>
                  </a:cubicBezTo>
                  <a:cubicBezTo>
                    <a:pt x="1894289" y="3065110"/>
                    <a:pt x="1907459" y="3051940"/>
                    <a:pt x="1922824" y="3051940"/>
                  </a:cubicBezTo>
                  <a:cubicBezTo>
                    <a:pt x="1938189" y="3051940"/>
                    <a:pt x="1951360" y="3065110"/>
                    <a:pt x="1951360" y="3080475"/>
                  </a:cubicBezTo>
                  <a:cubicBezTo>
                    <a:pt x="1951360" y="3095840"/>
                    <a:pt x="1938189" y="3109010"/>
                    <a:pt x="1922824" y="3109010"/>
                  </a:cubicBezTo>
                  <a:close/>
                  <a:moveTo>
                    <a:pt x="1417973" y="3113401"/>
                  </a:moveTo>
                  <a:cubicBezTo>
                    <a:pt x="1394939" y="3113401"/>
                    <a:pt x="1376268" y="3094728"/>
                    <a:pt x="1376268" y="3071696"/>
                  </a:cubicBezTo>
                  <a:cubicBezTo>
                    <a:pt x="1376268" y="3048662"/>
                    <a:pt x="1394939" y="3029990"/>
                    <a:pt x="1417973" y="3029990"/>
                  </a:cubicBezTo>
                  <a:cubicBezTo>
                    <a:pt x="1441006" y="3029990"/>
                    <a:pt x="1459678" y="3048663"/>
                    <a:pt x="1459678" y="3071696"/>
                  </a:cubicBezTo>
                  <a:cubicBezTo>
                    <a:pt x="1459678" y="3094729"/>
                    <a:pt x="1441006" y="3113401"/>
                    <a:pt x="1417973" y="3113401"/>
                  </a:cubicBezTo>
                  <a:close/>
                  <a:moveTo>
                    <a:pt x="1666009" y="3115596"/>
                  </a:moveTo>
                  <a:cubicBezTo>
                    <a:pt x="1647825" y="3115596"/>
                    <a:pt x="1633084" y="3100855"/>
                    <a:pt x="1633084" y="3082670"/>
                  </a:cubicBezTo>
                  <a:cubicBezTo>
                    <a:pt x="1633084" y="3064486"/>
                    <a:pt x="1647825" y="3049745"/>
                    <a:pt x="1666009" y="3049745"/>
                  </a:cubicBezTo>
                  <a:cubicBezTo>
                    <a:pt x="1684193" y="3049745"/>
                    <a:pt x="1698934" y="3064486"/>
                    <a:pt x="1698934" y="3082670"/>
                  </a:cubicBezTo>
                  <a:cubicBezTo>
                    <a:pt x="1698934" y="3100855"/>
                    <a:pt x="1684193" y="3115596"/>
                    <a:pt x="1666009" y="3115596"/>
                  </a:cubicBezTo>
                  <a:close/>
                  <a:moveTo>
                    <a:pt x="2313535" y="3126571"/>
                  </a:moveTo>
                  <a:cubicBezTo>
                    <a:pt x="2302559" y="3126571"/>
                    <a:pt x="2291585" y="3117791"/>
                    <a:pt x="2291585" y="3104621"/>
                  </a:cubicBezTo>
                  <a:cubicBezTo>
                    <a:pt x="2291585" y="3091450"/>
                    <a:pt x="2302559" y="3082670"/>
                    <a:pt x="2313535" y="3082670"/>
                  </a:cubicBezTo>
                  <a:cubicBezTo>
                    <a:pt x="2326705" y="3082670"/>
                    <a:pt x="2335485" y="3091450"/>
                    <a:pt x="2335485" y="3104621"/>
                  </a:cubicBezTo>
                  <a:cubicBezTo>
                    <a:pt x="2335485" y="3117791"/>
                    <a:pt x="2324511" y="3126571"/>
                    <a:pt x="2313535" y="3126571"/>
                  </a:cubicBezTo>
                  <a:close/>
                  <a:moveTo>
                    <a:pt x="818737" y="3133156"/>
                  </a:moveTo>
                  <a:cubicBezTo>
                    <a:pt x="792067" y="3133156"/>
                    <a:pt x="770447" y="3111536"/>
                    <a:pt x="770447" y="3084866"/>
                  </a:cubicBezTo>
                  <a:cubicBezTo>
                    <a:pt x="770447" y="3058196"/>
                    <a:pt x="792067" y="3036575"/>
                    <a:pt x="818737" y="3036575"/>
                  </a:cubicBezTo>
                  <a:cubicBezTo>
                    <a:pt x="845407" y="3036575"/>
                    <a:pt x="867027" y="3058196"/>
                    <a:pt x="867027" y="3084866"/>
                  </a:cubicBezTo>
                  <a:cubicBezTo>
                    <a:pt x="867027" y="3111536"/>
                    <a:pt x="845407" y="3133156"/>
                    <a:pt x="818737" y="3133156"/>
                  </a:cubicBezTo>
                  <a:close/>
                  <a:moveTo>
                    <a:pt x="465342" y="3150716"/>
                  </a:moveTo>
                  <a:cubicBezTo>
                    <a:pt x="445586" y="3150716"/>
                    <a:pt x="428027" y="3133155"/>
                    <a:pt x="425831" y="3111206"/>
                  </a:cubicBezTo>
                  <a:cubicBezTo>
                    <a:pt x="425831" y="3089256"/>
                    <a:pt x="443391" y="3071696"/>
                    <a:pt x="465342" y="3071696"/>
                  </a:cubicBezTo>
                  <a:cubicBezTo>
                    <a:pt x="487291" y="3071696"/>
                    <a:pt x="504851" y="3089256"/>
                    <a:pt x="504851" y="3111206"/>
                  </a:cubicBezTo>
                  <a:cubicBezTo>
                    <a:pt x="504851" y="3133155"/>
                    <a:pt x="487291" y="3150716"/>
                    <a:pt x="465342" y="3150716"/>
                  </a:cubicBezTo>
                  <a:close/>
                  <a:moveTo>
                    <a:pt x="1042627" y="3161690"/>
                  </a:moveTo>
                  <a:cubicBezTo>
                    <a:pt x="1020677" y="3161690"/>
                    <a:pt x="1000922" y="3141935"/>
                    <a:pt x="1000922" y="3119985"/>
                  </a:cubicBezTo>
                  <a:cubicBezTo>
                    <a:pt x="1000922" y="3098035"/>
                    <a:pt x="1018482" y="3078280"/>
                    <a:pt x="1042627" y="3078280"/>
                  </a:cubicBezTo>
                  <a:cubicBezTo>
                    <a:pt x="1064577" y="3078280"/>
                    <a:pt x="1084333" y="3095840"/>
                    <a:pt x="1084333" y="3119985"/>
                  </a:cubicBezTo>
                  <a:cubicBezTo>
                    <a:pt x="1084333" y="3141935"/>
                    <a:pt x="1066773" y="3161690"/>
                    <a:pt x="1042627" y="3161690"/>
                  </a:cubicBezTo>
                  <a:close/>
                  <a:moveTo>
                    <a:pt x="2440845" y="3166081"/>
                  </a:moveTo>
                  <a:cubicBezTo>
                    <a:pt x="2429871" y="3166081"/>
                    <a:pt x="2423286" y="3157300"/>
                    <a:pt x="2423286" y="3148520"/>
                  </a:cubicBezTo>
                  <a:cubicBezTo>
                    <a:pt x="2423286" y="3139740"/>
                    <a:pt x="2432066" y="3130960"/>
                    <a:pt x="2440845" y="3130960"/>
                  </a:cubicBezTo>
                  <a:cubicBezTo>
                    <a:pt x="2449625" y="3130960"/>
                    <a:pt x="2458405" y="3139740"/>
                    <a:pt x="2458405" y="3148520"/>
                  </a:cubicBezTo>
                  <a:cubicBezTo>
                    <a:pt x="2458405" y="3157300"/>
                    <a:pt x="2449625" y="3166081"/>
                    <a:pt x="2440845" y="3166081"/>
                  </a:cubicBezTo>
                  <a:close/>
                  <a:moveTo>
                    <a:pt x="2039159" y="3177055"/>
                  </a:moveTo>
                  <a:cubicBezTo>
                    <a:pt x="2019404" y="3177055"/>
                    <a:pt x="2004039" y="3161690"/>
                    <a:pt x="2006235" y="3144130"/>
                  </a:cubicBezTo>
                  <a:cubicBezTo>
                    <a:pt x="2006235" y="3126570"/>
                    <a:pt x="2019404" y="3111205"/>
                    <a:pt x="2039159" y="3111205"/>
                  </a:cubicBezTo>
                  <a:cubicBezTo>
                    <a:pt x="2056718" y="3111205"/>
                    <a:pt x="2072084" y="3124375"/>
                    <a:pt x="2072084" y="3144130"/>
                  </a:cubicBezTo>
                  <a:cubicBezTo>
                    <a:pt x="2072084" y="3161690"/>
                    <a:pt x="2058914" y="3177055"/>
                    <a:pt x="2039159" y="3177055"/>
                  </a:cubicBezTo>
                  <a:close/>
                  <a:moveTo>
                    <a:pt x="331446" y="3181445"/>
                  </a:moveTo>
                  <a:cubicBezTo>
                    <a:pt x="329251" y="3181445"/>
                    <a:pt x="327056" y="3179250"/>
                    <a:pt x="327056" y="3177055"/>
                  </a:cubicBezTo>
                  <a:cubicBezTo>
                    <a:pt x="327056" y="3174860"/>
                    <a:pt x="329251" y="3172665"/>
                    <a:pt x="331446" y="3172665"/>
                  </a:cubicBezTo>
                  <a:cubicBezTo>
                    <a:pt x="333641" y="3172665"/>
                    <a:pt x="335836" y="3174860"/>
                    <a:pt x="335836" y="3177055"/>
                  </a:cubicBezTo>
                  <a:cubicBezTo>
                    <a:pt x="335836" y="3179250"/>
                    <a:pt x="333641" y="3181445"/>
                    <a:pt x="331446" y="3181445"/>
                  </a:cubicBezTo>
                  <a:close/>
                  <a:moveTo>
                    <a:pt x="1277493" y="3185835"/>
                  </a:moveTo>
                  <a:cubicBezTo>
                    <a:pt x="1253348" y="3185835"/>
                    <a:pt x="1235788" y="3166081"/>
                    <a:pt x="1235788" y="3144130"/>
                  </a:cubicBezTo>
                  <a:cubicBezTo>
                    <a:pt x="1235788" y="3122180"/>
                    <a:pt x="1255543" y="3102425"/>
                    <a:pt x="1277493" y="3102425"/>
                  </a:cubicBezTo>
                  <a:cubicBezTo>
                    <a:pt x="1299443" y="3102425"/>
                    <a:pt x="1319198" y="3119985"/>
                    <a:pt x="1319198" y="3144130"/>
                  </a:cubicBezTo>
                  <a:cubicBezTo>
                    <a:pt x="1319198" y="3166081"/>
                    <a:pt x="1301638" y="3185835"/>
                    <a:pt x="1277493" y="3185835"/>
                  </a:cubicBezTo>
                  <a:close/>
                  <a:moveTo>
                    <a:pt x="2568156" y="3192420"/>
                  </a:moveTo>
                  <a:cubicBezTo>
                    <a:pt x="2563765" y="3192420"/>
                    <a:pt x="2557181" y="3188030"/>
                    <a:pt x="2557181" y="3181445"/>
                  </a:cubicBezTo>
                  <a:cubicBezTo>
                    <a:pt x="2557181" y="3174860"/>
                    <a:pt x="2561570" y="3170470"/>
                    <a:pt x="2568156" y="3170470"/>
                  </a:cubicBezTo>
                  <a:cubicBezTo>
                    <a:pt x="2574741" y="3170470"/>
                    <a:pt x="2579131" y="3174860"/>
                    <a:pt x="2579131" y="3181445"/>
                  </a:cubicBezTo>
                  <a:cubicBezTo>
                    <a:pt x="2579131" y="3188030"/>
                    <a:pt x="2574741" y="3192420"/>
                    <a:pt x="2568156" y="3192420"/>
                  </a:cubicBezTo>
                  <a:close/>
                  <a:moveTo>
                    <a:pt x="1521139" y="3196810"/>
                  </a:moveTo>
                  <a:cubicBezTo>
                    <a:pt x="1499188" y="3196810"/>
                    <a:pt x="1481628" y="3179250"/>
                    <a:pt x="1481628" y="3157300"/>
                  </a:cubicBezTo>
                  <a:cubicBezTo>
                    <a:pt x="1481628" y="3135350"/>
                    <a:pt x="1499188" y="3117790"/>
                    <a:pt x="1521139" y="3117790"/>
                  </a:cubicBezTo>
                  <a:cubicBezTo>
                    <a:pt x="1543089" y="3117790"/>
                    <a:pt x="1560648" y="3135350"/>
                    <a:pt x="1560648" y="3157300"/>
                  </a:cubicBezTo>
                  <a:cubicBezTo>
                    <a:pt x="1560648" y="3179250"/>
                    <a:pt x="1543089" y="3196810"/>
                    <a:pt x="1521139" y="3196810"/>
                  </a:cubicBezTo>
                  <a:close/>
                  <a:moveTo>
                    <a:pt x="1773564" y="3196810"/>
                  </a:moveTo>
                  <a:cubicBezTo>
                    <a:pt x="1753808" y="3196810"/>
                    <a:pt x="1736249" y="3179250"/>
                    <a:pt x="1736249" y="3159495"/>
                  </a:cubicBezTo>
                  <a:cubicBezTo>
                    <a:pt x="1736249" y="3137545"/>
                    <a:pt x="1753808" y="3122180"/>
                    <a:pt x="1773564" y="3122180"/>
                  </a:cubicBezTo>
                  <a:cubicBezTo>
                    <a:pt x="1795514" y="3122180"/>
                    <a:pt x="1810879" y="3139740"/>
                    <a:pt x="1810879" y="3159495"/>
                  </a:cubicBezTo>
                  <a:cubicBezTo>
                    <a:pt x="1810879" y="3181445"/>
                    <a:pt x="1793319" y="3196810"/>
                    <a:pt x="1773564" y="3196810"/>
                  </a:cubicBezTo>
                  <a:close/>
                  <a:moveTo>
                    <a:pt x="682647" y="3201201"/>
                  </a:moveTo>
                  <a:cubicBezTo>
                    <a:pt x="656306" y="3201201"/>
                    <a:pt x="634356" y="3179251"/>
                    <a:pt x="634356" y="3152911"/>
                  </a:cubicBezTo>
                  <a:cubicBezTo>
                    <a:pt x="634356" y="3126571"/>
                    <a:pt x="656306" y="3104621"/>
                    <a:pt x="682647" y="3104621"/>
                  </a:cubicBezTo>
                  <a:cubicBezTo>
                    <a:pt x="708987" y="3104621"/>
                    <a:pt x="730936" y="3126571"/>
                    <a:pt x="730936" y="3152911"/>
                  </a:cubicBezTo>
                  <a:cubicBezTo>
                    <a:pt x="730936" y="3179251"/>
                    <a:pt x="708987" y="3201201"/>
                    <a:pt x="682647" y="3201201"/>
                  </a:cubicBezTo>
                  <a:close/>
                  <a:moveTo>
                    <a:pt x="2157690" y="3225345"/>
                  </a:moveTo>
                  <a:cubicBezTo>
                    <a:pt x="2144518" y="3225345"/>
                    <a:pt x="2135738" y="3214370"/>
                    <a:pt x="2133544" y="3201200"/>
                  </a:cubicBezTo>
                  <a:cubicBezTo>
                    <a:pt x="2133544" y="3188030"/>
                    <a:pt x="2144518" y="3177055"/>
                    <a:pt x="2157690" y="3177055"/>
                  </a:cubicBezTo>
                  <a:cubicBezTo>
                    <a:pt x="2170859" y="3177055"/>
                    <a:pt x="2181835" y="3188030"/>
                    <a:pt x="2181835" y="3201200"/>
                  </a:cubicBezTo>
                  <a:cubicBezTo>
                    <a:pt x="2181835" y="3214370"/>
                    <a:pt x="2170859" y="3225345"/>
                    <a:pt x="2157690" y="3225345"/>
                  </a:cubicBezTo>
                  <a:close/>
                  <a:moveTo>
                    <a:pt x="904342" y="3231931"/>
                  </a:moveTo>
                  <a:cubicBezTo>
                    <a:pt x="878884" y="3231931"/>
                    <a:pt x="858247" y="3211293"/>
                    <a:pt x="858247" y="3185835"/>
                  </a:cubicBezTo>
                  <a:cubicBezTo>
                    <a:pt x="858247" y="3160377"/>
                    <a:pt x="878884" y="3139740"/>
                    <a:pt x="904342" y="3139740"/>
                  </a:cubicBezTo>
                  <a:cubicBezTo>
                    <a:pt x="929799" y="3139740"/>
                    <a:pt x="950437" y="3160377"/>
                    <a:pt x="950437" y="3185835"/>
                  </a:cubicBezTo>
                  <a:cubicBezTo>
                    <a:pt x="950437" y="3211293"/>
                    <a:pt x="929799" y="3231931"/>
                    <a:pt x="904342" y="3231931"/>
                  </a:cubicBezTo>
                  <a:close/>
                  <a:moveTo>
                    <a:pt x="1137013" y="3256076"/>
                  </a:moveTo>
                  <a:cubicBezTo>
                    <a:pt x="1112868" y="3256076"/>
                    <a:pt x="1095307" y="3236321"/>
                    <a:pt x="1095307" y="3214370"/>
                  </a:cubicBezTo>
                  <a:cubicBezTo>
                    <a:pt x="1095307" y="3192420"/>
                    <a:pt x="1112868" y="3172665"/>
                    <a:pt x="1137013" y="3172665"/>
                  </a:cubicBezTo>
                  <a:cubicBezTo>
                    <a:pt x="1158963" y="3172665"/>
                    <a:pt x="1178718" y="3190225"/>
                    <a:pt x="1178718" y="3214370"/>
                  </a:cubicBezTo>
                  <a:cubicBezTo>
                    <a:pt x="1178718" y="3236321"/>
                    <a:pt x="1161157" y="3256076"/>
                    <a:pt x="1137013" y="3256076"/>
                  </a:cubicBezTo>
                  <a:close/>
                  <a:moveTo>
                    <a:pt x="546556" y="3258270"/>
                  </a:moveTo>
                  <a:cubicBezTo>
                    <a:pt x="524606" y="3258270"/>
                    <a:pt x="507047" y="3240711"/>
                    <a:pt x="507047" y="3218760"/>
                  </a:cubicBezTo>
                  <a:cubicBezTo>
                    <a:pt x="507047" y="3196810"/>
                    <a:pt x="524606" y="3179250"/>
                    <a:pt x="546556" y="3179250"/>
                  </a:cubicBezTo>
                  <a:cubicBezTo>
                    <a:pt x="568507" y="3179250"/>
                    <a:pt x="586067" y="3196810"/>
                    <a:pt x="586067" y="3218760"/>
                  </a:cubicBezTo>
                  <a:cubicBezTo>
                    <a:pt x="586067" y="3240711"/>
                    <a:pt x="568507" y="3258270"/>
                    <a:pt x="546556" y="3258270"/>
                  </a:cubicBezTo>
                  <a:close/>
                  <a:moveTo>
                    <a:pt x="1887704" y="3264856"/>
                  </a:moveTo>
                  <a:cubicBezTo>
                    <a:pt x="1867949" y="3264856"/>
                    <a:pt x="1852584" y="3249491"/>
                    <a:pt x="1852584" y="3229735"/>
                  </a:cubicBezTo>
                  <a:cubicBezTo>
                    <a:pt x="1852584" y="3209980"/>
                    <a:pt x="1867949" y="3194615"/>
                    <a:pt x="1887704" y="3194615"/>
                  </a:cubicBezTo>
                  <a:cubicBezTo>
                    <a:pt x="1907459" y="3194615"/>
                    <a:pt x="1922824" y="3209980"/>
                    <a:pt x="1922824" y="3229735"/>
                  </a:cubicBezTo>
                  <a:cubicBezTo>
                    <a:pt x="1922824" y="3249491"/>
                    <a:pt x="1907459" y="3264856"/>
                    <a:pt x="1887704" y="3264856"/>
                  </a:cubicBezTo>
                  <a:close/>
                  <a:moveTo>
                    <a:pt x="1376268" y="3271440"/>
                  </a:moveTo>
                  <a:cubicBezTo>
                    <a:pt x="1354318" y="3271440"/>
                    <a:pt x="1336757" y="3253880"/>
                    <a:pt x="1336757" y="3231931"/>
                  </a:cubicBezTo>
                  <a:cubicBezTo>
                    <a:pt x="1336757" y="3209980"/>
                    <a:pt x="1354318" y="3192420"/>
                    <a:pt x="1376268" y="3192420"/>
                  </a:cubicBezTo>
                  <a:cubicBezTo>
                    <a:pt x="1398218" y="3192420"/>
                    <a:pt x="1415778" y="3209980"/>
                    <a:pt x="1415778" y="3231931"/>
                  </a:cubicBezTo>
                  <a:cubicBezTo>
                    <a:pt x="1415778" y="3253880"/>
                    <a:pt x="1398218" y="3271440"/>
                    <a:pt x="1376268" y="3271440"/>
                  </a:cubicBezTo>
                  <a:close/>
                  <a:moveTo>
                    <a:pt x="1626499" y="3273635"/>
                  </a:moveTo>
                  <a:cubicBezTo>
                    <a:pt x="1606743" y="3273635"/>
                    <a:pt x="1589184" y="3258270"/>
                    <a:pt x="1589184" y="3236321"/>
                  </a:cubicBezTo>
                  <a:cubicBezTo>
                    <a:pt x="1589184" y="3214370"/>
                    <a:pt x="1606743" y="3199006"/>
                    <a:pt x="1626499" y="3199006"/>
                  </a:cubicBezTo>
                  <a:cubicBezTo>
                    <a:pt x="1648449" y="3199006"/>
                    <a:pt x="1663814" y="3216565"/>
                    <a:pt x="1663814" y="3236321"/>
                  </a:cubicBezTo>
                  <a:cubicBezTo>
                    <a:pt x="1663814" y="3258270"/>
                    <a:pt x="1646254" y="3273635"/>
                    <a:pt x="1626499" y="3273635"/>
                  </a:cubicBezTo>
                  <a:close/>
                  <a:moveTo>
                    <a:pt x="2280611" y="3280220"/>
                  </a:moveTo>
                  <a:cubicBezTo>
                    <a:pt x="2265245" y="3280220"/>
                    <a:pt x="2254271" y="3267050"/>
                    <a:pt x="2252075" y="3251686"/>
                  </a:cubicBezTo>
                  <a:cubicBezTo>
                    <a:pt x="2252075" y="3236321"/>
                    <a:pt x="2265245" y="3223151"/>
                    <a:pt x="2280611" y="3223151"/>
                  </a:cubicBezTo>
                  <a:cubicBezTo>
                    <a:pt x="2295975" y="3223151"/>
                    <a:pt x="2309145" y="3236321"/>
                    <a:pt x="2309145" y="3251686"/>
                  </a:cubicBezTo>
                  <a:cubicBezTo>
                    <a:pt x="2309145" y="3267050"/>
                    <a:pt x="2295975" y="3280220"/>
                    <a:pt x="2280611" y="3280220"/>
                  </a:cubicBezTo>
                  <a:close/>
                  <a:moveTo>
                    <a:pt x="768252" y="3302171"/>
                  </a:moveTo>
                  <a:cubicBezTo>
                    <a:pt x="739717" y="3302171"/>
                    <a:pt x="719962" y="3280220"/>
                    <a:pt x="719962" y="3253880"/>
                  </a:cubicBezTo>
                  <a:cubicBezTo>
                    <a:pt x="719962" y="3227540"/>
                    <a:pt x="741912" y="3205590"/>
                    <a:pt x="768252" y="3205590"/>
                  </a:cubicBezTo>
                  <a:cubicBezTo>
                    <a:pt x="794592" y="3205590"/>
                    <a:pt x="816542" y="3227540"/>
                    <a:pt x="816542" y="3253880"/>
                  </a:cubicBezTo>
                  <a:cubicBezTo>
                    <a:pt x="816542" y="3280220"/>
                    <a:pt x="794592" y="3302171"/>
                    <a:pt x="768252" y="3302171"/>
                  </a:cubicBezTo>
                  <a:close/>
                  <a:moveTo>
                    <a:pt x="2407920" y="3317536"/>
                  </a:moveTo>
                  <a:cubicBezTo>
                    <a:pt x="2394751" y="3317536"/>
                    <a:pt x="2383775" y="3306561"/>
                    <a:pt x="2383775" y="3293391"/>
                  </a:cubicBezTo>
                  <a:cubicBezTo>
                    <a:pt x="2383775" y="3280220"/>
                    <a:pt x="2394751" y="3269246"/>
                    <a:pt x="2407920" y="3269246"/>
                  </a:cubicBezTo>
                  <a:cubicBezTo>
                    <a:pt x="2421091" y="3269246"/>
                    <a:pt x="2432066" y="3280220"/>
                    <a:pt x="2432066" y="3293391"/>
                  </a:cubicBezTo>
                  <a:cubicBezTo>
                    <a:pt x="2432066" y="3306561"/>
                    <a:pt x="2421091" y="3317536"/>
                    <a:pt x="2407920" y="3317536"/>
                  </a:cubicBezTo>
                  <a:close/>
                  <a:moveTo>
                    <a:pt x="996532" y="3330706"/>
                  </a:moveTo>
                  <a:cubicBezTo>
                    <a:pt x="969862" y="3330706"/>
                    <a:pt x="948242" y="3309085"/>
                    <a:pt x="948242" y="3282415"/>
                  </a:cubicBezTo>
                  <a:cubicBezTo>
                    <a:pt x="948242" y="3255745"/>
                    <a:pt x="969862" y="3234125"/>
                    <a:pt x="996532" y="3234125"/>
                  </a:cubicBezTo>
                  <a:cubicBezTo>
                    <a:pt x="1023202" y="3234125"/>
                    <a:pt x="1044822" y="3255745"/>
                    <a:pt x="1044822" y="3282415"/>
                  </a:cubicBezTo>
                  <a:cubicBezTo>
                    <a:pt x="1044822" y="3309085"/>
                    <a:pt x="1023202" y="3330706"/>
                    <a:pt x="996532" y="3330706"/>
                  </a:cubicBezTo>
                  <a:close/>
                  <a:moveTo>
                    <a:pt x="2004039" y="3330706"/>
                  </a:moveTo>
                  <a:cubicBezTo>
                    <a:pt x="1982089" y="3330706"/>
                    <a:pt x="1964530" y="3313146"/>
                    <a:pt x="1964530" y="3291195"/>
                  </a:cubicBezTo>
                  <a:cubicBezTo>
                    <a:pt x="1964530" y="3269246"/>
                    <a:pt x="1982089" y="3251686"/>
                    <a:pt x="2004039" y="3251686"/>
                  </a:cubicBezTo>
                  <a:cubicBezTo>
                    <a:pt x="2025990" y="3251686"/>
                    <a:pt x="2043550" y="3269246"/>
                    <a:pt x="2043550" y="3291195"/>
                  </a:cubicBezTo>
                  <a:cubicBezTo>
                    <a:pt x="2043550" y="3313146"/>
                    <a:pt x="2025990" y="3330706"/>
                    <a:pt x="2004039" y="3330706"/>
                  </a:cubicBezTo>
                  <a:close/>
                  <a:moveTo>
                    <a:pt x="2535230" y="3346071"/>
                  </a:moveTo>
                  <a:cubicBezTo>
                    <a:pt x="2526450" y="3346071"/>
                    <a:pt x="2517670" y="3337290"/>
                    <a:pt x="2515476" y="3326316"/>
                  </a:cubicBezTo>
                  <a:cubicBezTo>
                    <a:pt x="2515476" y="3315341"/>
                    <a:pt x="2524256" y="3306561"/>
                    <a:pt x="2535230" y="3306561"/>
                  </a:cubicBezTo>
                  <a:cubicBezTo>
                    <a:pt x="2546205" y="3306561"/>
                    <a:pt x="2554985" y="3315341"/>
                    <a:pt x="2554985" y="3326316"/>
                  </a:cubicBezTo>
                  <a:cubicBezTo>
                    <a:pt x="2554985" y="3337290"/>
                    <a:pt x="2546205" y="3346071"/>
                    <a:pt x="2535230" y="3346071"/>
                  </a:cubicBezTo>
                  <a:close/>
                  <a:moveTo>
                    <a:pt x="1233593" y="3350461"/>
                  </a:moveTo>
                  <a:cubicBezTo>
                    <a:pt x="1209448" y="3350461"/>
                    <a:pt x="1187498" y="3328510"/>
                    <a:pt x="1187498" y="3304365"/>
                  </a:cubicBezTo>
                  <a:cubicBezTo>
                    <a:pt x="1187498" y="3278025"/>
                    <a:pt x="1207253" y="3258270"/>
                    <a:pt x="1233593" y="3258270"/>
                  </a:cubicBezTo>
                  <a:cubicBezTo>
                    <a:pt x="1259933" y="3258270"/>
                    <a:pt x="1279688" y="3280220"/>
                    <a:pt x="1279688" y="3304365"/>
                  </a:cubicBezTo>
                  <a:cubicBezTo>
                    <a:pt x="1279688" y="3330705"/>
                    <a:pt x="1257738" y="3350461"/>
                    <a:pt x="1233593" y="3350461"/>
                  </a:cubicBezTo>
                  <a:close/>
                  <a:moveTo>
                    <a:pt x="1736249" y="3352655"/>
                  </a:moveTo>
                  <a:cubicBezTo>
                    <a:pt x="1714299" y="3352655"/>
                    <a:pt x="1694544" y="3335096"/>
                    <a:pt x="1694544" y="3310951"/>
                  </a:cubicBezTo>
                  <a:cubicBezTo>
                    <a:pt x="1694544" y="3286805"/>
                    <a:pt x="1714299" y="3269246"/>
                    <a:pt x="1736249" y="3269246"/>
                  </a:cubicBezTo>
                  <a:cubicBezTo>
                    <a:pt x="1760394" y="3269246"/>
                    <a:pt x="1777954" y="3289001"/>
                    <a:pt x="1777954" y="3310951"/>
                  </a:cubicBezTo>
                  <a:cubicBezTo>
                    <a:pt x="1777954" y="3335096"/>
                    <a:pt x="1758198" y="3352655"/>
                    <a:pt x="1736249" y="3352655"/>
                  </a:cubicBezTo>
                  <a:close/>
                  <a:moveTo>
                    <a:pt x="1479433" y="3359241"/>
                  </a:moveTo>
                  <a:cubicBezTo>
                    <a:pt x="1455288" y="3359241"/>
                    <a:pt x="1435533" y="3339486"/>
                    <a:pt x="1435533" y="3315341"/>
                  </a:cubicBezTo>
                  <a:cubicBezTo>
                    <a:pt x="1435533" y="3291195"/>
                    <a:pt x="1455288" y="3271440"/>
                    <a:pt x="1479433" y="3271440"/>
                  </a:cubicBezTo>
                  <a:cubicBezTo>
                    <a:pt x="1503578" y="3271440"/>
                    <a:pt x="1523333" y="3291195"/>
                    <a:pt x="1523333" y="3315341"/>
                  </a:cubicBezTo>
                  <a:cubicBezTo>
                    <a:pt x="1523333" y="3339486"/>
                    <a:pt x="1503578" y="3359241"/>
                    <a:pt x="1479433" y="3359241"/>
                  </a:cubicBezTo>
                  <a:close/>
                  <a:moveTo>
                    <a:pt x="629966" y="3370215"/>
                  </a:moveTo>
                  <a:cubicBezTo>
                    <a:pt x="603626" y="3370215"/>
                    <a:pt x="581676" y="3348266"/>
                    <a:pt x="581676" y="3321926"/>
                  </a:cubicBezTo>
                  <a:cubicBezTo>
                    <a:pt x="581676" y="3295585"/>
                    <a:pt x="603626" y="3273635"/>
                    <a:pt x="629966" y="3273635"/>
                  </a:cubicBezTo>
                  <a:cubicBezTo>
                    <a:pt x="656306" y="3273635"/>
                    <a:pt x="678257" y="3295585"/>
                    <a:pt x="678257" y="3321926"/>
                  </a:cubicBezTo>
                  <a:cubicBezTo>
                    <a:pt x="678257" y="3348266"/>
                    <a:pt x="656306" y="3370215"/>
                    <a:pt x="629966" y="3370215"/>
                  </a:cubicBezTo>
                  <a:close/>
                  <a:moveTo>
                    <a:pt x="2124766" y="3381191"/>
                  </a:moveTo>
                  <a:cubicBezTo>
                    <a:pt x="2105010" y="3381191"/>
                    <a:pt x="2091840" y="3365825"/>
                    <a:pt x="2091840" y="3348266"/>
                  </a:cubicBezTo>
                  <a:cubicBezTo>
                    <a:pt x="2091840" y="3330706"/>
                    <a:pt x="2107206" y="3315341"/>
                    <a:pt x="2124766" y="3315341"/>
                  </a:cubicBezTo>
                  <a:cubicBezTo>
                    <a:pt x="2142326" y="3315341"/>
                    <a:pt x="2157690" y="3330706"/>
                    <a:pt x="2157690" y="3348266"/>
                  </a:cubicBezTo>
                  <a:cubicBezTo>
                    <a:pt x="2157690" y="3365825"/>
                    <a:pt x="2142326" y="3381191"/>
                    <a:pt x="2124766" y="3381191"/>
                  </a:cubicBezTo>
                  <a:close/>
                  <a:moveTo>
                    <a:pt x="856052" y="3400945"/>
                  </a:moveTo>
                  <a:cubicBezTo>
                    <a:pt x="829382" y="3400945"/>
                    <a:pt x="807762" y="3379326"/>
                    <a:pt x="807762" y="3352656"/>
                  </a:cubicBezTo>
                  <a:cubicBezTo>
                    <a:pt x="807762" y="3325986"/>
                    <a:pt x="829382" y="3304365"/>
                    <a:pt x="856052" y="3304365"/>
                  </a:cubicBezTo>
                  <a:cubicBezTo>
                    <a:pt x="882722" y="3304365"/>
                    <a:pt x="904342" y="3325986"/>
                    <a:pt x="904342" y="3352656"/>
                  </a:cubicBezTo>
                  <a:cubicBezTo>
                    <a:pt x="904342" y="3379326"/>
                    <a:pt x="882722" y="3400945"/>
                    <a:pt x="856052" y="3400945"/>
                  </a:cubicBezTo>
                  <a:close/>
                  <a:moveTo>
                    <a:pt x="491681" y="3405336"/>
                  </a:moveTo>
                  <a:cubicBezTo>
                    <a:pt x="482901" y="3405336"/>
                    <a:pt x="476316" y="3398751"/>
                    <a:pt x="474122" y="3387776"/>
                  </a:cubicBezTo>
                  <a:cubicBezTo>
                    <a:pt x="474122" y="3378996"/>
                    <a:pt x="482901" y="3370215"/>
                    <a:pt x="491681" y="3370215"/>
                  </a:cubicBezTo>
                  <a:cubicBezTo>
                    <a:pt x="500461" y="3370215"/>
                    <a:pt x="509241" y="3378996"/>
                    <a:pt x="509241" y="3387776"/>
                  </a:cubicBezTo>
                  <a:cubicBezTo>
                    <a:pt x="509241" y="3396556"/>
                    <a:pt x="500461" y="3405336"/>
                    <a:pt x="491681" y="3405336"/>
                  </a:cubicBezTo>
                  <a:close/>
                  <a:moveTo>
                    <a:pt x="1850389" y="3418506"/>
                  </a:moveTo>
                  <a:cubicBezTo>
                    <a:pt x="1830634" y="3418506"/>
                    <a:pt x="1813074" y="3400946"/>
                    <a:pt x="1810879" y="3378996"/>
                  </a:cubicBezTo>
                  <a:cubicBezTo>
                    <a:pt x="1810879" y="3357046"/>
                    <a:pt x="1828439" y="3339486"/>
                    <a:pt x="1850389" y="3339486"/>
                  </a:cubicBezTo>
                  <a:cubicBezTo>
                    <a:pt x="1870144" y="3339486"/>
                    <a:pt x="1887704" y="3357046"/>
                    <a:pt x="1887704" y="3378996"/>
                  </a:cubicBezTo>
                  <a:cubicBezTo>
                    <a:pt x="1887704" y="3400946"/>
                    <a:pt x="1872339" y="3418506"/>
                    <a:pt x="1850389" y="3418506"/>
                  </a:cubicBezTo>
                  <a:close/>
                  <a:moveTo>
                    <a:pt x="1090917" y="3422896"/>
                  </a:moveTo>
                  <a:cubicBezTo>
                    <a:pt x="1066773" y="3422896"/>
                    <a:pt x="1044822" y="3400946"/>
                    <a:pt x="1044822" y="3376801"/>
                  </a:cubicBezTo>
                  <a:cubicBezTo>
                    <a:pt x="1044822" y="3350461"/>
                    <a:pt x="1064577" y="3330706"/>
                    <a:pt x="1090917" y="3330706"/>
                  </a:cubicBezTo>
                  <a:cubicBezTo>
                    <a:pt x="1117258" y="3330706"/>
                    <a:pt x="1137013" y="3350461"/>
                    <a:pt x="1137013" y="3376801"/>
                  </a:cubicBezTo>
                  <a:cubicBezTo>
                    <a:pt x="1137013" y="3403141"/>
                    <a:pt x="1117258" y="3422896"/>
                    <a:pt x="1090917" y="3422896"/>
                  </a:cubicBezTo>
                  <a:close/>
                  <a:moveTo>
                    <a:pt x="2247685" y="3431676"/>
                  </a:moveTo>
                  <a:cubicBezTo>
                    <a:pt x="2227930" y="3431676"/>
                    <a:pt x="2212564" y="3416311"/>
                    <a:pt x="2212564" y="3396556"/>
                  </a:cubicBezTo>
                  <a:cubicBezTo>
                    <a:pt x="2212564" y="3376801"/>
                    <a:pt x="2227930" y="3361436"/>
                    <a:pt x="2247685" y="3361436"/>
                  </a:cubicBezTo>
                  <a:cubicBezTo>
                    <a:pt x="2267439" y="3361436"/>
                    <a:pt x="2282805" y="3376801"/>
                    <a:pt x="2282805" y="3396556"/>
                  </a:cubicBezTo>
                  <a:cubicBezTo>
                    <a:pt x="2282805" y="3416311"/>
                    <a:pt x="2267439" y="3431676"/>
                    <a:pt x="2247685" y="3431676"/>
                  </a:cubicBezTo>
                  <a:close/>
                  <a:moveTo>
                    <a:pt x="1334563" y="3433871"/>
                  </a:moveTo>
                  <a:cubicBezTo>
                    <a:pt x="1310418" y="3433871"/>
                    <a:pt x="1290663" y="3414116"/>
                    <a:pt x="1290663" y="3389971"/>
                  </a:cubicBezTo>
                  <a:cubicBezTo>
                    <a:pt x="1290663" y="3365825"/>
                    <a:pt x="1310418" y="3346071"/>
                    <a:pt x="1334563" y="3346071"/>
                  </a:cubicBezTo>
                  <a:cubicBezTo>
                    <a:pt x="1358709" y="3346071"/>
                    <a:pt x="1378464" y="3365825"/>
                    <a:pt x="1378464" y="3389971"/>
                  </a:cubicBezTo>
                  <a:cubicBezTo>
                    <a:pt x="1378464" y="3414116"/>
                    <a:pt x="1358709" y="3433871"/>
                    <a:pt x="1334563" y="3433871"/>
                  </a:cubicBezTo>
                  <a:close/>
                  <a:moveTo>
                    <a:pt x="1589184" y="3436066"/>
                  </a:moveTo>
                  <a:cubicBezTo>
                    <a:pt x="1565038" y="3436066"/>
                    <a:pt x="1545283" y="3416311"/>
                    <a:pt x="1545283" y="3392166"/>
                  </a:cubicBezTo>
                  <a:cubicBezTo>
                    <a:pt x="1545283" y="3368021"/>
                    <a:pt x="1565038" y="3348266"/>
                    <a:pt x="1589184" y="3348266"/>
                  </a:cubicBezTo>
                  <a:cubicBezTo>
                    <a:pt x="1613329" y="3348266"/>
                    <a:pt x="1633084" y="3368021"/>
                    <a:pt x="1633084" y="3392166"/>
                  </a:cubicBezTo>
                  <a:cubicBezTo>
                    <a:pt x="1633084" y="3416311"/>
                    <a:pt x="1613329" y="3436066"/>
                    <a:pt x="1589184" y="3436066"/>
                  </a:cubicBezTo>
                  <a:close/>
                  <a:moveTo>
                    <a:pt x="717766" y="3460211"/>
                  </a:moveTo>
                  <a:cubicBezTo>
                    <a:pt x="695817" y="3460211"/>
                    <a:pt x="680451" y="3442651"/>
                    <a:pt x="678257" y="3420701"/>
                  </a:cubicBezTo>
                  <a:cubicBezTo>
                    <a:pt x="678257" y="3398751"/>
                    <a:pt x="695817" y="3381191"/>
                    <a:pt x="717766" y="3381191"/>
                  </a:cubicBezTo>
                  <a:cubicBezTo>
                    <a:pt x="739717" y="3381191"/>
                    <a:pt x="757277" y="3398751"/>
                    <a:pt x="757277" y="3420701"/>
                  </a:cubicBezTo>
                  <a:cubicBezTo>
                    <a:pt x="757277" y="3442651"/>
                    <a:pt x="739717" y="3460211"/>
                    <a:pt x="717766" y="3460211"/>
                  </a:cubicBezTo>
                  <a:close/>
                  <a:moveTo>
                    <a:pt x="2374995" y="3468991"/>
                  </a:moveTo>
                  <a:cubicBezTo>
                    <a:pt x="2357435" y="3468991"/>
                    <a:pt x="2344265" y="3453626"/>
                    <a:pt x="2344265" y="3438260"/>
                  </a:cubicBezTo>
                  <a:cubicBezTo>
                    <a:pt x="2344265" y="3420700"/>
                    <a:pt x="2357435" y="3407531"/>
                    <a:pt x="2374995" y="3407531"/>
                  </a:cubicBezTo>
                  <a:cubicBezTo>
                    <a:pt x="2392555" y="3407531"/>
                    <a:pt x="2405726" y="3420700"/>
                    <a:pt x="2405726" y="3438260"/>
                  </a:cubicBezTo>
                  <a:cubicBezTo>
                    <a:pt x="2405726" y="3455820"/>
                    <a:pt x="2392555" y="3468991"/>
                    <a:pt x="2374995" y="3468991"/>
                  </a:cubicBezTo>
                  <a:close/>
                  <a:moveTo>
                    <a:pt x="1968920" y="3477771"/>
                  </a:moveTo>
                  <a:cubicBezTo>
                    <a:pt x="1949164" y="3477771"/>
                    <a:pt x="1931604" y="3462406"/>
                    <a:pt x="1929409" y="3438261"/>
                  </a:cubicBezTo>
                  <a:cubicBezTo>
                    <a:pt x="1929409" y="3416311"/>
                    <a:pt x="1946969" y="3398751"/>
                    <a:pt x="1968920" y="3398751"/>
                  </a:cubicBezTo>
                  <a:cubicBezTo>
                    <a:pt x="1990869" y="3398751"/>
                    <a:pt x="2008430" y="3416311"/>
                    <a:pt x="2008430" y="3438261"/>
                  </a:cubicBezTo>
                  <a:cubicBezTo>
                    <a:pt x="2008430" y="3460211"/>
                    <a:pt x="1990869" y="3477771"/>
                    <a:pt x="1968920" y="3477771"/>
                  </a:cubicBezTo>
                  <a:close/>
                  <a:moveTo>
                    <a:pt x="579481" y="3493135"/>
                  </a:moveTo>
                  <a:cubicBezTo>
                    <a:pt x="577286" y="3493135"/>
                    <a:pt x="575091" y="3490941"/>
                    <a:pt x="575091" y="3488745"/>
                  </a:cubicBezTo>
                  <a:cubicBezTo>
                    <a:pt x="575091" y="3486551"/>
                    <a:pt x="577286" y="3484355"/>
                    <a:pt x="579481" y="3484355"/>
                  </a:cubicBezTo>
                  <a:cubicBezTo>
                    <a:pt x="581676" y="3484355"/>
                    <a:pt x="583871" y="3486551"/>
                    <a:pt x="583871" y="3488745"/>
                  </a:cubicBezTo>
                  <a:cubicBezTo>
                    <a:pt x="583871" y="3490941"/>
                    <a:pt x="581676" y="3493135"/>
                    <a:pt x="579481" y="3493135"/>
                  </a:cubicBezTo>
                  <a:close/>
                  <a:moveTo>
                    <a:pt x="950437" y="3497526"/>
                  </a:moveTo>
                  <a:cubicBezTo>
                    <a:pt x="924098" y="3497526"/>
                    <a:pt x="899953" y="3473381"/>
                    <a:pt x="899953" y="3447040"/>
                  </a:cubicBezTo>
                  <a:cubicBezTo>
                    <a:pt x="899953" y="3418505"/>
                    <a:pt x="921902" y="3396555"/>
                    <a:pt x="950437" y="3396555"/>
                  </a:cubicBezTo>
                  <a:cubicBezTo>
                    <a:pt x="978973" y="3396555"/>
                    <a:pt x="1000922" y="3418505"/>
                    <a:pt x="1000922" y="3447040"/>
                  </a:cubicBezTo>
                  <a:cubicBezTo>
                    <a:pt x="1000922" y="3475575"/>
                    <a:pt x="978973" y="3497526"/>
                    <a:pt x="950437" y="3497526"/>
                  </a:cubicBezTo>
                  <a:close/>
                  <a:moveTo>
                    <a:pt x="2502304" y="3501916"/>
                  </a:moveTo>
                  <a:cubicBezTo>
                    <a:pt x="2486940" y="3501916"/>
                    <a:pt x="2471576" y="3488745"/>
                    <a:pt x="2471576" y="3471185"/>
                  </a:cubicBezTo>
                  <a:cubicBezTo>
                    <a:pt x="2471576" y="3453626"/>
                    <a:pt x="2484745" y="3440456"/>
                    <a:pt x="2502304" y="3440456"/>
                  </a:cubicBezTo>
                  <a:cubicBezTo>
                    <a:pt x="2519864" y="3440456"/>
                    <a:pt x="2533036" y="3453626"/>
                    <a:pt x="2533036" y="3471185"/>
                  </a:cubicBezTo>
                  <a:cubicBezTo>
                    <a:pt x="2533036" y="3488745"/>
                    <a:pt x="2519864" y="3501916"/>
                    <a:pt x="2502304" y="3501916"/>
                  </a:cubicBezTo>
                  <a:close/>
                  <a:moveTo>
                    <a:pt x="1191888" y="3510696"/>
                  </a:moveTo>
                  <a:cubicBezTo>
                    <a:pt x="1165548" y="3510696"/>
                    <a:pt x="1145793" y="3488745"/>
                    <a:pt x="1145793" y="3464600"/>
                  </a:cubicBezTo>
                  <a:cubicBezTo>
                    <a:pt x="1145793" y="3440456"/>
                    <a:pt x="1165548" y="3418505"/>
                    <a:pt x="1191888" y="3418505"/>
                  </a:cubicBezTo>
                  <a:cubicBezTo>
                    <a:pt x="1216033" y="3418505"/>
                    <a:pt x="1237983" y="3438260"/>
                    <a:pt x="1237983" y="3464600"/>
                  </a:cubicBezTo>
                  <a:cubicBezTo>
                    <a:pt x="1237983" y="3488745"/>
                    <a:pt x="1218228" y="3510696"/>
                    <a:pt x="1191888" y="3510696"/>
                  </a:cubicBezTo>
                  <a:close/>
                  <a:moveTo>
                    <a:pt x="1701129" y="3510696"/>
                  </a:moveTo>
                  <a:cubicBezTo>
                    <a:pt x="1674789" y="3510696"/>
                    <a:pt x="1652839" y="3488745"/>
                    <a:pt x="1652839" y="3462405"/>
                  </a:cubicBezTo>
                  <a:cubicBezTo>
                    <a:pt x="1652839" y="3436065"/>
                    <a:pt x="1674789" y="3414115"/>
                    <a:pt x="1701129" y="3414115"/>
                  </a:cubicBezTo>
                  <a:cubicBezTo>
                    <a:pt x="1727469" y="3414115"/>
                    <a:pt x="1749419" y="3436065"/>
                    <a:pt x="1749419" y="3462405"/>
                  </a:cubicBezTo>
                  <a:cubicBezTo>
                    <a:pt x="1749419" y="3488745"/>
                    <a:pt x="1727469" y="3510696"/>
                    <a:pt x="1701129" y="3510696"/>
                  </a:cubicBezTo>
                  <a:close/>
                  <a:moveTo>
                    <a:pt x="1442118" y="3515086"/>
                  </a:moveTo>
                  <a:cubicBezTo>
                    <a:pt x="1415778" y="3515086"/>
                    <a:pt x="1396023" y="3495331"/>
                    <a:pt x="1396023" y="3468991"/>
                  </a:cubicBezTo>
                  <a:cubicBezTo>
                    <a:pt x="1396023" y="3442651"/>
                    <a:pt x="1417973" y="3422896"/>
                    <a:pt x="1442118" y="3422896"/>
                  </a:cubicBezTo>
                  <a:cubicBezTo>
                    <a:pt x="1468458" y="3422896"/>
                    <a:pt x="1488214" y="3444846"/>
                    <a:pt x="1488214" y="3468991"/>
                  </a:cubicBezTo>
                  <a:cubicBezTo>
                    <a:pt x="1488214" y="3495331"/>
                    <a:pt x="1466263" y="3515086"/>
                    <a:pt x="1442118" y="3515086"/>
                  </a:cubicBezTo>
                  <a:close/>
                  <a:moveTo>
                    <a:pt x="2626806" y="3521105"/>
                  </a:moveTo>
                  <a:lnTo>
                    <a:pt x="2613976" y="3516184"/>
                  </a:lnTo>
                  <a:cubicBezTo>
                    <a:pt x="2608763" y="3511245"/>
                    <a:pt x="2605470" y="3504111"/>
                    <a:pt x="2605470" y="3495331"/>
                  </a:cubicBezTo>
                  <a:cubicBezTo>
                    <a:pt x="2605470" y="3487649"/>
                    <a:pt x="2608763" y="3480515"/>
                    <a:pt x="2613976" y="3475302"/>
                  </a:cubicBezTo>
                  <a:lnTo>
                    <a:pt x="2626806" y="3469853"/>
                  </a:lnTo>
                  <a:close/>
                  <a:moveTo>
                    <a:pt x="2089644" y="3530452"/>
                  </a:moveTo>
                  <a:cubicBezTo>
                    <a:pt x="2069890" y="3530452"/>
                    <a:pt x="2054524" y="3515086"/>
                    <a:pt x="2054524" y="3495331"/>
                  </a:cubicBezTo>
                  <a:cubicBezTo>
                    <a:pt x="2054524" y="3475576"/>
                    <a:pt x="2069890" y="3460211"/>
                    <a:pt x="2089644" y="3460211"/>
                  </a:cubicBezTo>
                  <a:cubicBezTo>
                    <a:pt x="2109399" y="3460211"/>
                    <a:pt x="2124764" y="3475576"/>
                    <a:pt x="2124764" y="3495331"/>
                  </a:cubicBezTo>
                  <a:cubicBezTo>
                    <a:pt x="2124764" y="3515086"/>
                    <a:pt x="2109399" y="3530452"/>
                    <a:pt x="2089644" y="3530452"/>
                  </a:cubicBezTo>
                  <a:close/>
                  <a:moveTo>
                    <a:pt x="809957" y="3565571"/>
                  </a:moveTo>
                  <a:cubicBezTo>
                    <a:pt x="783617" y="3565571"/>
                    <a:pt x="759472" y="3543621"/>
                    <a:pt x="759472" y="3515086"/>
                  </a:cubicBezTo>
                  <a:cubicBezTo>
                    <a:pt x="759472" y="3486551"/>
                    <a:pt x="781422" y="3464600"/>
                    <a:pt x="809957" y="3464600"/>
                  </a:cubicBezTo>
                  <a:cubicBezTo>
                    <a:pt x="838492" y="3464600"/>
                    <a:pt x="860442" y="3486551"/>
                    <a:pt x="860442" y="3515086"/>
                  </a:cubicBezTo>
                  <a:cubicBezTo>
                    <a:pt x="860442" y="3543621"/>
                    <a:pt x="838492" y="3565571"/>
                    <a:pt x="809957" y="3565571"/>
                  </a:cubicBezTo>
                  <a:close/>
                  <a:moveTo>
                    <a:pt x="1815269" y="3569961"/>
                  </a:moveTo>
                  <a:cubicBezTo>
                    <a:pt x="1793319" y="3569961"/>
                    <a:pt x="1775758" y="3552401"/>
                    <a:pt x="1773564" y="3528256"/>
                  </a:cubicBezTo>
                  <a:cubicBezTo>
                    <a:pt x="1773564" y="3504110"/>
                    <a:pt x="1793319" y="3486551"/>
                    <a:pt x="1815269" y="3486551"/>
                  </a:cubicBezTo>
                  <a:cubicBezTo>
                    <a:pt x="1839414" y="3486551"/>
                    <a:pt x="1856974" y="3506306"/>
                    <a:pt x="1856974" y="3528256"/>
                  </a:cubicBezTo>
                  <a:cubicBezTo>
                    <a:pt x="1856974" y="3552401"/>
                    <a:pt x="1837219" y="3569961"/>
                    <a:pt x="1815269" y="3569961"/>
                  </a:cubicBezTo>
                  <a:close/>
                  <a:moveTo>
                    <a:pt x="2214759" y="3578741"/>
                  </a:moveTo>
                  <a:cubicBezTo>
                    <a:pt x="2195005" y="3578741"/>
                    <a:pt x="2179639" y="3561181"/>
                    <a:pt x="2179639" y="3543621"/>
                  </a:cubicBezTo>
                  <a:cubicBezTo>
                    <a:pt x="2179639" y="3523866"/>
                    <a:pt x="2195005" y="3508500"/>
                    <a:pt x="2214759" y="3508500"/>
                  </a:cubicBezTo>
                  <a:cubicBezTo>
                    <a:pt x="2234515" y="3508500"/>
                    <a:pt x="2249879" y="3523866"/>
                    <a:pt x="2249879" y="3543621"/>
                  </a:cubicBezTo>
                  <a:cubicBezTo>
                    <a:pt x="2249879" y="3563376"/>
                    <a:pt x="2234515" y="3578741"/>
                    <a:pt x="2214759" y="3578741"/>
                  </a:cubicBezTo>
                  <a:close/>
                  <a:moveTo>
                    <a:pt x="1049212" y="3585327"/>
                  </a:moveTo>
                  <a:cubicBezTo>
                    <a:pt x="1022872" y="3585327"/>
                    <a:pt x="1000922" y="3563377"/>
                    <a:pt x="1000922" y="3537036"/>
                  </a:cubicBezTo>
                  <a:cubicBezTo>
                    <a:pt x="1000922" y="3510696"/>
                    <a:pt x="1022872" y="3488746"/>
                    <a:pt x="1049212" y="3488746"/>
                  </a:cubicBezTo>
                  <a:cubicBezTo>
                    <a:pt x="1075553" y="3488746"/>
                    <a:pt x="1097502" y="3510696"/>
                    <a:pt x="1097502" y="3537036"/>
                  </a:cubicBezTo>
                  <a:cubicBezTo>
                    <a:pt x="1097502" y="3563377"/>
                    <a:pt x="1075553" y="3585327"/>
                    <a:pt x="1049212" y="3585327"/>
                  </a:cubicBezTo>
                  <a:close/>
                  <a:moveTo>
                    <a:pt x="1295053" y="3594106"/>
                  </a:moveTo>
                  <a:cubicBezTo>
                    <a:pt x="1268713" y="3594106"/>
                    <a:pt x="1248958" y="3572156"/>
                    <a:pt x="1246763" y="3545816"/>
                  </a:cubicBezTo>
                  <a:cubicBezTo>
                    <a:pt x="1246763" y="3519476"/>
                    <a:pt x="1268713" y="3497526"/>
                    <a:pt x="1295053" y="3497526"/>
                  </a:cubicBezTo>
                  <a:cubicBezTo>
                    <a:pt x="1321393" y="3497526"/>
                    <a:pt x="1343343" y="3519476"/>
                    <a:pt x="1343343" y="3545816"/>
                  </a:cubicBezTo>
                  <a:cubicBezTo>
                    <a:pt x="1343343" y="3572156"/>
                    <a:pt x="1321393" y="3594106"/>
                    <a:pt x="1295053" y="3594106"/>
                  </a:cubicBezTo>
                  <a:close/>
                  <a:moveTo>
                    <a:pt x="1551869" y="3594106"/>
                  </a:moveTo>
                  <a:cubicBezTo>
                    <a:pt x="1525528" y="3594106"/>
                    <a:pt x="1503578" y="3572156"/>
                    <a:pt x="1503578" y="3545816"/>
                  </a:cubicBezTo>
                  <a:cubicBezTo>
                    <a:pt x="1503578" y="3519476"/>
                    <a:pt x="1525528" y="3497526"/>
                    <a:pt x="1551869" y="3497526"/>
                  </a:cubicBezTo>
                  <a:cubicBezTo>
                    <a:pt x="1578209" y="3497526"/>
                    <a:pt x="1600159" y="3519476"/>
                    <a:pt x="1600159" y="3545816"/>
                  </a:cubicBezTo>
                  <a:cubicBezTo>
                    <a:pt x="1600159" y="3572156"/>
                    <a:pt x="1578209" y="3594106"/>
                    <a:pt x="1551869" y="3594106"/>
                  </a:cubicBezTo>
                  <a:close/>
                  <a:moveTo>
                    <a:pt x="671671" y="3596301"/>
                  </a:moveTo>
                  <a:cubicBezTo>
                    <a:pt x="665086" y="3596301"/>
                    <a:pt x="658502" y="3591911"/>
                    <a:pt x="660696" y="3585326"/>
                  </a:cubicBezTo>
                  <a:cubicBezTo>
                    <a:pt x="660696" y="3578741"/>
                    <a:pt x="665086" y="3574351"/>
                    <a:pt x="671671" y="3574351"/>
                  </a:cubicBezTo>
                  <a:cubicBezTo>
                    <a:pt x="678257" y="3574351"/>
                    <a:pt x="682647" y="3578741"/>
                    <a:pt x="682647" y="3585326"/>
                  </a:cubicBezTo>
                  <a:cubicBezTo>
                    <a:pt x="682647" y="3591911"/>
                    <a:pt x="678257" y="3596301"/>
                    <a:pt x="671671" y="3596301"/>
                  </a:cubicBezTo>
                  <a:close/>
                  <a:moveTo>
                    <a:pt x="2342071" y="3618251"/>
                  </a:moveTo>
                  <a:cubicBezTo>
                    <a:pt x="2320120" y="3618251"/>
                    <a:pt x="2304755" y="3602886"/>
                    <a:pt x="2304755" y="3580936"/>
                  </a:cubicBezTo>
                  <a:cubicBezTo>
                    <a:pt x="2304755" y="3561181"/>
                    <a:pt x="2322315" y="3543621"/>
                    <a:pt x="2342071" y="3543621"/>
                  </a:cubicBezTo>
                  <a:cubicBezTo>
                    <a:pt x="2361825" y="3543621"/>
                    <a:pt x="2379385" y="3561181"/>
                    <a:pt x="2379385" y="3580936"/>
                  </a:cubicBezTo>
                  <a:cubicBezTo>
                    <a:pt x="2379385" y="3600691"/>
                    <a:pt x="2361825" y="3618251"/>
                    <a:pt x="2342071" y="3618251"/>
                  </a:cubicBezTo>
                  <a:close/>
                  <a:moveTo>
                    <a:pt x="1935994" y="3629226"/>
                  </a:moveTo>
                  <a:cubicBezTo>
                    <a:pt x="1911849" y="3629226"/>
                    <a:pt x="1894289" y="3611666"/>
                    <a:pt x="1894289" y="3587521"/>
                  </a:cubicBezTo>
                  <a:cubicBezTo>
                    <a:pt x="1894289" y="3565571"/>
                    <a:pt x="1911849" y="3545816"/>
                    <a:pt x="1935994" y="3545816"/>
                  </a:cubicBezTo>
                  <a:cubicBezTo>
                    <a:pt x="1957944" y="3545816"/>
                    <a:pt x="1977700" y="3563376"/>
                    <a:pt x="1977700" y="3587521"/>
                  </a:cubicBezTo>
                  <a:cubicBezTo>
                    <a:pt x="1977700" y="3609471"/>
                    <a:pt x="1960140" y="3629226"/>
                    <a:pt x="1935994" y="3629226"/>
                  </a:cubicBezTo>
                  <a:close/>
                  <a:moveTo>
                    <a:pt x="2469380" y="3651176"/>
                  </a:moveTo>
                  <a:cubicBezTo>
                    <a:pt x="2449625" y="3651176"/>
                    <a:pt x="2434260" y="3635811"/>
                    <a:pt x="2434260" y="3616056"/>
                  </a:cubicBezTo>
                  <a:cubicBezTo>
                    <a:pt x="2434260" y="3596301"/>
                    <a:pt x="2449625" y="3580936"/>
                    <a:pt x="2469380" y="3580936"/>
                  </a:cubicBezTo>
                  <a:cubicBezTo>
                    <a:pt x="2489136" y="3580936"/>
                    <a:pt x="2504500" y="3596301"/>
                    <a:pt x="2504500" y="3616056"/>
                  </a:cubicBezTo>
                  <a:cubicBezTo>
                    <a:pt x="2504500" y="3635811"/>
                    <a:pt x="2489136" y="3651176"/>
                    <a:pt x="2469380" y="3651176"/>
                  </a:cubicBezTo>
                  <a:close/>
                  <a:moveTo>
                    <a:pt x="906537" y="3655566"/>
                  </a:moveTo>
                  <a:cubicBezTo>
                    <a:pt x="880197" y="3655566"/>
                    <a:pt x="858247" y="3633616"/>
                    <a:pt x="858247" y="3607276"/>
                  </a:cubicBezTo>
                  <a:cubicBezTo>
                    <a:pt x="858247" y="3580936"/>
                    <a:pt x="880197" y="3558986"/>
                    <a:pt x="906537" y="3558986"/>
                  </a:cubicBezTo>
                  <a:cubicBezTo>
                    <a:pt x="932878" y="3558986"/>
                    <a:pt x="954827" y="3580936"/>
                    <a:pt x="954827" y="3607276"/>
                  </a:cubicBezTo>
                  <a:cubicBezTo>
                    <a:pt x="954827" y="3633616"/>
                    <a:pt x="932878" y="3655566"/>
                    <a:pt x="906537" y="3655566"/>
                  </a:cubicBezTo>
                  <a:close/>
                  <a:moveTo>
                    <a:pt x="1663814" y="3662151"/>
                  </a:moveTo>
                  <a:cubicBezTo>
                    <a:pt x="1637474" y="3662151"/>
                    <a:pt x="1617719" y="3640201"/>
                    <a:pt x="1615523" y="3613861"/>
                  </a:cubicBezTo>
                  <a:cubicBezTo>
                    <a:pt x="1615523" y="3587521"/>
                    <a:pt x="1637474" y="3565571"/>
                    <a:pt x="1663814" y="3565571"/>
                  </a:cubicBezTo>
                  <a:cubicBezTo>
                    <a:pt x="1690154" y="3565571"/>
                    <a:pt x="1712104" y="3587521"/>
                    <a:pt x="1712104" y="3613861"/>
                  </a:cubicBezTo>
                  <a:cubicBezTo>
                    <a:pt x="1712104" y="3640201"/>
                    <a:pt x="1690154" y="3662151"/>
                    <a:pt x="1663814" y="3662151"/>
                  </a:cubicBezTo>
                  <a:close/>
                  <a:moveTo>
                    <a:pt x="1150183" y="3670931"/>
                  </a:moveTo>
                  <a:cubicBezTo>
                    <a:pt x="1123842" y="3670931"/>
                    <a:pt x="1101892" y="3648981"/>
                    <a:pt x="1101892" y="3622641"/>
                  </a:cubicBezTo>
                  <a:cubicBezTo>
                    <a:pt x="1101892" y="3596301"/>
                    <a:pt x="1123842" y="3574351"/>
                    <a:pt x="1150183" y="3574351"/>
                  </a:cubicBezTo>
                  <a:cubicBezTo>
                    <a:pt x="1176523" y="3574351"/>
                    <a:pt x="1198473" y="3596301"/>
                    <a:pt x="1198473" y="3622641"/>
                  </a:cubicBezTo>
                  <a:cubicBezTo>
                    <a:pt x="1198473" y="3648981"/>
                    <a:pt x="1176523" y="3670931"/>
                    <a:pt x="1150183" y="3670931"/>
                  </a:cubicBezTo>
                  <a:close/>
                  <a:moveTo>
                    <a:pt x="1402608" y="3670931"/>
                  </a:moveTo>
                  <a:cubicBezTo>
                    <a:pt x="1376268" y="3670931"/>
                    <a:pt x="1356513" y="3651176"/>
                    <a:pt x="1354318" y="3622641"/>
                  </a:cubicBezTo>
                  <a:cubicBezTo>
                    <a:pt x="1354318" y="3596301"/>
                    <a:pt x="1376268" y="3574351"/>
                    <a:pt x="1402608" y="3574351"/>
                  </a:cubicBezTo>
                  <a:cubicBezTo>
                    <a:pt x="1428948" y="3574351"/>
                    <a:pt x="1450898" y="3596301"/>
                    <a:pt x="1450898" y="3622641"/>
                  </a:cubicBezTo>
                  <a:cubicBezTo>
                    <a:pt x="1450898" y="3648981"/>
                    <a:pt x="1428948" y="3670931"/>
                    <a:pt x="1402608" y="3670931"/>
                  </a:cubicBezTo>
                  <a:close/>
                  <a:moveTo>
                    <a:pt x="2601080" y="3679711"/>
                  </a:moveTo>
                  <a:cubicBezTo>
                    <a:pt x="2579131" y="3679711"/>
                    <a:pt x="2561570" y="3662151"/>
                    <a:pt x="2561570" y="3640201"/>
                  </a:cubicBezTo>
                  <a:cubicBezTo>
                    <a:pt x="2561570" y="3618251"/>
                    <a:pt x="2579131" y="3600691"/>
                    <a:pt x="2601080" y="3600691"/>
                  </a:cubicBezTo>
                  <a:cubicBezTo>
                    <a:pt x="2606568" y="3600691"/>
                    <a:pt x="2611782" y="3601788"/>
                    <a:pt x="2616514" y="3603778"/>
                  </a:cubicBezTo>
                  <a:lnTo>
                    <a:pt x="2626806" y="3610695"/>
                  </a:lnTo>
                  <a:lnTo>
                    <a:pt x="2626806" y="3669707"/>
                  </a:lnTo>
                  <a:lnTo>
                    <a:pt x="2616514" y="3676625"/>
                  </a:lnTo>
                  <a:cubicBezTo>
                    <a:pt x="2611782" y="3678614"/>
                    <a:pt x="2606568" y="3679711"/>
                    <a:pt x="2601080" y="3679711"/>
                  </a:cubicBezTo>
                  <a:close/>
                  <a:moveTo>
                    <a:pt x="2056720" y="3681905"/>
                  </a:moveTo>
                  <a:cubicBezTo>
                    <a:pt x="2034770" y="3681905"/>
                    <a:pt x="2015015" y="3662151"/>
                    <a:pt x="2015015" y="3640201"/>
                  </a:cubicBezTo>
                  <a:cubicBezTo>
                    <a:pt x="2015015" y="3618251"/>
                    <a:pt x="2032574" y="3598496"/>
                    <a:pt x="2056720" y="3598496"/>
                  </a:cubicBezTo>
                  <a:cubicBezTo>
                    <a:pt x="2078669" y="3598496"/>
                    <a:pt x="2098425" y="3618251"/>
                    <a:pt x="2098425" y="3640201"/>
                  </a:cubicBezTo>
                  <a:cubicBezTo>
                    <a:pt x="2098425" y="3662151"/>
                    <a:pt x="2080865" y="3681905"/>
                    <a:pt x="2056720" y="3681905"/>
                  </a:cubicBezTo>
                  <a:close/>
                  <a:moveTo>
                    <a:pt x="766057" y="3721416"/>
                  </a:moveTo>
                  <a:cubicBezTo>
                    <a:pt x="741912" y="3721416"/>
                    <a:pt x="722156" y="3701661"/>
                    <a:pt x="722156" y="3677516"/>
                  </a:cubicBezTo>
                  <a:cubicBezTo>
                    <a:pt x="722156" y="3653371"/>
                    <a:pt x="741912" y="3633616"/>
                    <a:pt x="766057" y="3633616"/>
                  </a:cubicBezTo>
                  <a:cubicBezTo>
                    <a:pt x="790202" y="3633616"/>
                    <a:pt x="809957" y="3653371"/>
                    <a:pt x="809957" y="3677516"/>
                  </a:cubicBezTo>
                  <a:cubicBezTo>
                    <a:pt x="809957" y="3701661"/>
                    <a:pt x="790202" y="3721416"/>
                    <a:pt x="766057" y="3721416"/>
                  </a:cubicBezTo>
                  <a:close/>
                  <a:moveTo>
                    <a:pt x="1782344" y="3723612"/>
                  </a:moveTo>
                  <a:cubicBezTo>
                    <a:pt x="1756004" y="3723612"/>
                    <a:pt x="1736249" y="3701661"/>
                    <a:pt x="1736249" y="3677516"/>
                  </a:cubicBezTo>
                  <a:cubicBezTo>
                    <a:pt x="1736249" y="3651176"/>
                    <a:pt x="1758198" y="3631421"/>
                    <a:pt x="1782344" y="3631421"/>
                  </a:cubicBezTo>
                  <a:cubicBezTo>
                    <a:pt x="1808684" y="3631421"/>
                    <a:pt x="1828439" y="3653371"/>
                    <a:pt x="1828439" y="3677516"/>
                  </a:cubicBezTo>
                  <a:cubicBezTo>
                    <a:pt x="1828439" y="3703856"/>
                    <a:pt x="1806489" y="3723612"/>
                    <a:pt x="1782344" y="3723612"/>
                  </a:cubicBezTo>
                  <a:close/>
                  <a:moveTo>
                    <a:pt x="2181835" y="3730196"/>
                  </a:moveTo>
                  <a:cubicBezTo>
                    <a:pt x="2157690" y="3730196"/>
                    <a:pt x="2137934" y="3710442"/>
                    <a:pt x="2137934" y="3686297"/>
                  </a:cubicBezTo>
                  <a:cubicBezTo>
                    <a:pt x="2137934" y="3662151"/>
                    <a:pt x="2157690" y="3642396"/>
                    <a:pt x="2181835" y="3642396"/>
                  </a:cubicBezTo>
                  <a:cubicBezTo>
                    <a:pt x="2205979" y="3642396"/>
                    <a:pt x="2225735" y="3662151"/>
                    <a:pt x="2225735" y="3686297"/>
                  </a:cubicBezTo>
                  <a:cubicBezTo>
                    <a:pt x="2225735" y="3710442"/>
                    <a:pt x="2205979" y="3730196"/>
                    <a:pt x="2181835" y="3730196"/>
                  </a:cubicBezTo>
                  <a:close/>
                  <a:moveTo>
                    <a:pt x="1007507" y="3738977"/>
                  </a:moveTo>
                  <a:cubicBezTo>
                    <a:pt x="983362" y="3738977"/>
                    <a:pt x="963607" y="3719222"/>
                    <a:pt x="963607" y="3695076"/>
                  </a:cubicBezTo>
                  <a:cubicBezTo>
                    <a:pt x="963607" y="3670931"/>
                    <a:pt x="983362" y="3651176"/>
                    <a:pt x="1007507" y="3651176"/>
                  </a:cubicBezTo>
                  <a:cubicBezTo>
                    <a:pt x="1031652" y="3651176"/>
                    <a:pt x="1051407" y="3670931"/>
                    <a:pt x="1051407" y="3695076"/>
                  </a:cubicBezTo>
                  <a:cubicBezTo>
                    <a:pt x="1051407" y="3719222"/>
                    <a:pt x="1031652" y="3738977"/>
                    <a:pt x="1007507" y="3738977"/>
                  </a:cubicBezTo>
                  <a:close/>
                  <a:moveTo>
                    <a:pt x="1514553" y="3743367"/>
                  </a:moveTo>
                  <a:cubicBezTo>
                    <a:pt x="1488214" y="3743367"/>
                    <a:pt x="1468458" y="3721416"/>
                    <a:pt x="1468458" y="3697271"/>
                  </a:cubicBezTo>
                  <a:cubicBezTo>
                    <a:pt x="1468458" y="3670931"/>
                    <a:pt x="1488214" y="3651176"/>
                    <a:pt x="1514553" y="3651176"/>
                  </a:cubicBezTo>
                  <a:cubicBezTo>
                    <a:pt x="1540893" y="3651176"/>
                    <a:pt x="1560648" y="3670931"/>
                    <a:pt x="1560648" y="3697271"/>
                  </a:cubicBezTo>
                  <a:cubicBezTo>
                    <a:pt x="1560648" y="3723612"/>
                    <a:pt x="1540893" y="3743367"/>
                    <a:pt x="1514553" y="3743367"/>
                  </a:cubicBezTo>
                  <a:close/>
                  <a:moveTo>
                    <a:pt x="1257738" y="3749951"/>
                  </a:moveTo>
                  <a:cubicBezTo>
                    <a:pt x="1231398" y="3749951"/>
                    <a:pt x="1209448" y="3728002"/>
                    <a:pt x="1209448" y="3701661"/>
                  </a:cubicBezTo>
                  <a:cubicBezTo>
                    <a:pt x="1209448" y="3675321"/>
                    <a:pt x="1231398" y="3653371"/>
                    <a:pt x="1257738" y="3653371"/>
                  </a:cubicBezTo>
                  <a:cubicBezTo>
                    <a:pt x="1284078" y="3653371"/>
                    <a:pt x="1306028" y="3675321"/>
                    <a:pt x="1306028" y="3701661"/>
                  </a:cubicBezTo>
                  <a:cubicBezTo>
                    <a:pt x="1306028" y="3728002"/>
                    <a:pt x="1284078" y="3749951"/>
                    <a:pt x="1257738" y="3749951"/>
                  </a:cubicBezTo>
                  <a:close/>
                  <a:moveTo>
                    <a:pt x="2309145" y="3771902"/>
                  </a:moveTo>
                  <a:cubicBezTo>
                    <a:pt x="2282805" y="3771902"/>
                    <a:pt x="2263051" y="3752147"/>
                    <a:pt x="2263051" y="3725806"/>
                  </a:cubicBezTo>
                  <a:cubicBezTo>
                    <a:pt x="2263051" y="3699466"/>
                    <a:pt x="2282805" y="3679711"/>
                    <a:pt x="2309145" y="3679711"/>
                  </a:cubicBezTo>
                  <a:cubicBezTo>
                    <a:pt x="2335485" y="3679711"/>
                    <a:pt x="2355239" y="3699466"/>
                    <a:pt x="2355239" y="3725806"/>
                  </a:cubicBezTo>
                  <a:cubicBezTo>
                    <a:pt x="2355239" y="3752147"/>
                    <a:pt x="2335485" y="3771902"/>
                    <a:pt x="2309145" y="3771902"/>
                  </a:cubicBezTo>
                  <a:close/>
                  <a:moveTo>
                    <a:pt x="1900874" y="3782876"/>
                  </a:moveTo>
                  <a:cubicBezTo>
                    <a:pt x="1874534" y="3782876"/>
                    <a:pt x="1852584" y="3760927"/>
                    <a:pt x="1852584" y="3734586"/>
                  </a:cubicBezTo>
                  <a:cubicBezTo>
                    <a:pt x="1852584" y="3708246"/>
                    <a:pt x="1874534" y="3686297"/>
                    <a:pt x="1900874" y="3686297"/>
                  </a:cubicBezTo>
                  <a:cubicBezTo>
                    <a:pt x="1927215" y="3686297"/>
                    <a:pt x="1949164" y="3708246"/>
                    <a:pt x="1949164" y="3734586"/>
                  </a:cubicBezTo>
                  <a:cubicBezTo>
                    <a:pt x="1949164" y="3760927"/>
                    <a:pt x="1927215" y="3782876"/>
                    <a:pt x="1900874" y="3782876"/>
                  </a:cubicBezTo>
                  <a:close/>
                  <a:moveTo>
                    <a:pt x="864832" y="3798242"/>
                  </a:moveTo>
                  <a:cubicBezTo>
                    <a:pt x="847272" y="3798242"/>
                    <a:pt x="834102" y="3785072"/>
                    <a:pt x="834102" y="3767511"/>
                  </a:cubicBezTo>
                  <a:cubicBezTo>
                    <a:pt x="834102" y="3749951"/>
                    <a:pt x="847272" y="3736781"/>
                    <a:pt x="864832" y="3736781"/>
                  </a:cubicBezTo>
                  <a:cubicBezTo>
                    <a:pt x="882393" y="3736781"/>
                    <a:pt x="895563" y="3749951"/>
                    <a:pt x="895563" y="3767511"/>
                  </a:cubicBezTo>
                  <a:cubicBezTo>
                    <a:pt x="895563" y="3785072"/>
                    <a:pt x="882393" y="3798242"/>
                    <a:pt x="864832" y="3798242"/>
                  </a:cubicBezTo>
                  <a:close/>
                  <a:moveTo>
                    <a:pt x="2436456" y="3800437"/>
                  </a:moveTo>
                  <a:cubicBezTo>
                    <a:pt x="2414506" y="3800437"/>
                    <a:pt x="2396945" y="3782876"/>
                    <a:pt x="2394751" y="3758731"/>
                  </a:cubicBezTo>
                  <a:cubicBezTo>
                    <a:pt x="2394751" y="3734586"/>
                    <a:pt x="2414506" y="3717026"/>
                    <a:pt x="2436456" y="3717026"/>
                  </a:cubicBezTo>
                  <a:cubicBezTo>
                    <a:pt x="2460600" y="3717026"/>
                    <a:pt x="2478160" y="3736781"/>
                    <a:pt x="2478160" y="3758731"/>
                  </a:cubicBezTo>
                  <a:cubicBezTo>
                    <a:pt x="2478160" y="3782876"/>
                    <a:pt x="2458405" y="3800437"/>
                    <a:pt x="2436456" y="3800437"/>
                  </a:cubicBezTo>
                  <a:close/>
                  <a:moveTo>
                    <a:pt x="1628694" y="3811412"/>
                  </a:moveTo>
                  <a:cubicBezTo>
                    <a:pt x="1602354" y="3811412"/>
                    <a:pt x="1580404" y="3789462"/>
                    <a:pt x="1580404" y="3763121"/>
                  </a:cubicBezTo>
                  <a:cubicBezTo>
                    <a:pt x="1580404" y="3736781"/>
                    <a:pt x="1602354" y="3714832"/>
                    <a:pt x="1628694" y="3714832"/>
                  </a:cubicBezTo>
                  <a:cubicBezTo>
                    <a:pt x="1655034" y="3714832"/>
                    <a:pt x="1676984" y="3736781"/>
                    <a:pt x="1676984" y="3763121"/>
                  </a:cubicBezTo>
                  <a:cubicBezTo>
                    <a:pt x="1676984" y="3789462"/>
                    <a:pt x="1655034" y="3811412"/>
                    <a:pt x="1628694" y="3811412"/>
                  </a:cubicBezTo>
                  <a:close/>
                  <a:moveTo>
                    <a:pt x="2568156" y="3822387"/>
                  </a:moveTo>
                  <a:cubicBezTo>
                    <a:pt x="2546205" y="3822387"/>
                    <a:pt x="2530840" y="3807022"/>
                    <a:pt x="2530840" y="3785072"/>
                  </a:cubicBezTo>
                  <a:cubicBezTo>
                    <a:pt x="2530840" y="3765317"/>
                    <a:pt x="2548400" y="3747757"/>
                    <a:pt x="2568156" y="3747757"/>
                  </a:cubicBezTo>
                  <a:cubicBezTo>
                    <a:pt x="2587910" y="3747757"/>
                    <a:pt x="2605470" y="3765317"/>
                    <a:pt x="2605470" y="3785072"/>
                  </a:cubicBezTo>
                  <a:cubicBezTo>
                    <a:pt x="2605470" y="3804827"/>
                    <a:pt x="2587910" y="3822387"/>
                    <a:pt x="2568156" y="3822387"/>
                  </a:cubicBezTo>
                  <a:close/>
                  <a:moveTo>
                    <a:pt x="1365293" y="3824582"/>
                  </a:moveTo>
                  <a:cubicBezTo>
                    <a:pt x="1341148" y="3824582"/>
                    <a:pt x="1319198" y="3802632"/>
                    <a:pt x="1319198" y="3778487"/>
                  </a:cubicBezTo>
                  <a:cubicBezTo>
                    <a:pt x="1319198" y="3752147"/>
                    <a:pt x="1338953" y="3732392"/>
                    <a:pt x="1365293" y="3732392"/>
                  </a:cubicBezTo>
                  <a:cubicBezTo>
                    <a:pt x="1391633" y="3732392"/>
                    <a:pt x="1411388" y="3752147"/>
                    <a:pt x="1411388" y="3778487"/>
                  </a:cubicBezTo>
                  <a:cubicBezTo>
                    <a:pt x="1411388" y="3804827"/>
                    <a:pt x="1391633" y="3824582"/>
                    <a:pt x="1365293" y="3824582"/>
                  </a:cubicBezTo>
                  <a:close/>
                  <a:moveTo>
                    <a:pt x="1110672" y="3828971"/>
                  </a:moveTo>
                  <a:cubicBezTo>
                    <a:pt x="1082137" y="3828971"/>
                    <a:pt x="1060187" y="3807022"/>
                    <a:pt x="1057992" y="3776292"/>
                  </a:cubicBezTo>
                  <a:cubicBezTo>
                    <a:pt x="1057992" y="3747757"/>
                    <a:pt x="1082137" y="3723612"/>
                    <a:pt x="1110672" y="3723612"/>
                  </a:cubicBezTo>
                  <a:cubicBezTo>
                    <a:pt x="1139207" y="3723612"/>
                    <a:pt x="1163353" y="3747757"/>
                    <a:pt x="1163353" y="3776292"/>
                  </a:cubicBezTo>
                  <a:cubicBezTo>
                    <a:pt x="1163353" y="3804827"/>
                    <a:pt x="1139207" y="3828971"/>
                    <a:pt x="1110672" y="3828971"/>
                  </a:cubicBezTo>
                  <a:close/>
                  <a:moveTo>
                    <a:pt x="2023795" y="3833362"/>
                  </a:moveTo>
                  <a:cubicBezTo>
                    <a:pt x="1997455" y="3833362"/>
                    <a:pt x="1977700" y="3813606"/>
                    <a:pt x="1977700" y="3787266"/>
                  </a:cubicBezTo>
                  <a:cubicBezTo>
                    <a:pt x="1977700" y="3763121"/>
                    <a:pt x="1999649" y="3741171"/>
                    <a:pt x="2023795" y="3741171"/>
                  </a:cubicBezTo>
                  <a:cubicBezTo>
                    <a:pt x="2047940" y="3741171"/>
                    <a:pt x="2069890" y="3760927"/>
                    <a:pt x="2069890" y="3787266"/>
                  </a:cubicBezTo>
                  <a:cubicBezTo>
                    <a:pt x="2069890" y="3811412"/>
                    <a:pt x="2050134" y="3833362"/>
                    <a:pt x="2023795" y="3833362"/>
                  </a:cubicBezTo>
                  <a:close/>
                  <a:moveTo>
                    <a:pt x="1747224" y="3872872"/>
                  </a:moveTo>
                  <a:cubicBezTo>
                    <a:pt x="1720883" y="3872872"/>
                    <a:pt x="1698933" y="3850922"/>
                    <a:pt x="1698933" y="3824582"/>
                  </a:cubicBezTo>
                  <a:cubicBezTo>
                    <a:pt x="1698933" y="3798242"/>
                    <a:pt x="1720883" y="3776292"/>
                    <a:pt x="1747224" y="3776292"/>
                  </a:cubicBezTo>
                  <a:cubicBezTo>
                    <a:pt x="1773564" y="3776292"/>
                    <a:pt x="1795514" y="3798242"/>
                    <a:pt x="1795514" y="3824582"/>
                  </a:cubicBezTo>
                  <a:cubicBezTo>
                    <a:pt x="1795514" y="3850922"/>
                    <a:pt x="1773564" y="3872872"/>
                    <a:pt x="1747224" y="3872872"/>
                  </a:cubicBezTo>
                  <a:close/>
                  <a:moveTo>
                    <a:pt x="965802" y="3879457"/>
                  </a:moveTo>
                  <a:cubicBezTo>
                    <a:pt x="952632" y="3879457"/>
                    <a:pt x="939462" y="3866287"/>
                    <a:pt x="939462" y="3853117"/>
                  </a:cubicBezTo>
                  <a:cubicBezTo>
                    <a:pt x="939462" y="3837752"/>
                    <a:pt x="950437" y="3826777"/>
                    <a:pt x="965802" y="3826777"/>
                  </a:cubicBezTo>
                  <a:cubicBezTo>
                    <a:pt x="981167" y="3826777"/>
                    <a:pt x="992142" y="3837752"/>
                    <a:pt x="992142" y="3853117"/>
                  </a:cubicBezTo>
                  <a:cubicBezTo>
                    <a:pt x="992142" y="3868482"/>
                    <a:pt x="981167" y="3879457"/>
                    <a:pt x="965802" y="3879457"/>
                  </a:cubicBezTo>
                  <a:close/>
                  <a:moveTo>
                    <a:pt x="2148910" y="3879457"/>
                  </a:moveTo>
                  <a:cubicBezTo>
                    <a:pt x="2122570" y="3879457"/>
                    <a:pt x="2100620" y="3857507"/>
                    <a:pt x="2102815" y="3833362"/>
                  </a:cubicBezTo>
                  <a:cubicBezTo>
                    <a:pt x="2102815" y="3809217"/>
                    <a:pt x="2122570" y="3787266"/>
                    <a:pt x="2148910" y="3787266"/>
                  </a:cubicBezTo>
                  <a:cubicBezTo>
                    <a:pt x="2173054" y="3787266"/>
                    <a:pt x="2195006" y="3807022"/>
                    <a:pt x="2195006" y="3833362"/>
                  </a:cubicBezTo>
                  <a:cubicBezTo>
                    <a:pt x="2195006" y="3857507"/>
                    <a:pt x="2175250" y="3879457"/>
                    <a:pt x="2148910" y="3879457"/>
                  </a:cubicBezTo>
                  <a:close/>
                  <a:moveTo>
                    <a:pt x="1479433" y="3890431"/>
                  </a:moveTo>
                  <a:cubicBezTo>
                    <a:pt x="1455288" y="3890431"/>
                    <a:pt x="1435533" y="3870677"/>
                    <a:pt x="1435533" y="3846531"/>
                  </a:cubicBezTo>
                  <a:cubicBezTo>
                    <a:pt x="1435533" y="3822386"/>
                    <a:pt x="1455288" y="3802631"/>
                    <a:pt x="1479433" y="3802631"/>
                  </a:cubicBezTo>
                  <a:cubicBezTo>
                    <a:pt x="1503578" y="3802631"/>
                    <a:pt x="1523333" y="3822386"/>
                    <a:pt x="1523333" y="3846531"/>
                  </a:cubicBezTo>
                  <a:cubicBezTo>
                    <a:pt x="1523333" y="3870677"/>
                    <a:pt x="1503578" y="3890431"/>
                    <a:pt x="1479433" y="3890431"/>
                  </a:cubicBezTo>
                  <a:close/>
                  <a:moveTo>
                    <a:pt x="1106195" y="3905171"/>
                  </a:moveTo>
                  <a:lnTo>
                    <a:pt x="1034905" y="3905171"/>
                  </a:lnTo>
                  <a:lnTo>
                    <a:pt x="1039060" y="3899211"/>
                  </a:lnTo>
                  <a:cubicBezTo>
                    <a:pt x="1047566" y="3890980"/>
                    <a:pt x="1059090" y="3886041"/>
                    <a:pt x="1071162" y="3886041"/>
                  </a:cubicBezTo>
                  <a:cubicBezTo>
                    <a:pt x="1084332" y="3886041"/>
                    <a:pt x="1095856" y="3891529"/>
                    <a:pt x="1104087" y="3900035"/>
                  </a:cubicBezTo>
                  <a:close/>
                  <a:moveTo>
                    <a:pt x="1225200" y="3905171"/>
                  </a:moveTo>
                  <a:lnTo>
                    <a:pt x="1211629" y="3905171"/>
                  </a:lnTo>
                  <a:lnTo>
                    <a:pt x="1182285" y="3892627"/>
                  </a:lnTo>
                  <a:cubicBezTo>
                    <a:pt x="1173230" y="3883298"/>
                    <a:pt x="1167743" y="3870677"/>
                    <a:pt x="1167743" y="3857506"/>
                  </a:cubicBezTo>
                  <a:cubicBezTo>
                    <a:pt x="1167743" y="3828971"/>
                    <a:pt x="1189693" y="3807022"/>
                    <a:pt x="1218228" y="3807022"/>
                  </a:cubicBezTo>
                  <a:cubicBezTo>
                    <a:pt x="1246763" y="3807022"/>
                    <a:pt x="1268713" y="3828971"/>
                    <a:pt x="1268713" y="3857506"/>
                  </a:cubicBezTo>
                  <a:cubicBezTo>
                    <a:pt x="1268713" y="3871774"/>
                    <a:pt x="1263226" y="3884395"/>
                    <a:pt x="1254171" y="3893450"/>
                  </a:cubicBezTo>
                  <a:close/>
                  <a:moveTo>
                    <a:pt x="1371361" y="3905171"/>
                  </a:moveTo>
                  <a:lnTo>
                    <a:pt x="1284594" y="3905171"/>
                  </a:lnTo>
                  <a:lnTo>
                    <a:pt x="1292034" y="3893998"/>
                  </a:lnTo>
                  <a:cubicBezTo>
                    <a:pt x="1301088" y="3884944"/>
                    <a:pt x="1313710" y="3879456"/>
                    <a:pt x="1327977" y="3879456"/>
                  </a:cubicBezTo>
                  <a:cubicBezTo>
                    <a:pt x="1342245" y="3879456"/>
                    <a:pt x="1354866" y="3884944"/>
                    <a:pt x="1363920" y="3893998"/>
                  </a:cubicBezTo>
                  <a:close/>
                  <a:moveTo>
                    <a:pt x="1634475" y="3905171"/>
                  </a:moveTo>
                  <a:lnTo>
                    <a:pt x="1552672" y="3905171"/>
                  </a:lnTo>
                  <a:lnTo>
                    <a:pt x="1562569" y="3881377"/>
                  </a:lnTo>
                  <a:cubicBezTo>
                    <a:pt x="1570526" y="3873420"/>
                    <a:pt x="1581501" y="3868481"/>
                    <a:pt x="1593574" y="3868481"/>
                  </a:cubicBezTo>
                  <a:cubicBezTo>
                    <a:pt x="1605646" y="3868481"/>
                    <a:pt x="1616621" y="3873420"/>
                    <a:pt x="1624578" y="3881377"/>
                  </a:cubicBezTo>
                  <a:close/>
                  <a:moveTo>
                    <a:pt x="1909099" y="3905171"/>
                  </a:moveTo>
                  <a:lnTo>
                    <a:pt x="1824848" y="3905171"/>
                  </a:lnTo>
                  <a:lnTo>
                    <a:pt x="1822266" y="3901235"/>
                  </a:lnTo>
                  <a:cubicBezTo>
                    <a:pt x="1820071" y="3895371"/>
                    <a:pt x="1819111" y="3888786"/>
                    <a:pt x="1819659" y="3881652"/>
                  </a:cubicBezTo>
                  <a:cubicBezTo>
                    <a:pt x="1819659" y="3855312"/>
                    <a:pt x="1841609" y="3833362"/>
                    <a:pt x="1867949" y="3833362"/>
                  </a:cubicBezTo>
                  <a:cubicBezTo>
                    <a:pt x="1894289" y="3833362"/>
                    <a:pt x="1916239" y="3855312"/>
                    <a:pt x="1916239" y="3881652"/>
                  </a:cubicBezTo>
                  <a:cubicBezTo>
                    <a:pt x="1916239" y="3888237"/>
                    <a:pt x="1914867" y="3894548"/>
                    <a:pt x="1912398" y="3900310"/>
                  </a:cubicBezTo>
                  <a:close/>
                  <a:moveTo>
                    <a:pt x="2029680" y="3905171"/>
                  </a:moveTo>
                  <a:lnTo>
                    <a:pt x="1952059" y="3905171"/>
                  </a:lnTo>
                  <a:lnTo>
                    <a:pt x="1956847" y="3898115"/>
                  </a:lnTo>
                  <a:cubicBezTo>
                    <a:pt x="1965627" y="3889335"/>
                    <a:pt x="1977699" y="3883847"/>
                    <a:pt x="1990869" y="3883847"/>
                  </a:cubicBezTo>
                  <a:cubicBezTo>
                    <a:pt x="2004040" y="3883847"/>
                    <a:pt x="2016112" y="3889335"/>
                    <a:pt x="2024892" y="3898115"/>
                  </a:cubicBezTo>
                  <a:close/>
                  <a:moveTo>
                    <a:pt x="2304497" y="3905171"/>
                  </a:moveTo>
                  <a:lnTo>
                    <a:pt x="2247217" y="3905171"/>
                  </a:lnTo>
                  <a:lnTo>
                    <a:pt x="2243294" y="3903602"/>
                  </a:lnTo>
                  <a:cubicBezTo>
                    <a:pt x="2235063" y="3895370"/>
                    <a:pt x="2230124" y="3883847"/>
                    <a:pt x="2230124" y="3870677"/>
                  </a:cubicBezTo>
                  <a:cubicBezTo>
                    <a:pt x="2230124" y="3844336"/>
                    <a:pt x="2252075" y="3824581"/>
                    <a:pt x="2276219" y="3824581"/>
                  </a:cubicBezTo>
                  <a:cubicBezTo>
                    <a:pt x="2302559" y="3824581"/>
                    <a:pt x="2322315" y="3846531"/>
                    <a:pt x="2322315" y="3870677"/>
                  </a:cubicBezTo>
                  <a:cubicBezTo>
                    <a:pt x="2322315" y="3883847"/>
                    <a:pt x="2316828" y="3895370"/>
                    <a:pt x="2308322" y="3903602"/>
                  </a:cubicBezTo>
                  <a:close/>
                  <a:moveTo>
                    <a:pt x="2448998" y="3905171"/>
                  </a:moveTo>
                  <a:lnTo>
                    <a:pt x="2357761" y="3905171"/>
                  </a:lnTo>
                  <a:lnTo>
                    <a:pt x="2357435" y="3903602"/>
                  </a:lnTo>
                  <a:cubicBezTo>
                    <a:pt x="2357435" y="3877261"/>
                    <a:pt x="2377191" y="3857506"/>
                    <a:pt x="2403531" y="3857506"/>
                  </a:cubicBezTo>
                  <a:cubicBezTo>
                    <a:pt x="2429871" y="3857506"/>
                    <a:pt x="2449625" y="3877261"/>
                    <a:pt x="2449625" y="3903602"/>
                  </a:cubicBezTo>
                  <a:close/>
                  <a:moveTo>
                    <a:pt x="2565556" y="3905171"/>
                  </a:moveTo>
                  <a:lnTo>
                    <a:pt x="2504463" y="3905171"/>
                  </a:lnTo>
                  <a:lnTo>
                    <a:pt x="2505322" y="3903053"/>
                  </a:lnTo>
                  <a:cubicBezTo>
                    <a:pt x="2512731" y="3895370"/>
                    <a:pt x="2523157" y="3890431"/>
                    <a:pt x="2535230" y="3890431"/>
                  </a:cubicBezTo>
                  <a:cubicBezTo>
                    <a:pt x="2546205" y="3890431"/>
                    <a:pt x="2556632" y="3894821"/>
                    <a:pt x="2564315" y="3902230"/>
                  </a:cubicBezTo>
                  <a:close/>
                </a:path>
              </a:pathLst>
            </a:custGeom>
            <a:gradFill>
              <a:gsLst>
                <a:gs pos="0">
                  <a:schemeClr val="accent3">
                    <a:alpha val="0"/>
                  </a:schemeClr>
                </a:gs>
                <a:gs pos="93000">
                  <a:schemeClr val="accent1">
                    <a:lumMod val="75000"/>
                    <a:alpha val="17000"/>
                  </a:schemeClr>
                </a:gs>
              </a:gsLst>
              <a:lin ang="10800000" scaled="1"/>
            </a:gradFill>
            <a:ln w="31528" cap="flat">
              <a:noFill/>
              <a:prstDash val="solid"/>
              <a:miter/>
            </a:ln>
          </p:spPr>
          <p:txBody>
            <a:bodyPr rtlCol="0" anchor="ctr"/>
            <a:lstStyle/>
            <a:p>
              <a:endParaRPr lang="en-US" sz="1765"/>
            </a:p>
          </p:txBody>
        </p:sp>
        <p:sp>
          <p:nvSpPr>
            <p:cNvPr id="1161" name="Freeform: Shape 1160">
              <a:extLst>
                <a:ext uri="{FF2B5EF4-FFF2-40B4-BE49-F238E27FC236}">
                  <a16:creationId xmlns:a16="http://schemas.microsoft.com/office/drawing/2014/main" id="{86A9387A-2498-4DAB-8325-F95C0784F33B}"/>
                </a:ext>
                <a:ext uri="{C183D7F6-B498-43B3-948B-1728B52AA6E4}">
                  <adec:decorative xmlns:adec="http://schemas.microsoft.com/office/drawing/2017/decorative" val="1"/>
                </a:ext>
              </a:extLst>
            </p:cNvPr>
            <p:cNvSpPr/>
            <p:nvPr/>
          </p:nvSpPr>
          <p:spPr>
            <a:xfrm>
              <a:off x="8930686" y="1582126"/>
              <a:ext cx="2957919" cy="5314092"/>
            </a:xfrm>
            <a:custGeom>
              <a:avLst/>
              <a:gdLst>
                <a:gd name="connsiteX0" fmla="*/ 3030947 w 4016827"/>
                <a:gd name="connsiteY0" fmla="*/ 7203063 h 7216489"/>
                <a:gd name="connsiteX1" fmla="*/ 3037660 w 4016827"/>
                <a:gd name="connsiteY1" fmla="*/ 7209776 h 7216489"/>
                <a:gd name="connsiteX2" fmla="*/ 3030947 w 4016827"/>
                <a:gd name="connsiteY2" fmla="*/ 7216489 h 7216489"/>
                <a:gd name="connsiteX3" fmla="*/ 3024234 w 4016827"/>
                <a:gd name="connsiteY3" fmla="*/ 7209776 h 7216489"/>
                <a:gd name="connsiteX4" fmla="*/ 3030947 w 4016827"/>
                <a:gd name="connsiteY4" fmla="*/ 7203063 h 7216489"/>
                <a:gd name="connsiteX5" fmla="*/ 3873436 w 4016827"/>
                <a:gd name="connsiteY5" fmla="*/ 7149359 h 7216489"/>
                <a:gd name="connsiteX6" fmla="*/ 3893574 w 4016827"/>
                <a:gd name="connsiteY6" fmla="*/ 7169498 h 7216489"/>
                <a:gd name="connsiteX7" fmla="*/ 3873436 w 4016827"/>
                <a:gd name="connsiteY7" fmla="*/ 7189637 h 7216489"/>
                <a:gd name="connsiteX8" fmla="*/ 3853295 w 4016827"/>
                <a:gd name="connsiteY8" fmla="*/ 7169498 h 7216489"/>
                <a:gd name="connsiteX9" fmla="*/ 3873436 w 4016827"/>
                <a:gd name="connsiteY9" fmla="*/ 7149359 h 7216489"/>
                <a:gd name="connsiteX10" fmla="*/ 2839624 w 4016827"/>
                <a:gd name="connsiteY10" fmla="*/ 7142646 h 7216489"/>
                <a:gd name="connsiteX11" fmla="*/ 2839624 w 4016827"/>
                <a:gd name="connsiteY11" fmla="*/ 7146002 h 7216489"/>
                <a:gd name="connsiteX12" fmla="*/ 2839624 w 4016827"/>
                <a:gd name="connsiteY12" fmla="*/ 7142646 h 7216489"/>
                <a:gd name="connsiteX13" fmla="*/ 3675402 w 4016827"/>
                <a:gd name="connsiteY13" fmla="*/ 7109080 h 7216489"/>
                <a:gd name="connsiteX14" fmla="*/ 3702254 w 4016827"/>
                <a:gd name="connsiteY14" fmla="*/ 7135933 h 7216489"/>
                <a:gd name="connsiteX15" fmla="*/ 3675402 w 4016827"/>
                <a:gd name="connsiteY15" fmla="*/ 7162785 h 7216489"/>
                <a:gd name="connsiteX16" fmla="*/ 3648550 w 4016827"/>
                <a:gd name="connsiteY16" fmla="*/ 7135933 h 7216489"/>
                <a:gd name="connsiteX17" fmla="*/ 3675402 w 4016827"/>
                <a:gd name="connsiteY17" fmla="*/ 7109080 h 7216489"/>
                <a:gd name="connsiteX18" fmla="*/ 3474010 w 4016827"/>
                <a:gd name="connsiteY18" fmla="*/ 7055376 h 7216489"/>
                <a:gd name="connsiteX19" fmla="*/ 3510931 w 4016827"/>
                <a:gd name="connsiteY19" fmla="*/ 7092298 h 7216489"/>
                <a:gd name="connsiteX20" fmla="*/ 3474010 w 4016827"/>
                <a:gd name="connsiteY20" fmla="*/ 7129220 h 7216489"/>
                <a:gd name="connsiteX21" fmla="*/ 3437087 w 4016827"/>
                <a:gd name="connsiteY21" fmla="*/ 7092298 h 7216489"/>
                <a:gd name="connsiteX22" fmla="*/ 3474010 w 4016827"/>
                <a:gd name="connsiteY22" fmla="*/ 7055376 h 7216489"/>
                <a:gd name="connsiteX23" fmla="*/ 3279328 w 4016827"/>
                <a:gd name="connsiteY23" fmla="*/ 7021810 h 7216489"/>
                <a:gd name="connsiteX24" fmla="*/ 3302826 w 4016827"/>
                <a:gd name="connsiteY24" fmla="*/ 7045306 h 7216489"/>
                <a:gd name="connsiteX25" fmla="*/ 3279328 w 4016827"/>
                <a:gd name="connsiteY25" fmla="*/ 7068802 h 7216489"/>
                <a:gd name="connsiteX26" fmla="*/ 3255834 w 4016827"/>
                <a:gd name="connsiteY26" fmla="*/ 7045306 h 7216489"/>
                <a:gd name="connsiteX27" fmla="*/ 3279328 w 4016827"/>
                <a:gd name="connsiteY27" fmla="*/ 7021810 h 7216489"/>
                <a:gd name="connsiteX28" fmla="*/ 2463694 w 4016827"/>
                <a:gd name="connsiteY28" fmla="*/ 6984888 h 7216489"/>
                <a:gd name="connsiteX29" fmla="*/ 2470406 w 4016827"/>
                <a:gd name="connsiteY29" fmla="*/ 6991602 h 7216489"/>
                <a:gd name="connsiteX30" fmla="*/ 2463694 w 4016827"/>
                <a:gd name="connsiteY30" fmla="*/ 6998315 h 7216489"/>
                <a:gd name="connsiteX31" fmla="*/ 2456980 w 4016827"/>
                <a:gd name="connsiteY31" fmla="*/ 6991602 h 7216489"/>
                <a:gd name="connsiteX32" fmla="*/ 2463694 w 4016827"/>
                <a:gd name="connsiteY32" fmla="*/ 6984888 h 7216489"/>
                <a:gd name="connsiteX33" fmla="*/ 3081295 w 4016827"/>
                <a:gd name="connsiteY33" fmla="*/ 6911045 h 7216489"/>
                <a:gd name="connsiteX34" fmla="*/ 3158496 w 4016827"/>
                <a:gd name="connsiteY34" fmla="*/ 6988245 h 7216489"/>
                <a:gd name="connsiteX35" fmla="*/ 3081295 w 4016827"/>
                <a:gd name="connsiteY35" fmla="*/ 7065445 h 7216489"/>
                <a:gd name="connsiteX36" fmla="*/ 3004095 w 4016827"/>
                <a:gd name="connsiteY36" fmla="*/ 6988245 h 7216489"/>
                <a:gd name="connsiteX37" fmla="*/ 3081295 w 4016827"/>
                <a:gd name="connsiteY37" fmla="*/ 6911045 h 7216489"/>
                <a:gd name="connsiteX38" fmla="*/ 2279084 w 4016827"/>
                <a:gd name="connsiteY38" fmla="*/ 6897619 h 7216489"/>
                <a:gd name="connsiteX39" fmla="*/ 2285797 w 4016827"/>
                <a:gd name="connsiteY39" fmla="*/ 6904332 h 7216489"/>
                <a:gd name="connsiteX40" fmla="*/ 2279084 w 4016827"/>
                <a:gd name="connsiteY40" fmla="*/ 6911045 h 7216489"/>
                <a:gd name="connsiteX41" fmla="*/ 2272371 w 4016827"/>
                <a:gd name="connsiteY41" fmla="*/ 6904332 h 7216489"/>
                <a:gd name="connsiteX42" fmla="*/ 2279084 w 4016827"/>
                <a:gd name="connsiteY42" fmla="*/ 6897619 h 7216489"/>
                <a:gd name="connsiteX43" fmla="*/ 3923784 w 4016827"/>
                <a:gd name="connsiteY43" fmla="*/ 6877479 h 7216489"/>
                <a:gd name="connsiteX44" fmla="*/ 3994272 w 4016827"/>
                <a:gd name="connsiteY44" fmla="*/ 6947967 h 7216489"/>
                <a:gd name="connsiteX45" fmla="*/ 3923784 w 4016827"/>
                <a:gd name="connsiteY45" fmla="*/ 7018454 h 7216489"/>
                <a:gd name="connsiteX46" fmla="*/ 3853295 w 4016827"/>
                <a:gd name="connsiteY46" fmla="*/ 6947967 h 7216489"/>
                <a:gd name="connsiteX47" fmla="*/ 3923784 w 4016827"/>
                <a:gd name="connsiteY47" fmla="*/ 6877479 h 7216489"/>
                <a:gd name="connsiteX48" fmla="*/ 2889972 w 4016827"/>
                <a:gd name="connsiteY48" fmla="*/ 6860697 h 7216489"/>
                <a:gd name="connsiteX49" fmla="*/ 2950390 w 4016827"/>
                <a:gd name="connsiteY49" fmla="*/ 6921114 h 7216489"/>
                <a:gd name="connsiteX50" fmla="*/ 2889972 w 4016827"/>
                <a:gd name="connsiteY50" fmla="*/ 6981532 h 7216489"/>
                <a:gd name="connsiteX51" fmla="*/ 2829555 w 4016827"/>
                <a:gd name="connsiteY51" fmla="*/ 6921114 h 7216489"/>
                <a:gd name="connsiteX52" fmla="*/ 2889972 w 4016827"/>
                <a:gd name="connsiteY52" fmla="*/ 6860697 h 7216489"/>
                <a:gd name="connsiteX53" fmla="*/ 3725749 w 4016827"/>
                <a:gd name="connsiteY53" fmla="*/ 6840557 h 7216489"/>
                <a:gd name="connsiteX54" fmla="*/ 3796237 w 4016827"/>
                <a:gd name="connsiteY54" fmla="*/ 6911045 h 7216489"/>
                <a:gd name="connsiteX55" fmla="*/ 3725749 w 4016827"/>
                <a:gd name="connsiteY55" fmla="*/ 6981532 h 7216489"/>
                <a:gd name="connsiteX56" fmla="*/ 3655261 w 4016827"/>
                <a:gd name="connsiteY56" fmla="*/ 6911045 h 7216489"/>
                <a:gd name="connsiteX57" fmla="*/ 3725749 w 4016827"/>
                <a:gd name="connsiteY57" fmla="*/ 6840557 h 7216489"/>
                <a:gd name="connsiteX58" fmla="*/ 2702006 w 4016827"/>
                <a:gd name="connsiteY58" fmla="*/ 6817062 h 7216489"/>
                <a:gd name="connsiteX59" fmla="*/ 2732215 w 4016827"/>
                <a:gd name="connsiteY59" fmla="*/ 6847271 h 7216489"/>
                <a:gd name="connsiteX60" fmla="*/ 2702006 w 4016827"/>
                <a:gd name="connsiteY60" fmla="*/ 6877479 h 7216489"/>
                <a:gd name="connsiteX61" fmla="*/ 2671798 w 4016827"/>
                <a:gd name="connsiteY61" fmla="*/ 6847271 h 7216489"/>
                <a:gd name="connsiteX62" fmla="*/ 2702006 w 4016827"/>
                <a:gd name="connsiteY62" fmla="*/ 6817062 h 7216489"/>
                <a:gd name="connsiteX63" fmla="*/ 3524357 w 4016827"/>
                <a:gd name="connsiteY63" fmla="*/ 6793566 h 7216489"/>
                <a:gd name="connsiteX64" fmla="*/ 3601556 w 4016827"/>
                <a:gd name="connsiteY64" fmla="*/ 6870766 h 7216489"/>
                <a:gd name="connsiteX65" fmla="*/ 3524357 w 4016827"/>
                <a:gd name="connsiteY65" fmla="*/ 6947967 h 7216489"/>
                <a:gd name="connsiteX66" fmla="*/ 3447158 w 4016827"/>
                <a:gd name="connsiteY66" fmla="*/ 6870766 h 7216489"/>
                <a:gd name="connsiteX67" fmla="*/ 3524357 w 4016827"/>
                <a:gd name="connsiteY67" fmla="*/ 6793566 h 7216489"/>
                <a:gd name="connsiteX68" fmla="*/ 3329678 w 4016827"/>
                <a:gd name="connsiteY68" fmla="*/ 6743218 h 7216489"/>
                <a:gd name="connsiteX69" fmla="*/ 3406879 w 4016827"/>
                <a:gd name="connsiteY69" fmla="*/ 6820418 h 7216489"/>
                <a:gd name="connsiteX70" fmla="*/ 3329678 w 4016827"/>
                <a:gd name="connsiteY70" fmla="*/ 6897619 h 7216489"/>
                <a:gd name="connsiteX71" fmla="*/ 3252476 w 4016827"/>
                <a:gd name="connsiteY71" fmla="*/ 6820418 h 7216489"/>
                <a:gd name="connsiteX72" fmla="*/ 3329678 w 4016827"/>
                <a:gd name="connsiteY72" fmla="*/ 6743218 h 7216489"/>
                <a:gd name="connsiteX73" fmla="*/ 1919936 w 4016827"/>
                <a:gd name="connsiteY73" fmla="*/ 6709653 h 7216489"/>
                <a:gd name="connsiteX74" fmla="*/ 1923292 w 4016827"/>
                <a:gd name="connsiteY74" fmla="*/ 6713009 h 7216489"/>
                <a:gd name="connsiteX75" fmla="*/ 1919936 w 4016827"/>
                <a:gd name="connsiteY75" fmla="*/ 6716366 h 7216489"/>
                <a:gd name="connsiteX76" fmla="*/ 1916579 w 4016827"/>
                <a:gd name="connsiteY76" fmla="*/ 6713009 h 7216489"/>
                <a:gd name="connsiteX77" fmla="*/ 1919936 w 4016827"/>
                <a:gd name="connsiteY77" fmla="*/ 6709653 h 7216489"/>
                <a:gd name="connsiteX78" fmla="*/ 3131643 w 4016827"/>
                <a:gd name="connsiteY78" fmla="*/ 6696226 h 7216489"/>
                <a:gd name="connsiteX79" fmla="*/ 3202129 w 4016827"/>
                <a:gd name="connsiteY79" fmla="*/ 6766714 h 7216489"/>
                <a:gd name="connsiteX80" fmla="*/ 3131643 w 4016827"/>
                <a:gd name="connsiteY80" fmla="*/ 6837201 h 7216489"/>
                <a:gd name="connsiteX81" fmla="*/ 3061156 w 4016827"/>
                <a:gd name="connsiteY81" fmla="*/ 6766714 h 7216489"/>
                <a:gd name="connsiteX82" fmla="*/ 3131643 w 4016827"/>
                <a:gd name="connsiteY82" fmla="*/ 6696226 h 7216489"/>
                <a:gd name="connsiteX83" fmla="*/ 2514042 w 4016827"/>
                <a:gd name="connsiteY83" fmla="*/ 6686157 h 7216489"/>
                <a:gd name="connsiteX84" fmla="*/ 2594598 w 4016827"/>
                <a:gd name="connsiteY84" fmla="*/ 6766714 h 7216489"/>
                <a:gd name="connsiteX85" fmla="*/ 2514042 w 4016827"/>
                <a:gd name="connsiteY85" fmla="*/ 6847271 h 7216489"/>
                <a:gd name="connsiteX86" fmla="*/ 2433484 w 4016827"/>
                <a:gd name="connsiteY86" fmla="*/ 6766714 h 7216489"/>
                <a:gd name="connsiteX87" fmla="*/ 2514042 w 4016827"/>
                <a:gd name="connsiteY87" fmla="*/ 6686157 h 7216489"/>
                <a:gd name="connsiteX88" fmla="*/ 3974130 w 4016827"/>
                <a:gd name="connsiteY88" fmla="*/ 6662662 h 7216489"/>
                <a:gd name="connsiteX89" fmla="*/ 3997732 w 4016827"/>
                <a:gd name="connsiteY89" fmla="*/ 6667382 h 7216489"/>
                <a:gd name="connsiteX90" fmla="*/ 4016827 w 4016827"/>
                <a:gd name="connsiteY90" fmla="*/ 6680216 h 7216489"/>
                <a:gd name="connsiteX91" fmla="*/ 4016827 w 4016827"/>
                <a:gd name="connsiteY91" fmla="*/ 6765944 h 7216489"/>
                <a:gd name="connsiteX92" fmla="*/ 3997732 w 4016827"/>
                <a:gd name="connsiteY92" fmla="*/ 6778777 h 7216489"/>
                <a:gd name="connsiteX93" fmla="*/ 3974130 w 4016827"/>
                <a:gd name="connsiteY93" fmla="*/ 6783497 h 7216489"/>
                <a:gd name="connsiteX94" fmla="*/ 3913715 w 4016827"/>
                <a:gd name="connsiteY94" fmla="*/ 6723080 h 7216489"/>
                <a:gd name="connsiteX95" fmla="*/ 3974130 w 4016827"/>
                <a:gd name="connsiteY95" fmla="*/ 6662662 h 7216489"/>
                <a:gd name="connsiteX96" fmla="*/ 2940320 w 4016827"/>
                <a:gd name="connsiteY96" fmla="*/ 6629097 h 7216489"/>
                <a:gd name="connsiteX97" fmla="*/ 3010808 w 4016827"/>
                <a:gd name="connsiteY97" fmla="*/ 6699584 h 7216489"/>
                <a:gd name="connsiteX98" fmla="*/ 2940320 w 4016827"/>
                <a:gd name="connsiteY98" fmla="*/ 6770071 h 7216489"/>
                <a:gd name="connsiteX99" fmla="*/ 2869833 w 4016827"/>
                <a:gd name="connsiteY99" fmla="*/ 6699584 h 7216489"/>
                <a:gd name="connsiteX100" fmla="*/ 2940320 w 4016827"/>
                <a:gd name="connsiteY100" fmla="*/ 6629097 h 7216489"/>
                <a:gd name="connsiteX101" fmla="*/ 3776096 w 4016827"/>
                <a:gd name="connsiteY101" fmla="*/ 6619027 h 7216489"/>
                <a:gd name="connsiteX102" fmla="*/ 3849940 w 4016827"/>
                <a:gd name="connsiteY102" fmla="*/ 6692871 h 7216489"/>
                <a:gd name="connsiteX103" fmla="*/ 3776096 w 4016827"/>
                <a:gd name="connsiteY103" fmla="*/ 6766715 h 7216489"/>
                <a:gd name="connsiteX104" fmla="*/ 3702254 w 4016827"/>
                <a:gd name="connsiteY104" fmla="*/ 6692871 h 7216489"/>
                <a:gd name="connsiteX105" fmla="*/ 3776096 w 4016827"/>
                <a:gd name="connsiteY105" fmla="*/ 6619027 h 7216489"/>
                <a:gd name="connsiteX106" fmla="*/ 2329432 w 4016827"/>
                <a:gd name="connsiteY106" fmla="*/ 6612314 h 7216489"/>
                <a:gd name="connsiteX107" fmla="*/ 2396563 w 4016827"/>
                <a:gd name="connsiteY107" fmla="*/ 6679445 h 7216489"/>
                <a:gd name="connsiteX108" fmla="*/ 2329432 w 4016827"/>
                <a:gd name="connsiteY108" fmla="*/ 6746575 h 7216489"/>
                <a:gd name="connsiteX109" fmla="*/ 2262301 w 4016827"/>
                <a:gd name="connsiteY109" fmla="*/ 6679445 h 7216489"/>
                <a:gd name="connsiteX110" fmla="*/ 2329432 w 4016827"/>
                <a:gd name="connsiteY110" fmla="*/ 6612314 h 7216489"/>
                <a:gd name="connsiteX111" fmla="*/ 1747494 w 4016827"/>
                <a:gd name="connsiteY111" fmla="*/ 6604762 h 7216489"/>
                <a:gd name="connsiteX112" fmla="*/ 1748752 w 4016827"/>
                <a:gd name="connsiteY112" fmla="*/ 6605601 h 7216489"/>
                <a:gd name="connsiteX113" fmla="*/ 1748752 w 4016827"/>
                <a:gd name="connsiteY113" fmla="*/ 6608957 h 7216489"/>
                <a:gd name="connsiteX114" fmla="*/ 1747494 w 4016827"/>
                <a:gd name="connsiteY114" fmla="*/ 6604762 h 7216489"/>
                <a:gd name="connsiteX115" fmla="*/ 976750 w 4016827"/>
                <a:gd name="connsiteY115" fmla="*/ 6595531 h 7216489"/>
                <a:gd name="connsiteX116" fmla="*/ 976750 w 4016827"/>
                <a:gd name="connsiteY116" fmla="*/ 6602244 h 7216489"/>
                <a:gd name="connsiteX117" fmla="*/ 976750 w 4016827"/>
                <a:gd name="connsiteY117" fmla="*/ 6595531 h 7216489"/>
                <a:gd name="connsiteX118" fmla="*/ 3574704 w 4016827"/>
                <a:gd name="connsiteY118" fmla="*/ 6568679 h 7216489"/>
                <a:gd name="connsiteX119" fmla="*/ 3658618 w 4016827"/>
                <a:gd name="connsiteY119" fmla="*/ 6652592 h 7216489"/>
                <a:gd name="connsiteX120" fmla="*/ 3574704 w 4016827"/>
                <a:gd name="connsiteY120" fmla="*/ 6736506 h 7216489"/>
                <a:gd name="connsiteX121" fmla="*/ 3490792 w 4016827"/>
                <a:gd name="connsiteY121" fmla="*/ 6652592 h 7216489"/>
                <a:gd name="connsiteX122" fmla="*/ 3574704 w 4016827"/>
                <a:gd name="connsiteY122" fmla="*/ 6568679 h 7216489"/>
                <a:gd name="connsiteX123" fmla="*/ 2151536 w 4016827"/>
                <a:gd name="connsiteY123" fmla="*/ 6558609 h 7216489"/>
                <a:gd name="connsiteX124" fmla="*/ 2171675 w 4016827"/>
                <a:gd name="connsiteY124" fmla="*/ 6582105 h 7216489"/>
                <a:gd name="connsiteX125" fmla="*/ 2151536 w 4016827"/>
                <a:gd name="connsiteY125" fmla="*/ 6605601 h 7216489"/>
                <a:gd name="connsiteX126" fmla="*/ 2128040 w 4016827"/>
                <a:gd name="connsiteY126" fmla="*/ 6582105 h 7216489"/>
                <a:gd name="connsiteX127" fmla="*/ 2151536 w 4016827"/>
                <a:gd name="connsiteY127" fmla="*/ 6558609 h 7216489"/>
                <a:gd name="connsiteX128" fmla="*/ 2752354 w 4016827"/>
                <a:gd name="connsiteY128" fmla="*/ 6548540 h 7216489"/>
                <a:gd name="connsiteX129" fmla="*/ 2829555 w 4016827"/>
                <a:gd name="connsiteY129" fmla="*/ 6625739 h 7216489"/>
                <a:gd name="connsiteX130" fmla="*/ 2752354 w 4016827"/>
                <a:gd name="connsiteY130" fmla="*/ 6702939 h 7216489"/>
                <a:gd name="connsiteX131" fmla="*/ 2675154 w 4016827"/>
                <a:gd name="connsiteY131" fmla="*/ 6625739 h 7216489"/>
                <a:gd name="connsiteX132" fmla="*/ 2752354 w 4016827"/>
                <a:gd name="connsiteY132" fmla="*/ 6548540 h 7216489"/>
                <a:gd name="connsiteX133" fmla="*/ 3380027 w 4016827"/>
                <a:gd name="connsiteY133" fmla="*/ 6521688 h 7216489"/>
                <a:gd name="connsiteX134" fmla="*/ 3460584 w 4016827"/>
                <a:gd name="connsiteY134" fmla="*/ 6602244 h 7216489"/>
                <a:gd name="connsiteX135" fmla="*/ 3380027 w 4016827"/>
                <a:gd name="connsiteY135" fmla="*/ 6682801 h 7216489"/>
                <a:gd name="connsiteX136" fmla="*/ 3299470 w 4016827"/>
                <a:gd name="connsiteY136" fmla="*/ 6602244 h 7216489"/>
                <a:gd name="connsiteX137" fmla="*/ 3380027 w 4016827"/>
                <a:gd name="connsiteY137" fmla="*/ 6521688 h 7216489"/>
                <a:gd name="connsiteX138" fmla="*/ 1578408 w 4016827"/>
                <a:gd name="connsiteY138" fmla="*/ 6490640 h 7216489"/>
                <a:gd name="connsiteX139" fmla="*/ 1580925 w 4016827"/>
                <a:gd name="connsiteY139" fmla="*/ 6491479 h 7216489"/>
                <a:gd name="connsiteX140" fmla="*/ 1580925 w 4016827"/>
                <a:gd name="connsiteY140" fmla="*/ 6494835 h 7216489"/>
                <a:gd name="connsiteX141" fmla="*/ 1578408 w 4016827"/>
                <a:gd name="connsiteY141" fmla="*/ 6490640 h 7216489"/>
                <a:gd name="connsiteX142" fmla="*/ 2567746 w 4016827"/>
                <a:gd name="connsiteY142" fmla="*/ 6467983 h 7216489"/>
                <a:gd name="connsiteX143" fmla="*/ 2641590 w 4016827"/>
                <a:gd name="connsiteY143" fmla="*/ 6541827 h 7216489"/>
                <a:gd name="connsiteX144" fmla="*/ 2567746 w 4016827"/>
                <a:gd name="connsiteY144" fmla="*/ 6615671 h 7216489"/>
                <a:gd name="connsiteX145" fmla="*/ 2493902 w 4016827"/>
                <a:gd name="connsiteY145" fmla="*/ 6541827 h 7216489"/>
                <a:gd name="connsiteX146" fmla="*/ 2567746 w 4016827"/>
                <a:gd name="connsiteY146" fmla="*/ 6467983 h 7216489"/>
                <a:gd name="connsiteX147" fmla="*/ 3185348 w 4016827"/>
                <a:gd name="connsiteY147" fmla="*/ 6464626 h 7216489"/>
                <a:gd name="connsiteX148" fmla="*/ 3265904 w 4016827"/>
                <a:gd name="connsiteY148" fmla="*/ 6545183 h 7216489"/>
                <a:gd name="connsiteX149" fmla="*/ 3185348 w 4016827"/>
                <a:gd name="connsiteY149" fmla="*/ 6625740 h 7216489"/>
                <a:gd name="connsiteX150" fmla="*/ 3104791 w 4016827"/>
                <a:gd name="connsiteY150" fmla="*/ 6545183 h 7216489"/>
                <a:gd name="connsiteX151" fmla="*/ 3185348 w 4016827"/>
                <a:gd name="connsiteY151" fmla="*/ 6464626 h 7216489"/>
                <a:gd name="connsiteX152" fmla="*/ 4016827 w 4016827"/>
                <a:gd name="connsiteY152" fmla="*/ 6446018 h 7216489"/>
                <a:gd name="connsiteX153" fmla="*/ 4016827 w 4016827"/>
                <a:gd name="connsiteY153" fmla="*/ 6563792 h 7216489"/>
                <a:gd name="connsiteX154" fmla="*/ 4000879 w 4016827"/>
                <a:gd name="connsiteY154" fmla="*/ 6560603 h 7216489"/>
                <a:gd name="connsiteX155" fmla="*/ 3964062 w 4016827"/>
                <a:gd name="connsiteY155" fmla="*/ 6504905 h 7216489"/>
                <a:gd name="connsiteX156" fmla="*/ 4000879 w 4016827"/>
                <a:gd name="connsiteY156" fmla="*/ 6449207 h 7216489"/>
                <a:gd name="connsiteX157" fmla="*/ 1976996 w 4016827"/>
                <a:gd name="connsiteY157" fmla="*/ 6441131 h 7216489"/>
                <a:gd name="connsiteX158" fmla="*/ 2017274 w 4016827"/>
                <a:gd name="connsiteY158" fmla="*/ 6481409 h 7216489"/>
                <a:gd name="connsiteX159" fmla="*/ 1976996 w 4016827"/>
                <a:gd name="connsiteY159" fmla="*/ 6521688 h 7216489"/>
                <a:gd name="connsiteX160" fmla="*/ 1936717 w 4016827"/>
                <a:gd name="connsiteY160" fmla="*/ 6481409 h 7216489"/>
                <a:gd name="connsiteX161" fmla="*/ 1976996 w 4016827"/>
                <a:gd name="connsiteY161" fmla="*/ 6441131 h 7216489"/>
                <a:gd name="connsiteX162" fmla="*/ 2990668 w 4016827"/>
                <a:gd name="connsiteY162" fmla="*/ 6410922 h 7216489"/>
                <a:gd name="connsiteX163" fmla="*/ 3057799 w 4016827"/>
                <a:gd name="connsiteY163" fmla="*/ 6478053 h 7216489"/>
                <a:gd name="connsiteX164" fmla="*/ 2990668 w 4016827"/>
                <a:gd name="connsiteY164" fmla="*/ 6545183 h 7216489"/>
                <a:gd name="connsiteX165" fmla="*/ 2923538 w 4016827"/>
                <a:gd name="connsiteY165" fmla="*/ 6478053 h 7216489"/>
                <a:gd name="connsiteX166" fmla="*/ 2990668 w 4016827"/>
                <a:gd name="connsiteY166" fmla="*/ 6410922 h 7216489"/>
                <a:gd name="connsiteX167" fmla="*/ 3826443 w 4016827"/>
                <a:gd name="connsiteY167" fmla="*/ 6400852 h 7216489"/>
                <a:gd name="connsiteX168" fmla="*/ 3900289 w 4016827"/>
                <a:gd name="connsiteY168" fmla="*/ 6474696 h 7216489"/>
                <a:gd name="connsiteX169" fmla="*/ 3826443 w 4016827"/>
                <a:gd name="connsiteY169" fmla="*/ 6548540 h 7216489"/>
                <a:gd name="connsiteX170" fmla="*/ 3752601 w 4016827"/>
                <a:gd name="connsiteY170" fmla="*/ 6474696 h 7216489"/>
                <a:gd name="connsiteX171" fmla="*/ 3826443 w 4016827"/>
                <a:gd name="connsiteY171" fmla="*/ 6400852 h 7216489"/>
                <a:gd name="connsiteX172" fmla="*/ 2383136 w 4016827"/>
                <a:gd name="connsiteY172" fmla="*/ 6380713 h 7216489"/>
                <a:gd name="connsiteX173" fmla="*/ 2456980 w 4016827"/>
                <a:gd name="connsiteY173" fmla="*/ 6454557 h 7216489"/>
                <a:gd name="connsiteX174" fmla="*/ 2383136 w 4016827"/>
                <a:gd name="connsiteY174" fmla="*/ 6528401 h 7216489"/>
                <a:gd name="connsiteX175" fmla="*/ 2309293 w 4016827"/>
                <a:gd name="connsiteY175" fmla="*/ 6454557 h 7216489"/>
                <a:gd name="connsiteX176" fmla="*/ 2383136 w 4016827"/>
                <a:gd name="connsiteY176" fmla="*/ 6380713 h 7216489"/>
                <a:gd name="connsiteX177" fmla="*/ 1415197 w 4016827"/>
                <a:gd name="connsiteY177" fmla="*/ 6369805 h 7216489"/>
                <a:gd name="connsiteX178" fmla="*/ 1416455 w 4016827"/>
                <a:gd name="connsiteY178" fmla="*/ 6370643 h 7216489"/>
                <a:gd name="connsiteX179" fmla="*/ 1416455 w 4016827"/>
                <a:gd name="connsiteY179" fmla="*/ 6374000 h 7216489"/>
                <a:gd name="connsiteX180" fmla="*/ 1415197 w 4016827"/>
                <a:gd name="connsiteY180" fmla="*/ 6369805 h 7216489"/>
                <a:gd name="connsiteX181" fmla="*/ 1805813 w 4016827"/>
                <a:gd name="connsiteY181" fmla="*/ 6360574 h 7216489"/>
                <a:gd name="connsiteX182" fmla="*/ 1815883 w 4016827"/>
                <a:gd name="connsiteY182" fmla="*/ 6370643 h 7216489"/>
                <a:gd name="connsiteX183" fmla="*/ 1805813 w 4016827"/>
                <a:gd name="connsiteY183" fmla="*/ 6380713 h 7216489"/>
                <a:gd name="connsiteX184" fmla="*/ 1795744 w 4016827"/>
                <a:gd name="connsiteY184" fmla="*/ 6370643 h 7216489"/>
                <a:gd name="connsiteX185" fmla="*/ 1805813 w 4016827"/>
                <a:gd name="connsiteY185" fmla="*/ 6360574 h 7216489"/>
                <a:gd name="connsiteX186" fmla="*/ 3625053 w 4016827"/>
                <a:gd name="connsiteY186" fmla="*/ 6357217 h 7216489"/>
                <a:gd name="connsiteX187" fmla="*/ 3698897 w 4016827"/>
                <a:gd name="connsiteY187" fmla="*/ 6431061 h 7216489"/>
                <a:gd name="connsiteX188" fmla="*/ 3625053 w 4016827"/>
                <a:gd name="connsiteY188" fmla="*/ 6504905 h 7216489"/>
                <a:gd name="connsiteX189" fmla="*/ 3551209 w 4016827"/>
                <a:gd name="connsiteY189" fmla="*/ 6431061 h 7216489"/>
                <a:gd name="connsiteX190" fmla="*/ 3625053 w 4016827"/>
                <a:gd name="connsiteY190" fmla="*/ 6357217 h 7216489"/>
                <a:gd name="connsiteX191" fmla="*/ 2802702 w 4016827"/>
                <a:gd name="connsiteY191" fmla="*/ 6323652 h 7216489"/>
                <a:gd name="connsiteX192" fmla="*/ 2879903 w 4016827"/>
                <a:gd name="connsiteY192" fmla="*/ 6400852 h 7216489"/>
                <a:gd name="connsiteX193" fmla="*/ 2802702 w 4016827"/>
                <a:gd name="connsiteY193" fmla="*/ 6478053 h 7216489"/>
                <a:gd name="connsiteX194" fmla="*/ 2725502 w 4016827"/>
                <a:gd name="connsiteY194" fmla="*/ 6400852 h 7216489"/>
                <a:gd name="connsiteX195" fmla="*/ 2802702 w 4016827"/>
                <a:gd name="connsiteY195" fmla="*/ 6323652 h 7216489"/>
                <a:gd name="connsiteX196" fmla="*/ 3430374 w 4016827"/>
                <a:gd name="connsiteY196" fmla="*/ 6306869 h 7216489"/>
                <a:gd name="connsiteX197" fmla="*/ 3507573 w 4016827"/>
                <a:gd name="connsiteY197" fmla="*/ 6384070 h 7216489"/>
                <a:gd name="connsiteX198" fmla="*/ 3430374 w 4016827"/>
                <a:gd name="connsiteY198" fmla="*/ 6461270 h 7216489"/>
                <a:gd name="connsiteX199" fmla="*/ 3353174 w 4016827"/>
                <a:gd name="connsiteY199" fmla="*/ 6384070 h 7216489"/>
                <a:gd name="connsiteX200" fmla="*/ 3430374 w 4016827"/>
                <a:gd name="connsiteY200" fmla="*/ 6306869 h 7216489"/>
                <a:gd name="connsiteX201" fmla="*/ 2205240 w 4016827"/>
                <a:gd name="connsiteY201" fmla="*/ 6276660 h 7216489"/>
                <a:gd name="connsiteX202" fmla="*/ 2282440 w 4016827"/>
                <a:gd name="connsiteY202" fmla="*/ 6353861 h 7216489"/>
                <a:gd name="connsiteX203" fmla="*/ 2205240 w 4016827"/>
                <a:gd name="connsiteY203" fmla="*/ 6431061 h 7216489"/>
                <a:gd name="connsiteX204" fmla="*/ 2128040 w 4016827"/>
                <a:gd name="connsiteY204" fmla="*/ 6353861 h 7216489"/>
                <a:gd name="connsiteX205" fmla="*/ 2205240 w 4016827"/>
                <a:gd name="connsiteY205" fmla="*/ 6276660 h 7216489"/>
                <a:gd name="connsiteX206" fmla="*/ 3235697 w 4016827"/>
                <a:gd name="connsiteY206" fmla="*/ 6253165 h 7216489"/>
                <a:gd name="connsiteX207" fmla="*/ 3306183 w 4016827"/>
                <a:gd name="connsiteY207" fmla="*/ 6323652 h 7216489"/>
                <a:gd name="connsiteX208" fmla="*/ 3235697 w 4016827"/>
                <a:gd name="connsiteY208" fmla="*/ 6394139 h 7216489"/>
                <a:gd name="connsiteX209" fmla="*/ 3165208 w 4016827"/>
                <a:gd name="connsiteY209" fmla="*/ 6323652 h 7216489"/>
                <a:gd name="connsiteX210" fmla="*/ 3235697 w 4016827"/>
                <a:gd name="connsiteY210" fmla="*/ 6253165 h 7216489"/>
                <a:gd name="connsiteX211" fmla="*/ 4016827 w 4016827"/>
                <a:gd name="connsiteY211" fmla="*/ 6248280 h 7216489"/>
                <a:gd name="connsiteX212" fmla="*/ 4016827 w 4016827"/>
                <a:gd name="connsiteY212" fmla="*/ 6308840 h 7216489"/>
                <a:gd name="connsiteX213" fmla="*/ 4014883 w 4016827"/>
                <a:gd name="connsiteY213" fmla="*/ 6306082 h 7216489"/>
                <a:gd name="connsiteX214" fmla="*/ 4007698 w 4016827"/>
                <a:gd name="connsiteY214" fmla="*/ 6280017 h 7216489"/>
                <a:gd name="connsiteX215" fmla="*/ 4012995 w 4016827"/>
                <a:gd name="connsiteY215" fmla="*/ 6253951 h 7216489"/>
                <a:gd name="connsiteX216" fmla="*/ 2618094 w 4016827"/>
                <a:gd name="connsiteY216" fmla="*/ 6243095 h 7216489"/>
                <a:gd name="connsiteX217" fmla="*/ 2691938 w 4016827"/>
                <a:gd name="connsiteY217" fmla="*/ 6316939 h 7216489"/>
                <a:gd name="connsiteX218" fmla="*/ 2618094 w 4016827"/>
                <a:gd name="connsiteY218" fmla="*/ 6390783 h 7216489"/>
                <a:gd name="connsiteX219" fmla="*/ 2544250 w 4016827"/>
                <a:gd name="connsiteY219" fmla="*/ 6316939 h 7216489"/>
                <a:gd name="connsiteX220" fmla="*/ 2618094 w 4016827"/>
                <a:gd name="connsiteY220" fmla="*/ 6243095 h 7216489"/>
                <a:gd name="connsiteX221" fmla="*/ 1258699 w 4016827"/>
                <a:gd name="connsiteY221" fmla="*/ 6243095 h 7216489"/>
                <a:gd name="connsiteX222" fmla="*/ 1262056 w 4016827"/>
                <a:gd name="connsiteY222" fmla="*/ 6246452 h 7216489"/>
                <a:gd name="connsiteX223" fmla="*/ 1258699 w 4016827"/>
                <a:gd name="connsiteY223" fmla="*/ 6249808 h 7216489"/>
                <a:gd name="connsiteX224" fmla="*/ 1255342 w 4016827"/>
                <a:gd name="connsiteY224" fmla="*/ 6246452 h 7216489"/>
                <a:gd name="connsiteX225" fmla="*/ 1258699 w 4016827"/>
                <a:gd name="connsiteY225" fmla="*/ 6243095 h 7216489"/>
                <a:gd name="connsiteX226" fmla="*/ 3876792 w 4016827"/>
                <a:gd name="connsiteY226" fmla="*/ 6189390 h 7216489"/>
                <a:gd name="connsiteX227" fmla="*/ 3940567 w 4016827"/>
                <a:gd name="connsiteY227" fmla="*/ 6253165 h 7216489"/>
                <a:gd name="connsiteX228" fmla="*/ 3876792 w 4016827"/>
                <a:gd name="connsiteY228" fmla="*/ 6316939 h 7216489"/>
                <a:gd name="connsiteX229" fmla="*/ 3813017 w 4016827"/>
                <a:gd name="connsiteY229" fmla="*/ 6253165 h 7216489"/>
                <a:gd name="connsiteX230" fmla="*/ 3876792 w 4016827"/>
                <a:gd name="connsiteY230" fmla="*/ 6189390 h 7216489"/>
                <a:gd name="connsiteX231" fmla="*/ 1637986 w 4016827"/>
                <a:gd name="connsiteY231" fmla="*/ 6182677 h 7216489"/>
                <a:gd name="connsiteX232" fmla="*/ 1708474 w 4016827"/>
                <a:gd name="connsiteY232" fmla="*/ 6253165 h 7216489"/>
                <a:gd name="connsiteX233" fmla="*/ 1637986 w 4016827"/>
                <a:gd name="connsiteY233" fmla="*/ 6323652 h 7216489"/>
                <a:gd name="connsiteX234" fmla="*/ 1567499 w 4016827"/>
                <a:gd name="connsiteY234" fmla="*/ 6253165 h 7216489"/>
                <a:gd name="connsiteX235" fmla="*/ 1637986 w 4016827"/>
                <a:gd name="connsiteY235" fmla="*/ 6182677 h 7216489"/>
                <a:gd name="connsiteX236" fmla="*/ 3044373 w 4016827"/>
                <a:gd name="connsiteY236" fmla="*/ 6179322 h 7216489"/>
                <a:gd name="connsiteX237" fmla="*/ 3118217 w 4016827"/>
                <a:gd name="connsiteY237" fmla="*/ 6253166 h 7216489"/>
                <a:gd name="connsiteX238" fmla="*/ 3044373 w 4016827"/>
                <a:gd name="connsiteY238" fmla="*/ 6327009 h 7216489"/>
                <a:gd name="connsiteX239" fmla="*/ 2970529 w 4016827"/>
                <a:gd name="connsiteY239" fmla="*/ 6253166 h 7216489"/>
                <a:gd name="connsiteX240" fmla="*/ 3044373 w 4016827"/>
                <a:gd name="connsiteY240" fmla="*/ 6179322 h 7216489"/>
                <a:gd name="connsiteX241" fmla="*/ 2030700 w 4016827"/>
                <a:gd name="connsiteY241" fmla="*/ 6172608 h 7216489"/>
                <a:gd name="connsiteX242" fmla="*/ 2107900 w 4016827"/>
                <a:gd name="connsiteY242" fmla="*/ 6249808 h 7216489"/>
                <a:gd name="connsiteX243" fmla="*/ 2030700 w 4016827"/>
                <a:gd name="connsiteY243" fmla="*/ 6327008 h 7216489"/>
                <a:gd name="connsiteX244" fmla="*/ 1953500 w 4016827"/>
                <a:gd name="connsiteY244" fmla="*/ 6249808 h 7216489"/>
                <a:gd name="connsiteX245" fmla="*/ 2030700 w 4016827"/>
                <a:gd name="connsiteY245" fmla="*/ 6172608 h 7216489"/>
                <a:gd name="connsiteX246" fmla="*/ 2436841 w 4016827"/>
                <a:gd name="connsiteY246" fmla="*/ 6155825 h 7216489"/>
                <a:gd name="connsiteX247" fmla="*/ 2503972 w 4016827"/>
                <a:gd name="connsiteY247" fmla="*/ 6222956 h 7216489"/>
                <a:gd name="connsiteX248" fmla="*/ 2436841 w 4016827"/>
                <a:gd name="connsiteY248" fmla="*/ 6290087 h 7216489"/>
                <a:gd name="connsiteX249" fmla="*/ 2369710 w 4016827"/>
                <a:gd name="connsiteY249" fmla="*/ 6222956 h 7216489"/>
                <a:gd name="connsiteX250" fmla="*/ 2436841 w 4016827"/>
                <a:gd name="connsiteY250" fmla="*/ 6155825 h 7216489"/>
                <a:gd name="connsiteX251" fmla="*/ 3675402 w 4016827"/>
                <a:gd name="connsiteY251" fmla="*/ 6139042 h 7216489"/>
                <a:gd name="connsiteX252" fmla="*/ 3745888 w 4016827"/>
                <a:gd name="connsiteY252" fmla="*/ 6209530 h 7216489"/>
                <a:gd name="connsiteX253" fmla="*/ 3675402 w 4016827"/>
                <a:gd name="connsiteY253" fmla="*/ 6280017 h 7216489"/>
                <a:gd name="connsiteX254" fmla="*/ 3604914 w 4016827"/>
                <a:gd name="connsiteY254" fmla="*/ 6209530 h 7216489"/>
                <a:gd name="connsiteX255" fmla="*/ 3675402 w 4016827"/>
                <a:gd name="connsiteY255" fmla="*/ 6139042 h 7216489"/>
                <a:gd name="connsiteX256" fmla="*/ 2856407 w 4016827"/>
                <a:gd name="connsiteY256" fmla="*/ 6102122 h 7216489"/>
                <a:gd name="connsiteX257" fmla="*/ 2930251 w 4016827"/>
                <a:gd name="connsiteY257" fmla="*/ 6175965 h 7216489"/>
                <a:gd name="connsiteX258" fmla="*/ 2856407 w 4016827"/>
                <a:gd name="connsiteY258" fmla="*/ 6249809 h 7216489"/>
                <a:gd name="connsiteX259" fmla="*/ 2782564 w 4016827"/>
                <a:gd name="connsiteY259" fmla="*/ 6175965 h 7216489"/>
                <a:gd name="connsiteX260" fmla="*/ 2856407 w 4016827"/>
                <a:gd name="connsiteY260" fmla="*/ 6102122 h 7216489"/>
                <a:gd name="connsiteX261" fmla="*/ 1476873 w 4016827"/>
                <a:gd name="connsiteY261" fmla="*/ 6092052 h 7216489"/>
                <a:gd name="connsiteX262" fmla="*/ 1517151 w 4016827"/>
                <a:gd name="connsiteY262" fmla="*/ 6132330 h 7216489"/>
                <a:gd name="connsiteX263" fmla="*/ 1476873 w 4016827"/>
                <a:gd name="connsiteY263" fmla="*/ 6172609 h 7216489"/>
                <a:gd name="connsiteX264" fmla="*/ 1436594 w 4016827"/>
                <a:gd name="connsiteY264" fmla="*/ 6132330 h 7216489"/>
                <a:gd name="connsiteX265" fmla="*/ 1476873 w 4016827"/>
                <a:gd name="connsiteY265" fmla="*/ 6092052 h 7216489"/>
                <a:gd name="connsiteX266" fmla="*/ 3480721 w 4016827"/>
                <a:gd name="connsiteY266" fmla="*/ 6088694 h 7216489"/>
                <a:gd name="connsiteX267" fmla="*/ 3551209 w 4016827"/>
                <a:gd name="connsiteY267" fmla="*/ 6159182 h 7216489"/>
                <a:gd name="connsiteX268" fmla="*/ 3480721 w 4016827"/>
                <a:gd name="connsiteY268" fmla="*/ 6229669 h 7216489"/>
                <a:gd name="connsiteX269" fmla="*/ 3410234 w 4016827"/>
                <a:gd name="connsiteY269" fmla="*/ 6159182 h 7216489"/>
                <a:gd name="connsiteX270" fmla="*/ 3480721 w 4016827"/>
                <a:gd name="connsiteY270" fmla="*/ 6088694 h 7216489"/>
                <a:gd name="connsiteX271" fmla="*/ 1862874 w 4016827"/>
                <a:gd name="connsiteY271" fmla="*/ 6061843 h 7216489"/>
                <a:gd name="connsiteX272" fmla="*/ 1940075 w 4016827"/>
                <a:gd name="connsiteY272" fmla="*/ 6139042 h 7216489"/>
                <a:gd name="connsiteX273" fmla="*/ 1862874 w 4016827"/>
                <a:gd name="connsiteY273" fmla="*/ 6216243 h 7216489"/>
                <a:gd name="connsiteX274" fmla="*/ 1785674 w 4016827"/>
                <a:gd name="connsiteY274" fmla="*/ 6139042 h 7216489"/>
                <a:gd name="connsiteX275" fmla="*/ 1862874 w 4016827"/>
                <a:gd name="connsiteY275" fmla="*/ 6061843 h 7216489"/>
                <a:gd name="connsiteX276" fmla="*/ 2262301 w 4016827"/>
                <a:gd name="connsiteY276" fmla="*/ 6055129 h 7216489"/>
                <a:gd name="connsiteX277" fmla="*/ 2329432 w 4016827"/>
                <a:gd name="connsiteY277" fmla="*/ 6122260 h 7216489"/>
                <a:gd name="connsiteX278" fmla="*/ 2262301 w 4016827"/>
                <a:gd name="connsiteY278" fmla="*/ 6189390 h 7216489"/>
                <a:gd name="connsiteX279" fmla="*/ 2195170 w 4016827"/>
                <a:gd name="connsiteY279" fmla="*/ 6122260 h 7216489"/>
                <a:gd name="connsiteX280" fmla="*/ 2262301 w 4016827"/>
                <a:gd name="connsiteY280" fmla="*/ 6055129 h 7216489"/>
                <a:gd name="connsiteX281" fmla="*/ 3286044 w 4016827"/>
                <a:gd name="connsiteY281" fmla="*/ 6031634 h 7216489"/>
                <a:gd name="connsiteX282" fmla="*/ 3356532 w 4016827"/>
                <a:gd name="connsiteY282" fmla="*/ 6102122 h 7216489"/>
                <a:gd name="connsiteX283" fmla="*/ 3286044 w 4016827"/>
                <a:gd name="connsiteY283" fmla="*/ 6172609 h 7216489"/>
                <a:gd name="connsiteX284" fmla="*/ 3215556 w 4016827"/>
                <a:gd name="connsiteY284" fmla="*/ 6102122 h 7216489"/>
                <a:gd name="connsiteX285" fmla="*/ 3286044 w 4016827"/>
                <a:gd name="connsiteY285" fmla="*/ 6031634 h 7216489"/>
                <a:gd name="connsiteX286" fmla="*/ 2671798 w 4016827"/>
                <a:gd name="connsiteY286" fmla="*/ 6014852 h 7216489"/>
                <a:gd name="connsiteX287" fmla="*/ 2745642 w 4016827"/>
                <a:gd name="connsiteY287" fmla="*/ 6088695 h 7216489"/>
                <a:gd name="connsiteX288" fmla="*/ 2671798 w 4016827"/>
                <a:gd name="connsiteY288" fmla="*/ 6162539 h 7216489"/>
                <a:gd name="connsiteX289" fmla="*/ 2597954 w 4016827"/>
                <a:gd name="connsiteY289" fmla="*/ 6088695 h 7216489"/>
                <a:gd name="connsiteX290" fmla="*/ 2671798 w 4016827"/>
                <a:gd name="connsiteY290" fmla="*/ 6014852 h 7216489"/>
                <a:gd name="connsiteX291" fmla="*/ 3927141 w 4016827"/>
                <a:gd name="connsiteY291" fmla="*/ 5971217 h 7216489"/>
                <a:gd name="connsiteX292" fmla="*/ 3984201 w 4016827"/>
                <a:gd name="connsiteY292" fmla="*/ 6028278 h 7216489"/>
                <a:gd name="connsiteX293" fmla="*/ 3927141 w 4016827"/>
                <a:gd name="connsiteY293" fmla="*/ 6085339 h 7216489"/>
                <a:gd name="connsiteX294" fmla="*/ 3870079 w 4016827"/>
                <a:gd name="connsiteY294" fmla="*/ 6028278 h 7216489"/>
                <a:gd name="connsiteX295" fmla="*/ 3927141 w 4016827"/>
                <a:gd name="connsiteY295" fmla="*/ 5971217 h 7216489"/>
                <a:gd name="connsiteX296" fmla="*/ 3094721 w 4016827"/>
                <a:gd name="connsiteY296" fmla="*/ 5961147 h 7216489"/>
                <a:gd name="connsiteX297" fmla="*/ 3165208 w 4016827"/>
                <a:gd name="connsiteY297" fmla="*/ 6031634 h 7216489"/>
                <a:gd name="connsiteX298" fmla="*/ 3094721 w 4016827"/>
                <a:gd name="connsiteY298" fmla="*/ 6102122 h 7216489"/>
                <a:gd name="connsiteX299" fmla="*/ 3024234 w 4016827"/>
                <a:gd name="connsiteY299" fmla="*/ 6031634 h 7216489"/>
                <a:gd name="connsiteX300" fmla="*/ 3094721 w 4016827"/>
                <a:gd name="connsiteY300" fmla="*/ 5961147 h 7216489"/>
                <a:gd name="connsiteX301" fmla="*/ 1322473 w 4016827"/>
                <a:gd name="connsiteY301" fmla="*/ 5954434 h 7216489"/>
                <a:gd name="connsiteX302" fmla="*/ 1369465 w 4016827"/>
                <a:gd name="connsiteY302" fmla="*/ 6001425 h 7216489"/>
                <a:gd name="connsiteX303" fmla="*/ 1322473 w 4016827"/>
                <a:gd name="connsiteY303" fmla="*/ 6048417 h 7216489"/>
                <a:gd name="connsiteX304" fmla="*/ 1275482 w 4016827"/>
                <a:gd name="connsiteY304" fmla="*/ 6001425 h 7216489"/>
                <a:gd name="connsiteX305" fmla="*/ 1322473 w 4016827"/>
                <a:gd name="connsiteY305" fmla="*/ 5954434 h 7216489"/>
                <a:gd name="connsiteX306" fmla="*/ 2087761 w 4016827"/>
                <a:gd name="connsiteY306" fmla="*/ 5947721 h 7216489"/>
                <a:gd name="connsiteX307" fmla="*/ 2158248 w 4016827"/>
                <a:gd name="connsiteY307" fmla="*/ 6018208 h 7216489"/>
                <a:gd name="connsiteX308" fmla="*/ 2087761 w 4016827"/>
                <a:gd name="connsiteY308" fmla="*/ 6088695 h 7216489"/>
                <a:gd name="connsiteX309" fmla="*/ 2017274 w 4016827"/>
                <a:gd name="connsiteY309" fmla="*/ 6018208 h 7216489"/>
                <a:gd name="connsiteX310" fmla="*/ 2087761 w 4016827"/>
                <a:gd name="connsiteY310" fmla="*/ 5947721 h 7216489"/>
                <a:gd name="connsiteX311" fmla="*/ 1698404 w 4016827"/>
                <a:gd name="connsiteY311" fmla="*/ 5934295 h 7216489"/>
                <a:gd name="connsiteX312" fmla="*/ 1778961 w 4016827"/>
                <a:gd name="connsiteY312" fmla="*/ 6014852 h 7216489"/>
                <a:gd name="connsiteX313" fmla="*/ 1698404 w 4016827"/>
                <a:gd name="connsiteY313" fmla="*/ 6095408 h 7216489"/>
                <a:gd name="connsiteX314" fmla="*/ 1617847 w 4016827"/>
                <a:gd name="connsiteY314" fmla="*/ 6014852 h 7216489"/>
                <a:gd name="connsiteX315" fmla="*/ 1698404 w 4016827"/>
                <a:gd name="connsiteY315" fmla="*/ 5934295 h 7216489"/>
                <a:gd name="connsiteX316" fmla="*/ 3725749 w 4016827"/>
                <a:gd name="connsiteY316" fmla="*/ 5924225 h 7216489"/>
                <a:gd name="connsiteX317" fmla="*/ 3789522 w 4016827"/>
                <a:gd name="connsiteY317" fmla="*/ 5987999 h 7216489"/>
                <a:gd name="connsiteX318" fmla="*/ 3725749 w 4016827"/>
                <a:gd name="connsiteY318" fmla="*/ 6051774 h 7216489"/>
                <a:gd name="connsiteX319" fmla="*/ 3661976 w 4016827"/>
                <a:gd name="connsiteY319" fmla="*/ 5987999 h 7216489"/>
                <a:gd name="connsiteX320" fmla="*/ 3725749 w 4016827"/>
                <a:gd name="connsiteY320" fmla="*/ 5924225 h 7216489"/>
                <a:gd name="connsiteX321" fmla="*/ 2490546 w 4016827"/>
                <a:gd name="connsiteY321" fmla="*/ 5920869 h 7216489"/>
                <a:gd name="connsiteX322" fmla="*/ 2564390 w 4016827"/>
                <a:gd name="connsiteY322" fmla="*/ 5994712 h 7216489"/>
                <a:gd name="connsiteX323" fmla="*/ 2490546 w 4016827"/>
                <a:gd name="connsiteY323" fmla="*/ 6068556 h 7216489"/>
                <a:gd name="connsiteX324" fmla="*/ 2416702 w 4016827"/>
                <a:gd name="connsiteY324" fmla="*/ 5994712 h 7216489"/>
                <a:gd name="connsiteX325" fmla="*/ 2490546 w 4016827"/>
                <a:gd name="connsiteY325" fmla="*/ 5920869 h 7216489"/>
                <a:gd name="connsiteX326" fmla="*/ 2906755 w 4016827"/>
                <a:gd name="connsiteY326" fmla="*/ 5877234 h 7216489"/>
                <a:gd name="connsiteX327" fmla="*/ 2980599 w 4016827"/>
                <a:gd name="connsiteY327" fmla="*/ 5951077 h 7216489"/>
                <a:gd name="connsiteX328" fmla="*/ 2906755 w 4016827"/>
                <a:gd name="connsiteY328" fmla="*/ 6024921 h 7216489"/>
                <a:gd name="connsiteX329" fmla="*/ 2832911 w 4016827"/>
                <a:gd name="connsiteY329" fmla="*/ 5951077 h 7216489"/>
                <a:gd name="connsiteX330" fmla="*/ 2906755 w 4016827"/>
                <a:gd name="connsiteY330" fmla="*/ 5877234 h 7216489"/>
                <a:gd name="connsiteX331" fmla="*/ 3531070 w 4016827"/>
                <a:gd name="connsiteY331" fmla="*/ 5867164 h 7216489"/>
                <a:gd name="connsiteX332" fmla="*/ 3601556 w 4016827"/>
                <a:gd name="connsiteY332" fmla="*/ 5937651 h 7216489"/>
                <a:gd name="connsiteX333" fmla="*/ 3531070 w 4016827"/>
                <a:gd name="connsiteY333" fmla="*/ 6008139 h 7216489"/>
                <a:gd name="connsiteX334" fmla="*/ 3460584 w 4016827"/>
                <a:gd name="connsiteY334" fmla="*/ 5937651 h 7216489"/>
                <a:gd name="connsiteX335" fmla="*/ 3531070 w 4016827"/>
                <a:gd name="connsiteY335" fmla="*/ 5867164 h 7216489"/>
                <a:gd name="connsiteX336" fmla="*/ 1923292 w 4016827"/>
                <a:gd name="connsiteY336" fmla="*/ 5826886 h 7216489"/>
                <a:gd name="connsiteX337" fmla="*/ 1997136 w 4016827"/>
                <a:gd name="connsiteY337" fmla="*/ 5900729 h 7216489"/>
                <a:gd name="connsiteX338" fmla="*/ 1923292 w 4016827"/>
                <a:gd name="connsiteY338" fmla="*/ 5974573 h 7216489"/>
                <a:gd name="connsiteX339" fmla="*/ 1849448 w 4016827"/>
                <a:gd name="connsiteY339" fmla="*/ 5900729 h 7216489"/>
                <a:gd name="connsiteX340" fmla="*/ 1923292 w 4016827"/>
                <a:gd name="connsiteY340" fmla="*/ 5826886 h 7216489"/>
                <a:gd name="connsiteX341" fmla="*/ 2316006 w 4016827"/>
                <a:gd name="connsiteY341" fmla="*/ 5823529 h 7216489"/>
                <a:gd name="connsiteX342" fmla="*/ 2386493 w 4016827"/>
                <a:gd name="connsiteY342" fmla="*/ 5894016 h 7216489"/>
                <a:gd name="connsiteX343" fmla="*/ 2316006 w 4016827"/>
                <a:gd name="connsiteY343" fmla="*/ 5964504 h 7216489"/>
                <a:gd name="connsiteX344" fmla="*/ 2245518 w 4016827"/>
                <a:gd name="connsiteY344" fmla="*/ 5894016 h 7216489"/>
                <a:gd name="connsiteX345" fmla="*/ 2316006 w 4016827"/>
                <a:gd name="connsiteY345" fmla="*/ 5823529 h 7216489"/>
                <a:gd name="connsiteX346" fmla="*/ 1540647 w 4016827"/>
                <a:gd name="connsiteY346" fmla="*/ 5823529 h 7216489"/>
                <a:gd name="connsiteX347" fmla="*/ 1607778 w 4016827"/>
                <a:gd name="connsiteY347" fmla="*/ 5890660 h 7216489"/>
                <a:gd name="connsiteX348" fmla="*/ 1540647 w 4016827"/>
                <a:gd name="connsiteY348" fmla="*/ 5957791 h 7216489"/>
                <a:gd name="connsiteX349" fmla="*/ 1473516 w 4016827"/>
                <a:gd name="connsiteY349" fmla="*/ 5890660 h 7216489"/>
                <a:gd name="connsiteX350" fmla="*/ 1540647 w 4016827"/>
                <a:gd name="connsiteY350" fmla="*/ 5823529 h 7216489"/>
                <a:gd name="connsiteX351" fmla="*/ 3336391 w 4016827"/>
                <a:gd name="connsiteY351" fmla="*/ 5810103 h 7216489"/>
                <a:gd name="connsiteX352" fmla="*/ 3403522 w 4016827"/>
                <a:gd name="connsiteY352" fmla="*/ 5877234 h 7216489"/>
                <a:gd name="connsiteX353" fmla="*/ 3336391 w 4016827"/>
                <a:gd name="connsiteY353" fmla="*/ 5944364 h 7216489"/>
                <a:gd name="connsiteX354" fmla="*/ 3269260 w 4016827"/>
                <a:gd name="connsiteY354" fmla="*/ 5877234 h 7216489"/>
                <a:gd name="connsiteX355" fmla="*/ 3336391 w 4016827"/>
                <a:gd name="connsiteY355" fmla="*/ 5810103 h 7216489"/>
                <a:gd name="connsiteX356" fmla="*/ 1171429 w 4016827"/>
                <a:gd name="connsiteY356" fmla="*/ 5796677 h 7216489"/>
                <a:gd name="connsiteX357" fmla="*/ 1238560 w 4016827"/>
                <a:gd name="connsiteY357" fmla="*/ 5863807 h 7216489"/>
                <a:gd name="connsiteX358" fmla="*/ 1171429 w 4016827"/>
                <a:gd name="connsiteY358" fmla="*/ 5930938 h 7216489"/>
                <a:gd name="connsiteX359" fmla="*/ 1104298 w 4016827"/>
                <a:gd name="connsiteY359" fmla="*/ 5863807 h 7216489"/>
                <a:gd name="connsiteX360" fmla="*/ 1171429 w 4016827"/>
                <a:gd name="connsiteY360" fmla="*/ 5796677 h 7216489"/>
                <a:gd name="connsiteX361" fmla="*/ 2725502 w 4016827"/>
                <a:gd name="connsiteY361" fmla="*/ 5793320 h 7216489"/>
                <a:gd name="connsiteX362" fmla="*/ 2795990 w 4016827"/>
                <a:gd name="connsiteY362" fmla="*/ 5863807 h 7216489"/>
                <a:gd name="connsiteX363" fmla="*/ 2725502 w 4016827"/>
                <a:gd name="connsiteY363" fmla="*/ 5934295 h 7216489"/>
                <a:gd name="connsiteX364" fmla="*/ 2655015 w 4016827"/>
                <a:gd name="connsiteY364" fmla="*/ 5863807 h 7216489"/>
                <a:gd name="connsiteX365" fmla="*/ 2725502 w 4016827"/>
                <a:gd name="connsiteY365" fmla="*/ 5793320 h 7216489"/>
                <a:gd name="connsiteX366" fmla="*/ 3977488 w 4016827"/>
                <a:gd name="connsiteY366" fmla="*/ 5746329 h 7216489"/>
                <a:gd name="connsiteX367" fmla="*/ 4001089 w 4016827"/>
                <a:gd name="connsiteY367" fmla="*/ 5751049 h 7216489"/>
                <a:gd name="connsiteX368" fmla="*/ 4016827 w 4016827"/>
                <a:gd name="connsiteY368" fmla="*/ 5761627 h 7216489"/>
                <a:gd name="connsiteX369" fmla="*/ 4016827 w 4016827"/>
                <a:gd name="connsiteY369" fmla="*/ 5851866 h 7216489"/>
                <a:gd name="connsiteX370" fmla="*/ 4001089 w 4016827"/>
                <a:gd name="connsiteY370" fmla="*/ 5862444 h 7216489"/>
                <a:gd name="connsiteX371" fmla="*/ 3977488 w 4016827"/>
                <a:gd name="connsiteY371" fmla="*/ 5867164 h 7216489"/>
                <a:gd name="connsiteX372" fmla="*/ 3917070 w 4016827"/>
                <a:gd name="connsiteY372" fmla="*/ 5806746 h 7216489"/>
                <a:gd name="connsiteX373" fmla="*/ 3977488 w 4016827"/>
                <a:gd name="connsiteY373" fmla="*/ 5746329 h 7216489"/>
                <a:gd name="connsiteX374" fmla="*/ 3145069 w 4016827"/>
                <a:gd name="connsiteY374" fmla="*/ 5742972 h 7216489"/>
                <a:gd name="connsiteX375" fmla="*/ 3208844 w 4016827"/>
                <a:gd name="connsiteY375" fmla="*/ 5806746 h 7216489"/>
                <a:gd name="connsiteX376" fmla="*/ 3145069 w 4016827"/>
                <a:gd name="connsiteY376" fmla="*/ 5870519 h 7216489"/>
                <a:gd name="connsiteX377" fmla="*/ 3081295 w 4016827"/>
                <a:gd name="connsiteY377" fmla="*/ 5806746 h 7216489"/>
                <a:gd name="connsiteX378" fmla="*/ 3145069 w 4016827"/>
                <a:gd name="connsiteY378" fmla="*/ 5742972 h 7216489"/>
                <a:gd name="connsiteX379" fmla="*/ 3776096 w 4016827"/>
                <a:gd name="connsiteY379" fmla="*/ 5716120 h 7216489"/>
                <a:gd name="connsiteX380" fmla="*/ 3829800 w 4016827"/>
                <a:gd name="connsiteY380" fmla="*/ 5769824 h 7216489"/>
                <a:gd name="connsiteX381" fmla="*/ 3776096 w 4016827"/>
                <a:gd name="connsiteY381" fmla="*/ 5823529 h 7216489"/>
                <a:gd name="connsiteX382" fmla="*/ 3722391 w 4016827"/>
                <a:gd name="connsiteY382" fmla="*/ 5769824 h 7216489"/>
                <a:gd name="connsiteX383" fmla="*/ 3776096 w 4016827"/>
                <a:gd name="connsiteY383" fmla="*/ 5716120 h 7216489"/>
                <a:gd name="connsiteX384" fmla="*/ 2144822 w 4016827"/>
                <a:gd name="connsiteY384" fmla="*/ 5706050 h 7216489"/>
                <a:gd name="connsiteX385" fmla="*/ 2218666 w 4016827"/>
                <a:gd name="connsiteY385" fmla="*/ 5779894 h 7216489"/>
                <a:gd name="connsiteX386" fmla="*/ 2144822 w 4016827"/>
                <a:gd name="connsiteY386" fmla="*/ 5853738 h 7216489"/>
                <a:gd name="connsiteX387" fmla="*/ 2070979 w 4016827"/>
                <a:gd name="connsiteY387" fmla="*/ 5779894 h 7216489"/>
                <a:gd name="connsiteX388" fmla="*/ 2144822 w 4016827"/>
                <a:gd name="connsiteY388" fmla="*/ 5706050 h 7216489"/>
                <a:gd name="connsiteX389" fmla="*/ 1758822 w 4016827"/>
                <a:gd name="connsiteY389" fmla="*/ 5706050 h 7216489"/>
                <a:gd name="connsiteX390" fmla="*/ 1832666 w 4016827"/>
                <a:gd name="connsiteY390" fmla="*/ 5779894 h 7216489"/>
                <a:gd name="connsiteX391" fmla="*/ 1758822 w 4016827"/>
                <a:gd name="connsiteY391" fmla="*/ 5853738 h 7216489"/>
                <a:gd name="connsiteX392" fmla="*/ 1684978 w 4016827"/>
                <a:gd name="connsiteY392" fmla="*/ 5779894 h 7216489"/>
                <a:gd name="connsiteX393" fmla="*/ 1758822 w 4016827"/>
                <a:gd name="connsiteY393" fmla="*/ 5706050 h 7216489"/>
                <a:gd name="connsiteX394" fmla="*/ 1027098 w 4016827"/>
                <a:gd name="connsiteY394" fmla="*/ 5706050 h 7216489"/>
                <a:gd name="connsiteX395" fmla="*/ 1043881 w 4016827"/>
                <a:gd name="connsiteY395" fmla="*/ 5722833 h 7216489"/>
                <a:gd name="connsiteX396" fmla="*/ 1027098 w 4016827"/>
                <a:gd name="connsiteY396" fmla="*/ 5739616 h 7216489"/>
                <a:gd name="connsiteX397" fmla="*/ 1010315 w 4016827"/>
                <a:gd name="connsiteY397" fmla="*/ 5722833 h 7216489"/>
                <a:gd name="connsiteX398" fmla="*/ 1027098 w 4016827"/>
                <a:gd name="connsiteY398" fmla="*/ 5706050 h 7216489"/>
                <a:gd name="connsiteX399" fmla="*/ 2544250 w 4016827"/>
                <a:gd name="connsiteY399" fmla="*/ 5692624 h 7216489"/>
                <a:gd name="connsiteX400" fmla="*/ 2618094 w 4016827"/>
                <a:gd name="connsiteY400" fmla="*/ 5766468 h 7216489"/>
                <a:gd name="connsiteX401" fmla="*/ 2544250 w 4016827"/>
                <a:gd name="connsiteY401" fmla="*/ 5840312 h 7216489"/>
                <a:gd name="connsiteX402" fmla="*/ 2470406 w 4016827"/>
                <a:gd name="connsiteY402" fmla="*/ 5766468 h 7216489"/>
                <a:gd name="connsiteX403" fmla="*/ 2544250 w 4016827"/>
                <a:gd name="connsiteY403" fmla="*/ 5692624 h 7216489"/>
                <a:gd name="connsiteX404" fmla="*/ 1386247 w 4016827"/>
                <a:gd name="connsiteY404" fmla="*/ 5682555 h 7216489"/>
                <a:gd name="connsiteX405" fmla="*/ 1460091 w 4016827"/>
                <a:gd name="connsiteY405" fmla="*/ 5756398 h 7216489"/>
                <a:gd name="connsiteX406" fmla="*/ 1386247 w 4016827"/>
                <a:gd name="connsiteY406" fmla="*/ 5830242 h 7216489"/>
                <a:gd name="connsiteX407" fmla="*/ 1312404 w 4016827"/>
                <a:gd name="connsiteY407" fmla="*/ 5756398 h 7216489"/>
                <a:gd name="connsiteX408" fmla="*/ 1386247 w 4016827"/>
                <a:gd name="connsiteY408" fmla="*/ 5682555 h 7216489"/>
                <a:gd name="connsiteX409" fmla="*/ 2960460 w 4016827"/>
                <a:gd name="connsiteY409" fmla="*/ 5662415 h 7216489"/>
                <a:gd name="connsiteX410" fmla="*/ 3024234 w 4016827"/>
                <a:gd name="connsiteY410" fmla="*/ 5726189 h 7216489"/>
                <a:gd name="connsiteX411" fmla="*/ 2960460 w 4016827"/>
                <a:gd name="connsiteY411" fmla="*/ 5789964 h 7216489"/>
                <a:gd name="connsiteX412" fmla="*/ 2896686 w 4016827"/>
                <a:gd name="connsiteY412" fmla="*/ 5726189 h 7216489"/>
                <a:gd name="connsiteX413" fmla="*/ 2960460 w 4016827"/>
                <a:gd name="connsiteY413" fmla="*/ 5662415 h 7216489"/>
                <a:gd name="connsiteX414" fmla="*/ 3581419 w 4016827"/>
                <a:gd name="connsiteY414" fmla="*/ 5659059 h 7216489"/>
                <a:gd name="connsiteX415" fmla="*/ 3638479 w 4016827"/>
                <a:gd name="connsiteY415" fmla="*/ 5716120 h 7216489"/>
                <a:gd name="connsiteX416" fmla="*/ 3581419 w 4016827"/>
                <a:gd name="connsiteY416" fmla="*/ 5773181 h 7216489"/>
                <a:gd name="connsiteX417" fmla="*/ 3524357 w 4016827"/>
                <a:gd name="connsiteY417" fmla="*/ 5716120 h 7216489"/>
                <a:gd name="connsiteX418" fmla="*/ 3581419 w 4016827"/>
                <a:gd name="connsiteY418" fmla="*/ 5659059 h 7216489"/>
                <a:gd name="connsiteX419" fmla="*/ 3386738 w 4016827"/>
                <a:gd name="connsiteY419" fmla="*/ 5605354 h 7216489"/>
                <a:gd name="connsiteX420" fmla="*/ 3440442 w 4016827"/>
                <a:gd name="connsiteY420" fmla="*/ 5659059 h 7216489"/>
                <a:gd name="connsiteX421" fmla="*/ 3386738 w 4016827"/>
                <a:gd name="connsiteY421" fmla="*/ 5712763 h 7216489"/>
                <a:gd name="connsiteX422" fmla="*/ 3333033 w 4016827"/>
                <a:gd name="connsiteY422" fmla="*/ 5659059 h 7216489"/>
                <a:gd name="connsiteX423" fmla="*/ 3386738 w 4016827"/>
                <a:gd name="connsiteY423" fmla="*/ 5605354 h 7216489"/>
                <a:gd name="connsiteX424" fmla="*/ 2373067 w 4016827"/>
                <a:gd name="connsiteY424" fmla="*/ 5588572 h 7216489"/>
                <a:gd name="connsiteX425" fmla="*/ 2446911 w 4016827"/>
                <a:gd name="connsiteY425" fmla="*/ 5662415 h 7216489"/>
                <a:gd name="connsiteX426" fmla="*/ 2373067 w 4016827"/>
                <a:gd name="connsiteY426" fmla="*/ 5736259 h 7216489"/>
                <a:gd name="connsiteX427" fmla="*/ 2299223 w 4016827"/>
                <a:gd name="connsiteY427" fmla="*/ 5662415 h 7216489"/>
                <a:gd name="connsiteX428" fmla="*/ 2373067 w 4016827"/>
                <a:gd name="connsiteY428" fmla="*/ 5588572 h 7216489"/>
                <a:gd name="connsiteX429" fmla="*/ 1980353 w 4016827"/>
                <a:gd name="connsiteY429" fmla="*/ 5588572 h 7216489"/>
                <a:gd name="connsiteX430" fmla="*/ 2054197 w 4016827"/>
                <a:gd name="connsiteY430" fmla="*/ 5662415 h 7216489"/>
                <a:gd name="connsiteX431" fmla="*/ 1980353 w 4016827"/>
                <a:gd name="connsiteY431" fmla="*/ 5736259 h 7216489"/>
                <a:gd name="connsiteX432" fmla="*/ 1906510 w 4016827"/>
                <a:gd name="connsiteY432" fmla="*/ 5662415 h 7216489"/>
                <a:gd name="connsiteX433" fmla="*/ 1980353 w 4016827"/>
                <a:gd name="connsiteY433" fmla="*/ 5588572 h 7216489"/>
                <a:gd name="connsiteX434" fmla="*/ 1604421 w 4016827"/>
                <a:gd name="connsiteY434" fmla="*/ 5575146 h 7216489"/>
                <a:gd name="connsiteX435" fmla="*/ 1678265 w 4016827"/>
                <a:gd name="connsiteY435" fmla="*/ 5648990 h 7216489"/>
                <a:gd name="connsiteX436" fmla="*/ 1604421 w 4016827"/>
                <a:gd name="connsiteY436" fmla="*/ 5722834 h 7216489"/>
                <a:gd name="connsiteX437" fmla="*/ 1530577 w 4016827"/>
                <a:gd name="connsiteY437" fmla="*/ 5648990 h 7216489"/>
                <a:gd name="connsiteX438" fmla="*/ 1604421 w 4016827"/>
                <a:gd name="connsiteY438" fmla="*/ 5575146 h 7216489"/>
                <a:gd name="connsiteX439" fmla="*/ 2775850 w 4016827"/>
                <a:gd name="connsiteY439" fmla="*/ 5571789 h 7216489"/>
                <a:gd name="connsiteX440" fmla="*/ 2839624 w 4016827"/>
                <a:gd name="connsiteY440" fmla="*/ 5635563 h 7216489"/>
                <a:gd name="connsiteX441" fmla="*/ 2775850 w 4016827"/>
                <a:gd name="connsiteY441" fmla="*/ 5699337 h 7216489"/>
                <a:gd name="connsiteX442" fmla="*/ 2712076 w 4016827"/>
                <a:gd name="connsiteY442" fmla="*/ 5635563 h 7216489"/>
                <a:gd name="connsiteX443" fmla="*/ 2775850 w 4016827"/>
                <a:gd name="connsiteY443" fmla="*/ 5571789 h 7216489"/>
                <a:gd name="connsiteX444" fmla="*/ 886123 w 4016827"/>
                <a:gd name="connsiteY444" fmla="*/ 5568432 h 7216489"/>
                <a:gd name="connsiteX445" fmla="*/ 892837 w 4016827"/>
                <a:gd name="connsiteY445" fmla="*/ 5575145 h 7216489"/>
                <a:gd name="connsiteX446" fmla="*/ 886123 w 4016827"/>
                <a:gd name="connsiteY446" fmla="*/ 5581858 h 7216489"/>
                <a:gd name="connsiteX447" fmla="*/ 879410 w 4016827"/>
                <a:gd name="connsiteY447" fmla="*/ 5575145 h 7216489"/>
                <a:gd name="connsiteX448" fmla="*/ 886123 w 4016827"/>
                <a:gd name="connsiteY448" fmla="*/ 5568432 h 7216489"/>
                <a:gd name="connsiteX449" fmla="*/ 4016827 w 4016827"/>
                <a:gd name="connsiteY449" fmla="*/ 5546256 h 7216489"/>
                <a:gd name="connsiteX450" fmla="*/ 4016827 w 4016827"/>
                <a:gd name="connsiteY450" fmla="*/ 5624629 h 7216489"/>
                <a:gd name="connsiteX451" fmla="*/ 3997208 w 4016827"/>
                <a:gd name="connsiteY451" fmla="*/ 5617103 h 7216489"/>
                <a:gd name="connsiteX452" fmla="*/ 3984201 w 4016827"/>
                <a:gd name="connsiteY452" fmla="*/ 5585216 h 7216489"/>
                <a:gd name="connsiteX453" fmla="*/ 3997208 w 4016827"/>
                <a:gd name="connsiteY453" fmla="*/ 5554588 h 7216489"/>
                <a:gd name="connsiteX454" fmla="*/ 1238560 w 4016827"/>
                <a:gd name="connsiteY454" fmla="*/ 5538223 h 7216489"/>
                <a:gd name="connsiteX455" fmla="*/ 1315760 w 4016827"/>
                <a:gd name="connsiteY455" fmla="*/ 5615424 h 7216489"/>
                <a:gd name="connsiteX456" fmla="*/ 1238560 w 4016827"/>
                <a:gd name="connsiteY456" fmla="*/ 5692624 h 7216489"/>
                <a:gd name="connsiteX457" fmla="*/ 1161360 w 4016827"/>
                <a:gd name="connsiteY457" fmla="*/ 5615424 h 7216489"/>
                <a:gd name="connsiteX458" fmla="*/ 1238560 w 4016827"/>
                <a:gd name="connsiteY458" fmla="*/ 5538223 h 7216489"/>
                <a:gd name="connsiteX459" fmla="*/ 3195416 w 4016827"/>
                <a:gd name="connsiteY459" fmla="*/ 5531511 h 7216489"/>
                <a:gd name="connsiteX460" fmla="*/ 3249121 w 4016827"/>
                <a:gd name="connsiteY460" fmla="*/ 5585216 h 7216489"/>
                <a:gd name="connsiteX461" fmla="*/ 3195416 w 4016827"/>
                <a:gd name="connsiteY461" fmla="*/ 5638921 h 7216489"/>
                <a:gd name="connsiteX462" fmla="*/ 3141712 w 4016827"/>
                <a:gd name="connsiteY462" fmla="*/ 5585216 h 7216489"/>
                <a:gd name="connsiteX463" fmla="*/ 3195416 w 4016827"/>
                <a:gd name="connsiteY463" fmla="*/ 5531511 h 7216489"/>
                <a:gd name="connsiteX464" fmla="*/ 3826443 w 4016827"/>
                <a:gd name="connsiteY464" fmla="*/ 5501302 h 7216489"/>
                <a:gd name="connsiteX465" fmla="*/ 3873436 w 4016827"/>
                <a:gd name="connsiteY465" fmla="*/ 5548293 h 7216489"/>
                <a:gd name="connsiteX466" fmla="*/ 3826443 w 4016827"/>
                <a:gd name="connsiteY466" fmla="*/ 5595285 h 7216489"/>
                <a:gd name="connsiteX467" fmla="*/ 3779454 w 4016827"/>
                <a:gd name="connsiteY467" fmla="*/ 5548293 h 7216489"/>
                <a:gd name="connsiteX468" fmla="*/ 3826443 w 4016827"/>
                <a:gd name="connsiteY468" fmla="*/ 5501302 h 7216489"/>
                <a:gd name="connsiteX469" fmla="*/ 2205240 w 4016827"/>
                <a:gd name="connsiteY469" fmla="*/ 5474450 h 7216489"/>
                <a:gd name="connsiteX470" fmla="*/ 2275728 w 4016827"/>
                <a:gd name="connsiteY470" fmla="*/ 5544938 h 7216489"/>
                <a:gd name="connsiteX471" fmla="*/ 2205240 w 4016827"/>
                <a:gd name="connsiteY471" fmla="*/ 5615425 h 7216489"/>
                <a:gd name="connsiteX472" fmla="*/ 2134753 w 4016827"/>
                <a:gd name="connsiteY472" fmla="*/ 5544938 h 7216489"/>
                <a:gd name="connsiteX473" fmla="*/ 2205240 w 4016827"/>
                <a:gd name="connsiteY473" fmla="*/ 5474450 h 7216489"/>
                <a:gd name="connsiteX474" fmla="*/ 1822596 w 4016827"/>
                <a:gd name="connsiteY474" fmla="*/ 5467736 h 7216489"/>
                <a:gd name="connsiteX475" fmla="*/ 1893083 w 4016827"/>
                <a:gd name="connsiteY475" fmla="*/ 5538223 h 7216489"/>
                <a:gd name="connsiteX476" fmla="*/ 1822596 w 4016827"/>
                <a:gd name="connsiteY476" fmla="*/ 5608711 h 7216489"/>
                <a:gd name="connsiteX477" fmla="*/ 1752109 w 4016827"/>
                <a:gd name="connsiteY477" fmla="*/ 5538223 h 7216489"/>
                <a:gd name="connsiteX478" fmla="*/ 1822596 w 4016827"/>
                <a:gd name="connsiteY478" fmla="*/ 5467736 h 7216489"/>
                <a:gd name="connsiteX479" fmla="*/ 2601312 w 4016827"/>
                <a:gd name="connsiteY479" fmla="*/ 5461023 h 7216489"/>
                <a:gd name="connsiteX480" fmla="*/ 2675155 w 4016827"/>
                <a:gd name="connsiteY480" fmla="*/ 5534867 h 7216489"/>
                <a:gd name="connsiteX481" fmla="*/ 2601312 w 4016827"/>
                <a:gd name="connsiteY481" fmla="*/ 5608711 h 7216489"/>
                <a:gd name="connsiteX482" fmla="*/ 2527468 w 4016827"/>
                <a:gd name="connsiteY482" fmla="*/ 5534867 h 7216489"/>
                <a:gd name="connsiteX483" fmla="*/ 2601312 w 4016827"/>
                <a:gd name="connsiteY483" fmla="*/ 5461023 h 7216489"/>
                <a:gd name="connsiteX484" fmla="*/ 3631766 w 4016827"/>
                <a:gd name="connsiteY484" fmla="*/ 5450954 h 7216489"/>
                <a:gd name="connsiteX485" fmla="*/ 3678758 w 4016827"/>
                <a:gd name="connsiteY485" fmla="*/ 5497945 h 7216489"/>
                <a:gd name="connsiteX486" fmla="*/ 3631766 w 4016827"/>
                <a:gd name="connsiteY486" fmla="*/ 5544937 h 7216489"/>
                <a:gd name="connsiteX487" fmla="*/ 3584774 w 4016827"/>
                <a:gd name="connsiteY487" fmla="*/ 5497945 h 7216489"/>
                <a:gd name="connsiteX488" fmla="*/ 3631766 w 4016827"/>
                <a:gd name="connsiteY488" fmla="*/ 5450954 h 7216489"/>
                <a:gd name="connsiteX489" fmla="*/ 3010808 w 4016827"/>
                <a:gd name="connsiteY489" fmla="*/ 5437528 h 7216489"/>
                <a:gd name="connsiteX490" fmla="*/ 3071226 w 4016827"/>
                <a:gd name="connsiteY490" fmla="*/ 5497946 h 7216489"/>
                <a:gd name="connsiteX491" fmla="*/ 3010808 w 4016827"/>
                <a:gd name="connsiteY491" fmla="*/ 5558364 h 7216489"/>
                <a:gd name="connsiteX492" fmla="*/ 2950390 w 4016827"/>
                <a:gd name="connsiteY492" fmla="*/ 5497946 h 7216489"/>
                <a:gd name="connsiteX493" fmla="*/ 3010808 w 4016827"/>
                <a:gd name="connsiteY493" fmla="*/ 5437528 h 7216489"/>
                <a:gd name="connsiteX494" fmla="*/ 1453378 w 4016827"/>
                <a:gd name="connsiteY494" fmla="*/ 5434171 h 7216489"/>
                <a:gd name="connsiteX495" fmla="*/ 1530578 w 4016827"/>
                <a:gd name="connsiteY495" fmla="*/ 5511371 h 7216489"/>
                <a:gd name="connsiteX496" fmla="*/ 1453378 w 4016827"/>
                <a:gd name="connsiteY496" fmla="*/ 5588572 h 7216489"/>
                <a:gd name="connsiteX497" fmla="*/ 1376178 w 4016827"/>
                <a:gd name="connsiteY497" fmla="*/ 5511371 h 7216489"/>
                <a:gd name="connsiteX498" fmla="*/ 1453378 w 4016827"/>
                <a:gd name="connsiteY498" fmla="*/ 5434171 h 7216489"/>
                <a:gd name="connsiteX499" fmla="*/ 1097585 w 4016827"/>
                <a:gd name="connsiteY499" fmla="*/ 5410676 h 7216489"/>
                <a:gd name="connsiteX500" fmla="*/ 1158003 w 4016827"/>
                <a:gd name="connsiteY500" fmla="*/ 5471094 h 7216489"/>
                <a:gd name="connsiteX501" fmla="*/ 1097585 w 4016827"/>
                <a:gd name="connsiteY501" fmla="*/ 5531511 h 7216489"/>
                <a:gd name="connsiteX502" fmla="*/ 1037168 w 4016827"/>
                <a:gd name="connsiteY502" fmla="*/ 5471094 h 7216489"/>
                <a:gd name="connsiteX503" fmla="*/ 1097585 w 4016827"/>
                <a:gd name="connsiteY503" fmla="*/ 5410676 h 7216489"/>
                <a:gd name="connsiteX504" fmla="*/ 751863 w 4016827"/>
                <a:gd name="connsiteY504" fmla="*/ 5393893 h 7216489"/>
                <a:gd name="connsiteX505" fmla="*/ 778715 w 4016827"/>
                <a:gd name="connsiteY505" fmla="*/ 5420746 h 7216489"/>
                <a:gd name="connsiteX506" fmla="*/ 751863 w 4016827"/>
                <a:gd name="connsiteY506" fmla="*/ 5447598 h 7216489"/>
                <a:gd name="connsiteX507" fmla="*/ 725011 w 4016827"/>
                <a:gd name="connsiteY507" fmla="*/ 5420746 h 7216489"/>
                <a:gd name="connsiteX508" fmla="*/ 751863 w 4016827"/>
                <a:gd name="connsiteY508" fmla="*/ 5393893 h 7216489"/>
                <a:gd name="connsiteX509" fmla="*/ 3437087 w 4016827"/>
                <a:gd name="connsiteY509" fmla="*/ 5380467 h 7216489"/>
                <a:gd name="connsiteX510" fmla="*/ 3490792 w 4016827"/>
                <a:gd name="connsiteY510" fmla="*/ 5434172 h 7216489"/>
                <a:gd name="connsiteX511" fmla="*/ 3437087 w 4016827"/>
                <a:gd name="connsiteY511" fmla="*/ 5487876 h 7216489"/>
                <a:gd name="connsiteX512" fmla="*/ 3383382 w 4016827"/>
                <a:gd name="connsiteY512" fmla="*/ 5434172 h 7216489"/>
                <a:gd name="connsiteX513" fmla="*/ 3437087 w 4016827"/>
                <a:gd name="connsiteY513" fmla="*/ 5380467 h 7216489"/>
                <a:gd name="connsiteX514" fmla="*/ 2430128 w 4016827"/>
                <a:gd name="connsiteY514" fmla="*/ 5360328 h 7216489"/>
                <a:gd name="connsiteX515" fmla="*/ 2497259 w 4016827"/>
                <a:gd name="connsiteY515" fmla="*/ 5427459 h 7216489"/>
                <a:gd name="connsiteX516" fmla="*/ 2430128 w 4016827"/>
                <a:gd name="connsiteY516" fmla="*/ 5494590 h 7216489"/>
                <a:gd name="connsiteX517" fmla="*/ 2362997 w 4016827"/>
                <a:gd name="connsiteY517" fmla="*/ 5427459 h 7216489"/>
                <a:gd name="connsiteX518" fmla="*/ 2430128 w 4016827"/>
                <a:gd name="connsiteY518" fmla="*/ 5360328 h 7216489"/>
                <a:gd name="connsiteX519" fmla="*/ 2040771 w 4016827"/>
                <a:gd name="connsiteY519" fmla="*/ 5356972 h 7216489"/>
                <a:gd name="connsiteX520" fmla="*/ 2107902 w 4016827"/>
                <a:gd name="connsiteY520" fmla="*/ 5424102 h 7216489"/>
                <a:gd name="connsiteX521" fmla="*/ 2040771 w 4016827"/>
                <a:gd name="connsiteY521" fmla="*/ 5491233 h 7216489"/>
                <a:gd name="connsiteX522" fmla="*/ 1973640 w 4016827"/>
                <a:gd name="connsiteY522" fmla="*/ 5424102 h 7216489"/>
                <a:gd name="connsiteX523" fmla="*/ 2040771 w 4016827"/>
                <a:gd name="connsiteY523" fmla="*/ 5356972 h 7216489"/>
                <a:gd name="connsiteX524" fmla="*/ 2829555 w 4016827"/>
                <a:gd name="connsiteY524" fmla="*/ 5346902 h 7216489"/>
                <a:gd name="connsiteX525" fmla="*/ 2886616 w 4016827"/>
                <a:gd name="connsiteY525" fmla="*/ 5407320 h 7216489"/>
                <a:gd name="connsiteX526" fmla="*/ 2829555 w 4016827"/>
                <a:gd name="connsiteY526" fmla="*/ 5467737 h 7216489"/>
                <a:gd name="connsiteX527" fmla="*/ 2769137 w 4016827"/>
                <a:gd name="connsiteY527" fmla="*/ 5407320 h 7216489"/>
                <a:gd name="connsiteX528" fmla="*/ 2829555 w 4016827"/>
                <a:gd name="connsiteY528" fmla="*/ 5346902 h 7216489"/>
                <a:gd name="connsiteX529" fmla="*/ 1668195 w 4016827"/>
                <a:gd name="connsiteY529" fmla="*/ 5333476 h 7216489"/>
                <a:gd name="connsiteX530" fmla="*/ 1738683 w 4016827"/>
                <a:gd name="connsiteY530" fmla="*/ 5403963 h 7216489"/>
                <a:gd name="connsiteX531" fmla="*/ 1668195 w 4016827"/>
                <a:gd name="connsiteY531" fmla="*/ 5474450 h 7216489"/>
                <a:gd name="connsiteX532" fmla="*/ 1597708 w 4016827"/>
                <a:gd name="connsiteY532" fmla="*/ 5403963 h 7216489"/>
                <a:gd name="connsiteX533" fmla="*/ 1668195 w 4016827"/>
                <a:gd name="connsiteY533" fmla="*/ 5333476 h 7216489"/>
                <a:gd name="connsiteX534" fmla="*/ 3249123 w 4016827"/>
                <a:gd name="connsiteY534" fmla="*/ 5309980 h 7216489"/>
                <a:gd name="connsiteX535" fmla="*/ 3299470 w 4016827"/>
                <a:gd name="connsiteY535" fmla="*/ 5360328 h 7216489"/>
                <a:gd name="connsiteX536" fmla="*/ 3249123 w 4016827"/>
                <a:gd name="connsiteY536" fmla="*/ 5410676 h 7216489"/>
                <a:gd name="connsiteX537" fmla="*/ 3198774 w 4016827"/>
                <a:gd name="connsiteY537" fmla="*/ 5360328 h 7216489"/>
                <a:gd name="connsiteX538" fmla="*/ 3249123 w 4016827"/>
                <a:gd name="connsiteY538" fmla="*/ 5309980 h 7216489"/>
                <a:gd name="connsiteX539" fmla="*/ 3876792 w 4016827"/>
                <a:gd name="connsiteY539" fmla="*/ 5296554 h 7216489"/>
                <a:gd name="connsiteX540" fmla="*/ 3907000 w 4016827"/>
                <a:gd name="connsiteY540" fmla="*/ 5326763 h 7216489"/>
                <a:gd name="connsiteX541" fmla="*/ 3876792 w 4016827"/>
                <a:gd name="connsiteY541" fmla="*/ 5356972 h 7216489"/>
                <a:gd name="connsiteX542" fmla="*/ 3846584 w 4016827"/>
                <a:gd name="connsiteY542" fmla="*/ 5326763 h 7216489"/>
                <a:gd name="connsiteX543" fmla="*/ 3876792 w 4016827"/>
                <a:gd name="connsiteY543" fmla="*/ 5296554 h 7216489"/>
                <a:gd name="connsiteX544" fmla="*/ 1309047 w 4016827"/>
                <a:gd name="connsiteY544" fmla="*/ 5293197 h 7216489"/>
                <a:gd name="connsiteX545" fmla="*/ 1382891 w 4016827"/>
                <a:gd name="connsiteY545" fmla="*/ 5367041 h 7216489"/>
                <a:gd name="connsiteX546" fmla="*/ 1309047 w 4016827"/>
                <a:gd name="connsiteY546" fmla="*/ 5440884 h 7216489"/>
                <a:gd name="connsiteX547" fmla="*/ 1235203 w 4016827"/>
                <a:gd name="connsiteY547" fmla="*/ 5367041 h 7216489"/>
                <a:gd name="connsiteX548" fmla="*/ 1309047 w 4016827"/>
                <a:gd name="connsiteY548" fmla="*/ 5293197 h 7216489"/>
                <a:gd name="connsiteX549" fmla="*/ 963324 w 4016827"/>
                <a:gd name="connsiteY549" fmla="*/ 5246206 h 7216489"/>
                <a:gd name="connsiteX550" fmla="*/ 1037168 w 4016827"/>
                <a:gd name="connsiteY550" fmla="*/ 5320050 h 7216489"/>
                <a:gd name="connsiteX551" fmla="*/ 963324 w 4016827"/>
                <a:gd name="connsiteY551" fmla="*/ 5393893 h 7216489"/>
                <a:gd name="connsiteX552" fmla="*/ 889480 w 4016827"/>
                <a:gd name="connsiteY552" fmla="*/ 5320050 h 7216489"/>
                <a:gd name="connsiteX553" fmla="*/ 963324 w 4016827"/>
                <a:gd name="connsiteY553" fmla="*/ 5246206 h 7216489"/>
                <a:gd name="connsiteX554" fmla="*/ 2262301 w 4016827"/>
                <a:gd name="connsiteY554" fmla="*/ 5242849 h 7216489"/>
                <a:gd name="connsiteX555" fmla="*/ 2329432 w 4016827"/>
                <a:gd name="connsiteY555" fmla="*/ 5309980 h 7216489"/>
                <a:gd name="connsiteX556" fmla="*/ 2262301 w 4016827"/>
                <a:gd name="connsiteY556" fmla="*/ 5377111 h 7216489"/>
                <a:gd name="connsiteX557" fmla="*/ 2195170 w 4016827"/>
                <a:gd name="connsiteY557" fmla="*/ 5309980 h 7216489"/>
                <a:gd name="connsiteX558" fmla="*/ 2262301 w 4016827"/>
                <a:gd name="connsiteY558" fmla="*/ 5242849 h 7216489"/>
                <a:gd name="connsiteX559" fmla="*/ 3682113 w 4016827"/>
                <a:gd name="connsiteY559" fmla="*/ 5239493 h 7216489"/>
                <a:gd name="connsiteX560" fmla="*/ 3719036 w 4016827"/>
                <a:gd name="connsiteY560" fmla="*/ 5276415 h 7216489"/>
                <a:gd name="connsiteX561" fmla="*/ 3682113 w 4016827"/>
                <a:gd name="connsiteY561" fmla="*/ 5313337 h 7216489"/>
                <a:gd name="connsiteX562" fmla="*/ 3645192 w 4016827"/>
                <a:gd name="connsiteY562" fmla="*/ 5276415 h 7216489"/>
                <a:gd name="connsiteX563" fmla="*/ 3682113 w 4016827"/>
                <a:gd name="connsiteY563" fmla="*/ 5239493 h 7216489"/>
                <a:gd name="connsiteX564" fmla="*/ 2655015 w 4016827"/>
                <a:gd name="connsiteY564" fmla="*/ 5239493 h 7216489"/>
                <a:gd name="connsiteX565" fmla="*/ 2718789 w 4016827"/>
                <a:gd name="connsiteY565" fmla="*/ 5303267 h 7216489"/>
                <a:gd name="connsiteX566" fmla="*/ 2655015 w 4016827"/>
                <a:gd name="connsiteY566" fmla="*/ 5367040 h 7216489"/>
                <a:gd name="connsiteX567" fmla="*/ 2591241 w 4016827"/>
                <a:gd name="connsiteY567" fmla="*/ 5303267 h 7216489"/>
                <a:gd name="connsiteX568" fmla="*/ 2655015 w 4016827"/>
                <a:gd name="connsiteY568" fmla="*/ 5239493 h 7216489"/>
                <a:gd name="connsiteX569" fmla="*/ 1886370 w 4016827"/>
                <a:gd name="connsiteY569" fmla="*/ 5222710 h 7216489"/>
                <a:gd name="connsiteX570" fmla="*/ 1956858 w 4016827"/>
                <a:gd name="connsiteY570" fmla="*/ 5293197 h 7216489"/>
                <a:gd name="connsiteX571" fmla="*/ 1886370 w 4016827"/>
                <a:gd name="connsiteY571" fmla="*/ 5363685 h 7216489"/>
                <a:gd name="connsiteX572" fmla="*/ 1815883 w 4016827"/>
                <a:gd name="connsiteY572" fmla="*/ 5293197 h 7216489"/>
                <a:gd name="connsiteX573" fmla="*/ 1886370 w 4016827"/>
                <a:gd name="connsiteY573" fmla="*/ 5222710 h 7216489"/>
                <a:gd name="connsiteX574" fmla="*/ 3064512 w 4016827"/>
                <a:gd name="connsiteY574" fmla="*/ 5212641 h 7216489"/>
                <a:gd name="connsiteX575" fmla="*/ 3124930 w 4016827"/>
                <a:gd name="connsiteY575" fmla="*/ 5273058 h 7216489"/>
                <a:gd name="connsiteX576" fmla="*/ 3064512 w 4016827"/>
                <a:gd name="connsiteY576" fmla="*/ 5333476 h 7216489"/>
                <a:gd name="connsiteX577" fmla="*/ 3004095 w 4016827"/>
                <a:gd name="connsiteY577" fmla="*/ 5273058 h 7216489"/>
                <a:gd name="connsiteX578" fmla="*/ 3064512 w 4016827"/>
                <a:gd name="connsiteY578" fmla="*/ 5212641 h 7216489"/>
                <a:gd name="connsiteX579" fmla="*/ 1523864 w 4016827"/>
                <a:gd name="connsiteY579" fmla="*/ 5185788 h 7216489"/>
                <a:gd name="connsiteX580" fmla="*/ 1597708 w 4016827"/>
                <a:gd name="connsiteY580" fmla="*/ 5259632 h 7216489"/>
                <a:gd name="connsiteX581" fmla="*/ 1523864 w 4016827"/>
                <a:gd name="connsiteY581" fmla="*/ 5333476 h 7216489"/>
                <a:gd name="connsiteX582" fmla="*/ 1450020 w 4016827"/>
                <a:gd name="connsiteY582" fmla="*/ 5259632 h 7216489"/>
                <a:gd name="connsiteX583" fmla="*/ 1523864 w 4016827"/>
                <a:gd name="connsiteY583" fmla="*/ 5185788 h 7216489"/>
                <a:gd name="connsiteX584" fmla="*/ 3487436 w 4016827"/>
                <a:gd name="connsiteY584" fmla="*/ 5169006 h 7216489"/>
                <a:gd name="connsiteX585" fmla="*/ 3531070 w 4016827"/>
                <a:gd name="connsiteY585" fmla="*/ 5212641 h 7216489"/>
                <a:gd name="connsiteX586" fmla="*/ 3487436 w 4016827"/>
                <a:gd name="connsiteY586" fmla="*/ 5256275 h 7216489"/>
                <a:gd name="connsiteX587" fmla="*/ 3443800 w 4016827"/>
                <a:gd name="connsiteY587" fmla="*/ 5212641 h 7216489"/>
                <a:gd name="connsiteX588" fmla="*/ 3487436 w 4016827"/>
                <a:gd name="connsiteY588" fmla="*/ 5169006 h 7216489"/>
                <a:gd name="connsiteX589" fmla="*/ 1174786 w 4016827"/>
                <a:gd name="connsiteY589" fmla="*/ 5142153 h 7216489"/>
                <a:gd name="connsiteX590" fmla="*/ 1248629 w 4016827"/>
                <a:gd name="connsiteY590" fmla="*/ 5215997 h 7216489"/>
                <a:gd name="connsiteX591" fmla="*/ 1174786 w 4016827"/>
                <a:gd name="connsiteY591" fmla="*/ 5289841 h 7216489"/>
                <a:gd name="connsiteX592" fmla="*/ 1100942 w 4016827"/>
                <a:gd name="connsiteY592" fmla="*/ 5215997 h 7216489"/>
                <a:gd name="connsiteX593" fmla="*/ 1174786 w 4016827"/>
                <a:gd name="connsiteY593" fmla="*/ 5142153 h 7216489"/>
                <a:gd name="connsiteX594" fmla="*/ 2487189 w 4016827"/>
                <a:gd name="connsiteY594" fmla="*/ 5132084 h 7216489"/>
                <a:gd name="connsiteX595" fmla="*/ 2544250 w 4016827"/>
                <a:gd name="connsiteY595" fmla="*/ 5189145 h 7216489"/>
                <a:gd name="connsiteX596" fmla="*/ 2487189 w 4016827"/>
                <a:gd name="connsiteY596" fmla="*/ 5246206 h 7216489"/>
                <a:gd name="connsiteX597" fmla="*/ 2430128 w 4016827"/>
                <a:gd name="connsiteY597" fmla="*/ 5189145 h 7216489"/>
                <a:gd name="connsiteX598" fmla="*/ 2487189 w 4016827"/>
                <a:gd name="connsiteY598" fmla="*/ 5132084 h 7216489"/>
                <a:gd name="connsiteX599" fmla="*/ 2886616 w 4016827"/>
                <a:gd name="connsiteY599" fmla="*/ 5125371 h 7216489"/>
                <a:gd name="connsiteX600" fmla="*/ 2940320 w 4016827"/>
                <a:gd name="connsiteY600" fmla="*/ 5179075 h 7216489"/>
                <a:gd name="connsiteX601" fmla="*/ 2886616 w 4016827"/>
                <a:gd name="connsiteY601" fmla="*/ 5232780 h 7216489"/>
                <a:gd name="connsiteX602" fmla="*/ 2832911 w 4016827"/>
                <a:gd name="connsiteY602" fmla="*/ 5179075 h 7216489"/>
                <a:gd name="connsiteX603" fmla="*/ 2886616 w 4016827"/>
                <a:gd name="connsiteY603" fmla="*/ 5125371 h 7216489"/>
                <a:gd name="connsiteX604" fmla="*/ 2104544 w 4016827"/>
                <a:gd name="connsiteY604" fmla="*/ 5122014 h 7216489"/>
                <a:gd name="connsiteX605" fmla="*/ 2164962 w 4016827"/>
                <a:gd name="connsiteY605" fmla="*/ 5182432 h 7216489"/>
                <a:gd name="connsiteX606" fmla="*/ 2104544 w 4016827"/>
                <a:gd name="connsiteY606" fmla="*/ 5242849 h 7216489"/>
                <a:gd name="connsiteX607" fmla="*/ 2044126 w 4016827"/>
                <a:gd name="connsiteY607" fmla="*/ 5182432 h 7216489"/>
                <a:gd name="connsiteX608" fmla="*/ 2104544 w 4016827"/>
                <a:gd name="connsiteY608" fmla="*/ 5122014 h 7216489"/>
                <a:gd name="connsiteX609" fmla="*/ 835776 w 4016827"/>
                <a:gd name="connsiteY609" fmla="*/ 5101875 h 7216489"/>
                <a:gd name="connsiteX610" fmla="*/ 896194 w 4016827"/>
                <a:gd name="connsiteY610" fmla="*/ 5162292 h 7216489"/>
                <a:gd name="connsiteX611" fmla="*/ 835776 w 4016827"/>
                <a:gd name="connsiteY611" fmla="*/ 5222710 h 7216489"/>
                <a:gd name="connsiteX612" fmla="*/ 775359 w 4016827"/>
                <a:gd name="connsiteY612" fmla="*/ 5162292 h 7216489"/>
                <a:gd name="connsiteX613" fmla="*/ 835776 w 4016827"/>
                <a:gd name="connsiteY613" fmla="*/ 5101875 h 7216489"/>
                <a:gd name="connsiteX614" fmla="*/ 3299470 w 4016827"/>
                <a:gd name="connsiteY614" fmla="*/ 5098518 h 7216489"/>
                <a:gd name="connsiteX615" fmla="*/ 3336391 w 4016827"/>
                <a:gd name="connsiteY615" fmla="*/ 5135440 h 7216489"/>
                <a:gd name="connsiteX616" fmla="*/ 3299470 w 4016827"/>
                <a:gd name="connsiteY616" fmla="*/ 5172362 h 7216489"/>
                <a:gd name="connsiteX617" fmla="*/ 3262547 w 4016827"/>
                <a:gd name="connsiteY617" fmla="*/ 5135440 h 7216489"/>
                <a:gd name="connsiteX618" fmla="*/ 3299470 w 4016827"/>
                <a:gd name="connsiteY618" fmla="*/ 5098518 h 7216489"/>
                <a:gd name="connsiteX619" fmla="*/ 1738683 w 4016827"/>
                <a:gd name="connsiteY619" fmla="*/ 5091805 h 7216489"/>
                <a:gd name="connsiteX620" fmla="*/ 1802457 w 4016827"/>
                <a:gd name="connsiteY620" fmla="*/ 5155579 h 7216489"/>
                <a:gd name="connsiteX621" fmla="*/ 1738683 w 4016827"/>
                <a:gd name="connsiteY621" fmla="*/ 5219354 h 7216489"/>
                <a:gd name="connsiteX622" fmla="*/ 1674908 w 4016827"/>
                <a:gd name="connsiteY622" fmla="*/ 5155579 h 7216489"/>
                <a:gd name="connsiteX623" fmla="*/ 1738683 w 4016827"/>
                <a:gd name="connsiteY623" fmla="*/ 5091805 h 7216489"/>
                <a:gd name="connsiteX624" fmla="*/ 506836 w 4016827"/>
                <a:gd name="connsiteY624" fmla="*/ 5091805 h 7216489"/>
                <a:gd name="connsiteX625" fmla="*/ 513549 w 4016827"/>
                <a:gd name="connsiteY625" fmla="*/ 5098518 h 7216489"/>
                <a:gd name="connsiteX626" fmla="*/ 506836 w 4016827"/>
                <a:gd name="connsiteY626" fmla="*/ 5105231 h 7216489"/>
                <a:gd name="connsiteX627" fmla="*/ 500123 w 4016827"/>
                <a:gd name="connsiteY627" fmla="*/ 5098518 h 7216489"/>
                <a:gd name="connsiteX628" fmla="*/ 506836 w 4016827"/>
                <a:gd name="connsiteY628" fmla="*/ 5091805 h 7216489"/>
                <a:gd name="connsiteX629" fmla="*/ 3927141 w 4016827"/>
                <a:gd name="connsiteY629" fmla="*/ 5088449 h 7216489"/>
                <a:gd name="connsiteX630" fmla="*/ 3943923 w 4016827"/>
                <a:gd name="connsiteY630" fmla="*/ 5105231 h 7216489"/>
                <a:gd name="connsiteX631" fmla="*/ 3927141 w 4016827"/>
                <a:gd name="connsiteY631" fmla="*/ 5122014 h 7216489"/>
                <a:gd name="connsiteX632" fmla="*/ 3910358 w 4016827"/>
                <a:gd name="connsiteY632" fmla="*/ 5105231 h 7216489"/>
                <a:gd name="connsiteX633" fmla="*/ 3927141 w 4016827"/>
                <a:gd name="connsiteY633" fmla="*/ 5088449 h 7216489"/>
                <a:gd name="connsiteX634" fmla="*/ 1382891 w 4016827"/>
                <a:gd name="connsiteY634" fmla="*/ 5041457 h 7216489"/>
                <a:gd name="connsiteX635" fmla="*/ 1453378 w 4016827"/>
                <a:gd name="connsiteY635" fmla="*/ 5111944 h 7216489"/>
                <a:gd name="connsiteX636" fmla="*/ 1382891 w 4016827"/>
                <a:gd name="connsiteY636" fmla="*/ 5182432 h 7216489"/>
                <a:gd name="connsiteX637" fmla="*/ 1312404 w 4016827"/>
                <a:gd name="connsiteY637" fmla="*/ 5111944 h 7216489"/>
                <a:gd name="connsiteX638" fmla="*/ 1382891 w 4016827"/>
                <a:gd name="connsiteY638" fmla="*/ 5041457 h 7216489"/>
                <a:gd name="connsiteX639" fmla="*/ 3732462 w 4016827"/>
                <a:gd name="connsiteY639" fmla="*/ 5028031 h 7216489"/>
                <a:gd name="connsiteX640" fmla="*/ 3759314 w 4016827"/>
                <a:gd name="connsiteY640" fmla="*/ 5054883 h 7216489"/>
                <a:gd name="connsiteX641" fmla="*/ 3732462 w 4016827"/>
                <a:gd name="connsiteY641" fmla="*/ 5081736 h 7216489"/>
                <a:gd name="connsiteX642" fmla="*/ 3705610 w 4016827"/>
                <a:gd name="connsiteY642" fmla="*/ 5054883 h 7216489"/>
                <a:gd name="connsiteX643" fmla="*/ 3732462 w 4016827"/>
                <a:gd name="connsiteY643" fmla="*/ 5028031 h 7216489"/>
                <a:gd name="connsiteX644" fmla="*/ 2712076 w 4016827"/>
                <a:gd name="connsiteY644" fmla="*/ 5014605 h 7216489"/>
                <a:gd name="connsiteX645" fmla="*/ 2769137 w 4016827"/>
                <a:gd name="connsiteY645" fmla="*/ 5071666 h 7216489"/>
                <a:gd name="connsiteX646" fmla="*/ 2712076 w 4016827"/>
                <a:gd name="connsiteY646" fmla="*/ 5128727 h 7216489"/>
                <a:gd name="connsiteX647" fmla="*/ 2655015 w 4016827"/>
                <a:gd name="connsiteY647" fmla="*/ 5071666 h 7216489"/>
                <a:gd name="connsiteX648" fmla="*/ 2712076 w 4016827"/>
                <a:gd name="connsiteY648" fmla="*/ 5014605 h 7216489"/>
                <a:gd name="connsiteX649" fmla="*/ 2326076 w 4016827"/>
                <a:gd name="connsiteY649" fmla="*/ 5007892 h 7216489"/>
                <a:gd name="connsiteX650" fmla="*/ 2386493 w 4016827"/>
                <a:gd name="connsiteY650" fmla="*/ 5068309 h 7216489"/>
                <a:gd name="connsiteX651" fmla="*/ 2326076 w 4016827"/>
                <a:gd name="connsiteY651" fmla="*/ 5128727 h 7216489"/>
                <a:gd name="connsiteX652" fmla="*/ 2265658 w 4016827"/>
                <a:gd name="connsiteY652" fmla="*/ 5068309 h 7216489"/>
                <a:gd name="connsiteX653" fmla="*/ 2326076 w 4016827"/>
                <a:gd name="connsiteY653" fmla="*/ 5007892 h 7216489"/>
                <a:gd name="connsiteX654" fmla="*/ 3118216 w 4016827"/>
                <a:gd name="connsiteY654" fmla="*/ 4997822 h 7216489"/>
                <a:gd name="connsiteX655" fmla="*/ 3168564 w 4016827"/>
                <a:gd name="connsiteY655" fmla="*/ 5048170 h 7216489"/>
                <a:gd name="connsiteX656" fmla="*/ 3118216 w 4016827"/>
                <a:gd name="connsiteY656" fmla="*/ 5098518 h 7216489"/>
                <a:gd name="connsiteX657" fmla="*/ 3067869 w 4016827"/>
                <a:gd name="connsiteY657" fmla="*/ 5048170 h 7216489"/>
                <a:gd name="connsiteX658" fmla="*/ 3118216 w 4016827"/>
                <a:gd name="connsiteY658" fmla="*/ 4997822 h 7216489"/>
                <a:gd name="connsiteX659" fmla="*/ 1043881 w 4016827"/>
                <a:gd name="connsiteY659" fmla="*/ 4987754 h 7216489"/>
                <a:gd name="connsiteX660" fmla="*/ 1117724 w 4016827"/>
                <a:gd name="connsiteY660" fmla="*/ 5061597 h 7216489"/>
                <a:gd name="connsiteX661" fmla="*/ 1043881 w 4016827"/>
                <a:gd name="connsiteY661" fmla="*/ 5135441 h 7216489"/>
                <a:gd name="connsiteX662" fmla="*/ 970037 w 4016827"/>
                <a:gd name="connsiteY662" fmla="*/ 5061597 h 7216489"/>
                <a:gd name="connsiteX663" fmla="*/ 1043881 w 4016827"/>
                <a:gd name="connsiteY663" fmla="*/ 4987754 h 7216489"/>
                <a:gd name="connsiteX664" fmla="*/ 1953501 w 4016827"/>
                <a:gd name="connsiteY664" fmla="*/ 4984396 h 7216489"/>
                <a:gd name="connsiteX665" fmla="*/ 2017275 w 4016827"/>
                <a:gd name="connsiteY665" fmla="*/ 5048170 h 7216489"/>
                <a:gd name="connsiteX666" fmla="*/ 1953501 w 4016827"/>
                <a:gd name="connsiteY666" fmla="*/ 5111944 h 7216489"/>
                <a:gd name="connsiteX667" fmla="*/ 1889727 w 4016827"/>
                <a:gd name="connsiteY667" fmla="*/ 5048170 h 7216489"/>
                <a:gd name="connsiteX668" fmla="*/ 1953501 w 4016827"/>
                <a:gd name="connsiteY668" fmla="*/ 4984396 h 7216489"/>
                <a:gd name="connsiteX669" fmla="*/ 3537783 w 4016827"/>
                <a:gd name="connsiteY669" fmla="*/ 4954188 h 7216489"/>
                <a:gd name="connsiteX670" fmla="*/ 3571348 w 4016827"/>
                <a:gd name="connsiteY670" fmla="*/ 4987754 h 7216489"/>
                <a:gd name="connsiteX671" fmla="*/ 3537783 w 4016827"/>
                <a:gd name="connsiteY671" fmla="*/ 5021319 h 7216489"/>
                <a:gd name="connsiteX672" fmla="*/ 3504218 w 4016827"/>
                <a:gd name="connsiteY672" fmla="*/ 4987754 h 7216489"/>
                <a:gd name="connsiteX673" fmla="*/ 3537783 w 4016827"/>
                <a:gd name="connsiteY673" fmla="*/ 4954188 h 7216489"/>
                <a:gd name="connsiteX674" fmla="*/ 1594352 w 4016827"/>
                <a:gd name="connsiteY674" fmla="*/ 4947474 h 7216489"/>
                <a:gd name="connsiteX675" fmla="*/ 1658126 w 4016827"/>
                <a:gd name="connsiteY675" fmla="*/ 5011248 h 7216489"/>
                <a:gd name="connsiteX676" fmla="*/ 1594352 w 4016827"/>
                <a:gd name="connsiteY676" fmla="*/ 5075023 h 7216489"/>
                <a:gd name="connsiteX677" fmla="*/ 1530577 w 4016827"/>
                <a:gd name="connsiteY677" fmla="*/ 5011248 h 7216489"/>
                <a:gd name="connsiteX678" fmla="*/ 1594352 w 4016827"/>
                <a:gd name="connsiteY678" fmla="*/ 4947474 h 7216489"/>
                <a:gd name="connsiteX679" fmla="*/ 711585 w 4016827"/>
                <a:gd name="connsiteY679" fmla="*/ 4937406 h 7216489"/>
                <a:gd name="connsiteX680" fmla="*/ 772002 w 4016827"/>
                <a:gd name="connsiteY680" fmla="*/ 4997823 h 7216489"/>
                <a:gd name="connsiteX681" fmla="*/ 711585 w 4016827"/>
                <a:gd name="connsiteY681" fmla="*/ 5058241 h 7216489"/>
                <a:gd name="connsiteX682" fmla="*/ 651167 w 4016827"/>
                <a:gd name="connsiteY682" fmla="*/ 4997823 h 7216489"/>
                <a:gd name="connsiteX683" fmla="*/ 711585 w 4016827"/>
                <a:gd name="connsiteY683" fmla="*/ 4937406 h 7216489"/>
                <a:gd name="connsiteX684" fmla="*/ 392714 w 4016827"/>
                <a:gd name="connsiteY684" fmla="*/ 4930691 h 7216489"/>
                <a:gd name="connsiteX685" fmla="*/ 392714 w 4016827"/>
                <a:gd name="connsiteY685" fmla="*/ 4934048 h 7216489"/>
                <a:gd name="connsiteX686" fmla="*/ 392714 w 4016827"/>
                <a:gd name="connsiteY686" fmla="*/ 4930691 h 7216489"/>
                <a:gd name="connsiteX687" fmla="*/ 2940320 w 4016827"/>
                <a:gd name="connsiteY687" fmla="*/ 4907196 h 7216489"/>
                <a:gd name="connsiteX688" fmla="*/ 2983956 w 4016827"/>
                <a:gd name="connsiteY688" fmla="*/ 4950831 h 7216489"/>
                <a:gd name="connsiteX689" fmla="*/ 2940320 w 4016827"/>
                <a:gd name="connsiteY689" fmla="*/ 4994466 h 7216489"/>
                <a:gd name="connsiteX690" fmla="*/ 2896686 w 4016827"/>
                <a:gd name="connsiteY690" fmla="*/ 4950831 h 7216489"/>
                <a:gd name="connsiteX691" fmla="*/ 2940320 w 4016827"/>
                <a:gd name="connsiteY691" fmla="*/ 4907196 h 7216489"/>
                <a:gd name="connsiteX692" fmla="*/ 2547607 w 4016827"/>
                <a:gd name="connsiteY692" fmla="*/ 4903840 h 7216489"/>
                <a:gd name="connsiteX693" fmla="*/ 2597955 w 4016827"/>
                <a:gd name="connsiteY693" fmla="*/ 4954188 h 7216489"/>
                <a:gd name="connsiteX694" fmla="*/ 2547607 w 4016827"/>
                <a:gd name="connsiteY694" fmla="*/ 5004536 h 7216489"/>
                <a:gd name="connsiteX695" fmla="*/ 2497259 w 4016827"/>
                <a:gd name="connsiteY695" fmla="*/ 4954188 h 7216489"/>
                <a:gd name="connsiteX696" fmla="*/ 2547607 w 4016827"/>
                <a:gd name="connsiteY696" fmla="*/ 4903840 h 7216489"/>
                <a:gd name="connsiteX697" fmla="*/ 3353174 w 4016827"/>
                <a:gd name="connsiteY697" fmla="*/ 4883701 h 7216489"/>
                <a:gd name="connsiteX698" fmla="*/ 3380027 w 4016827"/>
                <a:gd name="connsiteY698" fmla="*/ 4910553 h 7216489"/>
                <a:gd name="connsiteX699" fmla="*/ 3353174 w 4016827"/>
                <a:gd name="connsiteY699" fmla="*/ 4937406 h 7216489"/>
                <a:gd name="connsiteX700" fmla="*/ 3326322 w 4016827"/>
                <a:gd name="connsiteY700" fmla="*/ 4910553 h 7216489"/>
                <a:gd name="connsiteX701" fmla="*/ 3353174 w 4016827"/>
                <a:gd name="connsiteY701" fmla="*/ 4883701 h 7216489"/>
                <a:gd name="connsiteX702" fmla="*/ 1251986 w 4016827"/>
                <a:gd name="connsiteY702" fmla="*/ 4883701 h 7216489"/>
                <a:gd name="connsiteX703" fmla="*/ 1325830 w 4016827"/>
                <a:gd name="connsiteY703" fmla="*/ 4957545 h 7216489"/>
                <a:gd name="connsiteX704" fmla="*/ 1251986 w 4016827"/>
                <a:gd name="connsiteY704" fmla="*/ 5031389 h 7216489"/>
                <a:gd name="connsiteX705" fmla="*/ 1178142 w 4016827"/>
                <a:gd name="connsiteY705" fmla="*/ 4957545 h 7216489"/>
                <a:gd name="connsiteX706" fmla="*/ 1251986 w 4016827"/>
                <a:gd name="connsiteY706" fmla="*/ 4883701 h 7216489"/>
                <a:gd name="connsiteX707" fmla="*/ 2168318 w 4016827"/>
                <a:gd name="connsiteY707" fmla="*/ 4873631 h 7216489"/>
                <a:gd name="connsiteX708" fmla="*/ 2232092 w 4016827"/>
                <a:gd name="connsiteY708" fmla="*/ 4937406 h 7216489"/>
                <a:gd name="connsiteX709" fmla="*/ 2168318 w 4016827"/>
                <a:gd name="connsiteY709" fmla="*/ 5001180 h 7216489"/>
                <a:gd name="connsiteX710" fmla="*/ 2104544 w 4016827"/>
                <a:gd name="connsiteY710" fmla="*/ 4937406 h 7216489"/>
                <a:gd name="connsiteX711" fmla="*/ 2168318 w 4016827"/>
                <a:gd name="connsiteY711" fmla="*/ 4873631 h 7216489"/>
                <a:gd name="connsiteX712" fmla="*/ 3977488 w 4016827"/>
                <a:gd name="connsiteY712" fmla="*/ 4873630 h 7216489"/>
                <a:gd name="connsiteX713" fmla="*/ 3990914 w 4016827"/>
                <a:gd name="connsiteY713" fmla="*/ 4887056 h 7216489"/>
                <a:gd name="connsiteX714" fmla="*/ 3977488 w 4016827"/>
                <a:gd name="connsiteY714" fmla="*/ 4900483 h 7216489"/>
                <a:gd name="connsiteX715" fmla="*/ 3964062 w 4016827"/>
                <a:gd name="connsiteY715" fmla="*/ 4887056 h 7216489"/>
                <a:gd name="connsiteX716" fmla="*/ 3977488 w 4016827"/>
                <a:gd name="connsiteY716" fmla="*/ 4873630 h 7216489"/>
                <a:gd name="connsiteX717" fmla="*/ 1809170 w 4016827"/>
                <a:gd name="connsiteY717" fmla="*/ 4843423 h 7216489"/>
                <a:gd name="connsiteX718" fmla="*/ 1872944 w 4016827"/>
                <a:gd name="connsiteY718" fmla="*/ 4907197 h 7216489"/>
                <a:gd name="connsiteX719" fmla="*/ 1809170 w 4016827"/>
                <a:gd name="connsiteY719" fmla="*/ 4970971 h 7216489"/>
                <a:gd name="connsiteX720" fmla="*/ 1745396 w 4016827"/>
                <a:gd name="connsiteY720" fmla="*/ 4907197 h 7216489"/>
                <a:gd name="connsiteX721" fmla="*/ 1809170 w 4016827"/>
                <a:gd name="connsiteY721" fmla="*/ 4843423 h 7216489"/>
                <a:gd name="connsiteX722" fmla="*/ 919690 w 4016827"/>
                <a:gd name="connsiteY722" fmla="*/ 4826640 h 7216489"/>
                <a:gd name="connsiteX723" fmla="*/ 993534 w 4016827"/>
                <a:gd name="connsiteY723" fmla="*/ 4900484 h 7216489"/>
                <a:gd name="connsiteX724" fmla="*/ 919690 w 4016827"/>
                <a:gd name="connsiteY724" fmla="*/ 4974327 h 7216489"/>
                <a:gd name="connsiteX725" fmla="*/ 845846 w 4016827"/>
                <a:gd name="connsiteY725" fmla="*/ 4900484 h 7216489"/>
                <a:gd name="connsiteX726" fmla="*/ 919690 w 4016827"/>
                <a:gd name="connsiteY726" fmla="*/ 4826640 h 7216489"/>
                <a:gd name="connsiteX727" fmla="*/ 3782809 w 4016827"/>
                <a:gd name="connsiteY727" fmla="*/ 4813213 h 7216489"/>
                <a:gd name="connsiteX728" fmla="*/ 3802948 w 4016827"/>
                <a:gd name="connsiteY728" fmla="*/ 4833352 h 7216489"/>
                <a:gd name="connsiteX729" fmla="*/ 3782809 w 4016827"/>
                <a:gd name="connsiteY729" fmla="*/ 4853491 h 7216489"/>
                <a:gd name="connsiteX730" fmla="*/ 3762670 w 4016827"/>
                <a:gd name="connsiteY730" fmla="*/ 4833352 h 7216489"/>
                <a:gd name="connsiteX731" fmla="*/ 3782809 w 4016827"/>
                <a:gd name="connsiteY731" fmla="*/ 4813213 h 7216489"/>
                <a:gd name="connsiteX732" fmla="*/ 597462 w 4016827"/>
                <a:gd name="connsiteY732" fmla="*/ 4799788 h 7216489"/>
                <a:gd name="connsiteX733" fmla="*/ 627671 w 4016827"/>
                <a:gd name="connsiteY733" fmla="*/ 4829996 h 7216489"/>
                <a:gd name="connsiteX734" fmla="*/ 597462 w 4016827"/>
                <a:gd name="connsiteY734" fmla="*/ 4860205 h 7216489"/>
                <a:gd name="connsiteX735" fmla="*/ 567254 w 4016827"/>
                <a:gd name="connsiteY735" fmla="*/ 4829996 h 7216489"/>
                <a:gd name="connsiteX736" fmla="*/ 597462 w 4016827"/>
                <a:gd name="connsiteY736" fmla="*/ 4799788 h 7216489"/>
                <a:gd name="connsiteX737" fmla="*/ 3171920 w 4016827"/>
                <a:gd name="connsiteY737" fmla="*/ 4793075 h 7216489"/>
                <a:gd name="connsiteX738" fmla="*/ 3198772 w 4016827"/>
                <a:gd name="connsiteY738" fmla="*/ 4819927 h 7216489"/>
                <a:gd name="connsiteX739" fmla="*/ 3171920 w 4016827"/>
                <a:gd name="connsiteY739" fmla="*/ 4846779 h 7216489"/>
                <a:gd name="connsiteX740" fmla="*/ 3145067 w 4016827"/>
                <a:gd name="connsiteY740" fmla="*/ 4819927 h 7216489"/>
                <a:gd name="connsiteX741" fmla="*/ 3171920 w 4016827"/>
                <a:gd name="connsiteY741" fmla="*/ 4793075 h 7216489"/>
                <a:gd name="connsiteX742" fmla="*/ 2769137 w 4016827"/>
                <a:gd name="connsiteY742" fmla="*/ 4789718 h 7216489"/>
                <a:gd name="connsiteX743" fmla="*/ 2816129 w 4016827"/>
                <a:gd name="connsiteY743" fmla="*/ 4836710 h 7216489"/>
                <a:gd name="connsiteX744" fmla="*/ 2769137 w 4016827"/>
                <a:gd name="connsiteY744" fmla="*/ 4883701 h 7216489"/>
                <a:gd name="connsiteX745" fmla="*/ 2722146 w 4016827"/>
                <a:gd name="connsiteY745" fmla="*/ 4836710 h 7216489"/>
                <a:gd name="connsiteX746" fmla="*/ 2769137 w 4016827"/>
                <a:gd name="connsiteY746" fmla="*/ 4789718 h 7216489"/>
                <a:gd name="connsiteX747" fmla="*/ 1460091 w 4016827"/>
                <a:gd name="connsiteY747" fmla="*/ 4789718 h 7216489"/>
                <a:gd name="connsiteX748" fmla="*/ 1527222 w 4016827"/>
                <a:gd name="connsiteY748" fmla="*/ 4856849 h 7216489"/>
                <a:gd name="connsiteX749" fmla="*/ 1460091 w 4016827"/>
                <a:gd name="connsiteY749" fmla="*/ 4923979 h 7216489"/>
                <a:gd name="connsiteX750" fmla="*/ 1392960 w 4016827"/>
                <a:gd name="connsiteY750" fmla="*/ 4856849 h 7216489"/>
                <a:gd name="connsiteX751" fmla="*/ 1460091 w 4016827"/>
                <a:gd name="connsiteY751" fmla="*/ 4789718 h 7216489"/>
                <a:gd name="connsiteX752" fmla="*/ 2386493 w 4016827"/>
                <a:gd name="connsiteY752" fmla="*/ 4769579 h 7216489"/>
                <a:gd name="connsiteX753" fmla="*/ 2446911 w 4016827"/>
                <a:gd name="connsiteY753" fmla="*/ 4829996 h 7216489"/>
                <a:gd name="connsiteX754" fmla="*/ 2386493 w 4016827"/>
                <a:gd name="connsiteY754" fmla="*/ 4890414 h 7216489"/>
                <a:gd name="connsiteX755" fmla="*/ 2326076 w 4016827"/>
                <a:gd name="connsiteY755" fmla="*/ 4829996 h 7216489"/>
                <a:gd name="connsiteX756" fmla="*/ 2386493 w 4016827"/>
                <a:gd name="connsiteY756" fmla="*/ 4769579 h 7216489"/>
                <a:gd name="connsiteX757" fmla="*/ 285305 w 4016827"/>
                <a:gd name="connsiteY757" fmla="*/ 4756153 h 7216489"/>
                <a:gd name="connsiteX758" fmla="*/ 285305 w 4016827"/>
                <a:gd name="connsiteY758" fmla="*/ 4759509 h 7216489"/>
                <a:gd name="connsiteX759" fmla="*/ 285305 w 4016827"/>
                <a:gd name="connsiteY759" fmla="*/ 4756153 h 7216489"/>
                <a:gd name="connsiteX760" fmla="*/ 3591488 w 4016827"/>
                <a:gd name="connsiteY760" fmla="*/ 4746083 h 7216489"/>
                <a:gd name="connsiteX761" fmla="*/ 3611627 w 4016827"/>
                <a:gd name="connsiteY761" fmla="*/ 4766222 h 7216489"/>
                <a:gd name="connsiteX762" fmla="*/ 3591488 w 4016827"/>
                <a:gd name="connsiteY762" fmla="*/ 4786361 h 7216489"/>
                <a:gd name="connsiteX763" fmla="*/ 3571348 w 4016827"/>
                <a:gd name="connsiteY763" fmla="*/ 4766222 h 7216489"/>
                <a:gd name="connsiteX764" fmla="*/ 3591488 w 4016827"/>
                <a:gd name="connsiteY764" fmla="*/ 4746083 h 7216489"/>
                <a:gd name="connsiteX765" fmla="*/ 2020632 w 4016827"/>
                <a:gd name="connsiteY765" fmla="*/ 4736013 h 7216489"/>
                <a:gd name="connsiteX766" fmla="*/ 2084406 w 4016827"/>
                <a:gd name="connsiteY766" fmla="*/ 4799788 h 7216489"/>
                <a:gd name="connsiteX767" fmla="*/ 2020632 w 4016827"/>
                <a:gd name="connsiteY767" fmla="*/ 4863561 h 7216489"/>
                <a:gd name="connsiteX768" fmla="*/ 1956858 w 4016827"/>
                <a:gd name="connsiteY768" fmla="*/ 4799788 h 7216489"/>
                <a:gd name="connsiteX769" fmla="*/ 2020632 w 4016827"/>
                <a:gd name="connsiteY769" fmla="*/ 4736013 h 7216489"/>
                <a:gd name="connsiteX770" fmla="*/ 1127794 w 4016827"/>
                <a:gd name="connsiteY770" fmla="*/ 4725944 h 7216489"/>
                <a:gd name="connsiteX771" fmla="*/ 1201638 w 4016827"/>
                <a:gd name="connsiteY771" fmla="*/ 4799788 h 7216489"/>
                <a:gd name="connsiteX772" fmla="*/ 1127794 w 4016827"/>
                <a:gd name="connsiteY772" fmla="*/ 4873631 h 7216489"/>
                <a:gd name="connsiteX773" fmla="*/ 1053951 w 4016827"/>
                <a:gd name="connsiteY773" fmla="*/ 4799788 h 7216489"/>
                <a:gd name="connsiteX774" fmla="*/ 1127794 w 4016827"/>
                <a:gd name="connsiteY774" fmla="*/ 4725944 h 7216489"/>
                <a:gd name="connsiteX775" fmla="*/ 1671552 w 4016827"/>
                <a:gd name="connsiteY775" fmla="*/ 4699092 h 7216489"/>
                <a:gd name="connsiteX776" fmla="*/ 1728613 w 4016827"/>
                <a:gd name="connsiteY776" fmla="*/ 4756153 h 7216489"/>
                <a:gd name="connsiteX777" fmla="*/ 1671552 w 4016827"/>
                <a:gd name="connsiteY777" fmla="*/ 4813214 h 7216489"/>
                <a:gd name="connsiteX778" fmla="*/ 1614491 w 4016827"/>
                <a:gd name="connsiteY778" fmla="*/ 4756153 h 7216489"/>
                <a:gd name="connsiteX779" fmla="*/ 1671552 w 4016827"/>
                <a:gd name="connsiteY779" fmla="*/ 4699092 h 7216489"/>
                <a:gd name="connsiteX780" fmla="*/ 2997382 w 4016827"/>
                <a:gd name="connsiteY780" fmla="*/ 4685665 h 7216489"/>
                <a:gd name="connsiteX781" fmla="*/ 3027590 w 4016827"/>
                <a:gd name="connsiteY781" fmla="*/ 4715874 h 7216489"/>
                <a:gd name="connsiteX782" fmla="*/ 2997382 w 4016827"/>
                <a:gd name="connsiteY782" fmla="*/ 4746083 h 7216489"/>
                <a:gd name="connsiteX783" fmla="*/ 2967173 w 4016827"/>
                <a:gd name="connsiteY783" fmla="*/ 4715874 h 7216489"/>
                <a:gd name="connsiteX784" fmla="*/ 2997382 w 4016827"/>
                <a:gd name="connsiteY784" fmla="*/ 4685665 h 7216489"/>
                <a:gd name="connsiteX785" fmla="*/ 805568 w 4016827"/>
                <a:gd name="connsiteY785" fmla="*/ 4678952 h 7216489"/>
                <a:gd name="connsiteX786" fmla="*/ 859272 w 4016827"/>
                <a:gd name="connsiteY786" fmla="*/ 4732657 h 7216489"/>
                <a:gd name="connsiteX787" fmla="*/ 805568 w 4016827"/>
                <a:gd name="connsiteY787" fmla="*/ 4786361 h 7216489"/>
                <a:gd name="connsiteX788" fmla="*/ 751863 w 4016827"/>
                <a:gd name="connsiteY788" fmla="*/ 4732657 h 7216489"/>
                <a:gd name="connsiteX789" fmla="*/ 805568 w 4016827"/>
                <a:gd name="connsiteY789" fmla="*/ 4678952 h 7216489"/>
                <a:gd name="connsiteX790" fmla="*/ 2608024 w 4016827"/>
                <a:gd name="connsiteY790" fmla="*/ 4675596 h 7216489"/>
                <a:gd name="connsiteX791" fmla="*/ 2648302 w 4016827"/>
                <a:gd name="connsiteY791" fmla="*/ 4715874 h 7216489"/>
                <a:gd name="connsiteX792" fmla="*/ 2608024 w 4016827"/>
                <a:gd name="connsiteY792" fmla="*/ 4756153 h 7216489"/>
                <a:gd name="connsiteX793" fmla="*/ 2567745 w 4016827"/>
                <a:gd name="connsiteY793" fmla="*/ 4715874 h 7216489"/>
                <a:gd name="connsiteX794" fmla="*/ 2608024 w 4016827"/>
                <a:gd name="connsiteY794" fmla="*/ 4675596 h 7216489"/>
                <a:gd name="connsiteX795" fmla="*/ 3403522 w 4016827"/>
                <a:gd name="connsiteY795" fmla="*/ 4672239 h 7216489"/>
                <a:gd name="connsiteX796" fmla="*/ 3416948 w 4016827"/>
                <a:gd name="connsiteY796" fmla="*/ 4685665 h 7216489"/>
                <a:gd name="connsiteX797" fmla="*/ 3403522 w 4016827"/>
                <a:gd name="connsiteY797" fmla="*/ 4699092 h 7216489"/>
                <a:gd name="connsiteX798" fmla="*/ 3390095 w 4016827"/>
                <a:gd name="connsiteY798" fmla="*/ 4685665 h 7216489"/>
                <a:gd name="connsiteX799" fmla="*/ 3403522 w 4016827"/>
                <a:gd name="connsiteY799" fmla="*/ 4672239 h 7216489"/>
                <a:gd name="connsiteX800" fmla="*/ 2235449 w 4016827"/>
                <a:gd name="connsiteY800" fmla="*/ 4635317 h 7216489"/>
                <a:gd name="connsiteX801" fmla="*/ 2292510 w 4016827"/>
                <a:gd name="connsiteY801" fmla="*/ 4692378 h 7216489"/>
                <a:gd name="connsiteX802" fmla="*/ 2235449 w 4016827"/>
                <a:gd name="connsiteY802" fmla="*/ 4749440 h 7216489"/>
                <a:gd name="connsiteX803" fmla="*/ 2178388 w 4016827"/>
                <a:gd name="connsiteY803" fmla="*/ 4692378 h 7216489"/>
                <a:gd name="connsiteX804" fmla="*/ 2235449 w 4016827"/>
                <a:gd name="connsiteY804" fmla="*/ 4635317 h 7216489"/>
                <a:gd name="connsiteX805" fmla="*/ 1335899 w 4016827"/>
                <a:gd name="connsiteY805" fmla="*/ 4628604 h 7216489"/>
                <a:gd name="connsiteX806" fmla="*/ 1406387 w 4016827"/>
                <a:gd name="connsiteY806" fmla="*/ 4699092 h 7216489"/>
                <a:gd name="connsiteX807" fmla="*/ 1335899 w 4016827"/>
                <a:gd name="connsiteY807" fmla="*/ 4769579 h 7216489"/>
                <a:gd name="connsiteX808" fmla="*/ 1265412 w 4016827"/>
                <a:gd name="connsiteY808" fmla="*/ 4699092 h 7216489"/>
                <a:gd name="connsiteX809" fmla="*/ 1335899 w 4016827"/>
                <a:gd name="connsiteY809" fmla="*/ 4628604 h 7216489"/>
                <a:gd name="connsiteX810" fmla="*/ 490053 w 4016827"/>
                <a:gd name="connsiteY810" fmla="*/ 4615178 h 7216489"/>
                <a:gd name="connsiteX811" fmla="*/ 533688 w 4016827"/>
                <a:gd name="connsiteY811" fmla="*/ 4658813 h 7216489"/>
                <a:gd name="connsiteX812" fmla="*/ 490053 w 4016827"/>
                <a:gd name="connsiteY812" fmla="*/ 4702448 h 7216489"/>
                <a:gd name="connsiteX813" fmla="*/ 446418 w 4016827"/>
                <a:gd name="connsiteY813" fmla="*/ 4658813 h 7216489"/>
                <a:gd name="connsiteX814" fmla="*/ 490053 w 4016827"/>
                <a:gd name="connsiteY814" fmla="*/ 4615178 h 7216489"/>
                <a:gd name="connsiteX815" fmla="*/ 3833158 w 4016827"/>
                <a:gd name="connsiteY815" fmla="*/ 4598395 h 7216489"/>
                <a:gd name="connsiteX816" fmla="*/ 3846584 w 4016827"/>
                <a:gd name="connsiteY816" fmla="*/ 4611822 h 7216489"/>
                <a:gd name="connsiteX817" fmla="*/ 3833158 w 4016827"/>
                <a:gd name="connsiteY817" fmla="*/ 4625248 h 7216489"/>
                <a:gd name="connsiteX818" fmla="*/ 3819732 w 4016827"/>
                <a:gd name="connsiteY818" fmla="*/ 4611822 h 7216489"/>
                <a:gd name="connsiteX819" fmla="*/ 3833158 w 4016827"/>
                <a:gd name="connsiteY819" fmla="*/ 4598395 h 7216489"/>
                <a:gd name="connsiteX820" fmla="*/ 1883014 w 4016827"/>
                <a:gd name="connsiteY820" fmla="*/ 4584969 h 7216489"/>
                <a:gd name="connsiteX821" fmla="*/ 1946788 w 4016827"/>
                <a:gd name="connsiteY821" fmla="*/ 4648743 h 7216489"/>
                <a:gd name="connsiteX822" fmla="*/ 1883014 w 4016827"/>
                <a:gd name="connsiteY822" fmla="*/ 4712517 h 7216489"/>
                <a:gd name="connsiteX823" fmla="*/ 1819240 w 4016827"/>
                <a:gd name="connsiteY823" fmla="*/ 4648743 h 7216489"/>
                <a:gd name="connsiteX824" fmla="*/ 1883014 w 4016827"/>
                <a:gd name="connsiteY824" fmla="*/ 4584969 h 7216489"/>
                <a:gd name="connsiteX825" fmla="*/ 3225624 w 4016827"/>
                <a:gd name="connsiteY825" fmla="*/ 4568187 h 7216489"/>
                <a:gd name="connsiteX826" fmla="*/ 3245765 w 4016827"/>
                <a:gd name="connsiteY826" fmla="*/ 4588326 h 7216489"/>
                <a:gd name="connsiteX827" fmla="*/ 3225624 w 4016827"/>
                <a:gd name="connsiteY827" fmla="*/ 4608465 h 7216489"/>
                <a:gd name="connsiteX828" fmla="*/ 3205487 w 4016827"/>
                <a:gd name="connsiteY828" fmla="*/ 4588326 h 7216489"/>
                <a:gd name="connsiteX829" fmla="*/ 3225624 w 4016827"/>
                <a:gd name="connsiteY829" fmla="*/ 4568187 h 7216489"/>
                <a:gd name="connsiteX830" fmla="*/ 2829555 w 4016827"/>
                <a:gd name="connsiteY830" fmla="*/ 4561474 h 7216489"/>
                <a:gd name="connsiteX831" fmla="*/ 2866477 w 4016827"/>
                <a:gd name="connsiteY831" fmla="*/ 4598395 h 7216489"/>
                <a:gd name="connsiteX832" fmla="*/ 2829555 w 4016827"/>
                <a:gd name="connsiteY832" fmla="*/ 4635317 h 7216489"/>
                <a:gd name="connsiteX833" fmla="*/ 2792633 w 4016827"/>
                <a:gd name="connsiteY833" fmla="*/ 4598395 h 7216489"/>
                <a:gd name="connsiteX834" fmla="*/ 2829555 w 4016827"/>
                <a:gd name="connsiteY834" fmla="*/ 4561474 h 7216489"/>
                <a:gd name="connsiteX835" fmla="*/ 1010315 w 4016827"/>
                <a:gd name="connsiteY835" fmla="*/ 4561474 h 7216489"/>
                <a:gd name="connsiteX836" fmla="*/ 1080803 w 4016827"/>
                <a:gd name="connsiteY836" fmla="*/ 4631961 h 7216489"/>
                <a:gd name="connsiteX837" fmla="*/ 1010315 w 4016827"/>
                <a:gd name="connsiteY837" fmla="*/ 4702448 h 7216489"/>
                <a:gd name="connsiteX838" fmla="*/ 939828 w 4016827"/>
                <a:gd name="connsiteY838" fmla="*/ 4631961 h 7216489"/>
                <a:gd name="connsiteX839" fmla="*/ 1010315 w 4016827"/>
                <a:gd name="connsiteY839" fmla="*/ 4561474 h 7216489"/>
                <a:gd name="connsiteX840" fmla="*/ 2453624 w 4016827"/>
                <a:gd name="connsiteY840" fmla="*/ 4541334 h 7216489"/>
                <a:gd name="connsiteX841" fmla="*/ 2497259 w 4016827"/>
                <a:gd name="connsiteY841" fmla="*/ 4584969 h 7216489"/>
                <a:gd name="connsiteX842" fmla="*/ 2453624 w 4016827"/>
                <a:gd name="connsiteY842" fmla="*/ 4628604 h 7216489"/>
                <a:gd name="connsiteX843" fmla="*/ 2409989 w 4016827"/>
                <a:gd name="connsiteY843" fmla="*/ 4584969 h 7216489"/>
                <a:gd name="connsiteX844" fmla="*/ 2453624 w 4016827"/>
                <a:gd name="connsiteY844" fmla="*/ 4541334 h 7216489"/>
                <a:gd name="connsiteX845" fmla="*/ 1544004 w 4016827"/>
                <a:gd name="connsiteY845" fmla="*/ 4534621 h 7216489"/>
                <a:gd name="connsiteX846" fmla="*/ 1607778 w 4016827"/>
                <a:gd name="connsiteY846" fmla="*/ 4598395 h 7216489"/>
                <a:gd name="connsiteX847" fmla="*/ 1544004 w 4016827"/>
                <a:gd name="connsiteY847" fmla="*/ 4662169 h 7216489"/>
                <a:gd name="connsiteX848" fmla="*/ 1480229 w 4016827"/>
                <a:gd name="connsiteY848" fmla="*/ 4598395 h 7216489"/>
                <a:gd name="connsiteX849" fmla="*/ 1544004 w 4016827"/>
                <a:gd name="connsiteY849" fmla="*/ 4534621 h 7216489"/>
                <a:gd name="connsiteX850" fmla="*/ 3641834 w 4016827"/>
                <a:gd name="connsiteY850" fmla="*/ 4531265 h 7216489"/>
                <a:gd name="connsiteX851" fmla="*/ 3655261 w 4016827"/>
                <a:gd name="connsiteY851" fmla="*/ 4544691 h 7216489"/>
                <a:gd name="connsiteX852" fmla="*/ 3641834 w 4016827"/>
                <a:gd name="connsiteY852" fmla="*/ 4558117 h 7216489"/>
                <a:gd name="connsiteX853" fmla="*/ 3628408 w 4016827"/>
                <a:gd name="connsiteY853" fmla="*/ 4544691 h 7216489"/>
                <a:gd name="connsiteX854" fmla="*/ 3641834 w 4016827"/>
                <a:gd name="connsiteY854" fmla="*/ 4531265 h 7216489"/>
                <a:gd name="connsiteX855" fmla="*/ 694802 w 4016827"/>
                <a:gd name="connsiteY855" fmla="*/ 4504412 h 7216489"/>
                <a:gd name="connsiteX856" fmla="*/ 748507 w 4016827"/>
                <a:gd name="connsiteY856" fmla="*/ 4558117 h 7216489"/>
                <a:gd name="connsiteX857" fmla="*/ 694802 w 4016827"/>
                <a:gd name="connsiteY857" fmla="*/ 4611822 h 7216489"/>
                <a:gd name="connsiteX858" fmla="*/ 641097 w 4016827"/>
                <a:gd name="connsiteY858" fmla="*/ 4558117 h 7216489"/>
                <a:gd name="connsiteX859" fmla="*/ 694802 w 4016827"/>
                <a:gd name="connsiteY859" fmla="*/ 4504412 h 7216489"/>
                <a:gd name="connsiteX860" fmla="*/ 2094474 w 4016827"/>
                <a:gd name="connsiteY860" fmla="*/ 4487630 h 7216489"/>
                <a:gd name="connsiteX861" fmla="*/ 2151536 w 4016827"/>
                <a:gd name="connsiteY861" fmla="*/ 4544691 h 7216489"/>
                <a:gd name="connsiteX862" fmla="*/ 2094474 w 4016827"/>
                <a:gd name="connsiteY862" fmla="*/ 4601752 h 7216489"/>
                <a:gd name="connsiteX863" fmla="*/ 2037413 w 4016827"/>
                <a:gd name="connsiteY863" fmla="*/ 4544691 h 7216489"/>
                <a:gd name="connsiteX864" fmla="*/ 2094474 w 4016827"/>
                <a:gd name="connsiteY864" fmla="*/ 4487630 h 7216489"/>
                <a:gd name="connsiteX865" fmla="*/ 3051086 w 4016827"/>
                <a:gd name="connsiteY865" fmla="*/ 4467491 h 7216489"/>
                <a:gd name="connsiteX866" fmla="*/ 3064512 w 4016827"/>
                <a:gd name="connsiteY866" fmla="*/ 4480917 h 7216489"/>
                <a:gd name="connsiteX867" fmla="*/ 3051086 w 4016827"/>
                <a:gd name="connsiteY867" fmla="*/ 4494343 h 7216489"/>
                <a:gd name="connsiteX868" fmla="*/ 3037660 w 4016827"/>
                <a:gd name="connsiteY868" fmla="*/ 4480917 h 7216489"/>
                <a:gd name="connsiteX869" fmla="*/ 3051086 w 4016827"/>
                <a:gd name="connsiteY869" fmla="*/ 4467491 h 7216489"/>
                <a:gd name="connsiteX870" fmla="*/ 392714 w 4016827"/>
                <a:gd name="connsiteY870" fmla="*/ 4467491 h 7216489"/>
                <a:gd name="connsiteX871" fmla="*/ 406140 w 4016827"/>
                <a:gd name="connsiteY871" fmla="*/ 4480917 h 7216489"/>
                <a:gd name="connsiteX872" fmla="*/ 392714 w 4016827"/>
                <a:gd name="connsiteY872" fmla="*/ 4494343 h 7216489"/>
                <a:gd name="connsiteX873" fmla="*/ 379288 w 4016827"/>
                <a:gd name="connsiteY873" fmla="*/ 4480917 h 7216489"/>
                <a:gd name="connsiteX874" fmla="*/ 392714 w 4016827"/>
                <a:gd name="connsiteY874" fmla="*/ 4467491 h 7216489"/>
                <a:gd name="connsiteX875" fmla="*/ 1215064 w 4016827"/>
                <a:gd name="connsiteY875" fmla="*/ 4460777 h 7216489"/>
                <a:gd name="connsiteX876" fmla="*/ 1285551 w 4016827"/>
                <a:gd name="connsiteY876" fmla="*/ 4531265 h 7216489"/>
                <a:gd name="connsiteX877" fmla="*/ 1215064 w 4016827"/>
                <a:gd name="connsiteY877" fmla="*/ 4601752 h 7216489"/>
                <a:gd name="connsiteX878" fmla="*/ 1144577 w 4016827"/>
                <a:gd name="connsiteY878" fmla="*/ 4531265 h 7216489"/>
                <a:gd name="connsiteX879" fmla="*/ 1215064 w 4016827"/>
                <a:gd name="connsiteY879" fmla="*/ 4460777 h 7216489"/>
                <a:gd name="connsiteX880" fmla="*/ 3457226 w 4016827"/>
                <a:gd name="connsiteY880" fmla="*/ 4454064 h 7216489"/>
                <a:gd name="connsiteX881" fmla="*/ 3463939 w 4016827"/>
                <a:gd name="connsiteY881" fmla="*/ 4460777 h 7216489"/>
                <a:gd name="connsiteX882" fmla="*/ 3457226 w 4016827"/>
                <a:gd name="connsiteY882" fmla="*/ 4467491 h 7216489"/>
                <a:gd name="connsiteX883" fmla="*/ 3450513 w 4016827"/>
                <a:gd name="connsiteY883" fmla="*/ 4460777 h 7216489"/>
                <a:gd name="connsiteX884" fmla="*/ 3457226 w 4016827"/>
                <a:gd name="connsiteY884" fmla="*/ 4454064 h 7216489"/>
                <a:gd name="connsiteX885" fmla="*/ 2668441 w 4016827"/>
                <a:gd name="connsiteY885" fmla="*/ 4454064 h 7216489"/>
                <a:gd name="connsiteX886" fmla="*/ 2688580 w 4016827"/>
                <a:gd name="connsiteY886" fmla="*/ 4474204 h 7216489"/>
                <a:gd name="connsiteX887" fmla="*/ 2668441 w 4016827"/>
                <a:gd name="connsiteY887" fmla="*/ 4494343 h 7216489"/>
                <a:gd name="connsiteX888" fmla="*/ 2648302 w 4016827"/>
                <a:gd name="connsiteY888" fmla="*/ 4474204 h 7216489"/>
                <a:gd name="connsiteX889" fmla="*/ 2668441 w 4016827"/>
                <a:gd name="connsiteY889" fmla="*/ 4454064 h 7216489"/>
                <a:gd name="connsiteX890" fmla="*/ 1752109 w 4016827"/>
                <a:gd name="connsiteY890" fmla="*/ 4440638 h 7216489"/>
                <a:gd name="connsiteX891" fmla="*/ 1805813 w 4016827"/>
                <a:gd name="connsiteY891" fmla="*/ 4494343 h 7216489"/>
                <a:gd name="connsiteX892" fmla="*/ 1752109 w 4016827"/>
                <a:gd name="connsiteY892" fmla="*/ 4548047 h 7216489"/>
                <a:gd name="connsiteX893" fmla="*/ 1698404 w 4016827"/>
                <a:gd name="connsiteY893" fmla="*/ 4494343 h 7216489"/>
                <a:gd name="connsiteX894" fmla="*/ 1752109 w 4016827"/>
                <a:gd name="connsiteY894" fmla="*/ 4440638 h 7216489"/>
                <a:gd name="connsiteX895" fmla="*/ 899550 w 4016827"/>
                <a:gd name="connsiteY895" fmla="*/ 4413786 h 7216489"/>
                <a:gd name="connsiteX896" fmla="*/ 949898 w 4016827"/>
                <a:gd name="connsiteY896" fmla="*/ 4464134 h 7216489"/>
                <a:gd name="connsiteX897" fmla="*/ 899550 w 4016827"/>
                <a:gd name="connsiteY897" fmla="*/ 4514482 h 7216489"/>
                <a:gd name="connsiteX898" fmla="*/ 849202 w 4016827"/>
                <a:gd name="connsiteY898" fmla="*/ 4464134 h 7216489"/>
                <a:gd name="connsiteX899" fmla="*/ 899550 w 4016827"/>
                <a:gd name="connsiteY899" fmla="*/ 4413786 h 7216489"/>
                <a:gd name="connsiteX900" fmla="*/ 2305936 w 4016827"/>
                <a:gd name="connsiteY900" fmla="*/ 4410429 h 7216489"/>
                <a:gd name="connsiteX901" fmla="*/ 2336145 w 4016827"/>
                <a:gd name="connsiteY901" fmla="*/ 4440638 h 7216489"/>
                <a:gd name="connsiteX902" fmla="*/ 2305936 w 4016827"/>
                <a:gd name="connsiteY902" fmla="*/ 4470847 h 7216489"/>
                <a:gd name="connsiteX903" fmla="*/ 2275728 w 4016827"/>
                <a:gd name="connsiteY903" fmla="*/ 4440638 h 7216489"/>
                <a:gd name="connsiteX904" fmla="*/ 2305936 w 4016827"/>
                <a:gd name="connsiteY904" fmla="*/ 4410429 h 7216489"/>
                <a:gd name="connsiteX905" fmla="*/ 3882246 w 4016827"/>
                <a:gd name="connsiteY905" fmla="*/ 4389453 h 7216489"/>
                <a:gd name="connsiteX906" fmla="*/ 3883505 w 4016827"/>
                <a:gd name="connsiteY906" fmla="*/ 4390291 h 7216489"/>
                <a:gd name="connsiteX907" fmla="*/ 3883505 w 4016827"/>
                <a:gd name="connsiteY907" fmla="*/ 4393648 h 7216489"/>
                <a:gd name="connsiteX908" fmla="*/ 3882246 w 4016827"/>
                <a:gd name="connsiteY908" fmla="*/ 4389453 h 7216489"/>
                <a:gd name="connsiteX909" fmla="*/ 1423169 w 4016827"/>
                <a:gd name="connsiteY909" fmla="*/ 4373507 h 7216489"/>
                <a:gd name="connsiteX910" fmla="*/ 1480230 w 4016827"/>
                <a:gd name="connsiteY910" fmla="*/ 4430569 h 7216489"/>
                <a:gd name="connsiteX911" fmla="*/ 1423169 w 4016827"/>
                <a:gd name="connsiteY911" fmla="*/ 4487630 h 7216489"/>
                <a:gd name="connsiteX912" fmla="*/ 1366108 w 4016827"/>
                <a:gd name="connsiteY912" fmla="*/ 4430569 h 7216489"/>
                <a:gd name="connsiteX913" fmla="*/ 1423169 w 4016827"/>
                <a:gd name="connsiteY913" fmla="*/ 4373507 h 7216489"/>
                <a:gd name="connsiteX914" fmla="*/ 1960214 w 4016827"/>
                <a:gd name="connsiteY914" fmla="*/ 4353368 h 7216489"/>
                <a:gd name="connsiteX915" fmla="*/ 2000492 w 4016827"/>
                <a:gd name="connsiteY915" fmla="*/ 4393647 h 7216489"/>
                <a:gd name="connsiteX916" fmla="*/ 1960214 w 4016827"/>
                <a:gd name="connsiteY916" fmla="*/ 4433925 h 7216489"/>
                <a:gd name="connsiteX917" fmla="*/ 1919936 w 4016827"/>
                <a:gd name="connsiteY917" fmla="*/ 4393647 h 7216489"/>
                <a:gd name="connsiteX918" fmla="*/ 1960214 w 4016827"/>
                <a:gd name="connsiteY918" fmla="*/ 4353368 h 7216489"/>
                <a:gd name="connsiteX919" fmla="*/ 3279328 w 4016827"/>
                <a:gd name="connsiteY919" fmla="*/ 4350013 h 7216489"/>
                <a:gd name="connsiteX920" fmla="*/ 3289399 w 4016827"/>
                <a:gd name="connsiteY920" fmla="*/ 4360082 h 7216489"/>
                <a:gd name="connsiteX921" fmla="*/ 3279328 w 4016827"/>
                <a:gd name="connsiteY921" fmla="*/ 4370152 h 7216489"/>
                <a:gd name="connsiteX922" fmla="*/ 3269260 w 4016827"/>
                <a:gd name="connsiteY922" fmla="*/ 4360082 h 7216489"/>
                <a:gd name="connsiteX923" fmla="*/ 3279328 w 4016827"/>
                <a:gd name="connsiteY923" fmla="*/ 4350013 h 7216489"/>
                <a:gd name="connsiteX924" fmla="*/ 2889972 w 4016827"/>
                <a:gd name="connsiteY924" fmla="*/ 4343299 h 7216489"/>
                <a:gd name="connsiteX925" fmla="*/ 2906755 w 4016827"/>
                <a:gd name="connsiteY925" fmla="*/ 4360081 h 7216489"/>
                <a:gd name="connsiteX926" fmla="*/ 2889972 w 4016827"/>
                <a:gd name="connsiteY926" fmla="*/ 4376864 h 7216489"/>
                <a:gd name="connsiteX927" fmla="*/ 2873190 w 4016827"/>
                <a:gd name="connsiteY927" fmla="*/ 4360081 h 7216489"/>
                <a:gd name="connsiteX928" fmla="*/ 2889972 w 4016827"/>
                <a:gd name="connsiteY928" fmla="*/ 4343299 h 7216489"/>
                <a:gd name="connsiteX929" fmla="*/ 597462 w 4016827"/>
                <a:gd name="connsiteY929" fmla="*/ 4336586 h 7216489"/>
                <a:gd name="connsiteX930" fmla="*/ 644454 w 4016827"/>
                <a:gd name="connsiteY930" fmla="*/ 4383577 h 7216489"/>
                <a:gd name="connsiteX931" fmla="*/ 597462 w 4016827"/>
                <a:gd name="connsiteY931" fmla="*/ 4430569 h 7216489"/>
                <a:gd name="connsiteX932" fmla="*/ 550471 w 4016827"/>
                <a:gd name="connsiteY932" fmla="*/ 4383577 h 7216489"/>
                <a:gd name="connsiteX933" fmla="*/ 597462 w 4016827"/>
                <a:gd name="connsiteY933" fmla="*/ 4336586 h 7216489"/>
                <a:gd name="connsiteX934" fmla="*/ 3692184 w 4016827"/>
                <a:gd name="connsiteY934" fmla="*/ 4316447 h 7216489"/>
                <a:gd name="connsiteX935" fmla="*/ 3695539 w 4016827"/>
                <a:gd name="connsiteY935" fmla="*/ 4319804 h 7216489"/>
                <a:gd name="connsiteX936" fmla="*/ 3692184 w 4016827"/>
                <a:gd name="connsiteY936" fmla="*/ 4323161 h 7216489"/>
                <a:gd name="connsiteX937" fmla="*/ 3688828 w 4016827"/>
                <a:gd name="connsiteY937" fmla="*/ 4319804 h 7216489"/>
                <a:gd name="connsiteX938" fmla="*/ 3692184 w 4016827"/>
                <a:gd name="connsiteY938" fmla="*/ 4316447 h 7216489"/>
                <a:gd name="connsiteX939" fmla="*/ 2520754 w 4016827"/>
                <a:gd name="connsiteY939" fmla="*/ 4316447 h 7216489"/>
                <a:gd name="connsiteX940" fmla="*/ 2540894 w 4016827"/>
                <a:gd name="connsiteY940" fmla="*/ 4336587 h 7216489"/>
                <a:gd name="connsiteX941" fmla="*/ 2520754 w 4016827"/>
                <a:gd name="connsiteY941" fmla="*/ 4356726 h 7216489"/>
                <a:gd name="connsiteX942" fmla="*/ 2500615 w 4016827"/>
                <a:gd name="connsiteY942" fmla="*/ 4336587 h 7216489"/>
                <a:gd name="connsiteX943" fmla="*/ 2520754 w 4016827"/>
                <a:gd name="connsiteY943" fmla="*/ 4316447 h 7216489"/>
                <a:gd name="connsiteX944" fmla="*/ 1104298 w 4016827"/>
                <a:gd name="connsiteY944" fmla="*/ 4299665 h 7216489"/>
                <a:gd name="connsiteX945" fmla="*/ 1164716 w 4016827"/>
                <a:gd name="connsiteY945" fmla="*/ 4360082 h 7216489"/>
                <a:gd name="connsiteX946" fmla="*/ 1104298 w 4016827"/>
                <a:gd name="connsiteY946" fmla="*/ 4420500 h 7216489"/>
                <a:gd name="connsiteX947" fmla="*/ 1043881 w 4016827"/>
                <a:gd name="connsiteY947" fmla="*/ 4360082 h 7216489"/>
                <a:gd name="connsiteX948" fmla="*/ 1104298 w 4016827"/>
                <a:gd name="connsiteY948" fmla="*/ 4299665 h 7216489"/>
                <a:gd name="connsiteX949" fmla="*/ 1627917 w 4016827"/>
                <a:gd name="connsiteY949" fmla="*/ 4279526 h 7216489"/>
                <a:gd name="connsiteX950" fmla="*/ 1681622 w 4016827"/>
                <a:gd name="connsiteY950" fmla="*/ 4333230 h 7216489"/>
                <a:gd name="connsiteX951" fmla="*/ 1627917 w 4016827"/>
                <a:gd name="connsiteY951" fmla="*/ 4386935 h 7216489"/>
                <a:gd name="connsiteX952" fmla="*/ 1574212 w 4016827"/>
                <a:gd name="connsiteY952" fmla="*/ 4333230 h 7216489"/>
                <a:gd name="connsiteX953" fmla="*/ 1627917 w 4016827"/>
                <a:gd name="connsiteY953" fmla="*/ 4279526 h 7216489"/>
                <a:gd name="connsiteX954" fmla="*/ 2168318 w 4016827"/>
                <a:gd name="connsiteY954" fmla="*/ 4269455 h 7216489"/>
                <a:gd name="connsiteX955" fmla="*/ 2191814 w 4016827"/>
                <a:gd name="connsiteY955" fmla="*/ 4292951 h 7216489"/>
                <a:gd name="connsiteX956" fmla="*/ 2168318 w 4016827"/>
                <a:gd name="connsiteY956" fmla="*/ 4316446 h 7216489"/>
                <a:gd name="connsiteX957" fmla="*/ 2144822 w 4016827"/>
                <a:gd name="connsiteY957" fmla="*/ 4292951 h 7216489"/>
                <a:gd name="connsiteX958" fmla="*/ 2168318 w 4016827"/>
                <a:gd name="connsiteY958" fmla="*/ 4269455 h 7216489"/>
                <a:gd name="connsiteX959" fmla="*/ 298731 w 4016827"/>
                <a:gd name="connsiteY959" fmla="*/ 4269455 h 7216489"/>
                <a:gd name="connsiteX960" fmla="*/ 328940 w 4016827"/>
                <a:gd name="connsiteY960" fmla="*/ 4299664 h 7216489"/>
                <a:gd name="connsiteX961" fmla="*/ 298731 w 4016827"/>
                <a:gd name="connsiteY961" fmla="*/ 4329873 h 7216489"/>
                <a:gd name="connsiteX962" fmla="*/ 268522 w 4016827"/>
                <a:gd name="connsiteY962" fmla="*/ 4299664 h 7216489"/>
                <a:gd name="connsiteX963" fmla="*/ 298731 w 4016827"/>
                <a:gd name="connsiteY963" fmla="*/ 4269455 h 7216489"/>
                <a:gd name="connsiteX964" fmla="*/ 798855 w 4016827"/>
                <a:gd name="connsiteY964" fmla="*/ 4245960 h 7216489"/>
                <a:gd name="connsiteX965" fmla="*/ 839133 w 4016827"/>
                <a:gd name="connsiteY965" fmla="*/ 4286239 h 7216489"/>
                <a:gd name="connsiteX966" fmla="*/ 798855 w 4016827"/>
                <a:gd name="connsiteY966" fmla="*/ 4326517 h 7216489"/>
                <a:gd name="connsiteX967" fmla="*/ 758576 w 4016827"/>
                <a:gd name="connsiteY967" fmla="*/ 4286239 h 7216489"/>
                <a:gd name="connsiteX968" fmla="*/ 798855 w 4016827"/>
                <a:gd name="connsiteY968" fmla="*/ 4245960 h 7216489"/>
                <a:gd name="connsiteX969" fmla="*/ 3111504 w 4016827"/>
                <a:gd name="connsiteY969" fmla="*/ 4235891 h 7216489"/>
                <a:gd name="connsiteX970" fmla="*/ 3121574 w 4016827"/>
                <a:gd name="connsiteY970" fmla="*/ 4245960 h 7216489"/>
                <a:gd name="connsiteX971" fmla="*/ 3111504 w 4016827"/>
                <a:gd name="connsiteY971" fmla="*/ 4256030 h 7216489"/>
                <a:gd name="connsiteX972" fmla="*/ 3101434 w 4016827"/>
                <a:gd name="connsiteY972" fmla="*/ 4245960 h 7216489"/>
                <a:gd name="connsiteX973" fmla="*/ 3111504 w 4016827"/>
                <a:gd name="connsiteY973" fmla="*/ 4235891 h 7216489"/>
                <a:gd name="connsiteX974" fmla="*/ 3510931 w 4016827"/>
                <a:gd name="connsiteY974" fmla="*/ 4229177 h 7216489"/>
                <a:gd name="connsiteX975" fmla="*/ 3510931 w 4016827"/>
                <a:gd name="connsiteY975" fmla="*/ 4235891 h 7216489"/>
                <a:gd name="connsiteX976" fmla="*/ 3510931 w 4016827"/>
                <a:gd name="connsiteY976" fmla="*/ 4229177 h 7216489"/>
                <a:gd name="connsiteX977" fmla="*/ 2735572 w 4016827"/>
                <a:gd name="connsiteY977" fmla="*/ 4215751 h 7216489"/>
                <a:gd name="connsiteX978" fmla="*/ 2748998 w 4016827"/>
                <a:gd name="connsiteY978" fmla="*/ 4229177 h 7216489"/>
                <a:gd name="connsiteX979" fmla="*/ 2735572 w 4016827"/>
                <a:gd name="connsiteY979" fmla="*/ 4242604 h 7216489"/>
                <a:gd name="connsiteX980" fmla="*/ 2722146 w 4016827"/>
                <a:gd name="connsiteY980" fmla="*/ 4229177 h 7216489"/>
                <a:gd name="connsiteX981" fmla="*/ 2735572 w 4016827"/>
                <a:gd name="connsiteY981" fmla="*/ 4215751 h 7216489"/>
                <a:gd name="connsiteX982" fmla="*/ 1312404 w 4016827"/>
                <a:gd name="connsiteY982" fmla="*/ 4212395 h 7216489"/>
                <a:gd name="connsiteX983" fmla="*/ 1362752 w 4016827"/>
                <a:gd name="connsiteY983" fmla="*/ 4262743 h 7216489"/>
                <a:gd name="connsiteX984" fmla="*/ 1312404 w 4016827"/>
                <a:gd name="connsiteY984" fmla="*/ 4313091 h 7216489"/>
                <a:gd name="connsiteX985" fmla="*/ 1262056 w 4016827"/>
                <a:gd name="connsiteY985" fmla="*/ 4262743 h 7216489"/>
                <a:gd name="connsiteX986" fmla="*/ 1312404 w 4016827"/>
                <a:gd name="connsiteY986" fmla="*/ 4212395 h 7216489"/>
                <a:gd name="connsiteX987" fmla="*/ 1836022 w 4016827"/>
                <a:gd name="connsiteY987" fmla="*/ 4198969 h 7216489"/>
                <a:gd name="connsiteX988" fmla="*/ 1869588 w 4016827"/>
                <a:gd name="connsiteY988" fmla="*/ 4232534 h 7216489"/>
                <a:gd name="connsiteX989" fmla="*/ 1836022 w 4016827"/>
                <a:gd name="connsiteY989" fmla="*/ 4266099 h 7216489"/>
                <a:gd name="connsiteX990" fmla="*/ 1802457 w 4016827"/>
                <a:gd name="connsiteY990" fmla="*/ 4232534 h 7216489"/>
                <a:gd name="connsiteX991" fmla="*/ 1836022 w 4016827"/>
                <a:gd name="connsiteY991" fmla="*/ 4198969 h 7216489"/>
                <a:gd name="connsiteX992" fmla="*/ 2379780 w 4016827"/>
                <a:gd name="connsiteY992" fmla="*/ 4172116 h 7216489"/>
                <a:gd name="connsiteX993" fmla="*/ 2396563 w 4016827"/>
                <a:gd name="connsiteY993" fmla="*/ 4188899 h 7216489"/>
                <a:gd name="connsiteX994" fmla="*/ 2379780 w 4016827"/>
                <a:gd name="connsiteY994" fmla="*/ 4205682 h 7216489"/>
                <a:gd name="connsiteX995" fmla="*/ 2362997 w 4016827"/>
                <a:gd name="connsiteY995" fmla="*/ 4188899 h 7216489"/>
                <a:gd name="connsiteX996" fmla="*/ 2379780 w 4016827"/>
                <a:gd name="connsiteY996" fmla="*/ 4172116 h 7216489"/>
                <a:gd name="connsiteX997" fmla="*/ 503479 w 4016827"/>
                <a:gd name="connsiteY997" fmla="*/ 4158690 h 7216489"/>
                <a:gd name="connsiteX998" fmla="*/ 547114 w 4016827"/>
                <a:gd name="connsiteY998" fmla="*/ 4202325 h 7216489"/>
                <a:gd name="connsiteX999" fmla="*/ 503479 w 4016827"/>
                <a:gd name="connsiteY999" fmla="*/ 4245960 h 7216489"/>
                <a:gd name="connsiteX1000" fmla="*/ 459844 w 4016827"/>
                <a:gd name="connsiteY1000" fmla="*/ 4202325 h 7216489"/>
                <a:gd name="connsiteX1001" fmla="*/ 503479 w 4016827"/>
                <a:gd name="connsiteY1001" fmla="*/ 4158690 h 7216489"/>
                <a:gd name="connsiteX1002" fmla="*/ 1003602 w 4016827"/>
                <a:gd name="connsiteY1002" fmla="*/ 4128481 h 7216489"/>
                <a:gd name="connsiteX1003" fmla="*/ 1060663 w 4016827"/>
                <a:gd name="connsiteY1003" fmla="*/ 4185542 h 7216489"/>
                <a:gd name="connsiteX1004" fmla="*/ 1003602 w 4016827"/>
                <a:gd name="connsiteY1004" fmla="*/ 4242604 h 7216489"/>
                <a:gd name="connsiteX1005" fmla="*/ 946541 w 4016827"/>
                <a:gd name="connsiteY1005" fmla="*/ 4185542 h 7216489"/>
                <a:gd name="connsiteX1006" fmla="*/ 1003602 w 4016827"/>
                <a:gd name="connsiteY1006" fmla="*/ 4128481 h 7216489"/>
                <a:gd name="connsiteX1007" fmla="*/ 3336391 w 4016827"/>
                <a:gd name="connsiteY1007" fmla="*/ 4125125 h 7216489"/>
                <a:gd name="connsiteX1008" fmla="*/ 3339748 w 4016827"/>
                <a:gd name="connsiteY1008" fmla="*/ 4128481 h 7216489"/>
                <a:gd name="connsiteX1009" fmla="*/ 3336391 w 4016827"/>
                <a:gd name="connsiteY1009" fmla="*/ 4131838 h 7216489"/>
                <a:gd name="connsiteX1010" fmla="*/ 3333033 w 4016827"/>
                <a:gd name="connsiteY1010" fmla="*/ 4128481 h 7216489"/>
                <a:gd name="connsiteX1011" fmla="*/ 3336391 w 4016827"/>
                <a:gd name="connsiteY1011" fmla="*/ 4125125 h 7216489"/>
                <a:gd name="connsiteX1012" fmla="*/ 2044126 w 4016827"/>
                <a:gd name="connsiteY1012" fmla="*/ 4111699 h 7216489"/>
                <a:gd name="connsiteX1013" fmla="*/ 2067622 w 4016827"/>
                <a:gd name="connsiteY1013" fmla="*/ 4135194 h 7216489"/>
                <a:gd name="connsiteX1014" fmla="*/ 2044126 w 4016827"/>
                <a:gd name="connsiteY1014" fmla="*/ 4158690 h 7216489"/>
                <a:gd name="connsiteX1015" fmla="*/ 2020631 w 4016827"/>
                <a:gd name="connsiteY1015" fmla="*/ 4135194 h 7216489"/>
                <a:gd name="connsiteX1016" fmla="*/ 2044126 w 4016827"/>
                <a:gd name="connsiteY1016" fmla="*/ 4111699 h 7216489"/>
                <a:gd name="connsiteX1017" fmla="*/ 1517151 w 4016827"/>
                <a:gd name="connsiteY1017" fmla="*/ 4111699 h 7216489"/>
                <a:gd name="connsiteX1018" fmla="*/ 1570856 w 4016827"/>
                <a:gd name="connsiteY1018" fmla="*/ 4165403 h 7216489"/>
                <a:gd name="connsiteX1019" fmla="*/ 1517151 w 4016827"/>
                <a:gd name="connsiteY1019" fmla="*/ 4219108 h 7216489"/>
                <a:gd name="connsiteX1020" fmla="*/ 1463447 w 4016827"/>
                <a:gd name="connsiteY1020" fmla="*/ 4165403 h 7216489"/>
                <a:gd name="connsiteX1021" fmla="*/ 1517151 w 4016827"/>
                <a:gd name="connsiteY1021" fmla="*/ 4111699 h 7216489"/>
                <a:gd name="connsiteX1022" fmla="*/ 2953747 w 4016827"/>
                <a:gd name="connsiteY1022" fmla="*/ 4108342 h 7216489"/>
                <a:gd name="connsiteX1023" fmla="*/ 2963816 w 4016827"/>
                <a:gd name="connsiteY1023" fmla="*/ 4118412 h 7216489"/>
                <a:gd name="connsiteX1024" fmla="*/ 2953747 w 4016827"/>
                <a:gd name="connsiteY1024" fmla="*/ 4128481 h 7216489"/>
                <a:gd name="connsiteX1025" fmla="*/ 2943677 w 4016827"/>
                <a:gd name="connsiteY1025" fmla="*/ 4118412 h 7216489"/>
                <a:gd name="connsiteX1026" fmla="*/ 2953747 w 4016827"/>
                <a:gd name="connsiteY1026" fmla="*/ 4108342 h 7216489"/>
                <a:gd name="connsiteX1027" fmla="*/ 2591242 w 4016827"/>
                <a:gd name="connsiteY1027" fmla="*/ 4071420 h 7216489"/>
                <a:gd name="connsiteX1028" fmla="*/ 2604668 w 4016827"/>
                <a:gd name="connsiteY1028" fmla="*/ 4084846 h 7216489"/>
                <a:gd name="connsiteX1029" fmla="*/ 2591242 w 4016827"/>
                <a:gd name="connsiteY1029" fmla="*/ 4098272 h 7216489"/>
                <a:gd name="connsiteX1030" fmla="*/ 2577816 w 4016827"/>
                <a:gd name="connsiteY1030" fmla="*/ 4084846 h 7216489"/>
                <a:gd name="connsiteX1031" fmla="*/ 2591242 w 4016827"/>
                <a:gd name="connsiteY1031" fmla="*/ 4071420 h 7216489"/>
                <a:gd name="connsiteX1032" fmla="*/ 708228 w 4016827"/>
                <a:gd name="connsiteY1032" fmla="*/ 4064707 h 7216489"/>
                <a:gd name="connsiteX1033" fmla="*/ 748507 w 4016827"/>
                <a:gd name="connsiteY1033" fmla="*/ 4104986 h 7216489"/>
                <a:gd name="connsiteX1034" fmla="*/ 708228 w 4016827"/>
                <a:gd name="connsiteY1034" fmla="*/ 4145264 h 7216489"/>
                <a:gd name="connsiteX1035" fmla="*/ 667950 w 4016827"/>
                <a:gd name="connsiteY1035" fmla="*/ 4104986 h 7216489"/>
                <a:gd name="connsiteX1036" fmla="*/ 708228 w 4016827"/>
                <a:gd name="connsiteY1036" fmla="*/ 4064707 h 7216489"/>
                <a:gd name="connsiteX1037" fmla="*/ 1208351 w 4016827"/>
                <a:gd name="connsiteY1037" fmla="*/ 4037855 h 7216489"/>
                <a:gd name="connsiteX1038" fmla="*/ 1258699 w 4016827"/>
                <a:gd name="connsiteY1038" fmla="*/ 4088203 h 7216489"/>
                <a:gd name="connsiteX1039" fmla="*/ 1208351 w 4016827"/>
                <a:gd name="connsiteY1039" fmla="*/ 4138551 h 7216489"/>
                <a:gd name="connsiteX1040" fmla="*/ 1158003 w 4016827"/>
                <a:gd name="connsiteY1040" fmla="*/ 4088203 h 7216489"/>
                <a:gd name="connsiteX1041" fmla="*/ 1208351 w 4016827"/>
                <a:gd name="connsiteY1041" fmla="*/ 4037855 h 7216489"/>
                <a:gd name="connsiteX1042" fmla="*/ 1721900 w 4016827"/>
                <a:gd name="connsiteY1042" fmla="*/ 4031142 h 7216489"/>
                <a:gd name="connsiteX1043" fmla="*/ 1755465 w 4016827"/>
                <a:gd name="connsiteY1043" fmla="*/ 4064707 h 7216489"/>
                <a:gd name="connsiteX1044" fmla="*/ 1721900 w 4016827"/>
                <a:gd name="connsiteY1044" fmla="*/ 4098272 h 7216489"/>
                <a:gd name="connsiteX1045" fmla="*/ 1688335 w 4016827"/>
                <a:gd name="connsiteY1045" fmla="*/ 4064707 h 7216489"/>
                <a:gd name="connsiteX1046" fmla="*/ 1721900 w 4016827"/>
                <a:gd name="connsiteY1046" fmla="*/ 4031142 h 7216489"/>
                <a:gd name="connsiteX1047" fmla="*/ 2252232 w 4016827"/>
                <a:gd name="connsiteY1047" fmla="*/ 4021072 h 7216489"/>
                <a:gd name="connsiteX1048" fmla="*/ 2265658 w 4016827"/>
                <a:gd name="connsiteY1048" fmla="*/ 4034498 h 7216489"/>
                <a:gd name="connsiteX1049" fmla="*/ 2252232 w 4016827"/>
                <a:gd name="connsiteY1049" fmla="*/ 4047924 h 7216489"/>
                <a:gd name="connsiteX1050" fmla="*/ 2238806 w 4016827"/>
                <a:gd name="connsiteY1050" fmla="*/ 4034498 h 7216489"/>
                <a:gd name="connsiteX1051" fmla="*/ 2252232 w 4016827"/>
                <a:gd name="connsiteY1051" fmla="*/ 4021072 h 7216489"/>
                <a:gd name="connsiteX1052" fmla="*/ 3170662 w 4016827"/>
                <a:gd name="connsiteY1052" fmla="*/ 4006807 h 7216489"/>
                <a:gd name="connsiteX1053" fmla="*/ 3171920 w 4016827"/>
                <a:gd name="connsiteY1053" fmla="*/ 4007646 h 7216489"/>
                <a:gd name="connsiteX1054" fmla="*/ 3171920 w 4016827"/>
                <a:gd name="connsiteY1054" fmla="*/ 4011003 h 7216489"/>
                <a:gd name="connsiteX1055" fmla="*/ 3170662 w 4016827"/>
                <a:gd name="connsiteY1055" fmla="*/ 4006807 h 7216489"/>
                <a:gd name="connsiteX1056" fmla="*/ 419566 w 4016827"/>
                <a:gd name="connsiteY1056" fmla="*/ 3980794 h 7216489"/>
                <a:gd name="connsiteX1057" fmla="*/ 456488 w 4016827"/>
                <a:gd name="connsiteY1057" fmla="*/ 4017716 h 7216489"/>
                <a:gd name="connsiteX1058" fmla="*/ 419566 w 4016827"/>
                <a:gd name="connsiteY1058" fmla="*/ 4054637 h 7216489"/>
                <a:gd name="connsiteX1059" fmla="*/ 382644 w 4016827"/>
                <a:gd name="connsiteY1059" fmla="*/ 4017716 h 7216489"/>
                <a:gd name="connsiteX1060" fmla="*/ 419566 w 4016827"/>
                <a:gd name="connsiteY1060" fmla="*/ 3980794 h 7216489"/>
                <a:gd name="connsiteX1061" fmla="*/ 912976 w 4016827"/>
                <a:gd name="connsiteY1061" fmla="*/ 3974081 h 7216489"/>
                <a:gd name="connsiteX1062" fmla="*/ 946541 w 4016827"/>
                <a:gd name="connsiteY1062" fmla="*/ 4007646 h 7216489"/>
                <a:gd name="connsiteX1063" fmla="*/ 912976 w 4016827"/>
                <a:gd name="connsiteY1063" fmla="*/ 4041211 h 7216489"/>
                <a:gd name="connsiteX1064" fmla="*/ 879410 w 4016827"/>
                <a:gd name="connsiteY1064" fmla="*/ 4007646 h 7216489"/>
                <a:gd name="connsiteX1065" fmla="*/ 912976 w 4016827"/>
                <a:gd name="connsiteY1065" fmla="*/ 3974081 h 7216489"/>
                <a:gd name="connsiteX1066" fmla="*/ 2802702 w 4016827"/>
                <a:gd name="connsiteY1066" fmla="*/ 3970724 h 7216489"/>
                <a:gd name="connsiteX1067" fmla="*/ 2812772 w 4016827"/>
                <a:gd name="connsiteY1067" fmla="*/ 3980794 h 7216489"/>
                <a:gd name="connsiteX1068" fmla="*/ 2802702 w 4016827"/>
                <a:gd name="connsiteY1068" fmla="*/ 3990863 h 7216489"/>
                <a:gd name="connsiteX1069" fmla="*/ 2792633 w 4016827"/>
                <a:gd name="connsiteY1069" fmla="*/ 3980794 h 7216489"/>
                <a:gd name="connsiteX1070" fmla="*/ 2802702 w 4016827"/>
                <a:gd name="connsiteY1070" fmla="*/ 3970724 h 7216489"/>
                <a:gd name="connsiteX1071" fmla="*/ 1413099 w 4016827"/>
                <a:gd name="connsiteY1071" fmla="*/ 3953941 h 7216489"/>
                <a:gd name="connsiteX1072" fmla="*/ 1450020 w 4016827"/>
                <a:gd name="connsiteY1072" fmla="*/ 3990863 h 7216489"/>
                <a:gd name="connsiteX1073" fmla="*/ 1413099 w 4016827"/>
                <a:gd name="connsiteY1073" fmla="*/ 4027785 h 7216489"/>
                <a:gd name="connsiteX1074" fmla="*/ 1376178 w 4016827"/>
                <a:gd name="connsiteY1074" fmla="*/ 3990863 h 7216489"/>
                <a:gd name="connsiteX1075" fmla="*/ 1413099 w 4016827"/>
                <a:gd name="connsiteY1075" fmla="*/ 3953941 h 7216489"/>
                <a:gd name="connsiteX1076" fmla="*/ 1926649 w 4016827"/>
                <a:gd name="connsiteY1076" fmla="*/ 3947228 h 7216489"/>
                <a:gd name="connsiteX1077" fmla="*/ 1946788 w 4016827"/>
                <a:gd name="connsiteY1077" fmla="*/ 3967368 h 7216489"/>
                <a:gd name="connsiteX1078" fmla="*/ 1926649 w 4016827"/>
                <a:gd name="connsiteY1078" fmla="*/ 3987507 h 7216489"/>
                <a:gd name="connsiteX1079" fmla="*/ 1906510 w 4016827"/>
                <a:gd name="connsiteY1079" fmla="*/ 3967368 h 7216489"/>
                <a:gd name="connsiteX1080" fmla="*/ 1926649 w 4016827"/>
                <a:gd name="connsiteY1080" fmla="*/ 3947228 h 7216489"/>
                <a:gd name="connsiteX1081" fmla="*/ 2460337 w 4016827"/>
                <a:gd name="connsiteY1081" fmla="*/ 3927089 h 7216489"/>
                <a:gd name="connsiteX1082" fmla="*/ 2467050 w 4016827"/>
                <a:gd name="connsiteY1082" fmla="*/ 3933802 h 7216489"/>
                <a:gd name="connsiteX1083" fmla="*/ 2460337 w 4016827"/>
                <a:gd name="connsiteY1083" fmla="*/ 3940515 h 7216489"/>
                <a:gd name="connsiteX1084" fmla="*/ 2453624 w 4016827"/>
                <a:gd name="connsiteY1084" fmla="*/ 3933802 h 7216489"/>
                <a:gd name="connsiteX1085" fmla="*/ 2460337 w 4016827"/>
                <a:gd name="connsiteY1085" fmla="*/ 3927089 h 7216489"/>
                <a:gd name="connsiteX1086" fmla="*/ 137618 w 4016827"/>
                <a:gd name="connsiteY1086" fmla="*/ 3927089 h 7216489"/>
                <a:gd name="connsiteX1087" fmla="*/ 137618 w 4016827"/>
                <a:gd name="connsiteY1087" fmla="*/ 3930446 h 7216489"/>
                <a:gd name="connsiteX1088" fmla="*/ 137618 w 4016827"/>
                <a:gd name="connsiteY1088" fmla="*/ 3929187 h 7216489"/>
                <a:gd name="connsiteX1089" fmla="*/ 624315 w 4016827"/>
                <a:gd name="connsiteY1089" fmla="*/ 3890167 h 7216489"/>
                <a:gd name="connsiteX1090" fmla="*/ 654524 w 4016827"/>
                <a:gd name="connsiteY1090" fmla="*/ 3920376 h 7216489"/>
                <a:gd name="connsiteX1091" fmla="*/ 624315 w 4016827"/>
                <a:gd name="connsiteY1091" fmla="*/ 3950585 h 7216489"/>
                <a:gd name="connsiteX1092" fmla="*/ 594106 w 4016827"/>
                <a:gd name="connsiteY1092" fmla="*/ 3920376 h 7216489"/>
                <a:gd name="connsiteX1093" fmla="*/ 624315 w 4016827"/>
                <a:gd name="connsiteY1093" fmla="*/ 3890167 h 7216489"/>
                <a:gd name="connsiteX1094" fmla="*/ 1114368 w 4016827"/>
                <a:gd name="connsiteY1094" fmla="*/ 3873385 h 7216489"/>
                <a:gd name="connsiteX1095" fmla="*/ 1147933 w 4016827"/>
                <a:gd name="connsiteY1095" fmla="*/ 3906950 h 7216489"/>
                <a:gd name="connsiteX1096" fmla="*/ 1114368 w 4016827"/>
                <a:gd name="connsiteY1096" fmla="*/ 3940515 h 7216489"/>
                <a:gd name="connsiteX1097" fmla="*/ 1080803 w 4016827"/>
                <a:gd name="connsiteY1097" fmla="*/ 3906950 h 7216489"/>
                <a:gd name="connsiteX1098" fmla="*/ 1114368 w 4016827"/>
                <a:gd name="connsiteY1098" fmla="*/ 3873385 h 7216489"/>
                <a:gd name="connsiteX1099" fmla="*/ 3017521 w 4016827"/>
                <a:gd name="connsiteY1099" fmla="*/ 3866671 h 7216489"/>
                <a:gd name="connsiteX1100" fmla="*/ 3024234 w 4016827"/>
                <a:gd name="connsiteY1100" fmla="*/ 3873385 h 7216489"/>
                <a:gd name="connsiteX1101" fmla="*/ 3017521 w 4016827"/>
                <a:gd name="connsiteY1101" fmla="*/ 3880098 h 7216489"/>
                <a:gd name="connsiteX1102" fmla="*/ 3010808 w 4016827"/>
                <a:gd name="connsiteY1102" fmla="*/ 3873385 h 7216489"/>
                <a:gd name="connsiteX1103" fmla="*/ 3017521 w 4016827"/>
                <a:gd name="connsiteY1103" fmla="*/ 3866671 h 7216489"/>
                <a:gd name="connsiteX1104" fmla="*/ 1617847 w 4016827"/>
                <a:gd name="connsiteY1104" fmla="*/ 3859958 h 7216489"/>
                <a:gd name="connsiteX1105" fmla="*/ 1651413 w 4016827"/>
                <a:gd name="connsiteY1105" fmla="*/ 3893524 h 7216489"/>
                <a:gd name="connsiteX1106" fmla="*/ 1617847 w 4016827"/>
                <a:gd name="connsiteY1106" fmla="*/ 3927089 h 7216489"/>
                <a:gd name="connsiteX1107" fmla="*/ 1584282 w 4016827"/>
                <a:gd name="connsiteY1107" fmla="*/ 3893524 h 7216489"/>
                <a:gd name="connsiteX1108" fmla="*/ 1617847 w 4016827"/>
                <a:gd name="connsiteY1108" fmla="*/ 3859958 h 7216489"/>
                <a:gd name="connsiteX1109" fmla="*/ 2131396 w 4016827"/>
                <a:gd name="connsiteY1109" fmla="*/ 3853245 h 7216489"/>
                <a:gd name="connsiteX1110" fmla="*/ 2144822 w 4016827"/>
                <a:gd name="connsiteY1110" fmla="*/ 3866671 h 7216489"/>
                <a:gd name="connsiteX1111" fmla="*/ 2131396 w 4016827"/>
                <a:gd name="connsiteY1111" fmla="*/ 3880098 h 7216489"/>
                <a:gd name="connsiteX1112" fmla="*/ 2117970 w 4016827"/>
                <a:gd name="connsiteY1112" fmla="*/ 3866671 h 7216489"/>
                <a:gd name="connsiteX1113" fmla="*/ 2131396 w 4016827"/>
                <a:gd name="connsiteY1113" fmla="*/ 3853245 h 7216489"/>
                <a:gd name="connsiteX1114" fmla="*/ 2668441 w 4016827"/>
                <a:gd name="connsiteY1114" fmla="*/ 3823036 h 7216489"/>
                <a:gd name="connsiteX1115" fmla="*/ 2675154 w 4016827"/>
                <a:gd name="connsiteY1115" fmla="*/ 3829750 h 7216489"/>
                <a:gd name="connsiteX1116" fmla="*/ 2668441 w 4016827"/>
                <a:gd name="connsiteY1116" fmla="*/ 3836463 h 7216489"/>
                <a:gd name="connsiteX1117" fmla="*/ 2661728 w 4016827"/>
                <a:gd name="connsiteY1117" fmla="*/ 3829750 h 7216489"/>
                <a:gd name="connsiteX1118" fmla="*/ 2668441 w 4016827"/>
                <a:gd name="connsiteY1118" fmla="*/ 3823036 h 7216489"/>
                <a:gd name="connsiteX1119" fmla="*/ 342366 w 4016827"/>
                <a:gd name="connsiteY1119" fmla="*/ 3792828 h 7216489"/>
                <a:gd name="connsiteX1120" fmla="*/ 379288 w 4016827"/>
                <a:gd name="connsiteY1120" fmla="*/ 3829750 h 7216489"/>
                <a:gd name="connsiteX1121" fmla="*/ 342366 w 4016827"/>
                <a:gd name="connsiteY1121" fmla="*/ 3866671 h 7216489"/>
                <a:gd name="connsiteX1122" fmla="*/ 305444 w 4016827"/>
                <a:gd name="connsiteY1122" fmla="*/ 3829750 h 7216489"/>
                <a:gd name="connsiteX1123" fmla="*/ 342366 w 4016827"/>
                <a:gd name="connsiteY1123" fmla="*/ 3792828 h 7216489"/>
                <a:gd name="connsiteX1124" fmla="*/ 829063 w 4016827"/>
                <a:gd name="connsiteY1124" fmla="*/ 3789471 h 7216489"/>
                <a:gd name="connsiteX1125" fmla="*/ 859272 w 4016827"/>
                <a:gd name="connsiteY1125" fmla="*/ 3819680 h 7216489"/>
                <a:gd name="connsiteX1126" fmla="*/ 829063 w 4016827"/>
                <a:gd name="connsiteY1126" fmla="*/ 3849889 h 7216489"/>
                <a:gd name="connsiteX1127" fmla="*/ 798855 w 4016827"/>
                <a:gd name="connsiteY1127" fmla="*/ 3819680 h 7216489"/>
                <a:gd name="connsiteX1128" fmla="*/ 829063 w 4016827"/>
                <a:gd name="connsiteY1128" fmla="*/ 3789471 h 7216489"/>
                <a:gd name="connsiteX1129" fmla="*/ 1822596 w 4016827"/>
                <a:gd name="connsiteY1129" fmla="*/ 3776045 h 7216489"/>
                <a:gd name="connsiteX1130" fmla="*/ 1839379 w 4016827"/>
                <a:gd name="connsiteY1130" fmla="*/ 3792828 h 7216489"/>
                <a:gd name="connsiteX1131" fmla="*/ 1822596 w 4016827"/>
                <a:gd name="connsiteY1131" fmla="*/ 3809610 h 7216489"/>
                <a:gd name="connsiteX1132" fmla="*/ 1805813 w 4016827"/>
                <a:gd name="connsiteY1132" fmla="*/ 3792828 h 7216489"/>
                <a:gd name="connsiteX1133" fmla="*/ 1822596 w 4016827"/>
                <a:gd name="connsiteY1133" fmla="*/ 3776045 h 7216489"/>
                <a:gd name="connsiteX1134" fmla="*/ 1319117 w 4016827"/>
                <a:gd name="connsiteY1134" fmla="*/ 3769333 h 7216489"/>
                <a:gd name="connsiteX1135" fmla="*/ 1359395 w 4016827"/>
                <a:gd name="connsiteY1135" fmla="*/ 3809611 h 7216489"/>
                <a:gd name="connsiteX1136" fmla="*/ 1319117 w 4016827"/>
                <a:gd name="connsiteY1136" fmla="*/ 3849890 h 7216489"/>
                <a:gd name="connsiteX1137" fmla="*/ 1278838 w 4016827"/>
                <a:gd name="connsiteY1137" fmla="*/ 3809611 h 7216489"/>
                <a:gd name="connsiteX1138" fmla="*/ 1319117 w 4016827"/>
                <a:gd name="connsiteY1138" fmla="*/ 3769333 h 7216489"/>
                <a:gd name="connsiteX1139" fmla="*/ 2339502 w 4016827"/>
                <a:gd name="connsiteY1139" fmla="*/ 3755906 h 7216489"/>
                <a:gd name="connsiteX1140" fmla="*/ 2349571 w 4016827"/>
                <a:gd name="connsiteY1140" fmla="*/ 3765975 h 7216489"/>
                <a:gd name="connsiteX1141" fmla="*/ 2339502 w 4016827"/>
                <a:gd name="connsiteY1141" fmla="*/ 3776045 h 7216489"/>
                <a:gd name="connsiteX1142" fmla="*/ 2329432 w 4016827"/>
                <a:gd name="connsiteY1142" fmla="*/ 3765975 h 7216489"/>
                <a:gd name="connsiteX1143" fmla="*/ 2339502 w 4016827"/>
                <a:gd name="connsiteY1143" fmla="*/ 3755906 h 7216489"/>
                <a:gd name="connsiteX1144" fmla="*/ 70487 w 4016827"/>
                <a:gd name="connsiteY1144" fmla="*/ 3732410 h 7216489"/>
                <a:gd name="connsiteX1145" fmla="*/ 73844 w 4016827"/>
                <a:gd name="connsiteY1145" fmla="*/ 3735767 h 7216489"/>
                <a:gd name="connsiteX1146" fmla="*/ 70487 w 4016827"/>
                <a:gd name="connsiteY1146" fmla="*/ 3739123 h 7216489"/>
                <a:gd name="connsiteX1147" fmla="*/ 67131 w 4016827"/>
                <a:gd name="connsiteY1147" fmla="*/ 3735767 h 7216489"/>
                <a:gd name="connsiteX1148" fmla="*/ 70487 w 4016827"/>
                <a:gd name="connsiteY1148" fmla="*/ 3732410 h 7216489"/>
                <a:gd name="connsiteX1149" fmla="*/ 2876546 w 4016827"/>
                <a:gd name="connsiteY1149" fmla="*/ 3718985 h 7216489"/>
                <a:gd name="connsiteX1150" fmla="*/ 2883260 w 4016827"/>
                <a:gd name="connsiteY1150" fmla="*/ 3725698 h 7216489"/>
                <a:gd name="connsiteX1151" fmla="*/ 2876546 w 4016827"/>
                <a:gd name="connsiteY1151" fmla="*/ 3732411 h 7216489"/>
                <a:gd name="connsiteX1152" fmla="*/ 2869833 w 4016827"/>
                <a:gd name="connsiteY1152" fmla="*/ 3725698 h 7216489"/>
                <a:gd name="connsiteX1153" fmla="*/ 2876546 w 4016827"/>
                <a:gd name="connsiteY1153" fmla="*/ 3718985 h 7216489"/>
                <a:gd name="connsiteX1154" fmla="*/ 550471 w 4016827"/>
                <a:gd name="connsiteY1154" fmla="*/ 3698845 h 7216489"/>
                <a:gd name="connsiteX1155" fmla="*/ 580680 w 4016827"/>
                <a:gd name="connsiteY1155" fmla="*/ 3729053 h 7216489"/>
                <a:gd name="connsiteX1156" fmla="*/ 550471 w 4016827"/>
                <a:gd name="connsiteY1156" fmla="*/ 3759262 h 7216489"/>
                <a:gd name="connsiteX1157" fmla="*/ 520262 w 4016827"/>
                <a:gd name="connsiteY1157" fmla="*/ 3729053 h 7216489"/>
                <a:gd name="connsiteX1158" fmla="*/ 550471 w 4016827"/>
                <a:gd name="connsiteY1158" fmla="*/ 3698845 h 7216489"/>
                <a:gd name="connsiteX1159" fmla="*/ 1033811 w 4016827"/>
                <a:gd name="connsiteY1159" fmla="*/ 3685420 h 7216489"/>
                <a:gd name="connsiteX1160" fmla="*/ 1070733 w 4016827"/>
                <a:gd name="connsiteY1160" fmla="*/ 3722341 h 7216489"/>
                <a:gd name="connsiteX1161" fmla="*/ 1033811 w 4016827"/>
                <a:gd name="connsiteY1161" fmla="*/ 3759263 h 7216489"/>
                <a:gd name="connsiteX1162" fmla="*/ 996889 w 4016827"/>
                <a:gd name="connsiteY1162" fmla="*/ 3722341 h 7216489"/>
                <a:gd name="connsiteX1163" fmla="*/ 1033811 w 4016827"/>
                <a:gd name="connsiteY1163" fmla="*/ 3685420 h 7216489"/>
                <a:gd name="connsiteX1164" fmla="*/ 2027345 w 4016827"/>
                <a:gd name="connsiteY1164" fmla="*/ 3678707 h 7216489"/>
                <a:gd name="connsiteX1165" fmla="*/ 2044128 w 4016827"/>
                <a:gd name="connsiteY1165" fmla="*/ 3695489 h 7216489"/>
                <a:gd name="connsiteX1166" fmla="*/ 2027345 w 4016827"/>
                <a:gd name="connsiteY1166" fmla="*/ 3712272 h 7216489"/>
                <a:gd name="connsiteX1167" fmla="*/ 2010562 w 4016827"/>
                <a:gd name="connsiteY1167" fmla="*/ 3695489 h 7216489"/>
                <a:gd name="connsiteX1168" fmla="*/ 2027345 w 4016827"/>
                <a:gd name="connsiteY1168" fmla="*/ 3678707 h 7216489"/>
                <a:gd name="connsiteX1169" fmla="*/ 1523864 w 4016827"/>
                <a:gd name="connsiteY1169" fmla="*/ 3678707 h 7216489"/>
                <a:gd name="connsiteX1170" fmla="*/ 1554073 w 4016827"/>
                <a:gd name="connsiteY1170" fmla="*/ 3708915 h 7216489"/>
                <a:gd name="connsiteX1171" fmla="*/ 1523864 w 4016827"/>
                <a:gd name="connsiteY1171" fmla="*/ 3739124 h 7216489"/>
                <a:gd name="connsiteX1172" fmla="*/ 1493656 w 4016827"/>
                <a:gd name="connsiteY1172" fmla="*/ 3708915 h 7216489"/>
                <a:gd name="connsiteX1173" fmla="*/ 1523864 w 4016827"/>
                <a:gd name="connsiteY1173" fmla="*/ 3678707 h 7216489"/>
                <a:gd name="connsiteX1174" fmla="*/ 2544250 w 4016827"/>
                <a:gd name="connsiteY1174" fmla="*/ 3661924 h 7216489"/>
                <a:gd name="connsiteX1175" fmla="*/ 2550963 w 4016827"/>
                <a:gd name="connsiteY1175" fmla="*/ 3668637 h 7216489"/>
                <a:gd name="connsiteX1176" fmla="*/ 2544250 w 4016827"/>
                <a:gd name="connsiteY1176" fmla="*/ 3675350 h 7216489"/>
                <a:gd name="connsiteX1177" fmla="*/ 2537537 w 4016827"/>
                <a:gd name="connsiteY1177" fmla="*/ 3668637 h 7216489"/>
                <a:gd name="connsiteX1178" fmla="*/ 2544250 w 4016827"/>
                <a:gd name="connsiteY1178" fmla="*/ 3661924 h 7216489"/>
                <a:gd name="connsiteX1179" fmla="*/ 755220 w 4016827"/>
                <a:gd name="connsiteY1179" fmla="*/ 3601509 h 7216489"/>
                <a:gd name="connsiteX1180" fmla="*/ 785428 w 4016827"/>
                <a:gd name="connsiteY1180" fmla="*/ 3631715 h 7216489"/>
                <a:gd name="connsiteX1181" fmla="*/ 755220 w 4016827"/>
                <a:gd name="connsiteY1181" fmla="*/ 3661924 h 7216489"/>
                <a:gd name="connsiteX1182" fmla="*/ 725011 w 4016827"/>
                <a:gd name="connsiteY1182" fmla="*/ 3631715 h 7216489"/>
                <a:gd name="connsiteX1183" fmla="*/ 755220 w 4016827"/>
                <a:gd name="connsiteY1183" fmla="*/ 3601509 h 7216489"/>
                <a:gd name="connsiteX1184" fmla="*/ 275236 w 4016827"/>
                <a:gd name="connsiteY1184" fmla="*/ 3601509 h 7216489"/>
                <a:gd name="connsiteX1185" fmla="*/ 312158 w 4016827"/>
                <a:gd name="connsiteY1185" fmla="*/ 3638428 h 7216489"/>
                <a:gd name="connsiteX1186" fmla="*/ 275236 w 4016827"/>
                <a:gd name="connsiteY1186" fmla="*/ 3675350 h 7216489"/>
                <a:gd name="connsiteX1187" fmla="*/ 238314 w 4016827"/>
                <a:gd name="connsiteY1187" fmla="*/ 3638428 h 7216489"/>
                <a:gd name="connsiteX1188" fmla="*/ 275236 w 4016827"/>
                <a:gd name="connsiteY1188" fmla="*/ 3601509 h 7216489"/>
                <a:gd name="connsiteX1189" fmla="*/ 2228736 w 4016827"/>
                <a:gd name="connsiteY1189" fmla="*/ 3591438 h 7216489"/>
                <a:gd name="connsiteX1190" fmla="*/ 2235449 w 4016827"/>
                <a:gd name="connsiteY1190" fmla="*/ 3598153 h 7216489"/>
                <a:gd name="connsiteX1191" fmla="*/ 2228736 w 4016827"/>
                <a:gd name="connsiteY1191" fmla="*/ 3604864 h 7216489"/>
                <a:gd name="connsiteX1192" fmla="*/ 2222023 w 4016827"/>
                <a:gd name="connsiteY1192" fmla="*/ 3598153 h 7216489"/>
                <a:gd name="connsiteX1193" fmla="*/ 2228736 w 4016827"/>
                <a:gd name="connsiteY1193" fmla="*/ 3591438 h 7216489"/>
                <a:gd name="connsiteX1194" fmla="*/ 1728613 w 4016827"/>
                <a:gd name="connsiteY1194" fmla="*/ 3591438 h 7216489"/>
                <a:gd name="connsiteX1195" fmla="*/ 1748752 w 4016827"/>
                <a:gd name="connsiteY1195" fmla="*/ 3611580 h 7216489"/>
                <a:gd name="connsiteX1196" fmla="*/ 1728613 w 4016827"/>
                <a:gd name="connsiteY1196" fmla="*/ 3631715 h 7216489"/>
                <a:gd name="connsiteX1197" fmla="*/ 1708474 w 4016827"/>
                <a:gd name="connsiteY1197" fmla="*/ 3611580 h 7216489"/>
                <a:gd name="connsiteX1198" fmla="*/ 1728613 w 4016827"/>
                <a:gd name="connsiteY1198" fmla="*/ 3591438 h 7216489"/>
                <a:gd name="connsiteX1199" fmla="*/ 1235203 w 4016827"/>
                <a:gd name="connsiteY1199" fmla="*/ 3584726 h 7216489"/>
                <a:gd name="connsiteX1200" fmla="*/ 1275482 w 4016827"/>
                <a:gd name="connsiteY1200" fmla="*/ 3625002 h 7216489"/>
                <a:gd name="connsiteX1201" fmla="*/ 1235203 w 4016827"/>
                <a:gd name="connsiteY1201" fmla="*/ 3665281 h 7216489"/>
                <a:gd name="connsiteX1202" fmla="*/ 1194925 w 4016827"/>
                <a:gd name="connsiteY1202" fmla="*/ 3625002 h 7216489"/>
                <a:gd name="connsiteX1203" fmla="*/ 1235203 w 4016827"/>
                <a:gd name="connsiteY1203" fmla="*/ 3584726 h 7216489"/>
                <a:gd name="connsiteX1204" fmla="*/ 2749837 w 4016827"/>
                <a:gd name="connsiteY1204" fmla="*/ 3567103 h 7216489"/>
                <a:gd name="connsiteX1205" fmla="*/ 2752354 w 4016827"/>
                <a:gd name="connsiteY1205" fmla="*/ 3567943 h 7216489"/>
                <a:gd name="connsiteX1206" fmla="*/ 2752354 w 4016827"/>
                <a:gd name="connsiteY1206" fmla="*/ 3570041 h 7216489"/>
                <a:gd name="connsiteX1207" fmla="*/ 2752354 w 4016827"/>
                <a:gd name="connsiteY1207" fmla="*/ 3571299 h 7216489"/>
                <a:gd name="connsiteX1208" fmla="*/ 2749837 w 4016827"/>
                <a:gd name="connsiteY1208" fmla="*/ 3567103 h 7216489"/>
                <a:gd name="connsiteX1209" fmla="*/ 10070 w 4016827"/>
                <a:gd name="connsiteY1209" fmla="*/ 3531021 h 7216489"/>
                <a:gd name="connsiteX1210" fmla="*/ 20139 w 4016827"/>
                <a:gd name="connsiteY1210" fmla="*/ 3541090 h 7216489"/>
                <a:gd name="connsiteX1211" fmla="*/ 10070 w 4016827"/>
                <a:gd name="connsiteY1211" fmla="*/ 3551160 h 7216489"/>
                <a:gd name="connsiteX1212" fmla="*/ 0 w 4016827"/>
                <a:gd name="connsiteY1212" fmla="*/ 3541090 h 7216489"/>
                <a:gd name="connsiteX1213" fmla="*/ 10070 w 4016827"/>
                <a:gd name="connsiteY1213" fmla="*/ 3531021 h 7216489"/>
                <a:gd name="connsiteX1214" fmla="*/ 483340 w 4016827"/>
                <a:gd name="connsiteY1214" fmla="*/ 3510884 h 7216489"/>
                <a:gd name="connsiteX1215" fmla="*/ 510192 w 4016827"/>
                <a:gd name="connsiteY1215" fmla="*/ 3537734 h 7216489"/>
                <a:gd name="connsiteX1216" fmla="*/ 483340 w 4016827"/>
                <a:gd name="connsiteY1216" fmla="*/ 3564584 h 7216489"/>
                <a:gd name="connsiteX1217" fmla="*/ 456488 w 4016827"/>
                <a:gd name="connsiteY1217" fmla="*/ 3537734 h 7216489"/>
                <a:gd name="connsiteX1218" fmla="*/ 483340 w 4016827"/>
                <a:gd name="connsiteY1218" fmla="*/ 3510884 h 7216489"/>
                <a:gd name="connsiteX1219" fmla="*/ 1930005 w 4016827"/>
                <a:gd name="connsiteY1219" fmla="*/ 3504169 h 7216489"/>
                <a:gd name="connsiteX1220" fmla="*/ 1940075 w 4016827"/>
                <a:gd name="connsiteY1220" fmla="*/ 3514242 h 7216489"/>
                <a:gd name="connsiteX1221" fmla="*/ 1930005 w 4016827"/>
                <a:gd name="connsiteY1221" fmla="*/ 3524310 h 7216489"/>
                <a:gd name="connsiteX1222" fmla="*/ 1919936 w 4016827"/>
                <a:gd name="connsiteY1222" fmla="*/ 3514242 h 7216489"/>
                <a:gd name="connsiteX1223" fmla="*/ 1930005 w 4016827"/>
                <a:gd name="connsiteY1223" fmla="*/ 3504169 h 7216489"/>
                <a:gd name="connsiteX1224" fmla="*/ 1439952 w 4016827"/>
                <a:gd name="connsiteY1224" fmla="*/ 3504169 h 7216489"/>
                <a:gd name="connsiteX1225" fmla="*/ 1463448 w 4016827"/>
                <a:gd name="connsiteY1225" fmla="*/ 3527666 h 7216489"/>
                <a:gd name="connsiteX1226" fmla="*/ 1439952 w 4016827"/>
                <a:gd name="connsiteY1226" fmla="*/ 3551160 h 7216489"/>
                <a:gd name="connsiteX1227" fmla="*/ 1416456 w 4016827"/>
                <a:gd name="connsiteY1227" fmla="*/ 3527666 h 7216489"/>
                <a:gd name="connsiteX1228" fmla="*/ 1439952 w 4016827"/>
                <a:gd name="connsiteY1228" fmla="*/ 3504169 h 7216489"/>
                <a:gd name="connsiteX1229" fmla="*/ 959967 w 4016827"/>
                <a:gd name="connsiteY1229" fmla="*/ 3500813 h 7216489"/>
                <a:gd name="connsiteX1230" fmla="*/ 990176 w 4016827"/>
                <a:gd name="connsiteY1230" fmla="*/ 3531021 h 7216489"/>
                <a:gd name="connsiteX1231" fmla="*/ 959967 w 4016827"/>
                <a:gd name="connsiteY1231" fmla="*/ 3561228 h 7216489"/>
                <a:gd name="connsiteX1232" fmla="*/ 929758 w 4016827"/>
                <a:gd name="connsiteY1232" fmla="*/ 3531021 h 7216489"/>
                <a:gd name="connsiteX1233" fmla="*/ 959967 w 4016827"/>
                <a:gd name="connsiteY1233" fmla="*/ 3500813 h 7216489"/>
                <a:gd name="connsiteX1234" fmla="*/ 2433484 w 4016827"/>
                <a:gd name="connsiteY1234" fmla="*/ 3487389 h 7216489"/>
                <a:gd name="connsiteX1235" fmla="*/ 2443554 w 4016827"/>
                <a:gd name="connsiteY1235" fmla="*/ 3497458 h 7216489"/>
                <a:gd name="connsiteX1236" fmla="*/ 2433484 w 4016827"/>
                <a:gd name="connsiteY1236" fmla="*/ 3507528 h 7216489"/>
                <a:gd name="connsiteX1237" fmla="*/ 2423415 w 4016827"/>
                <a:gd name="connsiteY1237" fmla="*/ 3497458 h 7216489"/>
                <a:gd name="connsiteX1238" fmla="*/ 2433484 w 4016827"/>
                <a:gd name="connsiteY1238" fmla="*/ 3487389 h 7216489"/>
                <a:gd name="connsiteX1239" fmla="*/ 218175 w 4016827"/>
                <a:gd name="connsiteY1239" fmla="*/ 3430330 h 7216489"/>
                <a:gd name="connsiteX1240" fmla="*/ 228244 w 4016827"/>
                <a:gd name="connsiteY1240" fmla="*/ 3440398 h 7216489"/>
                <a:gd name="connsiteX1241" fmla="*/ 218175 w 4016827"/>
                <a:gd name="connsiteY1241" fmla="*/ 3450468 h 7216489"/>
                <a:gd name="connsiteX1242" fmla="*/ 208105 w 4016827"/>
                <a:gd name="connsiteY1242" fmla="*/ 3440398 h 7216489"/>
                <a:gd name="connsiteX1243" fmla="*/ 218175 w 4016827"/>
                <a:gd name="connsiteY1243" fmla="*/ 3430330 h 7216489"/>
                <a:gd name="connsiteX1244" fmla="*/ 2134753 w 4016827"/>
                <a:gd name="connsiteY1244" fmla="*/ 3410193 h 7216489"/>
                <a:gd name="connsiteX1245" fmla="*/ 2141466 w 4016827"/>
                <a:gd name="connsiteY1245" fmla="*/ 3416903 h 7216489"/>
                <a:gd name="connsiteX1246" fmla="*/ 2134753 w 4016827"/>
                <a:gd name="connsiteY1246" fmla="*/ 3423617 h 7216489"/>
                <a:gd name="connsiteX1247" fmla="*/ 2128040 w 4016827"/>
                <a:gd name="connsiteY1247" fmla="*/ 3416903 h 7216489"/>
                <a:gd name="connsiteX1248" fmla="*/ 2134753 w 4016827"/>
                <a:gd name="connsiteY1248" fmla="*/ 3410193 h 7216489"/>
                <a:gd name="connsiteX1249" fmla="*/ 1644700 w 4016827"/>
                <a:gd name="connsiteY1249" fmla="*/ 3406837 h 7216489"/>
                <a:gd name="connsiteX1250" fmla="*/ 1664839 w 4016827"/>
                <a:gd name="connsiteY1250" fmla="*/ 3426974 h 7216489"/>
                <a:gd name="connsiteX1251" fmla="*/ 1644700 w 4016827"/>
                <a:gd name="connsiteY1251" fmla="*/ 3447112 h 7216489"/>
                <a:gd name="connsiteX1252" fmla="*/ 1624560 w 4016827"/>
                <a:gd name="connsiteY1252" fmla="*/ 3426974 h 7216489"/>
                <a:gd name="connsiteX1253" fmla="*/ 1644700 w 4016827"/>
                <a:gd name="connsiteY1253" fmla="*/ 3406837 h 7216489"/>
                <a:gd name="connsiteX1254" fmla="*/ 688089 w 4016827"/>
                <a:gd name="connsiteY1254" fmla="*/ 3406837 h 7216489"/>
                <a:gd name="connsiteX1255" fmla="*/ 718298 w 4016827"/>
                <a:gd name="connsiteY1255" fmla="*/ 3437045 h 7216489"/>
                <a:gd name="connsiteX1256" fmla="*/ 688089 w 4016827"/>
                <a:gd name="connsiteY1256" fmla="*/ 3467249 h 7216489"/>
                <a:gd name="connsiteX1257" fmla="*/ 657880 w 4016827"/>
                <a:gd name="connsiteY1257" fmla="*/ 3437045 h 7216489"/>
                <a:gd name="connsiteX1258" fmla="*/ 688089 w 4016827"/>
                <a:gd name="connsiteY1258" fmla="*/ 3406837 h 7216489"/>
                <a:gd name="connsiteX1259" fmla="*/ 1164716 w 4016827"/>
                <a:gd name="connsiteY1259" fmla="*/ 3400123 h 7216489"/>
                <a:gd name="connsiteX1260" fmla="*/ 1198281 w 4016827"/>
                <a:gd name="connsiteY1260" fmla="*/ 3433688 h 7216489"/>
                <a:gd name="connsiteX1261" fmla="*/ 1164716 w 4016827"/>
                <a:gd name="connsiteY1261" fmla="*/ 3467249 h 7216489"/>
                <a:gd name="connsiteX1262" fmla="*/ 1131151 w 4016827"/>
                <a:gd name="connsiteY1262" fmla="*/ 3433688 h 7216489"/>
                <a:gd name="connsiteX1263" fmla="*/ 1164716 w 4016827"/>
                <a:gd name="connsiteY1263" fmla="*/ 3400123 h 7216489"/>
                <a:gd name="connsiteX1264" fmla="*/ 2638232 w 4016827"/>
                <a:gd name="connsiteY1264" fmla="*/ 3390052 h 7216489"/>
                <a:gd name="connsiteX1265" fmla="*/ 2644945 w 4016827"/>
                <a:gd name="connsiteY1265" fmla="*/ 3396767 h 7216489"/>
                <a:gd name="connsiteX1266" fmla="*/ 2638232 w 4016827"/>
                <a:gd name="connsiteY1266" fmla="*/ 3403479 h 7216489"/>
                <a:gd name="connsiteX1267" fmla="*/ 2631519 w 4016827"/>
                <a:gd name="connsiteY1267" fmla="*/ 3396767 h 7216489"/>
                <a:gd name="connsiteX1268" fmla="*/ 2638232 w 4016827"/>
                <a:gd name="connsiteY1268" fmla="*/ 3390052 h 7216489"/>
                <a:gd name="connsiteX1269" fmla="*/ 1849448 w 4016827"/>
                <a:gd name="connsiteY1269" fmla="*/ 3322926 h 7216489"/>
                <a:gd name="connsiteX1270" fmla="*/ 1856161 w 4016827"/>
                <a:gd name="connsiteY1270" fmla="*/ 3329641 h 7216489"/>
                <a:gd name="connsiteX1271" fmla="*/ 1849448 w 4016827"/>
                <a:gd name="connsiteY1271" fmla="*/ 3336355 h 7216489"/>
                <a:gd name="connsiteX1272" fmla="*/ 1842735 w 4016827"/>
                <a:gd name="connsiteY1272" fmla="*/ 3329641 h 7216489"/>
                <a:gd name="connsiteX1273" fmla="*/ 1849448 w 4016827"/>
                <a:gd name="connsiteY1273" fmla="*/ 3322926 h 7216489"/>
                <a:gd name="connsiteX1274" fmla="*/ 1369465 w 4016827"/>
                <a:gd name="connsiteY1274" fmla="*/ 3316213 h 7216489"/>
                <a:gd name="connsiteX1275" fmla="*/ 1389604 w 4016827"/>
                <a:gd name="connsiteY1275" fmla="*/ 3336355 h 7216489"/>
                <a:gd name="connsiteX1276" fmla="*/ 1369465 w 4016827"/>
                <a:gd name="connsiteY1276" fmla="*/ 3356491 h 7216489"/>
                <a:gd name="connsiteX1277" fmla="*/ 1349326 w 4016827"/>
                <a:gd name="connsiteY1277" fmla="*/ 3336355 h 7216489"/>
                <a:gd name="connsiteX1278" fmla="*/ 1369465 w 4016827"/>
                <a:gd name="connsiteY1278" fmla="*/ 3316213 h 7216489"/>
                <a:gd name="connsiteX1279" fmla="*/ 896193 w 4016827"/>
                <a:gd name="connsiteY1279" fmla="*/ 3316213 h 7216489"/>
                <a:gd name="connsiteX1280" fmla="*/ 919689 w 4016827"/>
                <a:gd name="connsiteY1280" fmla="*/ 3339707 h 7216489"/>
                <a:gd name="connsiteX1281" fmla="*/ 896193 w 4016827"/>
                <a:gd name="connsiteY1281" fmla="*/ 3363206 h 7216489"/>
                <a:gd name="connsiteX1282" fmla="*/ 872697 w 4016827"/>
                <a:gd name="connsiteY1282" fmla="*/ 3339707 h 7216489"/>
                <a:gd name="connsiteX1283" fmla="*/ 896193 w 4016827"/>
                <a:gd name="connsiteY1283" fmla="*/ 3316213 h 7216489"/>
                <a:gd name="connsiteX1284" fmla="*/ 2339502 w 4016827"/>
                <a:gd name="connsiteY1284" fmla="*/ 3312859 h 7216489"/>
                <a:gd name="connsiteX1285" fmla="*/ 2346215 w 4016827"/>
                <a:gd name="connsiteY1285" fmla="*/ 3319570 h 7216489"/>
                <a:gd name="connsiteX1286" fmla="*/ 2339502 w 4016827"/>
                <a:gd name="connsiteY1286" fmla="*/ 3326282 h 7216489"/>
                <a:gd name="connsiteX1287" fmla="*/ 2332788 w 4016827"/>
                <a:gd name="connsiteY1287" fmla="*/ 3319570 h 7216489"/>
                <a:gd name="connsiteX1288" fmla="*/ 2339502 w 4016827"/>
                <a:gd name="connsiteY1288" fmla="*/ 3312859 h 7216489"/>
                <a:gd name="connsiteX1289" fmla="*/ 426279 w 4016827"/>
                <a:gd name="connsiteY1289" fmla="*/ 3309498 h 7216489"/>
                <a:gd name="connsiteX1290" fmla="*/ 456488 w 4016827"/>
                <a:gd name="connsiteY1290" fmla="*/ 3339707 h 7216489"/>
                <a:gd name="connsiteX1291" fmla="*/ 426279 w 4016827"/>
                <a:gd name="connsiteY1291" fmla="*/ 3369914 h 7216489"/>
                <a:gd name="connsiteX1292" fmla="*/ 396070 w 4016827"/>
                <a:gd name="connsiteY1292" fmla="*/ 3339707 h 7216489"/>
                <a:gd name="connsiteX1293" fmla="*/ 426279 w 4016827"/>
                <a:gd name="connsiteY1293" fmla="*/ 3309498 h 7216489"/>
                <a:gd name="connsiteX1294" fmla="*/ 167827 w 4016827"/>
                <a:gd name="connsiteY1294" fmla="*/ 3232301 h 7216489"/>
                <a:gd name="connsiteX1295" fmla="*/ 181253 w 4016827"/>
                <a:gd name="connsiteY1295" fmla="*/ 3245730 h 7216489"/>
                <a:gd name="connsiteX1296" fmla="*/ 167827 w 4016827"/>
                <a:gd name="connsiteY1296" fmla="*/ 3259154 h 7216489"/>
                <a:gd name="connsiteX1297" fmla="*/ 154401 w 4016827"/>
                <a:gd name="connsiteY1297" fmla="*/ 3245730 h 7216489"/>
                <a:gd name="connsiteX1298" fmla="*/ 167827 w 4016827"/>
                <a:gd name="connsiteY1298" fmla="*/ 3232301 h 7216489"/>
                <a:gd name="connsiteX1299" fmla="*/ 2054196 w 4016827"/>
                <a:gd name="connsiteY1299" fmla="*/ 3222236 h 7216489"/>
                <a:gd name="connsiteX1300" fmla="*/ 2060909 w 4016827"/>
                <a:gd name="connsiteY1300" fmla="*/ 3228948 h 7216489"/>
                <a:gd name="connsiteX1301" fmla="*/ 2054196 w 4016827"/>
                <a:gd name="connsiteY1301" fmla="*/ 3235663 h 7216489"/>
                <a:gd name="connsiteX1302" fmla="*/ 2047483 w 4016827"/>
                <a:gd name="connsiteY1302" fmla="*/ 3228948 h 7216489"/>
                <a:gd name="connsiteX1303" fmla="*/ 2054196 w 4016827"/>
                <a:gd name="connsiteY1303" fmla="*/ 3222236 h 7216489"/>
                <a:gd name="connsiteX1304" fmla="*/ 1574212 w 4016827"/>
                <a:gd name="connsiteY1304" fmla="*/ 3215524 h 7216489"/>
                <a:gd name="connsiteX1305" fmla="*/ 1594352 w 4016827"/>
                <a:gd name="connsiteY1305" fmla="*/ 3235663 h 7216489"/>
                <a:gd name="connsiteX1306" fmla="*/ 1574212 w 4016827"/>
                <a:gd name="connsiteY1306" fmla="*/ 3255801 h 7216489"/>
                <a:gd name="connsiteX1307" fmla="*/ 1554073 w 4016827"/>
                <a:gd name="connsiteY1307" fmla="*/ 3235663 h 7216489"/>
                <a:gd name="connsiteX1308" fmla="*/ 1574212 w 4016827"/>
                <a:gd name="connsiteY1308" fmla="*/ 3215524 h 7216489"/>
                <a:gd name="connsiteX1309" fmla="*/ 634384 w 4016827"/>
                <a:gd name="connsiteY1309" fmla="*/ 3215524 h 7216489"/>
                <a:gd name="connsiteX1310" fmla="*/ 661237 w 4016827"/>
                <a:gd name="connsiteY1310" fmla="*/ 3242373 h 7216489"/>
                <a:gd name="connsiteX1311" fmla="*/ 634384 w 4016827"/>
                <a:gd name="connsiteY1311" fmla="*/ 3269225 h 7216489"/>
                <a:gd name="connsiteX1312" fmla="*/ 607532 w 4016827"/>
                <a:gd name="connsiteY1312" fmla="*/ 3242373 h 7216489"/>
                <a:gd name="connsiteX1313" fmla="*/ 634384 w 4016827"/>
                <a:gd name="connsiteY1313" fmla="*/ 3215524 h 7216489"/>
                <a:gd name="connsiteX1314" fmla="*/ 1100942 w 4016827"/>
                <a:gd name="connsiteY1314" fmla="*/ 3202095 h 7216489"/>
                <a:gd name="connsiteX1315" fmla="*/ 1137864 w 4016827"/>
                <a:gd name="connsiteY1315" fmla="*/ 3239020 h 7216489"/>
                <a:gd name="connsiteX1316" fmla="*/ 1100942 w 4016827"/>
                <a:gd name="connsiteY1316" fmla="*/ 3275937 h 7216489"/>
                <a:gd name="connsiteX1317" fmla="*/ 1064020 w 4016827"/>
                <a:gd name="connsiteY1317" fmla="*/ 3239020 h 7216489"/>
                <a:gd name="connsiteX1318" fmla="*/ 1100942 w 4016827"/>
                <a:gd name="connsiteY1318" fmla="*/ 3202095 h 7216489"/>
                <a:gd name="connsiteX1319" fmla="*/ 2258945 w 4016827"/>
                <a:gd name="connsiteY1319" fmla="*/ 3124895 h 7216489"/>
                <a:gd name="connsiteX1320" fmla="*/ 2265658 w 4016827"/>
                <a:gd name="connsiteY1320" fmla="*/ 3131608 h 7216489"/>
                <a:gd name="connsiteX1321" fmla="*/ 2258945 w 4016827"/>
                <a:gd name="connsiteY1321" fmla="*/ 3138322 h 7216489"/>
                <a:gd name="connsiteX1322" fmla="*/ 2252232 w 4016827"/>
                <a:gd name="connsiteY1322" fmla="*/ 3131608 h 7216489"/>
                <a:gd name="connsiteX1323" fmla="*/ 2258945 w 4016827"/>
                <a:gd name="connsiteY1323" fmla="*/ 3124895 h 7216489"/>
                <a:gd name="connsiteX1324" fmla="*/ 1782318 w 4016827"/>
                <a:gd name="connsiteY1324" fmla="*/ 3124895 h 7216489"/>
                <a:gd name="connsiteX1325" fmla="*/ 1792387 w 4016827"/>
                <a:gd name="connsiteY1325" fmla="*/ 3134964 h 7216489"/>
                <a:gd name="connsiteX1326" fmla="*/ 1782318 w 4016827"/>
                <a:gd name="connsiteY1326" fmla="*/ 3145033 h 7216489"/>
                <a:gd name="connsiteX1327" fmla="*/ 1772248 w 4016827"/>
                <a:gd name="connsiteY1327" fmla="*/ 3134964 h 7216489"/>
                <a:gd name="connsiteX1328" fmla="*/ 1782318 w 4016827"/>
                <a:gd name="connsiteY1328" fmla="*/ 3124895 h 7216489"/>
                <a:gd name="connsiteX1329" fmla="*/ 842490 w 4016827"/>
                <a:gd name="connsiteY1329" fmla="*/ 3121541 h 7216489"/>
                <a:gd name="connsiteX1330" fmla="*/ 862629 w 4016827"/>
                <a:gd name="connsiteY1330" fmla="*/ 3141679 h 7216489"/>
                <a:gd name="connsiteX1331" fmla="*/ 842490 w 4016827"/>
                <a:gd name="connsiteY1331" fmla="*/ 3161818 h 7216489"/>
                <a:gd name="connsiteX1332" fmla="*/ 822350 w 4016827"/>
                <a:gd name="connsiteY1332" fmla="*/ 3141679 h 7216489"/>
                <a:gd name="connsiteX1333" fmla="*/ 842490 w 4016827"/>
                <a:gd name="connsiteY1333" fmla="*/ 3121541 h 7216489"/>
                <a:gd name="connsiteX1334" fmla="*/ 1309047 w 4016827"/>
                <a:gd name="connsiteY1334" fmla="*/ 3118183 h 7216489"/>
                <a:gd name="connsiteX1335" fmla="*/ 1332543 w 4016827"/>
                <a:gd name="connsiteY1335" fmla="*/ 3141679 h 7216489"/>
                <a:gd name="connsiteX1336" fmla="*/ 1309047 w 4016827"/>
                <a:gd name="connsiteY1336" fmla="*/ 3165175 h 7216489"/>
                <a:gd name="connsiteX1337" fmla="*/ 1285551 w 4016827"/>
                <a:gd name="connsiteY1337" fmla="*/ 3141679 h 7216489"/>
                <a:gd name="connsiteX1338" fmla="*/ 1309047 w 4016827"/>
                <a:gd name="connsiteY1338" fmla="*/ 3118183 h 7216489"/>
                <a:gd name="connsiteX1339" fmla="*/ 379288 w 4016827"/>
                <a:gd name="connsiteY1339" fmla="*/ 3118181 h 7216489"/>
                <a:gd name="connsiteX1340" fmla="*/ 406140 w 4016827"/>
                <a:gd name="connsiteY1340" fmla="*/ 3145033 h 7216489"/>
                <a:gd name="connsiteX1341" fmla="*/ 379288 w 4016827"/>
                <a:gd name="connsiteY1341" fmla="*/ 3171888 h 7216489"/>
                <a:gd name="connsiteX1342" fmla="*/ 352435 w 4016827"/>
                <a:gd name="connsiteY1342" fmla="*/ 3145033 h 7216489"/>
                <a:gd name="connsiteX1343" fmla="*/ 379288 w 4016827"/>
                <a:gd name="connsiteY1343" fmla="*/ 3118181 h 7216489"/>
                <a:gd name="connsiteX1344" fmla="*/ 127548 w 4016827"/>
                <a:gd name="connsiteY1344" fmla="*/ 3034265 h 7216489"/>
                <a:gd name="connsiteX1345" fmla="*/ 137618 w 4016827"/>
                <a:gd name="connsiteY1345" fmla="*/ 3044336 h 7216489"/>
                <a:gd name="connsiteX1346" fmla="*/ 127548 w 4016827"/>
                <a:gd name="connsiteY1346" fmla="*/ 3054407 h 7216489"/>
                <a:gd name="connsiteX1347" fmla="*/ 117479 w 4016827"/>
                <a:gd name="connsiteY1347" fmla="*/ 3044336 h 7216489"/>
                <a:gd name="connsiteX1348" fmla="*/ 127548 w 4016827"/>
                <a:gd name="connsiteY1348" fmla="*/ 3034265 h 7216489"/>
                <a:gd name="connsiteX1349" fmla="*/ 2463694 w 4016827"/>
                <a:gd name="connsiteY1349" fmla="*/ 3030915 h 7216489"/>
                <a:gd name="connsiteX1350" fmla="*/ 2467050 w 4016827"/>
                <a:gd name="connsiteY1350" fmla="*/ 3034273 h 7216489"/>
                <a:gd name="connsiteX1351" fmla="*/ 2463694 w 4016827"/>
                <a:gd name="connsiteY1351" fmla="*/ 3037628 h 7216489"/>
                <a:gd name="connsiteX1352" fmla="*/ 2460337 w 4016827"/>
                <a:gd name="connsiteY1352" fmla="*/ 3034273 h 7216489"/>
                <a:gd name="connsiteX1353" fmla="*/ 2463694 w 4016827"/>
                <a:gd name="connsiteY1353" fmla="*/ 3030915 h 7216489"/>
                <a:gd name="connsiteX1354" fmla="*/ 1987066 w 4016827"/>
                <a:gd name="connsiteY1354" fmla="*/ 3030915 h 7216489"/>
                <a:gd name="connsiteX1355" fmla="*/ 1993779 w 4016827"/>
                <a:gd name="connsiteY1355" fmla="*/ 3037628 h 7216489"/>
                <a:gd name="connsiteX1356" fmla="*/ 1987066 w 4016827"/>
                <a:gd name="connsiteY1356" fmla="*/ 3044345 h 7216489"/>
                <a:gd name="connsiteX1357" fmla="*/ 1980353 w 4016827"/>
                <a:gd name="connsiteY1357" fmla="*/ 3037628 h 7216489"/>
                <a:gd name="connsiteX1358" fmla="*/ 1987066 w 4016827"/>
                <a:gd name="connsiteY1358" fmla="*/ 3030915 h 7216489"/>
                <a:gd name="connsiteX1359" fmla="*/ 1517151 w 4016827"/>
                <a:gd name="connsiteY1359" fmla="*/ 3027560 h 7216489"/>
                <a:gd name="connsiteX1360" fmla="*/ 1530577 w 4016827"/>
                <a:gd name="connsiteY1360" fmla="*/ 3040986 h 7216489"/>
                <a:gd name="connsiteX1361" fmla="*/ 1517151 w 4016827"/>
                <a:gd name="connsiteY1361" fmla="*/ 3054413 h 7216489"/>
                <a:gd name="connsiteX1362" fmla="*/ 1503725 w 4016827"/>
                <a:gd name="connsiteY1362" fmla="*/ 3040986 h 7216489"/>
                <a:gd name="connsiteX1363" fmla="*/ 1517151 w 4016827"/>
                <a:gd name="connsiteY1363" fmla="*/ 3027560 h 7216489"/>
                <a:gd name="connsiteX1364" fmla="*/ 587393 w 4016827"/>
                <a:gd name="connsiteY1364" fmla="*/ 3020845 h 7216489"/>
                <a:gd name="connsiteX1365" fmla="*/ 610889 w 4016827"/>
                <a:gd name="connsiteY1365" fmla="*/ 3044341 h 7216489"/>
                <a:gd name="connsiteX1366" fmla="*/ 587393 w 4016827"/>
                <a:gd name="connsiteY1366" fmla="*/ 3067838 h 7216489"/>
                <a:gd name="connsiteX1367" fmla="*/ 563897 w 4016827"/>
                <a:gd name="connsiteY1367" fmla="*/ 3044341 h 7216489"/>
                <a:gd name="connsiteX1368" fmla="*/ 587393 w 4016827"/>
                <a:gd name="connsiteY1368" fmla="*/ 3020845 h 7216489"/>
                <a:gd name="connsiteX1369" fmla="*/ 1050594 w 4016827"/>
                <a:gd name="connsiteY1369" fmla="*/ 3017489 h 7216489"/>
                <a:gd name="connsiteX1370" fmla="*/ 1077446 w 4016827"/>
                <a:gd name="connsiteY1370" fmla="*/ 3044345 h 7216489"/>
                <a:gd name="connsiteX1371" fmla="*/ 1050594 w 4016827"/>
                <a:gd name="connsiteY1371" fmla="*/ 3071196 h 7216489"/>
                <a:gd name="connsiteX1372" fmla="*/ 1023741 w 4016827"/>
                <a:gd name="connsiteY1372" fmla="*/ 3044345 h 7216489"/>
                <a:gd name="connsiteX1373" fmla="*/ 1050594 w 4016827"/>
                <a:gd name="connsiteY1373" fmla="*/ 3017489 h 7216489"/>
                <a:gd name="connsiteX1374" fmla="*/ 2195170 w 4016827"/>
                <a:gd name="connsiteY1374" fmla="*/ 2930223 h 7216489"/>
                <a:gd name="connsiteX1375" fmla="*/ 2201884 w 4016827"/>
                <a:gd name="connsiteY1375" fmla="*/ 2936935 h 7216489"/>
                <a:gd name="connsiteX1376" fmla="*/ 2195170 w 4016827"/>
                <a:gd name="connsiteY1376" fmla="*/ 2943649 h 7216489"/>
                <a:gd name="connsiteX1377" fmla="*/ 2188458 w 4016827"/>
                <a:gd name="connsiteY1377" fmla="*/ 2936935 h 7216489"/>
                <a:gd name="connsiteX1378" fmla="*/ 2195170 w 4016827"/>
                <a:gd name="connsiteY1378" fmla="*/ 2930223 h 7216489"/>
                <a:gd name="connsiteX1379" fmla="*/ 1725256 w 4016827"/>
                <a:gd name="connsiteY1379" fmla="*/ 2930223 h 7216489"/>
                <a:gd name="connsiteX1380" fmla="*/ 1735326 w 4016827"/>
                <a:gd name="connsiteY1380" fmla="*/ 2940292 h 7216489"/>
                <a:gd name="connsiteX1381" fmla="*/ 1725256 w 4016827"/>
                <a:gd name="connsiteY1381" fmla="*/ 2950360 h 7216489"/>
                <a:gd name="connsiteX1382" fmla="*/ 1715187 w 4016827"/>
                <a:gd name="connsiteY1382" fmla="*/ 2940292 h 7216489"/>
                <a:gd name="connsiteX1383" fmla="*/ 1725256 w 4016827"/>
                <a:gd name="connsiteY1383" fmla="*/ 2930223 h 7216489"/>
                <a:gd name="connsiteX1384" fmla="*/ 1262056 w 4016827"/>
                <a:gd name="connsiteY1384" fmla="*/ 2926865 h 7216489"/>
                <a:gd name="connsiteX1385" fmla="*/ 1278838 w 4016827"/>
                <a:gd name="connsiteY1385" fmla="*/ 2943649 h 7216489"/>
                <a:gd name="connsiteX1386" fmla="*/ 1262056 w 4016827"/>
                <a:gd name="connsiteY1386" fmla="*/ 2960431 h 7216489"/>
                <a:gd name="connsiteX1387" fmla="*/ 1245273 w 4016827"/>
                <a:gd name="connsiteY1387" fmla="*/ 2943649 h 7216489"/>
                <a:gd name="connsiteX1388" fmla="*/ 1262056 w 4016827"/>
                <a:gd name="connsiteY1388" fmla="*/ 2926865 h 7216489"/>
                <a:gd name="connsiteX1389" fmla="*/ 798855 w 4016827"/>
                <a:gd name="connsiteY1389" fmla="*/ 2923508 h 7216489"/>
                <a:gd name="connsiteX1390" fmla="*/ 818994 w 4016827"/>
                <a:gd name="connsiteY1390" fmla="*/ 2943649 h 7216489"/>
                <a:gd name="connsiteX1391" fmla="*/ 798855 w 4016827"/>
                <a:gd name="connsiteY1391" fmla="*/ 2963787 h 7216489"/>
                <a:gd name="connsiteX1392" fmla="*/ 778715 w 4016827"/>
                <a:gd name="connsiteY1392" fmla="*/ 2943649 h 7216489"/>
                <a:gd name="connsiteX1393" fmla="*/ 798855 w 4016827"/>
                <a:gd name="connsiteY1393" fmla="*/ 2923508 h 7216489"/>
                <a:gd name="connsiteX1394" fmla="*/ 339009 w 4016827"/>
                <a:gd name="connsiteY1394" fmla="*/ 2916791 h 7216489"/>
                <a:gd name="connsiteX1395" fmla="*/ 365861 w 4016827"/>
                <a:gd name="connsiteY1395" fmla="*/ 2943643 h 7216489"/>
                <a:gd name="connsiteX1396" fmla="*/ 339009 w 4016827"/>
                <a:gd name="connsiteY1396" fmla="*/ 2970495 h 7216489"/>
                <a:gd name="connsiteX1397" fmla="*/ 312157 w 4016827"/>
                <a:gd name="connsiteY1397" fmla="*/ 2943643 h 7216489"/>
                <a:gd name="connsiteX1398" fmla="*/ 339009 w 4016827"/>
                <a:gd name="connsiteY1398" fmla="*/ 2916791 h 7216489"/>
                <a:gd name="connsiteX1399" fmla="*/ 97340 w 4016827"/>
                <a:gd name="connsiteY1399" fmla="*/ 2839587 h 7216489"/>
                <a:gd name="connsiteX1400" fmla="*/ 104053 w 4016827"/>
                <a:gd name="connsiteY1400" fmla="*/ 2846299 h 7216489"/>
                <a:gd name="connsiteX1401" fmla="*/ 97340 w 4016827"/>
                <a:gd name="connsiteY1401" fmla="*/ 2853013 h 7216489"/>
                <a:gd name="connsiteX1402" fmla="*/ 90626 w 4016827"/>
                <a:gd name="connsiteY1402" fmla="*/ 2846299 h 7216489"/>
                <a:gd name="connsiteX1403" fmla="*/ 97340 w 4016827"/>
                <a:gd name="connsiteY1403" fmla="*/ 2839587 h 7216489"/>
                <a:gd name="connsiteX1404" fmla="*/ 1933362 w 4016827"/>
                <a:gd name="connsiteY1404" fmla="*/ 2836241 h 7216489"/>
                <a:gd name="connsiteX1405" fmla="*/ 1940075 w 4016827"/>
                <a:gd name="connsiteY1405" fmla="*/ 2842956 h 7216489"/>
                <a:gd name="connsiteX1406" fmla="*/ 1933362 w 4016827"/>
                <a:gd name="connsiteY1406" fmla="*/ 2849666 h 7216489"/>
                <a:gd name="connsiteX1407" fmla="*/ 1926649 w 4016827"/>
                <a:gd name="connsiteY1407" fmla="*/ 2842956 h 7216489"/>
                <a:gd name="connsiteX1408" fmla="*/ 1933362 w 4016827"/>
                <a:gd name="connsiteY1408" fmla="*/ 2836241 h 7216489"/>
                <a:gd name="connsiteX1409" fmla="*/ 1473516 w 4016827"/>
                <a:gd name="connsiteY1409" fmla="*/ 2829530 h 7216489"/>
                <a:gd name="connsiteX1410" fmla="*/ 1486942 w 4016827"/>
                <a:gd name="connsiteY1410" fmla="*/ 2842956 h 7216489"/>
                <a:gd name="connsiteX1411" fmla="*/ 1473516 w 4016827"/>
                <a:gd name="connsiteY1411" fmla="*/ 2856382 h 7216489"/>
                <a:gd name="connsiteX1412" fmla="*/ 1460090 w 4016827"/>
                <a:gd name="connsiteY1412" fmla="*/ 2842956 h 7216489"/>
                <a:gd name="connsiteX1413" fmla="*/ 1473516 w 4016827"/>
                <a:gd name="connsiteY1413" fmla="*/ 2829530 h 7216489"/>
                <a:gd name="connsiteX1414" fmla="*/ 553827 w 4016827"/>
                <a:gd name="connsiteY1414" fmla="*/ 2829526 h 7216489"/>
                <a:gd name="connsiteX1415" fmla="*/ 570610 w 4016827"/>
                <a:gd name="connsiteY1415" fmla="*/ 2846311 h 7216489"/>
                <a:gd name="connsiteX1416" fmla="*/ 553827 w 4016827"/>
                <a:gd name="connsiteY1416" fmla="*/ 2863090 h 7216489"/>
                <a:gd name="connsiteX1417" fmla="*/ 537045 w 4016827"/>
                <a:gd name="connsiteY1417" fmla="*/ 2846311 h 7216489"/>
                <a:gd name="connsiteX1418" fmla="*/ 553827 w 4016827"/>
                <a:gd name="connsiteY1418" fmla="*/ 2829526 h 7216489"/>
                <a:gd name="connsiteX1419" fmla="*/ 1013672 w 4016827"/>
                <a:gd name="connsiteY1419" fmla="*/ 2822817 h 7216489"/>
                <a:gd name="connsiteX1420" fmla="*/ 1037168 w 4016827"/>
                <a:gd name="connsiteY1420" fmla="*/ 2846311 h 7216489"/>
                <a:gd name="connsiteX1421" fmla="*/ 1013672 w 4016827"/>
                <a:gd name="connsiteY1421" fmla="*/ 2869806 h 7216489"/>
                <a:gd name="connsiteX1422" fmla="*/ 990176 w 4016827"/>
                <a:gd name="connsiteY1422" fmla="*/ 2846311 h 7216489"/>
                <a:gd name="connsiteX1423" fmla="*/ 1013672 w 4016827"/>
                <a:gd name="connsiteY1423" fmla="*/ 2822817 h 7216489"/>
                <a:gd name="connsiteX1424" fmla="*/ 2144822 w 4016827"/>
                <a:gd name="connsiteY1424" fmla="*/ 2735548 h 7216489"/>
                <a:gd name="connsiteX1425" fmla="*/ 2151536 w 4016827"/>
                <a:gd name="connsiteY1425" fmla="*/ 2742260 h 7216489"/>
                <a:gd name="connsiteX1426" fmla="*/ 2144822 w 4016827"/>
                <a:gd name="connsiteY1426" fmla="*/ 2748973 h 7216489"/>
                <a:gd name="connsiteX1427" fmla="*/ 2138110 w 4016827"/>
                <a:gd name="connsiteY1427" fmla="*/ 2742260 h 7216489"/>
                <a:gd name="connsiteX1428" fmla="*/ 2144822 w 4016827"/>
                <a:gd name="connsiteY1428" fmla="*/ 2735548 h 7216489"/>
                <a:gd name="connsiteX1429" fmla="*/ 1684978 w 4016827"/>
                <a:gd name="connsiteY1429" fmla="*/ 2732191 h 7216489"/>
                <a:gd name="connsiteX1430" fmla="*/ 1695048 w 4016827"/>
                <a:gd name="connsiteY1430" fmla="*/ 2742260 h 7216489"/>
                <a:gd name="connsiteX1431" fmla="*/ 1684978 w 4016827"/>
                <a:gd name="connsiteY1431" fmla="*/ 2752334 h 7216489"/>
                <a:gd name="connsiteX1432" fmla="*/ 1674908 w 4016827"/>
                <a:gd name="connsiteY1432" fmla="*/ 2742260 h 7216489"/>
                <a:gd name="connsiteX1433" fmla="*/ 1684978 w 4016827"/>
                <a:gd name="connsiteY1433" fmla="*/ 2732191 h 7216489"/>
                <a:gd name="connsiteX1434" fmla="*/ 1225134 w 4016827"/>
                <a:gd name="connsiteY1434" fmla="*/ 2725478 h 7216489"/>
                <a:gd name="connsiteX1435" fmla="*/ 1241916 w 4016827"/>
                <a:gd name="connsiteY1435" fmla="*/ 2742260 h 7216489"/>
                <a:gd name="connsiteX1436" fmla="*/ 1225134 w 4016827"/>
                <a:gd name="connsiteY1436" fmla="*/ 2759042 h 7216489"/>
                <a:gd name="connsiteX1437" fmla="*/ 1208351 w 4016827"/>
                <a:gd name="connsiteY1437" fmla="*/ 2742260 h 7216489"/>
                <a:gd name="connsiteX1438" fmla="*/ 1225134 w 4016827"/>
                <a:gd name="connsiteY1438" fmla="*/ 2725478 h 7216489"/>
                <a:gd name="connsiteX1439" fmla="*/ 312157 w 4016827"/>
                <a:gd name="connsiteY1439" fmla="*/ 2722116 h 7216489"/>
                <a:gd name="connsiteX1440" fmla="*/ 335653 w 4016827"/>
                <a:gd name="connsiteY1440" fmla="*/ 2745613 h 7216489"/>
                <a:gd name="connsiteX1441" fmla="*/ 312157 w 4016827"/>
                <a:gd name="connsiteY1441" fmla="*/ 2769105 h 7216489"/>
                <a:gd name="connsiteX1442" fmla="*/ 288661 w 4016827"/>
                <a:gd name="connsiteY1442" fmla="*/ 2745613 h 7216489"/>
                <a:gd name="connsiteX1443" fmla="*/ 312157 w 4016827"/>
                <a:gd name="connsiteY1443" fmla="*/ 2722116 h 7216489"/>
                <a:gd name="connsiteX1444" fmla="*/ 768646 w 4016827"/>
                <a:gd name="connsiteY1444" fmla="*/ 2718764 h 7216489"/>
                <a:gd name="connsiteX1445" fmla="*/ 795498 w 4016827"/>
                <a:gd name="connsiteY1445" fmla="*/ 2742260 h 7216489"/>
                <a:gd name="connsiteX1446" fmla="*/ 768646 w 4016827"/>
                <a:gd name="connsiteY1446" fmla="*/ 2769113 h 7216489"/>
                <a:gd name="connsiteX1447" fmla="*/ 741793 w 4016827"/>
                <a:gd name="connsiteY1447" fmla="*/ 2745618 h 7216489"/>
                <a:gd name="connsiteX1448" fmla="*/ 768646 w 4016827"/>
                <a:gd name="connsiteY1448" fmla="*/ 2718764 h 7216489"/>
                <a:gd name="connsiteX1449" fmla="*/ 73844 w 4016827"/>
                <a:gd name="connsiteY1449" fmla="*/ 2641550 h 7216489"/>
                <a:gd name="connsiteX1450" fmla="*/ 77200 w 4016827"/>
                <a:gd name="connsiteY1450" fmla="*/ 2644906 h 7216489"/>
                <a:gd name="connsiteX1451" fmla="*/ 73844 w 4016827"/>
                <a:gd name="connsiteY1451" fmla="*/ 2648264 h 7216489"/>
                <a:gd name="connsiteX1452" fmla="*/ 70487 w 4016827"/>
                <a:gd name="connsiteY1452" fmla="*/ 2644906 h 7216489"/>
                <a:gd name="connsiteX1453" fmla="*/ 73844 w 4016827"/>
                <a:gd name="connsiteY1453" fmla="*/ 2641550 h 7216489"/>
                <a:gd name="connsiteX1454" fmla="*/ 1896440 w 4016827"/>
                <a:gd name="connsiteY1454" fmla="*/ 2634851 h 7216489"/>
                <a:gd name="connsiteX1455" fmla="*/ 1903153 w 4016827"/>
                <a:gd name="connsiteY1455" fmla="*/ 2641566 h 7216489"/>
                <a:gd name="connsiteX1456" fmla="*/ 1896440 w 4016827"/>
                <a:gd name="connsiteY1456" fmla="*/ 2648275 h 7216489"/>
                <a:gd name="connsiteX1457" fmla="*/ 1889727 w 4016827"/>
                <a:gd name="connsiteY1457" fmla="*/ 2641566 h 7216489"/>
                <a:gd name="connsiteX1458" fmla="*/ 1896440 w 4016827"/>
                <a:gd name="connsiteY1458" fmla="*/ 2634851 h 7216489"/>
                <a:gd name="connsiteX1459" fmla="*/ 1439952 w 4016827"/>
                <a:gd name="connsiteY1459" fmla="*/ 2624778 h 7216489"/>
                <a:gd name="connsiteX1460" fmla="*/ 1456735 w 4016827"/>
                <a:gd name="connsiteY1460" fmla="*/ 2641566 h 7216489"/>
                <a:gd name="connsiteX1461" fmla="*/ 1439952 w 4016827"/>
                <a:gd name="connsiteY1461" fmla="*/ 2658342 h 7216489"/>
                <a:gd name="connsiteX1462" fmla="*/ 1423169 w 4016827"/>
                <a:gd name="connsiteY1462" fmla="*/ 2641566 h 7216489"/>
                <a:gd name="connsiteX1463" fmla="*/ 1439952 w 4016827"/>
                <a:gd name="connsiteY1463" fmla="*/ 2624778 h 7216489"/>
                <a:gd name="connsiteX1464" fmla="*/ 983463 w 4016827"/>
                <a:gd name="connsiteY1464" fmla="*/ 2621425 h 7216489"/>
                <a:gd name="connsiteX1465" fmla="*/ 1006959 w 4016827"/>
                <a:gd name="connsiteY1465" fmla="*/ 2644917 h 7216489"/>
                <a:gd name="connsiteX1466" fmla="*/ 983463 w 4016827"/>
                <a:gd name="connsiteY1466" fmla="*/ 2668417 h 7216489"/>
                <a:gd name="connsiteX1467" fmla="*/ 959967 w 4016827"/>
                <a:gd name="connsiteY1467" fmla="*/ 2644917 h 7216489"/>
                <a:gd name="connsiteX1468" fmla="*/ 983463 w 4016827"/>
                <a:gd name="connsiteY1468" fmla="*/ 2621425 h 7216489"/>
                <a:gd name="connsiteX1469" fmla="*/ 526975 w 4016827"/>
                <a:gd name="connsiteY1469" fmla="*/ 2621421 h 7216489"/>
                <a:gd name="connsiteX1470" fmla="*/ 547114 w 4016827"/>
                <a:gd name="connsiteY1470" fmla="*/ 2641560 h 7216489"/>
                <a:gd name="connsiteX1471" fmla="*/ 526975 w 4016827"/>
                <a:gd name="connsiteY1471" fmla="*/ 2661700 h 7216489"/>
                <a:gd name="connsiteX1472" fmla="*/ 506836 w 4016827"/>
                <a:gd name="connsiteY1472" fmla="*/ 2641560 h 7216489"/>
                <a:gd name="connsiteX1473" fmla="*/ 526975 w 4016827"/>
                <a:gd name="connsiteY1473" fmla="*/ 2621421 h 7216489"/>
                <a:gd name="connsiteX1474" fmla="*/ 2111257 w 4016827"/>
                <a:gd name="connsiteY1474" fmla="*/ 2540868 h 7216489"/>
                <a:gd name="connsiteX1475" fmla="*/ 2114614 w 4016827"/>
                <a:gd name="connsiteY1475" fmla="*/ 2544225 h 7216489"/>
                <a:gd name="connsiteX1476" fmla="*/ 2111257 w 4016827"/>
                <a:gd name="connsiteY1476" fmla="*/ 2547584 h 7216489"/>
                <a:gd name="connsiteX1477" fmla="*/ 2107900 w 4016827"/>
                <a:gd name="connsiteY1477" fmla="*/ 2544225 h 7216489"/>
                <a:gd name="connsiteX1478" fmla="*/ 2111257 w 4016827"/>
                <a:gd name="connsiteY1478" fmla="*/ 2540868 h 7216489"/>
                <a:gd name="connsiteX1479" fmla="*/ 1654769 w 4016827"/>
                <a:gd name="connsiteY1479" fmla="*/ 2537512 h 7216489"/>
                <a:gd name="connsiteX1480" fmla="*/ 1661482 w 4016827"/>
                <a:gd name="connsiteY1480" fmla="*/ 2544225 h 7216489"/>
                <a:gd name="connsiteX1481" fmla="*/ 1654769 w 4016827"/>
                <a:gd name="connsiteY1481" fmla="*/ 2550939 h 7216489"/>
                <a:gd name="connsiteX1482" fmla="*/ 1648056 w 4016827"/>
                <a:gd name="connsiteY1482" fmla="*/ 2544225 h 7216489"/>
                <a:gd name="connsiteX1483" fmla="*/ 1654769 w 4016827"/>
                <a:gd name="connsiteY1483" fmla="*/ 2537512 h 7216489"/>
                <a:gd name="connsiteX1484" fmla="*/ 1201638 w 4016827"/>
                <a:gd name="connsiteY1484" fmla="*/ 2524085 h 7216489"/>
                <a:gd name="connsiteX1485" fmla="*/ 1218421 w 4016827"/>
                <a:gd name="connsiteY1485" fmla="*/ 2540868 h 7216489"/>
                <a:gd name="connsiteX1486" fmla="*/ 1201638 w 4016827"/>
                <a:gd name="connsiteY1486" fmla="*/ 2557650 h 7216489"/>
                <a:gd name="connsiteX1487" fmla="*/ 1184855 w 4016827"/>
                <a:gd name="connsiteY1487" fmla="*/ 2540868 h 7216489"/>
                <a:gd name="connsiteX1488" fmla="*/ 1201638 w 4016827"/>
                <a:gd name="connsiteY1488" fmla="*/ 2524085 h 7216489"/>
                <a:gd name="connsiteX1489" fmla="*/ 745150 w 4016827"/>
                <a:gd name="connsiteY1489" fmla="*/ 2524085 h 7216489"/>
                <a:gd name="connsiteX1490" fmla="*/ 765289 w 4016827"/>
                <a:gd name="connsiteY1490" fmla="*/ 2544223 h 7216489"/>
                <a:gd name="connsiteX1491" fmla="*/ 745150 w 4016827"/>
                <a:gd name="connsiteY1491" fmla="*/ 2564366 h 7216489"/>
                <a:gd name="connsiteX1492" fmla="*/ 725011 w 4016827"/>
                <a:gd name="connsiteY1492" fmla="*/ 2544223 h 7216489"/>
                <a:gd name="connsiteX1493" fmla="*/ 745150 w 4016827"/>
                <a:gd name="connsiteY1493" fmla="*/ 2524085 h 7216489"/>
                <a:gd name="connsiteX1494" fmla="*/ 292018 w 4016827"/>
                <a:gd name="connsiteY1494" fmla="*/ 2520725 h 7216489"/>
                <a:gd name="connsiteX1495" fmla="*/ 315513 w 4016827"/>
                <a:gd name="connsiteY1495" fmla="*/ 2544222 h 7216489"/>
                <a:gd name="connsiteX1496" fmla="*/ 292018 w 4016827"/>
                <a:gd name="connsiteY1496" fmla="*/ 2567717 h 7216489"/>
                <a:gd name="connsiteX1497" fmla="*/ 268522 w 4016827"/>
                <a:gd name="connsiteY1497" fmla="*/ 2544222 h 7216489"/>
                <a:gd name="connsiteX1498" fmla="*/ 292018 w 4016827"/>
                <a:gd name="connsiteY1498" fmla="*/ 2520725 h 7216489"/>
                <a:gd name="connsiteX1499" fmla="*/ 60418 w 4016827"/>
                <a:gd name="connsiteY1499" fmla="*/ 2440158 h 7216489"/>
                <a:gd name="connsiteX1500" fmla="*/ 60418 w 4016827"/>
                <a:gd name="connsiteY1500" fmla="*/ 2443514 h 7216489"/>
                <a:gd name="connsiteX1501" fmla="*/ 60418 w 4016827"/>
                <a:gd name="connsiteY1501" fmla="*/ 2440158 h 7216489"/>
                <a:gd name="connsiteX1502" fmla="*/ 1872944 w 4016827"/>
                <a:gd name="connsiteY1502" fmla="*/ 2433454 h 7216489"/>
                <a:gd name="connsiteX1503" fmla="*/ 1879657 w 4016827"/>
                <a:gd name="connsiteY1503" fmla="*/ 2440170 h 7216489"/>
                <a:gd name="connsiteX1504" fmla="*/ 1872944 w 4016827"/>
                <a:gd name="connsiteY1504" fmla="*/ 2446884 h 7216489"/>
                <a:gd name="connsiteX1505" fmla="*/ 1866231 w 4016827"/>
                <a:gd name="connsiteY1505" fmla="*/ 2440170 h 7216489"/>
                <a:gd name="connsiteX1506" fmla="*/ 1872944 w 4016827"/>
                <a:gd name="connsiteY1506" fmla="*/ 2433454 h 7216489"/>
                <a:gd name="connsiteX1507" fmla="*/ 1419813 w 4016827"/>
                <a:gd name="connsiteY1507" fmla="*/ 2426743 h 7216489"/>
                <a:gd name="connsiteX1508" fmla="*/ 1433239 w 4016827"/>
                <a:gd name="connsiteY1508" fmla="*/ 2440170 h 7216489"/>
                <a:gd name="connsiteX1509" fmla="*/ 1419813 w 4016827"/>
                <a:gd name="connsiteY1509" fmla="*/ 2453597 h 7216489"/>
                <a:gd name="connsiteX1510" fmla="*/ 1406387 w 4016827"/>
                <a:gd name="connsiteY1510" fmla="*/ 2440170 h 7216489"/>
                <a:gd name="connsiteX1511" fmla="*/ 1419813 w 4016827"/>
                <a:gd name="connsiteY1511" fmla="*/ 2426743 h 7216489"/>
                <a:gd name="connsiteX1512" fmla="*/ 513549 w 4016827"/>
                <a:gd name="connsiteY1512" fmla="*/ 2423383 h 7216489"/>
                <a:gd name="connsiteX1513" fmla="*/ 530332 w 4016827"/>
                <a:gd name="connsiteY1513" fmla="*/ 2440166 h 7216489"/>
                <a:gd name="connsiteX1514" fmla="*/ 513549 w 4016827"/>
                <a:gd name="connsiteY1514" fmla="*/ 2456950 h 7216489"/>
                <a:gd name="connsiteX1515" fmla="*/ 496766 w 4016827"/>
                <a:gd name="connsiteY1515" fmla="*/ 2440166 h 7216489"/>
                <a:gd name="connsiteX1516" fmla="*/ 513549 w 4016827"/>
                <a:gd name="connsiteY1516" fmla="*/ 2423383 h 7216489"/>
                <a:gd name="connsiteX1517" fmla="*/ 966680 w 4016827"/>
                <a:gd name="connsiteY1517" fmla="*/ 2416672 h 7216489"/>
                <a:gd name="connsiteX1518" fmla="*/ 990176 w 4016827"/>
                <a:gd name="connsiteY1518" fmla="*/ 2440170 h 7216489"/>
                <a:gd name="connsiteX1519" fmla="*/ 966680 w 4016827"/>
                <a:gd name="connsiteY1519" fmla="*/ 2463667 h 7216489"/>
                <a:gd name="connsiteX1520" fmla="*/ 943185 w 4016827"/>
                <a:gd name="connsiteY1520" fmla="*/ 2440170 h 7216489"/>
                <a:gd name="connsiteX1521" fmla="*/ 966680 w 4016827"/>
                <a:gd name="connsiteY1521" fmla="*/ 2416672 h 7216489"/>
                <a:gd name="connsiteX1522" fmla="*/ 2094474 w 4016827"/>
                <a:gd name="connsiteY1522" fmla="*/ 2336109 h 7216489"/>
                <a:gd name="connsiteX1523" fmla="*/ 2094474 w 4016827"/>
                <a:gd name="connsiteY1523" fmla="*/ 2342822 h 7216489"/>
                <a:gd name="connsiteX1524" fmla="*/ 2094474 w 4016827"/>
                <a:gd name="connsiteY1524" fmla="*/ 2336109 h 7216489"/>
                <a:gd name="connsiteX1525" fmla="*/ 1641343 w 4016827"/>
                <a:gd name="connsiteY1525" fmla="*/ 2336109 h 7216489"/>
                <a:gd name="connsiteX1526" fmla="*/ 1644700 w 4016827"/>
                <a:gd name="connsiteY1526" fmla="*/ 2339466 h 7216489"/>
                <a:gd name="connsiteX1527" fmla="*/ 1641343 w 4016827"/>
                <a:gd name="connsiteY1527" fmla="*/ 2342822 h 7216489"/>
                <a:gd name="connsiteX1528" fmla="*/ 1637986 w 4016827"/>
                <a:gd name="connsiteY1528" fmla="*/ 2339466 h 7216489"/>
                <a:gd name="connsiteX1529" fmla="*/ 1641343 w 4016827"/>
                <a:gd name="connsiteY1529" fmla="*/ 2336109 h 7216489"/>
                <a:gd name="connsiteX1530" fmla="*/ 1188212 w 4016827"/>
                <a:gd name="connsiteY1530" fmla="*/ 2322682 h 7216489"/>
                <a:gd name="connsiteX1531" fmla="*/ 1204994 w 4016827"/>
                <a:gd name="connsiteY1531" fmla="*/ 2339466 h 7216489"/>
                <a:gd name="connsiteX1532" fmla="*/ 1188212 w 4016827"/>
                <a:gd name="connsiteY1532" fmla="*/ 2356250 h 7216489"/>
                <a:gd name="connsiteX1533" fmla="*/ 1171429 w 4016827"/>
                <a:gd name="connsiteY1533" fmla="*/ 2339466 h 7216489"/>
                <a:gd name="connsiteX1534" fmla="*/ 1188212 w 4016827"/>
                <a:gd name="connsiteY1534" fmla="*/ 2322682 h 7216489"/>
                <a:gd name="connsiteX1535" fmla="*/ 281948 w 4016827"/>
                <a:gd name="connsiteY1535" fmla="*/ 2322679 h 7216489"/>
                <a:gd name="connsiteX1536" fmla="*/ 298731 w 4016827"/>
                <a:gd name="connsiteY1536" fmla="*/ 2339461 h 7216489"/>
                <a:gd name="connsiteX1537" fmla="*/ 281948 w 4016827"/>
                <a:gd name="connsiteY1537" fmla="*/ 2356245 h 7216489"/>
                <a:gd name="connsiteX1538" fmla="*/ 265165 w 4016827"/>
                <a:gd name="connsiteY1538" fmla="*/ 2339461 h 7216489"/>
                <a:gd name="connsiteX1539" fmla="*/ 281948 w 4016827"/>
                <a:gd name="connsiteY1539" fmla="*/ 2322679 h 7216489"/>
                <a:gd name="connsiteX1540" fmla="*/ 735080 w 4016827"/>
                <a:gd name="connsiteY1540" fmla="*/ 2319326 h 7216489"/>
                <a:gd name="connsiteX1541" fmla="*/ 755220 w 4016827"/>
                <a:gd name="connsiteY1541" fmla="*/ 2339466 h 7216489"/>
                <a:gd name="connsiteX1542" fmla="*/ 735080 w 4016827"/>
                <a:gd name="connsiteY1542" fmla="*/ 2359607 h 7216489"/>
                <a:gd name="connsiteX1543" fmla="*/ 714941 w 4016827"/>
                <a:gd name="connsiteY1543" fmla="*/ 2339466 h 7216489"/>
                <a:gd name="connsiteX1544" fmla="*/ 735080 w 4016827"/>
                <a:gd name="connsiteY1544" fmla="*/ 2319326 h 7216489"/>
                <a:gd name="connsiteX1545" fmla="*/ 1866231 w 4016827"/>
                <a:gd name="connsiteY1545" fmla="*/ 2235417 h 7216489"/>
                <a:gd name="connsiteX1546" fmla="*/ 1869588 w 4016827"/>
                <a:gd name="connsiteY1546" fmla="*/ 2238772 h 7216489"/>
                <a:gd name="connsiteX1547" fmla="*/ 1866231 w 4016827"/>
                <a:gd name="connsiteY1547" fmla="*/ 2242129 h 7216489"/>
                <a:gd name="connsiteX1548" fmla="*/ 1862874 w 4016827"/>
                <a:gd name="connsiteY1548" fmla="*/ 2238772 h 7216489"/>
                <a:gd name="connsiteX1549" fmla="*/ 1866231 w 4016827"/>
                <a:gd name="connsiteY1549" fmla="*/ 2235417 h 7216489"/>
                <a:gd name="connsiteX1550" fmla="*/ 1413099 w 4016827"/>
                <a:gd name="connsiteY1550" fmla="*/ 2228699 h 7216489"/>
                <a:gd name="connsiteX1551" fmla="*/ 1423168 w 4016827"/>
                <a:gd name="connsiteY1551" fmla="*/ 2238772 h 7216489"/>
                <a:gd name="connsiteX1552" fmla="*/ 1413099 w 4016827"/>
                <a:gd name="connsiteY1552" fmla="*/ 2248841 h 7216489"/>
                <a:gd name="connsiteX1553" fmla="*/ 1403029 w 4016827"/>
                <a:gd name="connsiteY1553" fmla="*/ 2238772 h 7216489"/>
                <a:gd name="connsiteX1554" fmla="*/ 1413099 w 4016827"/>
                <a:gd name="connsiteY1554" fmla="*/ 2228699 h 7216489"/>
                <a:gd name="connsiteX1555" fmla="*/ 506836 w 4016827"/>
                <a:gd name="connsiteY1555" fmla="*/ 2221987 h 7216489"/>
                <a:gd name="connsiteX1556" fmla="*/ 523619 w 4016827"/>
                <a:gd name="connsiteY1556" fmla="*/ 2238769 h 7216489"/>
                <a:gd name="connsiteX1557" fmla="*/ 506836 w 4016827"/>
                <a:gd name="connsiteY1557" fmla="*/ 2255551 h 7216489"/>
                <a:gd name="connsiteX1558" fmla="*/ 490053 w 4016827"/>
                <a:gd name="connsiteY1558" fmla="*/ 2238769 h 7216489"/>
                <a:gd name="connsiteX1559" fmla="*/ 506836 w 4016827"/>
                <a:gd name="connsiteY1559" fmla="*/ 2221987 h 7216489"/>
                <a:gd name="connsiteX1560" fmla="*/ 959967 w 4016827"/>
                <a:gd name="connsiteY1560" fmla="*/ 2215275 h 7216489"/>
                <a:gd name="connsiteX1561" fmla="*/ 983463 w 4016827"/>
                <a:gd name="connsiteY1561" fmla="*/ 2238772 h 7216489"/>
                <a:gd name="connsiteX1562" fmla="*/ 959967 w 4016827"/>
                <a:gd name="connsiteY1562" fmla="*/ 2262269 h 7216489"/>
                <a:gd name="connsiteX1563" fmla="*/ 936472 w 4016827"/>
                <a:gd name="connsiteY1563" fmla="*/ 2238772 h 7216489"/>
                <a:gd name="connsiteX1564" fmla="*/ 959967 w 4016827"/>
                <a:gd name="connsiteY1564" fmla="*/ 2215275 h 7216489"/>
                <a:gd name="connsiteX1565" fmla="*/ 1641343 w 4016827"/>
                <a:gd name="connsiteY1565" fmla="*/ 2128008 h 7216489"/>
                <a:gd name="connsiteX1566" fmla="*/ 1648056 w 4016827"/>
                <a:gd name="connsiteY1566" fmla="*/ 2134720 h 7216489"/>
                <a:gd name="connsiteX1567" fmla="*/ 1641343 w 4016827"/>
                <a:gd name="connsiteY1567" fmla="*/ 2141432 h 7216489"/>
                <a:gd name="connsiteX1568" fmla="*/ 1634630 w 4016827"/>
                <a:gd name="connsiteY1568" fmla="*/ 2134720 h 7216489"/>
                <a:gd name="connsiteX1569" fmla="*/ 1641343 w 4016827"/>
                <a:gd name="connsiteY1569" fmla="*/ 2128008 h 7216489"/>
                <a:gd name="connsiteX1570" fmla="*/ 1188212 w 4016827"/>
                <a:gd name="connsiteY1570" fmla="*/ 2124651 h 7216489"/>
                <a:gd name="connsiteX1571" fmla="*/ 1201638 w 4016827"/>
                <a:gd name="connsiteY1571" fmla="*/ 2138075 h 7216489"/>
                <a:gd name="connsiteX1572" fmla="*/ 1188212 w 4016827"/>
                <a:gd name="connsiteY1572" fmla="*/ 2151499 h 7216489"/>
                <a:gd name="connsiteX1573" fmla="*/ 1174786 w 4016827"/>
                <a:gd name="connsiteY1573" fmla="*/ 2138075 h 7216489"/>
                <a:gd name="connsiteX1574" fmla="*/ 1188212 w 4016827"/>
                <a:gd name="connsiteY1574" fmla="*/ 2124651 h 7216489"/>
                <a:gd name="connsiteX1575" fmla="*/ 281948 w 4016827"/>
                <a:gd name="connsiteY1575" fmla="*/ 2121290 h 7216489"/>
                <a:gd name="connsiteX1576" fmla="*/ 295374 w 4016827"/>
                <a:gd name="connsiteY1576" fmla="*/ 2134715 h 7216489"/>
                <a:gd name="connsiteX1577" fmla="*/ 281948 w 4016827"/>
                <a:gd name="connsiteY1577" fmla="*/ 2148141 h 7216489"/>
                <a:gd name="connsiteX1578" fmla="*/ 268522 w 4016827"/>
                <a:gd name="connsiteY1578" fmla="*/ 2134715 h 7216489"/>
                <a:gd name="connsiteX1579" fmla="*/ 281948 w 4016827"/>
                <a:gd name="connsiteY1579" fmla="*/ 2121290 h 7216489"/>
                <a:gd name="connsiteX1580" fmla="*/ 735080 w 4016827"/>
                <a:gd name="connsiteY1580" fmla="*/ 2114579 h 7216489"/>
                <a:gd name="connsiteX1581" fmla="*/ 755220 w 4016827"/>
                <a:gd name="connsiteY1581" fmla="*/ 2134720 h 7216489"/>
                <a:gd name="connsiteX1582" fmla="*/ 735080 w 4016827"/>
                <a:gd name="connsiteY1582" fmla="*/ 2154857 h 7216489"/>
                <a:gd name="connsiteX1583" fmla="*/ 714941 w 4016827"/>
                <a:gd name="connsiteY1583" fmla="*/ 2134720 h 7216489"/>
                <a:gd name="connsiteX1584" fmla="*/ 735080 w 4016827"/>
                <a:gd name="connsiteY1584" fmla="*/ 2114579 h 7216489"/>
                <a:gd name="connsiteX1585" fmla="*/ 1419813 w 4016827"/>
                <a:gd name="connsiteY1585" fmla="*/ 2023989 h 7216489"/>
                <a:gd name="connsiteX1586" fmla="*/ 1429882 w 4016827"/>
                <a:gd name="connsiteY1586" fmla="*/ 2034058 h 7216489"/>
                <a:gd name="connsiteX1587" fmla="*/ 1419813 w 4016827"/>
                <a:gd name="connsiteY1587" fmla="*/ 2044129 h 7216489"/>
                <a:gd name="connsiteX1588" fmla="*/ 1409743 w 4016827"/>
                <a:gd name="connsiteY1588" fmla="*/ 2034058 h 7216489"/>
                <a:gd name="connsiteX1589" fmla="*/ 1419813 w 4016827"/>
                <a:gd name="connsiteY1589" fmla="*/ 2023989 h 7216489"/>
                <a:gd name="connsiteX1590" fmla="*/ 513549 w 4016827"/>
                <a:gd name="connsiteY1590" fmla="*/ 2017249 h 7216489"/>
                <a:gd name="connsiteX1591" fmla="*/ 530332 w 4016827"/>
                <a:gd name="connsiteY1591" fmla="*/ 2034033 h 7216489"/>
                <a:gd name="connsiteX1592" fmla="*/ 513549 w 4016827"/>
                <a:gd name="connsiteY1592" fmla="*/ 2050813 h 7216489"/>
                <a:gd name="connsiteX1593" fmla="*/ 496766 w 4016827"/>
                <a:gd name="connsiteY1593" fmla="*/ 2034033 h 7216489"/>
                <a:gd name="connsiteX1594" fmla="*/ 513549 w 4016827"/>
                <a:gd name="connsiteY1594" fmla="*/ 2017249 h 7216489"/>
                <a:gd name="connsiteX1595" fmla="*/ 966680 w 4016827"/>
                <a:gd name="connsiteY1595" fmla="*/ 2013905 h 7216489"/>
                <a:gd name="connsiteX1596" fmla="*/ 986820 w 4016827"/>
                <a:gd name="connsiteY1596" fmla="*/ 2034043 h 7216489"/>
                <a:gd name="connsiteX1597" fmla="*/ 966680 w 4016827"/>
                <a:gd name="connsiteY1597" fmla="*/ 2054181 h 7216489"/>
                <a:gd name="connsiteX1598" fmla="*/ 946541 w 4016827"/>
                <a:gd name="connsiteY1598" fmla="*/ 2034043 h 7216489"/>
                <a:gd name="connsiteX1599" fmla="*/ 966680 w 4016827"/>
                <a:gd name="connsiteY1599" fmla="*/ 2013905 h 7216489"/>
                <a:gd name="connsiteX1600" fmla="*/ 1654769 w 4016827"/>
                <a:gd name="connsiteY1600" fmla="*/ 1926656 h 7216489"/>
                <a:gd name="connsiteX1601" fmla="*/ 1661482 w 4016827"/>
                <a:gd name="connsiteY1601" fmla="*/ 1933370 h 7216489"/>
                <a:gd name="connsiteX1602" fmla="*/ 1654769 w 4016827"/>
                <a:gd name="connsiteY1602" fmla="*/ 1940086 h 7216489"/>
                <a:gd name="connsiteX1603" fmla="*/ 1648056 w 4016827"/>
                <a:gd name="connsiteY1603" fmla="*/ 1933370 h 7216489"/>
                <a:gd name="connsiteX1604" fmla="*/ 1654769 w 4016827"/>
                <a:gd name="connsiteY1604" fmla="*/ 1926656 h 7216489"/>
                <a:gd name="connsiteX1605" fmla="*/ 292018 w 4016827"/>
                <a:gd name="connsiteY1605" fmla="*/ 1926618 h 7216489"/>
                <a:gd name="connsiteX1606" fmla="*/ 298731 w 4016827"/>
                <a:gd name="connsiteY1606" fmla="*/ 1933330 h 7216489"/>
                <a:gd name="connsiteX1607" fmla="*/ 292018 w 4016827"/>
                <a:gd name="connsiteY1607" fmla="*/ 1940042 h 7216489"/>
                <a:gd name="connsiteX1608" fmla="*/ 285305 w 4016827"/>
                <a:gd name="connsiteY1608" fmla="*/ 1933330 h 7216489"/>
                <a:gd name="connsiteX1609" fmla="*/ 292018 w 4016827"/>
                <a:gd name="connsiteY1609" fmla="*/ 1926618 h 7216489"/>
                <a:gd name="connsiteX1610" fmla="*/ 1201638 w 4016827"/>
                <a:gd name="connsiteY1610" fmla="*/ 1923286 h 7216489"/>
                <a:gd name="connsiteX1611" fmla="*/ 1211708 w 4016827"/>
                <a:gd name="connsiteY1611" fmla="*/ 1933354 h 7216489"/>
                <a:gd name="connsiteX1612" fmla="*/ 1201638 w 4016827"/>
                <a:gd name="connsiteY1612" fmla="*/ 1943424 h 7216489"/>
                <a:gd name="connsiteX1613" fmla="*/ 1191568 w 4016827"/>
                <a:gd name="connsiteY1613" fmla="*/ 1933354 h 7216489"/>
                <a:gd name="connsiteX1614" fmla="*/ 1201638 w 4016827"/>
                <a:gd name="connsiteY1614" fmla="*/ 1923286 h 7216489"/>
                <a:gd name="connsiteX1615" fmla="*/ 745150 w 4016827"/>
                <a:gd name="connsiteY1615" fmla="*/ 1916558 h 7216489"/>
                <a:gd name="connsiteX1616" fmla="*/ 761933 w 4016827"/>
                <a:gd name="connsiteY1616" fmla="*/ 1933342 h 7216489"/>
                <a:gd name="connsiteX1617" fmla="*/ 745150 w 4016827"/>
                <a:gd name="connsiteY1617" fmla="*/ 1950123 h 7216489"/>
                <a:gd name="connsiteX1618" fmla="*/ 728367 w 4016827"/>
                <a:gd name="connsiteY1618" fmla="*/ 1933342 h 7216489"/>
                <a:gd name="connsiteX1619" fmla="*/ 745150 w 4016827"/>
                <a:gd name="connsiteY1619" fmla="*/ 1916558 h 7216489"/>
                <a:gd name="connsiteX1620" fmla="*/ 1439951 w 4016827"/>
                <a:gd name="connsiteY1620" fmla="*/ 1822595 h 7216489"/>
                <a:gd name="connsiteX1621" fmla="*/ 1450020 w 4016827"/>
                <a:gd name="connsiteY1621" fmla="*/ 1832665 h 7216489"/>
                <a:gd name="connsiteX1622" fmla="*/ 1439951 w 4016827"/>
                <a:gd name="connsiteY1622" fmla="*/ 1842734 h 7216489"/>
                <a:gd name="connsiteX1623" fmla="*/ 1429881 w 4016827"/>
                <a:gd name="connsiteY1623" fmla="*/ 1832665 h 7216489"/>
                <a:gd name="connsiteX1624" fmla="*/ 1439951 w 4016827"/>
                <a:gd name="connsiteY1624" fmla="*/ 1822595 h 7216489"/>
                <a:gd name="connsiteX1625" fmla="*/ 526975 w 4016827"/>
                <a:gd name="connsiteY1625" fmla="*/ 1815858 h 7216489"/>
                <a:gd name="connsiteX1626" fmla="*/ 543758 w 4016827"/>
                <a:gd name="connsiteY1626" fmla="*/ 1832640 h 7216489"/>
                <a:gd name="connsiteX1627" fmla="*/ 526975 w 4016827"/>
                <a:gd name="connsiteY1627" fmla="*/ 1849423 h 7216489"/>
                <a:gd name="connsiteX1628" fmla="*/ 510192 w 4016827"/>
                <a:gd name="connsiteY1628" fmla="*/ 1832640 h 7216489"/>
                <a:gd name="connsiteX1629" fmla="*/ 526975 w 4016827"/>
                <a:gd name="connsiteY1629" fmla="*/ 1815858 h 7216489"/>
                <a:gd name="connsiteX1630" fmla="*/ 983463 w 4016827"/>
                <a:gd name="connsiteY1630" fmla="*/ 1812512 h 7216489"/>
                <a:gd name="connsiteX1631" fmla="*/ 1003602 w 4016827"/>
                <a:gd name="connsiteY1631" fmla="*/ 1829294 h 7216489"/>
                <a:gd name="connsiteX1632" fmla="*/ 983463 w 4016827"/>
                <a:gd name="connsiteY1632" fmla="*/ 1849434 h 7216489"/>
                <a:gd name="connsiteX1633" fmla="*/ 963324 w 4016827"/>
                <a:gd name="connsiteY1633" fmla="*/ 1832650 h 7216489"/>
                <a:gd name="connsiteX1634" fmla="*/ 983463 w 4016827"/>
                <a:gd name="connsiteY1634" fmla="*/ 1812512 h 7216489"/>
                <a:gd name="connsiteX1635" fmla="*/ 312157 w 4016827"/>
                <a:gd name="connsiteY1635" fmla="*/ 1728581 h 7216489"/>
                <a:gd name="connsiteX1636" fmla="*/ 312157 w 4016827"/>
                <a:gd name="connsiteY1636" fmla="*/ 1731938 h 7216489"/>
                <a:gd name="connsiteX1637" fmla="*/ 312157 w 4016827"/>
                <a:gd name="connsiteY1637" fmla="*/ 1728581 h 7216489"/>
                <a:gd name="connsiteX1638" fmla="*/ 1225134 w 4016827"/>
                <a:gd name="connsiteY1638" fmla="*/ 1715181 h 7216489"/>
                <a:gd name="connsiteX1639" fmla="*/ 1238560 w 4016827"/>
                <a:gd name="connsiteY1639" fmla="*/ 1728607 h 7216489"/>
                <a:gd name="connsiteX1640" fmla="*/ 1225134 w 4016827"/>
                <a:gd name="connsiteY1640" fmla="*/ 1742033 h 7216489"/>
                <a:gd name="connsiteX1641" fmla="*/ 1211708 w 4016827"/>
                <a:gd name="connsiteY1641" fmla="*/ 1728607 h 7216489"/>
                <a:gd name="connsiteX1642" fmla="*/ 1225134 w 4016827"/>
                <a:gd name="connsiteY1642" fmla="*/ 1715181 h 7216489"/>
                <a:gd name="connsiteX1643" fmla="*/ 768646 w 4016827"/>
                <a:gd name="connsiteY1643" fmla="*/ 1708456 h 7216489"/>
                <a:gd name="connsiteX1644" fmla="*/ 792142 w 4016827"/>
                <a:gd name="connsiteY1644" fmla="*/ 1731951 h 7216489"/>
                <a:gd name="connsiteX1645" fmla="*/ 768646 w 4016827"/>
                <a:gd name="connsiteY1645" fmla="*/ 1755446 h 7216489"/>
                <a:gd name="connsiteX1646" fmla="*/ 745150 w 4016827"/>
                <a:gd name="connsiteY1646" fmla="*/ 1731951 h 7216489"/>
                <a:gd name="connsiteX1647" fmla="*/ 768646 w 4016827"/>
                <a:gd name="connsiteY1647" fmla="*/ 1708456 h 7216489"/>
                <a:gd name="connsiteX1648" fmla="*/ 1473517 w 4016827"/>
                <a:gd name="connsiteY1648" fmla="*/ 1624561 h 7216489"/>
                <a:gd name="connsiteX1649" fmla="*/ 1480230 w 4016827"/>
                <a:gd name="connsiteY1649" fmla="*/ 1631275 h 7216489"/>
                <a:gd name="connsiteX1650" fmla="*/ 1473517 w 4016827"/>
                <a:gd name="connsiteY1650" fmla="*/ 1637987 h 7216489"/>
                <a:gd name="connsiteX1651" fmla="*/ 1466804 w 4016827"/>
                <a:gd name="connsiteY1651" fmla="*/ 1631275 h 7216489"/>
                <a:gd name="connsiteX1652" fmla="*/ 1473517 w 4016827"/>
                <a:gd name="connsiteY1652" fmla="*/ 1624561 h 7216489"/>
                <a:gd name="connsiteX1653" fmla="*/ 553827 w 4016827"/>
                <a:gd name="connsiteY1653" fmla="*/ 1617822 h 7216489"/>
                <a:gd name="connsiteX1654" fmla="*/ 567254 w 4016827"/>
                <a:gd name="connsiteY1654" fmla="*/ 1631249 h 7216489"/>
                <a:gd name="connsiteX1655" fmla="*/ 553827 w 4016827"/>
                <a:gd name="connsiteY1655" fmla="*/ 1644675 h 7216489"/>
                <a:gd name="connsiteX1656" fmla="*/ 540401 w 4016827"/>
                <a:gd name="connsiteY1656" fmla="*/ 1631249 h 7216489"/>
                <a:gd name="connsiteX1657" fmla="*/ 553827 w 4016827"/>
                <a:gd name="connsiteY1657" fmla="*/ 1617822 h 7216489"/>
                <a:gd name="connsiteX1658" fmla="*/ 1013672 w 4016827"/>
                <a:gd name="connsiteY1658" fmla="*/ 1611121 h 7216489"/>
                <a:gd name="connsiteX1659" fmla="*/ 1033811 w 4016827"/>
                <a:gd name="connsiteY1659" fmla="*/ 1631261 h 7216489"/>
                <a:gd name="connsiteX1660" fmla="*/ 1013672 w 4016827"/>
                <a:gd name="connsiteY1660" fmla="*/ 1651401 h 7216489"/>
                <a:gd name="connsiteX1661" fmla="*/ 993533 w 4016827"/>
                <a:gd name="connsiteY1661" fmla="*/ 1631261 h 7216489"/>
                <a:gd name="connsiteX1662" fmla="*/ 1013672 w 4016827"/>
                <a:gd name="connsiteY1662" fmla="*/ 1611121 h 7216489"/>
                <a:gd name="connsiteX1663" fmla="*/ 1725256 w 4016827"/>
                <a:gd name="connsiteY1663" fmla="*/ 1530583 h 7216489"/>
                <a:gd name="connsiteX1664" fmla="*/ 1728613 w 4016827"/>
                <a:gd name="connsiteY1664" fmla="*/ 1533939 h 7216489"/>
                <a:gd name="connsiteX1665" fmla="*/ 1725256 w 4016827"/>
                <a:gd name="connsiteY1665" fmla="*/ 1537296 h 7216489"/>
                <a:gd name="connsiteX1666" fmla="*/ 1721900 w 4016827"/>
                <a:gd name="connsiteY1666" fmla="*/ 1533939 h 7216489"/>
                <a:gd name="connsiteX1667" fmla="*/ 1725256 w 4016827"/>
                <a:gd name="connsiteY1667" fmla="*/ 1530583 h 7216489"/>
                <a:gd name="connsiteX1668" fmla="*/ 1262056 w 4016827"/>
                <a:gd name="connsiteY1668" fmla="*/ 1523856 h 7216489"/>
                <a:gd name="connsiteX1669" fmla="*/ 1272125 w 4016827"/>
                <a:gd name="connsiteY1669" fmla="*/ 1533926 h 7216489"/>
                <a:gd name="connsiteX1670" fmla="*/ 1262056 w 4016827"/>
                <a:gd name="connsiteY1670" fmla="*/ 1543996 h 7216489"/>
                <a:gd name="connsiteX1671" fmla="*/ 1251986 w 4016827"/>
                <a:gd name="connsiteY1671" fmla="*/ 1533926 h 7216489"/>
                <a:gd name="connsiteX1672" fmla="*/ 1262056 w 4016827"/>
                <a:gd name="connsiteY1672" fmla="*/ 1523856 h 7216489"/>
                <a:gd name="connsiteX1673" fmla="*/ 798855 w 4016827"/>
                <a:gd name="connsiteY1673" fmla="*/ 1513777 h 7216489"/>
                <a:gd name="connsiteX1674" fmla="*/ 815637 w 4016827"/>
                <a:gd name="connsiteY1674" fmla="*/ 1530558 h 7216489"/>
                <a:gd name="connsiteX1675" fmla="*/ 798855 w 4016827"/>
                <a:gd name="connsiteY1675" fmla="*/ 1547340 h 7216489"/>
                <a:gd name="connsiteX1676" fmla="*/ 782072 w 4016827"/>
                <a:gd name="connsiteY1676" fmla="*/ 1530558 h 7216489"/>
                <a:gd name="connsiteX1677" fmla="*/ 798855 w 4016827"/>
                <a:gd name="connsiteY1677" fmla="*/ 1513777 h 7216489"/>
                <a:gd name="connsiteX1678" fmla="*/ 1517151 w 4016827"/>
                <a:gd name="connsiteY1678" fmla="*/ 1433236 h 7216489"/>
                <a:gd name="connsiteX1679" fmla="*/ 1520508 w 4016827"/>
                <a:gd name="connsiteY1679" fmla="*/ 1436592 h 7216489"/>
                <a:gd name="connsiteX1680" fmla="*/ 1517151 w 4016827"/>
                <a:gd name="connsiteY1680" fmla="*/ 1439949 h 7216489"/>
                <a:gd name="connsiteX1681" fmla="*/ 1513795 w 4016827"/>
                <a:gd name="connsiteY1681" fmla="*/ 1436592 h 7216489"/>
                <a:gd name="connsiteX1682" fmla="*/ 1517151 w 4016827"/>
                <a:gd name="connsiteY1682" fmla="*/ 1433236 h 7216489"/>
                <a:gd name="connsiteX1683" fmla="*/ 587393 w 4016827"/>
                <a:gd name="connsiteY1683" fmla="*/ 1423142 h 7216489"/>
                <a:gd name="connsiteX1684" fmla="*/ 594106 w 4016827"/>
                <a:gd name="connsiteY1684" fmla="*/ 1429855 h 7216489"/>
                <a:gd name="connsiteX1685" fmla="*/ 587393 w 4016827"/>
                <a:gd name="connsiteY1685" fmla="*/ 1436568 h 7216489"/>
                <a:gd name="connsiteX1686" fmla="*/ 580680 w 4016827"/>
                <a:gd name="connsiteY1686" fmla="*/ 1429855 h 7216489"/>
                <a:gd name="connsiteX1687" fmla="*/ 587393 w 4016827"/>
                <a:gd name="connsiteY1687" fmla="*/ 1423142 h 7216489"/>
                <a:gd name="connsiteX1688" fmla="*/ 1050594 w 4016827"/>
                <a:gd name="connsiteY1688" fmla="*/ 1419798 h 7216489"/>
                <a:gd name="connsiteX1689" fmla="*/ 1064020 w 4016827"/>
                <a:gd name="connsiteY1689" fmla="*/ 1433224 h 7216489"/>
                <a:gd name="connsiteX1690" fmla="*/ 1050594 w 4016827"/>
                <a:gd name="connsiteY1690" fmla="*/ 1446650 h 7216489"/>
                <a:gd name="connsiteX1691" fmla="*/ 1037168 w 4016827"/>
                <a:gd name="connsiteY1691" fmla="*/ 1433224 h 7216489"/>
                <a:gd name="connsiteX1692" fmla="*/ 1050594 w 4016827"/>
                <a:gd name="connsiteY1692" fmla="*/ 1419798 h 7216489"/>
                <a:gd name="connsiteX1693" fmla="*/ 1782318 w 4016827"/>
                <a:gd name="connsiteY1693" fmla="*/ 1335905 h 7216489"/>
                <a:gd name="connsiteX1694" fmla="*/ 1782318 w 4016827"/>
                <a:gd name="connsiteY1694" fmla="*/ 1341359 h 7216489"/>
                <a:gd name="connsiteX1695" fmla="*/ 1782318 w 4016827"/>
                <a:gd name="connsiteY1695" fmla="*/ 1342618 h 7216489"/>
                <a:gd name="connsiteX1696" fmla="*/ 1782318 w 4016827"/>
                <a:gd name="connsiteY1696" fmla="*/ 1335905 h 7216489"/>
                <a:gd name="connsiteX1697" fmla="*/ 1309047 w 4016827"/>
                <a:gd name="connsiteY1697" fmla="*/ 1325824 h 7216489"/>
                <a:gd name="connsiteX1698" fmla="*/ 1319117 w 4016827"/>
                <a:gd name="connsiteY1698" fmla="*/ 1335892 h 7216489"/>
                <a:gd name="connsiteX1699" fmla="*/ 1309047 w 4016827"/>
                <a:gd name="connsiteY1699" fmla="*/ 1345962 h 7216489"/>
                <a:gd name="connsiteX1700" fmla="*/ 1298977 w 4016827"/>
                <a:gd name="connsiteY1700" fmla="*/ 1335892 h 7216489"/>
                <a:gd name="connsiteX1701" fmla="*/ 1309047 w 4016827"/>
                <a:gd name="connsiteY1701" fmla="*/ 1325824 h 7216489"/>
                <a:gd name="connsiteX1702" fmla="*/ 842488 w 4016827"/>
                <a:gd name="connsiteY1702" fmla="*/ 1322455 h 7216489"/>
                <a:gd name="connsiteX1703" fmla="*/ 852558 w 4016827"/>
                <a:gd name="connsiteY1703" fmla="*/ 1332525 h 7216489"/>
                <a:gd name="connsiteX1704" fmla="*/ 842488 w 4016827"/>
                <a:gd name="connsiteY1704" fmla="*/ 1342593 h 7216489"/>
                <a:gd name="connsiteX1705" fmla="*/ 832419 w 4016827"/>
                <a:gd name="connsiteY1705" fmla="*/ 1332525 h 7216489"/>
                <a:gd name="connsiteX1706" fmla="*/ 842488 w 4016827"/>
                <a:gd name="connsiteY1706" fmla="*/ 1322455 h 7216489"/>
                <a:gd name="connsiteX1707" fmla="*/ 1574212 w 4016827"/>
                <a:gd name="connsiteY1707" fmla="*/ 1231846 h 7216489"/>
                <a:gd name="connsiteX1708" fmla="*/ 1580925 w 4016827"/>
                <a:gd name="connsiteY1708" fmla="*/ 1238559 h 7216489"/>
                <a:gd name="connsiteX1709" fmla="*/ 1574212 w 4016827"/>
                <a:gd name="connsiteY1709" fmla="*/ 1245269 h 7216489"/>
                <a:gd name="connsiteX1710" fmla="*/ 1567499 w 4016827"/>
                <a:gd name="connsiteY1710" fmla="*/ 1238559 h 7216489"/>
                <a:gd name="connsiteX1711" fmla="*/ 1574212 w 4016827"/>
                <a:gd name="connsiteY1711" fmla="*/ 1231846 h 7216489"/>
                <a:gd name="connsiteX1712" fmla="*/ 1100942 w 4016827"/>
                <a:gd name="connsiteY1712" fmla="*/ 1218408 h 7216489"/>
                <a:gd name="connsiteX1713" fmla="*/ 1117724 w 4016827"/>
                <a:gd name="connsiteY1713" fmla="*/ 1235192 h 7216489"/>
                <a:gd name="connsiteX1714" fmla="*/ 1100942 w 4016827"/>
                <a:gd name="connsiteY1714" fmla="*/ 1251973 h 7216489"/>
                <a:gd name="connsiteX1715" fmla="*/ 1084159 w 4016827"/>
                <a:gd name="connsiteY1715" fmla="*/ 1235192 h 7216489"/>
                <a:gd name="connsiteX1716" fmla="*/ 1100942 w 4016827"/>
                <a:gd name="connsiteY1716" fmla="*/ 1218408 h 7216489"/>
                <a:gd name="connsiteX1717" fmla="*/ 1369465 w 4016827"/>
                <a:gd name="connsiteY1717" fmla="*/ 1134500 h 7216489"/>
                <a:gd name="connsiteX1718" fmla="*/ 1376178 w 4016827"/>
                <a:gd name="connsiteY1718" fmla="*/ 1141213 h 7216489"/>
                <a:gd name="connsiteX1719" fmla="*/ 1369465 w 4016827"/>
                <a:gd name="connsiteY1719" fmla="*/ 1147925 h 7216489"/>
                <a:gd name="connsiteX1720" fmla="*/ 1362752 w 4016827"/>
                <a:gd name="connsiteY1720" fmla="*/ 1141213 h 7216489"/>
                <a:gd name="connsiteX1721" fmla="*/ 1369465 w 4016827"/>
                <a:gd name="connsiteY1721" fmla="*/ 1134500 h 7216489"/>
                <a:gd name="connsiteX1722" fmla="*/ 896193 w 4016827"/>
                <a:gd name="connsiteY1722" fmla="*/ 1127776 h 7216489"/>
                <a:gd name="connsiteX1723" fmla="*/ 906263 w 4016827"/>
                <a:gd name="connsiteY1723" fmla="*/ 1137846 h 7216489"/>
                <a:gd name="connsiteX1724" fmla="*/ 896193 w 4016827"/>
                <a:gd name="connsiteY1724" fmla="*/ 1147915 h 7216489"/>
                <a:gd name="connsiteX1725" fmla="*/ 886123 w 4016827"/>
                <a:gd name="connsiteY1725" fmla="*/ 1137846 h 7216489"/>
                <a:gd name="connsiteX1726" fmla="*/ 896193 w 4016827"/>
                <a:gd name="connsiteY1726" fmla="*/ 1127776 h 7216489"/>
                <a:gd name="connsiteX1727" fmla="*/ 1644700 w 4016827"/>
                <a:gd name="connsiteY1727" fmla="*/ 1043878 h 7216489"/>
                <a:gd name="connsiteX1728" fmla="*/ 1644700 w 4016827"/>
                <a:gd name="connsiteY1728" fmla="*/ 1050591 h 7216489"/>
                <a:gd name="connsiteX1729" fmla="*/ 1644700 w 4016827"/>
                <a:gd name="connsiteY1729" fmla="*/ 1043878 h 7216489"/>
                <a:gd name="connsiteX1730" fmla="*/ 1164716 w 4016827"/>
                <a:gd name="connsiteY1730" fmla="*/ 1030441 h 7216489"/>
                <a:gd name="connsiteX1731" fmla="*/ 1174786 w 4016827"/>
                <a:gd name="connsiteY1731" fmla="*/ 1040512 h 7216489"/>
                <a:gd name="connsiteX1732" fmla="*/ 1164716 w 4016827"/>
                <a:gd name="connsiteY1732" fmla="*/ 1050581 h 7216489"/>
                <a:gd name="connsiteX1733" fmla="*/ 1154646 w 4016827"/>
                <a:gd name="connsiteY1733" fmla="*/ 1040512 h 7216489"/>
                <a:gd name="connsiteX1734" fmla="*/ 1164716 w 4016827"/>
                <a:gd name="connsiteY1734" fmla="*/ 1030441 h 7216489"/>
                <a:gd name="connsiteX1735" fmla="*/ 1439951 w 4016827"/>
                <a:gd name="connsiteY1735" fmla="*/ 939813 h 7216489"/>
                <a:gd name="connsiteX1736" fmla="*/ 1450020 w 4016827"/>
                <a:gd name="connsiteY1736" fmla="*/ 949882 h 7216489"/>
                <a:gd name="connsiteX1737" fmla="*/ 1439951 w 4016827"/>
                <a:gd name="connsiteY1737" fmla="*/ 959953 h 7216489"/>
                <a:gd name="connsiteX1738" fmla="*/ 1429881 w 4016827"/>
                <a:gd name="connsiteY1738" fmla="*/ 949882 h 7216489"/>
                <a:gd name="connsiteX1739" fmla="*/ 1439951 w 4016827"/>
                <a:gd name="connsiteY1739" fmla="*/ 939813 h 7216489"/>
                <a:gd name="connsiteX1740" fmla="*/ 959967 w 4016827"/>
                <a:gd name="connsiteY1740" fmla="*/ 933090 h 7216489"/>
                <a:gd name="connsiteX1741" fmla="*/ 970037 w 4016827"/>
                <a:gd name="connsiteY1741" fmla="*/ 943159 h 7216489"/>
                <a:gd name="connsiteX1742" fmla="*/ 959967 w 4016827"/>
                <a:gd name="connsiteY1742" fmla="*/ 953228 h 7216489"/>
                <a:gd name="connsiteX1743" fmla="*/ 949898 w 4016827"/>
                <a:gd name="connsiteY1743" fmla="*/ 943159 h 7216489"/>
                <a:gd name="connsiteX1744" fmla="*/ 959967 w 4016827"/>
                <a:gd name="connsiteY1744" fmla="*/ 933090 h 7216489"/>
                <a:gd name="connsiteX1745" fmla="*/ 1728613 w 4016827"/>
                <a:gd name="connsiteY1745" fmla="*/ 859262 h 7216489"/>
                <a:gd name="connsiteX1746" fmla="*/ 1731970 w 4016827"/>
                <a:gd name="connsiteY1746" fmla="*/ 862618 h 7216489"/>
                <a:gd name="connsiteX1747" fmla="*/ 1728613 w 4016827"/>
                <a:gd name="connsiteY1747" fmla="*/ 865975 h 7216489"/>
                <a:gd name="connsiteX1748" fmla="*/ 1725256 w 4016827"/>
                <a:gd name="connsiteY1748" fmla="*/ 862618 h 7216489"/>
                <a:gd name="connsiteX1749" fmla="*/ 1728613 w 4016827"/>
                <a:gd name="connsiteY1749" fmla="*/ 859262 h 7216489"/>
                <a:gd name="connsiteX1750" fmla="*/ 1235203 w 4016827"/>
                <a:gd name="connsiteY1750" fmla="*/ 845825 h 7216489"/>
                <a:gd name="connsiteX1751" fmla="*/ 1241916 w 4016827"/>
                <a:gd name="connsiteY1751" fmla="*/ 852538 h 7216489"/>
                <a:gd name="connsiteX1752" fmla="*/ 1235203 w 4016827"/>
                <a:gd name="connsiteY1752" fmla="*/ 859251 h 7216489"/>
                <a:gd name="connsiteX1753" fmla="*/ 1228490 w 4016827"/>
                <a:gd name="connsiteY1753" fmla="*/ 852538 h 7216489"/>
                <a:gd name="connsiteX1754" fmla="*/ 1235203 w 4016827"/>
                <a:gd name="connsiteY1754" fmla="*/ 845825 h 7216489"/>
                <a:gd name="connsiteX1755" fmla="*/ 2027344 w 4016827"/>
                <a:gd name="connsiteY1755" fmla="*/ 778710 h 7216489"/>
                <a:gd name="connsiteX1756" fmla="*/ 2027344 w 4016827"/>
                <a:gd name="connsiteY1756" fmla="*/ 782066 h 7216489"/>
                <a:gd name="connsiteX1757" fmla="*/ 2027344 w 4016827"/>
                <a:gd name="connsiteY1757" fmla="*/ 778710 h 7216489"/>
                <a:gd name="connsiteX1758" fmla="*/ 1523864 w 4016827"/>
                <a:gd name="connsiteY1758" fmla="*/ 751848 h 7216489"/>
                <a:gd name="connsiteX1759" fmla="*/ 1537290 w 4016827"/>
                <a:gd name="connsiteY1759" fmla="*/ 765275 h 7216489"/>
                <a:gd name="connsiteX1760" fmla="*/ 1523864 w 4016827"/>
                <a:gd name="connsiteY1760" fmla="*/ 778701 h 7216489"/>
                <a:gd name="connsiteX1761" fmla="*/ 1510438 w 4016827"/>
                <a:gd name="connsiteY1761" fmla="*/ 765275 h 7216489"/>
                <a:gd name="connsiteX1762" fmla="*/ 1523864 w 4016827"/>
                <a:gd name="connsiteY1762" fmla="*/ 751848 h 7216489"/>
                <a:gd name="connsiteX1763" fmla="*/ 1033811 w 4016827"/>
                <a:gd name="connsiteY1763" fmla="*/ 745126 h 7216489"/>
                <a:gd name="connsiteX1764" fmla="*/ 1040524 w 4016827"/>
                <a:gd name="connsiteY1764" fmla="*/ 751838 h 7216489"/>
                <a:gd name="connsiteX1765" fmla="*/ 1033811 w 4016827"/>
                <a:gd name="connsiteY1765" fmla="*/ 758551 h 7216489"/>
                <a:gd name="connsiteX1766" fmla="*/ 1027098 w 4016827"/>
                <a:gd name="connsiteY1766" fmla="*/ 751838 h 7216489"/>
                <a:gd name="connsiteX1767" fmla="*/ 1033811 w 4016827"/>
                <a:gd name="connsiteY1767" fmla="*/ 745126 h 7216489"/>
                <a:gd name="connsiteX1768" fmla="*/ 1822596 w 4016827"/>
                <a:gd name="connsiteY1768" fmla="*/ 681366 h 7216489"/>
                <a:gd name="connsiteX1769" fmla="*/ 1822596 w 4016827"/>
                <a:gd name="connsiteY1769" fmla="*/ 684723 h 7216489"/>
                <a:gd name="connsiteX1770" fmla="*/ 1822596 w 4016827"/>
                <a:gd name="connsiteY1770" fmla="*/ 681366 h 7216489"/>
                <a:gd name="connsiteX1771" fmla="*/ 1319117 w 4016827"/>
                <a:gd name="connsiteY1771" fmla="*/ 654504 h 7216489"/>
                <a:gd name="connsiteX1772" fmla="*/ 1329186 w 4016827"/>
                <a:gd name="connsiteY1772" fmla="*/ 664574 h 7216489"/>
                <a:gd name="connsiteX1773" fmla="*/ 1319117 w 4016827"/>
                <a:gd name="connsiteY1773" fmla="*/ 674643 h 7216489"/>
                <a:gd name="connsiteX1774" fmla="*/ 1309047 w 4016827"/>
                <a:gd name="connsiteY1774" fmla="*/ 664574 h 7216489"/>
                <a:gd name="connsiteX1775" fmla="*/ 1319117 w 4016827"/>
                <a:gd name="connsiteY1775" fmla="*/ 654504 h 7216489"/>
                <a:gd name="connsiteX1776" fmla="*/ 2131396 w 4016827"/>
                <a:gd name="connsiteY1776" fmla="*/ 607528 h 7216489"/>
                <a:gd name="connsiteX1777" fmla="*/ 2131396 w 4016827"/>
                <a:gd name="connsiteY1777" fmla="*/ 610885 h 7216489"/>
                <a:gd name="connsiteX1778" fmla="*/ 2131396 w 4016827"/>
                <a:gd name="connsiteY1778" fmla="*/ 609627 h 7216489"/>
                <a:gd name="connsiteX1779" fmla="*/ 1617847 w 4016827"/>
                <a:gd name="connsiteY1779" fmla="*/ 577309 h 7216489"/>
                <a:gd name="connsiteX1780" fmla="*/ 1624560 w 4016827"/>
                <a:gd name="connsiteY1780" fmla="*/ 584023 h 7216489"/>
                <a:gd name="connsiteX1781" fmla="*/ 1617847 w 4016827"/>
                <a:gd name="connsiteY1781" fmla="*/ 590735 h 7216489"/>
                <a:gd name="connsiteX1782" fmla="*/ 1611134 w 4016827"/>
                <a:gd name="connsiteY1782" fmla="*/ 584023 h 7216489"/>
                <a:gd name="connsiteX1783" fmla="*/ 1617847 w 4016827"/>
                <a:gd name="connsiteY1783" fmla="*/ 577309 h 7216489"/>
                <a:gd name="connsiteX1784" fmla="*/ 1926649 w 4016827"/>
                <a:gd name="connsiteY1784" fmla="*/ 506828 h 7216489"/>
                <a:gd name="connsiteX1785" fmla="*/ 1930005 w 4016827"/>
                <a:gd name="connsiteY1785" fmla="*/ 510184 h 7216489"/>
                <a:gd name="connsiteX1786" fmla="*/ 1926649 w 4016827"/>
                <a:gd name="connsiteY1786" fmla="*/ 513541 h 7216489"/>
                <a:gd name="connsiteX1787" fmla="*/ 1923292 w 4016827"/>
                <a:gd name="connsiteY1787" fmla="*/ 510184 h 7216489"/>
                <a:gd name="connsiteX1788" fmla="*/ 1926649 w 4016827"/>
                <a:gd name="connsiteY1788" fmla="*/ 506828 h 7216489"/>
                <a:gd name="connsiteX1789" fmla="*/ 1413099 w 4016827"/>
                <a:gd name="connsiteY1789" fmla="*/ 476608 h 7216489"/>
                <a:gd name="connsiteX1790" fmla="*/ 1423168 w 4016827"/>
                <a:gd name="connsiteY1790" fmla="*/ 486678 h 7216489"/>
                <a:gd name="connsiteX1791" fmla="*/ 1413099 w 4016827"/>
                <a:gd name="connsiteY1791" fmla="*/ 496747 h 7216489"/>
                <a:gd name="connsiteX1792" fmla="*/ 1403029 w 4016827"/>
                <a:gd name="connsiteY1792" fmla="*/ 486678 h 7216489"/>
                <a:gd name="connsiteX1793" fmla="*/ 1413099 w 4016827"/>
                <a:gd name="connsiteY1793" fmla="*/ 476608 h 7216489"/>
                <a:gd name="connsiteX1794" fmla="*/ 2252232 w 4016827"/>
                <a:gd name="connsiteY1794" fmla="*/ 439702 h 7216489"/>
                <a:gd name="connsiteX1795" fmla="*/ 2252232 w 4016827"/>
                <a:gd name="connsiteY1795" fmla="*/ 446415 h 7216489"/>
                <a:gd name="connsiteX1796" fmla="*/ 2252232 w 4016827"/>
                <a:gd name="connsiteY1796" fmla="*/ 439702 h 7216489"/>
                <a:gd name="connsiteX1797" fmla="*/ 1721900 w 4016827"/>
                <a:gd name="connsiteY1797" fmla="*/ 402770 h 7216489"/>
                <a:gd name="connsiteX1798" fmla="*/ 1728613 w 4016827"/>
                <a:gd name="connsiteY1798" fmla="*/ 409483 h 7216489"/>
                <a:gd name="connsiteX1799" fmla="*/ 1721900 w 4016827"/>
                <a:gd name="connsiteY1799" fmla="*/ 416196 h 7216489"/>
                <a:gd name="connsiteX1800" fmla="*/ 1715187 w 4016827"/>
                <a:gd name="connsiteY1800" fmla="*/ 409483 h 7216489"/>
                <a:gd name="connsiteX1801" fmla="*/ 1721900 w 4016827"/>
                <a:gd name="connsiteY1801" fmla="*/ 402770 h 7216489"/>
                <a:gd name="connsiteX1802" fmla="*/ 2044126 w 4016827"/>
                <a:gd name="connsiteY1802" fmla="*/ 339001 h 7216489"/>
                <a:gd name="connsiteX1803" fmla="*/ 2044126 w 4016827"/>
                <a:gd name="connsiteY1803" fmla="*/ 345715 h 7216489"/>
                <a:gd name="connsiteX1804" fmla="*/ 2044126 w 4016827"/>
                <a:gd name="connsiteY1804" fmla="*/ 339001 h 7216489"/>
                <a:gd name="connsiteX1805" fmla="*/ 1517151 w 4016827"/>
                <a:gd name="connsiteY1805" fmla="*/ 305426 h 7216489"/>
                <a:gd name="connsiteX1806" fmla="*/ 1517151 w 4016827"/>
                <a:gd name="connsiteY1806" fmla="*/ 312139 h 7216489"/>
                <a:gd name="connsiteX1807" fmla="*/ 1517151 w 4016827"/>
                <a:gd name="connsiteY1807" fmla="*/ 305426 h 7216489"/>
                <a:gd name="connsiteX1808" fmla="*/ 2379780 w 4016827"/>
                <a:gd name="connsiteY1808" fmla="*/ 285303 h 7216489"/>
                <a:gd name="connsiteX1809" fmla="*/ 2379780 w 4016827"/>
                <a:gd name="connsiteY1809" fmla="*/ 288659 h 7216489"/>
                <a:gd name="connsiteX1810" fmla="*/ 2379780 w 4016827"/>
                <a:gd name="connsiteY1810" fmla="*/ 285303 h 7216489"/>
                <a:gd name="connsiteX1811" fmla="*/ 1834762 w 4016827"/>
                <a:gd name="connsiteY1811" fmla="*/ 240820 h 7216489"/>
                <a:gd name="connsiteX1812" fmla="*/ 1836021 w 4016827"/>
                <a:gd name="connsiteY1812" fmla="*/ 241658 h 7216489"/>
                <a:gd name="connsiteX1813" fmla="*/ 1836021 w 4016827"/>
                <a:gd name="connsiteY1813" fmla="*/ 245015 h 7216489"/>
                <a:gd name="connsiteX1814" fmla="*/ 1834762 w 4016827"/>
                <a:gd name="connsiteY1814" fmla="*/ 240820 h 7216489"/>
                <a:gd name="connsiteX1815" fmla="*/ 2168318 w 4016827"/>
                <a:gd name="connsiteY1815" fmla="*/ 181245 h 7216489"/>
                <a:gd name="connsiteX1816" fmla="*/ 2168318 w 4016827"/>
                <a:gd name="connsiteY1816" fmla="*/ 184602 h 7216489"/>
                <a:gd name="connsiteX1817" fmla="*/ 2168318 w 4016827"/>
                <a:gd name="connsiteY1817" fmla="*/ 181245 h 7216489"/>
                <a:gd name="connsiteX1818" fmla="*/ 2520754 w 4016827"/>
                <a:gd name="connsiteY1818" fmla="*/ 137617 h 7216489"/>
                <a:gd name="connsiteX1819" fmla="*/ 2520754 w 4016827"/>
                <a:gd name="connsiteY1819" fmla="*/ 140974 h 7216489"/>
                <a:gd name="connsiteX1820" fmla="*/ 2520754 w 4016827"/>
                <a:gd name="connsiteY1820" fmla="*/ 137617 h 7216489"/>
                <a:gd name="connsiteX1821" fmla="*/ 1960213 w 4016827"/>
                <a:gd name="connsiteY1821" fmla="*/ 77189 h 7216489"/>
                <a:gd name="connsiteX1822" fmla="*/ 1960213 w 4016827"/>
                <a:gd name="connsiteY1822" fmla="*/ 83901 h 7216489"/>
                <a:gd name="connsiteX1823" fmla="*/ 1960213 w 4016827"/>
                <a:gd name="connsiteY1823" fmla="*/ 77189 h 7216489"/>
                <a:gd name="connsiteX1824" fmla="*/ 2305936 w 4016827"/>
                <a:gd name="connsiteY1824" fmla="*/ 30203 h 7216489"/>
                <a:gd name="connsiteX1825" fmla="*/ 2305936 w 4016827"/>
                <a:gd name="connsiteY1825" fmla="*/ 33559 h 7216489"/>
                <a:gd name="connsiteX1826" fmla="*/ 2305936 w 4016827"/>
                <a:gd name="connsiteY1826" fmla="*/ 30203 h 7216489"/>
                <a:gd name="connsiteX1827" fmla="*/ 2668441 w 4016827"/>
                <a:gd name="connsiteY1827" fmla="*/ 0 h 7216489"/>
                <a:gd name="connsiteX1828" fmla="*/ 2668441 w 4016827"/>
                <a:gd name="connsiteY1828" fmla="*/ 3357 h 7216489"/>
                <a:gd name="connsiteX1829" fmla="*/ 2668441 w 4016827"/>
                <a:gd name="connsiteY1829" fmla="*/ 0 h 721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Lst>
              <a:rect l="l" t="t" r="r" b="b"/>
              <a:pathLst>
                <a:path w="4016827" h="7216489">
                  <a:moveTo>
                    <a:pt x="3030947" y="7203063"/>
                  </a:moveTo>
                  <a:cubicBezTo>
                    <a:pt x="3034304" y="7203063"/>
                    <a:pt x="3037660" y="7206420"/>
                    <a:pt x="3037660" y="7209776"/>
                  </a:cubicBezTo>
                  <a:cubicBezTo>
                    <a:pt x="3037660" y="7213133"/>
                    <a:pt x="3034304" y="7216489"/>
                    <a:pt x="3030947" y="7216489"/>
                  </a:cubicBezTo>
                  <a:cubicBezTo>
                    <a:pt x="3027590" y="7216489"/>
                    <a:pt x="3024234" y="7213133"/>
                    <a:pt x="3024234" y="7209776"/>
                  </a:cubicBezTo>
                  <a:cubicBezTo>
                    <a:pt x="3024234" y="7206420"/>
                    <a:pt x="3027590" y="7203063"/>
                    <a:pt x="3030947" y="7203063"/>
                  </a:cubicBezTo>
                  <a:close/>
                  <a:moveTo>
                    <a:pt x="3873436" y="7149359"/>
                  </a:moveTo>
                  <a:cubicBezTo>
                    <a:pt x="3883505" y="7149359"/>
                    <a:pt x="3893574" y="7159428"/>
                    <a:pt x="3893574" y="7169498"/>
                  </a:cubicBezTo>
                  <a:cubicBezTo>
                    <a:pt x="3893574" y="7179568"/>
                    <a:pt x="3883505" y="7189637"/>
                    <a:pt x="3873436" y="7189637"/>
                  </a:cubicBezTo>
                  <a:cubicBezTo>
                    <a:pt x="3863366" y="7189637"/>
                    <a:pt x="3853295" y="7179568"/>
                    <a:pt x="3853295" y="7169498"/>
                  </a:cubicBezTo>
                  <a:cubicBezTo>
                    <a:pt x="3853295" y="7159428"/>
                    <a:pt x="3863366" y="7149359"/>
                    <a:pt x="3873436" y="7149359"/>
                  </a:cubicBezTo>
                  <a:close/>
                  <a:moveTo>
                    <a:pt x="2839624" y="7142646"/>
                  </a:moveTo>
                  <a:cubicBezTo>
                    <a:pt x="2839624" y="7142646"/>
                    <a:pt x="2842981" y="7142646"/>
                    <a:pt x="2839624" y="7146002"/>
                  </a:cubicBezTo>
                  <a:cubicBezTo>
                    <a:pt x="2836268" y="7142646"/>
                    <a:pt x="2839624" y="7142646"/>
                    <a:pt x="2839624" y="7142646"/>
                  </a:cubicBezTo>
                  <a:close/>
                  <a:moveTo>
                    <a:pt x="3675402" y="7109080"/>
                  </a:moveTo>
                  <a:cubicBezTo>
                    <a:pt x="3688828" y="7109080"/>
                    <a:pt x="3702254" y="7122506"/>
                    <a:pt x="3702254" y="7135933"/>
                  </a:cubicBezTo>
                  <a:cubicBezTo>
                    <a:pt x="3702254" y="7149359"/>
                    <a:pt x="3688828" y="7162785"/>
                    <a:pt x="3675402" y="7162785"/>
                  </a:cubicBezTo>
                  <a:cubicBezTo>
                    <a:pt x="3658618" y="7162785"/>
                    <a:pt x="3645192" y="7149359"/>
                    <a:pt x="3648550" y="7135933"/>
                  </a:cubicBezTo>
                  <a:cubicBezTo>
                    <a:pt x="3648550" y="7122506"/>
                    <a:pt x="3661976" y="7109080"/>
                    <a:pt x="3675402" y="7109080"/>
                  </a:cubicBezTo>
                  <a:close/>
                  <a:moveTo>
                    <a:pt x="3474010" y="7055376"/>
                  </a:moveTo>
                  <a:cubicBezTo>
                    <a:pt x="3494147" y="7055376"/>
                    <a:pt x="3510931" y="7072158"/>
                    <a:pt x="3510931" y="7092298"/>
                  </a:cubicBezTo>
                  <a:cubicBezTo>
                    <a:pt x="3510931" y="7112437"/>
                    <a:pt x="3494147" y="7129220"/>
                    <a:pt x="3474010" y="7129220"/>
                  </a:cubicBezTo>
                  <a:cubicBezTo>
                    <a:pt x="3453868" y="7129220"/>
                    <a:pt x="3437087" y="7112437"/>
                    <a:pt x="3437087" y="7092298"/>
                  </a:cubicBezTo>
                  <a:cubicBezTo>
                    <a:pt x="3437087" y="7072158"/>
                    <a:pt x="3453868" y="7055376"/>
                    <a:pt x="3474010" y="7055376"/>
                  </a:cubicBezTo>
                  <a:close/>
                  <a:moveTo>
                    <a:pt x="3279328" y="7021810"/>
                  </a:moveTo>
                  <a:cubicBezTo>
                    <a:pt x="3292755" y="7021810"/>
                    <a:pt x="3302826" y="7031880"/>
                    <a:pt x="3302826" y="7045306"/>
                  </a:cubicBezTo>
                  <a:cubicBezTo>
                    <a:pt x="3302826" y="7058732"/>
                    <a:pt x="3292755" y="7068802"/>
                    <a:pt x="3279328" y="7068802"/>
                  </a:cubicBezTo>
                  <a:cubicBezTo>
                    <a:pt x="3265902" y="7068802"/>
                    <a:pt x="3252476" y="7058732"/>
                    <a:pt x="3255834" y="7045306"/>
                  </a:cubicBezTo>
                  <a:cubicBezTo>
                    <a:pt x="3255834" y="7031880"/>
                    <a:pt x="3265902" y="7021810"/>
                    <a:pt x="3279328" y="7021810"/>
                  </a:cubicBezTo>
                  <a:close/>
                  <a:moveTo>
                    <a:pt x="2463694" y="6984888"/>
                  </a:moveTo>
                  <a:cubicBezTo>
                    <a:pt x="2467050" y="6984888"/>
                    <a:pt x="2470406" y="6988245"/>
                    <a:pt x="2470406" y="6991602"/>
                  </a:cubicBezTo>
                  <a:cubicBezTo>
                    <a:pt x="2470406" y="6994958"/>
                    <a:pt x="2467050" y="6998315"/>
                    <a:pt x="2463694" y="6998315"/>
                  </a:cubicBezTo>
                  <a:cubicBezTo>
                    <a:pt x="2460337" y="6998315"/>
                    <a:pt x="2456980" y="6994958"/>
                    <a:pt x="2456980" y="6991602"/>
                  </a:cubicBezTo>
                  <a:cubicBezTo>
                    <a:pt x="2456980" y="6988245"/>
                    <a:pt x="2460337" y="6984888"/>
                    <a:pt x="2463694" y="6984888"/>
                  </a:cubicBezTo>
                  <a:close/>
                  <a:moveTo>
                    <a:pt x="3081295" y="6911045"/>
                  </a:moveTo>
                  <a:cubicBezTo>
                    <a:pt x="3123931" y="6911045"/>
                    <a:pt x="3158496" y="6945608"/>
                    <a:pt x="3158496" y="6988245"/>
                  </a:cubicBezTo>
                  <a:cubicBezTo>
                    <a:pt x="3158496" y="7030881"/>
                    <a:pt x="3123931" y="7065445"/>
                    <a:pt x="3081295" y="7065445"/>
                  </a:cubicBezTo>
                  <a:cubicBezTo>
                    <a:pt x="3038658" y="7065445"/>
                    <a:pt x="3004095" y="7030882"/>
                    <a:pt x="3004095" y="6988245"/>
                  </a:cubicBezTo>
                  <a:cubicBezTo>
                    <a:pt x="3004095" y="6945609"/>
                    <a:pt x="3038658" y="6911045"/>
                    <a:pt x="3081295" y="6911045"/>
                  </a:cubicBezTo>
                  <a:close/>
                  <a:moveTo>
                    <a:pt x="2279084" y="6897619"/>
                  </a:moveTo>
                  <a:cubicBezTo>
                    <a:pt x="2282440" y="6897619"/>
                    <a:pt x="2285797" y="6900975"/>
                    <a:pt x="2285797" y="6904332"/>
                  </a:cubicBezTo>
                  <a:cubicBezTo>
                    <a:pt x="2285797" y="6907688"/>
                    <a:pt x="2282440" y="6911045"/>
                    <a:pt x="2279084" y="6911045"/>
                  </a:cubicBezTo>
                  <a:cubicBezTo>
                    <a:pt x="2275728" y="6911045"/>
                    <a:pt x="2272371" y="6911045"/>
                    <a:pt x="2272371" y="6904332"/>
                  </a:cubicBezTo>
                  <a:cubicBezTo>
                    <a:pt x="2272371" y="6900975"/>
                    <a:pt x="2275728" y="6897619"/>
                    <a:pt x="2279084" y="6897619"/>
                  </a:cubicBezTo>
                  <a:close/>
                  <a:moveTo>
                    <a:pt x="3923784" y="6877479"/>
                  </a:moveTo>
                  <a:cubicBezTo>
                    <a:pt x="3960704" y="6877479"/>
                    <a:pt x="3994272" y="6907688"/>
                    <a:pt x="3994272" y="6947967"/>
                  </a:cubicBezTo>
                  <a:cubicBezTo>
                    <a:pt x="3994272" y="6984888"/>
                    <a:pt x="3964062" y="7018454"/>
                    <a:pt x="3923784" y="7018454"/>
                  </a:cubicBezTo>
                  <a:cubicBezTo>
                    <a:pt x="3886863" y="7018454"/>
                    <a:pt x="3853295" y="6984888"/>
                    <a:pt x="3853295" y="6947967"/>
                  </a:cubicBezTo>
                  <a:cubicBezTo>
                    <a:pt x="3853295" y="6911045"/>
                    <a:pt x="3883505" y="6877479"/>
                    <a:pt x="3923784" y="6877479"/>
                  </a:cubicBezTo>
                  <a:close/>
                  <a:moveTo>
                    <a:pt x="2889972" y="6860697"/>
                  </a:moveTo>
                  <a:cubicBezTo>
                    <a:pt x="2923538" y="6860697"/>
                    <a:pt x="2950390" y="6887549"/>
                    <a:pt x="2950390" y="6921114"/>
                  </a:cubicBezTo>
                  <a:cubicBezTo>
                    <a:pt x="2950390" y="6954680"/>
                    <a:pt x="2923538" y="6981532"/>
                    <a:pt x="2889972" y="6981532"/>
                  </a:cubicBezTo>
                  <a:cubicBezTo>
                    <a:pt x="2856407" y="6981532"/>
                    <a:pt x="2829555" y="6954680"/>
                    <a:pt x="2829555" y="6921114"/>
                  </a:cubicBezTo>
                  <a:cubicBezTo>
                    <a:pt x="2829555" y="6887549"/>
                    <a:pt x="2856407" y="6860697"/>
                    <a:pt x="2889972" y="6860697"/>
                  </a:cubicBezTo>
                  <a:close/>
                  <a:moveTo>
                    <a:pt x="3725749" y="6840557"/>
                  </a:moveTo>
                  <a:cubicBezTo>
                    <a:pt x="3766028" y="6840557"/>
                    <a:pt x="3796237" y="6874123"/>
                    <a:pt x="3796237" y="6911045"/>
                  </a:cubicBezTo>
                  <a:cubicBezTo>
                    <a:pt x="3796237" y="6951323"/>
                    <a:pt x="3762670" y="6981532"/>
                    <a:pt x="3725749" y="6981532"/>
                  </a:cubicBezTo>
                  <a:cubicBezTo>
                    <a:pt x="3685470" y="6981532"/>
                    <a:pt x="3655261" y="6951323"/>
                    <a:pt x="3655261" y="6911045"/>
                  </a:cubicBezTo>
                  <a:cubicBezTo>
                    <a:pt x="3655261" y="6870766"/>
                    <a:pt x="3688828" y="6840557"/>
                    <a:pt x="3725749" y="6840557"/>
                  </a:cubicBezTo>
                  <a:close/>
                  <a:moveTo>
                    <a:pt x="2702006" y="6817062"/>
                  </a:moveTo>
                  <a:cubicBezTo>
                    <a:pt x="2718789" y="6817062"/>
                    <a:pt x="2732215" y="6830488"/>
                    <a:pt x="2732215" y="6847271"/>
                  </a:cubicBezTo>
                  <a:cubicBezTo>
                    <a:pt x="2732215" y="6864053"/>
                    <a:pt x="2718789" y="6877479"/>
                    <a:pt x="2702006" y="6877479"/>
                  </a:cubicBezTo>
                  <a:cubicBezTo>
                    <a:pt x="2685224" y="6877479"/>
                    <a:pt x="2671798" y="6864053"/>
                    <a:pt x="2671798" y="6847271"/>
                  </a:cubicBezTo>
                  <a:cubicBezTo>
                    <a:pt x="2671798" y="6830488"/>
                    <a:pt x="2685224" y="6817062"/>
                    <a:pt x="2702006" y="6817062"/>
                  </a:cubicBezTo>
                  <a:close/>
                  <a:moveTo>
                    <a:pt x="3524357" y="6793566"/>
                  </a:moveTo>
                  <a:cubicBezTo>
                    <a:pt x="3567993" y="6793566"/>
                    <a:pt x="3601556" y="6827131"/>
                    <a:pt x="3601556" y="6870766"/>
                  </a:cubicBezTo>
                  <a:cubicBezTo>
                    <a:pt x="3601556" y="6914401"/>
                    <a:pt x="3567993" y="6947967"/>
                    <a:pt x="3524357" y="6947967"/>
                  </a:cubicBezTo>
                  <a:cubicBezTo>
                    <a:pt x="3484078" y="6947967"/>
                    <a:pt x="3447158" y="6914401"/>
                    <a:pt x="3447158" y="6870766"/>
                  </a:cubicBezTo>
                  <a:cubicBezTo>
                    <a:pt x="3447158" y="6827131"/>
                    <a:pt x="3480721" y="6793566"/>
                    <a:pt x="3524357" y="6793566"/>
                  </a:cubicBezTo>
                  <a:close/>
                  <a:moveTo>
                    <a:pt x="3329678" y="6743218"/>
                  </a:moveTo>
                  <a:cubicBezTo>
                    <a:pt x="3373312" y="6743218"/>
                    <a:pt x="3406879" y="6776783"/>
                    <a:pt x="3406879" y="6820418"/>
                  </a:cubicBezTo>
                  <a:cubicBezTo>
                    <a:pt x="3406879" y="6864053"/>
                    <a:pt x="3373312" y="6897619"/>
                    <a:pt x="3329678" y="6897619"/>
                  </a:cubicBezTo>
                  <a:cubicBezTo>
                    <a:pt x="3286044" y="6897619"/>
                    <a:pt x="3252476" y="6864053"/>
                    <a:pt x="3252476" y="6820418"/>
                  </a:cubicBezTo>
                  <a:cubicBezTo>
                    <a:pt x="3252476" y="6776783"/>
                    <a:pt x="3286044" y="6743218"/>
                    <a:pt x="3329678" y="6743218"/>
                  </a:cubicBezTo>
                  <a:close/>
                  <a:moveTo>
                    <a:pt x="1919936" y="6709653"/>
                  </a:moveTo>
                  <a:cubicBezTo>
                    <a:pt x="1919936" y="6709653"/>
                    <a:pt x="1923292" y="6709653"/>
                    <a:pt x="1923292" y="6713009"/>
                  </a:cubicBezTo>
                  <a:cubicBezTo>
                    <a:pt x="1923292" y="6713009"/>
                    <a:pt x="1923292" y="6716366"/>
                    <a:pt x="1919936" y="6716366"/>
                  </a:cubicBezTo>
                  <a:cubicBezTo>
                    <a:pt x="1919936" y="6716366"/>
                    <a:pt x="1916579" y="6716366"/>
                    <a:pt x="1916579" y="6713009"/>
                  </a:cubicBezTo>
                  <a:cubicBezTo>
                    <a:pt x="1916579" y="6713009"/>
                    <a:pt x="1916579" y="6709653"/>
                    <a:pt x="1919936" y="6709653"/>
                  </a:cubicBezTo>
                  <a:close/>
                  <a:moveTo>
                    <a:pt x="3131643" y="6696226"/>
                  </a:moveTo>
                  <a:cubicBezTo>
                    <a:pt x="3168566" y="6696226"/>
                    <a:pt x="3202129" y="6726435"/>
                    <a:pt x="3202129" y="6766714"/>
                  </a:cubicBezTo>
                  <a:cubicBezTo>
                    <a:pt x="3202129" y="6803636"/>
                    <a:pt x="3171922" y="6837201"/>
                    <a:pt x="3131643" y="6837201"/>
                  </a:cubicBezTo>
                  <a:cubicBezTo>
                    <a:pt x="3094721" y="6837201"/>
                    <a:pt x="3061156" y="6803636"/>
                    <a:pt x="3061156" y="6766714"/>
                  </a:cubicBezTo>
                  <a:cubicBezTo>
                    <a:pt x="3061156" y="6729792"/>
                    <a:pt x="3091365" y="6696226"/>
                    <a:pt x="3131643" y="6696226"/>
                  </a:cubicBezTo>
                  <a:close/>
                  <a:moveTo>
                    <a:pt x="2514042" y="6686157"/>
                  </a:moveTo>
                  <a:cubicBezTo>
                    <a:pt x="2557676" y="6686157"/>
                    <a:pt x="2594598" y="6723079"/>
                    <a:pt x="2594598" y="6766714"/>
                  </a:cubicBezTo>
                  <a:cubicBezTo>
                    <a:pt x="2594598" y="6810349"/>
                    <a:pt x="2557676" y="6847271"/>
                    <a:pt x="2514042" y="6847271"/>
                  </a:cubicBezTo>
                  <a:cubicBezTo>
                    <a:pt x="2470406" y="6847271"/>
                    <a:pt x="2433484" y="6813705"/>
                    <a:pt x="2433484" y="6766714"/>
                  </a:cubicBezTo>
                  <a:cubicBezTo>
                    <a:pt x="2433484" y="6723079"/>
                    <a:pt x="2470406" y="6686157"/>
                    <a:pt x="2514042" y="6686157"/>
                  </a:cubicBezTo>
                  <a:close/>
                  <a:moveTo>
                    <a:pt x="3974130" y="6662662"/>
                  </a:moveTo>
                  <a:cubicBezTo>
                    <a:pt x="3982522" y="6662662"/>
                    <a:pt x="3990494" y="6664340"/>
                    <a:pt x="3997732" y="6667382"/>
                  </a:cubicBezTo>
                  <a:lnTo>
                    <a:pt x="4016827" y="6680216"/>
                  </a:lnTo>
                  <a:lnTo>
                    <a:pt x="4016827" y="6765944"/>
                  </a:lnTo>
                  <a:lnTo>
                    <a:pt x="3997732" y="6778777"/>
                  </a:lnTo>
                  <a:cubicBezTo>
                    <a:pt x="3990494" y="6781819"/>
                    <a:pt x="3982522" y="6783497"/>
                    <a:pt x="3974130" y="6783497"/>
                  </a:cubicBezTo>
                  <a:cubicBezTo>
                    <a:pt x="3943923" y="6783497"/>
                    <a:pt x="3917070" y="6756645"/>
                    <a:pt x="3913715" y="6723080"/>
                  </a:cubicBezTo>
                  <a:cubicBezTo>
                    <a:pt x="3913715" y="6689514"/>
                    <a:pt x="3940567" y="6662662"/>
                    <a:pt x="3974130" y="6662662"/>
                  </a:cubicBezTo>
                  <a:close/>
                  <a:moveTo>
                    <a:pt x="2940320" y="6629097"/>
                  </a:moveTo>
                  <a:cubicBezTo>
                    <a:pt x="2977242" y="6629097"/>
                    <a:pt x="3010808" y="6662662"/>
                    <a:pt x="3010808" y="6699584"/>
                  </a:cubicBezTo>
                  <a:cubicBezTo>
                    <a:pt x="3010808" y="6736506"/>
                    <a:pt x="2980599" y="6770071"/>
                    <a:pt x="2940320" y="6770071"/>
                  </a:cubicBezTo>
                  <a:cubicBezTo>
                    <a:pt x="2900042" y="6770071"/>
                    <a:pt x="2869833" y="6736506"/>
                    <a:pt x="2869833" y="6699584"/>
                  </a:cubicBezTo>
                  <a:cubicBezTo>
                    <a:pt x="2869833" y="6662662"/>
                    <a:pt x="2903398" y="6629097"/>
                    <a:pt x="2940320" y="6629097"/>
                  </a:cubicBezTo>
                  <a:close/>
                  <a:moveTo>
                    <a:pt x="3776096" y="6619027"/>
                  </a:moveTo>
                  <a:cubicBezTo>
                    <a:pt x="3816374" y="6619027"/>
                    <a:pt x="3849940" y="6652592"/>
                    <a:pt x="3849940" y="6692871"/>
                  </a:cubicBezTo>
                  <a:cubicBezTo>
                    <a:pt x="3849940" y="6733149"/>
                    <a:pt x="3816374" y="6766715"/>
                    <a:pt x="3776096" y="6766715"/>
                  </a:cubicBezTo>
                  <a:cubicBezTo>
                    <a:pt x="3732460" y="6766715"/>
                    <a:pt x="3698897" y="6733149"/>
                    <a:pt x="3702254" y="6692871"/>
                  </a:cubicBezTo>
                  <a:cubicBezTo>
                    <a:pt x="3702254" y="6652592"/>
                    <a:pt x="3735818" y="6619027"/>
                    <a:pt x="3776096" y="6619027"/>
                  </a:cubicBezTo>
                  <a:close/>
                  <a:moveTo>
                    <a:pt x="2329432" y="6612314"/>
                  </a:moveTo>
                  <a:cubicBezTo>
                    <a:pt x="2366354" y="6612314"/>
                    <a:pt x="2396563" y="6642523"/>
                    <a:pt x="2396563" y="6679445"/>
                  </a:cubicBezTo>
                  <a:cubicBezTo>
                    <a:pt x="2396563" y="6716367"/>
                    <a:pt x="2366354" y="6746575"/>
                    <a:pt x="2329432" y="6746575"/>
                  </a:cubicBezTo>
                  <a:cubicBezTo>
                    <a:pt x="2295866" y="6746575"/>
                    <a:pt x="2265658" y="6716367"/>
                    <a:pt x="2262301" y="6679445"/>
                  </a:cubicBezTo>
                  <a:cubicBezTo>
                    <a:pt x="2262301" y="6642523"/>
                    <a:pt x="2292510" y="6612314"/>
                    <a:pt x="2329432" y="6612314"/>
                  </a:cubicBezTo>
                  <a:close/>
                  <a:moveTo>
                    <a:pt x="1747494" y="6604762"/>
                  </a:moveTo>
                  <a:cubicBezTo>
                    <a:pt x="1747913" y="6603923"/>
                    <a:pt x="1748752" y="6603923"/>
                    <a:pt x="1748752" y="6605601"/>
                  </a:cubicBezTo>
                  <a:cubicBezTo>
                    <a:pt x="1748752" y="6605601"/>
                    <a:pt x="1752109" y="6605601"/>
                    <a:pt x="1748752" y="6608957"/>
                  </a:cubicBezTo>
                  <a:cubicBezTo>
                    <a:pt x="1747074" y="6607280"/>
                    <a:pt x="1747074" y="6605601"/>
                    <a:pt x="1747494" y="6604762"/>
                  </a:cubicBezTo>
                  <a:close/>
                  <a:moveTo>
                    <a:pt x="976750" y="6595531"/>
                  </a:moveTo>
                  <a:cubicBezTo>
                    <a:pt x="976750" y="6595531"/>
                    <a:pt x="980106" y="6598888"/>
                    <a:pt x="976750" y="6602244"/>
                  </a:cubicBezTo>
                  <a:cubicBezTo>
                    <a:pt x="973393" y="6595531"/>
                    <a:pt x="973393" y="6595531"/>
                    <a:pt x="976750" y="6595531"/>
                  </a:cubicBezTo>
                  <a:close/>
                  <a:moveTo>
                    <a:pt x="3574704" y="6568679"/>
                  </a:moveTo>
                  <a:cubicBezTo>
                    <a:pt x="3621698" y="6568679"/>
                    <a:pt x="3658618" y="6605601"/>
                    <a:pt x="3658618" y="6652592"/>
                  </a:cubicBezTo>
                  <a:cubicBezTo>
                    <a:pt x="3658618" y="6699584"/>
                    <a:pt x="3621698" y="6736506"/>
                    <a:pt x="3574704" y="6736506"/>
                  </a:cubicBezTo>
                  <a:cubicBezTo>
                    <a:pt x="3527714" y="6736506"/>
                    <a:pt x="3490792" y="6699584"/>
                    <a:pt x="3490792" y="6652592"/>
                  </a:cubicBezTo>
                  <a:cubicBezTo>
                    <a:pt x="3490792" y="6605601"/>
                    <a:pt x="3527714" y="6568679"/>
                    <a:pt x="3574704" y="6568679"/>
                  </a:cubicBezTo>
                  <a:close/>
                  <a:moveTo>
                    <a:pt x="2151536" y="6558609"/>
                  </a:moveTo>
                  <a:cubicBezTo>
                    <a:pt x="2161605" y="6558609"/>
                    <a:pt x="2171675" y="6568679"/>
                    <a:pt x="2171675" y="6582105"/>
                  </a:cubicBezTo>
                  <a:cubicBezTo>
                    <a:pt x="2171675" y="6595531"/>
                    <a:pt x="2164962" y="6605601"/>
                    <a:pt x="2151536" y="6605601"/>
                  </a:cubicBezTo>
                  <a:cubicBezTo>
                    <a:pt x="2138110" y="6605601"/>
                    <a:pt x="2131396" y="6595531"/>
                    <a:pt x="2128040" y="6582105"/>
                  </a:cubicBezTo>
                  <a:cubicBezTo>
                    <a:pt x="2128040" y="6568679"/>
                    <a:pt x="2138110" y="6558609"/>
                    <a:pt x="2151536" y="6558609"/>
                  </a:cubicBezTo>
                  <a:close/>
                  <a:moveTo>
                    <a:pt x="2752354" y="6548540"/>
                  </a:moveTo>
                  <a:cubicBezTo>
                    <a:pt x="2795990" y="6548540"/>
                    <a:pt x="2829555" y="6582105"/>
                    <a:pt x="2829555" y="6625739"/>
                  </a:cubicBezTo>
                  <a:cubicBezTo>
                    <a:pt x="2829555" y="6669375"/>
                    <a:pt x="2795990" y="6702939"/>
                    <a:pt x="2752354" y="6702939"/>
                  </a:cubicBezTo>
                  <a:cubicBezTo>
                    <a:pt x="2708720" y="6702939"/>
                    <a:pt x="2675154" y="6669375"/>
                    <a:pt x="2675154" y="6625739"/>
                  </a:cubicBezTo>
                  <a:cubicBezTo>
                    <a:pt x="2675154" y="6582105"/>
                    <a:pt x="2708720" y="6548540"/>
                    <a:pt x="2752354" y="6548540"/>
                  </a:cubicBezTo>
                  <a:close/>
                  <a:moveTo>
                    <a:pt x="3380027" y="6521688"/>
                  </a:moveTo>
                  <a:cubicBezTo>
                    <a:pt x="3423661" y="6521688"/>
                    <a:pt x="3460584" y="6558609"/>
                    <a:pt x="3460584" y="6602244"/>
                  </a:cubicBezTo>
                  <a:cubicBezTo>
                    <a:pt x="3460584" y="6645879"/>
                    <a:pt x="3423661" y="6682801"/>
                    <a:pt x="3380027" y="6682801"/>
                  </a:cubicBezTo>
                  <a:cubicBezTo>
                    <a:pt x="3336391" y="6682801"/>
                    <a:pt x="3299470" y="6645879"/>
                    <a:pt x="3299470" y="6602244"/>
                  </a:cubicBezTo>
                  <a:cubicBezTo>
                    <a:pt x="3299470" y="6558609"/>
                    <a:pt x="3336391" y="6521688"/>
                    <a:pt x="3380027" y="6521688"/>
                  </a:cubicBezTo>
                  <a:close/>
                  <a:moveTo>
                    <a:pt x="1578408" y="6490640"/>
                  </a:moveTo>
                  <a:cubicBezTo>
                    <a:pt x="1578408" y="6489801"/>
                    <a:pt x="1579248" y="6489801"/>
                    <a:pt x="1580925" y="6491479"/>
                  </a:cubicBezTo>
                  <a:cubicBezTo>
                    <a:pt x="1580925" y="6491479"/>
                    <a:pt x="1584282" y="6491479"/>
                    <a:pt x="1580925" y="6494835"/>
                  </a:cubicBezTo>
                  <a:cubicBezTo>
                    <a:pt x="1579248" y="6493158"/>
                    <a:pt x="1578408" y="6491479"/>
                    <a:pt x="1578408" y="6490640"/>
                  </a:cubicBezTo>
                  <a:close/>
                  <a:moveTo>
                    <a:pt x="2567746" y="6467983"/>
                  </a:moveTo>
                  <a:cubicBezTo>
                    <a:pt x="2608024" y="6467983"/>
                    <a:pt x="2641590" y="6501548"/>
                    <a:pt x="2641590" y="6541827"/>
                  </a:cubicBezTo>
                  <a:cubicBezTo>
                    <a:pt x="2641590" y="6582105"/>
                    <a:pt x="2608024" y="6615671"/>
                    <a:pt x="2567746" y="6615671"/>
                  </a:cubicBezTo>
                  <a:cubicBezTo>
                    <a:pt x="2527468" y="6615671"/>
                    <a:pt x="2493902" y="6582105"/>
                    <a:pt x="2493902" y="6541827"/>
                  </a:cubicBezTo>
                  <a:cubicBezTo>
                    <a:pt x="2493902" y="6501548"/>
                    <a:pt x="2527468" y="6467983"/>
                    <a:pt x="2567746" y="6467983"/>
                  </a:cubicBezTo>
                  <a:close/>
                  <a:moveTo>
                    <a:pt x="3185348" y="6464626"/>
                  </a:moveTo>
                  <a:cubicBezTo>
                    <a:pt x="3229837" y="6464626"/>
                    <a:pt x="3265904" y="6500693"/>
                    <a:pt x="3265904" y="6545183"/>
                  </a:cubicBezTo>
                  <a:cubicBezTo>
                    <a:pt x="3265904" y="6589674"/>
                    <a:pt x="3229837" y="6625740"/>
                    <a:pt x="3185348" y="6625740"/>
                  </a:cubicBezTo>
                  <a:cubicBezTo>
                    <a:pt x="3140858" y="6625740"/>
                    <a:pt x="3104791" y="6589673"/>
                    <a:pt x="3104791" y="6545183"/>
                  </a:cubicBezTo>
                  <a:cubicBezTo>
                    <a:pt x="3104791" y="6500693"/>
                    <a:pt x="3140858" y="6464626"/>
                    <a:pt x="3185348" y="6464626"/>
                  </a:cubicBezTo>
                  <a:close/>
                  <a:moveTo>
                    <a:pt x="4016827" y="6446018"/>
                  </a:moveTo>
                  <a:lnTo>
                    <a:pt x="4016827" y="6563792"/>
                  </a:lnTo>
                  <a:lnTo>
                    <a:pt x="4000879" y="6560603"/>
                  </a:lnTo>
                  <a:cubicBezTo>
                    <a:pt x="3979166" y="6551477"/>
                    <a:pt x="3964062" y="6530079"/>
                    <a:pt x="3964062" y="6504905"/>
                  </a:cubicBezTo>
                  <a:cubicBezTo>
                    <a:pt x="3964062" y="6479731"/>
                    <a:pt x="3979166" y="6458333"/>
                    <a:pt x="4000879" y="6449207"/>
                  </a:cubicBezTo>
                  <a:close/>
                  <a:moveTo>
                    <a:pt x="1976996" y="6441131"/>
                  </a:moveTo>
                  <a:cubicBezTo>
                    <a:pt x="1997135" y="6441131"/>
                    <a:pt x="2017274" y="6457913"/>
                    <a:pt x="2017274" y="6481409"/>
                  </a:cubicBezTo>
                  <a:cubicBezTo>
                    <a:pt x="2017274" y="6501548"/>
                    <a:pt x="2000491" y="6521688"/>
                    <a:pt x="1976996" y="6521688"/>
                  </a:cubicBezTo>
                  <a:cubicBezTo>
                    <a:pt x="1953500" y="6521688"/>
                    <a:pt x="1933361" y="6504905"/>
                    <a:pt x="1936717" y="6481409"/>
                  </a:cubicBezTo>
                  <a:cubicBezTo>
                    <a:pt x="1936717" y="6461270"/>
                    <a:pt x="1953500" y="6441131"/>
                    <a:pt x="1976996" y="6441131"/>
                  </a:cubicBezTo>
                  <a:close/>
                  <a:moveTo>
                    <a:pt x="2990668" y="6410922"/>
                  </a:moveTo>
                  <a:cubicBezTo>
                    <a:pt x="3027590" y="6410922"/>
                    <a:pt x="3057799" y="6441131"/>
                    <a:pt x="3057799" y="6478053"/>
                  </a:cubicBezTo>
                  <a:cubicBezTo>
                    <a:pt x="3057799" y="6514974"/>
                    <a:pt x="3027590" y="6545183"/>
                    <a:pt x="2990668" y="6545183"/>
                  </a:cubicBezTo>
                  <a:cubicBezTo>
                    <a:pt x="2953747" y="6545183"/>
                    <a:pt x="2923538" y="6514974"/>
                    <a:pt x="2923538" y="6478053"/>
                  </a:cubicBezTo>
                  <a:cubicBezTo>
                    <a:pt x="2923538" y="6441131"/>
                    <a:pt x="2953747" y="6410922"/>
                    <a:pt x="2990668" y="6410922"/>
                  </a:cubicBezTo>
                  <a:close/>
                  <a:moveTo>
                    <a:pt x="3826443" y="6400852"/>
                  </a:moveTo>
                  <a:cubicBezTo>
                    <a:pt x="3866721" y="6400852"/>
                    <a:pt x="3900289" y="6434418"/>
                    <a:pt x="3900289" y="6474696"/>
                  </a:cubicBezTo>
                  <a:cubicBezTo>
                    <a:pt x="3900289" y="6514974"/>
                    <a:pt x="3866721" y="6548540"/>
                    <a:pt x="3826443" y="6548540"/>
                  </a:cubicBezTo>
                  <a:cubicBezTo>
                    <a:pt x="3782809" y="6548540"/>
                    <a:pt x="3749244" y="6514974"/>
                    <a:pt x="3752601" y="6474696"/>
                  </a:cubicBezTo>
                  <a:cubicBezTo>
                    <a:pt x="3752601" y="6434418"/>
                    <a:pt x="3786166" y="6400852"/>
                    <a:pt x="3826443" y="6400852"/>
                  </a:cubicBezTo>
                  <a:close/>
                  <a:moveTo>
                    <a:pt x="2383136" y="6380713"/>
                  </a:moveTo>
                  <a:cubicBezTo>
                    <a:pt x="2423415" y="6380713"/>
                    <a:pt x="2456980" y="6414278"/>
                    <a:pt x="2456980" y="6454557"/>
                  </a:cubicBezTo>
                  <a:cubicBezTo>
                    <a:pt x="2456980" y="6494835"/>
                    <a:pt x="2423415" y="6528401"/>
                    <a:pt x="2383136" y="6528401"/>
                  </a:cubicBezTo>
                  <a:cubicBezTo>
                    <a:pt x="2342858" y="6528401"/>
                    <a:pt x="2309293" y="6494835"/>
                    <a:pt x="2309293" y="6454557"/>
                  </a:cubicBezTo>
                  <a:cubicBezTo>
                    <a:pt x="2309293" y="6414278"/>
                    <a:pt x="2342858" y="6380713"/>
                    <a:pt x="2383136" y="6380713"/>
                  </a:cubicBezTo>
                  <a:close/>
                  <a:moveTo>
                    <a:pt x="1415197" y="6369805"/>
                  </a:moveTo>
                  <a:cubicBezTo>
                    <a:pt x="1415616" y="6368966"/>
                    <a:pt x="1416455" y="6368966"/>
                    <a:pt x="1416455" y="6370643"/>
                  </a:cubicBezTo>
                  <a:cubicBezTo>
                    <a:pt x="1416455" y="6370643"/>
                    <a:pt x="1419812" y="6370643"/>
                    <a:pt x="1416455" y="6374000"/>
                  </a:cubicBezTo>
                  <a:cubicBezTo>
                    <a:pt x="1414777" y="6372322"/>
                    <a:pt x="1414777" y="6370643"/>
                    <a:pt x="1415197" y="6369805"/>
                  </a:cubicBezTo>
                  <a:close/>
                  <a:moveTo>
                    <a:pt x="1805813" y="6360574"/>
                  </a:moveTo>
                  <a:cubicBezTo>
                    <a:pt x="1812526" y="6360574"/>
                    <a:pt x="1815883" y="6363930"/>
                    <a:pt x="1815883" y="6370643"/>
                  </a:cubicBezTo>
                  <a:cubicBezTo>
                    <a:pt x="1815883" y="6377356"/>
                    <a:pt x="1812526" y="6380713"/>
                    <a:pt x="1805813" y="6380713"/>
                  </a:cubicBezTo>
                  <a:cubicBezTo>
                    <a:pt x="1799100" y="6380713"/>
                    <a:pt x="1795744" y="6377356"/>
                    <a:pt x="1795744" y="6370643"/>
                  </a:cubicBezTo>
                  <a:cubicBezTo>
                    <a:pt x="1795744" y="6363930"/>
                    <a:pt x="1799100" y="6360574"/>
                    <a:pt x="1805813" y="6360574"/>
                  </a:cubicBezTo>
                  <a:close/>
                  <a:moveTo>
                    <a:pt x="3625053" y="6357217"/>
                  </a:moveTo>
                  <a:cubicBezTo>
                    <a:pt x="3665331" y="6357217"/>
                    <a:pt x="3698897" y="6390783"/>
                    <a:pt x="3698897" y="6431061"/>
                  </a:cubicBezTo>
                  <a:cubicBezTo>
                    <a:pt x="3698897" y="6471339"/>
                    <a:pt x="3665331" y="6504905"/>
                    <a:pt x="3625053" y="6504905"/>
                  </a:cubicBezTo>
                  <a:cubicBezTo>
                    <a:pt x="3584774" y="6504905"/>
                    <a:pt x="3551209" y="6471339"/>
                    <a:pt x="3551209" y="6431061"/>
                  </a:cubicBezTo>
                  <a:cubicBezTo>
                    <a:pt x="3551209" y="6390783"/>
                    <a:pt x="3584774" y="6357217"/>
                    <a:pt x="3625053" y="6357217"/>
                  </a:cubicBezTo>
                  <a:close/>
                  <a:moveTo>
                    <a:pt x="2802702" y="6323652"/>
                  </a:moveTo>
                  <a:cubicBezTo>
                    <a:pt x="2845338" y="6323652"/>
                    <a:pt x="2879903" y="6358215"/>
                    <a:pt x="2879903" y="6400852"/>
                  </a:cubicBezTo>
                  <a:cubicBezTo>
                    <a:pt x="2879903" y="6443488"/>
                    <a:pt x="2845338" y="6478053"/>
                    <a:pt x="2802702" y="6478053"/>
                  </a:cubicBezTo>
                  <a:cubicBezTo>
                    <a:pt x="2760066" y="6478053"/>
                    <a:pt x="2725502" y="6443489"/>
                    <a:pt x="2725502" y="6400852"/>
                  </a:cubicBezTo>
                  <a:cubicBezTo>
                    <a:pt x="2725502" y="6358216"/>
                    <a:pt x="2760066" y="6323652"/>
                    <a:pt x="2802702" y="6323652"/>
                  </a:cubicBezTo>
                  <a:close/>
                  <a:moveTo>
                    <a:pt x="3430374" y="6306869"/>
                  </a:moveTo>
                  <a:cubicBezTo>
                    <a:pt x="3474010" y="6306869"/>
                    <a:pt x="3507573" y="6340435"/>
                    <a:pt x="3507573" y="6384070"/>
                  </a:cubicBezTo>
                  <a:cubicBezTo>
                    <a:pt x="3507573" y="6427705"/>
                    <a:pt x="3474010" y="6461270"/>
                    <a:pt x="3430374" y="6461270"/>
                  </a:cubicBezTo>
                  <a:cubicBezTo>
                    <a:pt x="3386738" y="6461270"/>
                    <a:pt x="3349817" y="6424348"/>
                    <a:pt x="3353174" y="6384070"/>
                  </a:cubicBezTo>
                  <a:cubicBezTo>
                    <a:pt x="3353174" y="6340435"/>
                    <a:pt x="3386738" y="6306869"/>
                    <a:pt x="3430374" y="6306869"/>
                  </a:cubicBezTo>
                  <a:close/>
                  <a:moveTo>
                    <a:pt x="2205240" y="6276660"/>
                  </a:moveTo>
                  <a:cubicBezTo>
                    <a:pt x="2248875" y="6276660"/>
                    <a:pt x="2282440" y="6310226"/>
                    <a:pt x="2282440" y="6353861"/>
                  </a:cubicBezTo>
                  <a:cubicBezTo>
                    <a:pt x="2282440" y="6397496"/>
                    <a:pt x="2248875" y="6431061"/>
                    <a:pt x="2205240" y="6431061"/>
                  </a:cubicBezTo>
                  <a:cubicBezTo>
                    <a:pt x="2164962" y="6431061"/>
                    <a:pt x="2131396" y="6397496"/>
                    <a:pt x="2128040" y="6353861"/>
                  </a:cubicBezTo>
                  <a:cubicBezTo>
                    <a:pt x="2128040" y="6310226"/>
                    <a:pt x="2161605" y="6276660"/>
                    <a:pt x="2205240" y="6276660"/>
                  </a:cubicBezTo>
                  <a:close/>
                  <a:moveTo>
                    <a:pt x="3235697" y="6253165"/>
                  </a:moveTo>
                  <a:cubicBezTo>
                    <a:pt x="3275975" y="6253165"/>
                    <a:pt x="3306183" y="6283373"/>
                    <a:pt x="3306183" y="6323652"/>
                  </a:cubicBezTo>
                  <a:cubicBezTo>
                    <a:pt x="3306183" y="6363930"/>
                    <a:pt x="3275975" y="6394139"/>
                    <a:pt x="3235697" y="6394139"/>
                  </a:cubicBezTo>
                  <a:cubicBezTo>
                    <a:pt x="3195418" y="6394139"/>
                    <a:pt x="3165208" y="6360574"/>
                    <a:pt x="3165208" y="6323652"/>
                  </a:cubicBezTo>
                  <a:cubicBezTo>
                    <a:pt x="3165208" y="6283373"/>
                    <a:pt x="3195418" y="6253165"/>
                    <a:pt x="3235697" y="6253165"/>
                  </a:cubicBezTo>
                  <a:close/>
                  <a:moveTo>
                    <a:pt x="4016827" y="6248280"/>
                  </a:moveTo>
                  <a:lnTo>
                    <a:pt x="4016827" y="6308840"/>
                  </a:lnTo>
                  <a:lnTo>
                    <a:pt x="4014883" y="6306082"/>
                  </a:lnTo>
                  <a:cubicBezTo>
                    <a:pt x="4011054" y="6298058"/>
                    <a:pt x="4008537" y="6289247"/>
                    <a:pt x="4007698" y="6280017"/>
                  </a:cubicBezTo>
                  <a:cubicBezTo>
                    <a:pt x="4007698" y="6270786"/>
                    <a:pt x="4009586" y="6261976"/>
                    <a:pt x="4012995" y="6253951"/>
                  </a:cubicBezTo>
                  <a:close/>
                  <a:moveTo>
                    <a:pt x="2618094" y="6243095"/>
                  </a:moveTo>
                  <a:cubicBezTo>
                    <a:pt x="2658372" y="6243095"/>
                    <a:pt x="2691938" y="6276660"/>
                    <a:pt x="2691938" y="6316939"/>
                  </a:cubicBezTo>
                  <a:cubicBezTo>
                    <a:pt x="2691938" y="6357217"/>
                    <a:pt x="2658372" y="6390783"/>
                    <a:pt x="2618094" y="6390783"/>
                  </a:cubicBezTo>
                  <a:cubicBezTo>
                    <a:pt x="2577816" y="6390783"/>
                    <a:pt x="2544250" y="6357217"/>
                    <a:pt x="2544250" y="6316939"/>
                  </a:cubicBezTo>
                  <a:cubicBezTo>
                    <a:pt x="2544250" y="6276660"/>
                    <a:pt x="2577816" y="6243095"/>
                    <a:pt x="2618094" y="6243095"/>
                  </a:cubicBezTo>
                  <a:close/>
                  <a:moveTo>
                    <a:pt x="1258699" y="6243095"/>
                  </a:moveTo>
                  <a:cubicBezTo>
                    <a:pt x="1258699" y="6243095"/>
                    <a:pt x="1262056" y="6243095"/>
                    <a:pt x="1262056" y="6246452"/>
                  </a:cubicBezTo>
                  <a:cubicBezTo>
                    <a:pt x="1262056" y="6246452"/>
                    <a:pt x="1262056" y="6249808"/>
                    <a:pt x="1258699" y="6249808"/>
                  </a:cubicBezTo>
                  <a:cubicBezTo>
                    <a:pt x="1255342" y="6249808"/>
                    <a:pt x="1251986" y="6246452"/>
                    <a:pt x="1255342" y="6246452"/>
                  </a:cubicBezTo>
                  <a:cubicBezTo>
                    <a:pt x="1255342" y="6246452"/>
                    <a:pt x="1255342" y="6243095"/>
                    <a:pt x="1258699" y="6243095"/>
                  </a:cubicBezTo>
                  <a:close/>
                  <a:moveTo>
                    <a:pt x="3876792" y="6189390"/>
                  </a:moveTo>
                  <a:cubicBezTo>
                    <a:pt x="3910358" y="6189390"/>
                    <a:pt x="3940567" y="6216243"/>
                    <a:pt x="3940567" y="6253165"/>
                  </a:cubicBezTo>
                  <a:cubicBezTo>
                    <a:pt x="3940567" y="6286730"/>
                    <a:pt x="3913715" y="6316939"/>
                    <a:pt x="3876792" y="6316939"/>
                  </a:cubicBezTo>
                  <a:cubicBezTo>
                    <a:pt x="3839869" y="6316939"/>
                    <a:pt x="3809661" y="6286730"/>
                    <a:pt x="3813017" y="6253165"/>
                  </a:cubicBezTo>
                  <a:cubicBezTo>
                    <a:pt x="3813017" y="6219599"/>
                    <a:pt x="3839869" y="6189390"/>
                    <a:pt x="3876792" y="6189390"/>
                  </a:cubicBezTo>
                  <a:close/>
                  <a:moveTo>
                    <a:pt x="1637986" y="6182677"/>
                  </a:moveTo>
                  <a:cubicBezTo>
                    <a:pt x="1678265" y="6182677"/>
                    <a:pt x="1708474" y="6216243"/>
                    <a:pt x="1708474" y="6253165"/>
                  </a:cubicBezTo>
                  <a:cubicBezTo>
                    <a:pt x="1708474" y="6293443"/>
                    <a:pt x="1674908" y="6323652"/>
                    <a:pt x="1637986" y="6323652"/>
                  </a:cubicBezTo>
                  <a:cubicBezTo>
                    <a:pt x="1601065" y="6323652"/>
                    <a:pt x="1570856" y="6293443"/>
                    <a:pt x="1567499" y="6253165"/>
                  </a:cubicBezTo>
                  <a:cubicBezTo>
                    <a:pt x="1567499" y="6212886"/>
                    <a:pt x="1601065" y="6182677"/>
                    <a:pt x="1637986" y="6182677"/>
                  </a:cubicBezTo>
                  <a:close/>
                  <a:moveTo>
                    <a:pt x="3044373" y="6179322"/>
                  </a:moveTo>
                  <a:cubicBezTo>
                    <a:pt x="3084652" y="6179322"/>
                    <a:pt x="3118217" y="6212887"/>
                    <a:pt x="3118217" y="6253166"/>
                  </a:cubicBezTo>
                  <a:cubicBezTo>
                    <a:pt x="3118217" y="6293444"/>
                    <a:pt x="3084652" y="6327009"/>
                    <a:pt x="3044373" y="6327009"/>
                  </a:cubicBezTo>
                  <a:cubicBezTo>
                    <a:pt x="3004095" y="6327009"/>
                    <a:pt x="2970529" y="6293444"/>
                    <a:pt x="2970529" y="6253166"/>
                  </a:cubicBezTo>
                  <a:cubicBezTo>
                    <a:pt x="2970529" y="6212887"/>
                    <a:pt x="3004095" y="6179322"/>
                    <a:pt x="3044373" y="6179322"/>
                  </a:cubicBezTo>
                  <a:close/>
                  <a:moveTo>
                    <a:pt x="2030700" y="6172608"/>
                  </a:moveTo>
                  <a:cubicBezTo>
                    <a:pt x="2074335" y="6172608"/>
                    <a:pt x="2107900" y="6206173"/>
                    <a:pt x="2107900" y="6249808"/>
                  </a:cubicBezTo>
                  <a:cubicBezTo>
                    <a:pt x="2107900" y="6293443"/>
                    <a:pt x="2074335" y="6327008"/>
                    <a:pt x="2030700" y="6327008"/>
                  </a:cubicBezTo>
                  <a:cubicBezTo>
                    <a:pt x="1990422" y="6327008"/>
                    <a:pt x="1953500" y="6293443"/>
                    <a:pt x="1953500" y="6249808"/>
                  </a:cubicBezTo>
                  <a:cubicBezTo>
                    <a:pt x="1953500" y="6206173"/>
                    <a:pt x="1987065" y="6172608"/>
                    <a:pt x="2030700" y="6172608"/>
                  </a:cubicBezTo>
                  <a:close/>
                  <a:moveTo>
                    <a:pt x="2436841" y="6155825"/>
                  </a:moveTo>
                  <a:cubicBezTo>
                    <a:pt x="2473763" y="6155825"/>
                    <a:pt x="2503972" y="6186034"/>
                    <a:pt x="2503972" y="6222956"/>
                  </a:cubicBezTo>
                  <a:cubicBezTo>
                    <a:pt x="2503972" y="6259878"/>
                    <a:pt x="2473763" y="6290087"/>
                    <a:pt x="2436841" y="6290087"/>
                  </a:cubicBezTo>
                  <a:cubicBezTo>
                    <a:pt x="2399919" y="6290087"/>
                    <a:pt x="2373067" y="6259878"/>
                    <a:pt x="2369710" y="6222956"/>
                  </a:cubicBezTo>
                  <a:cubicBezTo>
                    <a:pt x="2369710" y="6186034"/>
                    <a:pt x="2399919" y="6155825"/>
                    <a:pt x="2436841" y="6155825"/>
                  </a:cubicBezTo>
                  <a:close/>
                  <a:moveTo>
                    <a:pt x="3675402" y="6139042"/>
                  </a:moveTo>
                  <a:cubicBezTo>
                    <a:pt x="3715680" y="6139042"/>
                    <a:pt x="3745888" y="6169251"/>
                    <a:pt x="3745888" y="6209530"/>
                  </a:cubicBezTo>
                  <a:cubicBezTo>
                    <a:pt x="3745888" y="6249808"/>
                    <a:pt x="3715680" y="6280017"/>
                    <a:pt x="3675402" y="6280017"/>
                  </a:cubicBezTo>
                  <a:cubicBezTo>
                    <a:pt x="3638479" y="6280017"/>
                    <a:pt x="3604914" y="6249808"/>
                    <a:pt x="3604914" y="6209530"/>
                  </a:cubicBezTo>
                  <a:cubicBezTo>
                    <a:pt x="3604914" y="6169251"/>
                    <a:pt x="3635124" y="6139042"/>
                    <a:pt x="3675402" y="6139042"/>
                  </a:cubicBezTo>
                  <a:close/>
                  <a:moveTo>
                    <a:pt x="2856407" y="6102122"/>
                  </a:moveTo>
                  <a:cubicBezTo>
                    <a:pt x="2896686" y="6102122"/>
                    <a:pt x="2930251" y="6135687"/>
                    <a:pt x="2930251" y="6175965"/>
                  </a:cubicBezTo>
                  <a:cubicBezTo>
                    <a:pt x="2930251" y="6216244"/>
                    <a:pt x="2896686" y="6249809"/>
                    <a:pt x="2856407" y="6249809"/>
                  </a:cubicBezTo>
                  <a:cubicBezTo>
                    <a:pt x="2812773" y="6249809"/>
                    <a:pt x="2779208" y="6219600"/>
                    <a:pt x="2782564" y="6175965"/>
                  </a:cubicBezTo>
                  <a:cubicBezTo>
                    <a:pt x="2782564" y="6135687"/>
                    <a:pt x="2816129" y="6102122"/>
                    <a:pt x="2856407" y="6102122"/>
                  </a:cubicBezTo>
                  <a:close/>
                  <a:moveTo>
                    <a:pt x="1476873" y="6092052"/>
                  </a:moveTo>
                  <a:cubicBezTo>
                    <a:pt x="1500368" y="6092052"/>
                    <a:pt x="1517151" y="6108835"/>
                    <a:pt x="1517151" y="6132330"/>
                  </a:cubicBezTo>
                  <a:cubicBezTo>
                    <a:pt x="1517151" y="6155826"/>
                    <a:pt x="1500368" y="6172609"/>
                    <a:pt x="1476873" y="6172609"/>
                  </a:cubicBezTo>
                  <a:cubicBezTo>
                    <a:pt x="1456734" y="6172609"/>
                    <a:pt x="1436594" y="6152470"/>
                    <a:pt x="1436594" y="6132330"/>
                  </a:cubicBezTo>
                  <a:cubicBezTo>
                    <a:pt x="1436594" y="6108835"/>
                    <a:pt x="1453377" y="6092052"/>
                    <a:pt x="1476873" y="6092052"/>
                  </a:cubicBezTo>
                  <a:close/>
                  <a:moveTo>
                    <a:pt x="3480721" y="6088694"/>
                  </a:moveTo>
                  <a:cubicBezTo>
                    <a:pt x="3520999" y="6088694"/>
                    <a:pt x="3551209" y="6122260"/>
                    <a:pt x="3551209" y="6159182"/>
                  </a:cubicBezTo>
                  <a:cubicBezTo>
                    <a:pt x="3551209" y="6199460"/>
                    <a:pt x="3517644" y="6229669"/>
                    <a:pt x="3480721" y="6229669"/>
                  </a:cubicBezTo>
                  <a:cubicBezTo>
                    <a:pt x="3440442" y="6229669"/>
                    <a:pt x="3410234" y="6199460"/>
                    <a:pt x="3410234" y="6159182"/>
                  </a:cubicBezTo>
                  <a:cubicBezTo>
                    <a:pt x="3410234" y="6118903"/>
                    <a:pt x="3443800" y="6088694"/>
                    <a:pt x="3480721" y="6088694"/>
                  </a:cubicBezTo>
                  <a:close/>
                  <a:moveTo>
                    <a:pt x="1862874" y="6061843"/>
                  </a:moveTo>
                  <a:cubicBezTo>
                    <a:pt x="1906510" y="6061843"/>
                    <a:pt x="1940075" y="6095408"/>
                    <a:pt x="1940075" y="6139042"/>
                  </a:cubicBezTo>
                  <a:cubicBezTo>
                    <a:pt x="1940075" y="6182678"/>
                    <a:pt x="1906510" y="6216243"/>
                    <a:pt x="1862874" y="6216243"/>
                  </a:cubicBezTo>
                  <a:cubicBezTo>
                    <a:pt x="1819240" y="6216243"/>
                    <a:pt x="1785674" y="6179322"/>
                    <a:pt x="1785674" y="6139042"/>
                  </a:cubicBezTo>
                  <a:cubicBezTo>
                    <a:pt x="1785674" y="6095408"/>
                    <a:pt x="1819240" y="6061843"/>
                    <a:pt x="1862874" y="6061843"/>
                  </a:cubicBezTo>
                  <a:close/>
                  <a:moveTo>
                    <a:pt x="2262301" y="6055129"/>
                  </a:moveTo>
                  <a:cubicBezTo>
                    <a:pt x="2299223" y="6055129"/>
                    <a:pt x="2329432" y="6085338"/>
                    <a:pt x="2329432" y="6122260"/>
                  </a:cubicBezTo>
                  <a:cubicBezTo>
                    <a:pt x="2329432" y="6159182"/>
                    <a:pt x="2299223" y="6189390"/>
                    <a:pt x="2262301" y="6189390"/>
                  </a:cubicBezTo>
                  <a:cubicBezTo>
                    <a:pt x="2225379" y="6189390"/>
                    <a:pt x="2195170" y="6159182"/>
                    <a:pt x="2195170" y="6122260"/>
                  </a:cubicBezTo>
                  <a:cubicBezTo>
                    <a:pt x="2195170" y="6085338"/>
                    <a:pt x="2225379" y="6055129"/>
                    <a:pt x="2262301" y="6055129"/>
                  </a:cubicBezTo>
                  <a:close/>
                  <a:moveTo>
                    <a:pt x="3286044" y="6031634"/>
                  </a:moveTo>
                  <a:cubicBezTo>
                    <a:pt x="3322964" y="6031634"/>
                    <a:pt x="3356532" y="6061843"/>
                    <a:pt x="3356532" y="6102122"/>
                  </a:cubicBezTo>
                  <a:cubicBezTo>
                    <a:pt x="3356532" y="6139043"/>
                    <a:pt x="3326322" y="6172609"/>
                    <a:pt x="3286044" y="6172609"/>
                  </a:cubicBezTo>
                  <a:cubicBezTo>
                    <a:pt x="3245765" y="6172609"/>
                    <a:pt x="3212200" y="6139043"/>
                    <a:pt x="3215556" y="6102122"/>
                  </a:cubicBezTo>
                  <a:cubicBezTo>
                    <a:pt x="3215556" y="6065200"/>
                    <a:pt x="3245765" y="6031634"/>
                    <a:pt x="3286044" y="6031634"/>
                  </a:cubicBezTo>
                  <a:close/>
                  <a:moveTo>
                    <a:pt x="2671798" y="6014852"/>
                  </a:moveTo>
                  <a:cubicBezTo>
                    <a:pt x="2712076" y="6014852"/>
                    <a:pt x="2745642" y="6048417"/>
                    <a:pt x="2745642" y="6088695"/>
                  </a:cubicBezTo>
                  <a:cubicBezTo>
                    <a:pt x="2745642" y="6128974"/>
                    <a:pt x="2712076" y="6162539"/>
                    <a:pt x="2671798" y="6162539"/>
                  </a:cubicBezTo>
                  <a:cubicBezTo>
                    <a:pt x="2631519" y="6162539"/>
                    <a:pt x="2597954" y="6128974"/>
                    <a:pt x="2597954" y="6088695"/>
                  </a:cubicBezTo>
                  <a:cubicBezTo>
                    <a:pt x="2597954" y="6048417"/>
                    <a:pt x="2631519" y="6014852"/>
                    <a:pt x="2671798" y="6014852"/>
                  </a:cubicBezTo>
                  <a:close/>
                  <a:moveTo>
                    <a:pt x="3927141" y="5971217"/>
                  </a:moveTo>
                  <a:cubicBezTo>
                    <a:pt x="3957349" y="5971217"/>
                    <a:pt x="3984201" y="5998069"/>
                    <a:pt x="3984201" y="6028278"/>
                  </a:cubicBezTo>
                  <a:cubicBezTo>
                    <a:pt x="3984201" y="6058487"/>
                    <a:pt x="3957349" y="6085339"/>
                    <a:pt x="3927141" y="6085339"/>
                  </a:cubicBezTo>
                  <a:cubicBezTo>
                    <a:pt x="3893574" y="6085339"/>
                    <a:pt x="3870079" y="6061843"/>
                    <a:pt x="3870079" y="6028278"/>
                  </a:cubicBezTo>
                  <a:cubicBezTo>
                    <a:pt x="3870079" y="5998069"/>
                    <a:pt x="3896931" y="5971217"/>
                    <a:pt x="3927141" y="5971217"/>
                  </a:cubicBezTo>
                  <a:close/>
                  <a:moveTo>
                    <a:pt x="3094721" y="5961147"/>
                  </a:moveTo>
                  <a:cubicBezTo>
                    <a:pt x="3131643" y="5961147"/>
                    <a:pt x="3165208" y="5991356"/>
                    <a:pt x="3165208" y="6031634"/>
                  </a:cubicBezTo>
                  <a:cubicBezTo>
                    <a:pt x="3165208" y="6068556"/>
                    <a:pt x="3134998" y="6102122"/>
                    <a:pt x="3094721" y="6102122"/>
                  </a:cubicBezTo>
                  <a:cubicBezTo>
                    <a:pt x="3054443" y="6102122"/>
                    <a:pt x="3024234" y="6071912"/>
                    <a:pt x="3024234" y="6031634"/>
                  </a:cubicBezTo>
                  <a:cubicBezTo>
                    <a:pt x="3024234" y="5994712"/>
                    <a:pt x="3057799" y="5961147"/>
                    <a:pt x="3094721" y="5961147"/>
                  </a:cubicBezTo>
                  <a:close/>
                  <a:moveTo>
                    <a:pt x="1322473" y="5954434"/>
                  </a:moveTo>
                  <a:cubicBezTo>
                    <a:pt x="1349326" y="5954434"/>
                    <a:pt x="1369465" y="5974573"/>
                    <a:pt x="1369465" y="6001425"/>
                  </a:cubicBezTo>
                  <a:cubicBezTo>
                    <a:pt x="1369465" y="6028278"/>
                    <a:pt x="1349326" y="6048417"/>
                    <a:pt x="1322473" y="6048417"/>
                  </a:cubicBezTo>
                  <a:cubicBezTo>
                    <a:pt x="1295621" y="6048417"/>
                    <a:pt x="1275482" y="6028278"/>
                    <a:pt x="1275482" y="6001425"/>
                  </a:cubicBezTo>
                  <a:cubicBezTo>
                    <a:pt x="1275482" y="5974573"/>
                    <a:pt x="1295621" y="5954434"/>
                    <a:pt x="1322473" y="5954434"/>
                  </a:cubicBezTo>
                  <a:close/>
                  <a:moveTo>
                    <a:pt x="2087761" y="5947721"/>
                  </a:moveTo>
                  <a:cubicBezTo>
                    <a:pt x="2128040" y="5947721"/>
                    <a:pt x="2158248" y="5977930"/>
                    <a:pt x="2158248" y="6018208"/>
                  </a:cubicBezTo>
                  <a:cubicBezTo>
                    <a:pt x="2158248" y="6058487"/>
                    <a:pt x="2128040" y="6088695"/>
                    <a:pt x="2087761" y="6088695"/>
                  </a:cubicBezTo>
                  <a:cubicBezTo>
                    <a:pt x="2050840" y="6088695"/>
                    <a:pt x="2017274" y="6055130"/>
                    <a:pt x="2017274" y="6018208"/>
                  </a:cubicBezTo>
                  <a:cubicBezTo>
                    <a:pt x="2017274" y="5977930"/>
                    <a:pt x="2047483" y="5947721"/>
                    <a:pt x="2087761" y="5947721"/>
                  </a:cubicBezTo>
                  <a:close/>
                  <a:moveTo>
                    <a:pt x="1698404" y="5934295"/>
                  </a:moveTo>
                  <a:cubicBezTo>
                    <a:pt x="1742039" y="5934295"/>
                    <a:pt x="1778961" y="5971217"/>
                    <a:pt x="1778961" y="6014852"/>
                  </a:cubicBezTo>
                  <a:cubicBezTo>
                    <a:pt x="1778961" y="6058487"/>
                    <a:pt x="1742039" y="6095408"/>
                    <a:pt x="1698404" y="6095408"/>
                  </a:cubicBezTo>
                  <a:cubicBezTo>
                    <a:pt x="1654769" y="6095408"/>
                    <a:pt x="1621204" y="6061843"/>
                    <a:pt x="1617847" y="6014852"/>
                  </a:cubicBezTo>
                  <a:cubicBezTo>
                    <a:pt x="1617847" y="5971217"/>
                    <a:pt x="1654769" y="5934295"/>
                    <a:pt x="1698404" y="5934295"/>
                  </a:cubicBezTo>
                  <a:close/>
                  <a:moveTo>
                    <a:pt x="3725749" y="5924225"/>
                  </a:moveTo>
                  <a:cubicBezTo>
                    <a:pt x="3762670" y="5924225"/>
                    <a:pt x="3789522" y="5954434"/>
                    <a:pt x="3789522" y="5987999"/>
                  </a:cubicBezTo>
                  <a:cubicBezTo>
                    <a:pt x="3789522" y="6024921"/>
                    <a:pt x="3759314" y="6051774"/>
                    <a:pt x="3725749" y="6051774"/>
                  </a:cubicBezTo>
                  <a:cubicBezTo>
                    <a:pt x="3692184" y="6051774"/>
                    <a:pt x="3665331" y="6024921"/>
                    <a:pt x="3661976" y="5987999"/>
                  </a:cubicBezTo>
                  <a:cubicBezTo>
                    <a:pt x="3661976" y="5951077"/>
                    <a:pt x="3692184" y="5924225"/>
                    <a:pt x="3725749" y="5924225"/>
                  </a:cubicBezTo>
                  <a:close/>
                  <a:moveTo>
                    <a:pt x="2490546" y="5920869"/>
                  </a:moveTo>
                  <a:cubicBezTo>
                    <a:pt x="2530824" y="5920869"/>
                    <a:pt x="2564390" y="5954434"/>
                    <a:pt x="2564390" y="5994712"/>
                  </a:cubicBezTo>
                  <a:cubicBezTo>
                    <a:pt x="2564390" y="6034991"/>
                    <a:pt x="2530824" y="6068556"/>
                    <a:pt x="2490546" y="6068556"/>
                  </a:cubicBezTo>
                  <a:cubicBezTo>
                    <a:pt x="2450267" y="6068556"/>
                    <a:pt x="2416702" y="6034991"/>
                    <a:pt x="2416702" y="5994712"/>
                  </a:cubicBezTo>
                  <a:cubicBezTo>
                    <a:pt x="2416702" y="5954434"/>
                    <a:pt x="2450267" y="5920869"/>
                    <a:pt x="2490546" y="5920869"/>
                  </a:cubicBezTo>
                  <a:close/>
                  <a:moveTo>
                    <a:pt x="2906755" y="5877234"/>
                  </a:moveTo>
                  <a:cubicBezTo>
                    <a:pt x="2947034" y="5877234"/>
                    <a:pt x="2980599" y="5910799"/>
                    <a:pt x="2980599" y="5951077"/>
                  </a:cubicBezTo>
                  <a:cubicBezTo>
                    <a:pt x="2980599" y="5991356"/>
                    <a:pt x="2947034" y="6024921"/>
                    <a:pt x="2906755" y="6024921"/>
                  </a:cubicBezTo>
                  <a:cubicBezTo>
                    <a:pt x="2866477" y="6024921"/>
                    <a:pt x="2832911" y="5991356"/>
                    <a:pt x="2832911" y="5951077"/>
                  </a:cubicBezTo>
                  <a:cubicBezTo>
                    <a:pt x="2832911" y="5910799"/>
                    <a:pt x="2866477" y="5877234"/>
                    <a:pt x="2906755" y="5877234"/>
                  </a:cubicBezTo>
                  <a:close/>
                  <a:moveTo>
                    <a:pt x="3531070" y="5867164"/>
                  </a:moveTo>
                  <a:cubicBezTo>
                    <a:pt x="3571348" y="5867164"/>
                    <a:pt x="3601556" y="5897373"/>
                    <a:pt x="3601556" y="5937651"/>
                  </a:cubicBezTo>
                  <a:cubicBezTo>
                    <a:pt x="3601556" y="5977930"/>
                    <a:pt x="3571348" y="6008139"/>
                    <a:pt x="3531070" y="6008139"/>
                  </a:cubicBezTo>
                  <a:cubicBezTo>
                    <a:pt x="3490792" y="6008139"/>
                    <a:pt x="3460584" y="5977930"/>
                    <a:pt x="3460584" y="5937651"/>
                  </a:cubicBezTo>
                  <a:cubicBezTo>
                    <a:pt x="3460584" y="5897373"/>
                    <a:pt x="3490792" y="5867164"/>
                    <a:pt x="3531070" y="5867164"/>
                  </a:cubicBezTo>
                  <a:close/>
                  <a:moveTo>
                    <a:pt x="1923292" y="5826886"/>
                  </a:moveTo>
                  <a:cubicBezTo>
                    <a:pt x="1963571" y="5826886"/>
                    <a:pt x="1997136" y="5860451"/>
                    <a:pt x="1997136" y="5900729"/>
                  </a:cubicBezTo>
                  <a:cubicBezTo>
                    <a:pt x="1997136" y="5941008"/>
                    <a:pt x="1963571" y="5974573"/>
                    <a:pt x="1923292" y="5974573"/>
                  </a:cubicBezTo>
                  <a:cubicBezTo>
                    <a:pt x="1883014" y="5974573"/>
                    <a:pt x="1849448" y="5941008"/>
                    <a:pt x="1849448" y="5900729"/>
                  </a:cubicBezTo>
                  <a:cubicBezTo>
                    <a:pt x="1849448" y="5860451"/>
                    <a:pt x="1883014" y="5826886"/>
                    <a:pt x="1923292" y="5826886"/>
                  </a:cubicBezTo>
                  <a:close/>
                  <a:moveTo>
                    <a:pt x="2316006" y="5823529"/>
                  </a:moveTo>
                  <a:cubicBezTo>
                    <a:pt x="2356284" y="5823529"/>
                    <a:pt x="2386493" y="5853738"/>
                    <a:pt x="2386493" y="5894016"/>
                  </a:cubicBezTo>
                  <a:cubicBezTo>
                    <a:pt x="2386493" y="5934295"/>
                    <a:pt x="2356284" y="5964504"/>
                    <a:pt x="2316006" y="5964504"/>
                  </a:cubicBezTo>
                  <a:cubicBezTo>
                    <a:pt x="2275728" y="5964504"/>
                    <a:pt x="2245518" y="5930938"/>
                    <a:pt x="2245518" y="5894016"/>
                  </a:cubicBezTo>
                  <a:cubicBezTo>
                    <a:pt x="2245518" y="5853738"/>
                    <a:pt x="2275728" y="5823529"/>
                    <a:pt x="2316006" y="5823529"/>
                  </a:cubicBezTo>
                  <a:close/>
                  <a:moveTo>
                    <a:pt x="1540647" y="5823529"/>
                  </a:moveTo>
                  <a:cubicBezTo>
                    <a:pt x="1577569" y="5823529"/>
                    <a:pt x="1607778" y="5853738"/>
                    <a:pt x="1607778" y="5890660"/>
                  </a:cubicBezTo>
                  <a:cubicBezTo>
                    <a:pt x="1607778" y="5927582"/>
                    <a:pt x="1577569" y="5957791"/>
                    <a:pt x="1540647" y="5957791"/>
                  </a:cubicBezTo>
                  <a:cubicBezTo>
                    <a:pt x="1503725" y="5957791"/>
                    <a:pt x="1473516" y="5927582"/>
                    <a:pt x="1473516" y="5890660"/>
                  </a:cubicBezTo>
                  <a:cubicBezTo>
                    <a:pt x="1473516" y="5853738"/>
                    <a:pt x="1503725" y="5823529"/>
                    <a:pt x="1540647" y="5823529"/>
                  </a:cubicBezTo>
                  <a:close/>
                  <a:moveTo>
                    <a:pt x="3336391" y="5810103"/>
                  </a:moveTo>
                  <a:cubicBezTo>
                    <a:pt x="3373312" y="5810103"/>
                    <a:pt x="3403522" y="5840312"/>
                    <a:pt x="3403522" y="5877234"/>
                  </a:cubicBezTo>
                  <a:cubicBezTo>
                    <a:pt x="3403522" y="5914156"/>
                    <a:pt x="3373312" y="5944364"/>
                    <a:pt x="3336391" y="5944364"/>
                  </a:cubicBezTo>
                  <a:cubicBezTo>
                    <a:pt x="3299470" y="5944364"/>
                    <a:pt x="3269260" y="5914156"/>
                    <a:pt x="3269260" y="5877234"/>
                  </a:cubicBezTo>
                  <a:cubicBezTo>
                    <a:pt x="3269260" y="5840312"/>
                    <a:pt x="3299470" y="5810103"/>
                    <a:pt x="3336391" y="5810103"/>
                  </a:cubicBezTo>
                  <a:close/>
                  <a:moveTo>
                    <a:pt x="1171429" y="5796677"/>
                  </a:moveTo>
                  <a:cubicBezTo>
                    <a:pt x="1208351" y="5796677"/>
                    <a:pt x="1238560" y="5826886"/>
                    <a:pt x="1238560" y="5863807"/>
                  </a:cubicBezTo>
                  <a:cubicBezTo>
                    <a:pt x="1238560" y="5900729"/>
                    <a:pt x="1208351" y="5930938"/>
                    <a:pt x="1171429" y="5930938"/>
                  </a:cubicBezTo>
                  <a:cubicBezTo>
                    <a:pt x="1134507" y="5930938"/>
                    <a:pt x="1104298" y="5900729"/>
                    <a:pt x="1104298" y="5863807"/>
                  </a:cubicBezTo>
                  <a:cubicBezTo>
                    <a:pt x="1104298" y="5826886"/>
                    <a:pt x="1134507" y="5796677"/>
                    <a:pt x="1171429" y="5796677"/>
                  </a:cubicBezTo>
                  <a:close/>
                  <a:moveTo>
                    <a:pt x="2725502" y="5793320"/>
                  </a:moveTo>
                  <a:cubicBezTo>
                    <a:pt x="2765781" y="5793320"/>
                    <a:pt x="2795990" y="5826886"/>
                    <a:pt x="2795990" y="5863807"/>
                  </a:cubicBezTo>
                  <a:cubicBezTo>
                    <a:pt x="2795990" y="5904085"/>
                    <a:pt x="2762424" y="5934295"/>
                    <a:pt x="2725502" y="5934295"/>
                  </a:cubicBezTo>
                  <a:cubicBezTo>
                    <a:pt x="2685224" y="5934295"/>
                    <a:pt x="2655015" y="5900729"/>
                    <a:pt x="2655015" y="5863807"/>
                  </a:cubicBezTo>
                  <a:cubicBezTo>
                    <a:pt x="2655015" y="5823529"/>
                    <a:pt x="2688580" y="5793320"/>
                    <a:pt x="2725502" y="5793320"/>
                  </a:cubicBezTo>
                  <a:close/>
                  <a:moveTo>
                    <a:pt x="3977488" y="5746329"/>
                  </a:moveTo>
                  <a:cubicBezTo>
                    <a:pt x="3985880" y="5746329"/>
                    <a:pt x="3993852" y="5748007"/>
                    <a:pt x="4001089" y="5751049"/>
                  </a:cubicBezTo>
                  <a:lnTo>
                    <a:pt x="4016827" y="5761627"/>
                  </a:lnTo>
                  <a:lnTo>
                    <a:pt x="4016827" y="5851866"/>
                  </a:lnTo>
                  <a:lnTo>
                    <a:pt x="4001089" y="5862444"/>
                  </a:lnTo>
                  <a:cubicBezTo>
                    <a:pt x="3993852" y="5865486"/>
                    <a:pt x="3985880" y="5867164"/>
                    <a:pt x="3977488" y="5867164"/>
                  </a:cubicBezTo>
                  <a:cubicBezTo>
                    <a:pt x="3943923" y="5867164"/>
                    <a:pt x="3917070" y="5840312"/>
                    <a:pt x="3917070" y="5806746"/>
                  </a:cubicBezTo>
                  <a:cubicBezTo>
                    <a:pt x="3917070" y="5773181"/>
                    <a:pt x="3943923" y="5746329"/>
                    <a:pt x="3977488" y="5746329"/>
                  </a:cubicBezTo>
                  <a:close/>
                  <a:moveTo>
                    <a:pt x="3145069" y="5742972"/>
                  </a:moveTo>
                  <a:cubicBezTo>
                    <a:pt x="3178634" y="5742972"/>
                    <a:pt x="3208844" y="5773181"/>
                    <a:pt x="3208844" y="5806746"/>
                  </a:cubicBezTo>
                  <a:cubicBezTo>
                    <a:pt x="3208844" y="5840312"/>
                    <a:pt x="3181992" y="5870519"/>
                    <a:pt x="3145069" y="5870519"/>
                  </a:cubicBezTo>
                  <a:cubicBezTo>
                    <a:pt x="3111504" y="5870519"/>
                    <a:pt x="3081295" y="5840312"/>
                    <a:pt x="3081295" y="5806746"/>
                  </a:cubicBezTo>
                  <a:cubicBezTo>
                    <a:pt x="3081295" y="5773181"/>
                    <a:pt x="3108147" y="5742972"/>
                    <a:pt x="3145069" y="5742972"/>
                  </a:cubicBezTo>
                  <a:close/>
                  <a:moveTo>
                    <a:pt x="3776096" y="5716120"/>
                  </a:moveTo>
                  <a:cubicBezTo>
                    <a:pt x="3806306" y="5716120"/>
                    <a:pt x="3829800" y="5739616"/>
                    <a:pt x="3829800" y="5769824"/>
                  </a:cubicBezTo>
                  <a:cubicBezTo>
                    <a:pt x="3829800" y="5800033"/>
                    <a:pt x="3806306" y="5823529"/>
                    <a:pt x="3776096" y="5823529"/>
                  </a:cubicBezTo>
                  <a:cubicBezTo>
                    <a:pt x="3745888" y="5823529"/>
                    <a:pt x="3722391" y="5800033"/>
                    <a:pt x="3722391" y="5769824"/>
                  </a:cubicBezTo>
                  <a:cubicBezTo>
                    <a:pt x="3722391" y="5739616"/>
                    <a:pt x="3745888" y="5716120"/>
                    <a:pt x="3776096" y="5716120"/>
                  </a:cubicBezTo>
                  <a:close/>
                  <a:moveTo>
                    <a:pt x="2144822" y="5706050"/>
                  </a:moveTo>
                  <a:cubicBezTo>
                    <a:pt x="2185101" y="5706050"/>
                    <a:pt x="2218666" y="5739616"/>
                    <a:pt x="2218666" y="5779894"/>
                  </a:cubicBezTo>
                  <a:cubicBezTo>
                    <a:pt x="2218666" y="5820173"/>
                    <a:pt x="2185101" y="5853738"/>
                    <a:pt x="2144822" y="5853738"/>
                  </a:cubicBezTo>
                  <a:cubicBezTo>
                    <a:pt x="2104544" y="5853738"/>
                    <a:pt x="2074335" y="5823529"/>
                    <a:pt x="2070979" y="5779894"/>
                  </a:cubicBezTo>
                  <a:cubicBezTo>
                    <a:pt x="2070979" y="5739616"/>
                    <a:pt x="2104544" y="5706050"/>
                    <a:pt x="2144822" y="5706050"/>
                  </a:cubicBezTo>
                  <a:close/>
                  <a:moveTo>
                    <a:pt x="1758822" y="5706050"/>
                  </a:moveTo>
                  <a:cubicBezTo>
                    <a:pt x="1799100" y="5706050"/>
                    <a:pt x="1832666" y="5739616"/>
                    <a:pt x="1832666" y="5779894"/>
                  </a:cubicBezTo>
                  <a:cubicBezTo>
                    <a:pt x="1832666" y="5820173"/>
                    <a:pt x="1799100" y="5853738"/>
                    <a:pt x="1758822" y="5853738"/>
                  </a:cubicBezTo>
                  <a:cubicBezTo>
                    <a:pt x="1718543" y="5853738"/>
                    <a:pt x="1684978" y="5820173"/>
                    <a:pt x="1684978" y="5779894"/>
                  </a:cubicBezTo>
                  <a:cubicBezTo>
                    <a:pt x="1684978" y="5739616"/>
                    <a:pt x="1718543" y="5706050"/>
                    <a:pt x="1758822" y="5706050"/>
                  </a:cubicBezTo>
                  <a:close/>
                  <a:moveTo>
                    <a:pt x="1027098" y="5706050"/>
                  </a:moveTo>
                  <a:cubicBezTo>
                    <a:pt x="1037168" y="5706050"/>
                    <a:pt x="1043881" y="5712763"/>
                    <a:pt x="1043881" y="5722833"/>
                  </a:cubicBezTo>
                  <a:cubicBezTo>
                    <a:pt x="1043881" y="5732903"/>
                    <a:pt x="1037168" y="5739616"/>
                    <a:pt x="1027098" y="5739616"/>
                  </a:cubicBezTo>
                  <a:cubicBezTo>
                    <a:pt x="1017028" y="5739616"/>
                    <a:pt x="1006959" y="5732903"/>
                    <a:pt x="1010315" y="5722833"/>
                  </a:cubicBezTo>
                  <a:cubicBezTo>
                    <a:pt x="1010315" y="5712763"/>
                    <a:pt x="1017028" y="5706050"/>
                    <a:pt x="1027098" y="5706050"/>
                  </a:cubicBezTo>
                  <a:close/>
                  <a:moveTo>
                    <a:pt x="2544250" y="5692624"/>
                  </a:moveTo>
                  <a:cubicBezTo>
                    <a:pt x="2584529" y="5692624"/>
                    <a:pt x="2618094" y="5726189"/>
                    <a:pt x="2618094" y="5766468"/>
                  </a:cubicBezTo>
                  <a:cubicBezTo>
                    <a:pt x="2618094" y="5806746"/>
                    <a:pt x="2584529" y="5840312"/>
                    <a:pt x="2544250" y="5840312"/>
                  </a:cubicBezTo>
                  <a:cubicBezTo>
                    <a:pt x="2503972" y="5840312"/>
                    <a:pt x="2473763" y="5806746"/>
                    <a:pt x="2470406" y="5766468"/>
                  </a:cubicBezTo>
                  <a:cubicBezTo>
                    <a:pt x="2470406" y="5726189"/>
                    <a:pt x="2503972" y="5692624"/>
                    <a:pt x="2544250" y="5692624"/>
                  </a:cubicBezTo>
                  <a:close/>
                  <a:moveTo>
                    <a:pt x="1386247" y="5682555"/>
                  </a:moveTo>
                  <a:cubicBezTo>
                    <a:pt x="1426526" y="5682555"/>
                    <a:pt x="1460091" y="5716120"/>
                    <a:pt x="1460091" y="5756398"/>
                  </a:cubicBezTo>
                  <a:cubicBezTo>
                    <a:pt x="1460091" y="5796677"/>
                    <a:pt x="1426526" y="5830242"/>
                    <a:pt x="1386247" y="5830242"/>
                  </a:cubicBezTo>
                  <a:cubicBezTo>
                    <a:pt x="1345969" y="5830242"/>
                    <a:pt x="1312404" y="5796677"/>
                    <a:pt x="1312404" y="5756398"/>
                  </a:cubicBezTo>
                  <a:cubicBezTo>
                    <a:pt x="1312404" y="5716120"/>
                    <a:pt x="1345969" y="5682555"/>
                    <a:pt x="1386247" y="5682555"/>
                  </a:cubicBezTo>
                  <a:close/>
                  <a:moveTo>
                    <a:pt x="2960460" y="5662415"/>
                  </a:moveTo>
                  <a:cubicBezTo>
                    <a:pt x="2994025" y="5662415"/>
                    <a:pt x="3024234" y="5689268"/>
                    <a:pt x="3024234" y="5726189"/>
                  </a:cubicBezTo>
                  <a:cubicBezTo>
                    <a:pt x="3024234" y="5759755"/>
                    <a:pt x="2997382" y="5789964"/>
                    <a:pt x="2960460" y="5789964"/>
                  </a:cubicBezTo>
                  <a:cubicBezTo>
                    <a:pt x="2923538" y="5789964"/>
                    <a:pt x="2896686" y="5763111"/>
                    <a:pt x="2896686" y="5726189"/>
                  </a:cubicBezTo>
                  <a:cubicBezTo>
                    <a:pt x="2896686" y="5692624"/>
                    <a:pt x="2923538" y="5662415"/>
                    <a:pt x="2960460" y="5662415"/>
                  </a:cubicBezTo>
                  <a:close/>
                  <a:moveTo>
                    <a:pt x="3581419" y="5659059"/>
                  </a:moveTo>
                  <a:cubicBezTo>
                    <a:pt x="3611627" y="5659059"/>
                    <a:pt x="3638479" y="5685911"/>
                    <a:pt x="3638479" y="5716120"/>
                  </a:cubicBezTo>
                  <a:cubicBezTo>
                    <a:pt x="3638479" y="5746329"/>
                    <a:pt x="3611627" y="5773181"/>
                    <a:pt x="3581419" y="5773181"/>
                  </a:cubicBezTo>
                  <a:cubicBezTo>
                    <a:pt x="3547852" y="5773181"/>
                    <a:pt x="3524357" y="5749685"/>
                    <a:pt x="3524357" y="5716120"/>
                  </a:cubicBezTo>
                  <a:cubicBezTo>
                    <a:pt x="3524357" y="5685911"/>
                    <a:pt x="3551209" y="5659059"/>
                    <a:pt x="3581419" y="5659059"/>
                  </a:cubicBezTo>
                  <a:close/>
                  <a:moveTo>
                    <a:pt x="3386738" y="5605354"/>
                  </a:moveTo>
                  <a:cubicBezTo>
                    <a:pt x="3416948" y="5605354"/>
                    <a:pt x="3440442" y="5628850"/>
                    <a:pt x="3440442" y="5659059"/>
                  </a:cubicBezTo>
                  <a:cubicBezTo>
                    <a:pt x="3440442" y="5689268"/>
                    <a:pt x="3416948" y="5712763"/>
                    <a:pt x="3386738" y="5712763"/>
                  </a:cubicBezTo>
                  <a:cubicBezTo>
                    <a:pt x="3356530" y="5712763"/>
                    <a:pt x="3333033" y="5685911"/>
                    <a:pt x="3333033" y="5659059"/>
                  </a:cubicBezTo>
                  <a:cubicBezTo>
                    <a:pt x="3333033" y="5628850"/>
                    <a:pt x="3356530" y="5605354"/>
                    <a:pt x="3386738" y="5605354"/>
                  </a:cubicBezTo>
                  <a:close/>
                  <a:moveTo>
                    <a:pt x="2373067" y="5588572"/>
                  </a:moveTo>
                  <a:cubicBezTo>
                    <a:pt x="2413346" y="5588572"/>
                    <a:pt x="2446911" y="5622137"/>
                    <a:pt x="2446911" y="5662415"/>
                  </a:cubicBezTo>
                  <a:cubicBezTo>
                    <a:pt x="2446911" y="5702694"/>
                    <a:pt x="2413346" y="5736259"/>
                    <a:pt x="2373067" y="5736259"/>
                  </a:cubicBezTo>
                  <a:cubicBezTo>
                    <a:pt x="2332788" y="5736259"/>
                    <a:pt x="2299223" y="5702694"/>
                    <a:pt x="2299223" y="5662415"/>
                  </a:cubicBezTo>
                  <a:cubicBezTo>
                    <a:pt x="2299223" y="5622137"/>
                    <a:pt x="2332788" y="5588572"/>
                    <a:pt x="2373067" y="5588572"/>
                  </a:cubicBezTo>
                  <a:close/>
                  <a:moveTo>
                    <a:pt x="1980353" y="5588572"/>
                  </a:moveTo>
                  <a:cubicBezTo>
                    <a:pt x="2020632" y="5588572"/>
                    <a:pt x="2054197" y="5622137"/>
                    <a:pt x="2054197" y="5662415"/>
                  </a:cubicBezTo>
                  <a:cubicBezTo>
                    <a:pt x="2054197" y="5702694"/>
                    <a:pt x="2020632" y="5736259"/>
                    <a:pt x="1980353" y="5736259"/>
                  </a:cubicBezTo>
                  <a:cubicBezTo>
                    <a:pt x="1940075" y="5736259"/>
                    <a:pt x="1909866" y="5702694"/>
                    <a:pt x="1906510" y="5662415"/>
                  </a:cubicBezTo>
                  <a:cubicBezTo>
                    <a:pt x="1906510" y="5622137"/>
                    <a:pt x="1940075" y="5588572"/>
                    <a:pt x="1980353" y="5588572"/>
                  </a:cubicBezTo>
                  <a:close/>
                  <a:moveTo>
                    <a:pt x="1604421" y="5575146"/>
                  </a:moveTo>
                  <a:cubicBezTo>
                    <a:pt x="1644700" y="5575146"/>
                    <a:pt x="1678265" y="5608712"/>
                    <a:pt x="1678265" y="5648990"/>
                  </a:cubicBezTo>
                  <a:cubicBezTo>
                    <a:pt x="1678265" y="5689269"/>
                    <a:pt x="1644700" y="5722834"/>
                    <a:pt x="1604421" y="5722834"/>
                  </a:cubicBezTo>
                  <a:cubicBezTo>
                    <a:pt x="1564143" y="5722834"/>
                    <a:pt x="1530577" y="5689269"/>
                    <a:pt x="1530577" y="5648990"/>
                  </a:cubicBezTo>
                  <a:cubicBezTo>
                    <a:pt x="1530577" y="5608712"/>
                    <a:pt x="1564143" y="5575146"/>
                    <a:pt x="1604421" y="5575146"/>
                  </a:cubicBezTo>
                  <a:close/>
                  <a:moveTo>
                    <a:pt x="2775850" y="5571789"/>
                  </a:moveTo>
                  <a:cubicBezTo>
                    <a:pt x="2812772" y="5571789"/>
                    <a:pt x="2839624" y="5601998"/>
                    <a:pt x="2839624" y="5635563"/>
                  </a:cubicBezTo>
                  <a:cubicBezTo>
                    <a:pt x="2839624" y="5672485"/>
                    <a:pt x="2809416" y="5699337"/>
                    <a:pt x="2775850" y="5699337"/>
                  </a:cubicBezTo>
                  <a:cubicBezTo>
                    <a:pt x="2742285" y="5699337"/>
                    <a:pt x="2715432" y="5672485"/>
                    <a:pt x="2712076" y="5635563"/>
                  </a:cubicBezTo>
                  <a:cubicBezTo>
                    <a:pt x="2712076" y="5598641"/>
                    <a:pt x="2742285" y="5571789"/>
                    <a:pt x="2775850" y="5571789"/>
                  </a:cubicBezTo>
                  <a:close/>
                  <a:moveTo>
                    <a:pt x="886123" y="5568432"/>
                  </a:moveTo>
                  <a:cubicBezTo>
                    <a:pt x="889480" y="5568432"/>
                    <a:pt x="892837" y="5571789"/>
                    <a:pt x="892837" y="5575145"/>
                  </a:cubicBezTo>
                  <a:cubicBezTo>
                    <a:pt x="892837" y="5578502"/>
                    <a:pt x="889480" y="5581858"/>
                    <a:pt x="886123" y="5581858"/>
                  </a:cubicBezTo>
                  <a:cubicBezTo>
                    <a:pt x="882767" y="5581858"/>
                    <a:pt x="879410" y="5578502"/>
                    <a:pt x="879410" y="5575145"/>
                  </a:cubicBezTo>
                  <a:cubicBezTo>
                    <a:pt x="879410" y="5571789"/>
                    <a:pt x="882767" y="5568432"/>
                    <a:pt x="886123" y="5568432"/>
                  </a:cubicBezTo>
                  <a:close/>
                  <a:moveTo>
                    <a:pt x="4016827" y="5546256"/>
                  </a:moveTo>
                  <a:lnTo>
                    <a:pt x="4016827" y="5624629"/>
                  </a:lnTo>
                  <a:lnTo>
                    <a:pt x="3997208" y="5617103"/>
                  </a:lnTo>
                  <a:cubicBezTo>
                    <a:pt x="3989236" y="5609551"/>
                    <a:pt x="3984201" y="5598642"/>
                    <a:pt x="3984201" y="5585216"/>
                  </a:cubicBezTo>
                  <a:cubicBezTo>
                    <a:pt x="3984201" y="5573468"/>
                    <a:pt x="3989236" y="5562560"/>
                    <a:pt x="3997208" y="5554588"/>
                  </a:cubicBezTo>
                  <a:close/>
                  <a:moveTo>
                    <a:pt x="1238560" y="5538223"/>
                  </a:moveTo>
                  <a:cubicBezTo>
                    <a:pt x="1282195" y="5538223"/>
                    <a:pt x="1315760" y="5571789"/>
                    <a:pt x="1315760" y="5615424"/>
                  </a:cubicBezTo>
                  <a:cubicBezTo>
                    <a:pt x="1315760" y="5659059"/>
                    <a:pt x="1282195" y="5692624"/>
                    <a:pt x="1238560" y="5692624"/>
                  </a:cubicBezTo>
                  <a:cubicBezTo>
                    <a:pt x="1198281" y="5692624"/>
                    <a:pt x="1161360" y="5659059"/>
                    <a:pt x="1161360" y="5615424"/>
                  </a:cubicBezTo>
                  <a:cubicBezTo>
                    <a:pt x="1161360" y="5571789"/>
                    <a:pt x="1194925" y="5538223"/>
                    <a:pt x="1238560" y="5538223"/>
                  </a:cubicBezTo>
                  <a:close/>
                  <a:moveTo>
                    <a:pt x="3195416" y="5531511"/>
                  </a:moveTo>
                  <a:cubicBezTo>
                    <a:pt x="3225624" y="5531511"/>
                    <a:pt x="3249121" y="5555007"/>
                    <a:pt x="3249121" y="5585216"/>
                  </a:cubicBezTo>
                  <a:cubicBezTo>
                    <a:pt x="3249121" y="5615425"/>
                    <a:pt x="3225624" y="5638921"/>
                    <a:pt x="3195416" y="5638921"/>
                  </a:cubicBezTo>
                  <a:cubicBezTo>
                    <a:pt x="3165208" y="5638921"/>
                    <a:pt x="3141712" y="5615425"/>
                    <a:pt x="3141712" y="5585216"/>
                  </a:cubicBezTo>
                  <a:cubicBezTo>
                    <a:pt x="3141712" y="5555007"/>
                    <a:pt x="3165208" y="5531511"/>
                    <a:pt x="3195416" y="5531511"/>
                  </a:cubicBezTo>
                  <a:close/>
                  <a:moveTo>
                    <a:pt x="3826443" y="5501302"/>
                  </a:moveTo>
                  <a:cubicBezTo>
                    <a:pt x="3853295" y="5501302"/>
                    <a:pt x="3873436" y="5521441"/>
                    <a:pt x="3873436" y="5548293"/>
                  </a:cubicBezTo>
                  <a:cubicBezTo>
                    <a:pt x="3873436" y="5575145"/>
                    <a:pt x="3853295" y="5595285"/>
                    <a:pt x="3826443" y="5595285"/>
                  </a:cubicBezTo>
                  <a:cubicBezTo>
                    <a:pt x="3802948" y="5595285"/>
                    <a:pt x="3779454" y="5575145"/>
                    <a:pt x="3779454" y="5548293"/>
                  </a:cubicBezTo>
                  <a:cubicBezTo>
                    <a:pt x="3779454" y="5521441"/>
                    <a:pt x="3799591" y="5501302"/>
                    <a:pt x="3826443" y="5501302"/>
                  </a:cubicBezTo>
                  <a:close/>
                  <a:moveTo>
                    <a:pt x="2205240" y="5474450"/>
                  </a:moveTo>
                  <a:cubicBezTo>
                    <a:pt x="2245518" y="5474450"/>
                    <a:pt x="2275728" y="5508016"/>
                    <a:pt x="2275728" y="5544938"/>
                  </a:cubicBezTo>
                  <a:cubicBezTo>
                    <a:pt x="2275728" y="5585215"/>
                    <a:pt x="2242162" y="5615425"/>
                    <a:pt x="2205240" y="5615425"/>
                  </a:cubicBezTo>
                  <a:cubicBezTo>
                    <a:pt x="2164962" y="5615425"/>
                    <a:pt x="2134753" y="5585215"/>
                    <a:pt x="2134753" y="5544938"/>
                  </a:cubicBezTo>
                  <a:cubicBezTo>
                    <a:pt x="2134753" y="5504659"/>
                    <a:pt x="2168318" y="5474450"/>
                    <a:pt x="2205240" y="5474450"/>
                  </a:cubicBezTo>
                  <a:close/>
                  <a:moveTo>
                    <a:pt x="1822596" y="5467736"/>
                  </a:moveTo>
                  <a:cubicBezTo>
                    <a:pt x="1859518" y="5467736"/>
                    <a:pt x="1893083" y="5497945"/>
                    <a:pt x="1893083" y="5538223"/>
                  </a:cubicBezTo>
                  <a:cubicBezTo>
                    <a:pt x="1893083" y="5575145"/>
                    <a:pt x="1862874" y="5608711"/>
                    <a:pt x="1822596" y="5608711"/>
                  </a:cubicBezTo>
                  <a:cubicBezTo>
                    <a:pt x="1782318" y="5608711"/>
                    <a:pt x="1752109" y="5575145"/>
                    <a:pt x="1752109" y="5538223"/>
                  </a:cubicBezTo>
                  <a:cubicBezTo>
                    <a:pt x="1752109" y="5501302"/>
                    <a:pt x="1782318" y="5467736"/>
                    <a:pt x="1822596" y="5467736"/>
                  </a:cubicBezTo>
                  <a:close/>
                  <a:moveTo>
                    <a:pt x="2601312" y="5461023"/>
                  </a:moveTo>
                  <a:cubicBezTo>
                    <a:pt x="2641590" y="5461023"/>
                    <a:pt x="2675155" y="5494588"/>
                    <a:pt x="2675155" y="5534867"/>
                  </a:cubicBezTo>
                  <a:cubicBezTo>
                    <a:pt x="2675155" y="5575145"/>
                    <a:pt x="2641590" y="5608711"/>
                    <a:pt x="2601312" y="5608711"/>
                  </a:cubicBezTo>
                  <a:cubicBezTo>
                    <a:pt x="2561033" y="5608711"/>
                    <a:pt x="2527468" y="5575145"/>
                    <a:pt x="2527468" y="5534867"/>
                  </a:cubicBezTo>
                  <a:cubicBezTo>
                    <a:pt x="2527468" y="5494588"/>
                    <a:pt x="2561033" y="5461023"/>
                    <a:pt x="2601312" y="5461023"/>
                  </a:cubicBezTo>
                  <a:close/>
                  <a:moveTo>
                    <a:pt x="3631766" y="5450954"/>
                  </a:moveTo>
                  <a:cubicBezTo>
                    <a:pt x="3658618" y="5450954"/>
                    <a:pt x="3678758" y="5471093"/>
                    <a:pt x="3678758" y="5497945"/>
                  </a:cubicBezTo>
                  <a:cubicBezTo>
                    <a:pt x="3678758" y="5524797"/>
                    <a:pt x="3658618" y="5544937"/>
                    <a:pt x="3631766" y="5544937"/>
                  </a:cubicBezTo>
                  <a:cubicBezTo>
                    <a:pt x="3604914" y="5544937"/>
                    <a:pt x="3584774" y="5521441"/>
                    <a:pt x="3584774" y="5497945"/>
                  </a:cubicBezTo>
                  <a:cubicBezTo>
                    <a:pt x="3584774" y="5471093"/>
                    <a:pt x="3604914" y="5450954"/>
                    <a:pt x="3631766" y="5450954"/>
                  </a:cubicBezTo>
                  <a:close/>
                  <a:moveTo>
                    <a:pt x="3010808" y="5437528"/>
                  </a:moveTo>
                  <a:cubicBezTo>
                    <a:pt x="3044373" y="5437528"/>
                    <a:pt x="3071226" y="5464381"/>
                    <a:pt x="3071226" y="5497946"/>
                  </a:cubicBezTo>
                  <a:cubicBezTo>
                    <a:pt x="3071226" y="5531511"/>
                    <a:pt x="3044373" y="5558364"/>
                    <a:pt x="3010808" y="5558364"/>
                  </a:cubicBezTo>
                  <a:cubicBezTo>
                    <a:pt x="2980599" y="5558364"/>
                    <a:pt x="2953747" y="5534868"/>
                    <a:pt x="2950390" y="5497946"/>
                  </a:cubicBezTo>
                  <a:cubicBezTo>
                    <a:pt x="2950390" y="5464381"/>
                    <a:pt x="2977242" y="5437528"/>
                    <a:pt x="3010808" y="5437528"/>
                  </a:cubicBezTo>
                  <a:close/>
                  <a:moveTo>
                    <a:pt x="1453378" y="5434171"/>
                  </a:moveTo>
                  <a:cubicBezTo>
                    <a:pt x="1497013" y="5434171"/>
                    <a:pt x="1530578" y="5467736"/>
                    <a:pt x="1530578" y="5511371"/>
                  </a:cubicBezTo>
                  <a:cubicBezTo>
                    <a:pt x="1530578" y="5555006"/>
                    <a:pt x="1497013" y="5588572"/>
                    <a:pt x="1453378" y="5588572"/>
                  </a:cubicBezTo>
                  <a:cubicBezTo>
                    <a:pt x="1413100" y="5588572"/>
                    <a:pt x="1376178" y="5551650"/>
                    <a:pt x="1376178" y="5511371"/>
                  </a:cubicBezTo>
                  <a:cubicBezTo>
                    <a:pt x="1376178" y="5467736"/>
                    <a:pt x="1409743" y="5434171"/>
                    <a:pt x="1453378" y="5434171"/>
                  </a:cubicBezTo>
                  <a:close/>
                  <a:moveTo>
                    <a:pt x="1097585" y="5410676"/>
                  </a:moveTo>
                  <a:cubicBezTo>
                    <a:pt x="1131151" y="5410676"/>
                    <a:pt x="1158003" y="5437528"/>
                    <a:pt x="1158003" y="5471094"/>
                  </a:cubicBezTo>
                  <a:cubicBezTo>
                    <a:pt x="1158003" y="5504659"/>
                    <a:pt x="1131151" y="5531511"/>
                    <a:pt x="1097585" y="5531511"/>
                  </a:cubicBezTo>
                  <a:cubicBezTo>
                    <a:pt x="1064020" y="5531511"/>
                    <a:pt x="1040524" y="5504659"/>
                    <a:pt x="1037168" y="5471094"/>
                  </a:cubicBezTo>
                  <a:cubicBezTo>
                    <a:pt x="1037168" y="5437528"/>
                    <a:pt x="1064020" y="5410676"/>
                    <a:pt x="1097585" y="5410676"/>
                  </a:cubicBezTo>
                  <a:close/>
                  <a:moveTo>
                    <a:pt x="751863" y="5393893"/>
                  </a:moveTo>
                  <a:cubicBezTo>
                    <a:pt x="765289" y="5393893"/>
                    <a:pt x="778715" y="5407320"/>
                    <a:pt x="778715" y="5420746"/>
                  </a:cubicBezTo>
                  <a:cubicBezTo>
                    <a:pt x="778715" y="5434172"/>
                    <a:pt x="765289" y="5447598"/>
                    <a:pt x="751863" y="5447598"/>
                  </a:cubicBezTo>
                  <a:cubicBezTo>
                    <a:pt x="738437" y="5447598"/>
                    <a:pt x="728367" y="5437528"/>
                    <a:pt x="725011" y="5420746"/>
                  </a:cubicBezTo>
                  <a:cubicBezTo>
                    <a:pt x="725011" y="5407320"/>
                    <a:pt x="738437" y="5393893"/>
                    <a:pt x="751863" y="5393893"/>
                  </a:cubicBezTo>
                  <a:close/>
                  <a:moveTo>
                    <a:pt x="3437087" y="5380467"/>
                  </a:moveTo>
                  <a:cubicBezTo>
                    <a:pt x="3467294" y="5380467"/>
                    <a:pt x="3490792" y="5403963"/>
                    <a:pt x="3490792" y="5434172"/>
                  </a:cubicBezTo>
                  <a:cubicBezTo>
                    <a:pt x="3490792" y="5464381"/>
                    <a:pt x="3467294" y="5487876"/>
                    <a:pt x="3437087" y="5487876"/>
                  </a:cubicBezTo>
                  <a:cubicBezTo>
                    <a:pt x="3406879" y="5487876"/>
                    <a:pt x="3383382" y="5464381"/>
                    <a:pt x="3383382" y="5434172"/>
                  </a:cubicBezTo>
                  <a:cubicBezTo>
                    <a:pt x="3383382" y="5403963"/>
                    <a:pt x="3406879" y="5380467"/>
                    <a:pt x="3437087" y="5380467"/>
                  </a:cubicBezTo>
                  <a:close/>
                  <a:moveTo>
                    <a:pt x="2430128" y="5360328"/>
                  </a:moveTo>
                  <a:cubicBezTo>
                    <a:pt x="2467050" y="5360328"/>
                    <a:pt x="2497259" y="5390537"/>
                    <a:pt x="2497259" y="5427459"/>
                  </a:cubicBezTo>
                  <a:cubicBezTo>
                    <a:pt x="2497259" y="5464381"/>
                    <a:pt x="2467050" y="5494590"/>
                    <a:pt x="2430128" y="5494590"/>
                  </a:cubicBezTo>
                  <a:cubicBezTo>
                    <a:pt x="2393206" y="5494590"/>
                    <a:pt x="2362997" y="5464381"/>
                    <a:pt x="2362997" y="5427459"/>
                  </a:cubicBezTo>
                  <a:cubicBezTo>
                    <a:pt x="2362997" y="5390537"/>
                    <a:pt x="2393206" y="5360328"/>
                    <a:pt x="2430128" y="5360328"/>
                  </a:cubicBezTo>
                  <a:close/>
                  <a:moveTo>
                    <a:pt x="2040771" y="5356972"/>
                  </a:moveTo>
                  <a:cubicBezTo>
                    <a:pt x="2077693" y="5356972"/>
                    <a:pt x="2107902" y="5387180"/>
                    <a:pt x="2107902" y="5424102"/>
                  </a:cubicBezTo>
                  <a:cubicBezTo>
                    <a:pt x="2107902" y="5461024"/>
                    <a:pt x="2077693" y="5491233"/>
                    <a:pt x="2040771" y="5491233"/>
                  </a:cubicBezTo>
                  <a:cubicBezTo>
                    <a:pt x="2003849" y="5491233"/>
                    <a:pt x="1973640" y="5461024"/>
                    <a:pt x="1973640" y="5424102"/>
                  </a:cubicBezTo>
                  <a:cubicBezTo>
                    <a:pt x="1973640" y="5387180"/>
                    <a:pt x="2003849" y="5356972"/>
                    <a:pt x="2040771" y="5356972"/>
                  </a:cubicBezTo>
                  <a:close/>
                  <a:moveTo>
                    <a:pt x="2829555" y="5346902"/>
                  </a:moveTo>
                  <a:cubicBezTo>
                    <a:pt x="2859764" y="5346902"/>
                    <a:pt x="2886616" y="5373754"/>
                    <a:pt x="2886616" y="5407320"/>
                  </a:cubicBezTo>
                  <a:cubicBezTo>
                    <a:pt x="2886616" y="5440885"/>
                    <a:pt x="2863120" y="5467737"/>
                    <a:pt x="2829555" y="5467737"/>
                  </a:cubicBezTo>
                  <a:cubicBezTo>
                    <a:pt x="2799346" y="5467737"/>
                    <a:pt x="2772494" y="5440885"/>
                    <a:pt x="2769137" y="5407320"/>
                  </a:cubicBezTo>
                  <a:cubicBezTo>
                    <a:pt x="2769137" y="5373754"/>
                    <a:pt x="2795990" y="5346902"/>
                    <a:pt x="2829555" y="5346902"/>
                  </a:cubicBezTo>
                  <a:close/>
                  <a:moveTo>
                    <a:pt x="1668195" y="5333476"/>
                  </a:moveTo>
                  <a:cubicBezTo>
                    <a:pt x="1708474" y="5333476"/>
                    <a:pt x="1738683" y="5363685"/>
                    <a:pt x="1738683" y="5403963"/>
                  </a:cubicBezTo>
                  <a:cubicBezTo>
                    <a:pt x="1738683" y="5444242"/>
                    <a:pt x="1708474" y="5474450"/>
                    <a:pt x="1668195" y="5474450"/>
                  </a:cubicBezTo>
                  <a:cubicBezTo>
                    <a:pt x="1631274" y="5474450"/>
                    <a:pt x="1597708" y="5440885"/>
                    <a:pt x="1597708" y="5403963"/>
                  </a:cubicBezTo>
                  <a:cubicBezTo>
                    <a:pt x="1597708" y="5363685"/>
                    <a:pt x="1627917" y="5333476"/>
                    <a:pt x="1668195" y="5333476"/>
                  </a:cubicBezTo>
                  <a:close/>
                  <a:moveTo>
                    <a:pt x="3249123" y="5309980"/>
                  </a:moveTo>
                  <a:cubicBezTo>
                    <a:pt x="3275975" y="5309980"/>
                    <a:pt x="3299470" y="5333476"/>
                    <a:pt x="3299470" y="5360328"/>
                  </a:cubicBezTo>
                  <a:cubicBezTo>
                    <a:pt x="3299470" y="5387180"/>
                    <a:pt x="3275975" y="5410676"/>
                    <a:pt x="3249123" y="5410676"/>
                  </a:cubicBezTo>
                  <a:cubicBezTo>
                    <a:pt x="3218913" y="5410676"/>
                    <a:pt x="3198774" y="5387180"/>
                    <a:pt x="3198774" y="5360328"/>
                  </a:cubicBezTo>
                  <a:cubicBezTo>
                    <a:pt x="3198774" y="5333476"/>
                    <a:pt x="3222271" y="5309980"/>
                    <a:pt x="3249123" y="5309980"/>
                  </a:cubicBezTo>
                  <a:close/>
                  <a:moveTo>
                    <a:pt x="3876792" y="5296554"/>
                  </a:moveTo>
                  <a:cubicBezTo>
                    <a:pt x="3893574" y="5296554"/>
                    <a:pt x="3907000" y="5309980"/>
                    <a:pt x="3907000" y="5326763"/>
                  </a:cubicBezTo>
                  <a:cubicBezTo>
                    <a:pt x="3907000" y="5343545"/>
                    <a:pt x="3893574" y="5356972"/>
                    <a:pt x="3876792" y="5356972"/>
                  </a:cubicBezTo>
                  <a:cubicBezTo>
                    <a:pt x="3863366" y="5356972"/>
                    <a:pt x="3849940" y="5343545"/>
                    <a:pt x="3846584" y="5326763"/>
                  </a:cubicBezTo>
                  <a:cubicBezTo>
                    <a:pt x="3846584" y="5309980"/>
                    <a:pt x="3860010" y="5296554"/>
                    <a:pt x="3876792" y="5296554"/>
                  </a:cubicBezTo>
                  <a:close/>
                  <a:moveTo>
                    <a:pt x="1309047" y="5293197"/>
                  </a:moveTo>
                  <a:cubicBezTo>
                    <a:pt x="1349830" y="5293197"/>
                    <a:pt x="1382891" y="5326258"/>
                    <a:pt x="1382891" y="5367041"/>
                  </a:cubicBezTo>
                  <a:cubicBezTo>
                    <a:pt x="1382891" y="5407824"/>
                    <a:pt x="1349830" y="5440884"/>
                    <a:pt x="1309047" y="5440884"/>
                  </a:cubicBezTo>
                  <a:cubicBezTo>
                    <a:pt x="1268264" y="5440884"/>
                    <a:pt x="1235203" y="5407824"/>
                    <a:pt x="1235203" y="5367041"/>
                  </a:cubicBezTo>
                  <a:cubicBezTo>
                    <a:pt x="1235203" y="5326258"/>
                    <a:pt x="1268264" y="5293197"/>
                    <a:pt x="1309047" y="5293197"/>
                  </a:cubicBezTo>
                  <a:close/>
                  <a:moveTo>
                    <a:pt x="963324" y="5246206"/>
                  </a:moveTo>
                  <a:cubicBezTo>
                    <a:pt x="1003602" y="5246206"/>
                    <a:pt x="1037168" y="5279771"/>
                    <a:pt x="1037168" y="5320050"/>
                  </a:cubicBezTo>
                  <a:cubicBezTo>
                    <a:pt x="1037168" y="5360328"/>
                    <a:pt x="1003602" y="5393893"/>
                    <a:pt x="963324" y="5393893"/>
                  </a:cubicBezTo>
                  <a:cubicBezTo>
                    <a:pt x="923045" y="5393893"/>
                    <a:pt x="889480" y="5360328"/>
                    <a:pt x="889480" y="5320050"/>
                  </a:cubicBezTo>
                  <a:cubicBezTo>
                    <a:pt x="889480" y="5279771"/>
                    <a:pt x="923045" y="5246206"/>
                    <a:pt x="963324" y="5246206"/>
                  </a:cubicBezTo>
                  <a:close/>
                  <a:moveTo>
                    <a:pt x="2262301" y="5242849"/>
                  </a:moveTo>
                  <a:cubicBezTo>
                    <a:pt x="2299223" y="5242849"/>
                    <a:pt x="2329432" y="5273058"/>
                    <a:pt x="2329432" y="5309980"/>
                  </a:cubicBezTo>
                  <a:cubicBezTo>
                    <a:pt x="2329432" y="5346902"/>
                    <a:pt x="2299223" y="5377111"/>
                    <a:pt x="2262301" y="5377111"/>
                  </a:cubicBezTo>
                  <a:cubicBezTo>
                    <a:pt x="2225379" y="5377111"/>
                    <a:pt x="2195170" y="5346902"/>
                    <a:pt x="2195170" y="5309980"/>
                  </a:cubicBezTo>
                  <a:cubicBezTo>
                    <a:pt x="2195170" y="5273058"/>
                    <a:pt x="2225379" y="5242849"/>
                    <a:pt x="2262301" y="5242849"/>
                  </a:cubicBezTo>
                  <a:close/>
                  <a:moveTo>
                    <a:pt x="3682113" y="5239493"/>
                  </a:moveTo>
                  <a:cubicBezTo>
                    <a:pt x="3702254" y="5239493"/>
                    <a:pt x="3719036" y="5256275"/>
                    <a:pt x="3719036" y="5276415"/>
                  </a:cubicBezTo>
                  <a:cubicBezTo>
                    <a:pt x="3719036" y="5296554"/>
                    <a:pt x="3702254" y="5313337"/>
                    <a:pt x="3682113" y="5313337"/>
                  </a:cubicBezTo>
                  <a:cubicBezTo>
                    <a:pt x="3661976" y="5313337"/>
                    <a:pt x="3645192" y="5296554"/>
                    <a:pt x="3645192" y="5276415"/>
                  </a:cubicBezTo>
                  <a:cubicBezTo>
                    <a:pt x="3645192" y="5256275"/>
                    <a:pt x="3661976" y="5239493"/>
                    <a:pt x="3682113" y="5239493"/>
                  </a:cubicBezTo>
                  <a:close/>
                  <a:moveTo>
                    <a:pt x="2655015" y="5239493"/>
                  </a:moveTo>
                  <a:cubicBezTo>
                    <a:pt x="2691937" y="5239493"/>
                    <a:pt x="2718789" y="5269702"/>
                    <a:pt x="2718789" y="5303267"/>
                  </a:cubicBezTo>
                  <a:cubicBezTo>
                    <a:pt x="2718789" y="5340189"/>
                    <a:pt x="2688580" y="5367040"/>
                    <a:pt x="2655015" y="5367040"/>
                  </a:cubicBezTo>
                  <a:cubicBezTo>
                    <a:pt x="2621450" y="5367040"/>
                    <a:pt x="2591241" y="5340189"/>
                    <a:pt x="2591241" y="5303267"/>
                  </a:cubicBezTo>
                  <a:cubicBezTo>
                    <a:pt x="2591241" y="5266345"/>
                    <a:pt x="2621450" y="5239493"/>
                    <a:pt x="2655015" y="5239493"/>
                  </a:cubicBezTo>
                  <a:close/>
                  <a:moveTo>
                    <a:pt x="1886370" y="5222710"/>
                  </a:moveTo>
                  <a:cubicBezTo>
                    <a:pt x="1926649" y="5222710"/>
                    <a:pt x="1956858" y="5256275"/>
                    <a:pt x="1956858" y="5293197"/>
                  </a:cubicBezTo>
                  <a:cubicBezTo>
                    <a:pt x="1956858" y="5333475"/>
                    <a:pt x="1923292" y="5363685"/>
                    <a:pt x="1886370" y="5363685"/>
                  </a:cubicBezTo>
                  <a:cubicBezTo>
                    <a:pt x="1849448" y="5363685"/>
                    <a:pt x="1815883" y="5330119"/>
                    <a:pt x="1815883" y="5293197"/>
                  </a:cubicBezTo>
                  <a:cubicBezTo>
                    <a:pt x="1815883" y="5252919"/>
                    <a:pt x="1846092" y="5222710"/>
                    <a:pt x="1886370" y="5222710"/>
                  </a:cubicBezTo>
                  <a:close/>
                  <a:moveTo>
                    <a:pt x="3064512" y="5212641"/>
                  </a:moveTo>
                  <a:cubicBezTo>
                    <a:pt x="3098078" y="5212641"/>
                    <a:pt x="3124930" y="5239493"/>
                    <a:pt x="3124930" y="5273058"/>
                  </a:cubicBezTo>
                  <a:cubicBezTo>
                    <a:pt x="3124930" y="5306624"/>
                    <a:pt x="3098078" y="5333476"/>
                    <a:pt x="3064512" y="5333476"/>
                  </a:cubicBezTo>
                  <a:cubicBezTo>
                    <a:pt x="3030947" y="5333476"/>
                    <a:pt x="3004095" y="5306624"/>
                    <a:pt x="3004095" y="5273058"/>
                  </a:cubicBezTo>
                  <a:cubicBezTo>
                    <a:pt x="3004095" y="5239493"/>
                    <a:pt x="3030947" y="5212641"/>
                    <a:pt x="3064512" y="5212641"/>
                  </a:cubicBezTo>
                  <a:close/>
                  <a:moveTo>
                    <a:pt x="1523864" y="5185788"/>
                  </a:moveTo>
                  <a:cubicBezTo>
                    <a:pt x="1564647" y="5185788"/>
                    <a:pt x="1597708" y="5218849"/>
                    <a:pt x="1597708" y="5259632"/>
                  </a:cubicBezTo>
                  <a:cubicBezTo>
                    <a:pt x="1597708" y="5300415"/>
                    <a:pt x="1564647" y="5333476"/>
                    <a:pt x="1523864" y="5333476"/>
                  </a:cubicBezTo>
                  <a:cubicBezTo>
                    <a:pt x="1483082" y="5333476"/>
                    <a:pt x="1450020" y="5300415"/>
                    <a:pt x="1450020" y="5259632"/>
                  </a:cubicBezTo>
                  <a:cubicBezTo>
                    <a:pt x="1450020" y="5218849"/>
                    <a:pt x="1483082" y="5185788"/>
                    <a:pt x="1523864" y="5185788"/>
                  </a:cubicBezTo>
                  <a:close/>
                  <a:moveTo>
                    <a:pt x="3487436" y="5169006"/>
                  </a:moveTo>
                  <a:cubicBezTo>
                    <a:pt x="3510931" y="5169006"/>
                    <a:pt x="3531070" y="5189145"/>
                    <a:pt x="3531070" y="5212641"/>
                  </a:cubicBezTo>
                  <a:cubicBezTo>
                    <a:pt x="3531070" y="5236136"/>
                    <a:pt x="3510931" y="5256275"/>
                    <a:pt x="3487436" y="5256275"/>
                  </a:cubicBezTo>
                  <a:cubicBezTo>
                    <a:pt x="3463939" y="5256275"/>
                    <a:pt x="3447158" y="5236136"/>
                    <a:pt x="3443800" y="5212641"/>
                  </a:cubicBezTo>
                  <a:cubicBezTo>
                    <a:pt x="3443800" y="5189145"/>
                    <a:pt x="3463939" y="5169006"/>
                    <a:pt x="3487436" y="5169006"/>
                  </a:cubicBezTo>
                  <a:close/>
                  <a:moveTo>
                    <a:pt x="1174786" y="5142153"/>
                  </a:moveTo>
                  <a:cubicBezTo>
                    <a:pt x="1215064" y="5142153"/>
                    <a:pt x="1248629" y="5175719"/>
                    <a:pt x="1248629" y="5215997"/>
                  </a:cubicBezTo>
                  <a:cubicBezTo>
                    <a:pt x="1248629" y="5256275"/>
                    <a:pt x="1215064" y="5289841"/>
                    <a:pt x="1174786" y="5289841"/>
                  </a:cubicBezTo>
                  <a:cubicBezTo>
                    <a:pt x="1131151" y="5289841"/>
                    <a:pt x="1100942" y="5256275"/>
                    <a:pt x="1100942" y="5215997"/>
                  </a:cubicBezTo>
                  <a:cubicBezTo>
                    <a:pt x="1100942" y="5175719"/>
                    <a:pt x="1134507" y="5142153"/>
                    <a:pt x="1174786" y="5142153"/>
                  </a:cubicBezTo>
                  <a:close/>
                  <a:moveTo>
                    <a:pt x="2487189" y="5132084"/>
                  </a:moveTo>
                  <a:cubicBezTo>
                    <a:pt x="2520754" y="5132084"/>
                    <a:pt x="2544250" y="5158936"/>
                    <a:pt x="2544250" y="5189145"/>
                  </a:cubicBezTo>
                  <a:cubicBezTo>
                    <a:pt x="2544250" y="5222710"/>
                    <a:pt x="2517398" y="5246206"/>
                    <a:pt x="2487189" y="5246206"/>
                  </a:cubicBezTo>
                  <a:cubicBezTo>
                    <a:pt x="2456980" y="5246206"/>
                    <a:pt x="2430128" y="5222710"/>
                    <a:pt x="2430128" y="5189145"/>
                  </a:cubicBezTo>
                  <a:cubicBezTo>
                    <a:pt x="2430128" y="5155579"/>
                    <a:pt x="2456980" y="5132084"/>
                    <a:pt x="2487189" y="5132084"/>
                  </a:cubicBezTo>
                  <a:close/>
                  <a:moveTo>
                    <a:pt x="2886616" y="5125371"/>
                  </a:moveTo>
                  <a:cubicBezTo>
                    <a:pt x="2916825" y="5125371"/>
                    <a:pt x="2940320" y="5148866"/>
                    <a:pt x="2940320" y="5179075"/>
                  </a:cubicBezTo>
                  <a:cubicBezTo>
                    <a:pt x="2940320" y="5209284"/>
                    <a:pt x="2916825" y="5232780"/>
                    <a:pt x="2886616" y="5232780"/>
                  </a:cubicBezTo>
                  <a:cubicBezTo>
                    <a:pt x="2856407" y="5232780"/>
                    <a:pt x="2832911" y="5209284"/>
                    <a:pt x="2832911" y="5179075"/>
                  </a:cubicBezTo>
                  <a:cubicBezTo>
                    <a:pt x="2832911" y="5148866"/>
                    <a:pt x="2856407" y="5125371"/>
                    <a:pt x="2886616" y="5125371"/>
                  </a:cubicBezTo>
                  <a:close/>
                  <a:moveTo>
                    <a:pt x="2104544" y="5122014"/>
                  </a:moveTo>
                  <a:cubicBezTo>
                    <a:pt x="2138110" y="5122014"/>
                    <a:pt x="2164962" y="5148866"/>
                    <a:pt x="2164962" y="5182432"/>
                  </a:cubicBezTo>
                  <a:cubicBezTo>
                    <a:pt x="2164962" y="5215996"/>
                    <a:pt x="2138110" y="5242849"/>
                    <a:pt x="2104544" y="5242849"/>
                  </a:cubicBezTo>
                  <a:cubicBezTo>
                    <a:pt x="2070979" y="5242849"/>
                    <a:pt x="2044126" y="5215996"/>
                    <a:pt x="2044126" y="5182432"/>
                  </a:cubicBezTo>
                  <a:cubicBezTo>
                    <a:pt x="2044126" y="5148866"/>
                    <a:pt x="2070979" y="5122014"/>
                    <a:pt x="2104544" y="5122014"/>
                  </a:cubicBezTo>
                  <a:close/>
                  <a:moveTo>
                    <a:pt x="835776" y="5101875"/>
                  </a:moveTo>
                  <a:cubicBezTo>
                    <a:pt x="869342" y="5101875"/>
                    <a:pt x="896194" y="5128727"/>
                    <a:pt x="896194" y="5162292"/>
                  </a:cubicBezTo>
                  <a:cubicBezTo>
                    <a:pt x="896194" y="5195858"/>
                    <a:pt x="869342" y="5222710"/>
                    <a:pt x="835776" y="5222710"/>
                  </a:cubicBezTo>
                  <a:cubicBezTo>
                    <a:pt x="802211" y="5222710"/>
                    <a:pt x="775359" y="5195858"/>
                    <a:pt x="775359" y="5162292"/>
                  </a:cubicBezTo>
                  <a:cubicBezTo>
                    <a:pt x="775359" y="5128727"/>
                    <a:pt x="802211" y="5101875"/>
                    <a:pt x="835776" y="5101875"/>
                  </a:cubicBezTo>
                  <a:close/>
                  <a:moveTo>
                    <a:pt x="3299470" y="5098518"/>
                  </a:moveTo>
                  <a:cubicBezTo>
                    <a:pt x="3319607" y="5098518"/>
                    <a:pt x="3336391" y="5115301"/>
                    <a:pt x="3336391" y="5135440"/>
                  </a:cubicBezTo>
                  <a:cubicBezTo>
                    <a:pt x="3336391" y="5155579"/>
                    <a:pt x="3319607" y="5172362"/>
                    <a:pt x="3299470" y="5172362"/>
                  </a:cubicBezTo>
                  <a:cubicBezTo>
                    <a:pt x="3279328" y="5172362"/>
                    <a:pt x="3265902" y="5155579"/>
                    <a:pt x="3262547" y="5135440"/>
                  </a:cubicBezTo>
                  <a:cubicBezTo>
                    <a:pt x="3262547" y="5115301"/>
                    <a:pt x="3279328" y="5098518"/>
                    <a:pt x="3299470" y="5098518"/>
                  </a:cubicBezTo>
                  <a:close/>
                  <a:moveTo>
                    <a:pt x="1738683" y="5091805"/>
                  </a:moveTo>
                  <a:cubicBezTo>
                    <a:pt x="1772248" y="5091805"/>
                    <a:pt x="1802457" y="5118657"/>
                    <a:pt x="1802457" y="5155579"/>
                  </a:cubicBezTo>
                  <a:cubicBezTo>
                    <a:pt x="1802457" y="5189145"/>
                    <a:pt x="1775604" y="5219354"/>
                    <a:pt x="1738683" y="5219354"/>
                  </a:cubicBezTo>
                  <a:cubicBezTo>
                    <a:pt x="1701761" y="5219354"/>
                    <a:pt x="1674908" y="5189145"/>
                    <a:pt x="1674908" y="5155579"/>
                  </a:cubicBezTo>
                  <a:cubicBezTo>
                    <a:pt x="1674908" y="5122014"/>
                    <a:pt x="1701761" y="5091805"/>
                    <a:pt x="1738683" y="5091805"/>
                  </a:cubicBezTo>
                  <a:close/>
                  <a:moveTo>
                    <a:pt x="506836" y="5091805"/>
                  </a:moveTo>
                  <a:cubicBezTo>
                    <a:pt x="510192" y="5091805"/>
                    <a:pt x="513549" y="5095162"/>
                    <a:pt x="513549" y="5098518"/>
                  </a:cubicBezTo>
                  <a:cubicBezTo>
                    <a:pt x="513549" y="5101875"/>
                    <a:pt x="510192" y="5105231"/>
                    <a:pt x="506836" y="5105231"/>
                  </a:cubicBezTo>
                  <a:cubicBezTo>
                    <a:pt x="503479" y="5105231"/>
                    <a:pt x="500123" y="5101875"/>
                    <a:pt x="500123" y="5098518"/>
                  </a:cubicBezTo>
                  <a:cubicBezTo>
                    <a:pt x="500123" y="5095162"/>
                    <a:pt x="503479" y="5091805"/>
                    <a:pt x="506836" y="5091805"/>
                  </a:cubicBezTo>
                  <a:close/>
                  <a:moveTo>
                    <a:pt x="3927141" y="5088449"/>
                  </a:moveTo>
                  <a:cubicBezTo>
                    <a:pt x="3937210" y="5088449"/>
                    <a:pt x="3943923" y="5095162"/>
                    <a:pt x="3943923" y="5105231"/>
                  </a:cubicBezTo>
                  <a:cubicBezTo>
                    <a:pt x="3943923" y="5115301"/>
                    <a:pt x="3937210" y="5122014"/>
                    <a:pt x="3927141" y="5122014"/>
                  </a:cubicBezTo>
                  <a:cubicBezTo>
                    <a:pt x="3920426" y="5122014"/>
                    <a:pt x="3910358" y="5115301"/>
                    <a:pt x="3910358" y="5105231"/>
                  </a:cubicBezTo>
                  <a:cubicBezTo>
                    <a:pt x="3910358" y="5095162"/>
                    <a:pt x="3917070" y="5088449"/>
                    <a:pt x="3927141" y="5088449"/>
                  </a:cubicBezTo>
                  <a:close/>
                  <a:moveTo>
                    <a:pt x="1382891" y="5041457"/>
                  </a:moveTo>
                  <a:cubicBezTo>
                    <a:pt x="1421819" y="5041457"/>
                    <a:pt x="1453378" y="5073015"/>
                    <a:pt x="1453378" y="5111944"/>
                  </a:cubicBezTo>
                  <a:cubicBezTo>
                    <a:pt x="1453378" y="5150874"/>
                    <a:pt x="1421819" y="5182432"/>
                    <a:pt x="1382891" y="5182432"/>
                  </a:cubicBezTo>
                  <a:cubicBezTo>
                    <a:pt x="1343961" y="5182432"/>
                    <a:pt x="1312404" y="5150874"/>
                    <a:pt x="1312404" y="5111944"/>
                  </a:cubicBezTo>
                  <a:cubicBezTo>
                    <a:pt x="1312404" y="5073015"/>
                    <a:pt x="1343961" y="5041457"/>
                    <a:pt x="1382891" y="5041457"/>
                  </a:cubicBezTo>
                  <a:close/>
                  <a:moveTo>
                    <a:pt x="3732462" y="5028031"/>
                  </a:moveTo>
                  <a:cubicBezTo>
                    <a:pt x="3745888" y="5028031"/>
                    <a:pt x="3759314" y="5041457"/>
                    <a:pt x="3759314" y="5054883"/>
                  </a:cubicBezTo>
                  <a:cubicBezTo>
                    <a:pt x="3759314" y="5068309"/>
                    <a:pt x="3745888" y="5081736"/>
                    <a:pt x="3732462" y="5081736"/>
                  </a:cubicBezTo>
                  <a:cubicBezTo>
                    <a:pt x="3715680" y="5081736"/>
                    <a:pt x="3705610" y="5068309"/>
                    <a:pt x="3705610" y="5054883"/>
                  </a:cubicBezTo>
                  <a:cubicBezTo>
                    <a:pt x="3705610" y="5041457"/>
                    <a:pt x="3719036" y="5028031"/>
                    <a:pt x="3732462" y="5028031"/>
                  </a:cubicBezTo>
                  <a:close/>
                  <a:moveTo>
                    <a:pt x="2712076" y="5014605"/>
                  </a:moveTo>
                  <a:cubicBezTo>
                    <a:pt x="2745642" y="5014605"/>
                    <a:pt x="2769137" y="5041457"/>
                    <a:pt x="2769137" y="5071666"/>
                  </a:cubicBezTo>
                  <a:cubicBezTo>
                    <a:pt x="2769137" y="5105231"/>
                    <a:pt x="2742285" y="5128727"/>
                    <a:pt x="2712076" y="5128727"/>
                  </a:cubicBezTo>
                  <a:cubicBezTo>
                    <a:pt x="2681867" y="5128727"/>
                    <a:pt x="2655015" y="5101875"/>
                    <a:pt x="2655015" y="5071666"/>
                  </a:cubicBezTo>
                  <a:cubicBezTo>
                    <a:pt x="2655015" y="5038101"/>
                    <a:pt x="2681867" y="5014605"/>
                    <a:pt x="2712076" y="5014605"/>
                  </a:cubicBezTo>
                  <a:close/>
                  <a:moveTo>
                    <a:pt x="2326076" y="5007892"/>
                  </a:moveTo>
                  <a:cubicBezTo>
                    <a:pt x="2359641" y="5007892"/>
                    <a:pt x="2386493" y="5034744"/>
                    <a:pt x="2386493" y="5068309"/>
                  </a:cubicBezTo>
                  <a:cubicBezTo>
                    <a:pt x="2386493" y="5101875"/>
                    <a:pt x="2359641" y="5128727"/>
                    <a:pt x="2326076" y="5128727"/>
                  </a:cubicBezTo>
                  <a:cubicBezTo>
                    <a:pt x="2292510" y="5128727"/>
                    <a:pt x="2265658" y="5101875"/>
                    <a:pt x="2265658" y="5068309"/>
                  </a:cubicBezTo>
                  <a:cubicBezTo>
                    <a:pt x="2265658" y="5034744"/>
                    <a:pt x="2292510" y="5007892"/>
                    <a:pt x="2326076" y="5007892"/>
                  </a:cubicBezTo>
                  <a:close/>
                  <a:moveTo>
                    <a:pt x="3118216" y="4997822"/>
                  </a:moveTo>
                  <a:cubicBezTo>
                    <a:pt x="3145067" y="4997822"/>
                    <a:pt x="3168564" y="5017961"/>
                    <a:pt x="3168564" y="5048170"/>
                  </a:cubicBezTo>
                  <a:cubicBezTo>
                    <a:pt x="3168564" y="5075023"/>
                    <a:pt x="3148425" y="5098518"/>
                    <a:pt x="3118216" y="5098518"/>
                  </a:cubicBezTo>
                  <a:cubicBezTo>
                    <a:pt x="3088007" y="5098518"/>
                    <a:pt x="3064512" y="5075023"/>
                    <a:pt x="3067869" y="5048170"/>
                  </a:cubicBezTo>
                  <a:cubicBezTo>
                    <a:pt x="3067869" y="5021318"/>
                    <a:pt x="3088007" y="4997822"/>
                    <a:pt x="3118216" y="4997822"/>
                  </a:cubicBezTo>
                  <a:close/>
                  <a:moveTo>
                    <a:pt x="1043881" y="4987754"/>
                  </a:moveTo>
                  <a:cubicBezTo>
                    <a:pt x="1084159" y="4987754"/>
                    <a:pt x="1117724" y="5021319"/>
                    <a:pt x="1117724" y="5061597"/>
                  </a:cubicBezTo>
                  <a:cubicBezTo>
                    <a:pt x="1117724" y="5101876"/>
                    <a:pt x="1084159" y="5135441"/>
                    <a:pt x="1043881" y="5135441"/>
                  </a:cubicBezTo>
                  <a:cubicBezTo>
                    <a:pt x="1003602" y="5135441"/>
                    <a:pt x="970037" y="5101876"/>
                    <a:pt x="970037" y="5061597"/>
                  </a:cubicBezTo>
                  <a:cubicBezTo>
                    <a:pt x="970037" y="5021319"/>
                    <a:pt x="1003602" y="4987754"/>
                    <a:pt x="1043881" y="4987754"/>
                  </a:cubicBezTo>
                  <a:close/>
                  <a:moveTo>
                    <a:pt x="1953501" y="4984396"/>
                  </a:moveTo>
                  <a:cubicBezTo>
                    <a:pt x="1987066" y="4984396"/>
                    <a:pt x="2017275" y="5011248"/>
                    <a:pt x="2017275" y="5048170"/>
                  </a:cubicBezTo>
                  <a:cubicBezTo>
                    <a:pt x="2017275" y="5081736"/>
                    <a:pt x="1990423" y="5111944"/>
                    <a:pt x="1953501" y="5111944"/>
                  </a:cubicBezTo>
                  <a:cubicBezTo>
                    <a:pt x="1916579" y="5111944"/>
                    <a:pt x="1889727" y="5081736"/>
                    <a:pt x="1889727" y="5048170"/>
                  </a:cubicBezTo>
                  <a:cubicBezTo>
                    <a:pt x="1889727" y="5014605"/>
                    <a:pt x="1919936" y="4984396"/>
                    <a:pt x="1953501" y="4984396"/>
                  </a:cubicBezTo>
                  <a:close/>
                  <a:moveTo>
                    <a:pt x="3537783" y="4954188"/>
                  </a:moveTo>
                  <a:cubicBezTo>
                    <a:pt x="3557922" y="4954188"/>
                    <a:pt x="3571348" y="4967614"/>
                    <a:pt x="3571348" y="4987754"/>
                  </a:cubicBezTo>
                  <a:cubicBezTo>
                    <a:pt x="3571348" y="5007893"/>
                    <a:pt x="3554567" y="5021319"/>
                    <a:pt x="3537783" y="5021319"/>
                  </a:cubicBezTo>
                  <a:cubicBezTo>
                    <a:pt x="3520999" y="5021319"/>
                    <a:pt x="3504218" y="5007893"/>
                    <a:pt x="3504218" y="4987754"/>
                  </a:cubicBezTo>
                  <a:cubicBezTo>
                    <a:pt x="3504218" y="4967614"/>
                    <a:pt x="3520999" y="4954188"/>
                    <a:pt x="3537783" y="4954188"/>
                  </a:cubicBezTo>
                  <a:close/>
                  <a:moveTo>
                    <a:pt x="1594352" y="4947474"/>
                  </a:moveTo>
                  <a:cubicBezTo>
                    <a:pt x="1627917" y="4947474"/>
                    <a:pt x="1658126" y="4974326"/>
                    <a:pt x="1658126" y="5011248"/>
                  </a:cubicBezTo>
                  <a:cubicBezTo>
                    <a:pt x="1658126" y="5044814"/>
                    <a:pt x="1631274" y="5075023"/>
                    <a:pt x="1594352" y="5075023"/>
                  </a:cubicBezTo>
                  <a:cubicBezTo>
                    <a:pt x="1560786" y="5075023"/>
                    <a:pt x="1530577" y="5044814"/>
                    <a:pt x="1530577" y="5011248"/>
                  </a:cubicBezTo>
                  <a:cubicBezTo>
                    <a:pt x="1530577" y="4977683"/>
                    <a:pt x="1557430" y="4947474"/>
                    <a:pt x="1594352" y="4947474"/>
                  </a:cubicBezTo>
                  <a:close/>
                  <a:moveTo>
                    <a:pt x="711585" y="4937406"/>
                  </a:moveTo>
                  <a:cubicBezTo>
                    <a:pt x="745150" y="4937406"/>
                    <a:pt x="772002" y="4964258"/>
                    <a:pt x="772002" y="4997823"/>
                  </a:cubicBezTo>
                  <a:cubicBezTo>
                    <a:pt x="772002" y="5031388"/>
                    <a:pt x="745150" y="5058241"/>
                    <a:pt x="711585" y="5058241"/>
                  </a:cubicBezTo>
                  <a:cubicBezTo>
                    <a:pt x="681376" y="5058241"/>
                    <a:pt x="654524" y="5031388"/>
                    <a:pt x="651167" y="4997823"/>
                  </a:cubicBezTo>
                  <a:cubicBezTo>
                    <a:pt x="651167" y="4964258"/>
                    <a:pt x="678019" y="4937406"/>
                    <a:pt x="711585" y="4937406"/>
                  </a:cubicBezTo>
                  <a:close/>
                  <a:moveTo>
                    <a:pt x="392714" y="4930691"/>
                  </a:moveTo>
                  <a:cubicBezTo>
                    <a:pt x="392714" y="4930691"/>
                    <a:pt x="396070" y="4930691"/>
                    <a:pt x="392714" y="4934048"/>
                  </a:cubicBezTo>
                  <a:cubicBezTo>
                    <a:pt x="389357" y="4930691"/>
                    <a:pt x="392714" y="4930691"/>
                    <a:pt x="392714" y="4930691"/>
                  </a:cubicBezTo>
                  <a:close/>
                  <a:moveTo>
                    <a:pt x="2940320" y="4907196"/>
                  </a:moveTo>
                  <a:cubicBezTo>
                    <a:pt x="2963816" y="4907196"/>
                    <a:pt x="2983956" y="4927335"/>
                    <a:pt x="2983956" y="4950831"/>
                  </a:cubicBezTo>
                  <a:cubicBezTo>
                    <a:pt x="2983956" y="4974326"/>
                    <a:pt x="2963816" y="4994466"/>
                    <a:pt x="2940320" y="4994466"/>
                  </a:cubicBezTo>
                  <a:cubicBezTo>
                    <a:pt x="2913468" y="4994466"/>
                    <a:pt x="2893329" y="4974326"/>
                    <a:pt x="2896686" y="4950831"/>
                  </a:cubicBezTo>
                  <a:cubicBezTo>
                    <a:pt x="2896686" y="4927335"/>
                    <a:pt x="2916825" y="4907196"/>
                    <a:pt x="2940320" y="4907196"/>
                  </a:cubicBezTo>
                  <a:close/>
                  <a:moveTo>
                    <a:pt x="2547607" y="4903840"/>
                  </a:moveTo>
                  <a:cubicBezTo>
                    <a:pt x="2575414" y="4903840"/>
                    <a:pt x="2597955" y="4926382"/>
                    <a:pt x="2597955" y="4954188"/>
                  </a:cubicBezTo>
                  <a:cubicBezTo>
                    <a:pt x="2597955" y="4981995"/>
                    <a:pt x="2575414" y="5004536"/>
                    <a:pt x="2547607" y="5004536"/>
                  </a:cubicBezTo>
                  <a:cubicBezTo>
                    <a:pt x="2519800" y="5004536"/>
                    <a:pt x="2497259" y="4981995"/>
                    <a:pt x="2497259" y="4954188"/>
                  </a:cubicBezTo>
                  <a:cubicBezTo>
                    <a:pt x="2497259" y="4926382"/>
                    <a:pt x="2519800" y="4903840"/>
                    <a:pt x="2547607" y="4903840"/>
                  </a:cubicBezTo>
                  <a:close/>
                  <a:moveTo>
                    <a:pt x="3353174" y="4883701"/>
                  </a:moveTo>
                  <a:cubicBezTo>
                    <a:pt x="3366601" y="4883701"/>
                    <a:pt x="3380027" y="4897127"/>
                    <a:pt x="3380027" y="4910553"/>
                  </a:cubicBezTo>
                  <a:cubicBezTo>
                    <a:pt x="3380027" y="4923979"/>
                    <a:pt x="3366601" y="4937406"/>
                    <a:pt x="3353174" y="4937406"/>
                  </a:cubicBezTo>
                  <a:cubicBezTo>
                    <a:pt x="3336391" y="4937406"/>
                    <a:pt x="3326322" y="4923979"/>
                    <a:pt x="3326322" y="4910553"/>
                  </a:cubicBezTo>
                  <a:cubicBezTo>
                    <a:pt x="3326322" y="4897127"/>
                    <a:pt x="3339748" y="4883701"/>
                    <a:pt x="3353174" y="4883701"/>
                  </a:cubicBezTo>
                  <a:close/>
                  <a:moveTo>
                    <a:pt x="1251986" y="4883701"/>
                  </a:moveTo>
                  <a:cubicBezTo>
                    <a:pt x="1292769" y="4883701"/>
                    <a:pt x="1325830" y="4916762"/>
                    <a:pt x="1325830" y="4957545"/>
                  </a:cubicBezTo>
                  <a:cubicBezTo>
                    <a:pt x="1325830" y="4998328"/>
                    <a:pt x="1292769" y="5031389"/>
                    <a:pt x="1251986" y="5031389"/>
                  </a:cubicBezTo>
                  <a:cubicBezTo>
                    <a:pt x="1211203" y="5031389"/>
                    <a:pt x="1178142" y="4998328"/>
                    <a:pt x="1178142" y="4957545"/>
                  </a:cubicBezTo>
                  <a:cubicBezTo>
                    <a:pt x="1178142" y="4916762"/>
                    <a:pt x="1211203" y="4883701"/>
                    <a:pt x="1251986" y="4883701"/>
                  </a:cubicBezTo>
                  <a:close/>
                  <a:moveTo>
                    <a:pt x="2168318" y="4873631"/>
                  </a:moveTo>
                  <a:cubicBezTo>
                    <a:pt x="2203539" y="4873631"/>
                    <a:pt x="2232092" y="4902185"/>
                    <a:pt x="2232092" y="4937406"/>
                  </a:cubicBezTo>
                  <a:cubicBezTo>
                    <a:pt x="2232092" y="4972627"/>
                    <a:pt x="2203539" y="5001180"/>
                    <a:pt x="2168318" y="5001180"/>
                  </a:cubicBezTo>
                  <a:cubicBezTo>
                    <a:pt x="2133096" y="5001180"/>
                    <a:pt x="2104544" y="4972626"/>
                    <a:pt x="2104544" y="4937406"/>
                  </a:cubicBezTo>
                  <a:cubicBezTo>
                    <a:pt x="2104544" y="4902184"/>
                    <a:pt x="2133096" y="4873631"/>
                    <a:pt x="2168318" y="4873631"/>
                  </a:cubicBezTo>
                  <a:close/>
                  <a:moveTo>
                    <a:pt x="3977488" y="4873630"/>
                  </a:moveTo>
                  <a:cubicBezTo>
                    <a:pt x="3984201" y="4873630"/>
                    <a:pt x="3990914" y="4880343"/>
                    <a:pt x="3990914" y="4887056"/>
                  </a:cubicBezTo>
                  <a:cubicBezTo>
                    <a:pt x="3990914" y="4893770"/>
                    <a:pt x="3984201" y="4900483"/>
                    <a:pt x="3977488" y="4900483"/>
                  </a:cubicBezTo>
                  <a:cubicBezTo>
                    <a:pt x="3970775" y="4900483"/>
                    <a:pt x="3964062" y="4893770"/>
                    <a:pt x="3964062" y="4887056"/>
                  </a:cubicBezTo>
                  <a:cubicBezTo>
                    <a:pt x="3964062" y="4880343"/>
                    <a:pt x="3970775" y="4873630"/>
                    <a:pt x="3977488" y="4873630"/>
                  </a:cubicBezTo>
                  <a:close/>
                  <a:moveTo>
                    <a:pt x="1809170" y="4843423"/>
                  </a:moveTo>
                  <a:cubicBezTo>
                    <a:pt x="1842735" y="4843423"/>
                    <a:pt x="1872944" y="4870275"/>
                    <a:pt x="1872944" y="4907197"/>
                  </a:cubicBezTo>
                  <a:cubicBezTo>
                    <a:pt x="1872944" y="4940762"/>
                    <a:pt x="1846092" y="4970971"/>
                    <a:pt x="1809170" y="4970971"/>
                  </a:cubicBezTo>
                  <a:cubicBezTo>
                    <a:pt x="1772248" y="4970971"/>
                    <a:pt x="1742039" y="4940762"/>
                    <a:pt x="1745396" y="4907197"/>
                  </a:cubicBezTo>
                  <a:cubicBezTo>
                    <a:pt x="1745396" y="4873631"/>
                    <a:pt x="1772248" y="4843423"/>
                    <a:pt x="1809170" y="4843423"/>
                  </a:cubicBezTo>
                  <a:close/>
                  <a:moveTo>
                    <a:pt x="919690" y="4826640"/>
                  </a:moveTo>
                  <a:cubicBezTo>
                    <a:pt x="959968" y="4826640"/>
                    <a:pt x="993534" y="4860205"/>
                    <a:pt x="993534" y="4900484"/>
                  </a:cubicBezTo>
                  <a:cubicBezTo>
                    <a:pt x="993534" y="4940762"/>
                    <a:pt x="959968" y="4974327"/>
                    <a:pt x="919690" y="4974327"/>
                  </a:cubicBezTo>
                  <a:cubicBezTo>
                    <a:pt x="879411" y="4974327"/>
                    <a:pt x="845846" y="4940762"/>
                    <a:pt x="845846" y="4900484"/>
                  </a:cubicBezTo>
                  <a:cubicBezTo>
                    <a:pt x="845846" y="4860205"/>
                    <a:pt x="879411" y="4826640"/>
                    <a:pt x="919690" y="4826640"/>
                  </a:cubicBezTo>
                  <a:close/>
                  <a:moveTo>
                    <a:pt x="3782809" y="4813213"/>
                  </a:moveTo>
                  <a:cubicBezTo>
                    <a:pt x="3792880" y="4813213"/>
                    <a:pt x="3802948" y="4823282"/>
                    <a:pt x="3802948" y="4833352"/>
                  </a:cubicBezTo>
                  <a:cubicBezTo>
                    <a:pt x="3802948" y="4843422"/>
                    <a:pt x="3792880" y="4853491"/>
                    <a:pt x="3782809" y="4853491"/>
                  </a:cubicBezTo>
                  <a:cubicBezTo>
                    <a:pt x="3772738" y="4853491"/>
                    <a:pt x="3762670" y="4843422"/>
                    <a:pt x="3762670" y="4833352"/>
                  </a:cubicBezTo>
                  <a:cubicBezTo>
                    <a:pt x="3762670" y="4823282"/>
                    <a:pt x="3772738" y="4813213"/>
                    <a:pt x="3782809" y="4813213"/>
                  </a:cubicBezTo>
                  <a:close/>
                  <a:moveTo>
                    <a:pt x="597462" y="4799788"/>
                  </a:moveTo>
                  <a:cubicBezTo>
                    <a:pt x="614245" y="4799788"/>
                    <a:pt x="627671" y="4813214"/>
                    <a:pt x="627671" y="4829996"/>
                  </a:cubicBezTo>
                  <a:cubicBezTo>
                    <a:pt x="627671" y="4846779"/>
                    <a:pt x="614245" y="4860205"/>
                    <a:pt x="597462" y="4860205"/>
                  </a:cubicBezTo>
                  <a:cubicBezTo>
                    <a:pt x="584036" y="4860205"/>
                    <a:pt x="570610" y="4846779"/>
                    <a:pt x="567254" y="4829996"/>
                  </a:cubicBezTo>
                  <a:cubicBezTo>
                    <a:pt x="567254" y="4813214"/>
                    <a:pt x="580680" y="4799788"/>
                    <a:pt x="597462" y="4799788"/>
                  </a:cubicBezTo>
                  <a:close/>
                  <a:moveTo>
                    <a:pt x="3171920" y="4793075"/>
                  </a:moveTo>
                  <a:cubicBezTo>
                    <a:pt x="3185346" y="4793075"/>
                    <a:pt x="3198772" y="4806501"/>
                    <a:pt x="3198772" y="4819927"/>
                  </a:cubicBezTo>
                  <a:cubicBezTo>
                    <a:pt x="3198772" y="4833353"/>
                    <a:pt x="3185346" y="4846779"/>
                    <a:pt x="3171920" y="4846779"/>
                  </a:cubicBezTo>
                  <a:cubicBezTo>
                    <a:pt x="3155138" y="4846779"/>
                    <a:pt x="3145067" y="4833353"/>
                    <a:pt x="3145067" y="4819927"/>
                  </a:cubicBezTo>
                  <a:cubicBezTo>
                    <a:pt x="3145067" y="4806501"/>
                    <a:pt x="3158493" y="4793075"/>
                    <a:pt x="3171920" y="4793075"/>
                  </a:cubicBezTo>
                  <a:close/>
                  <a:moveTo>
                    <a:pt x="2769137" y="4789718"/>
                  </a:moveTo>
                  <a:cubicBezTo>
                    <a:pt x="2795990" y="4789718"/>
                    <a:pt x="2816129" y="4809857"/>
                    <a:pt x="2816129" y="4836710"/>
                  </a:cubicBezTo>
                  <a:cubicBezTo>
                    <a:pt x="2816129" y="4863562"/>
                    <a:pt x="2795990" y="4883701"/>
                    <a:pt x="2769137" y="4883701"/>
                  </a:cubicBezTo>
                  <a:cubicBezTo>
                    <a:pt x="2742285" y="4883701"/>
                    <a:pt x="2722146" y="4863562"/>
                    <a:pt x="2722146" y="4836710"/>
                  </a:cubicBezTo>
                  <a:cubicBezTo>
                    <a:pt x="2722146" y="4809857"/>
                    <a:pt x="2742285" y="4789718"/>
                    <a:pt x="2769137" y="4789718"/>
                  </a:cubicBezTo>
                  <a:close/>
                  <a:moveTo>
                    <a:pt x="1460091" y="4789718"/>
                  </a:moveTo>
                  <a:cubicBezTo>
                    <a:pt x="1497013" y="4789718"/>
                    <a:pt x="1527222" y="4819927"/>
                    <a:pt x="1527222" y="4856849"/>
                  </a:cubicBezTo>
                  <a:cubicBezTo>
                    <a:pt x="1527222" y="4893771"/>
                    <a:pt x="1497013" y="4923979"/>
                    <a:pt x="1460091" y="4923979"/>
                  </a:cubicBezTo>
                  <a:cubicBezTo>
                    <a:pt x="1423169" y="4923979"/>
                    <a:pt x="1392960" y="4893771"/>
                    <a:pt x="1392960" y="4856849"/>
                  </a:cubicBezTo>
                  <a:cubicBezTo>
                    <a:pt x="1392960" y="4819927"/>
                    <a:pt x="1423169" y="4789718"/>
                    <a:pt x="1460091" y="4789718"/>
                  </a:cubicBezTo>
                  <a:close/>
                  <a:moveTo>
                    <a:pt x="2386493" y="4769579"/>
                  </a:moveTo>
                  <a:cubicBezTo>
                    <a:pt x="2420058" y="4769579"/>
                    <a:pt x="2446911" y="4796431"/>
                    <a:pt x="2446911" y="4829996"/>
                  </a:cubicBezTo>
                  <a:cubicBezTo>
                    <a:pt x="2446911" y="4863561"/>
                    <a:pt x="2420058" y="4890414"/>
                    <a:pt x="2386493" y="4890414"/>
                  </a:cubicBezTo>
                  <a:cubicBezTo>
                    <a:pt x="2352928" y="4890414"/>
                    <a:pt x="2326076" y="4860205"/>
                    <a:pt x="2326076" y="4829996"/>
                  </a:cubicBezTo>
                  <a:cubicBezTo>
                    <a:pt x="2326076" y="4796431"/>
                    <a:pt x="2352928" y="4769579"/>
                    <a:pt x="2386493" y="4769579"/>
                  </a:cubicBezTo>
                  <a:close/>
                  <a:moveTo>
                    <a:pt x="285305" y="4756153"/>
                  </a:moveTo>
                  <a:cubicBezTo>
                    <a:pt x="285305" y="4756153"/>
                    <a:pt x="288661" y="4756153"/>
                    <a:pt x="285305" y="4759509"/>
                  </a:cubicBezTo>
                  <a:cubicBezTo>
                    <a:pt x="285305" y="4756153"/>
                    <a:pt x="285305" y="4756153"/>
                    <a:pt x="285305" y="4756153"/>
                  </a:cubicBezTo>
                  <a:close/>
                  <a:moveTo>
                    <a:pt x="3591488" y="4746083"/>
                  </a:moveTo>
                  <a:cubicBezTo>
                    <a:pt x="3601556" y="4746083"/>
                    <a:pt x="3611627" y="4756153"/>
                    <a:pt x="3611627" y="4766222"/>
                  </a:cubicBezTo>
                  <a:cubicBezTo>
                    <a:pt x="3611627" y="4776292"/>
                    <a:pt x="3601556" y="4786361"/>
                    <a:pt x="3591488" y="4786361"/>
                  </a:cubicBezTo>
                  <a:cubicBezTo>
                    <a:pt x="3581419" y="4786361"/>
                    <a:pt x="3571348" y="4776292"/>
                    <a:pt x="3571348" y="4766222"/>
                  </a:cubicBezTo>
                  <a:cubicBezTo>
                    <a:pt x="3571348" y="4756153"/>
                    <a:pt x="3581419" y="4746083"/>
                    <a:pt x="3591488" y="4746083"/>
                  </a:cubicBezTo>
                  <a:close/>
                  <a:moveTo>
                    <a:pt x="2020632" y="4736013"/>
                  </a:moveTo>
                  <a:cubicBezTo>
                    <a:pt x="2054197" y="4736013"/>
                    <a:pt x="2084406" y="4766222"/>
                    <a:pt x="2084406" y="4799788"/>
                  </a:cubicBezTo>
                  <a:cubicBezTo>
                    <a:pt x="2084406" y="4833353"/>
                    <a:pt x="2057554" y="4863561"/>
                    <a:pt x="2020632" y="4863561"/>
                  </a:cubicBezTo>
                  <a:cubicBezTo>
                    <a:pt x="1987066" y="4863561"/>
                    <a:pt x="1956858" y="4833353"/>
                    <a:pt x="1956858" y="4799788"/>
                  </a:cubicBezTo>
                  <a:cubicBezTo>
                    <a:pt x="1956858" y="4766222"/>
                    <a:pt x="1983710" y="4736013"/>
                    <a:pt x="2020632" y="4736013"/>
                  </a:cubicBezTo>
                  <a:close/>
                  <a:moveTo>
                    <a:pt x="1127794" y="4725944"/>
                  </a:moveTo>
                  <a:cubicBezTo>
                    <a:pt x="1168072" y="4725944"/>
                    <a:pt x="1201638" y="4759509"/>
                    <a:pt x="1201638" y="4799788"/>
                  </a:cubicBezTo>
                  <a:cubicBezTo>
                    <a:pt x="1201638" y="4840066"/>
                    <a:pt x="1168072" y="4873631"/>
                    <a:pt x="1127794" y="4873631"/>
                  </a:cubicBezTo>
                  <a:cubicBezTo>
                    <a:pt x="1084159" y="4873631"/>
                    <a:pt x="1050594" y="4840066"/>
                    <a:pt x="1053951" y="4799788"/>
                  </a:cubicBezTo>
                  <a:cubicBezTo>
                    <a:pt x="1053951" y="4759509"/>
                    <a:pt x="1087516" y="4725944"/>
                    <a:pt x="1127794" y="4725944"/>
                  </a:cubicBezTo>
                  <a:close/>
                  <a:moveTo>
                    <a:pt x="1671552" y="4699092"/>
                  </a:moveTo>
                  <a:cubicBezTo>
                    <a:pt x="1701761" y="4699092"/>
                    <a:pt x="1728613" y="4722587"/>
                    <a:pt x="1728613" y="4756153"/>
                  </a:cubicBezTo>
                  <a:cubicBezTo>
                    <a:pt x="1728613" y="4786361"/>
                    <a:pt x="1705117" y="4813214"/>
                    <a:pt x="1671552" y="4813214"/>
                  </a:cubicBezTo>
                  <a:cubicBezTo>
                    <a:pt x="1637986" y="4813214"/>
                    <a:pt x="1614491" y="4786361"/>
                    <a:pt x="1614491" y="4756153"/>
                  </a:cubicBezTo>
                  <a:cubicBezTo>
                    <a:pt x="1614491" y="4725944"/>
                    <a:pt x="1637986" y="4699092"/>
                    <a:pt x="1671552" y="4699092"/>
                  </a:cubicBezTo>
                  <a:close/>
                  <a:moveTo>
                    <a:pt x="2997382" y="4685665"/>
                  </a:moveTo>
                  <a:cubicBezTo>
                    <a:pt x="3014164" y="4685665"/>
                    <a:pt x="3027590" y="4699092"/>
                    <a:pt x="3027590" y="4715874"/>
                  </a:cubicBezTo>
                  <a:cubicBezTo>
                    <a:pt x="3027590" y="4732657"/>
                    <a:pt x="3014164" y="4746083"/>
                    <a:pt x="2997382" y="4746083"/>
                  </a:cubicBezTo>
                  <a:cubicBezTo>
                    <a:pt x="2980599" y="4746083"/>
                    <a:pt x="2967173" y="4732657"/>
                    <a:pt x="2967173" y="4715874"/>
                  </a:cubicBezTo>
                  <a:cubicBezTo>
                    <a:pt x="2967173" y="4699092"/>
                    <a:pt x="2980599" y="4685665"/>
                    <a:pt x="2997382" y="4685665"/>
                  </a:cubicBezTo>
                  <a:close/>
                  <a:moveTo>
                    <a:pt x="805568" y="4678952"/>
                  </a:moveTo>
                  <a:cubicBezTo>
                    <a:pt x="835776" y="4678952"/>
                    <a:pt x="859272" y="4702448"/>
                    <a:pt x="859272" y="4732657"/>
                  </a:cubicBezTo>
                  <a:cubicBezTo>
                    <a:pt x="859272" y="4762866"/>
                    <a:pt x="835776" y="4786361"/>
                    <a:pt x="805568" y="4786361"/>
                  </a:cubicBezTo>
                  <a:cubicBezTo>
                    <a:pt x="775359" y="4786361"/>
                    <a:pt x="751863" y="4762866"/>
                    <a:pt x="751863" y="4732657"/>
                  </a:cubicBezTo>
                  <a:cubicBezTo>
                    <a:pt x="751863" y="4702448"/>
                    <a:pt x="775359" y="4678952"/>
                    <a:pt x="805568" y="4678952"/>
                  </a:cubicBezTo>
                  <a:close/>
                  <a:moveTo>
                    <a:pt x="2608024" y="4675596"/>
                  </a:moveTo>
                  <a:cubicBezTo>
                    <a:pt x="2628163" y="4675596"/>
                    <a:pt x="2648302" y="4692378"/>
                    <a:pt x="2648302" y="4715874"/>
                  </a:cubicBezTo>
                  <a:cubicBezTo>
                    <a:pt x="2648302" y="4736013"/>
                    <a:pt x="2631519" y="4756153"/>
                    <a:pt x="2608024" y="4756153"/>
                  </a:cubicBezTo>
                  <a:cubicBezTo>
                    <a:pt x="2584528" y="4756153"/>
                    <a:pt x="2564388" y="4739370"/>
                    <a:pt x="2567745" y="4715874"/>
                  </a:cubicBezTo>
                  <a:cubicBezTo>
                    <a:pt x="2567745" y="4695735"/>
                    <a:pt x="2584528" y="4675596"/>
                    <a:pt x="2608024" y="4675596"/>
                  </a:cubicBezTo>
                  <a:close/>
                  <a:moveTo>
                    <a:pt x="3403522" y="4672239"/>
                  </a:moveTo>
                  <a:cubicBezTo>
                    <a:pt x="3410234" y="4672239"/>
                    <a:pt x="3416948" y="4678952"/>
                    <a:pt x="3416948" y="4685665"/>
                  </a:cubicBezTo>
                  <a:cubicBezTo>
                    <a:pt x="3416948" y="4692378"/>
                    <a:pt x="3410234" y="4699092"/>
                    <a:pt x="3403522" y="4699092"/>
                  </a:cubicBezTo>
                  <a:cubicBezTo>
                    <a:pt x="3396808" y="4699092"/>
                    <a:pt x="3390095" y="4692378"/>
                    <a:pt x="3390095" y="4685665"/>
                  </a:cubicBezTo>
                  <a:cubicBezTo>
                    <a:pt x="3390095" y="4678952"/>
                    <a:pt x="3396808" y="4672239"/>
                    <a:pt x="3403522" y="4672239"/>
                  </a:cubicBezTo>
                  <a:close/>
                  <a:moveTo>
                    <a:pt x="2235449" y="4635317"/>
                  </a:moveTo>
                  <a:cubicBezTo>
                    <a:pt x="2269014" y="4635317"/>
                    <a:pt x="2292510" y="4662170"/>
                    <a:pt x="2292510" y="4692378"/>
                  </a:cubicBezTo>
                  <a:cubicBezTo>
                    <a:pt x="2292510" y="4725944"/>
                    <a:pt x="2265658" y="4749440"/>
                    <a:pt x="2235449" y="4749440"/>
                  </a:cubicBezTo>
                  <a:cubicBezTo>
                    <a:pt x="2205240" y="4749440"/>
                    <a:pt x="2181744" y="4722587"/>
                    <a:pt x="2178388" y="4692378"/>
                  </a:cubicBezTo>
                  <a:cubicBezTo>
                    <a:pt x="2178388" y="4658813"/>
                    <a:pt x="2205240" y="4635317"/>
                    <a:pt x="2235449" y="4635317"/>
                  </a:cubicBezTo>
                  <a:close/>
                  <a:moveTo>
                    <a:pt x="1335899" y="4628604"/>
                  </a:moveTo>
                  <a:cubicBezTo>
                    <a:pt x="1376178" y="4628604"/>
                    <a:pt x="1406387" y="4658813"/>
                    <a:pt x="1406387" y="4699092"/>
                  </a:cubicBezTo>
                  <a:cubicBezTo>
                    <a:pt x="1406387" y="4739370"/>
                    <a:pt x="1376178" y="4769579"/>
                    <a:pt x="1335899" y="4769579"/>
                  </a:cubicBezTo>
                  <a:cubicBezTo>
                    <a:pt x="1295621" y="4769579"/>
                    <a:pt x="1265412" y="4736013"/>
                    <a:pt x="1265412" y="4699092"/>
                  </a:cubicBezTo>
                  <a:cubicBezTo>
                    <a:pt x="1265412" y="4658813"/>
                    <a:pt x="1295621" y="4628604"/>
                    <a:pt x="1335899" y="4628604"/>
                  </a:cubicBezTo>
                  <a:close/>
                  <a:moveTo>
                    <a:pt x="490053" y="4615178"/>
                  </a:moveTo>
                  <a:cubicBezTo>
                    <a:pt x="513549" y="4615178"/>
                    <a:pt x="533688" y="4635317"/>
                    <a:pt x="533688" y="4658813"/>
                  </a:cubicBezTo>
                  <a:cubicBezTo>
                    <a:pt x="533688" y="4682309"/>
                    <a:pt x="513549" y="4702448"/>
                    <a:pt x="490053" y="4702448"/>
                  </a:cubicBezTo>
                  <a:cubicBezTo>
                    <a:pt x="466558" y="4702448"/>
                    <a:pt x="446418" y="4682309"/>
                    <a:pt x="446418" y="4658813"/>
                  </a:cubicBezTo>
                  <a:cubicBezTo>
                    <a:pt x="446418" y="4635317"/>
                    <a:pt x="466558" y="4615178"/>
                    <a:pt x="490053" y="4615178"/>
                  </a:cubicBezTo>
                  <a:close/>
                  <a:moveTo>
                    <a:pt x="3833158" y="4598395"/>
                  </a:moveTo>
                  <a:cubicBezTo>
                    <a:pt x="3839869" y="4598395"/>
                    <a:pt x="3846584" y="4605108"/>
                    <a:pt x="3846584" y="4611822"/>
                  </a:cubicBezTo>
                  <a:cubicBezTo>
                    <a:pt x="3846584" y="4618535"/>
                    <a:pt x="3839869" y="4625248"/>
                    <a:pt x="3833158" y="4625248"/>
                  </a:cubicBezTo>
                  <a:cubicBezTo>
                    <a:pt x="3826443" y="4625248"/>
                    <a:pt x="3819732" y="4618535"/>
                    <a:pt x="3819732" y="4611822"/>
                  </a:cubicBezTo>
                  <a:cubicBezTo>
                    <a:pt x="3819732" y="4605108"/>
                    <a:pt x="3826443" y="4598395"/>
                    <a:pt x="3833158" y="4598395"/>
                  </a:cubicBezTo>
                  <a:close/>
                  <a:moveTo>
                    <a:pt x="1883014" y="4584969"/>
                  </a:moveTo>
                  <a:cubicBezTo>
                    <a:pt x="1919936" y="4584969"/>
                    <a:pt x="1946788" y="4615178"/>
                    <a:pt x="1946788" y="4648743"/>
                  </a:cubicBezTo>
                  <a:cubicBezTo>
                    <a:pt x="1946788" y="4685665"/>
                    <a:pt x="1916579" y="4712517"/>
                    <a:pt x="1883014" y="4712517"/>
                  </a:cubicBezTo>
                  <a:cubicBezTo>
                    <a:pt x="1846092" y="4712517"/>
                    <a:pt x="1819240" y="4685665"/>
                    <a:pt x="1819240" y="4648743"/>
                  </a:cubicBezTo>
                  <a:cubicBezTo>
                    <a:pt x="1819240" y="4611822"/>
                    <a:pt x="1849448" y="4584969"/>
                    <a:pt x="1883014" y="4584969"/>
                  </a:cubicBezTo>
                  <a:close/>
                  <a:moveTo>
                    <a:pt x="3225624" y="4568187"/>
                  </a:moveTo>
                  <a:cubicBezTo>
                    <a:pt x="3235695" y="4568187"/>
                    <a:pt x="3245765" y="4578256"/>
                    <a:pt x="3245765" y="4588326"/>
                  </a:cubicBezTo>
                  <a:cubicBezTo>
                    <a:pt x="3245765" y="4598395"/>
                    <a:pt x="3235695" y="4608465"/>
                    <a:pt x="3225624" y="4608465"/>
                  </a:cubicBezTo>
                  <a:cubicBezTo>
                    <a:pt x="3215556" y="4608465"/>
                    <a:pt x="3205487" y="4601752"/>
                    <a:pt x="3205487" y="4588326"/>
                  </a:cubicBezTo>
                  <a:cubicBezTo>
                    <a:pt x="3205487" y="4578256"/>
                    <a:pt x="3215556" y="4568187"/>
                    <a:pt x="3225624" y="4568187"/>
                  </a:cubicBezTo>
                  <a:close/>
                  <a:moveTo>
                    <a:pt x="2829555" y="4561474"/>
                  </a:moveTo>
                  <a:cubicBezTo>
                    <a:pt x="2849694" y="4561474"/>
                    <a:pt x="2866477" y="4578256"/>
                    <a:pt x="2866477" y="4598395"/>
                  </a:cubicBezTo>
                  <a:cubicBezTo>
                    <a:pt x="2866477" y="4618535"/>
                    <a:pt x="2849694" y="4635317"/>
                    <a:pt x="2829555" y="4635317"/>
                  </a:cubicBezTo>
                  <a:cubicBezTo>
                    <a:pt x="2809416" y="4635317"/>
                    <a:pt x="2792633" y="4621891"/>
                    <a:pt x="2792633" y="4598395"/>
                  </a:cubicBezTo>
                  <a:cubicBezTo>
                    <a:pt x="2792633" y="4578256"/>
                    <a:pt x="2809416" y="4561474"/>
                    <a:pt x="2829555" y="4561474"/>
                  </a:cubicBezTo>
                  <a:close/>
                  <a:moveTo>
                    <a:pt x="1010315" y="4561474"/>
                  </a:moveTo>
                  <a:cubicBezTo>
                    <a:pt x="1050594" y="4561474"/>
                    <a:pt x="1080803" y="4591682"/>
                    <a:pt x="1080803" y="4631961"/>
                  </a:cubicBezTo>
                  <a:cubicBezTo>
                    <a:pt x="1080803" y="4672239"/>
                    <a:pt x="1050594" y="4702448"/>
                    <a:pt x="1010315" y="4702448"/>
                  </a:cubicBezTo>
                  <a:cubicBezTo>
                    <a:pt x="970037" y="4702448"/>
                    <a:pt x="939828" y="4672239"/>
                    <a:pt x="939828" y="4631961"/>
                  </a:cubicBezTo>
                  <a:cubicBezTo>
                    <a:pt x="939828" y="4591682"/>
                    <a:pt x="970037" y="4561474"/>
                    <a:pt x="1010315" y="4561474"/>
                  </a:cubicBezTo>
                  <a:close/>
                  <a:moveTo>
                    <a:pt x="2453624" y="4541334"/>
                  </a:moveTo>
                  <a:cubicBezTo>
                    <a:pt x="2477120" y="4541334"/>
                    <a:pt x="2497259" y="4561474"/>
                    <a:pt x="2497259" y="4584969"/>
                  </a:cubicBezTo>
                  <a:cubicBezTo>
                    <a:pt x="2497259" y="4608465"/>
                    <a:pt x="2477120" y="4628604"/>
                    <a:pt x="2453624" y="4628604"/>
                  </a:cubicBezTo>
                  <a:cubicBezTo>
                    <a:pt x="2426772" y="4628604"/>
                    <a:pt x="2409989" y="4608465"/>
                    <a:pt x="2409989" y="4584969"/>
                  </a:cubicBezTo>
                  <a:cubicBezTo>
                    <a:pt x="2409989" y="4561474"/>
                    <a:pt x="2430128" y="4541334"/>
                    <a:pt x="2453624" y="4541334"/>
                  </a:cubicBezTo>
                  <a:close/>
                  <a:moveTo>
                    <a:pt x="1544004" y="4534621"/>
                  </a:moveTo>
                  <a:cubicBezTo>
                    <a:pt x="1577569" y="4534621"/>
                    <a:pt x="1607778" y="4561474"/>
                    <a:pt x="1607778" y="4598395"/>
                  </a:cubicBezTo>
                  <a:cubicBezTo>
                    <a:pt x="1607778" y="4631961"/>
                    <a:pt x="1580925" y="4662169"/>
                    <a:pt x="1544004" y="4662169"/>
                  </a:cubicBezTo>
                  <a:cubicBezTo>
                    <a:pt x="1507082" y="4662169"/>
                    <a:pt x="1480229" y="4631961"/>
                    <a:pt x="1480229" y="4598395"/>
                  </a:cubicBezTo>
                  <a:cubicBezTo>
                    <a:pt x="1480229" y="4564830"/>
                    <a:pt x="1507082" y="4534621"/>
                    <a:pt x="1544004" y="4534621"/>
                  </a:cubicBezTo>
                  <a:close/>
                  <a:moveTo>
                    <a:pt x="3641834" y="4531265"/>
                  </a:moveTo>
                  <a:cubicBezTo>
                    <a:pt x="3648550" y="4531265"/>
                    <a:pt x="3655261" y="4537978"/>
                    <a:pt x="3655261" y="4544691"/>
                  </a:cubicBezTo>
                  <a:cubicBezTo>
                    <a:pt x="3655261" y="4551404"/>
                    <a:pt x="3648550" y="4558117"/>
                    <a:pt x="3641834" y="4558117"/>
                  </a:cubicBezTo>
                  <a:cubicBezTo>
                    <a:pt x="3635124" y="4558117"/>
                    <a:pt x="3628408" y="4551404"/>
                    <a:pt x="3628408" y="4544691"/>
                  </a:cubicBezTo>
                  <a:cubicBezTo>
                    <a:pt x="3628408" y="4537978"/>
                    <a:pt x="3635124" y="4531265"/>
                    <a:pt x="3641834" y="4531265"/>
                  </a:cubicBezTo>
                  <a:close/>
                  <a:moveTo>
                    <a:pt x="694802" y="4504412"/>
                  </a:moveTo>
                  <a:cubicBezTo>
                    <a:pt x="725011" y="4504412"/>
                    <a:pt x="748507" y="4527908"/>
                    <a:pt x="748507" y="4558117"/>
                  </a:cubicBezTo>
                  <a:cubicBezTo>
                    <a:pt x="748507" y="4588326"/>
                    <a:pt x="725011" y="4611822"/>
                    <a:pt x="694802" y="4611822"/>
                  </a:cubicBezTo>
                  <a:cubicBezTo>
                    <a:pt x="667950" y="4611822"/>
                    <a:pt x="641097" y="4588326"/>
                    <a:pt x="641097" y="4558117"/>
                  </a:cubicBezTo>
                  <a:cubicBezTo>
                    <a:pt x="641097" y="4527908"/>
                    <a:pt x="664593" y="4504412"/>
                    <a:pt x="694802" y="4504412"/>
                  </a:cubicBezTo>
                  <a:close/>
                  <a:moveTo>
                    <a:pt x="2094474" y="4487630"/>
                  </a:moveTo>
                  <a:cubicBezTo>
                    <a:pt x="2128040" y="4487630"/>
                    <a:pt x="2151536" y="4514482"/>
                    <a:pt x="2151536" y="4544691"/>
                  </a:cubicBezTo>
                  <a:cubicBezTo>
                    <a:pt x="2151536" y="4578256"/>
                    <a:pt x="2124683" y="4601752"/>
                    <a:pt x="2094474" y="4601752"/>
                  </a:cubicBezTo>
                  <a:cubicBezTo>
                    <a:pt x="2064266" y="4601752"/>
                    <a:pt x="2037413" y="4578256"/>
                    <a:pt x="2037413" y="4544691"/>
                  </a:cubicBezTo>
                  <a:cubicBezTo>
                    <a:pt x="2037413" y="4511125"/>
                    <a:pt x="2064266" y="4487630"/>
                    <a:pt x="2094474" y="4487630"/>
                  </a:cubicBezTo>
                  <a:close/>
                  <a:moveTo>
                    <a:pt x="3051086" y="4467491"/>
                  </a:moveTo>
                  <a:cubicBezTo>
                    <a:pt x="3058502" y="4467491"/>
                    <a:pt x="3064512" y="4473502"/>
                    <a:pt x="3064512" y="4480917"/>
                  </a:cubicBezTo>
                  <a:cubicBezTo>
                    <a:pt x="3064512" y="4488332"/>
                    <a:pt x="3058502" y="4494343"/>
                    <a:pt x="3051086" y="4494343"/>
                  </a:cubicBezTo>
                  <a:cubicBezTo>
                    <a:pt x="3043671" y="4494343"/>
                    <a:pt x="3037660" y="4488331"/>
                    <a:pt x="3037660" y="4480917"/>
                  </a:cubicBezTo>
                  <a:cubicBezTo>
                    <a:pt x="3037660" y="4473501"/>
                    <a:pt x="3043671" y="4467491"/>
                    <a:pt x="3051086" y="4467491"/>
                  </a:cubicBezTo>
                  <a:close/>
                  <a:moveTo>
                    <a:pt x="392714" y="4467491"/>
                  </a:moveTo>
                  <a:cubicBezTo>
                    <a:pt x="399427" y="4467491"/>
                    <a:pt x="406140" y="4474204"/>
                    <a:pt x="406140" y="4480917"/>
                  </a:cubicBezTo>
                  <a:cubicBezTo>
                    <a:pt x="406140" y="4487630"/>
                    <a:pt x="399427" y="4494343"/>
                    <a:pt x="392714" y="4494343"/>
                  </a:cubicBezTo>
                  <a:cubicBezTo>
                    <a:pt x="382644" y="4494343"/>
                    <a:pt x="379288" y="4487630"/>
                    <a:pt x="379288" y="4480917"/>
                  </a:cubicBezTo>
                  <a:cubicBezTo>
                    <a:pt x="379288" y="4474204"/>
                    <a:pt x="386001" y="4467491"/>
                    <a:pt x="392714" y="4467491"/>
                  </a:cubicBezTo>
                  <a:close/>
                  <a:moveTo>
                    <a:pt x="1215064" y="4460777"/>
                  </a:moveTo>
                  <a:cubicBezTo>
                    <a:pt x="1255342" y="4460777"/>
                    <a:pt x="1285551" y="4490986"/>
                    <a:pt x="1285551" y="4531265"/>
                  </a:cubicBezTo>
                  <a:cubicBezTo>
                    <a:pt x="1285551" y="4571543"/>
                    <a:pt x="1255342" y="4601752"/>
                    <a:pt x="1215064" y="4601752"/>
                  </a:cubicBezTo>
                  <a:cubicBezTo>
                    <a:pt x="1178142" y="4601752"/>
                    <a:pt x="1144577" y="4571543"/>
                    <a:pt x="1144577" y="4531265"/>
                  </a:cubicBezTo>
                  <a:cubicBezTo>
                    <a:pt x="1144577" y="4490986"/>
                    <a:pt x="1174786" y="4460777"/>
                    <a:pt x="1215064" y="4460777"/>
                  </a:cubicBezTo>
                  <a:close/>
                  <a:moveTo>
                    <a:pt x="3457226" y="4454064"/>
                  </a:moveTo>
                  <a:cubicBezTo>
                    <a:pt x="3460584" y="4454064"/>
                    <a:pt x="3463939" y="4457421"/>
                    <a:pt x="3463939" y="4460777"/>
                  </a:cubicBezTo>
                  <a:cubicBezTo>
                    <a:pt x="3463939" y="4464134"/>
                    <a:pt x="3460584" y="4467491"/>
                    <a:pt x="3457226" y="4467491"/>
                  </a:cubicBezTo>
                  <a:cubicBezTo>
                    <a:pt x="3453868" y="4467491"/>
                    <a:pt x="3450513" y="4464134"/>
                    <a:pt x="3450513" y="4460777"/>
                  </a:cubicBezTo>
                  <a:cubicBezTo>
                    <a:pt x="3450513" y="4457421"/>
                    <a:pt x="3453868" y="4454064"/>
                    <a:pt x="3457226" y="4454064"/>
                  </a:cubicBezTo>
                  <a:close/>
                  <a:moveTo>
                    <a:pt x="2668441" y="4454064"/>
                  </a:moveTo>
                  <a:cubicBezTo>
                    <a:pt x="2678511" y="4454064"/>
                    <a:pt x="2688580" y="4464134"/>
                    <a:pt x="2688580" y="4474204"/>
                  </a:cubicBezTo>
                  <a:cubicBezTo>
                    <a:pt x="2688580" y="4484273"/>
                    <a:pt x="2678511" y="4494343"/>
                    <a:pt x="2668441" y="4494343"/>
                  </a:cubicBezTo>
                  <a:cubicBezTo>
                    <a:pt x="2658372" y="4494343"/>
                    <a:pt x="2651658" y="4484273"/>
                    <a:pt x="2648302" y="4474204"/>
                  </a:cubicBezTo>
                  <a:cubicBezTo>
                    <a:pt x="2648302" y="4464134"/>
                    <a:pt x="2658372" y="4454064"/>
                    <a:pt x="2668441" y="4454064"/>
                  </a:cubicBezTo>
                  <a:close/>
                  <a:moveTo>
                    <a:pt x="1752109" y="4440638"/>
                  </a:moveTo>
                  <a:cubicBezTo>
                    <a:pt x="1782318" y="4440638"/>
                    <a:pt x="1805813" y="4464134"/>
                    <a:pt x="1805813" y="4494343"/>
                  </a:cubicBezTo>
                  <a:cubicBezTo>
                    <a:pt x="1805813" y="4524552"/>
                    <a:pt x="1782318" y="4548047"/>
                    <a:pt x="1752109" y="4548047"/>
                  </a:cubicBezTo>
                  <a:cubicBezTo>
                    <a:pt x="1721900" y="4548047"/>
                    <a:pt x="1698404" y="4524552"/>
                    <a:pt x="1698404" y="4494343"/>
                  </a:cubicBezTo>
                  <a:cubicBezTo>
                    <a:pt x="1698404" y="4464134"/>
                    <a:pt x="1721900" y="4440638"/>
                    <a:pt x="1752109" y="4440638"/>
                  </a:cubicBezTo>
                  <a:close/>
                  <a:moveTo>
                    <a:pt x="899550" y="4413786"/>
                  </a:moveTo>
                  <a:cubicBezTo>
                    <a:pt x="926402" y="4413786"/>
                    <a:pt x="949898" y="4433925"/>
                    <a:pt x="949898" y="4464134"/>
                  </a:cubicBezTo>
                  <a:cubicBezTo>
                    <a:pt x="949898" y="4490986"/>
                    <a:pt x="929758" y="4514482"/>
                    <a:pt x="899550" y="4514482"/>
                  </a:cubicBezTo>
                  <a:cubicBezTo>
                    <a:pt x="872697" y="4514482"/>
                    <a:pt x="849202" y="4490986"/>
                    <a:pt x="849202" y="4464134"/>
                  </a:cubicBezTo>
                  <a:cubicBezTo>
                    <a:pt x="849202" y="4437282"/>
                    <a:pt x="869341" y="4413786"/>
                    <a:pt x="899550" y="4413786"/>
                  </a:cubicBezTo>
                  <a:close/>
                  <a:moveTo>
                    <a:pt x="2305936" y="4410429"/>
                  </a:moveTo>
                  <a:cubicBezTo>
                    <a:pt x="2322719" y="4410429"/>
                    <a:pt x="2336145" y="4423856"/>
                    <a:pt x="2336145" y="4440638"/>
                  </a:cubicBezTo>
                  <a:cubicBezTo>
                    <a:pt x="2336145" y="4457421"/>
                    <a:pt x="2322719" y="4470847"/>
                    <a:pt x="2305936" y="4470847"/>
                  </a:cubicBezTo>
                  <a:cubicBezTo>
                    <a:pt x="2289154" y="4470847"/>
                    <a:pt x="2279084" y="4457421"/>
                    <a:pt x="2275728" y="4440638"/>
                  </a:cubicBezTo>
                  <a:cubicBezTo>
                    <a:pt x="2275728" y="4423856"/>
                    <a:pt x="2289154" y="4410429"/>
                    <a:pt x="2305936" y="4410429"/>
                  </a:cubicBezTo>
                  <a:close/>
                  <a:moveTo>
                    <a:pt x="3882246" y="4389453"/>
                  </a:moveTo>
                  <a:cubicBezTo>
                    <a:pt x="3882667" y="4388614"/>
                    <a:pt x="3883505" y="4388614"/>
                    <a:pt x="3883505" y="4390291"/>
                  </a:cubicBezTo>
                  <a:cubicBezTo>
                    <a:pt x="3883505" y="4390291"/>
                    <a:pt x="3886863" y="4390291"/>
                    <a:pt x="3883505" y="4393648"/>
                  </a:cubicBezTo>
                  <a:cubicBezTo>
                    <a:pt x="3881826" y="4391970"/>
                    <a:pt x="3881826" y="4390291"/>
                    <a:pt x="3882246" y="4389453"/>
                  </a:cubicBezTo>
                  <a:close/>
                  <a:moveTo>
                    <a:pt x="1423169" y="4373507"/>
                  </a:moveTo>
                  <a:cubicBezTo>
                    <a:pt x="1456735" y="4373507"/>
                    <a:pt x="1480230" y="4400360"/>
                    <a:pt x="1480230" y="4430569"/>
                  </a:cubicBezTo>
                  <a:cubicBezTo>
                    <a:pt x="1480230" y="4464134"/>
                    <a:pt x="1453378" y="4487630"/>
                    <a:pt x="1423169" y="4487630"/>
                  </a:cubicBezTo>
                  <a:cubicBezTo>
                    <a:pt x="1392960" y="4487630"/>
                    <a:pt x="1366108" y="4464134"/>
                    <a:pt x="1366108" y="4430569"/>
                  </a:cubicBezTo>
                  <a:cubicBezTo>
                    <a:pt x="1366108" y="4397003"/>
                    <a:pt x="1392960" y="4373507"/>
                    <a:pt x="1423169" y="4373507"/>
                  </a:cubicBezTo>
                  <a:close/>
                  <a:moveTo>
                    <a:pt x="1960214" y="4353368"/>
                  </a:moveTo>
                  <a:cubicBezTo>
                    <a:pt x="1983710" y="4353368"/>
                    <a:pt x="2000492" y="4370151"/>
                    <a:pt x="2000492" y="4393647"/>
                  </a:cubicBezTo>
                  <a:cubicBezTo>
                    <a:pt x="2000492" y="4417142"/>
                    <a:pt x="1983710" y="4433925"/>
                    <a:pt x="1960214" y="4433925"/>
                  </a:cubicBezTo>
                  <a:cubicBezTo>
                    <a:pt x="1936718" y="4433925"/>
                    <a:pt x="1919936" y="4417142"/>
                    <a:pt x="1919936" y="4393647"/>
                  </a:cubicBezTo>
                  <a:cubicBezTo>
                    <a:pt x="1919936" y="4370151"/>
                    <a:pt x="1936718" y="4353368"/>
                    <a:pt x="1960214" y="4353368"/>
                  </a:cubicBezTo>
                  <a:close/>
                  <a:moveTo>
                    <a:pt x="3279328" y="4350013"/>
                  </a:moveTo>
                  <a:cubicBezTo>
                    <a:pt x="3286044" y="4350013"/>
                    <a:pt x="3289399" y="4353369"/>
                    <a:pt x="3289399" y="4360082"/>
                  </a:cubicBezTo>
                  <a:cubicBezTo>
                    <a:pt x="3289399" y="4366795"/>
                    <a:pt x="3286044" y="4370152"/>
                    <a:pt x="3279328" y="4370152"/>
                  </a:cubicBezTo>
                  <a:cubicBezTo>
                    <a:pt x="3275973" y="4370152"/>
                    <a:pt x="3269260" y="4366795"/>
                    <a:pt x="3269260" y="4360082"/>
                  </a:cubicBezTo>
                  <a:cubicBezTo>
                    <a:pt x="3269260" y="4353369"/>
                    <a:pt x="3272618" y="4350013"/>
                    <a:pt x="3279328" y="4350013"/>
                  </a:cubicBezTo>
                  <a:close/>
                  <a:moveTo>
                    <a:pt x="2889972" y="4343299"/>
                  </a:moveTo>
                  <a:cubicBezTo>
                    <a:pt x="2900042" y="4343299"/>
                    <a:pt x="2906755" y="4350012"/>
                    <a:pt x="2906755" y="4360081"/>
                  </a:cubicBezTo>
                  <a:cubicBezTo>
                    <a:pt x="2906755" y="4370151"/>
                    <a:pt x="2900042" y="4376864"/>
                    <a:pt x="2889972" y="4376864"/>
                  </a:cubicBezTo>
                  <a:cubicBezTo>
                    <a:pt x="2879903" y="4376864"/>
                    <a:pt x="2873190" y="4370151"/>
                    <a:pt x="2873190" y="4360081"/>
                  </a:cubicBezTo>
                  <a:cubicBezTo>
                    <a:pt x="2873190" y="4350012"/>
                    <a:pt x="2879903" y="4343299"/>
                    <a:pt x="2889972" y="4343299"/>
                  </a:cubicBezTo>
                  <a:close/>
                  <a:moveTo>
                    <a:pt x="597462" y="4336586"/>
                  </a:moveTo>
                  <a:cubicBezTo>
                    <a:pt x="624315" y="4336586"/>
                    <a:pt x="644454" y="4356725"/>
                    <a:pt x="644454" y="4383577"/>
                  </a:cubicBezTo>
                  <a:cubicBezTo>
                    <a:pt x="644454" y="4410429"/>
                    <a:pt x="624315" y="4430569"/>
                    <a:pt x="597462" y="4430569"/>
                  </a:cubicBezTo>
                  <a:cubicBezTo>
                    <a:pt x="570610" y="4430569"/>
                    <a:pt x="547114" y="4410429"/>
                    <a:pt x="550471" y="4383577"/>
                  </a:cubicBezTo>
                  <a:cubicBezTo>
                    <a:pt x="550471" y="4356725"/>
                    <a:pt x="570610" y="4336586"/>
                    <a:pt x="597462" y="4336586"/>
                  </a:cubicBezTo>
                  <a:close/>
                  <a:moveTo>
                    <a:pt x="3692184" y="4316447"/>
                  </a:moveTo>
                  <a:cubicBezTo>
                    <a:pt x="3692184" y="4316447"/>
                    <a:pt x="3695539" y="4316447"/>
                    <a:pt x="3695539" y="4319804"/>
                  </a:cubicBezTo>
                  <a:cubicBezTo>
                    <a:pt x="3695539" y="4319804"/>
                    <a:pt x="3695539" y="4323161"/>
                    <a:pt x="3692184" y="4323161"/>
                  </a:cubicBezTo>
                  <a:cubicBezTo>
                    <a:pt x="3692184" y="4323161"/>
                    <a:pt x="3688828" y="4323161"/>
                    <a:pt x="3688828" y="4319804"/>
                  </a:cubicBezTo>
                  <a:cubicBezTo>
                    <a:pt x="3688828" y="4319804"/>
                    <a:pt x="3688828" y="4316447"/>
                    <a:pt x="3692184" y="4316447"/>
                  </a:cubicBezTo>
                  <a:close/>
                  <a:moveTo>
                    <a:pt x="2520754" y="4316447"/>
                  </a:moveTo>
                  <a:cubicBezTo>
                    <a:pt x="2530824" y="4316447"/>
                    <a:pt x="2540894" y="4326517"/>
                    <a:pt x="2540894" y="4336587"/>
                  </a:cubicBezTo>
                  <a:cubicBezTo>
                    <a:pt x="2540894" y="4346656"/>
                    <a:pt x="2530824" y="4356726"/>
                    <a:pt x="2520754" y="4356726"/>
                  </a:cubicBezTo>
                  <a:cubicBezTo>
                    <a:pt x="2510685" y="4356726"/>
                    <a:pt x="2500615" y="4346656"/>
                    <a:pt x="2500615" y="4336587"/>
                  </a:cubicBezTo>
                  <a:cubicBezTo>
                    <a:pt x="2500615" y="4326517"/>
                    <a:pt x="2510685" y="4316447"/>
                    <a:pt x="2520754" y="4316447"/>
                  </a:cubicBezTo>
                  <a:close/>
                  <a:moveTo>
                    <a:pt x="1104298" y="4299665"/>
                  </a:moveTo>
                  <a:cubicBezTo>
                    <a:pt x="1137864" y="4299665"/>
                    <a:pt x="1164716" y="4326517"/>
                    <a:pt x="1164716" y="4360082"/>
                  </a:cubicBezTo>
                  <a:cubicBezTo>
                    <a:pt x="1164716" y="4393647"/>
                    <a:pt x="1137864" y="4420500"/>
                    <a:pt x="1104298" y="4420500"/>
                  </a:cubicBezTo>
                  <a:cubicBezTo>
                    <a:pt x="1074090" y="4420500"/>
                    <a:pt x="1047237" y="4393647"/>
                    <a:pt x="1043881" y="4360082"/>
                  </a:cubicBezTo>
                  <a:cubicBezTo>
                    <a:pt x="1043881" y="4326517"/>
                    <a:pt x="1070733" y="4299665"/>
                    <a:pt x="1104298" y="4299665"/>
                  </a:cubicBezTo>
                  <a:close/>
                  <a:moveTo>
                    <a:pt x="1627917" y="4279526"/>
                  </a:moveTo>
                  <a:cubicBezTo>
                    <a:pt x="1658126" y="4279526"/>
                    <a:pt x="1681622" y="4303021"/>
                    <a:pt x="1681622" y="4333230"/>
                  </a:cubicBezTo>
                  <a:cubicBezTo>
                    <a:pt x="1681622" y="4363439"/>
                    <a:pt x="1658126" y="4386935"/>
                    <a:pt x="1627917" y="4386935"/>
                  </a:cubicBezTo>
                  <a:cubicBezTo>
                    <a:pt x="1601065" y="4386935"/>
                    <a:pt x="1574212" y="4363439"/>
                    <a:pt x="1574212" y="4333230"/>
                  </a:cubicBezTo>
                  <a:cubicBezTo>
                    <a:pt x="1574212" y="4303021"/>
                    <a:pt x="1597708" y="4279526"/>
                    <a:pt x="1627917" y="4279526"/>
                  </a:cubicBezTo>
                  <a:close/>
                  <a:moveTo>
                    <a:pt x="2168318" y="4269455"/>
                  </a:moveTo>
                  <a:cubicBezTo>
                    <a:pt x="2181744" y="4269455"/>
                    <a:pt x="2191814" y="4279524"/>
                    <a:pt x="2191814" y="4292951"/>
                  </a:cubicBezTo>
                  <a:cubicBezTo>
                    <a:pt x="2191814" y="4306377"/>
                    <a:pt x="2181744" y="4316446"/>
                    <a:pt x="2168318" y="4316446"/>
                  </a:cubicBezTo>
                  <a:cubicBezTo>
                    <a:pt x="2154892" y="4316446"/>
                    <a:pt x="2144822" y="4306377"/>
                    <a:pt x="2144822" y="4292951"/>
                  </a:cubicBezTo>
                  <a:cubicBezTo>
                    <a:pt x="2144822" y="4279524"/>
                    <a:pt x="2154892" y="4269455"/>
                    <a:pt x="2168318" y="4269455"/>
                  </a:cubicBezTo>
                  <a:close/>
                  <a:moveTo>
                    <a:pt x="298731" y="4269455"/>
                  </a:moveTo>
                  <a:cubicBezTo>
                    <a:pt x="315513" y="4269455"/>
                    <a:pt x="328940" y="4282881"/>
                    <a:pt x="328940" y="4299664"/>
                  </a:cubicBezTo>
                  <a:cubicBezTo>
                    <a:pt x="328940" y="4316446"/>
                    <a:pt x="315513" y="4329873"/>
                    <a:pt x="298731" y="4329873"/>
                  </a:cubicBezTo>
                  <a:cubicBezTo>
                    <a:pt x="285305" y="4329873"/>
                    <a:pt x="268522" y="4316446"/>
                    <a:pt x="268522" y="4299664"/>
                  </a:cubicBezTo>
                  <a:cubicBezTo>
                    <a:pt x="268522" y="4282881"/>
                    <a:pt x="281948" y="4269455"/>
                    <a:pt x="298731" y="4269455"/>
                  </a:cubicBezTo>
                  <a:close/>
                  <a:moveTo>
                    <a:pt x="798855" y="4245960"/>
                  </a:moveTo>
                  <a:cubicBezTo>
                    <a:pt x="818994" y="4245960"/>
                    <a:pt x="839133" y="4262743"/>
                    <a:pt x="839133" y="4286239"/>
                  </a:cubicBezTo>
                  <a:cubicBezTo>
                    <a:pt x="839133" y="4306378"/>
                    <a:pt x="822350" y="4326517"/>
                    <a:pt x="798855" y="4326517"/>
                  </a:cubicBezTo>
                  <a:cubicBezTo>
                    <a:pt x="778715" y="4326517"/>
                    <a:pt x="758576" y="4306378"/>
                    <a:pt x="758576" y="4286239"/>
                  </a:cubicBezTo>
                  <a:cubicBezTo>
                    <a:pt x="758576" y="4266099"/>
                    <a:pt x="775359" y="4245960"/>
                    <a:pt x="798855" y="4245960"/>
                  </a:cubicBezTo>
                  <a:close/>
                  <a:moveTo>
                    <a:pt x="3111504" y="4235891"/>
                  </a:moveTo>
                  <a:cubicBezTo>
                    <a:pt x="3118217" y="4235891"/>
                    <a:pt x="3121574" y="4242604"/>
                    <a:pt x="3121574" y="4245960"/>
                  </a:cubicBezTo>
                  <a:cubicBezTo>
                    <a:pt x="3121574" y="4252673"/>
                    <a:pt x="3118217" y="4256030"/>
                    <a:pt x="3111504" y="4256030"/>
                  </a:cubicBezTo>
                  <a:cubicBezTo>
                    <a:pt x="3104791" y="4256030"/>
                    <a:pt x="3101434" y="4252673"/>
                    <a:pt x="3101434" y="4245960"/>
                  </a:cubicBezTo>
                  <a:cubicBezTo>
                    <a:pt x="3101434" y="4239247"/>
                    <a:pt x="3108147" y="4235891"/>
                    <a:pt x="3111504" y="4235891"/>
                  </a:cubicBezTo>
                  <a:close/>
                  <a:moveTo>
                    <a:pt x="3510931" y="4229177"/>
                  </a:moveTo>
                  <a:cubicBezTo>
                    <a:pt x="3510931" y="4229177"/>
                    <a:pt x="3514288" y="4232534"/>
                    <a:pt x="3510931" y="4235891"/>
                  </a:cubicBezTo>
                  <a:cubicBezTo>
                    <a:pt x="3507573" y="4229177"/>
                    <a:pt x="3507573" y="4229177"/>
                    <a:pt x="3510931" y="4229177"/>
                  </a:cubicBezTo>
                  <a:close/>
                  <a:moveTo>
                    <a:pt x="2735572" y="4215751"/>
                  </a:moveTo>
                  <a:cubicBezTo>
                    <a:pt x="2742285" y="4215751"/>
                    <a:pt x="2748998" y="4222464"/>
                    <a:pt x="2748998" y="4229177"/>
                  </a:cubicBezTo>
                  <a:cubicBezTo>
                    <a:pt x="2748998" y="4235891"/>
                    <a:pt x="2742285" y="4242604"/>
                    <a:pt x="2735572" y="4242604"/>
                  </a:cubicBezTo>
                  <a:cubicBezTo>
                    <a:pt x="2728859" y="4242604"/>
                    <a:pt x="2722146" y="4235891"/>
                    <a:pt x="2722146" y="4229177"/>
                  </a:cubicBezTo>
                  <a:cubicBezTo>
                    <a:pt x="2722146" y="4222464"/>
                    <a:pt x="2728859" y="4215751"/>
                    <a:pt x="2735572" y="4215751"/>
                  </a:cubicBezTo>
                  <a:close/>
                  <a:moveTo>
                    <a:pt x="1312404" y="4212395"/>
                  </a:moveTo>
                  <a:cubicBezTo>
                    <a:pt x="1339256" y="4212395"/>
                    <a:pt x="1362752" y="4235891"/>
                    <a:pt x="1362752" y="4262743"/>
                  </a:cubicBezTo>
                  <a:cubicBezTo>
                    <a:pt x="1362752" y="4289595"/>
                    <a:pt x="1339256" y="4313091"/>
                    <a:pt x="1312404" y="4313091"/>
                  </a:cubicBezTo>
                  <a:cubicBezTo>
                    <a:pt x="1285551" y="4313091"/>
                    <a:pt x="1262056" y="4289595"/>
                    <a:pt x="1262056" y="4262743"/>
                  </a:cubicBezTo>
                  <a:cubicBezTo>
                    <a:pt x="1262056" y="4235891"/>
                    <a:pt x="1285551" y="4212395"/>
                    <a:pt x="1312404" y="4212395"/>
                  </a:cubicBezTo>
                  <a:close/>
                  <a:moveTo>
                    <a:pt x="1836022" y="4198969"/>
                  </a:moveTo>
                  <a:cubicBezTo>
                    <a:pt x="1856161" y="4198969"/>
                    <a:pt x="1869588" y="4212395"/>
                    <a:pt x="1869588" y="4232534"/>
                  </a:cubicBezTo>
                  <a:cubicBezTo>
                    <a:pt x="1869588" y="4252673"/>
                    <a:pt x="1852805" y="4266099"/>
                    <a:pt x="1836022" y="4266099"/>
                  </a:cubicBezTo>
                  <a:cubicBezTo>
                    <a:pt x="1819240" y="4266099"/>
                    <a:pt x="1802457" y="4252673"/>
                    <a:pt x="1802457" y="4232534"/>
                  </a:cubicBezTo>
                  <a:cubicBezTo>
                    <a:pt x="1802457" y="4212395"/>
                    <a:pt x="1819240" y="4198969"/>
                    <a:pt x="1836022" y="4198969"/>
                  </a:cubicBezTo>
                  <a:close/>
                  <a:moveTo>
                    <a:pt x="2379780" y="4172116"/>
                  </a:moveTo>
                  <a:cubicBezTo>
                    <a:pt x="2389850" y="4172116"/>
                    <a:pt x="2396563" y="4178829"/>
                    <a:pt x="2396563" y="4188899"/>
                  </a:cubicBezTo>
                  <a:cubicBezTo>
                    <a:pt x="2396563" y="4198969"/>
                    <a:pt x="2389850" y="4205682"/>
                    <a:pt x="2379780" y="4205682"/>
                  </a:cubicBezTo>
                  <a:cubicBezTo>
                    <a:pt x="2373067" y="4205682"/>
                    <a:pt x="2362997" y="4198969"/>
                    <a:pt x="2362997" y="4188899"/>
                  </a:cubicBezTo>
                  <a:cubicBezTo>
                    <a:pt x="2362997" y="4178829"/>
                    <a:pt x="2369710" y="4172116"/>
                    <a:pt x="2379780" y="4172116"/>
                  </a:cubicBezTo>
                  <a:close/>
                  <a:moveTo>
                    <a:pt x="503479" y="4158690"/>
                  </a:moveTo>
                  <a:cubicBezTo>
                    <a:pt x="526975" y="4158690"/>
                    <a:pt x="547114" y="4178829"/>
                    <a:pt x="547114" y="4202325"/>
                  </a:cubicBezTo>
                  <a:cubicBezTo>
                    <a:pt x="547114" y="4225821"/>
                    <a:pt x="526975" y="4245960"/>
                    <a:pt x="503479" y="4245960"/>
                  </a:cubicBezTo>
                  <a:cubicBezTo>
                    <a:pt x="479984" y="4245960"/>
                    <a:pt x="459844" y="4225821"/>
                    <a:pt x="459844" y="4202325"/>
                  </a:cubicBezTo>
                  <a:cubicBezTo>
                    <a:pt x="459844" y="4178829"/>
                    <a:pt x="479984" y="4158690"/>
                    <a:pt x="503479" y="4158690"/>
                  </a:cubicBezTo>
                  <a:close/>
                  <a:moveTo>
                    <a:pt x="1003602" y="4128481"/>
                  </a:moveTo>
                  <a:cubicBezTo>
                    <a:pt x="1033811" y="4128481"/>
                    <a:pt x="1060663" y="4155334"/>
                    <a:pt x="1060663" y="4185542"/>
                  </a:cubicBezTo>
                  <a:cubicBezTo>
                    <a:pt x="1060663" y="4215751"/>
                    <a:pt x="1033811" y="4242604"/>
                    <a:pt x="1003602" y="4242604"/>
                  </a:cubicBezTo>
                  <a:cubicBezTo>
                    <a:pt x="973393" y="4242604"/>
                    <a:pt x="946541" y="4219108"/>
                    <a:pt x="946541" y="4185542"/>
                  </a:cubicBezTo>
                  <a:cubicBezTo>
                    <a:pt x="946541" y="4155334"/>
                    <a:pt x="973393" y="4128481"/>
                    <a:pt x="1003602" y="4128481"/>
                  </a:cubicBezTo>
                  <a:close/>
                  <a:moveTo>
                    <a:pt x="3336391" y="4125125"/>
                  </a:moveTo>
                  <a:cubicBezTo>
                    <a:pt x="3336391" y="4125125"/>
                    <a:pt x="3339748" y="4125125"/>
                    <a:pt x="3339748" y="4128481"/>
                  </a:cubicBezTo>
                  <a:cubicBezTo>
                    <a:pt x="3339748" y="4128481"/>
                    <a:pt x="3339748" y="4131838"/>
                    <a:pt x="3336391" y="4131838"/>
                  </a:cubicBezTo>
                  <a:cubicBezTo>
                    <a:pt x="3333033" y="4131838"/>
                    <a:pt x="3333033" y="4128481"/>
                    <a:pt x="3333033" y="4128481"/>
                  </a:cubicBezTo>
                  <a:cubicBezTo>
                    <a:pt x="3333033" y="4128481"/>
                    <a:pt x="3333033" y="4125125"/>
                    <a:pt x="3336391" y="4125125"/>
                  </a:cubicBezTo>
                  <a:close/>
                  <a:moveTo>
                    <a:pt x="2044126" y="4111699"/>
                  </a:moveTo>
                  <a:cubicBezTo>
                    <a:pt x="2057552" y="4111699"/>
                    <a:pt x="2067622" y="4121768"/>
                    <a:pt x="2067622" y="4135194"/>
                  </a:cubicBezTo>
                  <a:cubicBezTo>
                    <a:pt x="2067622" y="4148620"/>
                    <a:pt x="2057552" y="4158690"/>
                    <a:pt x="2044126" y="4158690"/>
                  </a:cubicBezTo>
                  <a:cubicBezTo>
                    <a:pt x="2030700" y="4158690"/>
                    <a:pt x="2020631" y="4145264"/>
                    <a:pt x="2020631" y="4135194"/>
                  </a:cubicBezTo>
                  <a:cubicBezTo>
                    <a:pt x="2020631" y="4121768"/>
                    <a:pt x="2030700" y="4111699"/>
                    <a:pt x="2044126" y="4111699"/>
                  </a:cubicBezTo>
                  <a:close/>
                  <a:moveTo>
                    <a:pt x="1517151" y="4111699"/>
                  </a:moveTo>
                  <a:cubicBezTo>
                    <a:pt x="1547360" y="4111699"/>
                    <a:pt x="1570856" y="4135194"/>
                    <a:pt x="1570856" y="4165403"/>
                  </a:cubicBezTo>
                  <a:cubicBezTo>
                    <a:pt x="1570856" y="4195612"/>
                    <a:pt x="1547360" y="4219108"/>
                    <a:pt x="1517151" y="4219108"/>
                  </a:cubicBezTo>
                  <a:cubicBezTo>
                    <a:pt x="1486942" y="4219108"/>
                    <a:pt x="1463447" y="4195612"/>
                    <a:pt x="1463447" y="4165403"/>
                  </a:cubicBezTo>
                  <a:cubicBezTo>
                    <a:pt x="1463447" y="4135194"/>
                    <a:pt x="1486942" y="4111699"/>
                    <a:pt x="1517151" y="4111699"/>
                  </a:cubicBezTo>
                  <a:close/>
                  <a:moveTo>
                    <a:pt x="2953747" y="4108342"/>
                  </a:moveTo>
                  <a:cubicBezTo>
                    <a:pt x="2960460" y="4108342"/>
                    <a:pt x="2963816" y="4115055"/>
                    <a:pt x="2963816" y="4118412"/>
                  </a:cubicBezTo>
                  <a:cubicBezTo>
                    <a:pt x="2963816" y="4125125"/>
                    <a:pt x="2957103" y="4128481"/>
                    <a:pt x="2953747" y="4128481"/>
                  </a:cubicBezTo>
                  <a:cubicBezTo>
                    <a:pt x="2947034" y="4128481"/>
                    <a:pt x="2943677" y="4125125"/>
                    <a:pt x="2943677" y="4118412"/>
                  </a:cubicBezTo>
                  <a:cubicBezTo>
                    <a:pt x="2943677" y="4111699"/>
                    <a:pt x="2947034" y="4108342"/>
                    <a:pt x="2953747" y="4108342"/>
                  </a:cubicBezTo>
                  <a:close/>
                  <a:moveTo>
                    <a:pt x="2591242" y="4071420"/>
                  </a:moveTo>
                  <a:cubicBezTo>
                    <a:pt x="2597955" y="4071420"/>
                    <a:pt x="2604668" y="4078133"/>
                    <a:pt x="2604668" y="4084846"/>
                  </a:cubicBezTo>
                  <a:cubicBezTo>
                    <a:pt x="2604668" y="4091559"/>
                    <a:pt x="2597955" y="4098272"/>
                    <a:pt x="2591242" y="4098272"/>
                  </a:cubicBezTo>
                  <a:cubicBezTo>
                    <a:pt x="2584529" y="4098272"/>
                    <a:pt x="2581172" y="4091559"/>
                    <a:pt x="2577816" y="4084846"/>
                  </a:cubicBezTo>
                  <a:cubicBezTo>
                    <a:pt x="2577816" y="4078133"/>
                    <a:pt x="2584529" y="4071420"/>
                    <a:pt x="2591242" y="4071420"/>
                  </a:cubicBezTo>
                  <a:close/>
                  <a:moveTo>
                    <a:pt x="708228" y="4064707"/>
                  </a:moveTo>
                  <a:cubicBezTo>
                    <a:pt x="728367" y="4064707"/>
                    <a:pt x="748507" y="4081490"/>
                    <a:pt x="748507" y="4104986"/>
                  </a:cubicBezTo>
                  <a:cubicBezTo>
                    <a:pt x="748507" y="4125125"/>
                    <a:pt x="731724" y="4145264"/>
                    <a:pt x="708228" y="4145264"/>
                  </a:cubicBezTo>
                  <a:cubicBezTo>
                    <a:pt x="684732" y="4145264"/>
                    <a:pt x="664593" y="4128481"/>
                    <a:pt x="667950" y="4104986"/>
                  </a:cubicBezTo>
                  <a:cubicBezTo>
                    <a:pt x="667950" y="4084846"/>
                    <a:pt x="684732" y="4064707"/>
                    <a:pt x="708228" y="4064707"/>
                  </a:cubicBezTo>
                  <a:close/>
                  <a:moveTo>
                    <a:pt x="1208351" y="4037855"/>
                  </a:moveTo>
                  <a:cubicBezTo>
                    <a:pt x="1235203" y="4037855"/>
                    <a:pt x="1258699" y="4061351"/>
                    <a:pt x="1258699" y="4088203"/>
                  </a:cubicBezTo>
                  <a:cubicBezTo>
                    <a:pt x="1258699" y="4115055"/>
                    <a:pt x="1235203" y="4138551"/>
                    <a:pt x="1208351" y="4138551"/>
                  </a:cubicBezTo>
                  <a:cubicBezTo>
                    <a:pt x="1181499" y="4138551"/>
                    <a:pt x="1158003" y="4115055"/>
                    <a:pt x="1158003" y="4088203"/>
                  </a:cubicBezTo>
                  <a:cubicBezTo>
                    <a:pt x="1158003" y="4061351"/>
                    <a:pt x="1181499" y="4037855"/>
                    <a:pt x="1208351" y="4037855"/>
                  </a:cubicBezTo>
                  <a:close/>
                  <a:moveTo>
                    <a:pt x="1721900" y="4031142"/>
                  </a:moveTo>
                  <a:cubicBezTo>
                    <a:pt x="1740437" y="4031142"/>
                    <a:pt x="1755465" y="4046169"/>
                    <a:pt x="1755465" y="4064707"/>
                  </a:cubicBezTo>
                  <a:cubicBezTo>
                    <a:pt x="1755465" y="4083245"/>
                    <a:pt x="1740437" y="4098272"/>
                    <a:pt x="1721900" y="4098272"/>
                  </a:cubicBezTo>
                  <a:cubicBezTo>
                    <a:pt x="1703362" y="4098272"/>
                    <a:pt x="1688335" y="4083245"/>
                    <a:pt x="1688335" y="4064707"/>
                  </a:cubicBezTo>
                  <a:cubicBezTo>
                    <a:pt x="1688335" y="4046169"/>
                    <a:pt x="1703362" y="4031142"/>
                    <a:pt x="1721900" y="4031142"/>
                  </a:cubicBezTo>
                  <a:close/>
                  <a:moveTo>
                    <a:pt x="2252232" y="4021072"/>
                  </a:moveTo>
                  <a:cubicBezTo>
                    <a:pt x="2258945" y="4021072"/>
                    <a:pt x="2265658" y="4027785"/>
                    <a:pt x="2265658" y="4034498"/>
                  </a:cubicBezTo>
                  <a:cubicBezTo>
                    <a:pt x="2265658" y="4041211"/>
                    <a:pt x="2258945" y="4047924"/>
                    <a:pt x="2252232" y="4047924"/>
                  </a:cubicBezTo>
                  <a:cubicBezTo>
                    <a:pt x="2242162" y="4047924"/>
                    <a:pt x="2235449" y="4041211"/>
                    <a:pt x="2238806" y="4034498"/>
                  </a:cubicBezTo>
                  <a:cubicBezTo>
                    <a:pt x="2238806" y="4027785"/>
                    <a:pt x="2245518" y="4021072"/>
                    <a:pt x="2252232" y="4021072"/>
                  </a:cubicBezTo>
                  <a:close/>
                  <a:moveTo>
                    <a:pt x="3170662" y="4006807"/>
                  </a:moveTo>
                  <a:cubicBezTo>
                    <a:pt x="3171081" y="4005967"/>
                    <a:pt x="3171920" y="4005967"/>
                    <a:pt x="3171920" y="4007646"/>
                  </a:cubicBezTo>
                  <a:cubicBezTo>
                    <a:pt x="3171920" y="4007646"/>
                    <a:pt x="3175277" y="4007646"/>
                    <a:pt x="3171920" y="4011003"/>
                  </a:cubicBezTo>
                  <a:cubicBezTo>
                    <a:pt x="3170243" y="4009324"/>
                    <a:pt x="3170243" y="4007646"/>
                    <a:pt x="3170662" y="4006807"/>
                  </a:cubicBezTo>
                  <a:close/>
                  <a:moveTo>
                    <a:pt x="419566" y="3980794"/>
                  </a:moveTo>
                  <a:cubicBezTo>
                    <a:pt x="439705" y="3980794"/>
                    <a:pt x="456488" y="3997576"/>
                    <a:pt x="456488" y="4017716"/>
                  </a:cubicBezTo>
                  <a:cubicBezTo>
                    <a:pt x="456488" y="4037855"/>
                    <a:pt x="439705" y="4054637"/>
                    <a:pt x="419566" y="4054637"/>
                  </a:cubicBezTo>
                  <a:cubicBezTo>
                    <a:pt x="399427" y="4054637"/>
                    <a:pt x="382644" y="4037855"/>
                    <a:pt x="382644" y="4017716"/>
                  </a:cubicBezTo>
                  <a:cubicBezTo>
                    <a:pt x="382644" y="3997576"/>
                    <a:pt x="399427" y="3980794"/>
                    <a:pt x="419566" y="3980794"/>
                  </a:cubicBezTo>
                  <a:close/>
                  <a:moveTo>
                    <a:pt x="912976" y="3974081"/>
                  </a:moveTo>
                  <a:cubicBezTo>
                    <a:pt x="929758" y="3974081"/>
                    <a:pt x="946541" y="3987507"/>
                    <a:pt x="946541" y="4007646"/>
                  </a:cubicBezTo>
                  <a:cubicBezTo>
                    <a:pt x="946541" y="4024429"/>
                    <a:pt x="933115" y="4041211"/>
                    <a:pt x="912976" y="4041211"/>
                  </a:cubicBezTo>
                  <a:cubicBezTo>
                    <a:pt x="892837" y="4041211"/>
                    <a:pt x="876054" y="4024429"/>
                    <a:pt x="879410" y="4007646"/>
                  </a:cubicBezTo>
                  <a:cubicBezTo>
                    <a:pt x="879410" y="3990863"/>
                    <a:pt x="892837" y="3974081"/>
                    <a:pt x="912976" y="3974081"/>
                  </a:cubicBezTo>
                  <a:close/>
                  <a:moveTo>
                    <a:pt x="2802702" y="3970724"/>
                  </a:moveTo>
                  <a:cubicBezTo>
                    <a:pt x="2809416" y="3970724"/>
                    <a:pt x="2812772" y="3974081"/>
                    <a:pt x="2812772" y="3980794"/>
                  </a:cubicBezTo>
                  <a:cubicBezTo>
                    <a:pt x="2812772" y="3987507"/>
                    <a:pt x="2809416" y="3990863"/>
                    <a:pt x="2802702" y="3990863"/>
                  </a:cubicBezTo>
                  <a:cubicBezTo>
                    <a:pt x="2799346" y="3990863"/>
                    <a:pt x="2795990" y="3987507"/>
                    <a:pt x="2792633" y="3980794"/>
                  </a:cubicBezTo>
                  <a:cubicBezTo>
                    <a:pt x="2792633" y="3974081"/>
                    <a:pt x="2795990" y="3970724"/>
                    <a:pt x="2802702" y="3970724"/>
                  </a:cubicBezTo>
                  <a:close/>
                  <a:moveTo>
                    <a:pt x="1413099" y="3953941"/>
                  </a:moveTo>
                  <a:cubicBezTo>
                    <a:pt x="1433238" y="3953941"/>
                    <a:pt x="1450020" y="3970724"/>
                    <a:pt x="1450020" y="3990863"/>
                  </a:cubicBezTo>
                  <a:cubicBezTo>
                    <a:pt x="1450020" y="4011003"/>
                    <a:pt x="1433238" y="4027785"/>
                    <a:pt x="1413099" y="4027785"/>
                  </a:cubicBezTo>
                  <a:cubicBezTo>
                    <a:pt x="1392960" y="4027785"/>
                    <a:pt x="1372821" y="4011003"/>
                    <a:pt x="1376178" y="3990863"/>
                  </a:cubicBezTo>
                  <a:cubicBezTo>
                    <a:pt x="1376178" y="3970724"/>
                    <a:pt x="1392960" y="3953941"/>
                    <a:pt x="1413099" y="3953941"/>
                  </a:cubicBezTo>
                  <a:close/>
                  <a:moveTo>
                    <a:pt x="1926649" y="3947228"/>
                  </a:moveTo>
                  <a:cubicBezTo>
                    <a:pt x="1936718" y="3947228"/>
                    <a:pt x="1946788" y="3957298"/>
                    <a:pt x="1946788" y="3967368"/>
                  </a:cubicBezTo>
                  <a:cubicBezTo>
                    <a:pt x="1946788" y="3977437"/>
                    <a:pt x="1936718" y="3987507"/>
                    <a:pt x="1926649" y="3987507"/>
                  </a:cubicBezTo>
                  <a:cubicBezTo>
                    <a:pt x="1916579" y="3987507"/>
                    <a:pt x="1906510" y="3977437"/>
                    <a:pt x="1906510" y="3967368"/>
                  </a:cubicBezTo>
                  <a:cubicBezTo>
                    <a:pt x="1906510" y="3957298"/>
                    <a:pt x="1916579" y="3947228"/>
                    <a:pt x="1926649" y="3947228"/>
                  </a:cubicBezTo>
                  <a:close/>
                  <a:moveTo>
                    <a:pt x="2460337" y="3927089"/>
                  </a:moveTo>
                  <a:cubicBezTo>
                    <a:pt x="2463694" y="3927089"/>
                    <a:pt x="2467050" y="3930446"/>
                    <a:pt x="2467050" y="3933802"/>
                  </a:cubicBezTo>
                  <a:cubicBezTo>
                    <a:pt x="2467050" y="3937159"/>
                    <a:pt x="2463694" y="3940515"/>
                    <a:pt x="2460337" y="3940515"/>
                  </a:cubicBezTo>
                  <a:cubicBezTo>
                    <a:pt x="2453624" y="3940515"/>
                    <a:pt x="2450267" y="3937159"/>
                    <a:pt x="2453624" y="3933802"/>
                  </a:cubicBezTo>
                  <a:cubicBezTo>
                    <a:pt x="2453624" y="3930446"/>
                    <a:pt x="2456980" y="3927089"/>
                    <a:pt x="2460337" y="3927089"/>
                  </a:cubicBezTo>
                  <a:close/>
                  <a:moveTo>
                    <a:pt x="137618" y="3927089"/>
                  </a:moveTo>
                  <a:cubicBezTo>
                    <a:pt x="137618" y="3927089"/>
                    <a:pt x="140975" y="3927089"/>
                    <a:pt x="137618" y="3930446"/>
                  </a:cubicBezTo>
                  <a:cubicBezTo>
                    <a:pt x="137618" y="3928767"/>
                    <a:pt x="137618" y="3928767"/>
                    <a:pt x="137618" y="3929187"/>
                  </a:cubicBezTo>
                  <a:close/>
                  <a:moveTo>
                    <a:pt x="624315" y="3890167"/>
                  </a:moveTo>
                  <a:cubicBezTo>
                    <a:pt x="640998" y="3890167"/>
                    <a:pt x="654524" y="3903693"/>
                    <a:pt x="654524" y="3920376"/>
                  </a:cubicBezTo>
                  <a:cubicBezTo>
                    <a:pt x="654524" y="3937060"/>
                    <a:pt x="640998" y="3950585"/>
                    <a:pt x="624315" y="3950585"/>
                  </a:cubicBezTo>
                  <a:cubicBezTo>
                    <a:pt x="607631" y="3950585"/>
                    <a:pt x="594106" y="3937060"/>
                    <a:pt x="594106" y="3920376"/>
                  </a:cubicBezTo>
                  <a:cubicBezTo>
                    <a:pt x="594106" y="3903693"/>
                    <a:pt x="607631" y="3890167"/>
                    <a:pt x="624315" y="3890167"/>
                  </a:cubicBezTo>
                  <a:close/>
                  <a:moveTo>
                    <a:pt x="1114368" y="3873385"/>
                  </a:moveTo>
                  <a:cubicBezTo>
                    <a:pt x="1131151" y="3873385"/>
                    <a:pt x="1147933" y="3886811"/>
                    <a:pt x="1147933" y="3906950"/>
                  </a:cubicBezTo>
                  <a:cubicBezTo>
                    <a:pt x="1147933" y="3923733"/>
                    <a:pt x="1134507" y="3940515"/>
                    <a:pt x="1114368" y="3940515"/>
                  </a:cubicBezTo>
                  <a:cubicBezTo>
                    <a:pt x="1097585" y="3940515"/>
                    <a:pt x="1080803" y="3927089"/>
                    <a:pt x="1080803" y="3906950"/>
                  </a:cubicBezTo>
                  <a:cubicBezTo>
                    <a:pt x="1080803" y="3890167"/>
                    <a:pt x="1094229" y="3873385"/>
                    <a:pt x="1114368" y="3873385"/>
                  </a:cubicBezTo>
                  <a:close/>
                  <a:moveTo>
                    <a:pt x="3017521" y="3866671"/>
                  </a:moveTo>
                  <a:cubicBezTo>
                    <a:pt x="3020878" y="3866671"/>
                    <a:pt x="3024234" y="3870028"/>
                    <a:pt x="3024234" y="3873385"/>
                  </a:cubicBezTo>
                  <a:cubicBezTo>
                    <a:pt x="3024234" y="3876741"/>
                    <a:pt x="3020878" y="3880098"/>
                    <a:pt x="3017521" y="3880098"/>
                  </a:cubicBezTo>
                  <a:cubicBezTo>
                    <a:pt x="3014164" y="3880098"/>
                    <a:pt x="3010808" y="3876741"/>
                    <a:pt x="3010808" y="3873385"/>
                  </a:cubicBezTo>
                  <a:cubicBezTo>
                    <a:pt x="3010808" y="3870028"/>
                    <a:pt x="3014164" y="3866671"/>
                    <a:pt x="3017521" y="3866671"/>
                  </a:cubicBezTo>
                  <a:close/>
                  <a:moveTo>
                    <a:pt x="1617847" y="3859958"/>
                  </a:moveTo>
                  <a:cubicBezTo>
                    <a:pt x="1634630" y="3859958"/>
                    <a:pt x="1651413" y="3873385"/>
                    <a:pt x="1651413" y="3893524"/>
                  </a:cubicBezTo>
                  <a:cubicBezTo>
                    <a:pt x="1651413" y="3910306"/>
                    <a:pt x="1637986" y="3927089"/>
                    <a:pt x="1617847" y="3927089"/>
                  </a:cubicBezTo>
                  <a:cubicBezTo>
                    <a:pt x="1597708" y="3927089"/>
                    <a:pt x="1580925" y="3910306"/>
                    <a:pt x="1584282" y="3893524"/>
                  </a:cubicBezTo>
                  <a:cubicBezTo>
                    <a:pt x="1584282" y="3876741"/>
                    <a:pt x="1601065" y="3859958"/>
                    <a:pt x="1617847" y="3859958"/>
                  </a:cubicBezTo>
                  <a:close/>
                  <a:moveTo>
                    <a:pt x="2131396" y="3853245"/>
                  </a:moveTo>
                  <a:cubicBezTo>
                    <a:pt x="2138110" y="3853245"/>
                    <a:pt x="2144822" y="3859958"/>
                    <a:pt x="2144822" y="3866671"/>
                  </a:cubicBezTo>
                  <a:cubicBezTo>
                    <a:pt x="2144822" y="3873385"/>
                    <a:pt x="2138110" y="3880098"/>
                    <a:pt x="2131396" y="3880098"/>
                  </a:cubicBezTo>
                  <a:cubicBezTo>
                    <a:pt x="2124683" y="3880098"/>
                    <a:pt x="2117970" y="3876741"/>
                    <a:pt x="2117970" y="3866671"/>
                  </a:cubicBezTo>
                  <a:cubicBezTo>
                    <a:pt x="2117970" y="3859958"/>
                    <a:pt x="2124683" y="3853245"/>
                    <a:pt x="2131396" y="3853245"/>
                  </a:cubicBezTo>
                  <a:close/>
                  <a:moveTo>
                    <a:pt x="2668441" y="3823036"/>
                  </a:moveTo>
                  <a:cubicBezTo>
                    <a:pt x="2671798" y="3823036"/>
                    <a:pt x="2675154" y="3826393"/>
                    <a:pt x="2675154" y="3829750"/>
                  </a:cubicBezTo>
                  <a:cubicBezTo>
                    <a:pt x="2675154" y="3833106"/>
                    <a:pt x="2671798" y="3836463"/>
                    <a:pt x="2668441" y="3836463"/>
                  </a:cubicBezTo>
                  <a:cubicBezTo>
                    <a:pt x="2665084" y="3836463"/>
                    <a:pt x="2661728" y="3833106"/>
                    <a:pt x="2661728" y="3829750"/>
                  </a:cubicBezTo>
                  <a:cubicBezTo>
                    <a:pt x="2661728" y="3826393"/>
                    <a:pt x="2665084" y="3823036"/>
                    <a:pt x="2668441" y="3823036"/>
                  </a:cubicBezTo>
                  <a:close/>
                  <a:moveTo>
                    <a:pt x="342366" y="3792828"/>
                  </a:moveTo>
                  <a:cubicBezTo>
                    <a:pt x="362505" y="3792828"/>
                    <a:pt x="379288" y="3809610"/>
                    <a:pt x="379288" y="3829750"/>
                  </a:cubicBezTo>
                  <a:cubicBezTo>
                    <a:pt x="379288" y="3849889"/>
                    <a:pt x="362505" y="3866671"/>
                    <a:pt x="342366" y="3866671"/>
                  </a:cubicBezTo>
                  <a:cubicBezTo>
                    <a:pt x="322226" y="3866671"/>
                    <a:pt x="305444" y="3849889"/>
                    <a:pt x="305444" y="3829750"/>
                  </a:cubicBezTo>
                  <a:cubicBezTo>
                    <a:pt x="305444" y="3809610"/>
                    <a:pt x="322226" y="3792828"/>
                    <a:pt x="342366" y="3792828"/>
                  </a:cubicBezTo>
                  <a:close/>
                  <a:moveTo>
                    <a:pt x="829063" y="3789471"/>
                  </a:moveTo>
                  <a:cubicBezTo>
                    <a:pt x="845846" y="3789471"/>
                    <a:pt x="859272" y="3802897"/>
                    <a:pt x="859272" y="3819680"/>
                  </a:cubicBezTo>
                  <a:cubicBezTo>
                    <a:pt x="859272" y="3836463"/>
                    <a:pt x="845846" y="3849889"/>
                    <a:pt x="829063" y="3849889"/>
                  </a:cubicBezTo>
                  <a:cubicBezTo>
                    <a:pt x="812281" y="3849889"/>
                    <a:pt x="798855" y="3836463"/>
                    <a:pt x="798855" y="3819680"/>
                  </a:cubicBezTo>
                  <a:cubicBezTo>
                    <a:pt x="798855" y="3802897"/>
                    <a:pt x="812281" y="3789471"/>
                    <a:pt x="829063" y="3789471"/>
                  </a:cubicBezTo>
                  <a:close/>
                  <a:moveTo>
                    <a:pt x="1822596" y="3776045"/>
                  </a:moveTo>
                  <a:cubicBezTo>
                    <a:pt x="1832666" y="3776045"/>
                    <a:pt x="1839379" y="3782758"/>
                    <a:pt x="1839379" y="3792828"/>
                  </a:cubicBezTo>
                  <a:cubicBezTo>
                    <a:pt x="1839379" y="3802897"/>
                    <a:pt x="1832666" y="3809610"/>
                    <a:pt x="1822596" y="3809610"/>
                  </a:cubicBezTo>
                  <a:cubicBezTo>
                    <a:pt x="1812526" y="3809610"/>
                    <a:pt x="1805813" y="3802897"/>
                    <a:pt x="1805813" y="3792828"/>
                  </a:cubicBezTo>
                  <a:cubicBezTo>
                    <a:pt x="1805813" y="3782758"/>
                    <a:pt x="1812526" y="3776045"/>
                    <a:pt x="1822596" y="3776045"/>
                  </a:cubicBezTo>
                  <a:close/>
                  <a:moveTo>
                    <a:pt x="1319117" y="3769333"/>
                  </a:moveTo>
                  <a:cubicBezTo>
                    <a:pt x="1339256" y="3769333"/>
                    <a:pt x="1359395" y="3786116"/>
                    <a:pt x="1359395" y="3809611"/>
                  </a:cubicBezTo>
                  <a:cubicBezTo>
                    <a:pt x="1359395" y="3829751"/>
                    <a:pt x="1342612" y="3849890"/>
                    <a:pt x="1319117" y="3849890"/>
                  </a:cubicBezTo>
                  <a:cubicBezTo>
                    <a:pt x="1295621" y="3849890"/>
                    <a:pt x="1278838" y="3833107"/>
                    <a:pt x="1278838" y="3809611"/>
                  </a:cubicBezTo>
                  <a:cubicBezTo>
                    <a:pt x="1278838" y="3789472"/>
                    <a:pt x="1298977" y="3769333"/>
                    <a:pt x="1319117" y="3769333"/>
                  </a:cubicBezTo>
                  <a:close/>
                  <a:moveTo>
                    <a:pt x="2339502" y="3755906"/>
                  </a:moveTo>
                  <a:cubicBezTo>
                    <a:pt x="2346215" y="3755906"/>
                    <a:pt x="2349571" y="3762619"/>
                    <a:pt x="2349571" y="3765975"/>
                  </a:cubicBezTo>
                  <a:cubicBezTo>
                    <a:pt x="2349571" y="3772688"/>
                    <a:pt x="2346215" y="3776045"/>
                    <a:pt x="2339502" y="3776045"/>
                  </a:cubicBezTo>
                  <a:cubicBezTo>
                    <a:pt x="2332788" y="3776045"/>
                    <a:pt x="2329432" y="3772688"/>
                    <a:pt x="2329432" y="3765975"/>
                  </a:cubicBezTo>
                  <a:cubicBezTo>
                    <a:pt x="2329432" y="3759262"/>
                    <a:pt x="2336145" y="3755906"/>
                    <a:pt x="2339502" y="3755906"/>
                  </a:cubicBezTo>
                  <a:close/>
                  <a:moveTo>
                    <a:pt x="70487" y="3732410"/>
                  </a:moveTo>
                  <a:cubicBezTo>
                    <a:pt x="70487" y="3732410"/>
                    <a:pt x="73844" y="3732410"/>
                    <a:pt x="73844" y="3735767"/>
                  </a:cubicBezTo>
                  <a:cubicBezTo>
                    <a:pt x="73844" y="3735767"/>
                    <a:pt x="73844" y="3739123"/>
                    <a:pt x="70487" y="3739123"/>
                  </a:cubicBezTo>
                  <a:cubicBezTo>
                    <a:pt x="67131" y="3739123"/>
                    <a:pt x="67131" y="3739123"/>
                    <a:pt x="67131" y="3735767"/>
                  </a:cubicBezTo>
                  <a:cubicBezTo>
                    <a:pt x="67131" y="3735767"/>
                    <a:pt x="70487" y="3732410"/>
                    <a:pt x="70487" y="3732410"/>
                  </a:cubicBezTo>
                  <a:close/>
                  <a:moveTo>
                    <a:pt x="2876546" y="3718985"/>
                  </a:moveTo>
                  <a:cubicBezTo>
                    <a:pt x="2879903" y="3718985"/>
                    <a:pt x="2883260" y="3722341"/>
                    <a:pt x="2883260" y="3725698"/>
                  </a:cubicBezTo>
                  <a:cubicBezTo>
                    <a:pt x="2883260" y="3729055"/>
                    <a:pt x="2879903" y="3732411"/>
                    <a:pt x="2876546" y="3732411"/>
                  </a:cubicBezTo>
                  <a:cubicBezTo>
                    <a:pt x="2876546" y="3732411"/>
                    <a:pt x="2869833" y="3729055"/>
                    <a:pt x="2869833" y="3725698"/>
                  </a:cubicBezTo>
                  <a:cubicBezTo>
                    <a:pt x="2869833" y="3722341"/>
                    <a:pt x="2873190" y="3718985"/>
                    <a:pt x="2876546" y="3718985"/>
                  </a:cubicBezTo>
                  <a:close/>
                  <a:moveTo>
                    <a:pt x="550471" y="3698845"/>
                  </a:moveTo>
                  <a:cubicBezTo>
                    <a:pt x="567254" y="3698845"/>
                    <a:pt x="580680" y="3712271"/>
                    <a:pt x="580680" y="3729053"/>
                  </a:cubicBezTo>
                  <a:cubicBezTo>
                    <a:pt x="580680" y="3745836"/>
                    <a:pt x="567254" y="3759262"/>
                    <a:pt x="550471" y="3759262"/>
                  </a:cubicBezTo>
                  <a:cubicBezTo>
                    <a:pt x="533688" y="3759262"/>
                    <a:pt x="520262" y="3745836"/>
                    <a:pt x="520262" y="3729053"/>
                  </a:cubicBezTo>
                  <a:cubicBezTo>
                    <a:pt x="520262" y="3712271"/>
                    <a:pt x="533688" y="3698845"/>
                    <a:pt x="550471" y="3698845"/>
                  </a:cubicBezTo>
                  <a:close/>
                  <a:moveTo>
                    <a:pt x="1033811" y="3685420"/>
                  </a:moveTo>
                  <a:cubicBezTo>
                    <a:pt x="1053950" y="3685420"/>
                    <a:pt x="1070733" y="3702202"/>
                    <a:pt x="1070733" y="3722341"/>
                  </a:cubicBezTo>
                  <a:cubicBezTo>
                    <a:pt x="1070733" y="3742481"/>
                    <a:pt x="1053950" y="3759263"/>
                    <a:pt x="1033811" y="3759263"/>
                  </a:cubicBezTo>
                  <a:cubicBezTo>
                    <a:pt x="1010315" y="3759263"/>
                    <a:pt x="996889" y="3742481"/>
                    <a:pt x="996889" y="3722341"/>
                  </a:cubicBezTo>
                  <a:cubicBezTo>
                    <a:pt x="996889" y="3702202"/>
                    <a:pt x="1013672" y="3685420"/>
                    <a:pt x="1033811" y="3685420"/>
                  </a:cubicBezTo>
                  <a:close/>
                  <a:moveTo>
                    <a:pt x="2027345" y="3678707"/>
                  </a:moveTo>
                  <a:cubicBezTo>
                    <a:pt x="2037414" y="3678707"/>
                    <a:pt x="2044128" y="3685420"/>
                    <a:pt x="2044128" y="3695489"/>
                  </a:cubicBezTo>
                  <a:cubicBezTo>
                    <a:pt x="2044128" y="3705559"/>
                    <a:pt x="2037414" y="3712272"/>
                    <a:pt x="2027345" y="3712272"/>
                  </a:cubicBezTo>
                  <a:cubicBezTo>
                    <a:pt x="2017275" y="3712272"/>
                    <a:pt x="2010562" y="3702202"/>
                    <a:pt x="2010562" y="3695489"/>
                  </a:cubicBezTo>
                  <a:cubicBezTo>
                    <a:pt x="2010562" y="3685420"/>
                    <a:pt x="2017275" y="3678707"/>
                    <a:pt x="2027345" y="3678707"/>
                  </a:cubicBezTo>
                  <a:close/>
                  <a:moveTo>
                    <a:pt x="1523864" y="3678707"/>
                  </a:moveTo>
                  <a:cubicBezTo>
                    <a:pt x="1540647" y="3678707"/>
                    <a:pt x="1554073" y="3692133"/>
                    <a:pt x="1554073" y="3708915"/>
                  </a:cubicBezTo>
                  <a:cubicBezTo>
                    <a:pt x="1554073" y="3725698"/>
                    <a:pt x="1540647" y="3739124"/>
                    <a:pt x="1523864" y="3739124"/>
                  </a:cubicBezTo>
                  <a:cubicBezTo>
                    <a:pt x="1507082" y="3739124"/>
                    <a:pt x="1493656" y="3725698"/>
                    <a:pt x="1493656" y="3708915"/>
                  </a:cubicBezTo>
                  <a:cubicBezTo>
                    <a:pt x="1493656" y="3692133"/>
                    <a:pt x="1507082" y="3678707"/>
                    <a:pt x="1523864" y="3678707"/>
                  </a:cubicBezTo>
                  <a:close/>
                  <a:moveTo>
                    <a:pt x="2544250" y="3661924"/>
                  </a:moveTo>
                  <a:cubicBezTo>
                    <a:pt x="2547607" y="3661924"/>
                    <a:pt x="2550963" y="3665281"/>
                    <a:pt x="2550963" y="3668637"/>
                  </a:cubicBezTo>
                  <a:cubicBezTo>
                    <a:pt x="2550963" y="3671994"/>
                    <a:pt x="2547607" y="3675350"/>
                    <a:pt x="2544250" y="3675350"/>
                  </a:cubicBezTo>
                  <a:cubicBezTo>
                    <a:pt x="2540894" y="3675350"/>
                    <a:pt x="2537537" y="3671994"/>
                    <a:pt x="2537537" y="3668637"/>
                  </a:cubicBezTo>
                  <a:cubicBezTo>
                    <a:pt x="2537537" y="3665281"/>
                    <a:pt x="2540894" y="3661924"/>
                    <a:pt x="2544250" y="3661924"/>
                  </a:cubicBezTo>
                  <a:close/>
                  <a:moveTo>
                    <a:pt x="755220" y="3601509"/>
                  </a:moveTo>
                  <a:cubicBezTo>
                    <a:pt x="771903" y="3601509"/>
                    <a:pt x="785428" y="3615035"/>
                    <a:pt x="785428" y="3631715"/>
                  </a:cubicBezTo>
                  <a:cubicBezTo>
                    <a:pt x="785428" y="3648399"/>
                    <a:pt x="771903" y="3661924"/>
                    <a:pt x="755220" y="3661924"/>
                  </a:cubicBezTo>
                  <a:cubicBezTo>
                    <a:pt x="738536" y="3661924"/>
                    <a:pt x="725011" y="3648399"/>
                    <a:pt x="725011" y="3631715"/>
                  </a:cubicBezTo>
                  <a:cubicBezTo>
                    <a:pt x="725011" y="3615035"/>
                    <a:pt x="738536" y="3601509"/>
                    <a:pt x="755220" y="3601509"/>
                  </a:cubicBezTo>
                  <a:close/>
                  <a:moveTo>
                    <a:pt x="275236" y="3601509"/>
                  </a:moveTo>
                  <a:cubicBezTo>
                    <a:pt x="295375" y="3601509"/>
                    <a:pt x="312158" y="3618291"/>
                    <a:pt x="312158" y="3638428"/>
                  </a:cubicBezTo>
                  <a:cubicBezTo>
                    <a:pt x="312158" y="3658568"/>
                    <a:pt x="295375" y="3675350"/>
                    <a:pt x="275236" y="3675350"/>
                  </a:cubicBezTo>
                  <a:cubicBezTo>
                    <a:pt x="255097" y="3675350"/>
                    <a:pt x="238314" y="3658568"/>
                    <a:pt x="238314" y="3638428"/>
                  </a:cubicBezTo>
                  <a:cubicBezTo>
                    <a:pt x="238314" y="3618291"/>
                    <a:pt x="255097" y="3601509"/>
                    <a:pt x="275236" y="3601509"/>
                  </a:cubicBezTo>
                  <a:close/>
                  <a:moveTo>
                    <a:pt x="2228736" y="3591438"/>
                  </a:moveTo>
                  <a:cubicBezTo>
                    <a:pt x="2232092" y="3591438"/>
                    <a:pt x="2235449" y="3594798"/>
                    <a:pt x="2235449" y="3598153"/>
                  </a:cubicBezTo>
                  <a:cubicBezTo>
                    <a:pt x="2235449" y="3601509"/>
                    <a:pt x="2232092" y="3604864"/>
                    <a:pt x="2228736" y="3604864"/>
                  </a:cubicBezTo>
                  <a:cubicBezTo>
                    <a:pt x="2225379" y="3604864"/>
                    <a:pt x="2222023" y="3601509"/>
                    <a:pt x="2222023" y="3598153"/>
                  </a:cubicBezTo>
                  <a:cubicBezTo>
                    <a:pt x="2222023" y="3594798"/>
                    <a:pt x="2225379" y="3591438"/>
                    <a:pt x="2228736" y="3591438"/>
                  </a:cubicBezTo>
                  <a:close/>
                  <a:moveTo>
                    <a:pt x="1728613" y="3591438"/>
                  </a:moveTo>
                  <a:cubicBezTo>
                    <a:pt x="1742039" y="3591438"/>
                    <a:pt x="1748752" y="3601509"/>
                    <a:pt x="1748752" y="3611580"/>
                  </a:cubicBezTo>
                  <a:cubicBezTo>
                    <a:pt x="1748752" y="3621646"/>
                    <a:pt x="1738683" y="3631715"/>
                    <a:pt x="1728613" y="3631715"/>
                  </a:cubicBezTo>
                  <a:cubicBezTo>
                    <a:pt x="1718543" y="3631715"/>
                    <a:pt x="1708474" y="3621646"/>
                    <a:pt x="1708474" y="3611580"/>
                  </a:cubicBezTo>
                  <a:cubicBezTo>
                    <a:pt x="1708474" y="3601509"/>
                    <a:pt x="1718543" y="3591438"/>
                    <a:pt x="1728613" y="3591438"/>
                  </a:cubicBezTo>
                  <a:close/>
                  <a:moveTo>
                    <a:pt x="1235203" y="3584726"/>
                  </a:moveTo>
                  <a:cubicBezTo>
                    <a:pt x="1255342" y="3584726"/>
                    <a:pt x="1275482" y="3601509"/>
                    <a:pt x="1275482" y="3625002"/>
                  </a:cubicBezTo>
                  <a:cubicBezTo>
                    <a:pt x="1275482" y="3645141"/>
                    <a:pt x="1258699" y="3665281"/>
                    <a:pt x="1235203" y="3665281"/>
                  </a:cubicBezTo>
                  <a:cubicBezTo>
                    <a:pt x="1215064" y="3665281"/>
                    <a:pt x="1194925" y="3645141"/>
                    <a:pt x="1194925" y="3625002"/>
                  </a:cubicBezTo>
                  <a:cubicBezTo>
                    <a:pt x="1194925" y="3604864"/>
                    <a:pt x="1211708" y="3584726"/>
                    <a:pt x="1235203" y="3584726"/>
                  </a:cubicBezTo>
                  <a:close/>
                  <a:moveTo>
                    <a:pt x="2749837" y="3567103"/>
                  </a:moveTo>
                  <a:cubicBezTo>
                    <a:pt x="2749837" y="3566263"/>
                    <a:pt x="2750677" y="3566263"/>
                    <a:pt x="2752354" y="3567943"/>
                  </a:cubicBezTo>
                  <a:lnTo>
                    <a:pt x="2752354" y="3570041"/>
                  </a:lnTo>
                  <a:lnTo>
                    <a:pt x="2752354" y="3571299"/>
                  </a:lnTo>
                  <a:cubicBezTo>
                    <a:pt x="2750677" y="3569619"/>
                    <a:pt x="2749837" y="3567943"/>
                    <a:pt x="2749837" y="3567103"/>
                  </a:cubicBezTo>
                  <a:close/>
                  <a:moveTo>
                    <a:pt x="10070" y="3531021"/>
                  </a:moveTo>
                  <a:cubicBezTo>
                    <a:pt x="16783" y="3531021"/>
                    <a:pt x="20139" y="3534378"/>
                    <a:pt x="20139" y="3541090"/>
                  </a:cubicBezTo>
                  <a:cubicBezTo>
                    <a:pt x="20139" y="3547802"/>
                    <a:pt x="16783" y="3551160"/>
                    <a:pt x="10070" y="3551160"/>
                  </a:cubicBezTo>
                  <a:cubicBezTo>
                    <a:pt x="6713" y="3551160"/>
                    <a:pt x="0" y="3547802"/>
                    <a:pt x="0" y="3541090"/>
                  </a:cubicBezTo>
                  <a:cubicBezTo>
                    <a:pt x="0" y="3534378"/>
                    <a:pt x="3357" y="3531021"/>
                    <a:pt x="10070" y="3531021"/>
                  </a:cubicBezTo>
                  <a:close/>
                  <a:moveTo>
                    <a:pt x="483340" y="3510884"/>
                  </a:moveTo>
                  <a:cubicBezTo>
                    <a:pt x="496766" y="3510884"/>
                    <a:pt x="510192" y="3524310"/>
                    <a:pt x="510192" y="3537734"/>
                  </a:cubicBezTo>
                  <a:cubicBezTo>
                    <a:pt x="510192" y="3551160"/>
                    <a:pt x="496766" y="3564584"/>
                    <a:pt x="483340" y="3564584"/>
                  </a:cubicBezTo>
                  <a:cubicBezTo>
                    <a:pt x="469914" y="3564584"/>
                    <a:pt x="456488" y="3551160"/>
                    <a:pt x="456488" y="3537734"/>
                  </a:cubicBezTo>
                  <a:cubicBezTo>
                    <a:pt x="456488" y="3524310"/>
                    <a:pt x="469914" y="3510884"/>
                    <a:pt x="483340" y="3510884"/>
                  </a:cubicBezTo>
                  <a:close/>
                  <a:moveTo>
                    <a:pt x="1930005" y="3504169"/>
                  </a:moveTo>
                  <a:cubicBezTo>
                    <a:pt x="1933362" y="3504169"/>
                    <a:pt x="1940075" y="3507528"/>
                    <a:pt x="1940075" y="3514242"/>
                  </a:cubicBezTo>
                  <a:cubicBezTo>
                    <a:pt x="1940075" y="3517598"/>
                    <a:pt x="1936718" y="3524310"/>
                    <a:pt x="1930005" y="3524310"/>
                  </a:cubicBezTo>
                  <a:cubicBezTo>
                    <a:pt x="1926649" y="3524310"/>
                    <a:pt x="1919936" y="3520955"/>
                    <a:pt x="1919936" y="3514242"/>
                  </a:cubicBezTo>
                  <a:cubicBezTo>
                    <a:pt x="1919936" y="3510884"/>
                    <a:pt x="1923292" y="3504169"/>
                    <a:pt x="1930005" y="3504169"/>
                  </a:cubicBezTo>
                  <a:close/>
                  <a:moveTo>
                    <a:pt x="1439952" y="3504169"/>
                  </a:moveTo>
                  <a:cubicBezTo>
                    <a:pt x="1453378" y="3504169"/>
                    <a:pt x="1463448" y="3514242"/>
                    <a:pt x="1463448" y="3527666"/>
                  </a:cubicBezTo>
                  <a:cubicBezTo>
                    <a:pt x="1463448" y="3541090"/>
                    <a:pt x="1453378" y="3551160"/>
                    <a:pt x="1439952" y="3551160"/>
                  </a:cubicBezTo>
                  <a:cubicBezTo>
                    <a:pt x="1426526" y="3551160"/>
                    <a:pt x="1416456" y="3537734"/>
                    <a:pt x="1416456" y="3527666"/>
                  </a:cubicBezTo>
                  <a:cubicBezTo>
                    <a:pt x="1416456" y="3514242"/>
                    <a:pt x="1426526" y="3504169"/>
                    <a:pt x="1439952" y="3504169"/>
                  </a:cubicBezTo>
                  <a:close/>
                  <a:moveTo>
                    <a:pt x="959967" y="3500813"/>
                  </a:moveTo>
                  <a:cubicBezTo>
                    <a:pt x="976750" y="3500813"/>
                    <a:pt x="990176" y="3514242"/>
                    <a:pt x="990176" y="3531021"/>
                  </a:cubicBezTo>
                  <a:cubicBezTo>
                    <a:pt x="990176" y="3547802"/>
                    <a:pt x="976750" y="3561228"/>
                    <a:pt x="959967" y="3561228"/>
                  </a:cubicBezTo>
                  <a:cubicBezTo>
                    <a:pt x="943185" y="3561228"/>
                    <a:pt x="929758" y="3547802"/>
                    <a:pt x="929758" y="3531021"/>
                  </a:cubicBezTo>
                  <a:cubicBezTo>
                    <a:pt x="929758" y="3514242"/>
                    <a:pt x="943185" y="3500813"/>
                    <a:pt x="959967" y="3500813"/>
                  </a:cubicBezTo>
                  <a:close/>
                  <a:moveTo>
                    <a:pt x="2433484" y="3487389"/>
                  </a:moveTo>
                  <a:cubicBezTo>
                    <a:pt x="2440198" y="3487389"/>
                    <a:pt x="2443554" y="3490747"/>
                    <a:pt x="2443554" y="3497458"/>
                  </a:cubicBezTo>
                  <a:cubicBezTo>
                    <a:pt x="2443554" y="3504169"/>
                    <a:pt x="2436841" y="3507528"/>
                    <a:pt x="2433484" y="3507528"/>
                  </a:cubicBezTo>
                  <a:cubicBezTo>
                    <a:pt x="2430128" y="3507528"/>
                    <a:pt x="2426772" y="3500813"/>
                    <a:pt x="2423415" y="3497458"/>
                  </a:cubicBezTo>
                  <a:cubicBezTo>
                    <a:pt x="2423415" y="3490747"/>
                    <a:pt x="2430128" y="3487389"/>
                    <a:pt x="2433484" y="3487389"/>
                  </a:cubicBezTo>
                  <a:close/>
                  <a:moveTo>
                    <a:pt x="218175" y="3430330"/>
                  </a:moveTo>
                  <a:cubicBezTo>
                    <a:pt x="224888" y="3430330"/>
                    <a:pt x="228244" y="3433688"/>
                    <a:pt x="228244" y="3440398"/>
                  </a:cubicBezTo>
                  <a:cubicBezTo>
                    <a:pt x="228244" y="3447112"/>
                    <a:pt x="224888" y="3450468"/>
                    <a:pt x="218175" y="3450468"/>
                  </a:cubicBezTo>
                  <a:cubicBezTo>
                    <a:pt x="211462" y="3450468"/>
                    <a:pt x="208105" y="3447112"/>
                    <a:pt x="208105" y="3440398"/>
                  </a:cubicBezTo>
                  <a:cubicBezTo>
                    <a:pt x="208105" y="3433688"/>
                    <a:pt x="211462" y="3430330"/>
                    <a:pt x="218175" y="3430330"/>
                  </a:cubicBezTo>
                  <a:close/>
                  <a:moveTo>
                    <a:pt x="2134753" y="3410193"/>
                  </a:moveTo>
                  <a:cubicBezTo>
                    <a:pt x="2138110" y="3410193"/>
                    <a:pt x="2141466" y="3413547"/>
                    <a:pt x="2141466" y="3416903"/>
                  </a:cubicBezTo>
                  <a:cubicBezTo>
                    <a:pt x="2141466" y="3420259"/>
                    <a:pt x="2138110" y="3423617"/>
                    <a:pt x="2134753" y="3423617"/>
                  </a:cubicBezTo>
                  <a:cubicBezTo>
                    <a:pt x="2131396" y="3423617"/>
                    <a:pt x="2128040" y="3420259"/>
                    <a:pt x="2128040" y="3416903"/>
                  </a:cubicBezTo>
                  <a:cubicBezTo>
                    <a:pt x="2128040" y="3413547"/>
                    <a:pt x="2131396" y="3410193"/>
                    <a:pt x="2134753" y="3410193"/>
                  </a:cubicBezTo>
                  <a:close/>
                  <a:moveTo>
                    <a:pt x="1644700" y="3406837"/>
                  </a:moveTo>
                  <a:cubicBezTo>
                    <a:pt x="1654769" y="3406837"/>
                    <a:pt x="1664839" y="3416903"/>
                    <a:pt x="1664839" y="3426974"/>
                  </a:cubicBezTo>
                  <a:cubicBezTo>
                    <a:pt x="1664839" y="3437045"/>
                    <a:pt x="1654769" y="3447112"/>
                    <a:pt x="1644700" y="3447112"/>
                  </a:cubicBezTo>
                  <a:cubicBezTo>
                    <a:pt x="1634630" y="3447112"/>
                    <a:pt x="1627917" y="3437045"/>
                    <a:pt x="1624560" y="3426974"/>
                  </a:cubicBezTo>
                  <a:cubicBezTo>
                    <a:pt x="1624560" y="3416903"/>
                    <a:pt x="1634630" y="3406837"/>
                    <a:pt x="1644700" y="3406837"/>
                  </a:cubicBezTo>
                  <a:close/>
                  <a:moveTo>
                    <a:pt x="688089" y="3406837"/>
                  </a:moveTo>
                  <a:cubicBezTo>
                    <a:pt x="704872" y="3406837"/>
                    <a:pt x="718298" y="3420259"/>
                    <a:pt x="718298" y="3437045"/>
                  </a:cubicBezTo>
                  <a:cubicBezTo>
                    <a:pt x="718298" y="3453825"/>
                    <a:pt x="704872" y="3467249"/>
                    <a:pt x="688089" y="3467249"/>
                  </a:cubicBezTo>
                  <a:cubicBezTo>
                    <a:pt x="671306" y="3467249"/>
                    <a:pt x="661237" y="3453825"/>
                    <a:pt x="657880" y="3437045"/>
                  </a:cubicBezTo>
                  <a:cubicBezTo>
                    <a:pt x="657880" y="3420259"/>
                    <a:pt x="671306" y="3406837"/>
                    <a:pt x="688089" y="3406837"/>
                  </a:cubicBezTo>
                  <a:close/>
                  <a:moveTo>
                    <a:pt x="1164716" y="3400123"/>
                  </a:moveTo>
                  <a:cubicBezTo>
                    <a:pt x="1184855" y="3400123"/>
                    <a:pt x="1198281" y="3416903"/>
                    <a:pt x="1198281" y="3433688"/>
                  </a:cubicBezTo>
                  <a:cubicBezTo>
                    <a:pt x="1198281" y="3453825"/>
                    <a:pt x="1181499" y="3467249"/>
                    <a:pt x="1164716" y="3467249"/>
                  </a:cubicBezTo>
                  <a:cubicBezTo>
                    <a:pt x="1144577" y="3467249"/>
                    <a:pt x="1131151" y="3453825"/>
                    <a:pt x="1131151" y="3433688"/>
                  </a:cubicBezTo>
                  <a:cubicBezTo>
                    <a:pt x="1131151" y="3413547"/>
                    <a:pt x="1147933" y="3400123"/>
                    <a:pt x="1164716" y="3400123"/>
                  </a:cubicBezTo>
                  <a:close/>
                  <a:moveTo>
                    <a:pt x="2638232" y="3390052"/>
                  </a:moveTo>
                  <a:cubicBezTo>
                    <a:pt x="2641589" y="3390052"/>
                    <a:pt x="2644945" y="3393409"/>
                    <a:pt x="2644945" y="3396767"/>
                  </a:cubicBezTo>
                  <a:cubicBezTo>
                    <a:pt x="2644945" y="3400123"/>
                    <a:pt x="2641589" y="3403479"/>
                    <a:pt x="2638232" y="3403479"/>
                  </a:cubicBezTo>
                  <a:cubicBezTo>
                    <a:pt x="2638232" y="3403479"/>
                    <a:pt x="2634876" y="3400123"/>
                    <a:pt x="2631519" y="3396767"/>
                  </a:cubicBezTo>
                  <a:cubicBezTo>
                    <a:pt x="2631519" y="3393409"/>
                    <a:pt x="2634876" y="3390052"/>
                    <a:pt x="2638232" y="3390052"/>
                  </a:cubicBezTo>
                  <a:close/>
                  <a:moveTo>
                    <a:pt x="1849448" y="3322926"/>
                  </a:moveTo>
                  <a:cubicBezTo>
                    <a:pt x="1852805" y="3322926"/>
                    <a:pt x="1856161" y="3326282"/>
                    <a:pt x="1856161" y="3329641"/>
                  </a:cubicBezTo>
                  <a:cubicBezTo>
                    <a:pt x="1856161" y="3332997"/>
                    <a:pt x="1852805" y="3336355"/>
                    <a:pt x="1849448" y="3336355"/>
                  </a:cubicBezTo>
                  <a:cubicBezTo>
                    <a:pt x="1846092" y="3336355"/>
                    <a:pt x="1842735" y="3332997"/>
                    <a:pt x="1842735" y="3329641"/>
                  </a:cubicBezTo>
                  <a:cubicBezTo>
                    <a:pt x="1842735" y="3326282"/>
                    <a:pt x="1846092" y="3322926"/>
                    <a:pt x="1849448" y="3322926"/>
                  </a:cubicBezTo>
                  <a:close/>
                  <a:moveTo>
                    <a:pt x="1369465" y="3316213"/>
                  </a:moveTo>
                  <a:cubicBezTo>
                    <a:pt x="1379534" y="3316213"/>
                    <a:pt x="1389604" y="3326282"/>
                    <a:pt x="1389604" y="3336355"/>
                  </a:cubicBezTo>
                  <a:cubicBezTo>
                    <a:pt x="1389604" y="3346420"/>
                    <a:pt x="1379534" y="3356491"/>
                    <a:pt x="1369465" y="3356491"/>
                  </a:cubicBezTo>
                  <a:cubicBezTo>
                    <a:pt x="1359395" y="3356491"/>
                    <a:pt x="1349326" y="3346420"/>
                    <a:pt x="1349326" y="3336355"/>
                  </a:cubicBezTo>
                  <a:cubicBezTo>
                    <a:pt x="1349326" y="3326282"/>
                    <a:pt x="1359395" y="3316213"/>
                    <a:pt x="1369465" y="3316213"/>
                  </a:cubicBezTo>
                  <a:close/>
                  <a:moveTo>
                    <a:pt x="896193" y="3316213"/>
                  </a:moveTo>
                  <a:cubicBezTo>
                    <a:pt x="909619" y="3316213"/>
                    <a:pt x="919689" y="3326282"/>
                    <a:pt x="919689" y="3339707"/>
                  </a:cubicBezTo>
                  <a:cubicBezTo>
                    <a:pt x="919689" y="3353134"/>
                    <a:pt x="909619" y="3363206"/>
                    <a:pt x="896193" y="3363206"/>
                  </a:cubicBezTo>
                  <a:cubicBezTo>
                    <a:pt x="882767" y="3363206"/>
                    <a:pt x="872697" y="3353134"/>
                    <a:pt x="872697" y="3339707"/>
                  </a:cubicBezTo>
                  <a:cubicBezTo>
                    <a:pt x="872697" y="3326282"/>
                    <a:pt x="882767" y="3316213"/>
                    <a:pt x="896193" y="3316213"/>
                  </a:cubicBezTo>
                  <a:close/>
                  <a:moveTo>
                    <a:pt x="2339502" y="3312859"/>
                  </a:moveTo>
                  <a:cubicBezTo>
                    <a:pt x="2342858" y="3312859"/>
                    <a:pt x="2346215" y="3316213"/>
                    <a:pt x="2346215" y="3319570"/>
                  </a:cubicBezTo>
                  <a:cubicBezTo>
                    <a:pt x="2346215" y="3322926"/>
                    <a:pt x="2342858" y="3326282"/>
                    <a:pt x="2339502" y="3326282"/>
                  </a:cubicBezTo>
                  <a:cubicBezTo>
                    <a:pt x="2336145" y="3326282"/>
                    <a:pt x="2332788" y="3322926"/>
                    <a:pt x="2332788" y="3319570"/>
                  </a:cubicBezTo>
                  <a:cubicBezTo>
                    <a:pt x="2332788" y="3316213"/>
                    <a:pt x="2336145" y="3312859"/>
                    <a:pt x="2339502" y="3312859"/>
                  </a:cubicBezTo>
                  <a:close/>
                  <a:moveTo>
                    <a:pt x="426279" y="3309498"/>
                  </a:moveTo>
                  <a:cubicBezTo>
                    <a:pt x="443062" y="3309498"/>
                    <a:pt x="456488" y="3322926"/>
                    <a:pt x="456488" y="3339707"/>
                  </a:cubicBezTo>
                  <a:cubicBezTo>
                    <a:pt x="456488" y="3356491"/>
                    <a:pt x="443062" y="3369914"/>
                    <a:pt x="426279" y="3369914"/>
                  </a:cubicBezTo>
                  <a:cubicBezTo>
                    <a:pt x="409496" y="3369914"/>
                    <a:pt x="396070" y="3359849"/>
                    <a:pt x="396070" y="3339707"/>
                  </a:cubicBezTo>
                  <a:cubicBezTo>
                    <a:pt x="396070" y="3322926"/>
                    <a:pt x="409496" y="3309498"/>
                    <a:pt x="426279" y="3309498"/>
                  </a:cubicBezTo>
                  <a:close/>
                  <a:moveTo>
                    <a:pt x="167827" y="3232301"/>
                  </a:moveTo>
                  <a:cubicBezTo>
                    <a:pt x="175242" y="3232301"/>
                    <a:pt x="181253" y="3238311"/>
                    <a:pt x="181253" y="3245730"/>
                  </a:cubicBezTo>
                  <a:cubicBezTo>
                    <a:pt x="181253" y="3253143"/>
                    <a:pt x="175242" y="3259154"/>
                    <a:pt x="167827" y="3259154"/>
                  </a:cubicBezTo>
                  <a:cubicBezTo>
                    <a:pt x="160412" y="3259154"/>
                    <a:pt x="154401" y="3253143"/>
                    <a:pt x="154401" y="3245730"/>
                  </a:cubicBezTo>
                  <a:cubicBezTo>
                    <a:pt x="154401" y="3238311"/>
                    <a:pt x="160412" y="3232301"/>
                    <a:pt x="167827" y="3232301"/>
                  </a:cubicBezTo>
                  <a:close/>
                  <a:moveTo>
                    <a:pt x="2054196" y="3222236"/>
                  </a:moveTo>
                  <a:cubicBezTo>
                    <a:pt x="2057552" y="3222236"/>
                    <a:pt x="2060909" y="3225591"/>
                    <a:pt x="2060909" y="3228948"/>
                  </a:cubicBezTo>
                  <a:cubicBezTo>
                    <a:pt x="2060909" y="3232306"/>
                    <a:pt x="2057552" y="3235663"/>
                    <a:pt x="2054196" y="3235663"/>
                  </a:cubicBezTo>
                  <a:cubicBezTo>
                    <a:pt x="2050840" y="3235663"/>
                    <a:pt x="2047483" y="3232306"/>
                    <a:pt x="2047483" y="3228948"/>
                  </a:cubicBezTo>
                  <a:cubicBezTo>
                    <a:pt x="2047483" y="3225591"/>
                    <a:pt x="2050840" y="3222236"/>
                    <a:pt x="2054196" y="3222236"/>
                  </a:cubicBezTo>
                  <a:close/>
                  <a:moveTo>
                    <a:pt x="1574212" y="3215524"/>
                  </a:moveTo>
                  <a:cubicBezTo>
                    <a:pt x="1584282" y="3215524"/>
                    <a:pt x="1594352" y="3225591"/>
                    <a:pt x="1594352" y="3235663"/>
                  </a:cubicBezTo>
                  <a:cubicBezTo>
                    <a:pt x="1594352" y="3245731"/>
                    <a:pt x="1584282" y="3255801"/>
                    <a:pt x="1574212" y="3255801"/>
                  </a:cubicBezTo>
                  <a:cubicBezTo>
                    <a:pt x="1564143" y="3255801"/>
                    <a:pt x="1554073" y="3245731"/>
                    <a:pt x="1554073" y="3235663"/>
                  </a:cubicBezTo>
                  <a:cubicBezTo>
                    <a:pt x="1554073" y="3225591"/>
                    <a:pt x="1564143" y="3215524"/>
                    <a:pt x="1574212" y="3215524"/>
                  </a:cubicBezTo>
                  <a:close/>
                  <a:moveTo>
                    <a:pt x="634384" y="3215524"/>
                  </a:moveTo>
                  <a:cubicBezTo>
                    <a:pt x="647810" y="3215524"/>
                    <a:pt x="661237" y="3228948"/>
                    <a:pt x="661237" y="3242373"/>
                  </a:cubicBezTo>
                  <a:cubicBezTo>
                    <a:pt x="661237" y="3255801"/>
                    <a:pt x="647810" y="3269225"/>
                    <a:pt x="634384" y="3269225"/>
                  </a:cubicBezTo>
                  <a:cubicBezTo>
                    <a:pt x="620958" y="3269225"/>
                    <a:pt x="607532" y="3259158"/>
                    <a:pt x="607532" y="3242373"/>
                  </a:cubicBezTo>
                  <a:cubicBezTo>
                    <a:pt x="607532" y="3228948"/>
                    <a:pt x="620958" y="3215524"/>
                    <a:pt x="634384" y="3215524"/>
                  </a:cubicBezTo>
                  <a:close/>
                  <a:moveTo>
                    <a:pt x="1100942" y="3202095"/>
                  </a:moveTo>
                  <a:cubicBezTo>
                    <a:pt x="1121081" y="3202095"/>
                    <a:pt x="1137864" y="3218877"/>
                    <a:pt x="1137864" y="3239020"/>
                  </a:cubicBezTo>
                  <a:cubicBezTo>
                    <a:pt x="1137864" y="3259158"/>
                    <a:pt x="1121081" y="3275937"/>
                    <a:pt x="1100942" y="3275937"/>
                  </a:cubicBezTo>
                  <a:cubicBezTo>
                    <a:pt x="1080803" y="3275937"/>
                    <a:pt x="1067376" y="3259158"/>
                    <a:pt x="1064020" y="3239020"/>
                  </a:cubicBezTo>
                  <a:cubicBezTo>
                    <a:pt x="1064020" y="3218877"/>
                    <a:pt x="1080803" y="3202095"/>
                    <a:pt x="1100942" y="3202095"/>
                  </a:cubicBezTo>
                  <a:close/>
                  <a:moveTo>
                    <a:pt x="2258945" y="3124895"/>
                  </a:moveTo>
                  <a:cubicBezTo>
                    <a:pt x="2262301" y="3124895"/>
                    <a:pt x="2265658" y="3128252"/>
                    <a:pt x="2265658" y="3131608"/>
                  </a:cubicBezTo>
                  <a:cubicBezTo>
                    <a:pt x="2265658" y="3134964"/>
                    <a:pt x="2262301" y="3138322"/>
                    <a:pt x="2258945" y="3138322"/>
                  </a:cubicBezTo>
                  <a:cubicBezTo>
                    <a:pt x="2255588" y="3138322"/>
                    <a:pt x="2252232" y="3134964"/>
                    <a:pt x="2252232" y="3131608"/>
                  </a:cubicBezTo>
                  <a:cubicBezTo>
                    <a:pt x="2252232" y="3128252"/>
                    <a:pt x="2255588" y="3124895"/>
                    <a:pt x="2258945" y="3124895"/>
                  </a:cubicBezTo>
                  <a:close/>
                  <a:moveTo>
                    <a:pt x="1782318" y="3124895"/>
                  </a:moveTo>
                  <a:cubicBezTo>
                    <a:pt x="1789031" y="3124895"/>
                    <a:pt x="1792387" y="3131608"/>
                    <a:pt x="1792387" y="3134964"/>
                  </a:cubicBezTo>
                  <a:cubicBezTo>
                    <a:pt x="1792387" y="3141678"/>
                    <a:pt x="1785674" y="3145033"/>
                    <a:pt x="1782318" y="3145033"/>
                  </a:cubicBezTo>
                  <a:cubicBezTo>
                    <a:pt x="1775604" y="3145033"/>
                    <a:pt x="1772248" y="3141678"/>
                    <a:pt x="1772248" y="3134964"/>
                  </a:cubicBezTo>
                  <a:cubicBezTo>
                    <a:pt x="1772248" y="3128252"/>
                    <a:pt x="1778961" y="3124895"/>
                    <a:pt x="1782318" y="3124895"/>
                  </a:cubicBezTo>
                  <a:close/>
                  <a:moveTo>
                    <a:pt x="842490" y="3121541"/>
                  </a:moveTo>
                  <a:cubicBezTo>
                    <a:pt x="855916" y="3121541"/>
                    <a:pt x="862629" y="3131608"/>
                    <a:pt x="862629" y="3141679"/>
                  </a:cubicBezTo>
                  <a:cubicBezTo>
                    <a:pt x="862629" y="3151749"/>
                    <a:pt x="852559" y="3161818"/>
                    <a:pt x="842490" y="3161818"/>
                  </a:cubicBezTo>
                  <a:cubicBezTo>
                    <a:pt x="832420" y="3161818"/>
                    <a:pt x="822350" y="3155106"/>
                    <a:pt x="822350" y="3141679"/>
                  </a:cubicBezTo>
                  <a:cubicBezTo>
                    <a:pt x="822350" y="3131608"/>
                    <a:pt x="832420" y="3121541"/>
                    <a:pt x="842490" y="3121541"/>
                  </a:cubicBezTo>
                  <a:close/>
                  <a:moveTo>
                    <a:pt x="1309047" y="3118183"/>
                  </a:moveTo>
                  <a:cubicBezTo>
                    <a:pt x="1322473" y="3118183"/>
                    <a:pt x="1332543" y="3128252"/>
                    <a:pt x="1332543" y="3141679"/>
                  </a:cubicBezTo>
                  <a:cubicBezTo>
                    <a:pt x="1332543" y="3155106"/>
                    <a:pt x="1322473" y="3165175"/>
                    <a:pt x="1309047" y="3165175"/>
                  </a:cubicBezTo>
                  <a:cubicBezTo>
                    <a:pt x="1295621" y="3165175"/>
                    <a:pt x="1285551" y="3155106"/>
                    <a:pt x="1285551" y="3141679"/>
                  </a:cubicBezTo>
                  <a:cubicBezTo>
                    <a:pt x="1285551" y="3128252"/>
                    <a:pt x="1295621" y="3118183"/>
                    <a:pt x="1309047" y="3118183"/>
                  </a:cubicBezTo>
                  <a:close/>
                  <a:moveTo>
                    <a:pt x="379288" y="3118181"/>
                  </a:moveTo>
                  <a:cubicBezTo>
                    <a:pt x="392714" y="3118181"/>
                    <a:pt x="406140" y="3131608"/>
                    <a:pt x="406140" y="3145033"/>
                  </a:cubicBezTo>
                  <a:cubicBezTo>
                    <a:pt x="406140" y="3158461"/>
                    <a:pt x="392714" y="3171888"/>
                    <a:pt x="379288" y="3171888"/>
                  </a:cubicBezTo>
                  <a:cubicBezTo>
                    <a:pt x="362505" y="3171888"/>
                    <a:pt x="352435" y="3158461"/>
                    <a:pt x="352435" y="3145033"/>
                  </a:cubicBezTo>
                  <a:cubicBezTo>
                    <a:pt x="352435" y="3131608"/>
                    <a:pt x="365861" y="3118181"/>
                    <a:pt x="379288" y="3118181"/>
                  </a:cubicBezTo>
                  <a:close/>
                  <a:moveTo>
                    <a:pt x="127548" y="3034265"/>
                  </a:moveTo>
                  <a:cubicBezTo>
                    <a:pt x="134261" y="3034265"/>
                    <a:pt x="137618" y="3040978"/>
                    <a:pt x="137618" y="3044336"/>
                  </a:cubicBezTo>
                  <a:cubicBezTo>
                    <a:pt x="137618" y="3051051"/>
                    <a:pt x="130905" y="3054407"/>
                    <a:pt x="127548" y="3054407"/>
                  </a:cubicBezTo>
                  <a:cubicBezTo>
                    <a:pt x="124192" y="3054407"/>
                    <a:pt x="117479" y="3051051"/>
                    <a:pt x="117479" y="3044336"/>
                  </a:cubicBezTo>
                  <a:cubicBezTo>
                    <a:pt x="117479" y="3037623"/>
                    <a:pt x="124192" y="3034265"/>
                    <a:pt x="127548" y="3034265"/>
                  </a:cubicBezTo>
                  <a:close/>
                  <a:moveTo>
                    <a:pt x="2463694" y="3030915"/>
                  </a:moveTo>
                  <a:cubicBezTo>
                    <a:pt x="2463694" y="3030915"/>
                    <a:pt x="2467050" y="3030915"/>
                    <a:pt x="2467050" y="3034273"/>
                  </a:cubicBezTo>
                  <a:cubicBezTo>
                    <a:pt x="2467050" y="3034273"/>
                    <a:pt x="2467050" y="3037628"/>
                    <a:pt x="2463694" y="3037628"/>
                  </a:cubicBezTo>
                  <a:cubicBezTo>
                    <a:pt x="2460337" y="3037628"/>
                    <a:pt x="2460337" y="3034273"/>
                    <a:pt x="2460337" y="3034273"/>
                  </a:cubicBezTo>
                  <a:cubicBezTo>
                    <a:pt x="2460337" y="3034273"/>
                    <a:pt x="2460337" y="3030915"/>
                    <a:pt x="2463694" y="3030915"/>
                  </a:cubicBezTo>
                  <a:close/>
                  <a:moveTo>
                    <a:pt x="1987066" y="3030915"/>
                  </a:moveTo>
                  <a:cubicBezTo>
                    <a:pt x="1990423" y="3030915"/>
                    <a:pt x="1993779" y="3034273"/>
                    <a:pt x="1993779" y="3037628"/>
                  </a:cubicBezTo>
                  <a:cubicBezTo>
                    <a:pt x="1993779" y="3040986"/>
                    <a:pt x="1990423" y="3044345"/>
                    <a:pt x="1987066" y="3044345"/>
                  </a:cubicBezTo>
                  <a:cubicBezTo>
                    <a:pt x="1983710" y="3044345"/>
                    <a:pt x="1980353" y="3040986"/>
                    <a:pt x="1980353" y="3037628"/>
                  </a:cubicBezTo>
                  <a:cubicBezTo>
                    <a:pt x="1980353" y="3034273"/>
                    <a:pt x="1983710" y="3030915"/>
                    <a:pt x="1987066" y="3030915"/>
                  </a:cubicBezTo>
                  <a:close/>
                  <a:moveTo>
                    <a:pt x="1517151" y="3027560"/>
                  </a:moveTo>
                  <a:cubicBezTo>
                    <a:pt x="1523864" y="3027560"/>
                    <a:pt x="1530577" y="3034273"/>
                    <a:pt x="1530577" y="3040986"/>
                  </a:cubicBezTo>
                  <a:cubicBezTo>
                    <a:pt x="1530577" y="3047699"/>
                    <a:pt x="1523864" y="3054413"/>
                    <a:pt x="1517151" y="3054413"/>
                  </a:cubicBezTo>
                  <a:cubicBezTo>
                    <a:pt x="1510438" y="3054413"/>
                    <a:pt x="1503725" y="3051057"/>
                    <a:pt x="1503725" y="3040986"/>
                  </a:cubicBezTo>
                  <a:cubicBezTo>
                    <a:pt x="1503725" y="3034273"/>
                    <a:pt x="1510438" y="3027560"/>
                    <a:pt x="1517151" y="3027560"/>
                  </a:cubicBezTo>
                  <a:close/>
                  <a:moveTo>
                    <a:pt x="587393" y="3020845"/>
                  </a:moveTo>
                  <a:cubicBezTo>
                    <a:pt x="600819" y="3020845"/>
                    <a:pt x="610889" y="3030915"/>
                    <a:pt x="610889" y="3044341"/>
                  </a:cubicBezTo>
                  <a:cubicBezTo>
                    <a:pt x="610889" y="3057770"/>
                    <a:pt x="600819" y="3067838"/>
                    <a:pt x="587393" y="3067838"/>
                  </a:cubicBezTo>
                  <a:cubicBezTo>
                    <a:pt x="577323" y="3067838"/>
                    <a:pt x="563897" y="3057770"/>
                    <a:pt x="563897" y="3044341"/>
                  </a:cubicBezTo>
                  <a:cubicBezTo>
                    <a:pt x="563897" y="3030915"/>
                    <a:pt x="573967" y="3020845"/>
                    <a:pt x="587393" y="3020845"/>
                  </a:cubicBezTo>
                  <a:close/>
                  <a:moveTo>
                    <a:pt x="1050594" y="3017489"/>
                  </a:moveTo>
                  <a:cubicBezTo>
                    <a:pt x="1064020" y="3017489"/>
                    <a:pt x="1077446" y="3030915"/>
                    <a:pt x="1077446" y="3044345"/>
                  </a:cubicBezTo>
                  <a:cubicBezTo>
                    <a:pt x="1077446" y="3057770"/>
                    <a:pt x="1064020" y="3071196"/>
                    <a:pt x="1050594" y="3071196"/>
                  </a:cubicBezTo>
                  <a:cubicBezTo>
                    <a:pt x="1037168" y="3071196"/>
                    <a:pt x="1023741" y="3057770"/>
                    <a:pt x="1023741" y="3044345"/>
                  </a:cubicBezTo>
                  <a:cubicBezTo>
                    <a:pt x="1023741" y="3030915"/>
                    <a:pt x="1037168" y="3017489"/>
                    <a:pt x="1050594" y="3017489"/>
                  </a:cubicBezTo>
                  <a:close/>
                  <a:moveTo>
                    <a:pt x="2195170" y="2930223"/>
                  </a:moveTo>
                  <a:cubicBezTo>
                    <a:pt x="2198527" y="2930223"/>
                    <a:pt x="2201884" y="2933579"/>
                    <a:pt x="2201884" y="2936935"/>
                  </a:cubicBezTo>
                  <a:cubicBezTo>
                    <a:pt x="2201884" y="2940292"/>
                    <a:pt x="2198527" y="2943649"/>
                    <a:pt x="2195170" y="2943649"/>
                  </a:cubicBezTo>
                  <a:cubicBezTo>
                    <a:pt x="2191814" y="2943649"/>
                    <a:pt x="2188458" y="2940292"/>
                    <a:pt x="2188458" y="2936935"/>
                  </a:cubicBezTo>
                  <a:cubicBezTo>
                    <a:pt x="2188458" y="2933579"/>
                    <a:pt x="2191814" y="2930223"/>
                    <a:pt x="2195170" y="2930223"/>
                  </a:cubicBezTo>
                  <a:close/>
                  <a:moveTo>
                    <a:pt x="1725256" y="2930223"/>
                  </a:moveTo>
                  <a:cubicBezTo>
                    <a:pt x="1731970" y="2930223"/>
                    <a:pt x="1735326" y="2933579"/>
                    <a:pt x="1735326" y="2940292"/>
                  </a:cubicBezTo>
                  <a:cubicBezTo>
                    <a:pt x="1735326" y="2947003"/>
                    <a:pt x="1728613" y="2950360"/>
                    <a:pt x="1725256" y="2950360"/>
                  </a:cubicBezTo>
                  <a:cubicBezTo>
                    <a:pt x="1721900" y="2950360"/>
                    <a:pt x="1715187" y="2947003"/>
                    <a:pt x="1715187" y="2940292"/>
                  </a:cubicBezTo>
                  <a:cubicBezTo>
                    <a:pt x="1715187" y="2933579"/>
                    <a:pt x="1718543" y="2930223"/>
                    <a:pt x="1725256" y="2930223"/>
                  </a:cubicBezTo>
                  <a:close/>
                  <a:moveTo>
                    <a:pt x="1262056" y="2926865"/>
                  </a:moveTo>
                  <a:cubicBezTo>
                    <a:pt x="1272125" y="2926865"/>
                    <a:pt x="1278838" y="2933579"/>
                    <a:pt x="1278838" y="2943649"/>
                  </a:cubicBezTo>
                  <a:cubicBezTo>
                    <a:pt x="1278838" y="2953717"/>
                    <a:pt x="1272125" y="2960431"/>
                    <a:pt x="1262056" y="2960431"/>
                  </a:cubicBezTo>
                  <a:cubicBezTo>
                    <a:pt x="1251986" y="2960431"/>
                    <a:pt x="1245273" y="2953717"/>
                    <a:pt x="1245273" y="2943649"/>
                  </a:cubicBezTo>
                  <a:cubicBezTo>
                    <a:pt x="1245273" y="2933579"/>
                    <a:pt x="1251986" y="2926865"/>
                    <a:pt x="1262056" y="2926865"/>
                  </a:cubicBezTo>
                  <a:close/>
                  <a:moveTo>
                    <a:pt x="798855" y="2923508"/>
                  </a:moveTo>
                  <a:cubicBezTo>
                    <a:pt x="808924" y="2923508"/>
                    <a:pt x="818994" y="2933579"/>
                    <a:pt x="818994" y="2943649"/>
                  </a:cubicBezTo>
                  <a:cubicBezTo>
                    <a:pt x="818994" y="2953717"/>
                    <a:pt x="808924" y="2963787"/>
                    <a:pt x="798855" y="2963787"/>
                  </a:cubicBezTo>
                  <a:cubicBezTo>
                    <a:pt x="788785" y="2963787"/>
                    <a:pt x="782072" y="2953717"/>
                    <a:pt x="778715" y="2943649"/>
                  </a:cubicBezTo>
                  <a:cubicBezTo>
                    <a:pt x="778715" y="2933579"/>
                    <a:pt x="788785" y="2923508"/>
                    <a:pt x="798855" y="2923508"/>
                  </a:cubicBezTo>
                  <a:close/>
                  <a:moveTo>
                    <a:pt x="339009" y="2916791"/>
                  </a:moveTo>
                  <a:cubicBezTo>
                    <a:pt x="355792" y="2916791"/>
                    <a:pt x="365861" y="2930217"/>
                    <a:pt x="365861" y="2943643"/>
                  </a:cubicBezTo>
                  <a:cubicBezTo>
                    <a:pt x="365861" y="2957069"/>
                    <a:pt x="352435" y="2970495"/>
                    <a:pt x="339009" y="2970495"/>
                  </a:cubicBezTo>
                  <a:cubicBezTo>
                    <a:pt x="325583" y="2970495"/>
                    <a:pt x="315513" y="2960427"/>
                    <a:pt x="312157" y="2943643"/>
                  </a:cubicBezTo>
                  <a:cubicBezTo>
                    <a:pt x="312157" y="2930217"/>
                    <a:pt x="325583" y="2916791"/>
                    <a:pt x="339009" y="2916791"/>
                  </a:cubicBezTo>
                  <a:close/>
                  <a:moveTo>
                    <a:pt x="97340" y="2839587"/>
                  </a:moveTo>
                  <a:cubicBezTo>
                    <a:pt x="100696" y="2839587"/>
                    <a:pt x="104053" y="2842943"/>
                    <a:pt x="104053" y="2846299"/>
                  </a:cubicBezTo>
                  <a:cubicBezTo>
                    <a:pt x="104053" y="2849658"/>
                    <a:pt x="100696" y="2853013"/>
                    <a:pt x="97340" y="2853013"/>
                  </a:cubicBezTo>
                  <a:cubicBezTo>
                    <a:pt x="93983" y="2853013"/>
                    <a:pt x="90626" y="2849658"/>
                    <a:pt x="90626" y="2846299"/>
                  </a:cubicBezTo>
                  <a:cubicBezTo>
                    <a:pt x="90626" y="2842943"/>
                    <a:pt x="93983" y="2839587"/>
                    <a:pt x="97340" y="2839587"/>
                  </a:cubicBezTo>
                  <a:close/>
                  <a:moveTo>
                    <a:pt x="1933362" y="2836241"/>
                  </a:moveTo>
                  <a:cubicBezTo>
                    <a:pt x="1936718" y="2836241"/>
                    <a:pt x="1940075" y="2839599"/>
                    <a:pt x="1940075" y="2842956"/>
                  </a:cubicBezTo>
                  <a:cubicBezTo>
                    <a:pt x="1940075" y="2846311"/>
                    <a:pt x="1936718" y="2849666"/>
                    <a:pt x="1933362" y="2849666"/>
                  </a:cubicBezTo>
                  <a:cubicBezTo>
                    <a:pt x="1930005" y="2849666"/>
                    <a:pt x="1926649" y="2846311"/>
                    <a:pt x="1926649" y="2842956"/>
                  </a:cubicBezTo>
                  <a:cubicBezTo>
                    <a:pt x="1926649" y="2839599"/>
                    <a:pt x="1930005" y="2836241"/>
                    <a:pt x="1933362" y="2836241"/>
                  </a:cubicBezTo>
                  <a:close/>
                  <a:moveTo>
                    <a:pt x="1473516" y="2829530"/>
                  </a:moveTo>
                  <a:cubicBezTo>
                    <a:pt x="1480932" y="2829530"/>
                    <a:pt x="1486942" y="2835540"/>
                    <a:pt x="1486942" y="2842956"/>
                  </a:cubicBezTo>
                  <a:cubicBezTo>
                    <a:pt x="1486942" y="2850371"/>
                    <a:pt x="1480932" y="2856382"/>
                    <a:pt x="1473516" y="2856382"/>
                  </a:cubicBezTo>
                  <a:cubicBezTo>
                    <a:pt x="1466101" y="2856382"/>
                    <a:pt x="1460090" y="2850371"/>
                    <a:pt x="1460090" y="2842956"/>
                  </a:cubicBezTo>
                  <a:cubicBezTo>
                    <a:pt x="1460090" y="2835540"/>
                    <a:pt x="1466101" y="2829530"/>
                    <a:pt x="1473516" y="2829530"/>
                  </a:cubicBezTo>
                  <a:close/>
                  <a:moveTo>
                    <a:pt x="553827" y="2829526"/>
                  </a:moveTo>
                  <a:cubicBezTo>
                    <a:pt x="563096" y="2829526"/>
                    <a:pt x="570610" y="2837041"/>
                    <a:pt x="570610" y="2846311"/>
                  </a:cubicBezTo>
                  <a:cubicBezTo>
                    <a:pt x="570610" y="2855577"/>
                    <a:pt x="563096" y="2863090"/>
                    <a:pt x="553827" y="2863090"/>
                  </a:cubicBezTo>
                  <a:cubicBezTo>
                    <a:pt x="544559" y="2863090"/>
                    <a:pt x="537045" y="2855577"/>
                    <a:pt x="537045" y="2846311"/>
                  </a:cubicBezTo>
                  <a:cubicBezTo>
                    <a:pt x="537045" y="2837041"/>
                    <a:pt x="544559" y="2829526"/>
                    <a:pt x="553827" y="2829526"/>
                  </a:cubicBezTo>
                  <a:close/>
                  <a:moveTo>
                    <a:pt x="1013672" y="2822817"/>
                  </a:moveTo>
                  <a:cubicBezTo>
                    <a:pt x="1027098" y="2822817"/>
                    <a:pt x="1037168" y="2832887"/>
                    <a:pt x="1037168" y="2846311"/>
                  </a:cubicBezTo>
                  <a:cubicBezTo>
                    <a:pt x="1037168" y="2859738"/>
                    <a:pt x="1027098" y="2869806"/>
                    <a:pt x="1013672" y="2869806"/>
                  </a:cubicBezTo>
                  <a:cubicBezTo>
                    <a:pt x="1000246" y="2869806"/>
                    <a:pt x="986820" y="2856382"/>
                    <a:pt x="990176" y="2846311"/>
                  </a:cubicBezTo>
                  <a:cubicBezTo>
                    <a:pt x="990176" y="2832887"/>
                    <a:pt x="1000246" y="2822817"/>
                    <a:pt x="1013672" y="2822817"/>
                  </a:cubicBezTo>
                  <a:close/>
                  <a:moveTo>
                    <a:pt x="2144822" y="2735548"/>
                  </a:moveTo>
                  <a:cubicBezTo>
                    <a:pt x="2148179" y="2735548"/>
                    <a:pt x="2151536" y="2738904"/>
                    <a:pt x="2151536" y="2742260"/>
                  </a:cubicBezTo>
                  <a:cubicBezTo>
                    <a:pt x="2151536" y="2745618"/>
                    <a:pt x="2148179" y="2748973"/>
                    <a:pt x="2144822" y="2748973"/>
                  </a:cubicBezTo>
                  <a:cubicBezTo>
                    <a:pt x="2141466" y="2748973"/>
                    <a:pt x="2138110" y="2745618"/>
                    <a:pt x="2138110" y="2742260"/>
                  </a:cubicBezTo>
                  <a:cubicBezTo>
                    <a:pt x="2138110" y="2738904"/>
                    <a:pt x="2141466" y="2735548"/>
                    <a:pt x="2144822" y="2735548"/>
                  </a:cubicBezTo>
                  <a:close/>
                  <a:moveTo>
                    <a:pt x="1684978" y="2732191"/>
                  </a:moveTo>
                  <a:cubicBezTo>
                    <a:pt x="1691691" y="2732191"/>
                    <a:pt x="1695048" y="2738904"/>
                    <a:pt x="1695048" y="2742260"/>
                  </a:cubicBezTo>
                  <a:cubicBezTo>
                    <a:pt x="1695048" y="2748973"/>
                    <a:pt x="1688335" y="2752334"/>
                    <a:pt x="1684978" y="2752334"/>
                  </a:cubicBezTo>
                  <a:cubicBezTo>
                    <a:pt x="1678265" y="2752334"/>
                    <a:pt x="1674908" y="2748973"/>
                    <a:pt x="1674908" y="2742260"/>
                  </a:cubicBezTo>
                  <a:cubicBezTo>
                    <a:pt x="1674908" y="2735548"/>
                    <a:pt x="1678265" y="2732191"/>
                    <a:pt x="1684978" y="2732191"/>
                  </a:cubicBezTo>
                  <a:close/>
                  <a:moveTo>
                    <a:pt x="1225134" y="2725478"/>
                  </a:moveTo>
                  <a:cubicBezTo>
                    <a:pt x="1235203" y="2725478"/>
                    <a:pt x="1241916" y="2732191"/>
                    <a:pt x="1241916" y="2742260"/>
                  </a:cubicBezTo>
                  <a:cubicBezTo>
                    <a:pt x="1241916" y="2752334"/>
                    <a:pt x="1235203" y="2759042"/>
                    <a:pt x="1225134" y="2759042"/>
                  </a:cubicBezTo>
                  <a:cubicBezTo>
                    <a:pt x="1215064" y="2759042"/>
                    <a:pt x="1208351" y="2752334"/>
                    <a:pt x="1208351" y="2742260"/>
                  </a:cubicBezTo>
                  <a:cubicBezTo>
                    <a:pt x="1208351" y="2732191"/>
                    <a:pt x="1215064" y="2725478"/>
                    <a:pt x="1225134" y="2725478"/>
                  </a:cubicBezTo>
                  <a:close/>
                  <a:moveTo>
                    <a:pt x="312157" y="2722116"/>
                  </a:moveTo>
                  <a:cubicBezTo>
                    <a:pt x="325583" y="2722116"/>
                    <a:pt x="335653" y="2732185"/>
                    <a:pt x="335653" y="2745613"/>
                  </a:cubicBezTo>
                  <a:cubicBezTo>
                    <a:pt x="335653" y="2759038"/>
                    <a:pt x="325583" y="2769105"/>
                    <a:pt x="312157" y="2769105"/>
                  </a:cubicBezTo>
                  <a:cubicBezTo>
                    <a:pt x="298731" y="2769105"/>
                    <a:pt x="288661" y="2759038"/>
                    <a:pt x="288661" y="2745613"/>
                  </a:cubicBezTo>
                  <a:cubicBezTo>
                    <a:pt x="288661" y="2732185"/>
                    <a:pt x="298731" y="2722116"/>
                    <a:pt x="312157" y="2722116"/>
                  </a:cubicBezTo>
                  <a:close/>
                  <a:moveTo>
                    <a:pt x="768646" y="2718764"/>
                  </a:moveTo>
                  <a:cubicBezTo>
                    <a:pt x="782072" y="2718764"/>
                    <a:pt x="795498" y="2728835"/>
                    <a:pt x="795498" y="2742260"/>
                  </a:cubicBezTo>
                  <a:cubicBezTo>
                    <a:pt x="795498" y="2755687"/>
                    <a:pt x="782072" y="2769113"/>
                    <a:pt x="768646" y="2769113"/>
                  </a:cubicBezTo>
                  <a:cubicBezTo>
                    <a:pt x="751863" y="2769113"/>
                    <a:pt x="741793" y="2759042"/>
                    <a:pt x="741793" y="2745618"/>
                  </a:cubicBezTo>
                  <a:cubicBezTo>
                    <a:pt x="741793" y="2732191"/>
                    <a:pt x="755220" y="2718764"/>
                    <a:pt x="768646" y="2718764"/>
                  </a:cubicBezTo>
                  <a:close/>
                  <a:moveTo>
                    <a:pt x="73844" y="2641550"/>
                  </a:moveTo>
                  <a:cubicBezTo>
                    <a:pt x="73844" y="2641550"/>
                    <a:pt x="77200" y="2641550"/>
                    <a:pt x="77200" y="2644906"/>
                  </a:cubicBezTo>
                  <a:cubicBezTo>
                    <a:pt x="77200" y="2644906"/>
                    <a:pt x="77200" y="2648264"/>
                    <a:pt x="73844" y="2648264"/>
                  </a:cubicBezTo>
                  <a:cubicBezTo>
                    <a:pt x="70487" y="2648264"/>
                    <a:pt x="70487" y="2644906"/>
                    <a:pt x="70487" y="2644906"/>
                  </a:cubicBezTo>
                  <a:cubicBezTo>
                    <a:pt x="70487" y="2644906"/>
                    <a:pt x="70487" y="2641550"/>
                    <a:pt x="73844" y="2641550"/>
                  </a:cubicBezTo>
                  <a:close/>
                  <a:moveTo>
                    <a:pt x="1896440" y="2634851"/>
                  </a:moveTo>
                  <a:cubicBezTo>
                    <a:pt x="1899796" y="2634851"/>
                    <a:pt x="1903153" y="2638204"/>
                    <a:pt x="1903153" y="2641566"/>
                  </a:cubicBezTo>
                  <a:cubicBezTo>
                    <a:pt x="1903153" y="2644917"/>
                    <a:pt x="1899796" y="2648275"/>
                    <a:pt x="1896440" y="2648275"/>
                  </a:cubicBezTo>
                  <a:cubicBezTo>
                    <a:pt x="1893083" y="2648275"/>
                    <a:pt x="1889727" y="2644917"/>
                    <a:pt x="1889727" y="2641566"/>
                  </a:cubicBezTo>
                  <a:cubicBezTo>
                    <a:pt x="1889727" y="2638204"/>
                    <a:pt x="1893083" y="2634851"/>
                    <a:pt x="1896440" y="2634851"/>
                  </a:cubicBezTo>
                  <a:close/>
                  <a:moveTo>
                    <a:pt x="1439952" y="2624778"/>
                  </a:moveTo>
                  <a:cubicBezTo>
                    <a:pt x="1450022" y="2624778"/>
                    <a:pt x="1456735" y="2631495"/>
                    <a:pt x="1456735" y="2641566"/>
                  </a:cubicBezTo>
                  <a:cubicBezTo>
                    <a:pt x="1456735" y="2651632"/>
                    <a:pt x="1450022" y="2658342"/>
                    <a:pt x="1439952" y="2658342"/>
                  </a:cubicBezTo>
                  <a:cubicBezTo>
                    <a:pt x="1429882" y="2658342"/>
                    <a:pt x="1423169" y="2651632"/>
                    <a:pt x="1423169" y="2641566"/>
                  </a:cubicBezTo>
                  <a:cubicBezTo>
                    <a:pt x="1423169" y="2631495"/>
                    <a:pt x="1429882" y="2624778"/>
                    <a:pt x="1439952" y="2624778"/>
                  </a:cubicBezTo>
                  <a:close/>
                  <a:moveTo>
                    <a:pt x="983463" y="2621425"/>
                  </a:moveTo>
                  <a:cubicBezTo>
                    <a:pt x="996889" y="2621425"/>
                    <a:pt x="1006959" y="2631495"/>
                    <a:pt x="1006959" y="2644917"/>
                  </a:cubicBezTo>
                  <a:cubicBezTo>
                    <a:pt x="1006959" y="2658342"/>
                    <a:pt x="996889" y="2668417"/>
                    <a:pt x="983463" y="2668417"/>
                  </a:cubicBezTo>
                  <a:cubicBezTo>
                    <a:pt x="970037" y="2668417"/>
                    <a:pt x="959967" y="2658342"/>
                    <a:pt x="959967" y="2644917"/>
                  </a:cubicBezTo>
                  <a:cubicBezTo>
                    <a:pt x="959967" y="2631495"/>
                    <a:pt x="970037" y="2621425"/>
                    <a:pt x="983463" y="2621425"/>
                  </a:cubicBezTo>
                  <a:close/>
                  <a:moveTo>
                    <a:pt x="526975" y="2621421"/>
                  </a:moveTo>
                  <a:cubicBezTo>
                    <a:pt x="537045" y="2621421"/>
                    <a:pt x="547114" y="2631488"/>
                    <a:pt x="547114" y="2641560"/>
                  </a:cubicBezTo>
                  <a:cubicBezTo>
                    <a:pt x="547114" y="2654983"/>
                    <a:pt x="537045" y="2661700"/>
                    <a:pt x="526975" y="2661700"/>
                  </a:cubicBezTo>
                  <a:cubicBezTo>
                    <a:pt x="516906" y="2661700"/>
                    <a:pt x="510192" y="2654983"/>
                    <a:pt x="506836" y="2641560"/>
                  </a:cubicBezTo>
                  <a:cubicBezTo>
                    <a:pt x="506836" y="2631488"/>
                    <a:pt x="516906" y="2621421"/>
                    <a:pt x="526975" y="2621421"/>
                  </a:cubicBezTo>
                  <a:close/>
                  <a:moveTo>
                    <a:pt x="2111257" y="2540868"/>
                  </a:moveTo>
                  <a:cubicBezTo>
                    <a:pt x="2111257" y="2540868"/>
                    <a:pt x="2114614" y="2540868"/>
                    <a:pt x="2114614" y="2544225"/>
                  </a:cubicBezTo>
                  <a:cubicBezTo>
                    <a:pt x="2114614" y="2544225"/>
                    <a:pt x="2114614" y="2547584"/>
                    <a:pt x="2111257" y="2547584"/>
                  </a:cubicBezTo>
                  <a:cubicBezTo>
                    <a:pt x="2107900" y="2547584"/>
                    <a:pt x="2107900" y="2544225"/>
                    <a:pt x="2107900" y="2544225"/>
                  </a:cubicBezTo>
                  <a:cubicBezTo>
                    <a:pt x="2107900" y="2544225"/>
                    <a:pt x="2107900" y="2540868"/>
                    <a:pt x="2111257" y="2540868"/>
                  </a:cubicBezTo>
                  <a:close/>
                  <a:moveTo>
                    <a:pt x="1654769" y="2537512"/>
                  </a:moveTo>
                  <a:cubicBezTo>
                    <a:pt x="1658126" y="2537512"/>
                    <a:pt x="1661482" y="2540868"/>
                    <a:pt x="1661482" y="2544225"/>
                  </a:cubicBezTo>
                  <a:cubicBezTo>
                    <a:pt x="1661482" y="2547584"/>
                    <a:pt x="1658126" y="2550939"/>
                    <a:pt x="1654769" y="2550939"/>
                  </a:cubicBezTo>
                  <a:cubicBezTo>
                    <a:pt x="1651413" y="2550939"/>
                    <a:pt x="1648056" y="2547584"/>
                    <a:pt x="1648056" y="2544225"/>
                  </a:cubicBezTo>
                  <a:cubicBezTo>
                    <a:pt x="1648056" y="2540868"/>
                    <a:pt x="1651413" y="2537512"/>
                    <a:pt x="1654769" y="2537512"/>
                  </a:cubicBezTo>
                  <a:close/>
                  <a:moveTo>
                    <a:pt x="1201638" y="2524085"/>
                  </a:moveTo>
                  <a:cubicBezTo>
                    <a:pt x="1211708" y="2524085"/>
                    <a:pt x="1218421" y="2530799"/>
                    <a:pt x="1218421" y="2540868"/>
                  </a:cubicBezTo>
                  <a:cubicBezTo>
                    <a:pt x="1218421" y="2550939"/>
                    <a:pt x="1211708" y="2557650"/>
                    <a:pt x="1201638" y="2557650"/>
                  </a:cubicBezTo>
                  <a:cubicBezTo>
                    <a:pt x="1191568" y="2557650"/>
                    <a:pt x="1184855" y="2550939"/>
                    <a:pt x="1184855" y="2540868"/>
                  </a:cubicBezTo>
                  <a:cubicBezTo>
                    <a:pt x="1184855" y="2530799"/>
                    <a:pt x="1191568" y="2524085"/>
                    <a:pt x="1201638" y="2524085"/>
                  </a:cubicBezTo>
                  <a:close/>
                  <a:moveTo>
                    <a:pt x="745150" y="2524085"/>
                  </a:moveTo>
                  <a:cubicBezTo>
                    <a:pt x="755220" y="2524085"/>
                    <a:pt x="765289" y="2534154"/>
                    <a:pt x="765289" y="2544223"/>
                  </a:cubicBezTo>
                  <a:cubicBezTo>
                    <a:pt x="765289" y="2554295"/>
                    <a:pt x="755220" y="2564366"/>
                    <a:pt x="745150" y="2564366"/>
                  </a:cubicBezTo>
                  <a:cubicBezTo>
                    <a:pt x="735080" y="2564366"/>
                    <a:pt x="725011" y="2554295"/>
                    <a:pt x="725011" y="2544223"/>
                  </a:cubicBezTo>
                  <a:cubicBezTo>
                    <a:pt x="725011" y="2534154"/>
                    <a:pt x="735080" y="2524085"/>
                    <a:pt x="745150" y="2524085"/>
                  </a:cubicBezTo>
                  <a:close/>
                  <a:moveTo>
                    <a:pt x="292018" y="2520725"/>
                  </a:moveTo>
                  <a:cubicBezTo>
                    <a:pt x="305444" y="2520725"/>
                    <a:pt x="315513" y="2530794"/>
                    <a:pt x="315513" y="2544222"/>
                  </a:cubicBezTo>
                  <a:cubicBezTo>
                    <a:pt x="315513" y="2557647"/>
                    <a:pt x="305444" y="2567717"/>
                    <a:pt x="292018" y="2567717"/>
                  </a:cubicBezTo>
                  <a:cubicBezTo>
                    <a:pt x="278591" y="2567717"/>
                    <a:pt x="268522" y="2554293"/>
                    <a:pt x="268522" y="2544222"/>
                  </a:cubicBezTo>
                  <a:cubicBezTo>
                    <a:pt x="268522" y="2530794"/>
                    <a:pt x="278591" y="2520725"/>
                    <a:pt x="292018" y="2520725"/>
                  </a:cubicBezTo>
                  <a:close/>
                  <a:moveTo>
                    <a:pt x="60418" y="2440158"/>
                  </a:moveTo>
                  <a:cubicBezTo>
                    <a:pt x="60418" y="2440158"/>
                    <a:pt x="63774" y="2440158"/>
                    <a:pt x="60418" y="2443514"/>
                  </a:cubicBezTo>
                  <a:cubicBezTo>
                    <a:pt x="57061" y="2440158"/>
                    <a:pt x="57061" y="2440158"/>
                    <a:pt x="60418" y="2440158"/>
                  </a:cubicBezTo>
                  <a:close/>
                  <a:moveTo>
                    <a:pt x="1872944" y="2433454"/>
                  </a:moveTo>
                  <a:cubicBezTo>
                    <a:pt x="1876301" y="2433454"/>
                    <a:pt x="1879657" y="2436812"/>
                    <a:pt x="1879657" y="2440170"/>
                  </a:cubicBezTo>
                  <a:cubicBezTo>
                    <a:pt x="1879657" y="2443526"/>
                    <a:pt x="1876301" y="2446884"/>
                    <a:pt x="1872944" y="2446884"/>
                  </a:cubicBezTo>
                  <a:cubicBezTo>
                    <a:pt x="1869588" y="2446884"/>
                    <a:pt x="1866231" y="2443526"/>
                    <a:pt x="1866231" y="2440170"/>
                  </a:cubicBezTo>
                  <a:cubicBezTo>
                    <a:pt x="1866231" y="2436812"/>
                    <a:pt x="1869588" y="2433454"/>
                    <a:pt x="1872944" y="2433454"/>
                  </a:cubicBezTo>
                  <a:close/>
                  <a:moveTo>
                    <a:pt x="1419813" y="2426743"/>
                  </a:moveTo>
                  <a:cubicBezTo>
                    <a:pt x="1426526" y="2426743"/>
                    <a:pt x="1433239" y="2433454"/>
                    <a:pt x="1433239" y="2440170"/>
                  </a:cubicBezTo>
                  <a:cubicBezTo>
                    <a:pt x="1433239" y="2446884"/>
                    <a:pt x="1426526" y="2453597"/>
                    <a:pt x="1419813" y="2453597"/>
                  </a:cubicBezTo>
                  <a:cubicBezTo>
                    <a:pt x="1413100" y="2453597"/>
                    <a:pt x="1409743" y="2446884"/>
                    <a:pt x="1406387" y="2440170"/>
                  </a:cubicBezTo>
                  <a:cubicBezTo>
                    <a:pt x="1406387" y="2433454"/>
                    <a:pt x="1413100" y="2426743"/>
                    <a:pt x="1419813" y="2426743"/>
                  </a:cubicBezTo>
                  <a:close/>
                  <a:moveTo>
                    <a:pt x="513549" y="2423383"/>
                  </a:moveTo>
                  <a:cubicBezTo>
                    <a:pt x="522818" y="2423383"/>
                    <a:pt x="530332" y="2430897"/>
                    <a:pt x="530332" y="2440166"/>
                  </a:cubicBezTo>
                  <a:cubicBezTo>
                    <a:pt x="530332" y="2449436"/>
                    <a:pt x="522818" y="2456950"/>
                    <a:pt x="513549" y="2456950"/>
                  </a:cubicBezTo>
                  <a:cubicBezTo>
                    <a:pt x="504280" y="2456950"/>
                    <a:pt x="496766" y="2449436"/>
                    <a:pt x="496766" y="2440166"/>
                  </a:cubicBezTo>
                  <a:cubicBezTo>
                    <a:pt x="496766" y="2430897"/>
                    <a:pt x="504280" y="2423383"/>
                    <a:pt x="513549" y="2423383"/>
                  </a:cubicBezTo>
                  <a:close/>
                  <a:moveTo>
                    <a:pt x="966680" y="2416672"/>
                  </a:moveTo>
                  <a:cubicBezTo>
                    <a:pt x="980106" y="2416672"/>
                    <a:pt x="990176" y="2426743"/>
                    <a:pt x="990176" y="2440170"/>
                  </a:cubicBezTo>
                  <a:cubicBezTo>
                    <a:pt x="990176" y="2453597"/>
                    <a:pt x="980106" y="2463667"/>
                    <a:pt x="966680" y="2463667"/>
                  </a:cubicBezTo>
                  <a:cubicBezTo>
                    <a:pt x="953254" y="2463667"/>
                    <a:pt x="943185" y="2453597"/>
                    <a:pt x="943185" y="2440170"/>
                  </a:cubicBezTo>
                  <a:cubicBezTo>
                    <a:pt x="943185" y="2426743"/>
                    <a:pt x="953254" y="2416672"/>
                    <a:pt x="966680" y="2416672"/>
                  </a:cubicBezTo>
                  <a:close/>
                  <a:moveTo>
                    <a:pt x="2094474" y="2336109"/>
                  </a:moveTo>
                  <a:cubicBezTo>
                    <a:pt x="2094474" y="2336109"/>
                    <a:pt x="2097831" y="2339466"/>
                    <a:pt x="2094474" y="2342822"/>
                  </a:cubicBezTo>
                  <a:cubicBezTo>
                    <a:pt x="2091118" y="2336109"/>
                    <a:pt x="2094474" y="2336109"/>
                    <a:pt x="2094474" y="2336109"/>
                  </a:cubicBezTo>
                  <a:close/>
                  <a:moveTo>
                    <a:pt x="1641343" y="2336109"/>
                  </a:moveTo>
                  <a:cubicBezTo>
                    <a:pt x="1641343" y="2336109"/>
                    <a:pt x="1644700" y="2336109"/>
                    <a:pt x="1644700" y="2339466"/>
                  </a:cubicBezTo>
                  <a:cubicBezTo>
                    <a:pt x="1644700" y="2339466"/>
                    <a:pt x="1644700" y="2342822"/>
                    <a:pt x="1641343" y="2342822"/>
                  </a:cubicBezTo>
                  <a:cubicBezTo>
                    <a:pt x="1637986" y="2342822"/>
                    <a:pt x="1637986" y="2342822"/>
                    <a:pt x="1637986" y="2339466"/>
                  </a:cubicBezTo>
                  <a:cubicBezTo>
                    <a:pt x="1637986" y="2339466"/>
                    <a:pt x="1637986" y="2336109"/>
                    <a:pt x="1641343" y="2336109"/>
                  </a:cubicBezTo>
                  <a:close/>
                  <a:moveTo>
                    <a:pt x="1188212" y="2322682"/>
                  </a:moveTo>
                  <a:cubicBezTo>
                    <a:pt x="1198281" y="2322682"/>
                    <a:pt x="1204994" y="2329396"/>
                    <a:pt x="1204994" y="2339466"/>
                  </a:cubicBezTo>
                  <a:cubicBezTo>
                    <a:pt x="1204994" y="2349537"/>
                    <a:pt x="1198281" y="2356250"/>
                    <a:pt x="1188212" y="2356250"/>
                  </a:cubicBezTo>
                  <a:cubicBezTo>
                    <a:pt x="1181499" y="2356250"/>
                    <a:pt x="1171429" y="2349537"/>
                    <a:pt x="1171429" y="2339466"/>
                  </a:cubicBezTo>
                  <a:cubicBezTo>
                    <a:pt x="1171429" y="2329396"/>
                    <a:pt x="1178142" y="2322682"/>
                    <a:pt x="1188212" y="2322682"/>
                  </a:cubicBezTo>
                  <a:close/>
                  <a:moveTo>
                    <a:pt x="281948" y="2322679"/>
                  </a:moveTo>
                  <a:cubicBezTo>
                    <a:pt x="292018" y="2322679"/>
                    <a:pt x="298731" y="2329390"/>
                    <a:pt x="298731" y="2339461"/>
                  </a:cubicBezTo>
                  <a:cubicBezTo>
                    <a:pt x="298731" y="2349533"/>
                    <a:pt x="292018" y="2356245"/>
                    <a:pt x="281948" y="2356245"/>
                  </a:cubicBezTo>
                  <a:cubicBezTo>
                    <a:pt x="275235" y="2356245"/>
                    <a:pt x="268522" y="2349533"/>
                    <a:pt x="265165" y="2339461"/>
                  </a:cubicBezTo>
                  <a:cubicBezTo>
                    <a:pt x="265165" y="2329390"/>
                    <a:pt x="271878" y="2322679"/>
                    <a:pt x="281948" y="2322679"/>
                  </a:cubicBezTo>
                  <a:close/>
                  <a:moveTo>
                    <a:pt x="735080" y="2319326"/>
                  </a:moveTo>
                  <a:cubicBezTo>
                    <a:pt x="745150" y="2319326"/>
                    <a:pt x="755220" y="2329396"/>
                    <a:pt x="755220" y="2339466"/>
                  </a:cubicBezTo>
                  <a:cubicBezTo>
                    <a:pt x="755220" y="2349536"/>
                    <a:pt x="745150" y="2359607"/>
                    <a:pt x="735080" y="2359607"/>
                  </a:cubicBezTo>
                  <a:cubicBezTo>
                    <a:pt x="725011" y="2359607"/>
                    <a:pt x="718298" y="2349536"/>
                    <a:pt x="714941" y="2339466"/>
                  </a:cubicBezTo>
                  <a:cubicBezTo>
                    <a:pt x="714941" y="2329396"/>
                    <a:pt x="725011" y="2319326"/>
                    <a:pt x="735080" y="2319326"/>
                  </a:cubicBezTo>
                  <a:close/>
                  <a:moveTo>
                    <a:pt x="1866231" y="2235417"/>
                  </a:moveTo>
                  <a:cubicBezTo>
                    <a:pt x="1866231" y="2235417"/>
                    <a:pt x="1869588" y="2238772"/>
                    <a:pt x="1869588" y="2238772"/>
                  </a:cubicBezTo>
                  <a:cubicBezTo>
                    <a:pt x="1869588" y="2238772"/>
                    <a:pt x="1869588" y="2242129"/>
                    <a:pt x="1866231" y="2242129"/>
                  </a:cubicBezTo>
                  <a:cubicBezTo>
                    <a:pt x="1862874" y="2242129"/>
                    <a:pt x="1862874" y="2238772"/>
                    <a:pt x="1862874" y="2238772"/>
                  </a:cubicBezTo>
                  <a:cubicBezTo>
                    <a:pt x="1862874" y="2238772"/>
                    <a:pt x="1862874" y="2235417"/>
                    <a:pt x="1866231" y="2235417"/>
                  </a:cubicBezTo>
                  <a:close/>
                  <a:moveTo>
                    <a:pt x="1413099" y="2228699"/>
                  </a:moveTo>
                  <a:cubicBezTo>
                    <a:pt x="1416455" y="2228699"/>
                    <a:pt x="1423168" y="2232058"/>
                    <a:pt x="1423168" y="2238772"/>
                  </a:cubicBezTo>
                  <a:cubicBezTo>
                    <a:pt x="1423168" y="2242129"/>
                    <a:pt x="1419812" y="2248841"/>
                    <a:pt x="1413099" y="2248841"/>
                  </a:cubicBezTo>
                  <a:cubicBezTo>
                    <a:pt x="1406386" y="2248841"/>
                    <a:pt x="1403029" y="2245487"/>
                    <a:pt x="1403029" y="2238772"/>
                  </a:cubicBezTo>
                  <a:cubicBezTo>
                    <a:pt x="1403029" y="2235417"/>
                    <a:pt x="1406386" y="2228699"/>
                    <a:pt x="1413099" y="2228699"/>
                  </a:cubicBezTo>
                  <a:close/>
                  <a:moveTo>
                    <a:pt x="506836" y="2221987"/>
                  </a:moveTo>
                  <a:cubicBezTo>
                    <a:pt x="516906" y="2221987"/>
                    <a:pt x="523619" y="2228699"/>
                    <a:pt x="523619" y="2238769"/>
                  </a:cubicBezTo>
                  <a:cubicBezTo>
                    <a:pt x="523619" y="2248841"/>
                    <a:pt x="516906" y="2255551"/>
                    <a:pt x="506836" y="2255551"/>
                  </a:cubicBezTo>
                  <a:cubicBezTo>
                    <a:pt x="500123" y="2255551"/>
                    <a:pt x="490053" y="2245484"/>
                    <a:pt x="490053" y="2238769"/>
                  </a:cubicBezTo>
                  <a:cubicBezTo>
                    <a:pt x="490053" y="2228699"/>
                    <a:pt x="496766" y="2221987"/>
                    <a:pt x="506836" y="2221987"/>
                  </a:cubicBezTo>
                  <a:close/>
                  <a:moveTo>
                    <a:pt x="959967" y="2215275"/>
                  </a:moveTo>
                  <a:cubicBezTo>
                    <a:pt x="973393" y="2215275"/>
                    <a:pt x="983463" y="2225348"/>
                    <a:pt x="983463" y="2238772"/>
                  </a:cubicBezTo>
                  <a:cubicBezTo>
                    <a:pt x="983463" y="2252199"/>
                    <a:pt x="973393" y="2262269"/>
                    <a:pt x="959967" y="2262269"/>
                  </a:cubicBezTo>
                  <a:cubicBezTo>
                    <a:pt x="946541" y="2262269"/>
                    <a:pt x="936472" y="2252199"/>
                    <a:pt x="936472" y="2238772"/>
                  </a:cubicBezTo>
                  <a:cubicBezTo>
                    <a:pt x="936472" y="2225348"/>
                    <a:pt x="946541" y="2215275"/>
                    <a:pt x="959967" y="2215275"/>
                  </a:cubicBezTo>
                  <a:close/>
                  <a:moveTo>
                    <a:pt x="1641343" y="2128008"/>
                  </a:moveTo>
                  <a:cubicBezTo>
                    <a:pt x="1644700" y="2128008"/>
                    <a:pt x="1648056" y="2131363"/>
                    <a:pt x="1648056" y="2134720"/>
                  </a:cubicBezTo>
                  <a:cubicBezTo>
                    <a:pt x="1648056" y="2138075"/>
                    <a:pt x="1644700" y="2141432"/>
                    <a:pt x="1641343" y="2141432"/>
                  </a:cubicBezTo>
                  <a:cubicBezTo>
                    <a:pt x="1637986" y="2141432"/>
                    <a:pt x="1634630" y="2141432"/>
                    <a:pt x="1634630" y="2134720"/>
                  </a:cubicBezTo>
                  <a:cubicBezTo>
                    <a:pt x="1634630" y="2131363"/>
                    <a:pt x="1637986" y="2128008"/>
                    <a:pt x="1641343" y="2128008"/>
                  </a:cubicBezTo>
                  <a:close/>
                  <a:moveTo>
                    <a:pt x="1188212" y="2124651"/>
                  </a:moveTo>
                  <a:cubicBezTo>
                    <a:pt x="1194925" y="2124651"/>
                    <a:pt x="1201638" y="2131363"/>
                    <a:pt x="1201638" y="2138075"/>
                  </a:cubicBezTo>
                  <a:cubicBezTo>
                    <a:pt x="1201638" y="2144791"/>
                    <a:pt x="1194925" y="2151499"/>
                    <a:pt x="1188212" y="2151499"/>
                  </a:cubicBezTo>
                  <a:cubicBezTo>
                    <a:pt x="1181499" y="2151499"/>
                    <a:pt x="1174786" y="2144791"/>
                    <a:pt x="1174786" y="2138075"/>
                  </a:cubicBezTo>
                  <a:cubicBezTo>
                    <a:pt x="1174786" y="2131363"/>
                    <a:pt x="1181499" y="2124651"/>
                    <a:pt x="1188212" y="2124651"/>
                  </a:cubicBezTo>
                  <a:close/>
                  <a:moveTo>
                    <a:pt x="281948" y="2121290"/>
                  </a:moveTo>
                  <a:cubicBezTo>
                    <a:pt x="288661" y="2121290"/>
                    <a:pt x="295374" y="2128003"/>
                    <a:pt x="295374" y="2134715"/>
                  </a:cubicBezTo>
                  <a:cubicBezTo>
                    <a:pt x="295374" y="2141427"/>
                    <a:pt x="288661" y="2148141"/>
                    <a:pt x="281948" y="2148141"/>
                  </a:cubicBezTo>
                  <a:cubicBezTo>
                    <a:pt x="275235" y="2148141"/>
                    <a:pt x="268522" y="2144785"/>
                    <a:pt x="268522" y="2134715"/>
                  </a:cubicBezTo>
                  <a:cubicBezTo>
                    <a:pt x="268522" y="2128003"/>
                    <a:pt x="275235" y="2121290"/>
                    <a:pt x="281948" y="2121290"/>
                  </a:cubicBezTo>
                  <a:close/>
                  <a:moveTo>
                    <a:pt x="735080" y="2114579"/>
                  </a:moveTo>
                  <a:cubicBezTo>
                    <a:pt x="745150" y="2114579"/>
                    <a:pt x="755220" y="2124651"/>
                    <a:pt x="755220" y="2134720"/>
                  </a:cubicBezTo>
                  <a:cubicBezTo>
                    <a:pt x="755220" y="2144791"/>
                    <a:pt x="745150" y="2154857"/>
                    <a:pt x="735080" y="2154857"/>
                  </a:cubicBezTo>
                  <a:cubicBezTo>
                    <a:pt x="725011" y="2154857"/>
                    <a:pt x="714941" y="2148146"/>
                    <a:pt x="714941" y="2134720"/>
                  </a:cubicBezTo>
                  <a:cubicBezTo>
                    <a:pt x="714941" y="2124651"/>
                    <a:pt x="725011" y="2114579"/>
                    <a:pt x="735080" y="2114579"/>
                  </a:cubicBezTo>
                  <a:close/>
                  <a:moveTo>
                    <a:pt x="1419813" y="2023989"/>
                  </a:moveTo>
                  <a:cubicBezTo>
                    <a:pt x="1426526" y="2023989"/>
                    <a:pt x="1429882" y="2027346"/>
                    <a:pt x="1429882" y="2034058"/>
                  </a:cubicBezTo>
                  <a:cubicBezTo>
                    <a:pt x="1429882" y="2040770"/>
                    <a:pt x="1426526" y="2044129"/>
                    <a:pt x="1419813" y="2044129"/>
                  </a:cubicBezTo>
                  <a:cubicBezTo>
                    <a:pt x="1413100" y="2044129"/>
                    <a:pt x="1409743" y="2040770"/>
                    <a:pt x="1409743" y="2034058"/>
                  </a:cubicBezTo>
                  <a:cubicBezTo>
                    <a:pt x="1409743" y="2027346"/>
                    <a:pt x="1413100" y="2023989"/>
                    <a:pt x="1419813" y="2023989"/>
                  </a:cubicBezTo>
                  <a:close/>
                  <a:moveTo>
                    <a:pt x="513549" y="2017249"/>
                  </a:moveTo>
                  <a:cubicBezTo>
                    <a:pt x="523619" y="2017249"/>
                    <a:pt x="530332" y="2023961"/>
                    <a:pt x="530332" y="2034033"/>
                  </a:cubicBezTo>
                  <a:cubicBezTo>
                    <a:pt x="530332" y="2044100"/>
                    <a:pt x="523619" y="2050813"/>
                    <a:pt x="513549" y="2050813"/>
                  </a:cubicBezTo>
                  <a:cubicBezTo>
                    <a:pt x="503479" y="2050813"/>
                    <a:pt x="496766" y="2044100"/>
                    <a:pt x="496766" y="2034033"/>
                  </a:cubicBezTo>
                  <a:cubicBezTo>
                    <a:pt x="496766" y="2023961"/>
                    <a:pt x="503479" y="2017249"/>
                    <a:pt x="513549" y="2017249"/>
                  </a:cubicBezTo>
                  <a:close/>
                  <a:moveTo>
                    <a:pt x="966680" y="2013905"/>
                  </a:moveTo>
                  <a:cubicBezTo>
                    <a:pt x="976750" y="2013905"/>
                    <a:pt x="986820" y="2023975"/>
                    <a:pt x="986820" y="2034043"/>
                  </a:cubicBezTo>
                  <a:cubicBezTo>
                    <a:pt x="986820" y="2047468"/>
                    <a:pt x="976750" y="2054181"/>
                    <a:pt x="966680" y="2054181"/>
                  </a:cubicBezTo>
                  <a:cubicBezTo>
                    <a:pt x="956611" y="2054181"/>
                    <a:pt x="946541" y="2044113"/>
                    <a:pt x="946541" y="2034043"/>
                  </a:cubicBezTo>
                  <a:cubicBezTo>
                    <a:pt x="946541" y="2023975"/>
                    <a:pt x="956611" y="2013905"/>
                    <a:pt x="966680" y="2013905"/>
                  </a:cubicBezTo>
                  <a:close/>
                  <a:moveTo>
                    <a:pt x="1654769" y="1926656"/>
                  </a:moveTo>
                  <a:cubicBezTo>
                    <a:pt x="1658126" y="1926656"/>
                    <a:pt x="1661482" y="1930013"/>
                    <a:pt x="1661482" y="1933370"/>
                  </a:cubicBezTo>
                  <a:cubicBezTo>
                    <a:pt x="1661482" y="1936726"/>
                    <a:pt x="1658126" y="1940086"/>
                    <a:pt x="1654769" y="1940086"/>
                  </a:cubicBezTo>
                  <a:cubicBezTo>
                    <a:pt x="1651413" y="1940086"/>
                    <a:pt x="1648056" y="1936726"/>
                    <a:pt x="1648056" y="1933370"/>
                  </a:cubicBezTo>
                  <a:cubicBezTo>
                    <a:pt x="1648056" y="1930013"/>
                    <a:pt x="1651413" y="1926656"/>
                    <a:pt x="1654769" y="1926656"/>
                  </a:cubicBezTo>
                  <a:close/>
                  <a:moveTo>
                    <a:pt x="292018" y="1926618"/>
                  </a:moveTo>
                  <a:cubicBezTo>
                    <a:pt x="295374" y="1926618"/>
                    <a:pt x="298731" y="1929975"/>
                    <a:pt x="298731" y="1933330"/>
                  </a:cubicBezTo>
                  <a:cubicBezTo>
                    <a:pt x="298731" y="1936687"/>
                    <a:pt x="295374" y="1940042"/>
                    <a:pt x="292018" y="1940042"/>
                  </a:cubicBezTo>
                  <a:cubicBezTo>
                    <a:pt x="288661" y="1940042"/>
                    <a:pt x="285305" y="1936687"/>
                    <a:pt x="285305" y="1933330"/>
                  </a:cubicBezTo>
                  <a:cubicBezTo>
                    <a:pt x="285305" y="1929975"/>
                    <a:pt x="288661" y="1926618"/>
                    <a:pt x="292018" y="1926618"/>
                  </a:cubicBezTo>
                  <a:close/>
                  <a:moveTo>
                    <a:pt x="1201638" y="1923286"/>
                  </a:moveTo>
                  <a:cubicBezTo>
                    <a:pt x="1208351" y="1923286"/>
                    <a:pt x="1211708" y="1926640"/>
                    <a:pt x="1211708" y="1933354"/>
                  </a:cubicBezTo>
                  <a:cubicBezTo>
                    <a:pt x="1211708" y="1936710"/>
                    <a:pt x="1208351" y="1943424"/>
                    <a:pt x="1201638" y="1943424"/>
                  </a:cubicBezTo>
                  <a:cubicBezTo>
                    <a:pt x="1194925" y="1943424"/>
                    <a:pt x="1188212" y="1940066"/>
                    <a:pt x="1191568" y="1933354"/>
                  </a:cubicBezTo>
                  <a:cubicBezTo>
                    <a:pt x="1191568" y="1929998"/>
                    <a:pt x="1194925" y="1923286"/>
                    <a:pt x="1201638" y="1923286"/>
                  </a:cubicBezTo>
                  <a:close/>
                  <a:moveTo>
                    <a:pt x="745150" y="1916558"/>
                  </a:moveTo>
                  <a:cubicBezTo>
                    <a:pt x="755220" y="1916558"/>
                    <a:pt x="761933" y="1923272"/>
                    <a:pt x="761933" y="1933342"/>
                  </a:cubicBezTo>
                  <a:cubicBezTo>
                    <a:pt x="761933" y="1943409"/>
                    <a:pt x="755220" y="1950123"/>
                    <a:pt x="745150" y="1950123"/>
                  </a:cubicBezTo>
                  <a:cubicBezTo>
                    <a:pt x="738437" y="1950123"/>
                    <a:pt x="728367" y="1943409"/>
                    <a:pt x="728367" y="1933342"/>
                  </a:cubicBezTo>
                  <a:cubicBezTo>
                    <a:pt x="728367" y="1923272"/>
                    <a:pt x="735080" y="1916558"/>
                    <a:pt x="745150" y="1916558"/>
                  </a:cubicBezTo>
                  <a:close/>
                  <a:moveTo>
                    <a:pt x="1439951" y="1822595"/>
                  </a:moveTo>
                  <a:cubicBezTo>
                    <a:pt x="1446664" y="1822595"/>
                    <a:pt x="1450020" y="1825952"/>
                    <a:pt x="1450020" y="1832665"/>
                  </a:cubicBezTo>
                  <a:cubicBezTo>
                    <a:pt x="1450020" y="1839378"/>
                    <a:pt x="1446664" y="1842734"/>
                    <a:pt x="1439951" y="1842734"/>
                  </a:cubicBezTo>
                  <a:cubicBezTo>
                    <a:pt x="1433238" y="1842734"/>
                    <a:pt x="1429881" y="1839378"/>
                    <a:pt x="1429881" y="1832665"/>
                  </a:cubicBezTo>
                  <a:cubicBezTo>
                    <a:pt x="1429881" y="1825952"/>
                    <a:pt x="1433238" y="1822595"/>
                    <a:pt x="1439951" y="1822595"/>
                  </a:cubicBezTo>
                  <a:close/>
                  <a:moveTo>
                    <a:pt x="526975" y="1815858"/>
                  </a:moveTo>
                  <a:cubicBezTo>
                    <a:pt x="537045" y="1815858"/>
                    <a:pt x="543758" y="1822570"/>
                    <a:pt x="543758" y="1832640"/>
                  </a:cubicBezTo>
                  <a:cubicBezTo>
                    <a:pt x="543758" y="1842710"/>
                    <a:pt x="537045" y="1849423"/>
                    <a:pt x="526975" y="1849423"/>
                  </a:cubicBezTo>
                  <a:cubicBezTo>
                    <a:pt x="520262" y="1849423"/>
                    <a:pt x="513549" y="1839352"/>
                    <a:pt x="510192" y="1832640"/>
                  </a:cubicBezTo>
                  <a:cubicBezTo>
                    <a:pt x="510192" y="1822570"/>
                    <a:pt x="516906" y="1815858"/>
                    <a:pt x="526975" y="1815858"/>
                  </a:cubicBezTo>
                  <a:close/>
                  <a:moveTo>
                    <a:pt x="983463" y="1812512"/>
                  </a:moveTo>
                  <a:cubicBezTo>
                    <a:pt x="993533" y="1812512"/>
                    <a:pt x="1003602" y="1819226"/>
                    <a:pt x="1003602" y="1829294"/>
                  </a:cubicBezTo>
                  <a:cubicBezTo>
                    <a:pt x="1003602" y="1839365"/>
                    <a:pt x="993533" y="1849434"/>
                    <a:pt x="983463" y="1849434"/>
                  </a:cubicBezTo>
                  <a:cubicBezTo>
                    <a:pt x="973393" y="1849434"/>
                    <a:pt x="963324" y="1842721"/>
                    <a:pt x="963324" y="1832650"/>
                  </a:cubicBezTo>
                  <a:cubicBezTo>
                    <a:pt x="963324" y="1822581"/>
                    <a:pt x="973393" y="1812512"/>
                    <a:pt x="983463" y="1812512"/>
                  </a:cubicBezTo>
                  <a:close/>
                  <a:moveTo>
                    <a:pt x="312157" y="1728581"/>
                  </a:moveTo>
                  <a:cubicBezTo>
                    <a:pt x="312157" y="1728581"/>
                    <a:pt x="315513" y="1728581"/>
                    <a:pt x="312157" y="1731938"/>
                  </a:cubicBezTo>
                  <a:cubicBezTo>
                    <a:pt x="308800" y="1728581"/>
                    <a:pt x="308800" y="1728581"/>
                    <a:pt x="312157" y="1728581"/>
                  </a:cubicBezTo>
                  <a:close/>
                  <a:moveTo>
                    <a:pt x="1225134" y="1715181"/>
                  </a:moveTo>
                  <a:cubicBezTo>
                    <a:pt x="1231847" y="1715181"/>
                    <a:pt x="1238560" y="1721894"/>
                    <a:pt x="1238560" y="1728607"/>
                  </a:cubicBezTo>
                  <a:cubicBezTo>
                    <a:pt x="1238560" y="1735320"/>
                    <a:pt x="1231847" y="1742033"/>
                    <a:pt x="1225134" y="1742033"/>
                  </a:cubicBezTo>
                  <a:cubicBezTo>
                    <a:pt x="1218421" y="1742033"/>
                    <a:pt x="1211708" y="1738675"/>
                    <a:pt x="1211708" y="1728607"/>
                  </a:cubicBezTo>
                  <a:cubicBezTo>
                    <a:pt x="1211708" y="1721894"/>
                    <a:pt x="1218421" y="1715181"/>
                    <a:pt x="1225134" y="1715181"/>
                  </a:cubicBezTo>
                  <a:close/>
                  <a:moveTo>
                    <a:pt x="768646" y="1708456"/>
                  </a:moveTo>
                  <a:cubicBezTo>
                    <a:pt x="781622" y="1708456"/>
                    <a:pt x="792142" y="1718974"/>
                    <a:pt x="792142" y="1731951"/>
                  </a:cubicBezTo>
                  <a:cubicBezTo>
                    <a:pt x="792142" y="1744926"/>
                    <a:pt x="781622" y="1755446"/>
                    <a:pt x="768646" y="1755446"/>
                  </a:cubicBezTo>
                  <a:cubicBezTo>
                    <a:pt x="755670" y="1755446"/>
                    <a:pt x="745150" y="1744926"/>
                    <a:pt x="745150" y="1731951"/>
                  </a:cubicBezTo>
                  <a:cubicBezTo>
                    <a:pt x="745150" y="1718974"/>
                    <a:pt x="755670" y="1708456"/>
                    <a:pt x="768646" y="1708456"/>
                  </a:cubicBezTo>
                  <a:close/>
                  <a:moveTo>
                    <a:pt x="1473517" y="1624561"/>
                  </a:moveTo>
                  <a:cubicBezTo>
                    <a:pt x="1476874" y="1624561"/>
                    <a:pt x="1480230" y="1627917"/>
                    <a:pt x="1480230" y="1631275"/>
                  </a:cubicBezTo>
                  <a:cubicBezTo>
                    <a:pt x="1480230" y="1634631"/>
                    <a:pt x="1476874" y="1637987"/>
                    <a:pt x="1473517" y="1637987"/>
                  </a:cubicBezTo>
                  <a:cubicBezTo>
                    <a:pt x="1466804" y="1637987"/>
                    <a:pt x="1463448" y="1634631"/>
                    <a:pt x="1466804" y="1631275"/>
                  </a:cubicBezTo>
                  <a:cubicBezTo>
                    <a:pt x="1466804" y="1627917"/>
                    <a:pt x="1470161" y="1624561"/>
                    <a:pt x="1473517" y="1624561"/>
                  </a:cubicBezTo>
                  <a:close/>
                  <a:moveTo>
                    <a:pt x="553827" y="1617822"/>
                  </a:moveTo>
                  <a:cubicBezTo>
                    <a:pt x="561243" y="1617822"/>
                    <a:pt x="567254" y="1623833"/>
                    <a:pt x="567254" y="1631249"/>
                  </a:cubicBezTo>
                  <a:cubicBezTo>
                    <a:pt x="567254" y="1638664"/>
                    <a:pt x="561243" y="1644675"/>
                    <a:pt x="553827" y="1644675"/>
                  </a:cubicBezTo>
                  <a:cubicBezTo>
                    <a:pt x="546412" y="1644675"/>
                    <a:pt x="540401" y="1638664"/>
                    <a:pt x="540401" y="1631249"/>
                  </a:cubicBezTo>
                  <a:cubicBezTo>
                    <a:pt x="540401" y="1623833"/>
                    <a:pt x="546412" y="1617822"/>
                    <a:pt x="553827" y="1617822"/>
                  </a:cubicBezTo>
                  <a:close/>
                  <a:moveTo>
                    <a:pt x="1013672" y="1611121"/>
                  </a:moveTo>
                  <a:cubicBezTo>
                    <a:pt x="1027098" y="1611121"/>
                    <a:pt x="1033811" y="1621192"/>
                    <a:pt x="1033811" y="1631261"/>
                  </a:cubicBezTo>
                  <a:cubicBezTo>
                    <a:pt x="1033811" y="1641330"/>
                    <a:pt x="1023741" y="1651401"/>
                    <a:pt x="1013672" y="1651401"/>
                  </a:cubicBezTo>
                  <a:cubicBezTo>
                    <a:pt x="1000246" y="1651401"/>
                    <a:pt x="993533" y="1641330"/>
                    <a:pt x="993533" y="1631261"/>
                  </a:cubicBezTo>
                  <a:cubicBezTo>
                    <a:pt x="993533" y="1617835"/>
                    <a:pt x="1003602" y="1611121"/>
                    <a:pt x="1013672" y="1611121"/>
                  </a:cubicBezTo>
                  <a:close/>
                  <a:moveTo>
                    <a:pt x="1725256" y="1530583"/>
                  </a:moveTo>
                  <a:cubicBezTo>
                    <a:pt x="1725256" y="1530583"/>
                    <a:pt x="1728613" y="1530583"/>
                    <a:pt x="1728613" y="1533939"/>
                  </a:cubicBezTo>
                  <a:cubicBezTo>
                    <a:pt x="1728613" y="1533939"/>
                    <a:pt x="1728613" y="1537296"/>
                    <a:pt x="1725256" y="1537296"/>
                  </a:cubicBezTo>
                  <a:cubicBezTo>
                    <a:pt x="1721900" y="1537296"/>
                    <a:pt x="1721900" y="1537296"/>
                    <a:pt x="1721900" y="1533939"/>
                  </a:cubicBezTo>
                  <a:cubicBezTo>
                    <a:pt x="1721900" y="1533939"/>
                    <a:pt x="1725256" y="1530583"/>
                    <a:pt x="1725256" y="1530583"/>
                  </a:cubicBezTo>
                  <a:close/>
                  <a:moveTo>
                    <a:pt x="1262056" y="1523856"/>
                  </a:moveTo>
                  <a:cubicBezTo>
                    <a:pt x="1265412" y="1523856"/>
                    <a:pt x="1272125" y="1527211"/>
                    <a:pt x="1272125" y="1533926"/>
                  </a:cubicBezTo>
                  <a:cubicBezTo>
                    <a:pt x="1272125" y="1537281"/>
                    <a:pt x="1268769" y="1543996"/>
                    <a:pt x="1262056" y="1543996"/>
                  </a:cubicBezTo>
                  <a:cubicBezTo>
                    <a:pt x="1255342" y="1543996"/>
                    <a:pt x="1248629" y="1537281"/>
                    <a:pt x="1251986" y="1533926"/>
                  </a:cubicBezTo>
                  <a:cubicBezTo>
                    <a:pt x="1251986" y="1530569"/>
                    <a:pt x="1255342" y="1523856"/>
                    <a:pt x="1262056" y="1523856"/>
                  </a:cubicBezTo>
                  <a:close/>
                  <a:moveTo>
                    <a:pt x="798855" y="1513777"/>
                  </a:moveTo>
                  <a:cubicBezTo>
                    <a:pt x="808924" y="1513777"/>
                    <a:pt x="815637" y="1520489"/>
                    <a:pt x="815637" y="1530558"/>
                  </a:cubicBezTo>
                  <a:cubicBezTo>
                    <a:pt x="815637" y="1540628"/>
                    <a:pt x="808924" y="1547340"/>
                    <a:pt x="798855" y="1547340"/>
                  </a:cubicBezTo>
                  <a:cubicBezTo>
                    <a:pt x="788785" y="1547340"/>
                    <a:pt x="782072" y="1540628"/>
                    <a:pt x="782072" y="1530558"/>
                  </a:cubicBezTo>
                  <a:cubicBezTo>
                    <a:pt x="782072" y="1520489"/>
                    <a:pt x="788785" y="1513777"/>
                    <a:pt x="798855" y="1513777"/>
                  </a:cubicBezTo>
                  <a:close/>
                  <a:moveTo>
                    <a:pt x="1517151" y="1433236"/>
                  </a:moveTo>
                  <a:cubicBezTo>
                    <a:pt x="1517151" y="1433236"/>
                    <a:pt x="1520508" y="1436592"/>
                    <a:pt x="1520508" y="1436592"/>
                  </a:cubicBezTo>
                  <a:cubicBezTo>
                    <a:pt x="1520508" y="1436592"/>
                    <a:pt x="1520508" y="1439949"/>
                    <a:pt x="1517151" y="1439949"/>
                  </a:cubicBezTo>
                  <a:cubicBezTo>
                    <a:pt x="1513795" y="1439949"/>
                    <a:pt x="1513795" y="1436592"/>
                    <a:pt x="1513795" y="1436592"/>
                  </a:cubicBezTo>
                  <a:cubicBezTo>
                    <a:pt x="1513795" y="1436592"/>
                    <a:pt x="1513795" y="1433236"/>
                    <a:pt x="1517151" y="1433236"/>
                  </a:cubicBezTo>
                  <a:close/>
                  <a:moveTo>
                    <a:pt x="587393" y="1423142"/>
                  </a:moveTo>
                  <a:cubicBezTo>
                    <a:pt x="590749" y="1423142"/>
                    <a:pt x="594106" y="1426499"/>
                    <a:pt x="594106" y="1429855"/>
                  </a:cubicBezTo>
                  <a:cubicBezTo>
                    <a:pt x="594106" y="1433211"/>
                    <a:pt x="590749" y="1436568"/>
                    <a:pt x="587393" y="1436568"/>
                  </a:cubicBezTo>
                  <a:cubicBezTo>
                    <a:pt x="584036" y="1436568"/>
                    <a:pt x="580680" y="1433211"/>
                    <a:pt x="580680" y="1429855"/>
                  </a:cubicBezTo>
                  <a:cubicBezTo>
                    <a:pt x="580680" y="1426499"/>
                    <a:pt x="584036" y="1423142"/>
                    <a:pt x="587393" y="1423142"/>
                  </a:cubicBezTo>
                  <a:close/>
                  <a:moveTo>
                    <a:pt x="1050594" y="1419798"/>
                  </a:moveTo>
                  <a:cubicBezTo>
                    <a:pt x="1058009" y="1419798"/>
                    <a:pt x="1064020" y="1425809"/>
                    <a:pt x="1064020" y="1433224"/>
                  </a:cubicBezTo>
                  <a:cubicBezTo>
                    <a:pt x="1064020" y="1440639"/>
                    <a:pt x="1058009" y="1446650"/>
                    <a:pt x="1050594" y="1446650"/>
                  </a:cubicBezTo>
                  <a:cubicBezTo>
                    <a:pt x="1043178" y="1446650"/>
                    <a:pt x="1037168" y="1440639"/>
                    <a:pt x="1037168" y="1433224"/>
                  </a:cubicBezTo>
                  <a:cubicBezTo>
                    <a:pt x="1037168" y="1425809"/>
                    <a:pt x="1043178" y="1419798"/>
                    <a:pt x="1050594" y="1419798"/>
                  </a:cubicBezTo>
                  <a:close/>
                  <a:moveTo>
                    <a:pt x="1782318" y="1335905"/>
                  </a:moveTo>
                  <a:lnTo>
                    <a:pt x="1782318" y="1341359"/>
                  </a:lnTo>
                  <a:cubicBezTo>
                    <a:pt x="1782318" y="1341779"/>
                    <a:pt x="1782318" y="1342618"/>
                    <a:pt x="1782318" y="1342618"/>
                  </a:cubicBezTo>
                  <a:cubicBezTo>
                    <a:pt x="1778961" y="1335905"/>
                    <a:pt x="1778961" y="1335905"/>
                    <a:pt x="1782318" y="1335905"/>
                  </a:cubicBezTo>
                  <a:close/>
                  <a:moveTo>
                    <a:pt x="1309047" y="1325824"/>
                  </a:moveTo>
                  <a:cubicBezTo>
                    <a:pt x="1312404" y="1325824"/>
                    <a:pt x="1319117" y="1329179"/>
                    <a:pt x="1319117" y="1335892"/>
                  </a:cubicBezTo>
                  <a:cubicBezTo>
                    <a:pt x="1319117" y="1339249"/>
                    <a:pt x="1315760" y="1345962"/>
                    <a:pt x="1309047" y="1345962"/>
                  </a:cubicBezTo>
                  <a:cubicBezTo>
                    <a:pt x="1302334" y="1345962"/>
                    <a:pt x="1298977" y="1339249"/>
                    <a:pt x="1298977" y="1335892"/>
                  </a:cubicBezTo>
                  <a:cubicBezTo>
                    <a:pt x="1298977" y="1332534"/>
                    <a:pt x="1302334" y="1325824"/>
                    <a:pt x="1309047" y="1325824"/>
                  </a:cubicBezTo>
                  <a:close/>
                  <a:moveTo>
                    <a:pt x="842488" y="1322455"/>
                  </a:moveTo>
                  <a:cubicBezTo>
                    <a:pt x="845845" y="1322455"/>
                    <a:pt x="852558" y="1325811"/>
                    <a:pt x="852558" y="1332525"/>
                  </a:cubicBezTo>
                  <a:cubicBezTo>
                    <a:pt x="852558" y="1335881"/>
                    <a:pt x="849202" y="1342593"/>
                    <a:pt x="842488" y="1342593"/>
                  </a:cubicBezTo>
                  <a:cubicBezTo>
                    <a:pt x="835775" y="1342593"/>
                    <a:pt x="832419" y="1339237"/>
                    <a:pt x="832419" y="1332525"/>
                  </a:cubicBezTo>
                  <a:cubicBezTo>
                    <a:pt x="832419" y="1329167"/>
                    <a:pt x="835775" y="1322455"/>
                    <a:pt x="842488" y="1322455"/>
                  </a:cubicBezTo>
                  <a:close/>
                  <a:moveTo>
                    <a:pt x="1574212" y="1231846"/>
                  </a:moveTo>
                  <a:cubicBezTo>
                    <a:pt x="1577920" y="1231846"/>
                    <a:pt x="1580925" y="1234850"/>
                    <a:pt x="1580925" y="1238559"/>
                  </a:cubicBezTo>
                  <a:cubicBezTo>
                    <a:pt x="1580925" y="1242266"/>
                    <a:pt x="1577920" y="1245269"/>
                    <a:pt x="1574212" y="1245269"/>
                  </a:cubicBezTo>
                  <a:cubicBezTo>
                    <a:pt x="1570505" y="1245269"/>
                    <a:pt x="1567499" y="1242266"/>
                    <a:pt x="1567499" y="1238559"/>
                  </a:cubicBezTo>
                  <a:cubicBezTo>
                    <a:pt x="1567499" y="1234850"/>
                    <a:pt x="1570505" y="1231846"/>
                    <a:pt x="1574212" y="1231846"/>
                  </a:cubicBezTo>
                  <a:close/>
                  <a:moveTo>
                    <a:pt x="1100942" y="1218408"/>
                  </a:moveTo>
                  <a:cubicBezTo>
                    <a:pt x="1111011" y="1218408"/>
                    <a:pt x="1117724" y="1225122"/>
                    <a:pt x="1117724" y="1235192"/>
                  </a:cubicBezTo>
                  <a:cubicBezTo>
                    <a:pt x="1117724" y="1245260"/>
                    <a:pt x="1111011" y="1251973"/>
                    <a:pt x="1100942" y="1251973"/>
                  </a:cubicBezTo>
                  <a:cubicBezTo>
                    <a:pt x="1094229" y="1251973"/>
                    <a:pt x="1084159" y="1245260"/>
                    <a:pt x="1084159" y="1235192"/>
                  </a:cubicBezTo>
                  <a:cubicBezTo>
                    <a:pt x="1084159" y="1225122"/>
                    <a:pt x="1090872" y="1218408"/>
                    <a:pt x="1100942" y="1218408"/>
                  </a:cubicBezTo>
                  <a:close/>
                  <a:moveTo>
                    <a:pt x="1369465" y="1134500"/>
                  </a:moveTo>
                  <a:cubicBezTo>
                    <a:pt x="1372821" y="1134500"/>
                    <a:pt x="1376178" y="1137856"/>
                    <a:pt x="1376178" y="1141213"/>
                  </a:cubicBezTo>
                  <a:cubicBezTo>
                    <a:pt x="1376178" y="1144567"/>
                    <a:pt x="1372821" y="1147925"/>
                    <a:pt x="1369465" y="1147925"/>
                  </a:cubicBezTo>
                  <a:cubicBezTo>
                    <a:pt x="1366108" y="1147925"/>
                    <a:pt x="1362752" y="1144567"/>
                    <a:pt x="1362752" y="1141213"/>
                  </a:cubicBezTo>
                  <a:cubicBezTo>
                    <a:pt x="1362752" y="1137856"/>
                    <a:pt x="1366108" y="1134500"/>
                    <a:pt x="1369465" y="1134500"/>
                  </a:cubicBezTo>
                  <a:close/>
                  <a:moveTo>
                    <a:pt x="896193" y="1127776"/>
                  </a:moveTo>
                  <a:cubicBezTo>
                    <a:pt x="899550" y="1127776"/>
                    <a:pt x="906263" y="1131133"/>
                    <a:pt x="906263" y="1137846"/>
                  </a:cubicBezTo>
                  <a:cubicBezTo>
                    <a:pt x="906263" y="1141201"/>
                    <a:pt x="902906" y="1147915"/>
                    <a:pt x="896193" y="1147915"/>
                  </a:cubicBezTo>
                  <a:cubicBezTo>
                    <a:pt x="889480" y="1147915"/>
                    <a:pt x="882767" y="1141201"/>
                    <a:pt x="886123" y="1137846"/>
                  </a:cubicBezTo>
                  <a:cubicBezTo>
                    <a:pt x="886123" y="1134488"/>
                    <a:pt x="889480" y="1127776"/>
                    <a:pt x="896193" y="1127776"/>
                  </a:cubicBezTo>
                  <a:close/>
                  <a:moveTo>
                    <a:pt x="1644700" y="1043878"/>
                  </a:moveTo>
                  <a:cubicBezTo>
                    <a:pt x="1648056" y="1043878"/>
                    <a:pt x="1648056" y="1047233"/>
                    <a:pt x="1644700" y="1050591"/>
                  </a:cubicBezTo>
                  <a:cubicBezTo>
                    <a:pt x="1641343" y="1047233"/>
                    <a:pt x="1644700" y="1043878"/>
                    <a:pt x="1644700" y="1043878"/>
                  </a:cubicBezTo>
                  <a:close/>
                  <a:moveTo>
                    <a:pt x="1164716" y="1030441"/>
                  </a:moveTo>
                  <a:cubicBezTo>
                    <a:pt x="1171429" y="1030441"/>
                    <a:pt x="1174786" y="1033800"/>
                    <a:pt x="1174786" y="1040512"/>
                  </a:cubicBezTo>
                  <a:cubicBezTo>
                    <a:pt x="1174786" y="1047224"/>
                    <a:pt x="1171429" y="1050581"/>
                    <a:pt x="1164716" y="1050581"/>
                  </a:cubicBezTo>
                  <a:cubicBezTo>
                    <a:pt x="1158003" y="1050581"/>
                    <a:pt x="1154646" y="1047224"/>
                    <a:pt x="1154646" y="1040512"/>
                  </a:cubicBezTo>
                  <a:cubicBezTo>
                    <a:pt x="1154646" y="1033800"/>
                    <a:pt x="1158003" y="1030441"/>
                    <a:pt x="1164716" y="1030441"/>
                  </a:cubicBezTo>
                  <a:close/>
                  <a:moveTo>
                    <a:pt x="1439951" y="939813"/>
                  </a:moveTo>
                  <a:cubicBezTo>
                    <a:pt x="1446664" y="939813"/>
                    <a:pt x="1450020" y="943170"/>
                    <a:pt x="1450020" y="949882"/>
                  </a:cubicBezTo>
                  <a:cubicBezTo>
                    <a:pt x="1450020" y="956596"/>
                    <a:pt x="1443307" y="959953"/>
                    <a:pt x="1439951" y="959953"/>
                  </a:cubicBezTo>
                  <a:cubicBezTo>
                    <a:pt x="1436594" y="959953"/>
                    <a:pt x="1429881" y="956596"/>
                    <a:pt x="1429881" y="949882"/>
                  </a:cubicBezTo>
                  <a:cubicBezTo>
                    <a:pt x="1429881" y="943170"/>
                    <a:pt x="1436594" y="939813"/>
                    <a:pt x="1439951" y="939813"/>
                  </a:cubicBezTo>
                  <a:close/>
                  <a:moveTo>
                    <a:pt x="959967" y="933090"/>
                  </a:moveTo>
                  <a:cubicBezTo>
                    <a:pt x="963324" y="933090"/>
                    <a:pt x="970037" y="936445"/>
                    <a:pt x="970037" y="943159"/>
                  </a:cubicBezTo>
                  <a:cubicBezTo>
                    <a:pt x="970037" y="946516"/>
                    <a:pt x="966680" y="953228"/>
                    <a:pt x="959967" y="953228"/>
                  </a:cubicBezTo>
                  <a:cubicBezTo>
                    <a:pt x="953254" y="953228"/>
                    <a:pt x="946541" y="949871"/>
                    <a:pt x="949898" y="943159"/>
                  </a:cubicBezTo>
                  <a:cubicBezTo>
                    <a:pt x="949898" y="939803"/>
                    <a:pt x="953254" y="933090"/>
                    <a:pt x="959967" y="933090"/>
                  </a:cubicBezTo>
                  <a:close/>
                  <a:moveTo>
                    <a:pt x="1728613" y="859262"/>
                  </a:moveTo>
                  <a:cubicBezTo>
                    <a:pt x="1728613" y="859262"/>
                    <a:pt x="1731970" y="859262"/>
                    <a:pt x="1731970" y="862618"/>
                  </a:cubicBezTo>
                  <a:cubicBezTo>
                    <a:pt x="1731970" y="862618"/>
                    <a:pt x="1731970" y="865975"/>
                    <a:pt x="1728613" y="865975"/>
                  </a:cubicBezTo>
                  <a:cubicBezTo>
                    <a:pt x="1725256" y="865975"/>
                    <a:pt x="1721900" y="865975"/>
                    <a:pt x="1725256" y="862618"/>
                  </a:cubicBezTo>
                  <a:cubicBezTo>
                    <a:pt x="1725256" y="862618"/>
                    <a:pt x="1728613" y="859262"/>
                    <a:pt x="1728613" y="859262"/>
                  </a:cubicBezTo>
                  <a:close/>
                  <a:moveTo>
                    <a:pt x="1235203" y="845825"/>
                  </a:moveTo>
                  <a:cubicBezTo>
                    <a:pt x="1238560" y="845825"/>
                    <a:pt x="1241916" y="849182"/>
                    <a:pt x="1241916" y="852538"/>
                  </a:cubicBezTo>
                  <a:cubicBezTo>
                    <a:pt x="1241916" y="855895"/>
                    <a:pt x="1238560" y="859251"/>
                    <a:pt x="1235203" y="859251"/>
                  </a:cubicBezTo>
                  <a:cubicBezTo>
                    <a:pt x="1231847" y="859251"/>
                    <a:pt x="1228490" y="855895"/>
                    <a:pt x="1228490" y="852538"/>
                  </a:cubicBezTo>
                  <a:cubicBezTo>
                    <a:pt x="1228490" y="849182"/>
                    <a:pt x="1231847" y="845825"/>
                    <a:pt x="1235203" y="845825"/>
                  </a:cubicBezTo>
                  <a:close/>
                  <a:moveTo>
                    <a:pt x="2027344" y="778710"/>
                  </a:moveTo>
                  <a:cubicBezTo>
                    <a:pt x="2027344" y="778710"/>
                    <a:pt x="2030700" y="778710"/>
                    <a:pt x="2027344" y="782066"/>
                  </a:cubicBezTo>
                  <a:cubicBezTo>
                    <a:pt x="2023987" y="778710"/>
                    <a:pt x="2027344" y="778710"/>
                    <a:pt x="2027344" y="778710"/>
                  </a:cubicBezTo>
                  <a:close/>
                  <a:moveTo>
                    <a:pt x="1523864" y="751848"/>
                  </a:moveTo>
                  <a:cubicBezTo>
                    <a:pt x="1530577" y="751848"/>
                    <a:pt x="1537290" y="758561"/>
                    <a:pt x="1537290" y="765275"/>
                  </a:cubicBezTo>
                  <a:cubicBezTo>
                    <a:pt x="1537290" y="771987"/>
                    <a:pt x="1530577" y="778701"/>
                    <a:pt x="1523864" y="778701"/>
                  </a:cubicBezTo>
                  <a:cubicBezTo>
                    <a:pt x="1517151" y="778701"/>
                    <a:pt x="1510438" y="771987"/>
                    <a:pt x="1510438" y="765275"/>
                  </a:cubicBezTo>
                  <a:cubicBezTo>
                    <a:pt x="1510438" y="758561"/>
                    <a:pt x="1517151" y="751848"/>
                    <a:pt x="1523864" y="751848"/>
                  </a:cubicBezTo>
                  <a:close/>
                  <a:moveTo>
                    <a:pt x="1033811" y="745126"/>
                  </a:moveTo>
                  <a:cubicBezTo>
                    <a:pt x="1037168" y="745126"/>
                    <a:pt x="1040524" y="748481"/>
                    <a:pt x="1040524" y="751838"/>
                  </a:cubicBezTo>
                  <a:cubicBezTo>
                    <a:pt x="1040524" y="755194"/>
                    <a:pt x="1037168" y="758551"/>
                    <a:pt x="1033811" y="758551"/>
                  </a:cubicBezTo>
                  <a:cubicBezTo>
                    <a:pt x="1030454" y="758551"/>
                    <a:pt x="1027098" y="755194"/>
                    <a:pt x="1027098" y="751838"/>
                  </a:cubicBezTo>
                  <a:cubicBezTo>
                    <a:pt x="1027098" y="748481"/>
                    <a:pt x="1030454" y="745126"/>
                    <a:pt x="1033811" y="745126"/>
                  </a:cubicBezTo>
                  <a:close/>
                  <a:moveTo>
                    <a:pt x="1822596" y="681366"/>
                  </a:moveTo>
                  <a:cubicBezTo>
                    <a:pt x="1822596" y="681366"/>
                    <a:pt x="1825953" y="681366"/>
                    <a:pt x="1822596" y="684723"/>
                  </a:cubicBezTo>
                  <a:cubicBezTo>
                    <a:pt x="1819240" y="681366"/>
                    <a:pt x="1819240" y="681366"/>
                    <a:pt x="1822596" y="681366"/>
                  </a:cubicBezTo>
                  <a:close/>
                  <a:moveTo>
                    <a:pt x="1319117" y="654504"/>
                  </a:moveTo>
                  <a:cubicBezTo>
                    <a:pt x="1325830" y="654504"/>
                    <a:pt x="1329186" y="657861"/>
                    <a:pt x="1329186" y="664574"/>
                  </a:cubicBezTo>
                  <a:cubicBezTo>
                    <a:pt x="1329186" y="671286"/>
                    <a:pt x="1325830" y="674643"/>
                    <a:pt x="1319117" y="674643"/>
                  </a:cubicBezTo>
                  <a:cubicBezTo>
                    <a:pt x="1315760" y="674643"/>
                    <a:pt x="1309047" y="671286"/>
                    <a:pt x="1309047" y="664574"/>
                  </a:cubicBezTo>
                  <a:cubicBezTo>
                    <a:pt x="1309047" y="657861"/>
                    <a:pt x="1312404" y="654504"/>
                    <a:pt x="1319117" y="654504"/>
                  </a:cubicBezTo>
                  <a:close/>
                  <a:moveTo>
                    <a:pt x="2131396" y="607528"/>
                  </a:moveTo>
                  <a:cubicBezTo>
                    <a:pt x="2131396" y="607528"/>
                    <a:pt x="2134753" y="607528"/>
                    <a:pt x="2131396" y="610885"/>
                  </a:cubicBezTo>
                  <a:lnTo>
                    <a:pt x="2131396" y="609627"/>
                  </a:lnTo>
                  <a:close/>
                  <a:moveTo>
                    <a:pt x="1617847" y="577309"/>
                  </a:moveTo>
                  <a:cubicBezTo>
                    <a:pt x="1621204" y="577309"/>
                    <a:pt x="1624560" y="580666"/>
                    <a:pt x="1624560" y="584023"/>
                  </a:cubicBezTo>
                  <a:cubicBezTo>
                    <a:pt x="1624560" y="587379"/>
                    <a:pt x="1621204" y="590735"/>
                    <a:pt x="1617847" y="590735"/>
                  </a:cubicBezTo>
                  <a:cubicBezTo>
                    <a:pt x="1614491" y="590735"/>
                    <a:pt x="1611134" y="587379"/>
                    <a:pt x="1611134" y="584023"/>
                  </a:cubicBezTo>
                  <a:cubicBezTo>
                    <a:pt x="1611134" y="580666"/>
                    <a:pt x="1614491" y="577309"/>
                    <a:pt x="1617847" y="577309"/>
                  </a:cubicBezTo>
                  <a:close/>
                  <a:moveTo>
                    <a:pt x="1926649" y="506828"/>
                  </a:moveTo>
                  <a:cubicBezTo>
                    <a:pt x="1926649" y="506828"/>
                    <a:pt x="1930005" y="506828"/>
                    <a:pt x="1930005" y="510184"/>
                  </a:cubicBezTo>
                  <a:cubicBezTo>
                    <a:pt x="1930005" y="510184"/>
                    <a:pt x="1930005" y="513541"/>
                    <a:pt x="1926649" y="513541"/>
                  </a:cubicBezTo>
                  <a:cubicBezTo>
                    <a:pt x="1923292" y="513541"/>
                    <a:pt x="1923292" y="510184"/>
                    <a:pt x="1923292" y="510184"/>
                  </a:cubicBezTo>
                  <a:cubicBezTo>
                    <a:pt x="1923292" y="510184"/>
                    <a:pt x="1923292" y="506828"/>
                    <a:pt x="1926649" y="506828"/>
                  </a:cubicBezTo>
                  <a:close/>
                  <a:moveTo>
                    <a:pt x="1413099" y="476608"/>
                  </a:moveTo>
                  <a:cubicBezTo>
                    <a:pt x="1419812" y="476608"/>
                    <a:pt x="1423168" y="479965"/>
                    <a:pt x="1423168" y="486678"/>
                  </a:cubicBezTo>
                  <a:cubicBezTo>
                    <a:pt x="1423168" y="493391"/>
                    <a:pt x="1419812" y="496747"/>
                    <a:pt x="1413099" y="496747"/>
                  </a:cubicBezTo>
                  <a:cubicBezTo>
                    <a:pt x="1406386" y="496747"/>
                    <a:pt x="1403029" y="490034"/>
                    <a:pt x="1403029" y="486678"/>
                  </a:cubicBezTo>
                  <a:cubicBezTo>
                    <a:pt x="1403029" y="479965"/>
                    <a:pt x="1406386" y="476608"/>
                    <a:pt x="1413099" y="476608"/>
                  </a:cubicBezTo>
                  <a:close/>
                  <a:moveTo>
                    <a:pt x="2252232" y="439702"/>
                  </a:moveTo>
                  <a:cubicBezTo>
                    <a:pt x="2252232" y="439702"/>
                    <a:pt x="2255588" y="443059"/>
                    <a:pt x="2252232" y="446415"/>
                  </a:cubicBezTo>
                  <a:cubicBezTo>
                    <a:pt x="2248875" y="439702"/>
                    <a:pt x="2248875" y="439702"/>
                    <a:pt x="2252232" y="439702"/>
                  </a:cubicBezTo>
                  <a:close/>
                  <a:moveTo>
                    <a:pt x="1721900" y="402770"/>
                  </a:moveTo>
                  <a:cubicBezTo>
                    <a:pt x="1725256" y="402770"/>
                    <a:pt x="1728613" y="406126"/>
                    <a:pt x="1728613" y="409483"/>
                  </a:cubicBezTo>
                  <a:cubicBezTo>
                    <a:pt x="1728613" y="412839"/>
                    <a:pt x="1725256" y="416196"/>
                    <a:pt x="1721900" y="416196"/>
                  </a:cubicBezTo>
                  <a:cubicBezTo>
                    <a:pt x="1718543" y="416196"/>
                    <a:pt x="1715187" y="412839"/>
                    <a:pt x="1715187" y="409483"/>
                  </a:cubicBezTo>
                  <a:cubicBezTo>
                    <a:pt x="1715187" y="406126"/>
                    <a:pt x="1718543" y="402770"/>
                    <a:pt x="1721900" y="402770"/>
                  </a:cubicBezTo>
                  <a:close/>
                  <a:moveTo>
                    <a:pt x="2044126" y="339001"/>
                  </a:moveTo>
                  <a:cubicBezTo>
                    <a:pt x="2044126" y="339001"/>
                    <a:pt x="2047483" y="342358"/>
                    <a:pt x="2044126" y="345715"/>
                  </a:cubicBezTo>
                  <a:cubicBezTo>
                    <a:pt x="2040770" y="339001"/>
                    <a:pt x="2040770" y="339001"/>
                    <a:pt x="2044126" y="339001"/>
                  </a:cubicBezTo>
                  <a:close/>
                  <a:moveTo>
                    <a:pt x="1517151" y="305426"/>
                  </a:moveTo>
                  <a:cubicBezTo>
                    <a:pt x="1517151" y="305426"/>
                    <a:pt x="1520508" y="308782"/>
                    <a:pt x="1517151" y="312139"/>
                  </a:cubicBezTo>
                  <a:cubicBezTo>
                    <a:pt x="1513795" y="308782"/>
                    <a:pt x="1513795" y="308782"/>
                    <a:pt x="1517151" y="305426"/>
                  </a:cubicBezTo>
                  <a:close/>
                  <a:moveTo>
                    <a:pt x="2379780" y="285303"/>
                  </a:moveTo>
                  <a:cubicBezTo>
                    <a:pt x="2379780" y="285303"/>
                    <a:pt x="2383136" y="285303"/>
                    <a:pt x="2379780" y="288659"/>
                  </a:cubicBezTo>
                  <a:cubicBezTo>
                    <a:pt x="2376424" y="285303"/>
                    <a:pt x="2379780" y="285303"/>
                    <a:pt x="2379780" y="285303"/>
                  </a:cubicBezTo>
                  <a:close/>
                  <a:moveTo>
                    <a:pt x="1834762" y="240820"/>
                  </a:moveTo>
                  <a:cubicBezTo>
                    <a:pt x="1835182" y="239980"/>
                    <a:pt x="1836021" y="239980"/>
                    <a:pt x="1836021" y="241658"/>
                  </a:cubicBezTo>
                  <a:cubicBezTo>
                    <a:pt x="1836021" y="241658"/>
                    <a:pt x="1839378" y="241658"/>
                    <a:pt x="1836021" y="245015"/>
                  </a:cubicBezTo>
                  <a:cubicBezTo>
                    <a:pt x="1834343" y="243337"/>
                    <a:pt x="1834343" y="241658"/>
                    <a:pt x="1834762" y="240820"/>
                  </a:cubicBezTo>
                  <a:close/>
                  <a:moveTo>
                    <a:pt x="2168318" y="181245"/>
                  </a:moveTo>
                  <a:cubicBezTo>
                    <a:pt x="2168318" y="181245"/>
                    <a:pt x="2171675" y="181245"/>
                    <a:pt x="2168318" y="184602"/>
                  </a:cubicBezTo>
                  <a:cubicBezTo>
                    <a:pt x="2168318" y="181245"/>
                    <a:pt x="2168318" y="181245"/>
                    <a:pt x="2168318" y="181245"/>
                  </a:cubicBezTo>
                  <a:close/>
                  <a:moveTo>
                    <a:pt x="2520754" y="137617"/>
                  </a:moveTo>
                  <a:cubicBezTo>
                    <a:pt x="2520754" y="137617"/>
                    <a:pt x="2524110" y="137617"/>
                    <a:pt x="2520754" y="140974"/>
                  </a:cubicBezTo>
                  <a:cubicBezTo>
                    <a:pt x="2517397" y="137617"/>
                    <a:pt x="2520754" y="137617"/>
                    <a:pt x="2520754" y="137617"/>
                  </a:cubicBezTo>
                  <a:close/>
                  <a:moveTo>
                    <a:pt x="1960213" y="77189"/>
                  </a:moveTo>
                  <a:cubicBezTo>
                    <a:pt x="1960213" y="77189"/>
                    <a:pt x="1963570" y="80545"/>
                    <a:pt x="1960213" y="83901"/>
                  </a:cubicBezTo>
                  <a:cubicBezTo>
                    <a:pt x="1956856" y="80545"/>
                    <a:pt x="1956856" y="77189"/>
                    <a:pt x="1960213" y="77189"/>
                  </a:cubicBezTo>
                  <a:close/>
                  <a:moveTo>
                    <a:pt x="2305936" y="30203"/>
                  </a:moveTo>
                  <a:cubicBezTo>
                    <a:pt x="2305936" y="30203"/>
                    <a:pt x="2309293" y="30203"/>
                    <a:pt x="2305936" y="33559"/>
                  </a:cubicBezTo>
                  <a:cubicBezTo>
                    <a:pt x="2302580" y="30203"/>
                    <a:pt x="2305936" y="30203"/>
                    <a:pt x="2305936" y="30203"/>
                  </a:cubicBezTo>
                  <a:close/>
                  <a:moveTo>
                    <a:pt x="2668441" y="0"/>
                  </a:moveTo>
                  <a:cubicBezTo>
                    <a:pt x="2668441" y="0"/>
                    <a:pt x="2671798" y="0"/>
                    <a:pt x="2668441" y="3357"/>
                  </a:cubicBezTo>
                  <a:cubicBezTo>
                    <a:pt x="2668441" y="0"/>
                    <a:pt x="2668441" y="0"/>
                    <a:pt x="2668441" y="0"/>
                  </a:cubicBezTo>
                  <a:close/>
                </a:path>
              </a:pathLst>
            </a:custGeom>
            <a:gradFill>
              <a:gsLst>
                <a:gs pos="0">
                  <a:schemeClr val="accent3">
                    <a:alpha val="0"/>
                  </a:schemeClr>
                </a:gs>
                <a:gs pos="100000">
                  <a:schemeClr val="accent1">
                    <a:lumMod val="75000"/>
                    <a:alpha val="17000"/>
                  </a:schemeClr>
                </a:gs>
              </a:gsLst>
              <a:lin ang="10800000" scaled="1"/>
            </a:gradFill>
            <a:ln w="31528" cap="flat">
              <a:noFill/>
              <a:prstDash val="solid"/>
              <a:miter/>
            </a:ln>
          </p:spPr>
          <p:txBody>
            <a:bodyPr rtlCol="0" anchor="ctr"/>
            <a:lstStyle/>
            <a:p>
              <a:endParaRPr lang="en-US" sz="1765"/>
            </a:p>
          </p:txBody>
        </p:sp>
        <p:sp>
          <p:nvSpPr>
            <p:cNvPr id="432" name="Freeform: Shape 431">
              <a:extLst>
                <a:ext uri="{FF2B5EF4-FFF2-40B4-BE49-F238E27FC236}">
                  <a16:creationId xmlns:a16="http://schemas.microsoft.com/office/drawing/2014/main" id="{26934EBC-A3C8-4EB9-98EA-48FCE28389E7}"/>
                </a:ext>
                <a:ext uri="{C183D7F6-B498-43B3-948B-1728B52AA6E4}">
                  <adec:decorative xmlns:adec="http://schemas.microsoft.com/office/drawing/2017/decorative" val="1"/>
                </a:ext>
              </a:extLst>
            </p:cNvPr>
            <p:cNvSpPr/>
            <p:nvPr/>
          </p:nvSpPr>
          <p:spPr bwMode="auto">
            <a:xfrm>
              <a:off x="9964417" y="1"/>
              <a:ext cx="2472059" cy="3276183"/>
            </a:xfrm>
            <a:custGeom>
              <a:avLst/>
              <a:gdLst>
                <a:gd name="connsiteX0" fmla="*/ 434012 w 2472059"/>
                <a:gd name="connsiteY0" fmla="*/ 0 h 3276183"/>
                <a:gd name="connsiteX1" fmla="*/ 2472059 w 2472059"/>
                <a:gd name="connsiteY1" fmla="*/ 0 h 3276183"/>
                <a:gd name="connsiteX2" fmla="*/ 2472059 w 2472059"/>
                <a:gd name="connsiteY2" fmla="*/ 3225260 h 3276183"/>
                <a:gd name="connsiteX3" fmla="*/ 2434078 w 2472059"/>
                <a:gd name="connsiteY3" fmla="*/ 3235026 h 3276183"/>
                <a:gd name="connsiteX4" fmla="*/ 2025807 w 2472059"/>
                <a:gd name="connsiteY4" fmla="*/ 3276183 h 3276183"/>
                <a:gd name="connsiteX5" fmla="*/ 0 w 2472059"/>
                <a:gd name="connsiteY5" fmla="*/ 1250376 h 3276183"/>
                <a:gd name="connsiteX6" fmla="*/ 345976 w 2472059"/>
                <a:gd name="connsiteY6" fmla="*/ 117728 h 3276183"/>
                <a:gd name="connsiteX0" fmla="*/ 2472059 w 2563499"/>
                <a:gd name="connsiteY0" fmla="*/ 0 h 3276183"/>
                <a:gd name="connsiteX1" fmla="*/ 2472059 w 2563499"/>
                <a:gd name="connsiteY1" fmla="*/ 3225260 h 3276183"/>
                <a:gd name="connsiteX2" fmla="*/ 2434078 w 2563499"/>
                <a:gd name="connsiteY2" fmla="*/ 3235026 h 3276183"/>
                <a:gd name="connsiteX3" fmla="*/ 2025807 w 2563499"/>
                <a:gd name="connsiteY3" fmla="*/ 3276183 h 3276183"/>
                <a:gd name="connsiteX4" fmla="*/ 0 w 2563499"/>
                <a:gd name="connsiteY4" fmla="*/ 1250376 h 3276183"/>
                <a:gd name="connsiteX5" fmla="*/ 345976 w 2563499"/>
                <a:gd name="connsiteY5" fmla="*/ 117728 h 3276183"/>
                <a:gd name="connsiteX6" fmla="*/ 434012 w 2563499"/>
                <a:gd name="connsiteY6" fmla="*/ 0 h 3276183"/>
                <a:gd name="connsiteX7" fmla="*/ 2563499 w 2563499"/>
                <a:gd name="connsiteY7" fmla="*/ 91440 h 3276183"/>
                <a:gd name="connsiteX0" fmla="*/ 2472059 w 2472059"/>
                <a:gd name="connsiteY0" fmla="*/ 0 h 3276183"/>
                <a:gd name="connsiteX1" fmla="*/ 2472059 w 2472059"/>
                <a:gd name="connsiteY1" fmla="*/ 3225260 h 3276183"/>
                <a:gd name="connsiteX2" fmla="*/ 2434078 w 2472059"/>
                <a:gd name="connsiteY2" fmla="*/ 3235026 h 3276183"/>
                <a:gd name="connsiteX3" fmla="*/ 2025807 w 2472059"/>
                <a:gd name="connsiteY3" fmla="*/ 3276183 h 3276183"/>
                <a:gd name="connsiteX4" fmla="*/ 0 w 2472059"/>
                <a:gd name="connsiteY4" fmla="*/ 1250376 h 3276183"/>
                <a:gd name="connsiteX5" fmla="*/ 345976 w 2472059"/>
                <a:gd name="connsiteY5" fmla="*/ 117728 h 3276183"/>
                <a:gd name="connsiteX6" fmla="*/ 434012 w 2472059"/>
                <a:gd name="connsiteY6" fmla="*/ 0 h 3276183"/>
                <a:gd name="connsiteX0" fmla="*/ 2472059 w 2472059"/>
                <a:gd name="connsiteY0" fmla="*/ 3225260 h 3276183"/>
                <a:gd name="connsiteX1" fmla="*/ 2434078 w 2472059"/>
                <a:gd name="connsiteY1" fmla="*/ 3235026 h 3276183"/>
                <a:gd name="connsiteX2" fmla="*/ 2025807 w 2472059"/>
                <a:gd name="connsiteY2" fmla="*/ 3276183 h 3276183"/>
                <a:gd name="connsiteX3" fmla="*/ 0 w 2472059"/>
                <a:gd name="connsiteY3" fmla="*/ 1250376 h 3276183"/>
                <a:gd name="connsiteX4" fmla="*/ 345976 w 2472059"/>
                <a:gd name="connsiteY4" fmla="*/ 117728 h 3276183"/>
                <a:gd name="connsiteX5" fmla="*/ 434012 w 2472059"/>
                <a:gd name="connsiteY5" fmla="*/ 0 h 327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059" h="3276183">
                  <a:moveTo>
                    <a:pt x="2472059" y="3225260"/>
                  </a:moveTo>
                  <a:lnTo>
                    <a:pt x="2434078" y="3235026"/>
                  </a:lnTo>
                  <a:cubicBezTo>
                    <a:pt x="2302203" y="3262012"/>
                    <a:pt x="2165660" y="3276183"/>
                    <a:pt x="2025807" y="3276183"/>
                  </a:cubicBezTo>
                  <a:cubicBezTo>
                    <a:pt x="906985" y="3276183"/>
                    <a:pt x="0" y="2369198"/>
                    <a:pt x="0" y="1250376"/>
                  </a:cubicBezTo>
                  <a:cubicBezTo>
                    <a:pt x="0" y="830818"/>
                    <a:pt x="127545" y="441049"/>
                    <a:pt x="345976" y="117728"/>
                  </a:cubicBezTo>
                  <a:lnTo>
                    <a:pt x="434012" y="0"/>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9" name="Freeform: Shape 428">
              <a:extLst>
                <a:ext uri="{FF2B5EF4-FFF2-40B4-BE49-F238E27FC236}">
                  <a16:creationId xmlns:a16="http://schemas.microsoft.com/office/drawing/2014/main" id="{3D5BB046-6676-4A99-B3C2-F5F55B8928C9}"/>
                </a:ext>
                <a:ext uri="{C183D7F6-B498-43B3-948B-1728B52AA6E4}">
                  <adec:decorative xmlns:adec="http://schemas.microsoft.com/office/drawing/2017/decorative" val="1"/>
                </a:ext>
              </a:extLst>
            </p:cNvPr>
            <p:cNvSpPr/>
            <p:nvPr/>
          </p:nvSpPr>
          <p:spPr bwMode="auto">
            <a:xfrm>
              <a:off x="8269732" y="273850"/>
              <a:ext cx="4166742" cy="5353012"/>
            </a:xfrm>
            <a:custGeom>
              <a:avLst/>
              <a:gdLst>
                <a:gd name="connsiteX0" fmla="*/ 2676506 w 4166742"/>
                <a:gd name="connsiteY0" fmla="*/ 0 h 5353012"/>
                <a:gd name="connsiteX1" fmla="*/ 3952288 w 4166742"/>
                <a:gd name="connsiteY1" fmla="*/ 323040 h 5353012"/>
                <a:gd name="connsiteX2" fmla="*/ 4166742 w 4166742"/>
                <a:gd name="connsiteY2" fmla="*/ 453324 h 5353012"/>
                <a:gd name="connsiteX3" fmla="*/ 4166742 w 4166742"/>
                <a:gd name="connsiteY3" fmla="*/ 4899688 h 5353012"/>
                <a:gd name="connsiteX4" fmla="*/ 3952288 w 4166742"/>
                <a:gd name="connsiteY4" fmla="*/ 5029972 h 5353012"/>
                <a:gd name="connsiteX5" fmla="*/ 2676506 w 4166742"/>
                <a:gd name="connsiteY5" fmla="*/ 5353012 h 5353012"/>
                <a:gd name="connsiteX6" fmla="*/ 0 w 4166742"/>
                <a:gd name="connsiteY6" fmla="*/ 2676506 h 5353012"/>
                <a:gd name="connsiteX7" fmla="*/ 2676506 w 4166742"/>
                <a:gd name="connsiteY7" fmla="*/ 0 h 5353012"/>
                <a:gd name="connsiteX0" fmla="*/ 2676506 w 4183525"/>
                <a:gd name="connsiteY0" fmla="*/ 0 h 5353012"/>
                <a:gd name="connsiteX1" fmla="*/ 3952288 w 4183525"/>
                <a:gd name="connsiteY1" fmla="*/ 323040 h 5353012"/>
                <a:gd name="connsiteX2" fmla="*/ 4166742 w 4183525"/>
                <a:gd name="connsiteY2" fmla="*/ 453324 h 5353012"/>
                <a:gd name="connsiteX3" fmla="*/ 4183525 w 4183525"/>
                <a:gd name="connsiteY3" fmla="*/ 2556436 h 5353012"/>
                <a:gd name="connsiteX4" fmla="*/ 4166742 w 4183525"/>
                <a:gd name="connsiteY4" fmla="*/ 4899688 h 5353012"/>
                <a:gd name="connsiteX5" fmla="*/ 3952288 w 4183525"/>
                <a:gd name="connsiteY5" fmla="*/ 5029972 h 5353012"/>
                <a:gd name="connsiteX6" fmla="*/ 2676506 w 4183525"/>
                <a:gd name="connsiteY6" fmla="*/ 5353012 h 5353012"/>
                <a:gd name="connsiteX7" fmla="*/ 0 w 4183525"/>
                <a:gd name="connsiteY7" fmla="*/ 2676506 h 5353012"/>
                <a:gd name="connsiteX8" fmla="*/ 2676506 w 4183525"/>
                <a:gd name="connsiteY8" fmla="*/ 0 h 5353012"/>
                <a:gd name="connsiteX0" fmla="*/ 4183525 w 4274965"/>
                <a:gd name="connsiteY0" fmla="*/ 2556436 h 5353012"/>
                <a:gd name="connsiteX1" fmla="*/ 4166742 w 4274965"/>
                <a:gd name="connsiteY1" fmla="*/ 4899688 h 5353012"/>
                <a:gd name="connsiteX2" fmla="*/ 3952288 w 4274965"/>
                <a:gd name="connsiteY2" fmla="*/ 5029972 h 5353012"/>
                <a:gd name="connsiteX3" fmla="*/ 2676506 w 4274965"/>
                <a:gd name="connsiteY3" fmla="*/ 5353012 h 5353012"/>
                <a:gd name="connsiteX4" fmla="*/ 0 w 4274965"/>
                <a:gd name="connsiteY4" fmla="*/ 2676506 h 5353012"/>
                <a:gd name="connsiteX5" fmla="*/ 2676506 w 4274965"/>
                <a:gd name="connsiteY5" fmla="*/ 0 h 5353012"/>
                <a:gd name="connsiteX6" fmla="*/ 3952288 w 4274965"/>
                <a:gd name="connsiteY6" fmla="*/ 323040 h 5353012"/>
                <a:gd name="connsiteX7" fmla="*/ 4166742 w 4274965"/>
                <a:gd name="connsiteY7" fmla="*/ 453324 h 5353012"/>
                <a:gd name="connsiteX8" fmla="*/ 4274965 w 4274965"/>
                <a:gd name="connsiteY8" fmla="*/ 2647876 h 5353012"/>
                <a:gd name="connsiteX0" fmla="*/ 4183525 w 4183525"/>
                <a:gd name="connsiteY0" fmla="*/ 2556436 h 5353012"/>
                <a:gd name="connsiteX1" fmla="*/ 4166742 w 4183525"/>
                <a:gd name="connsiteY1" fmla="*/ 4899688 h 5353012"/>
                <a:gd name="connsiteX2" fmla="*/ 3952288 w 4183525"/>
                <a:gd name="connsiteY2" fmla="*/ 5029972 h 5353012"/>
                <a:gd name="connsiteX3" fmla="*/ 2676506 w 4183525"/>
                <a:gd name="connsiteY3" fmla="*/ 5353012 h 5353012"/>
                <a:gd name="connsiteX4" fmla="*/ 0 w 4183525"/>
                <a:gd name="connsiteY4" fmla="*/ 2676506 h 5353012"/>
                <a:gd name="connsiteX5" fmla="*/ 2676506 w 4183525"/>
                <a:gd name="connsiteY5" fmla="*/ 0 h 5353012"/>
                <a:gd name="connsiteX6" fmla="*/ 3952288 w 4183525"/>
                <a:gd name="connsiteY6" fmla="*/ 323040 h 5353012"/>
                <a:gd name="connsiteX7" fmla="*/ 4166742 w 4183525"/>
                <a:gd name="connsiteY7" fmla="*/ 453324 h 5353012"/>
                <a:gd name="connsiteX0" fmla="*/ 4166742 w 4166742"/>
                <a:gd name="connsiteY0" fmla="*/ 4899688 h 5353012"/>
                <a:gd name="connsiteX1" fmla="*/ 3952288 w 4166742"/>
                <a:gd name="connsiteY1" fmla="*/ 5029972 h 5353012"/>
                <a:gd name="connsiteX2" fmla="*/ 2676506 w 4166742"/>
                <a:gd name="connsiteY2" fmla="*/ 5353012 h 5353012"/>
                <a:gd name="connsiteX3" fmla="*/ 0 w 4166742"/>
                <a:gd name="connsiteY3" fmla="*/ 2676506 h 5353012"/>
                <a:gd name="connsiteX4" fmla="*/ 2676506 w 4166742"/>
                <a:gd name="connsiteY4" fmla="*/ 0 h 5353012"/>
                <a:gd name="connsiteX5" fmla="*/ 3952288 w 4166742"/>
                <a:gd name="connsiteY5" fmla="*/ 323040 h 5353012"/>
                <a:gd name="connsiteX6" fmla="*/ 4166742 w 4166742"/>
                <a:gd name="connsiteY6" fmla="*/ 453324 h 535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6742" h="5353012">
                  <a:moveTo>
                    <a:pt x="4166742" y="4899688"/>
                  </a:moveTo>
                  <a:lnTo>
                    <a:pt x="3952288" y="5029972"/>
                  </a:lnTo>
                  <a:cubicBezTo>
                    <a:pt x="3573045" y="5235989"/>
                    <a:pt x="3138441" y="5353012"/>
                    <a:pt x="2676506" y="5353012"/>
                  </a:cubicBezTo>
                  <a:cubicBezTo>
                    <a:pt x="1198313" y="5353012"/>
                    <a:pt x="0" y="4154699"/>
                    <a:pt x="0" y="2676506"/>
                  </a:cubicBezTo>
                  <a:cubicBezTo>
                    <a:pt x="0" y="1198313"/>
                    <a:pt x="1198313" y="0"/>
                    <a:pt x="2676506" y="0"/>
                  </a:cubicBezTo>
                  <a:cubicBezTo>
                    <a:pt x="3138441" y="0"/>
                    <a:pt x="3573045" y="117023"/>
                    <a:pt x="3952288" y="323040"/>
                  </a:cubicBezTo>
                  <a:lnTo>
                    <a:pt x="4166742" y="453324"/>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5" name="Oval 424">
              <a:extLst>
                <a:ext uri="{FF2B5EF4-FFF2-40B4-BE49-F238E27FC236}">
                  <a16:creationId xmlns:a16="http://schemas.microsoft.com/office/drawing/2014/main" id="{78D2A8BB-A828-48B2-ADDC-1AD08542C897}"/>
                </a:ext>
                <a:ext uri="{C183D7F6-B498-43B3-948B-1728B52AA6E4}">
                  <adec:decorative xmlns:adec="http://schemas.microsoft.com/office/drawing/2017/decorative" val="1"/>
                </a:ext>
              </a:extLst>
            </p:cNvPr>
            <p:cNvSpPr/>
            <p:nvPr/>
          </p:nvSpPr>
          <p:spPr bwMode="auto">
            <a:xfrm>
              <a:off x="6640957" y="159550"/>
              <a:ext cx="2612302" cy="2612302"/>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3" name="Oval 422">
              <a:extLst>
                <a:ext uri="{FF2B5EF4-FFF2-40B4-BE49-F238E27FC236}">
                  <a16:creationId xmlns:a16="http://schemas.microsoft.com/office/drawing/2014/main" id="{6BA45FB5-FCF3-4F8D-9301-CB64B8D8A098}"/>
                </a:ext>
                <a:ext uri="{C183D7F6-B498-43B3-948B-1728B52AA6E4}">
                  <adec:decorative xmlns:adec="http://schemas.microsoft.com/office/drawing/2017/decorative" val="1"/>
                </a:ext>
              </a:extLst>
            </p:cNvPr>
            <p:cNvSpPr/>
            <p:nvPr/>
          </p:nvSpPr>
          <p:spPr bwMode="auto">
            <a:xfrm>
              <a:off x="5100013" y="1753890"/>
              <a:ext cx="2333303" cy="2333303"/>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8" name="Freeform: Shape 427">
              <a:extLst>
                <a:ext uri="{FF2B5EF4-FFF2-40B4-BE49-F238E27FC236}">
                  <a16:creationId xmlns:a16="http://schemas.microsoft.com/office/drawing/2014/main" id="{5DA80B88-56AC-4EB6-A0C7-2A6E2097CD24}"/>
                </a:ext>
                <a:ext uri="{C183D7F6-B498-43B3-948B-1728B52AA6E4}">
                  <adec:decorative xmlns:adec="http://schemas.microsoft.com/office/drawing/2017/decorative" val="1"/>
                </a:ext>
              </a:extLst>
            </p:cNvPr>
            <p:cNvSpPr/>
            <p:nvPr/>
          </p:nvSpPr>
          <p:spPr bwMode="auto">
            <a:xfrm>
              <a:off x="4969026" y="3219435"/>
              <a:ext cx="4387050" cy="3775091"/>
            </a:xfrm>
            <a:custGeom>
              <a:avLst/>
              <a:gdLst>
                <a:gd name="connsiteX0" fmla="*/ 2193525 w 4387050"/>
                <a:gd name="connsiteY0" fmla="*/ 0 h 3775091"/>
                <a:gd name="connsiteX1" fmla="*/ 4387050 w 4387050"/>
                <a:gd name="connsiteY1" fmla="*/ 2193525 h 3775091"/>
                <a:gd name="connsiteX2" fmla="*/ 3744581 w 4387050"/>
                <a:gd name="connsiteY2" fmla="*/ 3744582 h 3775091"/>
                <a:gd name="connsiteX3" fmla="*/ 3711012 w 4387050"/>
                <a:gd name="connsiteY3" fmla="*/ 3775091 h 3775091"/>
                <a:gd name="connsiteX4" fmla="*/ 676038 w 4387050"/>
                <a:gd name="connsiteY4" fmla="*/ 3775091 h 3775091"/>
                <a:gd name="connsiteX5" fmla="*/ 642469 w 4387050"/>
                <a:gd name="connsiteY5" fmla="*/ 3744582 h 3775091"/>
                <a:gd name="connsiteX6" fmla="*/ 0 w 4387050"/>
                <a:gd name="connsiteY6" fmla="*/ 2193525 h 3775091"/>
                <a:gd name="connsiteX7" fmla="*/ 2193525 w 4387050"/>
                <a:gd name="connsiteY7" fmla="*/ 0 h 3775091"/>
                <a:gd name="connsiteX0" fmla="*/ 2193525 w 4387050"/>
                <a:gd name="connsiteY0" fmla="*/ 0 h 3790965"/>
                <a:gd name="connsiteX1" fmla="*/ 4387050 w 4387050"/>
                <a:gd name="connsiteY1" fmla="*/ 2193525 h 3790965"/>
                <a:gd name="connsiteX2" fmla="*/ 3744581 w 4387050"/>
                <a:gd name="connsiteY2" fmla="*/ 3744582 h 3790965"/>
                <a:gd name="connsiteX3" fmla="*/ 3711012 w 4387050"/>
                <a:gd name="connsiteY3" fmla="*/ 3775091 h 3790965"/>
                <a:gd name="connsiteX4" fmla="*/ 2084917 w 4387050"/>
                <a:gd name="connsiteY4" fmla="*/ 3790965 h 3790965"/>
                <a:gd name="connsiteX5" fmla="*/ 676038 w 4387050"/>
                <a:gd name="connsiteY5" fmla="*/ 3775091 h 3790965"/>
                <a:gd name="connsiteX6" fmla="*/ 642469 w 4387050"/>
                <a:gd name="connsiteY6" fmla="*/ 3744582 h 3790965"/>
                <a:gd name="connsiteX7" fmla="*/ 0 w 4387050"/>
                <a:gd name="connsiteY7" fmla="*/ 2193525 h 3790965"/>
                <a:gd name="connsiteX8" fmla="*/ 2193525 w 4387050"/>
                <a:gd name="connsiteY8" fmla="*/ 0 h 3790965"/>
                <a:gd name="connsiteX0" fmla="*/ 2084917 w 4387050"/>
                <a:gd name="connsiteY0" fmla="*/ 3790965 h 3882405"/>
                <a:gd name="connsiteX1" fmla="*/ 676038 w 4387050"/>
                <a:gd name="connsiteY1" fmla="*/ 3775091 h 3882405"/>
                <a:gd name="connsiteX2" fmla="*/ 642469 w 4387050"/>
                <a:gd name="connsiteY2" fmla="*/ 3744582 h 3882405"/>
                <a:gd name="connsiteX3" fmla="*/ 0 w 4387050"/>
                <a:gd name="connsiteY3" fmla="*/ 2193525 h 3882405"/>
                <a:gd name="connsiteX4" fmla="*/ 2193525 w 4387050"/>
                <a:gd name="connsiteY4" fmla="*/ 0 h 3882405"/>
                <a:gd name="connsiteX5" fmla="*/ 4387050 w 4387050"/>
                <a:gd name="connsiteY5" fmla="*/ 2193525 h 3882405"/>
                <a:gd name="connsiteX6" fmla="*/ 3744581 w 4387050"/>
                <a:gd name="connsiteY6" fmla="*/ 3744582 h 3882405"/>
                <a:gd name="connsiteX7" fmla="*/ 3711012 w 4387050"/>
                <a:gd name="connsiteY7" fmla="*/ 3775091 h 3882405"/>
                <a:gd name="connsiteX8" fmla="*/ 2176357 w 4387050"/>
                <a:gd name="connsiteY8" fmla="*/ 3882405 h 3882405"/>
                <a:gd name="connsiteX0" fmla="*/ 2084917 w 4387050"/>
                <a:gd name="connsiteY0" fmla="*/ 3790965 h 3790965"/>
                <a:gd name="connsiteX1" fmla="*/ 676038 w 4387050"/>
                <a:gd name="connsiteY1" fmla="*/ 3775091 h 3790965"/>
                <a:gd name="connsiteX2" fmla="*/ 642469 w 4387050"/>
                <a:gd name="connsiteY2" fmla="*/ 3744582 h 3790965"/>
                <a:gd name="connsiteX3" fmla="*/ 0 w 4387050"/>
                <a:gd name="connsiteY3" fmla="*/ 2193525 h 3790965"/>
                <a:gd name="connsiteX4" fmla="*/ 2193525 w 4387050"/>
                <a:gd name="connsiteY4" fmla="*/ 0 h 3790965"/>
                <a:gd name="connsiteX5" fmla="*/ 4387050 w 4387050"/>
                <a:gd name="connsiteY5" fmla="*/ 2193525 h 3790965"/>
                <a:gd name="connsiteX6" fmla="*/ 3744581 w 4387050"/>
                <a:gd name="connsiteY6" fmla="*/ 3744582 h 3790965"/>
                <a:gd name="connsiteX7" fmla="*/ 3711012 w 4387050"/>
                <a:gd name="connsiteY7" fmla="*/ 3775091 h 3790965"/>
                <a:gd name="connsiteX0" fmla="*/ 676038 w 4387050"/>
                <a:gd name="connsiteY0" fmla="*/ 3775091 h 3775091"/>
                <a:gd name="connsiteX1" fmla="*/ 642469 w 4387050"/>
                <a:gd name="connsiteY1" fmla="*/ 3744582 h 3775091"/>
                <a:gd name="connsiteX2" fmla="*/ 0 w 4387050"/>
                <a:gd name="connsiteY2" fmla="*/ 2193525 h 3775091"/>
                <a:gd name="connsiteX3" fmla="*/ 2193525 w 4387050"/>
                <a:gd name="connsiteY3" fmla="*/ 0 h 3775091"/>
                <a:gd name="connsiteX4" fmla="*/ 4387050 w 4387050"/>
                <a:gd name="connsiteY4" fmla="*/ 2193525 h 3775091"/>
                <a:gd name="connsiteX5" fmla="*/ 3744581 w 4387050"/>
                <a:gd name="connsiteY5" fmla="*/ 3744582 h 3775091"/>
                <a:gd name="connsiteX6" fmla="*/ 3711012 w 4387050"/>
                <a:gd name="connsiteY6" fmla="*/ 3775091 h 3775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050" h="3775091">
                  <a:moveTo>
                    <a:pt x="676038" y="3775091"/>
                  </a:moveTo>
                  <a:lnTo>
                    <a:pt x="642469" y="3744582"/>
                  </a:lnTo>
                  <a:cubicBezTo>
                    <a:pt x="245519" y="3347631"/>
                    <a:pt x="0" y="2799250"/>
                    <a:pt x="0" y="2193525"/>
                  </a:cubicBezTo>
                  <a:cubicBezTo>
                    <a:pt x="0" y="982075"/>
                    <a:pt x="982075" y="0"/>
                    <a:pt x="2193525" y="0"/>
                  </a:cubicBezTo>
                  <a:cubicBezTo>
                    <a:pt x="3404975" y="0"/>
                    <a:pt x="4387050" y="982075"/>
                    <a:pt x="4387050" y="2193525"/>
                  </a:cubicBezTo>
                  <a:cubicBezTo>
                    <a:pt x="4387050" y="2799250"/>
                    <a:pt x="4141531" y="3347631"/>
                    <a:pt x="3744581" y="3744582"/>
                  </a:cubicBezTo>
                  <a:lnTo>
                    <a:pt x="3711012" y="3775091"/>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4" name="Oval 423">
              <a:extLst>
                <a:ext uri="{FF2B5EF4-FFF2-40B4-BE49-F238E27FC236}">
                  <a16:creationId xmlns:a16="http://schemas.microsoft.com/office/drawing/2014/main" id="{ABD070D0-5D8A-4A88-B8BA-6B4F41A7AE62}"/>
                </a:ext>
                <a:ext uri="{C183D7F6-B498-43B3-948B-1728B52AA6E4}">
                  <adec:decorative xmlns:adec="http://schemas.microsoft.com/office/drawing/2017/decorative" val="1"/>
                </a:ext>
              </a:extLst>
            </p:cNvPr>
            <p:cNvSpPr/>
            <p:nvPr/>
          </p:nvSpPr>
          <p:spPr bwMode="auto">
            <a:xfrm>
              <a:off x="9572917" y="4971181"/>
              <a:ext cx="1045789" cy="1045789"/>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grpSp>
          <p:nvGrpSpPr>
            <p:cNvPr id="258" name="Graphic 10">
              <a:extLst>
                <a:ext uri="{FF2B5EF4-FFF2-40B4-BE49-F238E27FC236}">
                  <a16:creationId xmlns:a16="http://schemas.microsoft.com/office/drawing/2014/main" id="{9E19F295-4D67-41FC-9DA3-097441505B25}"/>
                </a:ext>
                <a:ext uri="{C183D7F6-B498-43B3-948B-1728B52AA6E4}">
                  <adec:decorative xmlns:adec="http://schemas.microsoft.com/office/drawing/2017/decorative" val="1"/>
                </a:ext>
              </a:extLst>
            </p:cNvPr>
            <p:cNvGrpSpPr/>
            <p:nvPr/>
          </p:nvGrpSpPr>
          <p:grpSpPr>
            <a:xfrm>
              <a:off x="4781433" y="2637350"/>
              <a:ext cx="7312233" cy="2281215"/>
              <a:chOff x="5337839" y="2790554"/>
              <a:chExt cx="6173152" cy="1925853"/>
            </a:xfrm>
            <a:solidFill>
              <a:schemeClr val="tx1">
                <a:alpha val="6000"/>
              </a:schemeClr>
            </a:solidFill>
            <a:effectLst/>
          </p:grpSpPr>
          <p:sp>
            <p:nvSpPr>
              <p:cNvPr id="259" name="Freeform: Shape 258">
                <a:extLst>
                  <a:ext uri="{FF2B5EF4-FFF2-40B4-BE49-F238E27FC236}">
                    <a16:creationId xmlns:a16="http://schemas.microsoft.com/office/drawing/2014/main" id="{9B4DAB63-6BE1-4032-8BCB-FFE333DDC054}"/>
                  </a:ext>
                </a:extLst>
              </p:cNvPr>
              <p:cNvSpPr/>
              <p:nvPr/>
            </p:nvSpPr>
            <p:spPr>
              <a:xfrm>
                <a:off x="6191278" y="3024602"/>
                <a:ext cx="312420" cy="100279"/>
              </a:xfrm>
              <a:custGeom>
                <a:avLst/>
                <a:gdLst>
                  <a:gd name="connsiteX0" fmla="*/ 256223 w 312420"/>
                  <a:gd name="connsiteY0" fmla="*/ 95517 h 100279"/>
                  <a:gd name="connsiteX1" fmla="*/ 273368 w 312420"/>
                  <a:gd name="connsiteY1" fmla="*/ 97422 h 100279"/>
                  <a:gd name="connsiteX2" fmla="*/ 280035 w 312420"/>
                  <a:gd name="connsiteY2" fmla="*/ 96469 h 100279"/>
                  <a:gd name="connsiteX3" fmla="*/ 284798 w 312420"/>
                  <a:gd name="connsiteY3" fmla="*/ 90754 h 100279"/>
                  <a:gd name="connsiteX4" fmla="*/ 284798 w 312420"/>
                  <a:gd name="connsiteY4" fmla="*/ 87897 h 100279"/>
                  <a:gd name="connsiteX5" fmla="*/ 284798 w 312420"/>
                  <a:gd name="connsiteY5" fmla="*/ 84087 h 100279"/>
                  <a:gd name="connsiteX6" fmla="*/ 290513 w 312420"/>
                  <a:gd name="connsiteY6" fmla="*/ 81229 h 100279"/>
                  <a:gd name="connsiteX7" fmla="*/ 300990 w 312420"/>
                  <a:gd name="connsiteY7" fmla="*/ 77419 h 100279"/>
                  <a:gd name="connsiteX8" fmla="*/ 307658 w 312420"/>
                  <a:gd name="connsiteY8" fmla="*/ 76467 h 100279"/>
                  <a:gd name="connsiteX9" fmla="*/ 312420 w 312420"/>
                  <a:gd name="connsiteY9" fmla="*/ 72657 h 100279"/>
                  <a:gd name="connsiteX10" fmla="*/ 312420 w 312420"/>
                  <a:gd name="connsiteY10" fmla="*/ 68847 h 100279"/>
                  <a:gd name="connsiteX11" fmla="*/ 311468 w 312420"/>
                  <a:gd name="connsiteY11" fmla="*/ 65989 h 100279"/>
                  <a:gd name="connsiteX12" fmla="*/ 297180 w 312420"/>
                  <a:gd name="connsiteY12" fmla="*/ 63132 h 100279"/>
                  <a:gd name="connsiteX13" fmla="*/ 284798 w 312420"/>
                  <a:gd name="connsiteY13" fmla="*/ 61227 h 100279"/>
                  <a:gd name="connsiteX14" fmla="*/ 279083 w 312420"/>
                  <a:gd name="connsiteY14" fmla="*/ 59322 h 100279"/>
                  <a:gd name="connsiteX15" fmla="*/ 271463 w 312420"/>
                  <a:gd name="connsiteY15" fmla="*/ 56464 h 100279"/>
                  <a:gd name="connsiteX16" fmla="*/ 269558 w 312420"/>
                  <a:gd name="connsiteY16" fmla="*/ 53607 h 100279"/>
                  <a:gd name="connsiteX17" fmla="*/ 262890 w 312420"/>
                  <a:gd name="connsiteY17" fmla="*/ 49797 h 100279"/>
                  <a:gd name="connsiteX18" fmla="*/ 256223 w 312420"/>
                  <a:gd name="connsiteY18" fmla="*/ 44082 h 100279"/>
                  <a:gd name="connsiteX19" fmla="*/ 253365 w 312420"/>
                  <a:gd name="connsiteY19" fmla="*/ 39319 h 100279"/>
                  <a:gd name="connsiteX20" fmla="*/ 247650 w 312420"/>
                  <a:gd name="connsiteY20" fmla="*/ 31699 h 100279"/>
                  <a:gd name="connsiteX21" fmla="*/ 240030 w 312420"/>
                  <a:gd name="connsiteY21" fmla="*/ 29794 h 100279"/>
                  <a:gd name="connsiteX22" fmla="*/ 232410 w 312420"/>
                  <a:gd name="connsiteY22" fmla="*/ 28842 h 100279"/>
                  <a:gd name="connsiteX23" fmla="*/ 227648 w 312420"/>
                  <a:gd name="connsiteY23" fmla="*/ 24079 h 100279"/>
                  <a:gd name="connsiteX24" fmla="*/ 222885 w 312420"/>
                  <a:gd name="connsiteY24" fmla="*/ 20269 h 100279"/>
                  <a:gd name="connsiteX25" fmla="*/ 220980 w 312420"/>
                  <a:gd name="connsiteY25" fmla="*/ 15507 h 100279"/>
                  <a:gd name="connsiteX26" fmla="*/ 220027 w 312420"/>
                  <a:gd name="connsiteY26" fmla="*/ 10744 h 100279"/>
                  <a:gd name="connsiteX27" fmla="*/ 218123 w 312420"/>
                  <a:gd name="connsiteY27" fmla="*/ 7887 h 100279"/>
                  <a:gd name="connsiteX28" fmla="*/ 213360 w 312420"/>
                  <a:gd name="connsiteY28" fmla="*/ 4077 h 100279"/>
                  <a:gd name="connsiteX29" fmla="*/ 206693 w 312420"/>
                  <a:gd name="connsiteY29" fmla="*/ 3124 h 100279"/>
                  <a:gd name="connsiteX30" fmla="*/ 204788 w 312420"/>
                  <a:gd name="connsiteY30" fmla="*/ 9792 h 100279"/>
                  <a:gd name="connsiteX31" fmla="*/ 200025 w 312420"/>
                  <a:gd name="connsiteY31" fmla="*/ 13602 h 100279"/>
                  <a:gd name="connsiteX32" fmla="*/ 181927 w 312420"/>
                  <a:gd name="connsiteY32" fmla="*/ 15507 h 100279"/>
                  <a:gd name="connsiteX33" fmla="*/ 175260 w 312420"/>
                  <a:gd name="connsiteY33" fmla="*/ 16459 h 100279"/>
                  <a:gd name="connsiteX34" fmla="*/ 164783 w 312420"/>
                  <a:gd name="connsiteY34" fmla="*/ 13602 h 100279"/>
                  <a:gd name="connsiteX35" fmla="*/ 150495 w 312420"/>
                  <a:gd name="connsiteY35" fmla="*/ 13602 h 100279"/>
                  <a:gd name="connsiteX36" fmla="*/ 143827 w 312420"/>
                  <a:gd name="connsiteY36" fmla="*/ 13602 h 100279"/>
                  <a:gd name="connsiteX37" fmla="*/ 138113 w 312420"/>
                  <a:gd name="connsiteY37" fmla="*/ 14554 h 100279"/>
                  <a:gd name="connsiteX38" fmla="*/ 129540 w 312420"/>
                  <a:gd name="connsiteY38" fmla="*/ 11697 h 100279"/>
                  <a:gd name="connsiteX39" fmla="*/ 116205 w 312420"/>
                  <a:gd name="connsiteY39" fmla="*/ 10744 h 100279"/>
                  <a:gd name="connsiteX40" fmla="*/ 106680 w 312420"/>
                  <a:gd name="connsiteY40" fmla="*/ 9792 h 100279"/>
                  <a:gd name="connsiteX41" fmla="*/ 100013 w 312420"/>
                  <a:gd name="connsiteY41" fmla="*/ 9792 h 100279"/>
                  <a:gd name="connsiteX42" fmla="*/ 93345 w 312420"/>
                  <a:gd name="connsiteY42" fmla="*/ 8839 h 100279"/>
                  <a:gd name="connsiteX43" fmla="*/ 85725 w 312420"/>
                  <a:gd name="connsiteY43" fmla="*/ 5982 h 100279"/>
                  <a:gd name="connsiteX44" fmla="*/ 77152 w 312420"/>
                  <a:gd name="connsiteY44" fmla="*/ 1219 h 100279"/>
                  <a:gd name="connsiteX45" fmla="*/ 67627 w 312420"/>
                  <a:gd name="connsiteY45" fmla="*/ 267 h 100279"/>
                  <a:gd name="connsiteX46" fmla="*/ 63818 w 312420"/>
                  <a:gd name="connsiteY46" fmla="*/ 1219 h 100279"/>
                  <a:gd name="connsiteX47" fmla="*/ 58102 w 312420"/>
                  <a:gd name="connsiteY47" fmla="*/ 4077 h 100279"/>
                  <a:gd name="connsiteX48" fmla="*/ 53340 w 312420"/>
                  <a:gd name="connsiteY48" fmla="*/ 6934 h 100279"/>
                  <a:gd name="connsiteX49" fmla="*/ 44768 w 312420"/>
                  <a:gd name="connsiteY49" fmla="*/ 9792 h 100279"/>
                  <a:gd name="connsiteX50" fmla="*/ 36195 w 312420"/>
                  <a:gd name="connsiteY50" fmla="*/ 10744 h 100279"/>
                  <a:gd name="connsiteX51" fmla="*/ 28575 w 312420"/>
                  <a:gd name="connsiteY51" fmla="*/ 12649 h 100279"/>
                  <a:gd name="connsiteX52" fmla="*/ 22860 w 312420"/>
                  <a:gd name="connsiteY52" fmla="*/ 17412 h 100279"/>
                  <a:gd name="connsiteX53" fmla="*/ 17145 w 312420"/>
                  <a:gd name="connsiteY53" fmla="*/ 19317 h 100279"/>
                  <a:gd name="connsiteX54" fmla="*/ 15240 w 312420"/>
                  <a:gd name="connsiteY54" fmla="*/ 21222 h 100279"/>
                  <a:gd name="connsiteX55" fmla="*/ 7620 w 312420"/>
                  <a:gd name="connsiteY55" fmla="*/ 23127 h 100279"/>
                  <a:gd name="connsiteX56" fmla="*/ 3810 w 312420"/>
                  <a:gd name="connsiteY56" fmla="*/ 26937 h 100279"/>
                  <a:gd name="connsiteX57" fmla="*/ 0 w 312420"/>
                  <a:gd name="connsiteY57" fmla="*/ 31699 h 100279"/>
                  <a:gd name="connsiteX58" fmla="*/ 3810 w 312420"/>
                  <a:gd name="connsiteY58" fmla="*/ 37414 h 100279"/>
                  <a:gd name="connsiteX59" fmla="*/ 6668 w 312420"/>
                  <a:gd name="connsiteY59" fmla="*/ 39319 h 100279"/>
                  <a:gd name="connsiteX60" fmla="*/ 14288 w 312420"/>
                  <a:gd name="connsiteY60" fmla="*/ 41224 h 100279"/>
                  <a:gd name="connsiteX61" fmla="*/ 24765 w 312420"/>
                  <a:gd name="connsiteY61" fmla="*/ 43129 h 100279"/>
                  <a:gd name="connsiteX62" fmla="*/ 26670 w 312420"/>
                  <a:gd name="connsiteY62" fmla="*/ 43129 h 100279"/>
                  <a:gd name="connsiteX63" fmla="*/ 29527 w 312420"/>
                  <a:gd name="connsiteY63" fmla="*/ 46939 h 100279"/>
                  <a:gd name="connsiteX64" fmla="*/ 30480 w 312420"/>
                  <a:gd name="connsiteY64" fmla="*/ 49797 h 100279"/>
                  <a:gd name="connsiteX65" fmla="*/ 33338 w 312420"/>
                  <a:gd name="connsiteY65" fmla="*/ 53607 h 100279"/>
                  <a:gd name="connsiteX66" fmla="*/ 35243 w 312420"/>
                  <a:gd name="connsiteY66" fmla="*/ 62179 h 100279"/>
                  <a:gd name="connsiteX67" fmla="*/ 35243 w 312420"/>
                  <a:gd name="connsiteY67" fmla="*/ 65037 h 100279"/>
                  <a:gd name="connsiteX68" fmla="*/ 38100 w 312420"/>
                  <a:gd name="connsiteY68" fmla="*/ 70752 h 100279"/>
                  <a:gd name="connsiteX69" fmla="*/ 41910 w 312420"/>
                  <a:gd name="connsiteY69" fmla="*/ 75514 h 100279"/>
                  <a:gd name="connsiteX70" fmla="*/ 50483 w 312420"/>
                  <a:gd name="connsiteY70" fmla="*/ 79324 h 100279"/>
                  <a:gd name="connsiteX71" fmla="*/ 59055 w 312420"/>
                  <a:gd name="connsiteY71" fmla="*/ 81229 h 100279"/>
                  <a:gd name="connsiteX72" fmla="*/ 66675 w 312420"/>
                  <a:gd name="connsiteY72" fmla="*/ 81229 h 100279"/>
                  <a:gd name="connsiteX73" fmla="*/ 74295 w 312420"/>
                  <a:gd name="connsiteY73" fmla="*/ 83134 h 100279"/>
                  <a:gd name="connsiteX74" fmla="*/ 77152 w 312420"/>
                  <a:gd name="connsiteY74" fmla="*/ 85992 h 100279"/>
                  <a:gd name="connsiteX75" fmla="*/ 82868 w 312420"/>
                  <a:gd name="connsiteY75" fmla="*/ 86944 h 100279"/>
                  <a:gd name="connsiteX76" fmla="*/ 88583 w 312420"/>
                  <a:gd name="connsiteY76" fmla="*/ 90754 h 100279"/>
                  <a:gd name="connsiteX77" fmla="*/ 93345 w 312420"/>
                  <a:gd name="connsiteY77" fmla="*/ 93612 h 100279"/>
                  <a:gd name="connsiteX78" fmla="*/ 104775 w 312420"/>
                  <a:gd name="connsiteY78" fmla="*/ 95517 h 100279"/>
                  <a:gd name="connsiteX79" fmla="*/ 116205 w 312420"/>
                  <a:gd name="connsiteY79" fmla="*/ 97422 h 100279"/>
                  <a:gd name="connsiteX80" fmla="*/ 127635 w 312420"/>
                  <a:gd name="connsiteY80" fmla="*/ 98374 h 100279"/>
                  <a:gd name="connsiteX81" fmla="*/ 135255 w 312420"/>
                  <a:gd name="connsiteY81" fmla="*/ 99327 h 100279"/>
                  <a:gd name="connsiteX82" fmla="*/ 138113 w 312420"/>
                  <a:gd name="connsiteY82" fmla="*/ 100279 h 100279"/>
                  <a:gd name="connsiteX83" fmla="*/ 147638 w 312420"/>
                  <a:gd name="connsiteY83" fmla="*/ 98374 h 100279"/>
                  <a:gd name="connsiteX84" fmla="*/ 156210 w 312420"/>
                  <a:gd name="connsiteY84" fmla="*/ 96469 h 100279"/>
                  <a:gd name="connsiteX85" fmla="*/ 163830 w 312420"/>
                  <a:gd name="connsiteY85" fmla="*/ 94564 h 100279"/>
                  <a:gd name="connsiteX86" fmla="*/ 173355 w 312420"/>
                  <a:gd name="connsiteY86" fmla="*/ 93612 h 100279"/>
                  <a:gd name="connsiteX87" fmla="*/ 180975 w 312420"/>
                  <a:gd name="connsiteY87" fmla="*/ 92659 h 100279"/>
                  <a:gd name="connsiteX88" fmla="*/ 194310 w 312420"/>
                  <a:gd name="connsiteY88" fmla="*/ 92659 h 100279"/>
                  <a:gd name="connsiteX89" fmla="*/ 200977 w 312420"/>
                  <a:gd name="connsiteY89" fmla="*/ 89802 h 100279"/>
                  <a:gd name="connsiteX90" fmla="*/ 206693 w 312420"/>
                  <a:gd name="connsiteY90" fmla="*/ 89802 h 100279"/>
                  <a:gd name="connsiteX91" fmla="*/ 220027 w 312420"/>
                  <a:gd name="connsiteY91" fmla="*/ 89802 h 100279"/>
                  <a:gd name="connsiteX92" fmla="*/ 222885 w 312420"/>
                  <a:gd name="connsiteY92" fmla="*/ 89802 h 100279"/>
                  <a:gd name="connsiteX93" fmla="*/ 229552 w 312420"/>
                  <a:gd name="connsiteY93" fmla="*/ 91707 h 100279"/>
                  <a:gd name="connsiteX94" fmla="*/ 234315 w 312420"/>
                  <a:gd name="connsiteY94" fmla="*/ 93612 h 100279"/>
                  <a:gd name="connsiteX95" fmla="*/ 240983 w 312420"/>
                  <a:gd name="connsiteY95" fmla="*/ 95517 h 100279"/>
                  <a:gd name="connsiteX96" fmla="*/ 256223 w 312420"/>
                  <a:gd name="connsiteY96" fmla="*/ 95517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12420" h="100279">
                    <a:moveTo>
                      <a:pt x="256223" y="95517"/>
                    </a:moveTo>
                    <a:lnTo>
                      <a:pt x="273368" y="97422"/>
                    </a:lnTo>
                    <a:cubicBezTo>
                      <a:pt x="280035" y="96469"/>
                      <a:pt x="280035" y="96469"/>
                      <a:pt x="280035" y="96469"/>
                    </a:cubicBezTo>
                    <a:lnTo>
                      <a:pt x="284798" y="90754"/>
                    </a:lnTo>
                    <a:lnTo>
                      <a:pt x="284798" y="87897"/>
                    </a:lnTo>
                    <a:lnTo>
                      <a:pt x="284798" y="84087"/>
                    </a:lnTo>
                    <a:lnTo>
                      <a:pt x="290513" y="81229"/>
                    </a:lnTo>
                    <a:cubicBezTo>
                      <a:pt x="297180" y="80277"/>
                      <a:pt x="300990" y="77419"/>
                      <a:pt x="300990" y="77419"/>
                    </a:cubicBezTo>
                    <a:cubicBezTo>
                      <a:pt x="307658" y="76467"/>
                      <a:pt x="307658" y="76467"/>
                      <a:pt x="307658" y="76467"/>
                    </a:cubicBezTo>
                    <a:lnTo>
                      <a:pt x="312420" y="72657"/>
                    </a:lnTo>
                    <a:lnTo>
                      <a:pt x="312420" y="68847"/>
                    </a:lnTo>
                    <a:lnTo>
                      <a:pt x="311468" y="65989"/>
                    </a:lnTo>
                    <a:cubicBezTo>
                      <a:pt x="311468" y="65989"/>
                      <a:pt x="300990" y="63132"/>
                      <a:pt x="297180" y="63132"/>
                    </a:cubicBezTo>
                    <a:cubicBezTo>
                      <a:pt x="294323" y="63132"/>
                      <a:pt x="284798" y="61227"/>
                      <a:pt x="284798" y="61227"/>
                    </a:cubicBezTo>
                    <a:lnTo>
                      <a:pt x="279083" y="59322"/>
                    </a:lnTo>
                    <a:lnTo>
                      <a:pt x="271463" y="56464"/>
                    </a:lnTo>
                    <a:lnTo>
                      <a:pt x="269558" y="53607"/>
                    </a:lnTo>
                    <a:lnTo>
                      <a:pt x="262890" y="49797"/>
                    </a:lnTo>
                    <a:lnTo>
                      <a:pt x="256223" y="44082"/>
                    </a:lnTo>
                    <a:lnTo>
                      <a:pt x="253365" y="39319"/>
                    </a:lnTo>
                    <a:lnTo>
                      <a:pt x="247650" y="31699"/>
                    </a:lnTo>
                    <a:lnTo>
                      <a:pt x="240030" y="29794"/>
                    </a:lnTo>
                    <a:lnTo>
                      <a:pt x="232410" y="28842"/>
                    </a:lnTo>
                    <a:lnTo>
                      <a:pt x="227648" y="24079"/>
                    </a:lnTo>
                    <a:cubicBezTo>
                      <a:pt x="227648" y="24079"/>
                      <a:pt x="221933" y="22174"/>
                      <a:pt x="222885" y="20269"/>
                    </a:cubicBezTo>
                    <a:cubicBezTo>
                      <a:pt x="223838" y="18364"/>
                      <a:pt x="220980" y="17412"/>
                      <a:pt x="220980" y="15507"/>
                    </a:cubicBezTo>
                    <a:cubicBezTo>
                      <a:pt x="220980" y="13602"/>
                      <a:pt x="220027" y="10744"/>
                      <a:pt x="220027" y="10744"/>
                    </a:cubicBezTo>
                    <a:lnTo>
                      <a:pt x="218123" y="7887"/>
                    </a:lnTo>
                    <a:lnTo>
                      <a:pt x="213360" y="4077"/>
                    </a:lnTo>
                    <a:lnTo>
                      <a:pt x="206693" y="3124"/>
                    </a:lnTo>
                    <a:lnTo>
                      <a:pt x="204788" y="9792"/>
                    </a:lnTo>
                    <a:lnTo>
                      <a:pt x="200025" y="13602"/>
                    </a:lnTo>
                    <a:lnTo>
                      <a:pt x="181927" y="15507"/>
                    </a:lnTo>
                    <a:lnTo>
                      <a:pt x="175260" y="16459"/>
                    </a:lnTo>
                    <a:cubicBezTo>
                      <a:pt x="175260" y="16459"/>
                      <a:pt x="168593" y="12649"/>
                      <a:pt x="164783" y="13602"/>
                    </a:cubicBezTo>
                    <a:cubicBezTo>
                      <a:pt x="160020" y="14554"/>
                      <a:pt x="150495" y="13602"/>
                      <a:pt x="150495" y="13602"/>
                    </a:cubicBezTo>
                    <a:lnTo>
                      <a:pt x="143827" y="13602"/>
                    </a:lnTo>
                    <a:lnTo>
                      <a:pt x="138113" y="14554"/>
                    </a:lnTo>
                    <a:lnTo>
                      <a:pt x="129540" y="11697"/>
                    </a:lnTo>
                    <a:lnTo>
                      <a:pt x="116205" y="10744"/>
                    </a:lnTo>
                    <a:lnTo>
                      <a:pt x="106680" y="9792"/>
                    </a:lnTo>
                    <a:lnTo>
                      <a:pt x="100013" y="9792"/>
                    </a:lnTo>
                    <a:lnTo>
                      <a:pt x="93345" y="8839"/>
                    </a:lnTo>
                    <a:lnTo>
                      <a:pt x="85725" y="5982"/>
                    </a:lnTo>
                    <a:lnTo>
                      <a:pt x="77152" y="1219"/>
                    </a:lnTo>
                    <a:cubicBezTo>
                      <a:pt x="77152" y="1219"/>
                      <a:pt x="70485" y="-686"/>
                      <a:pt x="67627" y="267"/>
                    </a:cubicBezTo>
                    <a:cubicBezTo>
                      <a:pt x="63818" y="1219"/>
                      <a:pt x="63818" y="1219"/>
                      <a:pt x="63818" y="1219"/>
                    </a:cubicBezTo>
                    <a:lnTo>
                      <a:pt x="58102" y="4077"/>
                    </a:lnTo>
                    <a:cubicBezTo>
                      <a:pt x="58102" y="4077"/>
                      <a:pt x="55245" y="5029"/>
                      <a:pt x="53340" y="6934"/>
                    </a:cubicBezTo>
                    <a:cubicBezTo>
                      <a:pt x="52388" y="8839"/>
                      <a:pt x="44768" y="9792"/>
                      <a:pt x="44768" y="9792"/>
                    </a:cubicBezTo>
                    <a:lnTo>
                      <a:pt x="36195" y="10744"/>
                    </a:lnTo>
                    <a:lnTo>
                      <a:pt x="28575" y="12649"/>
                    </a:lnTo>
                    <a:lnTo>
                      <a:pt x="22860" y="17412"/>
                    </a:lnTo>
                    <a:cubicBezTo>
                      <a:pt x="22860" y="17412"/>
                      <a:pt x="20002" y="17412"/>
                      <a:pt x="17145" y="19317"/>
                    </a:cubicBezTo>
                    <a:cubicBezTo>
                      <a:pt x="15240" y="21222"/>
                      <a:pt x="15240" y="21222"/>
                      <a:pt x="15240" y="21222"/>
                    </a:cubicBezTo>
                    <a:lnTo>
                      <a:pt x="7620" y="23127"/>
                    </a:lnTo>
                    <a:lnTo>
                      <a:pt x="3810" y="26937"/>
                    </a:lnTo>
                    <a:lnTo>
                      <a:pt x="0" y="31699"/>
                    </a:lnTo>
                    <a:cubicBezTo>
                      <a:pt x="0" y="31699"/>
                      <a:pt x="952" y="35509"/>
                      <a:pt x="3810" y="37414"/>
                    </a:cubicBezTo>
                    <a:cubicBezTo>
                      <a:pt x="6668" y="39319"/>
                      <a:pt x="3810" y="38367"/>
                      <a:pt x="6668" y="39319"/>
                    </a:cubicBezTo>
                    <a:cubicBezTo>
                      <a:pt x="9525" y="41224"/>
                      <a:pt x="3810" y="39319"/>
                      <a:pt x="14288" y="41224"/>
                    </a:cubicBezTo>
                    <a:cubicBezTo>
                      <a:pt x="24765" y="43129"/>
                      <a:pt x="22860" y="43129"/>
                      <a:pt x="24765" y="43129"/>
                    </a:cubicBezTo>
                    <a:cubicBezTo>
                      <a:pt x="26670" y="43129"/>
                      <a:pt x="26670" y="43129"/>
                      <a:pt x="26670" y="43129"/>
                    </a:cubicBezTo>
                    <a:cubicBezTo>
                      <a:pt x="26670" y="43129"/>
                      <a:pt x="28575" y="44082"/>
                      <a:pt x="29527" y="46939"/>
                    </a:cubicBezTo>
                    <a:cubicBezTo>
                      <a:pt x="30480" y="49797"/>
                      <a:pt x="26670" y="45034"/>
                      <a:pt x="30480" y="49797"/>
                    </a:cubicBezTo>
                    <a:lnTo>
                      <a:pt x="33338" y="53607"/>
                    </a:lnTo>
                    <a:lnTo>
                      <a:pt x="35243" y="62179"/>
                    </a:lnTo>
                    <a:cubicBezTo>
                      <a:pt x="35243" y="62179"/>
                      <a:pt x="33338" y="62179"/>
                      <a:pt x="35243" y="65037"/>
                    </a:cubicBezTo>
                    <a:cubicBezTo>
                      <a:pt x="37148" y="67894"/>
                      <a:pt x="38100" y="70752"/>
                      <a:pt x="38100" y="70752"/>
                    </a:cubicBezTo>
                    <a:cubicBezTo>
                      <a:pt x="38100" y="70752"/>
                      <a:pt x="38100" y="73609"/>
                      <a:pt x="41910" y="75514"/>
                    </a:cubicBezTo>
                    <a:cubicBezTo>
                      <a:pt x="46673" y="77419"/>
                      <a:pt x="46673" y="77419"/>
                      <a:pt x="50483" y="79324"/>
                    </a:cubicBezTo>
                    <a:cubicBezTo>
                      <a:pt x="55245" y="81229"/>
                      <a:pt x="59055" y="81229"/>
                      <a:pt x="59055" y="81229"/>
                    </a:cubicBezTo>
                    <a:lnTo>
                      <a:pt x="66675" y="81229"/>
                    </a:lnTo>
                    <a:cubicBezTo>
                      <a:pt x="66675" y="81229"/>
                      <a:pt x="71438" y="80277"/>
                      <a:pt x="74295" y="83134"/>
                    </a:cubicBezTo>
                    <a:cubicBezTo>
                      <a:pt x="77152" y="85992"/>
                      <a:pt x="77152" y="85992"/>
                      <a:pt x="77152" y="85992"/>
                    </a:cubicBezTo>
                    <a:lnTo>
                      <a:pt x="82868" y="86944"/>
                    </a:lnTo>
                    <a:cubicBezTo>
                      <a:pt x="82868" y="86944"/>
                      <a:pt x="83820" y="87897"/>
                      <a:pt x="88583" y="90754"/>
                    </a:cubicBezTo>
                    <a:cubicBezTo>
                      <a:pt x="93345" y="93612"/>
                      <a:pt x="86677" y="91707"/>
                      <a:pt x="93345" y="93612"/>
                    </a:cubicBezTo>
                    <a:cubicBezTo>
                      <a:pt x="100013" y="95517"/>
                      <a:pt x="104775" y="95517"/>
                      <a:pt x="104775" y="95517"/>
                    </a:cubicBezTo>
                    <a:cubicBezTo>
                      <a:pt x="104775" y="95517"/>
                      <a:pt x="112395" y="95517"/>
                      <a:pt x="116205" y="97422"/>
                    </a:cubicBezTo>
                    <a:cubicBezTo>
                      <a:pt x="119063" y="99327"/>
                      <a:pt x="127635" y="98374"/>
                      <a:pt x="127635" y="98374"/>
                    </a:cubicBezTo>
                    <a:cubicBezTo>
                      <a:pt x="127635" y="98374"/>
                      <a:pt x="132398" y="98374"/>
                      <a:pt x="135255" y="99327"/>
                    </a:cubicBezTo>
                    <a:cubicBezTo>
                      <a:pt x="138113" y="100279"/>
                      <a:pt x="138113" y="100279"/>
                      <a:pt x="138113" y="100279"/>
                    </a:cubicBezTo>
                    <a:cubicBezTo>
                      <a:pt x="138113" y="100279"/>
                      <a:pt x="143827" y="97422"/>
                      <a:pt x="147638" y="98374"/>
                    </a:cubicBezTo>
                    <a:cubicBezTo>
                      <a:pt x="152400" y="99327"/>
                      <a:pt x="156210" y="96469"/>
                      <a:pt x="156210" y="96469"/>
                    </a:cubicBezTo>
                    <a:cubicBezTo>
                      <a:pt x="156210" y="96469"/>
                      <a:pt x="160973" y="95517"/>
                      <a:pt x="163830" y="94564"/>
                    </a:cubicBezTo>
                    <a:cubicBezTo>
                      <a:pt x="166688" y="93612"/>
                      <a:pt x="170498" y="93612"/>
                      <a:pt x="173355" y="93612"/>
                    </a:cubicBezTo>
                    <a:cubicBezTo>
                      <a:pt x="176213" y="93612"/>
                      <a:pt x="178118" y="92659"/>
                      <a:pt x="180975" y="92659"/>
                    </a:cubicBezTo>
                    <a:cubicBezTo>
                      <a:pt x="183833" y="92659"/>
                      <a:pt x="194310" y="92659"/>
                      <a:pt x="194310" y="92659"/>
                    </a:cubicBezTo>
                    <a:lnTo>
                      <a:pt x="200977" y="89802"/>
                    </a:lnTo>
                    <a:cubicBezTo>
                      <a:pt x="200977" y="89802"/>
                      <a:pt x="201930" y="89802"/>
                      <a:pt x="206693" y="89802"/>
                    </a:cubicBezTo>
                    <a:cubicBezTo>
                      <a:pt x="211455" y="89802"/>
                      <a:pt x="216218" y="89802"/>
                      <a:pt x="220027" y="89802"/>
                    </a:cubicBezTo>
                    <a:cubicBezTo>
                      <a:pt x="222885" y="89802"/>
                      <a:pt x="222885" y="89802"/>
                      <a:pt x="222885" y="89802"/>
                    </a:cubicBezTo>
                    <a:cubicBezTo>
                      <a:pt x="222885" y="89802"/>
                      <a:pt x="224790" y="89802"/>
                      <a:pt x="229552" y="91707"/>
                    </a:cubicBezTo>
                    <a:cubicBezTo>
                      <a:pt x="234315" y="93612"/>
                      <a:pt x="227648" y="92659"/>
                      <a:pt x="234315" y="93612"/>
                    </a:cubicBezTo>
                    <a:cubicBezTo>
                      <a:pt x="240983" y="95517"/>
                      <a:pt x="236220" y="94564"/>
                      <a:pt x="240983" y="95517"/>
                    </a:cubicBezTo>
                    <a:cubicBezTo>
                      <a:pt x="248602" y="94564"/>
                      <a:pt x="256223" y="95517"/>
                      <a:pt x="256223" y="95517"/>
                    </a:cubicBezTo>
                    <a:close/>
                  </a:path>
                </a:pathLst>
              </a:custGeom>
              <a:grpFill/>
              <a:ln w="9525" cap="flat">
                <a:noFill/>
                <a:prstDash val="solid"/>
                <a:miter/>
              </a:ln>
            </p:spPr>
            <p:txBody>
              <a:bodyPr rtlCol="0" anchor="ctr"/>
              <a:lstStyle/>
              <a:p>
                <a:endParaRPr lang="en-US" sz="1765"/>
              </a:p>
            </p:txBody>
          </p:sp>
          <p:sp>
            <p:nvSpPr>
              <p:cNvPr id="260" name="Freeform: Shape 259">
                <a:extLst>
                  <a:ext uri="{FF2B5EF4-FFF2-40B4-BE49-F238E27FC236}">
                    <a16:creationId xmlns:a16="http://schemas.microsoft.com/office/drawing/2014/main" id="{EAD6907B-DAF9-4BA9-AFF6-A93BDC95A234}"/>
                  </a:ext>
                </a:extLst>
              </p:cNvPr>
              <p:cNvSpPr/>
              <p:nvPr/>
            </p:nvSpPr>
            <p:spPr>
              <a:xfrm>
                <a:off x="5337839" y="2790554"/>
                <a:ext cx="9525" cy="9525"/>
              </a:xfrm>
              <a:custGeom>
                <a:avLst/>
                <a:gdLst/>
                <a:ahLst/>
                <a:cxnLst/>
                <a:rect l="l" t="t" r="r" b="b"/>
                <a:pathLst>
                  <a:path w="9525" h="9525"/>
                </a:pathLst>
              </a:custGeom>
              <a:grpFill/>
              <a:ln w="9525" cap="flat">
                <a:noFill/>
                <a:prstDash val="solid"/>
                <a:miter/>
              </a:ln>
            </p:spPr>
            <p:txBody>
              <a:bodyPr rtlCol="0" anchor="ctr"/>
              <a:lstStyle/>
              <a:p>
                <a:endParaRPr lang="en-US" sz="1765"/>
              </a:p>
            </p:txBody>
          </p:sp>
          <p:sp>
            <p:nvSpPr>
              <p:cNvPr id="261" name="Freeform: Shape 260">
                <a:extLst>
                  <a:ext uri="{FF2B5EF4-FFF2-40B4-BE49-F238E27FC236}">
                    <a16:creationId xmlns:a16="http://schemas.microsoft.com/office/drawing/2014/main" id="{3F24F922-67B1-4629-AE4A-2A95AD64BE59}"/>
                  </a:ext>
                </a:extLst>
              </p:cNvPr>
              <p:cNvSpPr/>
              <p:nvPr/>
            </p:nvSpPr>
            <p:spPr>
              <a:xfrm>
                <a:off x="6089361" y="3003913"/>
                <a:ext cx="156604" cy="65008"/>
              </a:xfrm>
              <a:custGeom>
                <a:avLst/>
                <a:gdLst>
                  <a:gd name="connsiteX0" fmla="*/ 123825 w 156604"/>
                  <a:gd name="connsiteY0" fmla="*/ 23813 h 65008"/>
                  <a:gd name="connsiteX1" fmla="*/ 113348 w 156604"/>
                  <a:gd name="connsiteY1" fmla="*/ 30480 h 65008"/>
                  <a:gd name="connsiteX2" fmla="*/ 105727 w 156604"/>
                  <a:gd name="connsiteY2" fmla="*/ 31433 h 65008"/>
                  <a:gd name="connsiteX3" fmla="*/ 97155 w 156604"/>
                  <a:gd name="connsiteY3" fmla="*/ 36195 h 65008"/>
                  <a:gd name="connsiteX4" fmla="*/ 97155 w 156604"/>
                  <a:gd name="connsiteY4" fmla="*/ 38100 h 65008"/>
                  <a:gd name="connsiteX5" fmla="*/ 95250 w 156604"/>
                  <a:gd name="connsiteY5" fmla="*/ 41910 h 65008"/>
                  <a:gd name="connsiteX6" fmla="*/ 91440 w 156604"/>
                  <a:gd name="connsiteY6" fmla="*/ 44768 h 65008"/>
                  <a:gd name="connsiteX7" fmla="*/ 83820 w 156604"/>
                  <a:gd name="connsiteY7" fmla="*/ 48578 h 65008"/>
                  <a:gd name="connsiteX8" fmla="*/ 83820 w 156604"/>
                  <a:gd name="connsiteY8" fmla="*/ 52388 h 65008"/>
                  <a:gd name="connsiteX9" fmla="*/ 82867 w 156604"/>
                  <a:gd name="connsiteY9" fmla="*/ 56197 h 65008"/>
                  <a:gd name="connsiteX10" fmla="*/ 80963 w 156604"/>
                  <a:gd name="connsiteY10" fmla="*/ 60008 h 65008"/>
                  <a:gd name="connsiteX11" fmla="*/ 75248 w 156604"/>
                  <a:gd name="connsiteY11" fmla="*/ 63818 h 65008"/>
                  <a:gd name="connsiteX12" fmla="*/ 54292 w 156604"/>
                  <a:gd name="connsiteY12" fmla="*/ 64770 h 65008"/>
                  <a:gd name="connsiteX13" fmla="*/ 45720 w 156604"/>
                  <a:gd name="connsiteY13" fmla="*/ 64770 h 65008"/>
                  <a:gd name="connsiteX14" fmla="*/ 39052 w 156604"/>
                  <a:gd name="connsiteY14" fmla="*/ 63818 h 65008"/>
                  <a:gd name="connsiteX15" fmla="*/ 29527 w 156604"/>
                  <a:gd name="connsiteY15" fmla="*/ 61913 h 65008"/>
                  <a:gd name="connsiteX16" fmla="*/ 24765 w 156604"/>
                  <a:gd name="connsiteY16" fmla="*/ 58103 h 65008"/>
                  <a:gd name="connsiteX17" fmla="*/ 19050 w 156604"/>
                  <a:gd name="connsiteY17" fmla="*/ 54293 h 65008"/>
                  <a:gd name="connsiteX18" fmla="*/ 10477 w 156604"/>
                  <a:gd name="connsiteY18" fmla="*/ 52388 h 65008"/>
                  <a:gd name="connsiteX19" fmla="*/ 5715 w 156604"/>
                  <a:gd name="connsiteY19" fmla="*/ 50483 h 65008"/>
                  <a:gd name="connsiteX20" fmla="*/ 3810 w 156604"/>
                  <a:gd name="connsiteY20" fmla="*/ 47625 h 65008"/>
                  <a:gd name="connsiteX21" fmla="*/ 2857 w 156604"/>
                  <a:gd name="connsiteY21" fmla="*/ 40958 h 65008"/>
                  <a:gd name="connsiteX22" fmla="*/ 0 w 156604"/>
                  <a:gd name="connsiteY22" fmla="*/ 37147 h 65008"/>
                  <a:gd name="connsiteX23" fmla="*/ 952 w 156604"/>
                  <a:gd name="connsiteY23" fmla="*/ 33338 h 65008"/>
                  <a:gd name="connsiteX24" fmla="*/ 5715 w 156604"/>
                  <a:gd name="connsiteY24" fmla="*/ 29528 h 65008"/>
                  <a:gd name="connsiteX25" fmla="*/ 10477 w 156604"/>
                  <a:gd name="connsiteY25" fmla="*/ 25718 h 65008"/>
                  <a:gd name="connsiteX26" fmla="*/ 11430 w 156604"/>
                  <a:gd name="connsiteY26" fmla="*/ 20955 h 65008"/>
                  <a:gd name="connsiteX27" fmla="*/ 13335 w 156604"/>
                  <a:gd name="connsiteY27" fmla="*/ 17145 h 65008"/>
                  <a:gd name="connsiteX28" fmla="*/ 14288 w 156604"/>
                  <a:gd name="connsiteY28" fmla="*/ 13335 h 65008"/>
                  <a:gd name="connsiteX29" fmla="*/ 20002 w 156604"/>
                  <a:gd name="connsiteY29" fmla="*/ 8572 h 65008"/>
                  <a:gd name="connsiteX30" fmla="*/ 27623 w 156604"/>
                  <a:gd name="connsiteY30" fmla="*/ 953 h 65008"/>
                  <a:gd name="connsiteX31" fmla="*/ 30480 w 156604"/>
                  <a:gd name="connsiteY31" fmla="*/ 953 h 65008"/>
                  <a:gd name="connsiteX32" fmla="*/ 43815 w 156604"/>
                  <a:gd name="connsiteY32" fmla="*/ 0 h 65008"/>
                  <a:gd name="connsiteX33" fmla="*/ 56198 w 156604"/>
                  <a:gd name="connsiteY33" fmla="*/ 953 h 65008"/>
                  <a:gd name="connsiteX34" fmla="*/ 69532 w 156604"/>
                  <a:gd name="connsiteY34" fmla="*/ 2858 h 65008"/>
                  <a:gd name="connsiteX35" fmla="*/ 90488 w 156604"/>
                  <a:gd name="connsiteY35" fmla="*/ 2858 h 65008"/>
                  <a:gd name="connsiteX36" fmla="*/ 103823 w 156604"/>
                  <a:gd name="connsiteY36" fmla="*/ 2858 h 65008"/>
                  <a:gd name="connsiteX37" fmla="*/ 117157 w 156604"/>
                  <a:gd name="connsiteY37" fmla="*/ 2858 h 65008"/>
                  <a:gd name="connsiteX38" fmla="*/ 131445 w 156604"/>
                  <a:gd name="connsiteY38" fmla="*/ 3810 h 65008"/>
                  <a:gd name="connsiteX39" fmla="*/ 139065 w 156604"/>
                  <a:gd name="connsiteY39" fmla="*/ 8572 h 65008"/>
                  <a:gd name="connsiteX40" fmla="*/ 150495 w 156604"/>
                  <a:gd name="connsiteY40" fmla="*/ 10478 h 65008"/>
                  <a:gd name="connsiteX41" fmla="*/ 155257 w 156604"/>
                  <a:gd name="connsiteY41" fmla="*/ 11430 h 65008"/>
                  <a:gd name="connsiteX42" fmla="*/ 156210 w 156604"/>
                  <a:gd name="connsiteY42" fmla="*/ 15240 h 65008"/>
                  <a:gd name="connsiteX43" fmla="*/ 147638 w 156604"/>
                  <a:gd name="connsiteY43" fmla="*/ 19050 h 65008"/>
                  <a:gd name="connsiteX44" fmla="*/ 123825 w 156604"/>
                  <a:gd name="connsiteY44" fmla="*/ 23813 h 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6604" h="65008">
                    <a:moveTo>
                      <a:pt x="123825" y="23813"/>
                    </a:moveTo>
                    <a:cubicBezTo>
                      <a:pt x="120015" y="27622"/>
                      <a:pt x="113348" y="30480"/>
                      <a:pt x="113348" y="30480"/>
                    </a:cubicBezTo>
                    <a:lnTo>
                      <a:pt x="105727" y="31433"/>
                    </a:lnTo>
                    <a:cubicBezTo>
                      <a:pt x="105727" y="31433"/>
                      <a:pt x="97155" y="34290"/>
                      <a:pt x="97155" y="36195"/>
                    </a:cubicBezTo>
                    <a:cubicBezTo>
                      <a:pt x="97155" y="38100"/>
                      <a:pt x="97155" y="38100"/>
                      <a:pt x="97155" y="38100"/>
                    </a:cubicBezTo>
                    <a:lnTo>
                      <a:pt x="95250" y="41910"/>
                    </a:lnTo>
                    <a:lnTo>
                      <a:pt x="91440" y="44768"/>
                    </a:lnTo>
                    <a:lnTo>
                      <a:pt x="83820" y="48578"/>
                    </a:lnTo>
                    <a:lnTo>
                      <a:pt x="83820" y="52388"/>
                    </a:lnTo>
                    <a:lnTo>
                      <a:pt x="82867" y="56197"/>
                    </a:lnTo>
                    <a:cubicBezTo>
                      <a:pt x="82867" y="56197"/>
                      <a:pt x="85725" y="56197"/>
                      <a:pt x="80963" y="60008"/>
                    </a:cubicBezTo>
                    <a:cubicBezTo>
                      <a:pt x="75248" y="63818"/>
                      <a:pt x="88582" y="61913"/>
                      <a:pt x="75248" y="63818"/>
                    </a:cubicBezTo>
                    <a:cubicBezTo>
                      <a:pt x="61913" y="65723"/>
                      <a:pt x="54292" y="64770"/>
                      <a:pt x="54292" y="64770"/>
                    </a:cubicBezTo>
                    <a:lnTo>
                      <a:pt x="45720" y="64770"/>
                    </a:lnTo>
                    <a:lnTo>
                      <a:pt x="39052" y="63818"/>
                    </a:lnTo>
                    <a:lnTo>
                      <a:pt x="29527" y="61913"/>
                    </a:lnTo>
                    <a:lnTo>
                      <a:pt x="24765" y="58103"/>
                    </a:lnTo>
                    <a:lnTo>
                      <a:pt x="19050" y="54293"/>
                    </a:lnTo>
                    <a:lnTo>
                      <a:pt x="10477" y="52388"/>
                    </a:lnTo>
                    <a:lnTo>
                      <a:pt x="5715" y="50483"/>
                    </a:lnTo>
                    <a:lnTo>
                      <a:pt x="3810" y="47625"/>
                    </a:lnTo>
                    <a:lnTo>
                      <a:pt x="2857" y="40958"/>
                    </a:lnTo>
                    <a:lnTo>
                      <a:pt x="0" y="37147"/>
                    </a:lnTo>
                    <a:lnTo>
                      <a:pt x="952" y="33338"/>
                    </a:lnTo>
                    <a:lnTo>
                      <a:pt x="5715" y="29528"/>
                    </a:lnTo>
                    <a:lnTo>
                      <a:pt x="10477" y="25718"/>
                    </a:lnTo>
                    <a:lnTo>
                      <a:pt x="11430" y="20955"/>
                    </a:lnTo>
                    <a:lnTo>
                      <a:pt x="13335" y="17145"/>
                    </a:lnTo>
                    <a:lnTo>
                      <a:pt x="14288" y="13335"/>
                    </a:lnTo>
                    <a:cubicBezTo>
                      <a:pt x="14288" y="13335"/>
                      <a:pt x="14288" y="11430"/>
                      <a:pt x="20002" y="8572"/>
                    </a:cubicBezTo>
                    <a:cubicBezTo>
                      <a:pt x="25717" y="5715"/>
                      <a:pt x="24765" y="953"/>
                      <a:pt x="27623" y="953"/>
                    </a:cubicBezTo>
                    <a:cubicBezTo>
                      <a:pt x="30480" y="953"/>
                      <a:pt x="26670" y="1905"/>
                      <a:pt x="30480" y="953"/>
                    </a:cubicBezTo>
                    <a:cubicBezTo>
                      <a:pt x="35242" y="0"/>
                      <a:pt x="38100" y="0"/>
                      <a:pt x="43815" y="0"/>
                    </a:cubicBezTo>
                    <a:cubicBezTo>
                      <a:pt x="49530" y="953"/>
                      <a:pt x="51435" y="-953"/>
                      <a:pt x="56198" y="953"/>
                    </a:cubicBezTo>
                    <a:cubicBezTo>
                      <a:pt x="60960" y="2858"/>
                      <a:pt x="62865" y="2858"/>
                      <a:pt x="69532" y="2858"/>
                    </a:cubicBezTo>
                    <a:cubicBezTo>
                      <a:pt x="76200" y="3810"/>
                      <a:pt x="90488" y="2858"/>
                      <a:pt x="90488" y="2858"/>
                    </a:cubicBezTo>
                    <a:cubicBezTo>
                      <a:pt x="90488" y="2858"/>
                      <a:pt x="100013" y="2858"/>
                      <a:pt x="103823" y="2858"/>
                    </a:cubicBezTo>
                    <a:cubicBezTo>
                      <a:pt x="107632" y="2858"/>
                      <a:pt x="111442" y="2858"/>
                      <a:pt x="117157" y="2858"/>
                    </a:cubicBezTo>
                    <a:cubicBezTo>
                      <a:pt x="122873" y="2858"/>
                      <a:pt x="131445" y="3810"/>
                      <a:pt x="131445" y="3810"/>
                    </a:cubicBezTo>
                    <a:cubicBezTo>
                      <a:pt x="134302" y="7620"/>
                      <a:pt x="139065" y="8572"/>
                      <a:pt x="139065" y="8572"/>
                    </a:cubicBezTo>
                    <a:cubicBezTo>
                      <a:pt x="139065" y="8572"/>
                      <a:pt x="145732" y="9525"/>
                      <a:pt x="150495" y="10478"/>
                    </a:cubicBezTo>
                    <a:cubicBezTo>
                      <a:pt x="155257" y="11430"/>
                      <a:pt x="154305" y="6668"/>
                      <a:pt x="155257" y="11430"/>
                    </a:cubicBezTo>
                    <a:cubicBezTo>
                      <a:pt x="156210" y="15240"/>
                      <a:pt x="157163" y="10478"/>
                      <a:pt x="156210" y="15240"/>
                    </a:cubicBezTo>
                    <a:cubicBezTo>
                      <a:pt x="155257" y="20003"/>
                      <a:pt x="150495" y="17145"/>
                      <a:pt x="147638" y="19050"/>
                    </a:cubicBezTo>
                    <a:cubicBezTo>
                      <a:pt x="142875" y="20955"/>
                      <a:pt x="123825" y="23813"/>
                      <a:pt x="123825" y="23813"/>
                    </a:cubicBezTo>
                    <a:close/>
                  </a:path>
                </a:pathLst>
              </a:custGeom>
              <a:grpFill/>
              <a:ln w="9525" cap="flat">
                <a:noFill/>
                <a:prstDash val="solid"/>
                <a:miter/>
              </a:ln>
            </p:spPr>
            <p:txBody>
              <a:bodyPr rtlCol="0" anchor="ctr"/>
              <a:lstStyle/>
              <a:p>
                <a:endParaRPr lang="en-US" sz="1765"/>
              </a:p>
            </p:txBody>
          </p:sp>
          <p:sp>
            <p:nvSpPr>
              <p:cNvPr id="262" name="Freeform: Shape 261">
                <a:extLst>
                  <a:ext uri="{FF2B5EF4-FFF2-40B4-BE49-F238E27FC236}">
                    <a16:creationId xmlns:a16="http://schemas.microsoft.com/office/drawing/2014/main" id="{4B9B4F01-7753-41D7-A51F-268F266FC2CC}"/>
                  </a:ext>
                </a:extLst>
              </p:cNvPr>
              <p:cNvSpPr/>
              <p:nvPr/>
            </p:nvSpPr>
            <p:spPr>
              <a:xfrm>
                <a:off x="6127461" y="2930148"/>
                <a:ext cx="114723" cy="40428"/>
              </a:xfrm>
              <a:custGeom>
                <a:avLst/>
                <a:gdLst>
                  <a:gd name="connsiteX0" fmla="*/ 40957 w 114723"/>
                  <a:gd name="connsiteY0" fmla="*/ 39476 h 40428"/>
                  <a:gd name="connsiteX1" fmla="*/ 31432 w 114723"/>
                  <a:gd name="connsiteY1" fmla="*/ 39476 h 40428"/>
                  <a:gd name="connsiteX2" fmla="*/ 16192 w 114723"/>
                  <a:gd name="connsiteY2" fmla="*/ 40428 h 40428"/>
                  <a:gd name="connsiteX3" fmla="*/ 6667 w 114723"/>
                  <a:gd name="connsiteY3" fmla="*/ 39476 h 40428"/>
                  <a:gd name="connsiteX4" fmla="*/ 952 w 114723"/>
                  <a:gd name="connsiteY4" fmla="*/ 35666 h 40428"/>
                  <a:gd name="connsiteX5" fmla="*/ 0 w 114723"/>
                  <a:gd name="connsiteY5" fmla="*/ 30903 h 40428"/>
                  <a:gd name="connsiteX6" fmla="*/ 6667 w 114723"/>
                  <a:gd name="connsiteY6" fmla="*/ 27093 h 40428"/>
                  <a:gd name="connsiteX7" fmla="*/ 15240 w 114723"/>
                  <a:gd name="connsiteY7" fmla="*/ 24236 h 40428"/>
                  <a:gd name="connsiteX8" fmla="*/ 21907 w 114723"/>
                  <a:gd name="connsiteY8" fmla="*/ 23283 h 40428"/>
                  <a:gd name="connsiteX9" fmla="*/ 33338 w 114723"/>
                  <a:gd name="connsiteY9" fmla="*/ 19473 h 40428"/>
                  <a:gd name="connsiteX10" fmla="*/ 41910 w 114723"/>
                  <a:gd name="connsiteY10" fmla="*/ 15663 h 40428"/>
                  <a:gd name="connsiteX11" fmla="*/ 46673 w 114723"/>
                  <a:gd name="connsiteY11" fmla="*/ 14711 h 40428"/>
                  <a:gd name="connsiteX12" fmla="*/ 56198 w 114723"/>
                  <a:gd name="connsiteY12" fmla="*/ 11853 h 40428"/>
                  <a:gd name="connsiteX13" fmla="*/ 59055 w 114723"/>
                  <a:gd name="connsiteY13" fmla="*/ 12806 h 40428"/>
                  <a:gd name="connsiteX14" fmla="*/ 70485 w 114723"/>
                  <a:gd name="connsiteY14" fmla="*/ 6138 h 40428"/>
                  <a:gd name="connsiteX15" fmla="*/ 78105 w 114723"/>
                  <a:gd name="connsiteY15" fmla="*/ 2328 h 40428"/>
                  <a:gd name="connsiteX16" fmla="*/ 90488 w 114723"/>
                  <a:gd name="connsiteY16" fmla="*/ 423 h 40428"/>
                  <a:gd name="connsiteX17" fmla="*/ 99060 w 114723"/>
                  <a:gd name="connsiteY17" fmla="*/ 423 h 40428"/>
                  <a:gd name="connsiteX18" fmla="*/ 107632 w 114723"/>
                  <a:gd name="connsiteY18" fmla="*/ 1376 h 40428"/>
                  <a:gd name="connsiteX19" fmla="*/ 114300 w 114723"/>
                  <a:gd name="connsiteY19" fmla="*/ 4233 h 40428"/>
                  <a:gd name="connsiteX20" fmla="*/ 114300 w 114723"/>
                  <a:gd name="connsiteY20" fmla="*/ 11853 h 40428"/>
                  <a:gd name="connsiteX21" fmla="*/ 110490 w 114723"/>
                  <a:gd name="connsiteY21" fmla="*/ 18521 h 40428"/>
                  <a:gd name="connsiteX22" fmla="*/ 103823 w 114723"/>
                  <a:gd name="connsiteY22" fmla="*/ 24236 h 40428"/>
                  <a:gd name="connsiteX23" fmla="*/ 92392 w 114723"/>
                  <a:gd name="connsiteY23" fmla="*/ 27093 h 40428"/>
                  <a:gd name="connsiteX24" fmla="*/ 87630 w 114723"/>
                  <a:gd name="connsiteY24" fmla="*/ 28046 h 40428"/>
                  <a:gd name="connsiteX25" fmla="*/ 82867 w 114723"/>
                  <a:gd name="connsiteY25" fmla="*/ 28046 h 40428"/>
                  <a:gd name="connsiteX26" fmla="*/ 77152 w 114723"/>
                  <a:gd name="connsiteY26" fmla="*/ 28046 h 40428"/>
                  <a:gd name="connsiteX27" fmla="*/ 71438 w 114723"/>
                  <a:gd name="connsiteY27" fmla="*/ 28998 h 40428"/>
                  <a:gd name="connsiteX28" fmla="*/ 65723 w 114723"/>
                  <a:gd name="connsiteY28" fmla="*/ 29951 h 40428"/>
                  <a:gd name="connsiteX29" fmla="*/ 60960 w 114723"/>
                  <a:gd name="connsiteY29" fmla="*/ 33761 h 40428"/>
                  <a:gd name="connsiteX30" fmla="*/ 56198 w 114723"/>
                  <a:gd name="connsiteY30" fmla="*/ 36618 h 40428"/>
                  <a:gd name="connsiteX31" fmla="*/ 40957 w 114723"/>
                  <a:gd name="connsiteY31" fmla="*/ 39476 h 4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723" h="40428">
                    <a:moveTo>
                      <a:pt x="40957" y="39476"/>
                    </a:moveTo>
                    <a:cubicBezTo>
                      <a:pt x="40957" y="39476"/>
                      <a:pt x="34290" y="39476"/>
                      <a:pt x="31432" y="39476"/>
                    </a:cubicBezTo>
                    <a:cubicBezTo>
                      <a:pt x="28575" y="39476"/>
                      <a:pt x="16192" y="40428"/>
                      <a:pt x="16192" y="40428"/>
                    </a:cubicBezTo>
                    <a:lnTo>
                      <a:pt x="6667" y="39476"/>
                    </a:lnTo>
                    <a:lnTo>
                      <a:pt x="952" y="35666"/>
                    </a:lnTo>
                    <a:lnTo>
                      <a:pt x="0" y="30903"/>
                    </a:lnTo>
                    <a:cubicBezTo>
                      <a:pt x="0" y="30903"/>
                      <a:pt x="1905" y="29951"/>
                      <a:pt x="6667" y="27093"/>
                    </a:cubicBezTo>
                    <a:cubicBezTo>
                      <a:pt x="11430" y="25188"/>
                      <a:pt x="15240" y="24236"/>
                      <a:pt x="15240" y="24236"/>
                    </a:cubicBezTo>
                    <a:cubicBezTo>
                      <a:pt x="21907" y="23283"/>
                      <a:pt x="16192" y="24236"/>
                      <a:pt x="21907" y="23283"/>
                    </a:cubicBezTo>
                    <a:cubicBezTo>
                      <a:pt x="27623" y="22331"/>
                      <a:pt x="28575" y="20426"/>
                      <a:pt x="33338" y="19473"/>
                    </a:cubicBezTo>
                    <a:cubicBezTo>
                      <a:pt x="38100" y="18521"/>
                      <a:pt x="38100" y="15663"/>
                      <a:pt x="41910" y="15663"/>
                    </a:cubicBezTo>
                    <a:cubicBezTo>
                      <a:pt x="46673" y="14711"/>
                      <a:pt x="40957" y="16616"/>
                      <a:pt x="46673" y="14711"/>
                    </a:cubicBezTo>
                    <a:cubicBezTo>
                      <a:pt x="52388" y="13758"/>
                      <a:pt x="53340" y="10901"/>
                      <a:pt x="56198" y="11853"/>
                    </a:cubicBezTo>
                    <a:cubicBezTo>
                      <a:pt x="59055" y="12806"/>
                      <a:pt x="59055" y="12806"/>
                      <a:pt x="59055" y="12806"/>
                    </a:cubicBezTo>
                    <a:lnTo>
                      <a:pt x="70485" y="6138"/>
                    </a:lnTo>
                    <a:cubicBezTo>
                      <a:pt x="70485" y="6138"/>
                      <a:pt x="72390" y="2328"/>
                      <a:pt x="78105" y="2328"/>
                    </a:cubicBezTo>
                    <a:cubicBezTo>
                      <a:pt x="83820" y="2328"/>
                      <a:pt x="90488" y="423"/>
                      <a:pt x="90488" y="423"/>
                    </a:cubicBezTo>
                    <a:cubicBezTo>
                      <a:pt x="90488" y="423"/>
                      <a:pt x="95250" y="-529"/>
                      <a:pt x="99060" y="423"/>
                    </a:cubicBezTo>
                    <a:cubicBezTo>
                      <a:pt x="103823" y="1376"/>
                      <a:pt x="107632" y="1376"/>
                      <a:pt x="107632" y="1376"/>
                    </a:cubicBezTo>
                    <a:lnTo>
                      <a:pt x="114300" y="4233"/>
                    </a:lnTo>
                    <a:cubicBezTo>
                      <a:pt x="115252" y="8996"/>
                      <a:pt x="114300" y="8043"/>
                      <a:pt x="114300" y="11853"/>
                    </a:cubicBezTo>
                    <a:cubicBezTo>
                      <a:pt x="114300" y="15663"/>
                      <a:pt x="112395" y="15663"/>
                      <a:pt x="110490" y="18521"/>
                    </a:cubicBezTo>
                    <a:cubicBezTo>
                      <a:pt x="109538" y="21378"/>
                      <a:pt x="103823" y="24236"/>
                      <a:pt x="103823" y="24236"/>
                    </a:cubicBezTo>
                    <a:lnTo>
                      <a:pt x="92392" y="27093"/>
                    </a:lnTo>
                    <a:lnTo>
                      <a:pt x="87630" y="28046"/>
                    </a:lnTo>
                    <a:lnTo>
                      <a:pt x="82867" y="28046"/>
                    </a:lnTo>
                    <a:lnTo>
                      <a:pt x="77152" y="28046"/>
                    </a:lnTo>
                    <a:lnTo>
                      <a:pt x="71438" y="28998"/>
                    </a:lnTo>
                    <a:lnTo>
                      <a:pt x="65723" y="29951"/>
                    </a:lnTo>
                    <a:cubicBezTo>
                      <a:pt x="60960" y="33761"/>
                      <a:pt x="60960" y="33761"/>
                      <a:pt x="60960" y="33761"/>
                    </a:cubicBezTo>
                    <a:lnTo>
                      <a:pt x="56198" y="36618"/>
                    </a:lnTo>
                    <a:lnTo>
                      <a:pt x="40957" y="39476"/>
                    </a:lnTo>
                    <a:close/>
                  </a:path>
                </a:pathLst>
              </a:custGeom>
              <a:grpFill/>
              <a:ln w="9525" cap="flat">
                <a:noFill/>
                <a:prstDash val="solid"/>
                <a:miter/>
              </a:ln>
            </p:spPr>
            <p:txBody>
              <a:bodyPr rtlCol="0" anchor="ctr"/>
              <a:lstStyle/>
              <a:p>
                <a:endParaRPr lang="en-US" sz="1765"/>
              </a:p>
            </p:txBody>
          </p:sp>
          <p:sp>
            <p:nvSpPr>
              <p:cNvPr id="263" name="Freeform: Shape 262">
                <a:extLst>
                  <a:ext uri="{FF2B5EF4-FFF2-40B4-BE49-F238E27FC236}">
                    <a16:creationId xmlns:a16="http://schemas.microsoft.com/office/drawing/2014/main" id="{C46B9CA8-38A9-4216-9981-F0F78DE26649}"/>
                  </a:ext>
                </a:extLst>
              </p:cNvPr>
              <p:cNvSpPr/>
              <p:nvPr/>
            </p:nvSpPr>
            <p:spPr>
              <a:xfrm>
                <a:off x="6227474" y="2955336"/>
                <a:ext cx="208597" cy="46114"/>
              </a:xfrm>
              <a:custGeom>
                <a:avLst/>
                <a:gdLst>
                  <a:gd name="connsiteX0" fmla="*/ 62865 w 208597"/>
                  <a:gd name="connsiteY0" fmla="*/ 4763 h 46114"/>
                  <a:gd name="connsiteX1" fmla="*/ 47625 w 208597"/>
                  <a:gd name="connsiteY1" fmla="*/ 4763 h 46114"/>
                  <a:gd name="connsiteX2" fmla="*/ 35242 w 208597"/>
                  <a:gd name="connsiteY2" fmla="*/ 4763 h 46114"/>
                  <a:gd name="connsiteX3" fmla="*/ 25717 w 208597"/>
                  <a:gd name="connsiteY3" fmla="*/ 5715 h 46114"/>
                  <a:gd name="connsiteX4" fmla="*/ 18098 w 208597"/>
                  <a:gd name="connsiteY4" fmla="*/ 10478 h 46114"/>
                  <a:gd name="connsiteX5" fmla="*/ 14288 w 208597"/>
                  <a:gd name="connsiteY5" fmla="*/ 17145 h 46114"/>
                  <a:gd name="connsiteX6" fmla="*/ 13335 w 208597"/>
                  <a:gd name="connsiteY6" fmla="*/ 19050 h 46114"/>
                  <a:gd name="connsiteX7" fmla="*/ 1905 w 208597"/>
                  <a:gd name="connsiteY7" fmla="*/ 24765 h 46114"/>
                  <a:gd name="connsiteX8" fmla="*/ 0 w 208597"/>
                  <a:gd name="connsiteY8" fmla="*/ 31433 h 46114"/>
                  <a:gd name="connsiteX9" fmla="*/ 9525 w 208597"/>
                  <a:gd name="connsiteY9" fmla="*/ 34290 h 46114"/>
                  <a:gd name="connsiteX10" fmla="*/ 21907 w 208597"/>
                  <a:gd name="connsiteY10" fmla="*/ 34290 h 46114"/>
                  <a:gd name="connsiteX11" fmla="*/ 35242 w 208597"/>
                  <a:gd name="connsiteY11" fmla="*/ 34290 h 46114"/>
                  <a:gd name="connsiteX12" fmla="*/ 40957 w 208597"/>
                  <a:gd name="connsiteY12" fmla="*/ 35243 h 46114"/>
                  <a:gd name="connsiteX13" fmla="*/ 56198 w 208597"/>
                  <a:gd name="connsiteY13" fmla="*/ 35243 h 46114"/>
                  <a:gd name="connsiteX14" fmla="*/ 60960 w 208597"/>
                  <a:gd name="connsiteY14" fmla="*/ 37148 h 46114"/>
                  <a:gd name="connsiteX15" fmla="*/ 62865 w 208597"/>
                  <a:gd name="connsiteY15" fmla="*/ 40958 h 46114"/>
                  <a:gd name="connsiteX16" fmla="*/ 70485 w 208597"/>
                  <a:gd name="connsiteY16" fmla="*/ 44768 h 46114"/>
                  <a:gd name="connsiteX17" fmla="*/ 81915 w 208597"/>
                  <a:gd name="connsiteY17" fmla="*/ 45720 h 46114"/>
                  <a:gd name="connsiteX18" fmla="*/ 95250 w 208597"/>
                  <a:gd name="connsiteY18" fmla="*/ 41910 h 46114"/>
                  <a:gd name="connsiteX19" fmla="*/ 107632 w 208597"/>
                  <a:gd name="connsiteY19" fmla="*/ 39053 h 46114"/>
                  <a:gd name="connsiteX20" fmla="*/ 116205 w 208597"/>
                  <a:gd name="connsiteY20" fmla="*/ 39053 h 46114"/>
                  <a:gd name="connsiteX21" fmla="*/ 134302 w 208597"/>
                  <a:gd name="connsiteY21" fmla="*/ 36195 h 46114"/>
                  <a:gd name="connsiteX22" fmla="*/ 148590 w 208597"/>
                  <a:gd name="connsiteY22" fmla="*/ 34290 h 46114"/>
                  <a:gd name="connsiteX23" fmla="*/ 166688 w 208597"/>
                  <a:gd name="connsiteY23" fmla="*/ 34290 h 46114"/>
                  <a:gd name="connsiteX24" fmla="*/ 179070 w 208597"/>
                  <a:gd name="connsiteY24" fmla="*/ 35243 h 46114"/>
                  <a:gd name="connsiteX25" fmla="*/ 190500 w 208597"/>
                  <a:gd name="connsiteY25" fmla="*/ 35243 h 46114"/>
                  <a:gd name="connsiteX26" fmla="*/ 197167 w 208597"/>
                  <a:gd name="connsiteY26" fmla="*/ 33338 h 46114"/>
                  <a:gd name="connsiteX27" fmla="*/ 204788 w 208597"/>
                  <a:gd name="connsiteY27" fmla="*/ 29528 h 46114"/>
                  <a:gd name="connsiteX28" fmla="*/ 208598 w 208597"/>
                  <a:gd name="connsiteY28" fmla="*/ 20955 h 46114"/>
                  <a:gd name="connsiteX29" fmla="*/ 204788 w 208597"/>
                  <a:gd name="connsiteY29" fmla="*/ 14288 h 46114"/>
                  <a:gd name="connsiteX30" fmla="*/ 192405 w 208597"/>
                  <a:gd name="connsiteY30" fmla="*/ 12383 h 46114"/>
                  <a:gd name="connsiteX31" fmla="*/ 180023 w 208597"/>
                  <a:gd name="connsiteY31" fmla="*/ 12383 h 46114"/>
                  <a:gd name="connsiteX32" fmla="*/ 170498 w 208597"/>
                  <a:gd name="connsiteY32" fmla="*/ 11430 h 46114"/>
                  <a:gd name="connsiteX33" fmla="*/ 166688 w 208597"/>
                  <a:gd name="connsiteY33" fmla="*/ 11430 h 46114"/>
                  <a:gd name="connsiteX34" fmla="*/ 158115 w 208597"/>
                  <a:gd name="connsiteY34" fmla="*/ 3810 h 46114"/>
                  <a:gd name="connsiteX35" fmla="*/ 153352 w 208597"/>
                  <a:gd name="connsiteY35" fmla="*/ 1905 h 46114"/>
                  <a:gd name="connsiteX36" fmla="*/ 139065 w 208597"/>
                  <a:gd name="connsiteY36" fmla="*/ 0 h 46114"/>
                  <a:gd name="connsiteX37" fmla="*/ 131445 w 208597"/>
                  <a:gd name="connsiteY37" fmla="*/ 0 h 46114"/>
                  <a:gd name="connsiteX38" fmla="*/ 126682 w 208597"/>
                  <a:gd name="connsiteY38" fmla="*/ 953 h 46114"/>
                  <a:gd name="connsiteX39" fmla="*/ 124777 w 208597"/>
                  <a:gd name="connsiteY39" fmla="*/ 6668 h 46114"/>
                  <a:gd name="connsiteX40" fmla="*/ 120967 w 208597"/>
                  <a:gd name="connsiteY40" fmla="*/ 11430 h 46114"/>
                  <a:gd name="connsiteX41" fmla="*/ 120015 w 208597"/>
                  <a:gd name="connsiteY41" fmla="*/ 13335 h 46114"/>
                  <a:gd name="connsiteX42" fmla="*/ 112395 w 208597"/>
                  <a:gd name="connsiteY42" fmla="*/ 17145 h 46114"/>
                  <a:gd name="connsiteX43" fmla="*/ 105727 w 208597"/>
                  <a:gd name="connsiteY43" fmla="*/ 18098 h 46114"/>
                  <a:gd name="connsiteX44" fmla="*/ 97155 w 208597"/>
                  <a:gd name="connsiteY44" fmla="*/ 18098 h 46114"/>
                  <a:gd name="connsiteX45" fmla="*/ 90488 w 208597"/>
                  <a:gd name="connsiteY45" fmla="*/ 17145 h 46114"/>
                  <a:gd name="connsiteX46" fmla="*/ 87630 w 208597"/>
                  <a:gd name="connsiteY46" fmla="*/ 14288 h 46114"/>
                  <a:gd name="connsiteX47" fmla="*/ 79057 w 208597"/>
                  <a:gd name="connsiteY47" fmla="*/ 10478 h 46114"/>
                  <a:gd name="connsiteX48" fmla="*/ 62865 w 208597"/>
                  <a:gd name="connsiteY48" fmla="*/ 4763 h 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8597" h="46114">
                    <a:moveTo>
                      <a:pt x="62865" y="4763"/>
                    </a:moveTo>
                    <a:lnTo>
                      <a:pt x="47625" y="4763"/>
                    </a:lnTo>
                    <a:lnTo>
                      <a:pt x="35242" y="4763"/>
                    </a:lnTo>
                    <a:cubicBezTo>
                      <a:pt x="35242" y="4763"/>
                      <a:pt x="28575" y="2858"/>
                      <a:pt x="25717" y="5715"/>
                    </a:cubicBezTo>
                    <a:cubicBezTo>
                      <a:pt x="21907" y="8573"/>
                      <a:pt x="19050" y="7620"/>
                      <a:pt x="18098" y="10478"/>
                    </a:cubicBezTo>
                    <a:cubicBezTo>
                      <a:pt x="17145" y="13335"/>
                      <a:pt x="16192" y="14288"/>
                      <a:pt x="14288" y="17145"/>
                    </a:cubicBezTo>
                    <a:cubicBezTo>
                      <a:pt x="13335" y="19050"/>
                      <a:pt x="13335" y="19050"/>
                      <a:pt x="13335" y="19050"/>
                    </a:cubicBezTo>
                    <a:lnTo>
                      <a:pt x="1905" y="24765"/>
                    </a:lnTo>
                    <a:cubicBezTo>
                      <a:pt x="0" y="28575"/>
                      <a:pt x="0" y="31433"/>
                      <a:pt x="0" y="31433"/>
                    </a:cubicBezTo>
                    <a:cubicBezTo>
                      <a:pt x="5715" y="34290"/>
                      <a:pt x="5715" y="33338"/>
                      <a:pt x="9525" y="34290"/>
                    </a:cubicBezTo>
                    <a:cubicBezTo>
                      <a:pt x="14288" y="35243"/>
                      <a:pt x="15240" y="33338"/>
                      <a:pt x="21907" y="34290"/>
                    </a:cubicBezTo>
                    <a:cubicBezTo>
                      <a:pt x="28575" y="35243"/>
                      <a:pt x="29527" y="33338"/>
                      <a:pt x="35242" y="34290"/>
                    </a:cubicBezTo>
                    <a:cubicBezTo>
                      <a:pt x="40957" y="35243"/>
                      <a:pt x="30480" y="34290"/>
                      <a:pt x="40957" y="35243"/>
                    </a:cubicBezTo>
                    <a:cubicBezTo>
                      <a:pt x="50482" y="36195"/>
                      <a:pt x="52388" y="34290"/>
                      <a:pt x="56198" y="35243"/>
                    </a:cubicBezTo>
                    <a:cubicBezTo>
                      <a:pt x="60960" y="37148"/>
                      <a:pt x="60960" y="37148"/>
                      <a:pt x="60960" y="37148"/>
                    </a:cubicBezTo>
                    <a:cubicBezTo>
                      <a:pt x="60960" y="37148"/>
                      <a:pt x="60007" y="39053"/>
                      <a:pt x="62865" y="40958"/>
                    </a:cubicBezTo>
                    <a:cubicBezTo>
                      <a:pt x="65723" y="42863"/>
                      <a:pt x="65723" y="43815"/>
                      <a:pt x="70485" y="44768"/>
                    </a:cubicBezTo>
                    <a:cubicBezTo>
                      <a:pt x="75248" y="45720"/>
                      <a:pt x="78105" y="46673"/>
                      <a:pt x="81915" y="45720"/>
                    </a:cubicBezTo>
                    <a:cubicBezTo>
                      <a:pt x="84773" y="44768"/>
                      <a:pt x="92392" y="41910"/>
                      <a:pt x="95250" y="41910"/>
                    </a:cubicBezTo>
                    <a:cubicBezTo>
                      <a:pt x="98107" y="41910"/>
                      <a:pt x="107632" y="39053"/>
                      <a:pt x="107632" y="39053"/>
                    </a:cubicBezTo>
                    <a:cubicBezTo>
                      <a:pt x="107632" y="39053"/>
                      <a:pt x="113348" y="38100"/>
                      <a:pt x="116205" y="39053"/>
                    </a:cubicBezTo>
                    <a:cubicBezTo>
                      <a:pt x="119063" y="40005"/>
                      <a:pt x="130492" y="37148"/>
                      <a:pt x="134302" y="36195"/>
                    </a:cubicBezTo>
                    <a:cubicBezTo>
                      <a:pt x="137160" y="35243"/>
                      <a:pt x="142875" y="33338"/>
                      <a:pt x="148590" y="34290"/>
                    </a:cubicBezTo>
                    <a:cubicBezTo>
                      <a:pt x="154305" y="35243"/>
                      <a:pt x="166688" y="34290"/>
                      <a:pt x="166688" y="34290"/>
                    </a:cubicBezTo>
                    <a:cubicBezTo>
                      <a:pt x="166688" y="34290"/>
                      <a:pt x="173355" y="34290"/>
                      <a:pt x="179070" y="35243"/>
                    </a:cubicBezTo>
                    <a:cubicBezTo>
                      <a:pt x="184785" y="36195"/>
                      <a:pt x="190500" y="35243"/>
                      <a:pt x="190500" y="35243"/>
                    </a:cubicBezTo>
                    <a:cubicBezTo>
                      <a:pt x="190500" y="35243"/>
                      <a:pt x="192405" y="33338"/>
                      <a:pt x="197167" y="33338"/>
                    </a:cubicBezTo>
                    <a:cubicBezTo>
                      <a:pt x="201930" y="33338"/>
                      <a:pt x="201930" y="30480"/>
                      <a:pt x="204788" y="29528"/>
                    </a:cubicBezTo>
                    <a:cubicBezTo>
                      <a:pt x="208598" y="28575"/>
                      <a:pt x="208598" y="20955"/>
                      <a:pt x="208598" y="20955"/>
                    </a:cubicBezTo>
                    <a:lnTo>
                      <a:pt x="204788" y="14288"/>
                    </a:lnTo>
                    <a:lnTo>
                      <a:pt x="192405" y="12383"/>
                    </a:lnTo>
                    <a:lnTo>
                      <a:pt x="180023" y="12383"/>
                    </a:lnTo>
                    <a:cubicBezTo>
                      <a:pt x="180023" y="12383"/>
                      <a:pt x="173355" y="11430"/>
                      <a:pt x="170498" y="11430"/>
                    </a:cubicBezTo>
                    <a:cubicBezTo>
                      <a:pt x="166688" y="11430"/>
                      <a:pt x="166688" y="11430"/>
                      <a:pt x="166688" y="11430"/>
                    </a:cubicBezTo>
                    <a:lnTo>
                      <a:pt x="158115" y="3810"/>
                    </a:lnTo>
                    <a:lnTo>
                      <a:pt x="153352" y="1905"/>
                    </a:lnTo>
                    <a:lnTo>
                      <a:pt x="139065" y="0"/>
                    </a:lnTo>
                    <a:lnTo>
                      <a:pt x="131445" y="0"/>
                    </a:lnTo>
                    <a:lnTo>
                      <a:pt x="126682" y="953"/>
                    </a:lnTo>
                    <a:cubicBezTo>
                      <a:pt x="126682" y="953"/>
                      <a:pt x="124777" y="4763"/>
                      <a:pt x="124777" y="6668"/>
                    </a:cubicBezTo>
                    <a:cubicBezTo>
                      <a:pt x="124777" y="8573"/>
                      <a:pt x="122873" y="9525"/>
                      <a:pt x="120967" y="11430"/>
                    </a:cubicBezTo>
                    <a:cubicBezTo>
                      <a:pt x="120015" y="13335"/>
                      <a:pt x="121920" y="11430"/>
                      <a:pt x="120015" y="13335"/>
                    </a:cubicBezTo>
                    <a:cubicBezTo>
                      <a:pt x="118110" y="15240"/>
                      <a:pt x="112395" y="17145"/>
                      <a:pt x="112395" y="17145"/>
                    </a:cubicBezTo>
                    <a:lnTo>
                      <a:pt x="105727" y="18098"/>
                    </a:lnTo>
                    <a:lnTo>
                      <a:pt x="97155" y="18098"/>
                    </a:lnTo>
                    <a:lnTo>
                      <a:pt x="90488" y="17145"/>
                    </a:lnTo>
                    <a:lnTo>
                      <a:pt x="87630" y="14288"/>
                    </a:lnTo>
                    <a:lnTo>
                      <a:pt x="79057" y="10478"/>
                    </a:lnTo>
                    <a:lnTo>
                      <a:pt x="62865" y="4763"/>
                    </a:lnTo>
                    <a:close/>
                  </a:path>
                </a:pathLst>
              </a:custGeom>
              <a:grpFill/>
              <a:ln w="9525" cap="flat">
                <a:noFill/>
                <a:prstDash val="solid"/>
                <a:miter/>
              </a:ln>
            </p:spPr>
            <p:txBody>
              <a:bodyPr rtlCol="0" anchor="ctr"/>
              <a:lstStyle/>
              <a:p>
                <a:endParaRPr lang="en-US" sz="1765"/>
              </a:p>
            </p:txBody>
          </p:sp>
          <p:sp>
            <p:nvSpPr>
              <p:cNvPr id="264" name="Freeform: Shape 263">
                <a:extLst>
                  <a:ext uri="{FF2B5EF4-FFF2-40B4-BE49-F238E27FC236}">
                    <a16:creationId xmlns:a16="http://schemas.microsoft.com/office/drawing/2014/main" id="{0568DF80-0E28-4700-A635-19796D7CF2E5}"/>
                  </a:ext>
                </a:extLst>
              </p:cNvPr>
              <p:cNvSpPr/>
              <p:nvPr/>
            </p:nvSpPr>
            <p:spPr>
              <a:xfrm>
                <a:off x="6294576" y="2902525"/>
                <a:ext cx="65401" cy="30903"/>
              </a:xfrm>
              <a:custGeom>
                <a:avLst/>
                <a:gdLst>
                  <a:gd name="connsiteX0" fmla="*/ 17670 w 65401"/>
                  <a:gd name="connsiteY0" fmla="*/ 30903 h 30903"/>
                  <a:gd name="connsiteX1" fmla="*/ 2430 w 65401"/>
                  <a:gd name="connsiteY1" fmla="*/ 27093 h 30903"/>
                  <a:gd name="connsiteX2" fmla="*/ 1477 w 65401"/>
                  <a:gd name="connsiteY2" fmla="*/ 22331 h 30903"/>
                  <a:gd name="connsiteX3" fmla="*/ 5287 w 65401"/>
                  <a:gd name="connsiteY3" fmla="*/ 22331 h 30903"/>
                  <a:gd name="connsiteX4" fmla="*/ 10050 w 65401"/>
                  <a:gd name="connsiteY4" fmla="*/ 20426 h 30903"/>
                  <a:gd name="connsiteX5" fmla="*/ 11002 w 65401"/>
                  <a:gd name="connsiteY5" fmla="*/ 12806 h 30903"/>
                  <a:gd name="connsiteX6" fmla="*/ 10050 w 65401"/>
                  <a:gd name="connsiteY6" fmla="*/ 10901 h 30903"/>
                  <a:gd name="connsiteX7" fmla="*/ 5287 w 65401"/>
                  <a:gd name="connsiteY7" fmla="*/ 8043 h 30903"/>
                  <a:gd name="connsiteX8" fmla="*/ 11002 w 65401"/>
                  <a:gd name="connsiteY8" fmla="*/ 3281 h 30903"/>
                  <a:gd name="connsiteX9" fmla="*/ 25290 w 65401"/>
                  <a:gd name="connsiteY9" fmla="*/ 1376 h 30903"/>
                  <a:gd name="connsiteX10" fmla="*/ 42435 w 65401"/>
                  <a:gd name="connsiteY10" fmla="*/ 423 h 30903"/>
                  <a:gd name="connsiteX11" fmla="*/ 51960 w 65401"/>
                  <a:gd name="connsiteY11" fmla="*/ 423 h 30903"/>
                  <a:gd name="connsiteX12" fmla="*/ 62437 w 65401"/>
                  <a:gd name="connsiteY12" fmla="*/ 3281 h 30903"/>
                  <a:gd name="connsiteX13" fmla="*/ 65295 w 65401"/>
                  <a:gd name="connsiteY13" fmla="*/ 7091 h 30903"/>
                  <a:gd name="connsiteX14" fmla="*/ 60532 w 65401"/>
                  <a:gd name="connsiteY14" fmla="*/ 14711 h 30903"/>
                  <a:gd name="connsiteX15" fmla="*/ 53865 w 65401"/>
                  <a:gd name="connsiteY15" fmla="*/ 18521 h 30903"/>
                  <a:gd name="connsiteX16" fmla="*/ 53865 w 65401"/>
                  <a:gd name="connsiteY16" fmla="*/ 21378 h 30903"/>
                  <a:gd name="connsiteX17" fmla="*/ 53865 w 65401"/>
                  <a:gd name="connsiteY17" fmla="*/ 25188 h 30903"/>
                  <a:gd name="connsiteX18" fmla="*/ 53865 w 65401"/>
                  <a:gd name="connsiteY18" fmla="*/ 28998 h 30903"/>
                  <a:gd name="connsiteX19" fmla="*/ 46245 w 65401"/>
                  <a:gd name="connsiteY19" fmla="*/ 29951 h 30903"/>
                  <a:gd name="connsiteX20" fmla="*/ 40530 w 65401"/>
                  <a:gd name="connsiteY20" fmla="*/ 29951 h 30903"/>
                  <a:gd name="connsiteX21" fmla="*/ 31005 w 65401"/>
                  <a:gd name="connsiteY21" fmla="*/ 28998 h 30903"/>
                  <a:gd name="connsiteX22" fmla="*/ 26242 w 65401"/>
                  <a:gd name="connsiteY22" fmla="*/ 28998 h 30903"/>
                  <a:gd name="connsiteX23" fmla="*/ 19575 w 65401"/>
                  <a:gd name="connsiteY23" fmla="*/ 29951 h 30903"/>
                  <a:gd name="connsiteX24" fmla="*/ 17670 w 65401"/>
                  <a:gd name="connsiteY24" fmla="*/ 30903 h 3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401" h="30903">
                    <a:moveTo>
                      <a:pt x="17670" y="30903"/>
                    </a:moveTo>
                    <a:lnTo>
                      <a:pt x="2430" y="27093"/>
                    </a:lnTo>
                    <a:cubicBezTo>
                      <a:pt x="2430" y="27093"/>
                      <a:pt x="-2333" y="22331"/>
                      <a:pt x="1477" y="22331"/>
                    </a:cubicBezTo>
                    <a:cubicBezTo>
                      <a:pt x="5287" y="22331"/>
                      <a:pt x="5287" y="22331"/>
                      <a:pt x="5287" y="22331"/>
                    </a:cubicBezTo>
                    <a:lnTo>
                      <a:pt x="10050" y="20426"/>
                    </a:lnTo>
                    <a:cubicBezTo>
                      <a:pt x="10050" y="20426"/>
                      <a:pt x="11955" y="14711"/>
                      <a:pt x="11002" y="12806"/>
                    </a:cubicBezTo>
                    <a:cubicBezTo>
                      <a:pt x="10050" y="10901"/>
                      <a:pt x="10050" y="10901"/>
                      <a:pt x="10050" y="10901"/>
                    </a:cubicBezTo>
                    <a:lnTo>
                      <a:pt x="5287" y="8043"/>
                    </a:lnTo>
                    <a:cubicBezTo>
                      <a:pt x="5287" y="8043"/>
                      <a:pt x="5287" y="4233"/>
                      <a:pt x="11002" y="3281"/>
                    </a:cubicBezTo>
                    <a:cubicBezTo>
                      <a:pt x="16717" y="2328"/>
                      <a:pt x="22432" y="2328"/>
                      <a:pt x="25290" y="1376"/>
                    </a:cubicBezTo>
                    <a:cubicBezTo>
                      <a:pt x="28147" y="423"/>
                      <a:pt x="39577" y="423"/>
                      <a:pt x="42435" y="423"/>
                    </a:cubicBezTo>
                    <a:cubicBezTo>
                      <a:pt x="45292" y="423"/>
                      <a:pt x="49102" y="-529"/>
                      <a:pt x="51960" y="423"/>
                    </a:cubicBezTo>
                    <a:cubicBezTo>
                      <a:pt x="54817" y="1376"/>
                      <a:pt x="62437" y="3281"/>
                      <a:pt x="62437" y="3281"/>
                    </a:cubicBezTo>
                    <a:cubicBezTo>
                      <a:pt x="62437" y="3281"/>
                      <a:pt x="64342" y="5186"/>
                      <a:pt x="65295" y="7091"/>
                    </a:cubicBezTo>
                    <a:cubicBezTo>
                      <a:pt x="66247" y="9948"/>
                      <a:pt x="60532" y="12806"/>
                      <a:pt x="60532" y="14711"/>
                    </a:cubicBezTo>
                    <a:cubicBezTo>
                      <a:pt x="60532" y="16616"/>
                      <a:pt x="53865" y="15663"/>
                      <a:pt x="53865" y="18521"/>
                    </a:cubicBezTo>
                    <a:cubicBezTo>
                      <a:pt x="53865" y="21378"/>
                      <a:pt x="53865" y="17568"/>
                      <a:pt x="53865" y="21378"/>
                    </a:cubicBezTo>
                    <a:cubicBezTo>
                      <a:pt x="53865" y="25188"/>
                      <a:pt x="53865" y="21378"/>
                      <a:pt x="53865" y="25188"/>
                    </a:cubicBezTo>
                    <a:cubicBezTo>
                      <a:pt x="53865" y="28998"/>
                      <a:pt x="53865" y="28998"/>
                      <a:pt x="53865" y="28998"/>
                    </a:cubicBezTo>
                    <a:lnTo>
                      <a:pt x="46245" y="29951"/>
                    </a:lnTo>
                    <a:lnTo>
                      <a:pt x="40530" y="29951"/>
                    </a:lnTo>
                    <a:lnTo>
                      <a:pt x="31005" y="28998"/>
                    </a:lnTo>
                    <a:lnTo>
                      <a:pt x="26242" y="28998"/>
                    </a:lnTo>
                    <a:lnTo>
                      <a:pt x="19575" y="29951"/>
                    </a:lnTo>
                    <a:lnTo>
                      <a:pt x="17670" y="30903"/>
                    </a:lnTo>
                    <a:close/>
                  </a:path>
                </a:pathLst>
              </a:custGeom>
              <a:grpFill/>
              <a:ln w="9525" cap="flat">
                <a:noFill/>
                <a:prstDash val="solid"/>
                <a:miter/>
              </a:ln>
            </p:spPr>
            <p:txBody>
              <a:bodyPr rtlCol="0" anchor="ctr"/>
              <a:lstStyle/>
              <a:p>
                <a:endParaRPr lang="en-US" sz="1765"/>
              </a:p>
            </p:txBody>
          </p:sp>
          <p:sp>
            <p:nvSpPr>
              <p:cNvPr id="265" name="Freeform: Shape 264">
                <a:extLst>
                  <a:ext uri="{FF2B5EF4-FFF2-40B4-BE49-F238E27FC236}">
                    <a16:creationId xmlns:a16="http://schemas.microsoft.com/office/drawing/2014/main" id="{076C73CE-3F8C-4CA4-AEB5-1A1D04C89861}"/>
                  </a:ext>
                </a:extLst>
              </p:cNvPr>
              <p:cNvSpPr/>
              <p:nvPr/>
            </p:nvSpPr>
            <p:spPr>
              <a:xfrm>
                <a:off x="6449139" y="2949621"/>
                <a:ext cx="125044" cy="39246"/>
              </a:xfrm>
              <a:custGeom>
                <a:avLst/>
                <a:gdLst>
                  <a:gd name="connsiteX0" fmla="*/ 43129 w 125044"/>
                  <a:gd name="connsiteY0" fmla="*/ 10477 h 39246"/>
                  <a:gd name="connsiteX1" fmla="*/ 30747 w 125044"/>
                  <a:gd name="connsiteY1" fmla="*/ 11430 h 39246"/>
                  <a:gd name="connsiteX2" fmla="*/ 24079 w 125044"/>
                  <a:gd name="connsiteY2" fmla="*/ 9525 h 39246"/>
                  <a:gd name="connsiteX3" fmla="*/ 23127 w 125044"/>
                  <a:gd name="connsiteY3" fmla="*/ 6667 h 39246"/>
                  <a:gd name="connsiteX4" fmla="*/ 16459 w 125044"/>
                  <a:gd name="connsiteY4" fmla="*/ 1905 h 39246"/>
                  <a:gd name="connsiteX5" fmla="*/ 8839 w 125044"/>
                  <a:gd name="connsiteY5" fmla="*/ 1905 h 39246"/>
                  <a:gd name="connsiteX6" fmla="*/ 1219 w 125044"/>
                  <a:gd name="connsiteY6" fmla="*/ 4763 h 39246"/>
                  <a:gd name="connsiteX7" fmla="*/ 267 w 125044"/>
                  <a:gd name="connsiteY7" fmla="*/ 8572 h 39246"/>
                  <a:gd name="connsiteX8" fmla="*/ 1219 w 125044"/>
                  <a:gd name="connsiteY8" fmla="*/ 11430 h 39246"/>
                  <a:gd name="connsiteX9" fmla="*/ 8839 w 125044"/>
                  <a:gd name="connsiteY9" fmla="*/ 16192 h 39246"/>
                  <a:gd name="connsiteX10" fmla="*/ 17412 w 125044"/>
                  <a:gd name="connsiteY10" fmla="*/ 18097 h 39246"/>
                  <a:gd name="connsiteX11" fmla="*/ 18364 w 125044"/>
                  <a:gd name="connsiteY11" fmla="*/ 20955 h 39246"/>
                  <a:gd name="connsiteX12" fmla="*/ 26937 w 125044"/>
                  <a:gd name="connsiteY12" fmla="*/ 23813 h 39246"/>
                  <a:gd name="connsiteX13" fmla="*/ 39319 w 125044"/>
                  <a:gd name="connsiteY13" fmla="*/ 25717 h 39246"/>
                  <a:gd name="connsiteX14" fmla="*/ 45034 w 125044"/>
                  <a:gd name="connsiteY14" fmla="*/ 27622 h 39246"/>
                  <a:gd name="connsiteX15" fmla="*/ 49797 w 125044"/>
                  <a:gd name="connsiteY15" fmla="*/ 29527 h 39246"/>
                  <a:gd name="connsiteX16" fmla="*/ 59322 w 125044"/>
                  <a:gd name="connsiteY16" fmla="*/ 33338 h 39246"/>
                  <a:gd name="connsiteX17" fmla="*/ 72657 w 125044"/>
                  <a:gd name="connsiteY17" fmla="*/ 38100 h 39246"/>
                  <a:gd name="connsiteX18" fmla="*/ 81229 w 125044"/>
                  <a:gd name="connsiteY18" fmla="*/ 39052 h 39246"/>
                  <a:gd name="connsiteX19" fmla="*/ 95517 w 125044"/>
                  <a:gd name="connsiteY19" fmla="*/ 39052 h 39246"/>
                  <a:gd name="connsiteX20" fmla="*/ 102184 w 125044"/>
                  <a:gd name="connsiteY20" fmla="*/ 37147 h 39246"/>
                  <a:gd name="connsiteX21" fmla="*/ 107899 w 125044"/>
                  <a:gd name="connsiteY21" fmla="*/ 35242 h 39246"/>
                  <a:gd name="connsiteX22" fmla="*/ 116472 w 125044"/>
                  <a:gd name="connsiteY22" fmla="*/ 34290 h 39246"/>
                  <a:gd name="connsiteX23" fmla="*/ 123139 w 125044"/>
                  <a:gd name="connsiteY23" fmla="*/ 29527 h 39246"/>
                  <a:gd name="connsiteX24" fmla="*/ 125044 w 125044"/>
                  <a:gd name="connsiteY24" fmla="*/ 22860 h 39246"/>
                  <a:gd name="connsiteX25" fmla="*/ 117424 w 125044"/>
                  <a:gd name="connsiteY25" fmla="*/ 18097 h 39246"/>
                  <a:gd name="connsiteX26" fmla="*/ 112662 w 125044"/>
                  <a:gd name="connsiteY26" fmla="*/ 16192 h 39246"/>
                  <a:gd name="connsiteX27" fmla="*/ 109804 w 125044"/>
                  <a:gd name="connsiteY27" fmla="*/ 12382 h 39246"/>
                  <a:gd name="connsiteX28" fmla="*/ 103137 w 125044"/>
                  <a:gd name="connsiteY28" fmla="*/ 8572 h 39246"/>
                  <a:gd name="connsiteX29" fmla="*/ 103137 w 125044"/>
                  <a:gd name="connsiteY29" fmla="*/ 4763 h 39246"/>
                  <a:gd name="connsiteX30" fmla="*/ 101232 w 125044"/>
                  <a:gd name="connsiteY30" fmla="*/ 1905 h 39246"/>
                  <a:gd name="connsiteX31" fmla="*/ 87897 w 125044"/>
                  <a:gd name="connsiteY31" fmla="*/ 0 h 39246"/>
                  <a:gd name="connsiteX32" fmla="*/ 79324 w 125044"/>
                  <a:gd name="connsiteY32" fmla="*/ 952 h 39246"/>
                  <a:gd name="connsiteX33" fmla="*/ 67894 w 125044"/>
                  <a:gd name="connsiteY33" fmla="*/ 1905 h 39246"/>
                  <a:gd name="connsiteX34" fmla="*/ 56464 w 125044"/>
                  <a:gd name="connsiteY34" fmla="*/ 3810 h 39246"/>
                  <a:gd name="connsiteX35" fmla="*/ 50749 w 125044"/>
                  <a:gd name="connsiteY35" fmla="*/ 4763 h 39246"/>
                  <a:gd name="connsiteX36" fmla="*/ 43129 w 125044"/>
                  <a:gd name="connsiteY36" fmla="*/ 10477 h 3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044" h="39246">
                    <a:moveTo>
                      <a:pt x="43129" y="10477"/>
                    </a:moveTo>
                    <a:lnTo>
                      <a:pt x="30747" y="11430"/>
                    </a:lnTo>
                    <a:lnTo>
                      <a:pt x="24079" y="9525"/>
                    </a:lnTo>
                    <a:lnTo>
                      <a:pt x="23127" y="6667"/>
                    </a:lnTo>
                    <a:lnTo>
                      <a:pt x="16459" y="1905"/>
                    </a:lnTo>
                    <a:cubicBezTo>
                      <a:pt x="16459" y="1905"/>
                      <a:pt x="11697" y="0"/>
                      <a:pt x="8839" y="1905"/>
                    </a:cubicBezTo>
                    <a:cubicBezTo>
                      <a:pt x="5029" y="2857"/>
                      <a:pt x="1219" y="4763"/>
                      <a:pt x="1219" y="4763"/>
                    </a:cubicBezTo>
                    <a:cubicBezTo>
                      <a:pt x="1219" y="4763"/>
                      <a:pt x="-686" y="5715"/>
                      <a:pt x="267" y="8572"/>
                    </a:cubicBezTo>
                    <a:cubicBezTo>
                      <a:pt x="1219" y="11430"/>
                      <a:pt x="1219" y="11430"/>
                      <a:pt x="1219" y="11430"/>
                    </a:cubicBezTo>
                    <a:lnTo>
                      <a:pt x="8839" y="16192"/>
                    </a:lnTo>
                    <a:lnTo>
                      <a:pt x="17412" y="18097"/>
                    </a:lnTo>
                    <a:lnTo>
                      <a:pt x="18364" y="20955"/>
                    </a:lnTo>
                    <a:cubicBezTo>
                      <a:pt x="18364" y="20955"/>
                      <a:pt x="24079" y="22860"/>
                      <a:pt x="26937" y="23813"/>
                    </a:cubicBezTo>
                    <a:cubicBezTo>
                      <a:pt x="29794" y="24765"/>
                      <a:pt x="39319" y="25717"/>
                      <a:pt x="39319" y="25717"/>
                    </a:cubicBezTo>
                    <a:lnTo>
                      <a:pt x="45034" y="27622"/>
                    </a:lnTo>
                    <a:lnTo>
                      <a:pt x="49797" y="29527"/>
                    </a:lnTo>
                    <a:cubicBezTo>
                      <a:pt x="49797" y="29527"/>
                      <a:pt x="55512" y="31432"/>
                      <a:pt x="59322" y="33338"/>
                    </a:cubicBezTo>
                    <a:cubicBezTo>
                      <a:pt x="64084" y="35242"/>
                      <a:pt x="72657" y="38100"/>
                      <a:pt x="72657" y="38100"/>
                    </a:cubicBezTo>
                    <a:lnTo>
                      <a:pt x="81229" y="39052"/>
                    </a:lnTo>
                    <a:cubicBezTo>
                      <a:pt x="81229" y="39052"/>
                      <a:pt x="92659" y="38100"/>
                      <a:pt x="95517" y="39052"/>
                    </a:cubicBezTo>
                    <a:cubicBezTo>
                      <a:pt x="98374" y="40005"/>
                      <a:pt x="102184" y="37147"/>
                      <a:pt x="102184" y="37147"/>
                    </a:cubicBezTo>
                    <a:cubicBezTo>
                      <a:pt x="102184" y="37147"/>
                      <a:pt x="104089" y="34290"/>
                      <a:pt x="107899" y="35242"/>
                    </a:cubicBezTo>
                    <a:cubicBezTo>
                      <a:pt x="110757" y="36195"/>
                      <a:pt x="116472" y="34290"/>
                      <a:pt x="116472" y="34290"/>
                    </a:cubicBezTo>
                    <a:lnTo>
                      <a:pt x="123139" y="29527"/>
                    </a:lnTo>
                    <a:lnTo>
                      <a:pt x="125044" y="22860"/>
                    </a:lnTo>
                    <a:lnTo>
                      <a:pt x="117424" y="18097"/>
                    </a:lnTo>
                    <a:lnTo>
                      <a:pt x="112662" y="16192"/>
                    </a:lnTo>
                    <a:lnTo>
                      <a:pt x="109804" y="12382"/>
                    </a:lnTo>
                    <a:lnTo>
                      <a:pt x="103137" y="8572"/>
                    </a:lnTo>
                    <a:lnTo>
                      <a:pt x="103137" y="4763"/>
                    </a:lnTo>
                    <a:lnTo>
                      <a:pt x="101232" y="1905"/>
                    </a:lnTo>
                    <a:lnTo>
                      <a:pt x="87897" y="0"/>
                    </a:lnTo>
                    <a:lnTo>
                      <a:pt x="79324" y="952"/>
                    </a:lnTo>
                    <a:cubicBezTo>
                      <a:pt x="79324" y="952"/>
                      <a:pt x="70752" y="0"/>
                      <a:pt x="67894" y="1905"/>
                    </a:cubicBezTo>
                    <a:cubicBezTo>
                      <a:pt x="65989" y="3810"/>
                      <a:pt x="62179" y="2857"/>
                      <a:pt x="56464" y="3810"/>
                    </a:cubicBezTo>
                    <a:cubicBezTo>
                      <a:pt x="50749" y="4763"/>
                      <a:pt x="50749" y="4763"/>
                      <a:pt x="50749" y="4763"/>
                    </a:cubicBezTo>
                    <a:lnTo>
                      <a:pt x="43129" y="10477"/>
                    </a:lnTo>
                    <a:close/>
                  </a:path>
                </a:pathLst>
              </a:custGeom>
              <a:grpFill/>
              <a:ln w="9525" cap="flat">
                <a:noFill/>
                <a:prstDash val="solid"/>
                <a:miter/>
              </a:ln>
            </p:spPr>
            <p:txBody>
              <a:bodyPr rtlCol="0" anchor="ctr"/>
              <a:lstStyle/>
              <a:p>
                <a:endParaRPr lang="en-US" sz="1765"/>
              </a:p>
            </p:txBody>
          </p:sp>
          <p:sp>
            <p:nvSpPr>
              <p:cNvPr id="266" name="Freeform: Shape 265">
                <a:extLst>
                  <a:ext uri="{FF2B5EF4-FFF2-40B4-BE49-F238E27FC236}">
                    <a16:creationId xmlns:a16="http://schemas.microsoft.com/office/drawing/2014/main" id="{5386F70C-D3EA-4654-A509-1E0C2DD34B52}"/>
                  </a:ext>
                </a:extLst>
              </p:cNvPr>
              <p:cNvSpPr/>
              <p:nvPr/>
            </p:nvSpPr>
            <p:spPr>
              <a:xfrm>
                <a:off x="6418450" y="2925808"/>
                <a:ext cx="29051" cy="13335"/>
              </a:xfrm>
              <a:custGeom>
                <a:avLst/>
                <a:gdLst>
                  <a:gd name="connsiteX0" fmla="*/ 6191 w 29051"/>
                  <a:gd name="connsiteY0" fmla="*/ 11430 h 13335"/>
                  <a:gd name="connsiteX1" fmla="*/ 1429 w 29051"/>
                  <a:gd name="connsiteY1" fmla="*/ 9525 h 13335"/>
                  <a:gd name="connsiteX2" fmla="*/ 476 w 29051"/>
                  <a:gd name="connsiteY2" fmla="*/ 5715 h 13335"/>
                  <a:gd name="connsiteX3" fmla="*/ 2381 w 29051"/>
                  <a:gd name="connsiteY3" fmla="*/ 2858 h 13335"/>
                  <a:gd name="connsiteX4" fmla="*/ 8096 w 29051"/>
                  <a:gd name="connsiteY4" fmla="*/ 0 h 13335"/>
                  <a:gd name="connsiteX5" fmla="*/ 16669 w 29051"/>
                  <a:gd name="connsiteY5" fmla="*/ 0 h 13335"/>
                  <a:gd name="connsiteX6" fmla="*/ 22384 w 29051"/>
                  <a:gd name="connsiteY6" fmla="*/ 1905 h 13335"/>
                  <a:gd name="connsiteX7" fmla="*/ 25241 w 29051"/>
                  <a:gd name="connsiteY7" fmla="*/ 5715 h 13335"/>
                  <a:gd name="connsiteX8" fmla="*/ 26194 w 29051"/>
                  <a:gd name="connsiteY8" fmla="*/ 7620 h 13335"/>
                  <a:gd name="connsiteX9" fmla="*/ 29051 w 29051"/>
                  <a:gd name="connsiteY9" fmla="*/ 10478 h 13335"/>
                  <a:gd name="connsiteX10" fmla="*/ 22384 w 29051"/>
                  <a:gd name="connsiteY10" fmla="*/ 12383 h 13335"/>
                  <a:gd name="connsiteX11" fmla="*/ 17621 w 29051"/>
                  <a:gd name="connsiteY11" fmla="*/ 13335 h 13335"/>
                  <a:gd name="connsiteX12" fmla="*/ 12859 w 29051"/>
                  <a:gd name="connsiteY12" fmla="*/ 12383 h 13335"/>
                  <a:gd name="connsiteX13" fmla="*/ 6191 w 29051"/>
                  <a:gd name="connsiteY13" fmla="*/ 11430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13335">
                    <a:moveTo>
                      <a:pt x="6191" y="11430"/>
                    </a:moveTo>
                    <a:lnTo>
                      <a:pt x="1429" y="9525"/>
                    </a:lnTo>
                    <a:lnTo>
                      <a:pt x="476" y="5715"/>
                    </a:lnTo>
                    <a:cubicBezTo>
                      <a:pt x="476" y="5715"/>
                      <a:pt x="-1429" y="1905"/>
                      <a:pt x="2381" y="2858"/>
                    </a:cubicBezTo>
                    <a:cubicBezTo>
                      <a:pt x="7144" y="3810"/>
                      <a:pt x="-476" y="0"/>
                      <a:pt x="8096" y="0"/>
                    </a:cubicBezTo>
                    <a:cubicBezTo>
                      <a:pt x="16669" y="0"/>
                      <a:pt x="16669" y="0"/>
                      <a:pt x="16669" y="0"/>
                    </a:cubicBezTo>
                    <a:lnTo>
                      <a:pt x="22384" y="1905"/>
                    </a:lnTo>
                    <a:cubicBezTo>
                      <a:pt x="22384" y="1905"/>
                      <a:pt x="24289" y="3810"/>
                      <a:pt x="25241" y="5715"/>
                    </a:cubicBezTo>
                    <a:cubicBezTo>
                      <a:pt x="26194" y="7620"/>
                      <a:pt x="26194" y="7620"/>
                      <a:pt x="26194" y="7620"/>
                    </a:cubicBezTo>
                    <a:lnTo>
                      <a:pt x="29051" y="10478"/>
                    </a:lnTo>
                    <a:lnTo>
                      <a:pt x="22384" y="12383"/>
                    </a:lnTo>
                    <a:lnTo>
                      <a:pt x="17621" y="13335"/>
                    </a:lnTo>
                    <a:lnTo>
                      <a:pt x="12859" y="12383"/>
                    </a:lnTo>
                    <a:lnTo>
                      <a:pt x="6191" y="11430"/>
                    </a:lnTo>
                    <a:close/>
                  </a:path>
                </a:pathLst>
              </a:custGeom>
              <a:grpFill/>
              <a:ln w="9525" cap="flat">
                <a:noFill/>
                <a:prstDash val="solid"/>
                <a:miter/>
              </a:ln>
            </p:spPr>
            <p:txBody>
              <a:bodyPr rtlCol="0" anchor="ctr"/>
              <a:lstStyle/>
              <a:p>
                <a:endParaRPr lang="en-US" sz="1765"/>
              </a:p>
            </p:txBody>
          </p:sp>
          <p:sp>
            <p:nvSpPr>
              <p:cNvPr id="267" name="Freeform: Shape 266">
                <a:extLst>
                  <a:ext uri="{FF2B5EF4-FFF2-40B4-BE49-F238E27FC236}">
                    <a16:creationId xmlns:a16="http://schemas.microsoft.com/office/drawing/2014/main" id="{5ABD362F-68C7-4F82-8019-36FC75B75024}"/>
                  </a:ext>
                </a:extLst>
              </p:cNvPr>
              <p:cNvSpPr/>
              <p:nvPr/>
            </p:nvSpPr>
            <p:spPr>
              <a:xfrm>
                <a:off x="6431309" y="2885909"/>
                <a:ext cx="106679" cy="41804"/>
              </a:xfrm>
              <a:custGeom>
                <a:avLst/>
                <a:gdLst>
                  <a:gd name="connsiteX0" fmla="*/ 20955 w 106679"/>
                  <a:gd name="connsiteY0" fmla="*/ 2752 h 41804"/>
                  <a:gd name="connsiteX1" fmla="*/ 14288 w 106679"/>
                  <a:gd name="connsiteY1" fmla="*/ 2752 h 41804"/>
                  <a:gd name="connsiteX2" fmla="*/ 2857 w 106679"/>
                  <a:gd name="connsiteY2" fmla="*/ 2752 h 41804"/>
                  <a:gd name="connsiteX3" fmla="*/ 0 w 106679"/>
                  <a:gd name="connsiteY3" fmla="*/ 2752 h 41804"/>
                  <a:gd name="connsiteX4" fmla="*/ 0 w 106679"/>
                  <a:gd name="connsiteY4" fmla="*/ 8467 h 41804"/>
                  <a:gd name="connsiteX5" fmla="*/ 8572 w 106679"/>
                  <a:gd name="connsiteY5" fmla="*/ 12277 h 41804"/>
                  <a:gd name="connsiteX6" fmla="*/ 11430 w 106679"/>
                  <a:gd name="connsiteY6" fmla="*/ 12277 h 41804"/>
                  <a:gd name="connsiteX7" fmla="*/ 14288 w 106679"/>
                  <a:gd name="connsiteY7" fmla="*/ 17039 h 41804"/>
                  <a:gd name="connsiteX8" fmla="*/ 20955 w 106679"/>
                  <a:gd name="connsiteY8" fmla="*/ 21802 h 41804"/>
                  <a:gd name="connsiteX9" fmla="*/ 25717 w 106679"/>
                  <a:gd name="connsiteY9" fmla="*/ 23707 h 41804"/>
                  <a:gd name="connsiteX10" fmla="*/ 25717 w 106679"/>
                  <a:gd name="connsiteY10" fmla="*/ 25612 h 41804"/>
                  <a:gd name="connsiteX11" fmla="*/ 23813 w 106679"/>
                  <a:gd name="connsiteY11" fmla="*/ 30374 h 41804"/>
                  <a:gd name="connsiteX12" fmla="*/ 40957 w 106679"/>
                  <a:gd name="connsiteY12" fmla="*/ 34184 h 41804"/>
                  <a:gd name="connsiteX13" fmla="*/ 50482 w 106679"/>
                  <a:gd name="connsiteY13" fmla="*/ 33232 h 41804"/>
                  <a:gd name="connsiteX14" fmla="*/ 57150 w 106679"/>
                  <a:gd name="connsiteY14" fmla="*/ 32279 h 41804"/>
                  <a:gd name="connsiteX15" fmla="*/ 66675 w 106679"/>
                  <a:gd name="connsiteY15" fmla="*/ 32279 h 41804"/>
                  <a:gd name="connsiteX16" fmla="*/ 69532 w 106679"/>
                  <a:gd name="connsiteY16" fmla="*/ 32279 h 41804"/>
                  <a:gd name="connsiteX17" fmla="*/ 80010 w 106679"/>
                  <a:gd name="connsiteY17" fmla="*/ 37042 h 41804"/>
                  <a:gd name="connsiteX18" fmla="*/ 84772 w 106679"/>
                  <a:gd name="connsiteY18" fmla="*/ 38947 h 41804"/>
                  <a:gd name="connsiteX19" fmla="*/ 92392 w 106679"/>
                  <a:gd name="connsiteY19" fmla="*/ 40852 h 41804"/>
                  <a:gd name="connsiteX20" fmla="*/ 95250 w 106679"/>
                  <a:gd name="connsiteY20" fmla="*/ 41804 h 41804"/>
                  <a:gd name="connsiteX21" fmla="*/ 106680 w 106679"/>
                  <a:gd name="connsiteY21" fmla="*/ 37994 h 41804"/>
                  <a:gd name="connsiteX22" fmla="*/ 106680 w 106679"/>
                  <a:gd name="connsiteY22" fmla="*/ 33232 h 41804"/>
                  <a:gd name="connsiteX23" fmla="*/ 97155 w 106679"/>
                  <a:gd name="connsiteY23" fmla="*/ 29422 h 41804"/>
                  <a:gd name="connsiteX24" fmla="*/ 93345 w 106679"/>
                  <a:gd name="connsiteY24" fmla="*/ 24659 h 41804"/>
                  <a:gd name="connsiteX25" fmla="*/ 93345 w 106679"/>
                  <a:gd name="connsiteY25" fmla="*/ 21802 h 41804"/>
                  <a:gd name="connsiteX26" fmla="*/ 87630 w 106679"/>
                  <a:gd name="connsiteY26" fmla="*/ 18944 h 41804"/>
                  <a:gd name="connsiteX27" fmla="*/ 79057 w 106679"/>
                  <a:gd name="connsiteY27" fmla="*/ 16087 h 41804"/>
                  <a:gd name="connsiteX28" fmla="*/ 70485 w 106679"/>
                  <a:gd name="connsiteY28" fmla="*/ 11324 h 41804"/>
                  <a:gd name="connsiteX29" fmla="*/ 64770 w 106679"/>
                  <a:gd name="connsiteY29" fmla="*/ 6562 h 41804"/>
                  <a:gd name="connsiteX30" fmla="*/ 60007 w 106679"/>
                  <a:gd name="connsiteY30" fmla="*/ 4657 h 41804"/>
                  <a:gd name="connsiteX31" fmla="*/ 51435 w 106679"/>
                  <a:gd name="connsiteY31" fmla="*/ 2752 h 41804"/>
                  <a:gd name="connsiteX32" fmla="*/ 45720 w 106679"/>
                  <a:gd name="connsiteY32" fmla="*/ 847 h 41804"/>
                  <a:gd name="connsiteX33" fmla="*/ 31432 w 106679"/>
                  <a:gd name="connsiteY33" fmla="*/ 847 h 41804"/>
                  <a:gd name="connsiteX34" fmla="*/ 20955 w 106679"/>
                  <a:gd name="connsiteY34" fmla="*/ 2752 h 4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6679" h="41804">
                    <a:moveTo>
                      <a:pt x="20955" y="2752"/>
                    </a:moveTo>
                    <a:lnTo>
                      <a:pt x="14288" y="2752"/>
                    </a:lnTo>
                    <a:cubicBezTo>
                      <a:pt x="14288" y="2752"/>
                      <a:pt x="6667" y="2752"/>
                      <a:pt x="2857" y="2752"/>
                    </a:cubicBezTo>
                    <a:cubicBezTo>
                      <a:pt x="0" y="2752"/>
                      <a:pt x="0" y="2752"/>
                      <a:pt x="0" y="2752"/>
                    </a:cubicBezTo>
                    <a:lnTo>
                      <a:pt x="0" y="8467"/>
                    </a:lnTo>
                    <a:cubicBezTo>
                      <a:pt x="0" y="8467"/>
                      <a:pt x="5715" y="12277"/>
                      <a:pt x="8572" y="12277"/>
                    </a:cubicBezTo>
                    <a:cubicBezTo>
                      <a:pt x="11430" y="12277"/>
                      <a:pt x="8572" y="7514"/>
                      <a:pt x="11430" y="12277"/>
                    </a:cubicBezTo>
                    <a:cubicBezTo>
                      <a:pt x="14288" y="17039"/>
                      <a:pt x="14288" y="17039"/>
                      <a:pt x="14288" y="17039"/>
                    </a:cubicBezTo>
                    <a:lnTo>
                      <a:pt x="20955" y="21802"/>
                    </a:lnTo>
                    <a:cubicBezTo>
                      <a:pt x="20955" y="21802"/>
                      <a:pt x="25717" y="21802"/>
                      <a:pt x="25717" y="23707"/>
                    </a:cubicBezTo>
                    <a:cubicBezTo>
                      <a:pt x="25717" y="25612"/>
                      <a:pt x="27622" y="20849"/>
                      <a:pt x="25717" y="25612"/>
                    </a:cubicBezTo>
                    <a:cubicBezTo>
                      <a:pt x="23813" y="30374"/>
                      <a:pt x="17145" y="26564"/>
                      <a:pt x="23813" y="30374"/>
                    </a:cubicBezTo>
                    <a:cubicBezTo>
                      <a:pt x="30480" y="34184"/>
                      <a:pt x="40957" y="34184"/>
                      <a:pt x="40957" y="34184"/>
                    </a:cubicBezTo>
                    <a:lnTo>
                      <a:pt x="50482" y="33232"/>
                    </a:lnTo>
                    <a:lnTo>
                      <a:pt x="57150" y="32279"/>
                    </a:lnTo>
                    <a:cubicBezTo>
                      <a:pt x="57150" y="32279"/>
                      <a:pt x="63817" y="32279"/>
                      <a:pt x="66675" y="32279"/>
                    </a:cubicBezTo>
                    <a:cubicBezTo>
                      <a:pt x="69532" y="32279"/>
                      <a:pt x="64770" y="29422"/>
                      <a:pt x="69532" y="32279"/>
                    </a:cubicBezTo>
                    <a:cubicBezTo>
                      <a:pt x="75247" y="35137"/>
                      <a:pt x="76200" y="36089"/>
                      <a:pt x="80010" y="37042"/>
                    </a:cubicBezTo>
                    <a:cubicBezTo>
                      <a:pt x="84772" y="38947"/>
                      <a:pt x="77152" y="37042"/>
                      <a:pt x="84772" y="38947"/>
                    </a:cubicBezTo>
                    <a:cubicBezTo>
                      <a:pt x="92392" y="40852"/>
                      <a:pt x="89535" y="39899"/>
                      <a:pt x="92392" y="40852"/>
                    </a:cubicBezTo>
                    <a:cubicBezTo>
                      <a:pt x="95250" y="41804"/>
                      <a:pt x="95250" y="41804"/>
                      <a:pt x="95250" y="41804"/>
                    </a:cubicBezTo>
                    <a:lnTo>
                      <a:pt x="106680" y="37994"/>
                    </a:lnTo>
                    <a:lnTo>
                      <a:pt x="106680" y="33232"/>
                    </a:lnTo>
                    <a:lnTo>
                      <a:pt x="97155" y="29422"/>
                    </a:lnTo>
                    <a:lnTo>
                      <a:pt x="93345" y="24659"/>
                    </a:lnTo>
                    <a:lnTo>
                      <a:pt x="93345" y="21802"/>
                    </a:lnTo>
                    <a:lnTo>
                      <a:pt x="87630" y="18944"/>
                    </a:lnTo>
                    <a:lnTo>
                      <a:pt x="79057" y="16087"/>
                    </a:lnTo>
                    <a:lnTo>
                      <a:pt x="70485" y="11324"/>
                    </a:lnTo>
                    <a:lnTo>
                      <a:pt x="64770" y="6562"/>
                    </a:lnTo>
                    <a:lnTo>
                      <a:pt x="60007" y="4657"/>
                    </a:lnTo>
                    <a:lnTo>
                      <a:pt x="51435" y="2752"/>
                    </a:lnTo>
                    <a:lnTo>
                      <a:pt x="45720" y="847"/>
                    </a:lnTo>
                    <a:cubicBezTo>
                      <a:pt x="45720" y="847"/>
                      <a:pt x="38100" y="-1058"/>
                      <a:pt x="31432" y="847"/>
                    </a:cubicBezTo>
                    <a:cubicBezTo>
                      <a:pt x="24765" y="1799"/>
                      <a:pt x="20955" y="2752"/>
                      <a:pt x="20955" y="2752"/>
                    </a:cubicBezTo>
                    <a:close/>
                  </a:path>
                </a:pathLst>
              </a:custGeom>
              <a:grpFill/>
              <a:ln w="9525" cap="flat">
                <a:noFill/>
                <a:prstDash val="solid"/>
                <a:miter/>
              </a:ln>
            </p:spPr>
            <p:txBody>
              <a:bodyPr rtlCol="0" anchor="ctr"/>
              <a:lstStyle/>
              <a:p>
                <a:endParaRPr lang="en-US" sz="1765"/>
              </a:p>
            </p:txBody>
          </p:sp>
          <p:sp>
            <p:nvSpPr>
              <p:cNvPr id="268" name="Freeform: Shape 267">
                <a:extLst>
                  <a:ext uri="{FF2B5EF4-FFF2-40B4-BE49-F238E27FC236}">
                    <a16:creationId xmlns:a16="http://schemas.microsoft.com/office/drawing/2014/main" id="{895B7FEB-8611-4A02-9BDA-9175541DDC7F}"/>
                  </a:ext>
                </a:extLst>
              </p:cNvPr>
              <p:cNvSpPr/>
              <p:nvPr/>
            </p:nvSpPr>
            <p:spPr>
              <a:xfrm>
                <a:off x="6404639" y="3011534"/>
                <a:ext cx="49529" cy="26669"/>
              </a:xfrm>
              <a:custGeom>
                <a:avLst/>
                <a:gdLst>
                  <a:gd name="connsiteX0" fmla="*/ 31433 w 49529"/>
                  <a:gd name="connsiteY0" fmla="*/ 21907 h 26669"/>
                  <a:gd name="connsiteX1" fmla="*/ 40958 w 49529"/>
                  <a:gd name="connsiteY1" fmla="*/ 21907 h 26669"/>
                  <a:gd name="connsiteX2" fmla="*/ 44767 w 49529"/>
                  <a:gd name="connsiteY2" fmla="*/ 16192 h 26669"/>
                  <a:gd name="connsiteX3" fmla="*/ 49530 w 49529"/>
                  <a:gd name="connsiteY3" fmla="*/ 8572 h 26669"/>
                  <a:gd name="connsiteX4" fmla="*/ 40958 w 49529"/>
                  <a:gd name="connsiteY4" fmla="*/ 2857 h 26669"/>
                  <a:gd name="connsiteX5" fmla="*/ 35242 w 49529"/>
                  <a:gd name="connsiteY5" fmla="*/ 952 h 26669"/>
                  <a:gd name="connsiteX6" fmla="*/ 26670 w 49529"/>
                  <a:gd name="connsiteY6" fmla="*/ 0 h 26669"/>
                  <a:gd name="connsiteX7" fmla="*/ 15240 w 49529"/>
                  <a:gd name="connsiteY7" fmla="*/ 0 h 26669"/>
                  <a:gd name="connsiteX8" fmla="*/ 10477 w 49529"/>
                  <a:gd name="connsiteY8" fmla="*/ 0 h 26669"/>
                  <a:gd name="connsiteX9" fmla="*/ 8573 w 49529"/>
                  <a:gd name="connsiteY9" fmla="*/ 4763 h 26669"/>
                  <a:gd name="connsiteX10" fmla="*/ 10477 w 49529"/>
                  <a:gd name="connsiteY10" fmla="*/ 11430 h 26669"/>
                  <a:gd name="connsiteX11" fmla="*/ 8573 w 49529"/>
                  <a:gd name="connsiteY11" fmla="*/ 17145 h 26669"/>
                  <a:gd name="connsiteX12" fmla="*/ 0 w 49529"/>
                  <a:gd name="connsiteY12" fmla="*/ 17145 h 26669"/>
                  <a:gd name="connsiteX13" fmla="*/ 952 w 49529"/>
                  <a:gd name="connsiteY13" fmla="*/ 22860 h 26669"/>
                  <a:gd name="connsiteX14" fmla="*/ 7620 w 49529"/>
                  <a:gd name="connsiteY14" fmla="*/ 23813 h 26669"/>
                  <a:gd name="connsiteX15" fmla="*/ 14288 w 49529"/>
                  <a:gd name="connsiteY15" fmla="*/ 26670 h 26669"/>
                  <a:gd name="connsiteX16" fmla="*/ 25717 w 49529"/>
                  <a:gd name="connsiteY16" fmla="*/ 22860 h 26669"/>
                  <a:gd name="connsiteX17" fmla="*/ 31433 w 49529"/>
                  <a:gd name="connsiteY17" fmla="*/ 21907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529" h="26669">
                    <a:moveTo>
                      <a:pt x="31433" y="21907"/>
                    </a:moveTo>
                    <a:lnTo>
                      <a:pt x="40958" y="21907"/>
                    </a:lnTo>
                    <a:cubicBezTo>
                      <a:pt x="40958" y="21907"/>
                      <a:pt x="40958" y="15240"/>
                      <a:pt x="44767" y="16192"/>
                    </a:cubicBezTo>
                    <a:cubicBezTo>
                      <a:pt x="47625" y="17145"/>
                      <a:pt x="49530" y="8572"/>
                      <a:pt x="49530" y="8572"/>
                    </a:cubicBezTo>
                    <a:lnTo>
                      <a:pt x="40958" y="2857"/>
                    </a:lnTo>
                    <a:lnTo>
                      <a:pt x="35242" y="952"/>
                    </a:lnTo>
                    <a:lnTo>
                      <a:pt x="26670" y="0"/>
                    </a:lnTo>
                    <a:lnTo>
                      <a:pt x="15240" y="0"/>
                    </a:lnTo>
                    <a:lnTo>
                      <a:pt x="10477" y="0"/>
                    </a:lnTo>
                    <a:cubicBezTo>
                      <a:pt x="8573" y="4763"/>
                      <a:pt x="4763" y="952"/>
                      <a:pt x="8573" y="4763"/>
                    </a:cubicBezTo>
                    <a:cubicBezTo>
                      <a:pt x="11430" y="8572"/>
                      <a:pt x="10477" y="11430"/>
                      <a:pt x="10477" y="11430"/>
                    </a:cubicBezTo>
                    <a:lnTo>
                      <a:pt x="8573" y="17145"/>
                    </a:lnTo>
                    <a:lnTo>
                      <a:pt x="0" y="17145"/>
                    </a:lnTo>
                    <a:lnTo>
                      <a:pt x="952" y="22860"/>
                    </a:lnTo>
                    <a:lnTo>
                      <a:pt x="7620" y="23813"/>
                    </a:lnTo>
                    <a:lnTo>
                      <a:pt x="14288" y="26670"/>
                    </a:lnTo>
                    <a:lnTo>
                      <a:pt x="25717" y="22860"/>
                    </a:lnTo>
                    <a:lnTo>
                      <a:pt x="31433" y="21907"/>
                    </a:lnTo>
                    <a:close/>
                  </a:path>
                </a:pathLst>
              </a:custGeom>
              <a:grpFill/>
              <a:ln w="9525" cap="flat">
                <a:noFill/>
                <a:prstDash val="solid"/>
                <a:miter/>
              </a:ln>
            </p:spPr>
            <p:txBody>
              <a:bodyPr rtlCol="0" anchor="ctr"/>
              <a:lstStyle/>
              <a:p>
                <a:endParaRPr lang="en-US" sz="1765"/>
              </a:p>
            </p:txBody>
          </p:sp>
          <p:sp>
            <p:nvSpPr>
              <p:cNvPr id="269" name="Freeform: Shape 268">
                <a:extLst>
                  <a:ext uri="{FF2B5EF4-FFF2-40B4-BE49-F238E27FC236}">
                    <a16:creationId xmlns:a16="http://schemas.microsoft.com/office/drawing/2014/main" id="{AFD9F58D-4AAC-4371-85C6-5BD1AC7897B6}"/>
                  </a:ext>
                </a:extLst>
              </p:cNvPr>
              <p:cNvSpPr/>
              <p:nvPr/>
            </p:nvSpPr>
            <p:spPr>
              <a:xfrm>
                <a:off x="6474981" y="3011534"/>
                <a:ext cx="107423" cy="60007"/>
              </a:xfrm>
              <a:custGeom>
                <a:avLst/>
                <a:gdLst>
                  <a:gd name="connsiteX0" fmla="*/ 58245 w 107423"/>
                  <a:gd name="connsiteY0" fmla="*/ 57150 h 60007"/>
                  <a:gd name="connsiteX1" fmla="*/ 48720 w 107423"/>
                  <a:gd name="connsiteY1" fmla="*/ 50482 h 60007"/>
                  <a:gd name="connsiteX2" fmla="*/ 46815 w 107423"/>
                  <a:gd name="connsiteY2" fmla="*/ 47625 h 60007"/>
                  <a:gd name="connsiteX3" fmla="*/ 42052 w 107423"/>
                  <a:gd name="connsiteY3" fmla="*/ 45720 h 60007"/>
                  <a:gd name="connsiteX4" fmla="*/ 36337 w 107423"/>
                  <a:gd name="connsiteY4" fmla="*/ 43815 h 60007"/>
                  <a:gd name="connsiteX5" fmla="*/ 29670 w 107423"/>
                  <a:gd name="connsiteY5" fmla="*/ 39052 h 60007"/>
                  <a:gd name="connsiteX6" fmla="*/ 24907 w 107423"/>
                  <a:gd name="connsiteY6" fmla="*/ 36195 h 60007"/>
                  <a:gd name="connsiteX7" fmla="*/ 16335 w 107423"/>
                  <a:gd name="connsiteY7" fmla="*/ 34290 h 60007"/>
                  <a:gd name="connsiteX8" fmla="*/ 3000 w 107423"/>
                  <a:gd name="connsiteY8" fmla="*/ 32385 h 60007"/>
                  <a:gd name="connsiteX9" fmla="*/ 2047 w 107423"/>
                  <a:gd name="connsiteY9" fmla="*/ 29527 h 60007"/>
                  <a:gd name="connsiteX10" fmla="*/ 3000 w 107423"/>
                  <a:gd name="connsiteY10" fmla="*/ 27622 h 60007"/>
                  <a:gd name="connsiteX11" fmla="*/ 19192 w 107423"/>
                  <a:gd name="connsiteY11" fmla="*/ 26670 h 60007"/>
                  <a:gd name="connsiteX12" fmla="*/ 24907 w 107423"/>
                  <a:gd name="connsiteY12" fmla="*/ 26670 h 60007"/>
                  <a:gd name="connsiteX13" fmla="*/ 30622 w 107423"/>
                  <a:gd name="connsiteY13" fmla="*/ 25717 h 60007"/>
                  <a:gd name="connsiteX14" fmla="*/ 36337 w 107423"/>
                  <a:gd name="connsiteY14" fmla="*/ 21907 h 60007"/>
                  <a:gd name="connsiteX15" fmla="*/ 37290 w 107423"/>
                  <a:gd name="connsiteY15" fmla="*/ 19050 h 60007"/>
                  <a:gd name="connsiteX16" fmla="*/ 35385 w 107423"/>
                  <a:gd name="connsiteY16" fmla="*/ 16192 h 60007"/>
                  <a:gd name="connsiteX17" fmla="*/ 39195 w 107423"/>
                  <a:gd name="connsiteY17" fmla="*/ 3810 h 60007"/>
                  <a:gd name="connsiteX18" fmla="*/ 42052 w 107423"/>
                  <a:gd name="connsiteY18" fmla="*/ 2857 h 60007"/>
                  <a:gd name="connsiteX19" fmla="*/ 53482 w 107423"/>
                  <a:gd name="connsiteY19" fmla="*/ 2857 h 60007"/>
                  <a:gd name="connsiteX20" fmla="*/ 62055 w 107423"/>
                  <a:gd name="connsiteY20" fmla="*/ 1905 h 60007"/>
                  <a:gd name="connsiteX21" fmla="*/ 73485 w 107423"/>
                  <a:gd name="connsiteY21" fmla="*/ 0 h 60007"/>
                  <a:gd name="connsiteX22" fmla="*/ 81105 w 107423"/>
                  <a:gd name="connsiteY22" fmla="*/ 0 h 60007"/>
                  <a:gd name="connsiteX23" fmla="*/ 87773 w 107423"/>
                  <a:gd name="connsiteY23" fmla="*/ 1905 h 60007"/>
                  <a:gd name="connsiteX24" fmla="*/ 92535 w 107423"/>
                  <a:gd name="connsiteY24" fmla="*/ 5715 h 60007"/>
                  <a:gd name="connsiteX25" fmla="*/ 92535 w 107423"/>
                  <a:gd name="connsiteY25" fmla="*/ 9525 h 60007"/>
                  <a:gd name="connsiteX26" fmla="*/ 92535 w 107423"/>
                  <a:gd name="connsiteY26" fmla="*/ 15240 h 60007"/>
                  <a:gd name="connsiteX27" fmla="*/ 92535 w 107423"/>
                  <a:gd name="connsiteY27" fmla="*/ 20955 h 60007"/>
                  <a:gd name="connsiteX28" fmla="*/ 99202 w 107423"/>
                  <a:gd name="connsiteY28" fmla="*/ 24765 h 60007"/>
                  <a:gd name="connsiteX29" fmla="*/ 103965 w 107423"/>
                  <a:gd name="connsiteY29" fmla="*/ 26670 h 60007"/>
                  <a:gd name="connsiteX30" fmla="*/ 103965 w 107423"/>
                  <a:gd name="connsiteY30" fmla="*/ 38100 h 60007"/>
                  <a:gd name="connsiteX31" fmla="*/ 103965 w 107423"/>
                  <a:gd name="connsiteY31" fmla="*/ 42863 h 60007"/>
                  <a:gd name="connsiteX32" fmla="*/ 104917 w 107423"/>
                  <a:gd name="connsiteY32" fmla="*/ 46672 h 60007"/>
                  <a:gd name="connsiteX33" fmla="*/ 92535 w 107423"/>
                  <a:gd name="connsiteY33" fmla="*/ 52388 h 60007"/>
                  <a:gd name="connsiteX34" fmla="*/ 85867 w 107423"/>
                  <a:gd name="connsiteY34" fmla="*/ 53340 h 60007"/>
                  <a:gd name="connsiteX35" fmla="*/ 82057 w 107423"/>
                  <a:gd name="connsiteY35" fmla="*/ 55245 h 60007"/>
                  <a:gd name="connsiteX36" fmla="*/ 77295 w 107423"/>
                  <a:gd name="connsiteY36" fmla="*/ 59055 h 60007"/>
                  <a:gd name="connsiteX37" fmla="*/ 67770 w 107423"/>
                  <a:gd name="connsiteY37" fmla="*/ 60007 h 60007"/>
                  <a:gd name="connsiteX38" fmla="*/ 58245 w 107423"/>
                  <a:gd name="connsiteY38" fmla="*/ 5715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423" h="60007">
                    <a:moveTo>
                      <a:pt x="58245" y="57150"/>
                    </a:moveTo>
                    <a:lnTo>
                      <a:pt x="48720" y="50482"/>
                    </a:lnTo>
                    <a:lnTo>
                      <a:pt x="46815" y="47625"/>
                    </a:lnTo>
                    <a:lnTo>
                      <a:pt x="42052" y="45720"/>
                    </a:lnTo>
                    <a:lnTo>
                      <a:pt x="36337" y="43815"/>
                    </a:lnTo>
                    <a:lnTo>
                      <a:pt x="29670" y="39052"/>
                    </a:lnTo>
                    <a:lnTo>
                      <a:pt x="24907" y="36195"/>
                    </a:lnTo>
                    <a:lnTo>
                      <a:pt x="16335" y="34290"/>
                    </a:lnTo>
                    <a:lnTo>
                      <a:pt x="3000" y="32385"/>
                    </a:lnTo>
                    <a:cubicBezTo>
                      <a:pt x="3000" y="32385"/>
                      <a:pt x="1095" y="31432"/>
                      <a:pt x="2047" y="29527"/>
                    </a:cubicBezTo>
                    <a:cubicBezTo>
                      <a:pt x="3000" y="27622"/>
                      <a:pt x="-3668" y="29527"/>
                      <a:pt x="3000" y="27622"/>
                    </a:cubicBezTo>
                    <a:cubicBezTo>
                      <a:pt x="9667" y="25717"/>
                      <a:pt x="19192" y="26670"/>
                      <a:pt x="19192" y="26670"/>
                    </a:cubicBezTo>
                    <a:lnTo>
                      <a:pt x="24907" y="26670"/>
                    </a:lnTo>
                    <a:cubicBezTo>
                      <a:pt x="24907" y="26670"/>
                      <a:pt x="26812" y="25717"/>
                      <a:pt x="30622" y="25717"/>
                    </a:cubicBezTo>
                    <a:cubicBezTo>
                      <a:pt x="33480" y="25717"/>
                      <a:pt x="36337" y="21907"/>
                      <a:pt x="36337" y="21907"/>
                    </a:cubicBezTo>
                    <a:lnTo>
                      <a:pt x="37290" y="19050"/>
                    </a:lnTo>
                    <a:lnTo>
                      <a:pt x="35385" y="16192"/>
                    </a:lnTo>
                    <a:cubicBezTo>
                      <a:pt x="35385" y="16192"/>
                      <a:pt x="35385" y="3810"/>
                      <a:pt x="39195" y="3810"/>
                    </a:cubicBezTo>
                    <a:cubicBezTo>
                      <a:pt x="42052" y="2857"/>
                      <a:pt x="38242" y="2857"/>
                      <a:pt x="42052" y="2857"/>
                    </a:cubicBezTo>
                    <a:cubicBezTo>
                      <a:pt x="46815" y="2857"/>
                      <a:pt x="53482" y="2857"/>
                      <a:pt x="53482" y="2857"/>
                    </a:cubicBezTo>
                    <a:lnTo>
                      <a:pt x="62055" y="1905"/>
                    </a:lnTo>
                    <a:lnTo>
                      <a:pt x="73485" y="0"/>
                    </a:lnTo>
                    <a:lnTo>
                      <a:pt x="81105" y="0"/>
                    </a:lnTo>
                    <a:lnTo>
                      <a:pt x="87773" y="1905"/>
                    </a:lnTo>
                    <a:lnTo>
                      <a:pt x="92535" y="5715"/>
                    </a:lnTo>
                    <a:lnTo>
                      <a:pt x="92535" y="9525"/>
                    </a:lnTo>
                    <a:lnTo>
                      <a:pt x="92535" y="15240"/>
                    </a:lnTo>
                    <a:cubicBezTo>
                      <a:pt x="92535" y="15240"/>
                      <a:pt x="88725" y="20002"/>
                      <a:pt x="92535" y="20955"/>
                    </a:cubicBezTo>
                    <a:cubicBezTo>
                      <a:pt x="95392" y="21907"/>
                      <a:pt x="99202" y="24765"/>
                      <a:pt x="99202" y="24765"/>
                    </a:cubicBezTo>
                    <a:lnTo>
                      <a:pt x="103965" y="26670"/>
                    </a:lnTo>
                    <a:lnTo>
                      <a:pt x="103965" y="38100"/>
                    </a:lnTo>
                    <a:cubicBezTo>
                      <a:pt x="103965" y="38100"/>
                      <a:pt x="103012" y="39052"/>
                      <a:pt x="103965" y="42863"/>
                    </a:cubicBezTo>
                    <a:cubicBezTo>
                      <a:pt x="104917" y="46672"/>
                      <a:pt x="110632" y="42863"/>
                      <a:pt x="104917" y="46672"/>
                    </a:cubicBezTo>
                    <a:cubicBezTo>
                      <a:pt x="99202" y="50482"/>
                      <a:pt x="92535" y="52388"/>
                      <a:pt x="92535" y="52388"/>
                    </a:cubicBezTo>
                    <a:cubicBezTo>
                      <a:pt x="92535" y="52388"/>
                      <a:pt x="89677" y="53340"/>
                      <a:pt x="85867" y="53340"/>
                    </a:cubicBezTo>
                    <a:cubicBezTo>
                      <a:pt x="82057" y="55245"/>
                      <a:pt x="82057" y="55245"/>
                      <a:pt x="82057" y="55245"/>
                    </a:cubicBezTo>
                    <a:lnTo>
                      <a:pt x="77295" y="59055"/>
                    </a:lnTo>
                    <a:lnTo>
                      <a:pt x="67770" y="60007"/>
                    </a:lnTo>
                    <a:lnTo>
                      <a:pt x="58245" y="57150"/>
                    </a:lnTo>
                    <a:close/>
                  </a:path>
                </a:pathLst>
              </a:custGeom>
              <a:grpFill/>
              <a:ln w="9525" cap="flat">
                <a:noFill/>
                <a:prstDash val="solid"/>
                <a:miter/>
              </a:ln>
            </p:spPr>
            <p:txBody>
              <a:bodyPr rtlCol="0" anchor="ctr"/>
              <a:lstStyle/>
              <a:p>
                <a:endParaRPr lang="en-US" sz="1765"/>
              </a:p>
            </p:txBody>
          </p:sp>
          <p:sp>
            <p:nvSpPr>
              <p:cNvPr id="270" name="Freeform: Shape 269">
                <a:extLst>
                  <a:ext uri="{FF2B5EF4-FFF2-40B4-BE49-F238E27FC236}">
                    <a16:creationId xmlns:a16="http://schemas.microsoft.com/office/drawing/2014/main" id="{5F095661-359A-4E14-AC2D-051AD06F7DA8}"/>
                  </a:ext>
                </a:extLst>
              </p:cNvPr>
              <p:cNvSpPr/>
              <p:nvPr/>
            </p:nvSpPr>
            <p:spPr>
              <a:xfrm>
                <a:off x="6600854" y="3011295"/>
                <a:ext cx="77495" cy="35480"/>
              </a:xfrm>
              <a:custGeom>
                <a:avLst/>
                <a:gdLst>
                  <a:gd name="connsiteX0" fmla="*/ 9525 w 77495"/>
                  <a:gd name="connsiteY0" fmla="*/ 35481 h 35480"/>
                  <a:gd name="connsiteX1" fmla="*/ 1905 w 77495"/>
                  <a:gd name="connsiteY1" fmla="*/ 33576 h 35480"/>
                  <a:gd name="connsiteX2" fmla="*/ 0 w 77495"/>
                  <a:gd name="connsiteY2" fmla="*/ 28813 h 35480"/>
                  <a:gd name="connsiteX3" fmla="*/ 952 w 77495"/>
                  <a:gd name="connsiteY3" fmla="*/ 22146 h 35480"/>
                  <a:gd name="connsiteX4" fmla="*/ 952 w 77495"/>
                  <a:gd name="connsiteY4" fmla="*/ 12621 h 35480"/>
                  <a:gd name="connsiteX5" fmla="*/ 1905 w 77495"/>
                  <a:gd name="connsiteY5" fmla="*/ 8811 h 35480"/>
                  <a:gd name="connsiteX6" fmla="*/ 3810 w 77495"/>
                  <a:gd name="connsiteY6" fmla="*/ 5001 h 35480"/>
                  <a:gd name="connsiteX7" fmla="*/ 9525 w 77495"/>
                  <a:gd name="connsiteY7" fmla="*/ 238 h 35480"/>
                  <a:gd name="connsiteX8" fmla="*/ 14288 w 77495"/>
                  <a:gd name="connsiteY8" fmla="*/ 238 h 35480"/>
                  <a:gd name="connsiteX9" fmla="*/ 31432 w 77495"/>
                  <a:gd name="connsiteY9" fmla="*/ 1191 h 35480"/>
                  <a:gd name="connsiteX10" fmla="*/ 44767 w 77495"/>
                  <a:gd name="connsiteY10" fmla="*/ 1191 h 35480"/>
                  <a:gd name="connsiteX11" fmla="*/ 50482 w 77495"/>
                  <a:gd name="connsiteY11" fmla="*/ 1191 h 35480"/>
                  <a:gd name="connsiteX12" fmla="*/ 59055 w 77495"/>
                  <a:gd name="connsiteY12" fmla="*/ 238 h 35480"/>
                  <a:gd name="connsiteX13" fmla="*/ 68580 w 77495"/>
                  <a:gd name="connsiteY13" fmla="*/ 1191 h 35480"/>
                  <a:gd name="connsiteX14" fmla="*/ 73342 w 77495"/>
                  <a:gd name="connsiteY14" fmla="*/ 3096 h 35480"/>
                  <a:gd name="connsiteX15" fmla="*/ 77152 w 77495"/>
                  <a:gd name="connsiteY15" fmla="*/ 8811 h 35480"/>
                  <a:gd name="connsiteX16" fmla="*/ 76200 w 77495"/>
                  <a:gd name="connsiteY16" fmla="*/ 14526 h 35480"/>
                  <a:gd name="connsiteX17" fmla="*/ 75247 w 77495"/>
                  <a:gd name="connsiteY17" fmla="*/ 16431 h 35480"/>
                  <a:gd name="connsiteX18" fmla="*/ 66675 w 77495"/>
                  <a:gd name="connsiteY18" fmla="*/ 24051 h 35480"/>
                  <a:gd name="connsiteX19" fmla="*/ 60960 w 77495"/>
                  <a:gd name="connsiteY19" fmla="*/ 25003 h 35480"/>
                  <a:gd name="connsiteX20" fmla="*/ 53340 w 77495"/>
                  <a:gd name="connsiteY20" fmla="*/ 26908 h 35480"/>
                  <a:gd name="connsiteX21" fmla="*/ 44767 w 77495"/>
                  <a:gd name="connsiteY21" fmla="*/ 30718 h 35480"/>
                  <a:gd name="connsiteX22" fmla="*/ 33338 w 77495"/>
                  <a:gd name="connsiteY22" fmla="*/ 33576 h 35480"/>
                  <a:gd name="connsiteX23" fmla="*/ 28575 w 77495"/>
                  <a:gd name="connsiteY23" fmla="*/ 33576 h 35480"/>
                  <a:gd name="connsiteX24" fmla="*/ 21907 w 77495"/>
                  <a:gd name="connsiteY24" fmla="*/ 34528 h 35480"/>
                  <a:gd name="connsiteX25" fmla="*/ 15240 w 77495"/>
                  <a:gd name="connsiteY25" fmla="*/ 35481 h 35480"/>
                  <a:gd name="connsiteX26" fmla="*/ 9525 w 77495"/>
                  <a:gd name="connsiteY26" fmla="*/ 35481 h 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495" h="35480">
                    <a:moveTo>
                      <a:pt x="9525" y="35481"/>
                    </a:moveTo>
                    <a:lnTo>
                      <a:pt x="1905" y="33576"/>
                    </a:lnTo>
                    <a:lnTo>
                      <a:pt x="0" y="28813"/>
                    </a:lnTo>
                    <a:lnTo>
                      <a:pt x="952" y="22146"/>
                    </a:lnTo>
                    <a:lnTo>
                      <a:pt x="952" y="12621"/>
                    </a:lnTo>
                    <a:lnTo>
                      <a:pt x="1905" y="8811"/>
                    </a:lnTo>
                    <a:lnTo>
                      <a:pt x="3810" y="5001"/>
                    </a:lnTo>
                    <a:lnTo>
                      <a:pt x="9525" y="238"/>
                    </a:lnTo>
                    <a:lnTo>
                      <a:pt x="14288" y="238"/>
                    </a:lnTo>
                    <a:lnTo>
                      <a:pt x="31432" y="1191"/>
                    </a:lnTo>
                    <a:lnTo>
                      <a:pt x="44767" y="1191"/>
                    </a:lnTo>
                    <a:cubicBezTo>
                      <a:pt x="44767" y="1191"/>
                      <a:pt x="46672" y="1191"/>
                      <a:pt x="50482" y="1191"/>
                    </a:cubicBezTo>
                    <a:cubicBezTo>
                      <a:pt x="53340" y="1191"/>
                      <a:pt x="59055" y="238"/>
                      <a:pt x="59055" y="238"/>
                    </a:cubicBezTo>
                    <a:cubicBezTo>
                      <a:pt x="59055" y="238"/>
                      <a:pt x="64770" y="-714"/>
                      <a:pt x="68580" y="1191"/>
                    </a:cubicBezTo>
                    <a:cubicBezTo>
                      <a:pt x="73342" y="3096"/>
                      <a:pt x="68580" y="-2619"/>
                      <a:pt x="73342" y="3096"/>
                    </a:cubicBezTo>
                    <a:cubicBezTo>
                      <a:pt x="77152" y="8811"/>
                      <a:pt x="78105" y="5953"/>
                      <a:pt x="77152" y="8811"/>
                    </a:cubicBezTo>
                    <a:cubicBezTo>
                      <a:pt x="77152" y="11668"/>
                      <a:pt x="77152" y="12621"/>
                      <a:pt x="76200" y="14526"/>
                    </a:cubicBezTo>
                    <a:cubicBezTo>
                      <a:pt x="75247" y="16431"/>
                      <a:pt x="75247" y="16431"/>
                      <a:pt x="75247" y="16431"/>
                    </a:cubicBezTo>
                    <a:lnTo>
                      <a:pt x="66675" y="24051"/>
                    </a:lnTo>
                    <a:lnTo>
                      <a:pt x="60960" y="25003"/>
                    </a:lnTo>
                    <a:lnTo>
                      <a:pt x="53340" y="26908"/>
                    </a:lnTo>
                    <a:cubicBezTo>
                      <a:pt x="53340" y="26908"/>
                      <a:pt x="48577" y="28813"/>
                      <a:pt x="44767" y="30718"/>
                    </a:cubicBezTo>
                    <a:cubicBezTo>
                      <a:pt x="40005" y="32623"/>
                      <a:pt x="33338" y="33576"/>
                      <a:pt x="33338" y="33576"/>
                    </a:cubicBezTo>
                    <a:lnTo>
                      <a:pt x="28575" y="33576"/>
                    </a:lnTo>
                    <a:lnTo>
                      <a:pt x="21907" y="34528"/>
                    </a:lnTo>
                    <a:lnTo>
                      <a:pt x="15240" y="35481"/>
                    </a:lnTo>
                    <a:lnTo>
                      <a:pt x="9525" y="35481"/>
                    </a:lnTo>
                    <a:close/>
                  </a:path>
                </a:pathLst>
              </a:custGeom>
              <a:grpFill/>
              <a:ln w="9525" cap="flat">
                <a:noFill/>
                <a:prstDash val="solid"/>
                <a:miter/>
              </a:ln>
            </p:spPr>
            <p:txBody>
              <a:bodyPr rtlCol="0" anchor="ctr"/>
              <a:lstStyle/>
              <a:p>
                <a:endParaRPr lang="en-US" sz="1765"/>
              </a:p>
            </p:txBody>
          </p:sp>
          <p:sp>
            <p:nvSpPr>
              <p:cNvPr id="271" name="Freeform: Shape 270">
                <a:extLst>
                  <a:ext uri="{FF2B5EF4-FFF2-40B4-BE49-F238E27FC236}">
                    <a16:creationId xmlns:a16="http://schemas.microsoft.com/office/drawing/2014/main" id="{AC34C483-7126-4800-A736-F3F387ED9C5F}"/>
                  </a:ext>
                </a:extLst>
              </p:cNvPr>
              <p:cNvSpPr/>
              <p:nvPr/>
            </p:nvSpPr>
            <p:spPr>
              <a:xfrm>
                <a:off x="6586566" y="2980794"/>
                <a:ext cx="48577" cy="17404"/>
              </a:xfrm>
              <a:custGeom>
                <a:avLst/>
                <a:gdLst>
                  <a:gd name="connsiteX0" fmla="*/ 8572 w 48577"/>
                  <a:gd name="connsiteY0" fmla="*/ 17405 h 17404"/>
                  <a:gd name="connsiteX1" fmla="*/ 3810 w 48577"/>
                  <a:gd name="connsiteY1" fmla="*/ 17405 h 17404"/>
                  <a:gd name="connsiteX2" fmla="*/ 0 w 48577"/>
                  <a:gd name="connsiteY2" fmla="*/ 10737 h 17404"/>
                  <a:gd name="connsiteX3" fmla="*/ 1905 w 48577"/>
                  <a:gd name="connsiteY3" fmla="*/ 7880 h 17404"/>
                  <a:gd name="connsiteX4" fmla="*/ 5715 w 48577"/>
                  <a:gd name="connsiteY4" fmla="*/ 4070 h 17404"/>
                  <a:gd name="connsiteX5" fmla="*/ 10477 w 48577"/>
                  <a:gd name="connsiteY5" fmla="*/ 3117 h 17404"/>
                  <a:gd name="connsiteX6" fmla="*/ 20002 w 48577"/>
                  <a:gd name="connsiteY6" fmla="*/ 2165 h 17404"/>
                  <a:gd name="connsiteX7" fmla="*/ 32385 w 48577"/>
                  <a:gd name="connsiteY7" fmla="*/ 260 h 17404"/>
                  <a:gd name="connsiteX8" fmla="*/ 43815 w 48577"/>
                  <a:gd name="connsiteY8" fmla="*/ 2165 h 17404"/>
                  <a:gd name="connsiteX9" fmla="*/ 48577 w 48577"/>
                  <a:gd name="connsiteY9" fmla="*/ 5022 h 17404"/>
                  <a:gd name="connsiteX10" fmla="*/ 48577 w 48577"/>
                  <a:gd name="connsiteY10" fmla="*/ 11690 h 17404"/>
                  <a:gd name="connsiteX11" fmla="*/ 42863 w 48577"/>
                  <a:gd name="connsiteY11" fmla="*/ 15500 h 17404"/>
                  <a:gd name="connsiteX12" fmla="*/ 8572 w 48577"/>
                  <a:gd name="connsiteY12" fmla="*/ 17405 h 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77" h="17404">
                    <a:moveTo>
                      <a:pt x="8572" y="17405"/>
                    </a:moveTo>
                    <a:lnTo>
                      <a:pt x="3810" y="17405"/>
                    </a:lnTo>
                    <a:lnTo>
                      <a:pt x="0" y="10737"/>
                    </a:lnTo>
                    <a:lnTo>
                      <a:pt x="1905" y="7880"/>
                    </a:lnTo>
                    <a:cubicBezTo>
                      <a:pt x="1905" y="7880"/>
                      <a:pt x="952" y="5975"/>
                      <a:pt x="5715" y="4070"/>
                    </a:cubicBezTo>
                    <a:cubicBezTo>
                      <a:pt x="10477" y="3117"/>
                      <a:pt x="10477" y="3117"/>
                      <a:pt x="10477" y="3117"/>
                    </a:cubicBezTo>
                    <a:cubicBezTo>
                      <a:pt x="10477" y="3117"/>
                      <a:pt x="17145" y="2165"/>
                      <a:pt x="20002" y="2165"/>
                    </a:cubicBezTo>
                    <a:cubicBezTo>
                      <a:pt x="22860" y="1212"/>
                      <a:pt x="28575" y="-693"/>
                      <a:pt x="32385" y="260"/>
                    </a:cubicBezTo>
                    <a:cubicBezTo>
                      <a:pt x="35242" y="1212"/>
                      <a:pt x="39052" y="-693"/>
                      <a:pt x="43815" y="2165"/>
                    </a:cubicBezTo>
                    <a:cubicBezTo>
                      <a:pt x="48577" y="5022"/>
                      <a:pt x="48577" y="5022"/>
                      <a:pt x="48577" y="5022"/>
                    </a:cubicBezTo>
                    <a:lnTo>
                      <a:pt x="48577" y="11690"/>
                    </a:lnTo>
                    <a:lnTo>
                      <a:pt x="42863" y="15500"/>
                    </a:lnTo>
                    <a:lnTo>
                      <a:pt x="8572" y="17405"/>
                    </a:lnTo>
                    <a:close/>
                  </a:path>
                </a:pathLst>
              </a:custGeom>
              <a:grpFill/>
              <a:ln w="9525" cap="flat">
                <a:noFill/>
                <a:prstDash val="solid"/>
                <a:miter/>
              </a:ln>
            </p:spPr>
            <p:txBody>
              <a:bodyPr rtlCol="0" anchor="ctr"/>
              <a:lstStyle/>
              <a:p>
                <a:endParaRPr lang="en-US" sz="1765"/>
              </a:p>
            </p:txBody>
          </p:sp>
          <p:sp>
            <p:nvSpPr>
              <p:cNvPr id="272" name="Freeform: Shape 271">
                <a:extLst>
                  <a:ext uri="{FF2B5EF4-FFF2-40B4-BE49-F238E27FC236}">
                    <a16:creationId xmlns:a16="http://schemas.microsoft.com/office/drawing/2014/main" id="{4D42695C-AB92-4803-9D36-9DF22DCF2F52}"/>
                  </a:ext>
                </a:extLst>
              </p:cNvPr>
              <p:cNvSpPr/>
              <p:nvPr/>
            </p:nvSpPr>
            <p:spPr>
              <a:xfrm>
                <a:off x="6737908" y="3182031"/>
                <a:ext cx="118215" cy="40957"/>
              </a:xfrm>
              <a:custGeom>
                <a:avLst/>
                <a:gdLst>
                  <a:gd name="connsiteX0" fmla="*/ 51541 w 118215"/>
                  <a:gd name="connsiteY0" fmla="*/ 3810 h 40957"/>
                  <a:gd name="connsiteX1" fmla="*/ 42016 w 118215"/>
                  <a:gd name="connsiteY1" fmla="*/ 953 h 40957"/>
                  <a:gd name="connsiteX2" fmla="*/ 28681 w 118215"/>
                  <a:gd name="connsiteY2" fmla="*/ 0 h 40957"/>
                  <a:gd name="connsiteX3" fmla="*/ 21061 w 118215"/>
                  <a:gd name="connsiteY3" fmla="*/ 953 h 40957"/>
                  <a:gd name="connsiteX4" fmla="*/ 17251 w 118215"/>
                  <a:gd name="connsiteY4" fmla="*/ 6668 h 40957"/>
                  <a:gd name="connsiteX5" fmla="*/ 10583 w 118215"/>
                  <a:gd name="connsiteY5" fmla="*/ 10478 h 40957"/>
                  <a:gd name="connsiteX6" fmla="*/ 10583 w 118215"/>
                  <a:gd name="connsiteY6" fmla="*/ 12383 h 40957"/>
                  <a:gd name="connsiteX7" fmla="*/ 9631 w 118215"/>
                  <a:gd name="connsiteY7" fmla="*/ 16193 h 40957"/>
                  <a:gd name="connsiteX8" fmla="*/ 9631 w 118215"/>
                  <a:gd name="connsiteY8" fmla="*/ 19050 h 40957"/>
                  <a:gd name="connsiteX9" fmla="*/ 4868 w 118215"/>
                  <a:gd name="connsiteY9" fmla="*/ 23813 h 40957"/>
                  <a:gd name="connsiteX10" fmla="*/ 2963 w 118215"/>
                  <a:gd name="connsiteY10" fmla="*/ 28575 h 40957"/>
                  <a:gd name="connsiteX11" fmla="*/ 2963 w 118215"/>
                  <a:gd name="connsiteY11" fmla="*/ 34290 h 40957"/>
                  <a:gd name="connsiteX12" fmla="*/ 18203 w 118215"/>
                  <a:gd name="connsiteY12" fmla="*/ 36195 h 40957"/>
                  <a:gd name="connsiteX13" fmla="*/ 23918 w 118215"/>
                  <a:gd name="connsiteY13" fmla="*/ 39053 h 40957"/>
                  <a:gd name="connsiteX14" fmla="*/ 31538 w 118215"/>
                  <a:gd name="connsiteY14" fmla="*/ 40958 h 40957"/>
                  <a:gd name="connsiteX15" fmla="*/ 41063 w 118215"/>
                  <a:gd name="connsiteY15" fmla="*/ 40005 h 40957"/>
                  <a:gd name="connsiteX16" fmla="*/ 46778 w 118215"/>
                  <a:gd name="connsiteY16" fmla="*/ 33338 h 40957"/>
                  <a:gd name="connsiteX17" fmla="*/ 56303 w 118215"/>
                  <a:gd name="connsiteY17" fmla="*/ 32385 h 40957"/>
                  <a:gd name="connsiteX18" fmla="*/ 62018 w 118215"/>
                  <a:gd name="connsiteY18" fmla="*/ 32385 h 40957"/>
                  <a:gd name="connsiteX19" fmla="*/ 71543 w 118215"/>
                  <a:gd name="connsiteY19" fmla="*/ 33338 h 40957"/>
                  <a:gd name="connsiteX20" fmla="*/ 80116 w 118215"/>
                  <a:gd name="connsiteY20" fmla="*/ 34290 h 40957"/>
                  <a:gd name="connsiteX21" fmla="*/ 98213 w 118215"/>
                  <a:gd name="connsiteY21" fmla="*/ 35243 h 40957"/>
                  <a:gd name="connsiteX22" fmla="*/ 111548 w 118215"/>
                  <a:gd name="connsiteY22" fmla="*/ 37148 h 40957"/>
                  <a:gd name="connsiteX23" fmla="*/ 118216 w 118215"/>
                  <a:gd name="connsiteY23" fmla="*/ 35243 h 40957"/>
                  <a:gd name="connsiteX24" fmla="*/ 118216 w 118215"/>
                  <a:gd name="connsiteY24" fmla="*/ 32385 h 40957"/>
                  <a:gd name="connsiteX25" fmla="*/ 111548 w 118215"/>
                  <a:gd name="connsiteY25" fmla="*/ 28575 h 40957"/>
                  <a:gd name="connsiteX26" fmla="*/ 103928 w 118215"/>
                  <a:gd name="connsiteY26" fmla="*/ 27623 h 40957"/>
                  <a:gd name="connsiteX27" fmla="*/ 90593 w 118215"/>
                  <a:gd name="connsiteY27" fmla="*/ 23813 h 40957"/>
                  <a:gd name="connsiteX28" fmla="*/ 89641 w 118215"/>
                  <a:gd name="connsiteY28" fmla="*/ 20955 h 40957"/>
                  <a:gd name="connsiteX29" fmla="*/ 82021 w 118215"/>
                  <a:gd name="connsiteY29" fmla="*/ 16193 h 40957"/>
                  <a:gd name="connsiteX30" fmla="*/ 77258 w 118215"/>
                  <a:gd name="connsiteY30" fmla="*/ 15240 h 40957"/>
                  <a:gd name="connsiteX31" fmla="*/ 75353 w 118215"/>
                  <a:gd name="connsiteY31" fmla="*/ 12383 h 40957"/>
                  <a:gd name="connsiteX32" fmla="*/ 61066 w 118215"/>
                  <a:gd name="connsiteY32" fmla="*/ 8573 h 40957"/>
                  <a:gd name="connsiteX33" fmla="*/ 51541 w 118215"/>
                  <a:gd name="connsiteY33" fmla="*/ 381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215" h="40957">
                    <a:moveTo>
                      <a:pt x="51541" y="3810"/>
                    </a:moveTo>
                    <a:lnTo>
                      <a:pt x="42016" y="953"/>
                    </a:lnTo>
                    <a:lnTo>
                      <a:pt x="28681" y="0"/>
                    </a:lnTo>
                    <a:lnTo>
                      <a:pt x="21061" y="953"/>
                    </a:lnTo>
                    <a:lnTo>
                      <a:pt x="17251" y="6668"/>
                    </a:lnTo>
                    <a:cubicBezTo>
                      <a:pt x="17251" y="6668"/>
                      <a:pt x="10583" y="8573"/>
                      <a:pt x="10583" y="10478"/>
                    </a:cubicBezTo>
                    <a:cubicBezTo>
                      <a:pt x="10583" y="12383"/>
                      <a:pt x="11536" y="8573"/>
                      <a:pt x="10583" y="12383"/>
                    </a:cubicBezTo>
                    <a:cubicBezTo>
                      <a:pt x="9631" y="16193"/>
                      <a:pt x="9631" y="16193"/>
                      <a:pt x="9631" y="16193"/>
                    </a:cubicBezTo>
                    <a:cubicBezTo>
                      <a:pt x="9631" y="16193"/>
                      <a:pt x="9631" y="17145"/>
                      <a:pt x="9631" y="19050"/>
                    </a:cubicBezTo>
                    <a:cubicBezTo>
                      <a:pt x="9631" y="20955"/>
                      <a:pt x="4868" y="21908"/>
                      <a:pt x="4868" y="23813"/>
                    </a:cubicBezTo>
                    <a:cubicBezTo>
                      <a:pt x="4868" y="25718"/>
                      <a:pt x="2963" y="28575"/>
                      <a:pt x="2963" y="28575"/>
                    </a:cubicBezTo>
                    <a:cubicBezTo>
                      <a:pt x="2963" y="34290"/>
                      <a:pt x="-3704" y="31433"/>
                      <a:pt x="2963" y="34290"/>
                    </a:cubicBezTo>
                    <a:cubicBezTo>
                      <a:pt x="9631" y="37148"/>
                      <a:pt x="18203" y="36195"/>
                      <a:pt x="18203" y="36195"/>
                    </a:cubicBezTo>
                    <a:lnTo>
                      <a:pt x="23918" y="39053"/>
                    </a:lnTo>
                    <a:lnTo>
                      <a:pt x="31538" y="40958"/>
                    </a:lnTo>
                    <a:lnTo>
                      <a:pt x="41063" y="40005"/>
                    </a:lnTo>
                    <a:cubicBezTo>
                      <a:pt x="41063" y="40005"/>
                      <a:pt x="42968" y="33338"/>
                      <a:pt x="46778" y="33338"/>
                    </a:cubicBezTo>
                    <a:cubicBezTo>
                      <a:pt x="49636" y="32385"/>
                      <a:pt x="56303" y="32385"/>
                      <a:pt x="56303" y="32385"/>
                    </a:cubicBezTo>
                    <a:lnTo>
                      <a:pt x="62018" y="32385"/>
                    </a:lnTo>
                    <a:lnTo>
                      <a:pt x="71543" y="33338"/>
                    </a:lnTo>
                    <a:cubicBezTo>
                      <a:pt x="71543" y="33338"/>
                      <a:pt x="77258" y="34290"/>
                      <a:pt x="80116" y="34290"/>
                    </a:cubicBezTo>
                    <a:cubicBezTo>
                      <a:pt x="82973" y="34290"/>
                      <a:pt x="94403" y="34290"/>
                      <a:pt x="98213" y="35243"/>
                    </a:cubicBezTo>
                    <a:cubicBezTo>
                      <a:pt x="101071" y="36195"/>
                      <a:pt x="111548" y="37148"/>
                      <a:pt x="111548" y="37148"/>
                    </a:cubicBezTo>
                    <a:lnTo>
                      <a:pt x="118216" y="35243"/>
                    </a:lnTo>
                    <a:lnTo>
                      <a:pt x="118216" y="32385"/>
                    </a:lnTo>
                    <a:lnTo>
                      <a:pt x="111548" y="28575"/>
                    </a:lnTo>
                    <a:lnTo>
                      <a:pt x="103928" y="27623"/>
                    </a:lnTo>
                    <a:lnTo>
                      <a:pt x="90593" y="23813"/>
                    </a:lnTo>
                    <a:lnTo>
                      <a:pt x="89641" y="20955"/>
                    </a:lnTo>
                    <a:lnTo>
                      <a:pt x="82021" y="16193"/>
                    </a:lnTo>
                    <a:lnTo>
                      <a:pt x="77258" y="15240"/>
                    </a:lnTo>
                    <a:cubicBezTo>
                      <a:pt x="77258" y="15240"/>
                      <a:pt x="76306" y="14288"/>
                      <a:pt x="75353" y="12383"/>
                    </a:cubicBezTo>
                    <a:cubicBezTo>
                      <a:pt x="74401" y="10478"/>
                      <a:pt x="61066" y="8573"/>
                      <a:pt x="61066" y="8573"/>
                    </a:cubicBezTo>
                    <a:lnTo>
                      <a:pt x="51541" y="3810"/>
                    </a:lnTo>
                    <a:close/>
                  </a:path>
                </a:pathLst>
              </a:custGeom>
              <a:grpFill/>
              <a:ln w="9525" cap="flat">
                <a:noFill/>
                <a:prstDash val="solid"/>
                <a:miter/>
              </a:ln>
            </p:spPr>
            <p:txBody>
              <a:bodyPr rtlCol="0" anchor="ctr"/>
              <a:lstStyle/>
              <a:p>
                <a:endParaRPr lang="en-US" sz="1765"/>
              </a:p>
            </p:txBody>
          </p:sp>
          <p:sp>
            <p:nvSpPr>
              <p:cNvPr id="273" name="Freeform: Shape 272">
                <a:extLst>
                  <a:ext uri="{FF2B5EF4-FFF2-40B4-BE49-F238E27FC236}">
                    <a16:creationId xmlns:a16="http://schemas.microsoft.com/office/drawing/2014/main" id="{084C2C87-6D4F-4502-80FA-700CEACC8FB0}"/>
                  </a:ext>
                </a:extLst>
              </p:cNvPr>
              <p:cNvSpPr/>
              <p:nvPr/>
            </p:nvSpPr>
            <p:spPr>
              <a:xfrm>
                <a:off x="6787470" y="3229656"/>
                <a:ext cx="39126" cy="10477"/>
              </a:xfrm>
              <a:custGeom>
                <a:avLst/>
                <a:gdLst>
                  <a:gd name="connsiteX0" fmla="*/ 32459 w 39126"/>
                  <a:gd name="connsiteY0" fmla="*/ 953 h 10477"/>
                  <a:gd name="connsiteX1" fmla="*/ 18171 w 39126"/>
                  <a:gd name="connsiteY1" fmla="*/ 953 h 10477"/>
                  <a:gd name="connsiteX2" fmla="*/ 13409 w 39126"/>
                  <a:gd name="connsiteY2" fmla="*/ 2858 h 10477"/>
                  <a:gd name="connsiteX3" fmla="*/ 7694 w 39126"/>
                  <a:gd name="connsiteY3" fmla="*/ 4763 h 10477"/>
                  <a:gd name="connsiteX4" fmla="*/ 74 w 39126"/>
                  <a:gd name="connsiteY4" fmla="*/ 5715 h 10477"/>
                  <a:gd name="connsiteX5" fmla="*/ 1026 w 39126"/>
                  <a:gd name="connsiteY5" fmla="*/ 7620 h 10477"/>
                  <a:gd name="connsiteX6" fmla="*/ 6741 w 39126"/>
                  <a:gd name="connsiteY6" fmla="*/ 10478 h 10477"/>
                  <a:gd name="connsiteX7" fmla="*/ 16266 w 39126"/>
                  <a:gd name="connsiteY7" fmla="*/ 9525 h 10477"/>
                  <a:gd name="connsiteX8" fmla="*/ 21029 w 39126"/>
                  <a:gd name="connsiteY8" fmla="*/ 9525 h 10477"/>
                  <a:gd name="connsiteX9" fmla="*/ 34364 w 39126"/>
                  <a:gd name="connsiteY9" fmla="*/ 9525 h 10477"/>
                  <a:gd name="connsiteX10" fmla="*/ 39126 w 39126"/>
                  <a:gd name="connsiteY10" fmla="*/ 8573 h 10477"/>
                  <a:gd name="connsiteX11" fmla="*/ 39126 w 39126"/>
                  <a:gd name="connsiteY11" fmla="*/ 0 h 10477"/>
                  <a:gd name="connsiteX12" fmla="*/ 32459 w 39126"/>
                  <a:gd name="connsiteY12" fmla="*/ 953 h 1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26" h="10477">
                    <a:moveTo>
                      <a:pt x="32459" y="953"/>
                    </a:moveTo>
                    <a:lnTo>
                      <a:pt x="18171" y="953"/>
                    </a:lnTo>
                    <a:cubicBezTo>
                      <a:pt x="13409" y="2858"/>
                      <a:pt x="13409" y="2858"/>
                      <a:pt x="13409" y="2858"/>
                    </a:cubicBezTo>
                    <a:lnTo>
                      <a:pt x="7694" y="4763"/>
                    </a:lnTo>
                    <a:cubicBezTo>
                      <a:pt x="7694" y="4763"/>
                      <a:pt x="-879" y="3810"/>
                      <a:pt x="74" y="5715"/>
                    </a:cubicBezTo>
                    <a:cubicBezTo>
                      <a:pt x="1026" y="7620"/>
                      <a:pt x="1026" y="7620"/>
                      <a:pt x="1026" y="7620"/>
                    </a:cubicBezTo>
                    <a:lnTo>
                      <a:pt x="6741" y="10478"/>
                    </a:lnTo>
                    <a:lnTo>
                      <a:pt x="16266" y="9525"/>
                    </a:lnTo>
                    <a:cubicBezTo>
                      <a:pt x="16266" y="9525"/>
                      <a:pt x="17219" y="8573"/>
                      <a:pt x="21029" y="9525"/>
                    </a:cubicBezTo>
                    <a:cubicBezTo>
                      <a:pt x="23886" y="10478"/>
                      <a:pt x="34364" y="9525"/>
                      <a:pt x="34364" y="9525"/>
                    </a:cubicBezTo>
                    <a:lnTo>
                      <a:pt x="39126" y="8573"/>
                    </a:lnTo>
                    <a:lnTo>
                      <a:pt x="39126" y="0"/>
                    </a:lnTo>
                    <a:lnTo>
                      <a:pt x="32459" y="953"/>
                    </a:lnTo>
                    <a:close/>
                  </a:path>
                </a:pathLst>
              </a:custGeom>
              <a:grpFill/>
              <a:ln w="9525" cap="flat">
                <a:noFill/>
                <a:prstDash val="solid"/>
                <a:miter/>
              </a:ln>
            </p:spPr>
            <p:txBody>
              <a:bodyPr rtlCol="0" anchor="ctr"/>
              <a:lstStyle/>
              <a:p>
                <a:endParaRPr lang="en-US" sz="1765"/>
              </a:p>
            </p:txBody>
          </p:sp>
          <p:sp>
            <p:nvSpPr>
              <p:cNvPr id="274" name="Freeform: Shape 273">
                <a:extLst>
                  <a:ext uri="{FF2B5EF4-FFF2-40B4-BE49-F238E27FC236}">
                    <a16:creationId xmlns:a16="http://schemas.microsoft.com/office/drawing/2014/main" id="{6BFA5EB2-AA26-4DC5-A210-7184267646A8}"/>
                  </a:ext>
                </a:extLst>
              </p:cNvPr>
              <p:cNvSpPr/>
              <p:nvPr/>
            </p:nvSpPr>
            <p:spPr>
              <a:xfrm>
                <a:off x="6892241" y="3188804"/>
                <a:ext cx="51512" cy="17991"/>
              </a:xfrm>
              <a:custGeom>
                <a:avLst/>
                <a:gdLst>
                  <a:gd name="connsiteX0" fmla="*/ 44845 w 51512"/>
                  <a:gd name="connsiteY0" fmla="*/ 14182 h 17991"/>
                  <a:gd name="connsiteX1" fmla="*/ 21985 w 51512"/>
                  <a:gd name="connsiteY1" fmla="*/ 17039 h 17991"/>
                  <a:gd name="connsiteX2" fmla="*/ 14365 w 51512"/>
                  <a:gd name="connsiteY2" fmla="*/ 17039 h 17991"/>
                  <a:gd name="connsiteX3" fmla="*/ 1030 w 51512"/>
                  <a:gd name="connsiteY3" fmla="*/ 17992 h 17991"/>
                  <a:gd name="connsiteX4" fmla="*/ 78 w 51512"/>
                  <a:gd name="connsiteY4" fmla="*/ 15134 h 17991"/>
                  <a:gd name="connsiteX5" fmla="*/ 3888 w 51512"/>
                  <a:gd name="connsiteY5" fmla="*/ 8467 h 17991"/>
                  <a:gd name="connsiteX6" fmla="*/ 8650 w 51512"/>
                  <a:gd name="connsiteY6" fmla="*/ 8467 h 17991"/>
                  <a:gd name="connsiteX7" fmla="*/ 15318 w 51512"/>
                  <a:gd name="connsiteY7" fmla="*/ 2752 h 17991"/>
                  <a:gd name="connsiteX8" fmla="*/ 20080 w 51512"/>
                  <a:gd name="connsiteY8" fmla="*/ 847 h 17991"/>
                  <a:gd name="connsiteX9" fmla="*/ 24843 w 51512"/>
                  <a:gd name="connsiteY9" fmla="*/ 847 h 17991"/>
                  <a:gd name="connsiteX10" fmla="*/ 38178 w 51512"/>
                  <a:gd name="connsiteY10" fmla="*/ 1799 h 17991"/>
                  <a:gd name="connsiteX11" fmla="*/ 41035 w 51512"/>
                  <a:gd name="connsiteY11" fmla="*/ 2752 h 17991"/>
                  <a:gd name="connsiteX12" fmla="*/ 46750 w 51512"/>
                  <a:gd name="connsiteY12" fmla="*/ 3704 h 17991"/>
                  <a:gd name="connsiteX13" fmla="*/ 51513 w 51512"/>
                  <a:gd name="connsiteY13" fmla="*/ 8467 h 17991"/>
                  <a:gd name="connsiteX14" fmla="*/ 51513 w 51512"/>
                  <a:gd name="connsiteY14" fmla="*/ 12277 h 17991"/>
                  <a:gd name="connsiteX15" fmla="*/ 44845 w 51512"/>
                  <a:gd name="connsiteY15" fmla="*/ 14182 h 1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512" h="17991">
                    <a:moveTo>
                      <a:pt x="44845" y="14182"/>
                    </a:moveTo>
                    <a:lnTo>
                      <a:pt x="21985" y="17039"/>
                    </a:lnTo>
                    <a:lnTo>
                      <a:pt x="14365" y="17039"/>
                    </a:lnTo>
                    <a:lnTo>
                      <a:pt x="1030" y="17992"/>
                    </a:lnTo>
                    <a:lnTo>
                      <a:pt x="78" y="15134"/>
                    </a:lnTo>
                    <a:cubicBezTo>
                      <a:pt x="78" y="15134"/>
                      <a:pt x="-875" y="8467"/>
                      <a:pt x="3888" y="8467"/>
                    </a:cubicBezTo>
                    <a:cubicBezTo>
                      <a:pt x="8650" y="8467"/>
                      <a:pt x="8650" y="8467"/>
                      <a:pt x="8650" y="8467"/>
                    </a:cubicBezTo>
                    <a:lnTo>
                      <a:pt x="15318" y="2752"/>
                    </a:lnTo>
                    <a:lnTo>
                      <a:pt x="20080" y="847"/>
                    </a:lnTo>
                    <a:cubicBezTo>
                      <a:pt x="20080" y="847"/>
                      <a:pt x="18175" y="-1058"/>
                      <a:pt x="24843" y="847"/>
                    </a:cubicBezTo>
                    <a:cubicBezTo>
                      <a:pt x="31510" y="2752"/>
                      <a:pt x="34368" y="847"/>
                      <a:pt x="38178" y="1799"/>
                    </a:cubicBezTo>
                    <a:cubicBezTo>
                      <a:pt x="41035" y="2752"/>
                      <a:pt x="41035" y="2752"/>
                      <a:pt x="41035" y="2752"/>
                    </a:cubicBezTo>
                    <a:lnTo>
                      <a:pt x="46750" y="3704"/>
                    </a:lnTo>
                    <a:cubicBezTo>
                      <a:pt x="51513" y="8467"/>
                      <a:pt x="51513" y="5609"/>
                      <a:pt x="51513" y="8467"/>
                    </a:cubicBezTo>
                    <a:cubicBezTo>
                      <a:pt x="51513" y="12277"/>
                      <a:pt x="51513" y="12277"/>
                      <a:pt x="51513" y="12277"/>
                    </a:cubicBezTo>
                    <a:lnTo>
                      <a:pt x="44845" y="14182"/>
                    </a:lnTo>
                    <a:close/>
                  </a:path>
                </a:pathLst>
              </a:custGeom>
              <a:grpFill/>
              <a:ln w="9525" cap="flat">
                <a:noFill/>
                <a:prstDash val="solid"/>
                <a:miter/>
              </a:ln>
            </p:spPr>
            <p:txBody>
              <a:bodyPr rtlCol="0" anchor="ctr"/>
              <a:lstStyle/>
              <a:p>
                <a:endParaRPr lang="en-US" sz="1765"/>
              </a:p>
            </p:txBody>
          </p:sp>
          <p:sp>
            <p:nvSpPr>
              <p:cNvPr id="275" name="Freeform: Shape 274">
                <a:extLst>
                  <a:ext uri="{FF2B5EF4-FFF2-40B4-BE49-F238E27FC236}">
                    <a16:creationId xmlns:a16="http://schemas.microsoft.com/office/drawing/2014/main" id="{C5398654-844D-4242-AF76-5E9A2B3D0165}"/>
                  </a:ext>
                </a:extLst>
              </p:cNvPr>
              <p:cNvSpPr/>
              <p:nvPr/>
            </p:nvSpPr>
            <p:spPr>
              <a:xfrm>
                <a:off x="6909464" y="3135359"/>
                <a:ext cx="44437" cy="15239"/>
              </a:xfrm>
              <a:custGeom>
                <a:avLst/>
                <a:gdLst>
                  <a:gd name="connsiteX0" fmla="*/ 43815 w 44437"/>
                  <a:gd name="connsiteY0" fmla="*/ 13335 h 15239"/>
                  <a:gd name="connsiteX1" fmla="*/ 32385 w 44437"/>
                  <a:gd name="connsiteY1" fmla="*/ 14288 h 15239"/>
                  <a:gd name="connsiteX2" fmla="*/ 13335 w 44437"/>
                  <a:gd name="connsiteY2" fmla="*/ 15240 h 15239"/>
                  <a:gd name="connsiteX3" fmla="*/ 7620 w 44437"/>
                  <a:gd name="connsiteY3" fmla="*/ 12382 h 15239"/>
                  <a:gd name="connsiteX4" fmla="*/ 5715 w 44437"/>
                  <a:gd name="connsiteY4" fmla="*/ 8572 h 15239"/>
                  <a:gd name="connsiteX5" fmla="*/ 0 w 44437"/>
                  <a:gd name="connsiteY5" fmla="*/ 3810 h 15239"/>
                  <a:gd name="connsiteX6" fmla="*/ 3810 w 44437"/>
                  <a:gd name="connsiteY6" fmla="*/ 0 h 15239"/>
                  <a:gd name="connsiteX7" fmla="*/ 15240 w 44437"/>
                  <a:gd name="connsiteY7" fmla="*/ 952 h 15239"/>
                  <a:gd name="connsiteX8" fmla="*/ 22860 w 44437"/>
                  <a:gd name="connsiteY8" fmla="*/ 952 h 15239"/>
                  <a:gd name="connsiteX9" fmla="*/ 37147 w 44437"/>
                  <a:gd name="connsiteY9" fmla="*/ 1905 h 15239"/>
                  <a:gd name="connsiteX10" fmla="*/ 42863 w 44437"/>
                  <a:gd name="connsiteY10" fmla="*/ 2857 h 15239"/>
                  <a:gd name="connsiteX11" fmla="*/ 43815 w 44437"/>
                  <a:gd name="connsiteY11"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37" h="15239">
                    <a:moveTo>
                      <a:pt x="43815" y="13335"/>
                    </a:moveTo>
                    <a:lnTo>
                      <a:pt x="32385" y="14288"/>
                    </a:lnTo>
                    <a:lnTo>
                      <a:pt x="13335" y="15240"/>
                    </a:lnTo>
                    <a:lnTo>
                      <a:pt x="7620" y="12382"/>
                    </a:lnTo>
                    <a:lnTo>
                      <a:pt x="5715" y="8572"/>
                    </a:lnTo>
                    <a:lnTo>
                      <a:pt x="0" y="3810"/>
                    </a:lnTo>
                    <a:cubicBezTo>
                      <a:pt x="0" y="3810"/>
                      <a:pt x="0" y="0"/>
                      <a:pt x="3810" y="0"/>
                    </a:cubicBezTo>
                    <a:cubicBezTo>
                      <a:pt x="6667" y="952"/>
                      <a:pt x="15240" y="952"/>
                      <a:pt x="15240" y="952"/>
                    </a:cubicBezTo>
                    <a:lnTo>
                      <a:pt x="22860" y="952"/>
                    </a:lnTo>
                    <a:lnTo>
                      <a:pt x="37147" y="1905"/>
                    </a:lnTo>
                    <a:lnTo>
                      <a:pt x="42863" y="2857"/>
                    </a:lnTo>
                    <a:cubicBezTo>
                      <a:pt x="45720" y="7620"/>
                      <a:pt x="43815" y="13335"/>
                      <a:pt x="43815" y="13335"/>
                    </a:cubicBezTo>
                    <a:close/>
                  </a:path>
                </a:pathLst>
              </a:custGeom>
              <a:grpFill/>
              <a:ln w="9525" cap="flat">
                <a:noFill/>
                <a:prstDash val="solid"/>
                <a:miter/>
              </a:ln>
            </p:spPr>
            <p:txBody>
              <a:bodyPr rtlCol="0" anchor="ctr"/>
              <a:lstStyle/>
              <a:p>
                <a:endParaRPr lang="en-US" sz="1765"/>
              </a:p>
            </p:txBody>
          </p:sp>
          <p:sp>
            <p:nvSpPr>
              <p:cNvPr id="276" name="Freeform: Shape 275">
                <a:extLst>
                  <a:ext uri="{FF2B5EF4-FFF2-40B4-BE49-F238E27FC236}">
                    <a16:creationId xmlns:a16="http://schemas.microsoft.com/office/drawing/2014/main" id="{AB127ED5-5C00-417A-9D96-19F0275B487C}"/>
                  </a:ext>
                </a:extLst>
              </p:cNvPr>
              <p:cNvSpPr/>
              <p:nvPr/>
            </p:nvSpPr>
            <p:spPr>
              <a:xfrm>
                <a:off x="6576089" y="2948245"/>
                <a:ext cx="300990" cy="63288"/>
              </a:xfrm>
              <a:custGeom>
                <a:avLst/>
                <a:gdLst>
                  <a:gd name="connsiteX0" fmla="*/ 282892 w 300990"/>
                  <a:gd name="connsiteY0" fmla="*/ 53763 h 63288"/>
                  <a:gd name="connsiteX1" fmla="*/ 277178 w 300990"/>
                  <a:gd name="connsiteY1" fmla="*/ 54716 h 63288"/>
                  <a:gd name="connsiteX2" fmla="*/ 267653 w 300990"/>
                  <a:gd name="connsiteY2" fmla="*/ 55668 h 63288"/>
                  <a:gd name="connsiteX3" fmla="*/ 258128 w 300990"/>
                  <a:gd name="connsiteY3" fmla="*/ 55668 h 63288"/>
                  <a:gd name="connsiteX4" fmla="*/ 248603 w 300990"/>
                  <a:gd name="connsiteY4" fmla="*/ 55668 h 63288"/>
                  <a:gd name="connsiteX5" fmla="*/ 237172 w 300990"/>
                  <a:gd name="connsiteY5" fmla="*/ 58526 h 63288"/>
                  <a:gd name="connsiteX6" fmla="*/ 229553 w 300990"/>
                  <a:gd name="connsiteY6" fmla="*/ 62336 h 63288"/>
                  <a:gd name="connsiteX7" fmla="*/ 221933 w 300990"/>
                  <a:gd name="connsiteY7" fmla="*/ 63288 h 63288"/>
                  <a:gd name="connsiteX8" fmla="*/ 210503 w 300990"/>
                  <a:gd name="connsiteY8" fmla="*/ 63288 h 63288"/>
                  <a:gd name="connsiteX9" fmla="*/ 202883 w 300990"/>
                  <a:gd name="connsiteY9" fmla="*/ 63288 h 63288"/>
                  <a:gd name="connsiteX10" fmla="*/ 196215 w 300990"/>
                  <a:gd name="connsiteY10" fmla="*/ 63288 h 63288"/>
                  <a:gd name="connsiteX11" fmla="*/ 187642 w 300990"/>
                  <a:gd name="connsiteY11" fmla="*/ 63288 h 63288"/>
                  <a:gd name="connsiteX12" fmla="*/ 180975 w 300990"/>
                  <a:gd name="connsiteY12" fmla="*/ 63288 h 63288"/>
                  <a:gd name="connsiteX13" fmla="*/ 176213 w 300990"/>
                  <a:gd name="connsiteY13" fmla="*/ 63288 h 63288"/>
                  <a:gd name="connsiteX14" fmla="*/ 164783 w 300990"/>
                  <a:gd name="connsiteY14" fmla="*/ 61383 h 63288"/>
                  <a:gd name="connsiteX15" fmla="*/ 158115 w 300990"/>
                  <a:gd name="connsiteY15" fmla="*/ 60431 h 63288"/>
                  <a:gd name="connsiteX16" fmla="*/ 142875 w 300990"/>
                  <a:gd name="connsiteY16" fmla="*/ 58526 h 63288"/>
                  <a:gd name="connsiteX17" fmla="*/ 135255 w 300990"/>
                  <a:gd name="connsiteY17" fmla="*/ 57573 h 63288"/>
                  <a:gd name="connsiteX18" fmla="*/ 114300 w 300990"/>
                  <a:gd name="connsiteY18" fmla="*/ 52811 h 63288"/>
                  <a:gd name="connsiteX19" fmla="*/ 101917 w 300990"/>
                  <a:gd name="connsiteY19" fmla="*/ 51858 h 63288"/>
                  <a:gd name="connsiteX20" fmla="*/ 93345 w 300990"/>
                  <a:gd name="connsiteY20" fmla="*/ 50906 h 63288"/>
                  <a:gd name="connsiteX21" fmla="*/ 86678 w 300990"/>
                  <a:gd name="connsiteY21" fmla="*/ 49001 h 63288"/>
                  <a:gd name="connsiteX22" fmla="*/ 80963 w 300990"/>
                  <a:gd name="connsiteY22" fmla="*/ 46143 h 63288"/>
                  <a:gd name="connsiteX23" fmla="*/ 80963 w 300990"/>
                  <a:gd name="connsiteY23" fmla="*/ 40428 h 63288"/>
                  <a:gd name="connsiteX24" fmla="*/ 79058 w 300990"/>
                  <a:gd name="connsiteY24" fmla="*/ 34713 h 63288"/>
                  <a:gd name="connsiteX25" fmla="*/ 78105 w 300990"/>
                  <a:gd name="connsiteY25" fmla="*/ 29951 h 63288"/>
                  <a:gd name="connsiteX26" fmla="*/ 72390 w 300990"/>
                  <a:gd name="connsiteY26" fmla="*/ 25188 h 63288"/>
                  <a:gd name="connsiteX27" fmla="*/ 63817 w 300990"/>
                  <a:gd name="connsiteY27" fmla="*/ 21378 h 63288"/>
                  <a:gd name="connsiteX28" fmla="*/ 58103 w 300990"/>
                  <a:gd name="connsiteY28" fmla="*/ 19473 h 63288"/>
                  <a:gd name="connsiteX29" fmla="*/ 40958 w 300990"/>
                  <a:gd name="connsiteY29" fmla="*/ 15663 h 63288"/>
                  <a:gd name="connsiteX30" fmla="*/ 29528 w 300990"/>
                  <a:gd name="connsiteY30" fmla="*/ 15663 h 63288"/>
                  <a:gd name="connsiteX31" fmla="*/ 23813 w 300990"/>
                  <a:gd name="connsiteY31" fmla="*/ 15663 h 63288"/>
                  <a:gd name="connsiteX32" fmla="*/ 10478 w 300990"/>
                  <a:gd name="connsiteY32" fmla="*/ 14711 h 63288"/>
                  <a:gd name="connsiteX33" fmla="*/ 953 w 300990"/>
                  <a:gd name="connsiteY33" fmla="*/ 11853 h 63288"/>
                  <a:gd name="connsiteX34" fmla="*/ 0 w 300990"/>
                  <a:gd name="connsiteY34" fmla="*/ 6138 h 63288"/>
                  <a:gd name="connsiteX35" fmla="*/ 5715 w 300990"/>
                  <a:gd name="connsiteY35" fmla="*/ 3281 h 63288"/>
                  <a:gd name="connsiteX36" fmla="*/ 12383 w 300990"/>
                  <a:gd name="connsiteY36" fmla="*/ 2328 h 63288"/>
                  <a:gd name="connsiteX37" fmla="*/ 28575 w 300990"/>
                  <a:gd name="connsiteY37" fmla="*/ 423 h 63288"/>
                  <a:gd name="connsiteX38" fmla="*/ 38100 w 300990"/>
                  <a:gd name="connsiteY38" fmla="*/ 423 h 63288"/>
                  <a:gd name="connsiteX39" fmla="*/ 51435 w 300990"/>
                  <a:gd name="connsiteY39" fmla="*/ 423 h 63288"/>
                  <a:gd name="connsiteX40" fmla="*/ 60008 w 300990"/>
                  <a:gd name="connsiteY40" fmla="*/ 423 h 63288"/>
                  <a:gd name="connsiteX41" fmla="*/ 72390 w 300990"/>
                  <a:gd name="connsiteY41" fmla="*/ 2328 h 63288"/>
                  <a:gd name="connsiteX42" fmla="*/ 79058 w 300990"/>
                  <a:gd name="connsiteY42" fmla="*/ 4233 h 63288"/>
                  <a:gd name="connsiteX43" fmla="*/ 86678 w 300990"/>
                  <a:gd name="connsiteY43" fmla="*/ 5186 h 63288"/>
                  <a:gd name="connsiteX44" fmla="*/ 94297 w 300990"/>
                  <a:gd name="connsiteY44" fmla="*/ 9948 h 63288"/>
                  <a:gd name="connsiteX45" fmla="*/ 89535 w 300990"/>
                  <a:gd name="connsiteY45" fmla="*/ 13758 h 63288"/>
                  <a:gd name="connsiteX46" fmla="*/ 99060 w 300990"/>
                  <a:gd name="connsiteY46" fmla="*/ 19473 h 63288"/>
                  <a:gd name="connsiteX47" fmla="*/ 104775 w 300990"/>
                  <a:gd name="connsiteY47" fmla="*/ 19473 h 63288"/>
                  <a:gd name="connsiteX48" fmla="*/ 110490 w 300990"/>
                  <a:gd name="connsiteY48" fmla="*/ 28046 h 63288"/>
                  <a:gd name="connsiteX49" fmla="*/ 123825 w 300990"/>
                  <a:gd name="connsiteY49" fmla="*/ 31856 h 63288"/>
                  <a:gd name="connsiteX50" fmla="*/ 135255 w 300990"/>
                  <a:gd name="connsiteY50" fmla="*/ 33761 h 63288"/>
                  <a:gd name="connsiteX51" fmla="*/ 149542 w 300990"/>
                  <a:gd name="connsiteY51" fmla="*/ 35666 h 63288"/>
                  <a:gd name="connsiteX52" fmla="*/ 154305 w 300990"/>
                  <a:gd name="connsiteY52" fmla="*/ 39476 h 63288"/>
                  <a:gd name="connsiteX53" fmla="*/ 167640 w 300990"/>
                  <a:gd name="connsiteY53" fmla="*/ 39476 h 63288"/>
                  <a:gd name="connsiteX54" fmla="*/ 194310 w 300990"/>
                  <a:gd name="connsiteY54" fmla="*/ 35666 h 63288"/>
                  <a:gd name="connsiteX55" fmla="*/ 205740 w 300990"/>
                  <a:gd name="connsiteY55" fmla="*/ 34713 h 63288"/>
                  <a:gd name="connsiteX56" fmla="*/ 214313 w 300990"/>
                  <a:gd name="connsiteY56" fmla="*/ 34713 h 63288"/>
                  <a:gd name="connsiteX57" fmla="*/ 231458 w 300990"/>
                  <a:gd name="connsiteY57" fmla="*/ 36618 h 63288"/>
                  <a:gd name="connsiteX58" fmla="*/ 246697 w 300990"/>
                  <a:gd name="connsiteY58" fmla="*/ 36618 h 63288"/>
                  <a:gd name="connsiteX59" fmla="*/ 258128 w 300990"/>
                  <a:gd name="connsiteY59" fmla="*/ 35666 h 63288"/>
                  <a:gd name="connsiteX60" fmla="*/ 269558 w 300990"/>
                  <a:gd name="connsiteY60" fmla="*/ 35666 h 63288"/>
                  <a:gd name="connsiteX61" fmla="*/ 276225 w 300990"/>
                  <a:gd name="connsiteY61" fmla="*/ 35666 h 63288"/>
                  <a:gd name="connsiteX62" fmla="*/ 290513 w 300990"/>
                  <a:gd name="connsiteY62" fmla="*/ 36618 h 63288"/>
                  <a:gd name="connsiteX63" fmla="*/ 297180 w 300990"/>
                  <a:gd name="connsiteY63" fmla="*/ 39476 h 63288"/>
                  <a:gd name="connsiteX64" fmla="*/ 299085 w 300990"/>
                  <a:gd name="connsiteY64" fmla="*/ 42333 h 63288"/>
                  <a:gd name="connsiteX65" fmla="*/ 300990 w 300990"/>
                  <a:gd name="connsiteY65" fmla="*/ 46143 h 63288"/>
                  <a:gd name="connsiteX66" fmla="*/ 296228 w 300990"/>
                  <a:gd name="connsiteY66" fmla="*/ 53763 h 63288"/>
                  <a:gd name="connsiteX67" fmla="*/ 282892 w 300990"/>
                  <a:gd name="connsiteY67" fmla="*/ 53763 h 6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0990" h="63288">
                    <a:moveTo>
                      <a:pt x="282892" y="53763"/>
                    </a:moveTo>
                    <a:lnTo>
                      <a:pt x="277178" y="54716"/>
                    </a:lnTo>
                    <a:lnTo>
                      <a:pt x="267653" y="55668"/>
                    </a:lnTo>
                    <a:lnTo>
                      <a:pt x="258128" y="55668"/>
                    </a:lnTo>
                    <a:lnTo>
                      <a:pt x="248603" y="55668"/>
                    </a:lnTo>
                    <a:cubicBezTo>
                      <a:pt x="241935" y="57573"/>
                      <a:pt x="237172" y="58526"/>
                      <a:pt x="237172" y="58526"/>
                    </a:cubicBezTo>
                    <a:lnTo>
                      <a:pt x="229553" y="62336"/>
                    </a:lnTo>
                    <a:cubicBezTo>
                      <a:pt x="229553" y="62336"/>
                      <a:pt x="228600" y="63288"/>
                      <a:pt x="221933" y="63288"/>
                    </a:cubicBezTo>
                    <a:cubicBezTo>
                      <a:pt x="215265" y="63288"/>
                      <a:pt x="210503" y="63288"/>
                      <a:pt x="210503" y="63288"/>
                    </a:cubicBezTo>
                    <a:lnTo>
                      <a:pt x="202883" y="63288"/>
                    </a:lnTo>
                    <a:lnTo>
                      <a:pt x="196215" y="63288"/>
                    </a:lnTo>
                    <a:lnTo>
                      <a:pt x="187642" y="63288"/>
                    </a:lnTo>
                    <a:lnTo>
                      <a:pt x="180975" y="63288"/>
                    </a:lnTo>
                    <a:lnTo>
                      <a:pt x="176213" y="63288"/>
                    </a:lnTo>
                    <a:lnTo>
                      <a:pt x="164783" y="61383"/>
                    </a:lnTo>
                    <a:lnTo>
                      <a:pt x="158115" y="60431"/>
                    </a:lnTo>
                    <a:lnTo>
                      <a:pt x="142875" y="58526"/>
                    </a:lnTo>
                    <a:cubicBezTo>
                      <a:pt x="142875" y="58526"/>
                      <a:pt x="140017" y="57573"/>
                      <a:pt x="135255" y="57573"/>
                    </a:cubicBezTo>
                    <a:cubicBezTo>
                      <a:pt x="130492" y="57573"/>
                      <a:pt x="114300" y="52811"/>
                      <a:pt x="114300" y="52811"/>
                    </a:cubicBezTo>
                    <a:cubicBezTo>
                      <a:pt x="114300" y="52811"/>
                      <a:pt x="105728" y="50906"/>
                      <a:pt x="101917" y="51858"/>
                    </a:cubicBezTo>
                    <a:cubicBezTo>
                      <a:pt x="99060" y="52811"/>
                      <a:pt x="93345" y="50906"/>
                      <a:pt x="93345" y="50906"/>
                    </a:cubicBezTo>
                    <a:lnTo>
                      <a:pt x="86678" y="49001"/>
                    </a:lnTo>
                    <a:lnTo>
                      <a:pt x="80963" y="46143"/>
                    </a:lnTo>
                    <a:lnTo>
                      <a:pt x="80963" y="40428"/>
                    </a:lnTo>
                    <a:lnTo>
                      <a:pt x="79058" y="34713"/>
                    </a:lnTo>
                    <a:lnTo>
                      <a:pt x="78105" y="29951"/>
                    </a:lnTo>
                    <a:lnTo>
                      <a:pt x="72390" y="25188"/>
                    </a:lnTo>
                    <a:cubicBezTo>
                      <a:pt x="72390" y="25188"/>
                      <a:pt x="69533" y="23283"/>
                      <a:pt x="63817" y="21378"/>
                    </a:cubicBezTo>
                    <a:cubicBezTo>
                      <a:pt x="58103" y="19473"/>
                      <a:pt x="58103" y="19473"/>
                      <a:pt x="58103" y="19473"/>
                    </a:cubicBezTo>
                    <a:cubicBezTo>
                      <a:pt x="58103" y="19473"/>
                      <a:pt x="43815" y="15663"/>
                      <a:pt x="40958" y="15663"/>
                    </a:cubicBezTo>
                    <a:cubicBezTo>
                      <a:pt x="38100" y="15663"/>
                      <a:pt x="29528" y="15663"/>
                      <a:pt x="29528" y="15663"/>
                    </a:cubicBezTo>
                    <a:cubicBezTo>
                      <a:pt x="29528" y="15663"/>
                      <a:pt x="28575" y="15663"/>
                      <a:pt x="23813" y="15663"/>
                    </a:cubicBezTo>
                    <a:cubicBezTo>
                      <a:pt x="19050" y="15663"/>
                      <a:pt x="10478" y="14711"/>
                      <a:pt x="10478" y="14711"/>
                    </a:cubicBezTo>
                    <a:lnTo>
                      <a:pt x="953" y="11853"/>
                    </a:lnTo>
                    <a:lnTo>
                      <a:pt x="0" y="6138"/>
                    </a:lnTo>
                    <a:lnTo>
                      <a:pt x="5715" y="3281"/>
                    </a:lnTo>
                    <a:cubicBezTo>
                      <a:pt x="12383" y="2328"/>
                      <a:pt x="4763" y="4233"/>
                      <a:pt x="12383" y="2328"/>
                    </a:cubicBezTo>
                    <a:cubicBezTo>
                      <a:pt x="20003" y="423"/>
                      <a:pt x="28575" y="423"/>
                      <a:pt x="28575" y="423"/>
                    </a:cubicBezTo>
                    <a:lnTo>
                      <a:pt x="38100" y="423"/>
                    </a:lnTo>
                    <a:lnTo>
                      <a:pt x="51435" y="423"/>
                    </a:lnTo>
                    <a:cubicBezTo>
                      <a:pt x="51435" y="423"/>
                      <a:pt x="56197" y="-529"/>
                      <a:pt x="60008" y="423"/>
                    </a:cubicBezTo>
                    <a:cubicBezTo>
                      <a:pt x="64770" y="1376"/>
                      <a:pt x="72390" y="2328"/>
                      <a:pt x="72390" y="2328"/>
                    </a:cubicBezTo>
                    <a:lnTo>
                      <a:pt x="79058" y="4233"/>
                    </a:lnTo>
                    <a:lnTo>
                      <a:pt x="86678" y="5186"/>
                    </a:lnTo>
                    <a:lnTo>
                      <a:pt x="94297" y="9948"/>
                    </a:lnTo>
                    <a:cubicBezTo>
                      <a:pt x="94297" y="9948"/>
                      <a:pt x="88583" y="11853"/>
                      <a:pt x="89535" y="13758"/>
                    </a:cubicBezTo>
                    <a:cubicBezTo>
                      <a:pt x="90488" y="15663"/>
                      <a:pt x="99060" y="19473"/>
                      <a:pt x="99060" y="19473"/>
                    </a:cubicBezTo>
                    <a:lnTo>
                      <a:pt x="104775" y="19473"/>
                    </a:lnTo>
                    <a:lnTo>
                      <a:pt x="110490" y="28046"/>
                    </a:lnTo>
                    <a:lnTo>
                      <a:pt x="123825" y="31856"/>
                    </a:lnTo>
                    <a:cubicBezTo>
                      <a:pt x="123825" y="31856"/>
                      <a:pt x="131445" y="32808"/>
                      <a:pt x="135255" y="33761"/>
                    </a:cubicBezTo>
                    <a:cubicBezTo>
                      <a:pt x="138113" y="34713"/>
                      <a:pt x="149542" y="35666"/>
                      <a:pt x="149542" y="35666"/>
                    </a:cubicBezTo>
                    <a:cubicBezTo>
                      <a:pt x="149542" y="35666"/>
                      <a:pt x="150495" y="38523"/>
                      <a:pt x="154305" y="39476"/>
                    </a:cubicBezTo>
                    <a:cubicBezTo>
                      <a:pt x="157163" y="40428"/>
                      <a:pt x="162878" y="40428"/>
                      <a:pt x="167640" y="39476"/>
                    </a:cubicBezTo>
                    <a:cubicBezTo>
                      <a:pt x="172403" y="38523"/>
                      <a:pt x="194310" y="35666"/>
                      <a:pt x="194310" y="35666"/>
                    </a:cubicBezTo>
                    <a:lnTo>
                      <a:pt x="205740" y="34713"/>
                    </a:lnTo>
                    <a:lnTo>
                      <a:pt x="214313" y="34713"/>
                    </a:lnTo>
                    <a:cubicBezTo>
                      <a:pt x="221933" y="36618"/>
                      <a:pt x="225742" y="36618"/>
                      <a:pt x="231458" y="36618"/>
                    </a:cubicBezTo>
                    <a:cubicBezTo>
                      <a:pt x="238125" y="37571"/>
                      <a:pt x="246697" y="36618"/>
                      <a:pt x="246697" y="36618"/>
                    </a:cubicBezTo>
                    <a:lnTo>
                      <a:pt x="258128" y="35666"/>
                    </a:lnTo>
                    <a:lnTo>
                      <a:pt x="269558" y="35666"/>
                    </a:lnTo>
                    <a:lnTo>
                      <a:pt x="276225" y="35666"/>
                    </a:lnTo>
                    <a:cubicBezTo>
                      <a:pt x="276225" y="35666"/>
                      <a:pt x="289560" y="34713"/>
                      <a:pt x="290513" y="36618"/>
                    </a:cubicBezTo>
                    <a:cubicBezTo>
                      <a:pt x="291465" y="38523"/>
                      <a:pt x="295275" y="36618"/>
                      <a:pt x="297180" y="39476"/>
                    </a:cubicBezTo>
                    <a:cubicBezTo>
                      <a:pt x="299085" y="42333"/>
                      <a:pt x="297180" y="38523"/>
                      <a:pt x="299085" y="42333"/>
                    </a:cubicBezTo>
                    <a:cubicBezTo>
                      <a:pt x="300990" y="46143"/>
                      <a:pt x="300990" y="43286"/>
                      <a:pt x="300990" y="46143"/>
                    </a:cubicBezTo>
                    <a:cubicBezTo>
                      <a:pt x="300990" y="49953"/>
                      <a:pt x="296228" y="53763"/>
                      <a:pt x="296228" y="53763"/>
                    </a:cubicBezTo>
                    <a:lnTo>
                      <a:pt x="282892" y="53763"/>
                    </a:lnTo>
                    <a:close/>
                  </a:path>
                </a:pathLst>
              </a:custGeom>
              <a:grpFill/>
              <a:ln w="9525" cap="flat">
                <a:noFill/>
                <a:prstDash val="solid"/>
                <a:miter/>
              </a:ln>
            </p:spPr>
            <p:txBody>
              <a:bodyPr rtlCol="0" anchor="ctr"/>
              <a:lstStyle/>
              <a:p>
                <a:endParaRPr lang="en-US" sz="1765"/>
              </a:p>
            </p:txBody>
          </p:sp>
          <p:sp>
            <p:nvSpPr>
              <p:cNvPr id="277" name="Freeform: Shape 276">
                <a:extLst>
                  <a:ext uri="{FF2B5EF4-FFF2-40B4-BE49-F238E27FC236}">
                    <a16:creationId xmlns:a16="http://schemas.microsoft.com/office/drawing/2014/main" id="{75C0C420-D608-4E64-88EA-073F60AE8EA0}"/>
                  </a:ext>
                </a:extLst>
              </p:cNvPr>
              <p:cNvSpPr/>
              <p:nvPr/>
            </p:nvSpPr>
            <p:spPr>
              <a:xfrm>
                <a:off x="6555074" y="2902133"/>
                <a:ext cx="61442" cy="32247"/>
              </a:xfrm>
              <a:custGeom>
                <a:avLst/>
                <a:gdLst>
                  <a:gd name="connsiteX0" fmla="*/ 44827 w 61442"/>
                  <a:gd name="connsiteY0" fmla="*/ 32248 h 32247"/>
                  <a:gd name="connsiteX1" fmla="*/ 35302 w 61442"/>
                  <a:gd name="connsiteY1" fmla="*/ 30343 h 32247"/>
                  <a:gd name="connsiteX2" fmla="*/ 21015 w 61442"/>
                  <a:gd name="connsiteY2" fmla="*/ 29390 h 32247"/>
                  <a:gd name="connsiteX3" fmla="*/ 20062 w 61442"/>
                  <a:gd name="connsiteY3" fmla="*/ 26533 h 32247"/>
                  <a:gd name="connsiteX4" fmla="*/ 13394 w 61442"/>
                  <a:gd name="connsiteY4" fmla="*/ 20818 h 32247"/>
                  <a:gd name="connsiteX5" fmla="*/ 7680 w 61442"/>
                  <a:gd name="connsiteY5" fmla="*/ 18913 h 32247"/>
                  <a:gd name="connsiteX6" fmla="*/ 2917 w 61442"/>
                  <a:gd name="connsiteY6" fmla="*/ 18913 h 32247"/>
                  <a:gd name="connsiteX7" fmla="*/ 60 w 61442"/>
                  <a:gd name="connsiteY7" fmla="*/ 12245 h 32247"/>
                  <a:gd name="connsiteX8" fmla="*/ 60 w 61442"/>
                  <a:gd name="connsiteY8" fmla="*/ 7483 h 32247"/>
                  <a:gd name="connsiteX9" fmla="*/ 4822 w 61442"/>
                  <a:gd name="connsiteY9" fmla="*/ 1768 h 32247"/>
                  <a:gd name="connsiteX10" fmla="*/ 10537 w 61442"/>
                  <a:gd name="connsiteY10" fmla="*/ 815 h 32247"/>
                  <a:gd name="connsiteX11" fmla="*/ 21967 w 61442"/>
                  <a:gd name="connsiteY11" fmla="*/ 1768 h 32247"/>
                  <a:gd name="connsiteX12" fmla="*/ 31492 w 61442"/>
                  <a:gd name="connsiteY12" fmla="*/ 1768 h 32247"/>
                  <a:gd name="connsiteX13" fmla="*/ 34349 w 61442"/>
                  <a:gd name="connsiteY13" fmla="*/ 2720 h 32247"/>
                  <a:gd name="connsiteX14" fmla="*/ 41017 w 61442"/>
                  <a:gd name="connsiteY14" fmla="*/ 1768 h 32247"/>
                  <a:gd name="connsiteX15" fmla="*/ 56257 w 61442"/>
                  <a:gd name="connsiteY15" fmla="*/ 2720 h 32247"/>
                  <a:gd name="connsiteX16" fmla="*/ 58162 w 61442"/>
                  <a:gd name="connsiteY16" fmla="*/ 4625 h 32247"/>
                  <a:gd name="connsiteX17" fmla="*/ 61019 w 61442"/>
                  <a:gd name="connsiteY17" fmla="*/ 10340 h 32247"/>
                  <a:gd name="connsiteX18" fmla="*/ 61019 w 61442"/>
                  <a:gd name="connsiteY18" fmla="*/ 16055 h 32247"/>
                  <a:gd name="connsiteX19" fmla="*/ 61019 w 61442"/>
                  <a:gd name="connsiteY19" fmla="*/ 18913 h 32247"/>
                  <a:gd name="connsiteX20" fmla="*/ 61019 w 61442"/>
                  <a:gd name="connsiteY20" fmla="*/ 23675 h 32247"/>
                  <a:gd name="connsiteX21" fmla="*/ 61019 w 61442"/>
                  <a:gd name="connsiteY21" fmla="*/ 26533 h 32247"/>
                  <a:gd name="connsiteX22" fmla="*/ 61019 w 61442"/>
                  <a:gd name="connsiteY22" fmla="*/ 28438 h 32247"/>
                  <a:gd name="connsiteX23" fmla="*/ 44827 w 61442"/>
                  <a:gd name="connsiteY23" fmla="*/ 32248 h 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442" h="32247">
                    <a:moveTo>
                      <a:pt x="44827" y="32248"/>
                    </a:moveTo>
                    <a:lnTo>
                      <a:pt x="35302" y="30343"/>
                    </a:lnTo>
                    <a:lnTo>
                      <a:pt x="21015" y="29390"/>
                    </a:lnTo>
                    <a:lnTo>
                      <a:pt x="20062" y="26533"/>
                    </a:lnTo>
                    <a:lnTo>
                      <a:pt x="13394" y="20818"/>
                    </a:lnTo>
                    <a:cubicBezTo>
                      <a:pt x="13394" y="20818"/>
                      <a:pt x="12442" y="18913"/>
                      <a:pt x="7680" y="18913"/>
                    </a:cubicBezTo>
                    <a:cubicBezTo>
                      <a:pt x="2917" y="18913"/>
                      <a:pt x="2917" y="18913"/>
                      <a:pt x="2917" y="18913"/>
                    </a:cubicBezTo>
                    <a:lnTo>
                      <a:pt x="60" y="12245"/>
                    </a:lnTo>
                    <a:lnTo>
                      <a:pt x="60" y="7483"/>
                    </a:lnTo>
                    <a:cubicBezTo>
                      <a:pt x="60" y="7483"/>
                      <a:pt x="-893" y="3673"/>
                      <a:pt x="4822" y="1768"/>
                    </a:cubicBezTo>
                    <a:cubicBezTo>
                      <a:pt x="10537" y="815"/>
                      <a:pt x="3869" y="-1090"/>
                      <a:pt x="10537" y="815"/>
                    </a:cubicBezTo>
                    <a:cubicBezTo>
                      <a:pt x="17205" y="2720"/>
                      <a:pt x="17205" y="815"/>
                      <a:pt x="21967" y="1768"/>
                    </a:cubicBezTo>
                    <a:cubicBezTo>
                      <a:pt x="26730" y="2720"/>
                      <a:pt x="28635" y="815"/>
                      <a:pt x="31492" y="1768"/>
                    </a:cubicBezTo>
                    <a:cubicBezTo>
                      <a:pt x="34349" y="2720"/>
                      <a:pt x="34349" y="2720"/>
                      <a:pt x="34349" y="2720"/>
                    </a:cubicBezTo>
                    <a:cubicBezTo>
                      <a:pt x="34349" y="2720"/>
                      <a:pt x="35302" y="1768"/>
                      <a:pt x="41017" y="1768"/>
                    </a:cubicBezTo>
                    <a:cubicBezTo>
                      <a:pt x="46732" y="2720"/>
                      <a:pt x="54352" y="815"/>
                      <a:pt x="56257" y="2720"/>
                    </a:cubicBezTo>
                    <a:cubicBezTo>
                      <a:pt x="58162" y="4625"/>
                      <a:pt x="58162" y="4625"/>
                      <a:pt x="58162" y="4625"/>
                    </a:cubicBezTo>
                    <a:cubicBezTo>
                      <a:pt x="58162" y="4625"/>
                      <a:pt x="60067" y="8435"/>
                      <a:pt x="61019" y="10340"/>
                    </a:cubicBezTo>
                    <a:cubicBezTo>
                      <a:pt x="61972" y="12245"/>
                      <a:pt x="61019" y="16055"/>
                      <a:pt x="61019" y="16055"/>
                    </a:cubicBezTo>
                    <a:cubicBezTo>
                      <a:pt x="61019" y="16055"/>
                      <a:pt x="60067" y="17008"/>
                      <a:pt x="61019" y="18913"/>
                    </a:cubicBezTo>
                    <a:cubicBezTo>
                      <a:pt x="61972" y="20818"/>
                      <a:pt x="61019" y="23675"/>
                      <a:pt x="61019" y="23675"/>
                    </a:cubicBezTo>
                    <a:cubicBezTo>
                      <a:pt x="61019" y="23675"/>
                      <a:pt x="61019" y="24628"/>
                      <a:pt x="61019" y="26533"/>
                    </a:cubicBezTo>
                    <a:cubicBezTo>
                      <a:pt x="61019" y="28438"/>
                      <a:pt x="61019" y="28438"/>
                      <a:pt x="61019" y="28438"/>
                    </a:cubicBezTo>
                    <a:lnTo>
                      <a:pt x="44827" y="32248"/>
                    </a:lnTo>
                    <a:close/>
                  </a:path>
                </a:pathLst>
              </a:custGeom>
              <a:grpFill/>
              <a:ln w="9525" cap="flat">
                <a:noFill/>
                <a:prstDash val="solid"/>
                <a:miter/>
              </a:ln>
            </p:spPr>
            <p:txBody>
              <a:bodyPr rtlCol="0" anchor="ctr"/>
              <a:lstStyle/>
              <a:p>
                <a:endParaRPr lang="en-US" sz="1765"/>
              </a:p>
            </p:txBody>
          </p:sp>
          <p:sp>
            <p:nvSpPr>
              <p:cNvPr id="278" name="Freeform: Shape 277">
                <a:extLst>
                  <a:ext uri="{FF2B5EF4-FFF2-40B4-BE49-F238E27FC236}">
                    <a16:creationId xmlns:a16="http://schemas.microsoft.com/office/drawing/2014/main" id="{A2B472F9-E2E8-4E09-8B0F-6879F573E124}"/>
                  </a:ext>
                </a:extLst>
              </p:cNvPr>
              <p:cNvSpPr/>
              <p:nvPr/>
            </p:nvSpPr>
            <p:spPr>
              <a:xfrm>
                <a:off x="6586291" y="2844579"/>
                <a:ext cx="180297" cy="79324"/>
              </a:xfrm>
              <a:custGeom>
                <a:avLst/>
                <a:gdLst>
                  <a:gd name="connsiteX0" fmla="*/ 5037 w 180297"/>
                  <a:gd name="connsiteY0" fmla="*/ 21222 h 79324"/>
                  <a:gd name="connsiteX1" fmla="*/ 275 w 180297"/>
                  <a:gd name="connsiteY1" fmla="*/ 25032 h 79324"/>
                  <a:gd name="connsiteX2" fmla="*/ 275 w 180297"/>
                  <a:gd name="connsiteY2" fmla="*/ 30747 h 79324"/>
                  <a:gd name="connsiteX3" fmla="*/ 1227 w 180297"/>
                  <a:gd name="connsiteY3" fmla="*/ 32652 h 79324"/>
                  <a:gd name="connsiteX4" fmla="*/ 3132 w 180297"/>
                  <a:gd name="connsiteY4" fmla="*/ 36462 h 79324"/>
                  <a:gd name="connsiteX5" fmla="*/ 9800 w 180297"/>
                  <a:gd name="connsiteY5" fmla="*/ 44082 h 79324"/>
                  <a:gd name="connsiteX6" fmla="*/ 17420 w 180297"/>
                  <a:gd name="connsiteY6" fmla="*/ 45987 h 79324"/>
                  <a:gd name="connsiteX7" fmla="*/ 25992 w 180297"/>
                  <a:gd name="connsiteY7" fmla="*/ 45987 h 79324"/>
                  <a:gd name="connsiteX8" fmla="*/ 37422 w 180297"/>
                  <a:gd name="connsiteY8" fmla="*/ 45987 h 79324"/>
                  <a:gd name="connsiteX9" fmla="*/ 51710 w 180297"/>
                  <a:gd name="connsiteY9" fmla="*/ 47892 h 79324"/>
                  <a:gd name="connsiteX10" fmla="*/ 58377 w 180297"/>
                  <a:gd name="connsiteY10" fmla="*/ 48844 h 79324"/>
                  <a:gd name="connsiteX11" fmla="*/ 61235 w 180297"/>
                  <a:gd name="connsiteY11" fmla="*/ 54559 h 79324"/>
                  <a:gd name="connsiteX12" fmla="*/ 61235 w 180297"/>
                  <a:gd name="connsiteY12" fmla="*/ 62179 h 79324"/>
                  <a:gd name="connsiteX13" fmla="*/ 61235 w 180297"/>
                  <a:gd name="connsiteY13" fmla="*/ 69799 h 79324"/>
                  <a:gd name="connsiteX14" fmla="*/ 64092 w 180297"/>
                  <a:gd name="connsiteY14" fmla="*/ 74562 h 79324"/>
                  <a:gd name="connsiteX15" fmla="*/ 72665 w 180297"/>
                  <a:gd name="connsiteY15" fmla="*/ 76467 h 79324"/>
                  <a:gd name="connsiteX16" fmla="*/ 84095 w 180297"/>
                  <a:gd name="connsiteY16" fmla="*/ 76467 h 79324"/>
                  <a:gd name="connsiteX17" fmla="*/ 97430 w 180297"/>
                  <a:gd name="connsiteY17" fmla="*/ 77419 h 79324"/>
                  <a:gd name="connsiteX18" fmla="*/ 106002 w 180297"/>
                  <a:gd name="connsiteY18" fmla="*/ 79324 h 79324"/>
                  <a:gd name="connsiteX19" fmla="*/ 114575 w 180297"/>
                  <a:gd name="connsiteY19" fmla="*/ 79324 h 79324"/>
                  <a:gd name="connsiteX20" fmla="*/ 124100 w 180297"/>
                  <a:gd name="connsiteY20" fmla="*/ 76467 h 79324"/>
                  <a:gd name="connsiteX21" fmla="*/ 133625 w 180297"/>
                  <a:gd name="connsiteY21" fmla="*/ 73609 h 79324"/>
                  <a:gd name="connsiteX22" fmla="*/ 146960 w 180297"/>
                  <a:gd name="connsiteY22" fmla="*/ 70752 h 79324"/>
                  <a:gd name="connsiteX23" fmla="*/ 150770 w 180297"/>
                  <a:gd name="connsiteY23" fmla="*/ 62179 h 79324"/>
                  <a:gd name="connsiteX24" fmla="*/ 159342 w 180297"/>
                  <a:gd name="connsiteY24" fmla="*/ 61227 h 79324"/>
                  <a:gd name="connsiteX25" fmla="*/ 166963 w 180297"/>
                  <a:gd name="connsiteY25" fmla="*/ 60274 h 79324"/>
                  <a:gd name="connsiteX26" fmla="*/ 172677 w 180297"/>
                  <a:gd name="connsiteY26" fmla="*/ 59322 h 79324"/>
                  <a:gd name="connsiteX27" fmla="*/ 178392 w 180297"/>
                  <a:gd name="connsiteY27" fmla="*/ 55512 h 79324"/>
                  <a:gd name="connsiteX28" fmla="*/ 180297 w 180297"/>
                  <a:gd name="connsiteY28" fmla="*/ 50749 h 79324"/>
                  <a:gd name="connsiteX29" fmla="*/ 180297 w 180297"/>
                  <a:gd name="connsiteY29" fmla="*/ 47892 h 79324"/>
                  <a:gd name="connsiteX30" fmla="*/ 174582 w 180297"/>
                  <a:gd name="connsiteY30" fmla="*/ 45034 h 79324"/>
                  <a:gd name="connsiteX31" fmla="*/ 153627 w 180297"/>
                  <a:gd name="connsiteY31" fmla="*/ 37414 h 79324"/>
                  <a:gd name="connsiteX32" fmla="*/ 146007 w 180297"/>
                  <a:gd name="connsiteY32" fmla="*/ 28842 h 79324"/>
                  <a:gd name="connsiteX33" fmla="*/ 138388 w 180297"/>
                  <a:gd name="connsiteY33" fmla="*/ 25032 h 79324"/>
                  <a:gd name="connsiteX34" fmla="*/ 124100 w 180297"/>
                  <a:gd name="connsiteY34" fmla="*/ 23127 h 79324"/>
                  <a:gd name="connsiteX35" fmla="*/ 110765 w 180297"/>
                  <a:gd name="connsiteY35" fmla="*/ 19317 h 79324"/>
                  <a:gd name="connsiteX36" fmla="*/ 96477 w 180297"/>
                  <a:gd name="connsiteY36" fmla="*/ 9792 h 79324"/>
                  <a:gd name="connsiteX37" fmla="*/ 91715 w 180297"/>
                  <a:gd name="connsiteY37" fmla="*/ 8839 h 79324"/>
                  <a:gd name="connsiteX38" fmla="*/ 85047 w 180297"/>
                  <a:gd name="connsiteY38" fmla="*/ 7887 h 79324"/>
                  <a:gd name="connsiteX39" fmla="*/ 72665 w 180297"/>
                  <a:gd name="connsiteY39" fmla="*/ 5982 h 79324"/>
                  <a:gd name="connsiteX40" fmla="*/ 65045 w 180297"/>
                  <a:gd name="connsiteY40" fmla="*/ 3124 h 79324"/>
                  <a:gd name="connsiteX41" fmla="*/ 58377 w 180297"/>
                  <a:gd name="connsiteY41" fmla="*/ 1219 h 79324"/>
                  <a:gd name="connsiteX42" fmla="*/ 49805 w 180297"/>
                  <a:gd name="connsiteY42" fmla="*/ 267 h 79324"/>
                  <a:gd name="connsiteX43" fmla="*/ 30755 w 180297"/>
                  <a:gd name="connsiteY43" fmla="*/ 4077 h 79324"/>
                  <a:gd name="connsiteX44" fmla="*/ 22182 w 180297"/>
                  <a:gd name="connsiteY44" fmla="*/ 10744 h 79324"/>
                  <a:gd name="connsiteX45" fmla="*/ 16467 w 180297"/>
                  <a:gd name="connsiteY45" fmla="*/ 16459 h 79324"/>
                  <a:gd name="connsiteX46" fmla="*/ 5037 w 180297"/>
                  <a:gd name="connsiteY46" fmla="*/ 21222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0297" h="79324">
                    <a:moveTo>
                      <a:pt x="5037" y="21222"/>
                    </a:moveTo>
                    <a:cubicBezTo>
                      <a:pt x="5037" y="21222"/>
                      <a:pt x="-678" y="22174"/>
                      <a:pt x="275" y="25032"/>
                    </a:cubicBezTo>
                    <a:cubicBezTo>
                      <a:pt x="1227" y="27889"/>
                      <a:pt x="-678" y="28842"/>
                      <a:pt x="275" y="30747"/>
                    </a:cubicBezTo>
                    <a:cubicBezTo>
                      <a:pt x="1227" y="32652"/>
                      <a:pt x="-678" y="28842"/>
                      <a:pt x="1227" y="32652"/>
                    </a:cubicBezTo>
                    <a:cubicBezTo>
                      <a:pt x="3132" y="36462"/>
                      <a:pt x="3132" y="31699"/>
                      <a:pt x="3132" y="36462"/>
                    </a:cubicBezTo>
                    <a:cubicBezTo>
                      <a:pt x="3132" y="41224"/>
                      <a:pt x="5990" y="43129"/>
                      <a:pt x="9800" y="44082"/>
                    </a:cubicBezTo>
                    <a:cubicBezTo>
                      <a:pt x="12657" y="45034"/>
                      <a:pt x="17420" y="45987"/>
                      <a:pt x="17420" y="45987"/>
                    </a:cubicBezTo>
                    <a:cubicBezTo>
                      <a:pt x="17420" y="45987"/>
                      <a:pt x="23135" y="45987"/>
                      <a:pt x="25992" y="45987"/>
                    </a:cubicBezTo>
                    <a:cubicBezTo>
                      <a:pt x="28850" y="45987"/>
                      <a:pt x="37422" y="45987"/>
                      <a:pt x="37422" y="45987"/>
                    </a:cubicBezTo>
                    <a:cubicBezTo>
                      <a:pt x="45042" y="47892"/>
                      <a:pt x="45042" y="46939"/>
                      <a:pt x="51710" y="47892"/>
                    </a:cubicBezTo>
                    <a:cubicBezTo>
                      <a:pt x="58377" y="48844"/>
                      <a:pt x="58377" y="48844"/>
                      <a:pt x="58377" y="48844"/>
                    </a:cubicBezTo>
                    <a:cubicBezTo>
                      <a:pt x="58377" y="48844"/>
                      <a:pt x="60282" y="51702"/>
                      <a:pt x="61235" y="54559"/>
                    </a:cubicBezTo>
                    <a:cubicBezTo>
                      <a:pt x="62187" y="57417"/>
                      <a:pt x="60282" y="58369"/>
                      <a:pt x="61235" y="62179"/>
                    </a:cubicBezTo>
                    <a:cubicBezTo>
                      <a:pt x="62187" y="65989"/>
                      <a:pt x="61235" y="69799"/>
                      <a:pt x="61235" y="69799"/>
                    </a:cubicBezTo>
                    <a:lnTo>
                      <a:pt x="64092" y="74562"/>
                    </a:lnTo>
                    <a:cubicBezTo>
                      <a:pt x="64092" y="74562"/>
                      <a:pt x="69807" y="76467"/>
                      <a:pt x="72665" y="76467"/>
                    </a:cubicBezTo>
                    <a:cubicBezTo>
                      <a:pt x="75522" y="76467"/>
                      <a:pt x="80285" y="76467"/>
                      <a:pt x="84095" y="76467"/>
                    </a:cubicBezTo>
                    <a:cubicBezTo>
                      <a:pt x="86952" y="76467"/>
                      <a:pt x="93620" y="76467"/>
                      <a:pt x="97430" y="77419"/>
                    </a:cubicBezTo>
                    <a:cubicBezTo>
                      <a:pt x="100287" y="78372"/>
                      <a:pt x="103145" y="79324"/>
                      <a:pt x="106002" y="79324"/>
                    </a:cubicBezTo>
                    <a:cubicBezTo>
                      <a:pt x="108860" y="79324"/>
                      <a:pt x="114575" y="79324"/>
                      <a:pt x="114575" y="79324"/>
                    </a:cubicBezTo>
                    <a:lnTo>
                      <a:pt x="124100" y="76467"/>
                    </a:lnTo>
                    <a:cubicBezTo>
                      <a:pt x="124100" y="76467"/>
                      <a:pt x="130767" y="73609"/>
                      <a:pt x="133625" y="73609"/>
                    </a:cubicBezTo>
                    <a:cubicBezTo>
                      <a:pt x="136482" y="73609"/>
                      <a:pt x="146960" y="70752"/>
                      <a:pt x="146960" y="70752"/>
                    </a:cubicBezTo>
                    <a:cubicBezTo>
                      <a:pt x="146960" y="70752"/>
                      <a:pt x="146007" y="62179"/>
                      <a:pt x="150770" y="62179"/>
                    </a:cubicBezTo>
                    <a:cubicBezTo>
                      <a:pt x="155532" y="62179"/>
                      <a:pt x="159342" y="61227"/>
                      <a:pt x="159342" y="61227"/>
                    </a:cubicBezTo>
                    <a:lnTo>
                      <a:pt x="166963" y="60274"/>
                    </a:lnTo>
                    <a:cubicBezTo>
                      <a:pt x="166963" y="60274"/>
                      <a:pt x="168867" y="59322"/>
                      <a:pt x="172677" y="59322"/>
                    </a:cubicBezTo>
                    <a:cubicBezTo>
                      <a:pt x="175535" y="59322"/>
                      <a:pt x="178392" y="55512"/>
                      <a:pt x="178392" y="55512"/>
                    </a:cubicBezTo>
                    <a:lnTo>
                      <a:pt x="180297" y="50749"/>
                    </a:lnTo>
                    <a:lnTo>
                      <a:pt x="180297" y="47892"/>
                    </a:lnTo>
                    <a:cubicBezTo>
                      <a:pt x="180297" y="47892"/>
                      <a:pt x="179345" y="46939"/>
                      <a:pt x="174582" y="45034"/>
                    </a:cubicBezTo>
                    <a:cubicBezTo>
                      <a:pt x="169820" y="43129"/>
                      <a:pt x="153627" y="37414"/>
                      <a:pt x="153627" y="37414"/>
                    </a:cubicBezTo>
                    <a:lnTo>
                      <a:pt x="146007" y="28842"/>
                    </a:lnTo>
                    <a:lnTo>
                      <a:pt x="138388" y="25032"/>
                    </a:lnTo>
                    <a:lnTo>
                      <a:pt x="124100" y="23127"/>
                    </a:lnTo>
                    <a:lnTo>
                      <a:pt x="110765" y="19317"/>
                    </a:lnTo>
                    <a:lnTo>
                      <a:pt x="96477" y="9792"/>
                    </a:lnTo>
                    <a:lnTo>
                      <a:pt x="91715" y="8839"/>
                    </a:lnTo>
                    <a:lnTo>
                      <a:pt x="85047" y="7887"/>
                    </a:lnTo>
                    <a:lnTo>
                      <a:pt x="72665" y="5982"/>
                    </a:lnTo>
                    <a:lnTo>
                      <a:pt x="65045" y="3124"/>
                    </a:lnTo>
                    <a:lnTo>
                      <a:pt x="58377" y="1219"/>
                    </a:lnTo>
                    <a:cubicBezTo>
                      <a:pt x="58377" y="1219"/>
                      <a:pt x="63140" y="-686"/>
                      <a:pt x="49805" y="267"/>
                    </a:cubicBezTo>
                    <a:cubicBezTo>
                      <a:pt x="36470" y="1219"/>
                      <a:pt x="34565" y="2172"/>
                      <a:pt x="30755" y="4077"/>
                    </a:cubicBezTo>
                    <a:cubicBezTo>
                      <a:pt x="26945" y="5029"/>
                      <a:pt x="22182" y="6934"/>
                      <a:pt x="22182" y="10744"/>
                    </a:cubicBezTo>
                    <a:cubicBezTo>
                      <a:pt x="22182" y="14554"/>
                      <a:pt x="16467" y="16459"/>
                      <a:pt x="16467" y="16459"/>
                    </a:cubicBezTo>
                    <a:lnTo>
                      <a:pt x="5037" y="21222"/>
                    </a:lnTo>
                    <a:close/>
                  </a:path>
                </a:pathLst>
              </a:custGeom>
              <a:grpFill/>
              <a:ln w="9525" cap="flat">
                <a:noFill/>
                <a:prstDash val="solid"/>
                <a:miter/>
              </a:ln>
            </p:spPr>
            <p:txBody>
              <a:bodyPr rtlCol="0" anchor="ctr"/>
              <a:lstStyle/>
              <a:p>
                <a:endParaRPr lang="en-US" sz="1765"/>
              </a:p>
            </p:txBody>
          </p:sp>
          <p:sp>
            <p:nvSpPr>
              <p:cNvPr id="279" name="Freeform: Shape 278">
                <a:extLst>
                  <a:ext uri="{FF2B5EF4-FFF2-40B4-BE49-F238E27FC236}">
                    <a16:creationId xmlns:a16="http://schemas.microsoft.com/office/drawing/2014/main" id="{5C36D80B-ACC8-41B8-9002-70759359E088}"/>
                  </a:ext>
                </a:extLst>
              </p:cNvPr>
              <p:cNvSpPr/>
              <p:nvPr/>
            </p:nvSpPr>
            <p:spPr>
              <a:xfrm>
                <a:off x="6688484" y="2797750"/>
                <a:ext cx="501014" cy="170920"/>
              </a:xfrm>
              <a:custGeom>
                <a:avLst/>
                <a:gdLst>
                  <a:gd name="connsiteX0" fmla="*/ 0 w 501014"/>
                  <a:gd name="connsiteY0" fmla="*/ 32808 h 170920"/>
                  <a:gd name="connsiteX1" fmla="*/ 3810 w 501014"/>
                  <a:gd name="connsiteY1" fmla="*/ 40428 h 170920"/>
                  <a:gd name="connsiteX2" fmla="*/ 16192 w 501014"/>
                  <a:gd name="connsiteY2" fmla="*/ 48048 h 170920"/>
                  <a:gd name="connsiteX3" fmla="*/ 31433 w 501014"/>
                  <a:gd name="connsiteY3" fmla="*/ 49953 h 170920"/>
                  <a:gd name="connsiteX4" fmla="*/ 36195 w 501014"/>
                  <a:gd name="connsiteY4" fmla="*/ 53763 h 170920"/>
                  <a:gd name="connsiteX5" fmla="*/ 44767 w 501014"/>
                  <a:gd name="connsiteY5" fmla="*/ 58526 h 170920"/>
                  <a:gd name="connsiteX6" fmla="*/ 52388 w 501014"/>
                  <a:gd name="connsiteY6" fmla="*/ 60431 h 170920"/>
                  <a:gd name="connsiteX7" fmla="*/ 61913 w 501014"/>
                  <a:gd name="connsiteY7" fmla="*/ 61383 h 170920"/>
                  <a:gd name="connsiteX8" fmla="*/ 83820 w 501014"/>
                  <a:gd name="connsiteY8" fmla="*/ 62336 h 170920"/>
                  <a:gd name="connsiteX9" fmla="*/ 99060 w 501014"/>
                  <a:gd name="connsiteY9" fmla="*/ 63288 h 170920"/>
                  <a:gd name="connsiteX10" fmla="*/ 112395 w 501014"/>
                  <a:gd name="connsiteY10" fmla="*/ 63288 h 170920"/>
                  <a:gd name="connsiteX11" fmla="*/ 132397 w 501014"/>
                  <a:gd name="connsiteY11" fmla="*/ 63288 h 170920"/>
                  <a:gd name="connsiteX12" fmla="*/ 141922 w 501014"/>
                  <a:gd name="connsiteY12" fmla="*/ 62336 h 170920"/>
                  <a:gd name="connsiteX13" fmla="*/ 155258 w 501014"/>
                  <a:gd name="connsiteY13" fmla="*/ 62336 h 170920"/>
                  <a:gd name="connsiteX14" fmla="*/ 163830 w 501014"/>
                  <a:gd name="connsiteY14" fmla="*/ 62336 h 170920"/>
                  <a:gd name="connsiteX15" fmla="*/ 163830 w 501014"/>
                  <a:gd name="connsiteY15" fmla="*/ 69956 h 170920"/>
                  <a:gd name="connsiteX16" fmla="*/ 153352 w 501014"/>
                  <a:gd name="connsiteY16" fmla="*/ 73766 h 170920"/>
                  <a:gd name="connsiteX17" fmla="*/ 130492 w 501014"/>
                  <a:gd name="connsiteY17" fmla="*/ 76623 h 170920"/>
                  <a:gd name="connsiteX18" fmla="*/ 116205 w 501014"/>
                  <a:gd name="connsiteY18" fmla="*/ 78528 h 170920"/>
                  <a:gd name="connsiteX19" fmla="*/ 104775 w 501014"/>
                  <a:gd name="connsiteY19" fmla="*/ 80433 h 170920"/>
                  <a:gd name="connsiteX20" fmla="*/ 91440 w 501014"/>
                  <a:gd name="connsiteY20" fmla="*/ 85196 h 170920"/>
                  <a:gd name="connsiteX21" fmla="*/ 92392 w 501014"/>
                  <a:gd name="connsiteY21" fmla="*/ 91863 h 170920"/>
                  <a:gd name="connsiteX22" fmla="*/ 100013 w 501014"/>
                  <a:gd name="connsiteY22" fmla="*/ 93768 h 170920"/>
                  <a:gd name="connsiteX23" fmla="*/ 105727 w 501014"/>
                  <a:gd name="connsiteY23" fmla="*/ 93768 h 170920"/>
                  <a:gd name="connsiteX24" fmla="*/ 105727 w 501014"/>
                  <a:gd name="connsiteY24" fmla="*/ 96626 h 170920"/>
                  <a:gd name="connsiteX25" fmla="*/ 104775 w 501014"/>
                  <a:gd name="connsiteY25" fmla="*/ 99483 h 170920"/>
                  <a:gd name="connsiteX26" fmla="*/ 99060 w 501014"/>
                  <a:gd name="connsiteY26" fmla="*/ 109961 h 170920"/>
                  <a:gd name="connsiteX27" fmla="*/ 85725 w 501014"/>
                  <a:gd name="connsiteY27" fmla="*/ 110913 h 170920"/>
                  <a:gd name="connsiteX28" fmla="*/ 85725 w 501014"/>
                  <a:gd name="connsiteY28" fmla="*/ 112818 h 170920"/>
                  <a:gd name="connsiteX29" fmla="*/ 79058 w 501014"/>
                  <a:gd name="connsiteY29" fmla="*/ 117581 h 170920"/>
                  <a:gd name="connsiteX30" fmla="*/ 51435 w 501014"/>
                  <a:gd name="connsiteY30" fmla="*/ 127106 h 170920"/>
                  <a:gd name="connsiteX31" fmla="*/ 51435 w 501014"/>
                  <a:gd name="connsiteY31" fmla="*/ 129963 h 170920"/>
                  <a:gd name="connsiteX32" fmla="*/ 59055 w 501014"/>
                  <a:gd name="connsiteY32" fmla="*/ 138536 h 170920"/>
                  <a:gd name="connsiteX33" fmla="*/ 54292 w 501014"/>
                  <a:gd name="connsiteY33" fmla="*/ 143298 h 170920"/>
                  <a:gd name="connsiteX34" fmla="*/ 29527 w 501014"/>
                  <a:gd name="connsiteY34" fmla="*/ 150918 h 170920"/>
                  <a:gd name="connsiteX35" fmla="*/ 24765 w 501014"/>
                  <a:gd name="connsiteY35" fmla="*/ 153776 h 170920"/>
                  <a:gd name="connsiteX36" fmla="*/ 24765 w 501014"/>
                  <a:gd name="connsiteY36" fmla="*/ 157586 h 170920"/>
                  <a:gd name="connsiteX37" fmla="*/ 38100 w 501014"/>
                  <a:gd name="connsiteY37" fmla="*/ 162348 h 170920"/>
                  <a:gd name="connsiteX38" fmla="*/ 47625 w 501014"/>
                  <a:gd name="connsiteY38" fmla="*/ 162348 h 170920"/>
                  <a:gd name="connsiteX39" fmla="*/ 82867 w 501014"/>
                  <a:gd name="connsiteY39" fmla="*/ 160443 h 170920"/>
                  <a:gd name="connsiteX40" fmla="*/ 92392 w 501014"/>
                  <a:gd name="connsiteY40" fmla="*/ 160443 h 170920"/>
                  <a:gd name="connsiteX41" fmla="*/ 98108 w 501014"/>
                  <a:gd name="connsiteY41" fmla="*/ 165206 h 170920"/>
                  <a:gd name="connsiteX42" fmla="*/ 112395 w 501014"/>
                  <a:gd name="connsiteY42" fmla="*/ 166158 h 170920"/>
                  <a:gd name="connsiteX43" fmla="*/ 127635 w 501014"/>
                  <a:gd name="connsiteY43" fmla="*/ 168063 h 170920"/>
                  <a:gd name="connsiteX44" fmla="*/ 140017 w 501014"/>
                  <a:gd name="connsiteY44" fmla="*/ 169016 h 170920"/>
                  <a:gd name="connsiteX45" fmla="*/ 147638 w 501014"/>
                  <a:gd name="connsiteY45" fmla="*/ 169016 h 170920"/>
                  <a:gd name="connsiteX46" fmla="*/ 159067 w 501014"/>
                  <a:gd name="connsiteY46" fmla="*/ 170921 h 170920"/>
                  <a:gd name="connsiteX47" fmla="*/ 182880 w 501014"/>
                  <a:gd name="connsiteY47" fmla="*/ 169968 h 170920"/>
                  <a:gd name="connsiteX48" fmla="*/ 194310 w 501014"/>
                  <a:gd name="connsiteY48" fmla="*/ 164253 h 170920"/>
                  <a:gd name="connsiteX49" fmla="*/ 200977 w 501014"/>
                  <a:gd name="connsiteY49" fmla="*/ 154728 h 170920"/>
                  <a:gd name="connsiteX50" fmla="*/ 206692 w 501014"/>
                  <a:gd name="connsiteY50" fmla="*/ 148061 h 170920"/>
                  <a:gd name="connsiteX51" fmla="*/ 216217 w 501014"/>
                  <a:gd name="connsiteY51" fmla="*/ 143298 h 170920"/>
                  <a:gd name="connsiteX52" fmla="*/ 224790 w 501014"/>
                  <a:gd name="connsiteY52" fmla="*/ 136631 h 170920"/>
                  <a:gd name="connsiteX53" fmla="*/ 232410 w 501014"/>
                  <a:gd name="connsiteY53" fmla="*/ 127106 h 170920"/>
                  <a:gd name="connsiteX54" fmla="*/ 241935 w 501014"/>
                  <a:gd name="connsiteY54" fmla="*/ 124248 h 170920"/>
                  <a:gd name="connsiteX55" fmla="*/ 253365 w 501014"/>
                  <a:gd name="connsiteY55" fmla="*/ 120438 h 170920"/>
                  <a:gd name="connsiteX56" fmla="*/ 260985 w 501014"/>
                  <a:gd name="connsiteY56" fmla="*/ 116628 h 170920"/>
                  <a:gd name="connsiteX57" fmla="*/ 262890 w 501014"/>
                  <a:gd name="connsiteY57" fmla="*/ 109961 h 170920"/>
                  <a:gd name="connsiteX58" fmla="*/ 268605 w 501014"/>
                  <a:gd name="connsiteY58" fmla="*/ 103293 h 170920"/>
                  <a:gd name="connsiteX59" fmla="*/ 276225 w 501014"/>
                  <a:gd name="connsiteY59" fmla="*/ 100436 h 170920"/>
                  <a:gd name="connsiteX60" fmla="*/ 290513 w 501014"/>
                  <a:gd name="connsiteY60" fmla="*/ 93768 h 170920"/>
                  <a:gd name="connsiteX61" fmla="*/ 310515 w 501014"/>
                  <a:gd name="connsiteY61" fmla="*/ 87101 h 170920"/>
                  <a:gd name="connsiteX62" fmla="*/ 325755 w 501014"/>
                  <a:gd name="connsiteY62" fmla="*/ 79481 h 170920"/>
                  <a:gd name="connsiteX63" fmla="*/ 334327 w 501014"/>
                  <a:gd name="connsiteY63" fmla="*/ 75671 h 170920"/>
                  <a:gd name="connsiteX64" fmla="*/ 351472 w 501014"/>
                  <a:gd name="connsiteY64" fmla="*/ 68051 h 170920"/>
                  <a:gd name="connsiteX65" fmla="*/ 366713 w 501014"/>
                  <a:gd name="connsiteY65" fmla="*/ 64241 h 170920"/>
                  <a:gd name="connsiteX66" fmla="*/ 384810 w 501014"/>
                  <a:gd name="connsiteY66" fmla="*/ 57573 h 170920"/>
                  <a:gd name="connsiteX67" fmla="*/ 397192 w 501014"/>
                  <a:gd name="connsiteY67" fmla="*/ 54716 h 170920"/>
                  <a:gd name="connsiteX68" fmla="*/ 417195 w 501014"/>
                  <a:gd name="connsiteY68" fmla="*/ 49953 h 170920"/>
                  <a:gd name="connsiteX69" fmla="*/ 428625 w 501014"/>
                  <a:gd name="connsiteY69" fmla="*/ 43286 h 170920"/>
                  <a:gd name="connsiteX70" fmla="*/ 435292 w 501014"/>
                  <a:gd name="connsiteY70" fmla="*/ 41381 h 170920"/>
                  <a:gd name="connsiteX71" fmla="*/ 448627 w 501014"/>
                  <a:gd name="connsiteY71" fmla="*/ 38523 h 170920"/>
                  <a:gd name="connsiteX72" fmla="*/ 473392 w 501014"/>
                  <a:gd name="connsiteY72" fmla="*/ 33761 h 170920"/>
                  <a:gd name="connsiteX73" fmla="*/ 478155 w 501014"/>
                  <a:gd name="connsiteY73" fmla="*/ 30903 h 170920"/>
                  <a:gd name="connsiteX74" fmla="*/ 498158 w 501014"/>
                  <a:gd name="connsiteY74" fmla="*/ 28046 h 170920"/>
                  <a:gd name="connsiteX75" fmla="*/ 501015 w 501014"/>
                  <a:gd name="connsiteY75" fmla="*/ 17568 h 170920"/>
                  <a:gd name="connsiteX76" fmla="*/ 499110 w 501014"/>
                  <a:gd name="connsiteY76" fmla="*/ 13758 h 170920"/>
                  <a:gd name="connsiteX77" fmla="*/ 489585 w 501014"/>
                  <a:gd name="connsiteY77" fmla="*/ 11853 h 170920"/>
                  <a:gd name="connsiteX78" fmla="*/ 472440 w 501014"/>
                  <a:gd name="connsiteY78" fmla="*/ 8043 h 170920"/>
                  <a:gd name="connsiteX79" fmla="*/ 456247 w 501014"/>
                  <a:gd name="connsiteY79" fmla="*/ 4233 h 170920"/>
                  <a:gd name="connsiteX80" fmla="*/ 436245 w 501014"/>
                  <a:gd name="connsiteY80" fmla="*/ 2328 h 170920"/>
                  <a:gd name="connsiteX81" fmla="*/ 408622 w 501014"/>
                  <a:gd name="connsiteY81" fmla="*/ 2328 h 170920"/>
                  <a:gd name="connsiteX82" fmla="*/ 388620 w 501014"/>
                  <a:gd name="connsiteY82" fmla="*/ 423 h 170920"/>
                  <a:gd name="connsiteX83" fmla="*/ 372427 w 501014"/>
                  <a:gd name="connsiteY83" fmla="*/ 423 h 170920"/>
                  <a:gd name="connsiteX84" fmla="*/ 345758 w 501014"/>
                  <a:gd name="connsiteY84" fmla="*/ 423 h 170920"/>
                  <a:gd name="connsiteX85" fmla="*/ 302895 w 501014"/>
                  <a:gd name="connsiteY85" fmla="*/ 423 h 170920"/>
                  <a:gd name="connsiteX86" fmla="*/ 273367 w 501014"/>
                  <a:gd name="connsiteY86" fmla="*/ 1376 h 170920"/>
                  <a:gd name="connsiteX87" fmla="*/ 231458 w 501014"/>
                  <a:gd name="connsiteY87" fmla="*/ 4233 h 170920"/>
                  <a:gd name="connsiteX88" fmla="*/ 209550 w 501014"/>
                  <a:gd name="connsiteY88" fmla="*/ 7091 h 170920"/>
                  <a:gd name="connsiteX89" fmla="*/ 188595 w 501014"/>
                  <a:gd name="connsiteY89" fmla="*/ 5186 h 170920"/>
                  <a:gd name="connsiteX90" fmla="*/ 154305 w 501014"/>
                  <a:gd name="connsiteY90" fmla="*/ 5186 h 170920"/>
                  <a:gd name="connsiteX91" fmla="*/ 140017 w 501014"/>
                  <a:gd name="connsiteY91" fmla="*/ 6138 h 170920"/>
                  <a:gd name="connsiteX92" fmla="*/ 121920 w 501014"/>
                  <a:gd name="connsiteY92" fmla="*/ 8996 h 170920"/>
                  <a:gd name="connsiteX93" fmla="*/ 100965 w 501014"/>
                  <a:gd name="connsiteY93" fmla="*/ 10901 h 170920"/>
                  <a:gd name="connsiteX94" fmla="*/ 88583 w 501014"/>
                  <a:gd name="connsiteY94" fmla="*/ 12806 h 170920"/>
                  <a:gd name="connsiteX95" fmla="*/ 69533 w 501014"/>
                  <a:gd name="connsiteY95" fmla="*/ 16616 h 170920"/>
                  <a:gd name="connsiteX96" fmla="*/ 57150 w 501014"/>
                  <a:gd name="connsiteY96" fmla="*/ 17568 h 170920"/>
                  <a:gd name="connsiteX97" fmla="*/ 50483 w 501014"/>
                  <a:gd name="connsiteY97" fmla="*/ 19473 h 170920"/>
                  <a:gd name="connsiteX98" fmla="*/ 40005 w 501014"/>
                  <a:gd name="connsiteY98" fmla="*/ 22331 h 170920"/>
                  <a:gd name="connsiteX99" fmla="*/ 26670 w 501014"/>
                  <a:gd name="connsiteY99" fmla="*/ 25188 h 170920"/>
                  <a:gd name="connsiteX100" fmla="*/ 17145 w 501014"/>
                  <a:gd name="connsiteY100" fmla="*/ 27093 h 170920"/>
                  <a:gd name="connsiteX101" fmla="*/ 0 w 501014"/>
                  <a:gd name="connsiteY101" fmla="*/ 32808 h 1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1014" h="170920">
                    <a:moveTo>
                      <a:pt x="0" y="32808"/>
                    </a:moveTo>
                    <a:cubicBezTo>
                      <a:pt x="0" y="32808"/>
                      <a:pt x="952" y="39476"/>
                      <a:pt x="3810" y="40428"/>
                    </a:cubicBezTo>
                    <a:cubicBezTo>
                      <a:pt x="6667" y="42333"/>
                      <a:pt x="16192" y="48048"/>
                      <a:pt x="16192" y="48048"/>
                    </a:cubicBezTo>
                    <a:lnTo>
                      <a:pt x="31433" y="49953"/>
                    </a:lnTo>
                    <a:cubicBezTo>
                      <a:pt x="31433" y="49953"/>
                      <a:pt x="33338" y="51858"/>
                      <a:pt x="36195" y="53763"/>
                    </a:cubicBezTo>
                    <a:cubicBezTo>
                      <a:pt x="38100" y="55668"/>
                      <a:pt x="44767" y="58526"/>
                      <a:pt x="44767" y="58526"/>
                    </a:cubicBezTo>
                    <a:lnTo>
                      <a:pt x="52388" y="60431"/>
                    </a:lnTo>
                    <a:cubicBezTo>
                      <a:pt x="52388" y="60431"/>
                      <a:pt x="56197" y="60431"/>
                      <a:pt x="61913" y="61383"/>
                    </a:cubicBezTo>
                    <a:cubicBezTo>
                      <a:pt x="68580" y="62336"/>
                      <a:pt x="83820" y="62336"/>
                      <a:pt x="83820" y="62336"/>
                    </a:cubicBezTo>
                    <a:lnTo>
                      <a:pt x="99060" y="63288"/>
                    </a:lnTo>
                    <a:cubicBezTo>
                      <a:pt x="99060" y="63288"/>
                      <a:pt x="106680" y="62336"/>
                      <a:pt x="112395" y="63288"/>
                    </a:cubicBezTo>
                    <a:cubicBezTo>
                      <a:pt x="118110" y="64241"/>
                      <a:pt x="132397" y="63288"/>
                      <a:pt x="132397" y="63288"/>
                    </a:cubicBezTo>
                    <a:cubicBezTo>
                      <a:pt x="132397" y="63288"/>
                      <a:pt x="137160" y="62336"/>
                      <a:pt x="141922" y="62336"/>
                    </a:cubicBezTo>
                    <a:cubicBezTo>
                      <a:pt x="147638" y="63288"/>
                      <a:pt x="155258" y="62336"/>
                      <a:pt x="155258" y="62336"/>
                    </a:cubicBezTo>
                    <a:lnTo>
                      <a:pt x="163830" y="62336"/>
                    </a:lnTo>
                    <a:cubicBezTo>
                      <a:pt x="168592" y="66146"/>
                      <a:pt x="164783" y="68051"/>
                      <a:pt x="163830" y="69956"/>
                    </a:cubicBezTo>
                    <a:cubicBezTo>
                      <a:pt x="162877" y="71861"/>
                      <a:pt x="157163" y="71861"/>
                      <a:pt x="153352" y="73766"/>
                    </a:cubicBezTo>
                    <a:cubicBezTo>
                      <a:pt x="149542" y="75671"/>
                      <a:pt x="145733" y="74718"/>
                      <a:pt x="130492" y="76623"/>
                    </a:cubicBezTo>
                    <a:cubicBezTo>
                      <a:pt x="116205" y="78528"/>
                      <a:pt x="116205" y="78528"/>
                      <a:pt x="116205" y="78528"/>
                    </a:cubicBezTo>
                    <a:cubicBezTo>
                      <a:pt x="116205" y="78528"/>
                      <a:pt x="108585" y="78528"/>
                      <a:pt x="104775" y="80433"/>
                    </a:cubicBezTo>
                    <a:cubicBezTo>
                      <a:pt x="101917" y="82338"/>
                      <a:pt x="90488" y="78528"/>
                      <a:pt x="91440" y="85196"/>
                    </a:cubicBezTo>
                    <a:cubicBezTo>
                      <a:pt x="92392" y="91863"/>
                      <a:pt x="92392" y="91863"/>
                      <a:pt x="92392" y="91863"/>
                    </a:cubicBezTo>
                    <a:lnTo>
                      <a:pt x="100013" y="93768"/>
                    </a:lnTo>
                    <a:lnTo>
                      <a:pt x="105727" y="93768"/>
                    </a:lnTo>
                    <a:cubicBezTo>
                      <a:pt x="105727" y="93768"/>
                      <a:pt x="106680" y="93768"/>
                      <a:pt x="105727" y="96626"/>
                    </a:cubicBezTo>
                    <a:cubicBezTo>
                      <a:pt x="104775" y="99483"/>
                      <a:pt x="104775" y="99483"/>
                      <a:pt x="104775" y="99483"/>
                    </a:cubicBezTo>
                    <a:lnTo>
                      <a:pt x="99060" y="109961"/>
                    </a:lnTo>
                    <a:cubicBezTo>
                      <a:pt x="99060" y="109961"/>
                      <a:pt x="85725" y="109008"/>
                      <a:pt x="85725" y="110913"/>
                    </a:cubicBezTo>
                    <a:cubicBezTo>
                      <a:pt x="85725" y="112818"/>
                      <a:pt x="85725" y="112818"/>
                      <a:pt x="85725" y="112818"/>
                    </a:cubicBezTo>
                    <a:cubicBezTo>
                      <a:pt x="85725" y="112818"/>
                      <a:pt x="79058" y="114723"/>
                      <a:pt x="79058" y="117581"/>
                    </a:cubicBezTo>
                    <a:cubicBezTo>
                      <a:pt x="79058" y="120438"/>
                      <a:pt x="51435" y="124248"/>
                      <a:pt x="51435" y="127106"/>
                    </a:cubicBezTo>
                    <a:cubicBezTo>
                      <a:pt x="51435" y="129963"/>
                      <a:pt x="51435" y="129963"/>
                      <a:pt x="51435" y="129963"/>
                    </a:cubicBezTo>
                    <a:cubicBezTo>
                      <a:pt x="51435" y="129963"/>
                      <a:pt x="55245" y="136631"/>
                      <a:pt x="59055" y="138536"/>
                    </a:cubicBezTo>
                    <a:cubicBezTo>
                      <a:pt x="61913" y="140441"/>
                      <a:pt x="54292" y="143298"/>
                      <a:pt x="54292" y="143298"/>
                    </a:cubicBezTo>
                    <a:lnTo>
                      <a:pt x="29527" y="150918"/>
                    </a:lnTo>
                    <a:lnTo>
                      <a:pt x="24765" y="153776"/>
                    </a:lnTo>
                    <a:cubicBezTo>
                      <a:pt x="24765" y="153776"/>
                      <a:pt x="21908" y="153776"/>
                      <a:pt x="24765" y="157586"/>
                    </a:cubicBezTo>
                    <a:cubicBezTo>
                      <a:pt x="27622" y="161396"/>
                      <a:pt x="38100" y="162348"/>
                      <a:pt x="38100" y="162348"/>
                    </a:cubicBezTo>
                    <a:cubicBezTo>
                      <a:pt x="38100" y="162348"/>
                      <a:pt x="43815" y="161396"/>
                      <a:pt x="47625" y="162348"/>
                    </a:cubicBezTo>
                    <a:cubicBezTo>
                      <a:pt x="52388" y="163301"/>
                      <a:pt x="82867" y="160443"/>
                      <a:pt x="82867" y="160443"/>
                    </a:cubicBezTo>
                    <a:cubicBezTo>
                      <a:pt x="82867" y="160443"/>
                      <a:pt x="93345" y="157586"/>
                      <a:pt x="92392" y="160443"/>
                    </a:cubicBezTo>
                    <a:cubicBezTo>
                      <a:pt x="92392" y="163301"/>
                      <a:pt x="94297" y="165206"/>
                      <a:pt x="98108" y="165206"/>
                    </a:cubicBezTo>
                    <a:cubicBezTo>
                      <a:pt x="100965" y="165206"/>
                      <a:pt x="106680" y="164253"/>
                      <a:pt x="112395" y="166158"/>
                    </a:cubicBezTo>
                    <a:cubicBezTo>
                      <a:pt x="118110" y="168063"/>
                      <a:pt x="127635" y="168063"/>
                      <a:pt x="127635" y="168063"/>
                    </a:cubicBezTo>
                    <a:lnTo>
                      <a:pt x="140017" y="169016"/>
                    </a:lnTo>
                    <a:cubicBezTo>
                      <a:pt x="140017" y="169016"/>
                      <a:pt x="144780" y="168063"/>
                      <a:pt x="147638" y="169016"/>
                    </a:cubicBezTo>
                    <a:cubicBezTo>
                      <a:pt x="150495" y="170921"/>
                      <a:pt x="155258" y="170921"/>
                      <a:pt x="159067" y="170921"/>
                    </a:cubicBezTo>
                    <a:cubicBezTo>
                      <a:pt x="161925" y="170921"/>
                      <a:pt x="173355" y="169968"/>
                      <a:pt x="182880" y="169968"/>
                    </a:cubicBezTo>
                    <a:cubicBezTo>
                      <a:pt x="192405" y="169016"/>
                      <a:pt x="190500" y="166158"/>
                      <a:pt x="194310" y="164253"/>
                    </a:cubicBezTo>
                    <a:cubicBezTo>
                      <a:pt x="197167" y="163301"/>
                      <a:pt x="200977" y="154728"/>
                      <a:pt x="200977" y="154728"/>
                    </a:cubicBezTo>
                    <a:cubicBezTo>
                      <a:pt x="200977" y="154728"/>
                      <a:pt x="202883" y="149966"/>
                      <a:pt x="206692" y="148061"/>
                    </a:cubicBezTo>
                    <a:cubicBezTo>
                      <a:pt x="209550" y="147108"/>
                      <a:pt x="213360" y="144251"/>
                      <a:pt x="216217" y="143298"/>
                    </a:cubicBezTo>
                    <a:cubicBezTo>
                      <a:pt x="219075" y="142346"/>
                      <a:pt x="220980" y="138536"/>
                      <a:pt x="224790" y="136631"/>
                    </a:cubicBezTo>
                    <a:cubicBezTo>
                      <a:pt x="229552" y="135678"/>
                      <a:pt x="229552" y="128058"/>
                      <a:pt x="232410" y="127106"/>
                    </a:cubicBezTo>
                    <a:cubicBezTo>
                      <a:pt x="235267" y="126153"/>
                      <a:pt x="238125" y="124248"/>
                      <a:pt x="241935" y="124248"/>
                    </a:cubicBezTo>
                    <a:cubicBezTo>
                      <a:pt x="246697" y="124248"/>
                      <a:pt x="253365" y="120438"/>
                      <a:pt x="253365" y="120438"/>
                    </a:cubicBezTo>
                    <a:lnTo>
                      <a:pt x="260985" y="116628"/>
                    </a:lnTo>
                    <a:lnTo>
                      <a:pt x="262890" y="109961"/>
                    </a:lnTo>
                    <a:cubicBezTo>
                      <a:pt x="262890" y="109961"/>
                      <a:pt x="262890" y="103293"/>
                      <a:pt x="268605" y="103293"/>
                    </a:cubicBezTo>
                    <a:cubicBezTo>
                      <a:pt x="274320" y="103293"/>
                      <a:pt x="271463" y="101388"/>
                      <a:pt x="276225" y="100436"/>
                    </a:cubicBezTo>
                    <a:cubicBezTo>
                      <a:pt x="280988" y="99483"/>
                      <a:pt x="290513" y="93768"/>
                      <a:pt x="290513" y="93768"/>
                    </a:cubicBezTo>
                    <a:lnTo>
                      <a:pt x="310515" y="87101"/>
                    </a:lnTo>
                    <a:lnTo>
                      <a:pt x="325755" y="79481"/>
                    </a:lnTo>
                    <a:lnTo>
                      <a:pt x="334327" y="75671"/>
                    </a:lnTo>
                    <a:cubicBezTo>
                      <a:pt x="334327" y="75671"/>
                      <a:pt x="346710" y="68051"/>
                      <a:pt x="351472" y="68051"/>
                    </a:cubicBezTo>
                    <a:cubicBezTo>
                      <a:pt x="356235" y="68051"/>
                      <a:pt x="362902" y="64241"/>
                      <a:pt x="366713" y="64241"/>
                    </a:cubicBezTo>
                    <a:cubicBezTo>
                      <a:pt x="371475" y="64241"/>
                      <a:pt x="384810" y="57573"/>
                      <a:pt x="384810" y="57573"/>
                    </a:cubicBezTo>
                    <a:cubicBezTo>
                      <a:pt x="384810" y="57573"/>
                      <a:pt x="392430" y="56621"/>
                      <a:pt x="397192" y="54716"/>
                    </a:cubicBezTo>
                    <a:cubicBezTo>
                      <a:pt x="401955" y="53763"/>
                      <a:pt x="417195" y="49953"/>
                      <a:pt x="417195" y="49953"/>
                    </a:cubicBezTo>
                    <a:lnTo>
                      <a:pt x="428625" y="43286"/>
                    </a:lnTo>
                    <a:cubicBezTo>
                      <a:pt x="428625" y="43286"/>
                      <a:pt x="430530" y="42333"/>
                      <a:pt x="435292" y="41381"/>
                    </a:cubicBezTo>
                    <a:cubicBezTo>
                      <a:pt x="440055" y="40428"/>
                      <a:pt x="443865" y="39476"/>
                      <a:pt x="448627" y="38523"/>
                    </a:cubicBezTo>
                    <a:cubicBezTo>
                      <a:pt x="453390" y="37571"/>
                      <a:pt x="473392" y="33761"/>
                      <a:pt x="473392" y="33761"/>
                    </a:cubicBezTo>
                    <a:cubicBezTo>
                      <a:pt x="473392" y="33761"/>
                      <a:pt x="458152" y="33761"/>
                      <a:pt x="478155" y="30903"/>
                    </a:cubicBezTo>
                    <a:cubicBezTo>
                      <a:pt x="498158" y="28046"/>
                      <a:pt x="498158" y="28046"/>
                      <a:pt x="498158" y="28046"/>
                    </a:cubicBezTo>
                    <a:lnTo>
                      <a:pt x="501015" y="17568"/>
                    </a:lnTo>
                    <a:lnTo>
                      <a:pt x="499110" y="13758"/>
                    </a:lnTo>
                    <a:lnTo>
                      <a:pt x="489585" y="11853"/>
                    </a:lnTo>
                    <a:lnTo>
                      <a:pt x="472440" y="8043"/>
                    </a:lnTo>
                    <a:lnTo>
                      <a:pt x="456247" y="4233"/>
                    </a:lnTo>
                    <a:cubicBezTo>
                      <a:pt x="456247" y="4233"/>
                      <a:pt x="441960" y="2328"/>
                      <a:pt x="436245" y="2328"/>
                    </a:cubicBezTo>
                    <a:cubicBezTo>
                      <a:pt x="430530" y="2328"/>
                      <a:pt x="408622" y="2328"/>
                      <a:pt x="408622" y="2328"/>
                    </a:cubicBezTo>
                    <a:cubicBezTo>
                      <a:pt x="408622" y="2328"/>
                      <a:pt x="393383" y="423"/>
                      <a:pt x="388620" y="423"/>
                    </a:cubicBezTo>
                    <a:cubicBezTo>
                      <a:pt x="383858" y="423"/>
                      <a:pt x="375285" y="423"/>
                      <a:pt x="372427" y="423"/>
                    </a:cubicBezTo>
                    <a:cubicBezTo>
                      <a:pt x="369570" y="423"/>
                      <a:pt x="345758" y="423"/>
                      <a:pt x="345758" y="423"/>
                    </a:cubicBezTo>
                    <a:cubicBezTo>
                      <a:pt x="345758" y="423"/>
                      <a:pt x="308610" y="-529"/>
                      <a:pt x="302895" y="423"/>
                    </a:cubicBezTo>
                    <a:cubicBezTo>
                      <a:pt x="297180" y="1376"/>
                      <a:pt x="281940" y="423"/>
                      <a:pt x="273367" y="1376"/>
                    </a:cubicBezTo>
                    <a:cubicBezTo>
                      <a:pt x="264795" y="2328"/>
                      <a:pt x="231458" y="4233"/>
                      <a:pt x="231458" y="4233"/>
                    </a:cubicBezTo>
                    <a:lnTo>
                      <a:pt x="209550" y="7091"/>
                    </a:lnTo>
                    <a:cubicBezTo>
                      <a:pt x="209550" y="7091"/>
                      <a:pt x="194310" y="5186"/>
                      <a:pt x="188595" y="5186"/>
                    </a:cubicBezTo>
                    <a:cubicBezTo>
                      <a:pt x="182880" y="8043"/>
                      <a:pt x="154305" y="5186"/>
                      <a:pt x="154305" y="5186"/>
                    </a:cubicBezTo>
                    <a:lnTo>
                      <a:pt x="140017" y="6138"/>
                    </a:lnTo>
                    <a:cubicBezTo>
                      <a:pt x="140017" y="6138"/>
                      <a:pt x="125730" y="7091"/>
                      <a:pt x="121920" y="8996"/>
                    </a:cubicBezTo>
                    <a:cubicBezTo>
                      <a:pt x="118110" y="9948"/>
                      <a:pt x="100965" y="10901"/>
                      <a:pt x="100965" y="10901"/>
                    </a:cubicBezTo>
                    <a:lnTo>
                      <a:pt x="88583" y="12806"/>
                    </a:lnTo>
                    <a:cubicBezTo>
                      <a:pt x="88583" y="12806"/>
                      <a:pt x="73342" y="16616"/>
                      <a:pt x="69533" y="16616"/>
                    </a:cubicBezTo>
                    <a:cubicBezTo>
                      <a:pt x="66675" y="17568"/>
                      <a:pt x="57150" y="17568"/>
                      <a:pt x="57150" y="17568"/>
                    </a:cubicBezTo>
                    <a:lnTo>
                      <a:pt x="50483" y="19473"/>
                    </a:lnTo>
                    <a:lnTo>
                      <a:pt x="40005" y="22331"/>
                    </a:lnTo>
                    <a:lnTo>
                      <a:pt x="26670" y="25188"/>
                    </a:lnTo>
                    <a:lnTo>
                      <a:pt x="17145" y="27093"/>
                    </a:lnTo>
                    <a:lnTo>
                      <a:pt x="0" y="32808"/>
                    </a:lnTo>
                    <a:close/>
                  </a:path>
                </a:pathLst>
              </a:custGeom>
              <a:grpFill/>
              <a:ln w="9525" cap="flat">
                <a:noFill/>
                <a:prstDash val="solid"/>
                <a:miter/>
              </a:ln>
            </p:spPr>
            <p:txBody>
              <a:bodyPr rtlCol="0" anchor="ctr"/>
              <a:lstStyle/>
              <a:p>
                <a:endParaRPr lang="en-US" sz="1765"/>
              </a:p>
            </p:txBody>
          </p:sp>
          <p:sp>
            <p:nvSpPr>
              <p:cNvPr id="280" name="Freeform: Shape 279">
                <a:extLst>
                  <a:ext uri="{FF2B5EF4-FFF2-40B4-BE49-F238E27FC236}">
                    <a16:creationId xmlns:a16="http://schemas.microsoft.com/office/drawing/2014/main" id="{BD448358-8342-421A-9A3E-56854B879755}"/>
                  </a:ext>
                </a:extLst>
              </p:cNvPr>
              <p:cNvSpPr/>
              <p:nvPr/>
            </p:nvSpPr>
            <p:spPr>
              <a:xfrm>
                <a:off x="6865648" y="3021232"/>
                <a:ext cx="48577" cy="18876"/>
              </a:xfrm>
              <a:custGeom>
                <a:avLst/>
                <a:gdLst>
                  <a:gd name="connsiteX0" fmla="*/ 39053 w 48577"/>
                  <a:gd name="connsiteY0" fmla="*/ 16971 h 18876"/>
                  <a:gd name="connsiteX1" fmla="*/ 36195 w 48577"/>
                  <a:gd name="connsiteY1" fmla="*/ 16971 h 18876"/>
                  <a:gd name="connsiteX2" fmla="*/ 24765 w 48577"/>
                  <a:gd name="connsiteY2" fmla="*/ 16971 h 18876"/>
                  <a:gd name="connsiteX3" fmla="*/ 21908 w 48577"/>
                  <a:gd name="connsiteY3" fmla="*/ 16971 h 18876"/>
                  <a:gd name="connsiteX4" fmla="*/ 15240 w 48577"/>
                  <a:gd name="connsiteY4" fmla="*/ 15066 h 18876"/>
                  <a:gd name="connsiteX5" fmla="*/ 1905 w 48577"/>
                  <a:gd name="connsiteY5" fmla="*/ 11256 h 18876"/>
                  <a:gd name="connsiteX6" fmla="*/ 0 w 48577"/>
                  <a:gd name="connsiteY6" fmla="*/ 7446 h 18876"/>
                  <a:gd name="connsiteX7" fmla="*/ 0 w 48577"/>
                  <a:gd name="connsiteY7" fmla="*/ 2684 h 18876"/>
                  <a:gd name="connsiteX8" fmla="*/ 2858 w 48577"/>
                  <a:gd name="connsiteY8" fmla="*/ 1731 h 18876"/>
                  <a:gd name="connsiteX9" fmla="*/ 4763 w 48577"/>
                  <a:gd name="connsiteY9" fmla="*/ 1731 h 18876"/>
                  <a:gd name="connsiteX10" fmla="*/ 14288 w 48577"/>
                  <a:gd name="connsiteY10" fmla="*/ 779 h 18876"/>
                  <a:gd name="connsiteX11" fmla="*/ 16193 w 48577"/>
                  <a:gd name="connsiteY11" fmla="*/ 1731 h 18876"/>
                  <a:gd name="connsiteX12" fmla="*/ 22860 w 48577"/>
                  <a:gd name="connsiteY12" fmla="*/ 5541 h 18876"/>
                  <a:gd name="connsiteX13" fmla="*/ 39053 w 48577"/>
                  <a:gd name="connsiteY13" fmla="*/ 7446 h 18876"/>
                  <a:gd name="connsiteX14" fmla="*/ 42863 w 48577"/>
                  <a:gd name="connsiteY14" fmla="*/ 8399 h 18876"/>
                  <a:gd name="connsiteX15" fmla="*/ 44768 w 48577"/>
                  <a:gd name="connsiteY15" fmla="*/ 9351 h 18876"/>
                  <a:gd name="connsiteX16" fmla="*/ 46673 w 48577"/>
                  <a:gd name="connsiteY16" fmla="*/ 12209 h 18876"/>
                  <a:gd name="connsiteX17" fmla="*/ 48578 w 48577"/>
                  <a:gd name="connsiteY17" fmla="*/ 14114 h 18876"/>
                  <a:gd name="connsiteX18" fmla="*/ 45720 w 48577"/>
                  <a:gd name="connsiteY18" fmla="*/ 17924 h 18876"/>
                  <a:gd name="connsiteX19" fmla="*/ 40958 w 48577"/>
                  <a:gd name="connsiteY19" fmla="*/ 18876 h 18876"/>
                  <a:gd name="connsiteX20" fmla="*/ 39053 w 48577"/>
                  <a:gd name="connsiteY20" fmla="*/ 16971 h 1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77" h="18876">
                    <a:moveTo>
                      <a:pt x="39053" y="16971"/>
                    </a:moveTo>
                    <a:lnTo>
                      <a:pt x="36195" y="16971"/>
                    </a:lnTo>
                    <a:lnTo>
                      <a:pt x="24765" y="16971"/>
                    </a:lnTo>
                    <a:lnTo>
                      <a:pt x="21908" y="16971"/>
                    </a:lnTo>
                    <a:lnTo>
                      <a:pt x="15240" y="15066"/>
                    </a:lnTo>
                    <a:lnTo>
                      <a:pt x="1905" y="11256"/>
                    </a:lnTo>
                    <a:cubicBezTo>
                      <a:pt x="1905" y="11256"/>
                      <a:pt x="0" y="9351"/>
                      <a:pt x="0" y="7446"/>
                    </a:cubicBezTo>
                    <a:cubicBezTo>
                      <a:pt x="0" y="5541"/>
                      <a:pt x="0" y="2684"/>
                      <a:pt x="0" y="2684"/>
                    </a:cubicBezTo>
                    <a:cubicBezTo>
                      <a:pt x="0" y="2684"/>
                      <a:pt x="953" y="1731"/>
                      <a:pt x="2858" y="1731"/>
                    </a:cubicBezTo>
                    <a:cubicBezTo>
                      <a:pt x="4763" y="1731"/>
                      <a:pt x="953" y="1731"/>
                      <a:pt x="4763" y="1731"/>
                    </a:cubicBezTo>
                    <a:cubicBezTo>
                      <a:pt x="9525" y="1731"/>
                      <a:pt x="12383" y="779"/>
                      <a:pt x="14288" y="779"/>
                    </a:cubicBezTo>
                    <a:cubicBezTo>
                      <a:pt x="16193" y="1731"/>
                      <a:pt x="9525" y="-2079"/>
                      <a:pt x="16193" y="1731"/>
                    </a:cubicBezTo>
                    <a:cubicBezTo>
                      <a:pt x="22860" y="5541"/>
                      <a:pt x="18098" y="3636"/>
                      <a:pt x="22860" y="5541"/>
                    </a:cubicBezTo>
                    <a:cubicBezTo>
                      <a:pt x="27623" y="6494"/>
                      <a:pt x="39053" y="7446"/>
                      <a:pt x="39053" y="7446"/>
                    </a:cubicBezTo>
                    <a:cubicBezTo>
                      <a:pt x="39053" y="7446"/>
                      <a:pt x="40958" y="7446"/>
                      <a:pt x="42863" y="8399"/>
                    </a:cubicBezTo>
                    <a:cubicBezTo>
                      <a:pt x="44768" y="9351"/>
                      <a:pt x="43815" y="6494"/>
                      <a:pt x="44768" y="9351"/>
                    </a:cubicBezTo>
                    <a:cubicBezTo>
                      <a:pt x="46673" y="12209"/>
                      <a:pt x="43815" y="10304"/>
                      <a:pt x="46673" y="12209"/>
                    </a:cubicBezTo>
                    <a:cubicBezTo>
                      <a:pt x="48578" y="14114"/>
                      <a:pt x="48578" y="12209"/>
                      <a:pt x="48578" y="14114"/>
                    </a:cubicBezTo>
                    <a:cubicBezTo>
                      <a:pt x="48578" y="16019"/>
                      <a:pt x="45720" y="17924"/>
                      <a:pt x="45720" y="17924"/>
                    </a:cubicBezTo>
                    <a:lnTo>
                      <a:pt x="40958" y="18876"/>
                    </a:lnTo>
                    <a:lnTo>
                      <a:pt x="39053" y="16971"/>
                    </a:lnTo>
                    <a:close/>
                  </a:path>
                </a:pathLst>
              </a:custGeom>
              <a:grpFill/>
              <a:ln w="9525" cap="flat">
                <a:noFill/>
                <a:prstDash val="solid"/>
                <a:miter/>
              </a:ln>
            </p:spPr>
            <p:txBody>
              <a:bodyPr rtlCol="0" anchor="ctr"/>
              <a:lstStyle/>
              <a:p>
                <a:endParaRPr lang="en-US" sz="1765"/>
              </a:p>
            </p:txBody>
          </p:sp>
          <p:sp>
            <p:nvSpPr>
              <p:cNvPr id="281" name="Freeform: Shape 280">
                <a:extLst>
                  <a:ext uri="{FF2B5EF4-FFF2-40B4-BE49-F238E27FC236}">
                    <a16:creationId xmlns:a16="http://schemas.microsoft.com/office/drawing/2014/main" id="{1C0FC2D1-E65B-4AF0-B663-7D4B03FB7D0B}"/>
                  </a:ext>
                </a:extLst>
              </p:cNvPr>
              <p:cNvSpPr/>
              <p:nvPr/>
            </p:nvSpPr>
            <p:spPr>
              <a:xfrm>
                <a:off x="7005044" y="2790554"/>
                <a:ext cx="1036941" cy="497205"/>
              </a:xfrm>
              <a:custGeom>
                <a:avLst/>
                <a:gdLst>
                  <a:gd name="connsiteX0" fmla="*/ 75870 w 1036941"/>
                  <a:gd name="connsiteY0" fmla="*/ 120968 h 497205"/>
                  <a:gd name="connsiteX1" fmla="*/ 59677 w 1036941"/>
                  <a:gd name="connsiteY1" fmla="*/ 120968 h 497205"/>
                  <a:gd name="connsiteX2" fmla="*/ 50152 w 1036941"/>
                  <a:gd name="connsiteY2" fmla="*/ 121920 h 497205"/>
                  <a:gd name="connsiteX3" fmla="*/ 33007 w 1036941"/>
                  <a:gd name="connsiteY3" fmla="*/ 121920 h 497205"/>
                  <a:gd name="connsiteX4" fmla="*/ 21577 w 1036941"/>
                  <a:gd name="connsiteY4" fmla="*/ 121920 h 497205"/>
                  <a:gd name="connsiteX5" fmla="*/ 13004 w 1036941"/>
                  <a:gd name="connsiteY5" fmla="*/ 121920 h 497205"/>
                  <a:gd name="connsiteX6" fmla="*/ 9195 w 1036941"/>
                  <a:gd name="connsiteY6" fmla="*/ 121920 h 497205"/>
                  <a:gd name="connsiteX7" fmla="*/ 3479 w 1036941"/>
                  <a:gd name="connsiteY7" fmla="*/ 121920 h 497205"/>
                  <a:gd name="connsiteX8" fmla="*/ 622 w 1036941"/>
                  <a:gd name="connsiteY8" fmla="*/ 128588 h 497205"/>
                  <a:gd name="connsiteX9" fmla="*/ 1575 w 1036941"/>
                  <a:gd name="connsiteY9" fmla="*/ 131445 h 497205"/>
                  <a:gd name="connsiteX10" fmla="*/ 3479 w 1036941"/>
                  <a:gd name="connsiteY10" fmla="*/ 132398 h 497205"/>
                  <a:gd name="connsiteX11" fmla="*/ 8242 w 1036941"/>
                  <a:gd name="connsiteY11" fmla="*/ 136208 h 497205"/>
                  <a:gd name="connsiteX12" fmla="*/ 11100 w 1036941"/>
                  <a:gd name="connsiteY12" fmla="*/ 137160 h 497205"/>
                  <a:gd name="connsiteX13" fmla="*/ 17767 w 1036941"/>
                  <a:gd name="connsiteY13" fmla="*/ 139065 h 497205"/>
                  <a:gd name="connsiteX14" fmla="*/ 29197 w 1036941"/>
                  <a:gd name="connsiteY14" fmla="*/ 141923 h 497205"/>
                  <a:gd name="connsiteX15" fmla="*/ 31102 w 1036941"/>
                  <a:gd name="connsiteY15" fmla="*/ 142875 h 497205"/>
                  <a:gd name="connsiteX16" fmla="*/ 41579 w 1036941"/>
                  <a:gd name="connsiteY16" fmla="*/ 148590 h 497205"/>
                  <a:gd name="connsiteX17" fmla="*/ 45390 w 1036941"/>
                  <a:gd name="connsiteY17" fmla="*/ 150495 h 497205"/>
                  <a:gd name="connsiteX18" fmla="*/ 54915 w 1036941"/>
                  <a:gd name="connsiteY18" fmla="*/ 152400 h 497205"/>
                  <a:gd name="connsiteX19" fmla="*/ 59677 w 1036941"/>
                  <a:gd name="connsiteY19" fmla="*/ 154305 h 497205"/>
                  <a:gd name="connsiteX20" fmla="*/ 63487 w 1036941"/>
                  <a:gd name="connsiteY20" fmla="*/ 157163 h 497205"/>
                  <a:gd name="connsiteX21" fmla="*/ 62535 w 1036941"/>
                  <a:gd name="connsiteY21" fmla="*/ 163830 h 497205"/>
                  <a:gd name="connsiteX22" fmla="*/ 56820 w 1036941"/>
                  <a:gd name="connsiteY22" fmla="*/ 169545 h 497205"/>
                  <a:gd name="connsiteX23" fmla="*/ 52057 w 1036941"/>
                  <a:gd name="connsiteY23" fmla="*/ 176213 h 497205"/>
                  <a:gd name="connsiteX24" fmla="*/ 53010 w 1036941"/>
                  <a:gd name="connsiteY24" fmla="*/ 179070 h 497205"/>
                  <a:gd name="connsiteX25" fmla="*/ 55867 w 1036941"/>
                  <a:gd name="connsiteY25" fmla="*/ 185738 h 497205"/>
                  <a:gd name="connsiteX26" fmla="*/ 60629 w 1036941"/>
                  <a:gd name="connsiteY26" fmla="*/ 188595 h 497205"/>
                  <a:gd name="connsiteX27" fmla="*/ 66345 w 1036941"/>
                  <a:gd name="connsiteY27" fmla="*/ 189548 h 497205"/>
                  <a:gd name="connsiteX28" fmla="*/ 82537 w 1036941"/>
                  <a:gd name="connsiteY28" fmla="*/ 191453 h 497205"/>
                  <a:gd name="connsiteX29" fmla="*/ 88252 w 1036941"/>
                  <a:gd name="connsiteY29" fmla="*/ 192405 h 497205"/>
                  <a:gd name="connsiteX30" fmla="*/ 95872 w 1036941"/>
                  <a:gd name="connsiteY30" fmla="*/ 191453 h 497205"/>
                  <a:gd name="connsiteX31" fmla="*/ 105397 w 1036941"/>
                  <a:gd name="connsiteY31" fmla="*/ 184785 h 497205"/>
                  <a:gd name="connsiteX32" fmla="*/ 110160 w 1036941"/>
                  <a:gd name="connsiteY32" fmla="*/ 182880 h 497205"/>
                  <a:gd name="connsiteX33" fmla="*/ 123495 w 1036941"/>
                  <a:gd name="connsiteY33" fmla="*/ 182880 h 497205"/>
                  <a:gd name="connsiteX34" fmla="*/ 129210 w 1036941"/>
                  <a:gd name="connsiteY34" fmla="*/ 183833 h 497205"/>
                  <a:gd name="connsiteX35" fmla="*/ 146354 w 1036941"/>
                  <a:gd name="connsiteY35" fmla="*/ 184785 h 497205"/>
                  <a:gd name="connsiteX36" fmla="*/ 167310 w 1036941"/>
                  <a:gd name="connsiteY36" fmla="*/ 185738 h 497205"/>
                  <a:gd name="connsiteX37" fmla="*/ 180645 w 1036941"/>
                  <a:gd name="connsiteY37" fmla="*/ 183833 h 497205"/>
                  <a:gd name="connsiteX38" fmla="*/ 184454 w 1036941"/>
                  <a:gd name="connsiteY38" fmla="*/ 185738 h 497205"/>
                  <a:gd name="connsiteX39" fmla="*/ 199695 w 1036941"/>
                  <a:gd name="connsiteY39" fmla="*/ 194310 h 497205"/>
                  <a:gd name="connsiteX40" fmla="*/ 211125 w 1036941"/>
                  <a:gd name="connsiteY40" fmla="*/ 198120 h 497205"/>
                  <a:gd name="connsiteX41" fmla="*/ 224460 w 1036941"/>
                  <a:gd name="connsiteY41" fmla="*/ 201930 h 497205"/>
                  <a:gd name="connsiteX42" fmla="*/ 246367 w 1036941"/>
                  <a:gd name="connsiteY42" fmla="*/ 209550 h 497205"/>
                  <a:gd name="connsiteX43" fmla="*/ 252082 w 1036941"/>
                  <a:gd name="connsiteY43" fmla="*/ 216218 h 497205"/>
                  <a:gd name="connsiteX44" fmla="*/ 253987 w 1036941"/>
                  <a:gd name="connsiteY44" fmla="*/ 219075 h 497205"/>
                  <a:gd name="connsiteX45" fmla="*/ 266370 w 1036941"/>
                  <a:gd name="connsiteY45" fmla="*/ 231458 h 497205"/>
                  <a:gd name="connsiteX46" fmla="*/ 272085 w 1036941"/>
                  <a:gd name="connsiteY46" fmla="*/ 235268 h 497205"/>
                  <a:gd name="connsiteX47" fmla="*/ 277800 w 1036941"/>
                  <a:gd name="connsiteY47" fmla="*/ 239078 h 497205"/>
                  <a:gd name="connsiteX48" fmla="*/ 282562 w 1036941"/>
                  <a:gd name="connsiteY48" fmla="*/ 242888 h 497205"/>
                  <a:gd name="connsiteX49" fmla="*/ 286372 w 1036941"/>
                  <a:gd name="connsiteY49" fmla="*/ 253365 h 497205"/>
                  <a:gd name="connsiteX50" fmla="*/ 287325 w 1036941"/>
                  <a:gd name="connsiteY50" fmla="*/ 258128 h 497205"/>
                  <a:gd name="connsiteX51" fmla="*/ 287325 w 1036941"/>
                  <a:gd name="connsiteY51" fmla="*/ 268605 h 497205"/>
                  <a:gd name="connsiteX52" fmla="*/ 287325 w 1036941"/>
                  <a:gd name="connsiteY52" fmla="*/ 271463 h 497205"/>
                  <a:gd name="connsiteX53" fmla="*/ 287325 w 1036941"/>
                  <a:gd name="connsiteY53" fmla="*/ 276225 h 497205"/>
                  <a:gd name="connsiteX54" fmla="*/ 288277 w 1036941"/>
                  <a:gd name="connsiteY54" fmla="*/ 283845 h 497205"/>
                  <a:gd name="connsiteX55" fmla="*/ 292087 w 1036941"/>
                  <a:gd name="connsiteY55" fmla="*/ 288608 h 497205"/>
                  <a:gd name="connsiteX56" fmla="*/ 297802 w 1036941"/>
                  <a:gd name="connsiteY56" fmla="*/ 292418 h 497205"/>
                  <a:gd name="connsiteX57" fmla="*/ 307327 w 1036941"/>
                  <a:gd name="connsiteY57" fmla="*/ 293370 h 497205"/>
                  <a:gd name="connsiteX58" fmla="*/ 310185 w 1036941"/>
                  <a:gd name="connsiteY58" fmla="*/ 292418 h 497205"/>
                  <a:gd name="connsiteX59" fmla="*/ 312090 w 1036941"/>
                  <a:gd name="connsiteY59" fmla="*/ 290513 h 497205"/>
                  <a:gd name="connsiteX60" fmla="*/ 311137 w 1036941"/>
                  <a:gd name="connsiteY60" fmla="*/ 285750 h 497205"/>
                  <a:gd name="connsiteX61" fmla="*/ 310185 w 1036941"/>
                  <a:gd name="connsiteY61" fmla="*/ 283845 h 497205"/>
                  <a:gd name="connsiteX62" fmla="*/ 311137 w 1036941"/>
                  <a:gd name="connsiteY62" fmla="*/ 280035 h 497205"/>
                  <a:gd name="connsiteX63" fmla="*/ 322567 w 1036941"/>
                  <a:gd name="connsiteY63" fmla="*/ 280035 h 497205"/>
                  <a:gd name="connsiteX64" fmla="*/ 332092 w 1036941"/>
                  <a:gd name="connsiteY64" fmla="*/ 279083 h 497205"/>
                  <a:gd name="connsiteX65" fmla="*/ 336855 w 1036941"/>
                  <a:gd name="connsiteY65" fmla="*/ 279083 h 497205"/>
                  <a:gd name="connsiteX66" fmla="*/ 337807 w 1036941"/>
                  <a:gd name="connsiteY66" fmla="*/ 283845 h 497205"/>
                  <a:gd name="connsiteX67" fmla="*/ 340665 w 1036941"/>
                  <a:gd name="connsiteY67" fmla="*/ 289560 h 497205"/>
                  <a:gd name="connsiteX68" fmla="*/ 350190 w 1036941"/>
                  <a:gd name="connsiteY68" fmla="*/ 292418 h 497205"/>
                  <a:gd name="connsiteX69" fmla="*/ 356857 w 1036941"/>
                  <a:gd name="connsiteY69" fmla="*/ 294323 h 497205"/>
                  <a:gd name="connsiteX70" fmla="*/ 360667 w 1036941"/>
                  <a:gd name="connsiteY70" fmla="*/ 296228 h 497205"/>
                  <a:gd name="connsiteX71" fmla="*/ 361620 w 1036941"/>
                  <a:gd name="connsiteY71" fmla="*/ 298133 h 497205"/>
                  <a:gd name="connsiteX72" fmla="*/ 359715 w 1036941"/>
                  <a:gd name="connsiteY72" fmla="*/ 302895 h 497205"/>
                  <a:gd name="connsiteX73" fmla="*/ 360667 w 1036941"/>
                  <a:gd name="connsiteY73" fmla="*/ 312420 h 497205"/>
                  <a:gd name="connsiteX74" fmla="*/ 361620 w 1036941"/>
                  <a:gd name="connsiteY74" fmla="*/ 317183 h 497205"/>
                  <a:gd name="connsiteX75" fmla="*/ 361620 w 1036941"/>
                  <a:gd name="connsiteY75" fmla="*/ 323850 h 497205"/>
                  <a:gd name="connsiteX76" fmla="*/ 360667 w 1036941"/>
                  <a:gd name="connsiteY76" fmla="*/ 327660 h 497205"/>
                  <a:gd name="connsiteX77" fmla="*/ 358762 w 1036941"/>
                  <a:gd name="connsiteY77" fmla="*/ 334328 h 497205"/>
                  <a:gd name="connsiteX78" fmla="*/ 354952 w 1036941"/>
                  <a:gd name="connsiteY78" fmla="*/ 342900 h 497205"/>
                  <a:gd name="connsiteX79" fmla="*/ 351142 w 1036941"/>
                  <a:gd name="connsiteY79" fmla="*/ 347663 h 497205"/>
                  <a:gd name="connsiteX80" fmla="*/ 339712 w 1036941"/>
                  <a:gd name="connsiteY80" fmla="*/ 354330 h 497205"/>
                  <a:gd name="connsiteX81" fmla="*/ 333045 w 1036941"/>
                  <a:gd name="connsiteY81" fmla="*/ 358140 h 497205"/>
                  <a:gd name="connsiteX82" fmla="*/ 326377 w 1036941"/>
                  <a:gd name="connsiteY82" fmla="*/ 360998 h 497205"/>
                  <a:gd name="connsiteX83" fmla="*/ 321615 w 1036941"/>
                  <a:gd name="connsiteY83" fmla="*/ 363855 h 497205"/>
                  <a:gd name="connsiteX84" fmla="*/ 320662 w 1036941"/>
                  <a:gd name="connsiteY84" fmla="*/ 373380 h 497205"/>
                  <a:gd name="connsiteX85" fmla="*/ 318757 w 1036941"/>
                  <a:gd name="connsiteY85" fmla="*/ 375285 h 497205"/>
                  <a:gd name="connsiteX86" fmla="*/ 316852 w 1036941"/>
                  <a:gd name="connsiteY86" fmla="*/ 381000 h 497205"/>
                  <a:gd name="connsiteX87" fmla="*/ 316852 w 1036941"/>
                  <a:gd name="connsiteY87" fmla="*/ 392430 h 497205"/>
                  <a:gd name="connsiteX88" fmla="*/ 324472 w 1036941"/>
                  <a:gd name="connsiteY88" fmla="*/ 401003 h 497205"/>
                  <a:gd name="connsiteX89" fmla="*/ 325425 w 1036941"/>
                  <a:gd name="connsiteY89" fmla="*/ 403860 h 497205"/>
                  <a:gd name="connsiteX90" fmla="*/ 329235 w 1036941"/>
                  <a:gd name="connsiteY90" fmla="*/ 407670 h 497205"/>
                  <a:gd name="connsiteX91" fmla="*/ 342570 w 1036941"/>
                  <a:gd name="connsiteY91" fmla="*/ 420053 h 497205"/>
                  <a:gd name="connsiteX92" fmla="*/ 354000 w 1036941"/>
                  <a:gd name="connsiteY92" fmla="*/ 427673 h 497205"/>
                  <a:gd name="connsiteX93" fmla="*/ 358762 w 1036941"/>
                  <a:gd name="connsiteY93" fmla="*/ 437198 h 497205"/>
                  <a:gd name="connsiteX94" fmla="*/ 364477 w 1036941"/>
                  <a:gd name="connsiteY94" fmla="*/ 445770 h 497205"/>
                  <a:gd name="connsiteX95" fmla="*/ 372097 w 1036941"/>
                  <a:gd name="connsiteY95" fmla="*/ 451485 h 497205"/>
                  <a:gd name="connsiteX96" fmla="*/ 381622 w 1036941"/>
                  <a:gd name="connsiteY96" fmla="*/ 457200 h 497205"/>
                  <a:gd name="connsiteX97" fmla="*/ 393052 w 1036941"/>
                  <a:gd name="connsiteY97" fmla="*/ 463868 h 497205"/>
                  <a:gd name="connsiteX98" fmla="*/ 398767 w 1036941"/>
                  <a:gd name="connsiteY98" fmla="*/ 472440 h 497205"/>
                  <a:gd name="connsiteX99" fmla="*/ 406387 w 1036941"/>
                  <a:gd name="connsiteY99" fmla="*/ 478155 h 497205"/>
                  <a:gd name="connsiteX100" fmla="*/ 416865 w 1036941"/>
                  <a:gd name="connsiteY100" fmla="*/ 483870 h 497205"/>
                  <a:gd name="connsiteX101" fmla="*/ 420675 w 1036941"/>
                  <a:gd name="connsiteY101" fmla="*/ 485775 h 497205"/>
                  <a:gd name="connsiteX102" fmla="*/ 434010 w 1036941"/>
                  <a:gd name="connsiteY102" fmla="*/ 491490 h 497205"/>
                  <a:gd name="connsiteX103" fmla="*/ 442582 w 1036941"/>
                  <a:gd name="connsiteY103" fmla="*/ 494348 h 497205"/>
                  <a:gd name="connsiteX104" fmla="*/ 448297 w 1036941"/>
                  <a:gd name="connsiteY104" fmla="*/ 496253 h 497205"/>
                  <a:gd name="connsiteX105" fmla="*/ 465442 w 1036941"/>
                  <a:gd name="connsiteY105" fmla="*/ 497205 h 497205"/>
                  <a:gd name="connsiteX106" fmla="*/ 481635 w 1036941"/>
                  <a:gd name="connsiteY106" fmla="*/ 493395 h 497205"/>
                  <a:gd name="connsiteX107" fmla="*/ 489255 w 1036941"/>
                  <a:gd name="connsiteY107" fmla="*/ 492443 h 497205"/>
                  <a:gd name="connsiteX108" fmla="*/ 496875 w 1036941"/>
                  <a:gd name="connsiteY108" fmla="*/ 492443 h 497205"/>
                  <a:gd name="connsiteX109" fmla="*/ 507352 w 1036941"/>
                  <a:gd name="connsiteY109" fmla="*/ 483870 h 497205"/>
                  <a:gd name="connsiteX110" fmla="*/ 512115 w 1036941"/>
                  <a:gd name="connsiteY110" fmla="*/ 474345 h 497205"/>
                  <a:gd name="connsiteX111" fmla="*/ 514020 w 1036941"/>
                  <a:gd name="connsiteY111" fmla="*/ 465773 h 497205"/>
                  <a:gd name="connsiteX112" fmla="*/ 518782 w 1036941"/>
                  <a:gd name="connsiteY112" fmla="*/ 460058 h 497205"/>
                  <a:gd name="connsiteX113" fmla="*/ 522592 w 1036941"/>
                  <a:gd name="connsiteY113" fmla="*/ 451485 h 497205"/>
                  <a:gd name="connsiteX114" fmla="*/ 531165 w 1036941"/>
                  <a:gd name="connsiteY114" fmla="*/ 444818 h 497205"/>
                  <a:gd name="connsiteX115" fmla="*/ 534975 w 1036941"/>
                  <a:gd name="connsiteY115" fmla="*/ 438150 h 497205"/>
                  <a:gd name="connsiteX116" fmla="*/ 540690 w 1036941"/>
                  <a:gd name="connsiteY116" fmla="*/ 430530 h 497205"/>
                  <a:gd name="connsiteX117" fmla="*/ 545452 w 1036941"/>
                  <a:gd name="connsiteY117" fmla="*/ 425768 h 497205"/>
                  <a:gd name="connsiteX118" fmla="*/ 551167 w 1036941"/>
                  <a:gd name="connsiteY118" fmla="*/ 420053 h 497205"/>
                  <a:gd name="connsiteX119" fmla="*/ 554977 w 1036941"/>
                  <a:gd name="connsiteY119" fmla="*/ 412433 h 497205"/>
                  <a:gd name="connsiteX120" fmla="*/ 557835 w 1036941"/>
                  <a:gd name="connsiteY120" fmla="*/ 408623 h 497205"/>
                  <a:gd name="connsiteX121" fmla="*/ 569265 w 1036941"/>
                  <a:gd name="connsiteY121" fmla="*/ 403860 h 497205"/>
                  <a:gd name="connsiteX122" fmla="*/ 583552 w 1036941"/>
                  <a:gd name="connsiteY122" fmla="*/ 401003 h 497205"/>
                  <a:gd name="connsiteX123" fmla="*/ 593077 w 1036941"/>
                  <a:gd name="connsiteY123" fmla="*/ 398145 h 497205"/>
                  <a:gd name="connsiteX124" fmla="*/ 603555 w 1036941"/>
                  <a:gd name="connsiteY124" fmla="*/ 398145 h 497205"/>
                  <a:gd name="connsiteX125" fmla="*/ 618795 w 1036941"/>
                  <a:gd name="connsiteY125" fmla="*/ 397193 h 497205"/>
                  <a:gd name="connsiteX126" fmla="*/ 624510 w 1036941"/>
                  <a:gd name="connsiteY126" fmla="*/ 397193 h 497205"/>
                  <a:gd name="connsiteX127" fmla="*/ 644512 w 1036941"/>
                  <a:gd name="connsiteY127" fmla="*/ 394335 h 497205"/>
                  <a:gd name="connsiteX128" fmla="*/ 653085 w 1036941"/>
                  <a:gd name="connsiteY128" fmla="*/ 391478 h 497205"/>
                  <a:gd name="connsiteX129" fmla="*/ 657847 w 1036941"/>
                  <a:gd name="connsiteY129" fmla="*/ 387668 h 497205"/>
                  <a:gd name="connsiteX130" fmla="*/ 663562 w 1036941"/>
                  <a:gd name="connsiteY130" fmla="*/ 382905 h 497205"/>
                  <a:gd name="connsiteX131" fmla="*/ 669277 w 1036941"/>
                  <a:gd name="connsiteY131" fmla="*/ 376238 h 497205"/>
                  <a:gd name="connsiteX132" fmla="*/ 673087 w 1036941"/>
                  <a:gd name="connsiteY132" fmla="*/ 372428 h 497205"/>
                  <a:gd name="connsiteX133" fmla="*/ 677850 w 1036941"/>
                  <a:gd name="connsiteY133" fmla="*/ 367665 h 497205"/>
                  <a:gd name="connsiteX134" fmla="*/ 683565 w 1036941"/>
                  <a:gd name="connsiteY134" fmla="*/ 362903 h 497205"/>
                  <a:gd name="connsiteX135" fmla="*/ 695947 w 1036941"/>
                  <a:gd name="connsiteY135" fmla="*/ 360998 h 497205"/>
                  <a:gd name="connsiteX136" fmla="*/ 702615 w 1036941"/>
                  <a:gd name="connsiteY136" fmla="*/ 360045 h 497205"/>
                  <a:gd name="connsiteX137" fmla="*/ 706425 w 1036941"/>
                  <a:gd name="connsiteY137" fmla="*/ 360045 h 497205"/>
                  <a:gd name="connsiteX138" fmla="*/ 714045 w 1036941"/>
                  <a:gd name="connsiteY138" fmla="*/ 360045 h 497205"/>
                  <a:gd name="connsiteX139" fmla="*/ 725475 w 1036941"/>
                  <a:gd name="connsiteY139" fmla="*/ 360045 h 497205"/>
                  <a:gd name="connsiteX140" fmla="*/ 739762 w 1036941"/>
                  <a:gd name="connsiteY140" fmla="*/ 356235 h 497205"/>
                  <a:gd name="connsiteX141" fmla="*/ 751192 w 1036941"/>
                  <a:gd name="connsiteY141" fmla="*/ 350520 h 497205"/>
                  <a:gd name="connsiteX142" fmla="*/ 760717 w 1036941"/>
                  <a:gd name="connsiteY142" fmla="*/ 348615 h 497205"/>
                  <a:gd name="connsiteX143" fmla="*/ 771195 w 1036941"/>
                  <a:gd name="connsiteY143" fmla="*/ 348615 h 497205"/>
                  <a:gd name="connsiteX144" fmla="*/ 779767 w 1036941"/>
                  <a:gd name="connsiteY144" fmla="*/ 348615 h 497205"/>
                  <a:gd name="connsiteX145" fmla="*/ 793102 w 1036941"/>
                  <a:gd name="connsiteY145" fmla="*/ 346710 h 497205"/>
                  <a:gd name="connsiteX146" fmla="*/ 813105 w 1036941"/>
                  <a:gd name="connsiteY146" fmla="*/ 345758 h 497205"/>
                  <a:gd name="connsiteX147" fmla="*/ 820725 w 1036941"/>
                  <a:gd name="connsiteY147" fmla="*/ 345758 h 497205"/>
                  <a:gd name="connsiteX148" fmla="*/ 829297 w 1036941"/>
                  <a:gd name="connsiteY148" fmla="*/ 345758 h 497205"/>
                  <a:gd name="connsiteX149" fmla="*/ 844537 w 1036941"/>
                  <a:gd name="connsiteY149" fmla="*/ 340995 h 497205"/>
                  <a:gd name="connsiteX150" fmla="*/ 846442 w 1036941"/>
                  <a:gd name="connsiteY150" fmla="*/ 335280 h 497205"/>
                  <a:gd name="connsiteX151" fmla="*/ 847395 w 1036941"/>
                  <a:gd name="connsiteY151" fmla="*/ 329565 h 497205"/>
                  <a:gd name="connsiteX152" fmla="*/ 847395 w 1036941"/>
                  <a:gd name="connsiteY152" fmla="*/ 327660 h 497205"/>
                  <a:gd name="connsiteX153" fmla="*/ 833107 w 1036941"/>
                  <a:gd name="connsiteY153" fmla="*/ 324803 h 497205"/>
                  <a:gd name="connsiteX154" fmla="*/ 817867 w 1036941"/>
                  <a:gd name="connsiteY154" fmla="*/ 322898 h 497205"/>
                  <a:gd name="connsiteX155" fmla="*/ 810247 w 1036941"/>
                  <a:gd name="connsiteY155" fmla="*/ 320993 h 497205"/>
                  <a:gd name="connsiteX156" fmla="*/ 806437 w 1036941"/>
                  <a:gd name="connsiteY156" fmla="*/ 316230 h 497205"/>
                  <a:gd name="connsiteX157" fmla="*/ 806437 w 1036941"/>
                  <a:gd name="connsiteY157" fmla="*/ 312420 h 497205"/>
                  <a:gd name="connsiteX158" fmla="*/ 816914 w 1036941"/>
                  <a:gd name="connsiteY158" fmla="*/ 312420 h 497205"/>
                  <a:gd name="connsiteX159" fmla="*/ 835964 w 1036941"/>
                  <a:gd name="connsiteY159" fmla="*/ 316230 h 497205"/>
                  <a:gd name="connsiteX160" fmla="*/ 853110 w 1036941"/>
                  <a:gd name="connsiteY160" fmla="*/ 318135 h 497205"/>
                  <a:gd name="connsiteX161" fmla="*/ 865492 w 1036941"/>
                  <a:gd name="connsiteY161" fmla="*/ 318135 h 497205"/>
                  <a:gd name="connsiteX162" fmla="*/ 870255 w 1036941"/>
                  <a:gd name="connsiteY162" fmla="*/ 317183 h 497205"/>
                  <a:gd name="connsiteX163" fmla="*/ 881685 w 1036941"/>
                  <a:gd name="connsiteY163" fmla="*/ 317183 h 497205"/>
                  <a:gd name="connsiteX164" fmla="*/ 886447 w 1036941"/>
                  <a:gd name="connsiteY164" fmla="*/ 316230 h 497205"/>
                  <a:gd name="connsiteX165" fmla="*/ 893114 w 1036941"/>
                  <a:gd name="connsiteY165" fmla="*/ 311468 h 497205"/>
                  <a:gd name="connsiteX166" fmla="*/ 894067 w 1036941"/>
                  <a:gd name="connsiteY166" fmla="*/ 305753 h 497205"/>
                  <a:gd name="connsiteX167" fmla="*/ 890257 w 1036941"/>
                  <a:gd name="connsiteY167" fmla="*/ 302895 h 497205"/>
                  <a:gd name="connsiteX168" fmla="*/ 880732 w 1036941"/>
                  <a:gd name="connsiteY168" fmla="*/ 303848 h 497205"/>
                  <a:gd name="connsiteX169" fmla="*/ 875970 w 1036941"/>
                  <a:gd name="connsiteY169" fmla="*/ 301943 h 497205"/>
                  <a:gd name="connsiteX170" fmla="*/ 873112 w 1036941"/>
                  <a:gd name="connsiteY170" fmla="*/ 294323 h 497205"/>
                  <a:gd name="connsiteX171" fmla="*/ 868350 w 1036941"/>
                  <a:gd name="connsiteY171" fmla="*/ 290513 h 497205"/>
                  <a:gd name="connsiteX172" fmla="*/ 859777 w 1036941"/>
                  <a:gd name="connsiteY172" fmla="*/ 286703 h 497205"/>
                  <a:gd name="connsiteX173" fmla="*/ 859777 w 1036941"/>
                  <a:gd name="connsiteY173" fmla="*/ 281940 h 497205"/>
                  <a:gd name="connsiteX174" fmla="*/ 859777 w 1036941"/>
                  <a:gd name="connsiteY174" fmla="*/ 274320 h 497205"/>
                  <a:gd name="connsiteX175" fmla="*/ 860730 w 1036941"/>
                  <a:gd name="connsiteY175" fmla="*/ 264795 h 497205"/>
                  <a:gd name="connsiteX176" fmla="*/ 863587 w 1036941"/>
                  <a:gd name="connsiteY176" fmla="*/ 254318 h 497205"/>
                  <a:gd name="connsiteX177" fmla="*/ 866445 w 1036941"/>
                  <a:gd name="connsiteY177" fmla="*/ 250508 h 497205"/>
                  <a:gd name="connsiteX178" fmla="*/ 872160 w 1036941"/>
                  <a:gd name="connsiteY178" fmla="*/ 247650 h 497205"/>
                  <a:gd name="connsiteX179" fmla="*/ 880732 w 1036941"/>
                  <a:gd name="connsiteY179" fmla="*/ 241935 h 497205"/>
                  <a:gd name="connsiteX180" fmla="*/ 884542 w 1036941"/>
                  <a:gd name="connsiteY180" fmla="*/ 240983 h 497205"/>
                  <a:gd name="connsiteX181" fmla="*/ 891210 w 1036941"/>
                  <a:gd name="connsiteY181" fmla="*/ 240030 h 497205"/>
                  <a:gd name="connsiteX182" fmla="*/ 901687 w 1036941"/>
                  <a:gd name="connsiteY182" fmla="*/ 237173 h 497205"/>
                  <a:gd name="connsiteX183" fmla="*/ 915975 w 1036941"/>
                  <a:gd name="connsiteY183" fmla="*/ 231458 h 497205"/>
                  <a:gd name="connsiteX184" fmla="*/ 916927 w 1036941"/>
                  <a:gd name="connsiteY184" fmla="*/ 227648 h 497205"/>
                  <a:gd name="connsiteX185" fmla="*/ 917880 w 1036941"/>
                  <a:gd name="connsiteY185" fmla="*/ 220028 h 497205"/>
                  <a:gd name="connsiteX186" fmla="*/ 919785 w 1036941"/>
                  <a:gd name="connsiteY186" fmla="*/ 211455 h 497205"/>
                  <a:gd name="connsiteX187" fmla="*/ 924547 w 1036941"/>
                  <a:gd name="connsiteY187" fmla="*/ 209550 h 497205"/>
                  <a:gd name="connsiteX188" fmla="*/ 927405 w 1036941"/>
                  <a:gd name="connsiteY188" fmla="*/ 200978 h 497205"/>
                  <a:gd name="connsiteX189" fmla="*/ 924547 w 1036941"/>
                  <a:gd name="connsiteY189" fmla="*/ 198120 h 497205"/>
                  <a:gd name="connsiteX190" fmla="*/ 913117 w 1036941"/>
                  <a:gd name="connsiteY190" fmla="*/ 198120 h 497205"/>
                  <a:gd name="connsiteX191" fmla="*/ 905497 w 1036941"/>
                  <a:gd name="connsiteY191" fmla="*/ 198120 h 497205"/>
                  <a:gd name="connsiteX192" fmla="*/ 898830 w 1036941"/>
                  <a:gd name="connsiteY192" fmla="*/ 196215 h 497205"/>
                  <a:gd name="connsiteX193" fmla="*/ 896925 w 1036941"/>
                  <a:gd name="connsiteY193" fmla="*/ 194310 h 497205"/>
                  <a:gd name="connsiteX194" fmla="*/ 894067 w 1036941"/>
                  <a:gd name="connsiteY194" fmla="*/ 191453 h 497205"/>
                  <a:gd name="connsiteX195" fmla="*/ 893114 w 1036941"/>
                  <a:gd name="connsiteY195" fmla="*/ 188595 h 497205"/>
                  <a:gd name="connsiteX196" fmla="*/ 893114 w 1036941"/>
                  <a:gd name="connsiteY196" fmla="*/ 185738 h 497205"/>
                  <a:gd name="connsiteX197" fmla="*/ 900735 w 1036941"/>
                  <a:gd name="connsiteY197" fmla="*/ 184785 h 497205"/>
                  <a:gd name="connsiteX198" fmla="*/ 915022 w 1036941"/>
                  <a:gd name="connsiteY198" fmla="*/ 183833 h 497205"/>
                  <a:gd name="connsiteX199" fmla="*/ 919785 w 1036941"/>
                  <a:gd name="connsiteY199" fmla="*/ 181928 h 497205"/>
                  <a:gd name="connsiteX200" fmla="*/ 922642 w 1036941"/>
                  <a:gd name="connsiteY200" fmla="*/ 176213 h 497205"/>
                  <a:gd name="connsiteX201" fmla="*/ 921689 w 1036941"/>
                  <a:gd name="connsiteY201" fmla="*/ 169545 h 497205"/>
                  <a:gd name="connsiteX202" fmla="*/ 915022 w 1036941"/>
                  <a:gd name="connsiteY202" fmla="*/ 168593 h 497205"/>
                  <a:gd name="connsiteX203" fmla="*/ 909307 w 1036941"/>
                  <a:gd name="connsiteY203" fmla="*/ 166688 h 497205"/>
                  <a:gd name="connsiteX204" fmla="*/ 904545 w 1036941"/>
                  <a:gd name="connsiteY204" fmla="*/ 165735 h 497205"/>
                  <a:gd name="connsiteX205" fmla="*/ 899782 w 1036941"/>
                  <a:gd name="connsiteY205" fmla="*/ 164783 h 497205"/>
                  <a:gd name="connsiteX206" fmla="*/ 893114 w 1036941"/>
                  <a:gd name="connsiteY206" fmla="*/ 160973 h 497205"/>
                  <a:gd name="connsiteX207" fmla="*/ 889305 w 1036941"/>
                  <a:gd name="connsiteY207" fmla="*/ 153353 h 497205"/>
                  <a:gd name="connsiteX208" fmla="*/ 888352 w 1036941"/>
                  <a:gd name="connsiteY208" fmla="*/ 146685 h 497205"/>
                  <a:gd name="connsiteX209" fmla="*/ 903592 w 1036941"/>
                  <a:gd name="connsiteY209" fmla="*/ 137160 h 497205"/>
                  <a:gd name="connsiteX210" fmla="*/ 905497 w 1036941"/>
                  <a:gd name="connsiteY210" fmla="*/ 135255 h 497205"/>
                  <a:gd name="connsiteX211" fmla="*/ 917880 w 1036941"/>
                  <a:gd name="connsiteY211" fmla="*/ 123825 h 497205"/>
                  <a:gd name="connsiteX212" fmla="*/ 925500 w 1036941"/>
                  <a:gd name="connsiteY212" fmla="*/ 120015 h 497205"/>
                  <a:gd name="connsiteX213" fmla="*/ 931214 w 1036941"/>
                  <a:gd name="connsiteY213" fmla="*/ 116205 h 497205"/>
                  <a:gd name="connsiteX214" fmla="*/ 935977 w 1036941"/>
                  <a:gd name="connsiteY214" fmla="*/ 113348 h 497205"/>
                  <a:gd name="connsiteX215" fmla="*/ 939787 w 1036941"/>
                  <a:gd name="connsiteY215" fmla="*/ 112395 h 497205"/>
                  <a:gd name="connsiteX216" fmla="*/ 950264 w 1036941"/>
                  <a:gd name="connsiteY216" fmla="*/ 110490 h 497205"/>
                  <a:gd name="connsiteX217" fmla="*/ 956932 w 1036941"/>
                  <a:gd name="connsiteY217" fmla="*/ 103823 h 497205"/>
                  <a:gd name="connsiteX218" fmla="*/ 962647 w 1036941"/>
                  <a:gd name="connsiteY218" fmla="*/ 99060 h 497205"/>
                  <a:gd name="connsiteX219" fmla="*/ 968362 w 1036941"/>
                  <a:gd name="connsiteY219" fmla="*/ 98108 h 497205"/>
                  <a:gd name="connsiteX220" fmla="*/ 975982 w 1036941"/>
                  <a:gd name="connsiteY220" fmla="*/ 95250 h 497205"/>
                  <a:gd name="connsiteX221" fmla="*/ 983602 w 1036941"/>
                  <a:gd name="connsiteY221" fmla="*/ 90488 h 497205"/>
                  <a:gd name="connsiteX222" fmla="*/ 991222 w 1036941"/>
                  <a:gd name="connsiteY222" fmla="*/ 89535 h 497205"/>
                  <a:gd name="connsiteX223" fmla="*/ 1006462 w 1036941"/>
                  <a:gd name="connsiteY223" fmla="*/ 87630 h 497205"/>
                  <a:gd name="connsiteX224" fmla="*/ 1013130 w 1036941"/>
                  <a:gd name="connsiteY224" fmla="*/ 81915 h 497205"/>
                  <a:gd name="connsiteX225" fmla="*/ 1019797 w 1036941"/>
                  <a:gd name="connsiteY225" fmla="*/ 81915 h 497205"/>
                  <a:gd name="connsiteX226" fmla="*/ 1027417 w 1036941"/>
                  <a:gd name="connsiteY226" fmla="*/ 80010 h 497205"/>
                  <a:gd name="connsiteX227" fmla="*/ 1034085 w 1036941"/>
                  <a:gd name="connsiteY227" fmla="*/ 76200 h 497205"/>
                  <a:gd name="connsiteX228" fmla="*/ 1035989 w 1036941"/>
                  <a:gd name="connsiteY228" fmla="*/ 71438 h 497205"/>
                  <a:gd name="connsiteX229" fmla="*/ 1036942 w 1036941"/>
                  <a:gd name="connsiteY229" fmla="*/ 67628 h 497205"/>
                  <a:gd name="connsiteX230" fmla="*/ 1035989 w 1036941"/>
                  <a:gd name="connsiteY230" fmla="*/ 63818 h 497205"/>
                  <a:gd name="connsiteX231" fmla="*/ 1028370 w 1036941"/>
                  <a:gd name="connsiteY231" fmla="*/ 61913 h 497205"/>
                  <a:gd name="connsiteX232" fmla="*/ 1018845 w 1036941"/>
                  <a:gd name="connsiteY232" fmla="*/ 61913 h 497205"/>
                  <a:gd name="connsiteX233" fmla="*/ 1011225 w 1036941"/>
                  <a:gd name="connsiteY233" fmla="*/ 60960 h 497205"/>
                  <a:gd name="connsiteX234" fmla="*/ 984555 w 1036941"/>
                  <a:gd name="connsiteY234" fmla="*/ 58103 h 497205"/>
                  <a:gd name="connsiteX235" fmla="*/ 975030 w 1036941"/>
                  <a:gd name="connsiteY235" fmla="*/ 58103 h 497205"/>
                  <a:gd name="connsiteX236" fmla="*/ 963600 w 1036941"/>
                  <a:gd name="connsiteY236" fmla="*/ 58103 h 497205"/>
                  <a:gd name="connsiteX237" fmla="*/ 957885 w 1036941"/>
                  <a:gd name="connsiteY237" fmla="*/ 58103 h 497205"/>
                  <a:gd name="connsiteX238" fmla="*/ 950264 w 1036941"/>
                  <a:gd name="connsiteY238" fmla="*/ 60008 h 497205"/>
                  <a:gd name="connsiteX239" fmla="*/ 945502 w 1036941"/>
                  <a:gd name="connsiteY239" fmla="*/ 62865 h 497205"/>
                  <a:gd name="connsiteX240" fmla="*/ 935025 w 1036941"/>
                  <a:gd name="connsiteY240" fmla="*/ 65723 h 497205"/>
                  <a:gd name="connsiteX241" fmla="*/ 930262 w 1036941"/>
                  <a:gd name="connsiteY241" fmla="*/ 68580 h 497205"/>
                  <a:gd name="connsiteX242" fmla="*/ 918832 w 1036941"/>
                  <a:gd name="connsiteY242" fmla="*/ 71438 h 497205"/>
                  <a:gd name="connsiteX243" fmla="*/ 895020 w 1036941"/>
                  <a:gd name="connsiteY243" fmla="*/ 59055 h 497205"/>
                  <a:gd name="connsiteX244" fmla="*/ 890257 w 1036941"/>
                  <a:gd name="connsiteY244" fmla="*/ 59055 h 497205"/>
                  <a:gd name="connsiteX245" fmla="*/ 882637 w 1036941"/>
                  <a:gd name="connsiteY245" fmla="*/ 57150 h 497205"/>
                  <a:gd name="connsiteX246" fmla="*/ 877875 w 1036941"/>
                  <a:gd name="connsiteY246" fmla="*/ 54293 h 497205"/>
                  <a:gd name="connsiteX247" fmla="*/ 874064 w 1036941"/>
                  <a:gd name="connsiteY247" fmla="*/ 52388 h 497205"/>
                  <a:gd name="connsiteX248" fmla="*/ 869302 w 1036941"/>
                  <a:gd name="connsiteY248" fmla="*/ 47625 h 497205"/>
                  <a:gd name="connsiteX249" fmla="*/ 867397 w 1036941"/>
                  <a:gd name="connsiteY249" fmla="*/ 42863 h 497205"/>
                  <a:gd name="connsiteX250" fmla="*/ 861682 w 1036941"/>
                  <a:gd name="connsiteY250" fmla="*/ 35243 h 497205"/>
                  <a:gd name="connsiteX251" fmla="*/ 860730 w 1036941"/>
                  <a:gd name="connsiteY251" fmla="*/ 31433 h 497205"/>
                  <a:gd name="connsiteX252" fmla="*/ 856920 w 1036941"/>
                  <a:gd name="connsiteY252" fmla="*/ 25718 h 497205"/>
                  <a:gd name="connsiteX253" fmla="*/ 855014 w 1036941"/>
                  <a:gd name="connsiteY253" fmla="*/ 22860 h 497205"/>
                  <a:gd name="connsiteX254" fmla="*/ 849300 w 1036941"/>
                  <a:gd name="connsiteY254" fmla="*/ 20955 h 497205"/>
                  <a:gd name="connsiteX255" fmla="*/ 844537 w 1036941"/>
                  <a:gd name="connsiteY255" fmla="*/ 20003 h 497205"/>
                  <a:gd name="connsiteX256" fmla="*/ 839775 w 1036941"/>
                  <a:gd name="connsiteY256" fmla="*/ 20003 h 497205"/>
                  <a:gd name="connsiteX257" fmla="*/ 829297 w 1036941"/>
                  <a:gd name="connsiteY257" fmla="*/ 19050 h 497205"/>
                  <a:gd name="connsiteX258" fmla="*/ 822630 w 1036941"/>
                  <a:gd name="connsiteY258" fmla="*/ 18098 h 497205"/>
                  <a:gd name="connsiteX259" fmla="*/ 815010 w 1036941"/>
                  <a:gd name="connsiteY259" fmla="*/ 18098 h 497205"/>
                  <a:gd name="connsiteX260" fmla="*/ 807389 w 1036941"/>
                  <a:gd name="connsiteY260" fmla="*/ 16193 h 497205"/>
                  <a:gd name="connsiteX261" fmla="*/ 790245 w 1036941"/>
                  <a:gd name="connsiteY261" fmla="*/ 15240 h 497205"/>
                  <a:gd name="connsiteX262" fmla="*/ 787387 w 1036941"/>
                  <a:gd name="connsiteY262" fmla="*/ 13335 h 497205"/>
                  <a:gd name="connsiteX263" fmla="*/ 777862 w 1036941"/>
                  <a:gd name="connsiteY263" fmla="*/ 5715 h 497205"/>
                  <a:gd name="connsiteX264" fmla="*/ 759765 w 1036941"/>
                  <a:gd name="connsiteY264" fmla="*/ 3810 h 497205"/>
                  <a:gd name="connsiteX265" fmla="*/ 744525 w 1036941"/>
                  <a:gd name="connsiteY265" fmla="*/ 3810 h 497205"/>
                  <a:gd name="connsiteX266" fmla="*/ 717855 w 1036941"/>
                  <a:gd name="connsiteY266" fmla="*/ 1905 h 497205"/>
                  <a:gd name="connsiteX267" fmla="*/ 711187 w 1036941"/>
                  <a:gd name="connsiteY267" fmla="*/ 0 h 497205"/>
                  <a:gd name="connsiteX268" fmla="*/ 690232 w 1036941"/>
                  <a:gd name="connsiteY268" fmla="*/ 0 h 497205"/>
                  <a:gd name="connsiteX269" fmla="*/ 679755 w 1036941"/>
                  <a:gd name="connsiteY269" fmla="*/ 1905 h 497205"/>
                  <a:gd name="connsiteX270" fmla="*/ 671182 w 1036941"/>
                  <a:gd name="connsiteY270" fmla="*/ 2858 h 497205"/>
                  <a:gd name="connsiteX271" fmla="*/ 652132 w 1036941"/>
                  <a:gd name="connsiteY271" fmla="*/ 3810 h 497205"/>
                  <a:gd name="connsiteX272" fmla="*/ 641655 w 1036941"/>
                  <a:gd name="connsiteY272" fmla="*/ 3810 h 497205"/>
                  <a:gd name="connsiteX273" fmla="*/ 636892 w 1036941"/>
                  <a:gd name="connsiteY273" fmla="*/ 4763 h 497205"/>
                  <a:gd name="connsiteX274" fmla="*/ 617842 w 1036941"/>
                  <a:gd name="connsiteY274" fmla="*/ 5715 h 497205"/>
                  <a:gd name="connsiteX275" fmla="*/ 611175 w 1036941"/>
                  <a:gd name="connsiteY275" fmla="*/ 7620 h 497205"/>
                  <a:gd name="connsiteX276" fmla="*/ 597840 w 1036941"/>
                  <a:gd name="connsiteY276" fmla="*/ 9525 h 497205"/>
                  <a:gd name="connsiteX277" fmla="*/ 583552 w 1036941"/>
                  <a:gd name="connsiteY277" fmla="*/ 12383 h 497205"/>
                  <a:gd name="connsiteX278" fmla="*/ 575932 w 1036941"/>
                  <a:gd name="connsiteY278" fmla="*/ 12383 h 497205"/>
                  <a:gd name="connsiteX279" fmla="*/ 568312 w 1036941"/>
                  <a:gd name="connsiteY279" fmla="*/ 12383 h 497205"/>
                  <a:gd name="connsiteX280" fmla="*/ 553072 w 1036941"/>
                  <a:gd name="connsiteY280" fmla="*/ 12383 h 497205"/>
                  <a:gd name="connsiteX281" fmla="*/ 542595 w 1036941"/>
                  <a:gd name="connsiteY281" fmla="*/ 12383 h 497205"/>
                  <a:gd name="connsiteX282" fmla="*/ 523545 w 1036941"/>
                  <a:gd name="connsiteY282" fmla="*/ 12383 h 497205"/>
                  <a:gd name="connsiteX283" fmla="*/ 506400 w 1036941"/>
                  <a:gd name="connsiteY283" fmla="*/ 10478 h 497205"/>
                  <a:gd name="connsiteX284" fmla="*/ 489255 w 1036941"/>
                  <a:gd name="connsiteY284" fmla="*/ 8573 h 497205"/>
                  <a:gd name="connsiteX285" fmla="*/ 478777 w 1036941"/>
                  <a:gd name="connsiteY285" fmla="*/ 8573 h 497205"/>
                  <a:gd name="connsiteX286" fmla="*/ 471157 w 1036941"/>
                  <a:gd name="connsiteY286" fmla="*/ 9525 h 497205"/>
                  <a:gd name="connsiteX287" fmla="*/ 456870 w 1036941"/>
                  <a:gd name="connsiteY287" fmla="*/ 11430 h 497205"/>
                  <a:gd name="connsiteX288" fmla="*/ 452107 w 1036941"/>
                  <a:gd name="connsiteY288" fmla="*/ 12383 h 497205"/>
                  <a:gd name="connsiteX289" fmla="*/ 448297 w 1036941"/>
                  <a:gd name="connsiteY289" fmla="*/ 14288 h 497205"/>
                  <a:gd name="connsiteX290" fmla="*/ 447345 w 1036941"/>
                  <a:gd name="connsiteY290" fmla="*/ 18098 h 497205"/>
                  <a:gd name="connsiteX291" fmla="*/ 442582 w 1036941"/>
                  <a:gd name="connsiteY291" fmla="*/ 20955 h 497205"/>
                  <a:gd name="connsiteX292" fmla="*/ 434962 w 1036941"/>
                  <a:gd name="connsiteY292" fmla="*/ 21908 h 497205"/>
                  <a:gd name="connsiteX293" fmla="*/ 425437 w 1036941"/>
                  <a:gd name="connsiteY293" fmla="*/ 26670 h 497205"/>
                  <a:gd name="connsiteX294" fmla="*/ 416865 w 1036941"/>
                  <a:gd name="connsiteY294" fmla="*/ 28575 h 497205"/>
                  <a:gd name="connsiteX295" fmla="*/ 396862 w 1036941"/>
                  <a:gd name="connsiteY295" fmla="*/ 28575 h 497205"/>
                  <a:gd name="connsiteX296" fmla="*/ 392100 w 1036941"/>
                  <a:gd name="connsiteY296" fmla="*/ 27623 h 497205"/>
                  <a:gd name="connsiteX297" fmla="*/ 384480 w 1036941"/>
                  <a:gd name="connsiteY297" fmla="*/ 29528 h 497205"/>
                  <a:gd name="connsiteX298" fmla="*/ 374955 w 1036941"/>
                  <a:gd name="connsiteY298" fmla="*/ 32385 h 497205"/>
                  <a:gd name="connsiteX299" fmla="*/ 365430 w 1036941"/>
                  <a:gd name="connsiteY299" fmla="*/ 36195 h 497205"/>
                  <a:gd name="connsiteX300" fmla="*/ 360667 w 1036941"/>
                  <a:gd name="connsiteY300" fmla="*/ 38100 h 497205"/>
                  <a:gd name="connsiteX301" fmla="*/ 349237 w 1036941"/>
                  <a:gd name="connsiteY301" fmla="*/ 38100 h 497205"/>
                  <a:gd name="connsiteX302" fmla="*/ 338760 w 1036941"/>
                  <a:gd name="connsiteY302" fmla="*/ 36195 h 497205"/>
                  <a:gd name="connsiteX303" fmla="*/ 308280 w 1036941"/>
                  <a:gd name="connsiteY303" fmla="*/ 35243 h 497205"/>
                  <a:gd name="connsiteX304" fmla="*/ 299707 w 1036941"/>
                  <a:gd name="connsiteY304" fmla="*/ 35243 h 497205"/>
                  <a:gd name="connsiteX305" fmla="*/ 291135 w 1036941"/>
                  <a:gd name="connsiteY305" fmla="*/ 35243 h 497205"/>
                  <a:gd name="connsiteX306" fmla="*/ 286372 w 1036941"/>
                  <a:gd name="connsiteY306" fmla="*/ 35243 h 497205"/>
                  <a:gd name="connsiteX307" fmla="*/ 275895 w 1036941"/>
                  <a:gd name="connsiteY307" fmla="*/ 35243 h 497205"/>
                  <a:gd name="connsiteX308" fmla="*/ 263512 w 1036941"/>
                  <a:gd name="connsiteY308" fmla="*/ 35243 h 497205"/>
                  <a:gd name="connsiteX309" fmla="*/ 255892 w 1036941"/>
                  <a:gd name="connsiteY309" fmla="*/ 35243 h 497205"/>
                  <a:gd name="connsiteX310" fmla="*/ 250177 w 1036941"/>
                  <a:gd name="connsiteY310" fmla="*/ 36195 h 497205"/>
                  <a:gd name="connsiteX311" fmla="*/ 240652 w 1036941"/>
                  <a:gd name="connsiteY311" fmla="*/ 39053 h 497205"/>
                  <a:gd name="connsiteX312" fmla="*/ 235890 w 1036941"/>
                  <a:gd name="connsiteY312" fmla="*/ 41910 h 497205"/>
                  <a:gd name="connsiteX313" fmla="*/ 224460 w 1036941"/>
                  <a:gd name="connsiteY313" fmla="*/ 42863 h 497205"/>
                  <a:gd name="connsiteX314" fmla="*/ 219697 w 1036941"/>
                  <a:gd name="connsiteY314" fmla="*/ 42863 h 497205"/>
                  <a:gd name="connsiteX315" fmla="*/ 215887 w 1036941"/>
                  <a:gd name="connsiteY315" fmla="*/ 44768 h 497205"/>
                  <a:gd name="connsiteX316" fmla="*/ 210172 w 1036941"/>
                  <a:gd name="connsiteY316" fmla="*/ 47625 h 497205"/>
                  <a:gd name="connsiteX317" fmla="*/ 201600 w 1036941"/>
                  <a:gd name="connsiteY317" fmla="*/ 49530 h 497205"/>
                  <a:gd name="connsiteX318" fmla="*/ 191122 w 1036941"/>
                  <a:gd name="connsiteY318" fmla="*/ 51435 h 497205"/>
                  <a:gd name="connsiteX319" fmla="*/ 185407 w 1036941"/>
                  <a:gd name="connsiteY319" fmla="*/ 51435 h 497205"/>
                  <a:gd name="connsiteX320" fmla="*/ 182550 w 1036941"/>
                  <a:gd name="connsiteY320" fmla="*/ 51435 h 497205"/>
                  <a:gd name="connsiteX321" fmla="*/ 171120 w 1036941"/>
                  <a:gd name="connsiteY321" fmla="*/ 51435 h 497205"/>
                  <a:gd name="connsiteX322" fmla="*/ 163500 w 1036941"/>
                  <a:gd name="connsiteY322" fmla="*/ 53340 h 497205"/>
                  <a:gd name="connsiteX323" fmla="*/ 158737 w 1036941"/>
                  <a:gd name="connsiteY323" fmla="*/ 56198 h 497205"/>
                  <a:gd name="connsiteX324" fmla="*/ 150165 w 1036941"/>
                  <a:gd name="connsiteY324" fmla="*/ 61913 h 497205"/>
                  <a:gd name="connsiteX325" fmla="*/ 146354 w 1036941"/>
                  <a:gd name="connsiteY325" fmla="*/ 64770 h 497205"/>
                  <a:gd name="connsiteX326" fmla="*/ 134925 w 1036941"/>
                  <a:gd name="connsiteY326" fmla="*/ 67628 h 497205"/>
                  <a:gd name="connsiteX327" fmla="*/ 113970 w 1036941"/>
                  <a:gd name="connsiteY327" fmla="*/ 69533 h 497205"/>
                  <a:gd name="connsiteX328" fmla="*/ 100635 w 1036941"/>
                  <a:gd name="connsiteY328" fmla="*/ 70485 h 497205"/>
                  <a:gd name="connsiteX329" fmla="*/ 92062 w 1036941"/>
                  <a:gd name="connsiteY329" fmla="*/ 71438 h 497205"/>
                  <a:gd name="connsiteX330" fmla="*/ 88252 w 1036941"/>
                  <a:gd name="connsiteY330" fmla="*/ 75248 h 497205"/>
                  <a:gd name="connsiteX331" fmla="*/ 87300 w 1036941"/>
                  <a:gd name="connsiteY331" fmla="*/ 79058 h 497205"/>
                  <a:gd name="connsiteX332" fmla="*/ 92062 w 1036941"/>
                  <a:gd name="connsiteY332" fmla="*/ 80963 h 497205"/>
                  <a:gd name="connsiteX333" fmla="*/ 104445 w 1036941"/>
                  <a:gd name="connsiteY333" fmla="*/ 81915 h 497205"/>
                  <a:gd name="connsiteX334" fmla="*/ 108254 w 1036941"/>
                  <a:gd name="connsiteY334" fmla="*/ 82868 h 497205"/>
                  <a:gd name="connsiteX335" fmla="*/ 113017 w 1036941"/>
                  <a:gd name="connsiteY335" fmla="*/ 85725 h 497205"/>
                  <a:gd name="connsiteX336" fmla="*/ 113970 w 1036941"/>
                  <a:gd name="connsiteY336" fmla="*/ 89535 h 497205"/>
                  <a:gd name="connsiteX337" fmla="*/ 111112 w 1036941"/>
                  <a:gd name="connsiteY337" fmla="*/ 98108 h 497205"/>
                  <a:gd name="connsiteX338" fmla="*/ 102540 w 1036941"/>
                  <a:gd name="connsiteY338" fmla="*/ 100013 h 497205"/>
                  <a:gd name="connsiteX339" fmla="*/ 95872 w 1036941"/>
                  <a:gd name="connsiteY339" fmla="*/ 102870 h 497205"/>
                  <a:gd name="connsiteX340" fmla="*/ 94920 w 1036941"/>
                  <a:gd name="connsiteY340" fmla="*/ 106680 h 497205"/>
                  <a:gd name="connsiteX341" fmla="*/ 89204 w 1036941"/>
                  <a:gd name="connsiteY341" fmla="*/ 110490 h 497205"/>
                  <a:gd name="connsiteX342" fmla="*/ 83490 w 1036941"/>
                  <a:gd name="connsiteY342" fmla="*/ 112395 h 497205"/>
                  <a:gd name="connsiteX343" fmla="*/ 81585 w 1036941"/>
                  <a:gd name="connsiteY343" fmla="*/ 114300 h 497205"/>
                  <a:gd name="connsiteX344" fmla="*/ 75870 w 1036941"/>
                  <a:gd name="connsiteY344" fmla="*/ 120968 h 4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Lst>
                <a:rect l="l" t="t" r="r" b="b"/>
                <a:pathLst>
                  <a:path w="1036941" h="497205">
                    <a:moveTo>
                      <a:pt x="75870" y="120968"/>
                    </a:moveTo>
                    <a:lnTo>
                      <a:pt x="59677" y="120968"/>
                    </a:lnTo>
                    <a:cubicBezTo>
                      <a:pt x="59677" y="120968"/>
                      <a:pt x="53962" y="120968"/>
                      <a:pt x="50152" y="121920"/>
                    </a:cubicBezTo>
                    <a:cubicBezTo>
                      <a:pt x="46342" y="121920"/>
                      <a:pt x="34912" y="121920"/>
                      <a:pt x="33007" y="121920"/>
                    </a:cubicBezTo>
                    <a:cubicBezTo>
                      <a:pt x="31102" y="121920"/>
                      <a:pt x="21577" y="121920"/>
                      <a:pt x="21577" y="121920"/>
                    </a:cubicBezTo>
                    <a:lnTo>
                      <a:pt x="13004" y="121920"/>
                    </a:lnTo>
                    <a:lnTo>
                      <a:pt x="9195" y="121920"/>
                    </a:lnTo>
                    <a:lnTo>
                      <a:pt x="3479" y="121920"/>
                    </a:lnTo>
                    <a:cubicBezTo>
                      <a:pt x="1575" y="124778"/>
                      <a:pt x="622" y="128588"/>
                      <a:pt x="622" y="128588"/>
                    </a:cubicBezTo>
                    <a:cubicBezTo>
                      <a:pt x="622" y="128588"/>
                      <a:pt x="-1283" y="129540"/>
                      <a:pt x="1575" y="131445"/>
                    </a:cubicBezTo>
                    <a:cubicBezTo>
                      <a:pt x="3479" y="132398"/>
                      <a:pt x="-1283" y="128588"/>
                      <a:pt x="3479" y="132398"/>
                    </a:cubicBezTo>
                    <a:cubicBezTo>
                      <a:pt x="8242" y="136208"/>
                      <a:pt x="5385" y="135255"/>
                      <a:pt x="8242" y="136208"/>
                    </a:cubicBezTo>
                    <a:cubicBezTo>
                      <a:pt x="11100" y="137160"/>
                      <a:pt x="11100" y="137160"/>
                      <a:pt x="11100" y="137160"/>
                    </a:cubicBezTo>
                    <a:cubicBezTo>
                      <a:pt x="11100" y="137160"/>
                      <a:pt x="13004" y="138113"/>
                      <a:pt x="17767" y="139065"/>
                    </a:cubicBezTo>
                    <a:cubicBezTo>
                      <a:pt x="22529" y="140018"/>
                      <a:pt x="28245" y="140018"/>
                      <a:pt x="29197" y="141923"/>
                    </a:cubicBezTo>
                    <a:cubicBezTo>
                      <a:pt x="31102" y="142875"/>
                      <a:pt x="25387" y="138113"/>
                      <a:pt x="31102" y="142875"/>
                    </a:cubicBezTo>
                    <a:cubicBezTo>
                      <a:pt x="35865" y="147638"/>
                      <a:pt x="37770" y="146685"/>
                      <a:pt x="41579" y="148590"/>
                    </a:cubicBezTo>
                    <a:cubicBezTo>
                      <a:pt x="45390" y="150495"/>
                      <a:pt x="45390" y="150495"/>
                      <a:pt x="45390" y="150495"/>
                    </a:cubicBezTo>
                    <a:cubicBezTo>
                      <a:pt x="45390" y="150495"/>
                      <a:pt x="50152" y="150495"/>
                      <a:pt x="54915" y="152400"/>
                    </a:cubicBezTo>
                    <a:cubicBezTo>
                      <a:pt x="59677" y="154305"/>
                      <a:pt x="55867" y="151448"/>
                      <a:pt x="59677" y="154305"/>
                    </a:cubicBezTo>
                    <a:cubicBezTo>
                      <a:pt x="63487" y="157163"/>
                      <a:pt x="61582" y="154305"/>
                      <a:pt x="63487" y="157163"/>
                    </a:cubicBezTo>
                    <a:cubicBezTo>
                      <a:pt x="65392" y="160020"/>
                      <a:pt x="68250" y="158115"/>
                      <a:pt x="62535" y="163830"/>
                    </a:cubicBezTo>
                    <a:cubicBezTo>
                      <a:pt x="56820" y="169545"/>
                      <a:pt x="56820" y="169545"/>
                      <a:pt x="56820" y="169545"/>
                    </a:cubicBezTo>
                    <a:cubicBezTo>
                      <a:pt x="56820" y="169545"/>
                      <a:pt x="51104" y="173355"/>
                      <a:pt x="52057" y="176213"/>
                    </a:cubicBezTo>
                    <a:cubicBezTo>
                      <a:pt x="53010" y="179070"/>
                      <a:pt x="51104" y="175260"/>
                      <a:pt x="53010" y="179070"/>
                    </a:cubicBezTo>
                    <a:cubicBezTo>
                      <a:pt x="53962" y="182880"/>
                      <a:pt x="53962" y="182880"/>
                      <a:pt x="55867" y="185738"/>
                    </a:cubicBezTo>
                    <a:cubicBezTo>
                      <a:pt x="56820" y="187643"/>
                      <a:pt x="58725" y="187643"/>
                      <a:pt x="60629" y="188595"/>
                    </a:cubicBezTo>
                    <a:cubicBezTo>
                      <a:pt x="62535" y="190500"/>
                      <a:pt x="60629" y="188595"/>
                      <a:pt x="66345" y="189548"/>
                    </a:cubicBezTo>
                    <a:cubicBezTo>
                      <a:pt x="72060" y="191453"/>
                      <a:pt x="79679" y="190500"/>
                      <a:pt x="82537" y="191453"/>
                    </a:cubicBezTo>
                    <a:cubicBezTo>
                      <a:pt x="85395" y="192405"/>
                      <a:pt x="84442" y="192405"/>
                      <a:pt x="88252" y="192405"/>
                    </a:cubicBezTo>
                    <a:cubicBezTo>
                      <a:pt x="92062" y="192405"/>
                      <a:pt x="93015" y="192405"/>
                      <a:pt x="95872" y="191453"/>
                    </a:cubicBezTo>
                    <a:cubicBezTo>
                      <a:pt x="98729" y="191453"/>
                      <a:pt x="105397" y="184785"/>
                      <a:pt x="105397" y="184785"/>
                    </a:cubicBezTo>
                    <a:cubicBezTo>
                      <a:pt x="105397" y="184785"/>
                      <a:pt x="106350" y="182880"/>
                      <a:pt x="110160" y="182880"/>
                    </a:cubicBezTo>
                    <a:cubicBezTo>
                      <a:pt x="113970" y="182880"/>
                      <a:pt x="123495" y="182880"/>
                      <a:pt x="123495" y="182880"/>
                    </a:cubicBezTo>
                    <a:cubicBezTo>
                      <a:pt x="123495" y="182880"/>
                      <a:pt x="125400" y="182880"/>
                      <a:pt x="129210" y="183833"/>
                    </a:cubicBezTo>
                    <a:cubicBezTo>
                      <a:pt x="133020" y="184785"/>
                      <a:pt x="125400" y="183833"/>
                      <a:pt x="146354" y="184785"/>
                    </a:cubicBezTo>
                    <a:cubicBezTo>
                      <a:pt x="167310" y="185738"/>
                      <a:pt x="167310" y="185738"/>
                      <a:pt x="167310" y="185738"/>
                    </a:cubicBezTo>
                    <a:cubicBezTo>
                      <a:pt x="167310" y="185738"/>
                      <a:pt x="176835" y="181928"/>
                      <a:pt x="180645" y="183833"/>
                    </a:cubicBezTo>
                    <a:cubicBezTo>
                      <a:pt x="184454" y="185738"/>
                      <a:pt x="177787" y="181928"/>
                      <a:pt x="184454" y="185738"/>
                    </a:cubicBezTo>
                    <a:cubicBezTo>
                      <a:pt x="191122" y="189548"/>
                      <a:pt x="197790" y="193358"/>
                      <a:pt x="199695" y="194310"/>
                    </a:cubicBezTo>
                    <a:cubicBezTo>
                      <a:pt x="201600" y="195263"/>
                      <a:pt x="207315" y="196215"/>
                      <a:pt x="211125" y="198120"/>
                    </a:cubicBezTo>
                    <a:cubicBezTo>
                      <a:pt x="214935" y="200025"/>
                      <a:pt x="210172" y="197168"/>
                      <a:pt x="224460" y="201930"/>
                    </a:cubicBezTo>
                    <a:cubicBezTo>
                      <a:pt x="238747" y="206693"/>
                      <a:pt x="244462" y="207645"/>
                      <a:pt x="246367" y="209550"/>
                    </a:cubicBezTo>
                    <a:cubicBezTo>
                      <a:pt x="247320" y="210503"/>
                      <a:pt x="250177" y="212408"/>
                      <a:pt x="252082" y="216218"/>
                    </a:cubicBezTo>
                    <a:cubicBezTo>
                      <a:pt x="253987" y="219075"/>
                      <a:pt x="251129" y="215265"/>
                      <a:pt x="253987" y="219075"/>
                    </a:cubicBezTo>
                    <a:cubicBezTo>
                      <a:pt x="257797" y="223838"/>
                      <a:pt x="264465" y="230505"/>
                      <a:pt x="266370" y="231458"/>
                    </a:cubicBezTo>
                    <a:cubicBezTo>
                      <a:pt x="268275" y="233363"/>
                      <a:pt x="271132" y="233363"/>
                      <a:pt x="272085" y="235268"/>
                    </a:cubicBezTo>
                    <a:cubicBezTo>
                      <a:pt x="273990" y="237173"/>
                      <a:pt x="276847" y="237173"/>
                      <a:pt x="277800" y="239078"/>
                    </a:cubicBezTo>
                    <a:cubicBezTo>
                      <a:pt x="278752" y="240030"/>
                      <a:pt x="281610" y="239078"/>
                      <a:pt x="282562" y="242888"/>
                    </a:cubicBezTo>
                    <a:cubicBezTo>
                      <a:pt x="283515" y="246698"/>
                      <a:pt x="284467" y="252413"/>
                      <a:pt x="286372" y="253365"/>
                    </a:cubicBezTo>
                    <a:cubicBezTo>
                      <a:pt x="287325" y="255270"/>
                      <a:pt x="286372" y="255270"/>
                      <a:pt x="287325" y="258128"/>
                    </a:cubicBezTo>
                    <a:cubicBezTo>
                      <a:pt x="288277" y="261938"/>
                      <a:pt x="287325" y="268605"/>
                      <a:pt x="287325" y="268605"/>
                    </a:cubicBezTo>
                    <a:cubicBezTo>
                      <a:pt x="287325" y="268605"/>
                      <a:pt x="287325" y="269558"/>
                      <a:pt x="287325" y="271463"/>
                    </a:cubicBezTo>
                    <a:cubicBezTo>
                      <a:pt x="287325" y="273368"/>
                      <a:pt x="287325" y="272415"/>
                      <a:pt x="287325" y="276225"/>
                    </a:cubicBezTo>
                    <a:cubicBezTo>
                      <a:pt x="287325" y="279083"/>
                      <a:pt x="284467" y="279083"/>
                      <a:pt x="288277" y="283845"/>
                    </a:cubicBezTo>
                    <a:cubicBezTo>
                      <a:pt x="292087" y="288608"/>
                      <a:pt x="289230" y="285750"/>
                      <a:pt x="292087" y="288608"/>
                    </a:cubicBezTo>
                    <a:cubicBezTo>
                      <a:pt x="293992" y="290513"/>
                      <a:pt x="297802" y="292418"/>
                      <a:pt x="297802" y="292418"/>
                    </a:cubicBezTo>
                    <a:lnTo>
                      <a:pt x="307327" y="293370"/>
                    </a:lnTo>
                    <a:lnTo>
                      <a:pt x="310185" y="292418"/>
                    </a:lnTo>
                    <a:lnTo>
                      <a:pt x="312090" y="290513"/>
                    </a:lnTo>
                    <a:lnTo>
                      <a:pt x="311137" y="285750"/>
                    </a:lnTo>
                    <a:lnTo>
                      <a:pt x="310185" y="283845"/>
                    </a:lnTo>
                    <a:lnTo>
                      <a:pt x="311137" y="280035"/>
                    </a:lnTo>
                    <a:cubicBezTo>
                      <a:pt x="315900" y="280035"/>
                      <a:pt x="319710" y="280035"/>
                      <a:pt x="322567" y="280035"/>
                    </a:cubicBezTo>
                    <a:cubicBezTo>
                      <a:pt x="324472" y="280035"/>
                      <a:pt x="332092" y="279083"/>
                      <a:pt x="332092" y="279083"/>
                    </a:cubicBezTo>
                    <a:lnTo>
                      <a:pt x="336855" y="279083"/>
                    </a:lnTo>
                    <a:cubicBezTo>
                      <a:pt x="337807" y="283845"/>
                      <a:pt x="337807" y="280988"/>
                      <a:pt x="337807" y="283845"/>
                    </a:cubicBezTo>
                    <a:cubicBezTo>
                      <a:pt x="337807" y="286703"/>
                      <a:pt x="338760" y="287655"/>
                      <a:pt x="340665" y="289560"/>
                    </a:cubicBezTo>
                    <a:cubicBezTo>
                      <a:pt x="342570" y="290513"/>
                      <a:pt x="350190" y="292418"/>
                      <a:pt x="350190" y="292418"/>
                    </a:cubicBezTo>
                    <a:lnTo>
                      <a:pt x="356857" y="294323"/>
                    </a:lnTo>
                    <a:lnTo>
                      <a:pt x="360667" y="296228"/>
                    </a:lnTo>
                    <a:lnTo>
                      <a:pt x="361620" y="298133"/>
                    </a:lnTo>
                    <a:lnTo>
                      <a:pt x="359715" y="302895"/>
                    </a:lnTo>
                    <a:lnTo>
                      <a:pt x="360667" y="312420"/>
                    </a:lnTo>
                    <a:cubicBezTo>
                      <a:pt x="360667" y="312420"/>
                      <a:pt x="361620" y="315278"/>
                      <a:pt x="361620" y="317183"/>
                    </a:cubicBezTo>
                    <a:cubicBezTo>
                      <a:pt x="361620" y="319088"/>
                      <a:pt x="361620" y="322898"/>
                      <a:pt x="361620" y="323850"/>
                    </a:cubicBezTo>
                    <a:cubicBezTo>
                      <a:pt x="361620" y="324803"/>
                      <a:pt x="361620" y="324803"/>
                      <a:pt x="360667" y="327660"/>
                    </a:cubicBezTo>
                    <a:cubicBezTo>
                      <a:pt x="359715" y="330518"/>
                      <a:pt x="359715" y="331470"/>
                      <a:pt x="358762" y="334328"/>
                    </a:cubicBezTo>
                    <a:cubicBezTo>
                      <a:pt x="356857" y="337185"/>
                      <a:pt x="356857" y="340995"/>
                      <a:pt x="354952" y="342900"/>
                    </a:cubicBezTo>
                    <a:cubicBezTo>
                      <a:pt x="353047" y="344805"/>
                      <a:pt x="353047" y="344805"/>
                      <a:pt x="351142" y="347663"/>
                    </a:cubicBezTo>
                    <a:cubicBezTo>
                      <a:pt x="349237" y="349568"/>
                      <a:pt x="342570" y="351473"/>
                      <a:pt x="339712" y="354330"/>
                    </a:cubicBezTo>
                    <a:cubicBezTo>
                      <a:pt x="337807" y="356235"/>
                      <a:pt x="333045" y="358140"/>
                      <a:pt x="333045" y="358140"/>
                    </a:cubicBezTo>
                    <a:lnTo>
                      <a:pt x="326377" y="360998"/>
                    </a:lnTo>
                    <a:lnTo>
                      <a:pt x="321615" y="363855"/>
                    </a:lnTo>
                    <a:lnTo>
                      <a:pt x="320662" y="373380"/>
                    </a:lnTo>
                    <a:lnTo>
                      <a:pt x="318757" y="375285"/>
                    </a:lnTo>
                    <a:cubicBezTo>
                      <a:pt x="318757" y="375285"/>
                      <a:pt x="315900" y="378143"/>
                      <a:pt x="316852" y="381000"/>
                    </a:cubicBezTo>
                    <a:cubicBezTo>
                      <a:pt x="317805" y="383858"/>
                      <a:pt x="312090" y="387668"/>
                      <a:pt x="316852" y="392430"/>
                    </a:cubicBezTo>
                    <a:cubicBezTo>
                      <a:pt x="320662" y="397193"/>
                      <a:pt x="324472" y="401003"/>
                      <a:pt x="324472" y="401003"/>
                    </a:cubicBezTo>
                    <a:lnTo>
                      <a:pt x="325425" y="403860"/>
                    </a:lnTo>
                    <a:cubicBezTo>
                      <a:pt x="325425" y="403860"/>
                      <a:pt x="321615" y="401955"/>
                      <a:pt x="329235" y="407670"/>
                    </a:cubicBezTo>
                    <a:cubicBezTo>
                      <a:pt x="336855" y="413385"/>
                      <a:pt x="341617" y="418148"/>
                      <a:pt x="342570" y="420053"/>
                    </a:cubicBezTo>
                    <a:cubicBezTo>
                      <a:pt x="343522" y="421005"/>
                      <a:pt x="353047" y="425768"/>
                      <a:pt x="354000" y="427673"/>
                    </a:cubicBezTo>
                    <a:cubicBezTo>
                      <a:pt x="354952" y="429578"/>
                      <a:pt x="357810" y="434340"/>
                      <a:pt x="358762" y="437198"/>
                    </a:cubicBezTo>
                    <a:cubicBezTo>
                      <a:pt x="359715" y="440055"/>
                      <a:pt x="356857" y="440055"/>
                      <a:pt x="364477" y="445770"/>
                    </a:cubicBezTo>
                    <a:cubicBezTo>
                      <a:pt x="372097" y="451485"/>
                      <a:pt x="368287" y="448628"/>
                      <a:pt x="372097" y="451485"/>
                    </a:cubicBezTo>
                    <a:cubicBezTo>
                      <a:pt x="375907" y="454343"/>
                      <a:pt x="375907" y="454343"/>
                      <a:pt x="381622" y="457200"/>
                    </a:cubicBezTo>
                    <a:cubicBezTo>
                      <a:pt x="387337" y="460058"/>
                      <a:pt x="389242" y="460058"/>
                      <a:pt x="393052" y="463868"/>
                    </a:cubicBezTo>
                    <a:cubicBezTo>
                      <a:pt x="396862" y="467678"/>
                      <a:pt x="394005" y="468630"/>
                      <a:pt x="398767" y="472440"/>
                    </a:cubicBezTo>
                    <a:cubicBezTo>
                      <a:pt x="403530" y="476250"/>
                      <a:pt x="402577" y="476250"/>
                      <a:pt x="406387" y="478155"/>
                    </a:cubicBezTo>
                    <a:cubicBezTo>
                      <a:pt x="409245" y="481013"/>
                      <a:pt x="415912" y="481965"/>
                      <a:pt x="416865" y="483870"/>
                    </a:cubicBezTo>
                    <a:cubicBezTo>
                      <a:pt x="417817" y="484823"/>
                      <a:pt x="420675" y="485775"/>
                      <a:pt x="420675" y="485775"/>
                    </a:cubicBezTo>
                    <a:lnTo>
                      <a:pt x="434010" y="491490"/>
                    </a:lnTo>
                    <a:lnTo>
                      <a:pt x="442582" y="494348"/>
                    </a:lnTo>
                    <a:lnTo>
                      <a:pt x="448297" y="496253"/>
                    </a:lnTo>
                    <a:cubicBezTo>
                      <a:pt x="448297" y="496253"/>
                      <a:pt x="462585" y="497205"/>
                      <a:pt x="465442" y="497205"/>
                    </a:cubicBezTo>
                    <a:cubicBezTo>
                      <a:pt x="469252" y="497205"/>
                      <a:pt x="481635" y="493395"/>
                      <a:pt x="481635" y="493395"/>
                    </a:cubicBezTo>
                    <a:cubicBezTo>
                      <a:pt x="481635" y="493395"/>
                      <a:pt x="485445" y="491490"/>
                      <a:pt x="489255" y="492443"/>
                    </a:cubicBezTo>
                    <a:cubicBezTo>
                      <a:pt x="493065" y="493395"/>
                      <a:pt x="494017" y="493395"/>
                      <a:pt x="496875" y="492443"/>
                    </a:cubicBezTo>
                    <a:cubicBezTo>
                      <a:pt x="499732" y="491490"/>
                      <a:pt x="503542" y="485775"/>
                      <a:pt x="507352" y="483870"/>
                    </a:cubicBezTo>
                    <a:cubicBezTo>
                      <a:pt x="511162" y="481965"/>
                      <a:pt x="510210" y="477203"/>
                      <a:pt x="512115" y="474345"/>
                    </a:cubicBezTo>
                    <a:cubicBezTo>
                      <a:pt x="514020" y="471488"/>
                      <a:pt x="511162" y="467678"/>
                      <a:pt x="514020" y="465773"/>
                    </a:cubicBezTo>
                    <a:cubicBezTo>
                      <a:pt x="515925" y="463868"/>
                      <a:pt x="516877" y="461963"/>
                      <a:pt x="518782" y="460058"/>
                    </a:cubicBezTo>
                    <a:cubicBezTo>
                      <a:pt x="520687" y="458153"/>
                      <a:pt x="518782" y="453390"/>
                      <a:pt x="522592" y="451485"/>
                    </a:cubicBezTo>
                    <a:cubicBezTo>
                      <a:pt x="526402" y="449580"/>
                      <a:pt x="531165" y="444818"/>
                      <a:pt x="531165" y="444818"/>
                    </a:cubicBezTo>
                    <a:cubicBezTo>
                      <a:pt x="531165" y="444818"/>
                      <a:pt x="533070" y="441008"/>
                      <a:pt x="534975" y="438150"/>
                    </a:cubicBezTo>
                    <a:cubicBezTo>
                      <a:pt x="536880" y="436245"/>
                      <a:pt x="538785" y="431483"/>
                      <a:pt x="540690" y="430530"/>
                    </a:cubicBezTo>
                    <a:cubicBezTo>
                      <a:pt x="542595" y="429578"/>
                      <a:pt x="545452" y="425768"/>
                      <a:pt x="545452" y="425768"/>
                    </a:cubicBezTo>
                    <a:cubicBezTo>
                      <a:pt x="545452" y="425768"/>
                      <a:pt x="551167" y="421005"/>
                      <a:pt x="551167" y="420053"/>
                    </a:cubicBezTo>
                    <a:cubicBezTo>
                      <a:pt x="552120" y="419100"/>
                      <a:pt x="554977" y="412433"/>
                      <a:pt x="554977" y="412433"/>
                    </a:cubicBezTo>
                    <a:cubicBezTo>
                      <a:pt x="554977" y="412433"/>
                      <a:pt x="555930" y="410528"/>
                      <a:pt x="557835" y="408623"/>
                    </a:cubicBezTo>
                    <a:cubicBezTo>
                      <a:pt x="559740" y="406718"/>
                      <a:pt x="569265" y="403860"/>
                      <a:pt x="569265" y="403860"/>
                    </a:cubicBezTo>
                    <a:cubicBezTo>
                      <a:pt x="580695" y="401955"/>
                      <a:pt x="578790" y="401955"/>
                      <a:pt x="583552" y="401003"/>
                    </a:cubicBezTo>
                    <a:cubicBezTo>
                      <a:pt x="588315" y="400050"/>
                      <a:pt x="593077" y="398145"/>
                      <a:pt x="593077" y="398145"/>
                    </a:cubicBezTo>
                    <a:lnTo>
                      <a:pt x="603555" y="398145"/>
                    </a:lnTo>
                    <a:cubicBezTo>
                      <a:pt x="603555" y="398145"/>
                      <a:pt x="616890" y="397193"/>
                      <a:pt x="618795" y="397193"/>
                    </a:cubicBezTo>
                    <a:cubicBezTo>
                      <a:pt x="620700" y="397193"/>
                      <a:pt x="620700" y="397193"/>
                      <a:pt x="624510" y="397193"/>
                    </a:cubicBezTo>
                    <a:cubicBezTo>
                      <a:pt x="629272" y="397193"/>
                      <a:pt x="640702" y="394335"/>
                      <a:pt x="644512" y="394335"/>
                    </a:cubicBezTo>
                    <a:cubicBezTo>
                      <a:pt x="648322" y="394335"/>
                      <a:pt x="653085" y="391478"/>
                      <a:pt x="653085" y="391478"/>
                    </a:cubicBezTo>
                    <a:cubicBezTo>
                      <a:pt x="653085" y="391478"/>
                      <a:pt x="654990" y="388620"/>
                      <a:pt x="657847" y="387668"/>
                    </a:cubicBezTo>
                    <a:cubicBezTo>
                      <a:pt x="659752" y="387668"/>
                      <a:pt x="660705" y="383858"/>
                      <a:pt x="663562" y="382905"/>
                    </a:cubicBezTo>
                    <a:cubicBezTo>
                      <a:pt x="665467" y="381953"/>
                      <a:pt x="666420" y="377190"/>
                      <a:pt x="669277" y="376238"/>
                    </a:cubicBezTo>
                    <a:cubicBezTo>
                      <a:pt x="671182" y="375285"/>
                      <a:pt x="671182" y="374333"/>
                      <a:pt x="673087" y="372428"/>
                    </a:cubicBezTo>
                    <a:cubicBezTo>
                      <a:pt x="674992" y="370523"/>
                      <a:pt x="677850" y="367665"/>
                      <a:pt x="677850" y="367665"/>
                    </a:cubicBezTo>
                    <a:cubicBezTo>
                      <a:pt x="677850" y="367665"/>
                      <a:pt x="679755" y="362903"/>
                      <a:pt x="683565" y="362903"/>
                    </a:cubicBezTo>
                    <a:cubicBezTo>
                      <a:pt x="686422" y="362903"/>
                      <a:pt x="695947" y="360998"/>
                      <a:pt x="695947" y="360998"/>
                    </a:cubicBezTo>
                    <a:lnTo>
                      <a:pt x="702615" y="360045"/>
                    </a:lnTo>
                    <a:cubicBezTo>
                      <a:pt x="702615" y="360045"/>
                      <a:pt x="704520" y="360045"/>
                      <a:pt x="706425" y="360045"/>
                    </a:cubicBezTo>
                    <a:cubicBezTo>
                      <a:pt x="708330" y="360045"/>
                      <a:pt x="714045" y="360045"/>
                      <a:pt x="714045" y="360045"/>
                    </a:cubicBezTo>
                    <a:cubicBezTo>
                      <a:pt x="714045" y="360045"/>
                      <a:pt x="718807" y="360998"/>
                      <a:pt x="725475" y="360045"/>
                    </a:cubicBezTo>
                    <a:cubicBezTo>
                      <a:pt x="732142" y="359093"/>
                      <a:pt x="731190" y="361950"/>
                      <a:pt x="739762" y="356235"/>
                    </a:cubicBezTo>
                    <a:cubicBezTo>
                      <a:pt x="748335" y="351473"/>
                      <a:pt x="748335" y="350520"/>
                      <a:pt x="751192" y="350520"/>
                    </a:cubicBezTo>
                    <a:cubicBezTo>
                      <a:pt x="754050" y="350520"/>
                      <a:pt x="760717" y="348615"/>
                      <a:pt x="760717" y="348615"/>
                    </a:cubicBezTo>
                    <a:lnTo>
                      <a:pt x="771195" y="348615"/>
                    </a:lnTo>
                    <a:cubicBezTo>
                      <a:pt x="771195" y="348615"/>
                      <a:pt x="776910" y="348615"/>
                      <a:pt x="779767" y="348615"/>
                    </a:cubicBezTo>
                    <a:cubicBezTo>
                      <a:pt x="782625" y="348615"/>
                      <a:pt x="786435" y="346710"/>
                      <a:pt x="793102" y="346710"/>
                    </a:cubicBezTo>
                    <a:cubicBezTo>
                      <a:pt x="799770" y="346710"/>
                      <a:pt x="809295" y="345758"/>
                      <a:pt x="813105" y="345758"/>
                    </a:cubicBezTo>
                    <a:cubicBezTo>
                      <a:pt x="816914" y="346710"/>
                      <a:pt x="818820" y="345758"/>
                      <a:pt x="820725" y="345758"/>
                    </a:cubicBezTo>
                    <a:cubicBezTo>
                      <a:pt x="822630" y="346710"/>
                      <a:pt x="826439" y="346710"/>
                      <a:pt x="829297" y="345758"/>
                    </a:cubicBezTo>
                    <a:cubicBezTo>
                      <a:pt x="832155" y="345758"/>
                      <a:pt x="844537" y="340995"/>
                      <a:pt x="844537" y="340995"/>
                    </a:cubicBezTo>
                    <a:cubicBezTo>
                      <a:pt x="844537" y="340995"/>
                      <a:pt x="846442" y="337185"/>
                      <a:pt x="846442" y="335280"/>
                    </a:cubicBezTo>
                    <a:cubicBezTo>
                      <a:pt x="847395" y="333375"/>
                      <a:pt x="847395" y="329565"/>
                      <a:pt x="847395" y="329565"/>
                    </a:cubicBezTo>
                    <a:lnTo>
                      <a:pt x="847395" y="327660"/>
                    </a:lnTo>
                    <a:cubicBezTo>
                      <a:pt x="847395" y="327660"/>
                      <a:pt x="837870" y="324803"/>
                      <a:pt x="833107" y="324803"/>
                    </a:cubicBezTo>
                    <a:cubicBezTo>
                      <a:pt x="828345" y="324803"/>
                      <a:pt x="820725" y="322898"/>
                      <a:pt x="817867" y="322898"/>
                    </a:cubicBezTo>
                    <a:cubicBezTo>
                      <a:pt x="815010" y="322898"/>
                      <a:pt x="810247" y="320993"/>
                      <a:pt x="810247" y="320993"/>
                    </a:cubicBezTo>
                    <a:lnTo>
                      <a:pt x="806437" y="316230"/>
                    </a:lnTo>
                    <a:lnTo>
                      <a:pt x="806437" y="312420"/>
                    </a:lnTo>
                    <a:cubicBezTo>
                      <a:pt x="812152" y="312420"/>
                      <a:pt x="814057" y="312420"/>
                      <a:pt x="816914" y="312420"/>
                    </a:cubicBezTo>
                    <a:cubicBezTo>
                      <a:pt x="818820" y="313373"/>
                      <a:pt x="835964" y="316230"/>
                      <a:pt x="835964" y="316230"/>
                    </a:cubicBezTo>
                    <a:cubicBezTo>
                      <a:pt x="835964" y="316230"/>
                      <a:pt x="850252" y="317183"/>
                      <a:pt x="853110" y="318135"/>
                    </a:cubicBezTo>
                    <a:cubicBezTo>
                      <a:pt x="855967" y="319088"/>
                      <a:pt x="865492" y="318135"/>
                      <a:pt x="865492" y="318135"/>
                    </a:cubicBezTo>
                    <a:lnTo>
                      <a:pt x="870255" y="317183"/>
                    </a:lnTo>
                    <a:lnTo>
                      <a:pt x="881685" y="317183"/>
                    </a:lnTo>
                    <a:cubicBezTo>
                      <a:pt x="881685" y="317183"/>
                      <a:pt x="884542" y="316230"/>
                      <a:pt x="886447" y="316230"/>
                    </a:cubicBezTo>
                    <a:cubicBezTo>
                      <a:pt x="888352" y="316230"/>
                      <a:pt x="891210" y="313373"/>
                      <a:pt x="893114" y="311468"/>
                    </a:cubicBezTo>
                    <a:cubicBezTo>
                      <a:pt x="895020" y="310515"/>
                      <a:pt x="894067" y="305753"/>
                      <a:pt x="894067" y="305753"/>
                    </a:cubicBezTo>
                    <a:lnTo>
                      <a:pt x="890257" y="302895"/>
                    </a:lnTo>
                    <a:lnTo>
                      <a:pt x="880732" y="303848"/>
                    </a:lnTo>
                    <a:lnTo>
                      <a:pt x="875970" y="301943"/>
                    </a:lnTo>
                    <a:lnTo>
                      <a:pt x="873112" y="294323"/>
                    </a:lnTo>
                    <a:lnTo>
                      <a:pt x="868350" y="290513"/>
                    </a:lnTo>
                    <a:lnTo>
                      <a:pt x="859777" y="286703"/>
                    </a:lnTo>
                    <a:cubicBezTo>
                      <a:pt x="859777" y="286703"/>
                      <a:pt x="858825" y="284798"/>
                      <a:pt x="859777" y="281940"/>
                    </a:cubicBezTo>
                    <a:cubicBezTo>
                      <a:pt x="860730" y="280035"/>
                      <a:pt x="858825" y="277178"/>
                      <a:pt x="859777" y="274320"/>
                    </a:cubicBezTo>
                    <a:cubicBezTo>
                      <a:pt x="861682" y="272415"/>
                      <a:pt x="857872" y="270510"/>
                      <a:pt x="860730" y="264795"/>
                    </a:cubicBezTo>
                    <a:cubicBezTo>
                      <a:pt x="863587" y="258128"/>
                      <a:pt x="863587" y="254318"/>
                      <a:pt x="863587" y="254318"/>
                    </a:cubicBezTo>
                    <a:cubicBezTo>
                      <a:pt x="863587" y="254318"/>
                      <a:pt x="864539" y="250508"/>
                      <a:pt x="866445" y="250508"/>
                    </a:cubicBezTo>
                    <a:cubicBezTo>
                      <a:pt x="868350" y="250508"/>
                      <a:pt x="872160" y="247650"/>
                      <a:pt x="872160" y="247650"/>
                    </a:cubicBezTo>
                    <a:lnTo>
                      <a:pt x="880732" y="241935"/>
                    </a:lnTo>
                    <a:cubicBezTo>
                      <a:pt x="880732" y="241935"/>
                      <a:pt x="882637" y="240983"/>
                      <a:pt x="884542" y="240983"/>
                    </a:cubicBezTo>
                    <a:cubicBezTo>
                      <a:pt x="886447" y="240983"/>
                      <a:pt x="889305" y="240983"/>
                      <a:pt x="891210" y="240030"/>
                    </a:cubicBezTo>
                    <a:cubicBezTo>
                      <a:pt x="893114" y="240030"/>
                      <a:pt x="895020" y="237173"/>
                      <a:pt x="901687" y="237173"/>
                    </a:cubicBezTo>
                    <a:cubicBezTo>
                      <a:pt x="908355" y="237173"/>
                      <a:pt x="915975" y="231458"/>
                      <a:pt x="915975" y="231458"/>
                    </a:cubicBezTo>
                    <a:lnTo>
                      <a:pt x="916927" y="227648"/>
                    </a:lnTo>
                    <a:lnTo>
                      <a:pt x="917880" y="220028"/>
                    </a:lnTo>
                    <a:cubicBezTo>
                      <a:pt x="917880" y="220028"/>
                      <a:pt x="916927" y="211455"/>
                      <a:pt x="919785" y="211455"/>
                    </a:cubicBezTo>
                    <a:cubicBezTo>
                      <a:pt x="921689" y="211455"/>
                      <a:pt x="922642" y="209550"/>
                      <a:pt x="924547" y="209550"/>
                    </a:cubicBezTo>
                    <a:cubicBezTo>
                      <a:pt x="926452" y="209550"/>
                      <a:pt x="927405" y="200978"/>
                      <a:pt x="927405" y="200978"/>
                    </a:cubicBezTo>
                    <a:lnTo>
                      <a:pt x="924547" y="198120"/>
                    </a:lnTo>
                    <a:lnTo>
                      <a:pt x="913117" y="198120"/>
                    </a:lnTo>
                    <a:lnTo>
                      <a:pt x="905497" y="198120"/>
                    </a:lnTo>
                    <a:lnTo>
                      <a:pt x="898830" y="196215"/>
                    </a:lnTo>
                    <a:lnTo>
                      <a:pt x="896925" y="194310"/>
                    </a:lnTo>
                    <a:lnTo>
                      <a:pt x="894067" y="191453"/>
                    </a:lnTo>
                    <a:lnTo>
                      <a:pt x="893114" y="188595"/>
                    </a:lnTo>
                    <a:lnTo>
                      <a:pt x="893114" y="185738"/>
                    </a:lnTo>
                    <a:cubicBezTo>
                      <a:pt x="893114" y="185738"/>
                      <a:pt x="898830" y="184785"/>
                      <a:pt x="900735" y="184785"/>
                    </a:cubicBezTo>
                    <a:cubicBezTo>
                      <a:pt x="902639" y="184785"/>
                      <a:pt x="915022" y="183833"/>
                      <a:pt x="915022" y="183833"/>
                    </a:cubicBezTo>
                    <a:cubicBezTo>
                      <a:pt x="915022" y="183833"/>
                      <a:pt x="918832" y="183833"/>
                      <a:pt x="919785" y="181928"/>
                    </a:cubicBezTo>
                    <a:cubicBezTo>
                      <a:pt x="921689" y="180975"/>
                      <a:pt x="922642" y="176213"/>
                      <a:pt x="922642" y="176213"/>
                    </a:cubicBezTo>
                    <a:lnTo>
                      <a:pt x="921689" y="169545"/>
                    </a:lnTo>
                    <a:lnTo>
                      <a:pt x="915022" y="168593"/>
                    </a:lnTo>
                    <a:lnTo>
                      <a:pt x="909307" y="166688"/>
                    </a:lnTo>
                    <a:lnTo>
                      <a:pt x="904545" y="165735"/>
                    </a:lnTo>
                    <a:lnTo>
                      <a:pt x="899782" y="164783"/>
                    </a:lnTo>
                    <a:lnTo>
                      <a:pt x="893114" y="160973"/>
                    </a:lnTo>
                    <a:lnTo>
                      <a:pt x="889305" y="153353"/>
                    </a:lnTo>
                    <a:cubicBezTo>
                      <a:pt x="889305" y="153353"/>
                      <a:pt x="888352" y="148590"/>
                      <a:pt x="888352" y="146685"/>
                    </a:cubicBezTo>
                    <a:cubicBezTo>
                      <a:pt x="889305" y="145733"/>
                      <a:pt x="903592" y="137160"/>
                      <a:pt x="903592" y="137160"/>
                    </a:cubicBezTo>
                    <a:lnTo>
                      <a:pt x="905497" y="135255"/>
                    </a:lnTo>
                    <a:cubicBezTo>
                      <a:pt x="905497" y="135255"/>
                      <a:pt x="915022" y="123825"/>
                      <a:pt x="917880" y="123825"/>
                    </a:cubicBezTo>
                    <a:cubicBezTo>
                      <a:pt x="920737" y="123825"/>
                      <a:pt x="922642" y="120015"/>
                      <a:pt x="925500" y="120015"/>
                    </a:cubicBezTo>
                    <a:cubicBezTo>
                      <a:pt x="927405" y="120015"/>
                      <a:pt x="931214" y="116205"/>
                      <a:pt x="931214" y="116205"/>
                    </a:cubicBezTo>
                    <a:lnTo>
                      <a:pt x="935977" y="113348"/>
                    </a:lnTo>
                    <a:cubicBezTo>
                      <a:pt x="935977" y="113348"/>
                      <a:pt x="936930" y="112395"/>
                      <a:pt x="939787" y="112395"/>
                    </a:cubicBezTo>
                    <a:cubicBezTo>
                      <a:pt x="942645" y="112395"/>
                      <a:pt x="950264" y="110490"/>
                      <a:pt x="950264" y="110490"/>
                    </a:cubicBezTo>
                    <a:lnTo>
                      <a:pt x="956932" y="103823"/>
                    </a:lnTo>
                    <a:lnTo>
                      <a:pt x="962647" y="99060"/>
                    </a:lnTo>
                    <a:lnTo>
                      <a:pt x="968362" y="98108"/>
                    </a:lnTo>
                    <a:cubicBezTo>
                      <a:pt x="968362" y="98108"/>
                      <a:pt x="973125" y="96203"/>
                      <a:pt x="975982" y="95250"/>
                    </a:cubicBezTo>
                    <a:cubicBezTo>
                      <a:pt x="977887" y="94298"/>
                      <a:pt x="983602" y="90488"/>
                      <a:pt x="983602" y="90488"/>
                    </a:cubicBezTo>
                    <a:lnTo>
                      <a:pt x="991222" y="89535"/>
                    </a:lnTo>
                    <a:lnTo>
                      <a:pt x="1006462" y="87630"/>
                    </a:lnTo>
                    <a:cubicBezTo>
                      <a:pt x="1006462" y="87630"/>
                      <a:pt x="1011225" y="81915"/>
                      <a:pt x="1013130" y="81915"/>
                    </a:cubicBezTo>
                    <a:cubicBezTo>
                      <a:pt x="1015035" y="81915"/>
                      <a:pt x="1019797" y="81915"/>
                      <a:pt x="1019797" y="81915"/>
                    </a:cubicBezTo>
                    <a:lnTo>
                      <a:pt x="1027417" y="80010"/>
                    </a:lnTo>
                    <a:cubicBezTo>
                      <a:pt x="1027417" y="80010"/>
                      <a:pt x="1033132" y="78105"/>
                      <a:pt x="1034085" y="76200"/>
                    </a:cubicBezTo>
                    <a:cubicBezTo>
                      <a:pt x="1035037" y="75248"/>
                      <a:pt x="1035989" y="71438"/>
                      <a:pt x="1035989" y="71438"/>
                    </a:cubicBezTo>
                    <a:lnTo>
                      <a:pt x="1036942" y="67628"/>
                    </a:lnTo>
                    <a:lnTo>
                      <a:pt x="1035989" y="63818"/>
                    </a:lnTo>
                    <a:lnTo>
                      <a:pt x="1028370" y="61913"/>
                    </a:lnTo>
                    <a:lnTo>
                      <a:pt x="1018845" y="61913"/>
                    </a:lnTo>
                    <a:lnTo>
                      <a:pt x="1011225" y="60960"/>
                    </a:lnTo>
                    <a:lnTo>
                      <a:pt x="984555" y="58103"/>
                    </a:lnTo>
                    <a:cubicBezTo>
                      <a:pt x="984555" y="58103"/>
                      <a:pt x="976935" y="57150"/>
                      <a:pt x="975030" y="58103"/>
                    </a:cubicBezTo>
                    <a:cubicBezTo>
                      <a:pt x="973125" y="58103"/>
                      <a:pt x="963600" y="58103"/>
                      <a:pt x="963600" y="58103"/>
                    </a:cubicBezTo>
                    <a:cubicBezTo>
                      <a:pt x="963600" y="58103"/>
                      <a:pt x="958837" y="57150"/>
                      <a:pt x="957885" y="58103"/>
                    </a:cubicBezTo>
                    <a:cubicBezTo>
                      <a:pt x="955980" y="59055"/>
                      <a:pt x="950264" y="58103"/>
                      <a:pt x="950264" y="60008"/>
                    </a:cubicBezTo>
                    <a:cubicBezTo>
                      <a:pt x="950264" y="61913"/>
                      <a:pt x="947407" y="60960"/>
                      <a:pt x="945502" y="62865"/>
                    </a:cubicBezTo>
                    <a:cubicBezTo>
                      <a:pt x="943597" y="64770"/>
                      <a:pt x="935977" y="63818"/>
                      <a:pt x="935025" y="65723"/>
                    </a:cubicBezTo>
                    <a:cubicBezTo>
                      <a:pt x="934072" y="67628"/>
                      <a:pt x="932167" y="66675"/>
                      <a:pt x="930262" y="68580"/>
                    </a:cubicBezTo>
                    <a:cubicBezTo>
                      <a:pt x="928357" y="70485"/>
                      <a:pt x="918832" y="71438"/>
                      <a:pt x="918832" y="71438"/>
                    </a:cubicBezTo>
                    <a:lnTo>
                      <a:pt x="895020" y="59055"/>
                    </a:lnTo>
                    <a:lnTo>
                      <a:pt x="890257" y="59055"/>
                    </a:lnTo>
                    <a:lnTo>
                      <a:pt x="882637" y="57150"/>
                    </a:lnTo>
                    <a:lnTo>
                      <a:pt x="877875" y="54293"/>
                    </a:lnTo>
                    <a:cubicBezTo>
                      <a:pt x="877875" y="54293"/>
                      <a:pt x="875970" y="53340"/>
                      <a:pt x="874064" y="52388"/>
                    </a:cubicBezTo>
                    <a:cubicBezTo>
                      <a:pt x="872160" y="51435"/>
                      <a:pt x="869302" y="47625"/>
                      <a:pt x="869302" y="47625"/>
                    </a:cubicBezTo>
                    <a:lnTo>
                      <a:pt x="867397" y="42863"/>
                    </a:lnTo>
                    <a:lnTo>
                      <a:pt x="861682" y="35243"/>
                    </a:lnTo>
                    <a:lnTo>
                      <a:pt x="860730" y="31433"/>
                    </a:lnTo>
                    <a:lnTo>
                      <a:pt x="856920" y="25718"/>
                    </a:lnTo>
                    <a:lnTo>
                      <a:pt x="855014" y="22860"/>
                    </a:lnTo>
                    <a:lnTo>
                      <a:pt x="849300" y="20955"/>
                    </a:lnTo>
                    <a:lnTo>
                      <a:pt x="844537" y="20003"/>
                    </a:lnTo>
                    <a:lnTo>
                      <a:pt x="839775" y="20003"/>
                    </a:lnTo>
                    <a:lnTo>
                      <a:pt x="829297" y="19050"/>
                    </a:lnTo>
                    <a:cubicBezTo>
                      <a:pt x="829297" y="19050"/>
                      <a:pt x="825487" y="18098"/>
                      <a:pt x="822630" y="18098"/>
                    </a:cubicBezTo>
                    <a:cubicBezTo>
                      <a:pt x="819772" y="18098"/>
                      <a:pt x="817867" y="18098"/>
                      <a:pt x="815010" y="18098"/>
                    </a:cubicBezTo>
                    <a:cubicBezTo>
                      <a:pt x="811200" y="18098"/>
                      <a:pt x="807389" y="16193"/>
                      <a:pt x="807389" y="16193"/>
                    </a:cubicBezTo>
                    <a:lnTo>
                      <a:pt x="790245" y="15240"/>
                    </a:lnTo>
                    <a:lnTo>
                      <a:pt x="787387" y="13335"/>
                    </a:lnTo>
                    <a:lnTo>
                      <a:pt x="777862" y="5715"/>
                    </a:lnTo>
                    <a:cubicBezTo>
                      <a:pt x="774052" y="3810"/>
                      <a:pt x="759765" y="3810"/>
                      <a:pt x="759765" y="3810"/>
                    </a:cubicBezTo>
                    <a:lnTo>
                      <a:pt x="744525" y="3810"/>
                    </a:lnTo>
                    <a:lnTo>
                      <a:pt x="717855" y="1905"/>
                    </a:lnTo>
                    <a:cubicBezTo>
                      <a:pt x="717855" y="1905"/>
                      <a:pt x="714045" y="953"/>
                      <a:pt x="711187" y="0"/>
                    </a:cubicBezTo>
                    <a:cubicBezTo>
                      <a:pt x="707377" y="0"/>
                      <a:pt x="690232" y="0"/>
                      <a:pt x="690232" y="0"/>
                    </a:cubicBezTo>
                    <a:lnTo>
                      <a:pt x="679755" y="1905"/>
                    </a:lnTo>
                    <a:lnTo>
                      <a:pt x="671182" y="2858"/>
                    </a:lnTo>
                    <a:lnTo>
                      <a:pt x="652132" y="3810"/>
                    </a:lnTo>
                    <a:lnTo>
                      <a:pt x="641655" y="3810"/>
                    </a:lnTo>
                    <a:lnTo>
                      <a:pt x="636892" y="4763"/>
                    </a:lnTo>
                    <a:cubicBezTo>
                      <a:pt x="636892" y="4763"/>
                      <a:pt x="619747" y="3810"/>
                      <a:pt x="617842" y="5715"/>
                    </a:cubicBezTo>
                    <a:cubicBezTo>
                      <a:pt x="615937" y="6668"/>
                      <a:pt x="613080" y="5715"/>
                      <a:pt x="611175" y="7620"/>
                    </a:cubicBezTo>
                    <a:cubicBezTo>
                      <a:pt x="609270" y="8573"/>
                      <a:pt x="597840" y="9525"/>
                      <a:pt x="597840" y="9525"/>
                    </a:cubicBezTo>
                    <a:lnTo>
                      <a:pt x="583552" y="12383"/>
                    </a:lnTo>
                    <a:lnTo>
                      <a:pt x="575932" y="12383"/>
                    </a:lnTo>
                    <a:lnTo>
                      <a:pt x="568312" y="12383"/>
                    </a:lnTo>
                    <a:lnTo>
                      <a:pt x="553072" y="12383"/>
                    </a:lnTo>
                    <a:lnTo>
                      <a:pt x="542595" y="12383"/>
                    </a:lnTo>
                    <a:lnTo>
                      <a:pt x="523545" y="12383"/>
                    </a:lnTo>
                    <a:lnTo>
                      <a:pt x="506400" y="10478"/>
                    </a:lnTo>
                    <a:lnTo>
                      <a:pt x="489255" y="8573"/>
                    </a:lnTo>
                    <a:lnTo>
                      <a:pt x="478777" y="8573"/>
                    </a:lnTo>
                    <a:lnTo>
                      <a:pt x="471157" y="9525"/>
                    </a:lnTo>
                    <a:lnTo>
                      <a:pt x="456870" y="11430"/>
                    </a:lnTo>
                    <a:lnTo>
                      <a:pt x="452107" y="12383"/>
                    </a:lnTo>
                    <a:lnTo>
                      <a:pt x="448297" y="14288"/>
                    </a:lnTo>
                    <a:lnTo>
                      <a:pt x="447345" y="18098"/>
                    </a:lnTo>
                    <a:lnTo>
                      <a:pt x="442582" y="20955"/>
                    </a:lnTo>
                    <a:lnTo>
                      <a:pt x="434962" y="21908"/>
                    </a:lnTo>
                    <a:lnTo>
                      <a:pt x="425437" y="26670"/>
                    </a:lnTo>
                    <a:lnTo>
                      <a:pt x="416865" y="28575"/>
                    </a:lnTo>
                    <a:lnTo>
                      <a:pt x="396862" y="28575"/>
                    </a:lnTo>
                    <a:lnTo>
                      <a:pt x="392100" y="27623"/>
                    </a:lnTo>
                    <a:lnTo>
                      <a:pt x="384480" y="29528"/>
                    </a:lnTo>
                    <a:lnTo>
                      <a:pt x="374955" y="32385"/>
                    </a:lnTo>
                    <a:lnTo>
                      <a:pt x="365430" y="36195"/>
                    </a:lnTo>
                    <a:lnTo>
                      <a:pt x="360667" y="38100"/>
                    </a:lnTo>
                    <a:lnTo>
                      <a:pt x="349237" y="38100"/>
                    </a:lnTo>
                    <a:lnTo>
                      <a:pt x="338760" y="36195"/>
                    </a:lnTo>
                    <a:cubicBezTo>
                      <a:pt x="334950" y="35243"/>
                      <a:pt x="308280" y="35243"/>
                      <a:pt x="308280" y="35243"/>
                    </a:cubicBezTo>
                    <a:lnTo>
                      <a:pt x="299707" y="35243"/>
                    </a:lnTo>
                    <a:lnTo>
                      <a:pt x="291135" y="35243"/>
                    </a:lnTo>
                    <a:lnTo>
                      <a:pt x="286372" y="35243"/>
                    </a:lnTo>
                    <a:lnTo>
                      <a:pt x="275895" y="35243"/>
                    </a:lnTo>
                    <a:lnTo>
                      <a:pt x="263512" y="35243"/>
                    </a:lnTo>
                    <a:lnTo>
                      <a:pt x="255892" y="35243"/>
                    </a:lnTo>
                    <a:lnTo>
                      <a:pt x="250177" y="36195"/>
                    </a:lnTo>
                    <a:cubicBezTo>
                      <a:pt x="250177" y="36195"/>
                      <a:pt x="242557" y="36195"/>
                      <a:pt x="240652" y="39053"/>
                    </a:cubicBezTo>
                    <a:cubicBezTo>
                      <a:pt x="238747" y="40958"/>
                      <a:pt x="237795" y="40958"/>
                      <a:pt x="235890" y="41910"/>
                    </a:cubicBezTo>
                    <a:cubicBezTo>
                      <a:pt x="233985" y="42863"/>
                      <a:pt x="224460" y="42863"/>
                      <a:pt x="224460" y="42863"/>
                    </a:cubicBezTo>
                    <a:lnTo>
                      <a:pt x="219697" y="42863"/>
                    </a:lnTo>
                    <a:lnTo>
                      <a:pt x="215887" y="44768"/>
                    </a:lnTo>
                    <a:lnTo>
                      <a:pt x="210172" y="47625"/>
                    </a:lnTo>
                    <a:cubicBezTo>
                      <a:pt x="210172" y="47625"/>
                      <a:pt x="205410" y="48578"/>
                      <a:pt x="201600" y="49530"/>
                    </a:cubicBezTo>
                    <a:cubicBezTo>
                      <a:pt x="198742" y="50483"/>
                      <a:pt x="191122" y="51435"/>
                      <a:pt x="191122" y="51435"/>
                    </a:cubicBezTo>
                    <a:lnTo>
                      <a:pt x="185407" y="51435"/>
                    </a:lnTo>
                    <a:lnTo>
                      <a:pt x="182550" y="51435"/>
                    </a:lnTo>
                    <a:lnTo>
                      <a:pt x="171120" y="51435"/>
                    </a:lnTo>
                    <a:lnTo>
                      <a:pt x="163500" y="53340"/>
                    </a:lnTo>
                    <a:cubicBezTo>
                      <a:pt x="163500" y="53340"/>
                      <a:pt x="160642" y="53340"/>
                      <a:pt x="158737" y="56198"/>
                    </a:cubicBezTo>
                    <a:cubicBezTo>
                      <a:pt x="156832" y="58103"/>
                      <a:pt x="151117" y="60960"/>
                      <a:pt x="150165" y="61913"/>
                    </a:cubicBezTo>
                    <a:cubicBezTo>
                      <a:pt x="149212" y="62865"/>
                      <a:pt x="146354" y="64770"/>
                      <a:pt x="146354" y="64770"/>
                    </a:cubicBezTo>
                    <a:lnTo>
                      <a:pt x="134925" y="67628"/>
                    </a:lnTo>
                    <a:lnTo>
                      <a:pt x="113970" y="69533"/>
                    </a:lnTo>
                    <a:lnTo>
                      <a:pt x="100635" y="70485"/>
                    </a:lnTo>
                    <a:lnTo>
                      <a:pt x="92062" y="71438"/>
                    </a:lnTo>
                    <a:cubicBezTo>
                      <a:pt x="92062" y="71438"/>
                      <a:pt x="88252" y="73343"/>
                      <a:pt x="88252" y="75248"/>
                    </a:cubicBezTo>
                    <a:cubicBezTo>
                      <a:pt x="88252" y="76200"/>
                      <a:pt x="87300" y="79058"/>
                      <a:pt x="87300" y="79058"/>
                    </a:cubicBezTo>
                    <a:cubicBezTo>
                      <a:pt x="87300" y="79058"/>
                      <a:pt x="90157" y="80963"/>
                      <a:pt x="92062" y="80963"/>
                    </a:cubicBezTo>
                    <a:cubicBezTo>
                      <a:pt x="93967" y="80963"/>
                      <a:pt x="104445" y="81915"/>
                      <a:pt x="104445" y="81915"/>
                    </a:cubicBezTo>
                    <a:cubicBezTo>
                      <a:pt x="104445" y="81915"/>
                      <a:pt x="106350" y="82868"/>
                      <a:pt x="108254" y="82868"/>
                    </a:cubicBezTo>
                    <a:cubicBezTo>
                      <a:pt x="110160" y="83820"/>
                      <a:pt x="113017" y="85725"/>
                      <a:pt x="113017" y="85725"/>
                    </a:cubicBezTo>
                    <a:cubicBezTo>
                      <a:pt x="113017" y="85725"/>
                      <a:pt x="113970" y="84773"/>
                      <a:pt x="113970" y="89535"/>
                    </a:cubicBezTo>
                    <a:cubicBezTo>
                      <a:pt x="113017" y="94298"/>
                      <a:pt x="111112" y="98108"/>
                      <a:pt x="111112" y="98108"/>
                    </a:cubicBezTo>
                    <a:lnTo>
                      <a:pt x="102540" y="100013"/>
                    </a:lnTo>
                    <a:cubicBezTo>
                      <a:pt x="102540" y="100013"/>
                      <a:pt x="95872" y="100965"/>
                      <a:pt x="95872" y="102870"/>
                    </a:cubicBezTo>
                    <a:cubicBezTo>
                      <a:pt x="95872" y="103823"/>
                      <a:pt x="94920" y="106680"/>
                      <a:pt x="94920" y="106680"/>
                    </a:cubicBezTo>
                    <a:lnTo>
                      <a:pt x="89204" y="110490"/>
                    </a:lnTo>
                    <a:lnTo>
                      <a:pt x="83490" y="112395"/>
                    </a:lnTo>
                    <a:lnTo>
                      <a:pt x="81585" y="114300"/>
                    </a:lnTo>
                    <a:lnTo>
                      <a:pt x="75870" y="120968"/>
                    </a:lnTo>
                    <a:close/>
                  </a:path>
                </a:pathLst>
              </a:custGeom>
              <a:grpFill/>
              <a:ln w="9525" cap="flat">
                <a:noFill/>
                <a:prstDash val="solid"/>
                <a:miter/>
              </a:ln>
            </p:spPr>
            <p:txBody>
              <a:bodyPr rtlCol="0" anchor="ctr"/>
              <a:lstStyle/>
              <a:p>
                <a:endParaRPr lang="en-US" sz="1765"/>
              </a:p>
            </p:txBody>
          </p:sp>
          <p:sp>
            <p:nvSpPr>
              <p:cNvPr id="282" name="Freeform: Shape 281">
                <a:extLst>
                  <a:ext uri="{FF2B5EF4-FFF2-40B4-BE49-F238E27FC236}">
                    <a16:creationId xmlns:a16="http://schemas.microsoft.com/office/drawing/2014/main" id="{92EB9041-DC4D-4B5D-A7DD-C57DC1101DA3}"/>
                  </a:ext>
                </a:extLst>
              </p:cNvPr>
              <p:cNvSpPr/>
              <p:nvPr/>
            </p:nvSpPr>
            <p:spPr>
              <a:xfrm>
                <a:off x="7292898" y="3092496"/>
                <a:ext cx="56620" cy="27622"/>
              </a:xfrm>
              <a:custGeom>
                <a:avLst/>
                <a:gdLst>
                  <a:gd name="connsiteX0" fmla="*/ 43286 w 56620"/>
                  <a:gd name="connsiteY0" fmla="*/ 24765 h 27622"/>
                  <a:gd name="connsiteX1" fmla="*/ 41381 w 56620"/>
                  <a:gd name="connsiteY1" fmla="*/ 26670 h 27622"/>
                  <a:gd name="connsiteX2" fmla="*/ 28046 w 56620"/>
                  <a:gd name="connsiteY2" fmla="*/ 27622 h 27622"/>
                  <a:gd name="connsiteX3" fmla="*/ 21378 w 56620"/>
                  <a:gd name="connsiteY3" fmla="*/ 27622 h 27622"/>
                  <a:gd name="connsiteX4" fmla="*/ 14711 w 56620"/>
                  <a:gd name="connsiteY4" fmla="*/ 27622 h 27622"/>
                  <a:gd name="connsiteX5" fmla="*/ 10901 w 56620"/>
                  <a:gd name="connsiteY5" fmla="*/ 26670 h 27622"/>
                  <a:gd name="connsiteX6" fmla="*/ 9948 w 56620"/>
                  <a:gd name="connsiteY6" fmla="*/ 23813 h 27622"/>
                  <a:gd name="connsiteX7" fmla="*/ 3281 w 56620"/>
                  <a:gd name="connsiteY7" fmla="*/ 21907 h 27622"/>
                  <a:gd name="connsiteX8" fmla="*/ 1376 w 56620"/>
                  <a:gd name="connsiteY8" fmla="*/ 21907 h 27622"/>
                  <a:gd name="connsiteX9" fmla="*/ 1376 w 56620"/>
                  <a:gd name="connsiteY9" fmla="*/ 19050 h 27622"/>
                  <a:gd name="connsiteX10" fmla="*/ 1376 w 56620"/>
                  <a:gd name="connsiteY10" fmla="*/ 16193 h 27622"/>
                  <a:gd name="connsiteX11" fmla="*/ 423 w 56620"/>
                  <a:gd name="connsiteY11" fmla="*/ 12382 h 27622"/>
                  <a:gd name="connsiteX12" fmla="*/ 423 w 56620"/>
                  <a:gd name="connsiteY12" fmla="*/ 10477 h 27622"/>
                  <a:gd name="connsiteX13" fmla="*/ 1376 w 56620"/>
                  <a:gd name="connsiteY13" fmla="*/ 10477 h 27622"/>
                  <a:gd name="connsiteX14" fmla="*/ 4233 w 56620"/>
                  <a:gd name="connsiteY14" fmla="*/ 10477 h 27622"/>
                  <a:gd name="connsiteX15" fmla="*/ 7091 w 56620"/>
                  <a:gd name="connsiteY15" fmla="*/ 8572 h 27622"/>
                  <a:gd name="connsiteX16" fmla="*/ 12806 w 56620"/>
                  <a:gd name="connsiteY16" fmla="*/ 8572 h 27622"/>
                  <a:gd name="connsiteX17" fmla="*/ 19473 w 56620"/>
                  <a:gd name="connsiteY17" fmla="*/ 7620 h 27622"/>
                  <a:gd name="connsiteX18" fmla="*/ 28046 w 56620"/>
                  <a:gd name="connsiteY18" fmla="*/ 4763 h 27622"/>
                  <a:gd name="connsiteX19" fmla="*/ 30903 w 56620"/>
                  <a:gd name="connsiteY19" fmla="*/ 4763 h 27622"/>
                  <a:gd name="connsiteX20" fmla="*/ 34713 w 56620"/>
                  <a:gd name="connsiteY20" fmla="*/ 3810 h 27622"/>
                  <a:gd name="connsiteX21" fmla="*/ 40428 w 56620"/>
                  <a:gd name="connsiteY21" fmla="*/ 5715 h 27622"/>
                  <a:gd name="connsiteX22" fmla="*/ 45191 w 56620"/>
                  <a:gd name="connsiteY22" fmla="*/ 3810 h 27622"/>
                  <a:gd name="connsiteX23" fmla="*/ 49001 w 56620"/>
                  <a:gd name="connsiteY23" fmla="*/ 0 h 27622"/>
                  <a:gd name="connsiteX24" fmla="*/ 51858 w 56620"/>
                  <a:gd name="connsiteY24" fmla="*/ 952 h 27622"/>
                  <a:gd name="connsiteX25" fmla="*/ 55668 w 56620"/>
                  <a:gd name="connsiteY25" fmla="*/ 2857 h 27622"/>
                  <a:gd name="connsiteX26" fmla="*/ 54716 w 56620"/>
                  <a:gd name="connsiteY26" fmla="*/ 7620 h 27622"/>
                  <a:gd name="connsiteX27" fmla="*/ 55668 w 56620"/>
                  <a:gd name="connsiteY27" fmla="*/ 10477 h 27622"/>
                  <a:gd name="connsiteX28" fmla="*/ 56621 w 56620"/>
                  <a:gd name="connsiteY28" fmla="*/ 12382 h 27622"/>
                  <a:gd name="connsiteX29" fmla="*/ 54716 w 56620"/>
                  <a:gd name="connsiteY29" fmla="*/ 15240 h 27622"/>
                  <a:gd name="connsiteX30" fmla="*/ 46143 w 56620"/>
                  <a:gd name="connsiteY30" fmla="*/ 17145 h 27622"/>
                  <a:gd name="connsiteX31" fmla="*/ 47096 w 56620"/>
                  <a:gd name="connsiteY31" fmla="*/ 20955 h 27622"/>
                  <a:gd name="connsiteX32" fmla="*/ 47096 w 56620"/>
                  <a:gd name="connsiteY32" fmla="*/ 21907 h 27622"/>
                  <a:gd name="connsiteX33" fmla="*/ 48048 w 56620"/>
                  <a:gd name="connsiteY33" fmla="*/ 23813 h 27622"/>
                  <a:gd name="connsiteX34" fmla="*/ 43286 w 56620"/>
                  <a:gd name="connsiteY34" fmla="*/ 24765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620" h="27622">
                    <a:moveTo>
                      <a:pt x="43286" y="24765"/>
                    </a:moveTo>
                    <a:cubicBezTo>
                      <a:pt x="43286" y="24765"/>
                      <a:pt x="43286" y="25718"/>
                      <a:pt x="41381" y="26670"/>
                    </a:cubicBezTo>
                    <a:cubicBezTo>
                      <a:pt x="39476" y="26670"/>
                      <a:pt x="28046" y="27622"/>
                      <a:pt x="28046" y="27622"/>
                    </a:cubicBezTo>
                    <a:lnTo>
                      <a:pt x="21378" y="27622"/>
                    </a:lnTo>
                    <a:lnTo>
                      <a:pt x="14711" y="27622"/>
                    </a:lnTo>
                    <a:lnTo>
                      <a:pt x="10901" y="26670"/>
                    </a:lnTo>
                    <a:cubicBezTo>
                      <a:pt x="10901" y="26670"/>
                      <a:pt x="10901" y="24765"/>
                      <a:pt x="9948" y="23813"/>
                    </a:cubicBezTo>
                    <a:cubicBezTo>
                      <a:pt x="8043" y="22860"/>
                      <a:pt x="3281" y="21907"/>
                      <a:pt x="3281" y="21907"/>
                    </a:cubicBezTo>
                    <a:lnTo>
                      <a:pt x="1376" y="21907"/>
                    </a:lnTo>
                    <a:lnTo>
                      <a:pt x="1376" y="19050"/>
                    </a:lnTo>
                    <a:lnTo>
                      <a:pt x="1376" y="16193"/>
                    </a:lnTo>
                    <a:lnTo>
                      <a:pt x="423" y="12382"/>
                    </a:lnTo>
                    <a:cubicBezTo>
                      <a:pt x="423" y="12382"/>
                      <a:pt x="-529" y="10477"/>
                      <a:pt x="423" y="10477"/>
                    </a:cubicBezTo>
                    <a:cubicBezTo>
                      <a:pt x="1376" y="10477"/>
                      <a:pt x="-1482" y="10477"/>
                      <a:pt x="1376" y="10477"/>
                    </a:cubicBezTo>
                    <a:cubicBezTo>
                      <a:pt x="4233" y="10477"/>
                      <a:pt x="2328" y="10477"/>
                      <a:pt x="4233" y="10477"/>
                    </a:cubicBezTo>
                    <a:cubicBezTo>
                      <a:pt x="6138" y="10477"/>
                      <a:pt x="7091" y="8572"/>
                      <a:pt x="7091" y="8572"/>
                    </a:cubicBezTo>
                    <a:cubicBezTo>
                      <a:pt x="10901" y="8572"/>
                      <a:pt x="9948" y="8572"/>
                      <a:pt x="12806" y="8572"/>
                    </a:cubicBezTo>
                    <a:cubicBezTo>
                      <a:pt x="15663" y="8572"/>
                      <a:pt x="13758" y="10477"/>
                      <a:pt x="19473" y="7620"/>
                    </a:cubicBezTo>
                    <a:cubicBezTo>
                      <a:pt x="24236" y="4763"/>
                      <a:pt x="26141" y="4763"/>
                      <a:pt x="28046" y="4763"/>
                    </a:cubicBezTo>
                    <a:cubicBezTo>
                      <a:pt x="29951" y="4763"/>
                      <a:pt x="30903" y="4763"/>
                      <a:pt x="30903" y="4763"/>
                    </a:cubicBezTo>
                    <a:cubicBezTo>
                      <a:pt x="30903" y="4763"/>
                      <a:pt x="29951" y="1905"/>
                      <a:pt x="34713" y="3810"/>
                    </a:cubicBezTo>
                    <a:cubicBezTo>
                      <a:pt x="39476" y="5715"/>
                      <a:pt x="38523" y="5715"/>
                      <a:pt x="40428" y="5715"/>
                    </a:cubicBezTo>
                    <a:cubicBezTo>
                      <a:pt x="42333" y="5715"/>
                      <a:pt x="43286" y="3810"/>
                      <a:pt x="45191" y="3810"/>
                    </a:cubicBezTo>
                    <a:cubicBezTo>
                      <a:pt x="47096" y="2857"/>
                      <a:pt x="46143" y="0"/>
                      <a:pt x="49001" y="0"/>
                    </a:cubicBezTo>
                    <a:cubicBezTo>
                      <a:pt x="51858" y="952"/>
                      <a:pt x="49001" y="0"/>
                      <a:pt x="51858" y="952"/>
                    </a:cubicBezTo>
                    <a:cubicBezTo>
                      <a:pt x="54716" y="1905"/>
                      <a:pt x="54716" y="952"/>
                      <a:pt x="55668" y="2857"/>
                    </a:cubicBezTo>
                    <a:cubicBezTo>
                      <a:pt x="56621" y="4763"/>
                      <a:pt x="55668" y="6668"/>
                      <a:pt x="54716" y="7620"/>
                    </a:cubicBezTo>
                    <a:cubicBezTo>
                      <a:pt x="54716" y="8572"/>
                      <a:pt x="55668" y="8572"/>
                      <a:pt x="55668" y="10477"/>
                    </a:cubicBezTo>
                    <a:cubicBezTo>
                      <a:pt x="55668" y="11430"/>
                      <a:pt x="56621" y="12382"/>
                      <a:pt x="56621" y="12382"/>
                    </a:cubicBezTo>
                    <a:cubicBezTo>
                      <a:pt x="56621" y="13335"/>
                      <a:pt x="55668" y="14288"/>
                      <a:pt x="54716" y="15240"/>
                    </a:cubicBezTo>
                    <a:cubicBezTo>
                      <a:pt x="53763" y="16193"/>
                      <a:pt x="46143" y="17145"/>
                      <a:pt x="46143" y="17145"/>
                    </a:cubicBezTo>
                    <a:lnTo>
                      <a:pt x="47096" y="20955"/>
                    </a:lnTo>
                    <a:cubicBezTo>
                      <a:pt x="47096" y="20955"/>
                      <a:pt x="46143" y="20955"/>
                      <a:pt x="47096" y="21907"/>
                    </a:cubicBezTo>
                    <a:cubicBezTo>
                      <a:pt x="48048" y="23813"/>
                      <a:pt x="49001" y="23813"/>
                      <a:pt x="48048" y="23813"/>
                    </a:cubicBezTo>
                    <a:cubicBezTo>
                      <a:pt x="48048" y="24765"/>
                      <a:pt x="43286" y="24765"/>
                      <a:pt x="43286" y="24765"/>
                    </a:cubicBezTo>
                    <a:close/>
                  </a:path>
                </a:pathLst>
              </a:custGeom>
              <a:grpFill/>
              <a:ln w="9525" cap="flat">
                <a:noFill/>
                <a:prstDash val="solid"/>
                <a:miter/>
              </a:ln>
            </p:spPr>
            <p:txBody>
              <a:bodyPr rtlCol="0" anchor="ctr"/>
              <a:lstStyle/>
              <a:p>
                <a:endParaRPr lang="en-US" sz="1765"/>
              </a:p>
            </p:txBody>
          </p:sp>
          <p:sp>
            <p:nvSpPr>
              <p:cNvPr id="283" name="Freeform: Shape 282">
                <a:extLst>
                  <a:ext uri="{FF2B5EF4-FFF2-40B4-BE49-F238E27FC236}">
                    <a16:creationId xmlns:a16="http://schemas.microsoft.com/office/drawing/2014/main" id="{D5E2D0E4-D029-47F3-AA4F-F61E2ECF6585}"/>
                  </a:ext>
                </a:extLst>
              </p:cNvPr>
              <p:cNvSpPr/>
              <p:nvPr/>
            </p:nvSpPr>
            <p:spPr>
              <a:xfrm>
                <a:off x="7209128" y="3423014"/>
                <a:ext cx="121340" cy="68579"/>
              </a:xfrm>
              <a:custGeom>
                <a:avLst/>
                <a:gdLst>
                  <a:gd name="connsiteX0" fmla="*/ 70857 w 121340"/>
                  <a:gd name="connsiteY0" fmla="*/ 11430 h 68579"/>
                  <a:gd name="connsiteX1" fmla="*/ 68000 w 121340"/>
                  <a:gd name="connsiteY1" fmla="*/ 6667 h 68579"/>
                  <a:gd name="connsiteX2" fmla="*/ 65143 w 121340"/>
                  <a:gd name="connsiteY2" fmla="*/ 1905 h 68579"/>
                  <a:gd name="connsiteX3" fmla="*/ 60380 w 121340"/>
                  <a:gd name="connsiteY3" fmla="*/ 0 h 68579"/>
                  <a:gd name="connsiteX4" fmla="*/ 57523 w 121340"/>
                  <a:gd name="connsiteY4" fmla="*/ 952 h 68579"/>
                  <a:gd name="connsiteX5" fmla="*/ 49903 w 121340"/>
                  <a:gd name="connsiteY5" fmla="*/ 1905 h 68579"/>
                  <a:gd name="connsiteX6" fmla="*/ 44188 w 121340"/>
                  <a:gd name="connsiteY6" fmla="*/ 1905 h 68579"/>
                  <a:gd name="connsiteX7" fmla="*/ 39425 w 121340"/>
                  <a:gd name="connsiteY7" fmla="*/ 5715 h 68579"/>
                  <a:gd name="connsiteX8" fmla="*/ 37520 w 121340"/>
                  <a:gd name="connsiteY8" fmla="*/ 9525 h 68579"/>
                  <a:gd name="connsiteX9" fmla="*/ 31805 w 121340"/>
                  <a:gd name="connsiteY9" fmla="*/ 14288 h 68579"/>
                  <a:gd name="connsiteX10" fmla="*/ 28948 w 121340"/>
                  <a:gd name="connsiteY10" fmla="*/ 16192 h 68579"/>
                  <a:gd name="connsiteX11" fmla="*/ 27043 w 121340"/>
                  <a:gd name="connsiteY11" fmla="*/ 18098 h 68579"/>
                  <a:gd name="connsiteX12" fmla="*/ 27995 w 121340"/>
                  <a:gd name="connsiteY12" fmla="*/ 19050 h 68579"/>
                  <a:gd name="connsiteX13" fmla="*/ 24185 w 121340"/>
                  <a:gd name="connsiteY13" fmla="*/ 24765 h 68579"/>
                  <a:gd name="connsiteX14" fmla="*/ 19423 w 121340"/>
                  <a:gd name="connsiteY14" fmla="*/ 27623 h 68579"/>
                  <a:gd name="connsiteX15" fmla="*/ 8945 w 121340"/>
                  <a:gd name="connsiteY15" fmla="*/ 29527 h 68579"/>
                  <a:gd name="connsiteX16" fmla="*/ 4182 w 121340"/>
                  <a:gd name="connsiteY16" fmla="*/ 31432 h 68579"/>
                  <a:gd name="connsiteX17" fmla="*/ 1325 w 121340"/>
                  <a:gd name="connsiteY17" fmla="*/ 33338 h 68579"/>
                  <a:gd name="connsiteX18" fmla="*/ 3230 w 121340"/>
                  <a:gd name="connsiteY18" fmla="*/ 38100 h 68579"/>
                  <a:gd name="connsiteX19" fmla="*/ 2278 w 121340"/>
                  <a:gd name="connsiteY19" fmla="*/ 42863 h 68579"/>
                  <a:gd name="connsiteX20" fmla="*/ 1325 w 121340"/>
                  <a:gd name="connsiteY20" fmla="*/ 47625 h 68579"/>
                  <a:gd name="connsiteX21" fmla="*/ 12755 w 121340"/>
                  <a:gd name="connsiteY21" fmla="*/ 49530 h 68579"/>
                  <a:gd name="connsiteX22" fmla="*/ 20375 w 121340"/>
                  <a:gd name="connsiteY22" fmla="*/ 49530 h 68579"/>
                  <a:gd name="connsiteX23" fmla="*/ 27995 w 121340"/>
                  <a:gd name="connsiteY23" fmla="*/ 49530 h 68579"/>
                  <a:gd name="connsiteX24" fmla="*/ 29900 w 121340"/>
                  <a:gd name="connsiteY24" fmla="*/ 51435 h 68579"/>
                  <a:gd name="connsiteX25" fmla="*/ 34663 w 121340"/>
                  <a:gd name="connsiteY25" fmla="*/ 53340 h 68579"/>
                  <a:gd name="connsiteX26" fmla="*/ 42282 w 121340"/>
                  <a:gd name="connsiteY26" fmla="*/ 53340 h 68579"/>
                  <a:gd name="connsiteX27" fmla="*/ 47045 w 121340"/>
                  <a:gd name="connsiteY27" fmla="*/ 56198 h 68579"/>
                  <a:gd name="connsiteX28" fmla="*/ 47045 w 121340"/>
                  <a:gd name="connsiteY28" fmla="*/ 60007 h 68579"/>
                  <a:gd name="connsiteX29" fmla="*/ 47045 w 121340"/>
                  <a:gd name="connsiteY29" fmla="*/ 64770 h 68579"/>
                  <a:gd name="connsiteX30" fmla="*/ 53713 w 121340"/>
                  <a:gd name="connsiteY30" fmla="*/ 68580 h 68579"/>
                  <a:gd name="connsiteX31" fmla="*/ 57523 w 121340"/>
                  <a:gd name="connsiteY31" fmla="*/ 68580 h 68579"/>
                  <a:gd name="connsiteX32" fmla="*/ 62285 w 121340"/>
                  <a:gd name="connsiteY32" fmla="*/ 67627 h 68579"/>
                  <a:gd name="connsiteX33" fmla="*/ 71810 w 121340"/>
                  <a:gd name="connsiteY33" fmla="*/ 65723 h 68579"/>
                  <a:gd name="connsiteX34" fmla="*/ 74668 w 121340"/>
                  <a:gd name="connsiteY34" fmla="*/ 65723 h 68579"/>
                  <a:gd name="connsiteX35" fmla="*/ 75620 w 121340"/>
                  <a:gd name="connsiteY35" fmla="*/ 60007 h 68579"/>
                  <a:gd name="connsiteX36" fmla="*/ 76573 w 121340"/>
                  <a:gd name="connsiteY36" fmla="*/ 57150 h 68579"/>
                  <a:gd name="connsiteX37" fmla="*/ 81335 w 121340"/>
                  <a:gd name="connsiteY37" fmla="*/ 56198 h 68579"/>
                  <a:gd name="connsiteX38" fmla="*/ 88003 w 121340"/>
                  <a:gd name="connsiteY38" fmla="*/ 56198 h 68579"/>
                  <a:gd name="connsiteX39" fmla="*/ 96575 w 121340"/>
                  <a:gd name="connsiteY39" fmla="*/ 56198 h 68579"/>
                  <a:gd name="connsiteX40" fmla="*/ 98480 w 121340"/>
                  <a:gd name="connsiteY40" fmla="*/ 56198 h 68579"/>
                  <a:gd name="connsiteX41" fmla="*/ 104195 w 121340"/>
                  <a:gd name="connsiteY41" fmla="*/ 55245 h 68579"/>
                  <a:gd name="connsiteX42" fmla="*/ 109910 w 121340"/>
                  <a:gd name="connsiteY42" fmla="*/ 53340 h 68579"/>
                  <a:gd name="connsiteX43" fmla="*/ 114673 w 121340"/>
                  <a:gd name="connsiteY43" fmla="*/ 51435 h 68579"/>
                  <a:gd name="connsiteX44" fmla="*/ 120388 w 121340"/>
                  <a:gd name="connsiteY44" fmla="*/ 44767 h 68579"/>
                  <a:gd name="connsiteX45" fmla="*/ 121340 w 121340"/>
                  <a:gd name="connsiteY45" fmla="*/ 40957 h 68579"/>
                  <a:gd name="connsiteX46" fmla="*/ 116578 w 121340"/>
                  <a:gd name="connsiteY46" fmla="*/ 38100 h 68579"/>
                  <a:gd name="connsiteX47" fmla="*/ 108957 w 121340"/>
                  <a:gd name="connsiteY47" fmla="*/ 35242 h 68579"/>
                  <a:gd name="connsiteX48" fmla="*/ 108957 w 121340"/>
                  <a:gd name="connsiteY48" fmla="*/ 29527 h 68579"/>
                  <a:gd name="connsiteX49" fmla="*/ 106100 w 121340"/>
                  <a:gd name="connsiteY49" fmla="*/ 25717 h 68579"/>
                  <a:gd name="connsiteX50" fmla="*/ 101338 w 121340"/>
                  <a:gd name="connsiteY50" fmla="*/ 24765 h 68579"/>
                  <a:gd name="connsiteX51" fmla="*/ 90860 w 121340"/>
                  <a:gd name="connsiteY51" fmla="*/ 21907 h 68579"/>
                  <a:gd name="connsiteX52" fmla="*/ 89907 w 121340"/>
                  <a:gd name="connsiteY52" fmla="*/ 19050 h 68579"/>
                  <a:gd name="connsiteX53" fmla="*/ 82288 w 121340"/>
                  <a:gd name="connsiteY53" fmla="*/ 16192 h 68579"/>
                  <a:gd name="connsiteX54" fmla="*/ 76573 w 121340"/>
                  <a:gd name="connsiteY54" fmla="*/ 15240 h 68579"/>
                  <a:gd name="connsiteX55" fmla="*/ 70857 w 121340"/>
                  <a:gd name="connsiteY55" fmla="*/ 11430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340" h="68579">
                    <a:moveTo>
                      <a:pt x="70857" y="11430"/>
                    </a:moveTo>
                    <a:lnTo>
                      <a:pt x="68000" y="6667"/>
                    </a:lnTo>
                    <a:lnTo>
                      <a:pt x="65143" y="1905"/>
                    </a:lnTo>
                    <a:lnTo>
                      <a:pt x="60380" y="0"/>
                    </a:lnTo>
                    <a:lnTo>
                      <a:pt x="57523" y="952"/>
                    </a:lnTo>
                    <a:lnTo>
                      <a:pt x="49903" y="1905"/>
                    </a:lnTo>
                    <a:lnTo>
                      <a:pt x="44188" y="1905"/>
                    </a:lnTo>
                    <a:cubicBezTo>
                      <a:pt x="44188" y="1905"/>
                      <a:pt x="39425" y="4763"/>
                      <a:pt x="39425" y="5715"/>
                    </a:cubicBezTo>
                    <a:cubicBezTo>
                      <a:pt x="40378" y="6667"/>
                      <a:pt x="37520" y="7620"/>
                      <a:pt x="37520" y="9525"/>
                    </a:cubicBezTo>
                    <a:cubicBezTo>
                      <a:pt x="36568" y="10477"/>
                      <a:pt x="31805" y="14288"/>
                      <a:pt x="31805" y="14288"/>
                    </a:cubicBezTo>
                    <a:lnTo>
                      <a:pt x="28948" y="16192"/>
                    </a:lnTo>
                    <a:cubicBezTo>
                      <a:pt x="28948" y="16192"/>
                      <a:pt x="27043" y="16192"/>
                      <a:pt x="27043" y="18098"/>
                    </a:cubicBezTo>
                    <a:cubicBezTo>
                      <a:pt x="27995" y="19050"/>
                      <a:pt x="27995" y="17145"/>
                      <a:pt x="27995" y="19050"/>
                    </a:cubicBezTo>
                    <a:cubicBezTo>
                      <a:pt x="27995" y="21907"/>
                      <a:pt x="24185" y="24765"/>
                      <a:pt x="24185" y="24765"/>
                    </a:cubicBezTo>
                    <a:lnTo>
                      <a:pt x="19423" y="27623"/>
                    </a:lnTo>
                    <a:lnTo>
                      <a:pt x="8945" y="29527"/>
                    </a:lnTo>
                    <a:lnTo>
                      <a:pt x="4182" y="31432"/>
                    </a:lnTo>
                    <a:lnTo>
                      <a:pt x="1325" y="33338"/>
                    </a:lnTo>
                    <a:cubicBezTo>
                      <a:pt x="3230" y="38100"/>
                      <a:pt x="3230" y="38100"/>
                      <a:pt x="3230" y="38100"/>
                    </a:cubicBezTo>
                    <a:cubicBezTo>
                      <a:pt x="3230" y="38100"/>
                      <a:pt x="1325" y="40957"/>
                      <a:pt x="2278" y="42863"/>
                    </a:cubicBezTo>
                    <a:cubicBezTo>
                      <a:pt x="3230" y="43815"/>
                      <a:pt x="-2485" y="46673"/>
                      <a:pt x="1325" y="47625"/>
                    </a:cubicBezTo>
                    <a:cubicBezTo>
                      <a:pt x="5135" y="48577"/>
                      <a:pt x="9898" y="48577"/>
                      <a:pt x="12755" y="49530"/>
                    </a:cubicBezTo>
                    <a:cubicBezTo>
                      <a:pt x="14660" y="50482"/>
                      <a:pt x="17518" y="48577"/>
                      <a:pt x="20375" y="49530"/>
                    </a:cubicBezTo>
                    <a:cubicBezTo>
                      <a:pt x="23232" y="50482"/>
                      <a:pt x="27995" y="49530"/>
                      <a:pt x="27995" y="49530"/>
                    </a:cubicBezTo>
                    <a:lnTo>
                      <a:pt x="29900" y="51435"/>
                    </a:lnTo>
                    <a:cubicBezTo>
                      <a:pt x="29900" y="51435"/>
                      <a:pt x="31805" y="53340"/>
                      <a:pt x="34663" y="53340"/>
                    </a:cubicBezTo>
                    <a:cubicBezTo>
                      <a:pt x="36568" y="53340"/>
                      <a:pt x="39425" y="53340"/>
                      <a:pt x="42282" y="53340"/>
                    </a:cubicBezTo>
                    <a:cubicBezTo>
                      <a:pt x="45140" y="54292"/>
                      <a:pt x="47045" y="54292"/>
                      <a:pt x="47045" y="56198"/>
                    </a:cubicBezTo>
                    <a:cubicBezTo>
                      <a:pt x="47998" y="58102"/>
                      <a:pt x="46093" y="58102"/>
                      <a:pt x="47045" y="60007"/>
                    </a:cubicBezTo>
                    <a:cubicBezTo>
                      <a:pt x="47998" y="61913"/>
                      <a:pt x="45140" y="62865"/>
                      <a:pt x="47045" y="64770"/>
                    </a:cubicBezTo>
                    <a:cubicBezTo>
                      <a:pt x="48950" y="66675"/>
                      <a:pt x="53713" y="68580"/>
                      <a:pt x="53713" y="68580"/>
                    </a:cubicBezTo>
                    <a:lnTo>
                      <a:pt x="57523" y="68580"/>
                    </a:lnTo>
                    <a:cubicBezTo>
                      <a:pt x="57523" y="68580"/>
                      <a:pt x="58475" y="68580"/>
                      <a:pt x="62285" y="67627"/>
                    </a:cubicBezTo>
                    <a:cubicBezTo>
                      <a:pt x="66095" y="67627"/>
                      <a:pt x="71810" y="65723"/>
                      <a:pt x="71810" y="65723"/>
                    </a:cubicBezTo>
                    <a:lnTo>
                      <a:pt x="74668" y="65723"/>
                    </a:lnTo>
                    <a:lnTo>
                      <a:pt x="75620" y="60007"/>
                    </a:lnTo>
                    <a:lnTo>
                      <a:pt x="76573" y="57150"/>
                    </a:lnTo>
                    <a:lnTo>
                      <a:pt x="81335" y="56198"/>
                    </a:lnTo>
                    <a:cubicBezTo>
                      <a:pt x="81335" y="56198"/>
                      <a:pt x="86098" y="56198"/>
                      <a:pt x="88003" y="56198"/>
                    </a:cubicBezTo>
                    <a:cubicBezTo>
                      <a:pt x="89907" y="57150"/>
                      <a:pt x="94670" y="56198"/>
                      <a:pt x="96575" y="56198"/>
                    </a:cubicBezTo>
                    <a:cubicBezTo>
                      <a:pt x="98480" y="56198"/>
                      <a:pt x="96575" y="56198"/>
                      <a:pt x="98480" y="56198"/>
                    </a:cubicBezTo>
                    <a:cubicBezTo>
                      <a:pt x="100385" y="55245"/>
                      <a:pt x="104195" y="55245"/>
                      <a:pt x="104195" y="55245"/>
                    </a:cubicBezTo>
                    <a:lnTo>
                      <a:pt x="109910" y="53340"/>
                    </a:lnTo>
                    <a:cubicBezTo>
                      <a:pt x="109910" y="53340"/>
                      <a:pt x="111815" y="52388"/>
                      <a:pt x="114673" y="51435"/>
                    </a:cubicBezTo>
                    <a:cubicBezTo>
                      <a:pt x="117530" y="51435"/>
                      <a:pt x="120388" y="44767"/>
                      <a:pt x="120388" y="44767"/>
                    </a:cubicBezTo>
                    <a:lnTo>
                      <a:pt x="121340" y="40957"/>
                    </a:lnTo>
                    <a:lnTo>
                      <a:pt x="116578" y="38100"/>
                    </a:lnTo>
                    <a:cubicBezTo>
                      <a:pt x="116578" y="38100"/>
                      <a:pt x="108957" y="36195"/>
                      <a:pt x="108957" y="35242"/>
                    </a:cubicBezTo>
                    <a:cubicBezTo>
                      <a:pt x="109910" y="34290"/>
                      <a:pt x="108957" y="29527"/>
                      <a:pt x="108957" y="29527"/>
                    </a:cubicBezTo>
                    <a:lnTo>
                      <a:pt x="106100" y="25717"/>
                    </a:lnTo>
                    <a:lnTo>
                      <a:pt x="101338" y="24765"/>
                    </a:lnTo>
                    <a:lnTo>
                      <a:pt x="90860" y="21907"/>
                    </a:lnTo>
                    <a:lnTo>
                      <a:pt x="89907" y="19050"/>
                    </a:lnTo>
                    <a:lnTo>
                      <a:pt x="82288" y="16192"/>
                    </a:lnTo>
                    <a:lnTo>
                      <a:pt x="76573" y="15240"/>
                    </a:lnTo>
                    <a:lnTo>
                      <a:pt x="70857" y="11430"/>
                    </a:lnTo>
                    <a:close/>
                  </a:path>
                </a:pathLst>
              </a:custGeom>
              <a:grpFill/>
              <a:ln w="9525" cap="flat">
                <a:noFill/>
                <a:prstDash val="solid"/>
                <a:miter/>
              </a:ln>
            </p:spPr>
            <p:txBody>
              <a:bodyPr rtlCol="0" anchor="ctr"/>
              <a:lstStyle/>
              <a:p>
                <a:endParaRPr lang="en-US" sz="1765"/>
              </a:p>
            </p:txBody>
          </p:sp>
          <p:sp>
            <p:nvSpPr>
              <p:cNvPr id="284" name="Freeform: Shape 283">
                <a:extLst>
                  <a:ext uri="{FF2B5EF4-FFF2-40B4-BE49-F238E27FC236}">
                    <a16:creationId xmlns:a16="http://schemas.microsoft.com/office/drawing/2014/main" id="{7E594666-50AE-42EF-8C73-DD2FC523499F}"/>
                  </a:ext>
                </a:extLst>
              </p:cNvPr>
              <p:cNvSpPr/>
              <p:nvPr/>
            </p:nvSpPr>
            <p:spPr>
              <a:xfrm>
                <a:off x="7826721" y="3175364"/>
                <a:ext cx="181927" cy="61912"/>
              </a:xfrm>
              <a:custGeom>
                <a:avLst/>
                <a:gdLst>
                  <a:gd name="connsiteX0" fmla="*/ 152400 w 181927"/>
                  <a:gd name="connsiteY0" fmla="*/ 1905 h 61912"/>
                  <a:gd name="connsiteX1" fmla="*/ 140970 w 181927"/>
                  <a:gd name="connsiteY1" fmla="*/ 0 h 61912"/>
                  <a:gd name="connsiteX2" fmla="*/ 135255 w 181927"/>
                  <a:gd name="connsiteY2" fmla="*/ 0 h 61912"/>
                  <a:gd name="connsiteX3" fmla="*/ 126683 w 181927"/>
                  <a:gd name="connsiteY3" fmla="*/ 952 h 61912"/>
                  <a:gd name="connsiteX4" fmla="*/ 117158 w 181927"/>
                  <a:gd name="connsiteY4" fmla="*/ 3810 h 61912"/>
                  <a:gd name="connsiteX5" fmla="*/ 111443 w 181927"/>
                  <a:gd name="connsiteY5" fmla="*/ 4763 h 61912"/>
                  <a:gd name="connsiteX6" fmla="*/ 100965 w 181927"/>
                  <a:gd name="connsiteY6" fmla="*/ 5715 h 61912"/>
                  <a:gd name="connsiteX7" fmla="*/ 92393 w 181927"/>
                  <a:gd name="connsiteY7" fmla="*/ 5715 h 61912"/>
                  <a:gd name="connsiteX8" fmla="*/ 83820 w 181927"/>
                  <a:gd name="connsiteY8" fmla="*/ 6667 h 61912"/>
                  <a:gd name="connsiteX9" fmla="*/ 76200 w 181927"/>
                  <a:gd name="connsiteY9" fmla="*/ 7620 h 61912"/>
                  <a:gd name="connsiteX10" fmla="*/ 61913 w 181927"/>
                  <a:gd name="connsiteY10" fmla="*/ 7620 h 61912"/>
                  <a:gd name="connsiteX11" fmla="*/ 46673 w 181927"/>
                  <a:gd name="connsiteY11" fmla="*/ 5715 h 61912"/>
                  <a:gd name="connsiteX12" fmla="*/ 33338 w 181927"/>
                  <a:gd name="connsiteY12" fmla="*/ 2857 h 61912"/>
                  <a:gd name="connsiteX13" fmla="*/ 24765 w 181927"/>
                  <a:gd name="connsiteY13" fmla="*/ 952 h 61912"/>
                  <a:gd name="connsiteX14" fmla="*/ 14288 w 181927"/>
                  <a:gd name="connsiteY14" fmla="*/ 952 h 61912"/>
                  <a:gd name="connsiteX15" fmla="*/ 8573 w 181927"/>
                  <a:gd name="connsiteY15" fmla="*/ 1905 h 61912"/>
                  <a:gd name="connsiteX16" fmla="*/ 0 w 181927"/>
                  <a:gd name="connsiteY16" fmla="*/ 3810 h 61912"/>
                  <a:gd name="connsiteX17" fmla="*/ 953 w 181927"/>
                  <a:gd name="connsiteY17" fmla="*/ 10477 h 61912"/>
                  <a:gd name="connsiteX18" fmla="*/ 12383 w 181927"/>
                  <a:gd name="connsiteY18" fmla="*/ 12382 h 61912"/>
                  <a:gd name="connsiteX19" fmla="*/ 29528 w 181927"/>
                  <a:gd name="connsiteY19" fmla="*/ 21907 h 61912"/>
                  <a:gd name="connsiteX20" fmla="*/ 30480 w 181927"/>
                  <a:gd name="connsiteY20" fmla="*/ 23813 h 61912"/>
                  <a:gd name="connsiteX21" fmla="*/ 29528 w 181927"/>
                  <a:gd name="connsiteY21" fmla="*/ 29527 h 61912"/>
                  <a:gd name="connsiteX22" fmla="*/ 37148 w 181927"/>
                  <a:gd name="connsiteY22" fmla="*/ 34290 h 61912"/>
                  <a:gd name="connsiteX23" fmla="*/ 38100 w 181927"/>
                  <a:gd name="connsiteY23" fmla="*/ 36195 h 61912"/>
                  <a:gd name="connsiteX24" fmla="*/ 39053 w 181927"/>
                  <a:gd name="connsiteY24" fmla="*/ 41910 h 61912"/>
                  <a:gd name="connsiteX25" fmla="*/ 40005 w 181927"/>
                  <a:gd name="connsiteY25" fmla="*/ 45720 h 61912"/>
                  <a:gd name="connsiteX26" fmla="*/ 49530 w 181927"/>
                  <a:gd name="connsiteY26" fmla="*/ 48577 h 61912"/>
                  <a:gd name="connsiteX27" fmla="*/ 57150 w 181927"/>
                  <a:gd name="connsiteY27" fmla="*/ 49530 h 61912"/>
                  <a:gd name="connsiteX28" fmla="*/ 60960 w 181927"/>
                  <a:gd name="connsiteY28" fmla="*/ 54292 h 61912"/>
                  <a:gd name="connsiteX29" fmla="*/ 66675 w 181927"/>
                  <a:gd name="connsiteY29" fmla="*/ 57150 h 61912"/>
                  <a:gd name="connsiteX30" fmla="*/ 74295 w 181927"/>
                  <a:gd name="connsiteY30" fmla="*/ 60007 h 61912"/>
                  <a:gd name="connsiteX31" fmla="*/ 81915 w 181927"/>
                  <a:gd name="connsiteY31" fmla="*/ 61913 h 61912"/>
                  <a:gd name="connsiteX32" fmla="*/ 93345 w 181927"/>
                  <a:gd name="connsiteY32" fmla="*/ 59055 h 61912"/>
                  <a:gd name="connsiteX33" fmla="*/ 107633 w 181927"/>
                  <a:gd name="connsiteY33" fmla="*/ 59055 h 61912"/>
                  <a:gd name="connsiteX34" fmla="*/ 112395 w 181927"/>
                  <a:gd name="connsiteY34" fmla="*/ 56197 h 61912"/>
                  <a:gd name="connsiteX35" fmla="*/ 115253 w 181927"/>
                  <a:gd name="connsiteY35" fmla="*/ 50482 h 61912"/>
                  <a:gd name="connsiteX36" fmla="*/ 120968 w 181927"/>
                  <a:gd name="connsiteY36" fmla="*/ 47625 h 61912"/>
                  <a:gd name="connsiteX37" fmla="*/ 130493 w 181927"/>
                  <a:gd name="connsiteY37" fmla="*/ 45720 h 61912"/>
                  <a:gd name="connsiteX38" fmla="*/ 138113 w 181927"/>
                  <a:gd name="connsiteY38" fmla="*/ 44767 h 61912"/>
                  <a:gd name="connsiteX39" fmla="*/ 143828 w 181927"/>
                  <a:gd name="connsiteY39" fmla="*/ 40005 h 61912"/>
                  <a:gd name="connsiteX40" fmla="*/ 147638 w 181927"/>
                  <a:gd name="connsiteY40" fmla="*/ 36195 h 61912"/>
                  <a:gd name="connsiteX41" fmla="*/ 159068 w 181927"/>
                  <a:gd name="connsiteY41" fmla="*/ 34290 h 61912"/>
                  <a:gd name="connsiteX42" fmla="*/ 166688 w 181927"/>
                  <a:gd name="connsiteY42" fmla="*/ 35242 h 61912"/>
                  <a:gd name="connsiteX43" fmla="*/ 171450 w 181927"/>
                  <a:gd name="connsiteY43" fmla="*/ 35242 h 61912"/>
                  <a:gd name="connsiteX44" fmla="*/ 179070 w 181927"/>
                  <a:gd name="connsiteY44" fmla="*/ 32385 h 61912"/>
                  <a:gd name="connsiteX45" fmla="*/ 181928 w 181927"/>
                  <a:gd name="connsiteY45" fmla="*/ 23813 h 61912"/>
                  <a:gd name="connsiteX46" fmla="*/ 180975 w 181927"/>
                  <a:gd name="connsiteY46" fmla="*/ 20002 h 61912"/>
                  <a:gd name="connsiteX47" fmla="*/ 173355 w 181927"/>
                  <a:gd name="connsiteY47" fmla="*/ 17145 h 61912"/>
                  <a:gd name="connsiteX48" fmla="*/ 168593 w 181927"/>
                  <a:gd name="connsiteY48" fmla="*/ 15240 h 61912"/>
                  <a:gd name="connsiteX49" fmla="*/ 164783 w 181927"/>
                  <a:gd name="connsiteY49" fmla="*/ 12382 h 61912"/>
                  <a:gd name="connsiteX50" fmla="*/ 161925 w 181927"/>
                  <a:gd name="connsiteY50" fmla="*/ 10477 h 61912"/>
                  <a:gd name="connsiteX51" fmla="*/ 158115 w 181927"/>
                  <a:gd name="connsiteY51" fmla="*/ 10477 h 61912"/>
                  <a:gd name="connsiteX52" fmla="*/ 154305 w 181927"/>
                  <a:gd name="connsiteY52" fmla="*/ 7620 h 61912"/>
                  <a:gd name="connsiteX53" fmla="*/ 152400 w 181927"/>
                  <a:gd name="connsiteY53" fmla="*/ 190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1927" h="61912">
                    <a:moveTo>
                      <a:pt x="152400" y="1905"/>
                    </a:moveTo>
                    <a:lnTo>
                      <a:pt x="140970" y="0"/>
                    </a:lnTo>
                    <a:lnTo>
                      <a:pt x="135255" y="0"/>
                    </a:lnTo>
                    <a:lnTo>
                      <a:pt x="126683" y="952"/>
                    </a:lnTo>
                    <a:lnTo>
                      <a:pt x="117158" y="3810"/>
                    </a:lnTo>
                    <a:lnTo>
                      <a:pt x="111443" y="4763"/>
                    </a:lnTo>
                    <a:lnTo>
                      <a:pt x="100965" y="5715"/>
                    </a:lnTo>
                    <a:lnTo>
                      <a:pt x="92393" y="5715"/>
                    </a:lnTo>
                    <a:lnTo>
                      <a:pt x="83820" y="6667"/>
                    </a:lnTo>
                    <a:cubicBezTo>
                      <a:pt x="83820" y="6667"/>
                      <a:pt x="79058" y="6667"/>
                      <a:pt x="76200" y="7620"/>
                    </a:cubicBezTo>
                    <a:cubicBezTo>
                      <a:pt x="73343" y="8572"/>
                      <a:pt x="61913" y="7620"/>
                      <a:pt x="61913" y="7620"/>
                    </a:cubicBezTo>
                    <a:lnTo>
                      <a:pt x="46673" y="5715"/>
                    </a:lnTo>
                    <a:lnTo>
                      <a:pt x="33338" y="2857"/>
                    </a:lnTo>
                    <a:lnTo>
                      <a:pt x="24765" y="952"/>
                    </a:lnTo>
                    <a:lnTo>
                      <a:pt x="14288" y="952"/>
                    </a:lnTo>
                    <a:lnTo>
                      <a:pt x="8573" y="1905"/>
                    </a:lnTo>
                    <a:lnTo>
                      <a:pt x="0" y="3810"/>
                    </a:lnTo>
                    <a:lnTo>
                      <a:pt x="953" y="10477"/>
                    </a:lnTo>
                    <a:cubicBezTo>
                      <a:pt x="5715" y="12382"/>
                      <a:pt x="10478" y="12382"/>
                      <a:pt x="12383" y="12382"/>
                    </a:cubicBezTo>
                    <a:cubicBezTo>
                      <a:pt x="14288" y="13335"/>
                      <a:pt x="29528" y="21907"/>
                      <a:pt x="29528" y="21907"/>
                    </a:cubicBezTo>
                    <a:cubicBezTo>
                      <a:pt x="29528" y="21907"/>
                      <a:pt x="29528" y="21907"/>
                      <a:pt x="30480" y="23813"/>
                    </a:cubicBezTo>
                    <a:cubicBezTo>
                      <a:pt x="31433" y="25717"/>
                      <a:pt x="28575" y="27622"/>
                      <a:pt x="29528" y="29527"/>
                    </a:cubicBezTo>
                    <a:cubicBezTo>
                      <a:pt x="30480" y="31432"/>
                      <a:pt x="35243" y="32385"/>
                      <a:pt x="37148" y="34290"/>
                    </a:cubicBezTo>
                    <a:cubicBezTo>
                      <a:pt x="38100" y="36195"/>
                      <a:pt x="36195" y="32385"/>
                      <a:pt x="38100" y="36195"/>
                    </a:cubicBezTo>
                    <a:cubicBezTo>
                      <a:pt x="40958" y="40005"/>
                      <a:pt x="39053" y="38100"/>
                      <a:pt x="39053" y="41910"/>
                    </a:cubicBezTo>
                    <a:cubicBezTo>
                      <a:pt x="40005" y="45720"/>
                      <a:pt x="40005" y="45720"/>
                      <a:pt x="40005" y="45720"/>
                    </a:cubicBezTo>
                    <a:lnTo>
                      <a:pt x="49530" y="48577"/>
                    </a:lnTo>
                    <a:cubicBezTo>
                      <a:pt x="49530" y="48577"/>
                      <a:pt x="57150" y="46672"/>
                      <a:pt x="57150" y="49530"/>
                    </a:cubicBezTo>
                    <a:cubicBezTo>
                      <a:pt x="58103" y="51435"/>
                      <a:pt x="59055" y="52388"/>
                      <a:pt x="60960" y="54292"/>
                    </a:cubicBezTo>
                    <a:cubicBezTo>
                      <a:pt x="62865" y="56197"/>
                      <a:pt x="66675" y="57150"/>
                      <a:pt x="66675" y="57150"/>
                    </a:cubicBezTo>
                    <a:lnTo>
                      <a:pt x="74295" y="60007"/>
                    </a:lnTo>
                    <a:lnTo>
                      <a:pt x="81915" y="61913"/>
                    </a:lnTo>
                    <a:cubicBezTo>
                      <a:pt x="81915" y="61913"/>
                      <a:pt x="90488" y="58102"/>
                      <a:pt x="93345" y="59055"/>
                    </a:cubicBezTo>
                    <a:cubicBezTo>
                      <a:pt x="97155" y="60007"/>
                      <a:pt x="107633" y="59055"/>
                      <a:pt x="107633" y="59055"/>
                    </a:cubicBezTo>
                    <a:lnTo>
                      <a:pt x="112395" y="56197"/>
                    </a:lnTo>
                    <a:lnTo>
                      <a:pt x="115253" y="50482"/>
                    </a:lnTo>
                    <a:cubicBezTo>
                      <a:pt x="115253" y="50482"/>
                      <a:pt x="116205" y="48577"/>
                      <a:pt x="120968" y="47625"/>
                    </a:cubicBezTo>
                    <a:cubicBezTo>
                      <a:pt x="125730" y="46672"/>
                      <a:pt x="130493" y="45720"/>
                      <a:pt x="130493" y="45720"/>
                    </a:cubicBezTo>
                    <a:lnTo>
                      <a:pt x="138113" y="44767"/>
                    </a:lnTo>
                    <a:lnTo>
                      <a:pt x="143828" y="40005"/>
                    </a:lnTo>
                    <a:cubicBezTo>
                      <a:pt x="143828" y="40005"/>
                      <a:pt x="143828" y="36195"/>
                      <a:pt x="147638" y="36195"/>
                    </a:cubicBezTo>
                    <a:cubicBezTo>
                      <a:pt x="151448" y="36195"/>
                      <a:pt x="156210" y="33338"/>
                      <a:pt x="159068" y="34290"/>
                    </a:cubicBezTo>
                    <a:cubicBezTo>
                      <a:pt x="161925" y="35242"/>
                      <a:pt x="166688" y="35242"/>
                      <a:pt x="166688" y="35242"/>
                    </a:cubicBezTo>
                    <a:lnTo>
                      <a:pt x="171450" y="35242"/>
                    </a:lnTo>
                    <a:lnTo>
                      <a:pt x="179070" y="32385"/>
                    </a:lnTo>
                    <a:lnTo>
                      <a:pt x="181928" y="23813"/>
                    </a:lnTo>
                    <a:lnTo>
                      <a:pt x="180975" y="20002"/>
                    </a:lnTo>
                    <a:lnTo>
                      <a:pt x="173355" y="17145"/>
                    </a:lnTo>
                    <a:lnTo>
                      <a:pt x="168593" y="15240"/>
                    </a:lnTo>
                    <a:lnTo>
                      <a:pt x="164783" y="12382"/>
                    </a:lnTo>
                    <a:cubicBezTo>
                      <a:pt x="164783" y="12382"/>
                      <a:pt x="165735" y="10477"/>
                      <a:pt x="161925" y="10477"/>
                    </a:cubicBezTo>
                    <a:cubicBezTo>
                      <a:pt x="158115" y="10477"/>
                      <a:pt x="158115" y="10477"/>
                      <a:pt x="158115" y="10477"/>
                    </a:cubicBezTo>
                    <a:lnTo>
                      <a:pt x="154305" y="7620"/>
                    </a:lnTo>
                    <a:lnTo>
                      <a:pt x="152400" y="1905"/>
                    </a:lnTo>
                    <a:close/>
                  </a:path>
                </a:pathLst>
              </a:custGeom>
              <a:grpFill/>
              <a:ln w="9525" cap="flat">
                <a:noFill/>
                <a:prstDash val="solid"/>
                <a:miter/>
              </a:ln>
            </p:spPr>
            <p:txBody>
              <a:bodyPr rtlCol="0" anchor="ctr"/>
              <a:lstStyle/>
              <a:p>
                <a:endParaRPr lang="en-US" sz="1765"/>
              </a:p>
            </p:txBody>
          </p:sp>
          <p:sp>
            <p:nvSpPr>
              <p:cNvPr id="285" name="Freeform: Shape 284">
                <a:extLst>
                  <a:ext uri="{FF2B5EF4-FFF2-40B4-BE49-F238E27FC236}">
                    <a16:creationId xmlns:a16="http://schemas.microsoft.com/office/drawing/2014/main" id="{2FF21767-EE48-4CA3-B66A-9765C2A4C81E}"/>
                  </a:ext>
                </a:extLst>
              </p:cNvPr>
              <p:cNvSpPr/>
              <p:nvPr/>
            </p:nvSpPr>
            <p:spPr>
              <a:xfrm>
                <a:off x="6775161" y="3774486"/>
                <a:ext cx="164782" cy="41909"/>
              </a:xfrm>
              <a:custGeom>
                <a:avLst/>
                <a:gdLst>
                  <a:gd name="connsiteX0" fmla="*/ 160973 w 164782"/>
                  <a:gd name="connsiteY0" fmla="*/ 40005 h 41909"/>
                  <a:gd name="connsiteX1" fmla="*/ 155258 w 164782"/>
                  <a:gd name="connsiteY1" fmla="*/ 40005 h 41909"/>
                  <a:gd name="connsiteX2" fmla="*/ 142875 w 164782"/>
                  <a:gd name="connsiteY2" fmla="*/ 41910 h 41909"/>
                  <a:gd name="connsiteX3" fmla="*/ 134303 w 164782"/>
                  <a:gd name="connsiteY3" fmla="*/ 40957 h 41909"/>
                  <a:gd name="connsiteX4" fmla="*/ 128588 w 164782"/>
                  <a:gd name="connsiteY4" fmla="*/ 38100 h 41909"/>
                  <a:gd name="connsiteX5" fmla="*/ 122873 w 164782"/>
                  <a:gd name="connsiteY5" fmla="*/ 35242 h 41909"/>
                  <a:gd name="connsiteX6" fmla="*/ 120015 w 164782"/>
                  <a:gd name="connsiteY6" fmla="*/ 32385 h 41909"/>
                  <a:gd name="connsiteX7" fmla="*/ 116205 w 164782"/>
                  <a:gd name="connsiteY7" fmla="*/ 30480 h 41909"/>
                  <a:gd name="connsiteX8" fmla="*/ 108585 w 164782"/>
                  <a:gd name="connsiteY8" fmla="*/ 28575 h 41909"/>
                  <a:gd name="connsiteX9" fmla="*/ 103823 w 164782"/>
                  <a:gd name="connsiteY9" fmla="*/ 27622 h 41909"/>
                  <a:gd name="connsiteX10" fmla="*/ 99060 w 164782"/>
                  <a:gd name="connsiteY10" fmla="*/ 25717 h 41909"/>
                  <a:gd name="connsiteX11" fmla="*/ 89535 w 164782"/>
                  <a:gd name="connsiteY11" fmla="*/ 23813 h 41909"/>
                  <a:gd name="connsiteX12" fmla="*/ 82868 w 164782"/>
                  <a:gd name="connsiteY12" fmla="*/ 22860 h 41909"/>
                  <a:gd name="connsiteX13" fmla="*/ 73343 w 164782"/>
                  <a:gd name="connsiteY13" fmla="*/ 19050 h 41909"/>
                  <a:gd name="connsiteX14" fmla="*/ 61913 w 164782"/>
                  <a:gd name="connsiteY14" fmla="*/ 16192 h 41909"/>
                  <a:gd name="connsiteX15" fmla="*/ 57150 w 164782"/>
                  <a:gd name="connsiteY15" fmla="*/ 15240 h 41909"/>
                  <a:gd name="connsiteX16" fmla="*/ 53340 w 164782"/>
                  <a:gd name="connsiteY16" fmla="*/ 15240 h 41909"/>
                  <a:gd name="connsiteX17" fmla="*/ 45720 w 164782"/>
                  <a:gd name="connsiteY17" fmla="*/ 15240 h 41909"/>
                  <a:gd name="connsiteX18" fmla="*/ 37148 w 164782"/>
                  <a:gd name="connsiteY18" fmla="*/ 16192 h 41909"/>
                  <a:gd name="connsiteX19" fmla="*/ 30480 w 164782"/>
                  <a:gd name="connsiteY19" fmla="*/ 16192 h 41909"/>
                  <a:gd name="connsiteX20" fmla="*/ 20003 w 164782"/>
                  <a:gd name="connsiteY20" fmla="*/ 16192 h 41909"/>
                  <a:gd name="connsiteX21" fmla="*/ 13335 w 164782"/>
                  <a:gd name="connsiteY21" fmla="*/ 15240 h 41909"/>
                  <a:gd name="connsiteX22" fmla="*/ 4763 w 164782"/>
                  <a:gd name="connsiteY22" fmla="*/ 14288 h 41909"/>
                  <a:gd name="connsiteX23" fmla="*/ 0 w 164782"/>
                  <a:gd name="connsiteY23" fmla="*/ 8572 h 41909"/>
                  <a:gd name="connsiteX24" fmla="*/ 0 w 164782"/>
                  <a:gd name="connsiteY24" fmla="*/ 4763 h 41909"/>
                  <a:gd name="connsiteX25" fmla="*/ 3810 w 164782"/>
                  <a:gd name="connsiteY25" fmla="*/ 3810 h 41909"/>
                  <a:gd name="connsiteX26" fmla="*/ 8573 w 164782"/>
                  <a:gd name="connsiteY26" fmla="*/ 3810 h 41909"/>
                  <a:gd name="connsiteX27" fmla="*/ 16193 w 164782"/>
                  <a:gd name="connsiteY27" fmla="*/ 952 h 41909"/>
                  <a:gd name="connsiteX28" fmla="*/ 20955 w 164782"/>
                  <a:gd name="connsiteY28" fmla="*/ 0 h 41909"/>
                  <a:gd name="connsiteX29" fmla="*/ 22860 w 164782"/>
                  <a:gd name="connsiteY29" fmla="*/ 0 h 41909"/>
                  <a:gd name="connsiteX30" fmla="*/ 32385 w 164782"/>
                  <a:gd name="connsiteY30" fmla="*/ 952 h 41909"/>
                  <a:gd name="connsiteX31" fmla="*/ 40958 w 164782"/>
                  <a:gd name="connsiteY31" fmla="*/ 1905 h 41909"/>
                  <a:gd name="connsiteX32" fmla="*/ 52388 w 164782"/>
                  <a:gd name="connsiteY32" fmla="*/ 952 h 41909"/>
                  <a:gd name="connsiteX33" fmla="*/ 59055 w 164782"/>
                  <a:gd name="connsiteY33" fmla="*/ 952 h 41909"/>
                  <a:gd name="connsiteX34" fmla="*/ 70485 w 164782"/>
                  <a:gd name="connsiteY34" fmla="*/ 1905 h 41909"/>
                  <a:gd name="connsiteX35" fmla="*/ 81915 w 164782"/>
                  <a:gd name="connsiteY35" fmla="*/ 2857 h 41909"/>
                  <a:gd name="connsiteX36" fmla="*/ 89535 w 164782"/>
                  <a:gd name="connsiteY36" fmla="*/ 5715 h 41909"/>
                  <a:gd name="connsiteX37" fmla="*/ 97155 w 164782"/>
                  <a:gd name="connsiteY37" fmla="*/ 7620 h 41909"/>
                  <a:gd name="connsiteX38" fmla="*/ 104775 w 164782"/>
                  <a:gd name="connsiteY38" fmla="*/ 7620 h 41909"/>
                  <a:gd name="connsiteX39" fmla="*/ 113348 w 164782"/>
                  <a:gd name="connsiteY39" fmla="*/ 9525 h 41909"/>
                  <a:gd name="connsiteX40" fmla="*/ 118110 w 164782"/>
                  <a:gd name="connsiteY40" fmla="*/ 13335 h 41909"/>
                  <a:gd name="connsiteX41" fmla="*/ 123825 w 164782"/>
                  <a:gd name="connsiteY41" fmla="*/ 16192 h 41909"/>
                  <a:gd name="connsiteX42" fmla="*/ 130493 w 164782"/>
                  <a:gd name="connsiteY42" fmla="*/ 20002 h 41909"/>
                  <a:gd name="connsiteX43" fmla="*/ 139065 w 164782"/>
                  <a:gd name="connsiteY43" fmla="*/ 21907 h 41909"/>
                  <a:gd name="connsiteX44" fmla="*/ 151448 w 164782"/>
                  <a:gd name="connsiteY44" fmla="*/ 22860 h 41909"/>
                  <a:gd name="connsiteX45" fmla="*/ 160020 w 164782"/>
                  <a:gd name="connsiteY45" fmla="*/ 23813 h 41909"/>
                  <a:gd name="connsiteX46" fmla="*/ 164783 w 164782"/>
                  <a:gd name="connsiteY46" fmla="*/ 27622 h 41909"/>
                  <a:gd name="connsiteX47" fmla="*/ 161925 w 164782"/>
                  <a:gd name="connsiteY47" fmla="*/ 33338 h 41909"/>
                  <a:gd name="connsiteX48" fmla="*/ 160973 w 164782"/>
                  <a:gd name="connsiteY48" fmla="*/ 40005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782" h="41909">
                    <a:moveTo>
                      <a:pt x="160973" y="40005"/>
                    </a:moveTo>
                    <a:cubicBezTo>
                      <a:pt x="160973" y="40005"/>
                      <a:pt x="158115" y="38100"/>
                      <a:pt x="155258" y="40005"/>
                    </a:cubicBezTo>
                    <a:cubicBezTo>
                      <a:pt x="152400" y="40957"/>
                      <a:pt x="142875" y="41910"/>
                      <a:pt x="142875" y="41910"/>
                    </a:cubicBezTo>
                    <a:lnTo>
                      <a:pt x="134303" y="40957"/>
                    </a:lnTo>
                    <a:lnTo>
                      <a:pt x="128588" y="38100"/>
                    </a:lnTo>
                    <a:lnTo>
                      <a:pt x="122873" y="35242"/>
                    </a:lnTo>
                    <a:lnTo>
                      <a:pt x="120015" y="32385"/>
                    </a:lnTo>
                    <a:lnTo>
                      <a:pt x="116205" y="30480"/>
                    </a:lnTo>
                    <a:lnTo>
                      <a:pt x="108585" y="28575"/>
                    </a:lnTo>
                    <a:lnTo>
                      <a:pt x="103823" y="27622"/>
                    </a:lnTo>
                    <a:lnTo>
                      <a:pt x="99060" y="25717"/>
                    </a:lnTo>
                    <a:lnTo>
                      <a:pt x="89535" y="23813"/>
                    </a:lnTo>
                    <a:lnTo>
                      <a:pt x="82868" y="22860"/>
                    </a:lnTo>
                    <a:lnTo>
                      <a:pt x="73343" y="19050"/>
                    </a:lnTo>
                    <a:lnTo>
                      <a:pt x="61913" y="16192"/>
                    </a:lnTo>
                    <a:lnTo>
                      <a:pt x="57150" y="15240"/>
                    </a:lnTo>
                    <a:lnTo>
                      <a:pt x="53340" y="15240"/>
                    </a:lnTo>
                    <a:cubicBezTo>
                      <a:pt x="53340" y="15240"/>
                      <a:pt x="47625" y="14288"/>
                      <a:pt x="45720" y="15240"/>
                    </a:cubicBezTo>
                    <a:cubicBezTo>
                      <a:pt x="43815" y="16192"/>
                      <a:pt x="37148" y="16192"/>
                      <a:pt x="37148" y="16192"/>
                    </a:cubicBezTo>
                    <a:cubicBezTo>
                      <a:pt x="37148" y="16192"/>
                      <a:pt x="37148" y="15240"/>
                      <a:pt x="30480" y="16192"/>
                    </a:cubicBezTo>
                    <a:cubicBezTo>
                      <a:pt x="23813" y="17145"/>
                      <a:pt x="20003" y="16192"/>
                      <a:pt x="20003" y="16192"/>
                    </a:cubicBezTo>
                    <a:lnTo>
                      <a:pt x="13335" y="15240"/>
                    </a:lnTo>
                    <a:lnTo>
                      <a:pt x="4763" y="14288"/>
                    </a:lnTo>
                    <a:lnTo>
                      <a:pt x="0" y="8572"/>
                    </a:lnTo>
                    <a:lnTo>
                      <a:pt x="0" y="4763"/>
                    </a:lnTo>
                    <a:cubicBezTo>
                      <a:pt x="3810" y="3810"/>
                      <a:pt x="-952" y="3810"/>
                      <a:pt x="3810" y="3810"/>
                    </a:cubicBezTo>
                    <a:cubicBezTo>
                      <a:pt x="8573" y="3810"/>
                      <a:pt x="8573" y="3810"/>
                      <a:pt x="8573" y="3810"/>
                    </a:cubicBezTo>
                    <a:lnTo>
                      <a:pt x="16193" y="952"/>
                    </a:lnTo>
                    <a:cubicBezTo>
                      <a:pt x="16193" y="952"/>
                      <a:pt x="18098" y="0"/>
                      <a:pt x="20955" y="0"/>
                    </a:cubicBezTo>
                    <a:cubicBezTo>
                      <a:pt x="22860" y="0"/>
                      <a:pt x="19050" y="0"/>
                      <a:pt x="22860" y="0"/>
                    </a:cubicBezTo>
                    <a:cubicBezTo>
                      <a:pt x="26670" y="0"/>
                      <a:pt x="32385" y="952"/>
                      <a:pt x="32385" y="952"/>
                    </a:cubicBezTo>
                    <a:cubicBezTo>
                      <a:pt x="32385" y="952"/>
                      <a:pt x="38100" y="1905"/>
                      <a:pt x="40958" y="1905"/>
                    </a:cubicBezTo>
                    <a:cubicBezTo>
                      <a:pt x="43815" y="1905"/>
                      <a:pt x="52388" y="952"/>
                      <a:pt x="52388" y="952"/>
                    </a:cubicBezTo>
                    <a:lnTo>
                      <a:pt x="59055" y="952"/>
                    </a:lnTo>
                    <a:lnTo>
                      <a:pt x="70485" y="1905"/>
                    </a:lnTo>
                    <a:cubicBezTo>
                      <a:pt x="70485" y="1905"/>
                      <a:pt x="80010" y="2857"/>
                      <a:pt x="81915" y="2857"/>
                    </a:cubicBezTo>
                    <a:cubicBezTo>
                      <a:pt x="83820" y="3810"/>
                      <a:pt x="89535" y="5715"/>
                      <a:pt x="89535" y="5715"/>
                    </a:cubicBezTo>
                    <a:lnTo>
                      <a:pt x="97155" y="7620"/>
                    </a:lnTo>
                    <a:cubicBezTo>
                      <a:pt x="97155" y="7620"/>
                      <a:pt x="102870" y="7620"/>
                      <a:pt x="104775" y="7620"/>
                    </a:cubicBezTo>
                    <a:cubicBezTo>
                      <a:pt x="106680" y="7620"/>
                      <a:pt x="113348" y="9525"/>
                      <a:pt x="113348" y="9525"/>
                    </a:cubicBezTo>
                    <a:cubicBezTo>
                      <a:pt x="113348" y="9525"/>
                      <a:pt x="116205" y="12382"/>
                      <a:pt x="118110" y="13335"/>
                    </a:cubicBezTo>
                    <a:cubicBezTo>
                      <a:pt x="120015" y="15240"/>
                      <a:pt x="122873" y="14288"/>
                      <a:pt x="123825" y="16192"/>
                    </a:cubicBezTo>
                    <a:cubicBezTo>
                      <a:pt x="124778" y="18097"/>
                      <a:pt x="130493" y="20002"/>
                      <a:pt x="130493" y="20002"/>
                    </a:cubicBezTo>
                    <a:lnTo>
                      <a:pt x="139065" y="21907"/>
                    </a:lnTo>
                    <a:cubicBezTo>
                      <a:pt x="139065" y="21907"/>
                      <a:pt x="149543" y="22860"/>
                      <a:pt x="151448" y="22860"/>
                    </a:cubicBezTo>
                    <a:cubicBezTo>
                      <a:pt x="153353" y="22860"/>
                      <a:pt x="158115" y="23813"/>
                      <a:pt x="160020" y="23813"/>
                    </a:cubicBezTo>
                    <a:cubicBezTo>
                      <a:pt x="161925" y="23813"/>
                      <a:pt x="164783" y="27622"/>
                      <a:pt x="164783" y="27622"/>
                    </a:cubicBezTo>
                    <a:cubicBezTo>
                      <a:pt x="163830" y="30480"/>
                      <a:pt x="161925" y="33338"/>
                      <a:pt x="161925" y="33338"/>
                    </a:cubicBezTo>
                    <a:lnTo>
                      <a:pt x="160973" y="40005"/>
                    </a:lnTo>
                    <a:close/>
                  </a:path>
                </a:pathLst>
              </a:custGeom>
              <a:grpFill/>
              <a:ln w="9525" cap="flat">
                <a:noFill/>
                <a:prstDash val="solid"/>
                <a:miter/>
              </a:ln>
            </p:spPr>
            <p:txBody>
              <a:bodyPr rtlCol="0" anchor="ctr"/>
              <a:lstStyle/>
              <a:p>
                <a:endParaRPr lang="en-US" sz="1765"/>
              </a:p>
            </p:txBody>
          </p:sp>
          <p:sp>
            <p:nvSpPr>
              <p:cNvPr id="286" name="Freeform: Shape 285">
                <a:extLst>
                  <a:ext uri="{FF2B5EF4-FFF2-40B4-BE49-F238E27FC236}">
                    <a16:creationId xmlns:a16="http://schemas.microsoft.com/office/drawing/2014/main" id="{D5DAED3D-8E8D-46A2-87CE-F47B9FBA2917}"/>
                  </a:ext>
                </a:extLst>
              </p:cNvPr>
              <p:cNvSpPr/>
              <p:nvPr/>
            </p:nvSpPr>
            <p:spPr>
              <a:xfrm>
                <a:off x="6870411" y="3828779"/>
                <a:ext cx="50482" cy="15239"/>
              </a:xfrm>
              <a:custGeom>
                <a:avLst/>
                <a:gdLst>
                  <a:gd name="connsiteX0" fmla="*/ 40958 w 50482"/>
                  <a:gd name="connsiteY0" fmla="*/ 13335 h 15239"/>
                  <a:gd name="connsiteX1" fmla="*/ 32385 w 50482"/>
                  <a:gd name="connsiteY1" fmla="*/ 13335 h 15239"/>
                  <a:gd name="connsiteX2" fmla="*/ 26670 w 50482"/>
                  <a:gd name="connsiteY2" fmla="*/ 13335 h 15239"/>
                  <a:gd name="connsiteX3" fmla="*/ 20003 w 50482"/>
                  <a:gd name="connsiteY3" fmla="*/ 13335 h 15239"/>
                  <a:gd name="connsiteX4" fmla="*/ 15240 w 50482"/>
                  <a:gd name="connsiteY4" fmla="*/ 12383 h 15239"/>
                  <a:gd name="connsiteX5" fmla="*/ 12383 w 50482"/>
                  <a:gd name="connsiteY5" fmla="*/ 12383 h 15239"/>
                  <a:gd name="connsiteX6" fmla="*/ 7620 w 50482"/>
                  <a:gd name="connsiteY6" fmla="*/ 11430 h 15239"/>
                  <a:gd name="connsiteX7" fmla="*/ 4763 w 50482"/>
                  <a:gd name="connsiteY7" fmla="*/ 10477 h 15239"/>
                  <a:gd name="connsiteX8" fmla="*/ 953 w 50482"/>
                  <a:gd name="connsiteY8" fmla="*/ 7620 h 15239"/>
                  <a:gd name="connsiteX9" fmla="*/ 0 w 50482"/>
                  <a:gd name="connsiteY9" fmla="*/ 4763 h 15239"/>
                  <a:gd name="connsiteX10" fmla="*/ 1905 w 50482"/>
                  <a:gd name="connsiteY10" fmla="*/ 3810 h 15239"/>
                  <a:gd name="connsiteX11" fmla="*/ 6668 w 50482"/>
                  <a:gd name="connsiteY11" fmla="*/ 0 h 15239"/>
                  <a:gd name="connsiteX12" fmla="*/ 8573 w 50482"/>
                  <a:gd name="connsiteY12" fmla="*/ 0 h 15239"/>
                  <a:gd name="connsiteX13" fmla="*/ 14288 w 50482"/>
                  <a:gd name="connsiteY13" fmla="*/ 0 h 15239"/>
                  <a:gd name="connsiteX14" fmla="*/ 21908 w 50482"/>
                  <a:gd name="connsiteY14" fmla="*/ 0 h 15239"/>
                  <a:gd name="connsiteX15" fmla="*/ 26670 w 50482"/>
                  <a:gd name="connsiteY15" fmla="*/ 0 h 15239"/>
                  <a:gd name="connsiteX16" fmla="*/ 29528 w 50482"/>
                  <a:gd name="connsiteY16" fmla="*/ 0 h 15239"/>
                  <a:gd name="connsiteX17" fmla="*/ 33338 w 50482"/>
                  <a:gd name="connsiteY17" fmla="*/ 952 h 15239"/>
                  <a:gd name="connsiteX18" fmla="*/ 40005 w 50482"/>
                  <a:gd name="connsiteY18" fmla="*/ 1905 h 15239"/>
                  <a:gd name="connsiteX19" fmla="*/ 45720 w 50482"/>
                  <a:gd name="connsiteY19" fmla="*/ 3810 h 15239"/>
                  <a:gd name="connsiteX20" fmla="*/ 48578 w 50482"/>
                  <a:gd name="connsiteY20" fmla="*/ 6667 h 15239"/>
                  <a:gd name="connsiteX21" fmla="*/ 50483 w 50482"/>
                  <a:gd name="connsiteY21" fmla="*/ 10477 h 15239"/>
                  <a:gd name="connsiteX22" fmla="*/ 50483 w 50482"/>
                  <a:gd name="connsiteY22" fmla="*/ 12383 h 15239"/>
                  <a:gd name="connsiteX23" fmla="*/ 46673 w 50482"/>
                  <a:gd name="connsiteY23" fmla="*/ 15240 h 15239"/>
                  <a:gd name="connsiteX24" fmla="*/ 40958 w 50482"/>
                  <a:gd name="connsiteY24"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82" h="15239">
                    <a:moveTo>
                      <a:pt x="40958" y="13335"/>
                    </a:moveTo>
                    <a:lnTo>
                      <a:pt x="32385" y="13335"/>
                    </a:lnTo>
                    <a:lnTo>
                      <a:pt x="26670" y="13335"/>
                    </a:lnTo>
                    <a:lnTo>
                      <a:pt x="20003" y="13335"/>
                    </a:lnTo>
                    <a:lnTo>
                      <a:pt x="15240" y="12383"/>
                    </a:lnTo>
                    <a:cubicBezTo>
                      <a:pt x="15240" y="12383"/>
                      <a:pt x="13335" y="12383"/>
                      <a:pt x="12383" y="12383"/>
                    </a:cubicBezTo>
                    <a:cubicBezTo>
                      <a:pt x="10478" y="12383"/>
                      <a:pt x="7620" y="11430"/>
                      <a:pt x="7620" y="11430"/>
                    </a:cubicBezTo>
                    <a:lnTo>
                      <a:pt x="4763" y="10477"/>
                    </a:lnTo>
                    <a:lnTo>
                      <a:pt x="953" y="7620"/>
                    </a:lnTo>
                    <a:lnTo>
                      <a:pt x="0" y="4763"/>
                    </a:lnTo>
                    <a:lnTo>
                      <a:pt x="1905" y="3810"/>
                    </a:lnTo>
                    <a:cubicBezTo>
                      <a:pt x="4763" y="1905"/>
                      <a:pt x="4763" y="0"/>
                      <a:pt x="6668" y="0"/>
                    </a:cubicBezTo>
                    <a:cubicBezTo>
                      <a:pt x="8573" y="0"/>
                      <a:pt x="5715" y="0"/>
                      <a:pt x="8573" y="0"/>
                    </a:cubicBezTo>
                    <a:cubicBezTo>
                      <a:pt x="11430" y="0"/>
                      <a:pt x="14288" y="0"/>
                      <a:pt x="14288" y="0"/>
                    </a:cubicBezTo>
                    <a:cubicBezTo>
                      <a:pt x="14288" y="0"/>
                      <a:pt x="20003" y="0"/>
                      <a:pt x="21908" y="0"/>
                    </a:cubicBezTo>
                    <a:cubicBezTo>
                      <a:pt x="23813" y="0"/>
                      <a:pt x="26670" y="0"/>
                      <a:pt x="26670" y="0"/>
                    </a:cubicBezTo>
                    <a:lnTo>
                      <a:pt x="29528" y="0"/>
                    </a:lnTo>
                    <a:lnTo>
                      <a:pt x="33338" y="952"/>
                    </a:lnTo>
                    <a:cubicBezTo>
                      <a:pt x="33338" y="952"/>
                      <a:pt x="34290" y="0"/>
                      <a:pt x="40005" y="1905"/>
                    </a:cubicBezTo>
                    <a:cubicBezTo>
                      <a:pt x="45720" y="3810"/>
                      <a:pt x="45720" y="3810"/>
                      <a:pt x="45720" y="3810"/>
                    </a:cubicBezTo>
                    <a:cubicBezTo>
                      <a:pt x="45720" y="3810"/>
                      <a:pt x="47625" y="4763"/>
                      <a:pt x="48578" y="6667"/>
                    </a:cubicBezTo>
                    <a:cubicBezTo>
                      <a:pt x="49530" y="8573"/>
                      <a:pt x="50483" y="8573"/>
                      <a:pt x="50483" y="10477"/>
                    </a:cubicBezTo>
                    <a:cubicBezTo>
                      <a:pt x="50483" y="12383"/>
                      <a:pt x="50483" y="10477"/>
                      <a:pt x="50483" y="12383"/>
                    </a:cubicBezTo>
                    <a:cubicBezTo>
                      <a:pt x="50483" y="14288"/>
                      <a:pt x="46673" y="15240"/>
                      <a:pt x="46673" y="15240"/>
                    </a:cubicBezTo>
                    <a:lnTo>
                      <a:pt x="40958" y="13335"/>
                    </a:lnTo>
                    <a:close/>
                  </a:path>
                </a:pathLst>
              </a:custGeom>
              <a:grpFill/>
              <a:ln w="9525" cap="flat">
                <a:noFill/>
                <a:prstDash val="solid"/>
                <a:miter/>
              </a:ln>
            </p:spPr>
            <p:txBody>
              <a:bodyPr rtlCol="0" anchor="ctr"/>
              <a:lstStyle/>
              <a:p>
                <a:endParaRPr lang="en-US" sz="1765"/>
              </a:p>
            </p:txBody>
          </p:sp>
          <p:sp>
            <p:nvSpPr>
              <p:cNvPr id="287" name="Freeform: Shape 286">
                <a:extLst>
                  <a:ext uri="{FF2B5EF4-FFF2-40B4-BE49-F238E27FC236}">
                    <a16:creationId xmlns:a16="http://schemas.microsoft.com/office/drawing/2014/main" id="{A58F75C5-D501-4400-AB47-94A75FC3C926}"/>
                  </a:ext>
                </a:extLst>
              </p:cNvPr>
              <p:cNvSpPr/>
              <p:nvPr/>
            </p:nvSpPr>
            <p:spPr>
              <a:xfrm>
                <a:off x="6929466" y="3811210"/>
                <a:ext cx="125729" cy="30056"/>
              </a:xfrm>
              <a:custGeom>
                <a:avLst/>
                <a:gdLst>
                  <a:gd name="connsiteX0" fmla="*/ 12382 w 125729"/>
                  <a:gd name="connsiteY0" fmla="*/ 17568 h 30056"/>
                  <a:gd name="connsiteX1" fmla="*/ 4763 w 125729"/>
                  <a:gd name="connsiteY1" fmla="*/ 17568 h 30056"/>
                  <a:gd name="connsiteX2" fmla="*/ 0 w 125729"/>
                  <a:gd name="connsiteY2" fmla="*/ 18521 h 30056"/>
                  <a:gd name="connsiteX3" fmla="*/ 952 w 125729"/>
                  <a:gd name="connsiteY3" fmla="*/ 21378 h 30056"/>
                  <a:gd name="connsiteX4" fmla="*/ 1905 w 125729"/>
                  <a:gd name="connsiteY4" fmla="*/ 22331 h 30056"/>
                  <a:gd name="connsiteX5" fmla="*/ 4763 w 125729"/>
                  <a:gd name="connsiteY5" fmla="*/ 25188 h 30056"/>
                  <a:gd name="connsiteX6" fmla="*/ 5715 w 125729"/>
                  <a:gd name="connsiteY6" fmla="*/ 27093 h 30056"/>
                  <a:gd name="connsiteX7" fmla="*/ 18097 w 125729"/>
                  <a:gd name="connsiteY7" fmla="*/ 29951 h 30056"/>
                  <a:gd name="connsiteX8" fmla="*/ 23813 w 125729"/>
                  <a:gd name="connsiteY8" fmla="*/ 29951 h 30056"/>
                  <a:gd name="connsiteX9" fmla="*/ 28575 w 125729"/>
                  <a:gd name="connsiteY9" fmla="*/ 28046 h 30056"/>
                  <a:gd name="connsiteX10" fmla="*/ 33338 w 125729"/>
                  <a:gd name="connsiteY10" fmla="*/ 28046 h 30056"/>
                  <a:gd name="connsiteX11" fmla="*/ 39052 w 125729"/>
                  <a:gd name="connsiteY11" fmla="*/ 28998 h 30056"/>
                  <a:gd name="connsiteX12" fmla="*/ 51435 w 125729"/>
                  <a:gd name="connsiteY12" fmla="*/ 28998 h 30056"/>
                  <a:gd name="connsiteX13" fmla="*/ 57150 w 125729"/>
                  <a:gd name="connsiteY13" fmla="*/ 28998 h 30056"/>
                  <a:gd name="connsiteX14" fmla="*/ 64770 w 125729"/>
                  <a:gd name="connsiteY14" fmla="*/ 28998 h 30056"/>
                  <a:gd name="connsiteX15" fmla="*/ 78105 w 125729"/>
                  <a:gd name="connsiteY15" fmla="*/ 28046 h 30056"/>
                  <a:gd name="connsiteX16" fmla="*/ 87630 w 125729"/>
                  <a:gd name="connsiteY16" fmla="*/ 28998 h 30056"/>
                  <a:gd name="connsiteX17" fmla="*/ 95250 w 125729"/>
                  <a:gd name="connsiteY17" fmla="*/ 29951 h 30056"/>
                  <a:gd name="connsiteX18" fmla="*/ 100013 w 125729"/>
                  <a:gd name="connsiteY18" fmla="*/ 29951 h 30056"/>
                  <a:gd name="connsiteX19" fmla="*/ 107632 w 125729"/>
                  <a:gd name="connsiteY19" fmla="*/ 29951 h 30056"/>
                  <a:gd name="connsiteX20" fmla="*/ 116205 w 125729"/>
                  <a:gd name="connsiteY20" fmla="*/ 28998 h 30056"/>
                  <a:gd name="connsiteX21" fmla="*/ 121920 w 125729"/>
                  <a:gd name="connsiteY21" fmla="*/ 28046 h 30056"/>
                  <a:gd name="connsiteX22" fmla="*/ 124777 w 125729"/>
                  <a:gd name="connsiteY22" fmla="*/ 26141 h 30056"/>
                  <a:gd name="connsiteX23" fmla="*/ 125730 w 125729"/>
                  <a:gd name="connsiteY23" fmla="*/ 23283 h 30056"/>
                  <a:gd name="connsiteX24" fmla="*/ 122872 w 125729"/>
                  <a:gd name="connsiteY24" fmla="*/ 20426 h 30056"/>
                  <a:gd name="connsiteX25" fmla="*/ 116205 w 125729"/>
                  <a:gd name="connsiteY25" fmla="*/ 17568 h 30056"/>
                  <a:gd name="connsiteX26" fmla="*/ 111442 w 125729"/>
                  <a:gd name="connsiteY26" fmla="*/ 13758 h 30056"/>
                  <a:gd name="connsiteX27" fmla="*/ 110490 w 125729"/>
                  <a:gd name="connsiteY27" fmla="*/ 12806 h 30056"/>
                  <a:gd name="connsiteX28" fmla="*/ 102870 w 125729"/>
                  <a:gd name="connsiteY28" fmla="*/ 10901 h 30056"/>
                  <a:gd name="connsiteX29" fmla="*/ 98107 w 125729"/>
                  <a:gd name="connsiteY29" fmla="*/ 9948 h 30056"/>
                  <a:gd name="connsiteX30" fmla="*/ 91440 w 125729"/>
                  <a:gd name="connsiteY30" fmla="*/ 7091 h 30056"/>
                  <a:gd name="connsiteX31" fmla="*/ 86677 w 125729"/>
                  <a:gd name="connsiteY31" fmla="*/ 5186 h 30056"/>
                  <a:gd name="connsiteX32" fmla="*/ 76200 w 125729"/>
                  <a:gd name="connsiteY32" fmla="*/ 2328 h 30056"/>
                  <a:gd name="connsiteX33" fmla="*/ 63817 w 125729"/>
                  <a:gd name="connsiteY33" fmla="*/ 423 h 30056"/>
                  <a:gd name="connsiteX34" fmla="*/ 57150 w 125729"/>
                  <a:gd name="connsiteY34" fmla="*/ 423 h 30056"/>
                  <a:gd name="connsiteX35" fmla="*/ 48577 w 125729"/>
                  <a:gd name="connsiteY35" fmla="*/ 1376 h 30056"/>
                  <a:gd name="connsiteX36" fmla="*/ 42863 w 125729"/>
                  <a:gd name="connsiteY36" fmla="*/ 2328 h 30056"/>
                  <a:gd name="connsiteX37" fmla="*/ 35242 w 125729"/>
                  <a:gd name="connsiteY37" fmla="*/ 6138 h 30056"/>
                  <a:gd name="connsiteX38" fmla="*/ 31432 w 125729"/>
                  <a:gd name="connsiteY38" fmla="*/ 9948 h 30056"/>
                  <a:gd name="connsiteX39" fmla="*/ 27622 w 125729"/>
                  <a:gd name="connsiteY39" fmla="*/ 11853 h 30056"/>
                  <a:gd name="connsiteX40" fmla="*/ 23813 w 125729"/>
                  <a:gd name="connsiteY40" fmla="*/ 12806 h 30056"/>
                  <a:gd name="connsiteX41" fmla="*/ 20002 w 125729"/>
                  <a:gd name="connsiteY41" fmla="*/ 13758 h 30056"/>
                  <a:gd name="connsiteX42" fmla="*/ 12382 w 125729"/>
                  <a:gd name="connsiteY42" fmla="*/ 17568 h 3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729" h="30056">
                    <a:moveTo>
                      <a:pt x="12382" y="17568"/>
                    </a:moveTo>
                    <a:cubicBezTo>
                      <a:pt x="10477" y="17568"/>
                      <a:pt x="4763" y="17568"/>
                      <a:pt x="4763" y="17568"/>
                    </a:cubicBezTo>
                    <a:lnTo>
                      <a:pt x="0" y="18521"/>
                    </a:lnTo>
                    <a:cubicBezTo>
                      <a:pt x="0" y="18521"/>
                      <a:pt x="952" y="20426"/>
                      <a:pt x="952" y="21378"/>
                    </a:cubicBezTo>
                    <a:cubicBezTo>
                      <a:pt x="1905" y="22331"/>
                      <a:pt x="1905" y="22331"/>
                      <a:pt x="1905" y="22331"/>
                    </a:cubicBezTo>
                    <a:cubicBezTo>
                      <a:pt x="1905" y="22331"/>
                      <a:pt x="3810" y="23283"/>
                      <a:pt x="4763" y="25188"/>
                    </a:cubicBezTo>
                    <a:cubicBezTo>
                      <a:pt x="5715" y="27093"/>
                      <a:pt x="4763" y="23283"/>
                      <a:pt x="5715" y="27093"/>
                    </a:cubicBezTo>
                    <a:cubicBezTo>
                      <a:pt x="6667" y="30903"/>
                      <a:pt x="18097" y="29951"/>
                      <a:pt x="18097" y="29951"/>
                    </a:cubicBezTo>
                    <a:cubicBezTo>
                      <a:pt x="18097" y="29951"/>
                      <a:pt x="22860" y="29951"/>
                      <a:pt x="23813" y="29951"/>
                    </a:cubicBezTo>
                    <a:cubicBezTo>
                      <a:pt x="25717" y="29951"/>
                      <a:pt x="28575" y="28046"/>
                      <a:pt x="28575" y="28046"/>
                    </a:cubicBezTo>
                    <a:lnTo>
                      <a:pt x="33338" y="28046"/>
                    </a:lnTo>
                    <a:cubicBezTo>
                      <a:pt x="33338" y="28046"/>
                      <a:pt x="37147" y="28998"/>
                      <a:pt x="39052" y="28998"/>
                    </a:cubicBezTo>
                    <a:cubicBezTo>
                      <a:pt x="40957" y="28998"/>
                      <a:pt x="51435" y="28998"/>
                      <a:pt x="51435" y="28998"/>
                    </a:cubicBezTo>
                    <a:cubicBezTo>
                      <a:pt x="51435" y="28998"/>
                      <a:pt x="54292" y="28998"/>
                      <a:pt x="57150" y="28998"/>
                    </a:cubicBezTo>
                    <a:cubicBezTo>
                      <a:pt x="59055" y="28998"/>
                      <a:pt x="61913" y="28998"/>
                      <a:pt x="64770" y="28998"/>
                    </a:cubicBezTo>
                    <a:cubicBezTo>
                      <a:pt x="67627" y="28998"/>
                      <a:pt x="75247" y="28046"/>
                      <a:pt x="78105" y="28046"/>
                    </a:cubicBezTo>
                    <a:cubicBezTo>
                      <a:pt x="80963" y="28046"/>
                      <a:pt x="85725" y="28998"/>
                      <a:pt x="87630" y="28998"/>
                    </a:cubicBezTo>
                    <a:cubicBezTo>
                      <a:pt x="89535" y="28998"/>
                      <a:pt x="93345" y="28998"/>
                      <a:pt x="95250" y="29951"/>
                    </a:cubicBezTo>
                    <a:cubicBezTo>
                      <a:pt x="97155" y="29951"/>
                      <a:pt x="97155" y="29951"/>
                      <a:pt x="100013" y="29951"/>
                    </a:cubicBezTo>
                    <a:cubicBezTo>
                      <a:pt x="102870" y="29951"/>
                      <a:pt x="104775" y="29951"/>
                      <a:pt x="107632" y="29951"/>
                    </a:cubicBezTo>
                    <a:cubicBezTo>
                      <a:pt x="111442" y="29951"/>
                      <a:pt x="114300" y="29951"/>
                      <a:pt x="116205" y="28998"/>
                    </a:cubicBezTo>
                    <a:cubicBezTo>
                      <a:pt x="118110" y="28998"/>
                      <a:pt x="120967" y="28046"/>
                      <a:pt x="121920" y="28046"/>
                    </a:cubicBezTo>
                    <a:cubicBezTo>
                      <a:pt x="123825" y="28046"/>
                      <a:pt x="124777" y="27093"/>
                      <a:pt x="124777" y="26141"/>
                    </a:cubicBezTo>
                    <a:cubicBezTo>
                      <a:pt x="125730" y="25188"/>
                      <a:pt x="125730" y="23283"/>
                      <a:pt x="125730" y="23283"/>
                    </a:cubicBezTo>
                    <a:cubicBezTo>
                      <a:pt x="125730" y="23283"/>
                      <a:pt x="124777" y="21378"/>
                      <a:pt x="122872" y="20426"/>
                    </a:cubicBezTo>
                    <a:cubicBezTo>
                      <a:pt x="120967" y="19473"/>
                      <a:pt x="118110" y="18521"/>
                      <a:pt x="116205" y="17568"/>
                    </a:cubicBezTo>
                    <a:cubicBezTo>
                      <a:pt x="114300" y="16616"/>
                      <a:pt x="111442" y="13758"/>
                      <a:pt x="111442" y="13758"/>
                    </a:cubicBezTo>
                    <a:cubicBezTo>
                      <a:pt x="111442" y="13758"/>
                      <a:pt x="112395" y="12806"/>
                      <a:pt x="110490" y="12806"/>
                    </a:cubicBezTo>
                    <a:cubicBezTo>
                      <a:pt x="108585" y="12806"/>
                      <a:pt x="102870" y="10901"/>
                      <a:pt x="102870" y="10901"/>
                    </a:cubicBezTo>
                    <a:lnTo>
                      <a:pt x="98107" y="9948"/>
                    </a:lnTo>
                    <a:lnTo>
                      <a:pt x="91440" y="7091"/>
                    </a:lnTo>
                    <a:lnTo>
                      <a:pt x="86677" y="5186"/>
                    </a:lnTo>
                    <a:cubicBezTo>
                      <a:pt x="86677" y="5186"/>
                      <a:pt x="79057" y="2328"/>
                      <a:pt x="76200" y="2328"/>
                    </a:cubicBezTo>
                    <a:cubicBezTo>
                      <a:pt x="73342" y="2328"/>
                      <a:pt x="63817" y="423"/>
                      <a:pt x="63817" y="423"/>
                    </a:cubicBezTo>
                    <a:cubicBezTo>
                      <a:pt x="63817" y="423"/>
                      <a:pt x="60007" y="-529"/>
                      <a:pt x="57150" y="423"/>
                    </a:cubicBezTo>
                    <a:cubicBezTo>
                      <a:pt x="54292" y="1376"/>
                      <a:pt x="50482" y="1376"/>
                      <a:pt x="48577" y="1376"/>
                    </a:cubicBezTo>
                    <a:cubicBezTo>
                      <a:pt x="46672" y="2328"/>
                      <a:pt x="42863" y="2328"/>
                      <a:pt x="42863" y="2328"/>
                    </a:cubicBezTo>
                    <a:cubicBezTo>
                      <a:pt x="42863" y="2328"/>
                      <a:pt x="38100" y="3281"/>
                      <a:pt x="35242" y="6138"/>
                    </a:cubicBezTo>
                    <a:cubicBezTo>
                      <a:pt x="33338" y="8996"/>
                      <a:pt x="32385" y="8996"/>
                      <a:pt x="31432" y="9948"/>
                    </a:cubicBezTo>
                    <a:cubicBezTo>
                      <a:pt x="30480" y="10901"/>
                      <a:pt x="27622" y="11853"/>
                      <a:pt x="27622" y="11853"/>
                    </a:cubicBezTo>
                    <a:cubicBezTo>
                      <a:pt x="27622" y="11853"/>
                      <a:pt x="25717" y="11853"/>
                      <a:pt x="23813" y="12806"/>
                    </a:cubicBezTo>
                    <a:cubicBezTo>
                      <a:pt x="21907" y="13758"/>
                      <a:pt x="20002" y="13758"/>
                      <a:pt x="20002" y="13758"/>
                    </a:cubicBezTo>
                    <a:lnTo>
                      <a:pt x="12382" y="17568"/>
                    </a:lnTo>
                    <a:close/>
                  </a:path>
                </a:pathLst>
              </a:custGeom>
              <a:grpFill/>
              <a:ln w="9525" cap="flat">
                <a:noFill/>
                <a:prstDash val="solid"/>
                <a:miter/>
              </a:ln>
            </p:spPr>
            <p:txBody>
              <a:bodyPr rtlCol="0" anchor="ctr"/>
              <a:lstStyle/>
              <a:p>
                <a:endParaRPr lang="en-US" sz="1765"/>
              </a:p>
            </p:txBody>
          </p:sp>
          <p:sp>
            <p:nvSpPr>
              <p:cNvPr id="288" name="Freeform: Shape 287">
                <a:extLst>
                  <a:ext uri="{FF2B5EF4-FFF2-40B4-BE49-F238E27FC236}">
                    <a16:creationId xmlns:a16="http://schemas.microsoft.com/office/drawing/2014/main" id="{C1623992-4BEA-4CC6-B458-9BC0E71B6BDB}"/>
                  </a:ext>
                </a:extLst>
              </p:cNvPr>
              <p:cNvSpPr/>
              <p:nvPr/>
            </p:nvSpPr>
            <p:spPr>
              <a:xfrm>
                <a:off x="5443566" y="3186793"/>
                <a:ext cx="1904" cy="9525"/>
              </a:xfrm>
              <a:custGeom>
                <a:avLst/>
                <a:gdLst>
                  <a:gd name="connsiteX0" fmla="*/ 1905 w 1904"/>
                  <a:gd name="connsiteY0" fmla="*/ 0 h 9525"/>
                  <a:gd name="connsiteX1" fmla="*/ 0 w 1904"/>
                  <a:gd name="connsiteY1" fmla="*/ 0 h 9525"/>
                  <a:gd name="connsiteX2" fmla="*/ 1905 w 1904"/>
                  <a:gd name="connsiteY2" fmla="*/ 0 h 9525"/>
                </a:gdLst>
                <a:ahLst/>
                <a:cxnLst>
                  <a:cxn ang="0">
                    <a:pos x="connsiteX0" y="connsiteY0"/>
                  </a:cxn>
                  <a:cxn ang="0">
                    <a:pos x="connsiteX1" y="connsiteY1"/>
                  </a:cxn>
                  <a:cxn ang="0">
                    <a:pos x="connsiteX2" y="connsiteY2"/>
                  </a:cxn>
                </a:cxnLst>
                <a:rect l="l" t="t" r="r" b="b"/>
                <a:pathLst>
                  <a:path w="1904" h="9525">
                    <a:moveTo>
                      <a:pt x="1905" y="0"/>
                    </a:moveTo>
                    <a:cubicBezTo>
                      <a:pt x="1905" y="0"/>
                      <a:pt x="952" y="0"/>
                      <a:pt x="0" y="0"/>
                    </a:cubicBezTo>
                    <a:cubicBezTo>
                      <a:pt x="0" y="0"/>
                      <a:pt x="952" y="0"/>
                      <a:pt x="1905" y="0"/>
                    </a:cubicBezTo>
                    <a:close/>
                  </a:path>
                </a:pathLst>
              </a:custGeom>
              <a:grpFill/>
              <a:ln w="9525" cap="flat">
                <a:noFill/>
                <a:prstDash val="solid"/>
                <a:miter/>
              </a:ln>
            </p:spPr>
            <p:txBody>
              <a:bodyPr rtlCol="0" anchor="ctr"/>
              <a:lstStyle/>
              <a:p>
                <a:endParaRPr lang="en-US" sz="1765"/>
              </a:p>
            </p:txBody>
          </p:sp>
          <p:sp>
            <p:nvSpPr>
              <p:cNvPr id="289" name="Freeform: Shape 288">
                <a:extLst>
                  <a:ext uri="{FF2B5EF4-FFF2-40B4-BE49-F238E27FC236}">
                    <a16:creationId xmlns:a16="http://schemas.microsoft.com/office/drawing/2014/main" id="{2FDEDAE0-4717-447A-9E0E-F21264865E23}"/>
                  </a:ext>
                </a:extLst>
              </p:cNvPr>
              <p:cNvSpPr/>
              <p:nvPr/>
            </p:nvSpPr>
            <p:spPr>
              <a:xfrm>
                <a:off x="5337839" y="3029631"/>
                <a:ext cx="2242184" cy="1686775"/>
              </a:xfrm>
              <a:custGeom>
                <a:avLst/>
                <a:gdLst>
                  <a:gd name="connsiteX0" fmla="*/ 2242185 w 2242184"/>
                  <a:gd name="connsiteY0" fmla="*/ 1098233 h 1686775"/>
                  <a:gd name="connsiteX1" fmla="*/ 2238375 w 2242184"/>
                  <a:gd name="connsiteY1" fmla="*/ 1078230 h 1686775"/>
                  <a:gd name="connsiteX2" fmla="*/ 2238375 w 2242184"/>
                  <a:gd name="connsiteY2" fmla="*/ 1068705 h 1686775"/>
                  <a:gd name="connsiteX3" fmla="*/ 2238375 w 2242184"/>
                  <a:gd name="connsiteY3" fmla="*/ 1062990 h 1686775"/>
                  <a:gd name="connsiteX4" fmla="*/ 2227898 w 2242184"/>
                  <a:gd name="connsiteY4" fmla="*/ 1052513 h 1686775"/>
                  <a:gd name="connsiteX5" fmla="*/ 2212658 w 2242184"/>
                  <a:gd name="connsiteY5" fmla="*/ 1049655 h 1686775"/>
                  <a:gd name="connsiteX6" fmla="*/ 2188845 w 2242184"/>
                  <a:gd name="connsiteY6" fmla="*/ 1042035 h 1686775"/>
                  <a:gd name="connsiteX7" fmla="*/ 2180273 w 2242184"/>
                  <a:gd name="connsiteY7" fmla="*/ 1037273 h 1686775"/>
                  <a:gd name="connsiteX8" fmla="*/ 2165033 w 2242184"/>
                  <a:gd name="connsiteY8" fmla="*/ 1034415 h 1686775"/>
                  <a:gd name="connsiteX9" fmla="*/ 2153603 w 2242184"/>
                  <a:gd name="connsiteY9" fmla="*/ 1032510 h 1686775"/>
                  <a:gd name="connsiteX10" fmla="*/ 2118360 w 2242184"/>
                  <a:gd name="connsiteY10" fmla="*/ 1026795 h 1686775"/>
                  <a:gd name="connsiteX11" fmla="*/ 2109788 w 2242184"/>
                  <a:gd name="connsiteY11" fmla="*/ 1024890 h 1686775"/>
                  <a:gd name="connsiteX12" fmla="*/ 2087880 w 2242184"/>
                  <a:gd name="connsiteY12" fmla="*/ 1020127 h 1686775"/>
                  <a:gd name="connsiteX13" fmla="*/ 2070735 w 2242184"/>
                  <a:gd name="connsiteY13" fmla="*/ 1015365 h 1686775"/>
                  <a:gd name="connsiteX14" fmla="*/ 2059305 w 2242184"/>
                  <a:gd name="connsiteY14" fmla="*/ 1013460 h 1686775"/>
                  <a:gd name="connsiteX15" fmla="*/ 2045970 w 2242184"/>
                  <a:gd name="connsiteY15" fmla="*/ 1010602 h 1686775"/>
                  <a:gd name="connsiteX16" fmla="*/ 2037398 w 2242184"/>
                  <a:gd name="connsiteY16" fmla="*/ 1005840 h 1686775"/>
                  <a:gd name="connsiteX17" fmla="*/ 2022158 w 2242184"/>
                  <a:gd name="connsiteY17" fmla="*/ 992505 h 1686775"/>
                  <a:gd name="connsiteX18" fmla="*/ 2006918 w 2242184"/>
                  <a:gd name="connsiteY18" fmla="*/ 979170 h 1686775"/>
                  <a:gd name="connsiteX19" fmla="*/ 2000250 w 2242184"/>
                  <a:gd name="connsiteY19" fmla="*/ 970598 h 1686775"/>
                  <a:gd name="connsiteX20" fmla="*/ 1993583 w 2242184"/>
                  <a:gd name="connsiteY20" fmla="*/ 963930 h 1686775"/>
                  <a:gd name="connsiteX21" fmla="*/ 1969770 w 2242184"/>
                  <a:gd name="connsiteY21" fmla="*/ 950595 h 1686775"/>
                  <a:gd name="connsiteX22" fmla="*/ 1954530 w 2242184"/>
                  <a:gd name="connsiteY22" fmla="*/ 944880 h 1686775"/>
                  <a:gd name="connsiteX23" fmla="*/ 1937385 w 2242184"/>
                  <a:gd name="connsiteY23" fmla="*/ 939165 h 1686775"/>
                  <a:gd name="connsiteX24" fmla="*/ 1910715 w 2242184"/>
                  <a:gd name="connsiteY24" fmla="*/ 934402 h 1686775"/>
                  <a:gd name="connsiteX25" fmla="*/ 1902143 w 2242184"/>
                  <a:gd name="connsiteY25" fmla="*/ 934402 h 1686775"/>
                  <a:gd name="connsiteX26" fmla="*/ 1880235 w 2242184"/>
                  <a:gd name="connsiteY26" fmla="*/ 928688 h 1686775"/>
                  <a:gd name="connsiteX27" fmla="*/ 1866900 w 2242184"/>
                  <a:gd name="connsiteY27" fmla="*/ 922973 h 1686775"/>
                  <a:gd name="connsiteX28" fmla="*/ 1858328 w 2242184"/>
                  <a:gd name="connsiteY28" fmla="*/ 911543 h 1686775"/>
                  <a:gd name="connsiteX29" fmla="*/ 1841183 w 2242184"/>
                  <a:gd name="connsiteY29" fmla="*/ 902970 h 1686775"/>
                  <a:gd name="connsiteX30" fmla="*/ 1830705 w 2242184"/>
                  <a:gd name="connsiteY30" fmla="*/ 897255 h 1686775"/>
                  <a:gd name="connsiteX31" fmla="*/ 1804035 w 2242184"/>
                  <a:gd name="connsiteY31" fmla="*/ 889635 h 1686775"/>
                  <a:gd name="connsiteX32" fmla="*/ 1784033 w 2242184"/>
                  <a:gd name="connsiteY32" fmla="*/ 887730 h 1686775"/>
                  <a:gd name="connsiteX33" fmla="*/ 1740218 w 2242184"/>
                  <a:gd name="connsiteY33" fmla="*/ 887730 h 1686775"/>
                  <a:gd name="connsiteX34" fmla="*/ 1720215 w 2242184"/>
                  <a:gd name="connsiteY34" fmla="*/ 887730 h 1686775"/>
                  <a:gd name="connsiteX35" fmla="*/ 1706880 w 2242184"/>
                  <a:gd name="connsiteY35" fmla="*/ 887730 h 1686775"/>
                  <a:gd name="connsiteX36" fmla="*/ 1674495 w 2242184"/>
                  <a:gd name="connsiteY36" fmla="*/ 879158 h 1686775"/>
                  <a:gd name="connsiteX37" fmla="*/ 1652588 w 2242184"/>
                  <a:gd name="connsiteY37" fmla="*/ 880110 h 1686775"/>
                  <a:gd name="connsiteX38" fmla="*/ 1644015 w 2242184"/>
                  <a:gd name="connsiteY38" fmla="*/ 878205 h 1686775"/>
                  <a:gd name="connsiteX39" fmla="*/ 1622108 w 2242184"/>
                  <a:gd name="connsiteY39" fmla="*/ 878205 h 1686775"/>
                  <a:gd name="connsiteX40" fmla="*/ 1590675 w 2242184"/>
                  <a:gd name="connsiteY40" fmla="*/ 884873 h 1686775"/>
                  <a:gd name="connsiteX41" fmla="*/ 1572578 w 2242184"/>
                  <a:gd name="connsiteY41" fmla="*/ 896302 h 1686775"/>
                  <a:gd name="connsiteX42" fmla="*/ 1557338 w 2242184"/>
                  <a:gd name="connsiteY42" fmla="*/ 897255 h 1686775"/>
                  <a:gd name="connsiteX43" fmla="*/ 1524000 w 2242184"/>
                  <a:gd name="connsiteY43" fmla="*/ 900113 h 1686775"/>
                  <a:gd name="connsiteX44" fmla="*/ 1508760 w 2242184"/>
                  <a:gd name="connsiteY44" fmla="*/ 900113 h 1686775"/>
                  <a:gd name="connsiteX45" fmla="*/ 1500188 w 2242184"/>
                  <a:gd name="connsiteY45" fmla="*/ 900113 h 1686775"/>
                  <a:gd name="connsiteX46" fmla="*/ 1480185 w 2242184"/>
                  <a:gd name="connsiteY46" fmla="*/ 897255 h 1686775"/>
                  <a:gd name="connsiteX47" fmla="*/ 1466850 w 2242184"/>
                  <a:gd name="connsiteY47" fmla="*/ 894398 h 1686775"/>
                  <a:gd name="connsiteX48" fmla="*/ 1458278 w 2242184"/>
                  <a:gd name="connsiteY48" fmla="*/ 882015 h 1686775"/>
                  <a:gd name="connsiteX49" fmla="*/ 1458278 w 2242184"/>
                  <a:gd name="connsiteY49" fmla="*/ 875348 h 1686775"/>
                  <a:gd name="connsiteX50" fmla="*/ 1458278 w 2242184"/>
                  <a:gd name="connsiteY50" fmla="*/ 866775 h 1686775"/>
                  <a:gd name="connsiteX51" fmla="*/ 1456373 w 2242184"/>
                  <a:gd name="connsiteY51" fmla="*/ 855345 h 1686775"/>
                  <a:gd name="connsiteX52" fmla="*/ 1454468 w 2242184"/>
                  <a:gd name="connsiteY52" fmla="*/ 838200 h 1686775"/>
                  <a:gd name="connsiteX53" fmla="*/ 1445895 w 2242184"/>
                  <a:gd name="connsiteY53" fmla="*/ 832485 h 1686775"/>
                  <a:gd name="connsiteX54" fmla="*/ 1432560 w 2242184"/>
                  <a:gd name="connsiteY54" fmla="*/ 830580 h 1686775"/>
                  <a:gd name="connsiteX55" fmla="*/ 1423988 w 2242184"/>
                  <a:gd name="connsiteY55" fmla="*/ 828675 h 1686775"/>
                  <a:gd name="connsiteX56" fmla="*/ 1403985 w 2242184"/>
                  <a:gd name="connsiteY56" fmla="*/ 821055 h 1686775"/>
                  <a:gd name="connsiteX57" fmla="*/ 1392555 w 2242184"/>
                  <a:gd name="connsiteY57" fmla="*/ 821055 h 1686775"/>
                  <a:gd name="connsiteX58" fmla="*/ 1379220 w 2242184"/>
                  <a:gd name="connsiteY58" fmla="*/ 821055 h 1686775"/>
                  <a:gd name="connsiteX59" fmla="*/ 1367790 w 2242184"/>
                  <a:gd name="connsiteY59" fmla="*/ 821055 h 1686775"/>
                  <a:gd name="connsiteX60" fmla="*/ 1359218 w 2242184"/>
                  <a:gd name="connsiteY60" fmla="*/ 815340 h 1686775"/>
                  <a:gd name="connsiteX61" fmla="*/ 1370648 w 2242184"/>
                  <a:gd name="connsiteY61" fmla="*/ 811530 h 1686775"/>
                  <a:gd name="connsiteX62" fmla="*/ 1382078 w 2242184"/>
                  <a:gd name="connsiteY62" fmla="*/ 808673 h 1686775"/>
                  <a:gd name="connsiteX63" fmla="*/ 1386840 w 2242184"/>
                  <a:gd name="connsiteY63" fmla="*/ 802958 h 1686775"/>
                  <a:gd name="connsiteX64" fmla="*/ 1386840 w 2242184"/>
                  <a:gd name="connsiteY64" fmla="*/ 797243 h 1686775"/>
                  <a:gd name="connsiteX65" fmla="*/ 1384935 w 2242184"/>
                  <a:gd name="connsiteY65" fmla="*/ 784860 h 1686775"/>
                  <a:gd name="connsiteX66" fmla="*/ 1384935 w 2242184"/>
                  <a:gd name="connsiteY66" fmla="*/ 776288 h 1686775"/>
                  <a:gd name="connsiteX67" fmla="*/ 1391603 w 2242184"/>
                  <a:gd name="connsiteY67" fmla="*/ 767715 h 1686775"/>
                  <a:gd name="connsiteX68" fmla="*/ 1394460 w 2242184"/>
                  <a:gd name="connsiteY68" fmla="*/ 759143 h 1686775"/>
                  <a:gd name="connsiteX69" fmla="*/ 1377315 w 2242184"/>
                  <a:gd name="connsiteY69" fmla="*/ 754380 h 1686775"/>
                  <a:gd name="connsiteX70" fmla="*/ 1359218 w 2242184"/>
                  <a:gd name="connsiteY70" fmla="*/ 757238 h 1686775"/>
                  <a:gd name="connsiteX71" fmla="*/ 1361123 w 2242184"/>
                  <a:gd name="connsiteY71" fmla="*/ 761048 h 1686775"/>
                  <a:gd name="connsiteX72" fmla="*/ 1347788 w 2242184"/>
                  <a:gd name="connsiteY72" fmla="*/ 761048 h 1686775"/>
                  <a:gd name="connsiteX73" fmla="*/ 1332548 w 2242184"/>
                  <a:gd name="connsiteY73" fmla="*/ 763905 h 1686775"/>
                  <a:gd name="connsiteX74" fmla="*/ 1332548 w 2242184"/>
                  <a:gd name="connsiteY74" fmla="*/ 767715 h 1686775"/>
                  <a:gd name="connsiteX75" fmla="*/ 1319213 w 2242184"/>
                  <a:gd name="connsiteY75" fmla="*/ 777240 h 1686775"/>
                  <a:gd name="connsiteX76" fmla="*/ 1312545 w 2242184"/>
                  <a:gd name="connsiteY76" fmla="*/ 785813 h 1686775"/>
                  <a:gd name="connsiteX77" fmla="*/ 1299210 w 2242184"/>
                  <a:gd name="connsiteY77" fmla="*/ 788670 h 1686775"/>
                  <a:gd name="connsiteX78" fmla="*/ 1290638 w 2242184"/>
                  <a:gd name="connsiteY78" fmla="*/ 789623 h 1686775"/>
                  <a:gd name="connsiteX79" fmla="*/ 1279208 w 2242184"/>
                  <a:gd name="connsiteY79" fmla="*/ 790575 h 1686775"/>
                  <a:gd name="connsiteX80" fmla="*/ 1263968 w 2242184"/>
                  <a:gd name="connsiteY80" fmla="*/ 790575 h 1686775"/>
                  <a:gd name="connsiteX81" fmla="*/ 1253490 w 2242184"/>
                  <a:gd name="connsiteY81" fmla="*/ 784860 h 1686775"/>
                  <a:gd name="connsiteX82" fmla="*/ 1244918 w 2242184"/>
                  <a:gd name="connsiteY82" fmla="*/ 777240 h 1686775"/>
                  <a:gd name="connsiteX83" fmla="*/ 1236345 w 2242184"/>
                  <a:gd name="connsiteY83" fmla="*/ 771525 h 1686775"/>
                  <a:gd name="connsiteX84" fmla="*/ 1229678 w 2242184"/>
                  <a:gd name="connsiteY84" fmla="*/ 765810 h 1686775"/>
                  <a:gd name="connsiteX85" fmla="*/ 1225868 w 2242184"/>
                  <a:gd name="connsiteY85" fmla="*/ 757238 h 1686775"/>
                  <a:gd name="connsiteX86" fmla="*/ 1223963 w 2242184"/>
                  <a:gd name="connsiteY86" fmla="*/ 747713 h 1686775"/>
                  <a:gd name="connsiteX87" fmla="*/ 1223963 w 2242184"/>
                  <a:gd name="connsiteY87" fmla="*/ 733425 h 1686775"/>
                  <a:gd name="connsiteX88" fmla="*/ 1223963 w 2242184"/>
                  <a:gd name="connsiteY88" fmla="*/ 723900 h 1686775"/>
                  <a:gd name="connsiteX89" fmla="*/ 1217295 w 2242184"/>
                  <a:gd name="connsiteY89" fmla="*/ 715327 h 1686775"/>
                  <a:gd name="connsiteX90" fmla="*/ 1215390 w 2242184"/>
                  <a:gd name="connsiteY90" fmla="*/ 700088 h 1686775"/>
                  <a:gd name="connsiteX91" fmla="*/ 1217295 w 2242184"/>
                  <a:gd name="connsiteY91" fmla="*/ 694373 h 1686775"/>
                  <a:gd name="connsiteX92" fmla="*/ 1223963 w 2242184"/>
                  <a:gd name="connsiteY92" fmla="*/ 684848 h 1686775"/>
                  <a:gd name="connsiteX93" fmla="*/ 1238250 w 2242184"/>
                  <a:gd name="connsiteY93" fmla="*/ 675323 h 1686775"/>
                  <a:gd name="connsiteX94" fmla="*/ 1258253 w 2242184"/>
                  <a:gd name="connsiteY94" fmla="*/ 674370 h 1686775"/>
                  <a:gd name="connsiteX95" fmla="*/ 1271588 w 2242184"/>
                  <a:gd name="connsiteY95" fmla="*/ 673418 h 1686775"/>
                  <a:gd name="connsiteX96" fmla="*/ 1278255 w 2242184"/>
                  <a:gd name="connsiteY96" fmla="*/ 675323 h 1686775"/>
                  <a:gd name="connsiteX97" fmla="*/ 1291590 w 2242184"/>
                  <a:gd name="connsiteY97" fmla="*/ 675323 h 1686775"/>
                  <a:gd name="connsiteX98" fmla="*/ 1313498 w 2242184"/>
                  <a:gd name="connsiteY98" fmla="*/ 674370 h 1686775"/>
                  <a:gd name="connsiteX99" fmla="*/ 1322070 w 2242184"/>
                  <a:gd name="connsiteY99" fmla="*/ 677227 h 1686775"/>
                  <a:gd name="connsiteX100" fmla="*/ 1339215 w 2242184"/>
                  <a:gd name="connsiteY100" fmla="*/ 677227 h 1686775"/>
                  <a:gd name="connsiteX101" fmla="*/ 1347788 w 2242184"/>
                  <a:gd name="connsiteY101" fmla="*/ 676275 h 1686775"/>
                  <a:gd name="connsiteX102" fmla="*/ 1365885 w 2242184"/>
                  <a:gd name="connsiteY102" fmla="*/ 673418 h 1686775"/>
                  <a:gd name="connsiteX103" fmla="*/ 1377315 w 2242184"/>
                  <a:gd name="connsiteY103" fmla="*/ 672465 h 1686775"/>
                  <a:gd name="connsiteX104" fmla="*/ 1414463 w 2242184"/>
                  <a:gd name="connsiteY104" fmla="*/ 671513 h 1686775"/>
                  <a:gd name="connsiteX105" fmla="*/ 1436370 w 2242184"/>
                  <a:gd name="connsiteY105" fmla="*/ 674370 h 1686775"/>
                  <a:gd name="connsiteX106" fmla="*/ 1449705 w 2242184"/>
                  <a:gd name="connsiteY106" fmla="*/ 677227 h 1686775"/>
                  <a:gd name="connsiteX107" fmla="*/ 1458278 w 2242184"/>
                  <a:gd name="connsiteY107" fmla="*/ 679133 h 1686775"/>
                  <a:gd name="connsiteX108" fmla="*/ 1460183 w 2242184"/>
                  <a:gd name="connsiteY108" fmla="*/ 684848 h 1686775"/>
                  <a:gd name="connsiteX109" fmla="*/ 1463993 w 2242184"/>
                  <a:gd name="connsiteY109" fmla="*/ 701993 h 1686775"/>
                  <a:gd name="connsiteX110" fmla="*/ 1467803 w 2242184"/>
                  <a:gd name="connsiteY110" fmla="*/ 720090 h 1686775"/>
                  <a:gd name="connsiteX111" fmla="*/ 1474470 w 2242184"/>
                  <a:gd name="connsiteY111" fmla="*/ 724852 h 1686775"/>
                  <a:gd name="connsiteX112" fmla="*/ 1498283 w 2242184"/>
                  <a:gd name="connsiteY112" fmla="*/ 730568 h 1686775"/>
                  <a:gd name="connsiteX113" fmla="*/ 1506855 w 2242184"/>
                  <a:gd name="connsiteY113" fmla="*/ 727710 h 1686775"/>
                  <a:gd name="connsiteX114" fmla="*/ 1513523 w 2242184"/>
                  <a:gd name="connsiteY114" fmla="*/ 721043 h 1686775"/>
                  <a:gd name="connsiteX115" fmla="*/ 1516380 w 2242184"/>
                  <a:gd name="connsiteY115" fmla="*/ 708660 h 1686775"/>
                  <a:gd name="connsiteX116" fmla="*/ 1518285 w 2242184"/>
                  <a:gd name="connsiteY116" fmla="*/ 702945 h 1686775"/>
                  <a:gd name="connsiteX117" fmla="*/ 1509713 w 2242184"/>
                  <a:gd name="connsiteY117" fmla="*/ 682943 h 1686775"/>
                  <a:gd name="connsiteX118" fmla="*/ 1503045 w 2242184"/>
                  <a:gd name="connsiteY118" fmla="*/ 676275 h 1686775"/>
                  <a:gd name="connsiteX119" fmla="*/ 1501140 w 2242184"/>
                  <a:gd name="connsiteY119" fmla="*/ 667702 h 1686775"/>
                  <a:gd name="connsiteX120" fmla="*/ 1499235 w 2242184"/>
                  <a:gd name="connsiteY120" fmla="*/ 659130 h 1686775"/>
                  <a:gd name="connsiteX121" fmla="*/ 1497330 w 2242184"/>
                  <a:gd name="connsiteY121" fmla="*/ 641985 h 1686775"/>
                  <a:gd name="connsiteX122" fmla="*/ 1512570 w 2242184"/>
                  <a:gd name="connsiteY122" fmla="*/ 633413 h 1686775"/>
                  <a:gd name="connsiteX123" fmla="*/ 1521143 w 2242184"/>
                  <a:gd name="connsiteY123" fmla="*/ 633413 h 1686775"/>
                  <a:gd name="connsiteX124" fmla="*/ 1547813 w 2242184"/>
                  <a:gd name="connsiteY124" fmla="*/ 629602 h 1686775"/>
                  <a:gd name="connsiteX125" fmla="*/ 1556385 w 2242184"/>
                  <a:gd name="connsiteY125" fmla="*/ 625793 h 1686775"/>
                  <a:gd name="connsiteX126" fmla="*/ 1561148 w 2242184"/>
                  <a:gd name="connsiteY126" fmla="*/ 620077 h 1686775"/>
                  <a:gd name="connsiteX127" fmla="*/ 1583055 w 2242184"/>
                  <a:gd name="connsiteY127" fmla="*/ 605790 h 1686775"/>
                  <a:gd name="connsiteX128" fmla="*/ 1587818 w 2242184"/>
                  <a:gd name="connsiteY128" fmla="*/ 597218 h 1686775"/>
                  <a:gd name="connsiteX129" fmla="*/ 1587818 w 2242184"/>
                  <a:gd name="connsiteY129" fmla="*/ 591502 h 1686775"/>
                  <a:gd name="connsiteX130" fmla="*/ 1587818 w 2242184"/>
                  <a:gd name="connsiteY130" fmla="*/ 585788 h 1686775"/>
                  <a:gd name="connsiteX131" fmla="*/ 1581150 w 2242184"/>
                  <a:gd name="connsiteY131" fmla="*/ 574358 h 1686775"/>
                  <a:gd name="connsiteX132" fmla="*/ 1592580 w 2242184"/>
                  <a:gd name="connsiteY132" fmla="*/ 564833 h 1686775"/>
                  <a:gd name="connsiteX133" fmla="*/ 1604010 w 2242184"/>
                  <a:gd name="connsiteY133" fmla="*/ 564833 h 1686775"/>
                  <a:gd name="connsiteX134" fmla="*/ 1610678 w 2242184"/>
                  <a:gd name="connsiteY134" fmla="*/ 555308 h 1686775"/>
                  <a:gd name="connsiteX135" fmla="*/ 1622108 w 2242184"/>
                  <a:gd name="connsiteY135" fmla="*/ 549593 h 1686775"/>
                  <a:gd name="connsiteX136" fmla="*/ 1640205 w 2242184"/>
                  <a:gd name="connsiteY136" fmla="*/ 543877 h 1686775"/>
                  <a:gd name="connsiteX137" fmla="*/ 1653540 w 2242184"/>
                  <a:gd name="connsiteY137" fmla="*/ 538163 h 1686775"/>
                  <a:gd name="connsiteX138" fmla="*/ 1662113 w 2242184"/>
                  <a:gd name="connsiteY138" fmla="*/ 534352 h 1686775"/>
                  <a:gd name="connsiteX139" fmla="*/ 1677353 w 2242184"/>
                  <a:gd name="connsiteY139" fmla="*/ 524827 h 1686775"/>
                  <a:gd name="connsiteX140" fmla="*/ 1679258 w 2242184"/>
                  <a:gd name="connsiteY140" fmla="*/ 519112 h 1686775"/>
                  <a:gd name="connsiteX141" fmla="*/ 1679258 w 2242184"/>
                  <a:gd name="connsiteY141" fmla="*/ 507683 h 1686775"/>
                  <a:gd name="connsiteX142" fmla="*/ 1684020 w 2242184"/>
                  <a:gd name="connsiteY142" fmla="*/ 496252 h 1686775"/>
                  <a:gd name="connsiteX143" fmla="*/ 1688783 w 2242184"/>
                  <a:gd name="connsiteY143" fmla="*/ 490537 h 1686775"/>
                  <a:gd name="connsiteX144" fmla="*/ 1700213 w 2242184"/>
                  <a:gd name="connsiteY144" fmla="*/ 487680 h 1686775"/>
                  <a:gd name="connsiteX145" fmla="*/ 1708785 w 2242184"/>
                  <a:gd name="connsiteY145" fmla="*/ 487680 h 1686775"/>
                  <a:gd name="connsiteX146" fmla="*/ 1742123 w 2242184"/>
                  <a:gd name="connsiteY146" fmla="*/ 484823 h 1686775"/>
                  <a:gd name="connsiteX147" fmla="*/ 1760220 w 2242184"/>
                  <a:gd name="connsiteY147" fmla="*/ 479108 h 1686775"/>
                  <a:gd name="connsiteX148" fmla="*/ 1760220 w 2242184"/>
                  <a:gd name="connsiteY148" fmla="*/ 484823 h 1686775"/>
                  <a:gd name="connsiteX149" fmla="*/ 1768793 w 2242184"/>
                  <a:gd name="connsiteY149" fmla="*/ 494348 h 1686775"/>
                  <a:gd name="connsiteX150" fmla="*/ 1775460 w 2242184"/>
                  <a:gd name="connsiteY150" fmla="*/ 496252 h 1686775"/>
                  <a:gd name="connsiteX151" fmla="*/ 1784033 w 2242184"/>
                  <a:gd name="connsiteY151" fmla="*/ 492443 h 1686775"/>
                  <a:gd name="connsiteX152" fmla="*/ 1790700 w 2242184"/>
                  <a:gd name="connsiteY152" fmla="*/ 485775 h 1686775"/>
                  <a:gd name="connsiteX153" fmla="*/ 1799273 w 2242184"/>
                  <a:gd name="connsiteY153" fmla="*/ 484823 h 1686775"/>
                  <a:gd name="connsiteX154" fmla="*/ 1805940 w 2242184"/>
                  <a:gd name="connsiteY154" fmla="*/ 487680 h 1686775"/>
                  <a:gd name="connsiteX155" fmla="*/ 1817370 w 2242184"/>
                  <a:gd name="connsiteY155" fmla="*/ 486727 h 1686775"/>
                  <a:gd name="connsiteX156" fmla="*/ 1825943 w 2242184"/>
                  <a:gd name="connsiteY156" fmla="*/ 486727 h 1686775"/>
                  <a:gd name="connsiteX157" fmla="*/ 1841183 w 2242184"/>
                  <a:gd name="connsiteY157" fmla="*/ 481012 h 1686775"/>
                  <a:gd name="connsiteX158" fmla="*/ 1847850 w 2242184"/>
                  <a:gd name="connsiteY158" fmla="*/ 478155 h 1686775"/>
                  <a:gd name="connsiteX159" fmla="*/ 1854518 w 2242184"/>
                  <a:gd name="connsiteY159" fmla="*/ 472440 h 1686775"/>
                  <a:gd name="connsiteX160" fmla="*/ 1859280 w 2242184"/>
                  <a:gd name="connsiteY160" fmla="*/ 463868 h 1686775"/>
                  <a:gd name="connsiteX161" fmla="*/ 1852613 w 2242184"/>
                  <a:gd name="connsiteY161" fmla="*/ 461010 h 1686775"/>
                  <a:gd name="connsiteX162" fmla="*/ 1844040 w 2242184"/>
                  <a:gd name="connsiteY162" fmla="*/ 459105 h 1686775"/>
                  <a:gd name="connsiteX163" fmla="*/ 1830705 w 2242184"/>
                  <a:gd name="connsiteY163" fmla="*/ 460058 h 1686775"/>
                  <a:gd name="connsiteX164" fmla="*/ 1806893 w 2242184"/>
                  <a:gd name="connsiteY164" fmla="*/ 458152 h 1686775"/>
                  <a:gd name="connsiteX165" fmla="*/ 1793558 w 2242184"/>
                  <a:gd name="connsiteY165" fmla="*/ 455295 h 1686775"/>
                  <a:gd name="connsiteX166" fmla="*/ 1782128 w 2242184"/>
                  <a:gd name="connsiteY166" fmla="*/ 455295 h 1686775"/>
                  <a:gd name="connsiteX167" fmla="*/ 1773555 w 2242184"/>
                  <a:gd name="connsiteY167" fmla="*/ 450533 h 1686775"/>
                  <a:gd name="connsiteX168" fmla="*/ 1773555 w 2242184"/>
                  <a:gd name="connsiteY168" fmla="*/ 441960 h 1686775"/>
                  <a:gd name="connsiteX169" fmla="*/ 1773555 w 2242184"/>
                  <a:gd name="connsiteY169" fmla="*/ 435293 h 1686775"/>
                  <a:gd name="connsiteX170" fmla="*/ 1771650 w 2242184"/>
                  <a:gd name="connsiteY170" fmla="*/ 429577 h 1686775"/>
                  <a:gd name="connsiteX171" fmla="*/ 1756410 w 2242184"/>
                  <a:gd name="connsiteY171" fmla="*/ 416243 h 1686775"/>
                  <a:gd name="connsiteX172" fmla="*/ 1734503 w 2242184"/>
                  <a:gd name="connsiteY172" fmla="*/ 422910 h 1686775"/>
                  <a:gd name="connsiteX173" fmla="*/ 1723073 w 2242184"/>
                  <a:gd name="connsiteY173" fmla="*/ 425768 h 1686775"/>
                  <a:gd name="connsiteX174" fmla="*/ 1707833 w 2242184"/>
                  <a:gd name="connsiteY174" fmla="*/ 432435 h 1686775"/>
                  <a:gd name="connsiteX175" fmla="*/ 1699260 w 2242184"/>
                  <a:gd name="connsiteY175" fmla="*/ 432435 h 1686775"/>
                  <a:gd name="connsiteX176" fmla="*/ 1704023 w 2242184"/>
                  <a:gd name="connsiteY176" fmla="*/ 423862 h 1686775"/>
                  <a:gd name="connsiteX177" fmla="*/ 1719263 w 2242184"/>
                  <a:gd name="connsiteY177" fmla="*/ 414337 h 1686775"/>
                  <a:gd name="connsiteX178" fmla="*/ 1732598 w 2242184"/>
                  <a:gd name="connsiteY178" fmla="*/ 408623 h 1686775"/>
                  <a:gd name="connsiteX179" fmla="*/ 1745933 w 2242184"/>
                  <a:gd name="connsiteY179" fmla="*/ 407670 h 1686775"/>
                  <a:gd name="connsiteX180" fmla="*/ 1763078 w 2242184"/>
                  <a:gd name="connsiteY180" fmla="*/ 409575 h 1686775"/>
                  <a:gd name="connsiteX181" fmla="*/ 1778318 w 2242184"/>
                  <a:gd name="connsiteY181" fmla="*/ 409575 h 1686775"/>
                  <a:gd name="connsiteX182" fmla="*/ 1793558 w 2242184"/>
                  <a:gd name="connsiteY182" fmla="*/ 411480 h 1686775"/>
                  <a:gd name="connsiteX183" fmla="*/ 1798320 w 2242184"/>
                  <a:gd name="connsiteY183" fmla="*/ 417195 h 1686775"/>
                  <a:gd name="connsiteX184" fmla="*/ 1804988 w 2242184"/>
                  <a:gd name="connsiteY184" fmla="*/ 422910 h 1686775"/>
                  <a:gd name="connsiteX185" fmla="*/ 1818323 w 2242184"/>
                  <a:gd name="connsiteY185" fmla="*/ 425768 h 1686775"/>
                  <a:gd name="connsiteX186" fmla="*/ 1824990 w 2242184"/>
                  <a:gd name="connsiteY186" fmla="*/ 419100 h 1686775"/>
                  <a:gd name="connsiteX187" fmla="*/ 1836420 w 2242184"/>
                  <a:gd name="connsiteY187" fmla="*/ 415290 h 1686775"/>
                  <a:gd name="connsiteX188" fmla="*/ 1849755 w 2242184"/>
                  <a:gd name="connsiteY188" fmla="*/ 412433 h 1686775"/>
                  <a:gd name="connsiteX189" fmla="*/ 1861185 w 2242184"/>
                  <a:gd name="connsiteY189" fmla="*/ 414337 h 1686775"/>
                  <a:gd name="connsiteX190" fmla="*/ 1874520 w 2242184"/>
                  <a:gd name="connsiteY190" fmla="*/ 416243 h 1686775"/>
                  <a:gd name="connsiteX191" fmla="*/ 1883093 w 2242184"/>
                  <a:gd name="connsiteY191" fmla="*/ 407670 h 1686775"/>
                  <a:gd name="connsiteX192" fmla="*/ 1889760 w 2242184"/>
                  <a:gd name="connsiteY192" fmla="*/ 392430 h 1686775"/>
                  <a:gd name="connsiteX193" fmla="*/ 1901190 w 2242184"/>
                  <a:gd name="connsiteY193" fmla="*/ 386715 h 1686775"/>
                  <a:gd name="connsiteX194" fmla="*/ 1919288 w 2242184"/>
                  <a:gd name="connsiteY194" fmla="*/ 381000 h 1686775"/>
                  <a:gd name="connsiteX195" fmla="*/ 1925955 w 2242184"/>
                  <a:gd name="connsiteY195" fmla="*/ 371475 h 1686775"/>
                  <a:gd name="connsiteX196" fmla="*/ 1924050 w 2242184"/>
                  <a:gd name="connsiteY196" fmla="*/ 359093 h 1686775"/>
                  <a:gd name="connsiteX197" fmla="*/ 1920240 w 2242184"/>
                  <a:gd name="connsiteY197" fmla="*/ 352425 h 1686775"/>
                  <a:gd name="connsiteX198" fmla="*/ 1900238 w 2242184"/>
                  <a:gd name="connsiteY198" fmla="*/ 349568 h 1686775"/>
                  <a:gd name="connsiteX199" fmla="*/ 1891665 w 2242184"/>
                  <a:gd name="connsiteY199" fmla="*/ 340995 h 1686775"/>
                  <a:gd name="connsiteX200" fmla="*/ 1889760 w 2242184"/>
                  <a:gd name="connsiteY200" fmla="*/ 335280 h 1686775"/>
                  <a:gd name="connsiteX201" fmla="*/ 1876425 w 2242184"/>
                  <a:gd name="connsiteY201" fmla="*/ 332423 h 1686775"/>
                  <a:gd name="connsiteX202" fmla="*/ 1864995 w 2242184"/>
                  <a:gd name="connsiteY202" fmla="*/ 330518 h 1686775"/>
                  <a:gd name="connsiteX203" fmla="*/ 1854518 w 2242184"/>
                  <a:gd name="connsiteY203" fmla="*/ 319087 h 1686775"/>
                  <a:gd name="connsiteX204" fmla="*/ 1844040 w 2242184"/>
                  <a:gd name="connsiteY204" fmla="*/ 303848 h 1686775"/>
                  <a:gd name="connsiteX205" fmla="*/ 1837373 w 2242184"/>
                  <a:gd name="connsiteY205" fmla="*/ 291465 h 1686775"/>
                  <a:gd name="connsiteX206" fmla="*/ 1817370 w 2242184"/>
                  <a:gd name="connsiteY206" fmla="*/ 280987 h 1686775"/>
                  <a:gd name="connsiteX207" fmla="*/ 1810703 w 2242184"/>
                  <a:gd name="connsiteY207" fmla="*/ 273368 h 1686775"/>
                  <a:gd name="connsiteX208" fmla="*/ 1800225 w 2242184"/>
                  <a:gd name="connsiteY208" fmla="*/ 267653 h 1686775"/>
                  <a:gd name="connsiteX209" fmla="*/ 1786890 w 2242184"/>
                  <a:gd name="connsiteY209" fmla="*/ 257175 h 1686775"/>
                  <a:gd name="connsiteX210" fmla="*/ 1766888 w 2242184"/>
                  <a:gd name="connsiteY210" fmla="*/ 268605 h 1686775"/>
                  <a:gd name="connsiteX211" fmla="*/ 1753553 w 2242184"/>
                  <a:gd name="connsiteY211" fmla="*/ 275273 h 1686775"/>
                  <a:gd name="connsiteX212" fmla="*/ 1726883 w 2242184"/>
                  <a:gd name="connsiteY212" fmla="*/ 279083 h 1686775"/>
                  <a:gd name="connsiteX213" fmla="*/ 1715453 w 2242184"/>
                  <a:gd name="connsiteY213" fmla="*/ 276225 h 1686775"/>
                  <a:gd name="connsiteX214" fmla="*/ 1713548 w 2242184"/>
                  <a:gd name="connsiteY214" fmla="*/ 267653 h 1686775"/>
                  <a:gd name="connsiteX215" fmla="*/ 1711643 w 2242184"/>
                  <a:gd name="connsiteY215" fmla="*/ 258128 h 1686775"/>
                  <a:gd name="connsiteX216" fmla="*/ 1711643 w 2242184"/>
                  <a:gd name="connsiteY216" fmla="*/ 249555 h 1686775"/>
                  <a:gd name="connsiteX217" fmla="*/ 1709738 w 2242184"/>
                  <a:gd name="connsiteY217" fmla="*/ 242887 h 1686775"/>
                  <a:gd name="connsiteX218" fmla="*/ 1705928 w 2242184"/>
                  <a:gd name="connsiteY218" fmla="*/ 237173 h 1686775"/>
                  <a:gd name="connsiteX219" fmla="*/ 1690688 w 2242184"/>
                  <a:gd name="connsiteY219" fmla="*/ 234315 h 1686775"/>
                  <a:gd name="connsiteX220" fmla="*/ 1677353 w 2242184"/>
                  <a:gd name="connsiteY220" fmla="*/ 232410 h 1686775"/>
                  <a:gd name="connsiteX221" fmla="*/ 1665923 w 2242184"/>
                  <a:gd name="connsiteY221" fmla="*/ 232410 h 1686775"/>
                  <a:gd name="connsiteX222" fmla="*/ 1657350 w 2242184"/>
                  <a:gd name="connsiteY222" fmla="*/ 224790 h 1686775"/>
                  <a:gd name="connsiteX223" fmla="*/ 1647825 w 2242184"/>
                  <a:gd name="connsiteY223" fmla="*/ 218123 h 1686775"/>
                  <a:gd name="connsiteX224" fmla="*/ 1634490 w 2242184"/>
                  <a:gd name="connsiteY224" fmla="*/ 215265 h 1686775"/>
                  <a:gd name="connsiteX225" fmla="*/ 1617345 w 2242184"/>
                  <a:gd name="connsiteY225" fmla="*/ 215265 h 1686775"/>
                  <a:gd name="connsiteX226" fmla="*/ 1605915 w 2242184"/>
                  <a:gd name="connsiteY226" fmla="*/ 215265 h 1686775"/>
                  <a:gd name="connsiteX227" fmla="*/ 1584008 w 2242184"/>
                  <a:gd name="connsiteY227" fmla="*/ 215265 h 1686775"/>
                  <a:gd name="connsiteX228" fmla="*/ 1570673 w 2242184"/>
                  <a:gd name="connsiteY228" fmla="*/ 219075 h 1686775"/>
                  <a:gd name="connsiteX229" fmla="*/ 1559243 w 2242184"/>
                  <a:gd name="connsiteY229" fmla="*/ 242887 h 1686775"/>
                  <a:gd name="connsiteX230" fmla="*/ 1559243 w 2242184"/>
                  <a:gd name="connsiteY230" fmla="*/ 255270 h 1686775"/>
                  <a:gd name="connsiteX231" fmla="*/ 1559243 w 2242184"/>
                  <a:gd name="connsiteY231" fmla="*/ 261937 h 1686775"/>
                  <a:gd name="connsiteX232" fmla="*/ 1559243 w 2242184"/>
                  <a:gd name="connsiteY232" fmla="*/ 265748 h 1686775"/>
                  <a:gd name="connsiteX233" fmla="*/ 1563053 w 2242184"/>
                  <a:gd name="connsiteY233" fmla="*/ 280035 h 1686775"/>
                  <a:gd name="connsiteX234" fmla="*/ 1566863 w 2242184"/>
                  <a:gd name="connsiteY234" fmla="*/ 297180 h 1686775"/>
                  <a:gd name="connsiteX235" fmla="*/ 1564005 w 2242184"/>
                  <a:gd name="connsiteY235" fmla="*/ 320040 h 1686775"/>
                  <a:gd name="connsiteX236" fmla="*/ 1550670 w 2242184"/>
                  <a:gd name="connsiteY236" fmla="*/ 331470 h 1686775"/>
                  <a:gd name="connsiteX237" fmla="*/ 1542098 w 2242184"/>
                  <a:gd name="connsiteY237" fmla="*/ 331470 h 1686775"/>
                  <a:gd name="connsiteX238" fmla="*/ 1528763 w 2242184"/>
                  <a:gd name="connsiteY238" fmla="*/ 343853 h 1686775"/>
                  <a:gd name="connsiteX239" fmla="*/ 1535430 w 2242184"/>
                  <a:gd name="connsiteY239" fmla="*/ 359093 h 1686775"/>
                  <a:gd name="connsiteX240" fmla="*/ 1537335 w 2242184"/>
                  <a:gd name="connsiteY240" fmla="*/ 377190 h 1686775"/>
                  <a:gd name="connsiteX241" fmla="*/ 1544003 w 2242184"/>
                  <a:gd name="connsiteY241" fmla="*/ 382905 h 1686775"/>
                  <a:gd name="connsiteX242" fmla="*/ 1517333 w 2242184"/>
                  <a:gd name="connsiteY242" fmla="*/ 385762 h 1686775"/>
                  <a:gd name="connsiteX243" fmla="*/ 1510665 w 2242184"/>
                  <a:gd name="connsiteY243" fmla="*/ 380048 h 1686775"/>
                  <a:gd name="connsiteX244" fmla="*/ 1500188 w 2242184"/>
                  <a:gd name="connsiteY244" fmla="*/ 369570 h 1686775"/>
                  <a:gd name="connsiteX245" fmla="*/ 1496378 w 2242184"/>
                  <a:gd name="connsiteY245" fmla="*/ 358140 h 1686775"/>
                  <a:gd name="connsiteX246" fmla="*/ 1492568 w 2242184"/>
                  <a:gd name="connsiteY246" fmla="*/ 342900 h 1686775"/>
                  <a:gd name="connsiteX247" fmla="*/ 1490663 w 2242184"/>
                  <a:gd name="connsiteY247" fmla="*/ 328612 h 1686775"/>
                  <a:gd name="connsiteX248" fmla="*/ 1470660 w 2242184"/>
                  <a:gd name="connsiteY248" fmla="*/ 323850 h 1686775"/>
                  <a:gd name="connsiteX249" fmla="*/ 1450658 w 2242184"/>
                  <a:gd name="connsiteY249" fmla="*/ 320993 h 1686775"/>
                  <a:gd name="connsiteX250" fmla="*/ 1442085 w 2242184"/>
                  <a:gd name="connsiteY250" fmla="*/ 316230 h 1686775"/>
                  <a:gd name="connsiteX251" fmla="*/ 1437323 w 2242184"/>
                  <a:gd name="connsiteY251" fmla="*/ 310515 h 1686775"/>
                  <a:gd name="connsiteX252" fmla="*/ 1410653 w 2242184"/>
                  <a:gd name="connsiteY252" fmla="*/ 304800 h 1686775"/>
                  <a:gd name="connsiteX253" fmla="*/ 1390650 w 2242184"/>
                  <a:gd name="connsiteY253" fmla="*/ 303848 h 1686775"/>
                  <a:gd name="connsiteX254" fmla="*/ 1380173 w 2242184"/>
                  <a:gd name="connsiteY254" fmla="*/ 296228 h 1686775"/>
                  <a:gd name="connsiteX255" fmla="*/ 1366838 w 2242184"/>
                  <a:gd name="connsiteY255" fmla="*/ 294323 h 1686775"/>
                  <a:gd name="connsiteX256" fmla="*/ 1353503 w 2242184"/>
                  <a:gd name="connsiteY256" fmla="*/ 292418 h 1686775"/>
                  <a:gd name="connsiteX257" fmla="*/ 1336358 w 2242184"/>
                  <a:gd name="connsiteY257" fmla="*/ 289560 h 1686775"/>
                  <a:gd name="connsiteX258" fmla="*/ 1323023 w 2242184"/>
                  <a:gd name="connsiteY258" fmla="*/ 287655 h 1686775"/>
                  <a:gd name="connsiteX259" fmla="*/ 1312545 w 2242184"/>
                  <a:gd name="connsiteY259" fmla="*/ 279083 h 1686775"/>
                  <a:gd name="connsiteX260" fmla="*/ 1308735 w 2242184"/>
                  <a:gd name="connsiteY260" fmla="*/ 270510 h 1686775"/>
                  <a:gd name="connsiteX261" fmla="*/ 1291590 w 2242184"/>
                  <a:gd name="connsiteY261" fmla="*/ 264795 h 1686775"/>
                  <a:gd name="connsiteX262" fmla="*/ 1278255 w 2242184"/>
                  <a:gd name="connsiteY262" fmla="*/ 260033 h 1686775"/>
                  <a:gd name="connsiteX263" fmla="*/ 1263015 w 2242184"/>
                  <a:gd name="connsiteY263" fmla="*/ 255270 h 1686775"/>
                  <a:gd name="connsiteX264" fmla="*/ 1267778 w 2242184"/>
                  <a:gd name="connsiteY264" fmla="*/ 243840 h 1686775"/>
                  <a:gd name="connsiteX265" fmla="*/ 1279208 w 2242184"/>
                  <a:gd name="connsiteY265" fmla="*/ 234315 h 1686775"/>
                  <a:gd name="connsiteX266" fmla="*/ 1290638 w 2242184"/>
                  <a:gd name="connsiteY266" fmla="*/ 228600 h 1686775"/>
                  <a:gd name="connsiteX267" fmla="*/ 1292543 w 2242184"/>
                  <a:gd name="connsiteY267" fmla="*/ 222885 h 1686775"/>
                  <a:gd name="connsiteX268" fmla="*/ 1299210 w 2242184"/>
                  <a:gd name="connsiteY268" fmla="*/ 216217 h 1686775"/>
                  <a:gd name="connsiteX269" fmla="*/ 1301115 w 2242184"/>
                  <a:gd name="connsiteY269" fmla="*/ 210503 h 1686775"/>
                  <a:gd name="connsiteX270" fmla="*/ 1307783 w 2242184"/>
                  <a:gd name="connsiteY270" fmla="*/ 209550 h 1686775"/>
                  <a:gd name="connsiteX271" fmla="*/ 1319213 w 2242184"/>
                  <a:gd name="connsiteY271" fmla="*/ 200025 h 1686775"/>
                  <a:gd name="connsiteX272" fmla="*/ 1327785 w 2242184"/>
                  <a:gd name="connsiteY272" fmla="*/ 193358 h 1686775"/>
                  <a:gd name="connsiteX273" fmla="*/ 1334453 w 2242184"/>
                  <a:gd name="connsiteY273" fmla="*/ 192405 h 1686775"/>
                  <a:gd name="connsiteX274" fmla="*/ 1343025 w 2242184"/>
                  <a:gd name="connsiteY274" fmla="*/ 192405 h 1686775"/>
                  <a:gd name="connsiteX275" fmla="*/ 1361123 w 2242184"/>
                  <a:gd name="connsiteY275" fmla="*/ 185737 h 1686775"/>
                  <a:gd name="connsiteX276" fmla="*/ 1369695 w 2242184"/>
                  <a:gd name="connsiteY276" fmla="*/ 180023 h 1686775"/>
                  <a:gd name="connsiteX277" fmla="*/ 1398270 w 2242184"/>
                  <a:gd name="connsiteY277" fmla="*/ 164783 h 1686775"/>
                  <a:gd name="connsiteX278" fmla="*/ 1403033 w 2242184"/>
                  <a:gd name="connsiteY278" fmla="*/ 158115 h 1686775"/>
                  <a:gd name="connsiteX279" fmla="*/ 1405890 w 2242184"/>
                  <a:gd name="connsiteY279" fmla="*/ 151448 h 1686775"/>
                  <a:gd name="connsiteX280" fmla="*/ 1412558 w 2242184"/>
                  <a:gd name="connsiteY280" fmla="*/ 142875 h 1686775"/>
                  <a:gd name="connsiteX281" fmla="*/ 1425893 w 2242184"/>
                  <a:gd name="connsiteY281" fmla="*/ 140017 h 1686775"/>
                  <a:gd name="connsiteX282" fmla="*/ 1434465 w 2242184"/>
                  <a:gd name="connsiteY282" fmla="*/ 139065 h 1686775"/>
                  <a:gd name="connsiteX283" fmla="*/ 1461135 w 2242184"/>
                  <a:gd name="connsiteY283" fmla="*/ 139065 h 1686775"/>
                  <a:gd name="connsiteX284" fmla="*/ 1483043 w 2242184"/>
                  <a:gd name="connsiteY284" fmla="*/ 135255 h 1686775"/>
                  <a:gd name="connsiteX285" fmla="*/ 1487805 w 2242184"/>
                  <a:gd name="connsiteY285" fmla="*/ 128587 h 1686775"/>
                  <a:gd name="connsiteX286" fmla="*/ 1490663 w 2242184"/>
                  <a:gd name="connsiteY286" fmla="*/ 120015 h 1686775"/>
                  <a:gd name="connsiteX287" fmla="*/ 1497330 w 2242184"/>
                  <a:gd name="connsiteY287" fmla="*/ 111442 h 1686775"/>
                  <a:gd name="connsiteX288" fmla="*/ 1500188 w 2242184"/>
                  <a:gd name="connsiteY288" fmla="*/ 102870 h 1686775"/>
                  <a:gd name="connsiteX289" fmla="*/ 1500188 w 2242184"/>
                  <a:gd name="connsiteY289" fmla="*/ 91440 h 1686775"/>
                  <a:gd name="connsiteX290" fmla="*/ 1486853 w 2242184"/>
                  <a:gd name="connsiteY290" fmla="*/ 82867 h 1686775"/>
                  <a:gd name="connsiteX291" fmla="*/ 1478280 w 2242184"/>
                  <a:gd name="connsiteY291" fmla="*/ 78105 h 1686775"/>
                  <a:gd name="connsiteX292" fmla="*/ 1506855 w 2242184"/>
                  <a:gd name="connsiteY292" fmla="*/ 75248 h 1686775"/>
                  <a:gd name="connsiteX293" fmla="*/ 1513523 w 2242184"/>
                  <a:gd name="connsiteY293" fmla="*/ 77153 h 1686775"/>
                  <a:gd name="connsiteX294" fmla="*/ 1531620 w 2242184"/>
                  <a:gd name="connsiteY294" fmla="*/ 77153 h 1686775"/>
                  <a:gd name="connsiteX295" fmla="*/ 1544955 w 2242184"/>
                  <a:gd name="connsiteY295" fmla="*/ 77153 h 1686775"/>
                  <a:gd name="connsiteX296" fmla="*/ 1560195 w 2242184"/>
                  <a:gd name="connsiteY296" fmla="*/ 80010 h 1686775"/>
                  <a:gd name="connsiteX297" fmla="*/ 1584008 w 2242184"/>
                  <a:gd name="connsiteY297" fmla="*/ 84773 h 1686775"/>
                  <a:gd name="connsiteX298" fmla="*/ 1594485 w 2242184"/>
                  <a:gd name="connsiteY298" fmla="*/ 87630 h 1686775"/>
                  <a:gd name="connsiteX299" fmla="*/ 1603058 w 2242184"/>
                  <a:gd name="connsiteY299" fmla="*/ 90487 h 1686775"/>
                  <a:gd name="connsiteX300" fmla="*/ 1633538 w 2242184"/>
                  <a:gd name="connsiteY300" fmla="*/ 100965 h 1686775"/>
                  <a:gd name="connsiteX301" fmla="*/ 1642110 w 2242184"/>
                  <a:gd name="connsiteY301" fmla="*/ 105728 h 1686775"/>
                  <a:gd name="connsiteX302" fmla="*/ 1645920 w 2242184"/>
                  <a:gd name="connsiteY302" fmla="*/ 112395 h 1686775"/>
                  <a:gd name="connsiteX303" fmla="*/ 1647825 w 2242184"/>
                  <a:gd name="connsiteY303" fmla="*/ 118110 h 1686775"/>
                  <a:gd name="connsiteX304" fmla="*/ 1643063 w 2242184"/>
                  <a:gd name="connsiteY304" fmla="*/ 126683 h 1686775"/>
                  <a:gd name="connsiteX305" fmla="*/ 1643063 w 2242184"/>
                  <a:gd name="connsiteY305" fmla="*/ 130492 h 1686775"/>
                  <a:gd name="connsiteX306" fmla="*/ 1629728 w 2242184"/>
                  <a:gd name="connsiteY306" fmla="*/ 141923 h 1686775"/>
                  <a:gd name="connsiteX307" fmla="*/ 1624965 w 2242184"/>
                  <a:gd name="connsiteY307" fmla="*/ 151448 h 1686775"/>
                  <a:gd name="connsiteX308" fmla="*/ 1626870 w 2242184"/>
                  <a:gd name="connsiteY308" fmla="*/ 160973 h 1686775"/>
                  <a:gd name="connsiteX309" fmla="*/ 1637348 w 2242184"/>
                  <a:gd name="connsiteY309" fmla="*/ 169545 h 1686775"/>
                  <a:gd name="connsiteX310" fmla="*/ 1647825 w 2242184"/>
                  <a:gd name="connsiteY310" fmla="*/ 177165 h 1686775"/>
                  <a:gd name="connsiteX311" fmla="*/ 1654493 w 2242184"/>
                  <a:gd name="connsiteY311" fmla="*/ 182880 h 1686775"/>
                  <a:gd name="connsiteX312" fmla="*/ 1664970 w 2242184"/>
                  <a:gd name="connsiteY312" fmla="*/ 190500 h 1686775"/>
                  <a:gd name="connsiteX313" fmla="*/ 1680210 w 2242184"/>
                  <a:gd name="connsiteY313" fmla="*/ 196215 h 1686775"/>
                  <a:gd name="connsiteX314" fmla="*/ 1704023 w 2242184"/>
                  <a:gd name="connsiteY314" fmla="*/ 206692 h 1686775"/>
                  <a:gd name="connsiteX315" fmla="*/ 1710690 w 2242184"/>
                  <a:gd name="connsiteY315" fmla="*/ 209550 h 1686775"/>
                  <a:gd name="connsiteX316" fmla="*/ 1727835 w 2242184"/>
                  <a:gd name="connsiteY316" fmla="*/ 215265 h 1686775"/>
                  <a:gd name="connsiteX317" fmla="*/ 1736408 w 2242184"/>
                  <a:gd name="connsiteY317" fmla="*/ 218123 h 1686775"/>
                  <a:gd name="connsiteX318" fmla="*/ 1751648 w 2242184"/>
                  <a:gd name="connsiteY318" fmla="*/ 217170 h 1686775"/>
                  <a:gd name="connsiteX319" fmla="*/ 1762125 w 2242184"/>
                  <a:gd name="connsiteY319" fmla="*/ 218123 h 1686775"/>
                  <a:gd name="connsiteX320" fmla="*/ 1760220 w 2242184"/>
                  <a:gd name="connsiteY320" fmla="*/ 209550 h 1686775"/>
                  <a:gd name="connsiteX321" fmla="*/ 1771650 w 2242184"/>
                  <a:gd name="connsiteY321" fmla="*/ 209550 h 1686775"/>
                  <a:gd name="connsiteX322" fmla="*/ 1789748 w 2242184"/>
                  <a:gd name="connsiteY322" fmla="*/ 207645 h 1686775"/>
                  <a:gd name="connsiteX323" fmla="*/ 1792605 w 2242184"/>
                  <a:gd name="connsiteY323" fmla="*/ 203835 h 1686775"/>
                  <a:gd name="connsiteX324" fmla="*/ 1794510 w 2242184"/>
                  <a:gd name="connsiteY324" fmla="*/ 198120 h 1686775"/>
                  <a:gd name="connsiteX325" fmla="*/ 1789748 w 2242184"/>
                  <a:gd name="connsiteY325" fmla="*/ 192405 h 1686775"/>
                  <a:gd name="connsiteX326" fmla="*/ 1784985 w 2242184"/>
                  <a:gd name="connsiteY326" fmla="*/ 187642 h 1686775"/>
                  <a:gd name="connsiteX327" fmla="*/ 1778318 w 2242184"/>
                  <a:gd name="connsiteY327" fmla="*/ 178117 h 1686775"/>
                  <a:gd name="connsiteX328" fmla="*/ 1771650 w 2242184"/>
                  <a:gd name="connsiteY328" fmla="*/ 169545 h 1686775"/>
                  <a:gd name="connsiteX329" fmla="*/ 1755458 w 2242184"/>
                  <a:gd name="connsiteY329" fmla="*/ 163830 h 1686775"/>
                  <a:gd name="connsiteX330" fmla="*/ 1749743 w 2242184"/>
                  <a:gd name="connsiteY330" fmla="*/ 155258 h 1686775"/>
                  <a:gd name="connsiteX331" fmla="*/ 1751648 w 2242184"/>
                  <a:gd name="connsiteY331" fmla="*/ 148590 h 1686775"/>
                  <a:gd name="connsiteX332" fmla="*/ 1764983 w 2242184"/>
                  <a:gd name="connsiteY332" fmla="*/ 149542 h 1686775"/>
                  <a:gd name="connsiteX333" fmla="*/ 1772603 w 2242184"/>
                  <a:gd name="connsiteY333" fmla="*/ 155258 h 1686775"/>
                  <a:gd name="connsiteX334" fmla="*/ 1781175 w 2242184"/>
                  <a:gd name="connsiteY334" fmla="*/ 158115 h 1686775"/>
                  <a:gd name="connsiteX335" fmla="*/ 1786890 w 2242184"/>
                  <a:gd name="connsiteY335" fmla="*/ 161925 h 1686775"/>
                  <a:gd name="connsiteX336" fmla="*/ 1798320 w 2242184"/>
                  <a:gd name="connsiteY336" fmla="*/ 164783 h 1686775"/>
                  <a:gd name="connsiteX337" fmla="*/ 1806893 w 2242184"/>
                  <a:gd name="connsiteY337" fmla="*/ 165735 h 1686775"/>
                  <a:gd name="connsiteX338" fmla="*/ 1814513 w 2242184"/>
                  <a:gd name="connsiteY338" fmla="*/ 160973 h 1686775"/>
                  <a:gd name="connsiteX339" fmla="*/ 1820228 w 2242184"/>
                  <a:gd name="connsiteY339" fmla="*/ 156210 h 1686775"/>
                  <a:gd name="connsiteX340" fmla="*/ 1834515 w 2242184"/>
                  <a:gd name="connsiteY340" fmla="*/ 156210 h 1686775"/>
                  <a:gd name="connsiteX341" fmla="*/ 1839278 w 2242184"/>
                  <a:gd name="connsiteY341" fmla="*/ 156210 h 1686775"/>
                  <a:gd name="connsiteX342" fmla="*/ 1846898 w 2242184"/>
                  <a:gd name="connsiteY342" fmla="*/ 150495 h 1686775"/>
                  <a:gd name="connsiteX343" fmla="*/ 1852613 w 2242184"/>
                  <a:gd name="connsiteY343" fmla="*/ 145733 h 1686775"/>
                  <a:gd name="connsiteX344" fmla="*/ 1854518 w 2242184"/>
                  <a:gd name="connsiteY344" fmla="*/ 140017 h 1686775"/>
                  <a:gd name="connsiteX345" fmla="*/ 1856423 w 2242184"/>
                  <a:gd name="connsiteY345" fmla="*/ 134303 h 1686775"/>
                  <a:gd name="connsiteX346" fmla="*/ 1856423 w 2242184"/>
                  <a:gd name="connsiteY346" fmla="*/ 130492 h 1686775"/>
                  <a:gd name="connsiteX347" fmla="*/ 1848803 w 2242184"/>
                  <a:gd name="connsiteY347" fmla="*/ 126683 h 1686775"/>
                  <a:gd name="connsiteX348" fmla="*/ 1837373 w 2242184"/>
                  <a:gd name="connsiteY348" fmla="*/ 123825 h 1686775"/>
                  <a:gd name="connsiteX349" fmla="*/ 1820228 w 2242184"/>
                  <a:gd name="connsiteY349" fmla="*/ 119062 h 1686775"/>
                  <a:gd name="connsiteX350" fmla="*/ 1805940 w 2242184"/>
                  <a:gd name="connsiteY350" fmla="*/ 111442 h 1686775"/>
                  <a:gd name="connsiteX351" fmla="*/ 1800225 w 2242184"/>
                  <a:gd name="connsiteY351" fmla="*/ 112395 h 1686775"/>
                  <a:gd name="connsiteX352" fmla="*/ 1788795 w 2242184"/>
                  <a:gd name="connsiteY352" fmla="*/ 111442 h 1686775"/>
                  <a:gd name="connsiteX353" fmla="*/ 1778318 w 2242184"/>
                  <a:gd name="connsiteY353" fmla="*/ 105728 h 1686775"/>
                  <a:gd name="connsiteX354" fmla="*/ 1772603 w 2242184"/>
                  <a:gd name="connsiteY354" fmla="*/ 101917 h 1686775"/>
                  <a:gd name="connsiteX355" fmla="*/ 1762125 w 2242184"/>
                  <a:gd name="connsiteY355" fmla="*/ 100965 h 1686775"/>
                  <a:gd name="connsiteX356" fmla="*/ 1750695 w 2242184"/>
                  <a:gd name="connsiteY356" fmla="*/ 96203 h 1686775"/>
                  <a:gd name="connsiteX357" fmla="*/ 1752600 w 2242184"/>
                  <a:gd name="connsiteY357" fmla="*/ 85725 h 1686775"/>
                  <a:gd name="connsiteX358" fmla="*/ 1751648 w 2242184"/>
                  <a:gd name="connsiteY358" fmla="*/ 79058 h 1686775"/>
                  <a:gd name="connsiteX359" fmla="*/ 1751648 w 2242184"/>
                  <a:gd name="connsiteY359" fmla="*/ 75248 h 1686775"/>
                  <a:gd name="connsiteX360" fmla="*/ 1745933 w 2242184"/>
                  <a:gd name="connsiteY360" fmla="*/ 67628 h 1686775"/>
                  <a:gd name="connsiteX361" fmla="*/ 1737360 w 2242184"/>
                  <a:gd name="connsiteY361" fmla="*/ 63817 h 1686775"/>
                  <a:gd name="connsiteX362" fmla="*/ 1725930 w 2242184"/>
                  <a:gd name="connsiteY362" fmla="*/ 62865 h 1686775"/>
                  <a:gd name="connsiteX363" fmla="*/ 1708785 w 2242184"/>
                  <a:gd name="connsiteY363" fmla="*/ 54292 h 1686775"/>
                  <a:gd name="connsiteX364" fmla="*/ 1700213 w 2242184"/>
                  <a:gd name="connsiteY364" fmla="*/ 51435 h 1686775"/>
                  <a:gd name="connsiteX365" fmla="*/ 1676400 w 2242184"/>
                  <a:gd name="connsiteY365" fmla="*/ 46672 h 1686775"/>
                  <a:gd name="connsiteX366" fmla="*/ 1664970 w 2242184"/>
                  <a:gd name="connsiteY366" fmla="*/ 43815 h 1686775"/>
                  <a:gd name="connsiteX367" fmla="*/ 1650683 w 2242184"/>
                  <a:gd name="connsiteY367" fmla="*/ 42863 h 1686775"/>
                  <a:gd name="connsiteX368" fmla="*/ 1628775 w 2242184"/>
                  <a:gd name="connsiteY368" fmla="*/ 31432 h 1686775"/>
                  <a:gd name="connsiteX369" fmla="*/ 1612583 w 2242184"/>
                  <a:gd name="connsiteY369" fmla="*/ 22860 h 1686775"/>
                  <a:gd name="connsiteX370" fmla="*/ 1604010 w 2242184"/>
                  <a:gd name="connsiteY370" fmla="*/ 14288 h 1686775"/>
                  <a:gd name="connsiteX371" fmla="*/ 1590675 w 2242184"/>
                  <a:gd name="connsiteY371" fmla="*/ 15240 h 1686775"/>
                  <a:gd name="connsiteX372" fmla="*/ 1583055 w 2242184"/>
                  <a:gd name="connsiteY372" fmla="*/ 13335 h 1686775"/>
                  <a:gd name="connsiteX373" fmla="*/ 1561148 w 2242184"/>
                  <a:gd name="connsiteY373" fmla="*/ 17145 h 1686775"/>
                  <a:gd name="connsiteX374" fmla="*/ 1553528 w 2242184"/>
                  <a:gd name="connsiteY374" fmla="*/ 25717 h 1686775"/>
                  <a:gd name="connsiteX375" fmla="*/ 1544955 w 2242184"/>
                  <a:gd name="connsiteY375" fmla="*/ 24765 h 1686775"/>
                  <a:gd name="connsiteX376" fmla="*/ 1534478 w 2242184"/>
                  <a:gd name="connsiteY376" fmla="*/ 18097 h 1686775"/>
                  <a:gd name="connsiteX377" fmla="*/ 1524000 w 2242184"/>
                  <a:gd name="connsiteY377" fmla="*/ 11430 h 1686775"/>
                  <a:gd name="connsiteX378" fmla="*/ 1503998 w 2242184"/>
                  <a:gd name="connsiteY378" fmla="*/ 4763 h 1686775"/>
                  <a:gd name="connsiteX379" fmla="*/ 1495425 w 2242184"/>
                  <a:gd name="connsiteY379" fmla="*/ 1905 h 1686775"/>
                  <a:gd name="connsiteX380" fmla="*/ 1474470 w 2242184"/>
                  <a:gd name="connsiteY380" fmla="*/ 1905 h 1686775"/>
                  <a:gd name="connsiteX381" fmla="*/ 1468755 w 2242184"/>
                  <a:gd name="connsiteY381" fmla="*/ 1905 h 1686775"/>
                  <a:gd name="connsiteX382" fmla="*/ 1463993 w 2242184"/>
                  <a:gd name="connsiteY382" fmla="*/ 5715 h 1686775"/>
                  <a:gd name="connsiteX383" fmla="*/ 1458278 w 2242184"/>
                  <a:gd name="connsiteY383" fmla="*/ 8572 h 1686775"/>
                  <a:gd name="connsiteX384" fmla="*/ 1449705 w 2242184"/>
                  <a:gd name="connsiteY384" fmla="*/ 11430 h 1686775"/>
                  <a:gd name="connsiteX385" fmla="*/ 1444943 w 2242184"/>
                  <a:gd name="connsiteY385" fmla="*/ 17145 h 1686775"/>
                  <a:gd name="connsiteX386" fmla="*/ 1442085 w 2242184"/>
                  <a:gd name="connsiteY386" fmla="*/ 24765 h 1686775"/>
                  <a:gd name="connsiteX387" fmla="*/ 1443038 w 2242184"/>
                  <a:gd name="connsiteY387" fmla="*/ 28575 h 1686775"/>
                  <a:gd name="connsiteX388" fmla="*/ 1434465 w 2242184"/>
                  <a:gd name="connsiteY388" fmla="*/ 33338 h 1686775"/>
                  <a:gd name="connsiteX389" fmla="*/ 1425893 w 2242184"/>
                  <a:gd name="connsiteY389" fmla="*/ 31432 h 1686775"/>
                  <a:gd name="connsiteX390" fmla="*/ 1423035 w 2242184"/>
                  <a:gd name="connsiteY390" fmla="*/ 23813 h 1686775"/>
                  <a:gd name="connsiteX391" fmla="*/ 1425893 w 2242184"/>
                  <a:gd name="connsiteY391" fmla="*/ 19050 h 1686775"/>
                  <a:gd name="connsiteX392" fmla="*/ 1430655 w 2242184"/>
                  <a:gd name="connsiteY392" fmla="*/ 13335 h 1686775"/>
                  <a:gd name="connsiteX393" fmla="*/ 1432560 w 2242184"/>
                  <a:gd name="connsiteY393" fmla="*/ 7620 h 1686775"/>
                  <a:gd name="connsiteX394" fmla="*/ 1432560 w 2242184"/>
                  <a:gd name="connsiteY394" fmla="*/ 3810 h 1686775"/>
                  <a:gd name="connsiteX395" fmla="*/ 1415415 w 2242184"/>
                  <a:gd name="connsiteY395" fmla="*/ 953 h 1686775"/>
                  <a:gd name="connsiteX396" fmla="*/ 1402080 w 2242184"/>
                  <a:gd name="connsiteY396" fmla="*/ 0 h 1686775"/>
                  <a:gd name="connsiteX397" fmla="*/ 1380173 w 2242184"/>
                  <a:gd name="connsiteY397" fmla="*/ 6667 h 1686775"/>
                  <a:gd name="connsiteX398" fmla="*/ 1369695 w 2242184"/>
                  <a:gd name="connsiteY398" fmla="*/ 15240 h 1686775"/>
                  <a:gd name="connsiteX399" fmla="*/ 1369695 w 2242184"/>
                  <a:gd name="connsiteY399" fmla="*/ 18097 h 1686775"/>
                  <a:gd name="connsiteX400" fmla="*/ 1366838 w 2242184"/>
                  <a:gd name="connsiteY400" fmla="*/ 30480 h 1686775"/>
                  <a:gd name="connsiteX401" fmla="*/ 1366838 w 2242184"/>
                  <a:gd name="connsiteY401" fmla="*/ 40957 h 1686775"/>
                  <a:gd name="connsiteX402" fmla="*/ 1374458 w 2242184"/>
                  <a:gd name="connsiteY402" fmla="*/ 48578 h 1686775"/>
                  <a:gd name="connsiteX403" fmla="*/ 1382078 w 2242184"/>
                  <a:gd name="connsiteY403" fmla="*/ 55245 h 1686775"/>
                  <a:gd name="connsiteX404" fmla="*/ 1390650 w 2242184"/>
                  <a:gd name="connsiteY404" fmla="*/ 60960 h 1686775"/>
                  <a:gd name="connsiteX405" fmla="*/ 1407795 w 2242184"/>
                  <a:gd name="connsiteY405" fmla="*/ 65723 h 1686775"/>
                  <a:gd name="connsiteX406" fmla="*/ 1415415 w 2242184"/>
                  <a:gd name="connsiteY406" fmla="*/ 69533 h 1686775"/>
                  <a:gd name="connsiteX407" fmla="*/ 1418273 w 2242184"/>
                  <a:gd name="connsiteY407" fmla="*/ 72390 h 1686775"/>
                  <a:gd name="connsiteX408" fmla="*/ 1432560 w 2242184"/>
                  <a:gd name="connsiteY408" fmla="*/ 76200 h 1686775"/>
                  <a:gd name="connsiteX409" fmla="*/ 1443990 w 2242184"/>
                  <a:gd name="connsiteY409" fmla="*/ 80962 h 1686775"/>
                  <a:gd name="connsiteX410" fmla="*/ 1446848 w 2242184"/>
                  <a:gd name="connsiteY410" fmla="*/ 87630 h 1686775"/>
                  <a:gd name="connsiteX411" fmla="*/ 1441133 w 2242184"/>
                  <a:gd name="connsiteY411" fmla="*/ 95250 h 1686775"/>
                  <a:gd name="connsiteX412" fmla="*/ 1441133 w 2242184"/>
                  <a:gd name="connsiteY412" fmla="*/ 98108 h 1686775"/>
                  <a:gd name="connsiteX413" fmla="*/ 1429703 w 2242184"/>
                  <a:gd name="connsiteY413" fmla="*/ 104775 h 1686775"/>
                  <a:gd name="connsiteX414" fmla="*/ 1419225 w 2242184"/>
                  <a:gd name="connsiteY414" fmla="*/ 110490 h 1686775"/>
                  <a:gd name="connsiteX415" fmla="*/ 1417320 w 2242184"/>
                  <a:gd name="connsiteY415" fmla="*/ 116205 h 1686775"/>
                  <a:gd name="connsiteX416" fmla="*/ 1403033 w 2242184"/>
                  <a:gd name="connsiteY416" fmla="*/ 120015 h 1686775"/>
                  <a:gd name="connsiteX417" fmla="*/ 1397318 w 2242184"/>
                  <a:gd name="connsiteY417" fmla="*/ 116205 h 1686775"/>
                  <a:gd name="connsiteX418" fmla="*/ 1397318 w 2242184"/>
                  <a:gd name="connsiteY418" fmla="*/ 107633 h 1686775"/>
                  <a:gd name="connsiteX419" fmla="*/ 1397318 w 2242184"/>
                  <a:gd name="connsiteY419" fmla="*/ 101917 h 1686775"/>
                  <a:gd name="connsiteX420" fmla="*/ 1396365 w 2242184"/>
                  <a:gd name="connsiteY420" fmla="*/ 95250 h 1686775"/>
                  <a:gd name="connsiteX421" fmla="*/ 1393508 w 2242184"/>
                  <a:gd name="connsiteY421" fmla="*/ 90487 h 1686775"/>
                  <a:gd name="connsiteX422" fmla="*/ 1384935 w 2242184"/>
                  <a:gd name="connsiteY422" fmla="*/ 88583 h 1686775"/>
                  <a:gd name="connsiteX423" fmla="*/ 1376363 w 2242184"/>
                  <a:gd name="connsiteY423" fmla="*/ 88583 h 1686775"/>
                  <a:gd name="connsiteX424" fmla="*/ 1364933 w 2242184"/>
                  <a:gd name="connsiteY424" fmla="*/ 88583 h 1686775"/>
                  <a:gd name="connsiteX425" fmla="*/ 1354455 w 2242184"/>
                  <a:gd name="connsiteY425" fmla="*/ 84773 h 1686775"/>
                  <a:gd name="connsiteX426" fmla="*/ 1354455 w 2242184"/>
                  <a:gd name="connsiteY426" fmla="*/ 81915 h 1686775"/>
                  <a:gd name="connsiteX427" fmla="*/ 1341120 w 2242184"/>
                  <a:gd name="connsiteY427" fmla="*/ 76200 h 1686775"/>
                  <a:gd name="connsiteX428" fmla="*/ 1324928 w 2242184"/>
                  <a:gd name="connsiteY428" fmla="*/ 74295 h 1686775"/>
                  <a:gd name="connsiteX429" fmla="*/ 1319213 w 2242184"/>
                  <a:gd name="connsiteY429" fmla="*/ 73342 h 1686775"/>
                  <a:gd name="connsiteX430" fmla="*/ 1318260 w 2242184"/>
                  <a:gd name="connsiteY430" fmla="*/ 60960 h 1686775"/>
                  <a:gd name="connsiteX431" fmla="*/ 1315403 w 2242184"/>
                  <a:gd name="connsiteY431" fmla="*/ 53340 h 1686775"/>
                  <a:gd name="connsiteX432" fmla="*/ 1309688 w 2242184"/>
                  <a:gd name="connsiteY432" fmla="*/ 45720 h 1686775"/>
                  <a:gd name="connsiteX433" fmla="*/ 1304925 w 2242184"/>
                  <a:gd name="connsiteY433" fmla="*/ 41910 h 1686775"/>
                  <a:gd name="connsiteX434" fmla="*/ 1299210 w 2242184"/>
                  <a:gd name="connsiteY434" fmla="*/ 40005 h 1686775"/>
                  <a:gd name="connsiteX435" fmla="*/ 1274445 w 2242184"/>
                  <a:gd name="connsiteY435" fmla="*/ 35242 h 1686775"/>
                  <a:gd name="connsiteX436" fmla="*/ 1266825 w 2242184"/>
                  <a:gd name="connsiteY436" fmla="*/ 39053 h 1686775"/>
                  <a:gd name="connsiteX437" fmla="*/ 1259205 w 2242184"/>
                  <a:gd name="connsiteY437" fmla="*/ 44767 h 1686775"/>
                  <a:gd name="connsiteX438" fmla="*/ 1247775 w 2242184"/>
                  <a:gd name="connsiteY438" fmla="*/ 48578 h 1686775"/>
                  <a:gd name="connsiteX439" fmla="*/ 1247775 w 2242184"/>
                  <a:gd name="connsiteY439" fmla="*/ 56197 h 1686775"/>
                  <a:gd name="connsiteX440" fmla="*/ 1253490 w 2242184"/>
                  <a:gd name="connsiteY440" fmla="*/ 66675 h 1686775"/>
                  <a:gd name="connsiteX441" fmla="*/ 1258253 w 2242184"/>
                  <a:gd name="connsiteY441" fmla="*/ 72390 h 1686775"/>
                  <a:gd name="connsiteX442" fmla="*/ 1263968 w 2242184"/>
                  <a:gd name="connsiteY442" fmla="*/ 77153 h 1686775"/>
                  <a:gd name="connsiteX443" fmla="*/ 1272540 w 2242184"/>
                  <a:gd name="connsiteY443" fmla="*/ 80962 h 1686775"/>
                  <a:gd name="connsiteX444" fmla="*/ 1280160 w 2242184"/>
                  <a:gd name="connsiteY444" fmla="*/ 83820 h 1686775"/>
                  <a:gd name="connsiteX445" fmla="*/ 1287780 w 2242184"/>
                  <a:gd name="connsiteY445" fmla="*/ 89535 h 1686775"/>
                  <a:gd name="connsiteX446" fmla="*/ 1291590 w 2242184"/>
                  <a:gd name="connsiteY446" fmla="*/ 97155 h 1686775"/>
                  <a:gd name="connsiteX447" fmla="*/ 1285875 w 2242184"/>
                  <a:gd name="connsiteY447" fmla="*/ 108585 h 1686775"/>
                  <a:gd name="connsiteX448" fmla="*/ 1271588 w 2242184"/>
                  <a:gd name="connsiteY448" fmla="*/ 109537 h 1686775"/>
                  <a:gd name="connsiteX449" fmla="*/ 1255395 w 2242184"/>
                  <a:gd name="connsiteY449" fmla="*/ 109537 h 1686775"/>
                  <a:gd name="connsiteX450" fmla="*/ 1249680 w 2242184"/>
                  <a:gd name="connsiteY450" fmla="*/ 101917 h 1686775"/>
                  <a:gd name="connsiteX451" fmla="*/ 1251585 w 2242184"/>
                  <a:gd name="connsiteY451" fmla="*/ 94298 h 1686775"/>
                  <a:gd name="connsiteX452" fmla="*/ 1254443 w 2242184"/>
                  <a:gd name="connsiteY452" fmla="*/ 89535 h 1686775"/>
                  <a:gd name="connsiteX453" fmla="*/ 1243965 w 2242184"/>
                  <a:gd name="connsiteY453" fmla="*/ 81915 h 1686775"/>
                  <a:gd name="connsiteX454" fmla="*/ 1230630 w 2242184"/>
                  <a:gd name="connsiteY454" fmla="*/ 79058 h 1686775"/>
                  <a:gd name="connsiteX455" fmla="*/ 1203008 w 2242184"/>
                  <a:gd name="connsiteY455" fmla="*/ 78105 h 1686775"/>
                  <a:gd name="connsiteX456" fmla="*/ 1203008 w 2242184"/>
                  <a:gd name="connsiteY456" fmla="*/ 84773 h 1686775"/>
                  <a:gd name="connsiteX457" fmla="*/ 1214438 w 2242184"/>
                  <a:gd name="connsiteY457" fmla="*/ 90487 h 1686775"/>
                  <a:gd name="connsiteX458" fmla="*/ 1221105 w 2242184"/>
                  <a:gd name="connsiteY458" fmla="*/ 100965 h 1686775"/>
                  <a:gd name="connsiteX459" fmla="*/ 1212533 w 2242184"/>
                  <a:gd name="connsiteY459" fmla="*/ 103823 h 1686775"/>
                  <a:gd name="connsiteX460" fmla="*/ 1190625 w 2242184"/>
                  <a:gd name="connsiteY460" fmla="*/ 105728 h 1686775"/>
                  <a:gd name="connsiteX461" fmla="*/ 1163003 w 2242184"/>
                  <a:gd name="connsiteY461" fmla="*/ 107633 h 1686775"/>
                  <a:gd name="connsiteX462" fmla="*/ 1130618 w 2242184"/>
                  <a:gd name="connsiteY462" fmla="*/ 108585 h 1686775"/>
                  <a:gd name="connsiteX463" fmla="*/ 1111568 w 2242184"/>
                  <a:gd name="connsiteY463" fmla="*/ 109537 h 1686775"/>
                  <a:gd name="connsiteX464" fmla="*/ 1084898 w 2242184"/>
                  <a:gd name="connsiteY464" fmla="*/ 110490 h 1686775"/>
                  <a:gd name="connsiteX465" fmla="*/ 1076325 w 2242184"/>
                  <a:gd name="connsiteY465" fmla="*/ 110490 h 1686775"/>
                  <a:gd name="connsiteX466" fmla="*/ 1054418 w 2242184"/>
                  <a:gd name="connsiteY466" fmla="*/ 106680 h 1686775"/>
                  <a:gd name="connsiteX467" fmla="*/ 1051560 w 2242184"/>
                  <a:gd name="connsiteY467" fmla="*/ 112395 h 1686775"/>
                  <a:gd name="connsiteX468" fmla="*/ 1041083 w 2242184"/>
                  <a:gd name="connsiteY468" fmla="*/ 118110 h 1686775"/>
                  <a:gd name="connsiteX469" fmla="*/ 1032510 w 2242184"/>
                  <a:gd name="connsiteY469" fmla="*/ 116205 h 1686775"/>
                  <a:gd name="connsiteX470" fmla="*/ 1024890 w 2242184"/>
                  <a:gd name="connsiteY470" fmla="*/ 116205 h 1686775"/>
                  <a:gd name="connsiteX471" fmla="*/ 1013460 w 2242184"/>
                  <a:gd name="connsiteY471" fmla="*/ 114300 h 1686775"/>
                  <a:gd name="connsiteX472" fmla="*/ 1008698 w 2242184"/>
                  <a:gd name="connsiteY472" fmla="*/ 115253 h 1686775"/>
                  <a:gd name="connsiteX473" fmla="*/ 975360 w 2242184"/>
                  <a:gd name="connsiteY473" fmla="*/ 113348 h 1686775"/>
                  <a:gd name="connsiteX474" fmla="*/ 942975 w 2242184"/>
                  <a:gd name="connsiteY474" fmla="*/ 104775 h 1686775"/>
                  <a:gd name="connsiteX475" fmla="*/ 935355 w 2242184"/>
                  <a:gd name="connsiteY475" fmla="*/ 101917 h 1686775"/>
                  <a:gd name="connsiteX476" fmla="*/ 929640 w 2242184"/>
                  <a:gd name="connsiteY476" fmla="*/ 99060 h 1686775"/>
                  <a:gd name="connsiteX477" fmla="*/ 921068 w 2242184"/>
                  <a:gd name="connsiteY477" fmla="*/ 92392 h 1686775"/>
                  <a:gd name="connsiteX478" fmla="*/ 918210 w 2242184"/>
                  <a:gd name="connsiteY478" fmla="*/ 86678 h 1686775"/>
                  <a:gd name="connsiteX479" fmla="*/ 910590 w 2242184"/>
                  <a:gd name="connsiteY479" fmla="*/ 85725 h 1686775"/>
                  <a:gd name="connsiteX480" fmla="*/ 896303 w 2242184"/>
                  <a:gd name="connsiteY480" fmla="*/ 84773 h 1686775"/>
                  <a:gd name="connsiteX481" fmla="*/ 884873 w 2242184"/>
                  <a:gd name="connsiteY481" fmla="*/ 84773 h 1686775"/>
                  <a:gd name="connsiteX482" fmla="*/ 868680 w 2242184"/>
                  <a:gd name="connsiteY482" fmla="*/ 84773 h 1686775"/>
                  <a:gd name="connsiteX483" fmla="*/ 857250 w 2242184"/>
                  <a:gd name="connsiteY483" fmla="*/ 81915 h 1686775"/>
                  <a:gd name="connsiteX484" fmla="*/ 849630 w 2242184"/>
                  <a:gd name="connsiteY484" fmla="*/ 80010 h 1686775"/>
                  <a:gd name="connsiteX485" fmla="*/ 836295 w 2242184"/>
                  <a:gd name="connsiteY485" fmla="*/ 73342 h 1686775"/>
                  <a:gd name="connsiteX486" fmla="*/ 825818 w 2242184"/>
                  <a:gd name="connsiteY486" fmla="*/ 70485 h 1686775"/>
                  <a:gd name="connsiteX487" fmla="*/ 815340 w 2242184"/>
                  <a:gd name="connsiteY487" fmla="*/ 70485 h 1686775"/>
                  <a:gd name="connsiteX488" fmla="*/ 803910 w 2242184"/>
                  <a:gd name="connsiteY488" fmla="*/ 70485 h 1686775"/>
                  <a:gd name="connsiteX489" fmla="*/ 792480 w 2242184"/>
                  <a:gd name="connsiteY489" fmla="*/ 70485 h 1686775"/>
                  <a:gd name="connsiteX490" fmla="*/ 786765 w 2242184"/>
                  <a:gd name="connsiteY490" fmla="*/ 71437 h 1686775"/>
                  <a:gd name="connsiteX491" fmla="*/ 770573 w 2242184"/>
                  <a:gd name="connsiteY491" fmla="*/ 72390 h 1686775"/>
                  <a:gd name="connsiteX492" fmla="*/ 754380 w 2242184"/>
                  <a:gd name="connsiteY492" fmla="*/ 72390 h 1686775"/>
                  <a:gd name="connsiteX493" fmla="*/ 731520 w 2242184"/>
                  <a:gd name="connsiteY493" fmla="*/ 63817 h 1686775"/>
                  <a:gd name="connsiteX494" fmla="*/ 714375 w 2242184"/>
                  <a:gd name="connsiteY494" fmla="*/ 59055 h 1686775"/>
                  <a:gd name="connsiteX495" fmla="*/ 703898 w 2242184"/>
                  <a:gd name="connsiteY495" fmla="*/ 59055 h 1686775"/>
                  <a:gd name="connsiteX496" fmla="*/ 679133 w 2242184"/>
                  <a:gd name="connsiteY496" fmla="*/ 61913 h 1686775"/>
                  <a:gd name="connsiteX497" fmla="*/ 673418 w 2242184"/>
                  <a:gd name="connsiteY497" fmla="*/ 62865 h 1686775"/>
                  <a:gd name="connsiteX498" fmla="*/ 665798 w 2242184"/>
                  <a:gd name="connsiteY498" fmla="*/ 64770 h 1686775"/>
                  <a:gd name="connsiteX499" fmla="*/ 655320 w 2242184"/>
                  <a:gd name="connsiteY499" fmla="*/ 67628 h 1686775"/>
                  <a:gd name="connsiteX500" fmla="*/ 641033 w 2242184"/>
                  <a:gd name="connsiteY500" fmla="*/ 68580 h 1686775"/>
                  <a:gd name="connsiteX501" fmla="*/ 635318 w 2242184"/>
                  <a:gd name="connsiteY501" fmla="*/ 67628 h 1686775"/>
                  <a:gd name="connsiteX502" fmla="*/ 624840 w 2242184"/>
                  <a:gd name="connsiteY502" fmla="*/ 67628 h 1686775"/>
                  <a:gd name="connsiteX503" fmla="*/ 617220 w 2242184"/>
                  <a:gd name="connsiteY503" fmla="*/ 70485 h 1686775"/>
                  <a:gd name="connsiteX504" fmla="*/ 608648 w 2242184"/>
                  <a:gd name="connsiteY504" fmla="*/ 74295 h 1686775"/>
                  <a:gd name="connsiteX505" fmla="*/ 598170 w 2242184"/>
                  <a:gd name="connsiteY505" fmla="*/ 77153 h 1686775"/>
                  <a:gd name="connsiteX506" fmla="*/ 583883 w 2242184"/>
                  <a:gd name="connsiteY506" fmla="*/ 74295 h 1686775"/>
                  <a:gd name="connsiteX507" fmla="*/ 567690 w 2242184"/>
                  <a:gd name="connsiteY507" fmla="*/ 75248 h 1686775"/>
                  <a:gd name="connsiteX508" fmla="*/ 554355 w 2242184"/>
                  <a:gd name="connsiteY508" fmla="*/ 78105 h 1686775"/>
                  <a:gd name="connsiteX509" fmla="*/ 535305 w 2242184"/>
                  <a:gd name="connsiteY509" fmla="*/ 80962 h 1686775"/>
                  <a:gd name="connsiteX510" fmla="*/ 524828 w 2242184"/>
                  <a:gd name="connsiteY510" fmla="*/ 80010 h 1686775"/>
                  <a:gd name="connsiteX511" fmla="*/ 513398 w 2242184"/>
                  <a:gd name="connsiteY511" fmla="*/ 76200 h 1686775"/>
                  <a:gd name="connsiteX512" fmla="*/ 502920 w 2242184"/>
                  <a:gd name="connsiteY512" fmla="*/ 73342 h 1686775"/>
                  <a:gd name="connsiteX513" fmla="*/ 495300 w 2242184"/>
                  <a:gd name="connsiteY513" fmla="*/ 69533 h 1686775"/>
                  <a:gd name="connsiteX514" fmla="*/ 481965 w 2242184"/>
                  <a:gd name="connsiteY514" fmla="*/ 65723 h 1686775"/>
                  <a:gd name="connsiteX515" fmla="*/ 451485 w 2242184"/>
                  <a:gd name="connsiteY515" fmla="*/ 62865 h 1686775"/>
                  <a:gd name="connsiteX516" fmla="*/ 437198 w 2242184"/>
                  <a:gd name="connsiteY516" fmla="*/ 62865 h 1686775"/>
                  <a:gd name="connsiteX517" fmla="*/ 406718 w 2242184"/>
                  <a:gd name="connsiteY517" fmla="*/ 61913 h 1686775"/>
                  <a:gd name="connsiteX518" fmla="*/ 385763 w 2242184"/>
                  <a:gd name="connsiteY518" fmla="*/ 60960 h 1686775"/>
                  <a:gd name="connsiteX519" fmla="*/ 364808 w 2242184"/>
                  <a:gd name="connsiteY519" fmla="*/ 59055 h 1686775"/>
                  <a:gd name="connsiteX520" fmla="*/ 352425 w 2242184"/>
                  <a:gd name="connsiteY520" fmla="*/ 55245 h 1686775"/>
                  <a:gd name="connsiteX521" fmla="*/ 339090 w 2242184"/>
                  <a:gd name="connsiteY521" fmla="*/ 55245 h 1686775"/>
                  <a:gd name="connsiteX522" fmla="*/ 317183 w 2242184"/>
                  <a:gd name="connsiteY522" fmla="*/ 54292 h 1686775"/>
                  <a:gd name="connsiteX523" fmla="*/ 290513 w 2242184"/>
                  <a:gd name="connsiteY523" fmla="*/ 51435 h 1686775"/>
                  <a:gd name="connsiteX524" fmla="*/ 279083 w 2242184"/>
                  <a:gd name="connsiteY524" fmla="*/ 46672 h 1686775"/>
                  <a:gd name="connsiteX525" fmla="*/ 261938 w 2242184"/>
                  <a:gd name="connsiteY525" fmla="*/ 44767 h 1686775"/>
                  <a:gd name="connsiteX526" fmla="*/ 251460 w 2242184"/>
                  <a:gd name="connsiteY526" fmla="*/ 44767 h 1686775"/>
                  <a:gd name="connsiteX527" fmla="*/ 237173 w 2242184"/>
                  <a:gd name="connsiteY527" fmla="*/ 40005 h 1686775"/>
                  <a:gd name="connsiteX528" fmla="*/ 226695 w 2242184"/>
                  <a:gd name="connsiteY528" fmla="*/ 36195 h 1686775"/>
                  <a:gd name="connsiteX529" fmla="*/ 191453 w 2242184"/>
                  <a:gd name="connsiteY529" fmla="*/ 35242 h 1686775"/>
                  <a:gd name="connsiteX530" fmla="*/ 166688 w 2242184"/>
                  <a:gd name="connsiteY530" fmla="*/ 38100 h 1686775"/>
                  <a:gd name="connsiteX531" fmla="*/ 153353 w 2242184"/>
                  <a:gd name="connsiteY531" fmla="*/ 43815 h 1686775"/>
                  <a:gd name="connsiteX532" fmla="*/ 145733 w 2242184"/>
                  <a:gd name="connsiteY532" fmla="*/ 46672 h 1686775"/>
                  <a:gd name="connsiteX533" fmla="*/ 123825 w 2242184"/>
                  <a:gd name="connsiteY533" fmla="*/ 48578 h 1686775"/>
                  <a:gd name="connsiteX534" fmla="*/ 113348 w 2242184"/>
                  <a:gd name="connsiteY534" fmla="*/ 53340 h 1686775"/>
                  <a:gd name="connsiteX535" fmla="*/ 104775 w 2242184"/>
                  <a:gd name="connsiteY535" fmla="*/ 60960 h 1686775"/>
                  <a:gd name="connsiteX536" fmla="*/ 97155 w 2242184"/>
                  <a:gd name="connsiteY536" fmla="*/ 61913 h 1686775"/>
                  <a:gd name="connsiteX537" fmla="*/ 97155 w 2242184"/>
                  <a:gd name="connsiteY537" fmla="*/ 65723 h 1686775"/>
                  <a:gd name="connsiteX538" fmla="*/ 80963 w 2242184"/>
                  <a:gd name="connsiteY538" fmla="*/ 76200 h 1686775"/>
                  <a:gd name="connsiteX539" fmla="*/ 64770 w 2242184"/>
                  <a:gd name="connsiteY539" fmla="*/ 80962 h 1686775"/>
                  <a:gd name="connsiteX540" fmla="*/ 59055 w 2242184"/>
                  <a:gd name="connsiteY540" fmla="*/ 84773 h 1686775"/>
                  <a:gd name="connsiteX541" fmla="*/ 62865 w 2242184"/>
                  <a:gd name="connsiteY541" fmla="*/ 89535 h 1686775"/>
                  <a:gd name="connsiteX542" fmla="*/ 62865 w 2242184"/>
                  <a:gd name="connsiteY542" fmla="*/ 94298 h 1686775"/>
                  <a:gd name="connsiteX543" fmla="*/ 74295 w 2242184"/>
                  <a:gd name="connsiteY543" fmla="*/ 99060 h 1686775"/>
                  <a:gd name="connsiteX544" fmla="*/ 91440 w 2242184"/>
                  <a:gd name="connsiteY544" fmla="*/ 107633 h 1686775"/>
                  <a:gd name="connsiteX545" fmla="*/ 96203 w 2242184"/>
                  <a:gd name="connsiteY545" fmla="*/ 110490 h 1686775"/>
                  <a:gd name="connsiteX546" fmla="*/ 113348 w 2242184"/>
                  <a:gd name="connsiteY546" fmla="*/ 120015 h 1686775"/>
                  <a:gd name="connsiteX547" fmla="*/ 116205 w 2242184"/>
                  <a:gd name="connsiteY547" fmla="*/ 122873 h 1686775"/>
                  <a:gd name="connsiteX548" fmla="*/ 104775 w 2242184"/>
                  <a:gd name="connsiteY548" fmla="*/ 125730 h 1686775"/>
                  <a:gd name="connsiteX549" fmla="*/ 91440 w 2242184"/>
                  <a:gd name="connsiteY549" fmla="*/ 126683 h 1686775"/>
                  <a:gd name="connsiteX550" fmla="*/ 78105 w 2242184"/>
                  <a:gd name="connsiteY550" fmla="*/ 125730 h 1686775"/>
                  <a:gd name="connsiteX551" fmla="*/ 59055 w 2242184"/>
                  <a:gd name="connsiteY551" fmla="*/ 125730 h 1686775"/>
                  <a:gd name="connsiteX552" fmla="*/ 48578 w 2242184"/>
                  <a:gd name="connsiteY552" fmla="*/ 127635 h 1686775"/>
                  <a:gd name="connsiteX553" fmla="*/ 21908 w 2242184"/>
                  <a:gd name="connsiteY553" fmla="*/ 129540 h 1686775"/>
                  <a:gd name="connsiteX554" fmla="*/ 20003 w 2242184"/>
                  <a:gd name="connsiteY554" fmla="*/ 136208 h 1686775"/>
                  <a:gd name="connsiteX555" fmla="*/ 22860 w 2242184"/>
                  <a:gd name="connsiteY555" fmla="*/ 147637 h 1686775"/>
                  <a:gd name="connsiteX556" fmla="*/ 33338 w 2242184"/>
                  <a:gd name="connsiteY556" fmla="*/ 157162 h 1686775"/>
                  <a:gd name="connsiteX557" fmla="*/ 38100 w 2242184"/>
                  <a:gd name="connsiteY557" fmla="*/ 159067 h 1686775"/>
                  <a:gd name="connsiteX558" fmla="*/ 56198 w 2242184"/>
                  <a:gd name="connsiteY558" fmla="*/ 159067 h 1686775"/>
                  <a:gd name="connsiteX559" fmla="*/ 67628 w 2242184"/>
                  <a:gd name="connsiteY559" fmla="*/ 159067 h 1686775"/>
                  <a:gd name="connsiteX560" fmla="*/ 81915 w 2242184"/>
                  <a:gd name="connsiteY560" fmla="*/ 157162 h 1686775"/>
                  <a:gd name="connsiteX561" fmla="*/ 90488 w 2242184"/>
                  <a:gd name="connsiteY561" fmla="*/ 156210 h 1686775"/>
                  <a:gd name="connsiteX562" fmla="*/ 101918 w 2242184"/>
                  <a:gd name="connsiteY562" fmla="*/ 156210 h 1686775"/>
                  <a:gd name="connsiteX563" fmla="*/ 106680 w 2242184"/>
                  <a:gd name="connsiteY563" fmla="*/ 157162 h 1686775"/>
                  <a:gd name="connsiteX564" fmla="*/ 128588 w 2242184"/>
                  <a:gd name="connsiteY564" fmla="*/ 160973 h 1686775"/>
                  <a:gd name="connsiteX565" fmla="*/ 131445 w 2242184"/>
                  <a:gd name="connsiteY565" fmla="*/ 164783 h 1686775"/>
                  <a:gd name="connsiteX566" fmla="*/ 129540 w 2242184"/>
                  <a:gd name="connsiteY566" fmla="*/ 170498 h 1686775"/>
                  <a:gd name="connsiteX567" fmla="*/ 130493 w 2242184"/>
                  <a:gd name="connsiteY567" fmla="*/ 175260 h 1686775"/>
                  <a:gd name="connsiteX568" fmla="*/ 114300 w 2242184"/>
                  <a:gd name="connsiteY568" fmla="*/ 178117 h 1686775"/>
                  <a:gd name="connsiteX569" fmla="*/ 100965 w 2242184"/>
                  <a:gd name="connsiteY569" fmla="*/ 179070 h 1686775"/>
                  <a:gd name="connsiteX570" fmla="*/ 85725 w 2242184"/>
                  <a:gd name="connsiteY570" fmla="*/ 184785 h 1686775"/>
                  <a:gd name="connsiteX571" fmla="*/ 71438 w 2242184"/>
                  <a:gd name="connsiteY571" fmla="*/ 184785 h 1686775"/>
                  <a:gd name="connsiteX572" fmla="*/ 60960 w 2242184"/>
                  <a:gd name="connsiteY572" fmla="*/ 188595 h 1686775"/>
                  <a:gd name="connsiteX573" fmla="*/ 52388 w 2242184"/>
                  <a:gd name="connsiteY573" fmla="*/ 194310 h 1686775"/>
                  <a:gd name="connsiteX574" fmla="*/ 53340 w 2242184"/>
                  <a:gd name="connsiteY574" fmla="*/ 197167 h 1686775"/>
                  <a:gd name="connsiteX575" fmla="*/ 45720 w 2242184"/>
                  <a:gd name="connsiteY575" fmla="*/ 203835 h 1686775"/>
                  <a:gd name="connsiteX576" fmla="*/ 42863 w 2242184"/>
                  <a:gd name="connsiteY576" fmla="*/ 208598 h 1686775"/>
                  <a:gd name="connsiteX577" fmla="*/ 40958 w 2242184"/>
                  <a:gd name="connsiteY577" fmla="*/ 216217 h 1686775"/>
                  <a:gd name="connsiteX578" fmla="*/ 49530 w 2242184"/>
                  <a:gd name="connsiteY578" fmla="*/ 221933 h 1686775"/>
                  <a:gd name="connsiteX579" fmla="*/ 57150 w 2242184"/>
                  <a:gd name="connsiteY579" fmla="*/ 227648 h 1686775"/>
                  <a:gd name="connsiteX580" fmla="*/ 70485 w 2242184"/>
                  <a:gd name="connsiteY580" fmla="*/ 231458 h 1686775"/>
                  <a:gd name="connsiteX581" fmla="*/ 83820 w 2242184"/>
                  <a:gd name="connsiteY581" fmla="*/ 237173 h 1686775"/>
                  <a:gd name="connsiteX582" fmla="*/ 90488 w 2242184"/>
                  <a:gd name="connsiteY582" fmla="*/ 242887 h 1686775"/>
                  <a:gd name="connsiteX583" fmla="*/ 100965 w 2242184"/>
                  <a:gd name="connsiteY583" fmla="*/ 245745 h 1686775"/>
                  <a:gd name="connsiteX584" fmla="*/ 112395 w 2242184"/>
                  <a:gd name="connsiteY584" fmla="*/ 247650 h 1686775"/>
                  <a:gd name="connsiteX585" fmla="*/ 125730 w 2242184"/>
                  <a:gd name="connsiteY585" fmla="*/ 255270 h 1686775"/>
                  <a:gd name="connsiteX586" fmla="*/ 137160 w 2242184"/>
                  <a:gd name="connsiteY586" fmla="*/ 255270 h 1686775"/>
                  <a:gd name="connsiteX587" fmla="*/ 152400 w 2242184"/>
                  <a:gd name="connsiteY587" fmla="*/ 257175 h 1686775"/>
                  <a:gd name="connsiteX588" fmla="*/ 159068 w 2242184"/>
                  <a:gd name="connsiteY588" fmla="*/ 260033 h 1686775"/>
                  <a:gd name="connsiteX589" fmla="*/ 172403 w 2242184"/>
                  <a:gd name="connsiteY589" fmla="*/ 261937 h 1686775"/>
                  <a:gd name="connsiteX590" fmla="*/ 182880 w 2242184"/>
                  <a:gd name="connsiteY590" fmla="*/ 264795 h 1686775"/>
                  <a:gd name="connsiteX591" fmla="*/ 184785 w 2242184"/>
                  <a:gd name="connsiteY591" fmla="*/ 270510 h 1686775"/>
                  <a:gd name="connsiteX592" fmla="*/ 180023 w 2242184"/>
                  <a:gd name="connsiteY592" fmla="*/ 277178 h 1686775"/>
                  <a:gd name="connsiteX593" fmla="*/ 161925 w 2242184"/>
                  <a:gd name="connsiteY593" fmla="*/ 284798 h 1686775"/>
                  <a:gd name="connsiteX594" fmla="*/ 148590 w 2242184"/>
                  <a:gd name="connsiteY594" fmla="*/ 290512 h 1686775"/>
                  <a:gd name="connsiteX595" fmla="*/ 135255 w 2242184"/>
                  <a:gd name="connsiteY595" fmla="*/ 296228 h 1686775"/>
                  <a:gd name="connsiteX596" fmla="*/ 123825 w 2242184"/>
                  <a:gd name="connsiteY596" fmla="*/ 300037 h 1686775"/>
                  <a:gd name="connsiteX597" fmla="*/ 110490 w 2242184"/>
                  <a:gd name="connsiteY597" fmla="*/ 303848 h 1686775"/>
                  <a:gd name="connsiteX598" fmla="*/ 99060 w 2242184"/>
                  <a:gd name="connsiteY598" fmla="*/ 307658 h 1686775"/>
                  <a:gd name="connsiteX599" fmla="*/ 79058 w 2242184"/>
                  <a:gd name="connsiteY599" fmla="*/ 310515 h 1686775"/>
                  <a:gd name="connsiteX600" fmla="*/ 63818 w 2242184"/>
                  <a:gd name="connsiteY600" fmla="*/ 314325 h 1686775"/>
                  <a:gd name="connsiteX601" fmla="*/ 50483 w 2242184"/>
                  <a:gd name="connsiteY601" fmla="*/ 315278 h 1686775"/>
                  <a:gd name="connsiteX602" fmla="*/ 38100 w 2242184"/>
                  <a:gd name="connsiteY602" fmla="*/ 320040 h 1686775"/>
                  <a:gd name="connsiteX603" fmla="*/ 18098 w 2242184"/>
                  <a:gd name="connsiteY603" fmla="*/ 322898 h 1686775"/>
                  <a:gd name="connsiteX604" fmla="*/ 0 w 2242184"/>
                  <a:gd name="connsiteY604" fmla="*/ 322898 h 1686775"/>
                  <a:gd name="connsiteX605" fmla="*/ 0 w 2242184"/>
                  <a:gd name="connsiteY605" fmla="*/ 328612 h 1686775"/>
                  <a:gd name="connsiteX606" fmla="*/ 15240 w 2242184"/>
                  <a:gd name="connsiteY606" fmla="*/ 330518 h 1686775"/>
                  <a:gd name="connsiteX607" fmla="*/ 37148 w 2242184"/>
                  <a:gd name="connsiteY607" fmla="*/ 327660 h 1686775"/>
                  <a:gd name="connsiteX608" fmla="*/ 57150 w 2242184"/>
                  <a:gd name="connsiteY608" fmla="*/ 324803 h 1686775"/>
                  <a:gd name="connsiteX609" fmla="*/ 81915 w 2242184"/>
                  <a:gd name="connsiteY609" fmla="*/ 320993 h 1686775"/>
                  <a:gd name="connsiteX610" fmla="*/ 100013 w 2242184"/>
                  <a:gd name="connsiteY610" fmla="*/ 318135 h 1686775"/>
                  <a:gd name="connsiteX611" fmla="*/ 120015 w 2242184"/>
                  <a:gd name="connsiteY611" fmla="*/ 315278 h 1686775"/>
                  <a:gd name="connsiteX612" fmla="*/ 138113 w 2242184"/>
                  <a:gd name="connsiteY612" fmla="*/ 312420 h 1686775"/>
                  <a:gd name="connsiteX613" fmla="*/ 164783 w 2242184"/>
                  <a:gd name="connsiteY613" fmla="*/ 306705 h 1686775"/>
                  <a:gd name="connsiteX614" fmla="*/ 176213 w 2242184"/>
                  <a:gd name="connsiteY614" fmla="*/ 300037 h 1686775"/>
                  <a:gd name="connsiteX615" fmla="*/ 189548 w 2242184"/>
                  <a:gd name="connsiteY615" fmla="*/ 294323 h 1686775"/>
                  <a:gd name="connsiteX616" fmla="*/ 200978 w 2242184"/>
                  <a:gd name="connsiteY616" fmla="*/ 288608 h 1686775"/>
                  <a:gd name="connsiteX617" fmla="*/ 212408 w 2242184"/>
                  <a:gd name="connsiteY617" fmla="*/ 280035 h 1686775"/>
                  <a:gd name="connsiteX618" fmla="*/ 227648 w 2242184"/>
                  <a:gd name="connsiteY618" fmla="*/ 270510 h 1686775"/>
                  <a:gd name="connsiteX619" fmla="*/ 236220 w 2242184"/>
                  <a:gd name="connsiteY619" fmla="*/ 261937 h 1686775"/>
                  <a:gd name="connsiteX620" fmla="*/ 249555 w 2242184"/>
                  <a:gd name="connsiteY620" fmla="*/ 255270 h 1686775"/>
                  <a:gd name="connsiteX621" fmla="*/ 258128 w 2242184"/>
                  <a:gd name="connsiteY621" fmla="*/ 249555 h 1686775"/>
                  <a:gd name="connsiteX622" fmla="*/ 269558 w 2242184"/>
                  <a:gd name="connsiteY622" fmla="*/ 240983 h 1686775"/>
                  <a:gd name="connsiteX623" fmla="*/ 276225 w 2242184"/>
                  <a:gd name="connsiteY623" fmla="*/ 235267 h 1686775"/>
                  <a:gd name="connsiteX624" fmla="*/ 278130 w 2242184"/>
                  <a:gd name="connsiteY624" fmla="*/ 229553 h 1686775"/>
                  <a:gd name="connsiteX625" fmla="*/ 291465 w 2242184"/>
                  <a:gd name="connsiteY625" fmla="*/ 226695 h 1686775"/>
                  <a:gd name="connsiteX626" fmla="*/ 298133 w 2242184"/>
                  <a:gd name="connsiteY626" fmla="*/ 232410 h 1686775"/>
                  <a:gd name="connsiteX627" fmla="*/ 293370 w 2242184"/>
                  <a:gd name="connsiteY627" fmla="*/ 238125 h 1686775"/>
                  <a:gd name="connsiteX628" fmla="*/ 303848 w 2242184"/>
                  <a:gd name="connsiteY628" fmla="*/ 242887 h 1686775"/>
                  <a:gd name="connsiteX629" fmla="*/ 319088 w 2242184"/>
                  <a:gd name="connsiteY629" fmla="*/ 234315 h 1686775"/>
                  <a:gd name="connsiteX630" fmla="*/ 325755 w 2242184"/>
                  <a:gd name="connsiteY630" fmla="*/ 231458 h 1686775"/>
                  <a:gd name="connsiteX631" fmla="*/ 345758 w 2242184"/>
                  <a:gd name="connsiteY631" fmla="*/ 233362 h 1686775"/>
                  <a:gd name="connsiteX632" fmla="*/ 357188 w 2242184"/>
                  <a:gd name="connsiteY632" fmla="*/ 227648 h 1686775"/>
                  <a:gd name="connsiteX633" fmla="*/ 367665 w 2242184"/>
                  <a:gd name="connsiteY633" fmla="*/ 229553 h 1686775"/>
                  <a:gd name="connsiteX634" fmla="*/ 381000 w 2242184"/>
                  <a:gd name="connsiteY634" fmla="*/ 229553 h 1686775"/>
                  <a:gd name="connsiteX635" fmla="*/ 396240 w 2242184"/>
                  <a:gd name="connsiteY635" fmla="*/ 232410 h 1686775"/>
                  <a:gd name="connsiteX636" fmla="*/ 416243 w 2242184"/>
                  <a:gd name="connsiteY636" fmla="*/ 238125 h 1686775"/>
                  <a:gd name="connsiteX637" fmla="*/ 440055 w 2242184"/>
                  <a:gd name="connsiteY637" fmla="*/ 240030 h 1686775"/>
                  <a:gd name="connsiteX638" fmla="*/ 453390 w 2242184"/>
                  <a:gd name="connsiteY638" fmla="*/ 240030 h 1686775"/>
                  <a:gd name="connsiteX639" fmla="*/ 468630 w 2242184"/>
                  <a:gd name="connsiteY639" fmla="*/ 244792 h 1686775"/>
                  <a:gd name="connsiteX640" fmla="*/ 477203 w 2242184"/>
                  <a:gd name="connsiteY640" fmla="*/ 244792 h 1686775"/>
                  <a:gd name="connsiteX641" fmla="*/ 499110 w 2242184"/>
                  <a:gd name="connsiteY641" fmla="*/ 247650 h 1686775"/>
                  <a:gd name="connsiteX642" fmla="*/ 509588 w 2242184"/>
                  <a:gd name="connsiteY642" fmla="*/ 252412 h 1686775"/>
                  <a:gd name="connsiteX643" fmla="*/ 526733 w 2242184"/>
                  <a:gd name="connsiteY643" fmla="*/ 260985 h 1686775"/>
                  <a:gd name="connsiteX644" fmla="*/ 533400 w 2242184"/>
                  <a:gd name="connsiteY644" fmla="*/ 263843 h 1686775"/>
                  <a:gd name="connsiteX645" fmla="*/ 543878 w 2242184"/>
                  <a:gd name="connsiteY645" fmla="*/ 268605 h 1686775"/>
                  <a:gd name="connsiteX646" fmla="*/ 559118 w 2242184"/>
                  <a:gd name="connsiteY646" fmla="*/ 276225 h 1686775"/>
                  <a:gd name="connsiteX647" fmla="*/ 565785 w 2242184"/>
                  <a:gd name="connsiteY647" fmla="*/ 278130 h 1686775"/>
                  <a:gd name="connsiteX648" fmla="*/ 579120 w 2242184"/>
                  <a:gd name="connsiteY648" fmla="*/ 285750 h 1686775"/>
                  <a:gd name="connsiteX649" fmla="*/ 592455 w 2242184"/>
                  <a:gd name="connsiteY649" fmla="*/ 294323 h 1686775"/>
                  <a:gd name="connsiteX650" fmla="*/ 599123 w 2242184"/>
                  <a:gd name="connsiteY650" fmla="*/ 303848 h 1686775"/>
                  <a:gd name="connsiteX651" fmla="*/ 612458 w 2242184"/>
                  <a:gd name="connsiteY651" fmla="*/ 312420 h 1686775"/>
                  <a:gd name="connsiteX652" fmla="*/ 629603 w 2242184"/>
                  <a:gd name="connsiteY652" fmla="*/ 322898 h 1686775"/>
                  <a:gd name="connsiteX653" fmla="*/ 640080 w 2242184"/>
                  <a:gd name="connsiteY653" fmla="*/ 328612 h 1686775"/>
                  <a:gd name="connsiteX654" fmla="*/ 655320 w 2242184"/>
                  <a:gd name="connsiteY654" fmla="*/ 336233 h 1686775"/>
                  <a:gd name="connsiteX655" fmla="*/ 659130 w 2242184"/>
                  <a:gd name="connsiteY655" fmla="*/ 342900 h 1686775"/>
                  <a:gd name="connsiteX656" fmla="*/ 667703 w 2242184"/>
                  <a:gd name="connsiteY656" fmla="*/ 348615 h 1686775"/>
                  <a:gd name="connsiteX657" fmla="*/ 681038 w 2242184"/>
                  <a:gd name="connsiteY657" fmla="*/ 353378 h 1686775"/>
                  <a:gd name="connsiteX658" fmla="*/ 689610 w 2242184"/>
                  <a:gd name="connsiteY658" fmla="*/ 359093 h 1686775"/>
                  <a:gd name="connsiteX659" fmla="*/ 696278 w 2242184"/>
                  <a:gd name="connsiteY659" fmla="*/ 367665 h 1686775"/>
                  <a:gd name="connsiteX660" fmla="*/ 698183 w 2242184"/>
                  <a:gd name="connsiteY660" fmla="*/ 371475 h 1686775"/>
                  <a:gd name="connsiteX661" fmla="*/ 721995 w 2242184"/>
                  <a:gd name="connsiteY661" fmla="*/ 380048 h 1686775"/>
                  <a:gd name="connsiteX662" fmla="*/ 730568 w 2242184"/>
                  <a:gd name="connsiteY662" fmla="*/ 384810 h 1686775"/>
                  <a:gd name="connsiteX663" fmla="*/ 739140 w 2242184"/>
                  <a:gd name="connsiteY663" fmla="*/ 389573 h 1686775"/>
                  <a:gd name="connsiteX664" fmla="*/ 761048 w 2242184"/>
                  <a:gd name="connsiteY664" fmla="*/ 395287 h 1686775"/>
                  <a:gd name="connsiteX665" fmla="*/ 778193 w 2242184"/>
                  <a:gd name="connsiteY665" fmla="*/ 402908 h 1686775"/>
                  <a:gd name="connsiteX666" fmla="*/ 778193 w 2242184"/>
                  <a:gd name="connsiteY666" fmla="*/ 406718 h 1686775"/>
                  <a:gd name="connsiteX667" fmla="*/ 782003 w 2242184"/>
                  <a:gd name="connsiteY667" fmla="*/ 416243 h 1686775"/>
                  <a:gd name="connsiteX668" fmla="*/ 773430 w 2242184"/>
                  <a:gd name="connsiteY668" fmla="*/ 420052 h 1686775"/>
                  <a:gd name="connsiteX669" fmla="*/ 762000 w 2242184"/>
                  <a:gd name="connsiteY669" fmla="*/ 420052 h 1686775"/>
                  <a:gd name="connsiteX670" fmla="*/ 755333 w 2242184"/>
                  <a:gd name="connsiteY670" fmla="*/ 413385 h 1686775"/>
                  <a:gd name="connsiteX671" fmla="*/ 746760 w 2242184"/>
                  <a:gd name="connsiteY671" fmla="*/ 406718 h 1686775"/>
                  <a:gd name="connsiteX672" fmla="*/ 738188 w 2242184"/>
                  <a:gd name="connsiteY672" fmla="*/ 403860 h 1686775"/>
                  <a:gd name="connsiteX673" fmla="*/ 729615 w 2242184"/>
                  <a:gd name="connsiteY673" fmla="*/ 399098 h 1686775"/>
                  <a:gd name="connsiteX674" fmla="*/ 705803 w 2242184"/>
                  <a:gd name="connsiteY674" fmla="*/ 391477 h 1686775"/>
                  <a:gd name="connsiteX675" fmla="*/ 699135 w 2242184"/>
                  <a:gd name="connsiteY675" fmla="*/ 392430 h 1686775"/>
                  <a:gd name="connsiteX676" fmla="*/ 707708 w 2242184"/>
                  <a:gd name="connsiteY676" fmla="*/ 402908 h 1686775"/>
                  <a:gd name="connsiteX677" fmla="*/ 722948 w 2242184"/>
                  <a:gd name="connsiteY677" fmla="*/ 411480 h 1686775"/>
                  <a:gd name="connsiteX678" fmla="*/ 736283 w 2242184"/>
                  <a:gd name="connsiteY678" fmla="*/ 419100 h 1686775"/>
                  <a:gd name="connsiteX679" fmla="*/ 742950 w 2242184"/>
                  <a:gd name="connsiteY679" fmla="*/ 427673 h 1686775"/>
                  <a:gd name="connsiteX680" fmla="*/ 742950 w 2242184"/>
                  <a:gd name="connsiteY680" fmla="*/ 431483 h 1686775"/>
                  <a:gd name="connsiteX681" fmla="*/ 744855 w 2242184"/>
                  <a:gd name="connsiteY681" fmla="*/ 445770 h 1686775"/>
                  <a:gd name="connsiteX682" fmla="*/ 752475 w 2242184"/>
                  <a:gd name="connsiteY682" fmla="*/ 456248 h 1686775"/>
                  <a:gd name="connsiteX683" fmla="*/ 747713 w 2242184"/>
                  <a:gd name="connsiteY683" fmla="*/ 487680 h 1686775"/>
                  <a:gd name="connsiteX684" fmla="*/ 751523 w 2242184"/>
                  <a:gd name="connsiteY684" fmla="*/ 500062 h 1686775"/>
                  <a:gd name="connsiteX685" fmla="*/ 751523 w 2242184"/>
                  <a:gd name="connsiteY685" fmla="*/ 506730 h 1686775"/>
                  <a:gd name="connsiteX686" fmla="*/ 758190 w 2242184"/>
                  <a:gd name="connsiteY686" fmla="*/ 521970 h 1686775"/>
                  <a:gd name="connsiteX687" fmla="*/ 764858 w 2242184"/>
                  <a:gd name="connsiteY687" fmla="*/ 536258 h 1686775"/>
                  <a:gd name="connsiteX688" fmla="*/ 768668 w 2242184"/>
                  <a:gd name="connsiteY688" fmla="*/ 542925 h 1686775"/>
                  <a:gd name="connsiteX689" fmla="*/ 775335 w 2242184"/>
                  <a:gd name="connsiteY689" fmla="*/ 551498 h 1686775"/>
                  <a:gd name="connsiteX690" fmla="*/ 785813 w 2242184"/>
                  <a:gd name="connsiteY690" fmla="*/ 559118 h 1686775"/>
                  <a:gd name="connsiteX691" fmla="*/ 794385 w 2242184"/>
                  <a:gd name="connsiteY691" fmla="*/ 568643 h 1686775"/>
                  <a:gd name="connsiteX692" fmla="*/ 801053 w 2242184"/>
                  <a:gd name="connsiteY692" fmla="*/ 580073 h 1686775"/>
                  <a:gd name="connsiteX693" fmla="*/ 804863 w 2242184"/>
                  <a:gd name="connsiteY693" fmla="*/ 585788 h 1686775"/>
                  <a:gd name="connsiteX694" fmla="*/ 808673 w 2242184"/>
                  <a:gd name="connsiteY694" fmla="*/ 592455 h 1686775"/>
                  <a:gd name="connsiteX695" fmla="*/ 815340 w 2242184"/>
                  <a:gd name="connsiteY695" fmla="*/ 599123 h 1686775"/>
                  <a:gd name="connsiteX696" fmla="*/ 825818 w 2242184"/>
                  <a:gd name="connsiteY696" fmla="*/ 601980 h 1686775"/>
                  <a:gd name="connsiteX697" fmla="*/ 832485 w 2242184"/>
                  <a:gd name="connsiteY697" fmla="*/ 606743 h 1686775"/>
                  <a:gd name="connsiteX698" fmla="*/ 843915 w 2242184"/>
                  <a:gd name="connsiteY698" fmla="*/ 609600 h 1686775"/>
                  <a:gd name="connsiteX699" fmla="*/ 852488 w 2242184"/>
                  <a:gd name="connsiteY699" fmla="*/ 612458 h 1686775"/>
                  <a:gd name="connsiteX700" fmla="*/ 859155 w 2242184"/>
                  <a:gd name="connsiteY700" fmla="*/ 618173 h 1686775"/>
                  <a:gd name="connsiteX701" fmla="*/ 879158 w 2242184"/>
                  <a:gd name="connsiteY701" fmla="*/ 631508 h 1686775"/>
                  <a:gd name="connsiteX702" fmla="*/ 885825 w 2242184"/>
                  <a:gd name="connsiteY702" fmla="*/ 643890 h 1686775"/>
                  <a:gd name="connsiteX703" fmla="*/ 889635 w 2242184"/>
                  <a:gd name="connsiteY703" fmla="*/ 650558 h 1686775"/>
                  <a:gd name="connsiteX704" fmla="*/ 902018 w 2242184"/>
                  <a:gd name="connsiteY704" fmla="*/ 665798 h 1686775"/>
                  <a:gd name="connsiteX705" fmla="*/ 903923 w 2242184"/>
                  <a:gd name="connsiteY705" fmla="*/ 671513 h 1686775"/>
                  <a:gd name="connsiteX706" fmla="*/ 917258 w 2242184"/>
                  <a:gd name="connsiteY706" fmla="*/ 685800 h 1686775"/>
                  <a:gd name="connsiteX707" fmla="*/ 923925 w 2242184"/>
                  <a:gd name="connsiteY707" fmla="*/ 701040 h 1686775"/>
                  <a:gd name="connsiteX708" fmla="*/ 945833 w 2242184"/>
                  <a:gd name="connsiteY708" fmla="*/ 711518 h 1686775"/>
                  <a:gd name="connsiteX709" fmla="*/ 956310 w 2242184"/>
                  <a:gd name="connsiteY709" fmla="*/ 717233 h 1686775"/>
                  <a:gd name="connsiteX710" fmla="*/ 969645 w 2242184"/>
                  <a:gd name="connsiteY710" fmla="*/ 725805 h 1686775"/>
                  <a:gd name="connsiteX711" fmla="*/ 980123 w 2242184"/>
                  <a:gd name="connsiteY711" fmla="*/ 731520 h 1686775"/>
                  <a:gd name="connsiteX712" fmla="*/ 993458 w 2242184"/>
                  <a:gd name="connsiteY712" fmla="*/ 731520 h 1686775"/>
                  <a:gd name="connsiteX713" fmla="*/ 990600 w 2242184"/>
                  <a:gd name="connsiteY713" fmla="*/ 722948 h 1686775"/>
                  <a:gd name="connsiteX714" fmla="*/ 982028 w 2242184"/>
                  <a:gd name="connsiteY714" fmla="*/ 717233 h 1686775"/>
                  <a:gd name="connsiteX715" fmla="*/ 968693 w 2242184"/>
                  <a:gd name="connsiteY715" fmla="*/ 706755 h 1686775"/>
                  <a:gd name="connsiteX716" fmla="*/ 960120 w 2242184"/>
                  <a:gd name="connsiteY716" fmla="*/ 698183 h 1686775"/>
                  <a:gd name="connsiteX717" fmla="*/ 953453 w 2242184"/>
                  <a:gd name="connsiteY717" fmla="*/ 692468 h 1686775"/>
                  <a:gd name="connsiteX718" fmla="*/ 949643 w 2242184"/>
                  <a:gd name="connsiteY718" fmla="*/ 686752 h 1686775"/>
                  <a:gd name="connsiteX719" fmla="*/ 945833 w 2242184"/>
                  <a:gd name="connsiteY719" fmla="*/ 678180 h 1686775"/>
                  <a:gd name="connsiteX720" fmla="*/ 939165 w 2242184"/>
                  <a:gd name="connsiteY720" fmla="*/ 672465 h 1686775"/>
                  <a:gd name="connsiteX721" fmla="*/ 935355 w 2242184"/>
                  <a:gd name="connsiteY721" fmla="*/ 663893 h 1686775"/>
                  <a:gd name="connsiteX722" fmla="*/ 923925 w 2242184"/>
                  <a:gd name="connsiteY722" fmla="*/ 655320 h 1686775"/>
                  <a:gd name="connsiteX723" fmla="*/ 923925 w 2242184"/>
                  <a:gd name="connsiteY723" fmla="*/ 648652 h 1686775"/>
                  <a:gd name="connsiteX724" fmla="*/ 935355 w 2242184"/>
                  <a:gd name="connsiteY724" fmla="*/ 645795 h 1686775"/>
                  <a:gd name="connsiteX725" fmla="*/ 943928 w 2242184"/>
                  <a:gd name="connsiteY725" fmla="*/ 651510 h 1686775"/>
                  <a:gd name="connsiteX726" fmla="*/ 962978 w 2242184"/>
                  <a:gd name="connsiteY726" fmla="*/ 677227 h 1686775"/>
                  <a:gd name="connsiteX727" fmla="*/ 980123 w 2242184"/>
                  <a:gd name="connsiteY727" fmla="*/ 690563 h 1686775"/>
                  <a:gd name="connsiteX728" fmla="*/ 997268 w 2242184"/>
                  <a:gd name="connsiteY728" fmla="*/ 701040 h 1686775"/>
                  <a:gd name="connsiteX729" fmla="*/ 1012508 w 2242184"/>
                  <a:gd name="connsiteY729" fmla="*/ 712470 h 1686775"/>
                  <a:gd name="connsiteX730" fmla="*/ 1019175 w 2242184"/>
                  <a:gd name="connsiteY730" fmla="*/ 719138 h 1686775"/>
                  <a:gd name="connsiteX731" fmla="*/ 1034415 w 2242184"/>
                  <a:gd name="connsiteY731" fmla="*/ 733425 h 1686775"/>
                  <a:gd name="connsiteX732" fmla="*/ 1044893 w 2242184"/>
                  <a:gd name="connsiteY732" fmla="*/ 739140 h 1686775"/>
                  <a:gd name="connsiteX733" fmla="*/ 1048703 w 2242184"/>
                  <a:gd name="connsiteY733" fmla="*/ 745808 h 1686775"/>
                  <a:gd name="connsiteX734" fmla="*/ 1055370 w 2242184"/>
                  <a:gd name="connsiteY734" fmla="*/ 750570 h 1686775"/>
                  <a:gd name="connsiteX735" fmla="*/ 1062038 w 2242184"/>
                  <a:gd name="connsiteY735" fmla="*/ 756285 h 1686775"/>
                  <a:gd name="connsiteX736" fmla="*/ 1068705 w 2242184"/>
                  <a:gd name="connsiteY736" fmla="*/ 761048 h 1686775"/>
                  <a:gd name="connsiteX737" fmla="*/ 1072515 w 2242184"/>
                  <a:gd name="connsiteY737" fmla="*/ 766763 h 1686775"/>
                  <a:gd name="connsiteX738" fmla="*/ 1070610 w 2242184"/>
                  <a:gd name="connsiteY738" fmla="*/ 772477 h 1686775"/>
                  <a:gd name="connsiteX739" fmla="*/ 1074420 w 2242184"/>
                  <a:gd name="connsiteY739" fmla="*/ 779145 h 1686775"/>
                  <a:gd name="connsiteX740" fmla="*/ 1081088 w 2242184"/>
                  <a:gd name="connsiteY740" fmla="*/ 783908 h 1686775"/>
                  <a:gd name="connsiteX741" fmla="*/ 1094423 w 2242184"/>
                  <a:gd name="connsiteY741" fmla="*/ 789623 h 1686775"/>
                  <a:gd name="connsiteX742" fmla="*/ 1101090 w 2242184"/>
                  <a:gd name="connsiteY742" fmla="*/ 792480 h 1686775"/>
                  <a:gd name="connsiteX743" fmla="*/ 1116330 w 2242184"/>
                  <a:gd name="connsiteY743" fmla="*/ 798195 h 1686775"/>
                  <a:gd name="connsiteX744" fmla="*/ 1121093 w 2242184"/>
                  <a:gd name="connsiteY744" fmla="*/ 802005 h 1686775"/>
                  <a:gd name="connsiteX745" fmla="*/ 1125855 w 2242184"/>
                  <a:gd name="connsiteY745" fmla="*/ 805815 h 1686775"/>
                  <a:gd name="connsiteX746" fmla="*/ 1129665 w 2242184"/>
                  <a:gd name="connsiteY746" fmla="*/ 808673 h 1686775"/>
                  <a:gd name="connsiteX747" fmla="*/ 1151573 w 2242184"/>
                  <a:gd name="connsiteY747" fmla="*/ 820102 h 1686775"/>
                  <a:gd name="connsiteX748" fmla="*/ 1168718 w 2242184"/>
                  <a:gd name="connsiteY748" fmla="*/ 827723 h 1686775"/>
                  <a:gd name="connsiteX749" fmla="*/ 1180148 w 2242184"/>
                  <a:gd name="connsiteY749" fmla="*/ 827723 h 1686775"/>
                  <a:gd name="connsiteX750" fmla="*/ 1193483 w 2242184"/>
                  <a:gd name="connsiteY750" fmla="*/ 827723 h 1686775"/>
                  <a:gd name="connsiteX751" fmla="*/ 1213485 w 2242184"/>
                  <a:gd name="connsiteY751" fmla="*/ 827723 h 1686775"/>
                  <a:gd name="connsiteX752" fmla="*/ 1235393 w 2242184"/>
                  <a:gd name="connsiteY752" fmla="*/ 827723 h 1686775"/>
                  <a:gd name="connsiteX753" fmla="*/ 1250633 w 2242184"/>
                  <a:gd name="connsiteY753" fmla="*/ 826770 h 1686775"/>
                  <a:gd name="connsiteX754" fmla="*/ 1272540 w 2242184"/>
                  <a:gd name="connsiteY754" fmla="*/ 826770 h 1686775"/>
                  <a:gd name="connsiteX755" fmla="*/ 1279208 w 2242184"/>
                  <a:gd name="connsiteY755" fmla="*/ 829627 h 1686775"/>
                  <a:gd name="connsiteX756" fmla="*/ 1290638 w 2242184"/>
                  <a:gd name="connsiteY756" fmla="*/ 829627 h 1686775"/>
                  <a:gd name="connsiteX757" fmla="*/ 1297305 w 2242184"/>
                  <a:gd name="connsiteY757" fmla="*/ 831533 h 1686775"/>
                  <a:gd name="connsiteX758" fmla="*/ 1302068 w 2242184"/>
                  <a:gd name="connsiteY758" fmla="*/ 837248 h 1686775"/>
                  <a:gd name="connsiteX759" fmla="*/ 1323975 w 2242184"/>
                  <a:gd name="connsiteY759" fmla="*/ 853440 h 1686775"/>
                  <a:gd name="connsiteX760" fmla="*/ 1341120 w 2242184"/>
                  <a:gd name="connsiteY760" fmla="*/ 853440 h 1686775"/>
                  <a:gd name="connsiteX761" fmla="*/ 1354455 w 2242184"/>
                  <a:gd name="connsiteY761" fmla="*/ 855345 h 1686775"/>
                  <a:gd name="connsiteX762" fmla="*/ 1369695 w 2242184"/>
                  <a:gd name="connsiteY762" fmla="*/ 863918 h 1686775"/>
                  <a:gd name="connsiteX763" fmla="*/ 1383030 w 2242184"/>
                  <a:gd name="connsiteY763" fmla="*/ 869633 h 1686775"/>
                  <a:gd name="connsiteX764" fmla="*/ 1391603 w 2242184"/>
                  <a:gd name="connsiteY764" fmla="*/ 875348 h 1686775"/>
                  <a:gd name="connsiteX765" fmla="*/ 1402080 w 2242184"/>
                  <a:gd name="connsiteY765" fmla="*/ 885825 h 1686775"/>
                  <a:gd name="connsiteX766" fmla="*/ 1410653 w 2242184"/>
                  <a:gd name="connsiteY766" fmla="*/ 891540 h 1686775"/>
                  <a:gd name="connsiteX767" fmla="*/ 1423988 w 2242184"/>
                  <a:gd name="connsiteY767" fmla="*/ 900113 h 1686775"/>
                  <a:gd name="connsiteX768" fmla="*/ 1435418 w 2242184"/>
                  <a:gd name="connsiteY768" fmla="*/ 902970 h 1686775"/>
                  <a:gd name="connsiteX769" fmla="*/ 1437323 w 2242184"/>
                  <a:gd name="connsiteY769" fmla="*/ 909638 h 1686775"/>
                  <a:gd name="connsiteX770" fmla="*/ 1437323 w 2242184"/>
                  <a:gd name="connsiteY770" fmla="*/ 913448 h 1686775"/>
                  <a:gd name="connsiteX771" fmla="*/ 1450658 w 2242184"/>
                  <a:gd name="connsiteY771" fmla="*/ 921068 h 1686775"/>
                  <a:gd name="connsiteX772" fmla="*/ 1459230 w 2242184"/>
                  <a:gd name="connsiteY772" fmla="*/ 923925 h 1686775"/>
                  <a:gd name="connsiteX773" fmla="*/ 1481138 w 2242184"/>
                  <a:gd name="connsiteY773" fmla="*/ 923925 h 1686775"/>
                  <a:gd name="connsiteX774" fmla="*/ 1489710 w 2242184"/>
                  <a:gd name="connsiteY774" fmla="*/ 923925 h 1686775"/>
                  <a:gd name="connsiteX775" fmla="*/ 1498283 w 2242184"/>
                  <a:gd name="connsiteY775" fmla="*/ 922973 h 1686775"/>
                  <a:gd name="connsiteX776" fmla="*/ 1506855 w 2242184"/>
                  <a:gd name="connsiteY776" fmla="*/ 922973 h 1686775"/>
                  <a:gd name="connsiteX777" fmla="*/ 1520190 w 2242184"/>
                  <a:gd name="connsiteY777" fmla="*/ 922973 h 1686775"/>
                  <a:gd name="connsiteX778" fmla="*/ 1533525 w 2242184"/>
                  <a:gd name="connsiteY778" fmla="*/ 922973 h 1686775"/>
                  <a:gd name="connsiteX779" fmla="*/ 1550670 w 2242184"/>
                  <a:gd name="connsiteY779" fmla="*/ 922973 h 1686775"/>
                  <a:gd name="connsiteX780" fmla="*/ 1547813 w 2242184"/>
                  <a:gd name="connsiteY780" fmla="*/ 938213 h 1686775"/>
                  <a:gd name="connsiteX781" fmla="*/ 1547813 w 2242184"/>
                  <a:gd name="connsiteY781" fmla="*/ 955358 h 1686775"/>
                  <a:gd name="connsiteX782" fmla="*/ 1544955 w 2242184"/>
                  <a:gd name="connsiteY782" fmla="*/ 964883 h 1686775"/>
                  <a:gd name="connsiteX783" fmla="*/ 1546860 w 2242184"/>
                  <a:gd name="connsiteY783" fmla="*/ 968693 h 1686775"/>
                  <a:gd name="connsiteX784" fmla="*/ 1542098 w 2242184"/>
                  <a:gd name="connsiteY784" fmla="*/ 975360 h 1686775"/>
                  <a:gd name="connsiteX785" fmla="*/ 1528763 w 2242184"/>
                  <a:gd name="connsiteY785" fmla="*/ 984885 h 1686775"/>
                  <a:gd name="connsiteX786" fmla="*/ 1508760 w 2242184"/>
                  <a:gd name="connsiteY786" fmla="*/ 994410 h 1686775"/>
                  <a:gd name="connsiteX787" fmla="*/ 1508760 w 2242184"/>
                  <a:gd name="connsiteY787" fmla="*/ 998220 h 1686775"/>
                  <a:gd name="connsiteX788" fmla="*/ 1495425 w 2242184"/>
                  <a:gd name="connsiteY788" fmla="*/ 1007745 h 1686775"/>
                  <a:gd name="connsiteX789" fmla="*/ 1482090 w 2242184"/>
                  <a:gd name="connsiteY789" fmla="*/ 1016318 h 1686775"/>
                  <a:gd name="connsiteX790" fmla="*/ 1479233 w 2242184"/>
                  <a:gd name="connsiteY790" fmla="*/ 1031557 h 1686775"/>
                  <a:gd name="connsiteX791" fmla="*/ 1485900 w 2242184"/>
                  <a:gd name="connsiteY791" fmla="*/ 1043940 h 1686775"/>
                  <a:gd name="connsiteX792" fmla="*/ 1483043 w 2242184"/>
                  <a:gd name="connsiteY792" fmla="*/ 1055370 h 1686775"/>
                  <a:gd name="connsiteX793" fmla="*/ 1483043 w 2242184"/>
                  <a:gd name="connsiteY793" fmla="*/ 1061085 h 1686775"/>
                  <a:gd name="connsiteX794" fmla="*/ 1483043 w 2242184"/>
                  <a:gd name="connsiteY794" fmla="*/ 1075373 h 1686775"/>
                  <a:gd name="connsiteX795" fmla="*/ 1484948 w 2242184"/>
                  <a:gd name="connsiteY795" fmla="*/ 1079183 h 1686775"/>
                  <a:gd name="connsiteX796" fmla="*/ 1495425 w 2242184"/>
                  <a:gd name="connsiteY796" fmla="*/ 1083945 h 1686775"/>
                  <a:gd name="connsiteX797" fmla="*/ 1508760 w 2242184"/>
                  <a:gd name="connsiteY797" fmla="*/ 1091565 h 1686775"/>
                  <a:gd name="connsiteX798" fmla="*/ 1515428 w 2242184"/>
                  <a:gd name="connsiteY798" fmla="*/ 1103948 h 1686775"/>
                  <a:gd name="connsiteX799" fmla="*/ 1524000 w 2242184"/>
                  <a:gd name="connsiteY799" fmla="*/ 1118235 h 1686775"/>
                  <a:gd name="connsiteX800" fmla="*/ 1547813 w 2242184"/>
                  <a:gd name="connsiteY800" fmla="*/ 1141095 h 1686775"/>
                  <a:gd name="connsiteX801" fmla="*/ 1554480 w 2242184"/>
                  <a:gd name="connsiteY801" fmla="*/ 1146810 h 1686775"/>
                  <a:gd name="connsiteX802" fmla="*/ 1556385 w 2242184"/>
                  <a:gd name="connsiteY802" fmla="*/ 1150620 h 1686775"/>
                  <a:gd name="connsiteX803" fmla="*/ 1571625 w 2242184"/>
                  <a:gd name="connsiteY803" fmla="*/ 1162050 h 1686775"/>
                  <a:gd name="connsiteX804" fmla="*/ 1586865 w 2242184"/>
                  <a:gd name="connsiteY804" fmla="*/ 1173480 h 1686775"/>
                  <a:gd name="connsiteX805" fmla="*/ 1600200 w 2242184"/>
                  <a:gd name="connsiteY805" fmla="*/ 1181100 h 1686775"/>
                  <a:gd name="connsiteX806" fmla="*/ 1608773 w 2242184"/>
                  <a:gd name="connsiteY806" fmla="*/ 1183958 h 1686775"/>
                  <a:gd name="connsiteX807" fmla="*/ 1624013 w 2242184"/>
                  <a:gd name="connsiteY807" fmla="*/ 1191578 h 1686775"/>
                  <a:gd name="connsiteX808" fmla="*/ 1634490 w 2242184"/>
                  <a:gd name="connsiteY808" fmla="*/ 1197293 h 1686775"/>
                  <a:gd name="connsiteX809" fmla="*/ 1651635 w 2242184"/>
                  <a:gd name="connsiteY809" fmla="*/ 1204913 h 1686775"/>
                  <a:gd name="connsiteX810" fmla="*/ 1655445 w 2242184"/>
                  <a:gd name="connsiteY810" fmla="*/ 1210628 h 1686775"/>
                  <a:gd name="connsiteX811" fmla="*/ 1659255 w 2242184"/>
                  <a:gd name="connsiteY811" fmla="*/ 1216343 h 1686775"/>
                  <a:gd name="connsiteX812" fmla="*/ 1659255 w 2242184"/>
                  <a:gd name="connsiteY812" fmla="*/ 1218248 h 1686775"/>
                  <a:gd name="connsiteX813" fmla="*/ 1659255 w 2242184"/>
                  <a:gd name="connsiteY813" fmla="*/ 1218248 h 1686775"/>
                  <a:gd name="connsiteX814" fmla="*/ 1659255 w 2242184"/>
                  <a:gd name="connsiteY814" fmla="*/ 1221105 h 1686775"/>
                  <a:gd name="connsiteX815" fmla="*/ 1663065 w 2242184"/>
                  <a:gd name="connsiteY815" fmla="*/ 1259205 h 1686775"/>
                  <a:gd name="connsiteX816" fmla="*/ 1664970 w 2242184"/>
                  <a:gd name="connsiteY816" fmla="*/ 1273493 h 1686775"/>
                  <a:gd name="connsiteX817" fmla="*/ 1664970 w 2242184"/>
                  <a:gd name="connsiteY817" fmla="*/ 1293495 h 1686775"/>
                  <a:gd name="connsiteX818" fmla="*/ 1664970 w 2242184"/>
                  <a:gd name="connsiteY818" fmla="*/ 1299210 h 1686775"/>
                  <a:gd name="connsiteX819" fmla="*/ 1664970 w 2242184"/>
                  <a:gd name="connsiteY819" fmla="*/ 1313498 h 1686775"/>
                  <a:gd name="connsiteX820" fmla="*/ 1666875 w 2242184"/>
                  <a:gd name="connsiteY820" fmla="*/ 1317308 h 1686775"/>
                  <a:gd name="connsiteX821" fmla="*/ 1657350 w 2242184"/>
                  <a:gd name="connsiteY821" fmla="*/ 1332548 h 1686775"/>
                  <a:gd name="connsiteX822" fmla="*/ 1655445 w 2242184"/>
                  <a:gd name="connsiteY822" fmla="*/ 1336358 h 1686775"/>
                  <a:gd name="connsiteX823" fmla="*/ 1646873 w 2242184"/>
                  <a:gd name="connsiteY823" fmla="*/ 1345883 h 1686775"/>
                  <a:gd name="connsiteX824" fmla="*/ 1642110 w 2242184"/>
                  <a:gd name="connsiteY824" fmla="*/ 1351598 h 1686775"/>
                  <a:gd name="connsiteX825" fmla="*/ 1639253 w 2242184"/>
                  <a:gd name="connsiteY825" fmla="*/ 1360170 h 1686775"/>
                  <a:gd name="connsiteX826" fmla="*/ 1637348 w 2242184"/>
                  <a:gd name="connsiteY826" fmla="*/ 1365885 h 1686775"/>
                  <a:gd name="connsiteX827" fmla="*/ 1644015 w 2242184"/>
                  <a:gd name="connsiteY827" fmla="*/ 1375410 h 1686775"/>
                  <a:gd name="connsiteX828" fmla="*/ 1644015 w 2242184"/>
                  <a:gd name="connsiteY828" fmla="*/ 1383983 h 1686775"/>
                  <a:gd name="connsiteX829" fmla="*/ 1644015 w 2242184"/>
                  <a:gd name="connsiteY829" fmla="*/ 1387793 h 1686775"/>
                  <a:gd name="connsiteX830" fmla="*/ 1635443 w 2242184"/>
                  <a:gd name="connsiteY830" fmla="*/ 1391603 h 1686775"/>
                  <a:gd name="connsiteX831" fmla="*/ 1633538 w 2242184"/>
                  <a:gd name="connsiteY831" fmla="*/ 1395413 h 1686775"/>
                  <a:gd name="connsiteX832" fmla="*/ 1628775 w 2242184"/>
                  <a:gd name="connsiteY832" fmla="*/ 1402080 h 1686775"/>
                  <a:gd name="connsiteX833" fmla="*/ 1622108 w 2242184"/>
                  <a:gd name="connsiteY833" fmla="*/ 1407795 h 1686775"/>
                  <a:gd name="connsiteX834" fmla="*/ 1612583 w 2242184"/>
                  <a:gd name="connsiteY834" fmla="*/ 1427798 h 1686775"/>
                  <a:gd name="connsiteX835" fmla="*/ 1614488 w 2242184"/>
                  <a:gd name="connsiteY835" fmla="*/ 1448753 h 1686775"/>
                  <a:gd name="connsiteX836" fmla="*/ 1616393 w 2242184"/>
                  <a:gd name="connsiteY836" fmla="*/ 1468755 h 1686775"/>
                  <a:gd name="connsiteX837" fmla="*/ 1613535 w 2242184"/>
                  <a:gd name="connsiteY837" fmla="*/ 1480185 h 1686775"/>
                  <a:gd name="connsiteX838" fmla="*/ 1602105 w 2242184"/>
                  <a:gd name="connsiteY838" fmla="*/ 1486853 h 1686775"/>
                  <a:gd name="connsiteX839" fmla="*/ 1593533 w 2242184"/>
                  <a:gd name="connsiteY839" fmla="*/ 1490663 h 1686775"/>
                  <a:gd name="connsiteX840" fmla="*/ 1588770 w 2242184"/>
                  <a:gd name="connsiteY840" fmla="*/ 1497330 h 1686775"/>
                  <a:gd name="connsiteX841" fmla="*/ 1597343 w 2242184"/>
                  <a:gd name="connsiteY841" fmla="*/ 1503045 h 1686775"/>
                  <a:gd name="connsiteX842" fmla="*/ 1599248 w 2242184"/>
                  <a:gd name="connsiteY842" fmla="*/ 1523048 h 1686775"/>
                  <a:gd name="connsiteX843" fmla="*/ 1601153 w 2242184"/>
                  <a:gd name="connsiteY843" fmla="*/ 1529715 h 1686775"/>
                  <a:gd name="connsiteX844" fmla="*/ 1601153 w 2242184"/>
                  <a:gd name="connsiteY844" fmla="*/ 1535430 h 1686775"/>
                  <a:gd name="connsiteX845" fmla="*/ 1585913 w 2242184"/>
                  <a:gd name="connsiteY845" fmla="*/ 1542098 h 1686775"/>
                  <a:gd name="connsiteX846" fmla="*/ 1574483 w 2242184"/>
                  <a:gd name="connsiteY846" fmla="*/ 1564958 h 1686775"/>
                  <a:gd name="connsiteX847" fmla="*/ 1578293 w 2242184"/>
                  <a:gd name="connsiteY847" fmla="*/ 1573530 h 1686775"/>
                  <a:gd name="connsiteX848" fmla="*/ 1584960 w 2242184"/>
                  <a:gd name="connsiteY848" fmla="*/ 1583055 h 1686775"/>
                  <a:gd name="connsiteX849" fmla="*/ 1584960 w 2242184"/>
                  <a:gd name="connsiteY849" fmla="*/ 1586865 h 1686775"/>
                  <a:gd name="connsiteX850" fmla="*/ 1586865 w 2242184"/>
                  <a:gd name="connsiteY850" fmla="*/ 1593533 h 1686775"/>
                  <a:gd name="connsiteX851" fmla="*/ 1586865 w 2242184"/>
                  <a:gd name="connsiteY851" fmla="*/ 1602105 h 1686775"/>
                  <a:gd name="connsiteX852" fmla="*/ 1586865 w 2242184"/>
                  <a:gd name="connsiteY852" fmla="*/ 1614488 h 1686775"/>
                  <a:gd name="connsiteX853" fmla="*/ 1586865 w 2242184"/>
                  <a:gd name="connsiteY853" fmla="*/ 1618298 h 1686775"/>
                  <a:gd name="connsiteX854" fmla="*/ 1600200 w 2242184"/>
                  <a:gd name="connsiteY854" fmla="*/ 1632585 h 1686775"/>
                  <a:gd name="connsiteX855" fmla="*/ 1610678 w 2242184"/>
                  <a:gd name="connsiteY855" fmla="*/ 1642110 h 1686775"/>
                  <a:gd name="connsiteX856" fmla="*/ 1607820 w 2242184"/>
                  <a:gd name="connsiteY856" fmla="*/ 1656398 h 1686775"/>
                  <a:gd name="connsiteX857" fmla="*/ 1611630 w 2242184"/>
                  <a:gd name="connsiteY857" fmla="*/ 1662113 h 1686775"/>
                  <a:gd name="connsiteX858" fmla="*/ 1615440 w 2242184"/>
                  <a:gd name="connsiteY858" fmla="*/ 1668780 h 1686775"/>
                  <a:gd name="connsiteX859" fmla="*/ 1637348 w 2242184"/>
                  <a:gd name="connsiteY859" fmla="*/ 1679258 h 1686775"/>
                  <a:gd name="connsiteX860" fmla="*/ 1652588 w 2242184"/>
                  <a:gd name="connsiteY860" fmla="*/ 1682115 h 1686775"/>
                  <a:gd name="connsiteX861" fmla="*/ 1661160 w 2242184"/>
                  <a:gd name="connsiteY861" fmla="*/ 1682115 h 1686775"/>
                  <a:gd name="connsiteX862" fmla="*/ 1689735 w 2242184"/>
                  <a:gd name="connsiteY862" fmla="*/ 1684973 h 1686775"/>
                  <a:gd name="connsiteX863" fmla="*/ 1711643 w 2242184"/>
                  <a:gd name="connsiteY863" fmla="*/ 1684973 h 1686775"/>
                  <a:gd name="connsiteX864" fmla="*/ 1718310 w 2242184"/>
                  <a:gd name="connsiteY864" fmla="*/ 1682115 h 1686775"/>
                  <a:gd name="connsiteX865" fmla="*/ 1726883 w 2242184"/>
                  <a:gd name="connsiteY865" fmla="*/ 1676400 h 1686775"/>
                  <a:gd name="connsiteX866" fmla="*/ 1728788 w 2242184"/>
                  <a:gd name="connsiteY866" fmla="*/ 1670685 h 1686775"/>
                  <a:gd name="connsiteX867" fmla="*/ 1713548 w 2242184"/>
                  <a:gd name="connsiteY867" fmla="*/ 1667828 h 1686775"/>
                  <a:gd name="connsiteX868" fmla="*/ 1700213 w 2242184"/>
                  <a:gd name="connsiteY868" fmla="*/ 1662113 h 1686775"/>
                  <a:gd name="connsiteX869" fmla="*/ 1683068 w 2242184"/>
                  <a:gd name="connsiteY869" fmla="*/ 1644968 h 1686775"/>
                  <a:gd name="connsiteX870" fmla="*/ 1681163 w 2242184"/>
                  <a:gd name="connsiteY870" fmla="*/ 1633538 h 1686775"/>
                  <a:gd name="connsiteX871" fmla="*/ 1684020 w 2242184"/>
                  <a:gd name="connsiteY871" fmla="*/ 1619250 h 1686775"/>
                  <a:gd name="connsiteX872" fmla="*/ 1690688 w 2242184"/>
                  <a:gd name="connsiteY872" fmla="*/ 1609725 h 1686775"/>
                  <a:gd name="connsiteX873" fmla="*/ 1702118 w 2242184"/>
                  <a:gd name="connsiteY873" fmla="*/ 1597343 h 1686775"/>
                  <a:gd name="connsiteX874" fmla="*/ 1710690 w 2242184"/>
                  <a:gd name="connsiteY874" fmla="*/ 1591628 h 1686775"/>
                  <a:gd name="connsiteX875" fmla="*/ 1725930 w 2242184"/>
                  <a:gd name="connsiteY875" fmla="*/ 1585913 h 1686775"/>
                  <a:gd name="connsiteX876" fmla="*/ 1734503 w 2242184"/>
                  <a:gd name="connsiteY876" fmla="*/ 1579245 h 1686775"/>
                  <a:gd name="connsiteX877" fmla="*/ 1734503 w 2242184"/>
                  <a:gd name="connsiteY877" fmla="*/ 1573530 h 1686775"/>
                  <a:gd name="connsiteX878" fmla="*/ 1734503 w 2242184"/>
                  <a:gd name="connsiteY878" fmla="*/ 1567815 h 1686775"/>
                  <a:gd name="connsiteX879" fmla="*/ 1727835 w 2242184"/>
                  <a:gd name="connsiteY879" fmla="*/ 1562100 h 1686775"/>
                  <a:gd name="connsiteX880" fmla="*/ 1725930 w 2242184"/>
                  <a:gd name="connsiteY880" fmla="*/ 1552575 h 1686775"/>
                  <a:gd name="connsiteX881" fmla="*/ 1725930 w 2242184"/>
                  <a:gd name="connsiteY881" fmla="*/ 1545908 h 1686775"/>
                  <a:gd name="connsiteX882" fmla="*/ 1727835 w 2242184"/>
                  <a:gd name="connsiteY882" fmla="*/ 1540193 h 1686775"/>
                  <a:gd name="connsiteX883" fmla="*/ 1745933 w 2242184"/>
                  <a:gd name="connsiteY883" fmla="*/ 1528763 h 1686775"/>
                  <a:gd name="connsiteX884" fmla="*/ 1752600 w 2242184"/>
                  <a:gd name="connsiteY884" fmla="*/ 1523048 h 1686775"/>
                  <a:gd name="connsiteX885" fmla="*/ 1757363 w 2242184"/>
                  <a:gd name="connsiteY885" fmla="*/ 1511618 h 1686775"/>
                  <a:gd name="connsiteX886" fmla="*/ 1759268 w 2242184"/>
                  <a:gd name="connsiteY886" fmla="*/ 1504950 h 1686775"/>
                  <a:gd name="connsiteX887" fmla="*/ 1764030 w 2242184"/>
                  <a:gd name="connsiteY887" fmla="*/ 1499235 h 1686775"/>
                  <a:gd name="connsiteX888" fmla="*/ 1768793 w 2242184"/>
                  <a:gd name="connsiteY888" fmla="*/ 1490663 h 1686775"/>
                  <a:gd name="connsiteX889" fmla="*/ 1770698 w 2242184"/>
                  <a:gd name="connsiteY889" fmla="*/ 1484948 h 1686775"/>
                  <a:gd name="connsiteX890" fmla="*/ 1779270 w 2242184"/>
                  <a:gd name="connsiteY890" fmla="*/ 1482090 h 1686775"/>
                  <a:gd name="connsiteX891" fmla="*/ 1787843 w 2242184"/>
                  <a:gd name="connsiteY891" fmla="*/ 1479233 h 1686775"/>
                  <a:gd name="connsiteX892" fmla="*/ 1796415 w 2242184"/>
                  <a:gd name="connsiteY892" fmla="*/ 1470660 h 1686775"/>
                  <a:gd name="connsiteX893" fmla="*/ 1803083 w 2242184"/>
                  <a:gd name="connsiteY893" fmla="*/ 1466850 h 1686775"/>
                  <a:gd name="connsiteX894" fmla="*/ 1807845 w 2242184"/>
                  <a:gd name="connsiteY894" fmla="*/ 1460183 h 1686775"/>
                  <a:gd name="connsiteX895" fmla="*/ 1823085 w 2242184"/>
                  <a:gd name="connsiteY895" fmla="*/ 1460183 h 1686775"/>
                  <a:gd name="connsiteX896" fmla="*/ 1841183 w 2242184"/>
                  <a:gd name="connsiteY896" fmla="*/ 1459230 h 1686775"/>
                  <a:gd name="connsiteX897" fmla="*/ 1847850 w 2242184"/>
                  <a:gd name="connsiteY897" fmla="*/ 1458278 h 1686775"/>
                  <a:gd name="connsiteX898" fmla="*/ 1861185 w 2242184"/>
                  <a:gd name="connsiteY898" fmla="*/ 1452563 h 1686775"/>
                  <a:gd name="connsiteX899" fmla="*/ 1883093 w 2242184"/>
                  <a:gd name="connsiteY899" fmla="*/ 1445895 h 1686775"/>
                  <a:gd name="connsiteX900" fmla="*/ 1892618 w 2242184"/>
                  <a:gd name="connsiteY900" fmla="*/ 1434465 h 1686775"/>
                  <a:gd name="connsiteX901" fmla="*/ 1892618 w 2242184"/>
                  <a:gd name="connsiteY901" fmla="*/ 1422083 h 1686775"/>
                  <a:gd name="connsiteX902" fmla="*/ 1901190 w 2242184"/>
                  <a:gd name="connsiteY902" fmla="*/ 1413510 h 1686775"/>
                  <a:gd name="connsiteX903" fmla="*/ 1905953 w 2242184"/>
                  <a:gd name="connsiteY903" fmla="*/ 1407795 h 1686775"/>
                  <a:gd name="connsiteX904" fmla="*/ 1919288 w 2242184"/>
                  <a:gd name="connsiteY904" fmla="*/ 1406843 h 1686775"/>
                  <a:gd name="connsiteX905" fmla="*/ 1927860 w 2242184"/>
                  <a:gd name="connsiteY905" fmla="*/ 1408748 h 1686775"/>
                  <a:gd name="connsiteX906" fmla="*/ 1943100 w 2242184"/>
                  <a:gd name="connsiteY906" fmla="*/ 1403033 h 1686775"/>
                  <a:gd name="connsiteX907" fmla="*/ 1951673 w 2242184"/>
                  <a:gd name="connsiteY907" fmla="*/ 1397318 h 1686775"/>
                  <a:gd name="connsiteX908" fmla="*/ 1965008 w 2242184"/>
                  <a:gd name="connsiteY908" fmla="*/ 1387793 h 1686775"/>
                  <a:gd name="connsiteX909" fmla="*/ 1980248 w 2242184"/>
                  <a:gd name="connsiteY909" fmla="*/ 1376363 h 1686775"/>
                  <a:gd name="connsiteX910" fmla="*/ 1980248 w 2242184"/>
                  <a:gd name="connsiteY910" fmla="*/ 1370648 h 1686775"/>
                  <a:gd name="connsiteX911" fmla="*/ 1991678 w 2242184"/>
                  <a:gd name="connsiteY911" fmla="*/ 1358265 h 1686775"/>
                  <a:gd name="connsiteX912" fmla="*/ 2003108 w 2242184"/>
                  <a:gd name="connsiteY912" fmla="*/ 1349693 h 1686775"/>
                  <a:gd name="connsiteX913" fmla="*/ 2021205 w 2242184"/>
                  <a:gd name="connsiteY913" fmla="*/ 1343978 h 1686775"/>
                  <a:gd name="connsiteX914" fmla="*/ 2032635 w 2242184"/>
                  <a:gd name="connsiteY914" fmla="*/ 1334453 h 1686775"/>
                  <a:gd name="connsiteX915" fmla="*/ 2034540 w 2242184"/>
                  <a:gd name="connsiteY915" fmla="*/ 1327785 h 1686775"/>
                  <a:gd name="connsiteX916" fmla="*/ 2034540 w 2242184"/>
                  <a:gd name="connsiteY916" fmla="*/ 1319213 h 1686775"/>
                  <a:gd name="connsiteX917" fmla="*/ 2045970 w 2242184"/>
                  <a:gd name="connsiteY917" fmla="*/ 1306830 h 1686775"/>
                  <a:gd name="connsiteX918" fmla="*/ 2047875 w 2242184"/>
                  <a:gd name="connsiteY918" fmla="*/ 1301115 h 1686775"/>
                  <a:gd name="connsiteX919" fmla="*/ 2054543 w 2242184"/>
                  <a:gd name="connsiteY919" fmla="*/ 1294448 h 1686775"/>
                  <a:gd name="connsiteX920" fmla="*/ 2061210 w 2242184"/>
                  <a:gd name="connsiteY920" fmla="*/ 1293495 h 1686775"/>
                  <a:gd name="connsiteX921" fmla="*/ 2069783 w 2242184"/>
                  <a:gd name="connsiteY921" fmla="*/ 1284923 h 1686775"/>
                  <a:gd name="connsiteX922" fmla="*/ 2076450 w 2242184"/>
                  <a:gd name="connsiteY922" fmla="*/ 1283970 h 1686775"/>
                  <a:gd name="connsiteX923" fmla="*/ 2096453 w 2242184"/>
                  <a:gd name="connsiteY923" fmla="*/ 1274445 h 1686775"/>
                  <a:gd name="connsiteX924" fmla="*/ 2121218 w 2242184"/>
                  <a:gd name="connsiteY924" fmla="*/ 1270635 h 1686775"/>
                  <a:gd name="connsiteX925" fmla="*/ 2132648 w 2242184"/>
                  <a:gd name="connsiteY925" fmla="*/ 1266825 h 1686775"/>
                  <a:gd name="connsiteX926" fmla="*/ 2152650 w 2242184"/>
                  <a:gd name="connsiteY926" fmla="*/ 1261110 h 1686775"/>
                  <a:gd name="connsiteX927" fmla="*/ 2174558 w 2242184"/>
                  <a:gd name="connsiteY927" fmla="*/ 1252538 h 1686775"/>
                  <a:gd name="connsiteX928" fmla="*/ 2181225 w 2242184"/>
                  <a:gd name="connsiteY928" fmla="*/ 1245870 h 1686775"/>
                  <a:gd name="connsiteX929" fmla="*/ 2187893 w 2242184"/>
                  <a:gd name="connsiteY929" fmla="*/ 1236345 h 1686775"/>
                  <a:gd name="connsiteX930" fmla="*/ 2201228 w 2242184"/>
                  <a:gd name="connsiteY930" fmla="*/ 1224915 h 1686775"/>
                  <a:gd name="connsiteX931" fmla="*/ 2204085 w 2242184"/>
                  <a:gd name="connsiteY931" fmla="*/ 1203960 h 1686775"/>
                  <a:gd name="connsiteX932" fmla="*/ 2206943 w 2242184"/>
                  <a:gd name="connsiteY932" fmla="*/ 1194435 h 1686775"/>
                  <a:gd name="connsiteX933" fmla="*/ 2216468 w 2242184"/>
                  <a:gd name="connsiteY933" fmla="*/ 1182053 h 1686775"/>
                  <a:gd name="connsiteX934" fmla="*/ 2216468 w 2242184"/>
                  <a:gd name="connsiteY934" fmla="*/ 1172528 h 1686775"/>
                  <a:gd name="connsiteX935" fmla="*/ 2214563 w 2242184"/>
                  <a:gd name="connsiteY935" fmla="*/ 1165860 h 1686775"/>
                  <a:gd name="connsiteX936" fmla="*/ 2214563 w 2242184"/>
                  <a:gd name="connsiteY936" fmla="*/ 1160145 h 1686775"/>
                  <a:gd name="connsiteX937" fmla="*/ 2225993 w 2242184"/>
                  <a:gd name="connsiteY937" fmla="*/ 1151573 h 1686775"/>
                  <a:gd name="connsiteX938" fmla="*/ 2237423 w 2242184"/>
                  <a:gd name="connsiteY938" fmla="*/ 1127760 h 1686775"/>
                  <a:gd name="connsiteX939" fmla="*/ 2235518 w 2242184"/>
                  <a:gd name="connsiteY939" fmla="*/ 1113473 h 1686775"/>
                  <a:gd name="connsiteX940" fmla="*/ 2242185 w 2242184"/>
                  <a:gd name="connsiteY940" fmla="*/ 1098233 h 1686775"/>
                  <a:gd name="connsiteX941" fmla="*/ 1526858 w 2242184"/>
                  <a:gd name="connsiteY941" fmla="*/ 497205 h 1686775"/>
                  <a:gd name="connsiteX942" fmla="*/ 1528763 w 2242184"/>
                  <a:gd name="connsiteY942" fmla="*/ 494348 h 1686775"/>
                  <a:gd name="connsiteX943" fmla="*/ 1531620 w 2242184"/>
                  <a:gd name="connsiteY943" fmla="*/ 491490 h 1686775"/>
                  <a:gd name="connsiteX944" fmla="*/ 1540193 w 2242184"/>
                  <a:gd name="connsiteY944" fmla="*/ 491490 h 1686775"/>
                  <a:gd name="connsiteX945" fmla="*/ 1545908 w 2242184"/>
                  <a:gd name="connsiteY945" fmla="*/ 490537 h 1686775"/>
                  <a:gd name="connsiteX946" fmla="*/ 1553528 w 2242184"/>
                  <a:gd name="connsiteY946" fmla="*/ 490537 h 1686775"/>
                  <a:gd name="connsiteX947" fmla="*/ 1561148 w 2242184"/>
                  <a:gd name="connsiteY947" fmla="*/ 490537 h 1686775"/>
                  <a:gd name="connsiteX948" fmla="*/ 1576388 w 2242184"/>
                  <a:gd name="connsiteY948" fmla="*/ 489585 h 1686775"/>
                  <a:gd name="connsiteX949" fmla="*/ 1578293 w 2242184"/>
                  <a:gd name="connsiteY949" fmla="*/ 493395 h 1686775"/>
                  <a:gd name="connsiteX950" fmla="*/ 1578293 w 2242184"/>
                  <a:gd name="connsiteY950" fmla="*/ 494348 h 1686775"/>
                  <a:gd name="connsiteX951" fmla="*/ 1576388 w 2242184"/>
                  <a:gd name="connsiteY951" fmla="*/ 497205 h 1686775"/>
                  <a:gd name="connsiteX952" fmla="*/ 1571625 w 2242184"/>
                  <a:gd name="connsiteY952" fmla="*/ 498158 h 1686775"/>
                  <a:gd name="connsiteX953" fmla="*/ 1564005 w 2242184"/>
                  <a:gd name="connsiteY953" fmla="*/ 499110 h 1686775"/>
                  <a:gd name="connsiteX954" fmla="*/ 1557338 w 2242184"/>
                  <a:gd name="connsiteY954" fmla="*/ 500062 h 1686775"/>
                  <a:gd name="connsiteX955" fmla="*/ 1550670 w 2242184"/>
                  <a:gd name="connsiteY955" fmla="*/ 501015 h 1686775"/>
                  <a:gd name="connsiteX956" fmla="*/ 1539240 w 2242184"/>
                  <a:gd name="connsiteY956" fmla="*/ 501968 h 1686775"/>
                  <a:gd name="connsiteX957" fmla="*/ 1534478 w 2242184"/>
                  <a:gd name="connsiteY957" fmla="*/ 502920 h 1686775"/>
                  <a:gd name="connsiteX958" fmla="*/ 1528763 w 2242184"/>
                  <a:gd name="connsiteY958" fmla="*/ 503873 h 1686775"/>
                  <a:gd name="connsiteX959" fmla="*/ 1521143 w 2242184"/>
                  <a:gd name="connsiteY959" fmla="*/ 508635 h 1686775"/>
                  <a:gd name="connsiteX960" fmla="*/ 1510665 w 2242184"/>
                  <a:gd name="connsiteY960" fmla="*/ 514350 h 1686775"/>
                  <a:gd name="connsiteX961" fmla="*/ 1501140 w 2242184"/>
                  <a:gd name="connsiteY961" fmla="*/ 515302 h 1686775"/>
                  <a:gd name="connsiteX962" fmla="*/ 1495425 w 2242184"/>
                  <a:gd name="connsiteY962" fmla="*/ 516255 h 1686775"/>
                  <a:gd name="connsiteX963" fmla="*/ 1495425 w 2242184"/>
                  <a:gd name="connsiteY963" fmla="*/ 516255 h 1686775"/>
                  <a:gd name="connsiteX964" fmla="*/ 1495425 w 2242184"/>
                  <a:gd name="connsiteY964" fmla="*/ 516255 h 1686775"/>
                  <a:gd name="connsiteX965" fmla="*/ 1483995 w 2242184"/>
                  <a:gd name="connsiteY965" fmla="*/ 518160 h 1686775"/>
                  <a:gd name="connsiteX966" fmla="*/ 1474470 w 2242184"/>
                  <a:gd name="connsiteY966" fmla="*/ 516255 h 1686775"/>
                  <a:gd name="connsiteX967" fmla="*/ 1467803 w 2242184"/>
                  <a:gd name="connsiteY967" fmla="*/ 514350 h 1686775"/>
                  <a:gd name="connsiteX968" fmla="*/ 1467803 w 2242184"/>
                  <a:gd name="connsiteY968" fmla="*/ 510540 h 1686775"/>
                  <a:gd name="connsiteX969" fmla="*/ 1471613 w 2242184"/>
                  <a:gd name="connsiteY969" fmla="*/ 503873 h 1686775"/>
                  <a:gd name="connsiteX970" fmla="*/ 1477328 w 2242184"/>
                  <a:gd name="connsiteY970" fmla="*/ 502920 h 1686775"/>
                  <a:gd name="connsiteX971" fmla="*/ 1488758 w 2242184"/>
                  <a:gd name="connsiteY971" fmla="*/ 502920 h 1686775"/>
                  <a:gd name="connsiteX972" fmla="*/ 1491615 w 2242184"/>
                  <a:gd name="connsiteY972" fmla="*/ 502920 h 1686775"/>
                  <a:gd name="connsiteX973" fmla="*/ 1502093 w 2242184"/>
                  <a:gd name="connsiteY973" fmla="*/ 502920 h 1686775"/>
                  <a:gd name="connsiteX974" fmla="*/ 1509713 w 2242184"/>
                  <a:gd name="connsiteY974" fmla="*/ 501968 h 1686775"/>
                  <a:gd name="connsiteX975" fmla="*/ 1518285 w 2242184"/>
                  <a:gd name="connsiteY975" fmla="*/ 501015 h 1686775"/>
                  <a:gd name="connsiteX976" fmla="*/ 1524000 w 2242184"/>
                  <a:gd name="connsiteY976" fmla="*/ 498158 h 1686775"/>
                  <a:gd name="connsiteX977" fmla="*/ 1526858 w 2242184"/>
                  <a:gd name="connsiteY977" fmla="*/ 497205 h 1686775"/>
                  <a:gd name="connsiteX978" fmla="*/ 1446848 w 2242184"/>
                  <a:gd name="connsiteY978" fmla="*/ 462915 h 1686775"/>
                  <a:gd name="connsiteX979" fmla="*/ 1453515 w 2242184"/>
                  <a:gd name="connsiteY979" fmla="*/ 462915 h 1686775"/>
                  <a:gd name="connsiteX980" fmla="*/ 1463993 w 2242184"/>
                  <a:gd name="connsiteY980" fmla="*/ 462915 h 1686775"/>
                  <a:gd name="connsiteX981" fmla="*/ 1468755 w 2242184"/>
                  <a:gd name="connsiteY981" fmla="*/ 461962 h 1686775"/>
                  <a:gd name="connsiteX982" fmla="*/ 1479233 w 2242184"/>
                  <a:gd name="connsiteY982" fmla="*/ 461010 h 1686775"/>
                  <a:gd name="connsiteX983" fmla="*/ 1490663 w 2242184"/>
                  <a:gd name="connsiteY983" fmla="*/ 460058 h 1686775"/>
                  <a:gd name="connsiteX984" fmla="*/ 1502093 w 2242184"/>
                  <a:gd name="connsiteY984" fmla="*/ 461010 h 1686775"/>
                  <a:gd name="connsiteX985" fmla="*/ 1513523 w 2242184"/>
                  <a:gd name="connsiteY985" fmla="*/ 461010 h 1686775"/>
                  <a:gd name="connsiteX986" fmla="*/ 1515428 w 2242184"/>
                  <a:gd name="connsiteY986" fmla="*/ 466725 h 1686775"/>
                  <a:gd name="connsiteX987" fmla="*/ 1518285 w 2242184"/>
                  <a:gd name="connsiteY987" fmla="*/ 466725 h 1686775"/>
                  <a:gd name="connsiteX988" fmla="*/ 1521143 w 2242184"/>
                  <a:gd name="connsiteY988" fmla="*/ 467677 h 1686775"/>
                  <a:gd name="connsiteX989" fmla="*/ 1520190 w 2242184"/>
                  <a:gd name="connsiteY989" fmla="*/ 469583 h 1686775"/>
                  <a:gd name="connsiteX990" fmla="*/ 1515428 w 2242184"/>
                  <a:gd name="connsiteY990" fmla="*/ 472440 h 1686775"/>
                  <a:gd name="connsiteX991" fmla="*/ 1511618 w 2242184"/>
                  <a:gd name="connsiteY991" fmla="*/ 473393 h 1686775"/>
                  <a:gd name="connsiteX992" fmla="*/ 1504950 w 2242184"/>
                  <a:gd name="connsiteY992" fmla="*/ 473393 h 1686775"/>
                  <a:gd name="connsiteX993" fmla="*/ 1498283 w 2242184"/>
                  <a:gd name="connsiteY993" fmla="*/ 473393 h 1686775"/>
                  <a:gd name="connsiteX994" fmla="*/ 1495425 w 2242184"/>
                  <a:gd name="connsiteY994" fmla="*/ 474345 h 1686775"/>
                  <a:gd name="connsiteX995" fmla="*/ 1493520 w 2242184"/>
                  <a:gd name="connsiteY995" fmla="*/ 478155 h 1686775"/>
                  <a:gd name="connsiteX996" fmla="*/ 1492568 w 2242184"/>
                  <a:gd name="connsiteY996" fmla="*/ 485775 h 1686775"/>
                  <a:gd name="connsiteX997" fmla="*/ 1483043 w 2242184"/>
                  <a:gd name="connsiteY997" fmla="*/ 488633 h 1686775"/>
                  <a:gd name="connsiteX998" fmla="*/ 1477328 w 2242184"/>
                  <a:gd name="connsiteY998" fmla="*/ 488633 h 1686775"/>
                  <a:gd name="connsiteX999" fmla="*/ 1471613 w 2242184"/>
                  <a:gd name="connsiteY999" fmla="*/ 484823 h 1686775"/>
                  <a:gd name="connsiteX1000" fmla="*/ 1464945 w 2242184"/>
                  <a:gd name="connsiteY1000" fmla="*/ 482918 h 1686775"/>
                  <a:gd name="connsiteX1001" fmla="*/ 1460183 w 2242184"/>
                  <a:gd name="connsiteY1001" fmla="*/ 478155 h 1686775"/>
                  <a:gd name="connsiteX1002" fmla="*/ 1460183 w 2242184"/>
                  <a:gd name="connsiteY1002" fmla="*/ 476250 h 1686775"/>
                  <a:gd name="connsiteX1003" fmla="*/ 1457325 w 2242184"/>
                  <a:gd name="connsiteY1003" fmla="*/ 473393 h 1686775"/>
                  <a:gd name="connsiteX1004" fmla="*/ 1450658 w 2242184"/>
                  <a:gd name="connsiteY1004" fmla="*/ 469583 h 1686775"/>
                  <a:gd name="connsiteX1005" fmla="*/ 1444943 w 2242184"/>
                  <a:gd name="connsiteY1005" fmla="*/ 469583 h 1686775"/>
                  <a:gd name="connsiteX1006" fmla="*/ 1436370 w 2242184"/>
                  <a:gd name="connsiteY1006" fmla="*/ 469583 h 1686775"/>
                  <a:gd name="connsiteX1007" fmla="*/ 1431608 w 2242184"/>
                  <a:gd name="connsiteY1007" fmla="*/ 469583 h 1686775"/>
                  <a:gd name="connsiteX1008" fmla="*/ 1425893 w 2242184"/>
                  <a:gd name="connsiteY1008" fmla="*/ 472440 h 1686775"/>
                  <a:gd name="connsiteX1009" fmla="*/ 1421130 w 2242184"/>
                  <a:gd name="connsiteY1009" fmla="*/ 474345 h 1686775"/>
                  <a:gd name="connsiteX1010" fmla="*/ 1416368 w 2242184"/>
                  <a:gd name="connsiteY1010" fmla="*/ 478155 h 1686775"/>
                  <a:gd name="connsiteX1011" fmla="*/ 1415415 w 2242184"/>
                  <a:gd name="connsiteY1011" fmla="*/ 480060 h 1686775"/>
                  <a:gd name="connsiteX1012" fmla="*/ 1414463 w 2242184"/>
                  <a:gd name="connsiteY1012" fmla="*/ 484823 h 1686775"/>
                  <a:gd name="connsiteX1013" fmla="*/ 1410653 w 2242184"/>
                  <a:gd name="connsiteY1013" fmla="*/ 486727 h 1686775"/>
                  <a:gd name="connsiteX1014" fmla="*/ 1409700 w 2242184"/>
                  <a:gd name="connsiteY1014" fmla="*/ 492443 h 1686775"/>
                  <a:gd name="connsiteX1015" fmla="*/ 1407795 w 2242184"/>
                  <a:gd name="connsiteY1015" fmla="*/ 499110 h 1686775"/>
                  <a:gd name="connsiteX1016" fmla="*/ 1406843 w 2242184"/>
                  <a:gd name="connsiteY1016" fmla="*/ 502920 h 1686775"/>
                  <a:gd name="connsiteX1017" fmla="*/ 1405890 w 2242184"/>
                  <a:gd name="connsiteY1017" fmla="*/ 504825 h 1686775"/>
                  <a:gd name="connsiteX1018" fmla="*/ 1400175 w 2242184"/>
                  <a:gd name="connsiteY1018" fmla="*/ 504825 h 1686775"/>
                  <a:gd name="connsiteX1019" fmla="*/ 1396365 w 2242184"/>
                  <a:gd name="connsiteY1019" fmla="*/ 504825 h 1686775"/>
                  <a:gd name="connsiteX1020" fmla="*/ 1391603 w 2242184"/>
                  <a:gd name="connsiteY1020" fmla="*/ 502920 h 1686775"/>
                  <a:gd name="connsiteX1021" fmla="*/ 1388745 w 2242184"/>
                  <a:gd name="connsiteY1021" fmla="*/ 500062 h 1686775"/>
                  <a:gd name="connsiteX1022" fmla="*/ 1389698 w 2242184"/>
                  <a:gd name="connsiteY1022" fmla="*/ 493395 h 1686775"/>
                  <a:gd name="connsiteX1023" fmla="*/ 1387793 w 2242184"/>
                  <a:gd name="connsiteY1023" fmla="*/ 486727 h 1686775"/>
                  <a:gd name="connsiteX1024" fmla="*/ 1387793 w 2242184"/>
                  <a:gd name="connsiteY1024" fmla="*/ 483870 h 1686775"/>
                  <a:gd name="connsiteX1025" fmla="*/ 1387793 w 2242184"/>
                  <a:gd name="connsiteY1025" fmla="*/ 477202 h 1686775"/>
                  <a:gd name="connsiteX1026" fmla="*/ 1391603 w 2242184"/>
                  <a:gd name="connsiteY1026" fmla="*/ 473393 h 1686775"/>
                  <a:gd name="connsiteX1027" fmla="*/ 1395413 w 2242184"/>
                  <a:gd name="connsiteY1027" fmla="*/ 469583 h 1686775"/>
                  <a:gd name="connsiteX1028" fmla="*/ 1403985 w 2242184"/>
                  <a:gd name="connsiteY1028" fmla="*/ 467677 h 1686775"/>
                  <a:gd name="connsiteX1029" fmla="*/ 1413510 w 2242184"/>
                  <a:gd name="connsiteY1029" fmla="*/ 464820 h 1686775"/>
                  <a:gd name="connsiteX1030" fmla="*/ 1414463 w 2242184"/>
                  <a:gd name="connsiteY1030" fmla="*/ 462915 h 1686775"/>
                  <a:gd name="connsiteX1031" fmla="*/ 1422083 w 2242184"/>
                  <a:gd name="connsiteY1031" fmla="*/ 460058 h 1686775"/>
                  <a:gd name="connsiteX1032" fmla="*/ 1423988 w 2242184"/>
                  <a:gd name="connsiteY1032" fmla="*/ 460058 h 1686775"/>
                  <a:gd name="connsiteX1033" fmla="*/ 1429703 w 2242184"/>
                  <a:gd name="connsiteY1033" fmla="*/ 460058 h 1686775"/>
                  <a:gd name="connsiteX1034" fmla="*/ 1434465 w 2242184"/>
                  <a:gd name="connsiteY1034" fmla="*/ 460058 h 1686775"/>
                  <a:gd name="connsiteX1035" fmla="*/ 1446848 w 2242184"/>
                  <a:gd name="connsiteY1035" fmla="*/ 462915 h 1686775"/>
                  <a:gd name="connsiteX1036" fmla="*/ 1322070 w 2242184"/>
                  <a:gd name="connsiteY1036" fmla="*/ 445770 h 1686775"/>
                  <a:gd name="connsiteX1037" fmla="*/ 1324928 w 2242184"/>
                  <a:gd name="connsiteY1037" fmla="*/ 443865 h 1686775"/>
                  <a:gd name="connsiteX1038" fmla="*/ 1329690 w 2242184"/>
                  <a:gd name="connsiteY1038" fmla="*/ 441960 h 1686775"/>
                  <a:gd name="connsiteX1039" fmla="*/ 1333500 w 2242184"/>
                  <a:gd name="connsiteY1039" fmla="*/ 439102 h 1686775"/>
                  <a:gd name="connsiteX1040" fmla="*/ 1334453 w 2242184"/>
                  <a:gd name="connsiteY1040" fmla="*/ 437198 h 1686775"/>
                  <a:gd name="connsiteX1041" fmla="*/ 1338263 w 2242184"/>
                  <a:gd name="connsiteY1041" fmla="*/ 436245 h 1686775"/>
                  <a:gd name="connsiteX1042" fmla="*/ 1348740 w 2242184"/>
                  <a:gd name="connsiteY1042" fmla="*/ 432435 h 1686775"/>
                  <a:gd name="connsiteX1043" fmla="*/ 1353503 w 2242184"/>
                  <a:gd name="connsiteY1043" fmla="*/ 429577 h 1686775"/>
                  <a:gd name="connsiteX1044" fmla="*/ 1355408 w 2242184"/>
                  <a:gd name="connsiteY1044" fmla="*/ 428625 h 1686775"/>
                  <a:gd name="connsiteX1045" fmla="*/ 1357313 w 2242184"/>
                  <a:gd name="connsiteY1045" fmla="*/ 428625 h 1686775"/>
                  <a:gd name="connsiteX1046" fmla="*/ 1363980 w 2242184"/>
                  <a:gd name="connsiteY1046" fmla="*/ 428625 h 1686775"/>
                  <a:gd name="connsiteX1047" fmla="*/ 1366838 w 2242184"/>
                  <a:gd name="connsiteY1047" fmla="*/ 428625 h 1686775"/>
                  <a:gd name="connsiteX1048" fmla="*/ 1376363 w 2242184"/>
                  <a:gd name="connsiteY1048" fmla="*/ 427673 h 1686775"/>
                  <a:gd name="connsiteX1049" fmla="*/ 1381125 w 2242184"/>
                  <a:gd name="connsiteY1049" fmla="*/ 425768 h 1686775"/>
                  <a:gd name="connsiteX1050" fmla="*/ 1384935 w 2242184"/>
                  <a:gd name="connsiteY1050" fmla="*/ 424815 h 1686775"/>
                  <a:gd name="connsiteX1051" fmla="*/ 1387793 w 2242184"/>
                  <a:gd name="connsiteY1051" fmla="*/ 423862 h 1686775"/>
                  <a:gd name="connsiteX1052" fmla="*/ 1392555 w 2242184"/>
                  <a:gd name="connsiteY1052" fmla="*/ 424815 h 1686775"/>
                  <a:gd name="connsiteX1053" fmla="*/ 1397318 w 2242184"/>
                  <a:gd name="connsiteY1053" fmla="*/ 425768 h 1686775"/>
                  <a:gd name="connsiteX1054" fmla="*/ 1403033 w 2242184"/>
                  <a:gd name="connsiteY1054" fmla="*/ 428625 h 1686775"/>
                  <a:gd name="connsiteX1055" fmla="*/ 1408748 w 2242184"/>
                  <a:gd name="connsiteY1055" fmla="*/ 431483 h 1686775"/>
                  <a:gd name="connsiteX1056" fmla="*/ 1411605 w 2242184"/>
                  <a:gd name="connsiteY1056" fmla="*/ 433387 h 1686775"/>
                  <a:gd name="connsiteX1057" fmla="*/ 1418273 w 2242184"/>
                  <a:gd name="connsiteY1057" fmla="*/ 435293 h 1686775"/>
                  <a:gd name="connsiteX1058" fmla="*/ 1421130 w 2242184"/>
                  <a:gd name="connsiteY1058" fmla="*/ 436245 h 1686775"/>
                  <a:gd name="connsiteX1059" fmla="*/ 1423035 w 2242184"/>
                  <a:gd name="connsiteY1059" fmla="*/ 437198 h 1686775"/>
                  <a:gd name="connsiteX1060" fmla="*/ 1424940 w 2242184"/>
                  <a:gd name="connsiteY1060" fmla="*/ 439102 h 1686775"/>
                  <a:gd name="connsiteX1061" fmla="*/ 1425893 w 2242184"/>
                  <a:gd name="connsiteY1061" fmla="*/ 440055 h 1686775"/>
                  <a:gd name="connsiteX1062" fmla="*/ 1432560 w 2242184"/>
                  <a:gd name="connsiteY1062" fmla="*/ 446723 h 1686775"/>
                  <a:gd name="connsiteX1063" fmla="*/ 1429703 w 2242184"/>
                  <a:gd name="connsiteY1063" fmla="*/ 446723 h 1686775"/>
                  <a:gd name="connsiteX1064" fmla="*/ 1411605 w 2242184"/>
                  <a:gd name="connsiteY1064" fmla="*/ 447675 h 1686775"/>
                  <a:gd name="connsiteX1065" fmla="*/ 1404938 w 2242184"/>
                  <a:gd name="connsiteY1065" fmla="*/ 447675 h 1686775"/>
                  <a:gd name="connsiteX1066" fmla="*/ 1399223 w 2242184"/>
                  <a:gd name="connsiteY1066" fmla="*/ 447675 h 1686775"/>
                  <a:gd name="connsiteX1067" fmla="*/ 1393508 w 2242184"/>
                  <a:gd name="connsiteY1067" fmla="*/ 447675 h 1686775"/>
                  <a:gd name="connsiteX1068" fmla="*/ 1388745 w 2242184"/>
                  <a:gd name="connsiteY1068" fmla="*/ 447675 h 1686775"/>
                  <a:gd name="connsiteX1069" fmla="*/ 1381125 w 2242184"/>
                  <a:gd name="connsiteY1069" fmla="*/ 447675 h 1686775"/>
                  <a:gd name="connsiteX1070" fmla="*/ 1373505 w 2242184"/>
                  <a:gd name="connsiteY1070" fmla="*/ 449580 h 1686775"/>
                  <a:gd name="connsiteX1071" fmla="*/ 1360170 w 2242184"/>
                  <a:gd name="connsiteY1071" fmla="*/ 449580 h 1686775"/>
                  <a:gd name="connsiteX1072" fmla="*/ 1354455 w 2242184"/>
                  <a:gd name="connsiteY1072" fmla="*/ 449580 h 1686775"/>
                  <a:gd name="connsiteX1073" fmla="*/ 1342073 w 2242184"/>
                  <a:gd name="connsiteY1073" fmla="*/ 452437 h 1686775"/>
                  <a:gd name="connsiteX1074" fmla="*/ 1339215 w 2242184"/>
                  <a:gd name="connsiteY1074" fmla="*/ 453390 h 1686775"/>
                  <a:gd name="connsiteX1075" fmla="*/ 1331595 w 2242184"/>
                  <a:gd name="connsiteY1075" fmla="*/ 455295 h 1686775"/>
                  <a:gd name="connsiteX1076" fmla="*/ 1325880 w 2242184"/>
                  <a:gd name="connsiteY1076" fmla="*/ 455295 h 1686775"/>
                  <a:gd name="connsiteX1077" fmla="*/ 1322070 w 2242184"/>
                  <a:gd name="connsiteY1077" fmla="*/ 455295 h 1686775"/>
                  <a:gd name="connsiteX1078" fmla="*/ 1320165 w 2242184"/>
                  <a:gd name="connsiteY1078" fmla="*/ 452437 h 1686775"/>
                  <a:gd name="connsiteX1079" fmla="*/ 1320165 w 2242184"/>
                  <a:gd name="connsiteY1079" fmla="*/ 449580 h 1686775"/>
                  <a:gd name="connsiteX1080" fmla="*/ 1322070 w 2242184"/>
                  <a:gd name="connsiteY1080" fmla="*/ 445770 h 1686775"/>
                  <a:gd name="connsiteX1081" fmla="*/ 1762125 w 2242184"/>
                  <a:gd name="connsiteY1081" fmla="*/ 147637 h 1686775"/>
                  <a:gd name="connsiteX1082" fmla="*/ 1762125 w 2242184"/>
                  <a:gd name="connsiteY1082" fmla="*/ 147637 h 1686775"/>
                  <a:gd name="connsiteX1083" fmla="*/ 1762125 w 2242184"/>
                  <a:gd name="connsiteY1083" fmla="*/ 147637 h 1686775"/>
                  <a:gd name="connsiteX1084" fmla="*/ 870585 w 2242184"/>
                  <a:gd name="connsiteY1084" fmla="*/ 141923 h 1686775"/>
                  <a:gd name="connsiteX1085" fmla="*/ 862965 w 2242184"/>
                  <a:gd name="connsiteY1085" fmla="*/ 145733 h 1686775"/>
                  <a:gd name="connsiteX1086" fmla="*/ 854393 w 2242184"/>
                  <a:gd name="connsiteY1086" fmla="*/ 146685 h 1686775"/>
                  <a:gd name="connsiteX1087" fmla="*/ 851535 w 2242184"/>
                  <a:gd name="connsiteY1087" fmla="*/ 146685 h 1686775"/>
                  <a:gd name="connsiteX1088" fmla="*/ 844868 w 2242184"/>
                  <a:gd name="connsiteY1088" fmla="*/ 146685 h 1686775"/>
                  <a:gd name="connsiteX1089" fmla="*/ 840105 w 2242184"/>
                  <a:gd name="connsiteY1089" fmla="*/ 147637 h 1686775"/>
                  <a:gd name="connsiteX1090" fmla="*/ 834390 w 2242184"/>
                  <a:gd name="connsiteY1090" fmla="*/ 149542 h 1686775"/>
                  <a:gd name="connsiteX1091" fmla="*/ 829628 w 2242184"/>
                  <a:gd name="connsiteY1091" fmla="*/ 147637 h 1686775"/>
                  <a:gd name="connsiteX1092" fmla="*/ 826770 w 2242184"/>
                  <a:gd name="connsiteY1092" fmla="*/ 145733 h 1686775"/>
                  <a:gd name="connsiteX1093" fmla="*/ 819150 w 2242184"/>
                  <a:gd name="connsiteY1093" fmla="*/ 144780 h 1686775"/>
                  <a:gd name="connsiteX1094" fmla="*/ 811530 w 2242184"/>
                  <a:gd name="connsiteY1094" fmla="*/ 144780 h 1686775"/>
                  <a:gd name="connsiteX1095" fmla="*/ 804863 w 2242184"/>
                  <a:gd name="connsiteY1095" fmla="*/ 144780 h 1686775"/>
                  <a:gd name="connsiteX1096" fmla="*/ 800100 w 2242184"/>
                  <a:gd name="connsiteY1096" fmla="*/ 142875 h 1686775"/>
                  <a:gd name="connsiteX1097" fmla="*/ 788670 w 2242184"/>
                  <a:gd name="connsiteY1097" fmla="*/ 142875 h 1686775"/>
                  <a:gd name="connsiteX1098" fmla="*/ 784860 w 2242184"/>
                  <a:gd name="connsiteY1098" fmla="*/ 142875 h 1686775"/>
                  <a:gd name="connsiteX1099" fmla="*/ 776288 w 2242184"/>
                  <a:gd name="connsiteY1099" fmla="*/ 141923 h 1686775"/>
                  <a:gd name="connsiteX1100" fmla="*/ 764858 w 2242184"/>
                  <a:gd name="connsiteY1100" fmla="*/ 140970 h 1686775"/>
                  <a:gd name="connsiteX1101" fmla="*/ 756285 w 2242184"/>
                  <a:gd name="connsiteY1101" fmla="*/ 140017 h 1686775"/>
                  <a:gd name="connsiteX1102" fmla="*/ 750570 w 2242184"/>
                  <a:gd name="connsiteY1102" fmla="*/ 135255 h 1686775"/>
                  <a:gd name="connsiteX1103" fmla="*/ 751523 w 2242184"/>
                  <a:gd name="connsiteY1103" fmla="*/ 133350 h 1686775"/>
                  <a:gd name="connsiteX1104" fmla="*/ 754380 w 2242184"/>
                  <a:gd name="connsiteY1104" fmla="*/ 131445 h 1686775"/>
                  <a:gd name="connsiteX1105" fmla="*/ 760095 w 2242184"/>
                  <a:gd name="connsiteY1105" fmla="*/ 131445 h 1686775"/>
                  <a:gd name="connsiteX1106" fmla="*/ 771525 w 2242184"/>
                  <a:gd name="connsiteY1106" fmla="*/ 131445 h 1686775"/>
                  <a:gd name="connsiteX1107" fmla="*/ 776288 w 2242184"/>
                  <a:gd name="connsiteY1107" fmla="*/ 131445 h 1686775"/>
                  <a:gd name="connsiteX1108" fmla="*/ 783908 w 2242184"/>
                  <a:gd name="connsiteY1108" fmla="*/ 131445 h 1686775"/>
                  <a:gd name="connsiteX1109" fmla="*/ 792480 w 2242184"/>
                  <a:gd name="connsiteY1109" fmla="*/ 129540 h 1686775"/>
                  <a:gd name="connsiteX1110" fmla="*/ 794385 w 2242184"/>
                  <a:gd name="connsiteY1110" fmla="*/ 129540 h 1686775"/>
                  <a:gd name="connsiteX1111" fmla="*/ 793433 w 2242184"/>
                  <a:gd name="connsiteY1111" fmla="*/ 129540 h 1686775"/>
                  <a:gd name="connsiteX1112" fmla="*/ 793433 w 2242184"/>
                  <a:gd name="connsiteY1112" fmla="*/ 129540 h 1686775"/>
                  <a:gd name="connsiteX1113" fmla="*/ 792480 w 2242184"/>
                  <a:gd name="connsiteY1113" fmla="*/ 129540 h 1686775"/>
                  <a:gd name="connsiteX1114" fmla="*/ 793433 w 2242184"/>
                  <a:gd name="connsiteY1114" fmla="*/ 129540 h 1686775"/>
                  <a:gd name="connsiteX1115" fmla="*/ 793433 w 2242184"/>
                  <a:gd name="connsiteY1115" fmla="*/ 129540 h 1686775"/>
                  <a:gd name="connsiteX1116" fmla="*/ 794385 w 2242184"/>
                  <a:gd name="connsiteY1116" fmla="*/ 129540 h 1686775"/>
                  <a:gd name="connsiteX1117" fmla="*/ 802958 w 2242184"/>
                  <a:gd name="connsiteY1117" fmla="*/ 128587 h 1686775"/>
                  <a:gd name="connsiteX1118" fmla="*/ 805815 w 2242184"/>
                  <a:gd name="connsiteY1118" fmla="*/ 128587 h 1686775"/>
                  <a:gd name="connsiteX1119" fmla="*/ 815340 w 2242184"/>
                  <a:gd name="connsiteY1119" fmla="*/ 128587 h 1686775"/>
                  <a:gd name="connsiteX1120" fmla="*/ 822008 w 2242184"/>
                  <a:gd name="connsiteY1120" fmla="*/ 128587 h 1686775"/>
                  <a:gd name="connsiteX1121" fmla="*/ 827723 w 2242184"/>
                  <a:gd name="connsiteY1121" fmla="*/ 129540 h 1686775"/>
                  <a:gd name="connsiteX1122" fmla="*/ 832485 w 2242184"/>
                  <a:gd name="connsiteY1122" fmla="*/ 130492 h 1686775"/>
                  <a:gd name="connsiteX1123" fmla="*/ 832485 w 2242184"/>
                  <a:gd name="connsiteY1123" fmla="*/ 131445 h 1686775"/>
                  <a:gd name="connsiteX1124" fmla="*/ 840105 w 2242184"/>
                  <a:gd name="connsiteY1124" fmla="*/ 135255 h 1686775"/>
                  <a:gd name="connsiteX1125" fmla="*/ 842963 w 2242184"/>
                  <a:gd name="connsiteY1125" fmla="*/ 136208 h 1686775"/>
                  <a:gd name="connsiteX1126" fmla="*/ 852488 w 2242184"/>
                  <a:gd name="connsiteY1126" fmla="*/ 131445 h 1686775"/>
                  <a:gd name="connsiteX1127" fmla="*/ 857250 w 2242184"/>
                  <a:gd name="connsiteY1127" fmla="*/ 132398 h 1686775"/>
                  <a:gd name="connsiteX1128" fmla="*/ 862013 w 2242184"/>
                  <a:gd name="connsiteY1128" fmla="*/ 131445 h 1686775"/>
                  <a:gd name="connsiteX1129" fmla="*/ 869633 w 2242184"/>
                  <a:gd name="connsiteY1129" fmla="*/ 132398 h 1686775"/>
                  <a:gd name="connsiteX1130" fmla="*/ 872490 w 2242184"/>
                  <a:gd name="connsiteY1130" fmla="*/ 134303 h 1686775"/>
                  <a:gd name="connsiteX1131" fmla="*/ 873443 w 2242184"/>
                  <a:gd name="connsiteY1131" fmla="*/ 136208 h 1686775"/>
                  <a:gd name="connsiteX1132" fmla="*/ 870585 w 2242184"/>
                  <a:gd name="connsiteY1132" fmla="*/ 141923 h 1686775"/>
                  <a:gd name="connsiteX1133" fmla="*/ 1010603 w 2242184"/>
                  <a:gd name="connsiteY1133" fmla="*/ 202883 h 1686775"/>
                  <a:gd name="connsiteX1134" fmla="*/ 1005840 w 2242184"/>
                  <a:gd name="connsiteY1134" fmla="*/ 204787 h 1686775"/>
                  <a:gd name="connsiteX1135" fmla="*/ 1000125 w 2242184"/>
                  <a:gd name="connsiteY1135" fmla="*/ 206692 h 1686775"/>
                  <a:gd name="connsiteX1136" fmla="*/ 992505 w 2242184"/>
                  <a:gd name="connsiteY1136" fmla="*/ 206692 h 1686775"/>
                  <a:gd name="connsiteX1137" fmla="*/ 984885 w 2242184"/>
                  <a:gd name="connsiteY1137" fmla="*/ 207645 h 1686775"/>
                  <a:gd name="connsiteX1138" fmla="*/ 977265 w 2242184"/>
                  <a:gd name="connsiteY1138" fmla="*/ 209550 h 1686775"/>
                  <a:gd name="connsiteX1139" fmla="*/ 969645 w 2242184"/>
                  <a:gd name="connsiteY1139" fmla="*/ 212408 h 1686775"/>
                  <a:gd name="connsiteX1140" fmla="*/ 963930 w 2242184"/>
                  <a:gd name="connsiteY1140" fmla="*/ 213360 h 1686775"/>
                  <a:gd name="connsiteX1141" fmla="*/ 961073 w 2242184"/>
                  <a:gd name="connsiteY1141" fmla="*/ 217170 h 1686775"/>
                  <a:gd name="connsiteX1142" fmla="*/ 953453 w 2242184"/>
                  <a:gd name="connsiteY1142" fmla="*/ 219075 h 1686775"/>
                  <a:gd name="connsiteX1143" fmla="*/ 943928 w 2242184"/>
                  <a:gd name="connsiteY1143" fmla="*/ 220980 h 1686775"/>
                  <a:gd name="connsiteX1144" fmla="*/ 935355 w 2242184"/>
                  <a:gd name="connsiteY1144" fmla="*/ 220980 h 1686775"/>
                  <a:gd name="connsiteX1145" fmla="*/ 925830 w 2242184"/>
                  <a:gd name="connsiteY1145" fmla="*/ 220980 h 1686775"/>
                  <a:gd name="connsiteX1146" fmla="*/ 917258 w 2242184"/>
                  <a:gd name="connsiteY1146" fmla="*/ 220980 h 1686775"/>
                  <a:gd name="connsiteX1147" fmla="*/ 910590 w 2242184"/>
                  <a:gd name="connsiteY1147" fmla="*/ 221933 h 1686775"/>
                  <a:gd name="connsiteX1148" fmla="*/ 903923 w 2242184"/>
                  <a:gd name="connsiteY1148" fmla="*/ 224790 h 1686775"/>
                  <a:gd name="connsiteX1149" fmla="*/ 895350 w 2242184"/>
                  <a:gd name="connsiteY1149" fmla="*/ 226695 h 1686775"/>
                  <a:gd name="connsiteX1150" fmla="*/ 887730 w 2242184"/>
                  <a:gd name="connsiteY1150" fmla="*/ 227648 h 1686775"/>
                  <a:gd name="connsiteX1151" fmla="*/ 886778 w 2242184"/>
                  <a:gd name="connsiteY1151" fmla="*/ 221933 h 1686775"/>
                  <a:gd name="connsiteX1152" fmla="*/ 887730 w 2242184"/>
                  <a:gd name="connsiteY1152" fmla="*/ 220980 h 1686775"/>
                  <a:gd name="connsiteX1153" fmla="*/ 892493 w 2242184"/>
                  <a:gd name="connsiteY1153" fmla="*/ 220028 h 1686775"/>
                  <a:gd name="connsiteX1154" fmla="*/ 895350 w 2242184"/>
                  <a:gd name="connsiteY1154" fmla="*/ 219075 h 1686775"/>
                  <a:gd name="connsiteX1155" fmla="*/ 902018 w 2242184"/>
                  <a:gd name="connsiteY1155" fmla="*/ 216217 h 1686775"/>
                  <a:gd name="connsiteX1156" fmla="*/ 910590 w 2242184"/>
                  <a:gd name="connsiteY1156" fmla="*/ 214312 h 1686775"/>
                  <a:gd name="connsiteX1157" fmla="*/ 918210 w 2242184"/>
                  <a:gd name="connsiteY1157" fmla="*/ 211455 h 1686775"/>
                  <a:gd name="connsiteX1158" fmla="*/ 922020 w 2242184"/>
                  <a:gd name="connsiteY1158" fmla="*/ 206692 h 1686775"/>
                  <a:gd name="connsiteX1159" fmla="*/ 928688 w 2242184"/>
                  <a:gd name="connsiteY1159" fmla="*/ 206692 h 1686775"/>
                  <a:gd name="connsiteX1160" fmla="*/ 931545 w 2242184"/>
                  <a:gd name="connsiteY1160" fmla="*/ 206692 h 1686775"/>
                  <a:gd name="connsiteX1161" fmla="*/ 942975 w 2242184"/>
                  <a:gd name="connsiteY1161" fmla="*/ 205740 h 1686775"/>
                  <a:gd name="connsiteX1162" fmla="*/ 949643 w 2242184"/>
                  <a:gd name="connsiteY1162" fmla="*/ 206692 h 1686775"/>
                  <a:gd name="connsiteX1163" fmla="*/ 956310 w 2242184"/>
                  <a:gd name="connsiteY1163" fmla="*/ 206692 h 1686775"/>
                  <a:gd name="connsiteX1164" fmla="*/ 965835 w 2242184"/>
                  <a:gd name="connsiteY1164" fmla="*/ 204787 h 1686775"/>
                  <a:gd name="connsiteX1165" fmla="*/ 971550 w 2242184"/>
                  <a:gd name="connsiteY1165" fmla="*/ 201930 h 1686775"/>
                  <a:gd name="connsiteX1166" fmla="*/ 977265 w 2242184"/>
                  <a:gd name="connsiteY1166" fmla="*/ 199073 h 1686775"/>
                  <a:gd name="connsiteX1167" fmla="*/ 982028 w 2242184"/>
                  <a:gd name="connsiteY1167" fmla="*/ 197167 h 1686775"/>
                  <a:gd name="connsiteX1168" fmla="*/ 986790 w 2242184"/>
                  <a:gd name="connsiteY1168" fmla="*/ 196215 h 1686775"/>
                  <a:gd name="connsiteX1169" fmla="*/ 997268 w 2242184"/>
                  <a:gd name="connsiteY1169" fmla="*/ 195262 h 1686775"/>
                  <a:gd name="connsiteX1170" fmla="*/ 1002030 w 2242184"/>
                  <a:gd name="connsiteY1170" fmla="*/ 193358 h 1686775"/>
                  <a:gd name="connsiteX1171" fmla="*/ 1013460 w 2242184"/>
                  <a:gd name="connsiteY1171" fmla="*/ 192405 h 1686775"/>
                  <a:gd name="connsiteX1172" fmla="*/ 1015365 w 2242184"/>
                  <a:gd name="connsiteY1172" fmla="*/ 194310 h 1686775"/>
                  <a:gd name="connsiteX1173" fmla="*/ 1010603 w 2242184"/>
                  <a:gd name="connsiteY1173" fmla="*/ 202883 h 1686775"/>
                  <a:gd name="connsiteX1174" fmla="*/ 1220153 w 2242184"/>
                  <a:gd name="connsiteY1174" fmla="*/ 380048 h 1686775"/>
                  <a:gd name="connsiteX1175" fmla="*/ 1218248 w 2242184"/>
                  <a:gd name="connsiteY1175" fmla="*/ 374333 h 1686775"/>
                  <a:gd name="connsiteX1176" fmla="*/ 1212533 w 2242184"/>
                  <a:gd name="connsiteY1176" fmla="*/ 371475 h 1686775"/>
                  <a:gd name="connsiteX1177" fmla="*/ 1210628 w 2242184"/>
                  <a:gd name="connsiteY1177" fmla="*/ 369570 h 1686775"/>
                  <a:gd name="connsiteX1178" fmla="*/ 1210628 w 2242184"/>
                  <a:gd name="connsiteY1178" fmla="*/ 367665 h 1686775"/>
                  <a:gd name="connsiteX1179" fmla="*/ 1208723 w 2242184"/>
                  <a:gd name="connsiteY1179" fmla="*/ 364808 h 1686775"/>
                  <a:gd name="connsiteX1180" fmla="*/ 1203960 w 2242184"/>
                  <a:gd name="connsiteY1180" fmla="*/ 362903 h 1686775"/>
                  <a:gd name="connsiteX1181" fmla="*/ 1200150 w 2242184"/>
                  <a:gd name="connsiteY1181" fmla="*/ 362903 h 1686775"/>
                  <a:gd name="connsiteX1182" fmla="*/ 1193483 w 2242184"/>
                  <a:gd name="connsiteY1182" fmla="*/ 360998 h 1686775"/>
                  <a:gd name="connsiteX1183" fmla="*/ 1188720 w 2242184"/>
                  <a:gd name="connsiteY1183" fmla="*/ 358140 h 1686775"/>
                  <a:gd name="connsiteX1184" fmla="*/ 1185863 w 2242184"/>
                  <a:gd name="connsiteY1184" fmla="*/ 355283 h 1686775"/>
                  <a:gd name="connsiteX1185" fmla="*/ 1184910 w 2242184"/>
                  <a:gd name="connsiteY1185" fmla="*/ 353378 h 1686775"/>
                  <a:gd name="connsiteX1186" fmla="*/ 1185863 w 2242184"/>
                  <a:gd name="connsiteY1186" fmla="*/ 351473 h 1686775"/>
                  <a:gd name="connsiteX1187" fmla="*/ 1187768 w 2242184"/>
                  <a:gd name="connsiteY1187" fmla="*/ 347662 h 1686775"/>
                  <a:gd name="connsiteX1188" fmla="*/ 1190625 w 2242184"/>
                  <a:gd name="connsiteY1188" fmla="*/ 346710 h 1686775"/>
                  <a:gd name="connsiteX1189" fmla="*/ 1196340 w 2242184"/>
                  <a:gd name="connsiteY1189" fmla="*/ 345758 h 1686775"/>
                  <a:gd name="connsiteX1190" fmla="*/ 1200150 w 2242184"/>
                  <a:gd name="connsiteY1190" fmla="*/ 345758 h 1686775"/>
                  <a:gd name="connsiteX1191" fmla="*/ 1203960 w 2242184"/>
                  <a:gd name="connsiteY1191" fmla="*/ 345758 h 1686775"/>
                  <a:gd name="connsiteX1192" fmla="*/ 1207770 w 2242184"/>
                  <a:gd name="connsiteY1192" fmla="*/ 343853 h 1686775"/>
                  <a:gd name="connsiteX1193" fmla="*/ 1213485 w 2242184"/>
                  <a:gd name="connsiteY1193" fmla="*/ 343853 h 1686775"/>
                  <a:gd name="connsiteX1194" fmla="*/ 1218248 w 2242184"/>
                  <a:gd name="connsiteY1194" fmla="*/ 343853 h 1686775"/>
                  <a:gd name="connsiteX1195" fmla="*/ 1221105 w 2242184"/>
                  <a:gd name="connsiteY1195" fmla="*/ 344805 h 1686775"/>
                  <a:gd name="connsiteX1196" fmla="*/ 1225868 w 2242184"/>
                  <a:gd name="connsiteY1196" fmla="*/ 348615 h 1686775"/>
                  <a:gd name="connsiteX1197" fmla="*/ 1226820 w 2242184"/>
                  <a:gd name="connsiteY1197" fmla="*/ 350520 h 1686775"/>
                  <a:gd name="connsiteX1198" fmla="*/ 1227773 w 2242184"/>
                  <a:gd name="connsiteY1198" fmla="*/ 352425 h 1686775"/>
                  <a:gd name="connsiteX1199" fmla="*/ 1226820 w 2242184"/>
                  <a:gd name="connsiteY1199" fmla="*/ 356235 h 1686775"/>
                  <a:gd name="connsiteX1200" fmla="*/ 1226820 w 2242184"/>
                  <a:gd name="connsiteY1200" fmla="*/ 359093 h 1686775"/>
                  <a:gd name="connsiteX1201" fmla="*/ 1232535 w 2242184"/>
                  <a:gd name="connsiteY1201" fmla="*/ 362903 h 1686775"/>
                  <a:gd name="connsiteX1202" fmla="*/ 1239203 w 2242184"/>
                  <a:gd name="connsiteY1202" fmla="*/ 364808 h 1686775"/>
                  <a:gd name="connsiteX1203" fmla="*/ 1244918 w 2242184"/>
                  <a:gd name="connsiteY1203" fmla="*/ 368618 h 1686775"/>
                  <a:gd name="connsiteX1204" fmla="*/ 1245870 w 2242184"/>
                  <a:gd name="connsiteY1204" fmla="*/ 372427 h 1686775"/>
                  <a:gd name="connsiteX1205" fmla="*/ 1246823 w 2242184"/>
                  <a:gd name="connsiteY1205" fmla="*/ 375285 h 1686775"/>
                  <a:gd name="connsiteX1206" fmla="*/ 1249680 w 2242184"/>
                  <a:gd name="connsiteY1206" fmla="*/ 378143 h 1686775"/>
                  <a:gd name="connsiteX1207" fmla="*/ 1250633 w 2242184"/>
                  <a:gd name="connsiteY1207" fmla="*/ 380048 h 1686775"/>
                  <a:gd name="connsiteX1208" fmla="*/ 1249680 w 2242184"/>
                  <a:gd name="connsiteY1208" fmla="*/ 384810 h 1686775"/>
                  <a:gd name="connsiteX1209" fmla="*/ 1247775 w 2242184"/>
                  <a:gd name="connsiteY1209" fmla="*/ 389573 h 1686775"/>
                  <a:gd name="connsiteX1210" fmla="*/ 1244918 w 2242184"/>
                  <a:gd name="connsiteY1210" fmla="*/ 392430 h 1686775"/>
                  <a:gd name="connsiteX1211" fmla="*/ 1237298 w 2242184"/>
                  <a:gd name="connsiteY1211" fmla="*/ 392430 h 1686775"/>
                  <a:gd name="connsiteX1212" fmla="*/ 1231583 w 2242184"/>
                  <a:gd name="connsiteY1212" fmla="*/ 392430 h 1686775"/>
                  <a:gd name="connsiteX1213" fmla="*/ 1225868 w 2242184"/>
                  <a:gd name="connsiteY1213" fmla="*/ 390525 h 1686775"/>
                  <a:gd name="connsiteX1214" fmla="*/ 1220153 w 2242184"/>
                  <a:gd name="connsiteY1214" fmla="*/ 380048 h 168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Lst>
                <a:rect l="l" t="t" r="r" b="b"/>
                <a:pathLst>
                  <a:path w="2242184" h="1686775">
                    <a:moveTo>
                      <a:pt x="2242185" y="1098233"/>
                    </a:moveTo>
                    <a:lnTo>
                      <a:pt x="2238375" y="1078230"/>
                    </a:lnTo>
                    <a:lnTo>
                      <a:pt x="2238375" y="1068705"/>
                    </a:lnTo>
                    <a:lnTo>
                      <a:pt x="2238375" y="1062990"/>
                    </a:lnTo>
                    <a:lnTo>
                      <a:pt x="2227898" y="1052513"/>
                    </a:lnTo>
                    <a:lnTo>
                      <a:pt x="2212658" y="1049655"/>
                    </a:lnTo>
                    <a:lnTo>
                      <a:pt x="2188845" y="1042035"/>
                    </a:lnTo>
                    <a:lnTo>
                      <a:pt x="2180273" y="1037273"/>
                    </a:lnTo>
                    <a:lnTo>
                      <a:pt x="2165033" y="1034415"/>
                    </a:lnTo>
                    <a:lnTo>
                      <a:pt x="2153603" y="1032510"/>
                    </a:lnTo>
                    <a:lnTo>
                      <a:pt x="2118360" y="1026795"/>
                    </a:lnTo>
                    <a:lnTo>
                      <a:pt x="2109788" y="1024890"/>
                    </a:lnTo>
                    <a:lnTo>
                      <a:pt x="2087880" y="1020127"/>
                    </a:lnTo>
                    <a:lnTo>
                      <a:pt x="2070735" y="1015365"/>
                    </a:lnTo>
                    <a:lnTo>
                      <a:pt x="2059305" y="1013460"/>
                    </a:lnTo>
                    <a:lnTo>
                      <a:pt x="2045970" y="1010602"/>
                    </a:lnTo>
                    <a:cubicBezTo>
                      <a:pt x="2045970" y="1010602"/>
                      <a:pt x="2044065" y="1011555"/>
                      <a:pt x="2037398" y="1005840"/>
                    </a:cubicBezTo>
                    <a:cubicBezTo>
                      <a:pt x="2030730" y="1000125"/>
                      <a:pt x="2022158" y="992505"/>
                      <a:pt x="2022158" y="992505"/>
                    </a:cubicBezTo>
                    <a:lnTo>
                      <a:pt x="2006918" y="979170"/>
                    </a:lnTo>
                    <a:lnTo>
                      <a:pt x="2000250" y="970598"/>
                    </a:lnTo>
                    <a:lnTo>
                      <a:pt x="1993583" y="963930"/>
                    </a:lnTo>
                    <a:lnTo>
                      <a:pt x="1969770" y="950595"/>
                    </a:lnTo>
                    <a:lnTo>
                      <a:pt x="1954530" y="944880"/>
                    </a:lnTo>
                    <a:lnTo>
                      <a:pt x="1937385" y="939165"/>
                    </a:lnTo>
                    <a:lnTo>
                      <a:pt x="1910715" y="934402"/>
                    </a:lnTo>
                    <a:cubicBezTo>
                      <a:pt x="1910715" y="934402"/>
                      <a:pt x="1910715" y="937260"/>
                      <a:pt x="1902143" y="934402"/>
                    </a:cubicBezTo>
                    <a:cubicBezTo>
                      <a:pt x="1893570" y="931545"/>
                      <a:pt x="1880235" y="928688"/>
                      <a:pt x="1880235" y="928688"/>
                    </a:cubicBezTo>
                    <a:lnTo>
                      <a:pt x="1866900" y="922973"/>
                    </a:lnTo>
                    <a:lnTo>
                      <a:pt x="1858328" y="911543"/>
                    </a:lnTo>
                    <a:lnTo>
                      <a:pt x="1841183" y="902970"/>
                    </a:lnTo>
                    <a:lnTo>
                      <a:pt x="1830705" y="897255"/>
                    </a:lnTo>
                    <a:lnTo>
                      <a:pt x="1804035" y="889635"/>
                    </a:lnTo>
                    <a:lnTo>
                      <a:pt x="1784033" y="887730"/>
                    </a:lnTo>
                    <a:lnTo>
                      <a:pt x="1740218" y="887730"/>
                    </a:lnTo>
                    <a:lnTo>
                      <a:pt x="1720215" y="887730"/>
                    </a:lnTo>
                    <a:lnTo>
                      <a:pt x="1706880" y="887730"/>
                    </a:lnTo>
                    <a:lnTo>
                      <a:pt x="1674495" y="879158"/>
                    </a:lnTo>
                    <a:lnTo>
                      <a:pt x="1652588" y="880110"/>
                    </a:lnTo>
                    <a:lnTo>
                      <a:pt x="1644015" y="878205"/>
                    </a:lnTo>
                    <a:cubicBezTo>
                      <a:pt x="1644015" y="878205"/>
                      <a:pt x="1630680" y="873443"/>
                      <a:pt x="1622108" y="878205"/>
                    </a:cubicBezTo>
                    <a:cubicBezTo>
                      <a:pt x="1613535" y="882015"/>
                      <a:pt x="1590675" y="884873"/>
                      <a:pt x="1590675" y="884873"/>
                    </a:cubicBezTo>
                    <a:cubicBezTo>
                      <a:pt x="1587818" y="893445"/>
                      <a:pt x="1572578" y="896302"/>
                      <a:pt x="1572578" y="896302"/>
                    </a:cubicBezTo>
                    <a:lnTo>
                      <a:pt x="1557338" y="897255"/>
                    </a:lnTo>
                    <a:lnTo>
                      <a:pt x="1524000" y="900113"/>
                    </a:lnTo>
                    <a:lnTo>
                      <a:pt x="1508760" y="900113"/>
                    </a:lnTo>
                    <a:lnTo>
                      <a:pt x="1500188" y="900113"/>
                    </a:lnTo>
                    <a:lnTo>
                      <a:pt x="1480185" y="897255"/>
                    </a:lnTo>
                    <a:lnTo>
                      <a:pt x="1466850" y="894398"/>
                    </a:lnTo>
                    <a:lnTo>
                      <a:pt x="1458278" y="882015"/>
                    </a:lnTo>
                    <a:lnTo>
                      <a:pt x="1458278" y="875348"/>
                    </a:lnTo>
                    <a:lnTo>
                      <a:pt x="1458278" y="866775"/>
                    </a:lnTo>
                    <a:lnTo>
                      <a:pt x="1456373" y="855345"/>
                    </a:lnTo>
                    <a:lnTo>
                      <a:pt x="1454468" y="838200"/>
                    </a:lnTo>
                    <a:lnTo>
                      <a:pt x="1445895" y="832485"/>
                    </a:lnTo>
                    <a:lnTo>
                      <a:pt x="1432560" y="830580"/>
                    </a:lnTo>
                    <a:lnTo>
                      <a:pt x="1423988" y="828675"/>
                    </a:lnTo>
                    <a:lnTo>
                      <a:pt x="1403985" y="821055"/>
                    </a:lnTo>
                    <a:lnTo>
                      <a:pt x="1392555" y="821055"/>
                    </a:lnTo>
                    <a:lnTo>
                      <a:pt x="1379220" y="821055"/>
                    </a:lnTo>
                    <a:lnTo>
                      <a:pt x="1367790" y="821055"/>
                    </a:lnTo>
                    <a:lnTo>
                      <a:pt x="1359218" y="815340"/>
                    </a:lnTo>
                    <a:lnTo>
                      <a:pt x="1370648" y="811530"/>
                    </a:lnTo>
                    <a:lnTo>
                      <a:pt x="1382078" y="808673"/>
                    </a:lnTo>
                    <a:lnTo>
                      <a:pt x="1386840" y="802958"/>
                    </a:lnTo>
                    <a:lnTo>
                      <a:pt x="1386840" y="797243"/>
                    </a:lnTo>
                    <a:lnTo>
                      <a:pt x="1384935" y="784860"/>
                    </a:lnTo>
                    <a:lnTo>
                      <a:pt x="1384935" y="776288"/>
                    </a:lnTo>
                    <a:lnTo>
                      <a:pt x="1391603" y="767715"/>
                    </a:lnTo>
                    <a:lnTo>
                      <a:pt x="1394460" y="759143"/>
                    </a:lnTo>
                    <a:cubicBezTo>
                      <a:pt x="1394460" y="759143"/>
                      <a:pt x="1385888" y="751523"/>
                      <a:pt x="1377315" y="754380"/>
                    </a:cubicBezTo>
                    <a:cubicBezTo>
                      <a:pt x="1368743" y="757238"/>
                      <a:pt x="1357313" y="752475"/>
                      <a:pt x="1359218" y="757238"/>
                    </a:cubicBezTo>
                    <a:cubicBezTo>
                      <a:pt x="1361123" y="761048"/>
                      <a:pt x="1361123" y="761048"/>
                      <a:pt x="1361123" y="761048"/>
                    </a:cubicBezTo>
                    <a:lnTo>
                      <a:pt x="1347788" y="761048"/>
                    </a:lnTo>
                    <a:cubicBezTo>
                      <a:pt x="1347788" y="761048"/>
                      <a:pt x="1332548" y="759143"/>
                      <a:pt x="1332548" y="763905"/>
                    </a:cubicBezTo>
                    <a:cubicBezTo>
                      <a:pt x="1332548" y="767715"/>
                      <a:pt x="1334453" y="761048"/>
                      <a:pt x="1332548" y="767715"/>
                    </a:cubicBezTo>
                    <a:cubicBezTo>
                      <a:pt x="1330643" y="774383"/>
                      <a:pt x="1317308" y="771525"/>
                      <a:pt x="1319213" y="777240"/>
                    </a:cubicBezTo>
                    <a:cubicBezTo>
                      <a:pt x="1321118" y="782955"/>
                      <a:pt x="1312545" y="785813"/>
                      <a:pt x="1312545" y="785813"/>
                    </a:cubicBezTo>
                    <a:lnTo>
                      <a:pt x="1299210" y="788670"/>
                    </a:lnTo>
                    <a:lnTo>
                      <a:pt x="1290638" y="789623"/>
                    </a:lnTo>
                    <a:cubicBezTo>
                      <a:pt x="1290638" y="789623"/>
                      <a:pt x="1285875" y="790575"/>
                      <a:pt x="1279208" y="790575"/>
                    </a:cubicBezTo>
                    <a:cubicBezTo>
                      <a:pt x="1272540" y="790575"/>
                      <a:pt x="1263968" y="790575"/>
                      <a:pt x="1263968" y="790575"/>
                    </a:cubicBezTo>
                    <a:lnTo>
                      <a:pt x="1253490" y="784860"/>
                    </a:lnTo>
                    <a:lnTo>
                      <a:pt x="1244918" y="777240"/>
                    </a:lnTo>
                    <a:lnTo>
                      <a:pt x="1236345" y="771525"/>
                    </a:lnTo>
                    <a:lnTo>
                      <a:pt x="1229678" y="765810"/>
                    </a:lnTo>
                    <a:lnTo>
                      <a:pt x="1225868" y="757238"/>
                    </a:lnTo>
                    <a:cubicBezTo>
                      <a:pt x="1225868" y="757238"/>
                      <a:pt x="1223963" y="751523"/>
                      <a:pt x="1223963" y="747713"/>
                    </a:cubicBezTo>
                    <a:cubicBezTo>
                      <a:pt x="1223963" y="743902"/>
                      <a:pt x="1223963" y="733425"/>
                      <a:pt x="1223963" y="733425"/>
                    </a:cubicBezTo>
                    <a:lnTo>
                      <a:pt x="1223963" y="723900"/>
                    </a:lnTo>
                    <a:lnTo>
                      <a:pt x="1217295" y="715327"/>
                    </a:lnTo>
                    <a:lnTo>
                      <a:pt x="1215390" y="700088"/>
                    </a:lnTo>
                    <a:lnTo>
                      <a:pt x="1217295" y="694373"/>
                    </a:lnTo>
                    <a:lnTo>
                      <a:pt x="1223963" y="684848"/>
                    </a:lnTo>
                    <a:lnTo>
                      <a:pt x="1238250" y="675323"/>
                    </a:lnTo>
                    <a:lnTo>
                      <a:pt x="1258253" y="674370"/>
                    </a:lnTo>
                    <a:cubicBezTo>
                      <a:pt x="1258253" y="674370"/>
                      <a:pt x="1264920" y="671513"/>
                      <a:pt x="1271588" y="673418"/>
                    </a:cubicBezTo>
                    <a:cubicBezTo>
                      <a:pt x="1278255" y="675323"/>
                      <a:pt x="1264920" y="674370"/>
                      <a:pt x="1278255" y="675323"/>
                    </a:cubicBezTo>
                    <a:cubicBezTo>
                      <a:pt x="1291590" y="675323"/>
                      <a:pt x="1278255" y="675323"/>
                      <a:pt x="1291590" y="675323"/>
                    </a:cubicBezTo>
                    <a:cubicBezTo>
                      <a:pt x="1304925" y="675323"/>
                      <a:pt x="1304925" y="671513"/>
                      <a:pt x="1313498" y="674370"/>
                    </a:cubicBezTo>
                    <a:cubicBezTo>
                      <a:pt x="1322070" y="677227"/>
                      <a:pt x="1304925" y="677227"/>
                      <a:pt x="1322070" y="677227"/>
                    </a:cubicBezTo>
                    <a:cubicBezTo>
                      <a:pt x="1339215" y="677227"/>
                      <a:pt x="1330643" y="679133"/>
                      <a:pt x="1339215" y="677227"/>
                    </a:cubicBezTo>
                    <a:cubicBezTo>
                      <a:pt x="1347788" y="676275"/>
                      <a:pt x="1347788" y="676275"/>
                      <a:pt x="1347788" y="676275"/>
                    </a:cubicBezTo>
                    <a:lnTo>
                      <a:pt x="1365885" y="673418"/>
                    </a:lnTo>
                    <a:cubicBezTo>
                      <a:pt x="1365885" y="673418"/>
                      <a:pt x="1370648" y="672465"/>
                      <a:pt x="1377315" y="672465"/>
                    </a:cubicBezTo>
                    <a:cubicBezTo>
                      <a:pt x="1383983" y="672465"/>
                      <a:pt x="1414463" y="671513"/>
                      <a:pt x="1414463" y="671513"/>
                    </a:cubicBezTo>
                    <a:lnTo>
                      <a:pt x="1436370" y="674370"/>
                    </a:lnTo>
                    <a:lnTo>
                      <a:pt x="1449705" y="677227"/>
                    </a:lnTo>
                    <a:cubicBezTo>
                      <a:pt x="1449705" y="677227"/>
                      <a:pt x="1456373" y="673418"/>
                      <a:pt x="1458278" y="679133"/>
                    </a:cubicBezTo>
                    <a:cubicBezTo>
                      <a:pt x="1460183" y="684848"/>
                      <a:pt x="1460183" y="684848"/>
                      <a:pt x="1460183" y="684848"/>
                    </a:cubicBezTo>
                    <a:cubicBezTo>
                      <a:pt x="1463993" y="701993"/>
                      <a:pt x="1463993" y="701993"/>
                      <a:pt x="1463993" y="701993"/>
                    </a:cubicBezTo>
                    <a:cubicBezTo>
                      <a:pt x="1463993" y="701993"/>
                      <a:pt x="1461135" y="716280"/>
                      <a:pt x="1467803" y="720090"/>
                    </a:cubicBezTo>
                    <a:cubicBezTo>
                      <a:pt x="1474470" y="724852"/>
                      <a:pt x="1474470" y="724852"/>
                      <a:pt x="1474470" y="724852"/>
                    </a:cubicBezTo>
                    <a:lnTo>
                      <a:pt x="1498283" y="730568"/>
                    </a:lnTo>
                    <a:lnTo>
                      <a:pt x="1506855" y="727710"/>
                    </a:lnTo>
                    <a:lnTo>
                      <a:pt x="1513523" y="721043"/>
                    </a:lnTo>
                    <a:lnTo>
                      <a:pt x="1516380" y="708660"/>
                    </a:lnTo>
                    <a:lnTo>
                      <a:pt x="1518285" y="702945"/>
                    </a:lnTo>
                    <a:lnTo>
                      <a:pt x="1509713" y="682943"/>
                    </a:lnTo>
                    <a:lnTo>
                      <a:pt x="1503045" y="676275"/>
                    </a:lnTo>
                    <a:lnTo>
                      <a:pt x="1501140" y="667702"/>
                    </a:lnTo>
                    <a:lnTo>
                      <a:pt x="1499235" y="659130"/>
                    </a:lnTo>
                    <a:lnTo>
                      <a:pt x="1497330" y="641985"/>
                    </a:lnTo>
                    <a:lnTo>
                      <a:pt x="1512570" y="633413"/>
                    </a:lnTo>
                    <a:lnTo>
                      <a:pt x="1521143" y="633413"/>
                    </a:lnTo>
                    <a:lnTo>
                      <a:pt x="1547813" y="629602"/>
                    </a:lnTo>
                    <a:lnTo>
                      <a:pt x="1556385" y="625793"/>
                    </a:lnTo>
                    <a:lnTo>
                      <a:pt x="1561148" y="620077"/>
                    </a:lnTo>
                    <a:lnTo>
                      <a:pt x="1583055" y="605790"/>
                    </a:lnTo>
                    <a:lnTo>
                      <a:pt x="1587818" y="597218"/>
                    </a:lnTo>
                    <a:lnTo>
                      <a:pt x="1587818" y="591502"/>
                    </a:lnTo>
                    <a:lnTo>
                      <a:pt x="1587818" y="585788"/>
                    </a:lnTo>
                    <a:lnTo>
                      <a:pt x="1581150" y="574358"/>
                    </a:lnTo>
                    <a:lnTo>
                      <a:pt x="1592580" y="564833"/>
                    </a:lnTo>
                    <a:lnTo>
                      <a:pt x="1604010" y="564833"/>
                    </a:lnTo>
                    <a:cubicBezTo>
                      <a:pt x="1604010" y="564833"/>
                      <a:pt x="1604010" y="555308"/>
                      <a:pt x="1610678" y="555308"/>
                    </a:cubicBezTo>
                    <a:cubicBezTo>
                      <a:pt x="1617345" y="555308"/>
                      <a:pt x="1615440" y="549593"/>
                      <a:pt x="1622108" y="549593"/>
                    </a:cubicBezTo>
                    <a:cubicBezTo>
                      <a:pt x="1628775" y="549593"/>
                      <a:pt x="1640205" y="543877"/>
                      <a:pt x="1640205" y="543877"/>
                    </a:cubicBezTo>
                    <a:lnTo>
                      <a:pt x="1653540" y="538163"/>
                    </a:lnTo>
                    <a:lnTo>
                      <a:pt x="1662113" y="534352"/>
                    </a:lnTo>
                    <a:lnTo>
                      <a:pt x="1677353" y="524827"/>
                    </a:lnTo>
                    <a:lnTo>
                      <a:pt x="1679258" y="519112"/>
                    </a:lnTo>
                    <a:lnTo>
                      <a:pt x="1679258" y="507683"/>
                    </a:lnTo>
                    <a:lnTo>
                      <a:pt x="1684020" y="496252"/>
                    </a:lnTo>
                    <a:lnTo>
                      <a:pt x="1688783" y="490537"/>
                    </a:lnTo>
                    <a:cubicBezTo>
                      <a:pt x="1688783" y="490537"/>
                      <a:pt x="1690688" y="487680"/>
                      <a:pt x="1700213" y="487680"/>
                    </a:cubicBezTo>
                    <a:cubicBezTo>
                      <a:pt x="1708785" y="487680"/>
                      <a:pt x="1708785" y="487680"/>
                      <a:pt x="1708785" y="487680"/>
                    </a:cubicBezTo>
                    <a:lnTo>
                      <a:pt x="1742123" y="484823"/>
                    </a:lnTo>
                    <a:lnTo>
                      <a:pt x="1760220" y="479108"/>
                    </a:lnTo>
                    <a:cubicBezTo>
                      <a:pt x="1760220" y="479108"/>
                      <a:pt x="1758315" y="480060"/>
                      <a:pt x="1760220" y="484823"/>
                    </a:cubicBezTo>
                    <a:cubicBezTo>
                      <a:pt x="1762125" y="488633"/>
                      <a:pt x="1762125" y="493395"/>
                      <a:pt x="1768793" y="494348"/>
                    </a:cubicBezTo>
                    <a:cubicBezTo>
                      <a:pt x="1775460" y="496252"/>
                      <a:pt x="1775460" y="496252"/>
                      <a:pt x="1775460" y="496252"/>
                    </a:cubicBezTo>
                    <a:lnTo>
                      <a:pt x="1784033" y="492443"/>
                    </a:lnTo>
                    <a:lnTo>
                      <a:pt x="1790700" y="485775"/>
                    </a:lnTo>
                    <a:cubicBezTo>
                      <a:pt x="1790700" y="485775"/>
                      <a:pt x="1792605" y="481965"/>
                      <a:pt x="1799273" y="484823"/>
                    </a:cubicBezTo>
                    <a:cubicBezTo>
                      <a:pt x="1805940" y="487680"/>
                      <a:pt x="1805940" y="487680"/>
                      <a:pt x="1805940" y="487680"/>
                    </a:cubicBezTo>
                    <a:lnTo>
                      <a:pt x="1817370" y="486727"/>
                    </a:lnTo>
                    <a:cubicBezTo>
                      <a:pt x="1817370" y="486727"/>
                      <a:pt x="1819275" y="486727"/>
                      <a:pt x="1825943" y="486727"/>
                    </a:cubicBezTo>
                    <a:cubicBezTo>
                      <a:pt x="1832610" y="486727"/>
                      <a:pt x="1834515" y="483870"/>
                      <a:pt x="1841183" y="481012"/>
                    </a:cubicBezTo>
                    <a:cubicBezTo>
                      <a:pt x="1847850" y="478155"/>
                      <a:pt x="1841183" y="483870"/>
                      <a:pt x="1847850" y="478155"/>
                    </a:cubicBezTo>
                    <a:cubicBezTo>
                      <a:pt x="1854518" y="472440"/>
                      <a:pt x="1854518" y="472440"/>
                      <a:pt x="1854518" y="472440"/>
                    </a:cubicBezTo>
                    <a:lnTo>
                      <a:pt x="1859280" y="463868"/>
                    </a:lnTo>
                    <a:cubicBezTo>
                      <a:pt x="1852613" y="461010"/>
                      <a:pt x="1861185" y="462915"/>
                      <a:pt x="1852613" y="461010"/>
                    </a:cubicBezTo>
                    <a:cubicBezTo>
                      <a:pt x="1844040" y="459105"/>
                      <a:pt x="1844040" y="459105"/>
                      <a:pt x="1844040" y="459105"/>
                    </a:cubicBezTo>
                    <a:lnTo>
                      <a:pt x="1830705" y="460058"/>
                    </a:lnTo>
                    <a:lnTo>
                      <a:pt x="1806893" y="458152"/>
                    </a:lnTo>
                    <a:lnTo>
                      <a:pt x="1793558" y="455295"/>
                    </a:lnTo>
                    <a:lnTo>
                      <a:pt x="1782128" y="455295"/>
                    </a:lnTo>
                    <a:lnTo>
                      <a:pt x="1773555" y="450533"/>
                    </a:lnTo>
                    <a:lnTo>
                      <a:pt x="1773555" y="441960"/>
                    </a:lnTo>
                    <a:lnTo>
                      <a:pt x="1773555" y="435293"/>
                    </a:lnTo>
                    <a:lnTo>
                      <a:pt x="1771650" y="429577"/>
                    </a:lnTo>
                    <a:lnTo>
                      <a:pt x="1756410" y="416243"/>
                    </a:lnTo>
                    <a:lnTo>
                      <a:pt x="1734503" y="422910"/>
                    </a:lnTo>
                    <a:lnTo>
                      <a:pt x="1723073" y="425768"/>
                    </a:lnTo>
                    <a:lnTo>
                      <a:pt x="1707833" y="432435"/>
                    </a:lnTo>
                    <a:lnTo>
                      <a:pt x="1699260" y="432435"/>
                    </a:lnTo>
                    <a:lnTo>
                      <a:pt x="1704023" y="423862"/>
                    </a:lnTo>
                    <a:lnTo>
                      <a:pt x="1719263" y="414337"/>
                    </a:lnTo>
                    <a:lnTo>
                      <a:pt x="1732598" y="408623"/>
                    </a:lnTo>
                    <a:cubicBezTo>
                      <a:pt x="1732598" y="408623"/>
                      <a:pt x="1737360" y="405765"/>
                      <a:pt x="1745933" y="407670"/>
                    </a:cubicBezTo>
                    <a:cubicBezTo>
                      <a:pt x="1754505" y="409575"/>
                      <a:pt x="1763078" y="409575"/>
                      <a:pt x="1763078" y="409575"/>
                    </a:cubicBezTo>
                    <a:cubicBezTo>
                      <a:pt x="1763078" y="409575"/>
                      <a:pt x="1771650" y="408623"/>
                      <a:pt x="1778318" y="409575"/>
                    </a:cubicBezTo>
                    <a:cubicBezTo>
                      <a:pt x="1784985" y="411480"/>
                      <a:pt x="1789748" y="405765"/>
                      <a:pt x="1793558" y="411480"/>
                    </a:cubicBezTo>
                    <a:cubicBezTo>
                      <a:pt x="1798320" y="417195"/>
                      <a:pt x="1791653" y="411480"/>
                      <a:pt x="1798320" y="417195"/>
                    </a:cubicBezTo>
                    <a:cubicBezTo>
                      <a:pt x="1804988" y="422910"/>
                      <a:pt x="1804988" y="422910"/>
                      <a:pt x="1804988" y="422910"/>
                    </a:cubicBezTo>
                    <a:lnTo>
                      <a:pt x="1818323" y="425768"/>
                    </a:lnTo>
                    <a:lnTo>
                      <a:pt x="1824990" y="419100"/>
                    </a:lnTo>
                    <a:lnTo>
                      <a:pt x="1836420" y="415290"/>
                    </a:lnTo>
                    <a:lnTo>
                      <a:pt x="1849755" y="412433"/>
                    </a:lnTo>
                    <a:cubicBezTo>
                      <a:pt x="1849755" y="412433"/>
                      <a:pt x="1850708" y="412433"/>
                      <a:pt x="1861185" y="414337"/>
                    </a:cubicBezTo>
                    <a:cubicBezTo>
                      <a:pt x="1874520" y="416243"/>
                      <a:pt x="1874520" y="416243"/>
                      <a:pt x="1874520" y="416243"/>
                    </a:cubicBezTo>
                    <a:lnTo>
                      <a:pt x="1883093" y="407670"/>
                    </a:lnTo>
                    <a:cubicBezTo>
                      <a:pt x="1896428" y="401002"/>
                      <a:pt x="1889760" y="392430"/>
                      <a:pt x="1889760" y="392430"/>
                    </a:cubicBezTo>
                    <a:cubicBezTo>
                      <a:pt x="1889760" y="392430"/>
                      <a:pt x="1889760" y="386715"/>
                      <a:pt x="1901190" y="386715"/>
                    </a:cubicBezTo>
                    <a:cubicBezTo>
                      <a:pt x="1912620" y="386715"/>
                      <a:pt x="1919288" y="381000"/>
                      <a:pt x="1919288" y="381000"/>
                    </a:cubicBezTo>
                    <a:lnTo>
                      <a:pt x="1925955" y="371475"/>
                    </a:lnTo>
                    <a:lnTo>
                      <a:pt x="1924050" y="359093"/>
                    </a:lnTo>
                    <a:lnTo>
                      <a:pt x="1920240" y="352425"/>
                    </a:lnTo>
                    <a:lnTo>
                      <a:pt x="1900238" y="349568"/>
                    </a:lnTo>
                    <a:lnTo>
                      <a:pt x="1891665" y="340995"/>
                    </a:lnTo>
                    <a:lnTo>
                      <a:pt x="1889760" y="335280"/>
                    </a:lnTo>
                    <a:lnTo>
                      <a:pt x="1876425" y="332423"/>
                    </a:lnTo>
                    <a:lnTo>
                      <a:pt x="1864995" y="330518"/>
                    </a:lnTo>
                    <a:lnTo>
                      <a:pt x="1854518" y="319087"/>
                    </a:lnTo>
                    <a:lnTo>
                      <a:pt x="1844040" y="303848"/>
                    </a:lnTo>
                    <a:lnTo>
                      <a:pt x="1837373" y="291465"/>
                    </a:lnTo>
                    <a:lnTo>
                      <a:pt x="1817370" y="280987"/>
                    </a:lnTo>
                    <a:lnTo>
                      <a:pt x="1810703" y="273368"/>
                    </a:lnTo>
                    <a:lnTo>
                      <a:pt x="1800225" y="267653"/>
                    </a:lnTo>
                    <a:lnTo>
                      <a:pt x="1786890" y="257175"/>
                    </a:lnTo>
                    <a:lnTo>
                      <a:pt x="1766888" y="268605"/>
                    </a:lnTo>
                    <a:lnTo>
                      <a:pt x="1753553" y="275273"/>
                    </a:lnTo>
                    <a:lnTo>
                      <a:pt x="1726883" y="279083"/>
                    </a:lnTo>
                    <a:lnTo>
                      <a:pt x="1715453" y="276225"/>
                    </a:lnTo>
                    <a:cubicBezTo>
                      <a:pt x="1715453" y="276225"/>
                      <a:pt x="1715453" y="272415"/>
                      <a:pt x="1713548" y="267653"/>
                    </a:cubicBezTo>
                    <a:cubicBezTo>
                      <a:pt x="1711643" y="263843"/>
                      <a:pt x="1711643" y="258128"/>
                      <a:pt x="1711643" y="258128"/>
                    </a:cubicBezTo>
                    <a:lnTo>
                      <a:pt x="1711643" y="249555"/>
                    </a:lnTo>
                    <a:lnTo>
                      <a:pt x="1709738" y="242887"/>
                    </a:lnTo>
                    <a:lnTo>
                      <a:pt x="1705928" y="237173"/>
                    </a:lnTo>
                    <a:cubicBezTo>
                      <a:pt x="1690688" y="234315"/>
                      <a:pt x="1690688" y="234315"/>
                      <a:pt x="1690688" y="234315"/>
                    </a:cubicBezTo>
                    <a:lnTo>
                      <a:pt x="1677353" y="232410"/>
                    </a:lnTo>
                    <a:lnTo>
                      <a:pt x="1665923" y="232410"/>
                    </a:lnTo>
                    <a:lnTo>
                      <a:pt x="1657350" y="224790"/>
                    </a:lnTo>
                    <a:lnTo>
                      <a:pt x="1647825" y="218123"/>
                    </a:lnTo>
                    <a:lnTo>
                      <a:pt x="1634490" y="215265"/>
                    </a:lnTo>
                    <a:lnTo>
                      <a:pt x="1617345" y="215265"/>
                    </a:lnTo>
                    <a:lnTo>
                      <a:pt x="1605915" y="215265"/>
                    </a:lnTo>
                    <a:lnTo>
                      <a:pt x="1584008" y="215265"/>
                    </a:lnTo>
                    <a:lnTo>
                      <a:pt x="1570673" y="219075"/>
                    </a:lnTo>
                    <a:lnTo>
                      <a:pt x="1559243" y="242887"/>
                    </a:lnTo>
                    <a:cubicBezTo>
                      <a:pt x="1559243" y="242887"/>
                      <a:pt x="1559243" y="248603"/>
                      <a:pt x="1559243" y="255270"/>
                    </a:cubicBezTo>
                    <a:cubicBezTo>
                      <a:pt x="1559243" y="261937"/>
                      <a:pt x="1559243" y="258128"/>
                      <a:pt x="1559243" y="261937"/>
                    </a:cubicBezTo>
                    <a:cubicBezTo>
                      <a:pt x="1559243" y="265748"/>
                      <a:pt x="1559243" y="265748"/>
                      <a:pt x="1559243" y="265748"/>
                    </a:cubicBezTo>
                    <a:lnTo>
                      <a:pt x="1563053" y="280035"/>
                    </a:lnTo>
                    <a:cubicBezTo>
                      <a:pt x="1563053" y="280035"/>
                      <a:pt x="1566863" y="291465"/>
                      <a:pt x="1566863" y="297180"/>
                    </a:cubicBezTo>
                    <a:cubicBezTo>
                      <a:pt x="1566863" y="302895"/>
                      <a:pt x="1564005" y="320040"/>
                      <a:pt x="1564005" y="320040"/>
                    </a:cubicBezTo>
                    <a:lnTo>
                      <a:pt x="1550670" y="331470"/>
                    </a:lnTo>
                    <a:lnTo>
                      <a:pt x="1542098" y="331470"/>
                    </a:lnTo>
                    <a:cubicBezTo>
                      <a:pt x="1535430" y="338137"/>
                      <a:pt x="1528763" y="343853"/>
                      <a:pt x="1528763" y="343853"/>
                    </a:cubicBezTo>
                    <a:lnTo>
                      <a:pt x="1535430" y="359093"/>
                    </a:lnTo>
                    <a:cubicBezTo>
                      <a:pt x="1535430" y="359093"/>
                      <a:pt x="1530668" y="371475"/>
                      <a:pt x="1537335" y="377190"/>
                    </a:cubicBezTo>
                    <a:cubicBezTo>
                      <a:pt x="1544003" y="382905"/>
                      <a:pt x="1557338" y="379095"/>
                      <a:pt x="1544003" y="382905"/>
                    </a:cubicBezTo>
                    <a:cubicBezTo>
                      <a:pt x="1530668" y="386715"/>
                      <a:pt x="1517333" y="385762"/>
                      <a:pt x="1517333" y="385762"/>
                    </a:cubicBezTo>
                    <a:lnTo>
                      <a:pt x="1510665" y="380048"/>
                    </a:lnTo>
                    <a:lnTo>
                      <a:pt x="1500188" y="369570"/>
                    </a:lnTo>
                    <a:lnTo>
                      <a:pt x="1496378" y="358140"/>
                    </a:lnTo>
                    <a:lnTo>
                      <a:pt x="1492568" y="342900"/>
                    </a:lnTo>
                    <a:lnTo>
                      <a:pt x="1490663" y="328612"/>
                    </a:lnTo>
                    <a:lnTo>
                      <a:pt x="1470660" y="323850"/>
                    </a:lnTo>
                    <a:lnTo>
                      <a:pt x="1450658" y="320993"/>
                    </a:lnTo>
                    <a:lnTo>
                      <a:pt x="1442085" y="316230"/>
                    </a:lnTo>
                    <a:lnTo>
                      <a:pt x="1437323" y="310515"/>
                    </a:lnTo>
                    <a:lnTo>
                      <a:pt x="1410653" y="304800"/>
                    </a:lnTo>
                    <a:lnTo>
                      <a:pt x="1390650" y="303848"/>
                    </a:lnTo>
                    <a:lnTo>
                      <a:pt x="1380173" y="296228"/>
                    </a:lnTo>
                    <a:lnTo>
                      <a:pt x="1366838" y="294323"/>
                    </a:lnTo>
                    <a:cubicBezTo>
                      <a:pt x="1366838" y="294323"/>
                      <a:pt x="1360170" y="291465"/>
                      <a:pt x="1353503" y="292418"/>
                    </a:cubicBezTo>
                    <a:cubicBezTo>
                      <a:pt x="1346835" y="293370"/>
                      <a:pt x="1336358" y="289560"/>
                      <a:pt x="1336358" y="289560"/>
                    </a:cubicBezTo>
                    <a:lnTo>
                      <a:pt x="1323023" y="287655"/>
                    </a:lnTo>
                    <a:lnTo>
                      <a:pt x="1312545" y="279083"/>
                    </a:lnTo>
                    <a:lnTo>
                      <a:pt x="1308735" y="270510"/>
                    </a:lnTo>
                    <a:lnTo>
                      <a:pt x="1291590" y="264795"/>
                    </a:lnTo>
                    <a:lnTo>
                      <a:pt x="1278255" y="260033"/>
                    </a:lnTo>
                    <a:lnTo>
                      <a:pt x="1263015" y="255270"/>
                    </a:lnTo>
                    <a:cubicBezTo>
                      <a:pt x="1263015" y="255270"/>
                      <a:pt x="1259205" y="245745"/>
                      <a:pt x="1267778" y="243840"/>
                    </a:cubicBezTo>
                    <a:cubicBezTo>
                      <a:pt x="1276350" y="242887"/>
                      <a:pt x="1279208" y="234315"/>
                      <a:pt x="1279208" y="234315"/>
                    </a:cubicBezTo>
                    <a:lnTo>
                      <a:pt x="1290638" y="228600"/>
                    </a:lnTo>
                    <a:lnTo>
                      <a:pt x="1292543" y="222885"/>
                    </a:lnTo>
                    <a:lnTo>
                      <a:pt x="1299210" y="216217"/>
                    </a:lnTo>
                    <a:cubicBezTo>
                      <a:pt x="1299210" y="216217"/>
                      <a:pt x="1294448" y="211455"/>
                      <a:pt x="1301115" y="210503"/>
                    </a:cubicBezTo>
                    <a:cubicBezTo>
                      <a:pt x="1307783" y="209550"/>
                      <a:pt x="1301115" y="213360"/>
                      <a:pt x="1307783" y="209550"/>
                    </a:cubicBezTo>
                    <a:cubicBezTo>
                      <a:pt x="1314450" y="205740"/>
                      <a:pt x="1312545" y="200025"/>
                      <a:pt x="1319213" y="200025"/>
                    </a:cubicBezTo>
                    <a:cubicBezTo>
                      <a:pt x="1325880" y="200025"/>
                      <a:pt x="1321118" y="194310"/>
                      <a:pt x="1327785" y="193358"/>
                    </a:cubicBezTo>
                    <a:cubicBezTo>
                      <a:pt x="1334453" y="192405"/>
                      <a:pt x="1325880" y="191453"/>
                      <a:pt x="1334453" y="192405"/>
                    </a:cubicBezTo>
                    <a:cubicBezTo>
                      <a:pt x="1343025" y="192405"/>
                      <a:pt x="1343025" y="192405"/>
                      <a:pt x="1343025" y="192405"/>
                    </a:cubicBezTo>
                    <a:lnTo>
                      <a:pt x="1361123" y="185737"/>
                    </a:lnTo>
                    <a:cubicBezTo>
                      <a:pt x="1361123" y="185737"/>
                      <a:pt x="1361123" y="180023"/>
                      <a:pt x="1369695" y="180023"/>
                    </a:cubicBezTo>
                    <a:cubicBezTo>
                      <a:pt x="1378268" y="180023"/>
                      <a:pt x="1391603" y="162878"/>
                      <a:pt x="1398270" y="164783"/>
                    </a:cubicBezTo>
                    <a:cubicBezTo>
                      <a:pt x="1404938" y="166687"/>
                      <a:pt x="1403033" y="158115"/>
                      <a:pt x="1403033" y="158115"/>
                    </a:cubicBezTo>
                    <a:lnTo>
                      <a:pt x="1405890" y="151448"/>
                    </a:lnTo>
                    <a:lnTo>
                      <a:pt x="1412558" y="142875"/>
                    </a:lnTo>
                    <a:cubicBezTo>
                      <a:pt x="1425893" y="140017"/>
                      <a:pt x="1425893" y="140017"/>
                      <a:pt x="1425893" y="140017"/>
                    </a:cubicBezTo>
                    <a:lnTo>
                      <a:pt x="1434465" y="139065"/>
                    </a:lnTo>
                    <a:lnTo>
                      <a:pt x="1461135" y="139065"/>
                    </a:lnTo>
                    <a:lnTo>
                      <a:pt x="1483043" y="135255"/>
                    </a:lnTo>
                    <a:lnTo>
                      <a:pt x="1487805" y="128587"/>
                    </a:lnTo>
                    <a:lnTo>
                      <a:pt x="1490663" y="120015"/>
                    </a:lnTo>
                    <a:lnTo>
                      <a:pt x="1497330" y="111442"/>
                    </a:lnTo>
                    <a:lnTo>
                      <a:pt x="1500188" y="102870"/>
                    </a:lnTo>
                    <a:lnTo>
                      <a:pt x="1500188" y="91440"/>
                    </a:lnTo>
                    <a:lnTo>
                      <a:pt x="1486853" y="82867"/>
                    </a:lnTo>
                    <a:lnTo>
                      <a:pt x="1478280" y="78105"/>
                    </a:lnTo>
                    <a:cubicBezTo>
                      <a:pt x="1478280" y="78105"/>
                      <a:pt x="1500188" y="74295"/>
                      <a:pt x="1506855" y="75248"/>
                    </a:cubicBezTo>
                    <a:cubicBezTo>
                      <a:pt x="1513523" y="77153"/>
                      <a:pt x="1495425" y="76200"/>
                      <a:pt x="1513523" y="77153"/>
                    </a:cubicBezTo>
                    <a:cubicBezTo>
                      <a:pt x="1531620" y="77153"/>
                      <a:pt x="1518285" y="77153"/>
                      <a:pt x="1531620" y="77153"/>
                    </a:cubicBezTo>
                    <a:cubicBezTo>
                      <a:pt x="1544955" y="77153"/>
                      <a:pt x="1544955" y="77153"/>
                      <a:pt x="1544955" y="77153"/>
                    </a:cubicBezTo>
                    <a:lnTo>
                      <a:pt x="1560195" y="80010"/>
                    </a:lnTo>
                    <a:lnTo>
                      <a:pt x="1584008" y="84773"/>
                    </a:lnTo>
                    <a:lnTo>
                      <a:pt x="1594485" y="87630"/>
                    </a:lnTo>
                    <a:lnTo>
                      <a:pt x="1603058" y="90487"/>
                    </a:lnTo>
                    <a:lnTo>
                      <a:pt x="1633538" y="100965"/>
                    </a:lnTo>
                    <a:lnTo>
                      <a:pt x="1642110" y="105728"/>
                    </a:lnTo>
                    <a:lnTo>
                      <a:pt x="1645920" y="112395"/>
                    </a:lnTo>
                    <a:lnTo>
                      <a:pt x="1647825" y="118110"/>
                    </a:lnTo>
                    <a:cubicBezTo>
                      <a:pt x="1647825" y="118110"/>
                      <a:pt x="1643063" y="121920"/>
                      <a:pt x="1643063" y="126683"/>
                    </a:cubicBezTo>
                    <a:cubicBezTo>
                      <a:pt x="1643063" y="130492"/>
                      <a:pt x="1656398" y="120015"/>
                      <a:pt x="1643063" y="130492"/>
                    </a:cubicBezTo>
                    <a:cubicBezTo>
                      <a:pt x="1629728" y="141923"/>
                      <a:pt x="1629728" y="141923"/>
                      <a:pt x="1629728" y="141923"/>
                    </a:cubicBezTo>
                    <a:cubicBezTo>
                      <a:pt x="1629728" y="141923"/>
                      <a:pt x="1621155" y="147637"/>
                      <a:pt x="1624965" y="151448"/>
                    </a:cubicBezTo>
                    <a:cubicBezTo>
                      <a:pt x="1629728" y="156210"/>
                      <a:pt x="1626870" y="160973"/>
                      <a:pt x="1626870" y="160973"/>
                    </a:cubicBezTo>
                    <a:lnTo>
                      <a:pt x="1637348" y="169545"/>
                    </a:lnTo>
                    <a:cubicBezTo>
                      <a:pt x="1637348" y="169545"/>
                      <a:pt x="1642110" y="171450"/>
                      <a:pt x="1647825" y="177165"/>
                    </a:cubicBezTo>
                    <a:cubicBezTo>
                      <a:pt x="1654493" y="182880"/>
                      <a:pt x="1643063" y="175260"/>
                      <a:pt x="1654493" y="182880"/>
                    </a:cubicBezTo>
                    <a:cubicBezTo>
                      <a:pt x="1664970" y="190500"/>
                      <a:pt x="1664970" y="190500"/>
                      <a:pt x="1664970" y="190500"/>
                    </a:cubicBezTo>
                    <a:lnTo>
                      <a:pt x="1680210" y="196215"/>
                    </a:lnTo>
                    <a:cubicBezTo>
                      <a:pt x="1680210" y="196215"/>
                      <a:pt x="1697355" y="203835"/>
                      <a:pt x="1704023" y="206692"/>
                    </a:cubicBezTo>
                    <a:cubicBezTo>
                      <a:pt x="1710690" y="209550"/>
                      <a:pt x="1710690" y="209550"/>
                      <a:pt x="1710690" y="209550"/>
                    </a:cubicBezTo>
                    <a:cubicBezTo>
                      <a:pt x="1710690" y="209550"/>
                      <a:pt x="1719263" y="212408"/>
                      <a:pt x="1727835" y="215265"/>
                    </a:cubicBezTo>
                    <a:cubicBezTo>
                      <a:pt x="1736408" y="218123"/>
                      <a:pt x="1736408" y="218123"/>
                      <a:pt x="1736408" y="218123"/>
                    </a:cubicBezTo>
                    <a:cubicBezTo>
                      <a:pt x="1736408" y="218123"/>
                      <a:pt x="1743075" y="215265"/>
                      <a:pt x="1751648" y="217170"/>
                    </a:cubicBezTo>
                    <a:cubicBezTo>
                      <a:pt x="1762125" y="218123"/>
                      <a:pt x="1762125" y="218123"/>
                      <a:pt x="1762125" y="218123"/>
                    </a:cubicBezTo>
                    <a:lnTo>
                      <a:pt x="1760220" y="209550"/>
                    </a:lnTo>
                    <a:lnTo>
                      <a:pt x="1771650" y="209550"/>
                    </a:lnTo>
                    <a:lnTo>
                      <a:pt x="1789748" y="207645"/>
                    </a:lnTo>
                    <a:lnTo>
                      <a:pt x="1792605" y="203835"/>
                    </a:lnTo>
                    <a:lnTo>
                      <a:pt x="1794510" y="198120"/>
                    </a:lnTo>
                    <a:lnTo>
                      <a:pt x="1789748" y="192405"/>
                    </a:lnTo>
                    <a:lnTo>
                      <a:pt x="1784985" y="187642"/>
                    </a:lnTo>
                    <a:lnTo>
                      <a:pt x="1778318" y="178117"/>
                    </a:lnTo>
                    <a:lnTo>
                      <a:pt x="1771650" y="169545"/>
                    </a:lnTo>
                    <a:lnTo>
                      <a:pt x="1755458" y="163830"/>
                    </a:lnTo>
                    <a:lnTo>
                      <a:pt x="1749743" y="155258"/>
                    </a:lnTo>
                    <a:lnTo>
                      <a:pt x="1751648" y="148590"/>
                    </a:lnTo>
                    <a:cubicBezTo>
                      <a:pt x="1764983" y="149542"/>
                      <a:pt x="1764983" y="149542"/>
                      <a:pt x="1764983" y="149542"/>
                    </a:cubicBezTo>
                    <a:cubicBezTo>
                      <a:pt x="1772603" y="155258"/>
                      <a:pt x="1763078" y="152400"/>
                      <a:pt x="1772603" y="155258"/>
                    </a:cubicBezTo>
                    <a:cubicBezTo>
                      <a:pt x="1781175" y="158115"/>
                      <a:pt x="1781175" y="158115"/>
                      <a:pt x="1781175" y="158115"/>
                    </a:cubicBezTo>
                    <a:cubicBezTo>
                      <a:pt x="1781175" y="158115"/>
                      <a:pt x="1781175" y="160020"/>
                      <a:pt x="1786890" y="161925"/>
                    </a:cubicBezTo>
                    <a:cubicBezTo>
                      <a:pt x="1792605" y="163830"/>
                      <a:pt x="1798320" y="164783"/>
                      <a:pt x="1798320" y="164783"/>
                    </a:cubicBezTo>
                    <a:cubicBezTo>
                      <a:pt x="1798320" y="164783"/>
                      <a:pt x="1803083" y="165735"/>
                      <a:pt x="1806893" y="165735"/>
                    </a:cubicBezTo>
                    <a:cubicBezTo>
                      <a:pt x="1811655" y="165735"/>
                      <a:pt x="1814513" y="160973"/>
                      <a:pt x="1814513" y="160973"/>
                    </a:cubicBezTo>
                    <a:cubicBezTo>
                      <a:pt x="1814513" y="160973"/>
                      <a:pt x="1816418" y="156210"/>
                      <a:pt x="1820228" y="156210"/>
                    </a:cubicBezTo>
                    <a:cubicBezTo>
                      <a:pt x="1824990" y="156210"/>
                      <a:pt x="1830705" y="156210"/>
                      <a:pt x="1834515" y="156210"/>
                    </a:cubicBezTo>
                    <a:cubicBezTo>
                      <a:pt x="1839278" y="156210"/>
                      <a:pt x="1839278" y="156210"/>
                      <a:pt x="1839278" y="156210"/>
                    </a:cubicBezTo>
                    <a:cubicBezTo>
                      <a:pt x="1839278" y="156210"/>
                      <a:pt x="1841183" y="151448"/>
                      <a:pt x="1846898" y="150495"/>
                    </a:cubicBezTo>
                    <a:cubicBezTo>
                      <a:pt x="1852613" y="149542"/>
                      <a:pt x="1852613" y="145733"/>
                      <a:pt x="1852613" y="145733"/>
                    </a:cubicBezTo>
                    <a:lnTo>
                      <a:pt x="1854518" y="140017"/>
                    </a:lnTo>
                    <a:lnTo>
                      <a:pt x="1856423" y="134303"/>
                    </a:lnTo>
                    <a:lnTo>
                      <a:pt x="1856423" y="130492"/>
                    </a:lnTo>
                    <a:cubicBezTo>
                      <a:pt x="1856423" y="130492"/>
                      <a:pt x="1855470" y="128587"/>
                      <a:pt x="1848803" y="126683"/>
                    </a:cubicBezTo>
                    <a:cubicBezTo>
                      <a:pt x="1843088" y="124778"/>
                      <a:pt x="1837373" y="123825"/>
                      <a:pt x="1837373" y="123825"/>
                    </a:cubicBezTo>
                    <a:lnTo>
                      <a:pt x="1820228" y="119062"/>
                    </a:lnTo>
                    <a:lnTo>
                      <a:pt x="1805940" y="111442"/>
                    </a:lnTo>
                    <a:lnTo>
                      <a:pt x="1800225" y="112395"/>
                    </a:lnTo>
                    <a:lnTo>
                      <a:pt x="1788795" y="111442"/>
                    </a:lnTo>
                    <a:lnTo>
                      <a:pt x="1778318" y="105728"/>
                    </a:lnTo>
                    <a:lnTo>
                      <a:pt x="1772603" y="101917"/>
                    </a:lnTo>
                    <a:lnTo>
                      <a:pt x="1762125" y="100965"/>
                    </a:lnTo>
                    <a:lnTo>
                      <a:pt x="1750695" y="96203"/>
                    </a:lnTo>
                    <a:cubicBezTo>
                      <a:pt x="1752600" y="90487"/>
                      <a:pt x="1752600" y="85725"/>
                      <a:pt x="1752600" y="85725"/>
                    </a:cubicBezTo>
                    <a:lnTo>
                      <a:pt x="1751648" y="79058"/>
                    </a:lnTo>
                    <a:lnTo>
                      <a:pt x="1751648" y="75248"/>
                    </a:lnTo>
                    <a:lnTo>
                      <a:pt x="1745933" y="67628"/>
                    </a:lnTo>
                    <a:lnTo>
                      <a:pt x="1737360" y="63817"/>
                    </a:lnTo>
                    <a:lnTo>
                      <a:pt x="1725930" y="62865"/>
                    </a:lnTo>
                    <a:lnTo>
                      <a:pt x="1708785" y="54292"/>
                    </a:lnTo>
                    <a:lnTo>
                      <a:pt x="1700213" y="51435"/>
                    </a:lnTo>
                    <a:lnTo>
                      <a:pt x="1676400" y="46672"/>
                    </a:lnTo>
                    <a:lnTo>
                      <a:pt x="1664970" y="43815"/>
                    </a:lnTo>
                    <a:lnTo>
                      <a:pt x="1650683" y="42863"/>
                    </a:lnTo>
                    <a:lnTo>
                      <a:pt x="1628775" y="31432"/>
                    </a:lnTo>
                    <a:lnTo>
                      <a:pt x="1612583" y="22860"/>
                    </a:lnTo>
                    <a:lnTo>
                      <a:pt x="1604010" y="14288"/>
                    </a:lnTo>
                    <a:lnTo>
                      <a:pt x="1590675" y="15240"/>
                    </a:lnTo>
                    <a:lnTo>
                      <a:pt x="1583055" y="13335"/>
                    </a:lnTo>
                    <a:lnTo>
                      <a:pt x="1561148" y="17145"/>
                    </a:lnTo>
                    <a:cubicBezTo>
                      <a:pt x="1562100" y="22860"/>
                      <a:pt x="1553528" y="25717"/>
                      <a:pt x="1553528" y="25717"/>
                    </a:cubicBezTo>
                    <a:lnTo>
                      <a:pt x="1544955" y="24765"/>
                    </a:lnTo>
                    <a:lnTo>
                      <a:pt x="1534478" y="18097"/>
                    </a:lnTo>
                    <a:lnTo>
                      <a:pt x="1524000" y="11430"/>
                    </a:lnTo>
                    <a:lnTo>
                      <a:pt x="1503998" y="4763"/>
                    </a:lnTo>
                    <a:lnTo>
                      <a:pt x="1495425" y="1905"/>
                    </a:lnTo>
                    <a:lnTo>
                      <a:pt x="1474470" y="1905"/>
                    </a:lnTo>
                    <a:lnTo>
                      <a:pt x="1468755" y="1905"/>
                    </a:lnTo>
                    <a:lnTo>
                      <a:pt x="1463993" y="5715"/>
                    </a:lnTo>
                    <a:cubicBezTo>
                      <a:pt x="1463993" y="5715"/>
                      <a:pt x="1458278" y="5715"/>
                      <a:pt x="1458278" y="8572"/>
                    </a:cubicBezTo>
                    <a:cubicBezTo>
                      <a:pt x="1458278" y="11430"/>
                      <a:pt x="1449705" y="11430"/>
                      <a:pt x="1449705" y="11430"/>
                    </a:cubicBezTo>
                    <a:cubicBezTo>
                      <a:pt x="1449705" y="11430"/>
                      <a:pt x="1444943" y="13335"/>
                      <a:pt x="1444943" y="17145"/>
                    </a:cubicBezTo>
                    <a:cubicBezTo>
                      <a:pt x="1444943" y="20955"/>
                      <a:pt x="1440180" y="20955"/>
                      <a:pt x="1442085" y="24765"/>
                    </a:cubicBezTo>
                    <a:cubicBezTo>
                      <a:pt x="1443038" y="28575"/>
                      <a:pt x="1446848" y="24765"/>
                      <a:pt x="1443038" y="28575"/>
                    </a:cubicBezTo>
                    <a:cubicBezTo>
                      <a:pt x="1440180" y="32385"/>
                      <a:pt x="1434465" y="33338"/>
                      <a:pt x="1434465" y="33338"/>
                    </a:cubicBezTo>
                    <a:lnTo>
                      <a:pt x="1425893" y="31432"/>
                    </a:lnTo>
                    <a:lnTo>
                      <a:pt x="1423035" y="23813"/>
                    </a:lnTo>
                    <a:cubicBezTo>
                      <a:pt x="1423035" y="23813"/>
                      <a:pt x="1422083" y="20003"/>
                      <a:pt x="1425893" y="19050"/>
                    </a:cubicBezTo>
                    <a:cubicBezTo>
                      <a:pt x="1430655" y="18097"/>
                      <a:pt x="1430655" y="13335"/>
                      <a:pt x="1430655" y="13335"/>
                    </a:cubicBezTo>
                    <a:lnTo>
                      <a:pt x="1432560" y="7620"/>
                    </a:lnTo>
                    <a:lnTo>
                      <a:pt x="1432560" y="3810"/>
                    </a:lnTo>
                    <a:cubicBezTo>
                      <a:pt x="1421130" y="953"/>
                      <a:pt x="1415415" y="953"/>
                      <a:pt x="1415415" y="953"/>
                    </a:cubicBezTo>
                    <a:lnTo>
                      <a:pt x="1402080" y="0"/>
                    </a:lnTo>
                    <a:cubicBezTo>
                      <a:pt x="1399223" y="2857"/>
                      <a:pt x="1380173" y="6667"/>
                      <a:pt x="1380173" y="6667"/>
                    </a:cubicBezTo>
                    <a:cubicBezTo>
                      <a:pt x="1377315" y="10478"/>
                      <a:pt x="1369695" y="12382"/>
                      <a:pt x="1369695" y="15240"/>
                    </a:cubicBezTo>
                    <a:cubicBezTo>
                      <a:pt x="1369695" y="18097"/>
                      <a:pt x="1371600" y="12382"/>
                      <a:pt x="1369695" y="18097"/>
                    </a:cubicBezTo>
                    <a:cubicBezTo>
                      <a:pt x="1367790" y="23813"/>
                      <a:pt x="1364933" y="25717"/>
                      <a:pt x="1366838" y="30480"/>
                    </a:cubicBezTo>
                    <a:cubicBezTo>
                      <a:pt x="1367790" y="35242"/>
                      <a:pt x="1362075" y="37147"/>
                      <a:pt x="1366838" y="40957"/>
                    </a:cubicBezTo>
                    <a:cubicBezTo>
                      <a:pt x="1371600" y="44767"/>
                      <a:pt x="1374458" y="48578"/>
                      <a:pt x="1374458" y="48578"/>
                    </a:cubicBezTo>
                    <a:lnTo>
                      <a:pt x="1382078" y="55245"/>
                    </a:lnTo>
                    <a:cubicBezTo>
                      <a:pt x="1382078" y="55245"/>
                      <a:pt x="1380173" y="57150"/>
                      <a:pt x="1390650" y="60960"/>
                    </a:cubicBezTo>
                    <a:cubicBezTo>
                      <a:pt x="1401128" y="64770"/>
                      <a:pt x="1401128" y="61913"/>
                      <a:pt x="1407795" y="65723"/>
                    </a:cubicBezTo>
                    <a:cubicBezTo>
                      <a:pt x="1415415" y="69533"/>
                      <a:pt x="1412558" y="66675"/>
                      <a:pt x="1415415" y="69533"/>
                    </a:cubicBezTo>
                    <a:cubicBezTo>
                      <a:pt x="1418273" y="72390"/>
                      <a:pt x="1403985" y="68580"/>
                      <a:pt x="1418273" y="72390"/>
                    </a:cubicBezTo>
                    <a:cubicBezTo>
                      <a:pt x="1432560" y="76200"/>
                      <a:pt x="1421130" y="71437"/>
                      <a:pt x="1432560" y="76200"/>
                    </a:cubicBezTo>
                    <a:cubicBezTo>
                      <a:pt x="1443990" y="80962"/>
                      <a:pt x="1441133" y="78105"/>
                      <a:pt x="1443990" y="80962"/>
                    </a:cubicBezTo>
                    <a:cubicBezTo>
                      <a:pt x="1446848" y="83820"/>
                      <a:pt x="1446848" y="81915"/>
                      <a:pt x="1446848" y="87630"/>
                    </a:cubicBezTo>
                    <a:cubicBezTo>
                      <a:pt x="1446848" y="93345"/>
                      <a:pt x="1441133" y="92392"/>
                      <a:pt x="1441133" y="95250"/>
                    </a:cubicBezTo>
                    <a:cubicBezTo>
                      <a:pt x="1441133" y="98108"/>
                      <a:pt x="1441133" y="98108"/>
                      <a:pt x="1441133" y="98108"/>
                    </a:cubicBezTo>
                    <a:lnTo>
                      <a:pt x="1429703" y="104775"/>
                    </a:lnTo>
                    <a:lnTo>
                      <a:pt x="1419225" y="110490"/>
                    </a:lnTo>
                    <a:cubicBezTo>
                      <a:pt x="1417320" y="116205"/>
                      <a:pt x="1417320" y="116205"/>
                      <a:pt x="1417320" y="116205"/>
                    </a:cubicBezTo>
                    <a:lnTo>
                      <a:pt x="1403033" y="120015"/>
                    </a:lnTo>
                    <a:cubicBezTo>
                      <a:pt x="1403033" y="120015"/>
                      <a:pt x="1397318" y="120015"/>
                      <a:pt x="1397318" y="116205"/>
                    </a:cubicBezTo>
                    <a:cubicBezTo>
                      <a:pt x="1397318" y="112395"/>
                      <a:pt x="1397318" y="107633"/>
                      <a:pt x="1397318" y="107633"/>
                    </a:cubicBezTo>
                    <a:lnTo>
                      <a:pt x="1397318" y="101917"/>
                    </a:lnTo>
                    <a:lnTo>
                      <a:pt x="1396365" y="95250"/>
                    </a:lnTo>
                    <a:lnTo>
                      <a:pt x="1393508" y="90487"/>
                    </a:lnTo>
                    <a:lnTo>
                      <a:pt x="1384935" y="88583"/>
                    </a:lnTo>
                    <a:lnTo>
                      <a:pt x="1376363" y="88583"/>
                    </a:lnTo>
                    <a:lnTo>
                      <a:pt x="1364933" y="88583"/>
                    </a:lnTo>
                    <a:cubicBezTo>
                      <a:pt x="1364933" y="88583"/>
                      <a:pt x="1354455" y="87630"/>
                      <a:pt x="1354455" y="84773"/>
                    </a:cubicBezTo>
                    <a:cubicBezTo>
                      <a:pt x="1354455" y="81915"/>
                      <a:pt x="1354455" y="81915"/>
                      <a:pt x="1354455" y="81915"/>
                    </a:cubicBezTo>
                    <a:lnTo>
                      <a:pt x="1341120" y="76200"/>
                    </a:lnTo>
                    <a:lnTo>
                      <a:pt x="1324928" y="74295"/>
                    </a:lnTo>
                    <a:lnTo>
                      <a:pt x="1319213" y="73342"/>
                    </a:lnTo>
                    <a:lnTo>
                      <a:pt x="1318260" y="60960"/>
                    </a:lnTo>
                    <a:lnTo>
                      <a:pt x="1315403" y="53340"/>
                    </a:lnTo>
                    <a:lnTo>
                      <a:pt x="1309688" y="45720"/>
                    </a:lnTo>
                    <a:lnTo>
                      <a:pt x="1304925" y="41910"/>
                    </a:lnTo>
                    <a:lnTo>
                      <a:pt x="1299210" y="40005"/>
                    </a:lnTo>
                    <a:lnTo>
                      <a:pt x="1274445" y="35242"/>
                    </a:lnTo>
                    <a:cubicBezTo>
                      <a:pt x="1274445" y="35242"/>
                      <a:pt x="1266825" y="35242"/>
                      <a:pt x="1266825" y="39053"/>
                    </a:cubicBezTo>
                    <a:cubicBezTo>
                      <a:pt x="1266825" y="42863"/>
                      <a:pt x="1259205" y="44767"/>
                      <a:pt x="1259205" y="44767"/>
                    </a:cubicBezTo>
                    <a:cubicBezTo>
                      <a:pt x="1259205" y="44767"/>
                      <a:pt x="1245870" y="44767"/>
                      <a:pt x="1247775" y="48578"/>
                    </a:cubicBezTo>
                    <a:cubicBezTo>
                      <a:pt x="1248728" y="52388"/>
                      <a:pt x="1243013" y="49530"/>
                      <a:pt x="1247775" y="56197"/>
                    </a:cubicBezTo>
                    <a:cubicBezTo>
                      <a:pt x="1251585" y="62865"/>
                      <a:pt x="1248728" y="60960"/>
                      <a:pt x="1253490" y="66675"/>
                    </a:cubicBezTo>
                    <a:cubicBezTo>
                      <a:pt x="1258253" y="72390"/>
                      <a:pt x="1251585" y="67628"/>
                      <a:pt x="1258253" y="72390"/>
                    </a:cubicBezTo>
                    <a:cubicBezTo>
                      <a:pt x="1263968" y="77153"/>
                      <a:pt x="1255395" y="73342"/>
                      <a:pt x="1263968" y="77153"/>
                    </a:cubicBezTo>
                    <a:cubicBezTo>
                      <a:pt x="1272540" y="80962"/>
                      <a:pt x="1265873" y="78105"/>
                      <a:pt x="1272540" y="80962"/>
                    </a:cubicBezTo>
                    <a:cubicBezTo>
                      <a:pt x="1280160" y="83820"/>
                      <a:pt x="1280160" y="83820"/>
                      <a:pt x="1280160" y="83820"/>
                    </a:cubicBezTo>
                    <a:cubicBezTo>
                      <a:pt x="1280160" y="83820"/>
                      <a:pt x="1284923" y="85725"/>
                      <a:pt x="1287780" y="89535"/>
                    </a:cubicBezTo>
                    <a:cubicBezTo>
                      <a:pt x="1290638" y="93345"/>
                      <a:pt x="1292543" y="93345"/>
                      <a:pt x="1291590" y="97155"/>
                    </a:cubicBezTo>
                    <a:cubicBezTo>
                      <a:pt x="1291590" y="100965"/>
                      <a:pt x="1285875" y="108585"/>
                      <a:pt x="1285875" y="108585"/>
                    </a:cubicBezTo>
                    <a:cubicBezTo>
                      <a:pt x="1285875" y="108585"/>
                      <a:pt x="1278255" y="108585"/>
                      <a:pt x="1271588" y="109537"/>
                    </a:cubicBezTo>
                    <a:cubicBezTo>
                      <a:pt x="1263968" y="110490"/>
                      <a:pt x="1255395" y="109537"/>
                      <a:pt x="1255395" y="109537"/>
                    </a:cubicBezTo>
                    <a:lnTo>
                      <a:pt x="1249680" y="101917"/>
                    </a:lnTo>
                    <a:lnTo>
                      <a:pt x="1251585" y="94298"/>
                    </a:lnTo>
                    <a:lnTo>
                      <a:pt x="1254443" y="89535"/>
                    </a:lnTo>
                    <a:lnTo>
                      <a:pt x="1243965" y="81915"/>
                    </a:lnTo>
                    <a:lnTo>
                      <a:pt x="1230630" y="79058"/>
                    </a:lnTo>
                    <a:lnTo>
                      <a:pt x="1203008" y="78105"/>
                    </a:lnTo>
                    <a:lnTo>
                      <a:pt x="1203008" y="84773"/>
                    </a:lnTo>
                    <a:lnTo>
                      <a:pt x="1214438" y="90487"/>
                    </a:lnTo>
                    <a:cubicBezTo>
                      <a:pt x="1223010" y="96203"/>
                      <a:pt x="1220153" y="97155"/>
                      <a:pt x="1221105" y="100965"/>
                    </a:cubicBezTo>
                    <a:cubicBezTo>
                      <a:pt x="1222058" y="104775"/>
                      <a:pt x="1212533" y="103823"/>
                      <a:pt x="1212533" y="103823"/>
                    </a:cubicBezTo>
                    <a:lnTo>
                      <a:pt x="1190625" y="105728"/>
                    </a:lnTo>
                    <a:lnTo>
                      <a:pt x="1163003" y="107633"/>
                    </a:lnTo>
                    <a:lnTo>
                      <a:pt x="1130618" y="108585"/>
                    </a:lnTo>
                    <a:cubicBezTo>
                      <a:pt x="1130618" y="108585"/>
                      <a:pt x="1119188" y="107633"/>
                      <a:pt x="1111568" y="109537"/>
                    </a:cubicBezTo>
                    <a:cubicBezTo>
                      <a:pt x="1103948" y="111442"/>
                      <a:pt x="1084898" y="110490"/>
                      <a:pt x="1084898" y="110490"/>
                    </a:cubicBezTo>
                    <a:lnTo>
                      <a:pt x="1076325" y="110490"/>
                    </a:lnTo>
                    <a:lnTo>
                      <a:pt x="1054418" y="106680"/>
                    </a:lnTo>
                    <a:lnTo>
                      <a:pt x="1051560" y="112395"/>
                    </a:lnTo>
                    <a:cubicBezTo>
                      <a:pt x="1060133" y="118110"/>
                      <a:pt x="1041083" y="118110"/>
                      <a:pt x="1041083" y="118110"/>
                    </a:cubicBezTo>
                    <a:lnTo>
                      <a:pt x="1032510" y="116205"/>
                    </a:lnTo>
                    <a:lnTo>
                      <a:pt x="1024890" y="116205"/>
                    </a:lnTo>
                    <a:cubicBezTo>
                      <a:pt x="1024890" y="116205"/>
                      <a:pt x="1017270" y="113348"/>
                      <a:pt x="1013460" y="114300"/>
                    </a:cubicBezTo>
                    <a:cubicBezTo>
                      <a:pt x="1008698" y="115253"/>
                      <a:pt x="1008698" y="115253"/>
                      <a:pt x="1008698" y="115253"/>
                    </a:cubicBezTo>
                    <a:lnTo>
                      <a:pt x="975360" y="113348"/>
                    </a:lnTo>
                    <a:lnTo>
                      <a:pt x="942975" y="104775"/>
                    </a:lnTo>
                    <a:lnTo>
                      <a:pt x="935355" y="101917"/>
                    </a:lnTo>
                    <a:lnTo>
                      <a:pt x="929640" y="99060"/>
                    </a:lnTo>
                    <a:lnTo>
                      <a:pt x="921068" y="92392"/>
                    </a:lnTo>
                    <a:lnTo>
                      <a:pt x="918210" y="86678"/>
                    </a:lnTo>
                    <a:lnTo>
                      <a:pt x="910590" y="85725"/>
                    </a:lnTo>
                    <a:lnTo>
                      <a:pt x="896303" y="84773"/>
                    </a:lnTo>
                    <a:cubicBezTo>
                      <a:pt x="896303" y="84773"/>
                      <a:pt x="888683" y="83820"/>
                      <a:pt x="884873" y="84773"/>
                    </a:cubicBezTo>
                    <a:cubicBezTo>
                      <a:pt x="880110" y="85725"/>
                      <a:pt x="873443" y="85725"/>
                      <a:pt x="868680" y="84773"/>
                    </a:cubicBezTo>
                    <a:cubicBezTo>
                      <a:pt x="863918" y="83820"/>
                      <a:pt x="857250" y="81915"/>
                      <a:pt x="857250" y="81915"/>
                    </a:cubicBezTo>
                    <a:lnTo>
                      <a:pt x="849630" y="80010"/>
                    </a:lnTo>
                    <a:lnTo>
                      <a:pt x="836295" y="73342"/>
                    </a:lnTo>
                    <a:lnTo>
                      <a:pt x="825818" y="70485"/>
                    </a:lnTo>
                    <a:lnTo>
                      <a:pt x="815340" y="70485"/>
                    </a:lnTo>
                    <a:lnTo>
                      <a:pt x="803910" y="70485"/>
                    </a:lnTo>
                    <a:lnTo>
                      <a:pt x="792480" y="70485"/>
                    </a:lnTo>
                    <a:cubicBezTo>
                      <a:pt x="792480" y="70485"/>
                      <a:pt x="792480" y="70485"/>
                      <a:pt x="786765" y="71437"/>
                    </a:cubicBezTo>
                    <a:cubicBezTo>
                      <a:pt x="781050" y="72390"/>
                      <a:pt x="770573" y="72390"/>
                      <a:pt x="770573" y="72390"/>
                    </a:cubicBezTo>
                    <a:lnTo>
                      <a:pt x="754380" y="72390"/>
                    </a:lnTo>
                    <a:lnTo>
                      <a:pt x="731520" y="63817"/>
                    </a:lnTo>
                    <a:lnTo>
                      <a:pt x="714375" y="59055"/>
                    </a:lnTo>
                    <a:lnTo>
                      <a:pt x="703898" y="59055"/>
                    </a:lnTo>
                    <a:lnTo>
                      <a:pt x="679133" y="61913"/>
                    </a:lnTo>
                    <a:lnTo>
                      <a:pt x="673418" y="62865"/>
                    </a:lnTo>
                    <a:cubicBezTo>
                      <a:pt x="673418" y="62865"/>
                      <a:pt x="665798" y="61913"/>
                      <a:pt x="665798" y="64770"/>
                    </a:cubicBezTo>
                    <a:cubicBezTo>
                      <a:pt x="665798" y="67628"/>
                      <a:pt x="655320" y="67628"/>
                      <a:pt x="655320" y="67628"/>
                    </a:cubicBezTo>
                    <a:lnTo>
                      <a:pt x="641033" y="68580"/>
                    </a:lnTo>
                    <a:lnTo>
                      <a:pt x="635318" y="67628"/>
                    </a:lnTo>
                    <a:lnTo>
                      <a:pt x="624840" y="67628"/>
                    </a:lnTo>
                    <a:lnTo>
                      <a:pt x="617220" y="70485"/>
                    </a:lnTo>
                    <a:cubicBezTo>
                      <a:pt x="617220" y="70485"/>
                      <a:pt x="608648" y="71437"/>
                      <a:pt x="608648" y="74295"/>
                    </a:cubicBezTo>
                    <a:cubicBezTo>
                      <a:pt x="608648" y="77153"/>
                      <a:pt x="598170" y="77153"/>
                      <a:pt x="598170" y="77153"/>
                    </a:cubicBezTo>
                    <a:lnTo>
                      <a:pt x="583883" y="74295"/>
                    </a:lnTo>
                    <a:lnTo>
                      <a:pt x="567690" y="75248"/>
                    </a:lnTo>
                    <a:lnTo>
                      <a:pt x="554355" y="78105"/>
                    </a:lnTo>
                    <a:lnTo>
                      <a:pt x="535305" y="80962"/>
                    </a:lnTo>
                    <a:lnTo>
                      <a:pt x="524828" y="80010"/>
                    </a:lnTo>
                    <a:lnTo>
                      <a:pt x="513398" y="76200"/>
                    </a:lnTo>
                    <a:lnTo>
                      <a:pt x="502920" y="73342"/>
                    </a:lnTo>
                    <a:lnTo>
                      <a:pt x="495300" y="69533"/>
                    </a:lnTo>
                    <a:lnTo>
                      <a:pt x="481965" y="65723"/>
                    </a:lnTo>
                    <a:lnTo>
                      <a:pt x="451485" y="62865"/>
                    </a:lnTo>
                    <a:lnTo>
                      <a:pt x="437198" y="62865"/>
                    </a:lnTo>
                    <a:lnTo>
                      <a:pt x="406718" y="61913"/>
                    </a:lnTo>
                    <a:lnTo>
                      <a:pt x="385763" y="60960"/>
                    </a:lnTo>
                    <a:lnTo>
                      <a:pt x="364808" y="59055"/>
                    </a:lnTo>
                    <a:lnTo>
                      <a:pt x="352425" y="55245"/>
                    </a:lnTo>
                    <a:lnTo>
                      <a:pt x="339090" y="55245"/>
                    </a:lnTo>
                    <a:lnTo>
                      <a:pt x="317183" y="54292"/>
                    </a:lnTo>
                    <a:lnTo>
                      <a:pt x="290513" y="51435"/>
                    </a:lnTo>
                    <a:lnTo>
                      <a:pt x="279083" y="46672"/>
                    </a:lnTo>
                    <a:lnTo>
                      <a:pt x="261938" y="44767"/>
                    </a:lnTo>
                    <a:lnTo>
                      <a:pt x="251460" y="44767"/>
                    </a:lnTo>
                    <a:lnTo>
                      <a:pt x="237173" y="40005"/>
                    </a:lnTo>
                    <a:cubicBezTo>
                      <a:pt x="237173" y="40005"/>
                      <a:pt x="251460" y="38100"/>
                      <a:pt x="226695" y="36195"/>
                    </a:cubicBezTo>
                    <a:cubicBezTo>
                      <a:pt x="201930" y="34290"/>
                      <a:pt x="207645" y="32385"/>
                      <a:pt x="191453" y="35242"/>
                    </a:cubicBezTo>
                    <a:cubicBezTo>
                      <a:pt x="175260" y="38100"/>
                      <a:pt x="164783" y="35242"/>
                      <a:pt x="166688" y="38100"/>
                    </a:cubicBezTo>
                    <a:cubicBezTo>
                      <a:pt x="167640" y="40957"/>
                      <a:pt x="153353" y="43815"/>
                      <a:pt x="153353" y="43815"/>
                    </a:cubicBezTo>
                    <a:lnTo>
                      <a:pt x="145733" y="46672"/>
                    </a:lnTo>
                    <a:cubicBezTo>
                      <a:pt x="145733" y="46672"/>
                      <a:pt x="121920" y="45720"/>
                      <a:pt x="123825" y="48578"/>
                    </a:cubicBezTo>
                    <a:cubicBezTo>
                      <a:pt x="124778" y="51435"/>
                      <a:pt x="113348" y="53340"/>
                      <a:pt x="113348" y="53340"/>
                    </a:cubicBezTo>
                    <a:lnTo>
                      <a:pt x="104775" y="60960"/>
                    </a:lnTo>
                    <a:cubicBezTo>
                      <a:pt x="104775" y="60960"/>
                      <a:pt x="97155" y="58103"/>
                      <a:pt x="97155" y="61913"/>
                    </a:cubicBezTo>
                    <a:cubicBezTo>
                      <a:pt x="97155" y="65723"/>
                      <a:pt x="107633" y="57150"/>
                      <a:pt x="97155" y="65723"/>
                    </a:cubicBezTo>
                    <a:cubicBezTo>
                      <a:pt x="86678" y="74295"/>
                      <a:pt x="80963" y="76200"/>
                      <a:pt x="80963" y="76200"/>
                    </a:cubicBezTo>
                    <a:lnTo>
                      <a:pt x="64770" y="80962"/>
                    </a:lnTo>
                    <a:cubicBezTo>
                      <a:pt x="64770" y="80962"/>
                      <a:pt x="54293" y="80010"/>
                      <a:pt x="59055" y="84773"/>
                    </a:cubicBezTo>
                    <a:cubicBezTo>
                      <a:pt x="62865" y="89535"/>
                      <a:pt x="61913" y="82867"/>
                      <a:pt x="62865" y="89535"/>
                    </a:cubicBezTo>
                    <a:cubicBezTo>
                      <a:pt x="62865" y="94298"/>
                      <a:pt x="51435" y="88583"/>
                      <a:pt x="62865" y="94298"/>
                    </a:cubicBezTo>
                    <a:cubicBezTo>
                      <a:pt x="74295" y="99060"/>
                      <a:pt x="64770" y="94298"/>
                      <a:pt x="74295" y="99060"/>
                    </a:cubicBezTo>
                    <a:cubicBezTo>
                      <a:pt x="84773" y="103823"/>
                      <a:pt x="87630" y="104775"/>
                      <a:pt x="91440" y="107633"/>
                    </a:cubicBezTo>
                    <a:cubicBezTo>
                      <a:pt x="96203" y="110490"/>
                      <a:pt x="94298" y="104775"/>
                      <a:pt x="96203" y="110490"/>
                    </a:cubicBezTo>
                    <a:cubicBezTo>
                      <a:pt x="97155" y="116205"/>
                      <a:pt x="110490" y="117158"/>
                      <a:pt x="113348" y="120015"/>
                    </a:cubicBezTo>
                    <a:cubicBezTo>
                      <a:pt x="116205" y="122873"/>
                      <a:pt x="116205" y="122873"/>
                      <a:pt x="116205" y="122873"/>
                    </a:cubicBezTo>
                    <a:cubicBezTo>
                      <a:pt x="116205" y="122873"/>
                      <a:pt x="108585" y="123825"/>
                      <a:pt x="104775" y="125730"/>
                    </a:cubicBezTo>
                    <a:cubicBezTo>
                      <a:pt x="100013" y="127635"/>
                      <a:pt x="91440" y="126683"/>
                      <a:pt x="91440" y="126683"/>
                    </a:cubicBezTo>
                    <a:lnTo>
                      <a:pt x="78105" y="125730"/>
                    </a:lnTo>
                    <a:lnTo>
                      <a:pt x="59055" y="125730"/>
                    </a:lnTo>
                    <a:cubicBezTo>
                      <a:pt x="59055" y="125730"/>
                      <a:pt x="53340" y="126683"/>
                      <a:pt x="48578" y="127635"/>
                    </a:cubicBezTo>
                    <a:cubicBezTo>
                      <a:pt x="43815" y="128587"/>
                      <a:pt x="21908" y="129540"/>
                      <a:pt x="21908" y="129540"/>
                    </a:cubicBezTo>
                    <a:cubicBezTo>
                      <a:pt x="20003" y="136208"/>
                      <a:pt x="19050" y="129540"/>
                      <a:pt x="20003" y="136208"/>
                    </a:cubicBezTo>
                    <a:cubicBezTo>
                      <a:pt x="22860" y="141923"/>
                      <a:pt x="14288" y="141923"/>
                      <a:pt x="22860" y="147637"/>
                    </a:cubicBezTo>
                    <a:cubicBezTo>
                      <a:pt x="31433" y="153353"/>
                      <a:pt x="26670" y="155258"/>
                      <a:pt x="33338" y="157162"/>
                    </a:cubicBezTo>
                    <a:cubicBezTo>
                      <a:pt x="38100" y="159067"/>
                      <a:pt x="31433" y="158115"/>
                      <a:pt x="38100" y="159067"/>
                    </a:cubicBezTo>
                    <a:cubicBezTo>
                      <a:pt x="45720" y="160020"/>
                      <a:pt x="51435" y="158115"/>
                      <a:pt x="56198" y="159067"/>
                    </a:cubicBezTo>
                    <a:cubicBezTo>
                      <a:pt x="60960" y="160020"/>
                      <a:pt x="67628" y="159067"/>
                      <a:pt x="67628" y="159067"/>
                    </a:cubicBezTo>
                    <a:lnTo>
                      <a:pt x="81915" y="157162"/>
                    </a:lnTo>
                    <a:lnTo>
                      <a:pt x="90488" y="156210"/>
                    </a:lnTo>
                    <a:cubicBezTo>
                      <a:pt x="90488" y="156210"/>
                      <a:pt x="98108" y="155258"/>
                      <a:pt x="101918" y="156210"/>
                    </a:cubicBezTo>
                    <a:cubicBezTo>
                      <a:pt x="106680" y="157162"/>
                      <a:pt x="106680" y="157162"/>
                      <a:pt x="106680" y="157162"/>
                    </a:cubicBezTo>
                    <a:cubicBezTo>
                      <a:pt x="115253" y="158115"/>
                      <a:pt x="128588" y="160973"/>
                      <a:pt x="128588" y="160973"/>
                    </a:cubicBezTo>
                    <a:lnTo>
                      <a:pt x="131445" y="164783"/>
                    </a:lnTo>
                    <a:cubicBezTo>
                      <a:pt x="131445" y="164783"/>
                      <a:pt x="128588" y="165735"/>
                      <a:pt x="129540" y="170498"/>
                    </a:cubicBezTo>
                    <a:cubicBezTo>
                      <a:pt x="130493" y="175260"/>
                      <a:pt x="130493" y="175260"/>
                      <a:pt x="130493" y="175260"/>
                    </a:cubicBezTo>
                    <a:lnTo>
                      <a:pt x="114300" y="178117"/>
                    </a:lnTo>
                    <a:lnTo>
                      <a:pt x="100965" y="179070"/>
                    </a:lnTo>
                    <a:lnTo>
                      <a:pt x="85725" y="184785"/>
                    </a:lnTo>
                    <a:lnTo>
                      <a:pt x="71438" y="184785"/>
                    </a:lnTo>
                    <a:lnTo>
                      <a:pt x="60960" y="188595"/>
                    </a:lnTo>
                    <a:cubicBezTo>
                      <a:pt x="60960" y="188595"/>
                      <a:pt x="50483" y="191453"/>
                      <a:pt x="52388" y="194310"/>
                    </a:cubicBezTo>
                    <a:cubicBezTo>
                      <a:pt x="53340" y="197167"/>
                      <a:pt x="53340" y="197167"/>
                      <a:pt x="53340" y="197167"/>
                    </a:cubicBezTo>
                    <a:lnTo>
                      <a:pt x="45720" y="203835"/>
                    </a:lnTo>
                    <a:cubicBezTo>
                      <a:pt x="42863" y="208598"/>
                      <a:pt x="42863" y="208598"/>
                      <a:pt x="42863" y="208598"/>
                    </a:cubicBezTo>
                    <a:lnTo>
                      <a:pt x="40958" y="216217"/>
                    </a:lnTo>
                    <a:lnTo>
                      <a:pt x="49530" y="221933"/>
                    </a:lnTo>
                    <a:cubicBezTo>
                      <a:pt x="57150" y="227648"/>
                      <a:pt x="57150" y="227648"/>
                      <a:pt x="57150" y="227648"/>
                    </a:cubicBezTo>
                    <a:lnTo>
                      <a:pt x="70485" y="231458"/>
                    </a:lnTo>
                    <a:lnTo>
                      <a:pt x="83820" y="237173"/>
                    </a:lnTo>
                    <a:lnTo>
                      <a:pt x="90488" y="242887"/>
                    </a:lnTo>
                    <a:cubicBezTo>
                      <a:pt x="100965" y="245745"/>
                      <a:pt x="90488" y="244792"/>
                      <a:pt x="100965" y="245745"/>
                    </a:cubicBezTo>
                    <a:cubicBezTo>
                      <a:pt x="112395" y="247650"/>
                      <a:pt x="112395" y="247650"/>
                      <a:pt x="112395" y="247650"/>
                    </a:cubicBezTo>
                    <a:lnTo>
                      <a:pt x="125730" y="255270"/>
                    </a:lnTo>
                    <a:lnTo>
                      <a:pt x="137160" y="255270"/>
                    </a:lnTo>
                    <a:cubicBezTo>
                      <a:pt x="137160" y="255270"/>
                      <a:pt x="145733" y="254317"/>
                      <a:pt x="152400" y="257175"/>
                    </a:cubicBezTo>
                    <a:cubicBezTo>
                      <a:pt x="159068" y="260033"/>
                      <a:pt x="159068" y="260033"/>
                      <a:pt x="159068" y="260033"/>
                    </a:cubicBezTo>
                    <a:lnTo>
                      <a:pt x="172403" y="261937"/>
                    </a:lnTo>
                    <a:lnTo>
                      <a:pt x="182880" y="264795"/>
                    </a:lnTo>
                    <a:cubicBezTo>
                      <a:pt x="184785" y="270510"/>
                      <a:pt x="184785" y="270510"/>
                      <a:pt x="184785" y="270510"/>
                    </a:cubicBezTo>
                    <a:cubicBezTo>
                      <a:pt x="184785" y="270510"/>
                      <a:pt x="182880" y="273368"/>
                      <a:pt x="180023" y="277178"/>
                    </a:cubicBezTo>
                    <a:cubicBezTo>
                      <a:pt x="177165" y="280987"/>
                      <a:pt x="161925" y="284798"/>
                      <a:pt x="161925" y="284798"/>
                    </a:cubicBezTo>
                    <a:lnTo>
                      <a:pt x="148590" y="290512"/>
                    </a:lnTo>
                    <a:lnTo>
                      <a:pt x="135255" y="296228"/>
                    </a:lnTo>
                    <a:lnTo>
                      <a:pt x="123825" y="300037"/>
                    </a:lnTo>
                    <a:lnTo>
                      <a:pt x="110490" y="303848"/>
                    </a:lnTo>
                    <a:lnTo>
                      <a:pt x="99060" y="307658"/>
                    </a:lnTo>
                    <a:lnTo>
                      <a:pt x="79058" y="310515"/>
                    </a:lnTo>
                    <a:lnTo>
                      <a:pt x="63818" y="314325"/>
                    </a:lnTo>
                    <a:lnTo>
                      <a:pt x="50483" y="315278"/>
                    </a:lnTo>
                    <a:lnTo>
                      <a:pt x="38100" y="320040"/>
                    </a:lnTo>
                    <a:lnTo>
                      <a:pt x="18098" y="322898"/>
                    </a:lnTo>
                    <a:lnTo>
                      <a:pt x="0" y="322898"/>
                    </a:lnTo>
                    <a:lnTo>
                      <a:pt x="0" y="328612"/>
                    </a:lnTo>
                    <a:cubicBezTo>
                      <a:pt x="0" y="328612"/>
                      <a:pt x="8573" y="330518"/>
                      <a:pt x="15240" y="330518"/>
                    </a:cubicBezTo>
                    <a:cubicBezTo>
                      <a:pt x="21908" y="330518"/>
                      <a:pt x="28575" y="327660"/>
                      <a:pt x="37148" y="327660"/>
                    </a:cubicBezTo>
                    <a:cubicBezTo>
                      <a:pt x="45720" y="327660"/>
                      <a:pt x="50483" y="324803"/>
                      <a:pt x="57150" y="324803"/>
                    </a:cubicBezTo>
                    <a:cubicBezTo>
                      <a:pt x="63818" y="324803"/>
                      <a:pt x="72390" y="321945"/>
                      <a:pt x="81915" y="320993"/>
                    </a:cubicBezTo>
                    <a:cubicBezTo>
                      <a:pt x="90488" y="320040"/>
                      <a:pt x="93345" y="318135"/>
                      <a:pt x="100013" y="318135"/>
                    </a:cubicBezTo>
                    <a:cubicBezTo>
                      <a:pt x="106680" y="318135"/>
                      <a:pt x="120015" y="315278"/>
                      <a:pt x="120015" y="315278"/>
                    </a:cubicBezTo>
                    <a:lnTo>
                      <a:pt x="138113" y="312420"/>
                    </a:lnTo>
                    <a:lnTo>
                      <a:pt x="164783" y="306705"/>
                    </a:lnTo>
                    <a:cubicBezTo>
                      <a:pt x="164783" y="306705"/>
                      <a:pt x="169545" y="300037"/>
                      <a:pt x="176213" y="300037"/>
                    </a:cubicBezTo>
                    <a:cubicBezTo>
                      <a:pt x="182880" y="300037"/>
                      <a:pt x="189548" y="294323"/>
                      <a:pt x="189548" y="294323"/>
                    </a:cubicBezTo>
                    <a:lnTo>
                      <a:pt x="200978" y="288608"/>
                    </a:lnTo>
                    <a:lnTo>
                      <a:pt x="212408" y="280035"/>
                    </a:lnTo>
                    <a:lnTo>
                      <a:pt x="227648" y="270510"/>
                    </a:lnTo>
                    <a:lnTo>
                      <a:pt x="236220" y="261937"/>
                    </a:lnTo>
                    <a:lnTo>
                      <a:pt x="249555" y="255270"/>
                    </a:lnTo>
                    <a:lnTo>
                      <a:pt x="258128" y="249555"/>
                    </a:lnTo>
                    <a:lnTo>
                      <a:pt x="269558" y="240983"/>
                    </a:lnTo>
                    <a:lnTo>
                      <a:pt x="276225" y="235267"/>
                    </a:lnTo>
                    <a:lnTo>
                      <a:pt x="278130" y="229553"/>
                    </a:lnTo>
                    <a:lnTo>
                      <a:pt x="291465" y="226695"/>
                    </a:lnTo>
                    <a:cubicBezTo>
                      <a:pt x="298133" y="232410"/>
                      <a:pt x="302895" y="226695"/>
                      <a:pt x="298133" y="232410"/>
                    </a:cubicBezTo>
                    <a:cubicBezTo>
                      <a:pt x="293370" y="238125"/>
                      <a:pt x="293370" y="238125"/>
                      <a:pt x="293370" y="238125"/>
                    </a:cubicBezTo>
                    <a:cubicBezTo>
                      <a:pt x="293370" y="238125"/>
                      <a:pt x="295275" y="243840"/>
                      <a:pt x="303848" y="242887"/>
                    </a:cubicBezTo>
                    <a:cubicBezTo>
                      <a:pt x="312420" y="241935"/>
                      <a:pt x="312420" y="237173"/>
                      <a:pt x="319088" y="234315"/>
                    </a:cubicBezTo>
                    <a:cubicBezTo>
                      <a:pt x="325755" y="231458"/>
                      <a:pt x="325755" y="231458"/>
                      <a:pt x="325755" y="231458"/>
                    </a:cubicBezTo>
                    <a:lnTo>
                      <a:pt x="345758" y="233362"/>
                    </a:lnTo>
                    <a:cubicBezTo>
                      <a:pt x="345758" y="233362"/>
                      <a:pt x="345758" y="226695"/>
                      <a:pt x="357188" y="227648"/>
                    </a:cubicBezTo>
                    <a:cubicBezTo>
                      <a:pt x="367665" y="229553"/>
                      <a:pt x="355283" y="228600"/>
                      <a:pt x="367665" y="229553"/>
                    </a:cubicBezTo>
                    <a:cubicBezTo>
                      <a:pt x="381000" y="229553"/>
                      <a:pt x="381000" y="229553"/>
                      <a:pt x="381000" y="229553"/>
                    </a:cubicBezTo>
                    <a:lnTo>
                      <a:pt x="396240" y="232410"/>
                    </a:lnTo>
                    <a:cubicBezTo>
                      <a:pt x="396240" y="232410"/>
                      <a:pt x="404813" y="237173"/>
                      <a:pt x="416243" y="238125"/>
                    </a:cubicBezTo>
                    <a:cubicBezTo>
                      <a:pt x="427673" y="240030"/>
                      <a:pt x="440055" y="240030"/>
                      <a:pt x="440055" y="240030"/>
                    </a:cubicBezTo>
                    <a:lnTo>
                      <a:pt x="453390" y="240030"/>
                    </a:lnTo>
                    <a:lnTo>
                      <a:pt x="468630" y="244792"/>
                    </a:lnTo>
                    <a:cubicBezTo>
                      <a:pt x="468630" y="244792"/>
                      <a:pt x="468630" y="241935"/>
                      <a:pt x="477203" y="244792"/>
                    </a:cubicBezTo>
                    <a:cubicBezTo>
                      <a:pt x="485775" y="247650"/>
                      <a:pt x="499110" y="247650"/>
                      <a:pt x="499110" y="247650"/>
                    </a:cubicBezTo>
                    <a:cubicBezTo>
                      <a:pt x="499110" y="247650"/>
                      <a:pt x="503873" y="250508"/>
                      <a:pt x="509588" y="252412"/>
                    </a:cubicBezTo>
                    <a:cubicBezTo>
                      <a:pt x="516255" y="254317"/>
                      <a:pt x="520065" y="258128"/>
                      <a:pt x="526733" y="260985"/>
                    </a:cubicBezTo>
                    <a:cubicBezTo>
                      <a:pt x="533400" y="263843"/>
                      <a:pt x="521970" y="259080"/>
                      <a:pt x="533400" y="263843"/>
                    </a:cubicBezTo>
                    <a:cubicBezTo>
                      <a:pt x="543878" y="268605"/>
                      <a:pt x="543878" y="268605"/>
                      <a:pt x="543878" y="268605"/>
                    </a:cubicBezTo>
                    <a:cubicBezTo>
                      <a:pt x="543878" y="268605"/>
                      <a:pt x="552450" y="274320"/>
                      <a:pt x="559118" y="276225"/>
                    </a:cubicBezTo>
                    <a:cubicBezTo>
                      <a:pt x="565785" y="278130"/>
                      <a:pt x="565785" y="278130"/>
                      <a:pt x="565785" y="278130"/>
                    </a:cubicBezTo>
                    <a:lnTo>
                      <a:pt x="579120" y="285750"/>
                    </a:lnTo>
                    <a:lnTo>
                      <a:pt x="592455" y="294323"/>
                    </a:lnTo>
                    <a:lnTo>
                      <a:pt x="599123" y="303848"/>
                    </a:lnTo>
                    <a:lnTo>
                      <a:pt x="612458" y="312420"/>
                    </a:lnTo>
                    <a:lnTo>
                      <a:pt x="629603" y="322898"/>
                    </a:lnTo>
                    <a:cubicBezTo>
                      <a:pt x="629603" y="322898"/>
                      <a:pt x="634365" y="325755"/>
                      <a:pt x="640080" y="328612"/>
                    </a:cubicBezTo>
                    <a:cubicBezTo>
                      <a:pt x="646748" y="331470"/>
                      <a:pt x="655320" y="336233"/>
                      <a:pt x="655320" y="336233"/>
                    </a:cubicBezTo>
                    <a:cubicBezTo>
                      <a:pt x="655320" y="336233"/>
                      <a:pt x="650558" y="337185"/>
                      <a:pt x="659130" y="342900"/>
                    </a:cubicBezTo>
                    <a:cubicBezTo>
                      <a:pt x="667703" y="348615"/>
                      <a:pt x="654368" y="343853"/>
                      <a:pt x="667703" y="348615"/>
                    </a:cubicBezTo>
                    <a:cubicBezTo>
                      <a:pt x="681038" y="353378"/>
                      <a:pt x="672465" y="347662"/>
                      <a:pt x="681038" y="353378"/>
                    </a:cubicBezTo>
                    <a:cubicBezTo>
                      <a:pt x="689610" y="359093"/>
                      <a:pt x="689610" y="359093"/>
                      <a:pt x="689610" y="359093"/>
                    </a:cubicBezTo>
                    <a:cubicBezTo>
                      <a:pt x="689610" y="359093"/>
                      <a:pt x="694373" y="363855"/>
                      <a:pt x="696278" y="367665"/>
                    </a:cubicBezTo>
                    <a:cubicBezTo>
                      <a:pt x="698183" y="371475"/>
                      <a:pt x="685800" y="362903"/>
                      <a:pt x="698183" y="371475"/>
                    </a:cubicBezTo>
                    <a:cubicBezTo>
                      <a:pt x="711518" y="380048"/>
                      <a:pt x="721995" y="380048"/>
                      <a:pt x="721995" y="380048"/>
                    </a:cubicBezTo>
                    <a:lnTo>
                      <a:pt x="730568" y="384810"/>
                    </a:lnTo>
                    <a:cubicBezTo>
                      <a:pt x="730568" y="384810"/>
                      <a:pt x="732473" y="388620"/>
                      <a:pt x="739140" y="389573"/>
                    </a:cubicBezTo>
                    <a:cubicBezTo>
                      <a:pt x="745808" y="389573"/>
                      <a:pt x="761048" y="395287"/>
                      <a:pt x="761048" y="395287"/>
                    </a:cubicBezTo>
                    <a:cubicBezTo>
                      <a:pt x="761048" y="395287"/>
                      <a:pt x="778193" y="398145"/>
                      <a:pt x="778193" y="402908"/>
                    </a:cubicBezTo>
                    <a:cubicBezTo>
                      <a:pt x="778193" y="406718"/>
                      <a:pt x="774383" y="397193"/>
                      <a:pt x="778193" y="406718"/>
                    </a:cubicBezTo>
                    <a:cubicBezTo>
                      <a:pt x="782003" y="416243"/>
                      <a:pt x="782003" y="416243"/>
                      <a:pt x="782003" y="416243"/>
                    </a:cubicBezTo>
                    <a:lnTo>
                      <a:pt x="773430" y="420052"/>
                    </a:lnTo>
                    <a:lnTo>
                      <a:pt x="762000" y="420052"/>
                    </a:lnTo>
                    <a:lnTo>
                      <a:pt x="755333" y="413385"/>
                    </a:lnTo>
                    <a:lnTo>
                      <a:pt x="746760" y="406718"/>
                    </a:lnTo>
                    <a:lnTo>
                      <a:pt x="738188" y="403860"/>
                    </a:lnTo>
                    <a:lnTo>
                      <a:pt x="729615" y="399098"/>
                    </a:lnTo>
                    <a:cubicBezTo>
                      <a:pt x="729615" y="399098"/>
                      <a:pt x="712470" y="390525"/>
                      <a:pt x="705803" y="391477"/>
                    </a:cubicBezTo>
                    <a:cubicBezTo>
                      <a:pt x="699135" y="392430"/>
                      <a:pt x="699135" y="392430"/>
                      <a:pt x="699135" y="392430"/>
                    </a:cubicBezTo>
                    <a:cubicBezTo>
                      <a:pt x="699135" y="401002"/>
                      <a:pt x="707708" y="402908"/>
                      <a:pt x="707708" y="402908"/>
                    </a:cubicBezTo>
                    <a:cubicBezTo>
                      <a:pt x="707708" y="402908"/>
                      <a:pt x="716280" y="409575"/>
                      <a:pt x="722948" y="411480"/>
                    </a:cubicBezTo>
                    <a:cubicBezTo>
                      <a:pt x="729615" y="413385"/>
                      <a:pt x="736283" y="419100"/>
                      <a:pt x="736283" y="419100"/>
                    </a:cubicBezTo>
                    <a:cubicBezTo>
                      <a:pt x="736283" y="419100"/>
                      <a:pt x="742950" y="423862"/>
                      <a:pt x="742950" y="427673"/>
                    </a:cubicBezTo>
                    <a:cubicBezTo>
                      <a:pt x="742950" y="431483"/>
                      <a:pt x="741045" y="423862"/>
                      <a:pt x="742950" y="431483"/>
                    </a:cubicBezTo>
                    <a:cubicBezTo>
                      <a:pt x="744855" y="440055"/>
                      <a:pt x="744855" y="445770"/>
                      <a:pt x="744855" y="445770"/>
                    </a:cubicBezTo>
                    <a:lnTo>
                      <a:pt x="752475" y="456248"/>
                    </a:lnTo>
                    <a:lnTo>
                      <a:pt x="747713" y="487680"/>
                    </a:lnTo>
                    <a:lnTo>
                      <a:pt x="751523" y="500062"/>
                    </a:lnTo>
                    <a:cubicBezTo>
                      <a:pt x="751523" y="500062"/>
                      <a:pt x="746760" y="501015"/>
                      <a:pt x="751523" y="506730"/>
                    </a:cubicBezTo>
                    <a:cubicBezTo>
                      <a:pt x="755333" y="512445"/>
                      <a:pt x="758190" y="521970"/>
                      <a:pt x="758190" y="521970"/>
                    </a:cubicBezTo>
                    <a:cubicBezTo>
                      <a:pt x="758190" y="521970"/>
                      <a:pt x="760095" y="528638"/>
                      <a:pt x="764858" y="536258"/>
                    </a:cubicBezTo>
                    <a:cubicBezTo>
                      <a:pt x="768668" y="542925"/>
                      <a:pt x="762953" y="534352"/>
                      <a:pt x="768668" y="542925"/>
                    </a:cubicBezTo>
                    <a:cubicBezTo>
                      <a:pt x="775335" y="551498"/>
                      <a:pt x="775335" y="551498"/>
                      <a:pt x="775335" y="551498"/>
                    </a:cubicBezTo>
                    <a:cubicBezTo>
                      <a:pt x="775335" y="551498"/>
                      <a:pt x="782003" y="554355"/>
                      <a:pt x="785813" y="559118"/>
                    </a:cubicBezTo>
                    <a:cubicBezTo>
                      <a:pt x="789623" y="562927"/>
                      <a:pt x="792480" y="564833"/>
                      <a:pt x="794385" y="568643"/>
                    </a:cubicBezTo>
                    <a:cubicBezTo>
                      <a:pt x="796290" y="572452"/>
                      <a:pt x="801053" y="580073"/>
                      <a:pt x="801053" y="580073"/>
                    </a:cubicBezTo>
                    <a:cubicBezTo>
                      <a:pt x="801053" y="580073"/>
                      <a:pt x="801053" y="579120"/>
                      <a:pt x="804863" y="585788"/>
                    </a:cubicBezTo>
                    <a:cubicBezTo>
                      <a:pt x="808673" y="592455"/>
                      <a:pt x="802958" y="585788"/>
                      <a:pt x="808673" y="592455"/>
                    </a:cubicBezTo>
                    <a:cubicBezTo>
                      <a:pt x="815340" y="599123"/>
                      <a:pt x="815340" y="599123"/>
                      <a:pt x="815340" y="599123"/>
                    </a:cubicBezTo>
                    <a:cubicBezTo>
                      <a:pt x="815340" y="599123"/>
                      <a:pt x="820103" y="598170"/>
                      <a:pt x="825818" y="601980"/>
                    </a:cubicBezTo>
                    <a:cubicBezTo>
                      <a:pt x="832485" y="606743"/>
                      <a:pt x="832485" y="606743"/>
                      <a:pt x="832485" y="606743"/>
                    </a:cubicBezTo>
                    <a:lnTo>
                      <a:pt x="843915" y="609600"/>
                    </a:lnTo>
                    <a:cubicBezTo>
                      <a:pt x="843915" y="609600"/>
                      <a:pt x="845820" y="606743"/>
                      <a:pt x="852488" y="612458"/>
                    </a:cubicBezTo>
                    <a:cubicBezTo>
                      <a:pt x="859155" y="618173"/>
                      <a:pt x="859155" y="618173"/>
                      <a:pt x="859155" y="618173"/>
                    </a:cubicBezTo>
                    <a:lnTo>
                      <a:pt x="879158" y="631508"/>
                    </a:lnTo>
                    <a:lnTo>
                      <a:pt x="885825" y="643890"/>
                    </a:lnTo>
                    <a:cubicBezTo>
                      <a:pt x="885825" y="643890"/>
                      <a:pt x="881063" y="643890"/>
                      <a:pt x="889635" y="650558"/>
                    </a:cubicBezTo>
                    <a:cubicBezTo>
                      <a:pt x="898208" y="658177"/>
                      <a:pt x="900113" y="661035"/>
                      <a:pt x="902018" y="665798"/>
                    </a:cubicBezTo>
                    <a:cubicBezTo>
                      <a:pt x="903923" y="671513"/>
                      <a:pt x="897255" y="662940"/>
                      <a:pt x="903923" y="671513"/>
                    </a:cubicBezTo>
                    <a:cubicBezTo>
                      <a:pt x="910590" y="680085"/>
                      <a:pt x="917258" y="685800"/>
                      <a:pt x="917258" y="685800"/>
                    </a:cubicBezTo>
                    <a:lnTo>
                      <a:pt x="923925" y="701040"/>
                    </a:lnTo>
                    <a:cubicBezTo>
                      <a:pt x="934403" y="706755"/>
                      <a:pt x="945833" y="711518"/>
                      <a:pt x="945833" y="711518"/>
                    </a:cubicBezTo>
                    <a:cubicBezTo>
                      <a:pt x="945833" y="711518"/>
                      <a:pt x="954405" y="713423"/>
                      <a:pt x="956310" y="717233"/>
                    </a:cubicBezTo>
                    <a:cubicBezTo>
                      <a:pt x="958215" y="721995"/>
                      <a:pt x="969645" y="725805"/>
                      <a:pt x="969645" y="725805"/>
                    </a:cubicBezTo>
                    <a:lnTo>
                      <a:pt x="980123" y="731520"/>
                    </a:lnTo>
                    <a:lnTo>
                      <a:pt x="993458" y="731520"/>
                    </a:lnTo>
                    <a:lnTo>
                      <a:pt x="990600" y="722948"/>
                    </a:lnTo>
                    <a:lnTo>
                      <a:pt x="982028" y="717233"/>
                    </a:lnTo>
                    <a:lnTo>
                      <a:pt x="968693" y="706755"/>
                    </a:lnTo>
                    <a:lnTo>
                      <a:pt x="960120" y="698183"/>
                    </a:lnTo>
                    <a:lnTo>
                      <a:pt x="953453" y="692468"/>
                    </a:lnTo>
                    <a:lnTo>
                      <a:pt x="949643" y="686752"/>
                    </a:lnTo>
                    <a:lnTo>
                      <a:pt x="945833" y="678180"/>
                    </a:lnTo>
                    <a:lnTo>
                      <a:pt x="939165" y="672465"/>
                    </a:lnTo>
                    <a:lnTo>
                      <a:pt x="935355" y="663893"/>
                    </a:lnTo>
                    <a:lnTo>
                      <a:pt x="923925" y="655320"/>
                    </a:lnTo>
                    <a:lnTo>
                      <a:pt x="923925" y="648652"/>
                    </a:lnTo>
                    <a:lnTo>
                      <a:pt x="935355" y="645795"/>
                    </a:lnTo>
                    <a:cubicBezTo>
                      <a:pt x="943928" y="651510"/>
                      <a:pt x="931545" y="633413"/>
                      <a:pt x="943928" y="651510"/>
                    </a:cubicBezTo>
                    <a:cubicBezTo>
                      <a:pt x="956310" y="669608"/>
                      <a:pt x="962978" y="677227"/>
                      <a:pt x="962978" y="677227"/>
                    </a:cubicBezTo>
                    <a:cubicBezTo>
                      <a:pt x="962978" y="677227"/>
                      <a:pt x="978218" y="685800"/>
                      <a:pt x="980123" y="690563"/>
                    </a:cubicBezTo>
                    <a:cubicBezTo>
                      <a:pt x="982028" y="694373"/>
                      <a:pt x="997268" y="701040"/>
                      <a:pt x="997268" y="701040"/>
                    </a:cubicBezTo>
                    <a:lnTo>
                      <a:pt x="1012508" y="712470"/>
                    </a:lnTo>
                    <a:cubicBezTo>
                      <a:pt x="1012508" y="712470"/>
                      <a:pt x="1014413" y="715327"/>
                      <a:pt x="1019175" y="719138"/>
                    </a:cubicBezTo>
                    <a:cubicBezTo>
                      <a:pt x="1023938" y="722948"/>
                      <a:pt x="1034415" y="733425"/>
                      <a:pt x="1034415" y="733425"/>
                    </a:cubicBezTo>
                    <a:cubicBezTo>
                      <a:pt x="1044893" y="739140"/>
                      <a:pt x="1044893" y="739140"/>
                      <a:pt x="1044893" y="739140"/>
                    </a:cubicBezTo>
                    <a:cubicBezTo>
                      <a:pt x="1044893" y="739140"/>
                      <a:pt x="1042988" y="741998"/>
                      <a:pt x="1048703" y="745808"/>
                    </a:cubicBezTo>
                    <a:cubicBezTo>
                      <a:pt x="1055370" y="750570"/>
                      <a:pt x="1048703" y="743902"/>
                      <a:pt x="1055370" y="750570"/>
                    </a:cubicBezTo>
                    <a:cubicBezTo>
                      <a:pt x="1062038" y="756285"/>
                      <a:pt x="1055370" y="751523"/>
                      <a:pt x="1062038" y="756285"/>
                    </a:cubicBezTo>
                    <a:cubicBezTo>
                      <a:pt x="1068705" y="761048"/>
                      <a:pt x="1063943" y="755333"/>
                      <a:pt x="1068705" y="761048"/>
                    </a:cubicBezTo>
                    <a:cubicBezTo>
                      <a:pt x="1072515" y="766763"/>
                      <a:pt x="1075373" y="761048"/>
                      <a:pt x="1072515" y="766763"/>
                    </a:cubicBezTo>
                    <a:cubicBezTo>
                      <a:pt x="1070610" y="772477"/>
                      <a:pt x="1070610" y="772477"/>
                      <a:pt x="1070610" y="772477"/>
                    </a:cubicBezTo>
                    <a:cubicBezTo>
                      <a:pt x="1070610" y="772477"/>
                      <a:pt x="1068705" y="775335"/>
                      <a:pt x="1074420" y="779145"/>
                    </a:cubicBezTo>
                    <a:cubicBezTo>
                      <a:pt x="1081088" y="783908"/>
                      <a:pt x="1081088" y="783908"/>
                      <a:pt x="1081088" y="783908"/>
                    </a:cubicBezTo>
                    <a:cubicBezTo>
                      <a:pt x="1081088" y="783908"/>
                      <a:pt x="1087755" y="786765"/>
                      <a:pt x="1094423" y="789623"/>
                    </a:cubicBezTo>
                    <a:cubicBezTo>
                      <a:pt x="1101090" y="792480"/>
                      <a:pt x="1101090" y="792480"/>
                      <a:pt x="1101090" y="792480"/>
                    </a:cubicBezTo>
                    <a:cubicBezTo>
                      <a:pt x="1101090" y="792480"/>
                      <a:pt x="1112520" y="794385"/>
                      <a:pt x="1116330" y="798195"/>
                    </a:cubicBezTo>
                    <a:cubicBezTo>
                      <a:pt x="1121093" y="802005"/>
                      <a:pt x="1111568" y="795338"/>
                      <a:pt x="1121093" y="802005"/>
                    </a:cubicBezTo>
                    <a:cubicBezTo>
                      <a:pt x="1122998" y="803910"/>
                      <a:pt x="1124903" y="804863"/>
                      <a:pt x="1125855" y="805815"/>
                    </a:cubicBezTo>
                    <a:cubicBezTo>
                      <a:pt x="1129665" y="808673"/>
                      <a:pt x="1129665" y="808673"/>
                      <a:pt x="1129665" y="808673"/>
                    </a:cubicBezTo>
                    <a:cubicBezTo>
                      <a:pt x="1138238" y="816293"/>
                      <a:pt x="1151573" y="820102"/>
                      <a:pt x="1151573" y="820102"/>
                    </a:cubicBezTo>
                    <a:lnTo>
                      <a:pt x="1168718" y="827723"/>
                    </a:lnTo>
                    <a:lnTo>
                      <a:pt x="1180148" y="827723"/>
                    </a:lnTo>
                    <a:lnTo>
                      <a:pt x="1193483" y="827723"/>
                    </a:lnTo>
                    <a:cubicBezTo>
                      <a:pt x="1193483" y="827723"/>
                      <a:pt x="1200150" y="827723"/>
                      <a:pt x="1213485" y="827723"/>
                    </a:cubicBezTo>
                    <a:cubicBezTo>
                      <a:pt x="1226820" y="827723"/>
                      <a:pt x="1235393" y="827723"/>
                      <a:pt x="1235393" y="827723"/>
                    </a:cubicBezTo>
                    <a:lnTo>
                      <a:pt x="1250633" y="826770"/>
                    </a:lnTo>
                    <a:cubicBezTo>
                      <a:pt x="1250633" y="826770"/>
                      <a:pt x="1265873" y="823913"/>
                      <a:pt x="1272540" y="826770"/>
                    </a:cubicBezTo>
                    <a:cubicBezTo>
                      <a:pt x="1279208" y="829627"/>
                      <a:pt x="1279208" y="829627"/>
                      <a:pt x="1279208" y="829627"/>
                    </a:cubicBezTo>
                    <a:cubicBezTo>
                      <a:pt x="1279208" y="829627"/>
                      <a:pt x="1283970" y="828675"/>
                      <a:pt x="1290638" y="829627"/>
                    </a:cubicBezTo>
                    <a:cubicBezTo>
                      <a:pt x="1297305" y="831533"/>
                      <a:pt x="1292543" y="825818"/>
                      <a:pt x="1297305" y="831533"/>
                    </a:cubicBezTo>
                    <a:cubicBezTo>
                      <a:pt x="1302068" y="837248"/>
                      <a:pt x="1288733" y="828675"/>
                      <a:pt x="1302068" y="837248"/>
                    </a:cubicBezTo>
                    <a:cubicBezTo>
                      <a:pt x="1315403" y="845820"/>
                      <a:pt x="1323975" y="853440"/>
                      <a:pt x="1323975" y="853440"/>
                    </a:cubicBezTo>
                    <a:lnTo>
                      <a:pt x="1341120" y="853440"/>
                    </a:lnTo>
                    <a:lnTo>
                      <a:pt x="1354455" y="855345"/>
                    </a:lnTo>
                    <a:lnTo>
                      <a:pt x="1369695" y="863918"/>
                    </a:lnTo>
                    <a:lnTo>
                      <a:pt x="1383030" y="869633"/>
                    </a:lnTo>
                    <a:lnTo>
                      <a:pt x="1391603" y="875348"/>
                    </a:lnTo>
                    <a:lnTo>
                      <a:pt x="1402080" y="885825"/>
                    </a:lnTo>
                    <a:cubicBezTo>
                      <a:pt x="1402080" y="885825"/>
                      <a:pt x="1406843" y="887730"/>
                      <a:pt x="1410653" y="891540"/>
                    </a:cubicBezTo>
                    <a:cubicBezTo>
                      <a:pt x="1415415" y="896302"/>
                      <a:pt x="1423988" y="900113"/>
                      <a:pt x="1423988" y="900113"/>
                    </a:cubicBezTo>
                    <a:lnTo>
                      <a:pt x="1435418" y="902970"/>
                    </a:lnTo>
                    <a:cubicBezTo>
                      <a:pt x="1435418" y="902970"/>
                      <a:pt x="1437323" y="905827"/>
                      <a:pt x="1437323" y="909638"/>
                    </a:cubicBezTo>
                    <a:cubicBezTo>
                      <a:pt x="1437323" y="913448"/>
                      <a:pt x="1423988" y="906780"/>
                      <a:pt x="1437323" y="913448"/>
                    </a:cubicBezTo>
                    <a:cubicBezTo>
                      <a:pt x="1450658" y="921068"/>
                      <a:pt x="1450658" y="921068"/>
                      <a:pt x="1450658" y="921068"/>
                    </a:cubicBezTo>
                    <a:cubicBezTo>
                      <a:pt x="1450658" y="921068"/>
                      <a:pt x="1452563" y="921068"/>
                      <a:pt x="1459230" y="923925"/>
                    </a:cubicBezTo>
                    <a:cubicBezTo>
                      <a:pt x="1465898" y="926783"/>
                      <a:pt x="1481138" y="923925"/>
                      <a:pt x="1481138" y="923925"/>
                    </a:cubicBezTo>
                    <a:lnTo>
                      <a:pt x="1489710" y="923925"/>
                    </a:lnTo>
                    <a:lnTo>
                      <a:pt x="1498283" y="922973"/>
                    </a:lnTo>
                    <a:lnTo>
                      <a:pt x="1506855" y="922973"/>
                    </a:lnTo>
                    <a:lnTo>
                      <a:pt x="1520190" y="922973"/>
                    </a:lnTo>
                    <a:lnTo>
                      <a:pt x="1533525" y="922973"/>
                    </a:lnTo>
                    <a:lnTo>
                      <a:pt x="1550670" y="922973"/>
                    </a:lnTo>
                    <a:lnTo>
                      <a:pt x="1547813" y="938213"/>
                    </a:lnTo>
                    <a:lnTo>
                      <a:pt x="1547813" y="955358"/>
                    </a:lnTo>
                    <a:cubicBezTo>
                      <a:pt x="1547813" y="955358"/>
                      <a:pt x="1543050" y="961073"/>
                      <a:pt x="1544955" y="964883"/>
                    </a:cubicBezTo>
                    <a:cubicBezTo>
                      <a:pt x="1546860" y="968693"/>
                      <a:pt x="1546860" y="968693"/>
                      <a:pt x="1546860" y="968693"/>
                    </a:cubicBezTo>
                    <a:cubicBezTo>
                      <a:pt x="1546860" y="968693"/>
                      <a:pt x="1544955" y="971550"/>
                      <a:pt x="1542098" y="975360"/>
                    </a:cubicBezTo>
                    <a:cubicBezTo>
                      <a:pt x="1540193" y="979170"/>
                      <a:pt x="1533525" y="979170"/>
                      <a:pt x="1528763" y="984885"/>
                    </a:cubicBezTo>
                    <a:cubicBezTo>
                      <a:pt x="1524000" y="990600"/>
                      <a:pt x="1508760" y="990600"/>
                      <a:pt x="1508760" y="994410"/>
                    </a:cubicBezTo>
                    <a:cubicBezTo>
                      <a:pt x="1508760" y="998220"/>
                      <a:pt x="1508760" y="998220"/>
                      <a:pt x="1508760" y="998220"/>
                    </a:cubicBezTo>
                    <a:cubicBezTo>
                      <a:pt x="1508760" y="998220"/>
                      <a:pt x="1495425" y="1003935"/>
                      <a:pt x="1495425" y="1007745"/>
                    </a:cubicBezTo>
                    <a:cubicBezTo>
                      <a:pt x="1495425" y="1011555"/>
                      <a:pt x="1482090" y="1016318"/>
                      <a:pt x="1482090" y="1016318"/>
                    </a:cubicBezTo>
                    <a:lnTo>
                      <a:pt x="1479233" y="1031557"/>
                    </a:lnTo>
                    <a:lnTo>
                      <a:pt x="1485900" y="1043940"/>
                    </a:lnTo>
                    <a:cubicBezTo>
                      <a:pt x="1485900" y="1049655"/>
                      <a:pt x="1483995" y="1049655"/>
                      <a:pt x="1483043" y="1055370"/>
                    </a:cubicBezTo>
                    <a:cubicBezTo>
                      <a:pt x="1483043" y="1061085"/>
                      <a:pt x="1483043" y="1061085"/>
                      <a:pt x="1483043" y="1061085"/>
                    </a:cubicBezTo>
                    <a:cubicBezTo>
                      <a:pt x="1483043" y="1061085"/>
                      <a:pt x="1480185" y="1070610"/>
                      <a:pt x="1483043" y="1075373"/>
                    </a:cubicBezTo>
                    <a:cubicBezTo>
                      <a:pt x="1484948" y="1079183"/>
                      <a:pt x="1474470" y="1075373"/>
                      <a:pt x="1484948" y="1079183"/>
                    </a:cubicBezTo>
                    <a:cubicBezTo>
                      <a:pt x="1495425" y="1083945"/>
                      <a:pt x="1495425" y="1083945"/>
                      <a:pt x="1495425" y="1083945"/>
                    </a:cubicBezTo>
                    <a:cubicBezTo>
                      <a:pt x="1495425" y="1083945"/>
                      <a:pt x="1506855" y="1085850"/>
                      <a:pt x="1508760" y="1091565"/>
                    </a:cubicBezTo>
                    <a:cubicBezTo>
                      <a:pt x="1510665" y="1097280"/>
                      <a:pt x="1508760" y="1095375"/>
                      <a:pt x="1515428" y="1103948"/>
                    </a:cubicBezTo>
                    <a:cubicBezTo>
                      <a:pt x="1522095" y="1112520"/>
                      <a:pt x="1515428" y="1110615"/>
                      <a:pt x="1524000" y="1118235"/>
                    </a:cubicBezTo>
                    <a:cubicBezTo>
                      <a:pt x="1532573" y="1125855"/>
                      <a:pt x="1547813" y="1141095"/>
                      <a:pt x="1547813" y="1141095"/>
                    </a:cubicBezTo>
                    <a:cubicBezTo>
                      <a:pt x="1547813" y="1141095"/>
                      <a:pt x="1552575" y="1143000"/>
                      <a:pt x="1554480" y="1146810"/>
                    </a:cubicBezTo>
                    <a:cubicBezTo>
                      <a:pt x="1556385" y="1150620"/>
                      <a:pt x="1541145" y="1139190"/>
                      <a:pt x="1556385" y="1150620"/>
                    </a:cubicBezTo>
                    <a:cubicBezTo>
                      <a:pt x="1571625" y="1162050"/>
                      <a:pt x="1569720" y="1155383"/>
                      <a:pt x="1571625" y="1162050"/>
                    </a:cubicBezTo>
                    <a:cubicBezTo>
                      <a:pt x="1573530" y="1168718"/>
                      <a:pt x="1582103" y="1169670"/>
                      <a:pt x="1586865" y="1173480"/>
                    </a:cubicBezTo>
                    <a:cubicBezTo>
                      <a:pt x="1591628" y="1178243"/>
                      <a:pt x="1600200" y="1181100"/>
                      <a:pt x="1600200" y="1181100"/>
                    </a:cubicBezTo>
                    <a:lnTo>
                      <a:pt x="1608773" y="1183958"/>
                    </a:lnTo>
                    <a:lnTo>
                      <a:pt x="1624013" y="1191578"/>
                    </a:lnTo>
                    <a:lnTo>
                      <a:pt x="1634490" y="1197293"/>
                    </a:lnTo>
                    <a:lnTo>
                      <a:pt x="1651635" y="1204913"/>
                    </a:lnTo>
                    <a:cubicBezTo>
                      <a:pt x="1651635" y="1204913"/>
                      <a:pt x="1651635" y="1204913"/>
                      <a:pt x="1655445" y="1210628"/>
                    </a:cubicBezTo>
                    <a:cubicBezTo>
                      <a:pt x="1659255" y="1216343"/>
                      <a:pt x="1660208" y="1210628"/>
                      <a:pt x="1659255" y="1216343"/>
                    </a:cubicBezTo>
                    <a:cubicBezTo>
                      <a:pt x="1659255" y="1217295"/>
                      <a:pt x="1659255" y="1218248"/>
                      <a:pt x="1659255" y="1218248"/>
                    </a:cubicBezTo>
                    <a:cubicBezTo>
                      <a:pt x="1659255" y="1218248"/>
                      <a:pt x="1659255" y="1218248"/>
                      <a:pt x="1659255" y="1218248"/>
                    </a:cubicBezTo>
                    <a:cubicBezTo>
                      <a:pt x="1659255" y="1218248"/>
                      <a:pt x="1659255" y="1219200"/>
                      <a:pt x="1659255" y="1221105"/>
                    </a:cubicBezTo>
                    <a:cubicBezTo>
                      <a:pt x="1659255" y="1227773"/>
                      <a:pt x="1663065" y="1259205"/>
                      <a:pt x="1663065" y="1259205"/>
                    </a:cubicBezTo>
                    <a:cubicBezTo>
                      <a:pt x="1663065" y="1259205"/>
                      <a:pt x="1663065" y="1262063"/>
                      <a:pt x="1664970" y="1273493"/>
                    </a:cubicBezTo>
                    <a:cubicBezTo>
                      <a:pt x="1666875" y="1284923"/>
                      <a:pt x="1664970" y="1293495"/>
                      <a:pt x="1664970" y="1293495"/>
                    </a:cubicBezTo>
                    <a:cubicBezTo>
                      <a:pt x="1664970" y="1293495"/>
                      <a:pt x="1663065" y="1291590"/>
                      <a:pt x="1664970" y="1299210"/>
                    </a:cubicBezTo>
                    <a:cubicBezTo>
                      <a:pt x="1666875" y="1305878"/>
                      <a:pt x="1662113" y="1308735"/>
                      <a:pt x="1664970" y="1313498"/>
                    </a:cubicBezTo>
                    <a:cubicBezTo>
                      <a:pt x="1666875" y="1317308"/>
                      <a:pt x="1671638" y="1309688"/>
                      <a:pt x="1666875" y="1317308"/>
                    </a:cubicBezTo>
                    <a:cubicBezTo>
                      <a:pt x="1662113" y="1325880"/>
                      <a:pt x="1660208" y="1328738"/>
                      <a:pt x="1657350" y="1332548"/>
                    </a:cubicBezTo>
                    <a:cubicBezTo>
                      <a:pt x="1655445" y="1336358"/>
                      <a:pt x="1655445" y="1336358"/>
                      <a:pt x="1655445" y="1336358"/>
                    </a:cubicBezTo>
                    <a:lnTo>
                      <a:pt x="1646873" y="1345883"/>
                    </a:lnTo>
                    <a:lnTo>
                      <a:pt x="1642110" y="1351598"/>
                    </a:lnTo>
                    <a:cubicBezTo>
                      <a:pt x="1639253" y="1360170"/>
                      <a:pt x="1639253" y="1360170"/>
                      <a:pt x="1639253" y="1360170"/>
                    </a:cubicBezTo>
                    <a:lnTo>
                      <a:pt x="1637348" y="1365885"/>
                    </a:lnTo>
                    <a:lnTo>
                      <a:pt x="1644015" y="1375410"/>
                    </a:lnTo>
                    <a:cubicBezTo>
                      <a:pt x="1644015" y="1375410"/>
                      <a:pt x="1644015" y="1379220"/>
                      <a:pt x="1644015" y="1383983"/>
                    </a:cubicBezTo>
                    <a:cubicBezTo>
                      <a:pt x="1644015" y="1387793"/>
                      <a:pt x="1644015" y="1387793"/>
                      <a:pt x="1644015" y="1387793"/>
                    </a:cubicBezTo>
                    <a:cubicBezTo>
                      <a:pt x="1644015" y="1387793"/>
                      <a:pt x="1637348" y="1387793"/>
                      <a:pt x="1635443" y="1391603"/>
                    </a:cubicBezTo>
                    <a:cubicBezTo>
                      <a:pt x="1633538" y="1395413"/>
                      <a:pt x="1637348" y="1388745"/>
                      <a:pt x="1633538" y="1395413"/>
                    </a:cubicBezTo>
                    <a:cubicBezTo>
                      <a:pt x="1628775" y="1402080"/>
                      <a:pt x="1628775" y="1402080"/>
                      <a:pt x="1628775" y="1402080"/>
                    </a:cubicBezTo>
                    <a:lnTo>
                      <a:pt x="1622108" y="1407795"/>
                    </a:lnTo>
                    <a:cubicBezTo>
                      <a:pt x="1622108" y="1407795"/>
                      <a:pt x="1612583" y="1423035"/>
                      <a:pt x="1612583" y="1427798"/>
                    </a:cubicBezTo>
                    <a:cubicBezTo>
                      <a:pt x="1612583" y="1431608"/>
                      <a:pt x="1614488" y="1448753"/>
                      <a:pt x="1614488" y="1448753"/>
                    </a:cubicBezTo>
                    <a:cubicBezTo>
                      <a:pt x="1614488" y="1448753"/>
                      <a:pt x="1616393" y="1463040"/>
                      <a:pt x="1616393" y="1468755"/>
                    </a:cubicBezTo>
                    <a:cubicBezTo>
                      <a:pt x="1616393" y="1474470"/>
                      <a:pt x="1613535" y="1480185"/>
                      <a:pt x="1613535" y="1480185"/>
                    </a:cubicBezTo>
                    <a:lnTo>
                      <a:pt x="1602105" y="1486853"/>
                    </a:lnTo>
                    <a:lnTo>
                      <a:pt x="1593533" y="1490663"/>
                    </a:lnTo>
                    <a:lnTo>
                      <a:pt x="1588770" y="1497330"/>
                    </a:lnTo>
                    <a:lnTo>
                      <a:pt x="1597343" y="1503045"/>
                    </a:lnTo>
                    <a:lnTo>
                      <a:pt x="1599248" y="1523048"/>
                    </a:lnTo>
                    <a:lnTo>
                      <a:pt x="1601153" y="1529715"/>
                    </a:lnTo>
                    <a:lnTo>
                      <a:pt x="1601153" y="1535430"/>
                    </a:lnTo>
                    <a:cubicBezTo>
                      <a:pt x="1594485" y="1541145"/>
                      <a:pt x="1585913" y="1542098"/>
                      <a:pt x="1585913" y="1542098"/>
                    </a:cubicBezTo>
                    <a:cubicBezTo>
                      <a:pt x="1585913" y="1547813"/>
                      <a:pt x="1574483" y="1564958"/>
                      <a:pt x="1574483" y="1564958"/>
                    </a:cubicBezTo>
                    <a:cubicBezTo>
                      <a:pt x="1574483" y="1564958"/>
                      <a:pt x="1574483" y="1568768"/>
                      <a:pt x="1578293" y="1573530"/>
                    </a:cubicBezTo>
                    <a:cubicBezTo>
                      <a:pt x="1583055" y="1577340"/>
                      <a:pt x="1584960" y="1579245"/>
                      <a:pt x="1584960" y="1583055"/>
                    </a:cubicBezTo>
                    <a:cubicBezTo>
                      <a:pt x="1584960" y="1586865"/>
                      <a:pt x="1583055" y="1580198"/>
                      <a:pt x="1584960" y="1586865"/>
                    </a:cubicBezTo>
                    <a:cubicBezTo>
                      <a:pt x="1586865" y="1593533"/>
                      <a:pt x="1586865" y="1593533"/>
                      <a:pt x="1586865" y="1593533"/>
                    </a:cubicBezTo>
                    <a:cubicBezTo>
                      <a:pt x="1586865" y="1593533"/>
                      <a:pt x="1582103" y="1597343"/>
                      <a:pt x="1586865" y="1602105"/>
                    </a:cubicBezTo>
                    <a:cubicBezTo>
                      <a:pt x="1590675" y="1605915"/>
                      <a:pt x="1586865" y="1610678"/>
                      <a:pt x="1586865" y="1614488"/>
                    </a:cubicBezTo>
                    <a:cubicBezTo>
                      <a:pt x="1586865" y="1618298"/>
                      <a:pt x="1576388" y="1609725"/>
                      <a:pt x="1586865" y="1618298"/>
                    </a:cubicBezTo>
                    <a:cubicBezTo>
                      <a:pt x="1597343" y="1626870"/>
                      <a:pt x="1600200" y="1632585"/>
                      <a:pt x="1600200" y="1632585"/>
                    </a:cubicBezTo>
                    <a:cubicBezTo>
                      <a:pt x="1600200" y="1632585"/>
                      <a:pt x="1604010" y="1638300"/>
                      <a:pt x="1610678" y="1642110"/>
                    </a:cubicBezTo>
                    <a:cubicBezTo>
                      <a:pt x="1617345" y="1646873"/>
                      <a:pt x="1607820" y="1656398"/>
                      <a:pt x="1607820" y="1656398"/>
                    </a:cubicBezTo>
                    <a:lnTo>
                      <a:pt x="1611630" y="1662113"/>
                    </a:lnTo>
                    <a:cubicBezTo>
                      <a:pt x="1611630" y="1662113"/>
                      <a:pt x="1604963" y="1663065"/>
                      <a:pt x="1615440" y="1668780"/>
                    </a:cubicBezTo>
                    <a:cubicBezTo>
                      <a:pt x="1625918" y="1674495"/>
                      <a:pt x="1637348" y="1679258"/>
                      <a:pt x="1637348" y="1679258"/>
                    </a:cubicBezTo>
                    <a:lnTo>
                      <a:pt x="1652588" y="1682115"/>
                    </a:lnTo>
                    <a:cubicBezTo>
                      <a:pt x="1652588" y="1682115"/>
                      <a:pt x="1645920" y="1678305"/>
                      <a:pt x="1661160" y="1682115"/>
                    </a:cubicBezTo>
                    <a:cubicBezTo>
                      <a:pt x="1676400" y="1686878"/>
                      <a:pt x="1678305" y="1684020"/>
                      <a:pt x="1689735" y="1684973"/>
                    </a:cubicBezTo>
                    <a:cubicBezTo>
                      <a:pt x="1701165" y="1686878"/>
                      <a:pt x="1704975" y="1687830"/>
                      <a:pt x="1711643" y="1684973"/>
                    </a:cubicBezTo>
                    <a:cubicBezTo>
                      <a:pt x="1718310" y="1682115"/>
                      <a:pt x="1718310" y="1682115"/>
                      <a:pt x="1718310" y="1682115"/>
                    </a:cubicBezTo>
                    <a:lnTo>
                      <a:pt x="1726883" y="1676400"/>
                    </a:lnTo>
                    <a:lnTo>
                      <a:pt x="1728788" y="1670685"/>
                    </a:lnTo>
                    <a:lnTo>
                      <a:pt x="1713548" y="1667828"/>
                    </a:lnTo>
                    <a:lnTo>
                      <a:pt x="1700213" y="1662113"/>
                    </a:lnTo>
                    <a:lnTo>
                      <a:pt x="1683068" y="1644968"/>
                    </a:lnTo>
                    <a:lnTo>
                      <a:pt x="1681163" y="1633538"/>
                    </a:lnTo>
                    <a:lnTo>
                      <a:pt x="1684020" y="1619250"/>
                    </a:lnTo>
                    <a:lnTo>
                      <a:pt x="1690688" y="1609725"/>
                    </a:lnTo>
                    <a:lnTo>
                      <a:pt x="1702118" y="1597343"/>
                    </a:lnTo>
                    <a:lnTo>
                      <a:pt x="1710690" y="1591628"/>
                    </a:lnTo>
                    <a:lnTo>
                      <a:pt x="1725930" y="1585913"/>
                    </a:lnTo>
                    <a:lnTo>
                      <a:pt x="1734503" y="1579245"/>
                    </a:lnTo>
                    <a:lnTo>
                      <a:pt x="1734503" y="1573530"/>
                    </a:lnTo>
                    <a:lnTo>
                      <a:pt x="1734503" y="1567815"/>
                    </a:lnTo>
                    <a:lnTo>
                      <a:pt x="1727835" y="1562100"/>
                    </a:lnTo>
                    <a:lnTo>
                      <a:pt x="1725930" y="1552575"/>
                    </a:lnTo>
                    <a:lnTo>
                      <a:pt x="1725930" y="1545908"/>
                    </a:lnTo>
                    <a:lnTo>
                      <a:pt x="1727835" y="1540193"/>
                    </a:lnTo>
                    <a:lnTo>
                      <a:pt x="1745933" y="1528763"/>
                    </a:lnTo>
                    <a:lnTo>
                      <a:pt x="1752600" y="1523048"/>
                    </a:lnTo>
                    <a:lnTo>
                      <a:pt x="1757363" y="1511618"/>
                    </a:lnTo>
                    <a:lnTo>
                      <a:pt x="1759268" y="1504950"/>
                    </a:lnTo>
                    <a:lnTo>
                      <a:pt x="1764030" y="1499235"/>
                    </a:lnTo>
                    <a:lnTo>
                      <a:pt x="1768793" y="1490663"/>
                    </a:lnTo>
                    <a:lnTo>
                      <a:pt x="1770698" y="1484948"/>
                    </a:lnTo>
                    <a:lnTo>
                      <a:pt x="1779270" y="1482090"/>
                    </a:lnTo>
                    <a:lnTo>
                      <a:pt x="1787843" y="1479233"/>
                    </a:lnTo>
                    <a:cubicBezTo>
                      <a:pt x="1787843" y="1479233"/>
                      <a:pt x="1789748" y="1475423"/>
                      <a:pt x="1796415" y="1470660"/>
                    </a:cubicBezTo>
                    <a:cubicBezTo>
                      <a:pt x="1803083" y="1466850"/>
                      <a:pt x="1803083" y="1466850"/>
                      <a:pt x="1803083" y="1466850"/>
                    </a:cubicBezTo>
                    <a:lnTo>
                      <a:pt x="1807845" y="1460183"/>
                    </a:lnTo>
                    <a:lnTo>
                      <a:pt x="1823085" y="1460183"/>
                    </a:lnTo>
                    <a:cubicBezTo>
                      <a:pt x="1823085" y="1460183"/>
                      <a:pt x="1834515" y="1460183"/>
                      <a:pt x="1841183" y="1459230"/>
                    </a:cubicBezTo>
                    <a:cubicBezTo>
                      <a:pt x="1847850" y="1458278"/>
                      <a:pt x="1834515" y="1463040"/>
                      <a:pt x="1847850" y="1458278"/>
                    </a:cubicBezTo>
                    <a:cubicBezTo>
                      <a:pt x="1861185" y="1452563"/>
                      <a:pt x="1861185" y="1452563"/>
                      <a:pt x="1861185" y="1452563"/>
                    </a:cubicBezTo>
                    <a:lnTo>
                      <a:pt x="1883093" y="1445895"/>
                    </a:lnTo>
                    <a:lnTo>
                      <a:pt x="1892618" y="1434465"/>
                    </a:lnTo>
                    <a:lnTo>
                      <a:pt x="1892618" y="1422083"/>
                    </a:lnTo>
                    <a:lnTo>
                      <a:pt x="1901190" y="1413510"/>
                    </a:lnTo>
                    <a:lnTo>
                      <a:pt x="1905953" y="1407795"/>
                    </a:lnTo>
                    <a:lnTo>
                      <a:pt x="1919288" y="1406843"/>
                    </a:lnTo>
                    <a:lnTo>
                      <a:pt x="1927860" y="1408748"/>
                    </a:lnTo>
                    <a:lnTo>
                      <a:pt x="1943100" y="1403033"/>
                    </a:lnTo>
                    <a:lnTo>
                      <a:pt x="1951673" y="1397318"/>
                    </a:lnTo>
                    <a:lnTo>
                      <a:pt x="1965008" y="1387793"/>
                    </a:lnTo>
                    <a:lnTo>
                      <a:pt x="1980248" y="1376363"/>
                    </a:lnTo>
                    <a:lnTo>
                      <a:pt x="1980248" y="1370648"/>
                    </a:lnTo>
                    <a:cubicBezTo>
                      <a:pt x="1980248" y="1370648"/>
                      <a:pt x="1985010" y="1361123"/>
                      <a:pt x="1991678" y="1358265"/>
                    </a:cubicBezTo>
                    <a:cubicBezTo>
                      <a:pt x="1998345" y="1355408"/>
                      <a:pt x="1993583" y="1351598"/>
                      <a:pt x="2003108" y="1349693"/>
                    </a:cubicBezTo>
                    <a:cubicBezTo>
                      <a:pt x="2011680" y="1348740"/>
                      <a:pt x="2021205" y="1343978"/>
                      <a:pt x="2021205" y="1343978"/>
                    </a:cubicBezTo>
                    <a:lnTo>
                      <a:pt x="2032635" y="1334453"/>
                    </a:lnTo>
                    <a:lnTo>
                      <a:pt x="2034540" y="1327785"/>
                    </a:lnTo>
                    <a:lnTo>
                      <a:pt x="2034540" y="1319213"/>
                    </a:lnTo>
                    <a:lnTo>
                      <a:pt x="2045970" y="1306830"/>
                    </a:lnTo>
                    <a:lnTo>
                      <a:pt x="2047875" y="1301115"/>
                    </a:lnTo>
                    <a:cubicBezTo>
                      <a:pt x="2047875" y="1301115"/>
                      <a:pt x="2047875" y="1295400"/>
                      <a:pt x="2054543" y="1294448"/>
                    </a:cubicBezTo>
                    <a:cubicBezTo>
                      <a:pt x="2061210" y="1293495"/>
                      <a:pt x="2061210" y="1293495"/>
                      <a:pt x="2061210" y="1293495"/>
                    </a:cubicBezTo>
                    <a:cubicBezTo>
                      <a:pt x="2061210" y="1293495"/>
                      <a:pt x="2063115" y="1286828"/>
                      <a:pt x="2069783" y="1284923"/>
                    </a:cubicBezTo>
                    <a:cubicBezTo>
                      <a:pt x="2076450" y="1283970"/>
                      <a:pt x="2063115" y="1287780"/>
                      <a:pt x="2076450" y="1283970"/>
                    </a:cubicBezTo>
                    <a:cubicBezTo>
                      <a:pt x="2089785" y="1280160"/>
                      <a:pt x="2083118" y="1275398"/>
                      <a:pt x="2096453" y="1274445"/>
                    </a:cubicBezTo>
                    <a:cubicBezTo>
                      <a:pt x="2109788" y="1273493"/>
                      <a:pt x="2121218" y="1270635"/>
                      <a:pt x="2121218" y="1270635"/>
                    </a:cubicBezTo>
                    <a:lnTo>
                      <a:pt x="2132648" y="1266825"/>
                    </a:lnTo>
                    <a:cubicBezTo>
                      <a:pt x="2132648" y="1266825"/>
                      <a:pt x="2144078" y="1263015"/>
                      <a:pt x="2152650" y="1261110"/>
                    </a:cubicBezTo>
                    <a:cubicBezTo>
                      <a:pt x="2161223" y="1260158"/>
                      <a:pt x="2174558" y="1252538"/>
                      <a:pt x="2174558" y="1252538"/>
                    </a:cubicBezTo>
                    <a:lnTo>
                      <a:pt x="2181225" y="1245870"/>
                    </a:lnTo>
                    <a:lnTo>
                      <a:pt x="2187893" y="1236345"/>
                    </a:lnTo>
                    <a:lnTo>
                      <a:pt x="2201228" y="1224915"/>
                    </a:lnTo>
                    <a:lnTo>
                      <a:pt x="2204085" y="1203960"/>
                    </a:lnTo>
                    <a:lnTo>
                      <a:pt x="2206943" y="1194435"/>
                    </a:lnTo>
                    <a:lnTo>
                      <a:pt x="2216468" y="1182053"/>
                    </a:lnTo>
                    <a:lnTo>
                      <a:pt x="2216468" y="1172528"/>
                    </a:lnTo>
                    <a:lnTo>
                      <a:pt x="2214563" y="1165860"/>
                    </a:lnTo>
                    <a:lnTo>
                      <a:pt x="2214563" y="1160145"/>
                    </a:lnTo>
                    <a:cubicBezTo>
                      <a:pt x="2214563" y="1160145"/>
                      <a:pt x="2221230" y="1156335"/>
                      <a:pt x="2225993" y="1151573"/>
                    </a:cubicBezTo>
                    <a:cubicBezTo>
                      <a:pt x="2230755" y="1147763"/>
                      <a:pt x="2237423" y="1127760"/>
                      <a:pt x="2237423" y="1127760"/>
                    </a:cubicBezTo>
                    <a:lnTo>
                      <a:pt x="2235518" y="1113473"/>
                    </a:lnTo>
                    <a:lnTo>
                      <a:pt x="2242185" y="1098233"/>
                    </a:lnTo>
                    <a:close/>
                    <a:moveTo>
                      <a:pt x="1526858" y="497205"/>
                    </a:moveTo>
                    <a:lnTo>
                      <a:pt x="1528763" y="494348"/>
                    </a:lnTo>
                    <a:lnTo>
                      <a:pt x="1531620" y="491490"/>
                    </a:lnTo>
                    <a:lnTo>
                      <a:pt x="1540193" y="491490"/>
                    </a:lnTo>
                    <a:lnTo>
                      <a:pt x="1545908" y="490537"/>
                    </a:lnTo>
                    <a:lnTo>
                      <a:pt x="1553528" y="490537"/>
                    </a:lnTo>
                    <a:lnTo>
                      <a:pt x="1561148" y="490537"/>
                    </a:lnTo>
                    <a:lnTo>
                      <a:pt x="1576388" y="489585"/>
                    </a:lnTo>
                    <a:lnTo>
                      <a:pt x="1578293" y="493395"/>
                    </a:lnTo>
                    <a:lnTo>
                      <a:pt x="1578293" y="494348"/>
                    </a:lnTo>
                    <a:lnTo>
                      <a:pt x="1576388" y="497205"/>
                    </a:lnTo>
                    <a:cubicBezTo>
                      <a:pt x="1576388" y="497205"/>
                      <a:pt x="1573530" y="498158"/>
                      <a:pt x="1571625" y="498158"/>
                    </a:cubicBezTo>
                    <a:cubicBezTo>
                      <a:pt x="1569720" y="498158"/>
                      <a:pt x="1565910" y="499110"/>
                      <a:pt x="1564005" y="499110"/>
                    </a:cubicBezTo>
                    <a:cubicBezTo>
                      <a:pt x="1562100" y="499110"/>
                      <a:pt x="1558290" y="500062"/>
                      <a:pt x="1557338" y="500062"/>
                    </a:cubicBezTo>
                    <a:cubicBezTo>
                      <a:pt x="1555433" y="500062"/>
                      <a:pt x="1550670" y="501015"/>
                      <a:pt x="1550670" y="501015"/>
                    </a:cubicBezTo>
                    <a:cubicBezTo>
                      <a:pt x="1550670" y="501015"/>
                      <a:pt x="1541145" y="501968"/>
                      <a:pt x="1539240" y="501968"/>
                    </a:cubicBezTo>
                    <a:cubicBezTo>
                      <a:pt x="1537335" y="501968"/>
                      <a:pt x="1534478" y="502920"/>
                      <a:pt x="1534478" y="502920"/>
                    </a:cubicBezTo>
                    <a:lnTo>
                      <a:pt x="1528763" y="503873"/>
                    </a:lnTo>
                    <a:cubicBezTo>
                      <a:pt x="1528763" y="503873"/>
                      <a:pt x="1524000" y="507683"/>
                      <a:pt x="1521143" y="508635"/>
                    </a:cubicBezTo>
                    <a:cubicBezTo>
                      <a:pt x="1519238" y="508635"/>
                      <a:pt x="1515428" y="513398"/>
                      <a:pt x="1510665" y="514350"/>
                    </a:cubicBezTo>
                    <a:cubicBezTo>
                      <a:pt x="1505903" y="515302"/>
                      <a:pt x="1510665" y="514350"/>
                      <a:pt x="1501140" y="515302"/>
                    </a:cubicBezTo>
                    <a:cubicBezTo>
                      <a:pt x="1495425" y="516255"/>
                      <a:pt x="1495425" y="516255"/>
                      <a:pt x="1495425" y="516255"/>
                    </a:cubicBezTo>
                    <a:cubicBezTo>
                      <a:pt x="1495425" y="516255"/>
                      <a:pt x="1495425" y="516255"/>
                      <a:pt x="1495425" y="516255"/>
                    </a:cubicBezTo>
                    <a:cubicBezTo>
                      <a:pt x="1496378" y="516255"/>
                      <a:pt x="1495425" y="516255"/>
                      <a:pt x="1495425" y="516255"/>
                    </a:cubicBezTo>
                    <a:cubicBezTo>
                      <a:pt x="1493520" y="516255"/>
                      <a:pt x="1483995" y="518160"/>
                      <a:pt x="1483995" y="518160"/>
                    </a:cubicBezTo>
                    <a:lnTo>
                      <a:pt x="1474470" y="516255"/>
                    </a:lnTo>
                    <a:lnTo>
                      <a:pt x="1467803" y="514350"/>
                    </a:lnTo>
                    <a:cubicBezTo>
                      <a:pt x="1467803" y="514350"/>
                      <a:pt x="1466850" y="511493"/>
                      <a:pt x="1467803" y="510540"/>
                    </a:cubicBezTo>
                    <a:cubicBezTo>
                      <a:pt x="1468755" y="509587"/>
                      <a:pt x="1470660" y="504825"/>
                      <a:pt x="1471613" y="503873"/>
                    </a:cubicBezTo>
                    <a:cubicBezTo>
                      <a:pt x="1472565" y="502920"/>
                      <a:pt x="1477328" y="502920"/>
                      <a:pt x="1477328" y="502920"/>
                    </a:cubicBezTo>
                    <a:lnTo>
                      <a:pt x="1488758" y="502920"/>
                    </a:lnTo>
                    <a:lnTo>
                      <a:pt x="1491615" y="502920"/>
                    </a:lnTo>
                    <a:lnTo>
                      <a:pt x="1502093" y="502920"/>
                    </a:lnTo>
                    <a:cubicBezTo>
                      <a:pt x="1502093" y="502920"/>
                      <a:pt x="1507808" y="501968"/>
                      <a:pt x="1509713" y="501968"/>
                    </a:cubicBezTo>
                    <a:cubicBezTo>
                      <a:pt x="1511618" y="501968"/>
                      <a:pt x="1516380" y="501968"/>
                      <a:pt x="1518285" y="501015"/>
                    </a:cubicBezTo>
                    <a:cubicBezTo>
                      <a:pt x="1520190" y="500062"/>
                      <a:pt x="1524000" y="498158"/>
                      <a:pt x="1524000" y="498158"/>
                    </a:cubicBezTo>
                    <a:lnTo>
                      <a:pt x="1526858" y="497205"/>
                    </a:lnTo>
                    <a:close/>
                    <a:moveTo>
                      <a:pt x="1446848" y="462915"/>
                    </a:moveTo>
                    <a:cubicBezTo>
                      <a:pt x="1448753" y="462915"/>
                      <a:pt x="1453515" y="462915"/>
                      <a:pt x="1453515" y="462915"/>
                    </a:cubicBezTo>
                    <a:cubicBezTo>
                      <a:pt x="1453515" y="462915"/>
                      <a:pt x="1462088" y="462915"/>
                      <a:pt x="1463993" y="462915"/>
                    </a:cubicBezTo>
                    <a:cubicBezTo>
                      <a:pt x="1465898" y="462915"/>
                      <a:pt x="1468755" y="461962"/>
                      <a:pt x="1468755" y="461962"/>
                    </a:cubicBezTo>
                    <a:lnTo>
                      <a:pt x="1479233" y="461010"/>
                    </a:lnTo>
                    <a:cubicBezTo>
                      <a:pt x="1479233" y="461010"/>
                      <a:pt x="1488758" y="460058"/>
                      <a:pt x="1490663" y="460058"/>
                    </a:cubicBezTo>
                    <a:cubicBezTo>
                      <a:pt x="1492568" y="460058"/>
                      <a:pt x="1502093" y="461010"/>
                      <a:pt x="1502093" y="461010"/>
                    </a:cubicBezTo>
                    <a:lnTo>
                      <a:pt x="1513523" y="461010"/>
                    </a:lnTo>
                    <a:lnTo>
                      <a:pt x="1515428" y="466725"/>
                    </a:lnTo>
                    <a:cubicBezTo>
                      <a:pt x="1515428" y="466725"/>
                      <a:pt x="1515428" y="466725"/>
                      <a:pt x="1518285" y="466725"/>
                    </a:cubicBezTo>
                    <a:lnTo>
                      <a:pt x="1521143" y="467677"/>
                    </a:lnTo>
                    <a:lnTo>
                      <a:pt x="1520190" y="469583"/>
                    </a:lnTo>
                    <a:cubicBezTo>
                      <a:pt x="1520190" y="469583"/>
                      <a:pt x="1518285" y="471487"/>
                      <a:pt x="1515428" y="472440"/>
                    </a:cubicBezTo>
                    <a:cubicBezTo>
                      <a:pt x="1513523" y="472440"/>
                      <a:pt x="1511618" y="473393"/>
                      <a:pt x="1511618" y="473393"/>
                    </a:cubicBezTo>
                    <a:lnTo>
                      <a:pt x="1504950" y="473393"/>
                    </a:lnTo>
                    <a:cubicBezTo>
                      <a:pt x="1504950" y="473393"/>
                      <a:pt x="1502093" y="473393"/>
                      <a:pt x="1498283" y="473393"/>
                    </a:cubicBezTo>
                    <a:cubicBezTo>
                      <a:pt x="1494473" y="473393"/>
                      <a:pt x="1495425" y="474345"/>
                      <a:pt x="1495425" y="474345"/>
                    </a:cubicBezTo>
                    <a:lnTo>
                      <a:pt x="1493520" y="478155"/>
                    </a:lnTo>
                    <a:lnTo>
                      <a:pt x="1492568" y="485775"/>
                    </a:lnTo>
                    <a:cubicBezTo>
                      <a:pt x="1492568" y="485775"/>
                      <a:pt x="1486853" y="488633"/>
                      <a:pt x="1483043" y="488633"/>
                    </a:cubicBezTo>
                    <a:cubicBezTo>
                      <a:pt x="1479233" y="488633"/>
                      <a:pt x="1480185" y="488633"/>
                      <a:pt x="1477328" y="488633"/>
                    </a:cubicBezTo>
                    <a:cubicBezTo>
                      <a:pt x="1474470" y="488633"/>
                      <a:pt x="1474470" y="487680"/>
                      <a:pt x="1471613" y="484823"/>
                    </a:cubicBezTo>
                    <a:cubicBezTo>
                      <a:pt x="1468755" y="481965"/>
                      <a:pt x="1466850" y="483870"/>
                      <a:pt x="1464945" y="482918"/>
                    </a:cubicBezTo>
                    <a:cubicBezTo>
                      <a:pt x="1463040" y="481965"/>
                      <a:pt x="1462088" y="481012"/>
                      <a:pt x="1460183" y="478155"/>
                    </a:cubicBezTo>
                    <a:cubicBezTo>
                      <a:pt x="1458278" y="475298"/>
                      <a:pt x="1460183" y="478155"/>
                      <a:pt x="1460183" y="476250"/>
                    </a:cubicBezTo>
                    <a:cubicBezTo>
                      <a:pt x="1459230" y="474345"/>
                      <a:pt x="1458278" y="474345"/>
                      <a:pt x="1457325" y="473393"/>
                    </a:cubicBezTo>
                    <a:cubicBezTo>
                      <a:pt x="1455420" y="471487"/>
                      <a:pt x="1455420" y="471487"/>
                      <a:pt x="1450658" y="469583"/>
                    </a:cubicBezTo>
                    <a:cubicBezTo>
                      <a:pt x="1445895" y="467677"/>
                      <a:pt x="1444943" y="469583"/>
                      <a:pt x="1444943" y="469583"/>
                    </a:cubicBezTo>
                    <a:cubicBezTo>
                      <a:pt x="1444943" y="469583"/>
                      <a:pt x="1439228" y="469583"/>
                      <a:pt x="1436370" y="469583"/>
                    </a:cubicBezTo>
                    <a:cubicBezTo>
                      <a:pt x="1434465" y="469583"/>
                      <a:pt x="1431608" y="469583"/>
                      <a:pt x="1431608" y="469583"/>
                    </a:cubicBezTo>
                    <a:cubicBezTo>
                      <a:pt x="1431608" y="469583"/>
                      <a:pt x="1429703" y="470535"/>
                      <a:pt x="1425893" y="472440"/>
                    </a:cubicBezTo>
                    <a:cubicBezTo>
                      <a:pt x="1422083" y="473393"/>
                      <a:pt x="1421130" y="474345"/>
                      <a:pt x="1421130" y="474345"/>
                    </a:cubicBezTo>
                    <a:cubicBezTo>
                      <a:pt x="1421130" y="474345"/>
                      <a:pt x="1417320" y="477202"/>
                      <a:pt x="1416368" y="478155"/>
                    </a:cubicBezTo>
                    <a:cubicBezTo>
                      <a:pt x="1414463" y="479108"/>
                      <a:pt x="1415415" y="480060"/>
                      <a:pt x="1415415" y="480060"/>
                    </a:cubicBezTo>
                    <a:lnTo>
                      <a:pt x="1414463" y="484823"/>
                    </a:lnTo>
                    <a:cubicBezTo>
                      <a:pt x="1414463" y="484823"/>
                      <a:pt x="1412558" y="486727"/>
                      <a:pt x="1410653" y="486727"/>
                    </a:cubicBezTo>
                    <a:cubicBezTo>
                      <a:pt x="1408748" y="486727"/>
                      <a:pt x="1409700" y="492443"/>
                      <a:pt x="1409700" y="492443"/>
                    </a:cubicBezTo>
                    <a:cubicBezTo>
                      <a:pt x="1409700" y="492443"/>
                      <a:pt x="1407795" y="498158"/>
                      <a:pt x="1407795" y="499110"/>
                    </a:cubicBezTo>
                    <a:cubicBezTo>
                      <a:pt x="1406843" y="500062"/>
                      <a:pt x="1407795" y="501968"/>
                      <a:pt x="1406843" y="502920"/>
                    </a:cubicBezTo>
                    <a:cubicBezTo>
                      <a:pt x="1405890" y="503873"/>
                      <a:pt x="1405890" y="504825"/>
                      <a:pt x="1405890" y="504825"/>
                    </a:cubicBezTo>
                    <a:cubicBezTo>
                      <a:pt x="1405890" y="504825"/>
                      <a:pt x="1403033" y="504825"/>
                      <a:pt x="1400175" y="504825"/>
                    </a:cubicBezTo>
                    <a:cubicBezTo>
                      <a:pt x="1397318" y="504825"/>
                      <a:pt x="1396365" y="504825"/>
                      <a:pt x="1396365" y="504825"/>
                    </a:cubicBezTo>
                    <a:cubicBezTo>
                      <a:pt x="1396365" y="504825"/>
                      <a:pt x="1393508" y="503873"/>
                      <a:pt x="1391603" y="502920"/>
                    </a:cubicBezTo>
                    <a:cubicBezTo>
                      <a:pt x="1389698" y="502920"/>
                      <a:pt x="1389698" y="501015"/>
                      <a:pt x="1388745" y="500062"/>
                    </a:cubicBezTo>
                    <a:cubicBezTo>
                      <a:pt x="1387793" y="498158"/>
                      <a:pt x="1389698" y="495300"/>
                      <a:pt x="1389698" y="493395"/>
                    </a:cubicBezTo>
                    <a:cubicBezTo>
                      <a:pt x="1389698" y="491490"/>
                      <a:pt x="1387793" y="487680"/>
                      <a:pt x="1387793" y="486727"/>
                    </a:cubicBezTo>
                    <a:cubicBezTo>
                      <a:pt x="1387793" y="485775"/>
                      <a:pt x="1387793" y="483870"/>
                      <a:pt x="1387793" y="483870"/>
                    </a:cubicBezTo>
                    <a:cubicBezTo>
                      <a:pt x="1387793" y="483870"/>
                      <a:pt x="1388745" y="478155"/>
                      <a:pt x="1387793" y="477202"/>
                    </a:cubicBezTo>
                    <a:cubicBezTo>
                      <a:pt x="1386840" y="476250"/>
                      <a:pt x="1390650" y="475298"/>
                      <a:pt x="1391603" y="473393"/>
                    </a:cubicBezTo>
                    <a:cubicBezTo>
                      <a:pt x="1392555" y="471487"/>
                      <a:pt x="1393508" y="470535"/>
                      <a:pt x="1395413" y="469583"/>
                    </a:cubicBezTo>
                    <a:cubicBezTo>
                      <a:pt x="1395413" y="469583"/>
                      <a:pt x="1402080" y="468630"/>
                      <a:pt x="1403985" y="467677"/>
                    </a:cubicBezTo>
                    <a:cubicBezTo>
                      <a:pt x="1405890" y="466725"/>
                      <a:pt x="1409700" y="465773"/>
                      <a:pt x="1413510" y="464820"/>
                    </a:cubicBezTo>
                    <a:cubicBezTo>
                      <a:pt x="1417320" y="463868"/>
                      <a:pt x="1413510" y="464820"/>
                      <a:pt x="1414463" y="462915"/>
                    </a:cubicBezTo>
                    <a:cubicBezTo>
                      <a:pt x="1415415" y="461010"/>
                      <a:pt x="1422083" y="460058"/>
                      <a:pt x="1422083" y="460058"/>
                    </a:cubicBezTo>
                    <a:cubicBezTo>
                      <a:pt x="1422083" y="460058"/>
                      <a:pt x="1422083" y="460058"/>
                      <a:pt x="1423988" y="460058"/>
                    </a:cubicBezTo>
                    <a:cubicBezTo>
                      <a:pt x="1425893" y="460058"/>
                      <a:pt x="1429703" y="460058"/>
                      <a:pt x="1429703" y="460058"/>
                    </a:cubicBezTo>
                    <a:lnTo>
                      <a:pt x="1434465" y="460058"/>
                    </a:lnTo>
                    <a:cubicBezTo>
                      <a:pt x="1434465" y="461010"/>
                      <a:pt x="1444943" y="462915"/>
                      <a:pt x="1446848" y="462915"/>
                    </a:cubicBezTo>
                    <a:close/>
                    <a:moveTo>
                      <a:pt x="1322070" y="445770"/>
                    </a:moveTo>
                    <a:cubicBezTo>
                      <a:pt x="1323975" y="445770"/>
                      <a:pt x="1322070" y="444818"/>
                      <a:pt x="1324928" y="443865"/>
                    </a:cubicBezTo>
                    <a:cubicBezTo>
                      <a:pt x="1327785" y="442912"/>
                      <a:pt x="1327785" y="441960"/>
                      <a:pt x="1329690" y="441960"/>
                    </a:cubicBezTo>
                    <a:cubicBezTo>
                      <a:pt x="1331595" y="441960"/>
                      <a:pt x="1333500" y="439102"/>
                      <a:pt x="1333500" y="439102"/>
                    </a:cubicBezTo>
                    <a:lnTo>
                      <a:pt x="1334453" y="437198"/>
                    </a:lnTo>
                    <a:cubicBezTo>
                      <a:pt x="1338263" y="436245"/>
                      <a:pt x="1331595" y="437198"/>
                      <a:pt x="1338263" y="436245"/>
                    </a:cubicBezTo>
                    <a:cubicBezTo>
                      <a:pt x="1343978" y="434340"/>
                      <a:pt x="1346835" y="432435"/>
                      <a:pt x="1348740" y="432435"/>
                    </a:cubicBezTo>
                    <a:cubicBezTo>
                      <a:pt x="1350645" y="432435"/>
                      <a:pt x="1350645" y="430530"/>
                      <a:pt x="1353503" y="429577"/>
                    </a:cubicBezTo>
                    <a:cubicBezTo>
                      <a:pt x="1355408" y="428625"/>
                      <a:pt x="1355408" y="428625"/>
                      <a:pt x="1355408" y="428625"/>
                    </a:cubicBezTo>
                    <a:cubicBezTo>
                      <a:pt x="1355408" y="428625"/>
                      <a:pt x="1355408" y="428625"/>
                      <a:pt x="1357313" y="428625"/>
                    </a:cubicBezTo>
                    <a:cubicBezTo>
                      <a:pt x="1359218" y="428625"/>
                      <a:pt x="1363980" y="428625"/>
                      <a:pt x="1363980" y="428625"/>
                    </a:cubicBezTo>
                    <a:cubicBezTo>
                      <a:pt x="1363980" y="428625"/>
                      <a:pt x="1361123" y="428625"/>
                      <a:pt x="1366838" y="428625"/>
                    </a:cubicBezTo>
                    <a:cubicBezTo>
                      <a:pt x="1372553" y="428625"/>
                      <a:pt x="1374458" y="427673"/>
                      <a:pt x="1376363" y="427673"/>
                    </a:cubicBezTo>
                    <a:cubicBezTo>
                      <a:pt x="1378268" y="427673"/>
                      <a:pt x="1381125" y="425768"/>
                      <a:pt x="1381125" y="425768"/>
                    </a:cubicBezTo>
                    <a:lnTo>
                      <a:pt x="1384935" y="424815"/>
                    </a:lnTo>
                    <a:lnTo>
                      <a:pt x="1387793" y="423862"/>
                    </a:lnTo>
                    <a:lnTo>
                      <a:pt x="1392555" y="424815"/>
                    </a:lnTo>
                    <a:cubicBezTo>
                      <a:pt x="1392555" y="424815"/>
                      <a:pt x="1395413" y="424815"/>
                      <a:pt x="1397318" y="425768"/>
                    </a:cubicBezTo>
                    <a:cubicBezTo>
                      <a:pt x="1399223" y="426720"/>
                      <a:pt x="1402080" y="427673"/>
                      <a:pt x="1403033" y="428625"/>
                    </a:cubicBezTo>
                    <a:cubicBezTo>
                      <a:pt x="1403985" y="429577"/>
                      <a:pt x="1408748" y="431483"/>
                      <a:pt x="1408748" y="431483"/>
                    </a:cubicBezTo>
                    <a:cubicBezTo>
                      <a:pt x="1408748" y="431483"/>
                      <a:pt x="1409700" y="432435"/>
                      <a:pt x="1411605" y="433387"/>
                    </a:cubicBezTo>
                    <a:cubicBezTo>
                      <a:pt x="1413510" y="434340"/>
                      <a:pt x="1418273" y="435293"/>
                      <a:pt x="1418273" y="435293"/>
                    </a:cubicBezTo>
                    <a:cubicBezTo>
                      <a:pt x="1418273" y="435293"/>
                      <a:pt x="1419225" y="435293"/>
                      <a:pt x="1421130" y="436245"/>
                    </a:cubicBezTo>
                    <a:cubicBezTo>
                      <a:pt x="1423035" y="437198"/>
                      <a:pt x="1423035" y="437198"/>
                      <a:pt x="1423035" y="437198"/>
                    </a:cubicBezTo>
                    <a:cubicBezTo>
                      <a:pt x="1423035" y="437198"/>
                      <a:pt x="1423988" y="437198"/>
                      <a:pt x="1424940" y="439102"/>
                    </a:cubicBezTo>
                    <a:cubicBezTo>
                      <a:pt x="1425893" y="440055"/>
                      <a:pt x="1423988" y="440055"/>
                      <a:pt x="1425893" y="440055"/>
                    </a:cubicBezTo>
                    <a:cubicBezTo>
                      <a:pt x="1427798" y="441008"/>
                      <a:pt x="1432560" y="446723"/>
                      <a:pt x="1432560" y="446723"/>
                    </a:cubicBezTo>
                    <a:cubicBezTo>
                      <a:pt x="1432560" y="446723"/>
                      <a:pt x="1430655" y="445770"/>
                      <a:pt x="1429703" y="446723"/>
                    </a:cubicBezTo>
                    <a:cubicBezTo>
                      <a:pt x="1427798" y="447675"/>
                      <a:pt x="1411605" y="447675"/>
                      <a:pt x="1411605" y="447675"/>
                    </a:cubicBezTo>
                    <a:lnTo>
                      <a:pt x="1404938" y="447675"/>
                    </a:lnTo>
                    <a:lnTo>
                      <a:pt x="1399223" y="447675"/>
                    </a:lnTo>
                    <a:lnTo>
                      <a:pt x="1393508" y="447675"/>
                    </a:lnTo>
                    <a:cubicBezTo>
                      <a:pt x="1393508" y="447675"/>
                      <a:pt x="1390650" y="447675"/>
                      <a:pt x="1388745" y="447675"/>
                    </a:cubicBezTo>
                    <a:cubicBezTo>
                      <a:pt x="1386840" y="447675"/>
                      <a:pt x="1381125" y="447675"/>
                      <a:pt x="1381125" y="447675"/>
                    </a:cubicBezTo>
                    <a:lnTo>
                      <a:pt x="1373505" y="449580"/>
                    </a:lnTo>
                    <a:lnTo>
                      <a:pt x="1360170" y="449580"/>
                    </a:lnTo>
                    <a:cubicBezTo>
                      <a:pt x="1360170" y="449580"/>
                      <a:pt x="1360170" y="447675"/>
                      <a:pt x="1354455" y="449580"/>
                    </a:cubicBezTo>
                    <a:cubicBezTo>
                      <a:pt x="1348740" y="451485"/>
                      <a:pt x="1342073" y="452437"/>
                      <a:pt x="1342073" y="452437"/>
                    </a:cubicBezTo>
                    <a:cubicBezTo>
                      <a:pt x="1342073" y="452437"/>
                      <a:pt x="1340168" y="452437"/>
                      <a:pt x="1339215" y="453390"/>
                    </a:cubicBezTo>
                    <a:cubicBezTo>
                      <a:pt x="1338263" y="454343"/>
                      <a:pt x="1331595" y="455295"/>
                      <a:pt x="1331595" y="455295"/>
                    </a:cubicBezTo>
                    <a:lnTo>
                      <a:pt x="1325880" y="455295"/>
                    </a:lnTo>
                    <a:lnTo>
                      <a:pt x="1322070" y="455295"/>
                    </a:lnTo>
                    <a:lnTo>
                      <a:pt x="1320165" y="452437"/>
                    </a:lnTo>
                    <a:lnTo>
                      <a:pt x="1320165" y="449580"/>
                    </a:lnTo>
                    <a:cubicBezTo>
                      <a:pt x="1321118" y="448627"/>
                      <a:pt x="1320165" y="446723"/>
                      <a:pt x="1322070" y="445770"/>
                    </a:cubicBezTo>
                    <a:close/>
                    <a:moveTo>
                      <a:pt x="1762125" y="147637"/>
                    </a:moveTo>
                    <a:cubicBezTo>
                      <a:pt x="1762125" y="147637"/>
                      <a:pt x="1762125" y="147637"/>
                      <a:pt x="1762125" y="147637"/>
                    </a:cubicBezTo>
                    <a:cubicBezTo>
                      <a:pt x="1762125" y="147637"/>
                      <a:pt x="1762125" y="147637"/>
                      <a:pt x="1762125" y="147637"/>
                    </a:cubicBezTo>
                    <a:close/>
                    <a:moveTo>
                      <a:pt x="870585" y="141923"/>
                    </a:moveTo>
                    <a:cubicBezTo>
                      <a:pt x="870585" y="141923"/>
                      <a:pt x="865823" y="145733"/>
                      <a:pt x="862965" y="145733"/>
                    </a:cubicBezTo>
                    <a:cubicBezTo>
                      <a:pt x="861060" y="145733"/>
                      <a:pt x="854393" y="146685"/>
                      <a:pt x="854393" y="146685"/>
                    </a:cubicBezTo>
                    <a:lnTo>
                      <a:pt x="851535" y="146685"/>
                    </a:lnTo>
                    <a:lnTo>
                      <a:pt x="844868" y="146685"/>
                    </a:lnTo>
                    <a:lnTo>
                      <a:pt x="840105" y="147637"/>
                    </a:lnTo>
                    <a:lnTo>
                      <a:pt x="834390" y="149542"/>
                    </a:lnTo>
                    <a:lnTo>
                      <a:pt x="829628" y="147637"/>
                    </a:lnTo>
                    <a:lnTo>
                      <a:pt x="826770" y="145733"/>
                    </a:lnTo>
                    <a:lnTo>
                      <a:pt x="819150" y="144780"/>
                    </a:lnTo>
                    <a:cubicBezTo>
                      <a:pt x="819150" y="144780"/>
                      <a:pt x="814388" y="143828"/>
                      <a:pt x="811530" y="144780"/>
                    </a:cubicBezTo>
                    <a:cubicBezTo>
                      <a:pt x="809625" y="145733"/>
                      <a:pt x="804863" y="144780"/>
                      <a:pt x="804863" y="144780"/>
                    </a:cubicBezTo>
                    <a:cubicBezTo>
                      <a:pt x="804863" y="144780"/>
                      <a:pt x="805815" y="142875"/>
                      <a:pt x="800100" y="142875"/>
                    </a:cubicBezTo>
                    <a:cubicBezTo>
                      <a:pt x="795338" y="142875"/>
                      <a:pt x="792480" y="141923"/>
                      <a:pt x="788670" y="142875"/>
                    </a:cubicBezTo>
                    <a:cubicBezTo>
                      <a:pt x="784860" y="142875"/>
                      <a:pt x="789623" y="142875"/>
                      <a:pt x="784860" y="142875"/>
                    </a:cubicBezTo>
                    <a:cubicBezTo>
                      <a:pt x="780098" y="142875"/>
                      <a:pt x="780098" y="141923"/>
                      <a:pt x="776288" y="141923"/>
                    </a:cubicBezTo>
                    <a:cubicBezTo>
                      <a:pt x="771525" y="141923"/>
                      <a:pt x="768668" y="140970"/>
                      <a:pt x="764858" y="140970"/>
                    </a:cubicBezTo>
                    <a:cubicBezTo>
                      <a:pt x="761048" y="140970"/>
                      <a:pt x="756285" y="140017"/>
                      <a:pt x="756285" y="140017"/>
                    </a:cubicBezTo>
                    <a:lnTo>
                      <a:pt x="750570" y="135255"/>
                    </a:lnTo>
                    <a:lnTo>
                      <a:pt x="751523" y="133350"/>
                    </a:lnTo>
                    <a:cubicBezTo>
                      <a:pt x="751523" y="133350"/>
                      <a:pt x="748665" y="132398"/>
                      <a:pt x="754380" y="131445"/>
                    </a:cubicBezTo>
                    <a:cubicBezTo>
                      <a:pt x="760095" y="131445"/>
                      <a:pt x="749618" y="130492"/>
                      <a:pt x="760095" y="131445"/>
                    </a:cubicBezTo>
                    <a:cubicBezTo>
                      <a:pt x="771525" y="131445"/>
                      <a:pt x="771525" y="131445"/>
                      <a:pt x="771525" y="131445"/>
                    </a:cubicBezTo>
                    <a:cubicBezTo>
                      <a:pt x="771525" y="131445"/>
                      <a:pt x="774383" y="130492"/>
                      <a:pt x="776288" y="131445"/>
                    </a:cubicBezTo>
                    <a:cubicBezTo>
                      <a:pt x="778193" y="132398"/>
                      <a:pt x="781050" y="131445"/>
                      <a:pt x="783908" y="131445"/>
                    </a:cubicBezTo>
                    <a:cubicBezTo>
                      <a:pt x="786765" y="131445"/>
                      <a:pt x="789623" y="129540"/>
                      <a:pt x="792480" y="129540"/>
                    </a:cubicBezTo>
                    <a:cubicBezTo>
                      <a:pt x="794385" y="129540"/>
                      <a:pt x="794385" y="129540"/>
                      <a:pt x="794385" y="129540"/>
                    </a:cubicBezTo>
                    <a:cubicBezTo>
                      <a:pt x="794385" y="129540"/>
                      <a:pt x="794385" y="129540"/>
                      <a:pt x="793433" y="129540"/>
                    </a:cubicBezTo>
                    <a:cubicBezTo>
                      <a:pt x="793433" y="129540"/>
                      <a:pt x="793433" y="129540"/>
                      <a:pt x="793433" y="129540"/>
                    </a:cubicBezTo>
                    <a:cubicBezTo>
                      <a:pt x="793433" y="129540"/>
                      <a:pt x="792480" y="129540"/>
                      <a:pt x="792480" y="129540"/>
                    </a:cubicBezTo>
                    <a:cubicBezTo>
                      <a:pt x="792480" y="129540"/>
                      <a:pt x="793433" y="129540"/>
                      <a:pt x="793433" y="129540"/>
                    </a:cubicBezTo>
                    <a:cubicBezTo>
                      <a:pt x="793433" y="129540"/>
                      <a:pt x="793433" y="129540"/>
                      <a:pt x="793433" y="129540"/>
                    </a:cubicBezTo>
                    <a:cubicBezTo>
                      <a:pt x="793433" y="129540"/>
                      <a:pt x="793433" y="129540"/>
                      <a:pt x="794385" y="129540"/>
                    </a:cubicBezTo>
                    <a:cubicBezTo>
                      <a:pt x="799148" y="129540"/>
                      <a:pt x="802958" y="128587"/>
                      <a:pt x="802958" y="128587"/>
                    </a:cubicBezTo>
                    <a:cubicBezTo>
                      <a:pt x="802958" y="128587"/>
                      <a:pt x="801053" y="127635"/>
                      <a:pt x="805815" y="128587"/>
                    </a:cubicBezTo>
                    <a:cubicBezTo>
                      <a:pt x="810578" y="129540"/>
                      <a:pt x="813435" y="127635"/>
                      <a:pt x="815340" y="128587"/>
                    </a:cubicBezTo>
                    <a:cubicBezTo>
                      <a:pt x="817245" y="129540"/>
                      <a:pt x="822008" y="128587"/>
                      <a:pt x="822008" y="128587"/>
                    </a:cubicBezTo>
                    <a:lnTo>
                      <a:pt x="827723" y="129540"/>
                    </a:lnTo>
                    <a:cubicBezTo>
                      <a:pt x="827723" y="129540"/>
                      <a:pt x="832485" y="129540"/>
                      <a:pt x="832485" y="130492"/>
                    </a:cubicBezTo>
                    <a:cubicBezTo>
                      <a:pt x="832485" y="131445"/>
                      <a:pt x="830580" y="128587"/>
                      <a:pt x="832485" y="131445"/>
                    </a:cubicBezTo>
                    <a:cubicBezTo>
                      <a:pt x="834390" y="134303"/>
                      <a:pt x="837248" y="134303"/>
                      <a:pt x="840105" y="135255"/>
                    </a:cubicBezTo>
                    <a:cubicBezTo>
                      <a:pt x="842963" y="136208"/>
                      <a:pt x="838200" y="137160"/>
                      <a:pt x="842963" y="136208"/>
                    </a:cubicBezTo>
                    <a:cubicBezTo>
                      <a:pt x="847725" y="135255"/>
                      <a:pt x="850583" y="131445"/>
                      <a:pt x="852488" y="131445"/>
                    </a:cubicBezTo>
                    <a:cubicBezTo>
                      <a:pt x="854393" y="132398"/>
                      <a:pt x="857250" y="132398"/>
                      <a:pt x="857250" y="132398"/>
                    </a:cubicBezTo>
                    <a:lnTo>
                      <a:pt x="862013" y="131445"/>
                    </a:lnTo>
                    <a:lnTo>
                      <a:pt x="869633" y="132398"/>
                    </a:lnTo>
                    <a:cubicBezTo>
                      <a:pt x="869633" y="132398"/>
                      <a:pt x="871538" y="132398"/>
                      <a:pt x="872490" y="134303"/>
                    </a:cubicBezTo>
                    <a:cubicBezTo>
                      <a:pt x="873443" y="136208"/>
                      <a:pt x="873443" y="136208"/>
                      <a:pt x="873443" y="136208"/>
                    </a:cubicBezTo>
                    <a:lnTo>
                      <a:pt x="870585" y="141923"/>
                    </a:lnTo>
                    <a:close/>
                    <a:moveTo>
                      <a:pt x="1010603" y="202883"/>
                    </a:moveTo>
                    <a:cubicBezTo>
                      <a:pt x="1004888" y="205740"/>
                      <a:pt x="1008698" y="204787"/>
                      <a:pt x="1005840" y="204787"/>
                    </a:cubicBezTo>
                    <a:cubicBezTo>
                      <a:pt x="1003935" y="204787"/>
                      <a:pt x="1002983" y="206692"/>
                      <a:pt x="1000125" y="206692"/>
                    </a:cubicBezTo>
                    <a:cubicBezTo>
                      <a:pt x="997268" y="206692"/>
                      <a:pt x="992505" y="206692"/>
                      <a:pt x="992505" y="206692"/>
                    </a:cubicBezTo>
                    <a:cubicBezTo>
                      <a:pt x="992505" y="206692"/>
                      <a:pt x="987743" y="207645"/>
                      <a:pt x="984885" y="207645"/>
                    </a:cubicBezTo>
                    <a:cubicBezTo>
                      <a:pt x="982028" y="207645"/>
                      <a:pt x="980123" y="209550"/>
                      <a:pt x="977265" y="209550"/>
                    </a:cubicBezTo>
                    <a:cubicBezTo>
                      <a:pt x="975360" y="209550"/>
                      <a:pt x="972503" y="211455"/>
                      <a:pt x="969645" y="212408"/>
                    </a:cubicBezTo>
                    <a:cubicBezTo>
                      <a:pt x="966788" y="212408"/>
                      <a:pt x="965835" y="213360"/>
                      <a:pt x="963930" y="213360"/>
                    </a:cubicBezTo>
                    <a:cubicBezTo>
                      <a:pt x="962025" y="213360"/>
                      <a:pt x="961073" y="217170"/>
                      <a:pt x="961073" y="217170"/>
                    </a:cubicBezTo>
                    <a:cubicBezTo>
                      <a:pt x="961073" y="217170"/>
                      <a:pt x="956310" y="219075"/>
                      <a:pt x="953453" y="219075"/>
                    </a:cubicBezTo>
                    <a:cubicBezTo>
                      <a:pt x="950595" y="219075"/>
                      <a:pt x="948690" y="220028"/>
                      <a:pt x="943928" y="220980"/>
                    </a:cubicBezTo>
                    <a:cubicBezTo>
                      <a:pt x="939165" y="220980"/>
                      <a:pt x="938213" y="220980"/>
                      <a:pt x="935355" y="220980"/>
                    </a:cubicBezTo>
                    <a:cubicBezTo>
                      <a:pt x="933450" y="220980"/>
                      <a:pt x="929640" y="220980"/>
                      <a:pt x="925830" y="220980"/>
                    </a:cubicBezTo>
                    <a:cubicBezTo>
                      <a:pt x="922020" y="220980"/>
                      <a:pt x="917258" y="220980"/>
                      <a:pt x="917258" y="220980"/>
                    </a:cubicBezTo>
                    <a:lnTo>
                      <a:pt x="910590" y="221933"/>
                    </a:lnTo>
                    <a:cubicBezTo>
                      <a:pt x="910590" y="221933"/>
                      <a:pt x="906780" y="223837"/>
                      <a:pt x="903923" y="224790"/>
                    </a:cubicBezTo>
                    <a:cubicBezTo>
                      <a:pt x="901065" y="225742"/>
                      <a:pt x="899160" y="225742"/>
                      <a:pt x="895350" y="226695"/>
                    </a:cubicBezTo>
                    <a:cubicBezTo>
                      <a:pt x="890588" y="227648"/>
                      <a:pt x="890588" y="227648"/>
                      <a:pt x="887730" y="227648"/>
                    </a:cubicBezTo>
                    <a:cubicBezTo>
                      <a:pt x="883920" y="226695"/>
                      <a:pt x="887730" y="227648"/>
                      <a:pt x="886778" y="221933"/>
                    </a:cubicBezTo>
                    <a:cubicBezTo>
                      <a:pt x="885825" y="216217"/>
                      <a:pt x="886778" y="221933"/>
                      <a:pt x="887730" y="220980"/>
                    </a:cubicBezTo>
                    <a:cubicBezTo>
                      <a:pt x="888683" y="220028"/>
                      <a:pt x="890588" y="220980"/>
                      <a:pt x="892493" y="220028"/>
                    </a:cubicBezTo>
                    <a:cubicBezTo>
                      <a:pt x="894398" y="219075"/>
                      <a:pt x="895350" y="219075"/>
                      <a:pt x="895350" y="219075"/>
                    </a:cubicBezTo>
                    <a:cubicBezTo>
                      <a:pt x="895350" y="219075"/>
                      <a:pt x="900113" y="218123"/>
                      <a:pt x="902018" y="216217"/>
                    </a:cubicBezTo>
                    <a:cubicBezTo>
                      <a:pt x="903923" y="215265"/>
                      <a:pt x="910590" y="214312"/>
                      <a:pt x="910590" y="214312"/>
                    </a:cubicBezTo>
                    <a:lnTo>
                      <a:pt x="918210" y="211455"/>
                    </a:lnTo>
                    <a:cubicBezTo>
                      <a:pt x="918210" y="211455"/>
                      <a:pt x="922973" y="208598"/>
                      <a:pt x="922020" y="206692"/>
                    </a:cubicBezTo>
                    <a:cubicBezTo>
                      <a:pt x="921068" y="205740"/>
                      <a:pt x="928688" y="206692"/>
                      <a:pt x="928688" y="206692"/>
                    </a:cubicBezTo>
                    <a:lnTo>
                      <a:pt x="931545" y="206692"/>
                    </a:lnTo>
                    <a:lnTo>
                      <a:pt x="942975" y="205740"/>
                    </a:lnTo>
                    <a:lnTo>
                      <a:pt x="949643" y="206692"/>
                    </a:lnTo>
                    <a:lnTo>
                      <a:pt x="956310" y="206692"/>
                    </a:lnTo>
                    <a:cubicBezTo>
                      <a:pt x="956310" y="206692"/>
                      <a:pt x="963930" y="206692"/>
                      <a:pt x="965835" y="204787"/>
                    </a:cubicBezTo>
                    <a:cubicBezTo>
                      <a:pt x="967740" y="202883"/>
                      <a:pt x="969645" y="203835"/>
                      <a:pt x="971550" y="201930"/>
                    </a:cubicBezTo>
                    <a:cubicBezTo>
                      <a:pt x="973455" y="200025"/>
                      <a:pt x="975360" y="201930"/>
                      <a:pt x="977265" y="199073"/>
                    </a:cubicBezTo>
                    <a:cubicBezTo>
                      <a:pt x="979170" y="197167"/>
                      <a:pt x="982028" y="197167"/>
                      <a:pt x="982028" y="197167"/>
                    </a:cubicBezTo>
                    <a:lnTo>
                      <a:pt x="986790" y="196215"/>
                    </a:lnTo>
                    <a:cubicBezTo>
                      <a:pt x="986790" y="196215"/>
                      <a:pt x="994410" y="196215"/>
                      <a:pt x="997268" y="195262"/>
                    </a:cubicBezTo>
                    <a:cubicBezTo>
                      <a:pt x="999173" y="194310"/>
                      <a:pt x="1002030" y="193358"/>
                      <a:pt x="1002030" y="193358"/>
                    </a:cubicBezTo>
                    <a:cubicBezTo>
                      <a:pt x="1002030" y="193358"/>
                      <a:pt x="1011555" y="192405"/>
                      <a:pt x="1013460" y="192405"/>
                    </a:cubicBezTo>
                    <a:cubicBezTo>
                      <a:pt x="1015365" y="192405"/>
                      <a:pt x="1015365" y="194310"/>
                      <a:pt x="1015365" y="194310"/>
                    </a:cubicBezTo>
                    <a:cubicBezTo>
                      <a:pt x="1015365" y="194310"/>
                      <a:pt x="1016318" y="200025"/>
                      <a:pt x="1010603" y="202883"/>
                    </a:cubicBezTo>
                    <a:close/>
                    <a:moveTo>
                      <a:pt x="1220153" y="380048"/>
                    </a:moveTo>
                    <a:cubicBezTo>
                      <a:pt x="1220153" y="377190"/>
                      <a:pt x="1220153" y="379095"/>
                      <a:pt x="1218248" y="374333"/>
                    </a:cubicBezTo>
                    <a:cubicBezTo>
                      <a:pt x="1216343" y="370523"/>
                      <a:pt x="1216343" y="372427"/>
                      <a:pt x="1212533" y="371475"/>
                    </a:cubicBezTo>
                    <a:cubicBezTo>
                      <a:pt x="1209675" y="369570"/>
                      <a:pt x="1212533" y="371475"/>
                      <a:pt x="1210628" y="369570"/>
                    </a:cubicBezTo>
                    <a:cubicBezTo>
                      <a:pt x="1208723" y="367665"/>
                      <a:pt x="1210628" y="367665"/>
                      <a:pt x="1210628" y="367665"/>
                    </a:cubicBezTo>
                    <a:lnTo>
                      <a:pt x="1208723" y="364808"/>
                    </a:lnTo>
                    <a:lnTo>
                      <a:pt x="1203960" y="362903"/>
                    </a:lnTo>
                    <a:lnTo>
                      <a:pt x="1200150" y="362903"/>
                    </a:lnTo>
                    <a:cubicBezTo>
                      <a:pt x="1200150" y="362903"/>
                      <a:pt x="1195388" y="361950"/>
                      <a:pt x="1193483" y="360998"/>
                    </a:cubicBezTo>
                    <a:cubicBezTo>
                      <a:pt x="1190625" y="360045"/>
                      <a:pt x="1188720" y="358140"/>
                      <a:pt x="1188720" y="358140"/>
                    </a:cubicBezTo>
                    <a:lnTo>
                      <a:pt x="1185863" y="355283"/>
                    </a:lnTo>
                    <a:lnTo>
                      <a:pt x="1184910" y="353378"/>
                    </a:lnTo>
                    <a:lnTo>
                      <a:pt x="1185863" y="351473"/>
                    </a:lnTo>
                    <a:lnTo>
                      <a:pt x="1187768" y="347662"/>
                    </a:lnTo>
                    <a:lnTo>
                      <a:pt x="1190625" y="346710"/>
                    </a:lnTo>
                    <a:lnTo>
                      <a:pt x="1196340" y="345758"/>
                    </a:lnTo>
                    <a:lnTo>
                      <a:pt x="1200150" y="345758"/>
                    </a:lnTo>
                    <a:lnTo>
                      <a:pt x="1203960" y="345758"/>
                    </a:lnTo>
                    <a:cubicBezTo>
                      <a:pt x="1203960" y="345758"/>
                      <a:pt x="1207770" y="344805"/>
                      <a:pt x="1207770" y="343853"/>
                    </a:cubicBezTo>
                    <a:cubicBezTo>
                      <a:pt x="1207770" y="342900"/>
                      <a:pt x="1213485" y="343853"/>
                      <a:pt x="1213485" y="343853"/>
                    </a:cubicBezTo>
                    <a:lnTo>
                      <a:pt x="1218248" y="343853"/>
                    </a:lnTo>
                    <a:lnTo>
                      <a:pt x="1221105" y="344805"/>
                    </a:lnTo>
                    <a:lnTo>
                      <a:pt x="1225868" y="348615"/>
                    </a:lnTo>
                    <a:lnTo>
                      <a:pt x="1226820" y="350520"/>
                    </a:lnTo>
                    <a:lnTo>
                      <a:pt x="1227773" y="352425"/>
                    </a:lnTo>
                    <a:cubicBezTo>
                      <a:pt x="1227773" y="352425"/>
                      <a:pt x="1227773" y="352425"/>
                      <a:pt x="1226820" y="356235"/>
                    </a:cubicBezTo>
                    <a:cubicBezTo>
                      <a:pt x="1225868" y="360045"/>
                      <a:pt x="1226820" y="359093"/>
                      <a:pt x="1226820" y="359093"/>
                    </a:cubicBezTo>
                    <a:lnTo>
                      <a:pt x="1232535" y="362903"/>
                    </a:lnTo>
                    <a:cubicBezTo>
                      <a:pt x="1232535" y="362903"/>
                      <a:pt x="1237298" y="364808"/>
                      <a:pt x="1239203" y="364808"/>
                    </a:cubicBezTo>
                    <a:cubicBezTo>
                      <a:pt x="1241108" y="365760"/>
                      <a:pt x="1244918" y="368618"/>
                      <a:pt x="1244918" y="368618"/>
                    </a:cubicBezTo>
                    <a:lnTo>
                      <a:pt x="1245870" y="372427"/>
                    </a:lnTo>
                    <a:lnTo>
                      <a:pt x="1246823" y="375285"/>
                    </a:lnTo>
                    <a:lnTo>
                      <a:pt x="1249680" y="378143"/>
                    </a:lnTo>
                    <a:lnTo>
                      <a:pt x="1250633" y="380048"/>
                    </a:lnTo>
                    <a:lnTo>
                      <a:pt x="1249680" y="384810"/>
                    </a:lnTo>
                    <a:lnTo>
                      <a:pt x="1247775" y="389573"/>
                    </a:lnTo>
                    <a:lnTo>
                      <a:pt x="1244918" y="392430"/>
                    </a:lnTo>
                    <a:cubicBezTo>
                      <a:pt x="1244918" y="392430"/>
                      <a:pt x="1240155" y="392430"/>
                      <a:pt x="1237298" y="392430"/>
                    </a:cubicBezTo>
                    <a:cubicBezTo>
                      <a:pt x="1234440" y="392430"/>
                      <a:pt x="1231583" y="392430"/>
                      <a:pt x="1231583" y="392430"/>
                    </a:cubicBezTo>
                    <a:lnTo>
                      <a:pt x="1225868" y="390525"/>
                    </a:lnTo>
                    <a:cubicBezTo>
                      <a:pt x="1224915" y="391477"/>
                      <a:pt x="1220153" y="382905"/>
                      <a:pt x="1220153" y="380048"/>
                    </a:cubicBezTo>
                    <a:close/>
                  </a:path>
                </a:pathLst>
              </a:custGeom>
              <a:grpFill/>
              <a:ln w="9525" cap="flat">
                <a:noFill/>
                <a:prstDash val="solid"/>
                <a:miter/>
              </a:ln>
            </p:spPr>
            <p:txBody>
              <a:bodyPr rtlCol="0" anchor="ctr"/>
              <a:lstStyle/>
              <a:p>
                <a:endParaRPr lang="en-US" sz="1765"/>
              </a:p>
            </p:txBody>
          </p:sp>
          <p:sp>
            <p:nvSpPr>
              <p:cNvPr id="290" name="Freeform: Shape 289">
                <a:extLst>
                  <a:ext uri="{FF2B5EF4-FFF2-40B4-BE49-F238E27FC236}">
                    <a16:creationId xmlns:a16="http://schemas.microsoft.com/office/drawing/2014/main" id="{72FE4C70-C306-4789-8640-84BD0E1AB4C1}"/>
                  </a:ext>
                </a:extLst>
              </p:cNvPr>
              <p:cNvSpPr/>
              <p:nvPr/>
            </p:nvSpPr>
            <p:spPr>
              <a:xfrm>
                <a:off x="5442614" y="3186793"/>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cubicBezTo>
                      <a:pt x="0" y="0"/>
                      <a:pt x="0" y="0"/>
                      <a:pt x="0" y="0"/>
                    </a:cubicBezTo>
                    <a:cubicBezTo>
                      <a:pt x="0" y="0"/>
                      <a:pt x="0" y="0"/>
                      <a:pt x="0" y="0"/>
                    </a:cubicBezTo>
                    <a:close/>
                  </a:path>
                </a:pathLst>
              </a:custGeom>
              <a:grpFill/>
              <a:ln w="9525" cap="flat">
                <a:noFill/>
                <a:prstDash val="solid"/>
                <a:miter/>
              </a:ln>
            </p:spPr>
            <p:txBody>
              <a:bodyPr rtlCol="0" anchor="ctr"/>
              <a:lstStyle/>
              <a:p>
                <a:endParaRPr lang="en-US" sz="1765"/>
              </a:p>
            </p:txBody>
          </p:sp>
          <p:sp>
            <p:nvSpPr>
              <p:cNvPr id="291" name="Freeform: Shape 290">
                <a:extLst>
                  <a:ext uri="{FF2B5EF4-FFF2-40B4-BE49-F238E27FC236}">
                    <a16:creationId xmlns:a16="http://schemas.microsoft.com/office/drawing/2014/main" id="{720A5609-A12A-43A5-BAE5-BA762821B16E}"/>
                  </a:ext>
                </a:extLst>
              </p:cNvPr>
              <p:cNvSpPr/>
              <p:nvPr/>
            </p:nvSpPr>
            <p:spPr>
              <a:xfrm>
                <a:off x="9863258" y="4006744"/>
                <a:ext cx="178025" cy="117584"/>
              </a:xfrm>
              <a:custGeom>
                <a:avLst/>
                <a:gdLst>
                  <a:gd name="connsiteX0" fmla="*/ 38008 w 178025"/>
                  <a:gd name="connsiteY0" fmla="*/ 1105 h 117584"/>
                  <a:gd name="connsiteX1" fmla="*/ 28483 w 178025"/>
                  <a:gd name="connsiteY1" fmla="*/ 1105 h 117584"/>
                  <a:gd name="connsiteX2" fmla="*/ 20863 w 178025"/>
                  <a:gd name="connsiteY2" fmla="*/ 1105 h 117584"/>
                  <a:gd name="connsiteX3" fmla="*/ 8480 w 178025"/>
                  <a:gd name="connsiteY3" fmla="*/ 152 h 117584"/>
                  <a:gd name="connsiteX4" fmla="*/ 2765 w 178025"/>
                  <a:gd name="connsiteY4" fmla="*/ 2057 h 117584"/>
                  <a:gd name="connsiteX5" fmla="*/ 2765 w 178025"/>
                  <a:gd name="connsiteY5" fmla="*/ 10630 h 117584"/>
                  <a:gd name="connsiteX6" fmla="*/ 12290 w 178025"/>
                  <a:gd name="connsiteY6" fmla="*/ 15392 h 117584"/>
                  <a:gd name="connsiteX7" fmla="*/ 14195 w 178025"/>
                  <a:gd name="connsiteY7" fmla="*/ 17297 h 117584"/>
                  <a:gd name="connsiteX8" fmla="*/ 29435 w 178025"/>
                  <a:gd name="connsiteY8" fmla="*/ 32537 h 117584"/>
                  <a:gd name="connsiteX9" fmla="*/ 42770 w 178025"/>
                  <a:gd name="connsiteY9" fmla="*/ 38252 h 117584"/>
                  <a:gd name="connsiteX10" fmla="*/ 52295 w 178025"/>
                  <a:gd name="connsiteY10" fmla="*/ 43015 h 117584"/>
                  <a:gd name="connsiteX11" fmla="*/ 58963 w 178025"/>
                  <a:gd name="connsiteY11" fmla="*/ 50635 h 117584"/>
                  <a:gd name="connsiteX12" fmla="*/ 65630 w 178025"/>
                  <a:gd name="connsiteY12" fmla="*/ 61112 h 117584"/>
                  <a:gd name="connsiteX13" fmla="*/ 74203 w 178025"/>
                  <a:gd name="connsiteY13" fmla="*/ 70637 h 117584"/>
                  <a:gd name="connsiteX14" fmla="*/ 84680 w 178025"/>
                  <a:gd name="connsiteY14" fmla="*/ 79210 h 117584"/>
                  <a:gd name="connsiteX15" fmla="*/ 95158 w 178025"/>
                  <a:gd name="connsiteY15" fmla="*/ 84925 h 117584"/>
                  <a:gd name="connsiteX16" fmla="*/ 105635 w 178025"/>
                  <a:gd name="connsiteY16" fmla="*/ 93497 h 117584"/>
                  <a:gd name="connsiteX17" fmla="*/ 119923 w 178025"/>
                  <a:gd name="connsiteY17" fmla="*/ 105880 h 117584"/>
                  <a:gd name="connsiteX18" fmla="*/ 125638 w 178025"/>
                  <a:gd name="connsiteY18" fmla="*/ 109690 h 117584"/>
                  <a:gd name="connsiteX19" fmla="*/ 138020 w 178025"/>
                  <a:gd name="connsiteY19" fmla="*/ 112547 h 117584"/>
                  <a:gd name="connsiteX20" fmla="*/ 145640 w 178025"/>
                  <a:gd name="connsiteY20" fmla="*/ 114452 h 117584"/>
                  <a:gd name="connsiteX21" fmla="*/ 153260 w 178025"/>
                  <a:gd name="connsiteY21" fmla="*/ 116357 h 117584"/>
                  <a:gd name="connsiteX22" fmla="*/ 156118 w 178025"/>
                  <a:gd name="connsiteY22" fmla="*/ 117310 h 117584"/>
                  <a:gd name="connsiteX23" fmla="*/ 167548 w 178025"/>
                  <a:gd name="connsiteY23" fmla="*/ 117310 h 117584"/>
                  <a:gd name="connsiteX24" fmla="*/ 175168 w 178025"/>
                  <a:gd name="connsiteY24" fmla="*/ 116357 h 117584"/>
                  <a:gd name="connsiteX25" fmla="*/ 178025 w 178025"/>
                  <a:gd name="connsiteY25" fmla="*/ 106832 h 117584"/>
                  <a:gd name="connsiteX26" fmla="*/ 175168 w 178025"/>
                  <a:gd name="connsiteY26" fmla="*/ 95402 h 117584"/>
                  <a:gd name="connsiteX27" fmla="*/ 175168 w 178025"/>
                  <a:gd name="connsiteY27" fmla="*/ 90640 h 117584"/>
                  <a:gd name="connsiteX28" fmla="*/ 167548 w 178025"/>
                  <a:gd name="connsiteY28" fmla="*/ 80162 h 117584"/>
                  <a:gd name="connsiteX29" fmla="*/ 155165 w 178025"/>
                  <a:gd name="connsiteY29" fmla="*/ 73495 h 117584"/>
                  <a:gd name="connsiteX30" fmla="*/ 147545 w 178025"/>
                  <a:gd name="connsiteY30" fmla="*/ 68732 h 117584"/>
                  <a:gd name="connsiteX31" fmla="*/ 135163 w 178025"/>
                  <a:gd name="connsiteY31" fmla="*/ 63017 h 117584"/>
                  <a:gd name="connsiteX32" fmla="*/ 125638 w 178025"/>
                  <a:gd name="connsiteY32" fmla="*/ 58255 h 117584"/>
                  <a:gd name="connsiteX33" fmla="*/ 115160 w 178025"/>
                  <a:gd name="connsiteY33" fmla="*/ 51587 h 117584"/>
                  <a:gd name="connsiteX34" fmla="*/ 108493 w 178025"/>
                  <a:gd name="connsiteY34" fmla="*/ 44920 h 117584"/>
                  <a:gd name="connsiteX35" fmla="*/ 98015 w 178025"/>
                  <a:gd name="connsiteY35" fmla="*/ 38252 h 117584"/>
                  <a:gd name="connsiteX36" fmla="*/ 88490 w 178025"/>
                  <a:gd name="connsiteY36" fmla="*/ 32537 h 117584"/>
                  <a:gd name="connsiteX37" fmla="*/ 81823 w 178025"/>
                  <a:gd name="connsiteY37" fmla="*/ 26822 h 117584"/>
                  <a:gd name="connsiteX38" fmla="*/ 69440 w 178025"/>
                  <a:gd name="connsiteY38" fmla="*/ 19202 h 117584"/>
                  <a:gd name="connsiteX39" fmla="*/ 63725 w 178025"/>
                  <a:gd name="connsiteY39" fmla="*/ 17297 h 117584"/>
                  <a:gd name="connsiteX40" fmla="*/ 53248 w 178025"/>
                  <a:gd name="connsiteY40" fmla="*/ 11582 h 117584"/>
                  <a:gd name="connsiteX41" fmla="*/ 50390 w 178025"/>
                  <a:gd name="connsiteY41" fmla="*/ 8725 h 117584"/>
                  <a:gd name="connsiteX42" fmla="*/ 47533 w 178025"/>
                  <a:gd name="connsiteY42" fmla="*/ 4915 h 117584"/>
                  <a:gd name="connsiteX43" fmla="*/ 38008 w 178025"/>
                  <a:gd name="connsiteY43" fmla="*/ 1105 h 11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8025" h="117584">
                    <a:moveTo>
                      <a:pt x="38008" y="1105"/>
                    </a:moveTo>
                    <a:lnTo>
                      <a:pt x="28483" y="1105"/>
                    </a:lnTo>
                    <a:cubicBezTo>
                      <a:pt x="28483" y="1105"/>
                      <a:pt x="25625" y="1105"/>
                      <a:pt x="20863" y="1105"/>
                    </a:cubicBezTo>
                    <a:cubicBezTo>
                      <a:pt x="16100" y="1105"/>
                      <a:pt x="8480" y="152"/>
                      <a:pt x="8480" y="152"/>
                    </a:cubicBezTo>
                    <a:cubicBezTo>
                      <a:pt x="8480" y="152"/>
                      <a:pt x="3718" y="-800"/>
                      <a:pt x="2765" y="2057"/>
                    </a:cubicBezTo>
                    <a:cubicBezTo>
                      <a:pt x="1813" y="4915"/>
                      <a:pt x="-2950" y="6820"/>
                      <a:pt x="2765" y="10630"/>
                    </a:cubicBezTo>
                    <a:cubicBezTo>
                      <a:pt x="8480" y="14440"/>
                      <a:pt x="10385" y="12535"/>
                      <a:pt x="12290" y="15392"/>
                    </a:cubicBezTo>
                    <a:cubicBezTo>
                      <a:pt x="14195" y="17297"/>
                      <a:pt x="9433" y="12535"/>
                      <a:pt x="14195" y="17297"/>
                    </a:cubicBezTo>
                    <a:cubicBezTo>
                      <a:pt x="19910" y="22060"/>
                      <a:pt x="29435" y="32537"/>
                      <a:pt x="29435" y="32537"/>
                    </a:cubicBezTo>
                    <a:cubicBezTo>
                      <a:pt x="29435" y="32537"/>
                      <a:pt x="38960" y="35395"/>
                      <a:pt x="42770" y="38252"/>
                    </a:cubicBezTo>
                    <a:cubicBezTo>
                      <a:pt x="45628" y="41110"/>
                      <a:pt x="50390" y="40157"/>
                      <a:pt x="52295" y="43015"/>
                    </a:cubicBezTo>
                    <a:cubicBezTo>
                      <a:pt x="54200" y="46825"/>
                      <a:pt x="57058" y="45872"/>
                      <a:pt x="58963" y="50635"/>
                    </a:cubicBezTo>
                    <a:cubicBezTo>
                      <a:pt x="60868" y="54445"/>
                      <a:pt x="64678" y="59207"/>
                      <a:pt x="65630" y="61112"/>
                    </a:cubicBezTo>
                    <a:cubicBezTo>
                      <a:pt x="66583" y="63017"/>
                      <a:pt x="72298" y="66827"/>
                      <a:pt x="74203" y="70637"/>
                    </a:cubicBezTo>
                    <a:cubicBezTo>
                      <a:pt x="76108" y="74447"/>
                      <a:pt x="84680" y="79210"/>
                      <a:pt x="84680" y="79210"/>
                    </a:cubicBezTo>
                    <a:cubicBezTo>
                      <a:pt x="84680" y="79210"/>
                      <a:pt x="92300" y="83020"/>
                      <a:pt x="95158" y="84925"/>
                    </a:cubicBezTo>
                    <a:cubicBezTo>
                      <a:pt x="98015" y="86830"/>
                      <a:pt x="100873" y="86830"/>
                      <a:pt x="105635" y="93497"/>
                    </a:cubicBezTo>
                    <a:cubicBezTo>
                      <a:pt x="111350" y="100165"/>
                      <a:pt x="119923" y="105880"/>
                      <a:pt x="119923" y="105880"/>
                    </a:cubicBezTo>
                    <a:cubicBezTo>
                      <a:pt x="119923" y="105880"/>
                      <a:pt x="121828" y="107785"/>
                      <a:pt x="125638" y="109690"/>
                    </a:cubicBezTo>
                    <a:cubicBezTo>
                      <a:pt x="128495" y="111595"/>
                      <a:pt x="138020" y="112547"/>
                      <a:pt x="138020" y="112547"/>
                    </a:cubicBezTo>
                    <a:cubicBezTo>
                      <a:pt x="138020" y="112547"/>
                      <a:pt x="142783" y="113500"/>
                      <a:pt x="145640" y="114452"/>
                    </a:cubicBezTo>
                    <a:cubicBezTo>
                      <a:pt x="148498" y="115405"/>
                      <a:pt x="150403" y="114452"/>
                      <a:pt x="153260" y="116357"/>
                    </a:cubicBezTo>
                    <a:cubicBezTo>
                      <a:pt x="156118" y="117310"/>
                      <a:pt x="151355" y="117310"/>
                      <a:pt x="156118" y="117310"/>
                    </a:cubicBezTo>
                    <a:cubicBezTo>
                      <a:pt x="161833" y="118262"/>
                      <a:pt x="163738" y="116357"/>
                      <a:pt x="167548" y="117310"/>
                    </a:cubicBezTo>
                    <a:cubicBezTo>
                      <a:pt x="170405" y="118262"/>
                      <a:pt x="175168" y="116357"/>
                      <a:pt x="175168" y="116357"/>
                    </a:cubicBezTo>
                    <a:cubicBezTo>
                      <a:pt x="175168" y="116357"/>
                      <a:pt x="178025" y="108737"/>
                      <a:pt x="178025" y="106832"/>
                    </a:cubicBezTo>
                    <a:cubicBezTo>
                      <a:pt x="178025" y="104927"/>
                      <a:pt x="175168" y="95402"/>
                      <a:pt x="175168" y="95402"/>
                    </a:cubicBezTo>
                    <a:cubicBezTo>
                      <a:pt x="175168" y="95402"/>
                      <a:pt x="177073" y="94450"/>
                      <a:pt x="175168" y="90640"/>
                    </a:cubicBezTo>
                    <a:cubicBezTo>
                      <a:pt x="173263" y="86830"/>
                      <a:pt x="167548" y="80162"/>
                      <a:pt x="167548" y="80162"/>
                    </a:cubicBezTo>
                    <a:lnTo>
                      <a:pt x="155165" y="73495"/>
                    </a:lnTo>
                    <a:cubicBezTo>
                      <a:pt x="155165" y="73495"/>
                      <a:pt x="152308" y="71590"/>
                      <a:pt x="147545" y="68732"/>
                    </a:cubicBezTo>
                    <a:cubicBezTo>
                      <a:pt x="142783" y="66827"/>
                      <a:pt x="140878" y="65875"/>
                      <a:pt x="135163" y="63017"/>
                    </a:cubicBezTo>
                    <a:cubicBezTo>
                      <a:pt x="129448" y="60160"/>
                      <a:pt x="125638" y="58255"/>
                      <a:pt x="125638" y="58255"/>
                    </a:cubicBezTo>
                    <a:lnTo>
                      <a:pt x="115160" y="51587"/>
                    </a:lnTo>
                    <a:lnTo>
                      <a:pt x="108493" y="44920"/>
                    </a:lnTo>
                    <a:lnTo>
                      <a:pt x="98015" y="38252"/>
                    </a:lnTo>
                    <a:cubicBezTo>
                      <a:pt x="98015" y="38252"/>
                      <a:pt x="88490" y="34442"/>
                      <a:pt x="88490" y="32537"/>
                    </a:cubicBezTo>
                    <a:cubicBezTo>
                      <a:pt x="88490" y="30632"/>
                      <a:pt x="81823" y="28727"/>
                      <a:pt x="81823" y="26822"/>
                    </a:cubicBezTo>
                    <a:cubicBezTo>
                      <a:pt x="81823" y="24917"/>
                      <a:pt x="69440" y="19202"/>
                      <a:pt x="69440" y="19202"/>
                    </a:cubicBezTo>
                    <a:lnTo>
                      <a:pt x="63725" y="17297"/>
                    </a:lnTo>
                    <a:lnTo>
                      <a:pt x="53248" y="11582"/>
                    </a:lnTo>
                    <a:lnTo>
                      <a:pt x="50390" y="8725"/>
                    </a:lnTo>
                    <a:lnTo>
                      <a:pt x="47533" y="4915"/>
                    </a:lnTo>
                    <a:lnTo>
                      <a:pt x="38008" y="1105"/>
                    </a:lnTo>
                    <a:close/>
                  </a:path>
                </a:pathLst>
              </a:custGeom>
              <a:grpFill/>
              <a:ln w="9525" cap="flat">
                <a:noFill/>
                <a:prstDash val="solid"/>
                <a:miter/>
              </a:ln>
            </p:spPr>
            <p:txBody>
              <a:bodyPr rtlCol="0" anchor="ctr"/>
              <a:lstStyle/>
              <a:p>
                <a:endParaRPr lang="en-US" sz="1765"/>
              </a:p>
            </p:txBody>
          </p:sp>
          <p:sp>
            <p:nvSpPr>
              <p:cNvPr id="292" name="Freeform: Shape 291">
                <a:extLst>
                  <a:ext uri="{FF2B5EF4-FFF2-40B4-BE49-F238E27FC236}">
                    <a16:creationId xmlns:a16="http://schemas.microsoft.com/office/drawing/2014/main" id="{CA0C68FD-68F2-428E-850F-176370E3B585}"/>
                  </a:ext>
                </a:extLst>
              </p:cNvPr>
              <p:cNvSpPr/>
              <p:nvPr/>
            </p:nvSpPr>
            <p:spPr>
              <a:xfrm>
                <a:off x="10029642" y="4134861"/>
                <a:ext cx="180234" cy="32329"/>
              </a:xfrm>
              <a:custGeom>
                <a:avLst/>
                <a:gdLst>
                  <a:gd name="connsiteX0" fmla="*/ 68792 w 180234"/>
                  <a:gd name="connsiteY0" fmla="*/ 6337 h 32329"/>
                  <a:gd name="connsiteX1" fmla="*/ 62124 w 180234"/>
                  <a:gd name="connsiteY1" fmla="*/ 4432 h 32329"/>
                  <a:gd name="connsiteX2" fmla="*/ 34502 w 180234"/>
                  <a:gd name="connsiteY2" fmla="*/ 1575 h 32329"/>
                  <a:gd name="connsiteX3" fmla="*/ 24977 w 180234"/>
                  <a:gd name="connsiteY3" fmla="*/ 622 h 32329"/>
                  <a:gd name="connsiteX4" fmla="*/ 17357 w 180234"/>
                  <a:gd name="connsiteY4" fmla="*/ 622 h 32329"/>
                  <a:gd name="connsiteX5" fmla="*/ 5927 w 180234"/>
                  <a:gd name="connsiteY5" fmla="*/ 1575 h 32329"/>
                  <a:gd name="connsiteX6" fmla="*/ 2117 w 180234"/>
                  <a:gd name="connsiteY6" fmla="*/ 8242 h 32329"/>
                  <a:gd name="connsiteX7" fmla="*/ 2117 w 180234"/>
                  <a:gd name="connsiteY7" fmla="*/ 12052 h 32329"/>
                  <a:gd name="connsiteX8" fmla="*/ 2117 w 180234"/>
                  <a:gd name="connsiteY8" fmla="*/ 12052 h 32329"/>
                  <a:gd name="connsiteX9" fmla="*/ 10689 w 180234"/>
                  <a:gd name="connsiteY9" fmla="*/ 13957 h 32329"/>
                  <a:gd name="connsiteX10" fmla="*/ 13547 w 180234"/>
                  <a:gd name="connsiteY10" fmla="*/ 14910 h 32329"/>
                  <a:gd name="connsiteX11" fmla="*/ 26882 w 180234"/>
                  <a:gd name="connsiteY11" fmla="*/ 17767 h 32329"/>
                  <a:gd name="connsiteX12" fmla="*/ 39264 w 180234"/>
                  <a:gd name="connsiteY12" fmla="*/ 19672 h 32329"/>
                  <a:gd name="connsiteX13" fmla="*/ 60219 w 180234"/>
                  <a:gd name="connsiteY13" fmla="*/ 19672 h 32329"/>
                  <a:gd name="connsiteX14" fmla="*/ 70697 w 180234"/>
                  <a:gd name="connsiteY14" fmla="*/ 22530 h 32329"/>
                  <a:gd name="connsiteX15" fmla="*/ 86889 w 180234"/>
                  <a:gd name="connsiteY15" fmla="*/ 28245 h 32329"/>
                  <a:gd name="connsiteX16" fmla="*/ 115464 w 180234"/>
                  <a:gd name="connsiteY16" fmla="*/ 30150 h 32329"/>
                  <a:gd name="connsiteX17" fmla="*/ 127847 w 180234"/>
                  <a:gd name="connsiteY17" fmla="*/ 30150 h 32329"/>
                  <a:gd name="connsiteX18" fmla="*/ 150707 w 180234"/>
                  <a:gd name="connsiteY18" fmla="*/ 32055 h 32329"/>
                  <a:gd name="connsiteX19" fmla="*/ 164042 w 180234"/>
                  <a:gd name="connsiteY19" fmla="*/ 32055 h 32329"/>
                  <a:gd name="connsiteX20" fmla="*/ 176424 w 180234"/>
                  <a:gd name="connsiteY20" fmla="*/ 30150 h 32329"/>
                  <a:gd name="connsiteX21" fmla="*/ 179282 w 180234"/>
                  <a:gd name="connsiteY21" fmla="*/ 29197 h 32329"/>
                  <a:gd name="connsiteX22" fmla="*/ 180234 w 180234"/>
                  <a:gd name="connsiteY22" fmla="*/ 25387 h 32329"/>
                  <a:gd name="connsiteX23" fmla="*/ 180234 w 180234"/>
                  <a:gd name="connsiteY23" fmla="*/ 21577 h 32329"/>
                  <a:gd name="connsiteX24" fmla="*/ 163089 w 180234"/>
                  <a:gd name="connsiteY24" fmla="*/ 17767 h 32329"/>
                  <a:gd name="connsiteX25" fmla="*/ 151659 w 180234"/>
                  <a:gd name="connsiteY25" fmla="*/ 16814 h 32329"/>
                  <a:gd name="connsiteX26" fmla="*/ 128799 w 180234"/>
                  <a:gd name="connsiteY26" fmla="*/ 12052 h 32329"/>
                  <a:gd name="connsiteX27" fmla="*/ 117369 w 180234"/>
                  <a:gd name="connsiteY27" fmla="*/ 11100 h 32329"/>
                  <a:gd name="connsiteX28" fmla="*/ 103082 w 180234"/>
                  <a:gd name="connsiteY28" fmla="*/ 12052 h 32329"/>
                  <a:gd name="connsiteX29" fmla="*/ 68792 w 180234"/>
                  <a:gd name="connsiteY29" fmla="*/ 6337 h 3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234" h="32329">
                    <a:moveTo>
                      <a:pt x="68792" y="6337"/>
                    </a:moveTo>
                    <a:lnTo>
                      <a:pt x="62124" y="4432"/>
                    </a:lnTo>
                    <a:lnTo>
                      <a:pt x="34502" y="1575"/>
                    </a:lnTo>
                    <a:cubicBezTo>
                      <a:pt x="34502" y="1575"/>
                      <a:pt x="27834" y="-330"/>
                      <a:pt x="24977" y="622"/>
                    </a:cubicBezTo>
                    <a:cubicBezTo>
                      <a:pt x="22119" y="1575"/>
                      <a:pt x="17357" y="622"/>
                      <a:pt x="17357" y="622"/>
                    </a:cubicBezTo>
                    <a:cubicBezTo>
                      <a:pt x="17357" y="622"/>
                      <a:pt x="5927" y="-1283"/>
                      <a:pt x="5927" y="1575"/>
                    </a:cubicBezTo>
                    <a:cubicBezTo>
                      <a:pt x="5927" y="3480"/>
                      <a:pt x="2117" y="4432"/>
                      <a:pt x="2117" y="8242"/>
                    </a:cubicBezTo>
                    <a:cubicBezTo>
                      <a:pt x="2117" y="12052"/>
                      <a:pt x="2117" y="12052"/>
                      <a:pt x="2117" y="12052"/>
                    </a:cubicBezTo>
                    <a:cubicBezTo>
                      <a:pt x="2117" y="12052"/>
                      <a:pt x="-2646" y="10147"/>
                      <a:pt x="2117" y="12052"/>
                    </a:cubicBezTo>
                    <a:cubicBezTo>
                      <a:pt x="6879" y="13957"/>
                      <a:pt x="7832" y="13005"/>
                      <a:pt x="10689" y="13957"/>
                    </a:cubicBezTo>
                    <a:cubicBezTo>
                      <a:pt x="13547" y="14910"/>
                      <a:pt x="8784" y="14910"/>
                      <a:pt x="13547" y="14910"/>
                    </a:cubicBezTo>
                    <a:cubicBezTo>
                      <a:pt x="19262" y="14910"/>
                      <a:pt x="22119" y="15862"/>
                      <a:pt x="26882" y="17767"/>
                    </a:cubicBezTo>
                    <a:cubicBezTo>
                      <a:pt x="31644" y="19672"/>
                      <a:pt x="35454" y="19672"/>
                      <a:pt x="39264" y="19672"/>
                    </a:cubicBezTo>
                    <a:cubicBezTo>
                      <a:pt x="42122" y="20625"/>
                      <a:pt x="58314" y="17767"/>
                      <a:pt x="60219" y="19672"/>
                    </a:cubicBezTo>
                    <a:cubicBezTo>
                      <a:pt x="62124" y="21577"/>
                      <a:pt x="67839" y="20625"/>
                      <a:pt x="70697" y="22530"/>
                    </a:cubicBezTo>
                    <a:cubicBezTo>
                      <a:pt x="73554" y="24435"/>
                      <a:pt x="81174" y="27292"/>
                      <a:pt x="86889" y="28245"/>
                    </a:cubicBezTo>
                    <a:cubicBezTo>
                      <a:pt x="92604" y="29197"/>
                      <a:pt x="115464" y="30150"/>
                      <a:pt x="115464" y="30150"/>
                    </a:cubicBezTo>
                    <a:cubicBezTo>
                      <a:pt x="115464" y="30150"/>
                      <a:pt x="110702" y="28245"/>
                      <a:pt x="127847" y="30150"/>
                    </a:cubicBezTo>
                    <a:cubicBezTo>
                      <a:pt x="144039" y="32055"/>
                      <a:pt x="146897" y="32055"/>
                      <a:pt x="150707" y="32055"/>
                    </a:cubicBezTo>
                    <a:cubicBezTo>
                      <a:pt x="155469" y="33007"/>
                      <a:pt x="160232" y="31102"/>
                      <a:pt x="164042" y="32055"/>
                    </a:cubicBezTo>
                    <a:cubicBezTo>
                      <a:pt x="166899" y="33007"/>
                      <a:pt x="172614" y="31102"/>
                      <a:pt x="176424" y="30150"/>
                    </a:cubicBezTo>
                    <a:cubicBezTo>
                      <a:pt x="179282" y="29197"/>
                      <a:pt x="179282" y="29197"/>
                      <a:pt x="179282" y="29197"/>
                    </a:cubicBezTo>
                    <a:lnTo>
                      <a:pt x="180234" y="25387"/>
                    </a:lnTo>
                    <a:lnTo>
                      <a:pt x="180234" y="21577"/>
                    </a:lnTo>
                    <a:lnTo>
                      <a:pt x="163089" y="17767"/>
                    </a:lnTo>
                    <a:lnTo>
                      <a:pt x="151659" y="16814"/>
                    </a:lnTo>
                    <a:cubicBezTo>
                      <a:pt x="151659" y="16814"/>
                      <a:pt x="134514" y="12052"/>
                      <a:pt x="128799" y="12052"/>
                    </a:cubicBezTo>
                    <a:cubicBezTo>
                      <a:pt x="123084" y="12052"/>
                      <a:pt x="123084" y="11100"/>
                      <a:pt x="117369" y="11100"/>
                    </a:cubicBezTo>
                    <a:cubicBezTo>
                      <a:pt x="111654" y="11100"/>
                      <a:pt x="103082" y="12052"/>
                      <a:pt x="103082" y="12052"/>
                    </a:cubicBezTo>
                    <a:lnTo>
                      <a:pt x="68792" y="6337"/>
                    </a:lnTo>
                    <a:close/>
                  </a:path>
                </a:pathLst>
              </a:custGeom>
              <a:grpFill/>
              <a:ln w="9525" cap="flat">
                <a:noFill/>
                <a:prstDash val="solid"/>
                <a:miter/>
              </a:ln>
            </p:spPr>
            <p:txBody>
              <a:bodyPr rtlCol="0" anchor="ctr"/>
              <a:lstStyle/>
              <a:p>
                <a:endParaRPr lang="en-US" sz="1765"/>
              </a:p>
            </p:txBody>
          </p:sp>
          <p:sp>
            <p:nvSpPr>
              <p:cNvPr id="293" name="Freeform: Shape 292">
                <a:extLst>
                  <a:ext uri="{FF2B5EF4-FFF2-40B4-BE49-F238E27FC236}">
                    <a16:creationId xmlns:a16="http://schemas.microsoft.com/office/drawing/2014/main" id="{1D992290-9F44-48B2-8D74-16580ED48FB9}"/>
                  </a:ext>
                </a:extLst>
              </p:cNvPr>
              <p:cNvSpPr/>
              <p:nvPr/>
            </p:nvSpPr>
            <p:spPr>
              <a:xfrm>
                <a:off x="10098539" y="3994514"/>
                <a:ext cx="184679" cy="121708"/>
              </a:xfrm>
              <a:custGeom>
                <a:avLst/>
                <a:gdLst>
                  <a:gd name="connsiteX0" fmla="*/ 36089 w 184679"/>
                  <a:gd name="connsiteY0" fmla="*/ 51435 h 121708"/>
                  <a:gd name="connsiteX1" fmla="*/ 20849 w 184679"/>
                  <a:gd name="connsiteY1" fmla="*/ 56198 h 121708"/>
                  <a:gd name="connsiteX2" fmla="*/ 11324 w 184679"/>
                  <a:gd name="connsiteY2" fmla="*/ 56198 h 121708"/>
                  <a:gd name="connsiteX3" fmla="*/ 8467 w 184679"/>
                  <a:gd name="connsiteY3" fmla="*/ 57150 h 121708"/>
                  <a:gd name="connsiteX4" fmla="*/ 847 w 184679"/>
                  <a:gd name="connsiteY4" fmla="*/ 67627 h 121708"/>
                  <a:gd name="connsiteX5" fmla="*/ 847 w 184679"/>
                  <a:gd name="connsiteY5" fmla="*/ 74295 h 121708"/>
                  <a:gd name="connsiteX6" fmla="*/ 2752 w 184679"/>
                  <a:gd name="connsiteY6" fmla="*/ 77152 h 121708"/>
                  <a:gd name="connsiteX7" fmla="*/ 9419 w 184679"/>
                  <a:gd name="connsiteY7" fmla="*/ 83820 h 121708"/>
                  <a:gd name="connsiteX8" fmla="*/ 12277 w 184679"/>
                  <a:gd name="connsiteY8" fmla="*/ 91440 h 121708"/>
                  <a:gd name="connsiteX9" fmla="*/ 11324 w 184679"/>
                  <a:gd name="connsiteY9" fmla="*/ 100965 h 121708"/>
                  <a:gd name="connsiteX10" fmla="*/ 17039 w 184679"/>
                  <a:gd name="connsiteY10" fmla="*/ 106680 h 121708"/>
                  <a:gd name="connsiteX11" fmla="*/ 33232 w 184679"/>
                  <a:gd name="connsiteY11" fmla="*/ 112395 h 121708"/>
                  <a:gd name="connsiteX12" fmla="*/ 38947 w 184679"/>
                  <a:gd name="connsiteY12" fmla="*/ 114300 h 121708"/>
                  <a:gd name="connsiteX13" fmla="*/ 54187 w 184679"/>
                  <a:gd name="connsiteY13" fmla="*/ 113348 h 121708"/>
                  <a:gd name="connsiteX14" fmla="*/ 57997 w 184679"/>
                  <a:gd name="connsiteY14" fmla="*/ 113348 h 121708"/>
                  <a:gd name="connsiteX15" fmla="*/ 67522 w 184679"/>
                  <a:gd name="connsiteY15" fmla="*/ 112395 h 121708"/>
                  <a:gd name="connsiteX16" fmla="*/ 80857 w 184679"/>
                  <a:gd name="connsiteY16" fmla="*/ 114300 h 121708"/>
                  <a:gd name="connsiteX17" fmla="*/ 89429 w 184679"/>
                  <a:gd name="connsiteY17" fmla="*/ 119062 h 121708"/>
                  <a:gd name="connsiteX18" fmla="*/ 95144 w 184679"/>
                  <a:gd name="connsiteY18" fmla="*/ 120015 h 121708"/>
                  <a:gd name="connsiteX19" fmla="*/ 110384 w 184679"/>
                  <a:gd name="connsiteY19" fmla="*/ 120015 h 121708"/>
                  <a:gd name="connsiteX20" fmla="*/ 116099 w 184679"/>
                  <a:gd name="connsiteY20" fmla="*/ 120015 h 121708"/>
                  <a:gd name="connsiteX21" fmla="*/ 120862 w 184679"/>
                  <a:gd name="connsiteY21" fmla="*/ 108585 h 121708"/>
                  <a:gd name="connsiteX22" fmla="*/ 120862 w 184679"/>
                  <a:gd name="connsiteY22" fmla="*/ 100965 h 121708"/>
                  <a:gd name="connsiteX23" fmla="*/ 127529 w 184679"/>
                  <a:gd name="connsiteY23" fmla="*/ 97155 h 121708"/>
                  <a:gd name="connsiteX24" fmla="*/ 141817 w 184679"/>
                  <a:gd name="connsiteY24" fmla="*/ 89535 h 121708"/>
                  <a:gd name="connsiteX25" fmla="*/ 147532 w 184679"/>
                  <a:gd name="connsiteY25" fmla="*/ 80962 h 121708"/>
                  <a:gd name="connsiteX26" fmla="*/ 148484 w 184679"/>
                  <a:gd name="connsiteY26" fmla="*/ 77152 h 121708"/>
                  <a:gd name="connsiteX27" fmla="*/ 153247 w 184679"/>
                  <a:gd name="connsiteY27" fmla="*/ 75248 h 121708"/>
                  <a:gd name="connsiteX28" fmla="*/ 159914 w 184679"/>
                  <a:gd name="connsiteY28" fmla="*/ 68580 h 121708"/>
                  <a:gd name="connsiteX29" fmla="*/ 161819 w 184679"/>
                  <a:gd name="connsiteY29" fmla="*/ 61912 h 121708"/>
                  <a:gd name="connsiteX30" fmla="*/ 160867 w 184679"/>
                  <a:gd name="connsiteY30" fmla="*/ 53340 h 121708"/>
                  <a:gd name="connsiteX31" fmla="*/ 157057 w 184679"/>
                  <a:gd name="connsiteY31" fmla="*/ 44768 h 121708"/>
                  <a:gd name="connsiteX32" fmla="*/ 155151 w 184679"/>
                  <a:gd name="connsiteY32" fmla="*/ 40005 h 121708"/>
                  <a:gd name="connsiteX33" fmla="*/ 157057 w 184679"/>
                  <a:gd name="connsiteY33" fmla="*/ 35243 h 121708"/>
                  <a:gd name="connsiteX34" fmla="*/ 162772 w 184679"/>
                  <a:gd name="connsiteY34" fmla="*/ 31432 h 121708"/>
                  <a:gd name="connsiteX35" fmla="*/ 167534 w 184679"/>
                  <a:gd name="connsiteY35" fmla="*/ 29527 h 121708"/>
                  <a:gd name="connsiteX36" fmla="*/ 175154 w 184679"/>
                  <a:gd name="connsiteY36" fmla="*/ 26670 h 121708"/>
                  <a:gd name="connsiteX37" fmla="*/ 183726 w 184679"/>
                  <a:gd name="connsiteY37" fmla="*/ 22860 h 121708"/>
                  <a:gd name="connsiteX38" fmla="*/ 184679 w 184679"/>
                  <a:gd name="connsiteY38" fmla="*/ 16193 h 121708"/>
                  <a:gd name="connsiteX39" fmla="*/ 177059 w 184679"/>
                  <a:gd name="connsiteY39" fmla="*/ 12382 h 121708"/>
                  <a:gd name="connsiteX40" fmla="*/ 169439 w 184679"/>
                  <a:gd name="connsiteY40" fmla="*/ 12382 h 121708"/>
                  <a:gd name="connsiteX41" fmla="*/ 156104 w 184679"/>
                  <a:gd name="connsiteY41" fmla="*/ 5715 h 121708"/>
                  <a:gd name="connsiteX42" fmla="*/ 154199 w 184679"/>
                  <a:gd name="connsiteY42" fmla="*/ 1905 h 121708"/>
                  <a:gd name="connsiteX43" fmla="*/ 141817 w 184679"/>
                  <a:gd name="connsiteY43" fmla="*/ 0 h 121708"/>
                  <a:gd name="connsiteX44" fmla="*/ 131339 w 184679"/>
                  <a:gd name="connsiteY44" fmla="*/ 4763 h 121708"/>
                  <a:gd name="connsiteX45" fmla="*/ 126576 w 184679"/>
                  <a:gd name="connsiteY45" fmla="*/ 8573 h 121708"/>
                  <a:gd name="connsiteX46" fmla="*/ 118957 w 184679"/>
                  <a:gd name="connsiteY46" fmla="*/ 19050 h 121708"/>
                  <a:gd name="connsiteX47" fmla="*/ 98954 w 184679"/>
                  <a:gd name="connsiteY47" fmla="*/ 27623 h 121708"/>
                  <a:gd name="connsiteX48" fmla="*/ 90382 w 184679"/>
                  <a:gd name="connsiteY48" fmla="*/ 33337 h 121708"/>
                  <a:gd name="connsiteX49" fmla="*/ 85619 w 184679"/>
                  <a:gd name="connsiteY49" fmla="*/ 36195 h 121708"/>
                  <a:gd name="connsiteX50" fmla="*/ 63712 w 184679"/>
                  <a:gd name="connsiteY50" fmla="*/ 39052 h 121708"/>
                  <a:gd name="connsiteX51" fmla="*/ 58949 w 184679"/>
                  <a:gd name="connsiteY51" fmla="*/ 42862 h 121708"/>
                  <a:gd name="connsiteX52" fmla="*/ 57997 w 184679"/>
                  <a:gd name="connsiteY52" fmla="*/ 45720 h 121708"/>
                  <a:gd name="connsiteX53" fmla="*/ 50377 w 184679"/>
                  <a:gd name="connsiteY53" fmla="*/ 52387 h 121708"/>
                  <a:gd name="connsiteX54" fmla="*/ 36089 w 184679"/>
                  <a:gd name="connsiteY54" fmla="*/ 51435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79" h="121708">
                    <a:moveTo>
                      <a:pt x="36089" y="51435"/>
                    </a:moveTo>
                    <a:lnTo>
                      <a:pt x="20849" y="56198"/>
                    </a:lnTo>
                    <a:cubicBezTo>
                      <a:pt x="20849" y="56198"/>
                      <a:pt x="14182" y="55245"/>
                      <a:pt x="11324" y="56198"/>
                    </a:cubicBezTo>
                    <a:cubicBezTo>
                      <a:pt x="8467" y="57150"/>
                      <a:pt x="10372" y="54293"/>
                      <a:pt x="8467" y="57150"/>
                    </a:cubicBezTo>
                    <a:cubicBezTo>
                      <a:pt x="6562" y="60007"/>
                      <a:pt x="847" y="65723"/>
                      <a:pt x="847" y="67627"/>
                    </a:cubicBezTo>
                    <a:cubicBezTo>
                      <a:pt x="847" y="69532"/>
                      <a:pt x="-1058" y="71437"/>
                      <a:pt x="847" y="74295"/>
                    </a:cubicBezTo>
                    <a:cubicBezTo>
                      <a:pt x="2752" y="77152"/>
                      <a:pt x="-1058" y="72390"/>
                      <a:pt x="2752" y="77152"/>
                    </a:cubicBezTo>
                    <a:cubicBezTo>
                      <a:pt x="6562" y="80962"/>
                      <a:pt x="8467" y="80010"/>
                      <a:pt x="9419" y="83820"/>
                    </a:cubicBezTo>
                    <a:cubicBezTo>
                      <a:pt x="10372" y="87630"/>
                      <a:pt x="12277" y="86677"/>
                      <a:pt x="12277" y="91440"/>
                    </a:cubicBezTo>
                    <a:cubicBezTo>
                      <a:pt x="12277" y="96202"/>
                      <a:pt x="11324" y="100965"/>
                      <a:pt x="11324" y="100965"/>
                    </a:cubicBezTo>
                    <a:lnTo>
                      <a:pt x="17039" y="106680"/>
                    </a:lnTo>
                    <a:cubicBezTo>
                      <a:pt x="17039" y="106680"/>
                      <a:pt x="27517" y="111443"/>
                      <a:pt x="33232" y="112395"/>
                    </a:cubicBezTo>
                    <a:cubicBezTo>
                      <a:pt x="38947" y="114300"/>
                      <a:pt x="38947" y="114300"/>
                      <a:pt x="38947" y="114300"/>
                    </a:cubicBezTo>
                    <a:cubicBezTo>
                      <a:pt x="38947" y="114300"/>
                      <a:pt x="51329" y="113348"/>
                      <a:pt x="54187" y="113348"/>
                    </a:cubicBezTo>
                    <a:cubicBezTo>
                      <a:pt x="57997" y="113348"/>
                      <a:pt x="52282" y="114300"/>
                      <a:pt x="57997" y="113348"/>
                    </a:cubicBezTo>
                    <a:cubicBezTo>
                      <a:pt x="63712" y="112395"/>
                      <a:pt x="67522" y="112395"/>
                      <a:pt x="67522" y="112395"/>
                    </a:cubicBezTo>
                    <a:lnTo>
                      <a:pt x="80857" y="114300"/>
                    </a:lnTo>
                    <a:lnTo>
                      <a:pt x="89429" y="119062"/>
                    </a:lnTo>
                    <a:cubicBezTo>
                      <a:pt x="89429" y="119062"/>
                      <a:pt x="91334" y="119062"/>
                      <a:pt x="95144" y="120015"/>
                    </a:cubicBezTo>
                    <a:cubicBezTo>
                      <a:pt x="98002" y="120968"/>
                      <a:pt x="104669" y="120015"/>
                      <a:pt x="110384" y="120015"/>
                    </a:cubicBezTo>
                    <a:cubicBezTo>
                      <a:pt x="116099" y="120015"/>
                      <a:pt x="112289" y="123825"/>
                      <a:pt x="116099" y="120015"/>
                    </a:cubicBezTo>
                    <a:cubicBezTo>
                      <a:pt x="119909" y="116205"/>
                      <a:pt x="120862" y="108585"/>
                      <a:pt x="120862" y="108585"/>
                    </a:cubicBezTo>
                    <a:lnTo>
                      <a:pt x="120862" y="100965"/>
                    </a:lnTo>
                    <a:lnTo>
                      <a:pt x="127529" y="97155"/>
                    </a:lnTo>
                    <a:cubicBezTo>
                      <a:pt x="134197" y="93345"/>
                      <a:pt x="138959" y="91440"/>
                      <a:pt x="141817" y="89535"/>
                    </a:cubicBezTo>
                    <a:cubicBezTo>
                      <a:pt x="145626" y="87630"/>
                      <a:pt x="147532" y="80962"/>
                      <a:pt x="147532" y="80962"/>
                    </a:cubicBezTo>
                    <a:lnTo>
                      <a:pt x="148484" y="77152"/>
                    </a:lnTo>
                    <a:cubicBezTo>
                      <a:pt x="148484" y="77152"/>
                      <a:pt x="148484" y="76200"/>
                      <a:pt x="153247" y="75248"/>
                    </a:cubicBezTo>
                    <a:cubicBezTo>
                      <a:pt x="158009" y="74295"/>
                      <a:pt x="158962" y="70485"/>
                      <a:pt x="159914" y="68580"/>
                    </a:cubicBezTo>
                    <a:cubicBezTo>
                      <a:pt x="160867" y="66675"/>
                      <a:pt x="161819" y="64770"/>
                      <a:pt x="161819" y="61912"/>
                    </a:cubicBezTo>
                    <a:cubicBezTo>
                      <a:pt x="161819" y="59055"/>
                      <a:pt x="160867" y="53340"/>
                      <a:pt x="160867" y="53340"/>
                    </a:cubicBezTo>
                    <a:lnTo>
                      <a:pt x="157057" y="44768"/>
                    </a:lnTo>
                    <a:lnTo>
                      <a:pt x="155151" y="40005"/>
                    </a:lnTo>
                    <a:cubicBezTo>
                      <a:pt x="155151" y="40005"/>
                      <a:pt x="152294" y="38100"/>
                      <a:pt x="157057" y="35243"/>
                    </a:cubicBezTo>
                    <a:cubicBezTo>
                      <a:pt x="162772" y="31432"/>
                      <a:pt x="162772" y="31432"/>
                      <a:pt x="162772" y="31432"/>
                    </a:cubicBezTo>
                    <a:cubicBezTo>
                      <a:pt x="162772" y="31432"/>
                      <a:pt x="163724" y="30480"/>
                      <a:pt x="167534" y="29527"/>
                    </a:cubicBezTo>
                    <a:cubicBezTo>
                      <a:pt x="170392" y="28575"/>
                      <a:pt x="172297" y="26670"/>
                      <a:pt x="175154" y="26670"/>
                    </a:cubicBezTo>
                    <a:cubicBezTo>
                      <a:pt x="178012" y="26670"/>
                      <a:pt x="182774" y="26670"/>
                      <a:pt x="183726" y="22860"/>
                    </a:cubicBezTo>
                    <a:cubicBezTo>
                      <a:pt x="184679" y="19050"/>
                      <a:pt x="184679" y="16193"/>
                      <a:pt x="184679" y="16193"/>
                    </a:cubicBezTo>
                    <a:cubicBezTo>
                      <a:pt x="181822" y="13335"/>
                      <a:pt x="177059" y="12382"/>
                      <a:pt x="177059" y="12382"/>
                    </a:cubicBezTo>
                    <a:cubicBezTo>
                      <a:pt x="177059" y="12382"/>
                      <a:pt x="172297" y="12382"/>
                      <a:pt x="169439" y="12382"/>
                    </a:cubicBezTo>
                    <a:cubicBezTo>
                      <a:pt x="166582" y="12382"/>
                      <a:pt x="156104" y="5715"/>
                      <a:pt x="156104" y="5715"/>
                    </a:cubicBezTo>
                    <a:lnTo>
                      <a:pt x="154199" y="1905"/>
                    </a:lnTo>
                    <a:lnTo>
                      <a:pt x="141817" y="0"/>
                    </a:lnTo>
                    <a:lnTo>
                      <a:pt x="131339" y="4763"/>
                    </a:lnTo>
                    <a:cubicBezTo>
                      <a:pt x="131339" y="4763"/>
                      <a:pt x="126576" y="4763"/>
                      <a:pt x="126576" y="8573"/>
                    </a:cubicBezTo>
                    <a:cubicBezTo>
                      <a:pt x="126576" y="12382"/>
                      <a:pt x="125624" y="15240"/>
                      <a:pt x="118957" y="19050"/>
                    </a:cubicBezTo>
                    <a:cubicBezTo>
                      <a:pt x="112289" y="22860"/>
                      <a:pt x="98954" y="27623"/>
                      <a:pt x="98954" y="27623"/>
                    </a:cubicBezTo>
                    <a:cubicBezTo>
                      <a:pt x="97049" y="31432"/>
                      <a:pt x="94192" y="30480"/>
                      <a:pt x="90382" y="33337"/>
                    </a:cubicBezTo>
                    <a:cubicBezTo>
                      <a:pt x="85619" y="36195"/>
                      <a:pt x="98002" y="34290"/>
                      <a:pt x="85619" y="36195"/>
                    </a:cubicBezTo>
                    <a:cubicBezTo>
                      <a:pt x="73237" y="38100"/>
                      <a:pt x="63712" y="37148"/>
                      <a:pt x="63712" y="39052"/>
                    </a:cubicBezTo>
                    <a:cubicBezTo>
                      <a:pt x="63712" y="40957"/>
                      <a:pt x="60854" y="40005"/>
                      <a:pt x="58949" y="42862"/>
                    </a:cubicBezTo>
                    <a:cubicBezTo>
                      <a:pt x="57997" y="45720"/>
                      <a:pt x="65617" y="39052"/>
                      <a:pt x="57997" y="45720"/>
                    </a:cubicBezTo>
                    <a:cubicBezTo>
                      <a:pt x="50377" y="52387"/>
                      <a:pt x="50377" y="52387"/>
                      <a:pt x="50377" y="52387"/>
                    </a:cubicBezTo>
                    <a:lnTo>
                      <a:pt x="36089" y="51435"/>
                    </a:lnTo>
                    <a:close/>
                  </a:path>
                </a:pathLst>
              </a:custGeom>
              <a:grpFill/>
              <a:ln w="9525" cap="flat">
                <a:noFill/>
                <a:prstDash val="solid"/>
                <a:miter/>
              </a:ln>
            </p:spPr>
            <p:txBody>
              <a:bodyPr rtlCol="0" anchor="ctr"/>
              <a:lstStyle/>
              <a:p>
                <a:endParaRPr lang="en-US" sz="1765"/>
              </a:p>
            </p:txBody>
          </p:sp>
          <p:sp>
            <p:nvSpPr>
              <p:cNvPr id="294" name="Freeform: Shape 293">
                <a:extLst>
                  <a:ext uri="{FF2B5EF4-FFF2-40B4-BE49-F238E27FC236}">
                    <a16:creationId xmlns:a16="http://schemas.microsoft.com/office/drawing/2014/main" id="{747B30C2-255F-4DA3-9387-C98AF164E378}"/>
                  </a:ext>
                </a:extLst>
              </p:cNvPr>
              <p:cNvSpPr/>
              <p:nvPr/>
            </p:nvSpPr>
            <p:spPr>
              <a:xfrm>
                <a:off x="10261229" y="4082144"/>
                <a:ext cx="82949" cy="53339"/>
              </a:xfrm>
              <a:custGeom>
                <a:avLst/>
                <a:gdLst>
                  <a:gd name="connsiteX0" fmla="*/ 76282 w 82949"/>
                  <a:gd name="connsiteY0" fmla="*/ 0 h 53339"/>
                  <a:gd name="connsiteX1" fmla="*/ 53422 w 82949"/>
                  <a:gd name="connsiteY1" fmla="*/ 2857 h 53339"/>
                  <a:gd name="connsiteX2" fmla="*/ 41992 w 82949"/>
                  <a:gd name="connsiteY2" fmla="*/ 3810 h 53339"/>
                  <a:gd name="connsiteX3" fmla="*/ 16274 w 82949"/>
                  <a:gd name="connsiteY3" fmla="*/ 3810 h 53339"/>
                  <a:gd name="connsiteX4" fmla="*/ 7702 w 82949"/>
                  <a:gd name="connsiteY4" fmla="*/ 8572 h 53339"/>
                  <a:gd name="connsiteX5" fmla="*/ 82 w 82949"/>
                  <a:gd name="connsiteY5" fmla="*/ 18097 h 53339"/>
                  <a:gd name="connsiteX6" fmla="*/ 1035 w 82949"/>
                  <a:gd name="connsiteY6" fmla="*/ 20002 h 53339"/>
                  <a:gd name="connsiteX7" fmla="*/ 8654 w 82949"/>
                  <a:gd name="connsiteY7" fmla="*/ 26670 h 53339"/>
                  <a:gd name="connsiteX8" fmla="*/ 10560 w 82949"/>
                  <a:gd name="connsiteY8" fmla="*/ 31432 h 53339"/>
                  <a:gd name="connsiteX9" fmla="*/ 8654 w 82949"/>
                  <a:gd name="connsiteY9" fmla="*/ 38100 h 53339"/>
                  <a:gd name="connsiteX10" fmla="*/ 4845 w 82949"/>
                  <a:gd name="connsiteY10" fmla="*/ 45720 h 53339"/>
                  <a:gd name="connsiteX11" fmla="*/ 3892 w 82949"/>
                  <a:gd name="connsiteY11" fmla="*/ 50482 h 53339"/>
                  <a:gd name="connsiteX12" fmla="*/ 10560 w 82949"/>
                  <a:gd name="connsiteY12" fmla="*/ 53340 h 53339"/>
                  <a:gd name="connsiteX13" fmla="*/ 19132 w 82949"/>
                  <a:gd name="connsiteY13" fmla="*/ 53340 h 53339"/>
                  <a:gd name="connsiteX14" fmla="*/ 23895 w 82949"/>
                  <a:gd name="connsiteY14" fmla="*/ 52388 h 53339"/>
                  <a:gd name="connsiteX15" fmla="*/ 21990 w 82949"/>
                  <a:gd name="connsiteY15" fmla="*/ 44767 h 53339"/>
                  <a:gd name="connsiteX16" fmla="*/ 24847 w 82949"/>
                  <a:gd name="connsiteY16" fmla="*/ 36195 h 53339"/>
                  <a:gd name="connsiteX17" fmla="*/ 28657 w 82949"/>
                  <a:gd name="connsiteY17" fmla="*/ 32385 h 53339"/>
                  <a:gd name="connsiteX18" fmla="*/ 37229 w 82949"/>
                  <a:gd name="connsiteY18" fmla="*/ 32385 h 53339"/>
                  <a:gd name="connsiteX19" fmla="*/ 42945 w 82949"/>
                  <a:gd name="connsiteY19" fmla="*/ 31432 h 53339"/>
                  <a:gd name="connsiteX20" fmla="*/ 45802 w 82949"/>
                  <a:gd name="connsiteY20" fmla="*/ 35242 h 53339"/>
                  <a:gd name="connsiteX21" fmla="*/ 49612 w 82949"/>
                  <a:gd name="connsiteY21" fmla="*/ 41910 h 53339"/>
                  <a:gd name="connsiteX22" fmla="*/ 57232 w 82949"/>
                  <a:gd name="connsiteY22" fmla="*/ 48577 h 53339"/>
                  <a:gd name="connsiteX23" fmla="*/ 62947 w 82949"/>
                  <a:gd name="connsiteY23" fmla="*/ 50482 h 53339"/>
                  <a:gd name="connsiteX24" fmla="*/ 67710 w 82949"/>
                  <a:gd name="connsiteY24" fmla="*/ 50482 h 53339"/>
                  <a:gd name="connsiteX25" fmla="*/ 69615 w 82949"/>
                  <a:gd name="connsiteY25" fmla="*/ 43815 h 53339"/>
                  <a:gd name="connsiteX26" fmla="*/ 75329 w 82949"/>
                  <a:gd name="connsiteY26" fmla="*/ 42863 h 53339"/>
                  <a:gd name="connsiteX27" fmla="*/ 81045 w 82949"/>
                  <a:gd name="connsiteY27" fmla="*/ 41910 h 53339"/>
                  <a:gd name="connsiteX28" fmla="*/ 81997 w 82949"/>
                  <a:gd name="connsiteY28" fmla="*/ 32385 h 53339"/>
                  <a:gd name="connsiteX29" fmla="*/ 82949 w 82949"/>
                  <a:gd name="connsiteY29" fmla="*/ 28575 h 53339"/>
                  <a:gd name="connsiteX30" fmla="*/ 81045 w 82949"/>
                  <a:gd name="connsiteY30" fmla="*/ 24765 h 53339"/>
                  <a:gd name="connsiteX31" fmla="*/ 70567 w 82949"/>
                  <a:gd name="connsiteY31" fmla="*/ 20002 h 53339"/>
                  <a:gd name="connsiteX32" fmla="*/ 64852 w 82949"/>
                  <a:gd name="connsiteY32" fmla="*/ 14288 h 53339"/>
                  <a:gd name="connsiteX33" fmla="*/ 71520 w 82949"/>
                  <a:gd name="connsiteY33" fmla="*/ 8572 h 53339"/>
                  <a:gd name="connsiteX34" fmla="*/ 76282 w 82949"/>
                  <a:gd name="connsiteY34" fmla="*/ 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949" h="53339">
                    <a:moveTo>
                      <a:pt x="76282" y="0"/>
                    </a:moveTo>
                    <a:cubicBezTo>
                      <a:pt x="76282" y="0"/>
                      <a:pt x="56279" y="1905"/>
                      <a:pt x="53422" y="2857"/>
                    </a:cubicBezTo>
                    <a:cubicBezTo>
                      <a:pt x="49612" y="3810"/>
                      <a:pt x="41992" y="3810"/>
                      <a:pt x="41992" y="3810"/>
                    </a:cubicBezTo>
                    <a:lnTo>
                      <a:pt x="16274" y="3810"/>
                    </a:lnTo>
                    <a:cubicBezTo>
                      <a:pt x="10560" y="4763"/>
                      <a:pt x="8654" y="5715"/>
                      <a:pt x="7702" y="8572"/>
                    </a:cubicBezTo>
                    <a:cubicBezTo>
                      <a:pt x="6749" y="11430"/>
                      <a:pt x="-871" y="15240"/>
                      <a:pt x="82" y="18097"/>
                    </a:cubicBezTo>
                    <a:cubicBezTo>
                      <a:pt x="1035" y="20002"/>
                      <a:pt x="1035" y="20002"/>
                      <a:pt x="1035" y="20002"/>
                    </a:cubicBezTo>
                    <a:lnTo>
                      <a:pt x="8654" y="26670"/>
                    </a:lnTo>
                    <a:lnTo>
                      <a:pt x="10560" y="31432"/>
                    </a:lnTo>
                    <a:cubicBezTo>
                      <a:pt x="10560" y="31432"/>
                      <a:pt x="10560" y="34290"/>
                      <a:pt x="8654" y="38100"/>
                    </a:cubicBezTo>
                    <a:cubicBezTo>
                      <a:pt x="6749" y="41910"/>
                      <a:pt x="6749" y="43815"/>
                      <a:pt x="4845" y="45720"/>
                    </a:cubicBezTo>
                    <a:cubicBezTo>
                      <a:pt x="3892" y="47625"/>
                      <a:pt x="3892" y="50482"/>
                      <a:pt x="3892" y="50482"/>
                    </a:cubicBezTo>
                    <a:lnTo>
                      <a:pt x="10560" y="53340"/>
                    </a:lnTo>
                    <a:lnTo>
                      <a:pt x="19132" y="53340"/>
                    </a:lnTo>
                    <a:lnTo>
                      <a:pt x="23895" y="52388"/>
                    </a:lnTo>
                    <a:lnTo>
                      <a:pt x="21990" y="44767"/>
                    </a:lnTo>
                    <a:lnTo>
                      <a:pt x="24847" y="36195"/>
                    </a:lnTo>
                    <a:lnTo>
                      <a:pt x="28657" y="32385"/>
                    </a:lnTo>
                    <a:lnTo>
                      <a:pt x="37229" y="32385"/>
                    </a:lnTo>
                    <a:lnTo>
                      <a:pt x="42945" y="31432"/>
                    </a:lnTo>
                    <a:cubicBezTo>
                      <a:pt x="42945" y="31432"/>
                      <a:pt x="44849" y="33338"/>
                      <a:pt x="45802" y="35242"/>
                    </a:cubicBezTo>
                    <a:cubicBezTo>
                      <a:pt x="46754" y="37147"/>
                      <a:pt x="47707" y="39052"/>
                      <a:pt x="49612" y="41910"/>
                    </a:cubicBezTo>
                    <a:cubicBezTo>
                      <a:pt x="51517" y="45720"/>
                      <a:pt x="57232" y="48577"/>
                      <a:pt x="57232" y="48577"/>
                    </a:cubicBezTo>
                    <a:lnTo>
                      <a:pt x="62947" y="50482"/>
                    </a:lnTo>
                    <a:lnTo>
                      <a:pt x="67710" y="50482"/>
                    </a:lnTo>
                    <a:cubicBezTo>
                      <a:pt x="67710" y="50482"/>
                      <a:pt x="64852" y="45720"/>
                      <a:pt x="69615" y="43815"/>
                    </a:cubicBezTo>
                    <a:cubicBezTo>
                      <a:pt x="75329" y="42863"/>
                      <a:pt x="75329" y="42863"/>
                      <a:pt x="75329" y="42863"/>
                    </a:cubicBezTo>
                    <a:lnTo>
                      <a:pt x="81045" y="41910"/>
                    </a:lnTo>
                    <a:lnTo>
                      <a:pt x="81997" y="32385"/>
                    </a:lnTo>
                    <a:lnTo>
                      <a:pt x="82949" y="28575"/>
                    </a:lnTo>
                    <a:lnTo>
                      <a:pt x="81045" y="24765"/>
                    </a:lnTo>
                    <a:lnTo>
                      <a:pt x="70567" y="20002"/>
                    </a:lnTo>
                    <a:lnTo>
                      <a:pt x="64852" y="14288"/>
                    </a:lnTo>
                    <a:cubicBezTo>
                      <a:pt x="64852" y="14288"/>
                      <a:pt x="68662" y="10477"/>
                      <a:pt x="71520" y="8572"/>
                    </a:cubicBezTo>
                    <a:cubicBezTo>
                      <a:pt x="73424" y="6667"/>
                      <a:pt x="76282" y="0"/>
                      <a:pt x="76282" y="0"/>
                    </a:cubicBezTo>
                    <a:close/>
                  </a:path>
                </a:pathLst>
              </a:custGeom>
              <a:grpFill/>
              <a:ln w="9525" cap="flat">
                <a:noFill/>
                <a:prstDash val="solid"/>
                <a:miter/>
              </a:ln>
            </p:spPr>
            <p:txBody>
              <a:bodyPr rtlCol="0" anchor="ctr"/>
              <a:lstStyle/>
              <a:p>
                <a:endParaRPr lang="en-US" sz="1765"/>
              </a:p>
            </p:txBody>
          </p:sp>
          <p:sp>
            <p:nvSpPr>
              <p:cNvPr id="295" name="Freeform: Shape 294">
                <a:extLst>
                  <a:ext uri="{FF2B5EF4-FFF2-40B4-BE49-F238E27FC236}">
                    <a16:creationId xmlns:a16="http://schemas.microsoft.com/office/drawing/2014/main" id="{3FB6EEC8-4E53-4AA4-A41A-5F679E531214}"/>
                  </a:ext>
                </a:extLst>
              </p:cNvPr>
              <p:cNvSpPr/>
              <p:nvPr/>
            </p:nvSpPr>
            <p:spPr>
              <a:xfrm>
                <a:off x="10282596" y="4057140"/>
                <a:ext cx="88252" cy="16430"/>
              </a:xfrm>
              <a:custGeom>
                <a:avLst/>
                <a:gdLst>
                  <a:gd name="connsiteX0" fmla="*/ 83490 w 88252"/>
                  <a:gd name="connsiteY0" fmla="*/ 7858 h 16430"/>
                  <a:gd name="connsiteX1" fmla="*/ 69202 w 88252"/>
                  <a:gd name="connsiteY1" fmla="*/ 12621 h 16430"/>
                  <a:gd name="connsiteX2" fmla="*/ 51105 w 88252"/>
                  <a:gd name="connsiteY2" fmla="*/ 13573 h 16430"/>
                  <a:gd name="connsiteX3" fmla="*/ 34912 w 88252"/>
                  <a:gd name="connsiteY3" fmla="*/ 13573 h 16430"/>
                  <a:gd name="connsiteX4" fmla="*/ 16815 w 88252"/>
                  <a:gd name="connsiteY4" fmla="*/ 16431 h 16430"/>
                  <a:gd name="connsiteX5" fmla="*/ 4432 w 88252"/>
                  <a:gd name="connsiteY5" fmla="*/ 16431 h 16430"/>
                  <a:gd name="connsiteX6" fmla="*/ 622 w 88252"/>
                  <a:gd name="connsiteY6" fmla="*/ 10716 h 16430"/>
                  <a:gd name="connsiteX7" fmla="*/ 1574 w 88252"/>
                  <a:gd name="connsiteY7" fmla="*/ 7858 h 16430"/>
                  <a:gd name="connsiteX8" fmla="*/ 4432 w 88252"/>
                  <a:gd name="connsiteY8" fmla="*/ 7858 h 16430"/>
                  <a:gd name="connsiteX9" fmla="*/ 15862 w 88252"/>
                  <a:gd name="connsiteY9" fmla="*/ 5953 h 16430"/>
                  <a:gd name="connsiteX10" fmla="*/ 32055 w 88252"/>
                  <a:gd name="connsiteY10" fmla="*/ 4048 h 16430"/>
                  <a:gd name="connsiteX11" fmla="*/ 45390 w 88252"/>
                  <a:gd name="connsiteY11" fmla="*/ 238 h 16430"/>
                  <a:gd name="connsiteX12" fmla="*/ 53962 w 88252"/>
                  <a:gd name="connsiteY12" fmla="*/ 1191 h 16430"/>
                  <a:gd name="connsiteX13" fmla="*/ 68249 w 88252"/>
                  <a:gd name="connsiteY13" fmla="*/ 2143 h 16430"/>
                  <a:gd name="connsiteX14" fmla="*/ 80632 w 88252"/>
                  <a:gd name="connsiteY14" fmla="*/ 238 h 16430"/>
                  <a:gd name="connsiteX15" fmla="*/ 88252 w 88252"/>
                  <a:gd name="connsiteY15" fmla="*/ 238 h 16430"/>
                  <a:gd name="connsiteX16" fmla="*/ 83490 w 88252"/>
                  <a:gd name="connsiteY16" fmla="*/ 7858 h 1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252" h="16430">
                    <a:moveTo>
                      <a:pt x="83490" y="7858"/>
                    </a:moveTo>
                    <a:cubicBezTo>
                      <a:pt x="83490" y="7858"/>
                      <a:pt x="74917" y="11668"/>
                      <a:pt x="69202" y="12621"/>
                    </a:cubicBezTo>
                    <a:cubicBezTo>
                      <a:pt x="63487" y="13573"/>
                      <a:pt x="56819" y="13573"/>
                      <a:pt x="51105" y="13573"/>
                    </a:cubicBezTo>
                    <a:cubicBezTo>
                      <a:pt x="45390" y="13573"/>
                      <a:pt x="38722" y="12621"/>
                      <a:pt x="34912" y="13573"/>
                    </a:cubicBezTo>
                    <a:cubicBezTo>
                      <a:pt x="30149" y="14526"/>
                      <a:pt x="16815" y="16431"/>
                      <a:pt x="16815" y="16431"/>
                    </a:cubicBezTo>
                    <a:lnTo>
                      <a:pt x="4432" y="16431"/>
                    </a:lnTo>
                    <a:lnTo>
                      <a:pt x="622" y="10716"/>
                    </a:lnTo>
                    <a:cubicBezTo>
                      <a:pt x="622" y="10716"/>
                      <a:pt x="-1283" y="7858"/>
                      <a:pt x="1574" y="7858"/>
                    </a:cubicBezTo>
                    <a:cubicBezTo>
                      <a:pt x="4432" y="7858"/>
                      <a:pt x="622" y="8811"/>
                      <a:pt x="4432" y="7858"/>
                    </a:cubicBezTo>
                    <a:cubicBezTo>
                      <a:pt x="9194" y="6906"/>
                      <a:pt x="15862" y="5953"/>
                      <a:pt x="15862" y="5953"/>
                    </a:cubicBezTo>
                    <a:lnTo>
                      <a:pt x="32055" y="4048"/>
                    </a:lnTo>
                    <a:lnTo>
                      <a:pt x="45390" y="238"/>
                    </a:lnTo>
                    <a:cubicBezTo>
                      <a:pt x="45390" y="238"/>
                      <a:pt x="47294" y="-714"/>
                      <a:pt x="53962" y="1191"/>
                    </a:cubicBezTo>
                    <a:cubicBezTo>
                      <a:pt x="60630" y="3096"/>
                      <a:pt x="62535" y="2143"/>
                      <a:pt x="68249" y="2143"/>
                    </a:cubicBezTo>
                    <a:cubicBezTo>
                      <a:pt x="73965" y="2143"/>
                      <a:pt x="80632" y="238"/>
                      <a:pt x="80632" y="238"/>
                    </a:cubicBezTo>
                    <a:lnTo>
                      <a:pt x="88252" y="238"/>
                    </a:lnTo>
                    <a:lnTo>
                      <a:pt x="83490" y="7858"/>
                    </a:lnTo>
                    <a:close/>
                  </a:path>
                </a:pathLst>
              </a:custGeom>
              <a:grpFill/>
              <a:ln w="9525" cap="flat">
                <a:noFill/>
                <a:prstDash val="solid"/>
                <a:miter/>
              </a:ln>
            </p:spPr>
            <p:txBody>
              <a:bodyPr rtlCol="0" anchor="ctr"/>
              <a:lstStyle/>
              <a:p>
                <a:endParaRPr lang="en-US" sz="1765"/>
              </a:p>
            </p:txBody>
          </p:sp>
          <p:sp>
            <p:nvSpPr>
              <p:cNvPr id="296" name="Freeform: Shape 295">
                <a:extLst>
                  <a:ext uri="{FF2B5EF4-FFF2-40B4-BE49-F238E27FC236}">
                    <a16:creationId xmlns:a16="http://schemas.microsoft.com/office/drawing/2014/main" id="{F3225C24-2F83-47FA-83EE-6249F9B5675C}"/>
                  </a:ext>
                </a:extLst>
              </p:cNvPr>
              <p:cNvSpPr/>
              <p:nvPr/>
            </p:nvSpPr>
            <p:spPr>
              <a:xfrm>
                <a:off x="10345817" y="4157391"/>
                <a:ext cx="73609" cy="38100"/>
              </a:xfrm>
              <a:custGeom>
                <a:avLst/>
                <a:gdLst>
                  <a:gd name="connsiteX0" fmla="*/ 54559 w 73609"/>
                  <a:gd name="connsiteY0" fmla="*/ 4763 h 38100"/>
                  <a:gd name="connsiteX1" fmla="*/ 45986 w 73609"/>
                  <a:gd name="connsiteY1" fmla="*/ 8572 h 38100"/>
                  <a:gd name="connsiteX2" fmla="*/ 37414 w 73609"/>
                  <a:gd name="connsiteY2" fmla="*/ 10478 h 38100"/>
                  <a:gd name="connsiteX3" fmla="*/ 34557 w 73609"/>
                  <a:gd name="connsiteY3" fmla="*/ 10478 h 38100"/>
                  <a:gd name="connsiteX4" fmla="*/ 29794 w 73609"/>
                  <a:gd name="connsiteY4" fmla="*/ 14288 h 38100"/>
                  <a:gd name="connsiteX5" fmla="*/ 9792 w 73609"/>
                  <a:gd name="connsiteY5" fmla="*/ 20003 h 38100"/>
                  <a:gd name="connsiteX6" fmla="*/ 8839 w 73609"/>
                  <a:gd name="connsiteY6" fmla="*/ 21908 h 38100"/>
                  <a:gd name="connsiteX7" fmla="*/ 1219 w 73609"/>
                  <a:gd name="connsiteY7" fmla="*/ 28575 h 38100"/>
                  <a:gd name="connsiteX8" fmla="*/ 267 w 73609"/>
                  <a:gd name="connsiteY8" fmla="*/ 32385 h 38100"/>
                  <a:gd name="connsiteX9" fmla="*/ 8839 w 73609"/>
                  <a:gd name="connsiteY9" fmla="*/ 38100 h 38100"/>
                  <a:gd name="connsiteX10" fmla="*/ 17411 w 73609"/>
                  <a:gd name="connsiteY10" fmla="*/ 35242 h 38100"/>
                  <a:gd name="connsiteX11" fmla="*/ 23127 w 73609"/>
                  <a:gd name="connsiteY11" fmla="*/ 25717 h 38100"/>
                  <a:gd name="connsiteX12" fmla="*/ 29794 w 73609"/>
                  <a:gd name="connsiteY12" fmla="*/ 19050 h 38100"/>
                  <a:gd name="connsiteX13" fmla="*/ 36461 w 73609"/>
                  <a:gd name="connsiteY13" fmla="*/ 19050 h 38100"/>
                  <a:gd name="connsiteX14" fmla="*/ 55511 w 73609"/>
                  <a:gd name="connsiteY14" fmla="*/ 15240 h 38100"/>
                  <a:gd name="connsiteX15" fmla="*/ 59322 w 73609"/>
                  <a:gd name="connsiteY15" fmla="*/ 12383 h 38100"/>
                  <a:gd name="connsiteX16" fmla="*/ 72657 w 73609"/>
                  <a:gd name="connsiteY16" fmla="*/ 8572 h 38100"/>
                  <a:gd name="connsiteX17" fmla="*/ 73609 w 73609"/>
                  <a:gd name="connsiteY17" fmla="*/ 4763 h 38100"/>
                  <a:gd name="connsiteX18" fmla="*/ 66942 w 73609"/>
                  <a:gd name="connsiteY18" fmla="*/ 0 h 38100"/>
                  <a:gd name="connsiteX19" fmla="*/ 54559 w 73609"/>
                  <a:gd name="connsiteY19" fmla="*/ 47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09" h="38100">
                    <a:moveTo>
                      <a:pt x="54559" y="4763"/>
                    </a:moveTo>
                    <a:cubicBezTo>
                      <a:pt x="54559" y="4763"/>
                      <a:pt x="47892" y="5715"/>
                      <a:pt x="45986" y="8572"/>
                    </a:cubicBezTo>
                    <a:cubicBezTo>
                      <a:pt x="44082" y="10478"/>
                      <a:pt x="40272" y="10478"/>
                      <a:pt x="37414" y="10478"/>
                    </a:cubicBezTo>
                    <a:cubicBezTo>
                      <a:pt x="34557" y="10478"/>
                      <a:pt x="38367" y="6667"/>
                      <a:pt x="34557" y="10478"/>
                    </a:cubicBezTo>
                    <a:cubicBezTo>
                      <a:pt x="29794" y="14288"/>
                      <a:pt x="41224" y="12383"/>
                      <a:pt x="29794" y="14288"/>
                    </a:cubicBezTo>
                    <a:cubicBezTo>
                      <a:pt x="18364" y="17145"/>
                      <a:pt x="10744" y="18097"/>
                      <a:pt x="9792" y="20003"/>
                    </a:cubicBezTo>
                    <a:cubicBezTo>
                      <a:pt x="8839" y="21908"/>
                      <a:pt x="12649" y="19050"/>
                      <a:pt x="8839" y="21908"/>
                    </a:cubicBezTo>
                    <a:cubicBezTo>
                      <a:pt x="4077" y="24765"/>
                      <a:pt x="1219" y="28575"/>
                      <a:pt x="1219" y="28575"/>
                    </a:cubicBezTo>
                    <a:cubicBezTo>
                      <a:pt x="1219" y="28575"/>
                      <a:pt x="-686" y="28575"/>
                      <a:pt x="267" y="32385"/>
                    </a:cubicBezTo>
                    <a:cubicBezTo>
                      <a:pt x="1219" y="36195"/>
                      <a:pt x="8839" y="38100"/>
                      <a:pt x="8839" y="38100"/>
                    </a:cubicBezTo>
                    <a:cubicBezTo>
                      <a:pt x="8839" y="38100"/>
                      <a:pt x="15507" y="38100"/>
                      <a:pt x="17411" y="35242"/>
                    </a:cubicBezTo>
                    <a:cubicBezTo>
                      <a:pt x="19317" y="32385"/>
                      <a:pt x="21222" y="29528"/>
                      <a:pt x="23127" y="25717"/>
                    </a:cubicBezTo>
                    <a:cubicBezTo>
                      <a:pt x="25032" y="21908"/>
                      <a:pt x="29794" y="19050"/>
                      <a:pt x="29794" y="19050"/>
                    </a:cubicBezTo>
                    <a:lnTo>
                      <a:pt x="36461" y="19050"/>
                    </a:lnTo>
                    <a:lnTo>
                      <a:pt x="55511" y="15240"/>
                    </a:lnTo>
                    <a:lnTo>
                      <a:pt x="59322" y="12383"/>
                    </a:lnTo>
                    <a:lnTo>
                      <a:pt x="72657" y="8572"/>
                    </a:lnTo>
                    <a:lnTo>
                      <a:pt x="73609" y="4763"/>
                    </a:lnTo>
                    <a:lnTo>
                      <a:pt x="66942" y="0"/>
                    </a:lnTo>
                    <a:lnTo>
                      <a:pt x="54559" y="4763"/>
                    </a:lnTo>
                    <a:close/>
                  </a:path>
                </a:pathLst>
              </a:custGeom>
              <a:grpFill/>
              <a:ln w="9525" cap="flat">
                <a:noFill/>
                <a:prstDash val="solid"/>
                <a:miter/>
              </a:ln>
            </p:spPr>
            <p:txBody>
              <a:bodyPr rtlCol="0" anchor="ctr"/>
              <a:lstStyle/>
              <a:p>
                <a:endParaRPr lang="en-US" sz="1765"/>
              </a:p>
            </p:txBody>
          </p:sp>
          <p:sp>
            <p:nvSpPr>
              <p:cNvPr id="297" name="Freeform: Shape 296">
                <a:extLst>
                  <a:ext uri="{FF2B5EF4-FFF2-40B4-BE49-F238E27FC236}">
                    <a16:creationId xmlns:a16="http://schemas.microsoft.com/office/drawing/2014/main" id="{C9055B71-00D6-445C-B297-85D4C3FFE331}"/>
                  </a:ext>
                </a:extLst>
              </p:cNvPr>
              <p:cNvSpPr/>
              <p:nvPr/>
            </p:nvSpPr>
            <p:spPr>
              <a:xfrm>
                <a:off x="10318778" y="3951228"/>
                <a:ext cx="81597" cy="61383"/>
              </a:xfrm>
              <a:custGeom>
                <a:avLst/>
                <a:gdLst>
                  <a:gd name="connsiteX0" fmla="*/ 79692 w 81597"/>
                  <a:gd name="connsiteY0" fmla="*/ 49001 h 61383"/>
                  <a:gd name="connsiteX1" fmla="*/ 74930 w 81597"/>
                  <a:gd name="connsiteY1" fmla="*/ 53763 h 61383"/>
                  <a:gd name="connsiteX2" fmla="*/ 70167 w 81597"/>
                  <a:gd name="connsiteY2" fmla="*/ 59478 h 61383"/>
                  <a:gd name="connsiteX3" fmla="*/ 56833 w 81597"/>
                  <a:gd name="connsiteY3" fmla="*/ 61383 h 61383"/>
                  <a:gd name="connsiteX4" fmla="*/ 50165 w 81597"/>
                  <a:gd name="connsiteY4" fmla="*/ 58526 h 61383"/>
                  <a:gd name="connsiteX5" fmla="*/ 49212 w 81597"/>
                  <a:gd name="connsiteY5" fmla="*/ 54716 h 61383"/>
                  <a:gd name="connsiteX6" fmla="*/ 45403 w 81597"/>
                  <a:gd name="connsiteY6" fmla="*/ 49001 h 61383"/>
                  <a:gd name="connsiteX7" fmla="*/ 42545 w 81597"/>
                  <a:gd name="connsiteY7" fmla="*/ 43286 h 61383"/>
                  <a:gd name="connsiteX8" fmla="*/ 37783 w 81597"/>
                  <a:gd name="connsiteY8" fmla="*/ 41381 h 61383"/>
                  <a:gd name="connsiteX9" fmla="*/ 31115 w 81597"/>
                  <a:gd name="connsiteY9" fmla="*/ 41381 h 61383"/>
                  <a:gd name="connsiteX10" fmla="*/ 23495 w 81597"/>
                  <a:gd name="connsiteY10" fmla="*/ 44238 h 61383"/>
                  <a:gd name="connsiteX11" fmla="*/ 12065 w 81597"/>
                  <a:gd name="connsiteY11" fmla="*/ 44238 h 61383"/>
                  <a:gd name="connsiteX12" fmla="*/ 2540 w 81597"/>
                  <a:gd name="connsiteY12" fmla="*/ 40428 h 61383"/>
                  <a:gd name="connsiteX13" fmla="*/ 2540 w 81597"/>
                  <a:gd name="connsiteY13" fmla="*/ 30903 h 61383"/>
                  <a:gd name="connsiteX14" fmla="*/ 14923 w 81597"/>
                  <a:gd name="connsiteY14" fmla="*/ 28998 h 61383"/>
                  <a:gd name="connsiteX15" fmla="*/ 20637 w 81597"/>
                  <a:gd name="connsiteY15" fmla="*/ 28998 h 61383"/>
                  <a:gd name="connsiteX16" fmla="*/ 19685 w 81597"/>
                  <a:gd name="connsiteY16" fmla="*/ 19473 h 61383"/>
                  <a:gd name="connsiteX17" fmla="*/ 13017 w 81597"/>
                  <a:gd name="connsiteY17" fmla="*/ 12806 h 61383"/>
                  <a:gd name="connsiteX18" fmla="*/ 2540 w 81597"/>
                  <a:gd name="connsiteY18" fmla="*/ 6138 h 61383"/>
                  <a:gd name="connsiteX19" fmla="*/ 1587 w 81597"/>
                  <a:gd name="connsiteY19" fmla="*/ 2328 h 61383"/>
                  <a:gd name="connsiteX20" fmla="*/ 9208 w 81597"/>
                  <a:gd name="connsiteY20" fmla="*/ 423 h 61383"/>
                  <a:gd name="connsiteX21" fmla="*/ 13970 w 81597"/>
                  <a:gd name="connsiteY21" fmla="*/ 423 h 61383"/>
                  <a:gd name="connsiteX22" fmla="*/ 29210 w 81597"/>
                  <a:gd name="connsiteY22" fmla="*/ 1376 h 61383"/>
                  <a:gd name="connsiteX23" fmla="*/ 31115 w 81597"/>
                  <a:gd name="connsiteY23" fmla="*/ 5186 h 61383"/>
                  <a:gd name="connsiteX24" fmla="*/ 40640 w 81597"/>
                  <a:gd name="connsiteY24" fmla="*/ 13758 h 61383"/>
                  <a:gd name="connsiteX25" fmla="*/ 54928 w 81597"/>
                  <a:gd name="connsiteY25" fmla="*/ 15663 h 61383"/>
                  <a:gd name="connsiteX26" fmla="*/ 64453 w 81597"/>
                  <a:gd name="connsiteY26" fmla="*/ 15663 h 61383"/>
                  <a:gd name="connsiteX27" fmla="*/ 72073 w 81597"/>
                  <a:gd name="connsiteY27" fmla="*/ 16616 h 61383"/>
                  <a:gd name="connsiteX28" fmla="*/ 81598 w 81597"/>
                  <a:gd name="connsiteY28" fmla="*/ 24236 h 61383"/>
                  <a:gd name="connsiteX29" fmla="*/ 81598 w 81597"/>
                  <a:gd name="connsiteY29" fmla="*/ 29951 h 61383"/>
                  <a:gd name="connsiteX30" fmla="*/ 81598 w 81597"/>
                  <a:gd name="connsiteY30" fmla="*/ 33761 h 61383"/>
                  <a:gd name="connsiteX31" fmla="*/ 79692 w 81597"/>
                  <a:gd name="connsiteY31" fmla="*/ 39476 h 61383"/>
                  <a:gd name="connsiteX32" fmla="*/ 79692 w 81597"/>
                  <a:gd name="connsiteY32" fmla="*/ 49001 h 6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597" h="61383">
                    <a:moveTo>
                      <a:pt x="79692" y="49001"/>
                    </a:moveTo>
                    <a:cubicBezTo>
                      <a:pt x="79692" y="49001"/>
                      <a:pt x="74930" y="50906"/>
                      <a:pt x="74930" y="53763"/>
                    </a:cubicBezTo>
                    <a:cubicBezTo>
                      <a:pt x="74930" y="56621"/>
                      <a:pt x="76835" y="57573"/>
                      <a:pt x="70167" y="59478"/>
                    </a:cubicBezTo>
                    <a:cubicBezTo>
                      <a:pt x="63500" y="61383"/>
                      <a:pt x="56833" y="61383"/>
                      <a:pt x="56833" y="61383"/>
                    </a:cubicBezTo>
                    <a:lnTo>
                      <a:pt x="50165" y="58526"/>
                    </a:lnTo>
                    <a:lnTo>
                      <a:pt x="49212" y="54716"/>
                    </a:lnTo>
                    <a:lnTo>
                      <a:pt x="45403" y="49001"/>
                    </a:lnTo>
                    <a:lnTo>
                      <a:pt x="42545" y="43286"/>
                    </a:lnTo>
                    <a:lnTo>
                      <a:pt x="37783" y="41381"/>
                    </a:lnTo>
                    <a:lnTo>
                      <a:pt x="31115" y="41381"/>
                    </a:lnTo>
                    <a:lnTo>
                      <a:pt x="23495" y="44238"/>
                    </a:lnTo>
                    <a:lnTo>
                      <a:pt x="12065" y="44238"/>
                    </a:lnTo>
                    <a:cubicBezTo>
                      <a:pt x="12065" y="44238"/>
                      <a:pt x="2540" y="42333"/>
                      <a:pt x="2540" y="40428"/>
                    </a:cubicBezTo>
                    <a:cubicBezTo>
                      <a:pt x="2540" y="38523"/>
                      <a:pt x="-3175" y="30903"/>
                      <a:pt x="2540" y="30903"/>
                    </a:cubicBezTo>
                    <a:cubicBezTo>
                      <a:pt x="8255" y="30903"/>
                      <a:pt x="9208" y="28998"/>
                      <a:pt x="14923" y="28998"/>
                    </a:cubicBezTo>
                    <a:cubicBezTo>
                      <a:pt x="20637" y="28998"/>
                      <a:pt x="20637" y="28998"/>
                      <a:pt x="20637" y="28998"/>
                    </a:cubicBezTo>
                    <a:lnTo>
                      <a:pt x="19685" y="19473"/>
                    </a:lnTo>
                    <a:lnTo>
                      <a:pt x="13017" y="12806"/>
                    </a:lnTo>
                    <a:lnTo>
                      <a:pt x="2540" y="6138"/>
                    </a:lnTo>
                    <a:lnTo>
                      <a:pt x="1587" y="2328"/>
                    </a:lnTo>
                    <a:lnTo>
                      <a:pt x="9208" y="423"/>
                    </a:lnTo>
                    <a:cubicBezTo>
                      <a:pt x="9208" y="423"/>
                      <a:pt x="8255" y="-529"/>
                      <a:pt x="13970" y="423"/>
                    </a:cubicBezTo>
                    <a:cubicBezTo>
                      <a:pt x="19685" y="1376"/>
                      <a:pt x="29210" y="1376"/>
                      <a:pt x="29210" y="1376"/>
                    </a:cubicBezTo>
                    <a:cubicBezTo>
                      <a:pt x="29210" y="1376"/>
                      <a:pt x="28258" y="2328"/>
                      <a:pt x="31115" y="5186"/>
                    </a:cubicBezTo>
                    <a:cubicBezTo>
                      <a:pt x="33973" y="8043"/>
                      <a:pt x="36830" y="12806"/>
                      <a:pt x="40640" y="13758"/>
                    </a:cubicBezTo>
                    <a:cubicBezTo>
                      <a:pt x="45403" y="14711"/>
                      <a:pt x="54928" y="15663"/>
                      <a:pt x="54928" y="15663"/>
                    </a:cubicBezTo>
                    <a:lnTo>
                      <a:pt x="64453" y="15663"/>
                    </a:lnTo>
                    <a:cubicBezTo>
                      <a:pt x="64453" y="15663"/>
                      <a:pt x="65405" y="13758"/>
                      <a:pt x="72073" y="16616"/>
                    </a:cubicBezTo>
                    <a:cubicBezTo>
                      <a:pt x="78740" y="19473"/>
                      <a:pt x="81598" y="21378"/>
                      <a:pt x="81598" y="24236"/>
                    </a:cubicBezTo>
                    <a:cubicBezTo>
                      <a:pt x="81598" y="27093"/>
                      <a:pt x="81598" y="25188"/>
                      <a:pt x="81598" y="29951"/>
                    </a:cubicBezTo>
                    <a:cubicBezTo>
                      <a:pt x="81598" y="33761"/>
                      <a:pt x="81598" y="33761"/>
                      <a:pt x="81598" y="33761"/>
                    </a:cubicBezTo>
                    <a:cubicBezTo>
                      <a:pt x="81598" y="33761"/>
                      <a:pt x="79692" y="37571"/>
                      <a:pt x="79692" y="39476"/>
                    </a:cubicBezTo>
                    <a:cubicBezTo>
                      <a:pt x="79692" y="40428"/>
                      <a:pt x="79692" y="49001"/>
                      <a:pt x="79692" y="49001"/>
                    </a:cubicBezTo>
                    <a:close/>
                  </a:path>
                </a:pathLst>
              </a:custGeom>
              <a:grpFill/>
              <a:ln w="9525" cap="flat">
                <a:noFill/>
                <a:prstDash val="solid"/>
                <a:miter/>
              </a:ln>
            </p:spPr>
            <p:txBody>
              <a:bodyPr rtlCol="0" anchor="ctr"/>
              <a:lstStyle/>
              <a:p>
                <a:endParaRPr lang="en-US" sz="1765"/>
              </a:p>
            </p:txBody>
          </p:sp>
          <p:sp>
            <p:nvSpPr>
              <p:cNvPr id="298" name="Freeform: Shape 297">
                <a:extLst>
                  <a:ext uri="{FF2B5EF4-FFF2-40B4-BE49-F238E27FC236}">
                    <a16:creationId xmlns:a16="http://schemas.microsoft.com/office/drawing/2014/main" id="{B41A90DC-ED2D-47D0-A0F7-B9C0F67CEDC0}"/>
                  </a:ext>
                </a:extLst>
              </p:cNvPr>
              <p:cNvSpPr/>
              <p:nvPr/>
            </p:nvSpPr>
            <p:spPr>
              <a:xfrm>
                <a:off x="10338390" y="3909741"/>
                <a:ext cx="57223" cy="41910"/>
              </a:xfrm>
              <a:custGeom>
                <a:avLst/>
                <a:gdLst>
                  <a:gd name="connsiteX0" fmla="*/ 57224 w 57223"/>
                  <a:gd name="connsiteY0" fmla="*/ 40958 h 41910"/>
                  <a:gd name="connsiteX1" fmla="*/ 57224 w 57223"/>
                  <a:gd name="connsiteY1" fmla="*/ 34290 h 41910"/>
                  <a:gd name="connsiteX2" fmla="*/ 57224 w 57223"/>
                  <a:gd name="connsiteY2" fmla="*/ 27623 h 41910"/>
                  <a:gd name="connsiteX3" fmla="*/ 52461 w 57223"/>
                  <a:gd name="connsiteY3" fmla="*/ 22860 h 41910"/>
                  <a:gd name="connsiteX4" fmla="*/ 41984 w 57223"/>
                  <a:gd name="connsiteY4" fmla="*/ 18098 h 41910"/>
                  <a:gd name="connsiteX5" fmla="*/ 38174 w 57223"/>
                  <a:gd name="connsiteY5" fmla="*/ 11430 h 41910"/>
                  <a:gd name="connsiteX6" fmla="*/ 38174 w 57223"/>
                  <a:gd name="connsiteY6" fmla="*/ 8573 h 41910"/>
                  <a:gd name="connsiteX7" fmla="*/ 29601 w 57223"/>
                  <a:gd name="connsiteY7" fmla="*/ 1905 h 41910"/>
                  <a:gd name="connsiteX8" fmla="*/ 21981 w 57223"/>
                  <a:gd name="connsiteY8" fmla="*/ 0 h 41910"/>
                  <a:gd name="connsiteX9" fmla="*/ 12456 w 57223"/>
                  <a:gd name="connsiteY9" fmla="*/ 952 h 41910"/>
                  <a:gd name="connsiteX10" fmla="*/ 7694 w 57223"/>
                  <a:gd name="connsiteY10" fmla="*/ 3810 h 41910"/>
                  <a:gd name="connsiteX11" fmla="*/ 74 w 57223"/>
                  <a:gd name="connsiteY11" fmla="*/ 4763 h 41910"/>
                  <a:gd name="connsiteX12" fmla="*/ 10551 w 57223"/>
                  <a:gd name="connsiteY12" fmla="*/ 15240 h 41910"/>
                  <a:gd name="connsiteX13" fmla="*/ 11504 w 57223"/>
                  <a:gd name="connsiteY13" fmla="*/ 19050 h 41910"/>
                  <a:gd name="connsiteX14" fmla="*/ 11504 w 57223"/>
                  <a:gd name="connsiteY14" fmla="*/ 25717 h 41910"/>
                  <a:gd name="connsiteX15" fmla="*/ 18172 w 57223"/>
                  <a:gd name="connsiteY15" fmla="*/ 27623 h 41910"/>
                  <a:gd name="connsiteX16" fmla="*/ 21029 w 57223"/>
                  <a:gd name="connsiteY16" fmla="*/ 31433 h 41910"/>
                  <a:gd name="connsiteX17" fmla="*/ 24839 w 57223"/>
                  <a:gd name="connsiteY17" fmla="*/ 39052 h 41910"/>
                  <a:gd name="connsiteX18" fmla="*/ 29601 w 57223"/>
                  <a:gd name="connsiteY18" fmla="*/ 40958 h 41910"/>
                  <a:gd name="connsiteX19" fmla="*/ 38174 w 57223"/>
                  <a:gd name="connsiteY19" fmla="*/ 41910 h 41910"/>
                  <a:gd name="connsiteX20" fmla="*/ 44841 w 57223"/>
                  <a:gd name="connsiteY20" fmla="*/ 41910 h 41910"/>
                  <a:gd name="connsiteX21" fmla="*/ 57224 w 57223"/>
                  <a:gd name="connsiteY21" fmla="*/ 40958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23" h="41910">
                    <a:moveTo>
                      <a:pt x="57224" y="40958"/>
                    </a:moveTo>
                    <a:lnTo>
                      <a:pt x="57224" y="34290"/>
                    </a:lnTo>
                    <a:lnTo>
                      <a:pt x="57224" y="27623"/>
                    </a:lnTo>
                    <a:lnTo>
                      <a:pt x="52461" y="22860"/>
                    </a:lnTo>
                    <a:lnTo>
                      <a:pt x="41984" y="18098"/>
                    </a:lnTo>
                    <a:lnTo>
                      <a:pt x="38174" y="11430"/>
                    </a:lnTo>
                    <a:lnTo>
                      <a:pt x="38174" y="8573"/>
                    </a:lnTo>
                    <a:lnTo>
                      <a:pt x="29601" y="1905"/>
                    </a:lnTo>
                    <a:lnTo>
                      <a:pt x="21981" y="0"/>
                    </a:lnTo>
                    <a:lnTo>
                      <a:pt x="12456" y="952"/>
                    </a:lnTo>
                    <a:lnTo>
                      <a:pt x="7694" y="3810"/>
                    </a:lnTo>
                    <a:cubicBezTo>
                      <a:pt x="7694" y="3810"/>
                      <a:pt x="-878" y="-952"/>
                      <a:pt x="74" y="4763"/>
                    </a:cubicBezTo>
                    <a:cubicBezTo>
                      <a:pt x="1026" y="10477"/>
                      <a:pt x="10551" y="15240"/>
                      <a:pt x="10551" y="15240"/>
                    </a:cubicBezTo>
                    <a:cubicBezTo>
                      <a:pt x="10551" y="15240"/>
                      <a:pt x="11504" y="16192"/>
                      <a:pt x="11504" y="19050"/>
                    </a:cubicBezTo>
                    <a:cubicBezTo>
                      <a:pt x="11504" y="21908"/>
                      <a:pt x="4836" y="22860"/>
                      <a:pt x="11504" y="25717"/>
                    </a:cubicBezTo>
                    <a:cubicBezTo>
                      <a:pt x="18172" y="27623"/>
                      <a:pt x="18172" y="27623"/>
                      <a:pt x="18172" y="27623"/>
                    </a:cubicBezTo>
                    <a:cubicBezTo>
                      <a:pt x="18172" y="27623"/>
                      <a:pt x="20076" y="29527"/>
                      <a:pt x="21029" y="31433"/>
                    </a:cubicBezTo>
                    <a:cubicBezTo>
                      <a:pt x="21981" y="33338"/>
                      <a:pt x="24839" y="39052"/>
                      <a:pt x="24839" y="39052"/>
                    </a:cubicBezTo>
                    <a:lnTo>
                      <a:pt x="29601" y="40958"/>
                    </a:lnTo>
                    <a:lnTo>
                      <a:pt x="38174" y="41910"/>
                    </a:lnTo>
                    <a:lnTo>
                      <a:pt x="44841" y="41910"/>
                    </a:lnTo>
                    <a:lnTo>
                      <a:pt x="57224" y="40958"/>
                    </a:lnTo>
                    <a:close/>
                  </a:path>
                </a:pathLst>
              </a:custGeom>
              <a:grpFill/>
              <a:ln w="9525" cap="flat">
                <a:noFill/>
                <a:prstDash val="solid"/>
                <a:miter/>
              </a:ln>
            </p:spPr>
            <p:txBody>
              <a:bodyPr rtlCol="0" anchor="ctr"/>
              <a:lstStyle/>
              <a:p>
                <a:endParaRPr lang="en-US" sz="1765"/>
              </a:p>
            </p:txBody>
          </p:sp>
          <p:sp>
            <p:nvSpPr>
              <p:cNvPr id="299" name="Freeform: Shape 298">
                <a:extLst>
                  <a:ext uri="{FF2B5EF4-FFF2-40B4-BE49-F238E27FC236}">
                    <a16:creationId xmlns:a16="http://schemas.microsoft.com/office/drawing/2014/main" id="{3A4CAF5A-E548-434D-A898-395A4F73F46E}"/>
                  </a:ext>
                </a:extLst>
              </p:cNvPr>
              <p:cNvSpPr/>
              <p:nvPr/>
            </p:nvSpPr>
            <p:spPr>
              <a:xfrm>
                <a:off x="10279408" y="3862116"/>
                <a:ext cx="55244" cy="53339"/>
              </a:xfrm>
              <a:custGeom>
                <a:avLst/>
                <a:gdLst>
                  <a:gd name="connsiteX0" fmla="*/ 34290 w 55244"/>
                  <a:gd name="connsiteY0" fmla="*/ 53340 h 53339"/>
                  <a:gd name="connsiteX1" fmla="*/ 40005 w 55244"/>
                  <a:gd name="connsiteY1" fmla="*/ 50483 h 53339"/>
                  <a:gd name="connsiteX2" fmla="*/ 40957 w 55244"/>
                  <a:gd name="connsiteY2" fmla="*/ 44767 h 53339"/>
                  <a:gd name="connsiteX3" fmla="*/ 48578 w 55244"/>
                  <a:gd name="connsiteY3" fmla="*/ 35242 h 53339"/>
                  <a:gd name="connsiteX4" fmla="*/ 51435 w 55244"/>
                  <a:gd name="connsiteY4" fmla="*/ 24765 h 53339"/>
                  <a:gd name="connsiteX5" fmla="*/ 51435 w 55244"/>
                  <a:gd name="connsiteY5" fmla="*/ 19050 h 53339"/>
                  <a:gd name="connsiteX6" fmla="*/ 55245 w 55244"/>
                  <a:gd name="connsiteY6" fmla="*/ 7620 h 53339"/>
                  <a:gd name="connsiteX7" fmla="*/ 54293 w 55244"/>
                  <a:gd name="connsiteY7" fmla="*/ 3810 h 53339"/>
                  <a:gd name="connsiteX8" fmla="*/ 44768 w 55244"/>
                  <a:gd name="connsiteY8" fmla="*/ 0 h 53339"/>
                  <a:gd name="connsiteX9" fmla="*/ 36195 w 55244"/>
                  <a:gd name="connsiteY9" fmla="*/ 0 h 53339"/>
                  <a:gd name="connsiteX10" fmla="*/ 19050 w 55244"/>
                  <a:gd name="connsiteY10" fmla="*/ 13335 h 53339"/>
                  <a:gd name="connsiteX11" fmla="*/ 14288 w 55244"/>
                  <a:gd name="connsiteY11" fmla="*/ 20002 h 53339"/>
                  <a:gd name="connsiteX12" fmla="*/ 5715 w 55244"/>
                  <a:gd name="connsiteY12" fmla="*/ 23813 h 53339"/>
                  <a:gd name="connsiteX13" fmla="*/ 3810 w 55244"/>
                  <a:gd name="connsiteY13" fmla="*/ 27623 h 53339"/>
                  <a:gd name="connsiteX14" fmla="*/ 0 w 55244"/>
                  <a:gd name="connsiteY14" fmla="*/ 34290 h 53339"/>
                  <a:gd name="connsiteX15" fmla="*/ 2857 w 55244"/>
                  <a:gd name="connsiteY15" fmla="*/ 40005 h 53339"/>
                  <a:gd name="connsiteX16" fmla="*/ 10478 w 55244"/>
                  <a:gd name="connsiteY16" fmla="*/ 41910 h 53339"/>
                  <a:gd name="connsiteX17" fmla="*/ 19050 w 55244"/>
                  <a:gd name="connsiteY17" fmla="*/ 43815 h 53339"/>
                  <a:gd name="connsiteX18" fmla="*/ 21907 w 55244"/>
                  <a:gd name="connsiteY18" fmla="*/ 47625 h 53339"/>
                  <a:gd name="connsiteX19" fmla="*/ 34290 w 55244"/>
                  <a:gd name="connsiteY19" fmla="*/ 5334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244" h="53339">
                    <a:moveTo>
                      <a:pt x="34290" y="53340"/>
                    </a:moveTo>
                    <a:lnTo>
                      <a:pt x="40005" y="50483"/>
                    </a:lnTo>
                    <a:cubicBezTo>
                      <a:pt x="40005" y="50483"/>
                      <a:pt x="38100" y="46673"/>
                      <a:pt x="40957" y="44767"/>
                    </a:cubicBezTo>
                    <a:cubicBezTo>
                      <a:pt x="43815" y="43815"/>
                      <a:pt x="48578" y="35242"/>
                      <a:pt x="48578" y="35242"/>
                    </a:cubicBezTo>
                    <a:cubicBezTo>
                      <a:pt x="48578" y="35242"/>
                      <a:pt x="48578" y="26670"/>
                      <a:pt x="51435" y="24765"/>
                    </a:cubicBezTo>
                    <a:cubicBezTo>
                      <a:pt x="53340" y="22860"/>
                      <a:pt x="49530" y="20955"/>
                      <a:pt x="51435" y="19050"/>
                    </a:cubicBezTo>
                    <a:cubicBezTo>
                      <a:pt x="53340" y="17145"/>
                      <a:pt x="55245" y="7620"/>
                      <a:pt x="55245" y="7620"/>
                    </a:cubicBezTo>
                    <a:lnTo>
                      <a:pt x="54293" y="3810"/>
                    </a:lnTo>
                    <a:lnTo>
                      <a:pt x="44768" y="0"/>
                    </a:lnTo>
                    <a:lnTo>
                      <a:pt x="36195" y="0"/>
                    </a:lnTo>
                    <a:cubicBezTo>
                      <a:pt x="27623" y="9525"/>
                      <a:pt x="19050" y="9525"/>
                      <a:pt x="19050" y="13335"/>
                    </a:cubicBezTo>
                    <a:cubicBezTo>
                      <a:pt x="19050" y="17145"/>
                      <a:pt x="14288" y="17145"/>
                      <a:pt x="14288" y="20002"/>
                    </a:cubicBezTo>
                    <a:cubicBezTo>
                      <a:pt x="14288" y="22860"/>
                      <a:pt x="5715" y="23813"/>
                      <a:pt x="5715" y="23813"/>
                    </a:cubicBezTo>
                    <a:cubicBezTo>
                      <a:pt x="3810" y="27623"/>
                      <a:pt x="6668" y="22860"/>
                      <a:pt x="3810" y="27623"/>
                    </a:cubicBezTo>
                    <a:cubicBezTo>
                      <a:pt x="0" y="31433"/>
                      <a:pt x="0" y="31433"/>
                      <a:pt x="0" y="34290"/>
                    </a:cubicBezTo>
                    <a:cubicBezTo>
                      <a:pt x="0" y="37148"/>
                      <a:pt x="2857" y="40005"/>
                      <a:pt x="2857" y="40005"/>
                    </a:cubicBezTo>
                    <a:lnTo>
                      <a:pt x="10478" y="41910"/>
                    </a:lnTo>
                    <a:lnTo>
                      <a:pt x="19050" y="43815"/>
                    </a:lnTo>
                    <a:cubicBezTo>
                      <a:pt x="21907" y="47625"/>
                      <a:pt x="21907" y="43815"/>
                      <a:pt x="21907" y="47625"/>
                    </a:cubicBezTo>
                    <a:cubicBezTo>
                      <a:pt x="21907" y="49530"/>
                      <a:pt x="34290" y="53340"/>
                      <a:pt x="34290" y="53340"/>
                    </a:cubicBezTo>
                    <a:close/>
                  </a:path>
                </a:pathLst>
              </a:custGeom>
              <a:grpFill/>
              <a:ln w="9525" cap="flat">
                <a:noFill/>
                <a:prstDash val="solid"/>
                <a:miter/>
              </a:ln>
            </p:spPr>
            <p:txBody>
              <a:bodyPr rtlCol="0" anchor="ctr"/>
              <a:lstStyle/>
              <a:p>
                <a:endParaRPr lang="en-US" sz="1765"/>
              </a:p>
            </p:txBody>
          </p:sp>
          <p:sp>
            <p:nvSpPr>
              <p:cNvPr id="300" name="Freeform: Shape 299">
                <a:extLst>
                  <a:ext uri="{FF2B5EF4-FFF2-40B4-BE49-F238E27FC236}">
                    <a16:creationId xmlns:a16="http://schemas.microsoft.com/office/drawing/2014/main" id="{274471AC-7B17-4572-A2DE-343AB7E9FD7F}"/>
                  </a:ext>
                </a:extLst>
              </p:cNvPr>
              <p:cNvSpPr/>
              <p:nvPr/>
            </p:nvSpPr>
            <p:spPr>
              <a:xfrm>
                <a:off x="10294158" y="3778011"/>
                <a:ext cx="34890" cy="41242"/>
              </a:xfrm>
              <a:custGeom>
                <a:avLst/>
                <a:gdLst>
                  <a:gd name="connsiteX0" fmla="*/ 32875 w 34890"/>
                  <a:gd name="connsiteY0" fmla="*/ 16477 h 41242"/>
                  <a:gd name="connsiteX1" fmla="*/ 29066 w 34890"/>
                  <a:gd name="connsiteY1" fmla="*/ 24097 h 41242"/>
                  <a:gd name="connsiteX2" fmla="*/ 25255 w 34890"/>
                  <a:gd name="connsiteY2" fmla="*/ 29812 h 41242"/>
                  <a:gd name="connsiteX3" fmla="*/ 23350 w 34890"/>
                  <a:gd name="connsiteY3" fmla="*/ 31717 h 41242"/>
                  <a:gd name="connsiteX4" fmla="*/ 16683 w 34890"/>
                  <a:gd name="connsiteY4" fmla="*/ 41242 h 41242"/>
                  <a:gd name="connsiteX5" fmla="*/ 7158 w 34890"/>
                  <a:gd name="connsiteY5" fmla="*/ 40290 h 41242"/>
                  <a:gd name="connsiteX6" fmla="*/ 491 w 34890"/>
                  <a:gd name="connsiteY6" fmla="*/ 27907 h 41242"/>
                  <a:gd name="connsiteX7" fmla="*/ 1443 w 34890"/>
                  <a:gd name="connsiteY7" fmla="*/ 20287 h 41242"/>
                  <a:gd name="connsiteX8" fmla="*/ 2395 w 34890"/>
                  <a:gd name="connsiteY8" fmla="*/ 11715 h 41242"/>
                  <a:gd name="connsiteX9" fmla="*/ 11920 w 34890"/>
                  <a:gd name="connsiteY9" fmla="*/ 8857 h 41242"/>
                  <a:gd name="connsiteX10" fmla="*/ 23350 w 34890"/>
                  <a:gd name="connsiteY10" fmla="*/ 2190 h 41242"/>
                  <a:gd name="connsiteX11" fmla="*/ 30970 w 34890"/>
                  <a:gd name="connsiteY11" fmla="*/ 1237 h 41242"/>
                  <a:gd name="connsiteX12" fmla="*/ 33828 w 34890"/>
                  <a:gd name="connsiteY12" fmla="*/ 9810 h 41242"/>
                  <a:gd name="connsiteX13" fmla="*/ 32875 w 34890"/>
                  <a:gd name="connsiteY13" fmla="*/ 16477 h 4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90" h="41242">
                    <a:moveTo>
                      <a:pt x="32875" y="16477"/>
                    </a:moveTo>
                    <a:cubicBezTo>
                      <a:pt x="32875" y="16477"/>
                      <a:pt x="29066" y="22192"/>
                      <a:pt x="29066" y="24097"/>
                    </a:cubicBezTo>
                    <a:cubicBezTo>
                      <a:pt x="29066" y="26002"/>
                      <a:pt x="28113" y="27907"/>
                      <a:pt x="25255" y="29812"/>
                    </a:cubicBezTo>
                    <a:cubicBezTo>
                      <a:pt x="23350" y="31717"/>
                      <a:pt x="25255" y="26002"/>
                      <a:pt x="23350" y="31717"/>
                    </a:cubicBezTo>
                    <a:cubicBezTo>
                      <a:pt x="21445" y="38385"/>
                      <a:pt x="16683" y="41242"/>
                      <a:pt x="16683" y="41242"/>
                    </a:cubicBezTo>
                    <a:lnTo>
                      <a:pt x="7158" y="40290"/>
                    </a:lnTo>
                    <a:cubicBezTo>
                      <a:pt x="4300" y="37432"/>
                      <a:pt x="491" y="27907"/>
                      <a:pt x="491" y="27907"/>
                    </a:cubicBezTo>
                    <a:lnTo>
                      <a:pt x="1443" y="20287"/>
                    </a:lnTo>
                    <a:cubicBezTo>
                      <a:pt x="1443" y="20287"/>
                      <a:pt x="-2367" y="13620"/>
                      <a:pt x="2395" y="11715"/>
                    </a:cubicBezTo>
                    <a:cubicBezTo>
                      <a:pt x="8111" y="10762"/>
                      <a:pt x="11920" y="8857"/>
                      <a:pt x="11920" y="8857"/>
                    </a:cubicBezTo>
                    <a:cubicBezTo>
                      <a:pt x="11920" y="8857"/>
                      <a:pt x="15730" y="4095"/>
                      <a:pt x="23350" y="2190"/>
                    </a:cubicBezTo>
                    <a:cubicBezTo>
                      <a:pt x="30970" y="1237"/>
                      <a:pt x="28113" y="-1620"/>
                      <a:pt x="30970" y="1237"/>
                    </a:cubicBezTo>
                    <a:cubicBezTo>
                      <a:pt x="33828" y="4095"/>
                      <a:pt x="32875" y="5047"/>
                      <a:pt x="33828" y="9810"/>
                    </a:cubicBezTo>
                    <a:cubicBezTo>
                      <a:pt x="36686" y="13620"/>
                      <a:pt x="32875" y="16477"/>
                      <a:pt x="32875" y="16477"/>
                    </a:cubicBezTo>
                    <a:close/>
                  </a:path>
                </a:pathLst>
              </a:custGeom>
              <a:grpFill/>
              <a:ln w="9525" cap="flat">
                <a:noFill/>
                <a:prstDash val="solid"/>
                <a:miter/>
              </a:ln>
            </p:spPr>
            <p:txBody>
              <a:bodyPr rtlCol="0" anchor="ctr"/>
              <a:lstStyle/>
              <a:p>
                <a:endParaRPr lang="en-US" sz="1765"/>
              </a:p>
            </p:txBody>
          </p:sp>
          <p:sp>
            <p:nvSpPr>
              <p:cNvPr id="301" name="Freeform: Shape 300">
                <a:extLst>
                  <a:ext uri="{FF2B5EF4-FFF2-40B4-BE49-F238E27FC236}">
                    <a16:creationId xmlns:a16="http://schemas.microsoft.com/office/drawing/2014/main" id="{21CFC959-034B-485B-B937-009F38DCA364}"/>
                  </a:ext>
                </a:extLst>
              </p:cNvPr>
              <p:cNvSpPr/>
              <p:nvPr/>
            </p:nvSpPr>
            <p:spPr>
              <a:xfrm>
                <a:off x="10418474" y="4045949"/>
                <a:ext cx="23134" cy="26670"/>
              </a:xfrm>
              <a:custGeom>
                <a:avLst/>
                <a:gdLst>
                  <a:gd name="connsiteX0" fmla="*/ 22860 w 23134"/>
                  <a:gd name="connsiteY0" fmla="*/ 26670 h 26670"/>
                  <a:gd name="connsiteX1" fmla="*/ 8572 w 23134"/>
                  <a:gd name="connsiteY1" fmla="*/ 26670 h 26670"/>
                  <a:gd name="connsiteX2" fmla="*/ 0 w 23134"/>
                  <a:gd name="connsiteY2" fmla="*/ 21908 h 26670"/>
                  <a:gd name="connsiteX3" fmla="*/ 952 w 23134"/>
                  <a:gd name="connsiteY3" fmla="*/ 16192 h 26670"/>
                  <a:gd name="connsiteX4" fmla="*/ 1905 w 23134"/>
                  <a:gd name="connsiteY4" fmla="*/ 7620 h 26670"/>
                  <a:gd name="connsiteX5" fmla="*/ 1905 w 23134"/>
                  <a:gd name="connsiteY5" fmla="*/ 1905 h 26670"/>
                  <a:gd name="connsiteX6" fmla="*/ 14288 w 23134"/>
                  <a:gd name="connsiteY6" fmla="*/ 0 h 26670"/>
                  <a:gd name="connsiteX7" fmla="*/ 20002 w 23134"/>
                  <a:gd name="connsiteY7" fmla="*/ 2858 h 26670"/>
                  <a:gd name="connsiteX8" fmla="*/ 22860 w 23134"/>
                  <a:gd name="connsiteY8" fmla="*/ 6667 h 26670"/>
                  <a:gd name="connsiteX9" fmla="*/ 22860 w 23134"/>
                  <a:gd name="connsiteY9" fmla="*/ 12383 h 26670"/>
                  <a:gd name="connsiteX10" fmla="*/ 21907 w 23134"/>
                  <a:gd name="connsiteY10" fmla="*/ 18097 h 26670"/>
                  <a:gd name="connsiteX11" fmla="*/ 22860 w 23134"/>
                  <a:gd name="connsiteY11" fmla="*/ 26670 h 2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4" h="26670">
                    <a:moveTo>
                      <a:pt x="22860" y="26670"/>
                    </a:moveTo>
                    <a:lnTo>
                      <a:pt x="8572" y="26670"/>
                    </a:lnTo>
                    <a:lnTo>
                      <a:pt x="0" y="21908"/>
                    </a:lnTo>
                    <a:lnTo>
                      <a:pt x="952" y="16192"/>
                    </a:lnTo>
                    <a:lnTo>
                      <a:pt x="1905" y="7620"/>
                    </a:lnTo>
                    <a:lnTo>
                      <a:pt x="1905" y="1905"/>
                    </a:lnTo>
                    <a:lnTo>
                      <a:pt x="14288" y="0"/>
                    </a:lnTo>
                    <a:lnTo>
                      <a:pt x="20002" y="2858"/>
                    </a:lnTo>
                    <a:cubicBezTo>
                      <a:pt x="20002" y="2858"/>
                      <a:pt x="21907" y="3810"/>
                      <a:pt x="22860" y="6667"/>
                    </a:cubicBezTo>
                    <a:cubicBezTo>
                      <a:pt x="23813" y="9525"/>
                      <a:pt x="21907" y="9525"/>
                      <a:pt x="22860" y="12383"/>
                    </a:cubicBezTo>
                    <a:cubicBezTo>
                      <a:pt x="23813" y="15240"/>
                      <a:pt x="21907" y="18097"/>
                      <a:pt x="21907" y="18097"/>
                    </a:cubicBezTo>
                    <a:lnTo>
                      <a:pt x="22860" y="26670"/>
                    </a:lnTo>
                    <a:close/>
                  </a:path>
                </a:pathLst>
              </a:custGeom>
              <a:grpFill/>
              <a:ln w="9525" cap="flat">
                <a:noFill/>
                <a:prstDash val="solid"/>
                <a:miter/>
              </a:ln>
            </p:spPr>
            <p:txBody>
              <a:bodyPr rtlCol="0" anchor="ctr"/>
              <a:lstStyle/>
              <a:p>
                <a:endParaRPr lang="en-US" sz="1765"/>
              </a:p>
            </p:txBody>
          </p:sp>
          <p:sp>
            <p:nvSpPr>
              <p:cNvPr id="302" name="Freeform: Shape 301">
                <a:extLst>
                  <a:ext uri="{FF2B5EF4-FFF2-40B4-BE49-F238E27FC236}">
                    <a16:creationId xmlns:a16="http://schemas.microsoft.com/office/drawing/2014/main" id="{8BEA2459-8ECE-4B62-B8EB-2C2D385E9060}"/>
                  </a:ext>
                </a:extLst>
              </p:cNvPr>
              <p:cNvSpPr/>
              <p:nvPr/>
            </p:nvSpPr>
            <p:spPr>
              <a:xfrm>
                <a:off x="10452340" y="3586843"/>
                <a:ext cx="219608" cy="131445"/>
              </a:xfrm>
              <a:custGeom>
                <a:avLst/>
                <a:gdLst>
                  <a:gd name="connsiteX0" fmla="*/ 39475 w 219608"/>
                  <a:gd name="connsiteY0" fmla="*/ 98108 h 131445"/>
                  <a:gd name="connsiteX1" fmla="*/ 28046 w 219608"/>
                  <a:gd name="connsiteY1" fmla="*/ 99060 h 131445"/>
                  <a:gd name="connsiteX2" fmla="*/ 20425 w 219608"/>
                  <a:gd name="connsiteY2" fmla="*/ 99060 h 131445"/>
                  <a:gd name="connsiteX3" fmla="*/ 15663 w 219608"/>
                  <a:gd name="connsiteY3" fmla="*/ 100013 h 131445"/>
                  <a:gd name="connsiteX4" fmla="*/ 4233 w 219608"/>
                  <a:gd name="connsiteY4" fmla="*/ 103823 h 131445"/>
                  <a:gd name="connsiteX5" fmla="*/ 423 w 219608"/>
                  <a:gd name="connsiteY5" fmla="*/ 108585 h 131445"/>
                  <a:gd name="connsiteX6" fmla="*/ 423 w 219608"/>
                  <a:gd name="connsiteY6" fmla="*/ 111443 h 131445"/>
                  <a:gd name="connsiteX7" fmla="*/ 8996 w 219608"/>
                  <a:gd name="connsiteY7" fmla="*/ 118110 h 131445"/>
                  <a:gd name="connsiteX8" fmla="*/ 13758 w 219608"/>
                  <a:gd name="connsiteY8" fmla="*/ 120015 h 131445"/>
                  <a:gd name="connsiteX9" fmla="*/ 20425 w 219608"/>
                  <a:gd name="connsiteY9" fmla="*/ 130493 h 131445"/>
                  <a:gd name="connsiteX10" fmla="*/ 28046 w 219608"/>
                  <a:gd name="connsiteY10" fmla="*/ 131445 h 131445"/>
                  <a:gd name="connsiteX11" fmla="*/ 37571 w 219608"/>
                  <a:gd name="connsiteY11" fmla="*/ 130493 h 131445"/>
                  <a:gd name="connsiteX12" fmla="*/ 43286 w 219608"/>
                  <a:gd name="connsiteY12" fmla="*/ 127635 h 131445"/>
                  <a:gd name="connsiteX13" fmla="*/ 45191 w 219608"/>
                  <a:gd name="connsiteY13" fmla="*/ 120968 h 131445"/>
                  <a:gd name="connsiteX14" fmla="*/ 46143 w 219608"/>
                  <a:gd name="connsiteY14" fmla="*/ 114300 h 131445"/>
                  <a:gd name="connsiteX15" fmla="*/ 49953 w 219608"/>
                  <a:gd name="connsiteY15" fmla="*/ 109538 h 131445"/>
                  <a:gd name="connsiteX16" fmla="*/ 50906 w 219608"/>
                  <a:gd name="connsiteY16" fmla="*/ 105727 h 131445"/>
                  <a:gd name="connsiteX17" fmla="*/ 54716 w 219608"/>
                  <a:gd name="connsiteY17" fmla="*/ 104775 h 131445"/>
                  <a:gd name="connsiteX18" fmla="*/ 60431 w 219608"/>
                  <a:gd name="connsiteY18" fmla="*/ 103823 h 131445"/>
                  <a:gd name="connsiteX19" fmla="*/ 73766 w 219608"/>
                  <a:gd name="connsiteY19" fmla="*/ 104775 h 131445"/>
                  <a:gd name="connsiteX20" fmla="*/ 87101 w 219608"/>
                  <a:gd name="connsiteY20" fmla="*/ 104775 h 131445"/>
                  <a:gd name="connsiteX21" fmla="*/ 94721 w 219608"/>
                  <a:gd name="connsiteY21" fmla="*/ 103823 h 131445"/>
                  <a:gd name="connsiteX22" fmla="*/ 96626 w 219608"/>
                  <a:gd name="connsiteY22" fmla="*/ 100013 h 131445"/>
                  <a:gd name="connsiteX23" fmla="*/ 100436 w 219608"/>
                  <a:gd name="connsiteY23" fmla="*/ 96202 h 131445"/>
                  <a:gd name="connsiteX24" fmla="*/ 108056 w 219608"/>
                  <a:gd name="connsiteY24" fmla="*/ 96202 h 131445"/>
                  <a:gd name="connsiteX25" fmla="*/ 109008 w 219608"/>
                  <a:gd name="connsiteY25" fmla="*/ 100013 h 131445"/>
                  <a:gd name="connsiteX26" fmla="*/ 123296 w 219608"/>
                  <a:gd name="connsiteY26" fmla="*/ 101918 h 131445"/>
                  <a:gd name="connsiteX27" fmla="*/ 130916 w 219608"/>
                  <a:gd name="connsiteY27" fmla="*/ 98108 h 131445"/>
                  <a:gd name="connsiteX28" fmla="*/ 134726 w 219608"/>
                  <a:gd name="connsiteY28" fmla="*/ 89535 h 131445"/>
                  <a:gd name="connsiteX29" fmla="*/ 140441 w 219608"/>
                  <a:gd name="connsiteY29" fmla="*/ 87630 h 131445"/>
                  <a:gd name="connsiteX30" fmla="*/ 144251 w 219608"/>
                  <a:gd name="connsiteY30" fmla="*/ 87630 h 131445"/>
                  <a:gd name="connsiteX31" fmla="*/ 180446 w 219608"/>
                  <a:gd name="connsiteY31" fmla="*/ 89535 h 131445"/>
                  <a:gd name="connsiteX32" fmla="*/ 189971 w 219608"/>
                  <a:gd name="connsiteY32" fmla="*/ 89535 h 131445"/>
                  <a:gd name="connsiteX33" fmla="*/ 201401 w 219608"/>
                  <a:gd name="connsiteY33" fmla="*/ 86677 h 131445"/>
                  <a:gd name="connsiteX34" fmla="*/ 207116 w 219608"/>
                  <a:gd name="connsiteY34" fmla="*/ 84773 h 131445"/>
                  <a:gd name="connsiteX35" fmla="*/ 208068 w 219608"/>
                  <a:gd name="connsiteY35" fmla="*/ 72390 h 131445"/>
                  <a:gd name="connsiteX36" fmla="*/ 209021 w 219608"/>
                  <a:gd name="connsiteY36" fmla="*/ 65723 h 131445"/>
                  <a:gd name="connsiteX37" fmla="*/ 211878 w 219608"/>
                  <a:gd name="connsiteY37" fmla="*/ 59055 h 131445"/>
                  <a:gd name="connsiteX38" fmla="*/ 213783 w 219608"/>
                  <a:gd name="connsiteY38" fmla="*/ 54293 h 131445"/>
                  <a:gd name="connsiteX39" fmla="*/ 218546 w 219608"/>
                  <a:gd name="connsiteY39" fmla="*/ 38100 h 131445"/>
                  <a:gd name="connsiteX40" fmla="*/ 217593 w 219608"/>
                  <a:gd name="connsiteY40" fmla="*/ 19050 h 131445"/>
                  <a:gd name="connsiteX41" fmla="*/ 216641 w 219608"/>
                  <a:gd name="connsiteY41" fmla="*/ 15240 h 131445"/>
                  <a:gd name="connsiteX42" fmla="*/ 212831 w 219608"/>
                  <a:gd name="connsiteY42" fmla="*/ 952 h 131445"/>
                  <a:gd name="connsiteX43" fmla="*/ 207116 w 219608"/>
                  <a:gd name="connsiteY43" fmla="*/ 0 h 131445"/>
                  <a:gd name="connsiteX44" fmla="*/ 198543 w 219608"/>
                  <a:gd name="connsiteY44" fmla="*/ 6668 h 131445"/>
                  <a:gd name="connsiteX45" fmla="*/ 189971 w 219608"/>
                  <a:gd name="connsiteY45" fmla="*/ 13335 h 131445"/>
                  <a:gd name="connsiteX46" fmla="*/ 189018 w 219608"/>
                  <a:gd name="connsiteY46" fmla="*/ 16193 h 131445"/>
                  <a:gd name="connsiteX47" fmla="*/ 185208 w 219608"/>
                  <a:gd name="connsiteY47" fmla="*/ 20955 h 131445"/>
                  <a:gd name="connsiteX48" fmla="*/ 174731 w 219608"/>
                  <a:gd name="connsiteY48" fmla="*/ 30480 h 131445"/>
                  <a:gd name="connsiteX49" fmla="*/ 172826 w 219608"/>
                  <a:gd name="connsiteY49" fmla="*/ 34290 h 131445"/>
                  <a:gd name="connsiteX50" fmla="*/ 170921 w 219608"/>
                  <a:gd name="connsiteY50" fmla="*/ 36195 h 131445"/>
                  <a:gd name="connsiteX51" fmla="*/ 170921 w 219608"/>
                  <a:gd name="connsiteY51" fmla="*/ 36195 h 131445"/>
                  <a:gd name="connsiteX52" fmla="*/ 169016 w 219608"/>
                  <a:gd name="connsiteY52" fmla="*/ 41910 h 131445"/>
                  <a:gd name="connsiteX53" fmla="*/ 165206 w 219608"/>
                  <a:gd name="connsiteY53" fmla="*/ 48577 h 131445"/>
                  <a:gd name="connsiteX54" fmla="*/ 153776 w 219608"/>
                  <a:gd name="connsiteY54" fmla="*/ 50483 h 131445"/>
                  <a:gd name="connsiteX55" fmla="*/ 135678 w 219608"/>
                  <a:gd name="connsiteY55" fmla="*/ 54293 h 131445"/>
                  <a:gd name="connsiteX56" fmla="*/ 130916 w 219608"/>
                  <a:gd name="connsiteY56" fmla="*/ 55245 h 131445"/>
                  <a:gd name="connsiteX57" fmla="*/ 123296 w 219608"/>
                  <a:gd name="connsiteY57" fmla="*/ 60008 h 131445"/>
                  <a:gd name="connsiteX58" fmla="*/ 123296 w 219608"/>
                  <a:gd name="connsiteY58" fmla="*/ 63818 h 131445"/>
                  <a:gd name="connsiteX59" fmla="*/ 116628 w 219608"/>
                  <a:gd name="connsiteY59" fmla="*/ 67627 h 131445"/>
                  <a:gd name="connsiteX60" fmla="*/ 106151 w 219608"/>
                  <a:gd name="connsiteY60" fmla="*/ 73343 h 131445"/>
                  <a:gd name="connsiteX61" fmla="*/ 97578 w 219608"/>
                  <a:gd name="connsiteY61" fmla="*/ 74295 h 131445"/>
                  <a:gd name="connsiteX62" fmla="*/ 84243 w 219608"/>
                  <a:gd name="connsiteY62" fmla="*/ 74295 h 131445"/>
                  <a:gd name="connsiteX63" fmla="*/ 71861 w 219608"/>
                  <a:gd name="connsiteY63" fmla="*/ 75248 h 131445"/>
                  <a:gd name="connsiteX64" fmla="*/ 63288 w 219608"/>
                  <a:gd name="connsiteY64" fmla="*/ 75248 h 131445"/>
                  <a:gd name="connsiteX65" fmla="*/ 59478 w 219608"/>
                  <a:gd name="connsiteY65" fmla="*/ 77152 h 131445"/>
                  <a:gd name="connsiteX66" fmla="*/ 50906 w 219608"/>
                  <a:gd name="connsiteY66" fmla="*/ 78105 h 131445"/>
                  <a:gd name="connsiteX67" fmla="*/ 49000 w 219608"/>
                  <a:gd name="connsiteY67" fmla="*/ 80963 h 131445"/>
                  <a:gd name="connsiteX68" fmla="*/ 49000 w 219608"/>
                  <a:gd name="connsiteY68" fmla="*/ 83820 h 131445"/>
                  <a:gd name="connsiteX69" fmla="*/ 49000 w 219608"/>
                  <a:gd name="connsiteY69" fmla="*/ 87630 h 131445"/>
                  <a:gd name="connsiteX70" fmla="*/ 45191 w 219608"/>
                  <a:gd name="connsiteY70" fmla="*/ 94298 h 131445"/>
                  <a:gd name="connsiteX71" fmla="*/ 39475 w 219608"/>
                  <a:gd name="connsiteY71" fmla="*/ 98108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9608" h="131445">
                    <a:moveTo>
                      <a:pt x="39475" y="98108"/>
                    </a:moveTo>
                    <a:lnTo>
                      <a:pt x="28046" y="99060"/>
                    </a:lnTo>
                    <a:lnTo>
                      <a:pt x="20425" y="99060"/>
                    </a:lnTo>
                    <a:cubicBezTo>
                      <a:pt x="20425" y="99060"/>
                      <a:pt x="18521" y="97155"/>
                      <a:pt x="15663" y="100013"/>
                    </a:cubicBezTo>
                    <a:cubicBezTo>
                      <a:pt x="13758" y="102870"/>
                      <a:pt x="8996" y="98108"/>
                      <a:pt x="4233" y="103823"/>
                    </a:cubicBezTo>
                    <a:cubicBezTo>
                      <a:pt x="423" y="108585"/>
                      <a:pt x="423" y="105727"/>
                      <a:pt x="423" y="108585"/>
                    </a:cubicBezTo>
                    <a:cubicBezTo>
                      <a:pt x="423" y="111443"/>
                      <a:pt x="-529" y="108585"/>
                      <a:pt x="423" y="111443"/>
                    </a:cubicBezTo>
                    <a:cubicBezTo>
                      <a:pt x="1375" y="114300"/>
                      <a:pt x="8996" y="118110"/>
                      <a:pt x="8996" y="118110"/>
                    </a:cubicBezTo>
                    <a:cubicBezTo>
                      <a:pt x="8996" y="118110"/>
                      <a:pt x="10900" y="117158"/>
                      <a:pt x="13758" y="120015"/>
                    </a:cubicBezTo>
                    <a:cubicBezTo>
                      <a:pt x="15663" y="122873"/>
                      <a:pt x="20425" y="130493"/>
                      <a:pt x="20425" y="130493"/>
                    </a:cubicBezTo>
                    <a:cubicBezTo>
                      <a:pt x="20425" y="130493"/>
                      <a:pt x="22331" y="131445"/>
                      <a:pt x="28046" y="131445"/>
                    </a:cubicBezTo>
                    <a:cubicBezTo>
                      <a:pt x="33761" y="131445"/>
                      <a:pt x="37571" y="130493"/>
                      <a:pt x="37571" y="130493"/>
                    </a:cubicBezTo>
                    <a:lnTo>
                      <a:pt x="43286" y="127635"/>
                    </a:lnTo>
                    <a:lnTo>
                      <a:pt x="45191" y="120968"/>
                    </a:lnTo>
                    <a:lnTo>
                      <a:pt x="46143" y="114300"/>
                    </a:lnTo>
                    <a:lnTo>
                      <a:pt x="49953" y="109538"/>
                    </a:lnTo>
                    <a:cubicBezTo>
                      <a:pt x="49953" y="109538"/>
                      <a:pt x="48048" y="105727"/>
                      <a:pt x="50906" y="105727"/>
                    </a:cubicBezTo>
                    <a:cubicBezTo>
                      <a:pt x="54716" y="104775"/>
                      <a:pt x="54716" y="104775"/>
                      <a:pt x="54716" y="104775"/>
                    </a:cubicBezTo>
                    <a:cubicBezTo>
                      <a:pt x="54716" y="104775"/>
                      <a:pt x="56621" y="103823"/>
                      <a:pt x="60431" y="103823"/>
                    </a:cubicBezTo>
                    <a:cubicBezTo>
                      <a:pt x="63288" y="103823"/>
                      <a:pt x="73766" y="104775"/>
                      <a:pt x="73766" y="104775"/>
                    </a:cubicBezTo>
                    <a:lnTo>
                      <a:pt x="87101" y="104775"/>
                    </a:lnTo>
                    <a:lnTo>
                      <a:pt x="94721" y="103823"/>
                    </a:lnTo>
                    <a:lnTo>
                      <a:pt x="96626" y="100013"/>
                    </a:lnTo>
                    <a:lnTo>
                      <a:pt x="100436" y="96202"/>
                    </a:lnTo>
                    <a:cubicBezTo>
                      <a:pt x="100436" y="96202"/>
                      <a:pt x="107103" y="92393"/>
                      <a:pt x="108056" y="96202"/>
                    </a:cubicBezTo>
                    <a:cubicBezTo>
                      <a:pt x="109008" y="100013"/>
                      <a:pt x="109008" y="100013"/>
                      <a:pt x="109008" y="100013"/>
                    </a:cubicBezTo>
                    <a:lnTo>
                      <a:pt x="123296" y="101918"/>
                    </a:lnTo>
                    <a:lnTo>
                      <a:pt x="130916" y="98108"/>
                    </a:lnTo>
                    <a:lnTo>
                      <a:pt x="134726" y="89535"/>
                    </a:lnTo>
                    <a:cubicBezTo>
                      <a:pt x="134726" y="89535"/>
                      <a:pt x="136631" y="87630"/>
                      <a:pt x="140441" y="87630"/>
                    </a:cubicBezTo>
                    <a:cubicBezTo>
                      <a:pt x="144251" y="87630"/>
                      <a:pt x="135678" y="87630"/>
                      <a:pt x="144251" y="87630"/>
                    </a:cubicBezTo>
                    <a:cubicBezTo>
                      <a:pt x="151871" y="87630"/>
                      <a:pt x="175683" y="89535"/>
                      <a:pt x="180446" y="89535"/>
                    </a:cubicBezTo>
                    <a:cubicBezTo>
                      <a:pt x="185208" y="89535"/>
                      <a:pt x="186161" y="89535"/>
                      <a:pt x="189971" y="89535"/>
                    </a:cubicBezTo>
                    <a:cubicBezTo>
                      <a:pt x="194733" y="89535"/>
                      <a:pt x="201401" y="86677"/>
                      <a:pt x="201401" y="86677"/>
                    </a:cubicBezTo>
                    <a:lnTo>
                      <a:pt x="207116" y="84773"/>
                    </a:lnTo>
                    <a:lnTo>
                      <a:pt x="208068" y="72390"/>
                    </a:lnTo>
                    <a:cubicBezTo>
                      <a:pt x="208068" y="72390"/>
                      <a:pt x="208068" y="67627"/>
                      <a:pt x="209021" y="65723"/>
                    </a:cubicBezTo>
                    <a:cubicBezTo>
                      <a:pt x="209973" y="63818"/>
                      <a:pt x="211878" y="59055"/>
                      <a:pt x="211878" y="59055"/>
                    </a:cubicBezTo>
                    <a:lnTo>
                      <a:pt x="213783" y="54293"/>
                    </a:lnTo>
                    <a:cubicBezTo>
                      <a:pt x="213783" y="54293"/>
                      <a:pt x="215688" y="49530"/>
                      <a:pt x="218546" y="38100"/>
                    </a:cubicBezTo>
                    <a:cubicBezTo>
                      <a:pt x="221403" y="26670"/>
                      <a:pt x="217593" y="19050"/>
                      <a:pt x="217593" y="19050"/>
                    </a:cubicBezTo>
                    <a:cubicBezTo>
                      <a:pt x="217593" y="19050"/>
                      <a:pt x="216641" y="17145"/>
                      <a:pt x="216641" y="15240"/>
                    </a:cubicBezTo>
                    <a:cubicBezTo>
                      <a:pt x="216641" y="13335"/>
                      <a:pt x="212831" y="952"/>
                      <a:pt x="212831" y="952"/>
                    </a:cubicBezTo>
                    <a:lnTo>
                      <a:pt x="207116" y="0"/>
                    </a:lnTo>
                    <a:cubicBezTo>
                      <a:pt x="207116" y="0"/>
                      <a:pt x="198543" y="3810"/>
                      <a:pt x="198543" y="6668"/>
                    </a:cubicBezTo>
                    <a:cubicBezTo>
                      <a:pt x="198543" y="8573"/>
                      <a:pt x="190923" y="10477"/>
                      <a:pt x="189971" y="13335"/>
                    </a:cubicBezTo>
                    <a:cubicBezTo>
                      <a:pt x="189018" y="16193"/>
                      <a:pt x="191876" y="11430"/>
                      <a:pt x="189018" y="16193"/>
                    </a:cubicBezTo>
                    <a:cubicBezTo>
                      <a:pt x="185208" y="20955"/>
                      <a:pt x="188066" y="14288"/>
                      <a:pt x="185208" y="20955"/>
                    </a:cubicBezTo>
                    <a:cubicBezTo>
                      <a:pt x="183303" y="27623"/>
                      <a:pt x="177588" y="26670"/>
                      <a:pt x="174731" y="30480"/>
                    </a:cubicBezTo>
                    <a:cubicBezTo>
                      <a:pt x="172826" y="34290"/>
                      <a:pt x="174731" y="32385"/>
                      <a:pt x="172826" y="34290"/>
                    </a:cubicBezTo>
                    <a:cubicBezTo>
                      <a:pt x="170921" y="36195"/>
                      <a:pt x="170921" y="36195"/>
                      <a:pt x="170921" y="36195"/>
                    </a:cubicBezTo>
                    <a:cubicBezTo>
                      <a:pt x="170921" y="36195"/>
                      <a:pt x="172826" y="30480"/>
                      <a:pt x="170921" y="36195"/>
                    </a:cubicBezTo>
                    <a:cubicBezTo>
                      <a:pt x="169016" y="41910"/>
                      <a:pt x="171873" y="35243"/>
                      <a:pt x="169016" y="41910"/>
                    </a:cubicBezTo>
                    <a:cubicBezTo>
                      <a:pt x="165206" y="48577"/>
                      <a:pt x="165206" y="48577"/>
                      <a:pt x="165206" y="48577"/>
                    </a:cubicBezTo>
                    <a:cubicBezTo>
                      <a:pt x="165206" y="48577"/>
                      <a:pt x="171873" y="46673"/>
                      <a:pt x="153776" y="50483"/>
                    </a:cubicBezTo>
                    <a:cubicBezTo>
                      <a:pt x="135678" y="54293"/>
                      <a:pt x="135678" y="54293"/>
                      <a:pt x="135678" y="54293"/>
                    </a:cubicBezTo>
                    <a:lnTo>
                      <a:pt x="130916" y="55245"/>
                    </a:lnTo>
                    <a:cubicBezTo>
                      <a:pt x="130916" y="55245"/>
                      <a:pt x="123296" y="56198"/>
                      <a:pt x="123296" y="60008"/>
                    </a:cubicBezTo>
                    <a:cubicBezTo>
                      <a:pt x="123296" y="63818"/>
                      <a:pt x="123296" y="63818"/>
                      <a:pt x="123296" y="63818"/>
                    </a:cubicBezTo>
                    <a:lnTo>
                      <a:pt x="116628" y="67627"/>
                    </a:lnTo>
                    <a:cubicBezTo>
                      <a:pt x="116628" y="67627"/>
                      <a:pt x="109961" y="71438"/>
                      <a:pt x="106151" y="73343"/>
                    </a:cubicBezTo>
                    <a:cubicBezTo>
                      <a:pt x="103293" y="74295"/>
                      <a:pt x="103293" y="73343"/>
                      <a:pt x="97578" y="74295"/>
                    </a:cubicBezTo>
                    <a:cubicBezTo>
                      <a:pt x="91863" y="75248"/>
                      <a:pt x="84243" y="74295"/>
                      <a:pt x="84243" y="74295"/>
                    </a:cubicBezTo>
                    <a:lnTo>
                      <a:pt x="71861" y="75248"/>
                    </a:lnTo>
                    <a:cubicBezTo>
                      <a:pt x="71861" y="75248"/>
                      <a:pt x="66146" y="73343"/>
                      <a:pt x="63288" y="75248"/>
                    </a:cubicBezTo>
                    <a:cubicBezTo>
                      <a:pt x="59478" y="77152"/>
                      <a:pt x="59478" y="77152"/>
                      <a:pt x="59478" y="77152"/>
                    </a:cubicBezTo>
                    <a:lnTo>
                      <a:pt x="50906" y="78105"/>
                    </a:lnTo>
                    <a:cubicBezTo>
                      <a:pt x="50906" y="78105"/>
                      <a:pt x="49000" y="78105"/>
                      <a:pt x="49000" y="80963"/>
                    </a:cubicBezTo>
                    <a:cubicBezTo>
                      <a:pt x="49000" y="83820"/>
                      <a:pt x="49000" y="80010"/>
                      <a:pt x="49000" y="83820"/>
                    </a:cubicBezTo>
                    <a:cubicBezTo>
                      <a:pt x="49000" y="87630"/>
                      <a:pt x="52811" y="81915"/>
                      <a:pt x="49000" y="87630"/>
                    </a:cubicBezTo>
                    <a:cubicBezTo>
                      <a:pt x="45191" y="94298"/>
                      <a:pt x="45191" y="94298"/>
                      <a:pt x="45191" y="94298"/>
                    </a:cubicBezTo>
                    <a:lnTo>
                      <a:pt x="39475" y="98108"/>
                    </a:lnTo>
                    <a:close/>
                  </a:path>
                </a:pathLst>
              </a:custGeom>
              <a:grpFill/>
              <a:ln w="9525" cap="flat">
                <a:noFill/>
                <a:prstDash val="solid"/>
                <a:miter/>
              </a:ln>
            </p:spPr>
            <p:txBody>
              <a:bodyPr rtlCol="0" anchor="ctr"/>
              <a:lstStyle/>
              <a:p>
                <a:endParaRPr lang="en-US" sz="1765"/>
              </a:p>
            </p:txBody>
          </p:sp>
          <p:sp>
            <p:nvSpPr>
              <p:cNvPr id="303" name="Freeform: Shape 302">
                <a:extLst>
                  <a:ext uri="{FF2B5EF4-FFF2-40B4-BE49-F238E27FC236}">
                    <a16:creationId xmlns:a16="http://schemas.microsoft.com/office/drawing/2014/main" id="{90DA3CDD-069A-4169-B672-F6BBDC9082CC}"/>
                  </a:ext>
                </a:extLst>
              </p:cNvPr>
              <p:cNvSpPr/>
              <p:nvPr/>
            </p:nvSpPr>
            <p:spPr>
              <a:xfrm>
                <a:off x="10638501" y="3539007"/>
                <a:ext cx="108254" cy="38311"/>
              </a:xfrm>
              <a:custGeom>
                <a:avLst/>
                <a:gdLst>
                  <a:gd name="connsiteX0" fmla="*/ 54293 w 108254"/>
                  <a:gd name="connsiteY0" fmla="*/ 7832 h 38311"/>
                  <a:gd name="connsiteX1" fmla="*/ 49530 w 108254"/>
                  <a:gd name="connsiteY1" fmla="*/ 4022 h 38311"/>
                  <a:gd name="connsiteX2" fmla="*/ 44768 w 108254"/>
                  <a:gd name="connsiteY2" fmla="*/ 2117 h 38311"/>
                  <a:gd name="connsiteX3" fmla="*/ 32385 w 108254"/>
                  <a:gd name="connsiteY3" fmla="*/ 2117 h 38311"/>
                  <a:gd name="connsiteX4" fmla="*/ 28575 w 108254"/>
                  <a:gd name="connsiteY4" fmla="*/ 6879 h 38311"/>
                  <a:gd name="connsiteX5" fmla="*/ 23813 w 108254"/>
                  <a:gd name="connsiteY5" fmla="*/ 16404 h 38311"/>
                  <a:gd name="connsiteX6" fmla="*/ 19050 w 108254"/>
                  <a:gd name="connsiteY6" fmla="*/ 18309 h 38311"/>
                  <a:gd name="connsiteX7" fmla="*/ 11430 w 108254"/>
                  <a:gd name="connsiteY7" fmla="*/ 20214 h 38311"/>
                  <a:gd name="connsiteX8" fmla="*/ 6668 w 108254"/>
                  <a:gd name="connsiteY8" fmla="*/ 21167 h 38311"/>
                  <a:gd name="connsiteX9" fmla="*/ 1905 w 108254"/>
                  <a:gd name="connsiteY9" fmla="*/ 22119 h 38311"/>
                  <a:gd name="connsiteX10" fmla="*/ 0 w 108254"/>
                  <a:gd name="connsiteY10" fmla="*/ 28787 h 38311"/>
                  <a:gd name="connsiteX11" fmla="*/ 0 w 108254"/>
                  <a:gd name="connsiteY11" fmla="*/ 31644 h 38311"/>
                  <a:gd name="connsiteX12" fmla="*/ 4763 w 108254"/>
                  <a:gd name="connsiteY12" fmla="*/ 35454 h 38311"/>
                  <a:gd name="connsiteX13" fmla="*/ 9525 w 108254"/>
                  <a:gd name="connsiteY13" fmla="*/ 36407 h 38311"/>
                  <a:gd name="connsiteX14" fmla="*/ 22860 w 108254"/>
                  <a:gd name="connsiteY14" fmla="*/ 33549 h 38311"/>
                  <a:gd name="connsiteX15" fmla="*/ 34290 w 108254"/>
                  <a:gd name="connsiteY15" fmla="*/ 32597 h 38311"/>
                  <a:gd name="connsiteX16" fmla="*/ 40005 w 108254"/>
                  <a:gd name="connsiteY16" fmla="*/ 34502 h 38311"/>
                  <a:gd name="connsiteX17" fmla="*/ 44768 w 108254"/>
                  <a:gd name="connsiteY17" fmla="*/ 36407 h 38311"/>
                  <a:gd name="connsiteX18" fmla="*/ 60960 w 108254"/>
                  <a:gd name="connsiteY18" fmla="*/ 38312 h 38311"/>
                  <a:gd name="connsiteX19" fmla="*/ 68580 w 108254"/>
                  <a:gd name="connsiteY19" fmla="*/ 35454 h 38311"/>
                  <a:gd name="connsiteX20" fmla="*/ 72390 w 108254"/>
                  <a:gd name="connsiteY20" fmla="*/ 32597 h 38311"/>
                  <a:gd name="connsiteX21" fmla="*/ 78105 w 108254"/>
                  <a:gd name="connsiteY21" fmla="*/ 28787 h 38311"/>
                  <a:gd name="connsiteX22" fmla="*/ 90488 w 108254"/>
                  <a:gd name="connsiteY22" fmla="*/ 25929 h 38311"/>
                  <a:gd name="connsiteX23" fmla="*/ 99060 w 108254"/>
                  <a:gd name="connsiteY23" fmla="*/ 25929 h 38311"/>
                  <a:gd name="connsiteX24" fmla="*/ 105727 w 108254"/>
                  <a:gd name="connsiteY24" fmla="*/ 24024 h 38311"/>
                  <a:gd name="connsiteX25" fmla="*/ 107632 w 108254"/>
                  <a:gd name="connsiteY25" fmla="*/ 20214 h 38311"/>
                  <a:gd name="connsiteX26" fmla="*/ 107632 w 108254"/>
                  <a:gd name="connsiteY26" fmla="*/ 15452 h 38311"/>
                  <a:gd name="connsiteX27" fmla="*/ 107632 w 108254"/>
                  <a:gd name="connsiteY27" fmla="*/ 11642 h 38311"/>
                  <a:gd name="connsiteX28" fmla="*/ 106680 w 108254"/>
                  <a:gd name="connsiteY28" fmla="*/ 7832 h 38311"/>
                  <a:gd name="connsiteX29" fmla="*/ 91440 w 108254"/>
                  <a:gd name="connsiteY29" fmla="*/ 6879 h 38311"/>
                  <a:gd name="connsiteX30" fmla="*/ 83820 w 108254"/>
                  <a:gd name="connsiteY30" fmla="*/ 7832 h 38311"/>
                  <a:gd name="connsiteX31" fmla="*/ 69532 w 108254"/>
                  <a:gd name="connsiteY31" fmla="*/ 8784 h 38311"/>
                  <a:gd name="connsiteX32" fmla="*/ 63818 w 108254"/>
                  <a:gd name="connsiteY32" fmla="*/ 8784 h 38311"/>
                  <a:gd name="connsiteX33" fmla="*/ 54293 w 108254"/>
                  <a:gd name="connsiteY33" fmla="*/ 7832 h 3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8254" h="38311">
                    <a:moveTo>
                      <a:pt x="54293" y="7832"/>
                    </a:moveTo>
                    <a:lnTo>
                      <a:pt x="49530" y="4022"/>
                    </a:lnTo>
                    <a:lnTo>
                      <a:pt x="44768" y="2117"/>
                    </a:lnTo>
                    <a:cubicBezTo>
                      <a:pt x="44768" y="2117"/>
                      <a:pt x="36195" y="-2646"/>
                      <a:pt x="32385" y="2117"/>
                    </a:cubicBezTo>
                    <a:cubicBezTo>
                      <a:pt x="28575" y="6879"/>
                      <a:pt x="31432" y="2117"/>
                      <a:pt x="28575" y="6879"/>
                    </a:cubicBezTo>
                    <a:cubicBezTo>
                      <a:pt x="26670" y="11642"/>
                      <a:pt x="23813" y="16404"/>
                      <a:pt x="23813" y="16404"/>
                    </a:cubicBezTo>
                    <a:lnTo>
                      <a:pt x="19050" y="18309"/>
                    </a:lnTo>
                    <a:lnTo>
                      <a:pt x="11430" y="20214"/>
                    </a:lnTo>
                    <a:lnTo>
                      <a:pt x="6668" y="21167"/>
                    </a:lnTo>
                    <a:cubicBezTo>
                      <a:pt x="6668" y="21167"/>
                      <a:pt x="1905" y="20214"/>
                      <a:pt x="1905" y="22119"/>
                    </a:cubicBezTo>
                    <a:cubicBezTo>
                      <a:pt x="1905" y="24024"/>
                      <a:pt x="0" y="28787"/>
                      <a:pt x="0" y="28787"/>
                    </a:cubicBezTo>
                    <a:lnTo>
                      <a:pt x="0" y="31644"/>
                    </a:lnTo>
                    <a:lnTo>
                      <a:pt x="4763" y="35454"/>
                    </a:lnTo>
                    <a:cubicBezTo>
                      <a:pt x="4763" y="35454"/>
                      <a:pt x="5715" y="36407"/>
                      <a:pt x="9525" y="36407"/>
                    </a:cubicBezTo>
                    <a:cubicBezTo>
                      <a:pt x="12382" y="36407"/>
                      <a:pt x="22860" y="33549"/>
                      <a:pt x="22860" y="33549"/>
                    </a:cubicBezTo>
                    <a:lnTo>
                      <a:pt x="34290" y="32597"/>
                    </a:lnTo>
                    <a:lnTo>
                      <a:pt x="40005" y="34502"/>
                    </a:lnTo>
                    <a:lnTo>
                      <a:pt x="44768" y="36407"/>
                    </a:lnTo>
                    <a:cubicBezTo>
                      <a:pt x="52388" y="37359"/>
                      <a:pt x="60960" y="38312"/>
                      <a:pt x="60960" y="38312"/>
                    </a:cubicBezTo>
                    <a:lnTo>
                      <a:pt x="68580" y="35454"/>
                    </a:lnTo>
                    <a:lnTo>
                      <a:pt x="72390" y="32597"/>
                    </a:lnTo>
                    <a:cubicBezTo>
                      <a:pt x="72390" y="32597"/>
                      <a:pt x="73343" y="28787"/>
                      <a:pt x="78105" y="28787"/>
                    </a:cubicBezTo>
                    <a:cubicBezTo>
                      <a:pt x="82868" y="28787"/>
                      <a:pt x="85725" y="25929"/>
                      <a:pt x="90488" y="25929"/>
                    </a:cubicBezTo>
                    <a:cubicBezTo>
                      <a:pt x="95250" y="25929"/>
                      <a:pt x="99060" y="25929"/>
                      <a:pt x="99060" y="25929"/>
                    </a:cubicBezTo>
                    <a:lnTo>
                      <a:pt x="105727" y="24024"/>
                    </a:lnTo>
                    <a:lnTo>
                      <a:pt x="107632" y="20214"/>
                    </a:lnTo>
                    <a:lnTo>
                      <a:pt x="107632" y="15452"/>
                    </a:lnTo>
                    <a:lnTo>
                      <a:pt x="107632" y="11642"/>
                    </a:lnTo>
                    <a:cubicBezTo>
                      <a:pt x="107632" y="11642"/>
                      <a:pt x="109538" y="7832"/>
                      <a:pt x="106680" y="7832"/>
                    </a:cubicBezTo>
                    <a:cubicBezTo>
                      <a:pt x="103823" y="8784"/>
                      <a:pt x="91440" y="6879"/>
                      <a:pt x="91440" y="6879"/>
                    </a:cubicBezTo>
                    <a:lnTo>
                      <a:pt x="83820" y="7832"/>
                    </a:lnTo>
                    <a:lnTo>
                      <a:pt x="69532" y="8784"/>
                    </a:lnTo>
                    <a:lnTo>
                      <a:pt x="63818" y="8784"/>
                    </a:lnTo>
                    <a:lnTo>
                      <a:pt x="54293" y="7832"/>
                    </a:lnTo>
                    <a:close/>
                  </a:path>
                </a:pathLst>
              </a:custGeom>
              <a:grpFill/>
              <a:ln w="9525" cap="flat">
                <a:noFill/>
                <a:prstDash val="solid"/>
                <a:miter/>
              </a:ln>
            </p:spPr>
            <p:txBody>
              <a:bodyPr rtlCol="0" anchor="ctr"/>
              <a:lstStyle/>
              <a:p>
                <a:endParaRPr lang="en-US" sz="1765"/>
              </a:p>
            </p:txBody>
          </p:sp>
          <p:sp>
            <p:nvSpPr>
              <p:cNvPr id="304" name="Freeform: Shape 303">
                <a:extLst>
                  <a:ext uri="{FF2B5EF4-FFF2-40B4-BE49-F238E27FC236}">
                    <a16:creationId xmlns:a16="http://schemas.microsoft.com/office/drawing/2014/main" id="{C04F8238-2AA5-4CE2-B799-40350D19550A}"/>
                  </a:ext>
                </a:extLst>
              </p:cNvPr>
              <p:cNvSpPr/>
              <p:nvPr/>
            </p:nvSpPr>
            <p:spPr>
              <a:xfrm>
                <a:off x="10664219" y="3419204"/>
                <a:ext cx="51434" cy="105727"/>
              </a:xfrm>
              <a:custGeom>
                <a:avLst/>
                <a:gdLst>
                  <a:gd name="connsiteX0" fmla="*/ 0 w 51434"/>
                  <a:gd name="connsiteY0" fmla="*/ 20002 h 105727"/>
                  <a:gd name="connsiteX1" fmla="*/ 7620 w 51434"/>
                  <a:gd name="connsiteY1" fmla="*/ 29527 h 105727"/>
                  <a:gd name="connsiteX2" fmla="*/ 7620 w 51434"/>
                  <a:gd name="connsiteY2" fmla="*/ 39052 h 105727"/>
                  <a:gd name="connsiteX3" fmla="*/ 7620 w 51434"/>
                  <a:gd name="connsiteY3" fmla="*/ 45720 h 105727"/>
                  <a:gd name="connsiteX4" fmla="*/ 6668 w 51434"/>
                  <a:gd name="connsiteY4" fmla="*/ 53340 h 105727"/>
                  <a:gd name="connsiteX5" fmla="*/ 13335 w 51434"/>
                  <a:gd name="connsiteY5" fmla="*/ 65723 h 105727"/>
                  <a:gd name="connsiteX6" fmla="*/ 13335 w 51434"/>
                  <a:gd name="connsiteY6" fmla="*/ 72390 h 105727"/>
                  <a:gd name="connsiteX7" fmla="*/ 10477 w 51434"/>
                  <a:gd name="connsiteY7" fmla="*/ 81915 h 105727"/>
                  <a:gd name="connsiteX8" fmla="*/ 13335 w 51434"/>
                  <a:gd name="connsiteY8" fmla="*/ 96202 h 105727"/>
                  <a:gd name="connsiteX9" fmla="*/ 18097 w 51434"/>
                  <a:gd name="connsiteY9" fmla="*/ 100965 h 105727"/>
                  <a:gd name="connsiteX10" fmla="*/ 35243 w 51434"/>
                  <a:gd name="connsiteY10" fmla="*/ 105727 h 105727"/>
                  <a:gd name="connsiteX11" fmla="*/ 44768 w 51434"/>
                  <a:gd name="connsiteY11" fmla="*/ 104775 h 105727"/>
                  <a:gd name="connsiteX12" fmla="*/ 48577 w 51434"/>
                  <a:gd name="connsiteY12" fmla="*/ 98108 h 105727"/>
                  <a:gd name="connsiteX13" fmla="*/ 44768 w 51434"/>
                  <a:gd name="connsiteY13" fmla="*/ 85725 h 105727"/>
                  <a:gd name="connsiteX14" fmla="*/ 40005 w 51434"/>
                  <a:gd name="connsiteY14" fmla="*/ 80963 h 105727"/>
                  <a:gd name="connsiteX15" fmla="*/ 37147 w 51434"/>
                  <a:gd name="connsiteY15" fmla="*/ 71438 h 105727"/>
                  <a:gd name="connsiteX16" fmla="*/ 42863 w 51434"/>
                  <a:gd name="connsiteY16" fmla="*/ 66675 h 105727"/>
                  <a:gd name="connsiteX17" fmla="*/ 47625 w 51434"/>
                  <a:gd name="connsiteY17" fmla="*/ 62865 h 105727"/>
                  <a:gd name="connsiteX18" fmla="*/ 51435 w 51434"/>
                  <a:gd name="connsiteY18" fmla="*/ 58102 h 105727"/>
                  <a:gd name="connsiteX19" fmla="*/ 51435 w 51434"/>
                  <a:gd name="connsiteY19" fmla="*/ 48577 h 105727"/>
                  <a:gd name="connsiteX20" fmla="*/ 45720 w 51434"/>
                  <a:gd name="connsiteY20" fmla="*/ 38100 h 105727"/>
                  <a:gd name="connsiteX21" fmla="*/ 39052 w 51434"/>
                  <a:gd name="connsiteY21" fmla="*/ 27623 h 105727"/>
                  <a:gd name="connsiteX22" fmla="*/ 35243 w 51434"/>
                  <a:gd name="connsiteY22" fmla="*/ 13335 h 105727"/>
                  <a:gd name="connsiteX23" fmla="*/ 33338 w 51434"/>
                  <a:gd name="connsiteY23" fmla="*/ 6667 h 105727"/>
                  <a:gd name="connsiteX24" fmla="*/ 34290 w 51434"/>
                  <a:gd name="connsiteY24" fmla="*/ 4763 h 105727"/>
                  <a:gd name="connsiteX25" fmla="*/ 25718 w 51434"/>
                  <a:gd name="connsiteY25" fmla="*/ 0 h 105727"/>
                  <a:gd name="connsiteX26" fmla="*/ 19050 w 51434"/>
                  <a:gd name="connsiteY26" fmla="*/ 0 h 105727"/>
                  <a:gd name="connsiteX27" fmla="*/ 12382 w 51434"/>
                  <a:gd name="connsiteY27" fmla="*/ 0 h 105727"/>
                  <a:gd name="connsiteX28" fmla="*/ 5715 w 51434"/>
                  <a:gd name="connsiteY28" fmla="*/ 3810 h 105727"/>
                  <a:gd name="connsiteX29" fmla="*/ 2857 w 51434"/>
                  <a:gd name="connsiteY29" fmla="*/ 9525 h 105727"/>
                  <a:gd name="connsiteX30" fmla="*/ 0 w 51434"/>
                  <a:gd name="connsiteY30" fmla="*/ 20002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434" h="105727">
                    <a:moveTo>
                      <a:pt x="0" y="20002"/>
                    </a:moveTo>
                    <a:cubicBezTo>
                      <a:pt x="0" y="20002"/>
                      <a:pt x="6668" y="26670"/>
                      <a:pt x="7620" y="29527"/>
                    </a:cubicBezTo>
                    <a:cubicBezTo>
                      <a:pt x="8572" y="33338"/>
                      <a:pt x="6668" y="35242"/>
                      <a:pt x="7620" y="39052"/>
                    </a:cubicBezTo>
                    <a:cubicBezTo>
                      <a:pt x="8572" y="42863"/>
                      <a:pt x="8572" y="42863"/>
                      <a:pt x="7620" y="45720"/>
                    </a:cubicBezTo>
                    <a:cubicBezTo>
                      <a:pt x="6668" y="48577"/>
                      <a:pt x="6668" y="51435"/>
                      <a:pt x="6668" y="53340"/>
                    </a:cubicBezTo>
                    <a:cubicBezTo>
                      <a:pt x="6668" y="55245"/>
                      <a:pt x="12382" y="62865"/>
                      <a:pt x="13335" y="65723"/>
                    </a:cubicBezTo>
                    <a:cubicBezTo>
                      <a:pt x="14288" y="68580"/>
                      <a:pt x="12382" y="69533"/>
                      <a:pt x="13335" y="72390"/>
                    </a:cubicBezTo>
                    <a:cubicBezTo>
                      <a:pt x="14288" y="75248"/>
                      <a:pt x="11430" y="79058"/>
                      <a:pt x="10477" y="81915"/>
                    </a:cubicBezTo>
                    <a:cubicBezTo>
                      <a:pt x="10477" y="84773"/>
                      <a:pt x="9525" y="91440"/>
                      <a:pt x="13335" y="96202"/>
                    </a:cubicBezTo>
                    <a:cubicBezTo>
                      <a:pt x="18097" y="100965"/>
                      <a:pt x="18097" y="100965"/>
                      <a:pt x="18097" y="100965"/>
                    </a:cubicBezTo>
                    <a:lnTo>
                      <a:pt x="35243" y="105727"/>
                    </a:lnTo>
                    <a:lnTo>
                      <a:pt x="44768" y="104775"/>
                    </a:lnTo>
                    <a:cubicBezTo>
                      <a:pt x="44768" y="104775"/>
                      <a:pt x="46672" y="100965"/>
                      <a:pt x="48577" y="98108"/>
                    </a:cubicBezTo>
                    <a:cubicBezTo>
                      <a:pt x="49530" y="95250"/>
                      <a:pt x="44768" y="85725"/>
                      <a:pt x="44768" y="85725"/>
                    </a:cubicBezTo>
                    <a:cubicBezTo>
                      <a:pt x="44768" y="85725"/>
                      <a:pt x="39052" y="83820"/>
                      <a:pt x="40005" y="80963"/>
                    </a:cubicBezTo>
                    <a:cubicBezTo>
                      <a:pt x="40957" y="78105"/>
                      <a:pt x="37147" y="71438"/>
                      <a:pt x="37147" y="71438"/>
                    </a:cubicBezTo>
                    <a:lnTo>
                      <a:pt x="42863" y="66675"/>
                    </a:lnTo>
                    <a:lnTo>
                      <a:pt x="47625" y="62865"/>
                    </a:lnTo>
                    <a:cubicBezTo>
                      <a:pt x="47625" y="62865"/>
                      <a:pt x="50482" y="66675"/>
                      <a:pt x="51435" y="58102"/>
                    </a:cubicBezTo>
                    <a:cubicBezTo>
                      <a:pt x="51435" y="48577"/>
                      <a:pt x="51435" y="53340"/>
                      <a:pt x="51435" y="48577"/>
                    </a:cubicBezTo>
                    <a:cubicBezTo>
                      <a:pt x="51435" y="44767"/>
                      <a:pt x="47625" y="40005"/>
                      <a:pt x="45720" y="38100"/>
                    </a:cubicBezTo>
                    <a:cubicBezTo>
                      <a:pt x="44768" y="36195"/>
                      <a:pt x="38100" y="29527"/>
                      <a:pt x="39052" y="27623"/>
                    </a:cubicBezTo>
                    <a:cubicBezTo>
                      <a:pt x="40005" y="25717"/>
                      <a:pt x="34290" y="15240"/>
                      <a:pt x="35243" y="13335"/>
                    </a:cubicBezTo>
                    <a:cubicBezTo>
                      <a:pt x="36195" y="11430"/>
                      <a:pt x="32385" y="8573"/>
                      <a:pt x="33338" y="6667"/>
                    </a:cubicBezTo>
                    <a:cubicBezTo>
                      <a:pt x="34290" y="4763"/>
                      <a:pt x="34290" y="4763"/>
                      <a:pt x="34290" y="4763"/>
                    </a:cubicBezTo>
                    <a:lnTo>
                      <a:pt x="25718" y="0"/>
                    </a:lnTo>
                    <a:lnTo>
                      <a:pt x="19050" y="0"/>
                    </a:lnTo>
                    <a:lnTo>
                      <a:pt x="12382" y="0"/>
                    </a:lnTo>
                    <a:cubicBezTo>
                      <a:pt x="12382" y="0"/>
                      <a:pt x="6668" y="1905"/>
                      <a:pt x="5715" y="3810"/>
                    </a:cubicBezTo>
                    <a:cubicBezTo>
                      <a:pt x="4763" y="5715"/>
                      <a:pt x="5715" y="7620"/>
                      <a:pt x="2857" y="9525"/>
                    </a:cubicBezTo>
                    <a:cubicBezTo>
                      <a:pt x="952" y="10477"/>
                      <a:pt x="0" y="20002"/>
                      <a:pt x="0" y="20002"/>
                    </a:cubicBezTo>
                    <a:close/>
                  </a:path>
                </a:pathLst>
              </a:custGeom>
              <a:grpFill/>
              <a:ln w="9525" cap="flat">
                <a:noFill/>
                <a:prstDash val="solid"/>
                <a:miter/>
              </a:ln>
            </p:spPr>
            <p:txBody>
              <a:bodyPr rtlCol="0" anchor="ctr"/>
              <a:lstStyle/>
              <a:p>
                <a:endParaRPr lang="en-US" sz="1765"/>
              </a:p>
            </p:txBody>
          </p:sp>
          <p:sp>
            <p:nvSpPr>
              <p:cNvPr id="305" name="Freeform: Shape 304">
                <a:extLst>
                  <a:ext uri="{FF2B5EF4-FFF2-40B4-BE49-F238E27FC236}">
                    <a16:creationId xmlns:a16="http://schemas.microsoft.com/office/drawing/2014/main" id="{58A62611-E9B3-4311-8485-9A7BC22A80F3}"/>
                  </a:ext>
                </a:extLst>
              </p:cNvPr>
              <p:cNvSpPr/>
              <p:nvPr/>
            </p:nvSpPr>
            <p:spPr>
              <a:xfrm>
                <a:off x="10452354" y="4072619"/>
                <a:ext cx="355903" cy="121919"/>
              </a:xfrm>
              <a:custGeom>
                <a:avLst/>
                <a:gdLst>
                  <a:gd name="connsiteX0" fmla="*/ 101374 w 355903"/>
                  <a:gd name="connsiteY0" fmla="*/ 29527 h 121919"/>
                  <a:gd name="connsiteX1" fmla="*/ 96612 w 355903"/>
                  <a:gd name="connsiteY1" fmla="*/ 30480 h 121919"/>
                  <a:gd name="connsiteX2" fmla="*/ 83277 w 355903"/>
                  <a:gd name="connsiteY2" fmla="*/ 29527 h 121919"/>
                  <a:gd name="connsiteX3" fmla="*/ 78515 w 355903"/>
                  <a:gd name="connsiteY3" fmla="*/ 26670 h 121919"/>
                  <a:gd name="connsiteX4" fmla="*/ 73752 w 355903"/>
                  <a:gd name="connsiteY4" fmla="*/ 22860 h 121919"/>
                  <a:gd name="connsiteX5" fmla="*/ 72799 w 355903"/>
                  <a:gd name="connsiteY5" fmla="*/ 14288 h 121919"/>
                  <a:gd name="connsiteX6" fmla="*/ 72799 w 355903"/>
                  <a:gd name="connsiteY6" fmla="*/ 10477 h 121919"/>
                  <a:gd name="connsiteX7" fmla="*/ 72799 w 355903"/>
                  <a:gd name="connsiteY7" fmla="*/ 2857 h 121919"/>
                  <a:gd name="connsiteX8" fmla="*/ 67085 w 355903"/>
                  <a:gd name="connsiteY8" fmla="*/ 0 h 121919"/>
                  <a:gd name="connsiteX9" fmla="*/ 54702 w 355903"/>
                  <a:gd name="connsiteY9" fmla="*/ 952 h 121919"/>
                  <a:gd name="connsiteX10" fmla="*/ 48035 w 355903"/>
                  <a:gd name="connsiteY10" fmla="*/ 1905 h 121919"/>
                  <a:gd name="connsiteX11" fmla="*/ 35652 w 355903"/>
                  <a:gd name="connsiteY11" fmla="*/ 4763 h 121919"/>
                  <a:gd name="connsiteX12" fmla="*/ 24222 w 355903"/>
                  <a:gd name="connsiteY12" fmla="*/ 3810 h 121919"/>
                  <a:gd name="connsiteX13" fmla="*/ 17555 w 355903"/>
                  <a:gd name="connsiteY13" fmla="*/ 5715 h 121919"/>
                  <a:gd name="connsiteX14" fmla="*/ 5172 w 355903"/>
                  <a:gd name="connsiteY14" fmla="*/ 9525 h 121919"/>
                  <a:gd name="connsiteX15" fmla="*/ 3267 w 355903"/>
                  <a:gd name="connsiteY15" fmla="*/ 12382 h 121919"/>
                  <a:gd name="connsiteX16" fmla="*/ 2315 w 355903"/>
                  <a:gd name="connsiteY16" fmla="*/ 15240 h 121919"/>
                  <a:gd name="connsiteX17" fmla="*/ 13745 w 355903"/>
                  <a:gd name="connsiteY17" fmla="*/ 17145 h 121919"/>
                  <a:gd name="connsiteX18" fmla="*/ 22317 w 355903"/>
                  <a:gd name="connsiteY18" fmla="*/ 14288 h 121919"/>
                  <a:gd name="connsiteX19" fmla="*/ 38510 w 355903"/>
                  <a:gd name="connsiteY19" fmla="*/ 20002 h 121919"/>
                  <a:gd name="connsiteX20" fmla="*/ 39462 w 355903"/>
                  <a:gd name="connsiteY20" fmla="*/ 31432 h 121919"/>
                  <a:gd name="connsiteX21" fmla="*/ 37557 w 355903"/>
                  <a:gd name="connsiteY21" fmla="*/ 38100 h 121919"/>
                  <a:gd name="connsiteX22" fmla="*/ 50892 w 355903"/>
                  <a:gd name="connsiteY22" fmla="*/ 45720 h 121919"/>
                  <a:gd name="connsiteX23" fmla="*/ 57560 w 355903"/>
                  <a:gd name="connsiteY23" fmla="*/ 45720 h 121919"/>
                  <a:gd name="connsiteX24" fmla="*/ 58512 w 355903"/>
                  <a:gd name="connsiteY24" fmla="*/ 47625 h 121919"/>
                  <a:gd name="connsiteX25" fmla="*/ 79467 w 355903"/>
                  <a:gd name="connsiteY25" fmla="*/ 49530 h 121919"/>
                  <a:gd name="connsiteX26" fmla="*/ 93755 w 355903"/>
                  <a:gd name="connsiteY26" fmla="*/ 48577 h 121919"/>
                  <a:gd name="connsiteX27" fmla="*/ 108995 w 355903"/>
                  <a:gd name="connsiteY27" fmla="*/ 50482 h 121919"/>
                  <a:gd name="connsiteX28" fmla="*/ 115662 w 355903"/>
                  <a:gd name="connsiteY28" fmla="*/ 49530 h 121919"/>
                  <a:gd name="connsiteX29" fmla="*/ 118520 w 355903"/>
                  <a:gd name="connsiteY29" fmla="*/ 51435 h 121919"/>
                  <a:gd name="connsiteX30" fmla="*/ 128045 w 355903"/>
                  <a:gd name="connsiteY30" fmla="*/ 57150 h 121919"/>
                  <a:gd name="connsiteX31" fmla="*/ 137570 w 355903"/>
                  <a:gd name="connsiteY31" fmla="*/ 61913 h 121919"/>
                  <a:gd name="connsiteX32" fmla="*/ 147095 w 355903"/>
                  <a:gd name="connsiteY32" fmla="*/ 70485 h 121919"/>
                  <a:gd name="connsiteX33" fmla="*/ 147095 w 355903"/>
                  <a:gd name="connsiteY33" fmla="*/ 77152 h 121919"/>
                  <a:gd name="connsiteX34" fmla="*/ 142332 w 355903"/>
                  <a:gd name="connsiteY34" fmla="*/ 81915 h 121919"/>
                  <a:gd name="connsiteX35" fmla="*/ 141380 w 355903"/>
                  <a:gd name="connsiteY35" fmla="*/ 84772 h 121919"/>
                  <a:gd name="connsiteX36" fmla="*/ 135665 w 355903"/>
                  <a:gd name="connsiteY36" fmla="*/ 85725 h 121919"/>
                  <a:gd name="connsiteX37" fmla="*/ 134712 w 355903"/>
                  <a:gd name="connsiteY37" fmla="*/ 87630 h 121919"/>
                  <a:gd name="connsiteX38" fmla="*/ 128997 w 355903"/>
                  <a:gd name="connsiteY38" fmla="*/ 94297 h 121919"/>
                  <a:gd name="connsiteX39" fmla="*/ 148047 w 355903"/>
                  <a:gd name="connsiteY39" fmla="*/ 99060 h 121919"/>
                  <a:gd name="connsiteX40" fmla="*/ 150905 w 355903"/>
                  <a:gd name="connsiteY40" fmla="*/ 99060 h 121919"/>
                  <a:gd name="connsiteX41" fmla="*/ 159477 w 355903"/>
                  <a:gd name="connsiteY41" fmla="*/ 93345 h 121919"/>
                  <a:gd name="connsiteX42" fmla="*/ 175670 w 355903"/>
                  <a:gd name="connsiteY42" fmla="*/ 95250 h 121919"/>
                  <a:gd name="connsiteX43" fmla="*/ 183290 w 355903"/>
                  <a:gd name="connsiteY43" fmla="*/ 99060 h 121919"/>
                  <a:gd name="connsiteX44" fmla="*/ 186147 w 355903"/>
                  <a:gd name="connsiteY44" fmla="*/ 104775 h 121919"/>
                  <a:gd name="connsiteX45" fmla="*/ 189005 w 355903"/>
                  <a:gd name="connsiteY45" fmla="*/ 109538 h 121919"/>
                  <a:gd name="connsiteX46" fmla="*/ 209007 w 355903"/>
                  <a:gd name="connsiteY46" fmla="*/ 112395 h 121919"/>
                  <a:gd name="connsiteX47" fmla="*/ 217580 w 355903"/>
                  <a:gd name="connsiteY47" fmla="*/ 110490 h 121919"/>
                  <a:gd name="connsiteX48" fmla="*/ 226152 w 355903"/>
                  <a:gd name="connsiteY48" fmla="*/ 109538 h 121919"/>
                  <a:gd name="connsiteX49" fmla="*/ 233772 w 355903"/>
                  <a:gd name="connsiteY49" fmla="*/ 105727 h 121919"/>
                  <a:gd name="connsiteX50" fmla="*/ 237582 w 355903"/>
                  <a:gd name="connsiteY50" fmla="*/ 97155 h 121919"/>
                  <a:gd name="connsiteX51" fmla="*/ 239487 w 355903"/>
                  <a:gd name="connsiteY51" fmla="*/ 93345 h 121919"/>
                  <a:gd name="connsiteX52" fmla="*/ 259490 w 355903"/>
                  <a:gd name="connsiteY52" fmla="*/ 90488 h 121919"/>
                  <a:gd name="connsiteX53" fmla="*/ 270920 w 355903"/>
                  <a:gd name="connsiteY53" fmla="*/ 90488 h 121919"/>
                  <a:gd name="connsiteX54" fmla="*/ 275682 w 355903"/>
                  <a:gd name="connsiteY54" fmla="*/ 93345 h 121919"/>
                  <a:gd name="connsiteX55" fmla="*/ 283302 w 355903"/>
                  <a:gd name="connsiteY55" fmla="*/ 100013 h 121919"/>
                  <a:gd name="connsiteX56" fmla="*/ 289017 w 355903"/>
                  <a:gd name="connsiteY56" fmla="*/ 105727 h 121919"/>
                  <a:gd name="connsiteX57" fmla="*/ 295685 w 355903"/>
                  <a:gd name="connsiteY57" fmla="*/ 109538 h 121919"/>
                  <a:gd name="connsiteX58" fmla="*/ 297590 w 355903"/>
                  <a:gd name="connsiteY58" fmla="*/ 112395 h 121919"/>
                  <a:gd name="connsiteX59" fmla="*/ 313782 w 355903"/>
                  <a:gd name="connsiteY59" fmla="*/ 120015 h 121919"/>
                  <a:gd name="connsiteX60" fmla="*/ 319497 w 355903"/>
                  <a:gd name="connsiteY60" fmla="*/ 121920 h 121919"/>
                  <a:gd name="connsiteX61" fmla="*/ 324260 w 355903"/>
                  <a:gd name="connsiteY61" fmla="*/ 121920 h 121919"/>
                  <a:gd name="connsiteX62" fmla="*/ 340452 w 355903"/>
                  <a:gd name="connsiteY62" fmla="*/ 121920 h 121919"/>
                  <a:gd name="connsiteX63" fmla="*/ 346167 w 355903"/>
                  <a:gd name="connsiteY63" fmla="*/ 119063 h 121919"/>
                  <a:gd name="connsiteX64" fmla="*/ 349977 w 355903"/>
                  <a:gd name="connsiteY64" fmla="*/ 119063 h 121919"/>
                  <a:gd name="connsiteX65" fmla="*/ 353787 w 355903"/>
                  <a:gd name="connsiteY65" fmla="*/ 115252 h 121919"/>
                  <a:gd name="connsiteX66" fmla="*/ 353787 w 355903"/>
                  <a:gd name="connsiteY66" fmla="*/ 111442 h 121919"/>
                  <a:gd name="connsiteX67" fmla="*/ 349024 w 355903"/>
                  <a:gd name="connsiteY67" fmla="*/ 109538 h 121919"/>
                  <a:gd name="connsiteX68" fmla="*/ 338547 w 355903"/>
                  <a:gd name="connsiteY68" fmla="*/ 101917 h 121919"/>
                  <a:gd name="connsiteX69" fmla="*/ 332832 w 355903"/>
                  <a:gd name="connsiteY69" fmla="*/ 94297 h 121919"/>
                  <a:gd name="connsiteX70" fmla="*/ 329022 w 355903"/>
                  <a:gd name="connsiteY70" fmla="*/ 89535 h 121919"/>
                  <a:gd name="connsiteX71" fmla="*/ 317592 w 355903"/>
                  <a:gd name="connsiteY71" fmla="*/ 84772 h 121919"/>
                  <a:gd name="connsiteX72" fmla="*/ 301399 w 355903"/>
                  <a:gd name="connsiteY72" fmla="*/ 76200 h 121919"/>
                  <a:gd name="connsiteX73" fmla="*/ 293780 w 355903"/>
                  <a:gd name="connsiteY73" fmla="*/ 68580 h 121919"/>
                  <a:gd name="connsiteX74" fmla="*/ 284255 w 355903"/>
                  <a:gd name="connsiteY74" fmla="*/ 60960 h 121919"/>
                  <a:gd name="connsiteX75" fmla="*/ 273777 w 355903"/>
                  <a:gd name="connsiteY75" fmla="*/ 56197 h 121919"/>
                  <a:gd name="connsiteX76" fmla="*/ 251870 w 355903"/>
                  <a:gd name="connsiteY76" fmla="*/ 49530 h 121919"/>
                  <a:gd name="connsiteX77" fmla="*/ 242345 w 355903"/>
                  <a:gd name="connsiteY77" fmla="*/ 44767 h 121919"/>
                  <a:gd name="connsiteX78" fmla="*/ 229962 w 355903"/>
                  <a:gd name="connsiteY78" fmla="*/ 37147 h 121919"/>
                  <a:gd name="connsiteX79" fmla="*/ 220437 w 355903"/>
                  <a:gd name="connsiteY79" fmla="*/ 32385 h 121919"/>
                  <a:gd name="connsiteX80" fmla="*/ 203292 w 355903"/>
                  <a:gd name="connsiteY80" fmla="*/ 26670 h 121919"/>
                  <a:gd name="connsiteX81" fmla="*/ 187099 w 355903"/>
                  <a:gd name="connsiteY81" fmla="*/ 22860 h 121919"/>
                  <a:gd name="connsiteX82" fmla="*/ 168049 w 355903"/>
                  <a:gd name="connsiteY82" fmla="*/ 19050 h 121919"/>
                  <a:gd name="connsiteX83" fmla="*/ 153762 w 355903"/>
                  <a:gd name="connsiteY83" fmla="*/ 19050 h 121919"/>
                  <a:gd name="connsiteX84" fmla="*/ 142332 w 355903"/>
                  <a:gd name="connsiteY84" fmla="*/ 17145 h 121919"/>
                  <a:gd name="connsiteX85" fmla="*/ 128045 w 355903"/>
                  <a:gd name="connsiteY85" fmla="*/ 18097 h 121919"/>
                  <a:gd name="connsiteX86" fmla="*/ 118520 w 355903"/>
                  <a:gd name="connsiteY86" fmla="*/ 20002 h 121919"/>
                  <a:gd name="connsiteX87" fmla="*/ 116615 w 355903"/>
                  <a:gd name="connsiteY87" fmla="*/ 21907 h 121919"/>
                  <a:gd name="connsiteX88" fmla="*/ 101374 w 355903"/>
                  <a:gd name="connsiteY88" fmla="*/ 29527 h 1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55903" h="121919">
                    <a:moveTo>
                      <a:pt x="101374" y="29527"/>
                    </a:moveTo>
                    <a:cubicBezTo>
                      <a:pt x="101374" y="29527"/>
                      <a:pt x="100422" y="30480"/>
                      <a:pt x="96612" y="30480"/>
                    </a:cubicBezTo>
                    <a:cubicBezTo>
                      <a:pt x="93755" y="30480"/>
                      <a:pt x="83277" y="29527"/>
                      <a:pt x="83277" y="29527"/>
                    </a:cubicBezTo>
                    <a:lnTo>
                      <a:pt x="78515" y="26670"/>
                    </a:lnTo>
                    <a:lnTo>
                      <a:pt x="73752" y="22860"/>
                    </a:lnTo>
                    <a:lnTo>
                      <a:pt x="72799" y="14288"/>
                    </a:lnTo>
                    <a:lnTo>
                      <a:pt x="72799" y="10477"/>
                    </a:lnTo>
                    <a:lnTo>
                      <a:pt x="72799" y="2857"/>
                    </a:lnTo>
                    <a:lnTo>
                      <a:pt x="67085" y="0"/>
                    </a:lnTo>
                    <a:lnTo>
                      <a:pt x="54702" y="952"/>
                    </a:lnTo>
                    <a:cubicBezTo>
                      <a:pt x="54702" y="952"/>
                      <a:pt x="51845" y="-953"/>
                      <a:pt x="48035" y="1905"/>
                    </a:cubicBezTo>
                    <a:cubicBezTo>
                      <a:pt x="44224" y="4763"/>
                      <a:pt x="40415" y="3810"/>
                      <a:pt x="35652" y="4763"/>
                    </a:cubicBezTo>
                    <a:cubicBezTo>
                      <a:pt x="30890" y="5715"/>
                      <a:pt x="24222" y="3810"/>
                      <a:pt x="24222" y="3810"/>
                    </a:cubicBezTo>
                    <a:lnTo>
                      <a:pt x="17555" y="5715"/>
                    </a:lnTo>
                    <a:lnTo>
                      <a:pt x="5172" y="9525"/>
                    </a:lnTo>
                    <a:lnTo>
                      <a:pt x="3267" y="12382"/>
                    </a:lnTo>
                    <a:cubicBezTo>
                      <a:pt x="3267" y="12382"/>
                      <a:pt x="-3401" y="13335"/>
                      <a:pt x="2315" y="15240"/>
                    </a:cubicBezTo>
                    <a:cubicBezTo>
                      <a:pt x="8030" y="17145"/>
                      <a:pt x="13745" y="17145"/>
                      <a:pt x="13745" y="17145"/>
                    </a:cubicBezTo>
                    <a:lnTo>
                      <a:pt x="22317" y="14288"/>
                    </a:lnTo>
                    <a:cubicBezTo>
                      <a:pt x="28985" y="19050"/>
                      <a:pt x="37557" y="8572"/>
                      <a:pt x="38510" y="20002"/>
                    </a:cubicBezTo>
                    <a:cubicBezTo>
                      <a:pt x="39462" y="31432"/>
                      <a:pt x="40415" y="27622"/>
                      <a:pt x="39462" y="31432"/>
                    </a:cubicBezTo>
                    <a:cubicBezTo>
                      <a:pt x="38510" y="35242"/>
                      <a:pt x="37557" y="38100"/>
                      <a:pt x="37557" y="38100"/>
                    </a:cubicBezTo>
                    <a:lnTo>
                      <a:pt x="50892" y="45720"/>
                    </a:lnTo>
                    <a:cubicBezTo>
                      <a:pt x="50892" y="45720"/>
                      <a:pt x="56607" y="43815"/>
                      <a:pt x="57560" y="45720"/>
                    </a:cubicBezTo>
                    <a:cubicBezTo>
                      <a:pt x="58512" y="47625"/>
                      <a:pt x="58512" y="47625"/>
                      <a:pt x="58512" y="47625"/>
                    </a:cubicBezTo>
                    <a:lnTo>
                      <a:pt x="79467" y="49530"/>
                    </a:lnTo>
                    <a:lnTo>
                      <a:pt x="93755" y="48577"/>
                    </a:lnTo>
                    <a:lnTo>
                      <a:pt x="108995" y="50482"/>
                    </a:lnTo>
                    <a:cubicBezTo>
                      <a:pt x="108995" y="50482"/>
                      <a:pt x="111852" y="48577"/>
                      <a:pt x="115662" y="49530"/>
                    </a:cubicBezTo>
                    <a:cubicBezTo>
                      <a:pt x="118520" y="51435"/>
                      <a:pt x="115662" y="48577"/>
                      <a:pt x="118520" y="51435"/>
                    </a:cubicBezTo>
                    <a:cubicBezTo>
                      <a:pt x="121377" y="54292"/>
                      <a:pt x="127092" y="53340"/>
                      <a:pt x="128045" y="57150"/>
                    </a:cubicBezTo>
                    <a:cubicBezTo>
                      <a:pt x="128997" y="60960"/>
                      <a:pt x="128045" y="53340"/>
                      <a:pt x="137570" y="61913"/>
                    </a:cubicBezTo>
                    <a:cubicBezTo>
                      <a:pt x="147095" y="70485"/>
                      <a:pt x="147095" y="66675"/>
                      <a:pt x="147095" y="70485"/>
                    </a:cubicBezTo>
                    <a:cubicBezTo>
                      <a:pt x="147095" y="74295"/>
                      <a:pt x="147095" y="77152"/>
                      <a:pt x="147095" y="77152"/>
                    </a:cubicBezTo>
                    <a:cubicBezTo>
                      <a:pt x="147095" y="77152"/>
                      <a:pt x="143285" y="79057"/>
                      <a:pt x="142332" y="81915"/>
                    </a:cubicBezTo>
                    <a:cubicBezTo>
                      <a:pt x="141380" y="84772"/>
                      <a:pt x="141380" y="84772"/>
                      <a:pt x="141380" y="84772"/>
                    </a:cubicBezTo>
                    <a:cubicBezTo>
                      <a:pt x="141380" y="84772"/>
                      <a:pt x="136617" y="83820"/>
                      <a:pt x="135665" y="85725"/>
                    </a:cubicBezTo>
                    <a:cubicBezTo>
                      <a:pt x="134712" y="87630"/>
                      <a:pt x="140427" y="80963"/>
                      <a:pt x="134712" y="87630"/>
                    </a:cubicBezTo>
                    <a:cubicBezTo>
                      <a:pt x="128997" y="94297"/>
                      <a:pt x="128997" y="94297"/>
                      <a:pt x="128997" y="94297"/>
                    </a:cubicBezTo>
                    <a:cubicBezTo>
                      <a:pt x="128997" y="94297"/>
                      <a:pt x="144237" y="99060"/>
                      <a:pt x="148047" y="99060"/>
                    </a:cubicBezTo>
                    <a:cubicBezTo>
                      <a:pt x="150905" y="99060"/>
                      <a:pt x="150905" y="99060"/>
                      <a:pt x="150905" y="99060"/>
                    </a:cubicBezTo>
                    <a:cubicBezTo>
                      <a:pt x="150905" y="99060"/>
                      <a:pt x="143285" y="91440"/>
                      <a:pt x="159477" y="93345"/>
                    </a:cubicBezTo>
                    <a:cubicBezTo>
                      <a:pt x="175670" y="95250"/>
                      <a:pt x="175670" y="95250"/>
                      <a:pt x="175670" y="95250"/>
                    </a:cubicBezTo>
                    <a:lnTo>
                      <a:pt x="183290" y="99060"/>
                    </a:lnTo>
                    <a:cubicBezTo>
                      <a:pt x="183290" y="99060"/>
                      <a:pt x="183290" y="100013"/>
                      <a:pt x="186147" y="104775"/>
                    </a:cubicBezTo>
                    <a:cubicBezTo>
                      <a:pt x="189005" y="109538"/>
                      <a:pt x="177574" y="104775"/>
                      <a:pt x="189005" y="109538"/>
                    </a:cubicBezTo>
                    <a:cubicBezTo>
                      <a:pt x="201387" y="114300"/>
                      <a:pt x="205197" y="112395"/>
                      <a:pt x="209007" y="112395"/>
                    </a:cubicBezTo>
                    <a:cubicBezTo>
                      <a:pt x="211865" y="112395"/>
                      <a:pt x="217580" y="110490"/>
                      <a:pt x="217580" y="110490"/>
                    </a:cubicBezTo>
                    <a:cubicBezTo>
                      <a:pt x="217580" y="110490"/>
                      <a:pt x="219485" y="108585"/>
                      <a:pt x="226152" y="109538"/>
                    </a:cubicBezTo>
                    <a:cubicBezTo>
                      <a:pt x="232820" y="110490"/>
                      <a:pt x="233772" y="105727"/>
                      <a:pt x="233772" y="105727"/>
                    </a:cubicBezTo>
                    <a:lnTo>
                      <a:pt x="237582" y="97155"/>
                    </a:lnTo>
                    <a:lnTo>
                      <a:pt x="239487" y="93345"/>
                    </a:lnTo>
                    <a:cubicBezTo>
                      <a:pt x="254727" y="91440"/>
                      <a:pt x="259490" y="90488"/>
                      <a:pt x="259490" y="90488"/>
                    </a:cubicBezTo>
                    <a:lnTo>
                      <a:pt x="270920" y="90488"/>
                    </a:lnTo>
                    <a:cubicBezTo>
                      <a:pt x="270920" y="90488"/>
                      <a:pt x="273777" y="91440"/>
                      <a:pt x="275682" y="93345"/>
                    </a:cubicBezTo>
                    <a:cubicBezTo>
                      <a:pt x="276635" y="95250"/>
                      <a:pt x="282349" y="98107"/>
                      <a:pt x="283302" y="100013"/>
                    </a:cubicBezTo>
                    <a:cubicBezTo>
                      <a:pt x="284255" y="101917"/>
                      <a:pt x="289017" y="105727"/>
                      <a:pt x="289017" y="105727"/>
                    </a:cubicBezTo>
                    <a:cubicBezTo>
                      <a:pt x="289017" y="105727"/>
                      <a:pt x="293780" y="106680"/>
                      <a:pt x="295685" y="109538"/>
                    </a:cubicBezTo>
                    <a:cubicBezTo>
                      <a:pt x="297590" y="112395"/>
                      <a:pt x="290922" y="109538"/>
                      <a:pt x="297590" y="112395"/>
                    </a:cubicBezTo>
                    <a:cubicBezTo>
                      <a:pt x="304257" y="115252"/>
                      <a:pt x="308067" y="117157"/>
                      <a:pt x="313782" y="120015"/>
                    </a:cubicBezTo>
                    <a:cubicBezTo>
                      <a:pt x="319497" y="121920"/>
                      <a:pt x="314735" y="121920"/>
                      <a:pt x="319497" y="121920"/>
                    </a:cubicBezTo>
                    <a:cubicBezTo>
                      <a:pt x="324260" y="121920"/>
                      <a:pt x="317592" y="121920"/>
                      <a:pt x="324260" y="121920"/>
                    </a:cubicBezTo>
                    <a:cubicBezTo>
                      <a:pt x="330927" y="121920"/>
                      <a:pt x="340452" y="121920"/>
                      <a:pt x="340452" y="121920"/>
                    </a:cubicBezTo>
                    <a:cubicBezTo>
                      <a:pt x="340452" y="121920"/>
                      <a:pt x="342357" y="119063"/>
                      <a:pt x="346167" y="119063"/>
                    </a:cubicBezTo>
                    <a:cubicBezTo>
                      <a:pt x="349977" y="119063"/>
                      <a:pt x="349977" y="119063"/>
                      <a:pt x="349977" y="119063"/>
                    </a:cubicBezTo>
                    <a:lnTo>
                      <a:pt x="353787" y="115252"/>
                    </a:lnTo>
                    <a:cubicBezTo>
                      <a:pt x="353787" y="115252"/>
                      <a:pt x="358549" y="112395"/>
                      <a:pt x="353787" y="111442"/>
                    </a:cubicBezTo>
                    <a:cubicBezTo>
                      <a:pt x="349024" y="109538"/>
                      <a:pt x="354740" y="112395"/>
                      <a:pt x="349024" y="109538"/>
                    </a:cubicBezTo>
                    <a:cubicBezTo>
                      <a:pt x="343310" y="106680"/>
                      <a:pt x="338547" y="104775"/>
                      <a:pt x="338547" y="101917"/>
                    </a:cubicBezTo>
                    <a:cubicBezTo>
                      <a:pt x="338547" y="100013"/>
                      <a:pt x="335690" y="96202"/>
                      <a:pt x="332832" y="94297"/>
                    </a:cubicBezTo>
                    <a:cubicBezTo>
                      <a:pt x="330927" y="92392"/>
                      <a:pt x="333785" y="90488"/>
                      <a:pt x="329022" y="89535"/>
                    </a:cubicBezTo>
                    <a:cubicBezTo>
                      <a:pt x="323307" y="87630"/>
                      <a:pt x="321402" y="85725"/>
                      <a:pt x="317592" y="84772"/>
                    </a:cubicBezTo>
                    <a:cubicBezTo>
                      <a:pt x="314735" y="83820"/>
                      <a:pt x="301399" y="76200"/>
                      <a:pt x="301399" y="76200"/>
                    </a:cubicBezTo>
                    <a:lnTo>
                      <a:pt x="293780" y="68580"/>
                    </a:lnTo>
                    <a:lnTo>
                      <a:pt x="284255" y="60960"/>
                    </a:lnTo>
                    <a:cubicBezTo>
                      <a:pt x="284255" y="60960"/>
                      <a:pt x="276635" y="56197"/>
                      <a:pt x="273777" y="56197"/>
                    </a:cubicBezTo>
                    <a:cubicBezTo>
                      <a:pt x="270920" y="56197"/>
                      <a:pt x="256632" y="50482"/>
                      <a:pt x="251870" y="49530"/>
                    </a:cubicBezTo>
                    <a:cubicBezTo>
                      <a:pt x="247107" y="48577"/>
                      <a:pt x="242345" y="44767"/>
                      <a:pt x="242345" y="44767"/>
                    </a:cubicBezTo>
                    <a:lnTo>
                      <a:pt x="229962" y="37147"/>
                    </a:lnTo>
                    <a:lnTo>
                      <a:pt x="220437" y="32385"/>
                    </a:lnTo>
                    <a:cubicBezTo>
                      <a:pt x="220437" y="32385"/>
                      <a:pt x="207102" y="27622"/>
                      <a:pt x="203292" y="26670"/>
                    </a:cubicBezTo>
                    <a:cubicBezTo>
                      <a:pt x="198530" y="25717"/>
                      <a:pt x="187099" y="22860"/>
                      <a:pt x="187099" y="22860"/>
                    </a:cubicBezTo>
                    <a:lnTo>
                      <a:pt x="168049" y="19050"/>
                    </a:lnTo>
                    <a:lnTo>
                      <a:pt x="153762" y="19050"/>
                    </a:lnTo>
                    <a:cubicBezTo>
                      <a:pt x="153762" y="19050"/>
                      <a:pt x="151857" y="17145"/>
                      <a:pt x="142332" y="17145"/>
                    </a:cubicBezTo>
                    <a:cubicBezTo>
                      <a:pt x="133760" y="18097"/>
                      <a:pt x="128045" y="18097"/>
                      <a:pt x="128045" y="18097"/>
                    </a:cubicBezTo>
                    <a:cubicBezTo>
                      <a:pt x="128045" y="18097"/>
                      <a:pt x="120424" y="18097"/>
                      <a:pt x="118520" y="20002"/>
                    </a:cubicBezTo>
                    <a:cubicBezTo>
                      <a:pt x="116615" y="21907"/>
                      <a:pt x="116615" y="21907"/>
                      <a:pt x="116615" y="21907"/>
                    </a:cubicBezTo>
                    <a:lnTo>
                      <a:pt x="101374" y="29527"/>
                    </a:lnTo>
                    <a:close/>
                  </a:path>
                </a:pathLst>
              </a:custGeom>
              <a:grpFill/>
              <a:ln w="9525" cap="flat">
                <a:noFill/>
                <a:prstDash val="solid"/>
                <a:miter/>
              </a:ln>
            </p:spPr>
            <p:txBody>
              <a:bodyPr rtlCol="0" anchor="ctr"/>
              <a:lstStyle/>
              <a:p>
                <a:endParaRPr lang="en-US" sz="1765"/>
              </a:p>
            </p:txBody>
          </p:sp>
          <p:sp>
            <p:nvSpPr>
              <p:cNvPr id="306" name="Freeform: Shape 305">
                <a:extLst>
                  <a:ext uri="{FF2B5EF4-FFF2-40B4-BE49-F238E27FC236}">
                    <a16:creationId xmlns:a16="http://schemas.microsoft.com/office/drawing/2014/main" id="{EDAFFD90-C02B-4FEE-8A81-F2B558747201}"/>
                  </a:ext>
                </a:extLst>
              </p:cNvPr>
              <p:cNvSpPr/>
              <p:nvPr/>
            </p:nvSpPr>
            <p:spPr>
              <a:xfrm>
                <a:off x="10779471" y="4121196"/>
                <a:ext cx="65722" cy="27622"/>
              </a:xfrm>
              <a:custGeom>
                <a:avLst/>
                <a:gdLst>
                  <a:gd name="connsiteX0" fmla="*/ 65723 w 65722"/>
                  <a:gd name="connsiteY0" fmla="*/ 4763 h 27622"/>
                  <a:gd name="connsiteX1" fmla="*/ 58103 w 65722"/>
                  <a:gd name="connsiteY1" fmla="*/ 16192 h 27622"/>
                  <a:gd name="connsiteX2" fmla="*/ 56198 w 65722"/>
                  <a:gd name="connsiteY2" fmla="*/ 20003 h 27622"/>
                  <a:gd name="connsiteX3" fmla="*/ 44768 w 65722"/>
                  <a:gd name="connsiteY3" fmla="*/ 27623 h 27622"/>
                  <a:gd name="connsiteX4" fmla="*/ 36195 w 65722"/>
                  <a:gd name="connsiteY4" fmla="*/ 26670 h 27622"/>
                  <a:gd name="connsiteX5" fmla="*/ 31432 w 65722"/>
                  <a:gd name="connsiteY5" fmla="*/ 24765 h 27622"/>
                  <a:gd name="connsiteX6" fmla="*/ 24765 w 65722"/>
                  <a:gd name="connsiteY6" fmla="*/ 24765 h 27622"/>
                  <a:gd name="connsiteX7" fmla="*/ 15240 w 65722"/>
                  <a:gd name="connsiteY7" fmla="*/ 25717 h 27622"/>
                  <a:gd name="connsiteX8" fmla="*/ 8573 w 65722"/>
                  <a:gd name="connsiteY8" fmla="*/ 26670 h 27622"/>
                  <a:gd name="connsiteX9" fmla="*/ 0 w 65722"/>
                  <a:gd name="connsiteY9" fmla="*/ 18098 h 27622"/>
                  <a:gd name="connsiteX10" fmla="*/ 5715 w 65722"/>
                  <a:gd name="connsiteY10" fmla="*/ 16192 h 27622"/>
                  <a:gd name="connsiteX11" fmla="*/ 18098 w 65722"/>
                  <a:gd name="connsiteY11" fmla="*/ 16192 h 27622"/>
                  <a:gd name="connsiteX12" fmla="*/ 29528 w 65722"/>
                  <a:gd name="connsiteY12" fmla="*/ 16192 h 27622"/>
                  <a:gd name="connsiteX13" fmla="*/ 38100 w 65722"/>
                  <a:gd name="connsiteY13" fmla="*/ 13335 h 27622"/>
                  <a:gd name="connsiteX14" fmla="*/ 48578 w 65722"/>
                  <a:gd name="connsiteY14" fmla="*/ 7620 h 27622"/>
                  <a:gd name="connsiteX15" fmla="*/ 49530 w 65722"/>
                  <a:gd name="connsiteY15" fmla="*/ 3810 h 27622"/>
                  <a:gd name="connsiteX16" fmla="*/ 53340 w 65722"/>
                  <a:gd name="connsiteY16" fmla="*/ 0 h 27622"/>
                  <a:gd name="connsiteX17" fmla="*/ 65723 w 65722"/>
                  <a:gd name="connsiteY17" fmla="*/ 4763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722" h="27622">
                    <a:moveTo>
                      <a:pt x="65723" y="4763"/>
                    </a:moveTo>
                    <a:lnTo>
                      <a:pt x="58103" y="16192"/>
                    </a:lnTo>
                    <a:cubicBezTo>
                      <a:pt x="58103" y="16192"/>
                      <a:pt x="56198" y="12383"/>
                      <a:pt x="56198" y="20003"/>
                    </a:cubicBezTo>
                    <a:cubicBezTo>
                      <a:pt x="56198" y="27623"/>
                      <a:pt x="44768" y="27623"/>
                      <a:pt x="44768" y="27623"/>
                    </a:cubicBezTo>
                    <a:lnTo>
                      <a:pt x="36195" y="26670"/>
                    </a:lnTo>
                    <a:lnTo>
                      <a:pt x="31432" y="24765"/>
                    </a:lnTo>
                    <a:lnTo>
                      <a:pt x="24765" y="24765"/>
                    </a:lnTo>
                    <a:lnTo>
                      <a:pt x="15240" y="25717"/>
                    </a:lnTo>
                    <a:lnTo>
                      <a:pt x="8573" y="26670"/>
                    </a:lnTo>
                    <a:lnTo>
                      <a:pt x="0" y="18098"/>
                    </a:lnTo>
                    <a:lnTo>
                      <a:pt x="5715" y="16192"/>
                    </a:lnTo>
                    <a:lnTo>
                      <a:pt x="18098" y="16192"/>
                    </a:lnTo>
                    <a:cubicBezTo>
                      <a:pt x="18098" y="16192"/>
                      <a:pt x="23813" y="16192"/>
                      <a:pt x="29528" y="16192"/>
                    </a:cubicBezTo>
                    <a:cubicBezTo>
                      <a:pt x="35243" y="16192"/>
                      <a:pt x="34290" y="13335"/>
                      <a:pt x="38100" y="13335"/>
                    </a:cubicBezTo>
                    <a:cubicBezTo>
                      <a:pt x="42863" y="13335"/>
                      <a:pt x="48578" y="7620"/>
                      <a:pt x="48578" y="7620"/>
                    </a:cubicBezTo>
                    <a:lnTo>
                      <a:pt x="49530" y="3810"/>
                    </a:lnTo>
                    <a:lnTo>
                      <a:pt x="53340" y="0"/>
                    </a:lnTo>
                    <a:lnTo>
                      <a:pt x="65723" y="4763"/>
                    </a:lnTo>
                    <a:close/>
                  </a:path>
                </a:pathLst>
              </a:custGeom>
              <a:grpFill/>
              <a:ln w="9525" cap="flat">
                <a:noFill/>
                <a:prstDash val="solid"/>
                <a:miter/>
              </a:ln>
            </p:spPr>
            <p:txBody>
              <a:bodyPr rtlCol="0" anchor="ctr"/>
              <a:lstStyle/>
              <a:p>
                <a:endParaRPr lang="en-US" sz="1765"/>
              </a:p>
            </p:txBody>
          </p:sp>
          <p:sp>
            <p:nvSpPr>
              <p:cNvPr id="307" name="Freeform: Shape 306">
                <a:extLst>
                  <a:ext uri="{FF2B5EF4-FFF2-40B4-BE49-F238E27FC236}">
                    <a16:creationId xmlns:a16="http://schemas.microsoft.com/office/drawing/2014/main" id="{5BB6C6DC-18FC-46B3-B253-F60D9DAD638B}"/>
                  </a:ext>
                </a:extLst>
              </p:cNvPr>
              <p:cNvSpPr/>
              <p:nvPr/>
            </p:nvSpPr>
            <p:spPr>
              <a:xfrm>
                <a:off x="10158723" y="4197694"/>
                <a:ext cx="696948" cy="329267"/>
              </a:xfrm>
              <a:custGeom>
                <a:avLst/>
                <a:gdLst>
                  <a:gd name="connsiteX0" fmla="*/ 495018 w 696948"/>
                  <a:gd name="connsiteY0" fmla="*/ 18752 h 329267"/>
                  <a:gd name="connsiteX1" fmla="*/ 494066 w 696948"/>
                  <a:gd name="connsiteY1" fmla="*/ 30182 h 329267"/>
                  <a:gd name="connsiteX2" fmla="*/ 493113 w 696948"/>
                  <a:gd name="connsiteY2" fmla="*/ 38755 h 329267"/>
                  <a:gd name="connsiteX3" fmla="*/ 488351 w 696948"/>
                  <a:gd name="connsiteY3" fmla="*/ 53995 h 329267"/>
                  <a:gd name="connsiteX4" fmla="*/ 476921 w 696948"/>
                  <a:gd name="connsiteY4" fmla="*/ 61615 h 329267"/>
                  <a:gd name="connsiteX5" fmla="*/ 471206 w 696948"/>
                  <a:gd name="connsiteY5" fmla="*/ 65425 h 329267"/>
                  <a:gd name="connsiteX6" fmla="*/ 456918 w 696948"/>
                  <a:gd name="connsiteY6" fmla="*/ 66377 h 329267"/>
                  <a:gd name="connsiteX7" fmla="*/ 447393 w 696948"/>
                  <a:gd name="connsiteY7" fmla="*/ 66377 h 329267"/>
                  <a:gd name="connsiteX8" fmla="*/ 444536 w 696948"/>
                  <a:gd name="connsiteY8" fmla="*/ 59710 h 329267"/>
                  <a:gd name="connsiteX9" fmla="*/ 439773 w 696948"/>
                  <a:gd name="connsiteY9" fmla="*/ 57805 h 329267"/>
                  <a:gd name="connsiteX10" fmla="*/ 435011 w 696948"/>
                  <a:gd name="connsiteY10" fmla="*/ 54947 h 329267"/>
                  <a:gd name="connsiteX11" fmla="*/ 428343 w 696948"/>
                  <a:gd name="connsiteY11" fmla="*/ 52090 h 329267"/>
                  <a:gd name="connsiteX12" fmla="*/ 415008 w 696948"/>
                  <a:gd name="connsiteY12" fmla="*/ 49232 h 329267"/>
                  <a:gd name="connsiteX13" fmla="*/ 401673 w 696948"/>
                  <a:gd name="connsiteY13" fmla="*/ 44470 h 329267"/>
                  <a:gd name="connsiteX14" fmla="*/ 396911 w 696948"/>
                  <a:gd name="connsiteY14" fmla="*/ 40660 h 329267"/>
                  <a:gd name="connsiteX15" fmla="*/ 395006 w 696948"/>
                  <a:gd name="connsiteY15" fmla="*/ 33992 h 329267"/>
                  <a:gd name="connsiteX16" fmla="*/ 402626 w 696948"/>
                  <a:gd name="connsiteY16" fmla="*/ 29230 h 329267"/>
                  <a:gd name="connsiteX17" fmla="*/ 413103 w 696948"/>
                  <a:gd name="connsiteY17" fmla="*/ 25420 h 329267"/>
                  <a:gd name="connsiteX18" fmla="*/ 421676 w 696948"/>
                  <a:gd name="connsiteY18" fmla="*/ 21610 h 329267"/>
                  <a:gd name="connsiteX19" fmla="*/ 427391 w 696948"/>
                  <a:gd name="connsiteY19" fmla="*/ 12085 h 329267"/>
                  <a:gd name="connsiteX20" fmla="*/ 425486 w 696948"/>
                  <a:gd name="connsiteY20" fmla="*/ 8275 h 329267"/>
                  <a:gd name="connsiteX21" fmla="*/ 416913 w 696948"/>
                  <a:gd name="connsiteY21" fmla="*/ 5417 h 329267"/>
                  <a:gd name="connsiteX22" fmla="*/ 398816 w 696948"/>
                  <a:gd name="connsiteY22" fmla="*/ 6370 h 329267"/>
                  <a:gd name="connsiteX23" fmla="*/ 389291 w 696948"/>
                  <a:gd name="connsiteY23" fmla="*/ 5417 h 329267"/>
                  <a:gd name="connsiteX24" fmla="*/ 379766 w 696948"/>
                  <a:gd name="connsiteY24" fmla="*/ 3512 h 329267"/>
                  <a:gd name="connsiteX25" fmla="*/ 367383 w 696948"/>
                  <a:gd name="connsiteY25" fmla="*/ 1607 h 329267"/>
                  <a:gd name="connsiteX26" fmla="*/ 339761 w 696948"/>
                  <a:gd name="connsiteY26" fmla="*/ 655 h 329267"/>
                  <a:gd name="connsiteX27" fmla="*/ 328331 w 696948"/>
                  <a:gd name="connsiteY27" fmla="*/ 4465 h 329267"/>
                  <a:gd name="connsiteX28" fmla="*/ 322616 w 696948"/>
                  <a:gd name="connsiteY28" fmla="*/ 8275 h 329267"/>
                  <a:gd name="connsiteX29" fmla="*/ 314996 w 696948"/>
                  <a:gd name="connsiteY29" fmla="*/ 12085 h 329267"/>
                  <a:gd name="connsiteX30" fmla="*/ 306423 w 696948"/>
                  <a:gd name="connsiteY30" fmla="*/ 15895 h 329267"/>
                  <a:gd name="connsiteX31" fmla="*/ 299756 w 696948"/>
                  <a:gd name="connsiteY31" fmla="*/ 20657 h 329267"/>
                  <a:gd name="connsiteX32" fmla="*/ 294041 w 696948"/>
                  <a:gd name="connsiteY32" fmla="*/ 24467 h 329267"/>
                  <a:gd name="connsiteX33" fmla="*/ 293088 w 696948"/>
                  <a:gd name="connsiteY33" fmla="*/ 31135 h 329267"/>
                  <a:gd name="connsiteX34" fmla="*/ 287373 w 696948"/>
                  <a:gd name="connsiteY34" fmla="*/ 37802 h 329267"/>
                  <a:gd name="connsiteX35" fmla="*/ 284516 w 696948"/>
                  <a:gd name="connsiteY35" fmla="*/ 38755 h 329267"/>
                  <a:gd name="connsiteX36" fmla="*/ 268323 w 696948"/>
                  <a:gd name="connsiteY36" fmla="*/ 38755 h 329267"/>
                  <a:gd name="connsiteX37" fmla="*/ 265466 w 696948"/>
                  <a:gd name="connsiteY37" fmla="*/ 29230 h 329267"/>
                  <a:gd name="connsiteX38" fmla="*/ 250226 w 696948"/>
                  <a:gd name="connsiteY38" fmla="*/ 27325 h 329267"/>
                  <a:gd name="connsiteX39" fmla="*/ 242605 w 696948"/>
                  <a:gd name="connsiteY39" fmla="*/ 28277 h 329267"/>
                  <a:gd name="connsiteX40" fmla="*/ 227366 w 696948"/>
                  <a:gd name="connsiteY40" fmla="*/ 29230 h 329267"/>
                  <a:gd name="connsiteX41" fmla="*/ 218793 w 696948"/>
                  <a:gd name="connsiteY41" fmla="*/ 33040 h 329267"/>
                  <a:gd name="connsiteX42" fmla="*/ 208316 w 696948"/>
                  <a:gd name="connsiteY42" fmla="*/ 42565 h 329267"/>
                  <a:gd name="connsiteX43" fmla="*/ 208316 w 696948"/>
                  <a:gd name="connsiteY43" fmla="*/ 46375 h 329267"/>
                  <a:gd name="connsiteX44" fmla="*/ 202601 w 696948"/>
                  <a:gd name="connsiteY44" fmla="*/ 53995 h 329267"/>
                  <a:gd name="connsiteX45" fmla="*/ 190218 w 696948"/>
                  <a:gd name="connsiteY45" fmla="*/ 57805 h 329267"/>
                  <a:gd name="connsiteX46" fmla="*/ 169263 w 696948"/>
                  <a:gd name="connsiteY46" fmla="*/ 58757 h 329267"/>
                  <a:gd name="connsiteX47" fmla="*/ 157833 w 696948"/>
                  <a:gd name="connsiteY47" fmla="*/ 63520 h 329267"/>
                  <a:gd name="connsiteX48" fmla="*/ 155928 w 696948"/>
                  <a:gd name="connsiteY48" fmla="*/ 68282 h 329267"/>
                  <a:gd name="connsiteX49" fmla="*/ 142593 w 696948"/>
                  <a:gd name="connsiteY49" fmla="*/ 85427 h 329267"/>
                  <a:gd name="connsiteX50" fmla="*/ 137830 w 696948"/>
                  <a:gd name="connsiteY50" fmla="*/ 86380 h 329267"/>
                  <a:gd name="connsiteX51" fmla="*/ 128305 w 696948"/>
                  <a:gd name="connsiteY51" fmla="*/ 89237 h 329267"/>
                  <a:gd name="connsiteX52" fmla="*/ 122591 w 696948"/>
                  <a:gd name="connsiteY52" fmla="*/ 90190 h 329267"/>
                  <a:gd name="connsiteX53" fmla="*/ 107351 w 696948"/>
                  <a:gd name="connsiteY53" fmla="*/ 96857 h 329267"/>
                  <a:gd name="connsiteX54" fmla="*/ 100683 w 696948"/>
                  <a:gd name="connsiteY54" fmla="*/ 100667 h 329267"/>
                  <a:gd name="connsiteX55" fmla="*/ 89253 w 696948"/>
                  <a:gd name="connsiteY55" fmla="*/ 101620 h 329267"/>
                  <a:gd name="connsiteX56" fmla="*/ 73061 w 696948"/>
                  <a:gd name="connsiteY56" fmla="*/ 101620 h 329267"/>
                  <a:gd name="connsiteX57" fmla="*/ 63536 w 696948"/>
                  <a:gd name="connsiteY57" fmla="*/ 101620 h 329267"/>
                  <a:gd name="connsiteX58" fmla="*/ 52106 w 696948"/>
                  <a:gd name="connsiteY58" fmla="*/ 105430 h 329267"/>
                  <a:gd name="connsiteX59" fmla="*/ 39723 w 696948"/>
                  <a:gd name="connsiteY59" fmla="*/ 116860 h 329267"/>
                  <a:gd name="connsiteX60" fmla="*/ 16863 w 696948"/>
                  <a:gd name="connsiteY60" fmla="*/ 120670 h 329267"/>
                  <a:gd name="connsiteX61" fmla="*/ 9243 w 696948"/>
                  <a:gd name="connsiteY61" fmla="*/ 121622 h 329267"/>
                  <a:gd name="connsiteX62" fmla="*/ 1623 w 696948"/>
                  <a:gd name="connsiteY62" fmla="*/ 128290 h 329267"/>
                  <a:gd name="connsiteX63" fmla="*/ 671 w 696948"/>
                  <a:gd name="connsiteY63" fmla="*/ 134957 h 329267"/>
                  <a:gd name="connsiteX64" fmla="*/ 671 w 696948"/>
                  <a:gd name="connsiteY64" fmla="*/ 140672 h 329267"/>
                  <a:gd name="connsiteX65" fmla="*/ 3528 w 696948"/>
                  <a:gd name="connsiteY65" fmla="*/ 145435 h 329267"/>
                  <a:gd name="connsiteX66" fmla="*/ 10196 w 696948"/>
                  <a:gd name="connsiteY66" fmla="*/ 156865 h 329267"/>
                  <a:gd name="connsiteX67" fmla="*/ 10196 w 696948"/>
                  <a:gd name="connsiteY67" fmla="*/ 156865 h 329267"/>
                  <a:gd name="connsiteX68" fmla="*/ 14006 w 696948"/>
                  <a:gd name="connsiteY68" fmla="*/ 165437 h 329267"/>
                  <a:gd name="connsiteX69" fmla="*/ 10196 w 696948"/>
                  <a:gd name="connsiteY69" fmla="*/ 174962 h 329267"/>
                  <a:gd name="connsiteX70" fmla="*/ 7338 w 696948"/>
                  <a:gd name="connsiteY70" fmla="*/ 183535 h 329267"/>
                  <a:gd name="connsiteX71" fmla="*/ 17816 w 696948"/>
                  <a:gd name="connsiteY71" fmla="*/ 189250 h 329267"/>
                  <a:gd name="connsiteX72" fmla="*/ 23531 w 696948"/>
                  <a:gd name="connsiteY72" fmla="*/ 196870 h 329267"/>
                  <a:gd name="connsiteX73" fmla="*/ 25436 w 696948"/>
                  <a:gd name="connsiteY73" fmla="*/ 199727 h 329267"/>
                  <a:gd name="connsiteX74" fmla="*/ 34961 w 696948"/>
                  <a:gd name="connsiteY74" fmla="*/ 210205 h 329267"/>
                  <a:gd name="connsiteX75" fmla="*/ 34008 w 696948"/>
                  <a:gd name="connsiteY75" fmla="*/ 219730 h 329267"/>
                  <a:gd name="connsiteX76" fmla="*/ 34008 w 696948"/>
                  <a:gd name="connsiteY76" fmla="*/ 229255 h 329267"/>
                  <a:gd name="connsiteX77" fmla="*/ 34008 w 696948"/>
                  <a:gd name="connsiteY77" fmla="*/ 235922 h 329267"/>
                  <a:gd name="connsiteX78" fmla="*/ 35913 w 696948"/>
                  <a:gd name="connsiteY78" fmla="*/ 244495 h 329267"/>
                  <a:gd name="connsiteX79" fmla="*/ 35913 w 696948"/>
                  <a:gd name="connsiteY79" fmla="*/ 250210 h 329267"/>
                  <a:gd name="connsiteX80" fmla="*/ 30198 w 696948"/>
                  <a:gd name="connsiteY80" fmla="*/ 257830 h 329267"/>
                  <a:gd name="connsiteX81" fmla="*/ 40676 w 696948"/>
                  <a:gd name="connsiteY81" fmla="*/ 268307 h 329267"/>
                  <a:gd name="connsiteX82" fmla="*/ 54011 w 696948"/>
                  <a:gd name="connsiteY82" fmla="*/ 273070 h 329267"/>
                  <a:gd name="connsiteX83" fmla="*/ 63536 w 696948"/>
                  <a:gd name="connsiteY83" fmla="*/ 273070 h 329267"/>
                  <a:gd name="connsiteX84" fmla="*/ 72108 w 696948"/>
                  <a:gd name="connsiteY84" fmla="*/ 271165 h 329267"/>
                  <a:gd name="connsiteX85" fmla="*/ 94016 w 696948"/>
                  <a:gd name="connsiteY85" fmla="*/ 270212 h 329267"/>
                  <a:gd name="connsiteX86" fmla="*/ 113066 w 696948"/>
                  <a:gd name="connsiteY86" fmla="*/ 274975 h 329267"/>
                  <a:gd name="connsiteX87" fmla="*/ 129258 w 696948"/>
                  <a:gd name="connsiteY87" fmla="*/ 269260 h 329267"/>
                  <a:gd name="connsiteX88" fmla="*/ 136878 w 696948"/>
                  <a:gd name="connsiteY88" fmla="*/ 265450 h 329267"/>
                  <a:gd name="connsiteX89" fmla="*/ 151166 w 696948"/>
                  <a:gd name="connsiteY89" fmla="*/ 264497 h 329267"/>
                  <a:gd name="connsiteX90" fmla="*/ 160691 w 696948"/>
                  <a:gd name="connsiteY90" fmla="*/ 266402 h 329267"/>
                  <a:gd name="connsiteX91" fmla="*/ 167358 w 696948"/>
                  <a:gd name="connsiteY91" fmla="*/ 269260 h 329267"/>
                  <a:gd name="connsiteX92" fmla="*/ 176883 w 696948"/>
                  <a:gd name="connsiteY92" fmla="*/ 269260 h 329267"/>
                  <a:gd name="connsiteX93" fmla="*/ 192123 w 696948"/>
                  <a:gd name="connsiteY93" fmla="*/ 267355 h 329267"/>
                  <a:gd name="connsiteX94" fmla="*/ 198791 w 696948"/>
                  <a:gd name="connsiteY94" fmla="*/ 263545 h 329267"/>
                  <a:gd name="connsiteX95" fmla="*/ 200696 w 696948"/>
                  <a:gd name="connsiteY95" fmla="*/ 256877 h 329267"/>
                  <a:gd name="connsiteX96" fmla="*/ 213078 w 696948"/>
                  <a:gd name="connsiteY96" fmla="*/ 248305 h 329267"/>
                  <a:gd name="connsiteX97" fmla="*/ 226413 w 696948"/>
                  <a:gd name="connsiteY97" fmla="*/ 244495 h 329267"/>
                  <a:gd name="connsiteX98" fmla="*/ 239748 w 696948"/>
                  <a:gd name="connsiteY98" fmla="*/ 243542 h 329267"/>
                  <a:gd name="connsiteX99" fmla="*/ 254988 w 696948"/>
                  <a:gd name="connsiteY99" fmla="*/ 238780 h 329267"/>
                  <a:gd name="connsiteX100" fmla="*/ 271181 w 696948"/>
                  <a:gd name="connsiteY100" fmla="*/ 238780 h 329267"/>
                  <a:gd name="connsiteX101" fmla="*/ 283563 w 696948"/>
                  <a:gd name="connsiteY101" fmla="*/ 241637 h 329267"/>
                  <a:gd name="connsiteX102" fmla="*/ 312138 w 696948"/>
                  <a:gd name="connsiteY102" fmla="*/ 245447 h 329267"/>
                  <a:gd name="connsiteX103" fmla="*/ 330236 w 696948"/>
                  <a:gd name="connsiteY103" fmla="*/ 244495 h 329267"/>
                  <a:gd name="connsiteX104" fmla="*/ 344523 w 696948"/>
                  <a:gd name="connsiteY104" fmla="*/ 243542 h 329267"/>
                  <a:gd name="connsiteX105" fmla="*/ 365478 w 696948"/>
                  <a:gd name="connsiteY105" fmla="*/ 248305 h 329267"/>
                  <a:gd name="connsiteX106" fmla="*/ 373098 w 696948"/>
                  <a:gd name="connsiteY106" fmla="*/ 254972 h 329267"/>
                  <a:gd name="connsiteX107" fmla="*/ 373098 w 696948"/>
                  <a:gd name="connsiteY107" fmla="*/ 261640 h 329267"/>
                  <a:gd name="connsiteX108" fmla="*/ 374051 w 696948"/>
                  <a:gd name="connsiteY108" fmla="*/ 268307 h 329267"/>
                  <a:gd name="connsiteX109" fmla="*/ 387386 w 696948"/>
                  <a:gd name="connsiteY109" fmla="*/ 273070 h 329267"/>
                  <a:gd name="connsiteX110" fmla="*/ 395958 w 696948"/>
                  <a:gd name="connsiteY110" fmla="*/ 273070 h 329267"/>
                  <a:gd name="connsiteX111" fmla="*/ 400721 w 696948"/>
                  <a:gd name="connsiteY111" fmla="*/ 269260 h 329267"/>
                  <a:gd name="connsiteX112" fmla="*/ 404531 w 696948"/>
                  <a:gd name="connsiteY112" fmla="*/ 265450 h 329267"/>
                  <a:gd name="connsiteX113" fmla="*/ 412151 w 696948"/>
                  <a:gd name="connsiteY113" fmla="*/ 264497 h 329267"/>
                  <a:gd name="connsiteX114" fmla="*/ 415008 w 696948"/>
                  <a:gd name="connsiteY114" fmla="*/ 265450 h 329267"/>
                  <a:gd name="connsiteX115" fmla="*/ 415961 w 696948"/>
                  <a:gd name="connsiteY115" fmla="*/ 273070 h 329267"/>
                  <a:gd name="connsiteX116" fmla="*/ 419771 w 696948"/>
                  <a:gd name="connsiteY116" fmla="*/ 281642 h 329267"/>
                  <a:gd name="connsiteX117" fmla="*/ 430248 w 696948"/>
                  <a:gd name="connsiteY117" fmla="*/ 288310 h 329267"/>
                  <a:gd name="connsiteX118" fmla="*/ 442631 w 696948"/>
                  <a:gd name="connsiteY118" fmla="*/ 290215 h 329267"/>
                  <a:gd name="connsiteX119" fmla="*/ 451203 w 696948"/>
                  <a:gd name="connsiteY119" fmla="*/ 290215 h 329267"/>
                  <a:gd name="connsiteX120" fmla="*/ 456918 w 696948"/>
                  <a:gd name="connsiteY120" fmla="*/ 294025 h 329267"/>
                  <a:gd name="connsiteX121" fmla="*/ 458823 w 696948"/>
                  <a:gd name="connsiteY121" fmla="*/ 299740 h 329267"/>
                  <a:gd name="connsiteX122" fmla="*/ 458823 w 696948"/>
                  <a:gd name="connsiteY122" fmla="*/ 310217 h 329267"/>
                  <a:gd name="connsiteX123" fmla="*/ 458823 w 696948"/>
                  <a:gd name="connsiteY123" fmla="*/ 314027 h 329267"/>
                  <a:gd name="connsiteX124" fmla="*/ 470253 w 696948"/>
                  <a:gd name="connsiteY124" fmla="*/ 324505 h 329267"/>
                  <a:gd name="connsiteX125" fmla="*/ 478826 w 696948"/>
                  <a:gd name="connsiteY125" fmla="*/ 326410 h 329267"/>
                  <a:gd name="connsiteX126" fmla="*/ 490256 w 696948"/>
                  <a:gd name="connsiteY126" fmla="*/ 325457 h 329267"/>
                  <a:gd name="connsiteX127" fmla="*/ 505496 w 696948"/>
                  <a:gd name="connsiteY127" fmla="*/ 324505 h 329267"/>
                  <a:gd name="connsiteX128" fmla="*/ 514068 w 696948"/>
                  <a:gd name="connsiteY128" fmla="*/ 326410 h 329267"/>
                  <a:gd name="connsiteX129" fmla="*/ 536928 w 696948"/>
                  <a:gd name="connsiteY129" fmla="*/ 328315 h 329267"/>
                  <a:gd name="connsiteX130" fmla="*/ 549311 w 696948"/>
                  <a:gd name="connsiteY130" fmla="*/ 321647 h 329267"/>
                  <a:gd name="connsiteX131" fmla="*/ 555978 w 696948"/>
                  <a:gd name="connsiteY131" fmla="*/ 321647 h 329267"/>
                  <a:gd name="connsiteX132" fmla="*/ 564551 w 696948"/>
                  <a:gd name="connsiteY132" fmla="*/ 326410 h 329267"/>
                  <a:gd name="connsiteX133" fmla="*/ 572171 w 696948"/>
                  <a:gd name="connsiteY133" fmla="*/ 329267 h 329267"/>
                  <a:gd name="connsiteX134" fmla="*/ 583601 w 696948"/>
                  <a:gd name="connsiteY134" fmla="*/ 329267 h 329267"/>
                  <a:gd name="connsiteX135" fmla="*/ 596936 w 696948"/>
                  <a:gd name="connsiteY135" fmla="*/ 321647 h 329267"/>
                  <a:gd name="connsiteX136" fmla="*/ 601698 w 696948"/>
                  <a:gd name="connsiteY136" fmla="*/ 320695 h 329267"/>
                  <a:gd name="connsiteX137" fmla="*/ 615033 w 696948"/>
                  <a:gd name="connsiteY137" fmla="*/ 317837 h 329267"/>
                  <a:gd name="connsiteX138" fmla="*/ 630273 w 696948"/>
                  <a:gd name="connsiteY138" fmla="*/ 311170 h 329267"/>
                  <a:gd name="connsiteX139" fmla="*/ 637893 w 696948"/>
                  <a:gd name="connsiteY139" fmla="*/ 304502 h 329267"/>
                  <a:gd name="connsiteX140" fmla="*/ 639798 w 696948"/>
                  <a:gd name="connsiteY140" fmla="*/ 295930 h 329267"/>
                  <a:gd name="connsiteX141" fmla="*/ 644561 w 696948"/>
                  <a:gd name="connsiteY141" fmla="*/ 289262 h 329267"/>
                  <a:gd name="connsiteX142" fmla="*/ 652181 w 696948"/>
                  <a:gd name="connsiteY142" fmla="*/ 285452 h 329267"/>
                  <a:gd name="connsiteX143" fmla="*/ 655991 w 696948"/>
                  <a:gd name="connsiteY143" fmla="*/ 280690 h 329267"/>
                  <a:gd name="connsiteX144" fmla="*/ 656943 w 696948"/>
                  <a:gd name="connsiteY144" fmla="*/ 269260 h 329267"/>
                  <a:gd name="connsiteX145" fmla="*/ 657896 w 696948"/>
                  <a:gd name="connsiteY145" fmla="*/ 267355 h 329267"/>
                  <a:gd name="connsiteX146" fmla="*/ 664563 w 696948"/>
                  <a:gd name="connsiteY146" fmla="*/ 259735 h 329267"/>
                  <a:gd name="connsiteX147" fmla="*/ 673136 w 696948"/>
                  <a:gd name="connsiteY147" fmla="*/ 255925 h 329267"/>
                  <a:gd name="connsiteX148" fmla="*/ 683613 w 696948"/>
                  <a:gd name="connsiteY148" fmla="*/ 243542 h 329267"/>
                  <a:gd name="connsiteX149" fmla="*/ 687423 w 696948"/>
                  <a:gd name="connsiteY149" fmla="*/ 230207 h 329267"/>
                  <a:gd name="connsiteX150" fmla="*/ 691233 w 696948"/>
                  <a:gd name="connsiteY150" fmla="*/ 223540 h 329267"/>
                  <a:gd name="connsiteX151" fmla="*/ 695043 w 696948"/>
                  <a:gd name="connsiteY151" fmla="*/ 207347 h 329267"/>
                  <a:gd name="connsiteX152" fmla="*/ 695043 w 696948"/>
                  <a:gd name="connsiteY152" fmla="*/ 197822 h 329267"/>
                  <a:gd name="connsiteX153" fmla="*/ 696948 w 696948"/>
                  <a:gd name="connsiteY153" fmla="*/ 182582 h 329267"/>
                  <a:gd name="connsiteX154" fmla="*/ 696948 w 696948"/>
                  <a:gd name="connsiteY154" fmla="*/ 176867 h 329267"/>
                  <a:gd name="connsiteX155" fmla="*/ 694091 w 696948"/>
                  <a:gd name="connsiteY155" fmla="*/ 169247 h 329267"/>
                  <a:gd name="connsiteX156" fmla="*/ 691233 w 696948"/>
                  <a:gd name="connsiteY156" fmla="*/ 162580 h 329267"/>
                  <a:gd name="connsiteX157" fmla="*/ 683613 w 696948"/>
                  <a:gd name="connsiteY157" fmla="*/ 154960 h 329267"/>
                  <a:gd name="connsiteX158" fmla="*/ 675041 w 696948"/>
                  <a:gd name="connsiteY158" fmla="*/ 147340 h 329267"/>
                  <a:gd name="connsiteX159" fmla="*/ 667421 w 696948"/>
                  <a:gd name="connsiteY159" fmla="*/ 142577 h 329267"/>
                  <a:gd name="connsiteX160" fmla="*/ 650276 w 696948"/>
                  <a:gd name="connsiteY160" fmla="*/ 130195 h 329267"/>
                  <a:gd name="connsiteX161" fmla="*/ 637893 w 696948"/>
                  <a:gd name="connsiteY161" fmla="*/ 120670 h 329267"/>
                  <a:gd name="connsiteX162" fmla="*/ 628368 w 696948"/>
                  <a:gd name="connsiteY162" fmla="*/ 105430 h 329267"/>
                  <a:gd name="connsiteX163" fmla="*/ 612176 w 696948"/>
                  <a:gd name="connsiteY163" fmla="*/ 96857 h 329267"/>
                  <a:gd name="connsiteX164" fmla="*/ 597888 w 696948"/>
                  <a:gd name="connsiteY164" fmla="*/ 94952 h 329267"/>
                  <a:gd name="connsiteX165" fmla="*/ 580743 w 696948"/>
                  <a:gd name="connsiteY165" fmla="*/ 79712 h 329267"/>
                  <a:gd name="connsiteX166" fmla="*/ 573123 w 696948"/>
                  <a:gd name="connsiteY166" fmla="*/ 74950 h 329267"/>
                  <a:gd name="connsiteX167" fmla="*/ 565503 w 696948"/>
                  <a:gd name="connsiteY167" fmla="*/ 68282 h 329267"/>
                  <a:gd name="connsiteX168" fmla="*/ 563598 w 696948"/>
                  <a:gd name="connsiteY168" fmla="*/ 58757 h 329267"/>
                  <a:gd name="connsiteX169" fmla="*/ 557883 w 696948"/>
                  <a:gd name="connsiteY169" fmla="*/ 53042 h 329267"/>
                  <a:gd name="connsiteX170" fmla="*/ 555026 w 696948"/>
                  <a:gd name="connsiteY170" fmla="*/ 42565 h 329267"/>
                  <a:gd name="connsiteX171" fmla="*/ 552168 w 696948"/>
                  <a:gd name="connsiteY171" fmla="*/ 35897 h 329267"/>
                  <a:gd name="connsiteX172" fmla="*/ 546453 w 696948"/>
                  <a:gd name="connsiteY172" fmla="*/ 31135 h 329267"/>
                  <a:gd name="connsiteX173" fmla="*/ 541691 w 696948"/>
                  <a:gd name="connsiteY173" fmla="*/ 28277 h 329267"/>
                  <a:gd name="connsiteX174" fmla="*/ 535976 w 696948"/>
                  <a:gd name="connsiteY174" fmla="*/ 22562 h 329267"/>
                  <a:gd name="connsiteX175" fmla="*/ 532166 w 696948"/>
                  <a:gd name="connsiteY175" fmla="*/ 16847 h 329267"/>
                  <a:gd name="connsiteX176" fmla="*/ 523593 w 696948"/>
                  <a:gd name="connsiteY176" fmla="*/ 13990 h 329267"/>
                  <a:gd name="connsiteX177" fmla="*/ 517878 w 696948"/>
                  <a:gd name="connsiteY177" fmla="*/ 13990 h 329267"/>
                  <a:gd name="connsiteX178" fmla="*/ 504543 w 696948"/>
                  <a:gd name="connsiteY178" fmla="*/ 16847 h 329267"/>
                  <a:gd name="connsiteX179" fmla="*/ 499781 w 696948"/>
                  <a:gd name="connsiteY179" fmla="*/ 16847 h 329267"/>
                  <a:gd name="connsiteX180" fmla="*/ 495018 w 696948"/>
                  <a:gd name="connsiteY180" fmla="*/ 18752 h 32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696948" h="329267">
                    <a:moveTo>
                      <a:pt x="495018" y="18752"/>
                    </a:moveTo>
                    <a:cubicBezTo>
                      <a:pt x="495018" y="18752"/>
                      <a:pt x="494066" y="26372"/>
                      <a:pt x="494066" y="30182"/>
                    </a:cubicBezTo>
                    <a:cubicBezTo>
                      <a:pt x="494066" y="33992"/>
                      <a:pt x="494066" y="33992"/>
                      <a:pt x="493113" y="38755"/>
                    </a:cubicBezTo>
                    <a:cubicBezTo>
                      <a:pt x="492161" y="43517"/>
                      <a:pt x="490256" y="51137"/>
                      <a:pt x="488351" y="53995"/>
                    </a:cubicBezTo>
                    <a:cubicBezTo>
                      <a:pt x="486446" y="56852"/>
                      <a:pt x="476921" y="59710"/>
                      <a:pt x="476921" y="61615"/>
                    </a:cubicBezTo>
                    <a:cubicBezTo>
                      <a:pt x="476921" y="63520"/>
                      <a:pt x="477873" y="64472"/>
                      <a:pt x="471206" y="65425"/>
                    </a:cubicBezTo>
                    <a:cubicBezTo>
                      <a:pt x="464538" y="66377"/>
                      <a:pt x="456918" y="66377"/>
                      <a:pt x="456918" y="66377"/>
                    </a:cubicBezTo>
                    <a:lnTo>
                      <a:pt x="447393" y="66377"/>
                    </a:lnTo>
                    <a:lnTo>
                      <a:pt x="444536" y="59710"/>
                    </a:lnTo>
                    <a:lnTo>
                      <a:pt x="439773" y="57805"/>
                    </a:lnTo>
                    <a:lnTo>
                      <a:pt x="435011" y="54947"/>
                    </a:lnTo>
                    <a:cubicBezTo>
                      <a:pt x="435011" y="54947"/>
                      <a:pt x="432153" y="53042"/>
                      <a:pt x="428343" y="52090"/>
                    </a:cubicBezTo>
                    <a:cubicBezTo>
                      <a:pt x="425486" y="51137"/>
                      <a:pt x="415008" y="49232"/>
                      <a:pt x="415008" y="49232"/>
                    </a:cubicBezTo>
                    <a:lnTo>
                      <a:pt x="401673" y="44470"/>
                    </a:lnTo>
                    <a:lnTo>
                      <a:pt x="396911" y="40660"/>
                    </a:lnTo>
                    <a:cubicBezTo>
                      <a:pt x="396911" y="40660"/>
                      <a:pt x="390243" y="35897"/>
                      <a:pt x="395006" y="33992"/>
                    </a:cubicBezTo>
                    <a:cubicBezTo>
                      <a:pt x="399768" y="32087"/>
                      <a:pt x="402626" y="29230"/>
                      <a:pt x="402626" y="29230"/>
                    </a:cubicBezTo>
                    <a:cubicBezTo>
                      <a:pt x="402626" y="29230"/>
                      <a:pt x="409293" y="25420"/>
                      <a:pt x="413103" y="25420"/>
                    </a:cubicBezTo>
                    <a:cubicBezTo>
                      <a:pt x="415961" y="24467"/>
                      <a:pt x="415961" y="31135"/>
                      <a:pt x="421676" y="21610"/>
                    </a:cubicBezTo>
                    <a:cubicBezTo>
                      <a:pt x="427391" y="12085"/>
                      <a:pt x="427391" y="12085"/>
                      <a:pt x="427391" y="12085"/>
                    </a:cubicBezTo>
                    <a:lnTo>
                      <a:pt x="425486" y="8275"/>
                    </a:lnTo>
                    <a:cubicBezTo>
                      <a:pt x="425486" y="8275"/>
                      <a:pt x="419771" y="4465"/>
                      <a:pt x="416913" y="5417"/>
                    </a:cubicBezTo>
                    <a:cubicBezTo>
                      <a:pt x="413103" y="6370"/>
                      <a:pt x="398816" y="6370"/>
                      <a:pt x="398816" y="6370"/>
                    </a:cubicBezTo>
                    <a:lnTo>
                      <a:pt x="389291" y="5417"/>
                    </a:lnTo>
                    <a:lnTo>
                      <a:pt x="379766" y="3512"/>
                    </a:lnTo>
                    <a:cubicBezTo>
                      <a:pt x="379766" y="3512"/>
                      <a:pt x="388338" y="1607"/>
                      <a:pt x="367383" y="1607"/>
                    </a:cubicBezTo>
                    <a:cubicBezTo>
                      <a:pt x="346428" y="1607"/>
                      <a:pt x="339761" y="-1250"/>
                      <a:pt x="339761" y="655"/>
                    </a:cubicBezTo>
                    <a:cubicBezTo>
                      <a:pt x="339761" y="2560"/>
                      <a:pt x="328331" y="4465"/>
                      <a:pt x="328331" y="4465"/>
                    </a:cubicBezTo>
                    <a:cubicBezTo>
                      <a:pt x="328331" y="4465"/>
                      <a:pt x="323568" y="5417"/>
                      <a:pt x="322616" y="8275"/>
                    </a:cubicBezTo>
                    <a:cubicBezTo>
                      <a:pt x="321663" y="10180"/>
                      <a:pt x="317853" y="8275"/>
                      <a:pt x="314996" y="12085"/>
                    </a:cubicBezTo>
                    <a:cubicBezTo>
                      <a:pt x="311186" y="15895"/>
                      <a:pt x="308328" y="13037"/>
                      <a:pt x="306423" y="15895"/>
                    </a:cubicBezTo>
                    <a:cubicBezTo>
                      <a:pt x="304518" y="19705"/>
                      <a:pt x="299756" y="20657"/>
                      <a:pt x="299756" y="20657"/>
                    </a:cubicBezTo>
                    <a:lnTo>
                      <a:pt x="294041" y="24467"/>
                    </a:lnTo>
                    <a:cubicBezTo>
                      <a:pt x="294041" y="24467"/>
                      <a:pt x="294041" y="28277"/>
                      <a:pt x="293088" y="31135"/>
                    </a:cubicBezTo>
                    <a:cubicBezTo>
                      <a:pt x="292136" y="33992"/>
                      <a:pt x="291183" y="36850"/>
                      <a:pt x="287373" y="37802"/>
                    </a:cubicBezTo>
                    <a:cubicBezTo>
                      <a:pt x="284516" y="38755"/>
                      <a:pt x="284516" y="38755"/>
                      <a:pt x="284516" y="38755"/>
                    </a:cubicBezTo>
                    <a:lnTo>
                      <a:pt x="268323" y="38755"/>
                    </a:lnTo>
                    <a:cubicBezTo>
                      <a:pt x="268323" y="38755"/>
                      <a:pt x="273086" y="30182"/>
                      <a:pt x="265466" y="29230"/>
                    </a:cubicBezTo>
                    <a:cubicBezTo>
                      <a:pt x="257846" y="28277"/>
                      <a:pt x="250226" y="27325"/>
                      <a:pt x="250226" y="27325"/>
                    </a:cubicBezTo>
                    <a:lnTo>
                      <a:pt x="242605" y="28277"/>
                    </a:lnTo>
                    <a:lnTo>
                      <a:pt x="227366" y="29230"/>
                    </a:lnTo>
                    <a:cubicBezTo>
                      <a:pt x="227366" y="29230"/>
                      <a:pt x="219746" y="30182"/>
                      <a:pt x="218793" y="33040"/>
                    </a:cubicBezTo>
                    <a:cubicBezTo>
                      <a:pt x="217841" y="34945"/>
                      <a:pt x="208316" y="38755"/>
                      <a:pt x="208316" y="42565"/>
                    </a:cubicBezTo>
                    <a:cubicBezTo>
                      <a:pt x="208316" y="46375"/>
                      <a:pt x="209268" y="43517"/>
                      <a:pt x="208316" y="46375"/>
                    </a:cubicBezTo>
                    <a:cubicBezTo>
                      <a:pt x="207363" y="50185"/>
                      <a:pt x="210221" y="50185"/>
                      <a:pt x="202601" y="53995"/>
                    </a:cubicBezTo>
                    <a:cubicBezTo>
                      <a:pt x="194980" y="57805"/>
                      <a:pt x="199743" y="54947"/>
                      <a:pt x="190218" y="57805"/>
                    </a:cubicBezTo>
                    <a:cubicBezTo>
                      <a:pt x="181646" y="59710"/>
                      <a:pt x="169263" y="58757"/>
                      <a:pt x="169263" y="58757"/>
                    </a:cubicBezTo>
                    <a:lnTo>
                      <a:pt x="157833" y="63520"/>
                    </a:lnTo>
                    <a:lnTo>
                      <a:pt x="155928" y="68282"/>
                    </a:lnTo>
                    <a:lnTo>
                      <a:pt x="142593" y="85427"/>
                    </a:lnTo>
                    <a:lnTo>
                      <a:pt x="137830" y="86380"/>
                    </a:lnTo>
                    <a:lnTo>
                      <a:pt x="128305" y="89237"/>
                    </a:lnTo>
                    <a:lnTo>
                      <a:pt x="122591" y="90190"/>
                    </a:lnTo>
                    <a:cubicBezTo>
                      <a:pt x="122591" y="90190"/>
                      <a:pt x="106398" y="94000"/>
                      <a:pt x="107351" y="96857"/>
                    </a:cubicBezTo>
                    <a:cubicBezTo>
                      <a:pt x="108303" y="99715"/>
                      <a:pt x="100683" y="100667"/>
                      <a:pt x="100683" y="100667"/>
                    </a:cubicBezTo>
                    <a:lnTo>
                      <a:pt x="89253" y="101620"/>
                    </a:lnTo>
                    <a:lnTo>
                      <a:pt x="73061" y="101620"/>
                    </a:lnTo>
                    <a:lnTo>
                      <a:pt x="63536" y="101620"/>
                    </a:lnTo>
                    <a:cubicBezTo>
                      <a:pt x="63536" y="101620"/>
                      <a:pt x="56868" y="102572"/>
                      <a:pt x="52106" y="105430"/>
                    </a:cubicBezTo>
                    <a:cubicBezTo>
                      <a:pt x="47343" y="108287"/>
                      <a:pt x="39723" y="116860"/>
                      <a:pt x="39723" y="116860"/>
                    </a:cubicBezTo>
                    <a:lnTo>
                      <a:pt x="16863" y="120670"/>
                    </a:lnTo>
                    <a:lnTo>
                      <a:pt x="9243" y="121622"/>
                    </a:lnTo>
                    <a:lnTo>
                      <a:pt x="1623" y="128290"/>
                    </a:lnTo>
                    <a:cubicBezTo>
                      <a:pt x="1623" y="128290"/>
                      <a:pt x="-282" y="132100"/>
                      <a:pt x="671" y="134957"/>
                    </a:cubicBezTo>
                    <a:cubicBezTo>
                      <a:pt x="1623" y="137815"/>
                      <a:pt x="-1234" y="138767"/>
                      <a:pt x="671" y="140672"/>
                    </a:cubicBezTo>
                    <a:cubicBezTo>
                      <a:pt x="2576" y="142577"/>
                      <a:pt x="-2187" y="134005"/>
                      <a:pt x="3528" y="145435"/>
                    </a:cubicBezTo>
                    <a:cubicBezTo>
                      <a:pt x="10196" y="156865"/>
                      <a:pt x="10196" y="156865"/>
                      <a:pt x="10196" y="156865"/>
                    </a:cubicBezTo>
                    <a:cubicBezTo>
                      <a:pt x="10196" y="156865"/>
                      <a:pt x="5433" y="152102"/>
                      <a:pt x="10196" y="156865"/>
                    </a:cubicBezTo>
                    <a:cubicBezTo>
                      <a:pt x="14958" y="161627"/>
                      <a:pt x="13053" y="162580"/>
                      <a:pt x="14006" y="165437"/>
                    </a:cubicBezTo>
                    <a:cubicBezTo>
                      <a:pt x="14958" y="168295"/>
                      <a:pt x="10196" y="172105"/>
                      <a:pt x="10196" y="174962"/>
                    </a:cubicBezTo>
                    <a:cubicBezTo>
                      <a:pt x="10196" y="176867"/>
                      <a:pt x="4481" y="180677"/>
                      <a:pt x="7338" y="183535"/>
                    </a:cubicBezTo>
                    <a:cubicBezTo>
                      <a:pt x="10196" y="186392"/>
                      <a:pt x="14958" y="185440"/>
                      <a:pt x="17816" y="189250"/>
                    </a:cubicBezTo>
                    <a:cubicBezTo>
                      <a:pt x="20673" y="193060"/>
                      <a:pt x="23531" y="196870"/>
                      <a:pt x="23531" y="196870"/>
                    </a:cubicBezTo>
                    <a:cubicBezTo>
                      <a:pt x="23531" y="196870"/>
                      <a:pt x="25436" y="197822"/>
                      <a:pt x="25436" y="199727"/>
                    </a:cubicBezTo>
                    <a:cubicBezTo>
                      <a:pt x="25436" y="201632"/>
                      <a:pt x="34961" y="210205"/>
                      <a:pt x="34961" y="210205"/>
                    </a:cubicBezTo>
                    <a:cubicBezTo>
                      <a:pt x="34961" y="210205"/>
                      <a:pt x="34008" y="215920"/>
                      <a:pt x="34008" y="219730"/>
                    </a:cubicBezTo>
                    <a:cubicBezTo>
                      <a:pt x="34008" y="223540"/>
                      <a:pt x="34008" y="229255"/>
                      <a:pt x="34008" y="229255"/>
                    </a:cubicBezTo>
                    <a:cubicBezTo>
                      <a:pt x="34008" y="229255"/>
                      <a:pt x="29246" y="231160"/>
                      <a:pt x="34008" y="235922"/>
                    </a:cubicBezTo>
                    <a:cubicBezTo>
                      <a:pt x="38771" y="240685"/>
                      <a:pt x="35913" y="244495"/>
                      <a:pt x="35913" y="244495"/>
                    </a:cubicBezTo>
                    <a:cubicBezTo>
                      <a:pt x="35913" y="244495"/>
                      <a:pt x="37818" y="247352"/>
                      <a:pt x="35913" y="250210"/>
                    </a:cubicBezTo>
                    <a:cubicBezTo>
                      <a:pt x="34008" y="253067"/>
                      <a:pt x="30198" y="254020"/>
                      <a:pt x="30198" y="257830"/>
                    </a:cubicBezTo>
                    <a:cubicBezTo>
                      <a:pt x="30198" y="261640"/>
                      <a:pt x="36866" y="266402"/>
                      <a:pt x="40676" y="268307"/>
                    </a:cubicBezTo>
                    <a:cubicBezTo>
                      <a:pt x="45438" y="270212"/>
                      <a:pt x="54011" y="273070"/>
                      <a:pt x="54011" y="273070"/>
                    </a:cubicBezTo>
                    <a:cubicBezTo>
                      <a:pt x="54011" y="273070"/>
                      <a:pt x="60678" y="272117"/>
                      <a:pt x="63536" y="273070"/>
                    </a:cubicBezTo>
                    <a:cubicBezTo>
                      <a:pt x="66393" y="274022"/>
                      <a:pt x="69251" y="270212"/>
                      <a:pt x="72108" y="271165"/>
                    </a:cubicBezTo>
                    <a:cubicBezTo>
                      <a:pt x="74966" y="272117"/>
                      <a:pt x="91158" y="267355"/>
                      <a:pt x="94016" y="270212"/>
                    </a:cubicBezTo>
                    <a:cubicBezTo>
                      <a:pt x="96873" y="272117"/>
                      <a:pt x="113066" y="274975"/>
                      <a:pt x="113066" y="274975"/>
                    </a:cubicBezTo>
                    <a:lnTo>
                      <a:pt x="129258" y="269260"/>
                    </a:lnTo>
                    <a:lnTo>
                      <a:pt x="136878" y="265450"/>
                    </a:lnTo>
                    <a:cubicBezTo>
                      <a:pt x="136878" y="265450"/>
                      <a:pt x="146403" y="264497"/>
                      <a:pt x="151166" y="264497"/>
                    </a:cubicBezTo>
                    <a:cubicBezTo>
                      <a:pt x="155928" y="264497"/>
                      <a:pt x="160691" y="266402"/>
                      <a:pt x="160691" y="266402"/>
                    </a:cubicBezTo>
                    <a:cubicBezTo>
                      <a:pt x="160691" y="266402"/>
                      <a:pt x="163548" y="269260"/>
                      <a:pt x="167358" y="269260"/>
                    </a:cubicBezTo>
                    <a:cubicBezTo>
                      <a:pt x="170216" y="269260"/>
                      <a:pt x="172121" y="270212"/>
                      <a:pt x="176883" y="269260"/>
                    </a:cubicBezTo>
                    <a:cubicBezTo>
                      <a:pt x="182598" y="268307"/>
                      <a:pt x="192123" y="267355"/>
                      <a:pt x="192123" y="267355"/>
                    </a:cubicBezTo>
                    <a:lnTo>
                      <a:pt x="198791" y="263545"/>
                    </a:lnTo>
                    <a:lnTo>
                      <a:pt x="200696" y="256877"/>
                    </a:lnTo>
                    <a:cubicBezTo>
                      <a:pt x="200696" y="256877"/>
                      <a:pt x="207363" y="250210"/>
                      <a:pt x="213078" y="248305"/>
                    </a:cubicBezTo>
                    <a:cubicBezTo>
                      <a:pt x="218793" y="247352"/>
                      <a:pt x="226413" y="244495"/>
                      <a:pt x="226413" y="244495"/>
                    </a:cubicBezTo>
                    <a:cubicBezTo>
                      <a:pt x="226413" y="244495"/>
                      <a:pt x="235938" y="244495"/>
                      <a:pt x="239748" y="243542"/>
                    </a:cubicBezTo>
                    <a:cubicBezTo>
                      <a:pt x="242605" y="242590"/>
                      <a:pt x="248321" y="238780"/>
                      <a:pt x="254988" y="238780"/>
                    </a:cubicBezTo>
                    <a:cubicBezTo>
                      <a:pt x="261655" y="238780"/>
                      <a:pt x="268323" y="237827"/>
                      <a:pt x="271181" y="238780"/>
                    </a:cubicBezTo>
                    <a:cubicBezTo>
                      <a:pt x="274038" y="239732"/>
                      <a:pt x="277848" y="240685"/>
                      <a:pt x="283563" y="241637"/>
                    </a:cubicBezTo>
                    <a:cubicBezTo>
                      <a:pt x="289278" y="243542"/>
                      <a:pt x="305471" y="245447"/>
                      <a:pt x="312138" y="245447"/>
                    </a:cubicBezTo>
                    <a:cubicBezTo>
                      <a:pt x="318806" y="245447"/>
                      <a:pt x="323568" y="243542"/>
                      <a:pt x="330236" y="244495"/>
                    </a:cubicBezTo>
                    <a:cubicBezTo>
                      <a:pt x="336903" y="245447"/>
                      <a:pt x="329283" y="240685"/>
                      <a:pt x="344523" y="243542"/>
                    </a:cubicBezTo>
                    <a:cubicBezTo>
                      <a:pt x="359763" y="247352"/>
                      <a:pt x="365478" y="248305"/>
                      <a:pt x="365478" y="248305"/>
                    </a:cubicBezTo>
                    <a:cubicBezTo>
                      <a:pt x="365478" y="248305"/>
                      <a:pt x="373098" y="253067"/>
                      <a:pt x="373098" y="254972"/>
                    </a:cubicBezTo>
                    <a:cubicBezTo>
                      <a:pt x="373098" y="257830"/>
                      <a:pt x="373098" y="259735"/>
                      <a:pt x="373098" y="261640"/>
                    </a:cubicBezTo>
                    <a:cubicBezTo>
                      <a:pt x="373098" y="263545"/>
                      <a:pt x="371193" y="267355"/>
                      <a:pt x="374051" y="268307"/>
                    </a:cubicBezTo>
                    <a:cubicBezTo>
                      <a:pt x="376908" y="269260"/>
                      <a:pt x="383576" y="273070"/>
                      <a:pt x="387386" y="273070"/>
                    </a:cubicBezTo>
                    <a:cubicBezTo>
                      <a:pt x="390243" y="273070"/>
                      <a:pt x="395958" y="273070"/>
                      <a:pt x="395958" y="273070"/>
                    </a:cubicBezTo>
                    <a:lnTo>
                      <a:pt x="400721" y="269260"/>
                    </a:lnTo>
                    <a:lnTo>
                      <a:pt x="404531" y="265450"/>
                    </a:lnTo>
                    <a:cubicBezTo>
                      <a:pt x="404531" y="265450"/>
                      <a:pt x="409293" y="264497"/>
                      <a:pt x="412151" y="264497"/>
                    </a:cubicBezTo>
                    <a:cubicBezTo>
                      <a:pt x="415008" y="265450"/>
                      <a:pt x="413103" y="260687"/>
                      <a:pt x="415008" y="265450"/>
                    </a:cubicBezTo>
                    <a:cubicBezTo>
                      <a:pt x="416913" y="270212"/>
                      <a:pt x="415961" y="273070"/>
                      <a:pt x="415961" y="273070"/>
                    </a:cubicBezTo>
                    <a:cubicBezTo>
                      <a:pt x="415961" y="273070"/>
                      <a:pt x="418818" y="278785"/>
                      <a:pt x="419771" y="281642"/>
                    </a:cubicBezTo>
                    <a:cubicBezTo>
                      <a:pt x="420723" y="284500"/>
                      <a:pt x="430248" y="288310"/>
                      <a:pt x="430248" y="288310"/>
                    </a:cubicBezTo>
                    <a:lnTo>
                      <a:pt x="442631" y="290215"/>
                    </a:lnTo>
                    <a:lnTo>
                      <a:pt x="451203" y="290215"/>
                    </a:lnTo>
                    <a:cubicBezTo>
                      <a:pt x="451203" y="290215"/>
                      <a:pt x="455966" y="292120"/>
                      <a:pt x="456918" y="294025"/>
                    </a:cubicBezTo>
                    <a:cubicBezTo>
                      <a:pt x="457871" y="295930"/>
                      <a:pt x="457871" y="295930"/>
                      <a:pt x="458823" y="299740"/>
                    </a:cubicBezTo>
                    <a:cubicBezTo>
                      <a:pt x="459776" y="303550"/>
                      <a:pt x="458823" y="306407"/>
                      <a:pt x="458823" y="310217"/>
                    </a:cubicBezTo>
                    <a:cubicBezTo>
                      <a:pt x="458823" y="314027"/>
                      <a:pt x="457871" y="309265"/>
                      <a:pt x="458823" y="314027"/>
                    </a:cubicBezTo>
                    <a:cubicBezTo>
                      <a:pt x="459776" y="317837"/>
                      <a:pt x="470253" y="324505"/>
                      <a:pt x="470253" y="324505"/>
                    </a:cubicBezTo>
                    <a:lnTo>
                      <a:pt x="478826" y="326410"/>
                    </a:lnTo>
                    <a:lnTo>
                      <a:pt x="490256" y="325457"/>
                    </a:lnTo>
                    <a:lnTo>
                      <a:pt x="505496" y="324505"/>
                    </a:lnTo>
                    <a:cubicBezTo>
                      <a:pt x="505496" y="324505"/>
                      <a:pt x="502638" y="323552"/>
                      <a:pt x="514068" y="326410"/>
                    </a:cubicBezTo>
                    <a:cubicBezTo>
                      <a:pt x="526451" y="329267"/>
                      <a:pt x="536928" y="328315"/>
                      <a:pt x="536928" y="328315"/>
                    </a:cubicBezTo>
                    <a:lnTo>
                      <a:pt x="549311" y="321647"/>
                    </a:lnTo>
                    <a:lnTo>
                      <a:pt x="555978" y="321647"/>
                    </a:lnTo>
                    <a:lnTo>
                      <a:pt x="564551" y="326410"/>
                    </a:lnTo>
                    <a:lnTo>
                      <a:pt x="572171" y="329267"/>
                    </a:lnTo>
                    <a:lnTo>
                      <a:pt x="583601" y="329267"/>
                    </a:lnTo>
                    <a:cubicBezTo>
                      <a:pt x="583601" y="329267"/>
                      <a:pt x="592173" y="322600"/>
                      <a:pt x="596936" y="321647"/>
                    </a:cubicBezTo>
                    <a:cubicBezTo>
                      <a:pt x="601698" y="320695"/>
                      <a:pt x="588363" y="323552"/>
                      <a:pt x="601698" y="320695"/>
                    </a:cubicBezTo>
                    <a:cubicBezTo>
                      <a:pt x="615033" y="317837"/>
                      <a:pt x="608366" y="319742"/>
                      <a:pt x="615033" y="317837"/>
                    </a:cubicBezTo>
                    <a:cubicBezTo>
                      <a:pt x="621701" y="316885"/>
                      <a:pt x="626463" y="312122"/>
                      <a:pt x="630273" y="311170"/>
                    </a:cubicBezTo>
                    <a:cubicBezTo>
                      <a:pt x="635036" y="310217"/>
                      <a:pt x="637893" y="304502"/>
                      <a:pt x="637893" y="304502"/>
                    </a:cubicBezTo>
                    <a:lnTo>
                      <a:pt x="639798" y="295930"/>
                    </a:lnTo>
                    <a:lnTo>
                      <a:pt x="644561" y="289262"/>
                    </a:lnTo>
                    <a:lnTo>
                      <a:pt x="652181" y="285452"/>
                    </a:lnTo>
                    <a:lnTo>
                      <a:pt x="655991" y="280690"/>
                    </a:lnTo>
                    <a:cubicBezTo>
                      <a:pt x="655991" y="280690"/>
                      <a:pt x="655991" y="271165"/>
                      <a:pt x="656943" y="269260"/>
                    </a:cubicBezTo>
                    <a:cubicBezTo>
                      <a:pt x="657896" y="267355"/>
                      <a:pt x="657896" y="267355"/>
                      <a:pt x="657896" y="267355"/>
                    </a:cubicBezTo>
                    <a:cubicBezTo>
                      <a:pt x="657896" y="267355"/>
                      <a:pt x="661706" y="260687"/>
                      <a:pt x="664563" y="259735"/>
                    </a:cubicBezTo>
                    <a:cubicBezTo>
                      <a:pt x="668373" y="258782"/>
                      <a:pt x="667421" y="263545"/>
                      <a:pt x="673136" y="255925"/>
                    </a:cubicBezTo>
                    <a:cubicBezTo>
                      <a:pt x="678851" y="249257"/>
                      <a:pt x="683613" y="243542"/>
                      <a:pt x="683613" y="243542"/>
                    </a:cubicBezTo>
                    <a:lnTo>
                      <a:pt x="687423" y="230207"/>
                    </a:lnTo>
                    <a:lnTo>
                      <a:pt x="691233" y="223540"/>
                    </a:lnTo>
                    <a:lnTo>
                      <a:pt x="695043" y="207347"/>
                    </a:lnTo>
                    <a:cubicBezTo>
                      <a:pt x="695043" y="207347"/>
                      <a:pt x="693138" y="202585"/>
                      <a:pt x="695043" y="197822"/>
                    </a:cubicBezTo>
                    <a:cubicBezTo>
                      <a:pt x="696948" y="194012"/>
                      <a:pt x="696948" y="182582"/>
                      <a:pt x="696948" y="182582"/>
                    </a:cubicBezTo>
                    <a:lnTo>
                      <a:pt x="696948" y="176867"/>
                    </a:lnTo>
                    <a:lnTo>
                      <a:pt x="694091" y="169247"/>
                    </a:lnTo>
                    <a:lnTo>
                      <a:pt x="691233" y="162580"/>
                    </a:lnTo>
                    <a:cubicBezTo>
                      <a:pt x="691233" y="162580"/>
                      <a:pt x="684566" y="157817"/>
                      <a:pt x="683613" y="154960"/>
                    </a:cubicBezTo>
                    <a:cubicBezTo>
                      <a:pt x="682661" y="152102"/>
                      <a:pt x="675041" y="147340"/>
                      <a:pt x="675041" y="147340"/>
                    </a:cubicBezTo>
                    <a:lnTo>
                      <a:pt x="667421" y="142577"/>
                    </a:lnTo>
                    <a:lnTo>
                      <a:pt x="650276" y="130195"/>
                    </a:lnTo>
                    <a:cubicBezTo>
                      <a:pt x="650276" y="130195"/>
                      <a:pt x="637893" y="122575"/>
                      <a:pt x="637893" y="120670"/>
                    </a:cubicBezTo>
                    <a:cubicBezTo>
                      <a:pt x="637893" y="118765"/>
                      <a:pt x="628368" y="105430"/>
                      <a:pt x="628368" y="105430"/>
                    </a:cubicBezTo>
                    <a:lnTo>
                      <a:pt x="612176" y="96857"/>
                    </a:lnTo>
                    <a:lnTo>
                      <a:pt x="597888" y="94952"/>
                    </a:lnTo>
                    <a:lnTo>
                      <a:pt x="580743" y="79712"/>
                    </a:lnTo>
                    <a:cubicBezTo>
                      <a:pt x="580743" y="79712"/>
                      <a:pt x="575981" y="75902"/>
                      <a:pt x="573123" y="74950"/>
                    </a:cubicBezTo>
                    <a:cubicBezTo>
                      <a:pt x="570266" y="73045"/>
                      <a:pt x="566456" y="71140"/>
                      <a:pt x="565503" y="68282"/>
                    </a:cubicBezTo>
                    <a:cubicBezTo>
                      <a:pt x="564551" y="65425"/>
                      <a:pt x="563598" y="58757"/>
                      <a:pt x="563598" y="58757"/>
                    </a:cubicBezTo>
                    <a:lnTo>
                      <a:pt x="557883" y="53042"/>
                    </a:lnTo>
                    <a:lnTo>
                      <a:pt x="555026" y="42565"/>
                    </a:lnTo>
                    <a:lnTo>
                      <a:pt x="552168" y="35897"/>
                    </a:lnTo>
                    <a:lnTo>
                      <a:pt x="546453" y="31135"/>
                    </a:lnTo>
                    <a:lnTo>
                      <a:pt x="541691" y="28277"/>
                    </a:lnTo>
                    <a:lnTo>
                      <a:pt x="535976" y="22562"/>
                    </a:lnTo>
                    <a:lnTo>
                      <a:pt x="532166" y="16847"/>
                    </a:lnTo>
                    <a:lnTo>
                      <a:pt x="523593" y="13990"/>
                    </a:lnTo>
                    <a:lnTo>
                      <a:pt x="517878" y="13990"/>
                    </a:lnTo>
                    <a:lnTo>
                      <a:pt x="504543" y="16847"/>
                    </a:lnTo>
                    <a:lnTo>
                      <a:pt x="499781" y="16847"/>
                    </a:lnTo>
                    <a:lnTo>
                      <a:pt x="495018" y="18752"/>
                    </a:lnTo>
                    <a:close/>
                  </a:path>
                </a:pathLst>
              </a:custGeom>
              <a:grpFill/>
              <a:ln w="9525" cap="flat">
                <a:noFill/>
                <a:prstDash val="solid"/>
                <a:miter/>
              </a:ln>
            </p:spPr>
            <p:txBody>
              <a:bodyPr rtlCol="0" anchor="ctr"/>
              <a:lstStyle/>
              <a:p>
                <a:endParaRPr lang="en-US" sz="1765"/>
              </a:p>
            </p:txBody>
          </p:sp>
          <p:sp>
            <p:nvSpPr>
              <p:cNvPr id="308" name="Freeform: Shape 307">
                <a:extLst>
                  <a:ext uri="{FF2B5EF4-FFF2-40B4-BE49-F238E27FC236}">
                    <a16:creationId xmlns:a16="http://schemas.microsoft.com/office/drawing/2014/main" id="{30610D34-9A51-4314-8F63-056538CA0BF7}"/>
                  </a:ext>
                </a:extLst>
              </p:cNvPr>
              <p:cNvSpPr/>
              <p:nvPr/>
            </p:nvSpPr>
            <p:spPr>
              <a:xfrm>
                <a:off x="10716339" y="4552679"/>
                <a:ext cx="49796" cy="30856"/>
              </a:xfrm>
              <a:custGeom>
                <a:avLst/>
                <a:gdLst>
                  <a:gd name="connsiteX0" fmla="*/ 43129 w 49796"/>
                  <a:gd name="connsiteY0" fmla="*/ 0 h 30856"/>
                  <a:gd name="connsiteX1" fmla="*/ 34557 w 49796"/>
                  <a:gd name="connsiteY1" fmla="*/ 953 h 30856"/>
                  <a:gd name="connsiteX2" fmla="*/ 16459 w 49796"/>
                  <a:gd name="connsiteY2" fmla="*/ 953 h 30856"/>
                  <a:gd name="connsiteX3" fmla="*/ 8839 w 49796"/>
                  <a:gd name="connsiteY3" fmla="*/ 953 h 30856"/>
                  <a:gd name="connsiteX4" fmla="*/ 2172 w 49796"/>
                  <a:gd name="connsiteY4" fmla="*/ 3810 h 30856"/>
                  <a:gd name="connsiteX5" fmla="*/ 1219 w 49796"/>
                  <a:gd name="connsiteY5" fmla="*/ 7620 h 30856"/>
                  <a:gd name="connsiteX6" fmla="*/ 267 w 49796"/>
                  <a:gd name="connsiteY6" fmla="*/ 17145 h 30856"/>
                  <a:gd name="connsiteX7" fmla="*/ 1219 w 49796"/>
                  <a:gd name="connsiteY7" fmla="*/ 20955 h 30856"/>
                  <a:gd name="connsiteX8" fmla="*/ 2172 w 49796"/>
                  <a:gd name="connsiteY8" fmla="*/ 27622 h 30856"/>
                  <a:gd name="connsiteX9" fmla="*/ 18364 w 49796"/>
                  <a:gd name="connsiteY9" fmla="*/ 30480 h 30856"/>
                  <a:gd name="connsiteX10" fmla="*/ 23127 w 49796"/>
                  <a:gd name="connsiteY10" fmla="*/ 26670 h 30856"/>
                  <a:gd name="connsiteX11" fmla="*/ 26937 w 49796"/>
                  <a:gd name="connsiteY11" fmla="*/ 26670 h 30856"/>
                  <a:gd name="connsiteX12" fmla="*/ 39319 w 49796"/>
                  <a:gd name="connsiteY12" fmla="*/ 22860 h 30856"/>
                  <a:gd name="connsiteX13" fmla="*/ 44082 w 49796"/>
                  <a:gd name="connsiteY13" fmla="*/ 21908 h 30856"/>
                  <a:gd name="connsiteX14" fmla="*/ 48844 w 49796"/>
                  <a:gd name="connsiteY14" fmla="*/ 19050 h 30856"/>
                  <a:gd name="connsiteX15" fmla="*/ 49797 w 49796"/>
                  <a:gd name="connsiteY15" fmla="*/ 12383 h 30856"/>
                  <a:gd name="connsiteX16" fmla="*/ 46939 w 49796"/>
                  <a:gd name="connsiteY16" fmla="*/ 4763 h 30856"/>
                  <a:gd name="connsiteX17" fmla="*/ 43129 w 49796"/>
                  <a:gd name="connsiteY17" fmla="*/ 0 h 3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796" h="30856">
                    <a:moveTo>
                      <a:pt x="43129" y="0"/>
                    </a:moveTo>
                    <a:lnTo>
                      <a:pt x="34557" y="953"/>
                    </a:lnTo>
                    <a:lnTo>
                      <a:pt x="16459" y="953"/>
                    </a:lnTo>
                    <a:lnTo>
                      <a:pt x="8839" y="953"/>
                    </a:lnTo>
                    <a:cubicBezTo>
                      <a:pt x="8839" y="953"/>
                      <a:pt x="3124" y="0"/>
                      <a:pt x="2172" y="3810"/>
                    </a:cubicBezTo>
                    <a:cubicBezTo>
                      <a:pt x="1219" y="7620"/>
                      <a:pt x="1219" y="2858"/>
                      <a:pt x="1219" y="7620"/>
                    </a:cubicBezTo>
                    <a:cubicBezTo>
                      <a:pt x="1219" y="12383"/>
                      <a:pt x="-686" y="14288"/>
                      <a:pt x="267" y="17145"/>
                    </a:cubicBezTo>
                    <a:cubicBezTo>
                      <a:pt x="1219" y="20955"/>
                      <a:pt x="267" y="14288"/>
                      <a:pt x="1219" y="20955"/>
                    </a:cubicBezTo>
                    <a:cubicBezTo>
                      <a:pt x="2172" y="27622"/>
                      <a:pt x="-1638" y="21908"/>
                      <a:pt x="2172" y="27622"/>
                    </a:cubicBezTo>
                    <a:cubicBezTo>
                      <a:pt x="5982" y="32385"/>
                      <a:pt x="18364" y="30480"/>
                      <a:pt x="18364" y="30480"/>
                    </a:cubicBezTo>
                    <a:cubicBezTo>
                      <a:pt x="18364" y="30480"/>
                      <a:pt x="19317" y="26670"/>
                      <a:pt x="23127" y="26670"/>
                    </a:cubicBezTo>
                    <a:cubicBezTo>
                      <a:pt x="26937" y="26670"/>
                      <a:pt x="21222" y="24765"/>
                      <a:pt x="26937" y="26670"/>
                    </a:cubicBezTo>
                    <a:cubicBezTo>
                      <a:pt x="32652" y="28575"/>
                      <a:pt x="39319" y="22860"/>
                      <a:pt x="39319" y="22860"/>
                    </a:cubicBezTo>
                    <a:lnTo>
                      <a:pt x="44082" y="21908"/>
                    </a:lnTo>
                    <a:cubicBezTo>
                      <a:pt x="44082" y="21908"/>
                      <a:pt x="47892" y="20955"/>
                      <a:pt x="48844" y="19050"/>
                    </a:cubicBezTo>
                    <a:cubicBezTo>
                      <a:pt x="49797" y="17145"/>
                      <a:pt x="49797" y="12383"/>
                      <a:pt x="49797" y="12383"/>
                    </a:cubicBezTo>
                    <a:lnTo>
                      <a:pt x="46939" y="4763"/>
                    </a:lnTo>
                    <a:lnTo>
                      <a:pt x="43129" y="0"/>
                    </a:lnTo>
                    <a:close/>
                  </a:path>
                </a:pathLst>
              </a:custGeom>
              <a:grpFill/>
              <a:ln w="9525" cap="flat">
                <a:noFill/>
                <a:prstDash val="solid"/>
                <a:miter/>
              </a:ln>
            </p:spPr>
            <p:txBody>
              <a:bodyPr rtlCol="0" anchor="ctr"/>
              <a:lstStyle/>
              <a:p>
                <a:endParaRPr lang="en-US" sz="1765"/>
              </a:p>
            </p:txBody>
          </p:sp>
          <p:sp>
            <p:nvSpPr>
              <p:cNvPr id="309" name="Freeform: Shape 308">
                <a:extLst>
                  <a:ext uri="{FF2B5EF4-FFF2-40B4-BE49-F238E27FC236}">
                    <a16:creationId xmlns:a16="http://schemas.microsoft.com/office/drawing/2014/main" id="{E31CE1C3-EBF9-4ECE-92CC-8C107CA002AB}"/>
                  </a:ext>
                </a:extLst>
              </p:cNvPr>
              <p:cNvSpPr/>
              <p:nvPr/>
            </p:nvSpPr>
            <p:spPr>
              <a:xfrm>
                <a:off x="11071889" y="4560299"/>
                <a:ext cx="126682" cy="72389"/>
              </a:xfrm>
              <a:custGeom>
                <a:avLst/>
                <a:gdLst>
                  <a:gd name="connsiteX0" fmla="*/ 126682 w 126682"/>
                  <a:gd name="connsiteY0" fmla="*/ 1905 h 72389"/>
                  <a:gd name="connsiteX1" fmla="*/ 123825 w 126682"/>
                  <a:gd name="connsiteY1" fmla="*/ 10477 h 72389"/>
                  <a:gd name="connsiteX2" fmla="*/ 120968 w 126682"/>
                  <a:gd name="connsiteY2" fmla="*/ 20002 h 72389"/>
                  <a:gd name="connsiteX3" fmla="*/ 114300 w 126682"/>
                  <a:gd name="connsiteY3" fmla="*/ 29527 h 72389"/>
                  <a:gd name="connsiteX4" fmla="*/ 96202 w 126682"/>
                  <a:gd name="connsiteY4" fmla="*/ 37147 h 72389"/>
                  <a:gd name="connsiteX5" fmla="*/ 90488 w 126682"/>
                  <a:gd name="connsiteY5" fmla="*/ 40005 h 72389"/>
                  <a:gd name="connsiteX6" fmla="*/ 83820 w 126682"/>
                  <a:gd name="connsiteY6" fmla="*/ 43815 h 72389"/>
                  <a:gd name="connsiteX7" fmla="*/ 83820 w 126682"/>
                  <a:gd name="connsiteY7" fmla="*/ 47625 h 72389"/>
                  <a:gd name="connsiteX8" fmla="*/ 80010 w 126682"/>
                  <a:gd name="connsiteY8" fmla="*/ 57150 h 72389"/>
                  <a:gd name="connsiteX9" fmla="*/ 75248 w 126682"/>
                  <a:gd name="connsiteY9" fmla="*/ 61913 h 72389"/>
                  <a:gd name="connsiteX10" fmla="*/ 64770 w 126682"/>
                  <a:gd name="connsiteY10" fmla="*/ 67627 h 72389"/>
                  <a:gd name="connsiteX11" fmla="*/ 57150 w 126682"/>
                  <a:gd name="connsiteY11" fmla="*/ 69533 h 72389"/>
                  <a:gd name="connsiteX12" fmla="*/ 40957 w 126682"/>
                  <a:gd name="connsiteY12" fmla="*/ 71438 h 72389"/>
                  <a:gd name="connsiteX13" fmla="*/ 25718 w 126682"/>
                  <a:gd name="connsiteY13" fmla="*/ 72390 h 72389"/>
                  <a:gd name="connsiteX14" fmla="*/ 14288 w 126682"/>
                  <a:gd name="connsiteY14" fmla="*/ 72390 h 72389"/>
                  <a:gd name="connsiteX15" fmla="*/ 1905 w 126682"/>
                  <a:gd name="connsiteY15" fmla="*/ 70485 h 72389"/>
                  <a:gd name="connsiteX16" fmla="*/ 0 w 126682"/>
                  <a:gd name="connsiteY16" fmla="*/ 61913 h 72389"/>
                  <a:gd name="connsiteX17" fmla="*/ 0 w 126682"/>
                  <a:gd name="connsiteY17" fmla="*/ 55245 h 72389"/>
                  <a:gd name="connsiteX18" fmla="*/ 5715 w 126682"/>
                  <a:gd name="connsiteY18" fmla="*/ 48577 h 72389"/>
                  <a:gd name="connsiteX19" fmla="*/ 16193 w 126682"/>
                  <a:gd name="connsiteY19" fmla="*/ 43815 h 72389"/>
                  <a:gd name="connsiteX20" fmla="*/ 24765 w 126682"/>
                  <a:gd name="connsiteY20" fmla="*/ 42863 h 72389"/>
                  <a:gd name="connsiteX21" fmla="*/ 40957 w 126682"/>
                  <a:gd name="connsiteY21" fmla="*/ 39052 h 72389"/>
                  <a:gd name="connsiteX22" fmla="*/ 60007 w 126682"/>
                  <a:gd name="connsiteY22" fmla="*/ 32385 h 72389"/>
                  <a:gd name="connsiteX23" fmla="*/ 73343 w 126682"/>
                  <a:gd name="connsiteY23" fmla="*/ 22860 h 72389"/>
                  <a:gd name="connsiteX24" fmla="*/ 84773 w 126682"/>
                  <a:gd name="connsiteY24" fmla="*/ 9525 h 72389"/>
                  <a:gd name="connsiteX25" fmla="*/ 91440 w 126682"/>
                  <a:gd name="connsiteY25" fmla="*/ 6667 h 72389"/>
                  <a:gd name="connsiteX26" fmla="*/ 97155 w 126682"/>
                  <a:gd name="connsiteY26" fmla="*/ 2858 h 72389"/>
                  <a:gd name="connsiteX27" fmla="*/ 108585 w 126682"/>
                  <a:gd name="connsiteY27" fmla="*/ 0 h 72389"/>
                  <a:gd name="connsiteX28" fmla="*/ 116205 w 126682"/>
                  <a:gd name="connsiteY28" fmla="*/ 0 h 72389"/>
                  <a:gd name="connsiteX29" fmla="*/ 126682 w 126682"/>
                  <a:gd name="connsiteY29" fmla="*/ 1905 h 7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6682" h="72389">
                    <a:moveTo>
                      <a:pt x="126682" y="1905"/>
                    </a:moveTo>
                    <a:cubicBezTo>
                      <a:pt x="126682" y="1905"/>
                      <a:pt x="124777" y="7620"/>
                      <a:pt x="123825" y="10477"/>
                    </a:cubicBezTo>
                    <a:cubicBezTo>
                      <a:pt x="123825" y="13335"/>
                      <a:pt x="122873" y="15240"/>
                      <a:pt x="120968" y="20002"/>
                    </a:cubicBezTo>
                    <a:cubicBezTo>
                      <a:pt x="120015" y="23813"/>
                      <a:pt x="122873" y="23813"/>
                      <a:pt x="114300" y="29527"/>
                    </a:cubicBezTo>
                    <a:cubicBezTo>
                      <a:pt x="105727" y="35242"/>
                      <a:pt x="96202" y="37147"/>
                      <a:pt x="96202" y="37147"/>
                    </a:cubicBezTo>
                    <a:cubicBezTo>
                      <a:pt x="96202" y="37147"/>
                      <a:pt x="91440" y="38100"/>
                      <a:pt x="90488" y="40005"/>
                    </a:cubicBezTo>
                    <a:cubicBezTo>
                      <a:pt x="89535" y="41910"/>
                      <a:pt x="83820" y="40005"/>
                      <a:pt x="83820" y="43815"/>
                    </a:cubicBezTo>
                    <a:cubicBezTo>
                      <a:pt x="83820" y="47625"/>
                      <a:pt x="84773" y="42863"/>
                      <a:pt x="83820" y="47625"/>
                    </a:cubicBezTo>
                    <a:cubicBezTo>
                      <a:pt x="82868" y="51435"/>
                      <a:pt x="80010" y="57150"/>
                      <a:pt x="80010" y="57150"/>
                    </a:cubicBezTo>
                    <a:cubicBezTo>
                      <a:pt x="80010" y="57150"/>
                      <a:pt x="80963" y="58102"/>
                      <a:pt x="75248" y="61913"/>
                    </a:cubicBezTo>
                    <a:cubicBezTo>
                      <a:pt x="69532" y="65722"/>
                      <a:pt x="73343" y="65722"/>
                      <a:pt x="64770" y="67627"/>
                    </a:cubicBezTo>
                    <a:cubicBezTo>
                      <a:pt x="57150" y="69533"/>
                      <a:pt x="63818" y="68580"/>
                      <a:pt x="57150" y="69533"/>
                    </a:cubicBezTo>
                    <a:cubicBezTo>
                      <a:pt x="50482" y="70485"/>
                      <a:pt x="40957" y="71438"/>
                      <a:pt x="40957" y="71438"/>
                    </a:cubicBezTo>
                    <a:lnTo>
                      <a:pt x="25718" y="72390"/>
                    </a:lnTo>
                    <a:lnTo>
                      <a:pt x="14288" y="72390"/>
                    </a:lnTo>
                    <a:lnTo>
                      <a:pt x="1905" y="70485"/>
                    </a:lnTo>
                    <a:cubicBezTo>
                      <a:pt x="1905" y="70485"/>
                      <a:pt x="0" y="63817"/>
                      <a:pt x="0" y="61913"/>
                    </a:cubicBezTo>
                    <a:cubicBezTo>
                      <a:pt x="0" y="60008"/>
                      <a:pt x="0" y="55245"/>
                      <a:pt x="0" y="55245"/>
                    </a:cubicBezTo>
                    <a:lnTo>
                      <a:pt x="5715" y="48577"/>
                    </a:lnTo>
                    <a:lnTo>
                      <a:pt x="16193" y="43815"/>
                    </a:lnTo>
                    <a:cubicBezTo>
                      <a:pt x="16193" y="43815"/>
                      <a:pt x="20955" y="42863"/>
                      <a:pt x="24765" y="42863"/>
                    </a:cubicBezTo>
                    <a:cubicBezTo>
                      <a:pt x="29527" y="42863"/>
                      <a:pt x="36195" y="40005"/>
                      <a:pt x="40957" y="39052"/>
                    </a:cubicBezTo>
                    <a:cubicBezTo>
                      <a:pt x="46673" y="38100"/>
                      <a:pt x="56198" y="32385"/>
                      <a:pt x="60007" y="32385"/>
                    </a:cubicBezTo>
                    <a:cubicBezTo>
                      <a:pt x="62865" y="31433"/>
                      <a:pt x="71438" y="25717"/>
                      <a:pt x="73343" y="22860"/>
                    </a:cubicBezTo>
                    <a:cubicBezTo>
                      <a:pt x="75248" y="20002"/>
                      <a:pt x="84773" y="9525"/>
                      <a:pt x="84773" y="9525"/>
                    </a:cubicBezTo>
                    <a:lnTo>
                      <a:pt x="91440" y="6667"/>
                    </a:lnTo>
                    <a:cubicBezTo>
                      <a:pt x="91440" y="6667"/>
                      <a:pt x="85725" y="4763"/>
                      <a:pt x="97155" y="2858"/>
                    </a:cubicBezTo>
                    <a:cubicBezTo>
                      <a:pt x="108585" y="0"/>
                      <a:pt x="108585" y="0"/>
                      <a:pt x="108585" y="0"/>
                    </a:cubicBezTo>
                    <a:lnTo>
                      <a:pt x="116205" y="0"/>
                    </a:lnTo>
                    <a:lnTo>
                      <a:pt x="126682" y="1905"/>
                    </a:lnTo>
                    <a:close/>
                  </a:path>
                </a:pathLst>
              </a:custGeom>
              <a:grpFill/>
              <a:ln w="9525" cap="flat">
                <a:noFill/>
                <a:prstDash val="solid"/>
                <a:miter/>
              </a:ln>
            </p:spPr>
            <p:txBody>
              <a:bodyPr rtlCol="0" anchor="ctr"/>
              <a:lstStyle/>
              <a:p>
                <a:endParaRPr lang="en-US" sz="1765"/>
              </a:p>
            </p:txBody>
          </p:sp>
          <p:sp>
            <p:nvSpPr>
              <p:cNvPr id="310" name="Freeform: Shape 309">
                <a:extLst>
                  <a:ext uri="{FF2B5EF4-FFF2-40B4-BE49-F238E27FC236}">
                    <a16:creationId xmlns:a16="http://schemas.microsoft.com/office/drawing/2014/main" id="{680BC5FF-6821-4DE0-B189-FDF5745C9540}"/>
                  </a:ext>
                </a:extLst>
              </p:cNvPr>
              <p:cNvSpPr/>
              <p:nvPr/>
            </p:nvSpPr>
            <p:spPr>
              <a:xfrm>
                <a:off x="11193808" y="4475526"/>
                <a:ext cx="84894" cy="90381"/>
              </a:xfrm>
              <a:custGeom>
                <a:avLst/>
                <a:gdLst>
                  <a:gd name="connsiteX0" fmla="*/ 4763 w 84894"/>
                  <a:gd name="connsiteY0" fmla="*/ 953 h 90381"/>
                  <a:gd name="connsiteX1" fmla="*/ 3810 w 84894"/>
                  <a:gd name="connsiteY1" fmla="*/ 4763 h 90381"/>
                  <a:gd name="connsiteX2" fmla="*/ 6668 w 84894"/>
                  <a:gd name="connsiteY2" fmla="*/ 12383 h 90381"/>
                  <a:gd name="connsiteX3" fmla="*/ 953 w 84894"/>
                  <a:gd name="connsiteY3" fmla="*/ 20003 h 90381"/>
                  <a:gd name="connsiteX4" fmla="*/ 6668 w 84894"/>
                  <a:gd name="connsiteY4" fmla="*/ 27623 h 90381"/>
                  <a:gd name="connsiteX5" fmla="*/ 14288 w 84894"/>
                  <a:gd name="connsiteY5" fmla="*/ 30480 h 90381"/>
                  <a:gd name="connsiteX6" fmla="*/ 19050 w 84894"/>
                  <a:gd name="connsiteY6" fmla="*/ 34290 h 90381"/>
                  <a:gd name="connsiteX7" fmla="*/ 19050 w 84894"/>
                  <a:gd name="connsiteY7" fmla="*/ 45720 h 90381"/>
                  <a:gd name="connsiteX8" fmla="*/ 18098 w 84894"/>
                  <a:gd name="connsiteY8" fmla="*/ 50483 h 90381"/>
                  <a:gd name="connsiteX9" fmla="*/ 12382 w 84894"/>
                  <a:gd name="connsiteY9" fmla="*/ 53340 h 90381"/>
                  <a:gd name="connsiteX10" fmla="*/ 9525 w 84894"/>
                  <a:gd name="connsiteY10" fmla="*/ 60008 h 90381"/>
                  <a:gd name="connsiteX11" fmla="*/ 23813 w 84894"/>
                  <a:gd name="connsiteY11" fmla="*/ 68580 h 90381"/>
                  <a:gd name="connsiteX12" fmla="*/ 24765 w 84894"/>
                  <a:gd name="connsiteY12" fmla="*/ 72390 h 90381"/>
                  <a:gd name="connsiteX13" fmla="*/ 24765 w 84894"/>
                  <a:gd name="connsiteY13" fmla="*/ 79058 h 90381"/>
                  <a:gd name="connsiteX14" fmla="*/ 27623 w 84894"/>
                  <a:gd name="connsiteY14" fmla="*/ 85725 h 90381"/>
                  <a:gd name="connsiteX15" fmla="*/ 35243 w 84894"/>
                  <a:gd name="connsiteY15" fmla="*/ 87630 h 90381"/>
                  <a:gd name="connsiteX16" fmla="*/ 47625 w 84894"/>
                  <a:gd name="connsiteY16" fmla="*/ 89535 h 90381"/>
                  <a:gd name="connsiteX17" fmla="*/ 55245 w 84894"/>
                  <a:gd name="connsiteY17" fmla="*/ 89535 h 90381"/>
                  <a:gd name="connsiteX18" fmla="*/ 60007 w 84894"/>
                  <a:gd name="connsiteY18" fmla="*/ 82868 h 90381"/>
                  <a:gd name="connsiteX19" fmla="*/ 62865 w 84894"/>
                  <a:gd name="connsiteY19" fmla="*/ 73343 h 90381"/>
                  <a:gd name="connsiteX20" fmla="*/ 69532 w 84894"/>
                  <a:gd name="connsiteY20" fmla="*/ 69533 h 90381"/>
                  <a:gd name="connsiteX21" fmla="*/ 78105 w 84894"/>
                  <a:gd name="connsiteY21" fmla="*/ 61913 h 90381"/>
                  <a:gd name="connsiteX22" fmla="*/ 79057 w 84894"/>
                  <a:gd name="connsiteY22" fmla="*/ 50483 h 90381"/>
                  <a:gd name="connsiteX23" fmla="*/ 84773 w 84894"/>
                  <a:gd name="connsiteY23" fmla="*/ 38100 h 90381"/>
                  <a:gd name="connsiteX24" fmla="*/ 75248 w 84894"/>
                  <a:gd name="connsiteY24" fmla="*/ 30480 h 90381"/>
                  <a:gd name="connsiteX25" fmla="*/ 60960 w 84894"/>
                  <a:gd name="connsiteY25" fmla="*/ 30480 h 90381"/>
                  <a:gd name="connsiteX26" fmla="*/ 44768 w 84894"/>
                  <a:gd name="connsiteY26" fmla="*/ 19050 h 90381"/>
                  <a:gd name="connsiteX27" fmla="*/ 33338 w 84894"/>
                  <a:gd name="connsiteY27" fmla="*/ 17145 h 90381"/>
                  <a:gd name="connsiteX28" fmla="*/ 26670 w 84894"/>
                  <a:gd name="connsiteY28" fmla="*/ 14288 h 90381"/>
                  <a:gd name="connsiteX29" fmla="*/ 20955 w 84894"/>
                  <a:gd name="connsiteY29" fmla="*/ 6668 h 90381"/>
                  <a:gd name="connsiteX30" fmla="*/ 16193 w 84894"/>
                  <a:gd name="connsiteY30" fmla="*/ 4763 h 90381"/>
                  <a:gd name="connsiteX31" fmla="*/ 0 w 84894"/>
                  <a:gd name="connsiteY31" fmla="*/ 0 h 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894" h="90381">
                    <a:moveTo>
                      <a:pt x="4763" y="953"/>
                    </a:moveTo>
                    <a:cubicBezTo>
                      <a:pt x="4763" y="953"/>
                      <a:pt x="1905" y="0"/>
                      <a:pt x="3810" y="4763"/>
                    </a:cubicBezTo>
                    <a:cubicBezTo>
                      <a:pt x="5715" y="9525"/>
                      <a:pt x="6668" y="9525"/>
                      <a:pt x="6668" y="12383"/>
                    </a:cubicBezTo>
                    <a:cubicBezTo>
                      <a:pt x="6668" y="15240"/>
                      <a:pt x="0" y="16193"/>
                      <a:pt x="953" y="20003"/>
                    </a:cubicBezTo>
                    <a:cubicBezTo>
                      <a:pt x="1905" y="23813"/>
                      <a:pt x="6668" y="27623"/>
                      <a:pt x="6668" y="27623"/>
                    </a:cubicBezTo>
                    <a:lnTo>
                      <a:pt x="14288" y="30480"/>
                    </a:lnTo>
                    <a:lnTo>
                      <a:pt x="19050" y="34290"/>
                    </a:lnTo>
                    <a:cubicBezTo>
                      <a:pt x="19050" y="34290"/>
                      <a:pt x="19050" y="43815"/>
                      <a:pt x="19050" y="45720"/>
                    </a:cubicBezTo>
                    <a:cubicBezTo>
                      <a:pt x="19050" y="47625"/>
                      <a:pt x="18098" y="50483"/>
                      <a:pt x="18098" y="50483"/>
                    </a:cubicBezTo>
                    <a:cubicBezTo>
                      <a:pt x="18098" y="50483"/>
                      <a:pt x="12382" y="50483"/>
                      <a:pt x="12382" y="53340"/>
                    </a:cubicBezTo>
                    <a:cubicBezTo>
                      <a:pt x="12382" y="56198"/>
                      <a:pt x="8573" y="57150"/>
                      <a:pt x="9525" y="60008"/>
                    </a:cubicBezTo>
                    <a:cubicBezTo>
                      <a:pt x="10478" y="61913"/>
                      <a:pt x="23813" y="68580"/>
                      <a:pt x="23813" y="68580"/>
                    </a:cubicBezTo>
                    <a:cubicBezTo>
                      <a:pt x="23813" y="68580"/>
                      <a:pt x="24765" y="67628"/>
                      <a:pt x="24765" y="72390"/>
                    </a:cubicBezTo>
                    <a:cubicBezTo>
                      <a:pt x="24765" y="76200"/>
                      <a:pt x="20955" y="73343"/>
                      <a:pt x="24765" y="79058"/>
                    </a:cubicBezTo>
                    <a:cubicBezTo>
                      <a:pt x="27623" y="85725"/>
                      <a:pt x="27623" y="85725"/>
                      <a:pt x="27623" y="85725"/>
                    </a:cubicBezTo>
                    <a:cubicBezTo>
                      <a:pt x="27623" y="85725"/>
                      <a:pt x="32385" y="85725"/>
                      <a:pt x="35243" y="87630"/>
                    </a:cubicBezTo>
                    <a:cubicBezTo>
                      <a:pt x="38100" y="89535"/>
                      <a:pt x="47625" y="89535"/>
                      <a:pt x="47625" y="89535"/>
                    </a:cubicBezTo>
                    <a:cubicBezTo>
                      <a:pt x="47625" y="89535"/>
                      <a:pt x="52388" y="91440"/>
                      <a:pt x="55245" y="89535"/>
                    </a:cubicBezTo>
                    <a:cubicBezTo>
                      <a:pt x="58103" y="87630"/>
                      <a:pt x="60007" y="82868"/>
                      <a:pt x="60007" y="82868"/>
                    </a:cubicBezTo>
                    <a:lnTo>
                      <a:pt x="62865" y="73343"/>
                    </a:lnTo>
                    <a:cubicBezTo>
                      <a:pt x="62865" y="73343"/>
                      <a:pt x="66675" y="70485"/>
                      <a:pt x="69532" y="69533"/>
                    </a:cubicBezTo>
                    <a:cubicBezTo>
                      <a:pt x="72390" y="68580"/>
                      <a:pt x="77153" y="63818"/>
                      <a:pt x="78105" y="61913"/>
                    </a:cubicBezTo>
                    <a:cubicBezTo>
                      <a:pt x="79057" y="60008"/>
                      <a:pt x="79057" y="50483"/>
                      <a:pt x="79057" y="50483"/>
                    </a:cubicBezTo>
                    <a:cubicBezTo>
                      <a:pt x="82868" y="45720"/>
                      <a:pt x="83820" y="40958"/>
                      <a:pt x="84773" y="38100"/>
                    </a:cubicBezTo>
                    <a:cubicBezTo>
                      <a:pt x="85725" y="36195"/>
                      <a:pt x="80963" y="29528"/>
                      <a:pt x="75248" y="30480"/>
                    </a:cubicBezTo>
                    <a:cubicBezTo>
                      <a:pt x="69532" y="31433"/>
                      <a:pt x="60960" y="30480"/>
                      <a:pt x="60960" y="30480"/>
                    </a:cubicBezTo>
                    <a:lnTo>
                      <a:pt x="44768" y="19050"/>
                    </a:lnTo>
                    <a:lnTo>
                      <a:pt x="33338" y="17145"/>
                    </a:lnTo>
                    <a:lnTo>
                      <a:pt x="26670" y="14288"/>
                    </a:lnTo>
                    <a:lnTo>
                      <a:pt x="20955" y="6668"/>
                    </a:lnTo>
                    <a:lnTo>
                      <a:pt x="16193" y="4763"/>
                    </a:lnTo>
                    <a:lnTo>
                      <a:pt x="0" y="0"/>
                    </a:lnTo>
                  </a:path>
                </a:pathLst>
              </a:custGeom>
              <a:grpFill/>
              <a:ln w="9525" cap="flat">
                <a:noFill/>
                <a:prstDash val="solid"/>
                <a:miter/>
              </a:ln>
            </p:spPr>
            <p:txBody>
              <a:bodyPr rtlCol="0" anchor="ctr"/>
              <a:lstStyle/>
              <a:p>
                <a:endParaRPr lang="en-US" sz="1765"/>
              </a:p>
            </p:txBody>
          </p:sp>
          <p:sp>
            <p:nvSpPr>
              <p:cNvPr id="311" name="Freeform: Shape 310">
                <a:extLst>
                  <a:ext uri="{FF2B5EF4-FFF2-40B4-BE49-F238E27FC236}">
                    <a16:creationId xmlns:a16="http://schemas.microsoft.com/office/drawing/2014/main" id="{ABB82C9D-3F92-42E0-8CD1-1C58E292DE4B}"/>
                  </a:ext>
                </a:extLst>
              </p:cNvPr>
              <p:cNvSpPr/>
              <p:nvPr/>
            </p:nvSpPr>
            <p:spPr>
              <a:xfrm>
                <a:off x="10425141" y="4101908"/>
                <a:ext cx="44767" cy="14525"/>
              </a:xfrm>
              <a:custGeom>
                <a:avLst/>
                <a:gdLst>
                  <a:gd name="connsiteX0" fmla="*/ 3810 w 44767"/>
                  <a:gd name="connsiteY0" fmla="*/ 6906 h 14525"/>
                  <a:gd name="connsiteX1" fmla="*/ 5715 w 44767"/>
                  <a:gd name="connsiteY1" fmla="*/ 4048 h 14525"/>
                  <a:gd name="connsiteX2" fmla="*/ 10478 w 44767"/>
                  <a:gd name="connsiteY2" fmla="*/ 1191 h 14525"/>
                  <a:gd name="connsiteX3" fmla="*/ 24765 w 44767"/>
                  <a:gd name="connsiteY3" fmla="*/ 238 h 14525"/>
                  <a:gd name="connsiteX4" fmla="*/ 37148 w 44767"/>
                  <a:gd name="connsiteY4" fmla="*/ 2143 h 14525"/>
                  <a:gd name="connsiteX5" fmla="*/ 43815 w 44767"/>
                  <a:gd name="connsiteY5" fmla="*/ 3096 h 14525"/>
                  <a:gd name="connsiteX6" fmla="*/ 44768 w 44767"/>
                  <a:gd name="connsiteY6" fmla="*/ 10716 h 14525"/>
                  <a:gd name="connsiteX7" fmla="*/ 37148 w 44767"/>
                  <a:gd name="connsiteY7" fmla="*/ 11668 h 14525"/>
                  <a:gd name="connsiteX8" fmla="*/ 29528 w 44767"/>
                  <a:gd name="connsiteY8" fmla="*/ 11668 h 14525"/>
                  <a:gd name="connsiteX9" fmla="*/ 18098 w 44767"/>
                  <a:gd name="connsiteY9" fmla="*/ 13573 h 14525"/>
                  <a:gd name="connsiteX10" fmla="*/ 6668 w 44767"/>
                  <a:gd name="connsiteY10" fmla="*/ 14526 h 14525"/>
                  <a:gd name="connsiteX11" fmla="*/ 0 w 44767"/>
                  <a:gd name="connsiteY11" fmla="*/ 10716 h 14525"/>
                  <a:gd name="connsiteX12" fmla="*/ 3810 w 44767"/>
                  <a:gd name="connsiteY12" fmla="*/ 6906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 h="14525">
                    <a:moveTo>
                      <a:pt x="3810" y="6906"/>
                    </a:moveTo>
                    <a:cubicBezTo>
                      <a:pt x="3810" y="6906"/>
                      <a:pt x="3810" y="6906"/>
                      <a:pt x="5715" y="4048"/>
                    </a:cubicBezTo>
                    <a:cubicBezTo>
                      <a:pt x="7620" y="1191"/>
                      <a:pt x="10478" y="3096"/>
                      <a:pt x="10478" y="1191"/>
                    </a:cubicBezTo>
                    <a:cubicBezTo>
                      <a:pt x="10478" y="-714"/>
                      <a:pt x="20003" y="238"/>
                      <a:pt x="24765" y="238"/>
                    </a:cubicBezTo>
                    <a:cubicBezTo>
                      <a:pt x="29528" y="238"/>
                      <a:pt x="37148" y="2143"/>
                      <a:pt x="37148" y="2143"/>
                    </a:cubicBezTo>
                    <a:lnTo>
                      <a:pt x="43815" y="3096"/>
                    </a:lnTo>
                    <a:lnTo>
                      <a:pt x="44768" y="10716"/>
                    </a:lnTo>
                    <a:lnTo>
                      <a:pt x="37148" y="11668"/>
                    </a:lnTo>
                    <a:cubicBezTo>
                      <a:pt x="37148" y="11668"/>
                      <a:pt x="32385" y="11668"/>
                      <a:pt x="29528" y="11668"/>
                    </a:cubicBezTo>
                    <a:cubicBezTo>
                      <a:pt x="26670" y="11668"/>
                      <a:pt x="18098" y="13573"/>
                      <a:pt x="18098" y="13573"/>
                    </a:cubicBezTo>
                    <a:lnTo>
                      <a:pt x="6668" y="14526"/>
                    </a:lnTo>
                    <a:lnTo>
                      <a:pt x="0" y="10716"/>
                    </a:lnTo>
                    <a:lnTo>
                      <a:pt x="3810" y="6906"/>
                    </a:lnTo>
                    <a:close/>
                  </a:path>
                </a:pathLst>
              </a:custGeom>
              <a:grpFill/>
              <a:ln w="9525" cap="flat">
                <a:noFill/>
                <a:prstDash val="solid"/>
                <a:miter/>
              </a:ln>
            </p:spPr>
            <p:txBody>
              <a:bodyPr rtlCol="0" anchor="ctr"/>
              <a:lstStyle/>
              <a:p>
                <a:endParaRPr lang="en-US" sz="1765"/>
              </a:p>
            </p:txBody>
          </p:sp>
          <p:sp>
            <p:nvSpPr>
              <p:cNvPr id="312" name="Freeform: Shape 311">
                <a:extLst>
                  <a:ext uri="{FF2B5EF4-FFF2-40B4-BE49-F238E27FC236}">
                    <a16:creationId xmlns:a16="http://schemas.microsoft.com/office/drawing/2014/main" id="{49FFB065-3457-49E4-833A-C927479488C7}"/>
                  </a:ext>
                </a:extLst>
              </p:cNvPr>
              <p:cNvSpPr/>
              <p:nvPr/>
            </p:nvSpPr>
            <p:spPr>
              <a:xfrm>
                <a:off x="10377374" y="4105004"/>
                <a:ext cx="31575" cy="9525"/>
              </a:xfrm>
              <a:custGeom>
                <a:avLst/>
                <a:gdLst>
                  <a:gd name="connsiteX0" fmla="*/ 21097 w 31575"/>
                  <a:gd name="connsiteY0" fmla="*/ 0 h 9525"/>
                  <a:gd name="connsiteX1" fmla="*/ 14430 w 31575"/>
                  <a:gd name="connsiteY1" fmla="*/ 0 h 9525"/>
                  <a:gd name="connsiteX2" fmla="*/ 2047 w 31575"/>
                  <a:gd name="connsiteY2" fmla="*/ 3810 h 9525"/>
                  <a:gd name="connsiteX3" fmla="*/ 3000 w 31575"/>
                  <a:gd name="connsiteY3" fmla="*/ 5715 h 9525"/>
                  <a:gd name="connsiteX4" fmla="*/ 9667 w 31575"/>
                  <a:gd name="connsiteY4" fmla="*/ 9525 h 9525"/>
                  <a:gd name="connsiteX5" fmla="*/ 18240 w 31575"/>
                  <a:gd name="connsiteY5" fmla="*/ 9525 h 9525"/>
                  <a:gd name="connsiteX6" fmla="*/ 25860 w 31575"/>
                  <a:gd name="connsiteY6" fmla="*/ 9525 h 9525"/>
                  <a:gd name="connsiteX7" fmla="*/ 31575 w 31575"/>
                  <a:gd name="connsiteY7" fmla="*/ 4763 h 9525"/>
                  <a:gd name="connsiteX8" fmla="*/ 24907 w 31575"/>
                  <a:gd name="connsiteY8" fmla="*/ 0 h 9525"/>
                  <a:gd name="connsiteX9" fmla="*/ 21097 w 31575"/>
                  <a:gd name="connsiteY9"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5" h="9525">
                    <a:moveTo>
                      <a:pt x="21097" y="0"/>
                    </a:moveTo>
                    <a:lnTo>
                      <a:pt x="14430" y="0"/>
                    </a:lnTo>
                    <a:cubicBezTo>
                      <a:pt x="14430" y="0"/>
                      <a:pt x="1095" y="1905"/>
                      <a:pt x="2047" y="3810"/>
                    </a:cubicBezTo>
                    <a:cubicBezTo>
                      <a:pt x="3000" y="5715"/>
                      <a:pt x="-3668" y="1905"/>
                      <a:pt x="3000" y="5715"/>
                    </a:cubicBezTo>
                    <a:cubicBezTo>
                      <a:pt x="9667" y="9525"/>
                      <a:pt x="9667" y="9525"/>
                      <a:pt x="9667" y="9525"/>
                    </a:cubicBezTo>
                    <a:lnTo>
                      <a:pt x="18240" y="9525"/>
                    </a:lnTo>
                    <a:lnTo>
                      <a:pt x="25860" y="9525"/>
                    </a:lnTo>
                    <a:lnTo>
                      <a:pt x="31575" y="4763"/>
                    </a:lnTo>
                    <a:lnTo>
                      <a:pt x="24907" y="0"/>
                    </a:lnTo>
                    <a:lnTo>
                      <a:pt x="21097" y="0"/>
                    </a:lnTo>
                    <a:close/>
                  </a:path>
                </a:pathLst>
              </a:custGeom>
              <a:grpFill/>
              <a:ln w="9525" cap="flat">
                <a:noFill/>
                <a:prstDash val="solid"/>
                <a:miter/>
              </a:ln>
            </p:spPr>
            <p:txBody>
              <a:bodyPr rtlCol="0" anchor="ctr"/>
              <a:lstStyle/>
              <a:p>
                <a:endParaRPr lang="en-US" sz="1765"/>
              </a:p>
            </p:txBody>
          </p:sp>
          <p:sp>
            <p:nvSpPr>
              <p:cNvPr id="313" name="Freeform: Shape 312">
                <a:extLst>
                  <a:ext uri="{FF2B5EF4-FFF2-40B4-BE49-F238E27FC236}">
                    <a16:creationId xmlns:a16="http://schemas.microsoft.com/office/drawing/2014/main" id="{44F1CF36-7130-4F1D-A424-E1FB76058D07}"/>
                  </a:ext>
                </a:extLst>
              </p:cNvPr>
              <p:cNvSpPr/>
              <p:nvPr/>
            </p:nvSpPr>
            <p:spPr>
              <a:xfrm>
                <a:off x="10232211" y="4156996"/>
                <a:ext cx="22559" cy="13729"/>
              </a:xfrm>
              <a:custGeom>
                <a:avLst/>
                <a:gdLst>
                  <a:gd name="connsiteX0" fmla="*/ 21480 w 22559"/>
                  <a:gd name="connsiteY0" fmla="*/ 6110 h 13729"/>
                  <a:gd name="connsiteX1" fmla="*/ 14813 w 22559"/>
                  <a:gd name="connsiteY1" fmla="*/ 13730 h 13729"/>
                  <a:gd name="connsiteX2" fmla="*/ 2430 w 22559"/>
                  <a:gd name="connsiteY2" fmla="*/ 13730 h 13729"/>
                  <a:gd name="connsiteX3" fmla="*/ 1477 w 22559"/>
                  <a:gd name="connsiteY3" fmla="*/ 2300 h 13729"/>
                  <a:gd name="connsiteX4" fmla="*/ 6240 w 22559"/>
                  <a:gd name="connsiteY4" fmla="*/ 1347 h 13729"/>
                  <a:gd name="connsiteX5" fmla="*/ 15765 w 22559"/>
                  <a:gd name="connsiteY5" fmla="*/ 395 h 13729"/>
                  <a:gd name="connsiteX6" fmla="*/ 21480 w 22559"/>
                  <a:gd name="connsiteY6" fmla="*/ 6110 h 1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9" h="13729">
                    <a:moveTo>
                      <a:pt x="21480" y="6110"/>
                    </a:moveTo>
                    <a:lnTo>
                      <a:pt x="14813" y="13730"/>
                    </a:lnTo>
                    <a:lnTo>
                      <a:pt x="2430" y="13730"/>
                    </a:lnTo>
                    <a:cubicBezTo>
                      <a:pt x="2430" y="13730"/>
                      <a:pt x="-2333" y="3252"/>
                      <a:pt x="1477" y="2300"/>
                    </a:cubicBezTo>
                    <a:cubicBezTo>
                      <a:pt x="6240" y="1347"/>
                      <a:pt x="-4237" y="3252"/>
                      <a:pt x="6240" y="1347"/>
                    </a:cubicBezTo>
                    <a:cubicBezTo>
                      <a:pt x="15765" y="395"/>
                      <a:pt x="6240" y="-558"/>
                      <a:pt x="15765" y="395"/>
                    </a:cubicBezTo>
                    <a:cubicBezTo>
                      <a:pt x="26242" y="395"/>
                      <a:pt x="21480" y="6110"/>
                      <a:pt x="21480" y="6110"/>
                    </a:cubicBezTo>
                    <a:close/>
                  </a:path>
                </a:pathLst>
              </a:custGeom>
              <a:grpFill/>
              <a:ln w="9525" cap="flat">
                <a:noFill/>
                <a:prstDash val="solid"/>
                <a:miter/>
              </a:ln>
            </p:spPr>
            <p:txBody>
              <a:bodyPr rtlCol="0" anchor="ctr"/>
              <a:lstStyle/>
              <a:p>
                <a:endParaRPr lang="en-US" sz="1765"/>
              </a:p>
            </p:txBody>
          </p:sp>
          <p:sp>
            <p:nvSpPr>
              <p:cNvPr id="314" name="Freeform: Shape 313">
                <a:extLst>
                  <a:ext uri="{FF2B5EF4-FFF2-40B4-BE49-F238E27FC236}">
                    <a16:creationId xmlns:a16="http://schemas.microsoft.com/office/drawing/2014/main" id="{465FF0FC-2738-4619-A200-AAD48DEF02AB}"/>
                  </a:ext>
                </a:extLst>
              </p:cNvPr>
              <p:cNvSpPr/>
              <p:nvPr/>
            </p:nvSpPr>
            <p:spPr>
              <a:xfrm>
                <a:off x="10269928" y="4156438"/>
                <a:ext cx="60915" cy="25479"/>
              </a:xfrm>
              <a:custGeom>
                <a:avLst/>
                <a:gdLst>
                  <a:gd name="connsiteX0" fmla="*/ 35198 w 60915"/>
                  <a:gd name="connsiteY0" fmla="*/ 0 h 25479"/>
                  <a:gd name="connsiteX1" fmla="*/ 28530 w 60915"/>
                  <a:gd name="connsiteY1" fmla="*/ 953 h 25479"/>
                  <a:gd name="connsiteX2" fmla="*/ 16148 w 60915"/>
                  <a:gd name="connsiteY2" fmla="*/ 4763 h 25479"/>
                  <a:gd name="connsiteX3" fmla="*/ 10433 w 60915"/>
                  <a:gd name="connsiteY3" fmla="*/ 13335 h 25479"/>
                  <a:gd name="connsiteX4" fmla="*/ 1860 w 60915"/>
                  <a:gd name="connsiteY4" fmla="*/ 20003 h 25479"/>
                  <a:gd name="connsiteX5" fmla="*/ 2813 w 60915"/>
                  <a:gd name="connsiteY5" fmla="*/ 24765 h 25479"/>
                  <a:gd name="connsiteX6" fmla="*/ 15196 w 60915"/>
                  <a:gd name="connsiteY6" fmla="*/ 24765 h 25479"/>
                  <a:gd name="connsiteX7" fmla="*/ 27578 w 60915"/>
                  <a:gd name="connsiteY7" fmla="*/ 20003 h 25479"/>
                  <a:gd name="connsiteX8" fmla="*/ 35198 w 60915"/>
                  <a:gd name="connsiteY8" fmla="*/ 14288 h 25479"/>
                  <a:gd name="connsiteX9" fmla="*/ 45675 w 60915"/>
                  <a:gd name="connsiteY9" fmla="*/ 10478 h 25479"/>
                  <a:gd name="connsiteX10" fmla="*/ 48533 w 60915"/>
                  <a:gd name="connsiteY10" fmla="*/ 10478 h 25479"/>
                  <a:gd name="connsiteX11" fmla="*/ 59010 w 60915"/>
                  <a:gd name="connsiteY11" fmla="*/ 5715 h 25479"/>
                  <a:gd name="connsiteX12" fmla="*/ 60916 w 60915"/>
                  <a:gd name="connsiteY12" fmla="*/ 1905 h 25479"/>
                  <a:gd name="connsiteX13" fmla="*/ 52343 w 60915"/>
                  <a:gd name="connsiteY13" fmla="*/ 0 h 25479"/>
                  <a:gd name="connsiteX14" fmla="*/ 35198 w 60915"/>
                  <a:gd name="connsiteY14" fmla="*/ 0 h 2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15" h="25479">
                    <a:moveTo>
                      <a:pt x="35198" y="0"/>
                    </a:moveTo>
                    <a:lnTo>
                      <a:pt x="28530" y="953"/>
                    </a:lnTo>
                    <a:cubicBezTo>
                      <a:pt x="21863" y="4763"/>
                      <a:pt x="16148" y="4763"/>
                      <a:pt x="16148" y="4763"/>
                    </a:cubicBezTo>
                    <a:lnTo>
                      <a:pt x="10433" y="13335"/>
                    </a:lnTo>
                    <a:lnTo>
                      <a:pt x="1860" y="20003"/>
                    </a:lnTo>
                    <a:cubicBezTo>
                      <a:pt x="1860" y="20003"/>
                      <a:pt x="-2902" y="23813"/>
                      <a:pt x="2813" y="24765"/>
                    </a:cubicBezTo>
                    <a:cubicBezTo>
                      <a:pt x="8528" y="25718"/>
                      <a:pt x="10433" y="25718"/>
                      <a:pt x="15196" y="24765"/>
                    </a:cubicBezTo>
                    <a:cubicBezTo>
                      <a:pt x="19958" y="23813"/>
                      <a:pt x="27578" y="20003"/>
                      <a:pt x="27578" y="20003"/>
                    </a:cubicBezTo>
                    <a:lnTo>
                      <a:pt x="35198" y="14288"/>
                    </a:lnTo>
                    <a:cubicBezTo>
                      <a:pt x="35198" y="14288"/>
                      <a:pt x="41866" y="10478"/>
                      <a:pt x="45675" y="10478"/>
                    </a:cubicBezTo>
                    <a:cubicBezTo>
                      <a:pt x="48533" y="10478"/>
                      <a:pt x="48533" y="10478"/>
                      <a:pt x="48533" y="10478"/>
                    </a:cubicBezTo>
                    <a:lnTo>
                      <a:pt x="59010" y="5715"/>
                    </a:lnTo>
                    <a:lnTo>
                      <a:pt x="60916" y="1905"/>
                    </a:lnTo>
                    <a:lnTo>
                      <a:pt x="52343" y="0"/>
                    </a:lnTo>
                    <a:lnTo>
                      <a:pt x="35198" y="0"/>
                    </a:lnTo>
                    <a:close/>
                  </a:path>
                </a:pathLst>
              </a:custGeom>
              <a:grpFill/>
              <a:ln w="9525" cap="flat">
                <a:noFill/>
                <a:prstDash val="solid"/>
                <a:miter/>
              </a:ln>
            </p:spPr>
            <p:txBody>
              <a:bodyPr rtlCol="0" anchor="ctr"/>
              <a:lstStyle/>
              <a:p>
                <a:endParaRPr lang="en-US" sz="1765"/>
              </a:p>
            </p:txBody>
          </p:sp>
          <p:sp>
            <p:nvSpPr>
              <p:cNvPr id="315" name="Freeform: Shape 314">
                <a:extLst>
                  <a:ext uri="{FF2B5EF4-FFF2-40B4-BE49-F238E27FC236}">
                    <a16:creationId xmlns:a16="http://schemas.microsoft.com/office/drawing/2014/main" id="{A9F40CEC-0722-405A-BC9E-5A16E4AE3FCA}"/>
                  </a:ext>
                </a:extLst>
              </p:cNvPr>
              <p:cNvSpPr/>
              <p:nvPr/>
            </p:nvSpPr>
            <p:spPr>
              <a:xfrm>
                <a:off x="8451561" y="3612561"/>
                <a:ext cx="49530" cy="14525"/>
              </a:xfrm>
              <a:custGeom>
                <a:avLst/>
                <a:gdLst>
                  <a:gd name="connsiteX0" fmla="*/ 49530 w 49530"/>
                  <a:gd name="connsiteY0" fmla="*/ 2857 h 14525"/>
                  <a:gd name="connsiteX1" fmla="*/ 39053 w 49530"/>
                  <a:gd name="connsiteY1" fmla="*/ 13335 h 14525"/>
                  <a:gd name="connsiteX2" fmla="*/ 17145 w 49530"/>
                  <a:gd name="connsiteY2" fmla="*/ 14288 h 14525"/>
                  <a:gd name="connsiteX3" fmla="*/ 7620 w 49530"/>
                  <a:gd name="connsiteY3" fmla="*/ 13335 h 14525"/>
                  <a:gd name="connsiteX4" fmla="*/ 1905 w 49530"/>
                  <a:gd name="connsiteY4" fmla="*/ 11430 h 14525"/>
                  <a:gd name="connsiteX5" fmla="*/ 0 w 49530"/>
                  <a:gd name="connsiteY5" fmla="*/ 5715 h 14525"/>
                  <a:gd name="connsiteX6" fmla="*/ 3810 w 49530"/>
                  <a:gd name="connsiteY6" fmla="*/ 1905 h 14525"/>
                  <a:gd name="connsiteX7" fmla="*/ 11430 w 49530"/>
                  <a:gd name="connsiteY7" fmla="*/ 952 h 14525"/>
                  <a:gd name="connsiteX8" fmla="*/ 17145 w 49530"/>
                  <a:gd name="connsiteY8" fmla="*/ 952 h 14525"/>
                  <a:gd name="connsiteX9" fmla="*/ 31433 w 49530"/>
                  <a:gd name="connsiteY9" fmla="*/ 952 h 14525"/>
                  <a:gd name="connsiteX10" fmla="*/ 38100 w 49530"/>
                  <a:gd name="connsiteY10" fmla="*/ 0 h 14525"/>
                  <a:gd name="connsiteX11" fmla="*/ 45720 w 49530"/>
                  <a:gd name="connsiteY11" fmla="*/ 952 h 14525"/>
                  <a:gd name="connsiteX12" fmla="*/ 49530 w 49530"/>
                  <a:gd name="connsiteY12" fmla="*/ 2857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 h="14525">
                    <a:moveTo>
                      <a:pt x="49530" y="2857"/>
                    </a:moveTo>
                    <a:lnTo>
                      <a:pt x="39053" y="13335"/>
                    </a:lnTo>
                    <a:cubicBezTo>
                      <a:pt x="31433" y="15240"/>
                      <a:pt x="17145" y="14288"/>
                      <a:pt x="17145" y="14288"/>
                    </a:cubicBezTo>
                    <a:lnTo>
                      <a:pt x="7620" y="13335"/>
                    </a:lnTo>
                    <a:lnTo>
                      <a:pt x="1905" y="11430"/>
                    </a:lnTo>
                    <a:lnTo>
                      <a:pt x="0" y="5715"/>
                    </a:lnTo>
                    <a:lnTo>
                      <a:pt x="3810" y="1905"/>
                    </a:lnTo>
                    <a:lnTo>
                      <a:pt x="11430" y="952"/>
                    </a:lnTo>
                    <a:lnTo>
                      <a:pt x="17145" y="952"/>
                    </a:lnTo>
                    <a:lnTo>
                      <a:pt x="31433" y="952"/>
                    </a:lnTo>
                    <a:lnTo>
                      <a:pt x="38100" y="0"/>
                    </a:lnTo>
                    <a:lnTo>
                      <a:pt x="45720" y="952"/>
                    </a:lnTo>
                    <a:lnTo>
                      <a:pt x="49530" y="2857"/>
                    </a:lnTo>
                    <a:close/>
                  </a:path>
                </a:pathLst>
              </a:custGeom>
              <a:grpFill/>
              <a:ln w="9525" cap="flat">
                <a:noFill/>
                <a:prstDash val="solid"/>
                <a:miter/>
              </a:ln>
            </p:spPr>
            <p:txBody>
              <a:bodyPr rtlCol="0" anchor="ctr"/>
              <a:lstStyle/>
              <a:p>
                <a:endParaRPr lang="en-US" sz="1765"/>
              </a:p>
            </p:txBody>
          </p:sp>
          <p:sp>
            <p:nvSpPr>
              <p:cNvPr id="316" name="Freeform: Shape 315">
                <a:extLst>
                  <a:ext uri="{FF2B5EF4-FFF2-40B4-BE49-F238E27FC236}">
                    <a16:creationId xmlns:a16="http://schemas.microsoft.com/office/drawing/2014/main" id="{02842820-E647-4077-9457-095105374871}"/>
                  </a:ext>
                </a:extLst>
              </p:cNvPr>
              <p:cNvSpPr/>
              <p:nvPr/>
            </p:nvSpPr>
            <p:spPr>
              <a:xfrm>
                <a:off x="8375130" y="3570651"/>
                <a:ext cx="29758" cy="24129"/>
              </a:xfrm>
              <a:custGeom>
                <a:avLst/>
                <a:gdLst>
                  <a:gd name="connsiteX0" fmla="*/ 18328 w 29758"/>
                  <a:gd name="connsiteY0" fmla="*/ 20955 h 24129"/>
                  <a:gd name="connsiteX1" fmla="*/ 6899 w 29758"/>
                  <a:gd name="connsiteY1" fmla="*/ 22860 h 24129"/>
                  <a:gd name="connsiteX2" fmla="*/ 4041 w 29758"/>
                  <a:gd name="connsiteY2" fmla="*/ 22860 h 24129"/>
                  <a:gd name="connsiteX3" fmla="*/ 1184 w 29758"/>
                  <a:gd name="connsiteY3" fmla="*/ 11430 h 24129"/>
                  <a:gd name="connsiteX4" fmla="*/ 4041 w 29758"/>
                  <a:gd name="connsiteY4" fmla="*/ 3810 h 24129"/>
                  <a:gd name="connsiteX5" fmla="*/ 22139 w 29758"/>
                  <a:gd name="connsiteY5" fmla="*/ 0 h 24129"/>
                  <a:gd name="connsiteX6" fmla="*/ 27853 w 29758"/>
                  <a:gd name="connsiteY6" fmla="*/ 1905 h 24129"/>
                  <a:gd name="connsiteX7" fmla="*/ 28806 w 29758"/>
                  <a:gd name="connsiteY7" fmla="*/ 7620 h 24129"/>
                  <a:gd name="connsiteX8" fmla="*/ 29759 w 29758"/>
                  <a:gd name="connsiteY8" fmla="*/ 12382 h 24129"/>
                  <a:gd name="connsiteX9" fmla="*/ 18328 w 29758"/>
                  <a:gd name="connsiteY9" fmla="*/ 20955 h 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58" h="24129">
                    <a:moveTo>
                      <a:pt x="18328" y="20955"/>
                    </a:moveTo>
                    <a:cubicBezTo>
                      <a:pt x="18328" y="20955"/>
                      <a:pt x="10709" y="22860"/>
                      <a:pt x="6899" y="22860"/>
                    </a:cubicBezTo>
                    <a:cubicBezTo>
                      <a:pt x="4041" y="22860"/>
                      <a:pt x="6899" y="25717"/>
                      <a:pt x="4041" y="22860"/>
                    </a:cubicBezTo>
                    <a:cubicBezTo>
                      <a:pt x="1184" y="20002"/>
                      <a:pt x="-1674" y="13335"/>
                      <a:pt x="1184" y="11430"/>
                    </a:cubicBezTo>
                    <a:cubicBezTo>
                      <a:pt x="3089" y="9525"/>
                      <a:pt x="4041" y="3810"/>
                      <a:pt x="4041" y="3810"/>
                    </a:cubicBezTo>
                    <a:lnTo>
                      <a:pt x="22139" y="0"/>
                    </a:lnTo>
                    <a:lnTo>
                      <a:pt x="27853" y="1905"/>
                    </a:lnTo>
                    <a:lnTo>
                      <a:pt x="28806" y="7620"/>
                    </a:lnTo>
                    <a:cubicBezTo>
                      <a:pt x="28806" y="7620"/>
                      <a:pt x="28806" y="9525"/>
                      <a:pt x="29759" y="12382"/>
                    </a:cubicBezTo>
                    <a:cubicBezTo>
                      <a:pt x="29759" y="15240"/>
                      <a:pt x="18328" y="20955"/>
                      <a:pt x="18328" y="20955"/>
                    </a:cubicBezTo>
                    <a:close/>
                  </a:path>
                </a:pathLst>
              </a:custGeom>
              <a:grpFill/>
              <a:ln w="9525" cap="flat">
                <a:noFill/>
                <a:prstDash val="solid"/>
                <a:miter/>
              </a:ln>
            </p:spPr>
            <p:txBody>
              <a:bodyPr rtlCol="0" anchor="ctr"/>
              <a:lstStyle/>
              <a:p>
                <a:endParaRPr lang="en-US" sz="1765"/>
              </a:p>
            </p:txBody>
          </p:sp>
          <p:sp>
            <p:nvSpPr>
              <p:cNvPr id="317" name="Freeform: Shape 316">
                <a:extLst>
                  <a:ext uri="{FF2B5EF4-FFF2-40B4-BE49-F238E27FC236}">
                    <a16:creationId xmlns:a16="http://schemas.microsoft.com/office/drawing/2014/main" id="{54D16356-16E2-4C35-AD5B-344C20526B64}"/>
                  </a:ext>
                </a:extLst>
              </p:cNvPr>
              <p:cNvSpPr/>
              <p:nvPr/>
            </p:nvSpPr>
            <p:spPr>
              <a:xfrm>
                <a:off x="8062028" y="3367509"/>
                <a:ext cx="76199" cy="55504"/>
              </a:xfrm>
              <a:custGeom>
                <a:avLst/>
                <a:gdLst>
                  <a:gd name="connsiteX0" fmla="*/ 43776 w 76199"/>
                  <a:gd name="connsiteY0" fmla="*/ 48837 h 55504"/>
                  <a:gd name="connsiteX1" fmla="*/ 39013 w 76199"/>
                  <a:gd name="connsiteY1" fmla="*/ 49790 h 55504"/>
                  <a:gd name="connsiteX2" fmla="*/ 32346 w 76199"/>
                  <a:gd name="connsiteY2" fmla="*/ 53600 h 55504"/>
                  <a:gd name="connsiteX3" fmla="*/ 25678 w 76199"/>
                  <a:gd name="connsiteY3" fmla="*/ 55505 h 55504"/>
                  <a:gd name="connsiteX4" fmla="*/ 17105 w 76199"/>
                  <a:gd name="connsiteY4" fmla="*/ 55505 h 55504"/>
                  <a:gd name="connsiteX5" fmla="*/ 10438 w 76199"/>
                  <a:gd name="connsiteY5" fmla="*/ 55505 h 55504"/>
                  <a:gd name="connsiteX6" fmla="*/ 2818 w 76199"/>
                  <a:gd name="connsiteY6" fmla="*/ 54552 h 55504"/>
                  <a:gd name="connsiteX7" fmla="*/ 913 w 76199"/>
                  <a:gd name="connsiteY7" fmla="*/ 40265 h 55504"/>
                  <a:gd name="connsiteX8" fmla="*/ 3771 w 76199"/>
                  <a:gd name="connsiteY8" fmla="*/ 39312 h 55504"/>
                  <a:gd name="connsiteX9" fmla="*/ 11391 w 76199"/>
                  <a:gd name="connsiteY9" fmla="*/ 37407 h 55504"/>
                  <a:gd name="connsiteX10" fmla="*/ 16153 w 76199"/>
                  <a:gd name="connsiteY10" fmla="*/ 29787 h 55504"/>
                  <a:gd name="connsiteX11" fmla="*/ 16153 w 76199"/>
                  <a:gd name="connsiteY11" fmla="*/ 25977 h 55504"/>
                  <a:gd name="connsiteX12" fmla="*/ 10438 w 76199"/>
                  <a:gd name="connsiteY12" fmla="*/ 23120 h 55504"/>
                  <a:gd name="connsiteX13" fmla="*/ 6628 w 76199"/>
                  <a:gd name="connsiteY13" fmla="*/ 16452 h 55504"/>
                  <a:gd name="connsiteX14" fmla="*/ 18058 w 76199"/>
                  <a:gd name="connsiteY14" fmla="*/ 14547 h 55504"/>
                  <a:gd name="connsiteX15" fmla="*/ 23773 w 76199"/>
                  <a:gd name="connsiteY15" fmla="*/ 14547 h 55504"/>
                  <a:gd name="connsiteX16" fmla="*/ 30441 w 76199"/>
                  <a:gd name="connsiteY16" fmla="*/ 5022 h 55504"/>
                  <a:gd name="connsiteX17" fmla="*/ 32346 w 76199"/>
                  <a:gd name="connsiteY17" fmla="*/ 2165 h 55504"/>
                  <a:gd name="connsiteX18" fmla="*/ 47586 w 76199"/>
                  <a:gd name="connsiteY18" fmla="*/ 260 h 55504"/>
                  <a:gd name="connsiteX19" fmla="*/ 53301 w 76199"/>
                  <a:gd name="connsiteY19" fmla="*/ 1212 h 55504"/>
                  <a:gd name="connsiteX20" fmla="*/ 60921 w 76199"/>
                  <a:gd name="connsiteY20" fmla="*/ 260 h 55504"/>
                  <a:gd name="connsiteX21" fmla="*/ 65683 w 76199"/>
                  <a:gd name="connsiteY21" fmla="*/ 1212 h 55504"/>
                  <a:gd name="connsiteX22" fmla="*/ 73303 w 76199"/>
                  <a:gd name="connsiteY22" fmla="*/ 3117 h 55504"/>
                  <a:gd name="connsiteX23" fmla="*/ 75208 w 76199"/>
                  <a:gd name="connsiteY23" fmla="*/ 17405 h 55504"/>
                  <a:gd name="connsiteX24" fmla="*/ 73303 w 76199"/>
                  <a:gd name="connsiteY24" fmla="*/ 23120 h 55504"/>
                  <a:gd name="connsiteX25" fmla="*/ 68541 w 76199"/>
                  <a:gd name="connsiteY25" fmla="*/ 27882 h 55504"/>
                  <a:gd name="connsiteX26" fmla="*/ 64730 w 76199"/>
                  <a:gd name="connsiteY26" fmla="*/ 30740 h 55504"/>
                  <a:gd name="connsiteX27" fmla="*/ 64730 w 76199"/>
                  <a:gd name="connsiteY27" fmla="*/ 40265 h 55504"/>
                  <a:gd name="connsiteX28" fmla="*/ 58063 w 76199"/>
                  <a:gd name="connsiteY28" fmla="*/ 44075 h 55504"/>
                  <a:gd name="connsiteX29" fmla="*/ 43776 w 76199"/>
                  <a:gd name="connsiteY29" fmla="*/ 48837 h 5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199" h="55504">
                    <a:moveTo>
                      <a:pt x="43776" y="48837"/>
                    </a:moveTo>
                    <a:lnTo>
                      <a:pt x="39013" y="49790"/>
                    </a:lnTo>
                    <a:lnTo>
                      <a:pt x="32346" y="53600"/>
                    </a:lnTo>
                    <a:lnTo>
                      <a:pt x="25678" y="55505"/>
                    </a:lnTo>
                    <a:lnTo>
                      <a:pt x="17105" y="55505"/>
                    </a:lnTo>
                    <a:lnTo>
                      <a:pt x="10438" y="55505"/>
                    </a:lnTo>
                    <a:cubicBezTo>
                      <a:pt x="2818" y="54552"/>
                      <a:pt x="2818" y="54552"/>
                      <a:pt x="2818" y="54552"/>
                    </a:cubicBezTo>
                    <a:cubicBezTo>
                      <a:pt x="2818" y="54552"/>
                      <a:pt x="-1945" y="41217"/>
                      <a:pt x="913" y="40265"/>
                    </a:cubicBezTo>
                    <a:cubicBezTo>
                      <a:pt x="3771" y="39312"/>
                      <a:pt x="-3849" y="41217"/>
                      <a:pt x="3771" y="39312"/>
                    </a:cubicBezTo>
                    <a:cubicBezTo>
                      <a:pt x="11391" y="37407"/>
                      <a:pt x="11391" y="37407"/>
                      <a:pt x="11391" y="37407"/>
                    </a:cubicBezTo>
                    <a:lnTo>
                      <a:pt x="16153" y="29787"/>
                    </a:lnTo>
                    <a:lnTo>
                      <a:pt x="16153" y="25977"/>
                    </a:lnTo>
                    <a:lnTo>
                      <a:pt x="10438" y="23120"/>
                    </a:lnTo>
                    <a:cubicBezTo>
                      <a:pt x="10438" y="23120"/>
                      <a:pt x="-4802" y="18357"/>
                      <a:pt x="6628" y="16452"/>
                    </a:cubicBezTo>
                    <a:cubicBezTo>
                      <a:pt x="18058" y="14547"/>
                      <a:pt x="12343" y="14547"/>
                      <a:pt x="18058" y="14547"/>
                    </a:cubicBezTo>
                    <a:cubicBezTo>
                      <a:pt x="23773" y="14547"/>
                      <a:pt x="18058" y="17405"/>
                      <a:pt x="23773" y="14547"/>
                    </a:cubicBezTo>
                    <a:cubicBezTo>
                      <a:pt x="29488" y="11690"/>
                      <a:pt x="30441" y="5022"/>
                      <a:pt x="30441" y="5022"/>
                    </a:cubicBezTo>
                    <a:cubicBezTo>
                      <a:pt x="30441" y="5022"/>
                      <a:pt x="27583" y="3117"/>
                      <a:pt x="32346" y="2165"/>
                    </a:cubicBezTo>
                    <a:cubicBezTo>
                      <a:pt x="38061" y="1212"/>
                      <a:pt x="41871" y="-693"/>
                      <a:pt x="47586" y="260"/>
                    </a:cubicBezTo>
                    <a:cubicBezTo>
                      <a:pt x="53301" y="1212"/>
                      <a:pt x="53301" y="1212"/>
                      <a:pt x="53301" y="1212"/>
                    </a:cubicBezTo>
                    <a:cubicBezTo>
                      <a:pt x="53301" y="1212"/>
                      <a:pt x="56158" y="260"/>
                      <a:pt x="60921" y="260"/>
                    </a:cubicBezTo>
                    <a:cubicBezTo>
                      <a:pt x="65683" y="1212"/>
                      <a:pt x="58063" y="-693"/>
                      <a:pt x="65683" y="1212"/>
                    </a:cubicBezTo>
                    <a:cubicBezTo>
                      <a:pt x="73303" y="3117"/>
                      <a:pt x="70446" y="-3550"/>
                      <a:pt x="73303" y="3117"/>
                    </a:cubicBezTo>
                    <a:cubicBezTo>
                      <a:pt x="76161" y="9785"/>
                      <a:pt x="77113" y="11690"/>
                      <a:pt x="75208" y="17405"/>
                    </a:cubicBezTo>
                    <a:cubicBezTo>
                      <a:pt x="73303" y="23120"/>
                      <a:pt x="77113" y="18357"/>
                      <a:pt x="73303" y="23120"/>
                    </a:cubicBezTo>
                    <a:cubicBezTo>
                      <a:pt x="68541" y="27882"/>
                      <a:pt x="72351" y="25025"/>
                      <a:pt x="68541" y="27882"/>
                    </a:cubicBezTo>
                    <a:cubicBezTo>
                      <a:pt x="64730" y="30740"/>
                      <a:pt x="65683" y="21215"/>
                      <a:pt x="64730" y="30740"/>
                    </a:cubicBezTo>
                    <a:cubicBezTo>
                      <a:pt x="64730" y="40265"/>
                      <a:pt x="65683" y="37407"/>
                      <a:pt x="64730" y="40265"/>
                    </a:cubicBezTo>
                    <a:cubicBezTo>
                      <a:pt x="63778" y="43122"/>
                      <a:pt x="58063" y="44075"/>
                      <a:pt x="58063" y="44075"/>
                    </a:cubicBezTo>
                    <a:lnTo>
                      <a:pt x="43776" y="48837"/>
                    </a:lnTo>
                    <a:close/>
                  </a:path>
                </a:pathLst>
              </a:custGeom>
              <a:grpFill/>
              <a:ln w="9525" cap="flat">
                <a:noFill/>
                <a:prstDash val="solid"/>
                <a:miter/>
              </a:ln>
            </p:spPr>
            <p:txBody>
              <a:bodyPr rtlCol="0" anchor="ctr"/>
              <a:lstStyle/>
              <a:p>
                <a:endParaRPr lang="en-US" sz="1765"/>
              </a:p>
            </p:txBody>
          </p:sp>
          <p:sp>
            <p:nvSpPr>
              <p:cNvPr id="318" name="Freeform: Shape 317">
                <a:extLst>
                  <a:ext uri="{FF2B5EF4-FFF2-40B4-BE49-F238E27FC236}">
                    <a16:creationId xmlns:a16="http://schemas.microsoft.com/office/drawing/2014/main" id="{00D6B00D-D5BA-4443-8124-CF2C6FE219B9}"/>
                  </a:ext>
                </a:extLst>
              </p:cNvPr>
              <p:cNvSpPr/>
              <p:nvPr/>
            </p:nvSpPr>
            <p:spPr>
              <a:xfrm>
                <a:off x="8121996" y="3315381"/>
                <a:ext cx="139254" cy="131445"/>
              </a:xfrm>
              <a:custGeom>
                <a:avLst/>
                <a:gdLst>
                  <a:gd name="connsiteX0" fmla="*/ 51435 w 139254"/>
                  <a:gd name="connsiteY0" fmla="*/ 81915 h 131445"/>
                  <a:gd name="connsiteX1" fmla="*/ 52388 w 139254"/>
                  <a:gd name="connsiteY1" fmla="*/ 72390 h 131445"/>
                  <a:gd name="connsiteX2" fmla="*/ 52388 w 139254"/>
                  <a:gd name="connsiteY2" fmla="*/ 68580 h 131445"/>
                  <a:gd name="connsiteX3" fmla="*/ 47625 w 139254"/>
                  <a:gd name="connsiteY3" fmla="*/ 63818 h 131445"/>
                  <a:gd name="connsiteX4" fmla="*/ 41910 w 139254"/>
                  <a:gd name="connsiteY4" fmla="*/ 60008 h 131445"/>
                  <a:gd name="connsiteX5" fmla="*/ 35243 w 139254"/>
                  <a:gd name="connsiteY5" fmla="*/ 56198 h 131445"/>
                  <a:gd name="connsiteX6" fmla="*/ 34290 w 139254"/>
                  <a:gd name="connsiteY6" fmla="*/ 52388 h 131445"/>
                  <a:gd name="connsiteX7" fmla="*/ 21908 w 139254"/>
                  <a:gd name="connsiteY7" fmla="*/ 46673 h 131445"/>
                  <a:gd name="connsiteX8" fmla="*/ 17145 w 139254"/>
                  <a:gd name="connsiteY8" fmla="*/ 33338 h 131445"/>
                  <a:gd name="connsiteX9" fmla="*/ 17145 w 139254"/>
                  <a:gd name="connsiteY9" fmla="*/ 25718 h 131445"/>
                  <a:gd name="connsiteX10" fmla="*/ 16193 w 139254"/>
                  <a:gd name="connsiteY10" fmla="*/ 22860 h 131445"/>
                  <a:gd name="connsiteX11" fmla="*/ 10478 w 139254"/>
                  <a:gd name="connsiteY11" fmla="*/ 19050 h 131445"/>
                  <a:gd name="connsiteX12" fmla="*/ 0 w 139254"/>
                  <a:gd name="connsiteY12" fmla="*/ 12383 h 131445"/>
                  <a:gd name="connsiteX13" fmla="*/ 0 w 139254"/>
                  <a:gd name="connsiteY13" fmla="*/ 9525 h 131445"/>
                  <a:gd name="connsiteX14" fmla="*/ 1905 w 139254"/>
                  <a:gd name="connsiteY14" fmla="*/ 6668 h 131445"/>
                  <a:gd name="connsiteX15" fmla="*/ 15240 w 139254"/>
                  <a:gd name="connsiteY15" fmla="*/ 6668 h 131445"/>
                  <a:gd name="connsiteX16" fmla="*/ 18098 w 139254"/>
                  <a:gd name="connsiteY16" fmla="*/ 6668 h 131445"/>
                  <a:gd name="connsiteX17" fmla="*/ 25718 w 139254"/>
                  <a:gd name="connsiteY17" fmla="*/ 1905 h 131445"/>
                  <a:gd name="connsiteX18" fmla="*/ 40958 w 139254"/>
                  <a:gd name="connsiteY18" fmla="*/ 0 h 131445"/>
                  <a:gd name="connsiteX19" fmla="*/ 46673 w 139254"/>
                  <a:gd name="connsiteY19" fmla="*/ 0 h 131445"/>
                  <a:gd name="connsiteX20" fmla="*/ 51435 w 139254"/>
                  <a:gd name="connsiteY20" fmla="*/ 4763 h 131445"/>
                  <a:gd name="connsiteX21" fmla="*/ 62865 w 139254"/>
                  <a:gd name="connsiteY21" fmla="*/ 4763 h 131445"/>
                  <a:gd name="connsiteX22" fmla="*/ 65723 w 139254"/>
                  <a:gd name="connsiteY22" fmla="*/ 9525 h 131445"/>
                  <a:gd name="connsiteX23" fmla="*/ 65723 w 139254"/>
                  <a:gd name="connsiteY23" fmla="*/ 13335 h 131445"/>
                  <a:gd name="connsiteX24" fmla="*/ 72390 w 139254"/>
                  <a:gd name="connsiteY24" fmla="*/ 18098 h 131445"/>
                  <a:gd name="connsiteX25" fmla="*/ 78105 w 139254"/>
                  <a:gd name="connsiteY25" fmla="*/ 20003 h 131445"/>
                  <a:gd name="connsiteX26" fmla="*/ 84773 w 139254"/>
                  <a:gd name="connsiteY26" fmla="*/ 24765 h 131445"/>
                  <a:gd name="connsiteX27" fmla="*/ 73343 w 139254"/>
                  <a:gd name="connsiteY27" fmla="*/ 34290 h 131445"/>
                  <a:gd name="connsiteX28" fmla="*/ 61913 w 139254"/>
                  <a:gd name="connsiteY28" fmla="*/ 35243 h 131445"/>
                  <a:gd name="connsiteX29" fmla="*/ 62865 w 139254"/>
                  <a:gd name="connsiteY29" fmla="*/ 39053 h 131445"/>
                  <a:gd name="connsiteX30" fmla="*/ 76200 w 139254"/>
                  <a:gd name="connsiteY30" fmla="*/ 43815 h 131445"/>
                  <a:gd name="connsiteX31" fmla="*/ 86678 w 139254"/>
                  <a:gd name="connsiteY31" fmla="*/ 54293 h 131445"/>
                  <a:gd name="connsiteX32" fmla="*/ 92393 w 139254"/>
                  <a:gd name="connsiteY32" fmla="*/ 58103 h 131445"/>
                  <a:gd name="connsiteX33" fmla="*/ 101918 w 139254"/>
                  <a:gd name="connsiteY33" fmla="*/ 63818 h 131445"/>
                  <a:gd name="connsiteX34" fmla="*/ 104775 w 139254"/>
                  <a:gd name="connsiteY34" fmla="*/ 71438 h 131445"/>
                  <a:gd name="connsiteX35" fmla="*/ 113348 w 139254"/>
                  <a:gd name="connsiteY35" fmla="*/ 79058 h 131445"/>
                  <a:gd name="connsiteX36" fmla="*/ 135255 w 139254"/>
                  <a:gd name="connsiteY36" fmla="*/ 85725 h 131445"/>
                  <a:gd name="connsiteX37" fmla="*/ 136208 w 139254"/>
                  <a:gd name="connsiteY37" fmla="*/ 88583 h 131445"/>
                  <a:gd name="connsiteX38" fmla="*/ 138113 w 139254"/>
                  <a:gd name="connsiteY38" fmla="*/ 95250 h 131445"/>
                  <a:gd name="connsiteX39" fmla="*/ 139065 w 139254"/>
                  <a:gd name="connsiteY39" fmla="*/ 103823 h 131445"/>
                  <a:gd name="connsiteX40" fmla="*/ 135255 w 139254"/>
                  <a:gd name="connsiteY40" fmla="*/ 111443 h 131445"/>
                  <a:gd name="connsiteX41" fmla="*/ 128588 w 139254"/>
                  <a:gd name="connsiteY41" fmla="*/ 115252 h 131445"/>
                  <a:gd name="connsiteX42" fmla="*/ 121920 w 139254"/>
                  <a:gd name="connsiteY42" fmla="*/ 118110 h 131445"/>
                  <a:gd name="connsiteX43" fmla="*/ 86678 w 139254"/>
                  <a:gd name="connsiteY43" fmla="*/ 121920 h 131445"/>
                  <a:gd name="connsiteX44" fmla="*/ 65723 w 139254"/>
                  <a:gd name="connsiteY44" fmla="*/ 121920 h 131445"/>
                  <a:gd name="connsiteX45" fmla="*/ 60960 w 139254"/>
                  <a:gd name="connsiteY45" fmla="*/ 122873 h 131445"/>
                  <a:gd name="connsiteX46" fmla="*/ 52388 w 139254"/>
                  <a:gd name="connsiteY46" fmla="*/ 125730 h 131445"/>
                  <a:gd name="connsiteX47" fmla="*/ 43815 w 139254"/>
                  <a:gd name="connsiteY47" fmla="*/ 129540 h 131445"/>
                  <a:gd name="connsiteX48" fmla="*/ 29528 w 139254"/>
                  <a:gd name="connsiteY48" fmla="*/ 130493 h 131445"/>
                  <a:gd name="connsiteX49" fmla="*/ 25718 w 139254"/>
                  <a:gd name="connsiteY49" fmla="*/ 131445 h 131445"/>
                  <a:gd name="connsiteX50" fmla="*/ 20003 w 139254"/>
                  <a:gd name="connsiteY50" fmla="*/ 128588 h 131445"/>
                  <a:gd name="connsiteX51" fmla="*/ 20955 w 139254"/>
                  <a:gd name="connsiteY51" fmla="*/ 121920 h 131445"/>
                  <a:gd name="connsiteX52" fmla="*/ 23813 w 139254"/>
                  <a:gd name="connsiteY52" fmla="*/ 121920 h 131445"/>
                  <a:gd name="connsiteX53" fmla="*/ 31433 w 139254"/>
                  <a:gd name="connsiteY53" fmla="*/ 120015 h 131445"/>
                  <a:gd name="connsiteX54" fmla="*/ 37148 w 139254"/>
                  <a:gd name="connsiteY54" fmla="*/ 116205 h 131445"/>
                  <a:gd name="connsiteX55" fmla="*/ 37148 w 139254"/>
                  <a:gd name="connsiteY55" fmla="*/ 112395 h 131445"/>
                  <a:gd name="connsiteX56" fmla="*/ 32385 w 139254"/>
                  <a:gd name="connsiteY56" fmla="*/ 110490 h 131445"/>
                  <a:gd name="connsiteX57" fmla="*/ 27623 w 139254"/>
                  <a:gd name="connsiteY57" fmla="*/ 105727 h 131445"/>
                  <a:gd name="connsiteX58" fmla="*/ 26670 w 139254"/>
                  <a:gd name="connsiteY58" fmla="*/ 101918 h 131445"/>
                  <a:gd name="connsiteX59" fmla="*/ 31433 w 139254"/>
                  <a:gd name="connsiteY59" fmla="*/ 97155 h 131445"/>
                  <a:gd name="connsiteX60" fmla="*/ 35243 w 139254"/>
                  <a:gd name="connsiteY60" fmla="*/ 90488 h 131445"/>
                  <a:gd name="connsiteX61" fmla="*/ 35243 w 139254"/>
                  <a:gd name="connsiteY61" fmla="*/ 88583 h 131445"/>
                  <a:gd name="connsiteX62" fmla="*/ 35243 w 139254"/>
                  <a:gd name="connsiteY62" fmla="*/ 84773 h 131445"/>
                  <a:gd name="connsiteX63" fmla="*/ 51435 w 139254"/>
                  <a:gd name="connsiteY63" fmla="*/ 8191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9254" h="131445">
                    <a:moveTo>
                      <a:pt x="51435" y="81915"/>
                    </a:moveTo>
                    <a:lnTo>
                      <a:pt x="52388" y="72390"/>
                    </a:lnTo>
                    <a:lnTo>
                      <a:pt x="52388" y="68580"/>
                    </a:lnTo>
                    <a:lnTo>
                      <a:pt x="47625" y="63818"/>
                    </a:lnTo>
                    <a:lnTo>
                      <a:pt x="41910" y="60008"/>
                    </a:lnTo>
                    <a:lnTo>
                      <a:pt x="35243" y="56198"/>
                    </a:lnTo>
                    <a:lnTo>
                      <a:pt x="34290" y="52388"/>
                    </a:lnTo>
                    <a:cubicBezTo>
                      <a:pt x="34290" y="52388"/>
                      <a:pt x="25718" y="53340"/>
                      <a:pt x="21908" y="46673"/>
                    </a:cubicBezTo>
                    <a:cubicBezTo>
                      <a:pt x="19050" y="40005"/>
                      <a:pt x="17145" y="33338"/>
                      <a:pt x="17145" y="33338"/>
                    </a:cubicBezTo>
                    <a:lnTo>
                      <a:pt x="17145" y="25718"/>
                    </a:lnTo>
                    <a:lnTo>
                      <a:pt x="16193" y="22860"/>
                    </a:lnTo>
                    <a:lnTo>
                      <a:pt x="10478" y="19050"/>
                    </a:lnTo>
                    <a:lnTo>
                      <a:pt x="0" y="12383"/>
                    </a:lnTo>
                    <a:lnTo>
                      <a:pt x="0" y="9525"/>
                    </a:lnTo>
                    <a:lnTo>
                      <a:pt x="1905" y="6668"/>
                    </a:lnTo>
                    <a:cubicBezTo>
                      <a:pt x="7620" y="6668"/>
                      <a:pt x="11430" y="6668"/>
                      <a:pt x="15240" y="6668"/>
                    </a:cubicBezTo>
                    <a:cubicBezTo>
                      <a:pt x="18098" y="6668"/>
                      <a:pt x="14288" y="8573"/>
                      <a:pt x="18098" y="6668"/>
                    </a:cubicBezTo>
                    <a:cubicBezTo>
                      <a:pt x="22860" y="4763"/>
                      <a:pt x="22860" y="2858"/>
                      <a:pt x="25718" y="1905"/>
                    </a:cubicBezTo>
                    <a:cubicBezTo>
                      <a:pt x="28575" y="953"/>
                      <a:pt x="40958" y="0"/>
                      <a:pt x="40958" y="0"/>
                    </a:cubicBezTo>
                    <a:lnTo>
                      <a:pt x="46673" y="0"/>
                    </a:lnTo>
                    <a:cubicBezTo>
                      <a:pt x="46673" y="0"/>
                      <a:pt x="46673" y="3810"/>
                      <a:pt x="51435" y="4763"/>
                    </a:cubicBezTo>
                    <a:cubicBezTo>
                      <a:pt x="56198" y="5715"/>
                      <a:pt x="60960" y="2858"/>
                      <a:pt x="62865" y="4763"/>
                    </a:cubicBezTo>
                    <a:cubicBezTo>
                      <a:pt x="63818" y="6668"/>
                      <a:pt x="65723" y="6668"/>
                      <a:pt x="65723" y="9525"/>
                    </a:cubicBezTo>
                    <a:cubicBezTo>
                      <a:pt x="65723" y="13335"/>
                      <a:pt x="65723" y="8573"/>
                      <a:pt x="65723" y="13335"/>
                    </a:cubicBezTo>
                    <a:cubicBezTo>
                      <a:pt x="65723" y="17145"/>
                      <a:pt x="66675" y="17145"/>
                      <a:pt x="72390" y="18098"/>
                    </a:cubicBezTo>
                    <a:cubicBezTo>
                      <a:pt x="78105" y="20003"/>
                      <a:pt x="78105" y="20003"/>
                      <a:pt x="78105" y="20003"/>
                    </a:cubicBezTo>
                    <a:cubicBezTo>
                      <a:pt x="78105" y="20003"/>
                      <a:pt x="84773" y="21908"/>
                      <a:pt x="84773" y="24765"/>
                    </a:cubicBezTo>
                    <a:cubicBezTo>
                      <a:pt x="84773" y="26670"/>
                      <a:pt x="73343" y="34290"/>
                      <a:pt x="73343" y="34290"/>
                    </a:cubicBezTo>
                    <a:lnTo>
                      <a:pt x="61913" y="35243"/>
                    </a:lnTo>
                    <a:cubicBezTo>
                      <a:pt x="61913" y="35243"/>
                      <a:pt x="60960" y="36195"/>
                      <a:pt x="62865" y="39053"/>
                    </a:cubicBezTo>
                    <a:cubicBezTo>
                      <a:pt x="64770" y="41910"/>
                      <a:pt x="76200" y="43815"/>
                      <a:pt x="76200" y="43815"/>
                    </a:cubicBezTo>
                    <a:cubicBezTo>
                      <a:pt x="80963" y="48578"/>
                      <a:pt x="85725" y="51435"/>
                      <a:pt x="86678" y="54293"/>
                    </a:cubicBezTo>
                    <a:cubicBezTo>
                      <a:pt x="87630" y="56198"/>
                      <a:pt x="88583" y="55245"/>
                      <a:pt x="92393" y="58103"/>
                    </a:cubicBezTo>
                    <a:cubicBezTo>
                      <a:pt x="95250" y="60960"/>
                      <a:pt x="100013" y="60960"/>
                      <a:pt x="101918" y="63818"/>
                    </a:cubicBezTo>
                    <a:cubicBezTo>
                      <a:pt x="103823" y="66675"/>
                      <a:pt x="96203" y="63818"/>
                      <a:pt x="104775" y="71438"/>
                    </a:cubicBezTo>
                    <a:cubicBezTo>
                      <a:pt x="113348" y="79058"/>
                      <a:pt x="106680" y="77153"/>
                      <a:pt x="113348" y="79058"/>
                    </a:cubicBezTo>
                    <a:cubicBezTo>
                      <a:pt x="120015" y="80963"/>
                      <a:pt x="134303" y="82868"/>
                      <a:pt x="135255" y="85725"/>
                    </a:cubicBezTo>
                    <a:cubicBezTo>
                      <a:pt x="136208" y="88583"/>
                      <a:pt x="136208" y="88583"/>
                      <a:pt x="136208" y="88583"/>
                    </a:cubicBezTo>
                    <a:cubicBezTo>
                      <a:pt x="136208" y="88583"/>
                      <a:pt x="137160" y="92393"/>
                      <a:pt x="138113" y="95250"/>
                    </a:cubicBezTo>
                    <a:cubicBezTo>
                      <a:pt x="139065" y="98108"/>
                      <a:pt x="138113" y="101918"/>
                      <a:pt x="139065" y="103823"/>
                    </a:cubicBezTo>
                    <a:cubicBezTo>
                      <a:pt x="140018" y="105727"/>
                      <a:pt x="137160" y="109538"/>
                      <a:pt x="135255" y="111443"/>
                    </a:cubicBezTo>
                    <a:cubicBezTo>
                      <a:pt x="134303" y="113348"/>
                      <a:pt x="128588" y="115252"/>
                      <a:pt x="128588" y="115252"/>
                    </a:cubicBezTo>
                    <a:cubicBezTo>
                      <a:pt x="128588" y="115252"/>
                      <a:pt x="128588" y="116205"/>
                      <a:pt x="121920" y="118110"/>
                    </a:cubicBezTo>
                    <a:cubicBezTo>
                      <a:pt x="115253" y="120015"/>
                      <a:pt x="100013" y="122873"/>
                      <a:pt x="86678" y="121920"/>
                    </a:cubicBezTo>
                    <a:cubicBezTo>
                      <a:pt x="73343" y="120968"/>
                      <a:pt x="65723" y="121920"/>
                      <a:pt x="65723" y="121920"/>
                    </a:cubicBezTo>
                    <a:lnTo>
                      <a:pt x="60960" y="122873"/>
                    </a:lnTo>
                    <a:lnTo>
                      <a:pt x="52388" y="125730"/>
                    </a:lnTo>
                    <a:lnTo>
                      <a:pt x="43815" y="129540"/>
                    </a:lnTo>
                    <a:cubicBezTo>
                      <a:pt x="43815" y="129540"/>
                      <a:pt x="32385" y="128588"/>
                      <a:pt x="29528" y="130493"/>
                    </a:cubicBezTo>
                    <a:cubicBezTo>
                      <a:pt x="25718" y="131445"/>
                      <a:pt x="25718" y="131445"/>
                      <a:pt x="25718" y="131445"/>
                    </a:cubicBezTo>
                    <a:lnTo>
                      <a:pt x="20003" y="128588"/>
                    </a:lnTo>
                    <a:cubicBezTo>
                      <a:pt x="20003" y="128588"/>
                      <a:pt x="18098" y="121920"/>
                      <a:pt x="20955" y="121920"/>
                    </a:cubicBezTo>
                    <a:cubicBezTo>
                      <a:pt x="23813" y="121920"/>
                      <a:pt x="23813" y="121920"/>
                      <a:pt x="23813" y="121920"/>
                    </a:cubicBezTo>
                    <a:lnTo>
                      <a:pt x="31433" y="120015"/>
                    </a:lnTo>
                    <a:lnTo>
                      <a:pt x="37148" y="116205"/>
                    </a:lnTo>
                    <a:lnTo>
                      <a:pt x="37148" y="112395"/>
                    </a:lnTo>
                    <a:lnTo>
                      <a:pt x="32385" y="110490"/>
                    </a:lnTo>
                    <a:lnTo>
                      <a:pt x="27623" y="105727"/>
                    </a:lnTo>
                    <a:lnTo>
                      <a:pt x="26670" y="101918"/>
                    </a:lnTo>
                    <a:lnTo>
                      <a:pt x="31433" y="97155"/>
                    </a:lnTo>
                    <a:cubicBezTo>
                      <a:pt x="31433" y="97155"/>
                      <a:pt x="35243" y="93345"/>
                      <a:pt x="35243" y="90488"/>
                    </a:cubicBezTo>
                    <a:cubicBezTo>
                      <a:pt x="35243" y="88583"/>
                      <a:pt x="35243" y="91440"/>
                      <a:pt x="35243" y="88583"/>
                    </a:cubicBezTo>
                    <a:cubicBezTo>
                      <a:pt x="35243" y="84773"/>
                      <a:pt x="35243" y="84773"/>
                      <a:pt x="35243" y="84773"/>
                    </a:cubicBezTo>
                    <a:lnTo>
                      <a:pt x="51435" y="81915"/>
                    </a:lnTo>
                    <a:close/>
                  </a:path>
                </a:pathLst>
              </a:custGeom>
              <a:grpFill/>
              <a:ln w="9525" cap="flat">
                <a:noFill/>
                <a:prstDash val="solid"/>
                <a:miter/>
              </a:ln>
            </p:spPr>
            <p:txBody>
              <a:bodyPr rtlCol="0" anchor="ctr"/>
              <a:lstStyle/>
              <a:p>
                <a:endParaRPr lang="en-US" sz="1765"/>
              </a:p>
            </p:txBody>
          </p:sp>
          <p:sp>
            <p:nvSpPr>
              <p:cNvPr id="319" name="Freeform: Shape 318">
                <a:extLst>
                  <a:ext uri="{FF2B5EF4-FFF2-40B4-BE49-F238E27FC236}">
                    <a16:creationId xmlns:a16="http://schemas.microsoft.com/office/drawing/2014/main" id="{4E78B75D-322F-4E2D-9AA2-F49EC436BABA}"/>
                  </a:ext>
                </a:extLst>
              </p:cNvPr>
              <p:cNvSpPr/>
              <p:nvPr/>
            </p:nvSpPr>
            <p:spPr>
              <a:xfrm>
                <a:off x="8785412" y="3643993"/>
                <a:ext cx="34766" cy="12382"/>
              </a:xfrm>
              <a:custGeom>
                <a:avLst/>
                <a:gdLst>
                  <a:gd name="connsiteX0" fmla="*/ 25241 w 34766"/>
                  <a:gd name="connsiteY0" fmla="*/ 11430 h 12382"/>
                  <a:gd name="connsiteX1" fmla="*/ 13811 w 34766"/>
                  <a:gd name="connsiteY1" fmla="*/ 12383 h 12382"/>
                  <a:gd name="connsiteX2" fmla="*/ 7144 w 34766"/>
                  <a:gd name="connsiteY2" fmla="*/ 12383 h 12382"/>
                  <a:gd name="connsiteX3" fmla="*/ 476 w 34766"/>
                  <a:gd name="connsiteY3" fmla="*/ 9525 h 12382"/>
                  <a:gd name="connsiteX4" fmla="*/ 2381 w 34766"/>
                  <a:gd name="connsiteY4" fmla="*/ 4763 h 12382"/>
                  <a:gd name="connsiteX5" fmla="*/ 7144 w 34766"/>
                  <a:gd name="connsiteY5" fmla="*/ 5715 h 12382"/>
                  <a:gd name="connsiteX6" fmla="*/ 14764 w 34766"/>
                  <a:gd name="connsiteY6" fmla="*/ 1905 h 12382"/>
                  <a:gd name="connsiteX7" fmla="*/ 22384 w 34766"/>
                  <a:gd name="connsiteY7" fmla="*/ 952 h 12382"/>
                  <a:gd name="connsiteX8" fmla="*/ 28099 w 34766"/>
                  <a:gd name="connsiteY8" fmla="*/ 0 h 12382"/>
                  <a:gd name="connsiteX9" fmla="*/ 33814 w 34766"/>
                  <a:gd name="connsiteY9" fmla="*/ 1905 h 12382"/>
                  <a:gd name="connsiteX10" fmla="*/ 34766 w 34766"/>
                  <a:gd name="connsiteY10" fmla="*/ 6668 h 12382"/>
                  <a:gd name="connsiteX11" fmla="*/ 30004 w 34766"/>
                  <a:gd name="connsiteY11" fmla="*/ 9525 h 12382"/>
                  <a:gd name="connsiteX12" fmla="*/ 25241 w 34766"/>
                  <a:gd name="connsiteY12" fmla="*/ 11430 h 1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6" h="12382">
                    <a:moveTo>
                      <a:pt x="25241" y="11430"/>
                    </a:moveTo>
                    <a:lnTo>
                      <a:pt x="13811" y="12383"/>
                    </a:lnTo>
                    <a:lnTo>
                      <a:pt x="7144" y="12383"/>
                    </a:lnTo>
                    <a:lnTo>
                      <a:pt x="476" y="9525"/>
                    </a:lnTo>
                    <a:cubicBezTo>
                      <a:pt x="476" y="9525"/>
                      <a:pt x="-1429" y="3810"/>
                      <a:pt x="2381" y="4763"/>
                    </a:cubicBezTo>
                    <a:cubicBezTo>
                      <a:pt x="7144" y="5715"/>
                      <a:pt x="7144" y="5715"/>
                      <a:pt x="7144" y="5715"/>
                    </a:cubicBezTo>
                    <a:cubicBezTo>
                      <a:pt x="7144" y="5715"/>
                      <a:pt x="11906" y="952"/>
                      <a:pt x="14764" y="1905"/>
                    </a:cubicBezTo>
                    <a:cubicBezTo>
                      <a:pt x="17621" y="2858"/>
                      <a:pt x="22384" y="952"/>
                      <a:pt x="22384" y="952"/>
                    </a:cubicBezTo>
                    <a:lnTo>
                      <a:pt x="28099" y="0"/>
                    </a:lnTo>
                    <a:cubicBezTo>
                      <a:pt x="28099" y="0"/>
                      <a:pt x="33814" y="0"/>
                      <a:pt x="33814" y="1905"/>
                    </a:cubicBezTo>
                    <a:cubicBezTo>
                      <a:pt x="33814" y="3810"/>
                      <a:pt x="34766" y="4763"/>
                      <a:pt x="34766" y="6668"/>
                    </a:cubicBezTo>
                    <a:cubicBezTo>
                      <a:pt x="34766" y="8573"/>
                      <a:pt x="30004" y="9525"/>
                      <a:pt x="30004" y="9525"/>
                    </a:cubicBezTo>
                    <a:lnTo>
                      <a:pt x="25241" y="11430"/>
                    </a:lnTo>
                    <a:close/>
                  </a:path>
                </a:pathLst>
              </a:custGeom>
              <a:grpFill/>
              <a:ln w="9525" cap="flat">
                <a:noFill/>
                <a:prstDash val="solid"/>
                <a:miter/>
              </a:ln>
            </p:spPr>
            <p:txBody>
              <a:bodyPr rtlCol="0" anchor="ctr"/>
              <a:lstStyle/>
              <a:p>
                <a:endParaRPr lang="en-US" sz="1765"/>
              </a:p>
            </p:txBody>
          </p:sp>
          <p:sp>
            <p:nvSpPr>
              <p:cNvPr id="320" name="Freeform: Shape 319">
                <a:extLst>
                  <a:ext uri="{FF2B5EF4-FFF2-40B4-BE49-F238E27FC236}">
                    <a16:creationId xmlns:a16="http://schemas.microsoft.com/office/drawing/2014/main" id="{15A000FA-FB8B-4A6E-AE72-3629167D4733}"/>
                  </a:ext>
                </a:extLst>
              </p:cNvPr>
              <p:cNvSpPr/>
              <p:nvPr/>
            </p:nvSpPr>
            <p:spPr>
              <a:xfrm>
                <a:off x="8447641" y="2877241"/>
                <a:ext cx="251759" cy="93335"/>
              </a:xfrm>
              <a:custGeom>
                <a:avLst/>
                <a:gdLst>
                  <a:gd name="connsiteX0" fmla="*/ 176323 w 251759"/>
                  <a:gd name="connsiteY0" fmla="*/ 76190 h 93335"/>
                  <a:gd name="connsiteX1" fmla="*/ 163940 w 251759"/>
                  <a:gd name="connsiteY1" fmla="*/ 74285 h 93335"/>
                  <a:gd name="connsiteX2" fmla="*/ 156320 w 251759"/>
                  <a:gd name="connsiteY2" fmla="*/ 71428 h 93335"/>
                  <a:gd name="connsiteX3" fmla="*/ 156320 w 251759"/>
                  <a:gd name="connsiteY3" fmla="*/ 64760 h 93335"/>
                  <a:gd name="connsiteX4" fmla="*/ 156320 w 251759"/>
                  <a:gd name="connsiteY4" fmla="*/ 61903 h 93335"/>
                  <a:gd name="connsiteX5" fmla="*/ 142033 w 251759"/>
                  <a:gd name="connsiteY5" fmla="*/ 59998 h 93335"/>
                  <a:gd name="connsiteX6" fmla="*/ 132508 w 251759"/>
                  <a:gd name="connsiteY6" fmla="*/ 60950 h 93335"/>
                  <a:gd name="connsiteX7" fmla="*/ 125840 w 251759"/>
                  <a:gd name="connsiteY7" fmla="*/ 63808 h 93335"/>
                  <a:gd name="connsiteX8" fmla="*/ 121078 w 251759"/>
                  <a:gd name="connsiteY8" fmla="*/ 68570 h 93335"/>
                  <a:gd name="connsiteX9" fmla="*/ 104885 w 251759"/>
                  <a:gd name="connsiteY9" fmla="*/ 73333 h 93335"/>
                  <a:gd name="connsiteX10" fmla="*/ 95360 w 251759"/>
                  <a:gd name="connsiteY10" fmla="*/ 82858 h 93335"/>
                  <a:gd name="connsiteX11" fmla="*/ 95360 w 251759"/>
                  <a:gd name="connsiteY11" fmla="*/ 88573 h 93335"/>
                  <a:gd name="connsiteX12" fmla="*/ 86788 w 251759"/>
                  <a:gd name="connsiteY12" fmla="*/ 92383 h 93335"/>
                  <a:gd name="connsiteX13" fmla="*/ 74405 w 251759"/>
                  <a:gd name="connsiteY13" fmla="*/ 93335 h 93335"/>
                  <a:gd name="connsiteX14" fmla="*/ 62975 w 251759"/>
                  <a:gd name="connsiteY14" fmla="*/ 93335 h 93335"/>
                  <a:gd name="connsiteX15" fmla="*/ 53450 w 251759"/>
                  <a:gd name="connsiteY15" fmla="*/ 91430 h 93335"/>
                  <a:gd name="connsiteX16" fmla="*/ 52498 w 251759"/>
                  <a:gd name="connsiteY16" fmla="*/ 88573 h 93335"/>
                  <a:gd name="connsiteX17" fmla="*/ 51545 w 251759"/>
                  <a:gd name="connsiteY17" fmla="*/ 83810 h 93335"/>
                  <a:gd name="connsiteX18" fmla="*/ 49640 w 251759"/>
                  <a:gd name="connsiteY18" fmla="*/ 77143 h 93335"/>
                  <a:gd name="connsiteX19" fmla="*/ 48688 w 251759"/>
                  <a:gd name="connsiteY19" fmla="*/ 73333 h 93335"/>
                  <a:gd name="connsiteX20" fmla="*/ 49640 w 251759"/>
                  <a:gd name="connsiteY20" fmla="*/ 66665 h 93335"/>
                  <a:gd name="connsiteX21" fmla="*/ 51545 w 251759"/>
                  <a:gd name="connsiteY21" fmla="*/ 62855 h 93335"/>
                  <a:gd name="connsiteX22" fmla="*/ 54403 w 251759"/>
                  <a:gd name="connsiteY22" fmla="*/ 62855 h 93335"/>
                  <a:gd name="connsiteX23" fmla="*/ 58213 w 251759"/>
                  <a:gd name="connsiteY23" fmla="*/ 56188 h 93335"/>
                  <a:gd name="connsiteX24" fmla="*/ 58213 w 251759"/>
                  <a:gd name="connsiteY24" fmla="*/ 52378 h 93335"/>
                  <a:gd name="connsiteX25" fmla="*/ 58213 w 251759"/>
                  <a:gd name="connsiteY25" fmla="*/ 48568 h 93335"/>
                  <a:gd name="connsiteX26" fmla="*/ 44878 w 251759"/>
                  <a:gd name="connsiteY26" fmla="*/ 52378 h 93335"/>
                  <a:gd name="connsiteX27" fmla="*/ 43925 w 251759"/>
                  <a:gd name="connsiteY27" fmla="*/ 55235 h 93335"/>
                  <a:gd name="connsiteX28" fmla="*/ 19160 w 251759"/>
                  <a:gd name="connsiteY28" fmla="*/ 59045 h 93335"/>
                  <a:gd name="connsiteX29" fmla="*/ 11540 w 251759"/>
                  <a:gd name="connsiteY29" fmla="*/ 59045 h 93335"/>
                  <a:gd name="connsiteX30" fmla="*/ 2015 w 251759"/>
                  <a:gd name="connsiteY30" fmla="*/ 57140 h 93335"/>
                  <a:gd name="connsiteX31" fmla="*/ 1063 w 251759"/>
                  <a:gd name="connsiteY31" fmla="*/ 46663 h 93335"/>
                  <a:gd name="connsiteX32" fmla="*/ 5825 w 251759"/>
                  <a:gd name="connsiteY32" fmla="*/ 38090 h 93335"/>
                  <a:gd name="connsiteX33" fmla="*/ 5825 w 251759"/>
                  <a:gd name="connsiteY33" fmla="*/ 30470 h 93335"/>
                  <a:gd name="connsiteX34" fmla="*/ 4873 w 251759"/>
                  <a:gd name="connsiteY34" fmla="*/ 27613 h 93335"/>
                  <a:gd name="connsiteX35" fmla="*/ 12493 w 251759"/>
                  <a:gd name="connsiteY35" fmla="*/ 22850 h 93335"/>
                  <a:gd name="connsiteX36" fmla="*/ 26780 w 251759"/>
                  <a:gd name="connsiteY36" fmla="*/ 20945 h 93335"/>
                  <a:gd name="connsiteX37" fmla="*/ 42973 w 251759"/>
                  <a:gd name="connsiteY37" fmla="*/ 19993 h 93335"/>
                  <a:gd name="connsiteX38" fmla="*/ 64880 w 251759"/>
                  <a:gd name="connsiteY38" fmla="*/ 19040 h 93335"/>
                  <a:gd name="connsiteX39" fmla="*/ 87740 w 251759"/>
                  <a:gd name="connsiteY39" fmla="*/ 14278 h 93335"/>
                  <a:gd name="connsiteX40" fmla="*/ 115363 w 251759"/>
                  <a:gd name="connsiteY40" fmla="*/ 14278 h 93335"/>
                  <a:gd name="connsiteX41" fmla="*/ 129650 w 251759"/>
                  <a:gd name="connsiteY41" fmla="*/ 7610 h 93335"/>
                  <a:gd name="connsiteX42" fmla="*/ 138223 w 251759"/>
                  <a:gd name="connsiteY42" fmla="*/ 2848 h 93335"/>
                  <a:gd name="connsiteX43" fmla="*/ 149653 w 251759"/>
                  <a:gd name="connsiteY43" fmla="*/ 1895 h 93335"/>
                  <a:gd name="connsiteX44" fmla="*/ 165845 w 251759"/>
                  <a:gd name="connsiteY44" fmla="*/ 6658 h 93335"/>
                  <a:gd name="connsiteX45" fmla="*/ 182038 w 251759"/>
                  <a:gd name="connsiteY45" fmla="*/ 9515 h 93335"/>
                  <a:gd name="connsiteX46" fmla="*/ 203945 w 251759"/>
                  <a:gd name="connsiteY46" fmla="*/ 8563 h 93335"/>
                  <a:gd name="connsiteX47" fmla="*/ 215375 w 251759"/>
                  <a:gd name="connsiteY47" fmla="*/ 8563 h 93335"/>
                  <a:gd name="connsiteX48" fmla="*/ 241093 w 251759"/>
                  <a:gd name="connsiteY48" fmla="*/ 8563 h 93335"/>
                  <a:gd name="connsiteX49" fmla="*/ 249665 w 251759"/>
                  <a:gd name="connsiteY49" fmla="*/ 10468 h 93335"/>
                  <a:gd name="connsiteX50" fmla="*/ 251570 w 251759"/>
                  <a:gd name="connsiteY50" fmla="*/ 17135 h 93335"/>
                  <a:gd name="connsiteX51" fmla="*/ 247760 w 251759"/>
                  <a:gd name="connsiteY51" fmla="*/ 23803 h 93335"/>
                  <a:gd name="connsiteX52" fmla="*/ 239188 w 251759"/>
                  <a:gd name="connsiteY52" fmla="*/ 26660 h 93335"/>
                  <a:gd name="connsiteX53" fmla="*/ 216328 w 251759"/>
                  <a:gd name="connsiteY53" fmla="*/ 27613 h 93335"/>
                  <a:gd name="connsiteX54" fmla="*/ 203945 w 251759"/>
                  <a:gd name="connsiteY54" fmla="*/ 30470 h 93335"/>
                  <a:gd name="connsiteX55" fmla="*/ 175370 w 251759"/>
                  <a:gd name="connsiteY55" fmla="*/ 30470 h 93335"/>
                  <a:gd name="connsiteX56" fmla="*/ 162035 w 251759"/>
                  <a:gd name="connsiteY56" fmla="*/ 28565 h 93335"/>
                  <a:gd name="connsiteX57" fmla="*/ 148700 w 251759"/>
                  <a:gd name="connsiteY57" fmla="*/ 21898 h 93335"/>
                  <a:gd name="connsiteX58" fmla="*/ 134413 w 251759"/>
                  <a:gd name="connsiteY58" fmla="*/ 22850 h 93335"/>
                  <a:gd name="connsiteX59" fmla="*/ 134413 w 251759"/>
                  <a:gd name="connsiteY59" fmla="*/ 24755 h 93335"/>
                  <a:gd name="connsiteX60" fmla="*/ 134413 w 251759"/>
                  <a:gd name="connsiteY60" fmla="*/ 27613 h 93335"/>
                  <a:gd name="connsiteX61" fmla="*/ 147748 w 251759"/>
                  <a:gd name="connsiteY61" fmla="*/ 29518 h 93335"/>
                  <a:gd name="connsiteX62" fmla="*/ 157273 w 251759"/>
                  <a:gd name="connsiteY62" fmla="*/ 34280 h 93335"/>
                  <a:gd name="connsiteX63" fmla="*/ 165845 w 251759"/>
                  <a:gd name="connsiteY63" fmla="*/ 39043 h 93335"/>
                  <a:gd name="connsiteX64" fmla="*/ 179180 w 251759"/>
                  <a:gd name="connsiteY64" fmla="*/ 39995 h 93335"/>
                  <a:gd name="connsiteX65" fmla="*/ 183943 w 251759"/>
                  <a:gd name="connsiteY65" fmla="*/ 43805 h 93335"/>
                  <a:gd name="connsiteX66" fmla="*/ 187753 w 251759"/>
                  <a:gd name="connsiteY66" fmla="*/ 52378 h 93335"/>
                  <a:gd name="connsiteX67" fmla="*/ 201088 w 251759"/>
                  <a:gd name="connsiteY67" fmla="*/ 58093 h 93335"/>
                  <a:gd name="connsiteX68" fmla="*/ 220138 w 251759"/>
                  <a:gd name="connsiteY68" fmla="*/ 59998 h 93335"/>
                  <a:gd name="connsiteX69" fmla="*/ 227758 w 251759"/>
                  <a:gd name="connsiteY69" fmla="*/ 61903 h 93335"/>
                  <a:gd name="connsiteX70" fmla="*/ 229663 w 251759"/>
                  <a:gd name="connsiteY70" fmla="*/ 64760 h 93335"/>
                  <a:gd name="connsiteX71" fmla="*/ 232520 w 251759"/>
                  <a:gd name="connsiteY71" fmla="*/ 68570 h 93335"/>
                  <a:gd name="connsiteX72" fmla="*/ 222995 w 251759"/>
                  <a:gd name="connsiteY72" fmla="*/ 72380 h 93335"/>
                  <a:gd name="connsiteX73" fmla="*/ 211565 w 251759"/>
                  <a:gd name="connsiteY73" fmla="*/ 73333 h 93335"/>
                  <a:gd name="connsiteX74" fmla="*/ 202993 w 251759"/>
                  <a:gd name="connsiteY74" fmla="*/ 72380 h 93335"/>
                  <a:gd name="connsiteX75" fmla="*/ 182038 w 251759"/>
                  <a:gd name="connsiteY75" fmla="*/ 76190 h 93335"/>
                  <a:gd name="connsiteX76" fmla="*/ 176323 w 251759"/>
                  <a:gd name="connsiteY76" fmla="*/ 76190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1759" h="93335">
                    <a:moveTo>
                      <a:pt x="176323" y="76190"/>
                    </a:moveTo>
                    <a:cubicBezTo>
                      <a:pt x="176323" y="76190"/>
                      <a:pt x="167750" y="74285"/>
                      <a:pt x="163940" y="74285"/>
                    </a:cubicBezTo>
                    <a:cubicBezTo>
                      <a:pt x="161083" y="73333"/>
                      <a:pt x="156320" y="71428"/>
                      <a:pt x="156320" y="71428"/>
                    </a:cubicBezTo>
                    <a:lnTo>
                      <a:pt x="156320" y="64760"/>
                    </a:lnTo>
                    <a:lnTo>
                      <a:pt x="156320" y="61903"/>
                    </a:lnTo>
                    <a:cubicBezTo>
                      <a:pt x="148700" y="59998"/>
                      <a:pt x="145843" y="58093"/>
                      <a:pt x="142033" y="59998"/>
                    </a:cubicBezTo>
                    <a:cubicBezTo>
                      <a:pt x="139175" y="60950"/>
                      <a:pt x="132508" y="60950"/>
                      <a:pt x="132508" y="60950"/>
                    </a:cubicBezTo>
                    <a:lnTo>
                      <a:pt x="125840" y="63808"/>
                    </a:lnTo>
                    <a:cubicBezTo>
                      <a:pt x="125840" y="63808"/>
                      <a:pt x="124888" y="65713"/>
                      <a:pt x="121078" y="68570"/>
                    </a:cubicBezTo>
                    <a:cubicBezTo>
                      <a:pt x="117268" y="71428"/>
                      <a:pt x="108695" y="66665"/>
                      <a:pt x="104885" y="73333"/>
                    </a:cubicBezTo>
                    <a:cubicBezTo>
                      <a:pt x="100123" y="80000"/>
                      <a:pt x="95360" y="82858"/>
                      <a:pt x="95360" y="82858"/>
                    </a:cubicBezTo>
                    <a:lnTo>
                      <a:pt x="95360" y="88573"/>
                    </a:lnTo>
                    <a:lnTo>
                      <a:pt x="86788" y="92383"/>
                    </a:lnTo>
                    <a:lnTo>
                      <a:pt x="74405" y="93335"/>
                    </a:lnTo>
                    <a:lnTo>
                      <a:pt x="62975" y="93335"/>
                    </a:lnTo>
                    <a:lnTo>
                      <a:pt x="53450" y="91430"/>
                    </a:lnTo>
                    <a:lnTo>
                      <a:pt x="52498" y="88573"/>
                    </a:lnTo>
                    <a:lnTo>
                      <a:pt x="51545" y="83810"/>
                    </a:lnTo>
                    <a:lnTo>
                      <a:pt x="49640" y="77143"/>
                    </a:lnTo>
                    <a:lnTo>
                      <a:pt x="48688" y="73333"/>
                    </a:lnTo>
                    <a:lnTo>
                      <a:pt x="49640" y="66665"/>
                    </a:lnTo>
                    <a:cubicBezTo>
                      <a:pt x="49640" y="66665"/>
                      <a:pt x="48688" y="62855"/>
                      <a:pt x="51545" y="62855"/>
                    </a:cubicBezTo>
                    <a:cubicBezTo>
                      <a:pt x="54403" y="62855"/>
                      <a:pt x="54403" y="62855"/>
                      <a:pt x="54403" y="62855"/>
                    </a:cubicBezTo>
                    <a:lnTo>
                      <a:pt x="58213" y="56188"/>
                    </a:lnTo>
                    <a:lnTo>
                      <a:pt x="58213" y="52378"/>
                    </a:lnTo>
                    <a:lnTo>
                      <a:pt x="58213" y="48568"/>
                    </a:lnTo>
                    <a:cubicBezTo>
                      <a:pt x="50593" y="49520"/>
                      <a:pt x="45830" y="49520"/>
                      <a:pt x="44878" y="52378"/>
                    </a:cubicBezTo>
                    <a:cubicBezTo>
                      <a:pt x="43925" y="55235"/>
                      <a:pt x="43925" y="55235"/>
                      <a:pt x="43925" y="55235"/>
                    </a:cubicBezTo>
                    <a:lnTo>
                      <a:pt x="19160" y="59045"/>
                    </a:lnTo>
                    <a:cubicBezTo>
                      <a:pt x="19160" y="59045"/>
                      <a:pt x="14398" y="59045"/>
                      <a:pt x="11540" y="59045"/>
                    </a:cubicBezTo>
                    <a:cubicBezTo>
                      <a:pt x="8683" y="59045"/>
                      <a:pt x="2015" y="57140"/>
                      <a:pt x="2015" y="57140"/>
                    </a:cubicBezTo>
                    <a:cubicBezTo>
                      <a:pt x="2015" y="57140"/>
                      <a:pt x="-1795" y="49520"/>
                      <a:pt x="1063" y="46663"/>
                    </a:cubicBezTo>
                    <a:cubicBezTo>
                      <a:pt x="4873" y="43805"/>
                      <a:pt x="4873" y="39995"/>
                      <a:pt x="5825" y="38090"/>
                    </a:cubicBezTo>
                    <a:cubicBezTo>
                      <a:pt x="6778" y="36185"/>
                      <a:pt x="5825" y="30470"/>
                      <a:pt x="5825" y="30470"/>
                    </a:cubicBezTo>
                    <a:lnTo>
                      <a:pt x="4873" y="27613"/>
                    </a:lnTo>
                    <a:cubicBezTo>
                      <a:pt x="4873" y="27613"/>
                      <a:pt x="6778" y="22850"/>
                      <a:pt x="12493" y="22850"/>
                    </a:cubicBezTo>
                    <a:cubicBezTo>
                      <a:pt x="18208" y="22850"/>
                      <a:pt x="22018" y="20945"/>
                      <a:pt x="26780" y="20945"/>
                    </a:cubicBezTo>
                    <a:cubicBezTo>
                      <a:pt x="31543" y="20945"/>
                      <a:pt x="35353" y="19993"/>
                      <a:pt x="42973" y="19993"/>
                    </a:cubicBezTo>
                    <a:cubicBezTo>
                      <a:pt x="50593" y="20945"/>
                      <a:pt x="58213" y="19040"/>
                      <a:pt x="64880" y="19040"/>
                    </a:cubicBezTo>
                    <a:cubicBezTo>
                      <a:pt x="71548" y="19993"/>
                      <a:pt x="80120" y="14278"/>
                      <a:pt x="87740" y="14278"/>
                    </a:cubicBezTo>
                    <a:cubicBezTo>
                      <a:pt x="95360" y="14278"/>
                      <a:pt x="107743" y="13325"/>
                      <a:pt x="115363" y="14278"/>
                    </a:cubicBezTo>
                    <a:cubicBezTo>
                      <a:pt x="122983" y="15230"/>
                      <a:pt x="129650" y="7610"/>
                      <a:pt x="129650" y="7610"/>
                    </a:cubicBezTo>
                    <a:cubicBezTo>
                      <a:pt x="129650" y="7610"/>
                      <a:pt x="133460" y="2848"/>
                      <a:pt x="138223" y="2848"/>
                    </a:cubicBezTo>
                    <a:cubicBezTo>
                      <a:pt x="143938" y="2848"/>
                      <a:pt x="132508" y="-2867"/>
                      <a:pt x="149653" y="1895"/>
                    </a:cubicBezTo>
                    <a:cubicBezTo>
                      <a:pt x="165845" y="6658"/>
                      <a:pt x="165845" y="6658"/>
                      <a:pt x="165845" y="6658"/>
                    </a:cubicBezTo>
                    <a:cubicBezTo>
                      <a:pt x="165845" y="6658"/>
                      <a:pt x="176323" y="9515"/>
                      <a:pt x="182038" y="9515"/>
                    </a:cubicBezTo>
                    <a:cubicBezTo>
                      <a:pt x="187753" y="9515"/>
                      <a:pt x="203945" y="8563"/>
                      <a:pt x="203945" y="8563"/>
                    </a:cubicBezTo>
                    <a:cubicBezTo>
                      <a:pt x="203945" y="8563"/>
                      <a:pt x="209660" y="7610"/>
                      <a:pt x="215375" y="8563"/>
                    </a:cubicBezTo>
                    <a:cubicBezTo>
                      <a:pt x="221090" y="9515"/>
                      <a:pt x="236330" y="7610"/>
                      <a:pt x="241093" y="8563"/>
                    </a:cubicBezTo>
                    <a:cubicBezTo>
                      <a:pt x="245855" y="9515"/>
                      <a:pt x="249665" y="10468"/>
                      <a:pt x="249665" y="10468"/>
                    </a:cubicBezTo>
                    <a:cubicBezTo>
                      <a:pt x="249665" y="10468"/>
                      <a:pt x="250618" y="14278"/>
                      <a:pt x="251570" y="17135"/>
                    </a:cubicBezTo>
                    <a:cubicBezTo>
                      <a:pt x="252523" y="20945"/>
                      <a:pt x="249665" y="21898"/>
                      <a:pt x="247760" y="23803"/>
                    </a:cubicBezTo>
                    <a:cubicBezTo>
                      <a:pt x="246808" y="25708"/>
                      <a:pt x="239188" y="26660"/>
                      <a:pt x="239188" y="26660"/>
                    </a:cubicBezTo>
                    <a:lnTo>
                      <a:pt x="216328" y="27613"/>
                    </a:lnTo>
                    <a:lnTo>
                      <a:pt x="203945" y="30470"/>
                    </a:lnTo>
                    <a:lnTo>
                      <a:pt x="175370" y="30470"/>
                    </a:lnTo>
                    <a:lnTo>
                      <a:pt x="162035" y="28565"/>
                    </a:lnTo>
                    <a:lnTo>
                      <a:pt x="148700" y="21898"/>
                    </a:lnTo>
                    <a:cubicBezTo>
                      <a:pt x="148700" y="21898"/>
                      <a:pt x="134413" y="19993"/>
                      <a:pt x="134413" y="22850"/>
                    </a:cubicBezTo>
                    <a:cubicBezTo>
                      <a:pt x="134413" y="24755"/>
                      <a:pt x="134413" y="24755"/>
                      <a:pt x="134413" y="24755"/>
                    </a:cubicBezTo>
                    <a:cubicBezTo>
                      <a:pt x="134413" y="24755"/>
                      <a:pt x="129650" y="25708"/>
                      <a:pt x="134413" y="27613"/>
                    </a:cubicBezTo>
                    <a:cubicBezTo>
                      <a:pt x="139175" y="29518"/>
                      <a:pt x="143938" y="27613"/>
                      <a:pt x="147748" y="29518"/>
                    </a:cubicBezTo>
                    <a:cubicBezTo>
                      <a:pt x="150605" y="31423"/>
                      <a:pt x="153463" y="31423"/>
                      <a:pt x="157273" y="34280"/>
                    </a:cubicBezTo>
                    <a:cubicBezTo>
                      <a:pt x="162035" y="36185"/>
                      <a:pt x="159178" y="38090"/>
                      <a:pt x="165845" y="39043"/>
                    </a:cubicBezTo>
                    <a:cubicBezTo>
                      <a:pt x="172513" y="39995"/>
                      <a:pt x="174418" y="35233"/>
                      <a:pt x="179180" y="39995"/>
                    </a:cubicBezTo>
                    <a:cubicBezTo>
                      <a:pt x="183943" y="43805"/>
                      <a:pt x="182990" y="39043"/>
                      <a:pt x="183943" y="43805"/>
                    </a:cubicBezTo>
                    <a:cubicBezTo>
                      <a:pt x="184895" y="49520"/>
                      <a:pt x="184895" y="50473"/>
                      <a:pt x="187753" y="52378"/>
                    </a:cubicBezTo>
                    <a:cubicBezTo>
                      <a:pt x="190610" y="54283"/>
                      <a:pt x="201088" y="58093"/>
                      <a:pt x="201088" y="58093"/>
                    </a:cubicBezTo>
                    <a:lnTo>
                      <a:pt x="220138" y="59998"/>
                    </a:lnTo>
                    <a:cubicBezTo>
                      <a:pt x="220138" y="59998"/>
                      <a:pt x="225853" y="59045"/>
                      <a:pt x="227758" y="61903"/>
                    </a:cubicBezTo>
                    <a:cubicBezTo>
                      <a:pt x="229663" y="64760"/>
                      <a:pt x="226805" y="60950"/>
                      <a:pt x="229663" y="64760"/>
                    </a:cubicBezTo>
                    <a:cubicBezTo>
                      <a:pt x="232520" y="68570"/>
                      <a:pt x="232520" y="65713"/>
                      <a:pt x="232520" y="68570"/>
                    </a:cubicBezTo>
                    <a:cubicBezTo>
                      <a:pt x="232520" y="71428"/>
                      <a:pt x="226805" y="71428"/>
                      <a:pt x="222995" y="72380"/>
                    </a:cubicBezTo>
                    <a:cubicBezTo>
                      <a:pt x="218233" y="73333"/>
                      <a:pt x="211565" y="73333"/>
                      <a:pt x="211565" y="73333"/>
                    </a:cubicBezTo>
                    <a:lnTo>
                      <a:pt x="202993" y="72380"/>
                    </a:lnTo>
                    <a:lnTo>
                      <a:pt x="182038" y="76190"/>
                    </a:lnTo>
                    <a:lnTo>
                      <a:pt x="176323" y="76190"/>
                    </a:lnTo>
                    <a:close/>
                  </a:path>
                </a:pathLst>
              </a:custGeom>
              <a:grpFill/>
              <a:ln w="9525" cap="flat">
                <a:noFill/>
                <a:prstDash val="solid"/>
                <a:miter/>
              </a:ln>
            </p:spPr>
            <p:txBody>
              <a:bodyPr rtlCol="0" anchor="ctr"/>
              <a:lstStyle/>
              <a:p>
                <a:endParaRPr lang="en-US" sz="1765"/>
              </a:p>
            </p:txBody>
          </p:sp>
          <p:sp>
            <p:nvSpPr>
              <p:cNvPr id="321" name="Freeform: Shape 320">
                <a:extLst>
                  <a:ext uri="{FF2B5EF4-FFF2-40B4-BE49-F238E27FC236}">
                    <a16:creationId xmlns:a16="http://schemas.microsoft.com/office/drawing/2014/main" id="{E66DAB7E-29B1-4EF9-94F8-8C450CDB8D43}"/>
                  </a:ext>
                </a:extLst>
              </p:cNvPr>
              <p:cNvSpPr/>
              <p:nvPr/>
            </p:nvSpPr>
            <p:spPr>
              <a:xfrm>
                <a:off x="9058304" y="2871622"/>
                <a:ext cx="56780" cy="22754"/>
              </a:xfrm>
              <a:custGeom>
                <a:avLst/>
                <a:gdLst>
                  <a:gd name="connsiteX0" fmla="*/ 50482 w 56780"/>
                  <a:gd name="connsiteY0" fmla="*/ 17039 h 22754"/>
                  <a:gd name="connsiteX1" fmla="*/ 45720 w 56780"/>
                  <a:gd name="connsiteY1" fmla="*/ 21802 h 22754"/>
                  <a:gd name="connsiteX2" fmla="*/ 33338 w 56780"/>
                  <a:gd name="connsiteY2" fmla="*/ 22754 h 22754"/>
                  <a:gd name="connsiteX3" fmla="*/ 24765 w 56780"/>
                  <a:gd name="connsiteY3" fmla="*/ 21802 h 22754"/>
                  <a:gd name="connsiteX4" fmla="*/ 11430 w 56780"/>
                  <a:gd name="connsiteY4" fmla="*/ 19897 h 22754"/>
                  <a:gd name="connsiteX5" fmla="*/ 5715 w 56780"/>
                  <a:gd name="connsiteY5" fmla="*/ 16087 h 22754"/>
                  <a:gd name="connsiteX6" fmla="*/ 5715 w 56780"/>
                  <a:gd name="connsiteY6" fmla="*/ 9419 h 22754"/>
                  <a:gd name="connsiteX7" fmla="*/ 0 w 56780"/>
                  <a:gd name="connsiteY7" fmla="*/ 6562 h 22754"/>
                  <a:gd name="connsiteX8" fmla="*/ 12382 w 56780"/>
                  <a:gd name="connsiteY8" fmla="*/ 2752 h 22754"/>
                  <a:gd name="connsiteX9" fmla="*/ 32385 w 56780"/>
                  <a:gd name="connsiteY9" fmla="*/ 847 h 22754"/>
                  <a:gd name="connsiteX10" fmla="*/ 55245 w 56780"/>
                  <a:gd name="connsiteY10" fmla="*/ 847 h 22754"/>
                  <a:gd name="connsiteX11" fmla="*/ 56197 w 56780"/>
                  <a:gd name="connsiteY11" fmla="*/ 5609 h 22754"/>
                  <a:gd name="connsiteX12" fmla="*/ 50482 w 56780"/>
                  <a:gd name="connsiteY12" fmla="*/ 17039 h 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80" h="22754">
                    <a:moveTo>
                      <a:pt x="50482" y="17039"/>
                    </a:moveTo>
                    <a:cubicBezTo>
                      <a:pt x="50482" y="17039"/>
                      <a:pt x="51435" y="20849"/>
                      <a:pt x="45720" y="21802"/>
                    </a:cubicBezTo>
                    <a:cubicBezTo>
                      <a:pt x="40005" y="22754"/>
                      <a:pt x="33338" y="22754"/>
                      <a:pt x="33338" y="22754"/>
                    </a:cubicBezTo>
                    <a:lnTo>
                      <a:pt x="24765" y="21802"/>
                    </a:lnTo>
                    <a:lnTo>
                      <a:pt x="11430" y="19897"/>
                    </a:lnTo>
                    <a:lnTo>
                      <a:pt x="5715" y="16087"/>
                    </a:lnTo>
                    <a:lnTo>
                      <a:pt x="5715" y="9419"/>
                    </a:lnTo>
                    <a:lnTo>
                      <a:pt x="0" y="6562"/>
                    </a:lnTo>
                    <a:cubicBezTo>
                      <a:pt x="0" y="6562"/>
                      <a:pt x="5715" y="3704"/>
                      <a:pt x="12382" y="2752"/>
                    </a:cubicBezTo>
                    <a:cubicBezTo>
                      <a:pt x="19050" y="1799"/>
                      <a:pt x="32385" y="847"/>
                      <a:pt x="32385" y="847"/>
                    </a:cubicBezTo>
                    <a:cubicBezTo>
                      <a:pt x="32385" y="847"/>
                      <a:pt x="53340" y="-1058"/>
                      <a:pt x="55245" y="847"/>
                    </a:cubicBezTo>
                    <a:cubicBezTo>
                      <a:pt x="57150" y="2752"/>
                      <a:pt x="55245" y="3704"/>
                      <a:pt x="56197" y="5609"/>
                    </a:cubicBezTo>
                    <a:cubicBezTo>
                      <a:pt x="59055" y="8467"/>
                      <a:pt x="50482" y="17039"/>
                      <a:pt x="50482" y="17039"/>
                    </a:cubicBezTo>
                    <a:close/>
                  </a:path>
                </a:pathLst>
              </a:custGeom>
              <a:grpFill/>
              <a:ln w="9525" cap="flat">
                <a:noFill/>
                <a:prstDash val="solid"/>
                <a:miter/>
              </a:ln>
            </p:spPr>
            <p:txBody>
              <a:bodyPr rtlCol="0" anchor="ctr"/>
              <a:lstStyle/>
              <a:p>
                <a:endParaRPr lang="en-US" sz="1765"/>
              </a:p>
            </p:txBody>
          </p:sp>
          <p:sp>
            <p:nvSpPr>
              <p:cNvPr id="322" name="Freeform: Shape 321">
                <a:extLst>
                  <a:ext uri="{FF2B5EF4-FFF2-40B4-BE49-F238E27FC236}">
                    <a16:creationId xmlns:a16="http://schemas.microsoft.com/office/drawing/2014/main" id="{9206AFD0-B81D-4227-865B-8C11ABDDD5A9}"/>
                  </a:ext>
                </a:extLst>
              </p:cNvPr>
              <p:cNvSpPr/>
              <p:nvPr/>
            </p:nvSpPr>
            <p:spPr>
              <a:xfrm>
                <a:off x="9201686" y="2869293"/>
                <a:ext cx="54949" cy="34309"/>
              </a:xfrm>
              <a:custGeom>
                <a:avLst/>
                <a:gdLst>
                  <a:gd name="connsiteX0" fmla="*/ 26163 w 54949"/>
                  <a:gd name="connsiteY0" fmla="*/ 6985 h 34309"/>
                  <a:gd name="connsiteX1" fmla="*/ 9971 w 54949"/>
                  <a:gd name="connsiteY1" fmla="*/ 1270 h 34309"/>
                  <a:gd name="connsiteX2" fmla="*/ 4255 w 54949"/>
                  <a:gd name="connsiteY2" fmla="*/ 1270 h 34309"/>
                  <a:gd name="connsiteX3" fmla="*/ 446 w 54949"/>
                  <a:gd name="connsiteY3" fmla="*/ 7938 h 34309"/>
                  <a:gd name="connsiteX4" fmla="*/ 2350 w 54949"/>
                  <a:gd name="connsiteY4" fmla="*/ 10795 h 34309"/>
                  <a:gd name="connsiteX5" fmla="*/ 7113 w 54949"/>
                  <a:gd name="connsiteY5" fmla="*/ 13652 h 34309"/>
                  <a:gd name="connsiteX6" fmla="*/ 8065 w 54949"/>
                  <a:gd name="connsiteY6" fmla="*/ 20320 h 34309"/>
                  <a:gd name="connsiteX7" fmla="*/ 3303 w 54949"/>
                  <a:gd name="connsiteY7" fmla="*/ 33655 h 34309"/>
                  <a:gd name="connsiteX8" fmla="*/ 15685 w 54949"/>
                  <a:gd name="connsiteY8" fmla="*/ 32702 h 34309"/>
                  <a:gd name="connsiteX9" fmla="*/ 29973 w 54949"/>
                  <a:gd name="connsiteY9" fmla="*/ 31750 h 34309"/>
                  <a:gd name="connsiteX10" fmla="*/ 35688 w 54949"/>
                  <a:gd name="connsiteY10" fmla="*/ 29845 h 34309"/>
                  <a:gd name="connsiteX11" fmla="*/ 43308 w 54949"/>
                  <a:gd name="connsiteY11" fmla="*/ 31750 h 34309"/>
                  <a:gd name="connsiteX12" fmla="*/ 48071 w 54949"/>
                  <a:gd name="connsiteY12" fmla="*/ 31750 h 34309"/>
                  <a:gd name="connsiteX13" fmla="*/ 52833 w 54949"/>
                  <a:gd name="connsiteY13" fmla="*/ 24130 h 34309"/>
                  <a:gd name="connsiteX14" fmla="*/ 52833 w 54949"/>
                  <a:gd name="connsiteY14" fmla="*/ 16510 h 34309"/>
                  <a:gd name="connsiteX15" fmla="*/ 44260 w 54949"/>
                  <a:gd name="connsiteY15" fmla="*/ 13652 h 34309"/>
                  <a:gd name="connsiteX16" fmla="*/ 30925 w 54949"/>
                  <a:gd name="connsiteY16" fmla="*/ 14605 h 34309"/>
                  <a:gd name="connsiteX17" fmla="*/ 26163 w 54949"/>
                  <a:gd name="connsiteY17" fmla="*/ 6985 h 3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949" h="34309">
                    <a:moveTo>
                      <a:pt x="26163" y="6985"/>
                    </a:moveTo>
                    <a:lnTo>
                      <a:pt x="9971" y="1270"/>
                    </a:lnTo>
                    <a:cubicBezTo>
                      <a:pt x="9971" y="1270"/>
                      <a:pt x="5208" y="-1587"/>
                      <a:pt x="4255" y="1270"/>
                    </a:cubicBezTo>
                    <a:cubicBezTo>
                      <a:pt x="3303" y="4127"/>
                      <a:pt x="-1460" y="5080"/>
                      <a:pt x="446" y="7938"/>
                    </a:cubicBezTo>
                    <a:cubicBezTo>
                      <a:pt x="2350" y="10795"/>
                      <a:pt x="-1460" y="7938"/>
                      <a:pt x="2350" y="10795"/>
                    </a:cubicBezTo>
                    <a:cubicBezTo>
                      <a:pt x="7113" y="13652"/>
                      <a:pt x="7113" y="13652"/>
                      <a:pt x="7113" y="13652"/>
                    </a:cubicBezTo>
                    <a:cubicBezTo>
                      <a:pt x="7113" y="13652"/>
                      <a:pt x="9971" y="16510"/>
                      <a:pt x="8065" y="20320"/>
                    </a:cubicBezTo>
                    <a:cubicBezTo>
                      <a:pt x="6160" y="24130"/>
                      <a:pt x="-2412" y="32702"/>
                      <a:pt x="3303" y="33655"/>
                    </a:cubicBezTo>
                    <a:cubicBezTo>
                      <a:pt x="9018" y="35560"/>
                      <a:pt x="9018" y="32702"/>
                      <a:pt x="15685" y="32702"/>
                    </a:cubicBezTo>
                    <a:cubicBezTo>
                      <a:pt x="22353" y="33655"/>
                      <a:pt x="29973" y="31750"/>
                      <a:pt x="29973" y="31750"/>
                    </a:cubicBezTo>
                    <a:cubicBezTo>
                      <a:pt x="29973" y="31750"/>
                      <a:pt x="31878" y="27940"/>
                      <a:pt x="35688" y="29845"/>
                    </a:cubicBezTo>
                    <a:cubicBezTo>
                      <a:pt x="38546" y="31750"/>
                      <a:pt x="43308" y="31750"/>
                      <a:pt x="43308" y="31750"/>
                    </a:cubicBezTo>
                    <a:cubicBezTo>
                      <a:pt x="43308" y="31750"/>
                      <a:pt x="43308" y="34607"/>
                      <a:pt x="48071" y="31750"/>
                    </a:cubicBezTo>
                    <a:cubicBezTo>
                      <a:pt x="52833" y="28893"/>
                      <a:pt x="52833" y="24130"/>
                      <a:pt x="52833" y="24130"/>
                    </a:cubicBezTo>
                    <a:cubicBezTo>
                      <a:pt x="52833" y="24130"/>
                      <a:pt x="57596" y="18415"/>
                      <a:pt x="52833" y="16510"/>
                    </a:cubicBezTo>
                    <a:cubicBezTo>
                      <a:pt x="48071" y="14605"/>
                      <a:pt x="52833" y="13652"/>
                      <a:pt x="44260" y="13652"/>
                    </a:cubicBezTo>
                    <a:cubicBezTo>
                      <a:pt x="35688" y="13652"/>
                      <a:pt x="30925" y="14605"/>
                      <a:pt x="30925" y="14605"/>
                    </a:cubicBezTo>
                    <a:lnTo>
                      <a:pt x="26163" y="6985"/>
                    </a:lnTo>
                    <a:close/>
                  </a:path>
                </a:pathLst>
              </a:custGeom>
              <a:grpFill/>
              <a:ln w="9525" cap="flat">
                <a:noFill/>
                <a:prstDash val="solid"/>
                <a:miter/>
              </a:ln>
            </p:spPr>
            <p:txBody>
              <a:bodyPr rtlCol="0" anchor="ctr"/>
              <a:lstStyle/>
              <a:p>
                <a:endParaRPr lang="en-US" sz="1765"/>
              </a:p>
            </p:txBody>
          </p:sp>
          <p:sp>
            <p:nvSpPr>
              <p:cNvPr id="323" name="Freeform: Shape 322">
                <a:extLst>
                  <a:ext uri="{FF2B5EF4-FFF2-40B4-BE49-F238E27FC236}">
                    <a16:creationId xmlns:a16="http://schemas.microsoft.com/office/drawing/2014/main" id="{8C80799B-EF17-4D93-8B06-FC4F2B02F4E0}"/>
                  </a:ext>
                </a:extLst>
              </p:cNvPr>
              <p:cNvSpPr/>
              <p:nvPr/>
            </p:nvSpPr>
            <p:spPr>
              <a:xfrm>
                <a:off x="9276426" y="2869611"/>
                <a:ext cx="103883" cy="23812"/>
              </a:xfrm>
              <a:custGeom>
                <a:avLst/>
                <a:gdLst>
                  <a:gd name="connsiteX0" fmla="*/ 94297 w 103883"/>
                  <a:gd name="connsiteY0" fmla="*/ 17145 h 23812"/>
                  <a:gd name="connsiteX1" fmla="*/ 82868 w 103883"/>
                  <a:gd name="connsiteY1" fmla="*/ 20955 h 23812"/>
                  <a:gd name="connsiteX2" fmla="*/ 61913 w 103883"/>
                  <a:gd name="connsiteY2" fmla="*/ 20955 h 23812"/>
                  <a:gd name="connsiteX3" fmla="*/ 53340 w 103883"/>
                  <a:gd name="connsiteY3" fmla="*/ 20955 h 23812"/>
                  <a:gd name="connsiteX4" fmla="*/ 44768 w 103883"/>
                  <a:gd name="connsiteY4" fmla="*/ 21908 h 23812"/>
                  <a:gd name="connsiteX5" fmla="*/ 32385 w 103883"/>
                  <a:gd name="connsiteY5" fmla="*/ 22860 h 23812"/>
                  <a:gd name="connsiteX6" fmla="*/ 22860 w 103883"/>
                  <a:gd name="connsiteY6" fmla="*/ 23813 h 23812"/>
                  <a:gd name="connsiteX7" fmla="*/ 10478 w 103883"/>
                  <a:gd name="connsiteY7" fmla="*/ 21908 h 23812"/>
                  <a:gd name="connsiteX8" fmla="*/ 4763 w 103883"/>
                  <a:gd name="connsiteY8" fmla="*/ 20002 h 23812"/>
                  <a:gd name="connsiteX9" fmla="*/ 0 w 103883"/>
                  <a:gd name="connsiteY9" fmla="*/ 18097 h 23812"/>
                  <a:gd name="connsiteX10" fmla="*/ 1905 w 103883"/>
                  <a:gd name="connsiteY10" fmla="*/ 13335 h 23812"/>
                  <a:gd name="connsiteX11" fmla="*/ 7620 w 103883"/>
                  <a:gd name="connsiteY11" fmla="*/ 11430 h 23812"/>
                  <a:gd name="connsiteX12" fmla="*/ 12382 w 103883"/>
                  <a:gd name="connsiteY12" fmla="*/ 6667 h 23812"/>
                  <a:gd name="connsiteX13" fmla="*/ 30480 w 103883"/>
                  <a:gd name="connsiteY13" fmla="*/ 3810 h 23812"/>
                  <a:gd name="connsiteX14" fmla="*/ 46672 w 103883"/>
                  <a:gd name="connsiteY14" fmla="*/ 2858 h 23812"/>
                  <a:gd name="connsiteX15" fmla="*/ 66675 w 103883"/>
                  <a:gd name="connsiteY15" fmla="*/ 1905 h 23812"/>
                  <a:gd name="connsiteX16" fmla="*/ 80010 w 103883"/>
                  <a:gd name="connsiteY16" fmla="*/ 952 h 23812"/>
                  <a:gd name="connsiteX17" fmla="*/ 89535 w 103883"/>
                  <a:gd name="connsiteY17" fmla="*/ 0 h 23812"/>
                  <a:gd name="connsiteX18" fmla="*/ 101918 w 103883"/>
                  <a:gd name="connsiteY18" fmla="*/ 1905 h 23812"/>
                  <a:gd name="connsiteX19" fmla="*/ 103822 w 103883"/>
                  <a:gd name="connsiteY19" fmla="*/ 8572 h 23812"/>
                  <a:gd name="connsiteX20" fmla="*/ 94297 w 103883"/>
                  <a:gd name="connsiteY20" fmla="*/ 17145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883" h="23812">
                    <a:moveTo>
                      <a:pt x="94297" y="17145"/>
                    </a:moveTo>
                    <a:cubicBezTo>
                      <a:pt x="82868" y="20955"/>
                      <a:pt x="89535" y="20002"/>
                      <a:pt x="82868" y="20955"/>
                    </a:cubicBezTo>
                    <a:cubicBezTo>
                      <a:pt x="76200" y="21908"/>
                      <a:pt x="61913" y="20955"/>
                      <a:pt x="61913" y="20955"/>
                    </a:cubicBezTo>
                    <a:lnTo>
                      <a:pt x="53340" y="20955"/>
                    </a:lnTo>
                    <a:lnTo>
                      <a:pt x="44768" y="21908"/>
                    </a:lnTo>
                    <a:lnTo>
                      <a:pt x="32385" y="22860"/>
                    </a:lnTo>
                    <a:lnTo>
                      <a:pt x="22860" y="23813"/>
                    </a:lnTo>
                    <a:lnTo>
                      <a:pt x="10478" y="21908"/>
                    </a:lnTo>
                    <a:lnTo>
                      <a:pt x="4763" y="20002"/>
                    </a:lnTo>
                    <a:lnTo>
                      <a:pt x="0" y="18097"/>
                    </a:lnTo>
                    <a:lnTo>
                      <a:pt x="1905" y="13335"/>
                    </a:lnTo>
                    <a:cubicBezTo>
                      <a:pt x="7620" y="11430"/>
                      <a:pt x="7620" y="11430"/>
                      <a:pt x="7620" y="11430"/>
                    </a:cubicBezTo>
                    <a:cubicBezTo>
                      <a:pt x="7620" y="11430"/>
                      <a:pt x="-953" y="8572"/>
                      <a:pt x="12382" y="6667"/>
                    </a:cubicBezTo>
                    <a:cubicBezTo>
                      <a:pt x="25718" y="4763"/>
                      <a:pt x="26670" y="3810"/>
                      <a:pt x="30480" y="3810"/>
                    </a:cubicBezTo>
                    <a:cubicBezTo>
                      <a:pt x="33338" y="3810"/>
                      <a:pt x="42863" y="1905"/>
                      <a:pt x="46672" y="2858"/>
                    </a:cubicBezTo>
                    <a:cubicBezTo>
                      <a:pt x="51435" y="3810"/>
                      <a:pt x="66675" y="1905"/>
                      <a:pt x="66675" y="1905"/>
                    </a:cubicBezTo>
                    <a:lnTo>
                      <a:pt x="80010" y="952"/>
                    </a:lnTo>
                    <a:cubicBezTo>
                      <a:pt x="80010" y="952"/>
                      <a:pt x="86678" y="0"/>
                      <a:pt x="89535" y="0"/>
                    </a:cubicBezTo>
                    <a:cubicBezTo>
                      <a:pt x="92393" y="0"/>
                      <a:pt x="101918" y="1905"/>
                      <a:pt x="101918" y="1905"/>
                    </a:cubicBezTo>
                    <a:cubicBezTo>
                      <a:pt x="101918" y="1905"/>
                      <a:pt x="103822" y="3810"/>
                      <a:pt x="103822" y="8572"/>
                    </a:cubicBezTo>
                    <a:cubicBezTo>
                      <a:pt x="104775" y="12383"/>
                      <a:pt x="94297" y="17145"/>
                      <a:pt x="94297" y="17145"/>
                    </a:cubicBezTo>
                    <a:close/>
                  </a:path>
                </a:pathLst>
              </a:custGeom>
              <a:grpFill/>
              <a:ln w="9525" cap="flat">
                <a:noFill/>
                <a:prstDash val="solid"/>
                <a:miter/>
              </a:ln>
            </p:spPr>
            <p:txBody>
              <a:bodyPr rtlCol="0" anchor="ctr"/>
              <a:lstStyle/>
              <a:p>
                <a:endParaRPr lang="en-US" sz="1765"/>
              </a:p>
            </p:txBody>
          </p:sp>
          <p:sp>
            <p:nvSpPr>
              <p:cNvPr id="324" name="Freeform: Shape 323">
                <a:extLst>
                  <a:ext uri="{FF2B5EF4-FFF2-40B4-BE49-F238E27FC236}">
                    <a16:creationId xmlns:a16="http://schemas.microsoft.com/office/drawing/2014/main" id="{26361282-203F-476B-AD86-5469E831C108}"/>
                  </a:ext>
                </a:extLst>
              </p:cNvPr>
              <p:cNvSpPr/>
              <p:nvPr/>
            </p:nvSpPr>
            <p:spPr>
              <a:xfrm>
                <a:off x="9131646" y="2973963"/>
                <a:ext cx="307657" cy="137583"/>
              </a:xfrm>
              <a:custGeom>
                <a:avLst/>
                <a:gdLst>
                  <a:gd name="connsiteX0" fmla="*/ 307658 w 307657"/>
                  <a:gd name="connsiteY0" fmla="*/ 7091 h 137583"/>
                  <a:gd name="connsiteX1" fmla="*/ 303848 w 307657"/>
                  <a:gd name="connsiteY1" fmla="*/ 12806 h 137583"/>
                  <a:gd name="connsiteX2" fmla="*/ 296228 w 307657"/>
                  <a:gd name="connsiteY2" fmla="*/ 16616 h 137583"/>
                  <a:gd name="connsiteX3" fmla="*/ 269558 w 307657"/>
                  <a:gd name="connsiteY3" fmla="*/ 18521 h 137583"/>
                  <a:gd name="connsiteX4" fmla="*/ 261938 w 307657"/>
                  <a:gd name="connsiteY4" fmla="*/ 18521 h 137583"/>
                  <a:gd name="connsiteX5" fmla="*/ 252413 w 307657"/>
                  <a:gd name="connsiteY5" fmla="*/ 19473 h 137583"/>
                  <a:gd name="connsiteX6" fmla="*/ 243840 w 307657"/>
                  <a:gd name="connsiteY6" fmla="*/ 21378 h 137583"/>
                  <a:gd name="connsiteX7" fmla="*/ 239078 w 307657"/>
                  <a:gd name="connsiteY7" fmla="*/ 25188 h 137583"/>
                  <a:gd name="connsiteX8" fmla="*/ 232410 w 307657"/>
                  <a:gd name="connsiteY8" fmla="*/ 28998 h 137583"/>
                  <a:gd name="connsiteX9" fmla="*/ 210503 w 307657"/>
                  <a:gd name="connsiteY9" fmla="*/ 29951 h 137583"/>
                  <a:gd name="connsiteX10" fmla="*/ 182880 w 307657"/>
                  <a:gd name="connsiteY10" fmla="*/ 30903 h 137583"/>
                  <a:gd name="connsiteX11" fmla="*/ 171450 w 307657"/>
                  <a:gd name="connsiteY11" fmla="*/ 34713 h 137583"/>
                  <a:gd name="connsiteX12" fmla="*/ 159068 w 307657"/>
                  <a:gd name="connsiteY12" fmla="*/ 41381 h 137583"/>
                  <a:gd name="connsiteX13" fmla="*/ 141923 w 307657"/>
                  <a:gd name="connsiteY13" fmla="*/ 55668 h 137583"/>
                  <a:gd name="connsiteX14" fmla="*/ 135255 w 307657"/>
                  <a:gd name="connsiteY14" fmla="*/ 58526 h 137583"/>
                  <a:gd name="connsiteX15" fmla="*/ 125730 w 307657"/>
                  <a:gd name="connsiteY15" fmla="*/ 62336 h 137583"/>
                  <a:gd name="connsiteX16" fmla="*/ 110490 w 307657"/>
                  <a:gd name="connsiteY16" fmla="*/ 69956 h 137583"/>
                  <a:gd name="connsiteX17" fmla="*/ 100013 w 307657"/>
                  <a:gd name="connsiteY17" fmla="*/ 74718 h 137583"/>
                  <a:gd name="connsiteX18" fmla="*/ 93345 w 307657"/>
                  <a:gd name="connsiteY18" fmla="*/ 76623 h 137583"/>
                  <a:gd name="connsiteX19" fmla="*/ 86678 w 307657"/>
                  <a:gd name="connsiteY19" fmla="*/ 78528 h 137583"/>
                  <a:gd name="connsiteX20" fmla="*/ 80010 w 307657"/>
                  <a:gd name="connsiteY20" fmla="*/ 83291 h 137583"/>
                  <a:gd name="connsiteX21" fmla="*/ 74295 w 307657"/>
                  <a:gd name="connsiteY21" fmla="*/ 87101 h 137583"/>
                  <a:gd name="connsiteX22" fmla="*/ 69533 w 307657"/>
                  <a:gd name="connsiteY22" fmla="*/ 91863 h 137583"/>
                  <a:gd name="connsiteX23" fmla="*/ 68580 w 307657"/>
                  <a:gd name="connsiteY23" fmla="*/ 104246 h 137583"/>
                  <a:gd name="connsiteX24" fmla="*/ 70485 w 307657"/>
                  <a:gd name="connsiteY24" fmla="*/ 110913 h 137583"/>
                  <a:gd name="connsiteX25" fmla="*/ 83820 w 307657"/>
                  <a:gd name="connsiteY25" fmla="*/ 118533 h 137583"/>
                  <a:gd name="connsiteX26" fmla="*/ 87630 w 307657"/>
                  <a:gd name="connsiteY26" fmla="*/ 128058 h 137583"/>
                  <a:gd name="connsiteX27" fmla="*/ 90488 w 307657"/>
                  <a:gd name="connsiteY27" fmla="*/ 129963 h 137583"/>
                  <a:gd name="connsiteX28" fmla="*/ 89535 w 307657"/>
                  <a:gd name="connsiteY28" fmla="*/ 134726 h 137583"/>
                  <a:gd name="connsiteX29" fmla="*/ 80010 w 307657"/>
                  <a:gd name="connsiteY29" fmla="*/ 136631 h 137583"/>
                  <a:gd name="connsiteX30" fmla="*/ 71438 w 307657"/>
                  <a:gd name="connsiteY30" fmla="*/ 137583 h 137583"/>
                  <a:gd name="connsiteX31" fmla="*/ 56198 w 307657"/>
                  <a:gd name="connsiteY31" fmla="*/ 135678 h 137583"/>
                  <a:gd name="connsiteX32" fmla="*/ 36195 w 307657"/>
                  <a:gd name="connsiteY32" fmla="*/ 128058 h 137583"/>
                  <a:gd name="connsiteX33" fmla="*/ 20955 w 307657"/>
                  <a:gd name="connsiteY33" fmla="*/ 125201 h 137583"/>
                  <a:gd name="connsiteX34" fmla="*/ 11430 w 307657"/>
                  <a:gd name="connsiteY34" fmla="*/ 125201 h 137583"/>
                  <a:gd name="connsiteX35" fmla="*/ 4763 w 307657"/>
                  <a:gd name="connsiteY35" fmla="*/ 123296 h 137583"/>
                  <a:gd name="connsiteX36" fmla="*/ 3810 w 307657"/>
                  <a:gd name="connsiteY36" fmla="*/ 120438 h 137583"/>
                  <a:gd name="connsiteX37" fmla="*/ 0 w 307657"/>
                  <a:gd name="connsiteY37" fmla="*/ 105198 h 137583"/>
                  <a:gd name="connsiteX38" fmla="*/ 4763 w 307657"/>
                  <a:gd name="connsiteY38" fmla="*/ 98531 h 137583"/>
                  <a:gd name="connsiteX39" fmla="*/ 11430 w 307657"/>
                  <a:gd name="connsiteY39" fmla="*/ 92816 h 137583"/>
                  <a:gd name="connsiteX40" fmla="*/ 19050 w 307657"/>
                  <a:gd name="connsiteY40" fmla="*/ 89006 h 137583"/>
                  <a:gd name="connsiteX41" fmla="*/ 23813 w 307657"/>
                  <a:gd name="connsiteY41" fmla="*/ 88053 h 137583"/>
                  <a:gd name="connsiteX42" fmla="*/ 47625 w 307657"/>
                  <a:gd name="connsiteY42" fmla="*/ 75671 h 137583"/>
                  <a:gd name="connsiteX43" fmla="*/ 60008 w 307657"/>
                  <a:gd name="connsiteY43" fmla="*/ 67098 h 137583"/>
                  <a:gd name="connsiteX44" fmla="*/ 71438 w 307657"/>
                  <a:gd name="connsiteY44" fmla="*/ 50906 h 137583"/>
                  <a:gd name="connsiteX45" fmla="*/ 80010 w 307657"/>
                  <a:gd name="connsiteY45" fmla="*/ 45191 h 137583"/>
                  <a:gd name="connsiteX46" fmla="*/ 90488 w 307657"/>
                  <a:gd name="connsiteY46" fmla="*/ 40428 h 137583"/>
                  <a:gd name="connsiteX47" fmla="*/ 98108 w 307657"/>
                  <a:gd name="connsiteY47" fmla="*/ 40428 h 137583"/>
                  <a:gd name="connsiteX48" fmla="*/ 112395 w 307657"/>
                  <a:gd name="connsiteY48" fmla="*/ 35666 h 137583"/>
                  <a:gd name="connsiteX49" fmla="*/ 121920 w 307657"/>
                  <a:gd name="connsiteY49" fmla="*/ 32808 h 137583"/>
                  <a:gd name="connsiteX50" fmla="*/ 137160 w 307657"/>
                  <a:gd name="connsiteY50" fmla="*/ 26141 h 137583"/>
                  <a:gd name="connsiteX51" fmla="*/ 148590 w 307657"/>
                  <a:gd name="connsiteY51" fmla="*/ 22331 h 137583"/>
                  <a:gd name="connsiteX52" fmla="*/ 157163 w 307657"/>
                  <a:gd name="connsiteY52" fmla="*/ 20426 h 137583"/>
                  <a:gd name="connsiteX53" fmla="*/ 171450 w 307657"/>
                  <a:gd name="connsiteY53" fmla="*/ 18521 h 137583"/>
                  <a:gd name="connsiteX54" fmla="*/ 183833 w 307657"/>
                  <a:gd name="connsiteY54" fmla="*/ 18521 h 137583"/>
                  <a:gd name="connsiteX55" fmla="*/ 208598 w 307657"/>
                  <a:gd name="connsiteY55" fmla="*/ 15663 h 137583"/>
                  <a:gd name="connsiteX56" fmla="*/ 220980 w 307657"/>
                  <a:gd name="connsiteY56" fmla="*/ 11853 h 137583"/>
                  <a:gd name="connsiteX57" fmla="*/ 234315 w 307657"/>
                  <a:gd name="connsiteY57" fmla="*/ 8043 h 137583"/>
                  <a:gd name="connsiteX58" fmla="*/ 237173 w 307657"/>
                  <a:gd name="connsiteY58" fmla="*/ 7091 h 137583"/>
                  <a:gd name="connsiteX59" fmla="*/ 241935 w 307657"/>
                  <a:gd name="connsiteY59" fmla="*/ 3281 h 137583"/>
                  <a:gd name="connsiteX60" fmla="*/ 262890 w 307657"/>
                  <a:gd name="connsiteY60" fmla="*/ 3281 h 137583"/>
                  <a:gd name="connsiteX61" fmla="*/ 268605 w 307657"/>
                  <a:gd name="connsiteY61" fmla="*/ 2328 h 137583"/>
                  <a:gd name="connsiteX62" fmla="*/ 293370 w 307657"/>
                  <a:gd name="connsiteY62" fmla="*/ 423 h 137583"/>
                  <a:gd name="connsiteX63" fmla="*/ 300990 w 307657"/>
                  <a:gd name="connsiteY63" fmla="*/ 423 h 137583"/>
                  <a:gd name="connsiteX64" fmla="*/ 307658 w 307657"/>
                  <a:gd name="connsiteY64" fmla="*/ 7091 h 13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07657" h="137583">
                    <a:moveTo>
                      <a:pt x="307658" y="7091"/>
                    </a:moveTo>
                    <a:cubicBezTo>
                      <a:pt x="307658" y="8996"/>
                      <a:pt x="303848" y="12806"/>
                      <a:pt x="303848" y="12806"/>
                    </a:cubicBezTo>
                    <a:cubicBezTo>
                      <a:pt x="303848" y="12806"/>
                      <a:pt x="302895" y="14711"/>
                      <a:pt x="296228" y="16616"/>
                    </a:cubicBezTo>
                    <a:cubicBezTo>
                      <a:pt x="289560" y="18521"/>
                      <a:pt x="269558" y="18521"/>
                      <a:pt x="269558" y="18521"/>
                    </a:cubicBezTo>
                    <a:lnTo>
                      <a:pt x="261938" y="18521"/>
                    </a:lnTo>
                    <a:lnTo>
                      <a:pt x="252413" y="19473"/>
                    </a:lnTo>
                    <a:cubicBezTo>
                      <a:pt x="252413" y="19473"/>
                      <a:pt x="247650" y="17568"/>
                      <a:pt x="243840" y="21378"/>
                    </a:cubicBezTo>
                    <a:cubicBezTo>
                      <a:pt x="239078" y="25188"/>
                      <a:pt x="239078" y="25188"/>
                      <a:pt x="239078" y="25188"/>
                    </a:cubicBezTo>
                    <a:lnTo>
                      <a:pt x="232410" y="28998"/>
                    </a:lnTo>
                    <a:cubicBezTo>
                      <a:pt x="232410" y="28998"/>
                      <a:pt x="213360" y="29951"/>
                      <a:pt x="210503" y="29951"/>
                    </a:cubicBezTo>
                    <a:cubicBezTo>
                      <a:pt x="207645" y="29951"/>
                      <a:pt x="182880" y="30903"/>
                      <a:pt x="182880" y="30903"/>
                    </a:cubicBezTo>
                    <a:lnTo>
                      <a:pt x="171450" y="34713"/>
                    </a:lnTo>
                    <a:lnTo>
                      <a:pt x="159068" y="41381"/>
                    </a:lnTo>
                    <a:cubicBezTo>
                      <a:pt x="159068" y="41381"/>
                      <a:pt x="144780" y="53763"/>
                      <a:pt x="141923" y="55668"/>
                    </a:cubicBezTo>
                    <a:cubicBezTo>
                      <a:pt x="140018" y="57573"/>
                      <a:pt x="137160" y="56621"/>
                      <a:pt x="135255" y="58526"/>
                    </a:cubicBezTo>
                    <a:cubicBezTo>
                      <a:pt x="133350" y="60431"/>
                      <a:pt x="126683" y="59478"/>
                      <a:pt x="125730" y="62336"/>
                    </a:cubicBezTo>
                    <a:cubicBezTo>
                      <a:pt x="124778" y="65193"/>
                      <a:pt x="111443" y="68051"/>
                      <a:pt x="110490" y="69956"/>
                    </a:cubicBezTo>
                    <a:cubicBezTo>
                      <a:pt x="109538" y="71861"/>
                      <a:pt x="100013" y="74718"/>
                      <a:pt x="100013" y="74718"/>
                    </a:cubicBezTo>
                    <a:lnTo>
                      <a:pt x="93345" y="76623"/>
                    </a:lnTo>
                    <a:cubicBezTo>
                      <a:pt x="93345" y="76623"/>
                      <a:pt x="88583" y="75671"/>
                      <a:pt x="86678" y="78528"/>
                    </a:cubicBezTo>
                    <a:cubicBezTo>
                      <a:pt x="84773" y="81386"/>
                      <a:pt x="85725" y="79481"/>
                      <a:pt x="80010" y="83291"/>
                    </a:cubicBezTo>
                    <a:cubicBezTo>
                      <a:pt x="74295" y="87101"/>
                      <a:pt x="79058" y="82338"/>
                      <a:pt x="74295" y="87101"/>
                    </a:cubicBezTo>
                    <a:cubicBezTo>
                      <a:pt x="69533" y="91863"/>
                      <a:pt x="73343" y="86148"/>
                      <a:pt x="69533" y="91863"/>
                    </a:cubicBezTo>
                    <a:cubicBezTo>
                      <a:pt x="65723" y="98531"/>
                      <a:pt x="65723" y="97578"/>
                      <a:pt x="68580" y="104246"/>
                    </a:cubicBezTo>
                    <a:cubicBezTo>
                      <a:pt x="70485" y="110913"/>
                      <a:pt x="70485" y="110913"/>
                      <a:pt x="70485" y="110913"/>
                    </a:cubicBezTo>
                    <a:lnTo>
                      <a:pt x="83820" y="118533"/>
                    </a:lnTo>
                    <a:cubicBezTo>
                      <a:pt x="83820" y="118533"/>
                      <a:pt x="84773" y="126153"/>
                      <a:pt x="87630" y="128058"/>
                    </a:cubicBezTo>
                    <a:cubicBezTo>
                      <a:pt x="90488" y="129963"/>
                      <a:pt x="89535" y="128058"/>
                      <a:pt x="90488" y="129963"/>
                    </a:cubicBezTo>
                    <a:cubicBezTo>
                      <a:pt x="91440" y="130916"/>
                      <a:pt x="89535" y="134726"/>
                      <a:pt x="89535" y="134726"/>
                    </a:cubicBezTo>
                    <a:lnTo>
                      <a:pt x="80010" y="136631"/>
                    </a:lnTo>
                    <a:lnTo>
                      <a:pt x="71438" y="137583"/>
                    </a:lnTo>
                    <a:lnTo>
                      <a:pt x="56198" y="135678"/>
                    </a:lnTo>
                    <a:lnTo>
                      <a:pt x="36195" y="128058"/>
                    </a:lnTo>
                    <a:cubicBezTo>
                      <a:pt x="30480" y="125201"/>
                      <a:pt x="26670" y="125201"/>
                      <a:pt x="20955" y="125201"/>
                    </a:cubicBezTo>
                    <a:cubicBezTo>
                      <a:pt x="15240" y="125201"/>
                      <a:pt x="11430" y="125201"/>
                      <a:pt x="11430" y="125201"/>
                    </a:cubicBezTo>
                    <a:lnTo>
                      <a:pt x="4763" y="123296"/>
                    </a:lnTo>
                    <a:cubicBezTo>
                      <a:pt x="4763" y="123296"/>
                      <a:pt x="6668" y="129963"/>
                      <a:pt x="3810" y="120438"/>
                    </a:cubicBezTo>
                    <a:cubicBezTo>
                      <a:pt x="953" y="110913"/>
                      <a:pt x="0" y="105198"/>
                      <a:pt x="0" y="105198"/>
                    </a:cubicBezTo>
                    <a:cubicBezTo>
                      <a:pt x="0" y="105198"/>
                      <a:pt x="953" y="98531"/>
                      <a:pt x="4763" y="98531"/>
                    </a:cubicBezTo>
                    <a:cubicBezTo>
                      <a:pt x="7620" y="98531"/>
                      <a:pt x="8573" y="92816"/>
                      <a:pt x="11430" y="92816"/>
                    </a:cubicBezTo>
                    <a:cubicBezTo>
                      <a:pt x="14288" y="92816"/>
                      <a:pt x="14288" y="90911"/>
                      <a:pt x="19050" y="89006"/>
                    </a:cubicBezTo>
                    <a:cubicBezTo>
                      <a:pt x="23813" y="88053"/>
                      <a:pt x="14288" y="89958"/>
                      <a:pt x="23813" y="88053"/>
                    </a:cubicBezTo>
                    <a:cubicBezTo>
                      <a:pt x="32385" y="85196"/>
                      <a:pt x="40958" y="78528"/>
                      <a:pt x="47625" y="75671"/>
                    </a:cubicBezTo>
                    <a:cubicBezTo>
                      <a:pt x="54293" y="72813"/>
                      <a:pt x="55245" y="69003"/>
                      <a:pt x="60008" y="67098"/>
                    </a:cubicBezTo>
                    <a:cubicBezTo>
                      <a:pt x="64770" y="65193"/>
                      <a:pt x="71438" y="50906"/>
                      <a:pt x="71438" y="50906"/>
                    </a:cubicBezTo>
                    <a:cubicBezTo>
                      <a:pt x="71438" y="50906"/>
                      <a:pt x="76200" y="47096"/>
                      <a:pt x="80010" y="45191"/>
                    </a:cubicBezTo>
                    <a:cubicBezTo>
                      <a:pt x="84773" y="43286"/>
                      <a:pt x="81915" y="40428"/>
                      <a:pt x="90488" y="40428"/>
                    </a:cubicBezTo>
                    <a:cubicBezTo>
                      <a:pt x="98108" y="40428"/>
                      <a:pt x="90488" y="43286"/>
                      <a:pt x="98108" y="40428"/>
                    </a:cubicBezTo>
                    <a:cubicBezTo>
                      <a:pt x="105728" y="37571"/>
                      <a:pt x="112395" y="35666"/>
                      <a:pt x="112395" y="35666"/>
                    </a:cubicBezTo>
                    <a:lnTo>
                      <a:pt x="121920" y="32808"/>
                    </a:lnTo>
                    <a:cubicBezTo>
                      <a:pt x="121920" y="32808"/>
                      <a:pt x="132398" y="26141"/>
                      <a:pt x="137160" y="26141"/>
                    </a:cubicBezTo>
                    <a:cubicBezTo>
                      <a:pt x="142875" y="25188"/>
                      <a:pt x="144780" y="24236"/>
                      <a:pt x="148590" y="22331"/>
                    </a:cubicBezTo>
                    <a:cubicBezTo>
                      <a:pt x="151448" y="21378"/>
                      <a:pt x="154305" y="20426"/>
                      <a:pt x="157163" y="20426"/>
                    </a:cubicBezTo>
                    <a:cubicBezTo>
                      <a:pt x="160020" y="20426"/>
                      <a:pt x="168593" y="17568"/>
                      <a:pt x="171450" y="18521"/>
                    </a:cubicBezTo>
                    <a:cubicBezTo>
                      <a:pt x="174308" y="19473"/>
                      <a:pt x="183833" y="18521"/>
                      <a:pt x="183833" y="18521"/>
                    </a:cubicBezTo>
                    <a:cubicBezTo>
                      <a:pt x="183833" y="18521"/>
                      <a:pt x="203835" y="14711"/>
                      <a:pt x="208598" y="15663"/>
                    </a:cubicBezTo>
                    <a:cubicBezTo>
                      <a:pt x="213360" y="15663"/>
                      <a:pt x="215265" y="11853"/>
                      <a:pt x="220980" y="11853"/>
                    </a:cubicBezTo>
                    <a:cubicBezTo>
                      <a:pt x="226695" y="11853"/>
                      <a:pt x="230505" y="8043"/>
                      <a:pt x="234315" y="8043"/>
                    </a:cubicBezTo>
                    <a:cubicBezTo>
                      <a:pt x="237173" y="7091"/>
                      <a:pt x="237173" y="7091"/>
                      <a:pt x="237173" y="7091"/>
                    </a:cubicBezTo>
                    <a:lnTo>
                      <a:pt x="241935" y="3281"/>
                    </a:lnTo>
                    <a:lnTo>
                      <a:pt x="262890" y="3281"/>
                    </a:lnTo>
                    <a:lnTo>
                      <a:pt x="268605" y="2328"/>
                    </a:lnTo>
                    <a:lnTo>
                      <a:pt x="293370" y="423"/>
                    </a:lnTo>
                    <a:cubicBezTo>
                      <a:pt x="293370" y="423"/>
                      <a:pt x="296228" y="-529"/>
                      <a:pt x="300990" y="423"/>
                    </a:cubicBezTo>
                    <a:cubicBezTo>
                      <a:pt x="303848" y="423"/>
                      <a:pt x="307658" y="7091"/>
                      <a:pt x="307658" y="7091"/>
                    </a:cubicBezTo>
                    <a:close/>
                  </a:path>
                </a:pathLst>
              </a:custGeom>
              <a:grpFill/>
              <a:ln w="9525" cap="flat">
                <a:noFill/>
                <a:prstDash val="solid"/>
                <a:miter/>
              </a:ln>
            </p:spPr>
            <p:txBody>
              <a:bodyPr rtlCol="0" anchor="ctr"/>
              <a:lstStyle/>
              <a:p>
                <a:endParaRPr lang="en-US" sz="1765"/>
              </a:p>
            </p:txBody>
          </p:sp>
          <p:sp>
            <p:nvSpPr>
              <p:cNvPr id="325" name="Freeform: Shape 324">
                <a:extLst>
                  <a:ext uri="{FF2B5EF4-FFF2-40B4-BE49-F238E27FC236}">
                    <a16:creationId xmlns:a16="http://schemas.microsoft.com/office/drawing/2014/main" id="{A2E28A12-018E-41A9-907A-443B736B7D27}"/>
                  </a:ext>
                </a:extLst>
              </p:cNvPr>
              <p:cNvSpPr/>
              <p:nvPr/>
            </p:nvSpPr>
            <p:spPr>
              <a:xfrm>
                <a:off x="9073544" y="3125834"/>
                <a:ext cx="28769" cy="20002"/>
              </a:xfrm>
              <a:custGeom>
                <a:avLst/>
                <a:gdLst>
                  <a:gd name="connsiteX0" fmla="*/ 26670 w 28769"/>
                  <a:gd name="connsiteY0" fmla="*/ 16193 h 20002"/>
                  <a:gd name="connsiteX1" fmla="*/ 18097 w 28769"/>
                  <a:gd name="connsiteY1" fmla="*/ 17145 h 20002"/>
                  <a:gd name="connsiteX2" fmla="*/ 9525 w 28769"/>
                  <a:gd name="connsiteY2" fmla="*/ 20002 h 20002"/>
                  <a:gd name="connsiteX3" fmla="*/ 952 w 28769"/>
                  <a:gd name="connsiteY3" fmla="*/ 18097 h 20002"/>
                  <a:gd name="connsiteX4" fmla="*/ 0 w 28769"/>
                  <a:gd name="connsiteY4" fmla="*/ 12382 h 20002"/>
                  <a:gd name="connsiteX5" fmla="*/ 1905 w 28769"/>
                  <a:gd name="connsiteY5" fmla="*/ 8572 h 20002"/>
                  <a:gd name="connsiteX6" fmla="*/ 5715 w 28769"/>
                  <a:gd name="connsiteY6" fmla="*/ 5715 h 20002"/>
                  <a:gd name="connsiteX7" fmla="*/ 6667 w 28769"/>
                  <a:gd name="connsiteY7" fmla="*/ 1905 h 20002"/>
                  <a:gd name="connsiteX8" fmla="*/ 16192 w 28769"/>
                  <a:gd name="connsiteY8" fmla="*/ 0 h 20002"/>
                  <a:gd name="connsiteX9" fmla="*/ 28575 w 28769"/>
                  <a:gd name="connsiteY9" fmla="*/ 3810 h 20002"/>
                  <a:gd name="connsiteX10" fmla="*/ 26670 w 28769"/>
                  <a:gd name="connsiteY10" fmla="*/ 16193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69" h="20002">
                    <a:moveTo>
                      <a:pt x="26670" y="16193"/>
                    </a:moveTo>
                    <a:cubicBezTo>
                      <a:pt x="26670" y="16193"/>
                      <a:pt x="26670" y="15240"/>
                      <a:pt x="18097" y="17145"/>
                    </a:cubicBezTo>
                    <a:cubicBezTo>
                      <a:pt x="9525" y="20002"/>
                      <a:pt x="9525" y="20002"/>
                      <a:pt x="9525" y="20002"/>
                    </a:cubicBezTo>
                    <a:lnTo>
                      <a:pt x="952" y="18097"/>
                    </a:lnTo>
                    <a:lnTo>
                      <a:pt x="0" y="12382"/>
                    </a:lnTo>
                    <a:lnTo>
                      <a:pt x="1905" y="8572"/>
                    </a:lnTo>
                    <a:lnTo>
                      <a:pt x="5715" y="5715"/>
                    </a:lnTo>
                    <a:cubicBezTo>
                      <a:pt x="5715" y="5715"/>
                      <a:pt x="2857" y="1905"/>
                      <a:pt x="6667" y="1905"/>
                    </a:cubicBezTo>
                    <a:cubicBezTo>
                      <a:pt x="11430" y="952"/>
                      <a:pt x="16192" y="0"/>
                      <a:pt x="16192" y="0"/>
                    </a:cubicBezTo>
                    <a:lnTo>
                      <a:pt x="28575" y="3810"/>
                    </a:lnTo>
                    <a:cubicBezTo>
                      <a:pt x="29527" y="6668"/>
                      <a:pt x="26670" y="16193"/>
                      <a:pt x="26670" y="16193"/>
                    </a:cubicBezTo>
                    <a:close/>
                  </a:path>
                </a:pathLst>
              </a:custGeom>
              <a:grpFill/>
              <a:ln w="9525" cap="flat">
                <a:noFill/>
                <a:prstDash val="solid"/>
                <a:miter/>
              </a:ln>
            </p:spPr>
            <p:txBody>
              <a:bodyPr rtlCol="0" anchor="ctr"/>
              <a:lstStyle/>
              <a:p>
                <a:endParaRPr lang="en-US" sz="1765"/>
              </a:p>
            </p:txBody>
          </p:sp>
          <p:sp>
            <p:nvSpPr>
              <p:cNvPr id="326" name="Freeform: Shape 325">
                <a:extLst>
                  <a:ext uri="{FF2B5EF4-FFF2-40B4-BE49-F238E27FC236}">
                    <a16:creationId xmlns:a16="http://schemas.microsoft.com/office/drawing/2014/main" id="{862CA02D-A981-473C-A2F1-9911C45923A0}"/>
                  </a:ext>
                </a:extLst>
              </p:cNvPr>
              <p:cNvSpPr/>
              <p:nvPr/>
            </p:nvSpPr>
            <p:spPr>
              <a:xfrm>
                <a:off x="9956437" y="2920199"/>
                <a:ext cx="107142" cy="38946"/>
              </a:xfrm>
              <a:custGeom>
                <a:avLst/>
                <a:gdLst>
                  <a:gd name="connsiteX0" fmla="*/ 102944 w 107142"/>
                  <a:gd name="connsiteY0" fmla="*/ 29422 h 38946"/>
                  <a:gd name="connsiteX1" fmla="*/ 86751 w 107142"/>
                  <a:gd name="connsiteY1" fmla="*/ 32279 h 38946"/>
                  <a:gd name="connsiteX2" fmla="*/ 68654 w 107142"/>
                  <a:gd name="connsiteY2" fmla="*/ 32279 h 38946"/>
                  <a:gd name="connsiteX3" fmla="*/ 53414 w 107142"/>
                  <a:gd name="connsiteY3" fmla="*/ 33232 h 38946"/>
                  <a:gd name="connsiteX4" fmla="*/ 38174 w 107142"/>
                  <a:gd name="connsiteY4" fmla="*/ 33232 h 38946"/>
                  <a:gd name="connsiteX5" fmla="*/ 24839 w 107142"/>
                  <a:gd name="connsiteY5" fmla="*/ 36089 h 38946"/>
                  <a:gd name="connsiteX6" fmla="*/ 16267 w 107142"/>
                  <a:gd name="connsiteY6" fmla="*/ 37042 h 38946"/>
                  <a:gd name="connsiteX7" fmla="*/ 7694 w 107142"/>
                  <a:gd name="connsiteY7" fmla="*/ 38947 h 38946"/>
                  <a:gd name="connsiteX8" fmla="*/ 74 w 107142"/>
                  <a:gd name="connsiteY8" fmla="*/ 35137 h 38946"/>
                  <a:gd name="connsiteX9" fmla="*/ 5789 w 107142"/>
                  <a:gd name="connsiteY9" fmla="*/ 27517 h 38946"/>
                  <a:gd name="connsiteX10" fmla="*/ 19124 w 107142"/>
                  <a:gd name="connsiteY10" fmla="*/ 22754 h 38946"/>
                  <a:gd name="connsiteX11" fmla="*/ 22934 w 107142"/>
                  <a:gd name="connsiteY11" fmla="*/ 14182 h 38946"/>
                  <a:gd name="connsiteX12" fmla="*/ 29601 w 107142"/>
                  <a:gd name="connsiteY12" fmla="*/ 10372 h 38946"/>
                  <a:gd name="connsiteX13" fmla="*/ 35317 w 107142"/>
                  <a:gd name="connsiteY13" fmla="*/ 8467 h 38946"/>
                  <a:gd name="connsiteX14" fmla="*/ 43889 w 107142"/>
                  <a:gd name="connsiteY14" fmla="*/ 2752 h 38946"/>
                  <a:gd name="connsiteX15" fmla="*/ 66749 w 107142"/>
                  <a:gd name="connsiteY15" fmla="*/ 847 h 38946"/>
                  <a:gd name="connsiteX16" fmla="*/ 73417 w 107142"/>
                  <a:gd name="connsiteY16" fmla="*/ 847 h 38946"/>
                  <a:gd name="connsiteX17" fmla="*/ 79132 w 107142"/>
                  <a:gd name="connsiteY17" fmla="*/ 2752 h 38946"/>
                  <a:gd name="connsiteX18" fmla="*/ 83894 w 107142"/>
                  <a:gd name="connsiteY18" fmla="*/ 7514 h 38946"/>
                  <a:gd name="connsiteX19" fmla="*/ 92467 w 107142"/>
                  <a:gd name="connsiteY19" fmla="*/ 12277 h 38946"/>
                  <a:gd name="connsiteX20" fmla="*/ 100086 w 107142"/>
                  <a:gd name="connsiteY20" fmla="*/ 14182 h 38946"/>
                  <a:gd name="connsiteX21" fmla="*/ 104849 w 107142"/>
                  <a:gd name="connsiteY21" fmla="*/ 17039 h 38946"/>
                  <a:gd name="connsiteX22" fmla="*/ 106754 w 107142"/>
                  <a:gd name="connsiteY22" fmla="*/ 20849 h 38946"/>
                  <a:gd name="connsiteX23" fmla="*/ 102944 w 107142"/>
                  <a:gd name="connsiteY23" fmla="*/ 29422 h 3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142" h="38946">
                    <a:moveTo>
                      <a:pt x="102944" y="29422"/>
                    </a:moveTo>
                    <a:lnTo>
                      <a:pt x="86751" y="32279"/>
                    </a:lnTo>
                    <a:lnTo>
                      <a:pt x="68654" y="32279"/>
                    </a:lnTo>
                    <a:lnTo>
                      <a:pt x="53414" y="33232"/>
                    </a:lnTo>
                    <a:cubicBezTo>
                      <a:pt x="53414" y="33232"/>
                      <a:pt x="38174" y="31327"/>
                      <a:pt x="38174" y="33232"/>
                    </a:cubicBezTo>
                    <a:cubicBezTo>
                      <a:pt x="38174" y="35137"/>
                      <a:pt x="29601" y="34184"/>
                      <a:pt x="24839" y="36089"/>
                    </a:cubicBezTo>
                    <a:cubicBezTo>
                      <a:pt x="20076" y="37994"/>
                      <a:pt x="18171" y="35137"/>
                      <a:pt x="16267" y="37042"/>
                    </a:cubicBezTo>
                    <a:cubicBezTo>
                      <a:pt x="14361" y="38947"/>
                      <a:pt x="7694" y="38947"/>
                      <a:pt x="7694" y="38947"/>
                    </a:cubicBezTo>
                    <a:cubicBezTo>
                      <a:pt x="7694" y="38947"/>
                      <a:pt x="-879" y="37994"/>
                      <a:pt x="74" y="35137"/>
                    </a:cubicBezTo>
                    <a:cubicBezTo>
                      <a:pt x="1026" y="32279"/>
                      <a:pt x="1979" y="29422"/>
                      <a:pt x="5789" y="27517"/>
                    </a:cubicBezTo>
                    <a:cubicBezTo>
                      <a:pt x="9599" y="25612"/>
                      <a:pt x="19124" y="22754"/>
                      <a:pt x="19124" y="22754"/>
                    </a:cubicBezTo>
                    <a:lnTo>
                      <a:pt x="22934" y="14182"/>
                    </a:lnTo>
                    <a:lnTo>
                      <a:pt x="29601" y="10372"/>
                    </a:lnTo>
                    <a:lnTo>
                      <a:pt x="35317" y="8467"/>
                    </a:lnTo>
                    <a:cubicBezTo>
                      <a:pt x="35317" y="8467"/>
                      <a:pt x="34364" y="4657"/>
                      <a:pt x="43889" y="2752"/>
                    </a:cubicBezTo>
                    <a:cubicBezTo>
                      <a:pt x="53414" y="1799"/>
                      <a:pt x="66749" y="847"/>
                      <a:pt x="66749" y="847"/>
                    </a:cubicBezTo>
                    <a:cubicBezTo>
                      <a:pt x="66749" y="847"/>
                      <a:pt x="67701" y="-1058"/>
                      <a:pt x="73417" y="847"/>
                    </a:cubicBezTo>
                    <a:cubicBezTo>
                      <a:pt x="79132" y="2752"/>
                      <a:pt x="74369" y="-1058"/>
                      <a:pt x="79132" y="2752"/>
                    </a:cubicBezTo>
                    <a:cubicBezTo>
                      <a:pt x="83894" y="7514"/>
                      <a:pt x="83894" y="7514"/>
                      <a:pt x="83894" y="7514"/>
                    </a:cubicBezTo>
                    <a:lnTo>
                      <a:pt x="92467" y="12277"/>
                    </a:lnTo>
                    <a:lnTo>
                      <a:pt x="100086" y="14182"/>
                    </a:lnTo>
                    <a:lnTo>
                      <a:pt x="104849" y="17039"/>
                    </a:lnTo>
                    <a:cubicBezTo>
                      <a:pt x="104849" y="17039"/>
                      <a:pt x="103896" y="13229"/>
                      <a:pt x="106754" y="20849"/>
                    </a:cubicBezTo>
                    <a:cubicBezTo>
                      <a:pt x="108659" y="27517"/>
                      <a:pt x="102944" y="29422"/>
                      <a:pt x="102944" y="29422"/>
                    </a:cubicBezTo>
                    <a:close/>
                  </a:path>
                </a:pathLst>
              </a:custGeom>
              <a:grpFill/>
              <a:ln w="9525" cap="flat">
                <a:noFill/>
                <a:prstDash val="solid"/>
                <a:miter/>
              </a:ln>
            </p:spPr>
            <p:txBody>
              <a:bodyPr rtlCol="0" anchor="ctr"/>
              <a:lstStyle/>
              <a:p>
                <a:endParaRPr lang="en-US" sz="1765"/>
              </a:p>
            </p:txBody>
          </p:sp>
          <p:sp>
            <p:nvSpPr>
              <p:cNvPr id="327" name="Freeform: Shape 326">
                <a:extLst>
                  <a:ext uri="{FF2B5EF4-FFF2-40B4-BE49-F238E27FC236}">
                    <a16:creationId xmlns:a16="http://schemas.microsoft.com/office/drawing/2014/main" id="{D9779D6D-F8FE-4858-8D24-116757F64A4A}"/>
                  </a:ext>
                </a:extLst>
              </p:cNvPr>
              <p:cNvSpPr/>
              <p:nvPr/>
            </p:nvSpPr>
            <p:spPr>
              <a:xfrm>
                <a:off x="9831581" y="2868658"/>
                <a:ext cx="121119" cy="65193"/>
              </a:xfrm>
              <a:custGeom>
                <a:avLst/>
                <a:gdLst>
                  <a:gd name="connsiteX0" fmla="*/ 114452 w 121119"/>
                  <a:gd name="connsiteY0" fmla="*/ 63818 h 65193"/>
                  <a:gd name="connsiteX1" fmla="*/ 94450 w 121119"/>
                  <a:gd name="connsiteY1" fmla="*/ 64770 h 65193"/>
                  <a:gd name="connsiteX2" fmla="*/ 79210 w 121119"/>
                  <a:gd name="connsiteY2" fmla="*/ 64770 h 65193"/>
                  <a:gd name="connsiteX3" fmla="*/ 65875 w 121119"/>
                  <a:gd name="connsiteY3" fmla="*/ 64770 h 65193"/>
                  <a:gd name="connsiteX4" fmla="*/ 58255 w 121119"/>
                  <a:gd name="connsiteY4" fmla="*/ 63818 h 65193"/>
                  <a:gd name="connsiteX5" fmla="*/ 44920 w 121119"/>
                  <a:gd name="connsiteY5" fmla="*/ 63818 h 65193"/>
                  <a:gd name="connsiteX6" fmla="*/ 39205 w 121119"/>
                  <a:gd name="connsiteY6" fmla="*/ 63818 h 65193"/>
                  <a:gd name="connsiteX7" fmla="*/ 36348 w 121119"/>
                  <a:gd name="connsiteY7" fmla="*/ 60960 h 65193"/>
                  <a:gd name="connsiteX8" fmla="*/ 33490 w 121119"/>
                  <a:gd name="connsiteY8" fmla="*/ 55245 h 65193"/>
                  <a:gd name="connsiteX9" fmla="*/ 33490 w 121119"/>
                  <a:gd name="connsiteY9" fmla="*/ 51435 h 65193"/>
                  <a:gd name="connsiteX10" fmla="*/ 37300 w 121119"/>
                  <a:gd name="connsiteY10" fmla="*/ 45720 h 65193"/>
                  <a:gd name="connsiteX11" fmla="*/ 41110 w 121119"/>
                  <a:gd name="connsiteY11" fmla="*/ 40958 h 65193"/>
                  <a:gd name="connsiteX12" fmla="*/ 41110 w 121119"/>
                  <a:gd name="connsiteY12" fmla="*/ 37148 h 65193"/>
                  <a:gd name="connsiteX13" fmla="*/ 33490 w 121119"/>
                  <a:gd name="connsiteY13" fmla="*/ 35243 h 65193"/>
                  <a:gd name="connsiteX14" fmla="*/ 24917 w 121119"/>
                  <a:gd name="connsiteY14" fmla="*/ 40005 h 65193"/>
                  <a:gd name="connsiteX15" fmla="*/ 24917 w 121119"/>
                  <a:gd name="connsiteY15" fmla="*/ 41910 h 65193"/>
                  <a:gd name="connsiteX16" fmla="*/ 20155 w 121119"/>
                  <a:gd name="connsiteY16" fmla="*/ 44768 h 65193"/>
                  <a:gd name="connsiteX17" fmla="*/ 9677 w 121119"/>
                  <a:gd name="connsiteY17" fmla="*/ 48578 h 65193"/>
                  <a:gd name="connsiteX18" fmla="*/ 1105 w 121119"/>
                  <a:gd name="connsiteY18" fmla="*/ 46673 h 65193"/>
                  <a:gd name="connsiteX19" fmla="*/ 152 w 121119"/>
                  <a:gd name="connsiteY19" fmla="*/ 41910 h 65193"/>
                  <a:gd name="connsiteX20" fmla="*/ 152 w 121119"/>
                  <a:gd name="connsiteY20" fmla="*/ 36195 h 65193"/>
                  <a:gd name="connsiteX21" fmla="*/ 152 w 121119"/>
                  <a:gd name="connsiteY21" fmla="*/ 29528 h 65193"/>
                  <a:gd name="connsiteX22" fmla="*/ 2057 w 121119"/>
                  <a:gd name="connsiteY22" fmla="*/ 25717 h 65193"/>
                  <a:gd name="connsiteX23" fmla="*/ 9677 w 121119"/>
                  <a:gd name="connsiteY23" fmla="*/ 14288 h 65193"/>
                  <a:gd name="connsiteX24" fmla="*/ 17298 w 121119"/>
                  <a:gd name="connsiteY24" fmla="*/ 4763 h 65193"/>
                  <a:gd name="connsiteX25" fmla="*/ 44920 w 121119"/>
                  <a:gd name="connsiteY25" fmla="*/ 2858 h 65193"/>
                  <a:gd name="connsiteX26" fmla="*/ 56350 w 121119"/>
                  <a:gd name="connsiteY26" fmla="*/ 0 h 65193"/>
                  <a:gd name="connsiteX27" fmla="*/ 72542 w 121119"/>
                  <a:gd name="connsiteY27" fmla="*/ 953 h 65193"/>
                  <a:gd name="connsiteX28" fmla="*/ 81115 w 121119"/>
                  <a:gd name="connsiteY28" fmla="*/ 6667 h 65193"/>
                  <a:gd name="connsiteX29" fmla="*/ 83020 w 121119"/>
                  <a:gd name="connsiteY29" fmla="*/ 12383 h 65193"/>
                  <a:gd name="connsiteX30" fmla="*/ 80163 w 121119"/>
                  <a:gd name="connsiteY30" fmla="*/ 22860 h 65193"/>
                  <a:gd name="connsiteX31" fmla="*/ 73495 w 121119"/>
                  <a:gd name="connsiteY31" fmla="*/ 26670 h 65193"/>
                  <a:gd name="connsiteX32" fmla="*/ 85877 w 121119"/>
                  <a:gd name="connsiteY32" fmla="*/ 31433 h 65193"/>
                  <a:gd name="connsiteX33" fmla="*/ 94450 w 121119"/>
                  <a:gd name="connsiteY33" fmla="*/ 32385 h 65193"/>
                  <a:gd name="connsiteX34" fmla="*/ 108738 w 121119"/>
                  <a:gd name="connsiteY34" fmla="*/ 34290 h 65193"/>
                  <a:gd name="connsiteX35" fmla="*/ 118263 w 121119"/>
                  <a:gd name="connsiteY35" fmla="*/ 37148 h 65193"/>
                  <a:gd name="connsiteX36" fmla="*/ 119215 w 121119"/>
                  <a:gd name="connsiteY36" fmla="*/ 40958 h 65193"/>
                  <a:gd name="connsiteX37" fmla="*/ 121120 w 121119"/>
                  <a:gd name="connsiteY37" fmla="*/ 45720 h 65193"/>
                  <a:gd name="connsiteX38" fmla="*/ 120167 w 121119"/>
                  <a:gd name="connsiteY38" fmla="*/ 52388 h 65193"/>
                  <a:gd name="connsiteX39" fmla="*/ 114452 w 121119"/>
                  <a:gd name="connsiteY39" fmla="*/ 63818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119" h="65193">
                    <a:moveTo>
                      <a:pt x="114452" y="63818"/>
                    </a:moveTo>
                    <a:cubicBezTo>
                      <a:pt x="104927" y="64770"/>
                      <a:pt x="102070" y="64770"/>
                      <a:pt x="94450" y="64770"/>
                    </a:cubicBezTo>
                    <a:cubicBezTo>
                      <a:pt x="86830" y="65723"/>
                      <a:pt x="79210" y="64770"/>
                      <a:pt x="79210" y="64770"/>
                    </a:cubicBezTo>
                    <a:cubicBezTo>
                      <a:pt x="79210" y="64770"/>
                      <a:pt x="69685" y="63818"/>
                      <a:pt x="65875" y="64770"/>
                    </a:cubicBezTo>
                    <a:cubicBezTo>
                      <a:pt x="62065" y="65723"/>
                      <a:pt x="58255" y="63818"/>
                      <a:pt x="58255" y="63818"/>
                    </a:cubicBezTo>
                    <a:lnTo>
                      <a:pt x="44920" y="63818"/>
                    </a:lnTo>
                    <a:lnTo>
                      <a:pt x="39205" y="63818"/>
                    </a:lnTo>
                    <a:lnTo>
                      <a:pt x="36348" y="60960"/>
                    </a:lnTo>
                    <a:lnTo>
                      <a:pt x="33490" y="55245"/>
                    </a:lnTo>
                    <a:lnTo>
                      <a:pt x="33490" y="51435"/>
                    </a:lnTo>
                    <a:lnTo>
                      <a:pt x="37300" y="45720"/>
                    </a:lnTo>
                    <a:lnTo>
                      <a:pt x="41110" y="40958"/>
                    </a:lnTo>
                    <a:lnTo>
                      <a:pt x="41110" y="37148"/>
                    </a:lnTo>
                    <a:lnTo>
                      <a:pt x="33490" y="35243"/>
                    </a:lnTo>
                    <a:cubicBezTo>
                      <a:pt x="33490" y="35243"/>
                      <a:pt x="24917" y="38100"/>
                      <a:pt x="24917" y="40005"/>
                    </a:cubicBezTo>
                    <a:cubicBezTo>
                      <a:pt x="24917" y="41910"/>
                      <a:pt x="29680" y="39053"/>
                      <a:pt x="24917" y="41910"/>
                    </a:cubicBezTo>
                    <a:cubicBezTo>
                      <a:pt x="20155" y="44768"/>
                      <a:pt x="25870" y="40958"/>
                      <a:pt x="20155" y="44768"/>
                    </a:cubicBezTo>
                    <a:cubicBezTo>
                      <a:pt x="14440" y="48578"/>
                      <a:pt x="9677" y="48578"/>
                      <a:pt x="9677" y="48578"/>
                    </a:cubicBezTo>
                    <a:lnTo>
                      <a:pt x="1105" y="46673"/>
                    </a:lnTo>
                    <a:lnTo>
                      <a:pt x="152" y="41910"/>
                    </a:lnTo>
                    <a:lnTo>
                      <a:pt x="152" y="36195"/>
                    </a:lnTo>
                    <a:lnTo>
                      <a:pt x="152" y="29528"/>
                    </a:lnTo>
                    <a:cubicBezTo>
                      <a:pt x="152" y="29528"/>
                      <a:pt x="-800" y="26670"/>
                      <a:pt x="2057" y="25717"/>
                    </a:cubicBezTo>
                    <a:cubicBezTo>
                      <a:pt x="4915" y="24765"/>
                      <a:pt x="9677" y="14288"/>
                      <a:pt x="9677" y="14288"/>
                    </a:cubicBezTo>
                    <a:lnTo>
                      <a:pt x="17298" y="4763"/>
                    </a:lnTo>
                    <a:cubicBezTo>
                      <a:pt x="26823" y="4763"/>
                      <a:pt x="40157" y="2858"/>
                      <a:pt x="44920" y="2858"/>
                    </a:cubicBezTo>
                    <a:cubicBezTo>
                      <a:pt x="49682" y="2858"/>
                      <a:pt x="51588" y="0"/>
                      <a:pt x="56350" y="0"/>
                    </a:cubicBezTo>
                    <a:cubicBezTo>
                      <a:pt x="61113" y="0"/>
                      <a:pt x="72542" y="953"/>
                      <a:pt x="72542" y="953"/>
                    </a:cubicBezTo>
                    <a:lnTo>
                      <a:pt x="81115" y="6667"/>
                    </a:lnTo>
                    <a:cubicBezTo>
                      <a:pt x="81115" y="6667"/>
                      <a:pt x="82067" y="8573"/>
                      <a:pt x="83020" y="12383"/>
                    </a:cubicBezTo>
                    <a:cubicBezTo>
                      <a:pt x="83973" y="16192"/>
                      <a:pt x="80163" y="22860"/>
                      <a:pt x="80163" y="22860"/>
                    </a:cubicBezTo>
                    <a:lnTo>
                      <a:pt x="73495" y="26670"/>
                    </a:lnTo>
                    <a:lnTo>
                      <a:pt x="85877" y="31433"/>
                    </a:lnTo>
                    <a:cubicBezTo>
                      <a:pt x="85877" y="31433"/>
                      <a:pt x="90640" y="31433"/>
                      <a:pt x="94450" y="32385"/>
                    </a:cubicBezTo>
                    <a:cubicBezTo>
                      <a:pt x="99213" y="33338"/>
                      <a:pt x="108738" y="34290"/>
                      <a:pt x="108738" y="34290"/>
                    </a:cubicBezTo>
                    <a:cubicBezTo>
                      <a:pt x="108738" y="34290"/>
                      <a:pt x="117310" y="33338"/>
                      <a:pt x="118263" y="37148"/>
                    </a:cubicBezTo>
                    <a:cubicBezTo>
                      <a:pt x="119215" y="40958"/>
                      <a:pt x="117310" y="36195"/>
                      <a:pt x="119215" y="40958"/>
                    </a:cubicBezTo>
                    <a:cubicBezTo>
                      <a:pt x="121120" y="45720"/>
                      <a:pt x="121120" y="45720"/>
                      <a:pt x="121120" y="45720"/>
                    </a:cubicBezTo>
                    <a:cubicBezTo>
                      <a:pt x="121120" y="45720"/>
                      <a:pt x="121120" y="45720"/>
                      <a:pt x="120167" y="52388"/>
                    </a:cubicBezTo>
                    <a:cubicBezTo>
                      <a:pt x="120167" y="60960"/>
                      <a:pt x="114452" y="63818"/>
                      <a:pt x="114452" y="63818"/>
                    </a:cubicBezTo>
                    <a:close/>
                  </a:path>
                </a:pathLst>
              </a:custGeom>
              <a:grpFill/>
              <a:ln w="9525" cap="flat">
                <a:noFill/>
                <a:prstDash val="solid"/>
                <a:miter/>
              </a:ln>
            </p:spPr>
            <p:txBody>
              <a:bodyPr rtlCol="0" anchor="ctr"/>
              <a:lstStyle/>
              <a:p>
                <a:endParaRPr lang="en-US" sz="1765"/>
              </a:p>
            </p:txBody>
          </p:sp>
          <p:sp>
            <p:nvSpPr>
              <p:cNvPr id="328" name="Freeform: Shape 327">
                <a:extLst>
                  <a:ext uri="{FF2B5EF4-FFF2-40B4-BE49-F238E27FC236}">
                    <a16:creationId xmlns:a16="http://schemas.microsoft.com/office/drawing/2014/main" id="{5E54A568-7E99-4138-BDB2-9E02EFC5D0DE}"/>
                  </a:ext>
                </a:extLst>
              </p:cNvPr>
              <p:cNvSpPr/>
              <p:nvPr/>
            </p:nvSpPr>
            <p:spPr>
              <a:xfrm>
                <a:off x="10608974" y="3005430"/>
                <a:ext cx="90212" cy="42298"/>
              </a:xfrm>
              <a:custGeom>
                <a:avLst/>
                <a:gdLst>
                  <a:gd name="connsiteX0" fmla="*/ 64770 w 90212"/>
                  <a:gd name="connsiteY0" fmla="*/ 27059 h 42298"/>
                  <a:gd name="connsiteX1" fmla="*/ 52388 w 90212"/>
                  <a:gd name="connsiteY1" fmla="*/ 27059 h 42298"/>
                  <a:gd name="connsiteX2" fmla="*/ 45720 w 90212"/>
                  <a:gd name="connsiteY2" fmla="*/ 30869 h 42298"/>
                  <a:gd name="connsiteX3" fmla="*/ 43815 w 90212"/>
                  <a:gd name="connsiteY3" fmla="*/ 37536 h 42298"/>
                  <a:gd name="connsiteX4" fmla="*/ 37147 w 90212"/>
                  <a:gd name="connsiteY4" fmla="*/ 41346 h 42298"/>
                  <a:gd name="connsiteX5" fmla="*/ 29527 w 90212"/>
                  <a:gd name="connsiteY5" fmla="*/ 42299 h 42298"/>
                  <a:gd name="connsiteX6" fmla="*/ 21907 w 90212"/>
                  <a:gd name="connsiteY6" fmla="*/ 38489 h 42298"/>
                  <a:gd name="connsiteX7" fmla="*/ 20002 w 90212"/>
                  <a:gd name="connsiteY7" fmla="*/ 31821 h 42298"/>
                  <a:gd name="connsiteX8" fmla="*/ 6667 w 90212"/>
                  <a:gd name="connsiteY8" fmla="*/ 27059 h 42298"/>
                  <a:gd name="connsiteX9" fmla="*/ 0 w 90212"/>
                  <a:gd name="connsiteY9" fmla="*/ 20391 h 42298"/>
                  <a:gd name="connsiteX10" fmla="*/ 0 w 90212"/>
                  <a:gd name="connsiteY10" fmla="*/ 16581 h 42298"/>
                  <a:gd name="connsiteX11" fmla="*/ 0 w 90212"/>
                  <a:gd name="connsiteY11" fmla="*/ 6104 h 42298"/>
                  <a:gd name="connsiteX12" fmla="*/ 3810 w 90212"/>
                  <a:gd name="connsiteY12" fmla="*/ 2294 h 42298"/>
                  <a:gd name="connsiteX13" fmla="*/ 20002 w 90212"/>
                  <a:gd name="connsiteY13" fmla="*/ 1341 h 42298"/>
                  <a:gd name="connsiteX14" fmla="*/ 37147 w 90212"/>
                  <a:gd name="connsiteY14" fmla="*/ 3246 h 42298"/>
                  <a:gd name="connsiteX15" fmla="*/ 49530 w 90212"/>
                  <a:gd name="connsiteY15" fmla="*/ 4199 h 42298"/>
                  <a:gd name="connsiteX16" fmla="*/ 68580 w 90212"/>
                  <a:gd name="connsiteY16" fmla="*/ 389 h 42298"/>
                  <a:gd name="connsiteX17" fmla="*/ 80963 w 90212"/>
                  <a:gd name="connsiteY17" fmla="*/ 2294 h 42298"/>
                  <a:gd name="connsiteX18" fmla="*/ 86677 w 90212"/>
                  <a:gd name="connsiteY18" fmla="*/ 11819 h 42298"/>
                  <a:gd name="connsiteX19" fmla="*/ 88582 w 90212"/>
                  <a:gd name="connsiteY19" fmla="*/ 18486 h 42298"/>
                  <a:gd name="connsiteX20" fmla="*/ 84772 w 90212"/>
                  <a:gd name="connsiteY20" fmla="*/ 24201 h 42298"/>
                  <a:gd name="connsiteX21" fmla="*/ 64770 w 90212"/>
                  <a:gd name="connsiteY21" fmla="*/ 27059 h 4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12" h="42298">
                    <a:moveTo>
                      <a:pt x="64770" y="27059"/>
                    </a:moveTo>
                    <a:lnTo>
                      <a:pt x="52388" y="27059"/>
                    </a:lnTo>
                    <a:cubicBezTo>
                      <a:pt x="52388" y="27059"/>
                      <a:pt x="46672" y="28011"/>
                      <a:pt x="45720" y="30869"/>
                    </a:cubicBezTo>
                    <a:cubicBezTo>
                      <a:pt x="44767" y="32774"/>
                      <a:pt x="44767" y="34679"/>
                      <a:pt x="43815" y="37536"/>
                    </a:cubicBezTo>
                    <a:cubicBezTo>
                      <a:pt x="42863" y="40394"/>
                      <a:pt x="37147" y="41346"/>
                      <a:pt x="37147" y="41346"/>
                    </a:cubicBezTo>
                    <a:lnTo>
                      <a:pt x="29527" y="42299"/>
                    </a:lnTo>
                    <a:lnTo>
                      <a:pt x="21907" y="38489"/>
                    </a:lnTo>
                    <a:lnTo>
                      <a:pt x="20002" y="31821"/>
                    </a:lnTo>
                    <a:lnTo>
                      <a:pt x="6667" y="27059"/>
                    </a:lnTo>
                    <a:lnTo>
                      <a:pt x="0" y="20391"/>
                    </a:lnTo>
                    <a:lnTo>
                      <a:pt x="0" y="16581"/>
                    </a:lnTo>
                    <a:lnTo>
                      <a:pt x="0" y="6104"/>
                    </a:lnTo>
                    <a:lnTo>
                      <a:pt x="3810" y="2294"/>
                    </a:lnTo>
                    <a:lnTo>
                      <a:pt x="20002" y="1341"/>
                    </a:lnTo>
                    <a:lnTo>
                      <a:pt x="37147" y="3246"/>
                    </a:lnTo>
                    <a:cubicBezTo>
                      <a:pt x="37147" y="3246"/>
                      <a:pt x="44767" y="4199"/>
                      <a:pt x="49530" y="4199"/>
                    </a:cubicBezTo>
                    <a:cubicBezTo>
                      <a:pt x="54292" y="4199"/>
                      <a:pt x="56197" y="-1516"/>
                      <a:pt x="68580" y="389"/>
                    </a:cubicBezTo>
                    <a:cubicBezTo>
                      <a:pt x="80963" y="2294"/>
                      <a:pt x="77152" y="-2469"/>
                      <a:pt x="80963" y="2294"/>
                    </a:cubicBezTo>
                    <a:cubicBezTo>
                      <a:pt x="83820" y="7056"/>
                      <a:pt x="83820" y="6104"/>
                      <a:pt x="86677" y="11819"/>
                    </a:cubicBezTo>
                    <a:cubicBezTo>
                      <a:pt x="88582" y="18486"/>
                      <a:pt x="92392" y="12771"/>
                      <a:pt x="88582" y="18486"/>
                    </a:cubicBezTo>
                    <a:cubicBezTo>
                      <a:pt x="84772" y="24201"/>
                      <a:pt x="84772" y="24201"/>
                      <a:pt x="84772" y="24201"/>
                    </a:cubicBezTo>
                    <a:lnTo>
                      <a:pt x="64770" y="27059"/>
                    </a:lnTo>
                    <a:close/>
                  </a:path>
                </a:pathLst>
              </a:custGeom>
              <a:grpFill/>
              <a:ln w="9525" cap="flat">
                <a:noFill/>
                <a:prstDash val="solid"/>
                <a:miter/>
              </a:ln>
            </p:spPr>
            <p:txBody>
              <a:bodyPr rtlCol="0" anchor="ctr"/>
              <a:lstStyle/>
              <a:p>
                <a:endParaRPr lang="en-US" sz="1765"/>
              </a:p>
            </p:txBody>
          </p:sp>
          <p:sp>
            <p:nvSpPr>
              <p:cNvPr id="329" name="Freeform: Shape 328">
                <a:extLst>
                  <a:ext uri="{FF2B5EF4-FFF2-40B4-BE49-F238E27FC236}">
                    <a16:creationId xmlns:a16="http://schemas.microsoft.com/office/drawing/2014/main" id="{B36F8B17-BCAA-422C-B291-8CA267F86B2A}"/>
                  </a:ext>
                </a:extLst>
              </p:cNvPr>
              <p:cNvSpPr/>
              <p:nvPr/>
            </p:nvSpPr>
            <p:spPr>
              <a:xfrm>
                <a:off x="10709582" y="3014391"/>
                <a:ext cx="41313" cy="23107"/>
              </a:xfrm>
              <a:custGeom>
                <a:avLst/>
                <a:gdLst>
                  <a:gd name="connsiteX0" fmla="*/ 10834 w 41313"/>
                  <a:gd name="connsiteY0" fmla="*/ 0 h 23107"/>
                  <a:gd name="connsiteX1" fmla="*/ 356 w 41313"/>
                  <a:gd name="connsiteY1" fmla="*/ 3810 h 23107"/>
                  <a:gd name="connsiteX2" fmla="*/ 1309 w 41313"/>
                  <a:gd name="connsiteY2" fmla="*/ 11430 h 23107"/>
                  <a:gd name="connsiteX3" fmla="*/ 4167 w 41313"/>
                  <a:gd name="connsiteY3" fmla="*/ 19050 h 23107"/>
                  <a:gd name="connsiteX4" fmla="*/ 17501 w 41313"/>
                  <a:gd name="connsiteY4" fmla="*/ 22860 h 23107"/>
                  <a:gd name="connsiteX5" fmla="*/ 23217 w 41313"/>
                  <a:gd name="connsiteY5" fmla="*/ 21907 h 23107"/>
                  <a:gd name="connsiteX6" fmla="*/ 34646 w 41313"/>
                  <a:gd name="connsiteY6" fmla="*/ 20955 h 23107"/>
                  <a:gd name="connsiteX7" fmla="*/ 41314 w 41313"/>
                  <a:gd name="connsiteY7" fmla="*/ 17145 h 23107"/>
                  <a:gd name="connsiteX8" fmla="*/ 41314 w 41313"/>
                  <a:gd name="connsiteY8" fmla="*/ 12382 h 23107"/>
                  <a:gd name="connsiteX9" fmla="*/ 41314 w 41313"/>
                  <a:gd name="connsiteY9" fmla="*/ 8572 h 23107"/>
                  <a:gd name="connsiteX10" fmla="*/ 41314 w 41313"/>
                  <a:gd name="connsiteY10" fmla="*/ 4763 h 23107"/>
                  <a:gd name="connsiteX11" fmla="*/ 33694 w 41313"/>
                  <a:gd name="connsiteY11" fmla="*/ 2857 h 23107"/>
                  <a:gd name="connsiteX12" fmla="*/ 30836 w 41313"/>
                  <a:gd name="connsiteY12" fmla="*/ 2857 h 23107"/>
                  <a:gd name="connsiteX13" fmla="*/ 22264 w 41313"/>
                  <a:gd name="connsiteY13" fmla="*/ 2857 h 23107"/>
                  <a:gd name="connsiteX14" fmla="*/ 10834 w 41313"/>
                  <a:gd name="connsiteY14" fmla="*/ 0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13" h="23107">
                    <a:moveTo>
                      <a:pt x="10834" y="0"/>
                    </a:moveTo>
                    <a:cubicBezTo>
                      <a:pt x="7976" y="953"/>
                      <a:pt x="-596" y="953"/>
                      <a:pt x="356" y="3810"/>
                    </a:cubicBezTo>
                    <a:cubicBezTo>
                      <a:pt x="1309" y="6668"/>
                      <a:pt x="-1549" y="6668"/>
                      <a:pt x="1309" y="11430"/>
                    </a:cubicBezTo>
                    <a:cubicBezTo>
                      <a:pt x="4167" y="16193"/>
                      <a:pt x="1309" y="16193"/>
                      <a:pt x="4167" y="19050"/>
                    </a:cubicBezTo>
                    <a:cubicBezTo>
                      <a:pt x="7024" y="21907"/>
                      <a:pt x="11786" y="23813"/>
                      <a:pt x="17501" y="22860"/>
                    </a:cubicBezTo>
                    <a:cubicBezTo>
                      <a:pt x="23217" y="21907"/>
                      <a:pt x="23217" y="21907"/>
                      <a:pt x="23217" y="21907"/>
                    </a:cubicBezTo>
                    <a:cubicBezTo>
                      <a:pt x="23217" y="21907"/>
                      <a:pt x="29884" y="20955"/>
                      <a:pt x="34646" y="20955"/>
                    </a:cubicBezTo>
                    <a:cubicBezTo>
                      <a:pt x="39409" y="20955"/>
                      <a:pt x="41314" y="17145"/>
                      <a:pt x="41314" y="17145"/>
                    </a:cubicBezTo>
                    <a:lnTo>
                      <a:pt x="41314" y="12382"/>
                    </a:lnTo>
                    <a:lnTo>
                      <a:pt x="41314" y="8572"/>
                    </a:lnTo>
                    <a:lnTo>
                      <a:pt x="41314" y="4763"/>
                    </a:lnTo>
                    <a:cubicBezTo>
                      <a:pt x="41314" y="4763"/>
                      <a:pt x="37504" y="2857"/>
                      <a:pt x="33694" y="2857"/>
                    </a:cubicBezTo>
                    <a:cubicBezTo>
                      <a:pt x="30836" y="2857"/>
                      <a:pt x="34646" y="2857"/>
                      <a:pt x="30836" y="2857"/>
                    </a:cubicBezTo>
                    <a:cubicBezTo>
                      <a:pt x="26074" y="2857"/>
                      <a:pt x="22264" y="2857"/>
                      <a:pt x="22264" y="2857"/>
                    </a:cubicBezTo>
                    <a:lnTo>
                      <a:pt x="10834" y="0"/>
                    </a:lnTo>
                    <a:close/>
                  </a:path>
                </a:pathLst>
              </a:custGeom>
              <a:grpFill/>
              <a:ln w="9525" cap="flat">
                <a:noFill/>
                <a:prstDash val="solid"/>
                <a:miter/>
              </a:ln>
            </p:spPr>
            <p:txBody>
              <a:bodyPr rtlCol="0" anchor="ctr"/>
              <a:lstStyle/>
              <a:p>
                <a:endParaRPr lang="en-US" sz="1765"/>
              </a:p>
            </p:txBody>
          </p:sp>
          <p:sp>
            <p:nvSpPr>
              <p:cNvPr id="330" name="Freeform: Shape 329">
                <a:extLst>
                  <a:ext uri="{FF2B5EF4-FFF2-40B4-BE49-F238E27FC236}">
                    <a16:creationId xmlns:a16="http://schemas.microsoft.com/office/drawing/2014/main" id="{852A959F-1E68-4BE6-AF33-4DE96CDEF857}"/>
                  </a:ext>
                </a:extLst>
              </p:cNvPr>
              <p:cNvSpPr/>
              <p:nvPr/>
            </p:nvSpPr>
            <p:spPr>
              <a:xfrm>
                <a:off x="10768021" y="3017422"/>
                <a:ext cx="59075" cy="29190"/>
              </a:xfrm>
              <a:custGeom>
                <a:avLst/>
                <a:gdLst>
                  <a:gd name="connsiteX0" fmla="*/ 24786 w 59075"/>
                  <a:gd name="connsiteY0" fmla="*/ 779 h 29190"/>
                  <a:gd name="connsiteX1" fmla="*/ 6688 w 59075"/>
                  <a:gd name="connsiteY1" fmla="*/ 779 h 29190"/>
                  <a:gd name="connsiteX2" fmla="*/ 3830 w 59075"/>
                  <a:gd name="connsiteY2" fmla="*/ 1731 h 29190"/>
                  <a:gd name="connsiteX3" fmla="*/ 1925 w 59075"/>
                  <a:gd name="connsiteY3" fmla="*/ 5541 h 29190"/>
                  <a:gd name="connsiteX4" fmla="*/ 1925 w 59075"/>
                  <a:gd name="connsiteY4" fmla="*/ 14114 h 29190"/>
                  <a:gd name="connsiteX5" fmla="*/ 10498 w 59075"/>
                  <a:gd name="connsiteY5" fmla="*/ 18876 h 29190"/>
                  <a:gd name="connsiteX6" fmla="*/ 12403 w 59075"/>
                  <a:gd name="connsiteY6" fmla="*/ 21734 h 29190"/>
                  <a:gd name="connsiteX7" fmla="*/ 29548 w 59075"/>
                  <a:gd name="connsiteY7" fmla="*/ 26496 h 29190"/>
                  <a:gd name="connsiteX8" fmla="*/ 42883 w 59075"/>
                  <a:gd name="connsiteY8" fmla="*/ 26496 h 29190"/>
                  <a:gd name="connsiteX9" fmla="*/ 45741 w 59075"/>
                  <a:gd name="connsiteY9" fmla="*/ 28401 h 29190"/>
                  <a:gd name="connsiteX10" fmla="*/ 58123 w 59075"/>
                  <a:gd name="connsiteY10" fmla="*/ 19829 h 29190"/>
                  <a:gd name="connsiteX11" fmla="*/ 59075 w 59075"/>
                  <a:gd name="connsiteY11" fmla="*/ 13161 h 29190"/>
                  <a:gd name="connsiteX12" fmla="*/ 52408 w 59075"/>
                  <a:gd name="connsiteY12" fmla="*/ 8399 h 29190"/>
                  <a:gd name="connsiteX13" fmla="*/ 39073 w 59075"/>
                  <a:gd name="connsiteY13" fmla="*/ 9351 h 29190"/>
                  <a:gd name="connsiteX14" fmla="*/ 26691 w 59075"/>
                  <a:gd name="connsiteY14" fmla="*/ 9351 h 29190"/>
                  <a:gd name="connsiteX15" fmla="*/ 24786 w 59075"/>
                  <a:gd name="connsiteY15" fmla="*/ 779 h 2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075" h="29190">
                    <a:moveTo>
                      <a:pt x="24786" y="779"/>
                    </a:moveTo>
                    <a:cubicBezTo>
                      <a:pt x="24786" y="779"/>
                      <a:pt x="10498" y="-174"/>
                      <a:pt x="6688" y="779"/>
                    </a:cubicBezTo>
                    <a:cubicBezTo>
                      <a:pt x="3830" y="1731"/>
                      <a:pt x="5736" y="-2079"/>
                      <a:pt x="3830" y="1731"/>
                    </a:cubicBezTo>
                    <a:cubicBezTo>
                      <a:pt x="1925" y="5541"/>
                      <a:pt x="2878" y="-174"/>
                      <a:pt x="1925" y="5541"/>
                    </a:cubicBezTo>
                    <a:cubicBezTo>
                      <a:pt x="973" y="11256"/>
                      <a:pt x="-1884" y="11256"/>
                      <a:pt x="1925" y="14114"/>
                    </a:cubicBezTo>
                    <a:cubicBezTo>
                      <a:pt x="4783" y="16971"/>
                      <a:pt x="8593" y="16019"/>
                      <a:pt x="10498" y="18876"/>
                    </a:cubicBezTo>
                    <a:cubicBezTo>
                      <a:pt x="12403" y="21734"/>
                      <a:pt x="5736" y="16019"/>
                      <a:pt x="12403" y="21734"/>
                    </a:cubicBezTo>
                    <a:cubicBezTo>
                      <a:pt x="19070" y="27449"/>
                      <a:pt x="29548" y="26496"/>
                      <a:pt x="29548" y="26496"/>
                    </a:cubicBezTo>
                    <a:cubicBezTo>
                      <a:pt x="29548" y="26496"/>
                      <a:pt x="39073" y="25544"/>
                      <a:pt x="42883" y="26496"/>
                    </a:cubicBezTo>
                    <a:cubicBezTo>
                      <a:pt x="45741" y="28401"/>
                      <a:pt x="34311" y="30306"/>
                      <a:pt x="45741" y="28401"/>
                    </a:cubicBezTo>
                    <a:cubicBezTo>
                      <a:pt x="58123" y="25544"/>
                      <a:pt x="58123" y="19829"/>
                      <a:pt x="58123" y="19829"/>
                    </a:cubicBezTo>
                    <a:lnTo>
                      <a:pt x="59075" y="13161"/>
                    </a:lnTo>
                    <a:cubicBezTo>
                      <a:pt x="59075" y="13161"/>
                      <a:pt x="59075" y="7446"/>
                      <a:pt x="52408" y="8399"/>
                    </a:cubicBezTo>
                    <a:cubicBezTo>
                      <a:pt x="45741" y="9351"/>
                      <a:pt x="39073" y="9351"/>
                      <a:pt x="39073" y="9351"/>
                    </a:cubicBezTo>
                    <a:cubicBezTo>
                      <a:pt x="39073" y="9351"/>
                      <a:pt x="27643" y="11256"/>
                      <a:pt x="26691" y="9351"/>
                    </a:cubicBezTo>
                    <a:cubicBezTo>
                      <a:pt x="26691" y="5541"/>
                      <a:pt x="24786" y="779"/>
                      <a:pt x="24786" y="779"/>
                    </a:cubicBezTo>
                    <a:close/>
                  </a:path>
                </a:pathLst>
              </a:custGeom>
              <a:grpFill/>
              <a:ln w="9525" cap="flat">
                <a:noFill/>
                <a:prstDash val="solid"/>
                <a:miter/>
              </a:ln>
            </p:spPr>
            <p:txBody>
              <a:bodyPr rtlCol="0" anchor="ctr"/>
              <a:lstStyle/>
              <a:p>
                <a:endParaRPr lang="en-US" sz="1765"/>
              </a:p>
            </p:txBody>
          </p:sp>
          <p:sp>
            <p:nvSpPr>
              <p:cNvPr id="331" name="Freeform: Shape 330">
                <a:extLst>
                  <a:ext uri="{FF2B5EF4-FFF2-40B4-BE49-F238E27FC236}">
                    <a16:creationId xmlns:a16="http://schemas.microsoft.com/office/drawing/2014/main" id="{4DD87E9C-E33B-46C9-8C0A-65D8A050BE53}"/>
                  </a:ext>
                </a:extLst>
              </p:cNvPr>
              <p:cNvSpPr/>
              <p:nvPr/>
            </p:nvSpPr>
            <p:spPr>
              <a:xfrm>
                <a:off x="10663113" y="3054396"/>
                <a:ext cx="47167" cy="18097"/>
              </a:xfrm>
              <a:custGeom>
                <a:avLst/>
                <a:gdLst>
                  <a:gd name="connsiteX0" fmla="*/ 42063 w 47167"/>
                  <a:gd name="connsiteY0" fmla="*/ 14288 h 18097"/>
                  <a:gd name="connsiteX1" fmla="*/ 37300 w 47167"/>
                  <a:gd name="connsiteY1" fmla="*/ 16192 h 18097"/>
                  <a:gd name="connsiteX2" fmla="*/ 25870 w 47167"/>
                  <a:gd name="connsiteY2" fmla="*/ 18097 h 18097"/>
                  <a:gd name="connsiteX3" fmla="*/ 19202 w 47167"/>
                  <a:gd name="connsiteY3" fmla="*/ 17145 h 18097"/>
                  <a:gd name="connsiteX4" fmla="*/ 11582 w 47167"/>
                  <a:gd name="connsiteY4" fmla="*/ 16192 h 18097"/>
                  <a:gd name="connsiteX5" fmla="*/ 6820 w 47167"/>
                  <a:gd name="connsiteY5" fmla="*/ 14288 h 18097"/>
                  <a:gd name="connsiteX6" fmla="*/ 2057 w 47167"/>
                  <a:gd name="connsiteY6" fmla="*/ 10477 h 18097"/>
                  <a:gd name="connsiteX7" fmla="*/ 152 w 47167"/>
                  <a:gd name="connsiteY7" fmla="*/ 6667 h 18097"/>
                  <a:gd name="connsiteX8" fmla="*/ 2057 w 47167"/>
                  <a:gd name="connsiteY8" fmla="*/ 2857 h 18097"/>
                  <a:gd name="connsiteX9" fmla="*/ 9677 w 47167"/>
                  <a:gd name="connsiteY9" fmla="*/ 952 h 18097"/>
                  <a:gd name="connsiteX10" fmla="*/ 16345 w 47167"/>
                  <a:gd name="connsiteY10" fmla="*/ 0 h 18097"/>
                  <a:gd name="connsiteX11" fmla="*/ 25870 w 47167"/>
                  <a:gd name="connsiteY11" fmla="*/ 1905 h 18097"/>
                  <a:gd name="connsiteX12" fmla="*/ 33490 w 47167"/>
                  <a:gd name="connsiteY12" fmla="*/ 1905 h 18097"/>
                  <a:gd name="connsiteX13" fmla="*/ 44920 w 47167"/>
                  <a:gd name="connsiteY13" fmla="*/ 1905 h 18097"/>
                  <a:gd name="connsiteX14" fmla="*/ 46825 w 47167"/>
                  <a:gd name="connsiteY14" fmla="*/ 3810 h 18097"/>
                  <a:gd name="connsiteX15" fmla="*/ 42063 w 47167"/>
                  <a:gd name="connsiteY15" fmla="*/ 14288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67" h="18097">
                    <a:moveTo>
                      <a:pt x="42063" y="14288"/>
                    </a:moveTo>
                    <a:lnTo>
                      <a:pt x="37300" y="16192"/>
                    </a:lnTo>
                    <a:lnTo>
                      <a:pt x="25870" y="18097"/>
                    </a:lnTo>
                    <a:lnTo>
                      <a:pt x="19202" y="17145"/>
                    </a:lnTo>
                    <a:lnTo>
                      <a:pt x="11582" y="16192"/>
                    </a:lnTo>
                    <a:lnTo>
                      <a:pt x="6820" y="14288"/>
                    </a:lnTo>
                    <a:lnTo>
                      <a:pt x="2057" y="10477"/>
                    </a:lnTo>
                    <a:lnTo>
                      <a:pt x="152" y="6667"/>
                    </a:lnTo>
                    <a:cubicBezTo>
                      <a:pt x="152" y="6667"/>
                      <a:pt x="-800" y="2857"/>
                      <a:pt x="2057" y="2857"/>
                    </a:cubicBezTo>
                    <a:cubicBezTo>
                      <a:pt x="4915" y="2857"/>
                      <a:pt x="9677" y="952"/>
                      <a:pt x="9677" y="952"/>
                    </a:cubicBezTo>
                    <a:lnTo>
                      <a:pt x="16345" y="0"/>
                    </a:lnTo>
                    <a:lnTo>
                      <a:pt x="25870" y="1905"/>
                    </a:lnTo>
                    <a:cubicBezTo>
                      <a:pt x="25870" y="1905"/>
                      <a:pt x="28727" y="952"/>
                      <a:pt x="33490" y="1905"/>
                    </a:cubicBezTo>
                    <a:cubicBezTo>
                      <a:pt x="38252" y="2857"/>
                      <a:pt x="42063" y="0"/>
                      <a:pt x="44920" y="1905"/>
                    </a:cubicBezTo>
                    <a:cubicBezTo>
                      <a:pt x="46825" y="3810"/>
                      <a:pt x="46825" y="0"/>
                      <a:pt x="46825" y="3810"/>
                    </a:cubicBezTo>
                    <a:cubicBezTo>
                      <a:pt x="48730" y="7620"/>
                      <a:pt x="42063" y="14288"/>
                      <a:pt x="42063" y="14288"/>
                    </a:cubicBezTo>
                    <a:close/>
                  </a:path>
                </a:pathLst>
              </a:custGeom>
              <a:grpFill/>
              <a:ln w="9525" cap="flat">
                <a:noFill/>
                <a:prstDash val="solid"/>
                <a:miter/>
              </a:ln>
            </p:spPr>
            <p:txBody>
              <a:bodyPr rtlCol="0" anchor="ctr"/>
              <a:lstStyle/>
              <a:p>
                <a:endParaRPr lang="en-US" sz="1765"/>
              </a:p>
            </p:txBody>
          </p:sp>
          <p:sp>
            <p:nvSpPr>
              <p:cNvPr id="332" name="Freeform: Shape 331">
                <a:extLst>
                  <a:ext uri="{FF2B5EF4-FFF2-40B4-BE49-F238E27FC236}">
                    <a16:creationId xmlns:a16="http://schemas.microsoft.com/office/drawing/2014/main" id="{54FA4A05-9E47-4D3A-93F1-AC9DB88F2F65}"/>
                  </a:ext>
                </a:extLst>
              </p:cNvPr>
              <p:cNvSpPr/>
              <p:nvPr/>
            </p:nvSpPr>
            <p:spPr>
              <a:xfrm>
                <a:off x="9559319" y="3084876"/>
                <a:ext cx="2857" cy="952"/>
              </a:xfrm>
              <a:custGeom>
                <a:avLst/>
                <a:gdLst>
                  <a:gd name="connsiteX0" fmla="*/ 2857 w 2857"/>
                  <a:gd name="connsiteY0" fmla="*/ 0 h 952"/>
                  <a:gd name="connsiteX1" fmla="*/ 0 w 2857"/>
                  <a:gd name="connsiteY1" fmla="*/ 953 h 952"/>
                  <a:gd name="connsiteX2" fmla="*/ 2857 w 2857"/>
                  <a:gd name="connsiteY2" fmla="*/ 0 h 952"/>
                </a:gdLst>
                <a:ahLst/>
                <a:cxnLst>
                  <a:cxn ang="0">
                    <a:pos x="connsiteX0" y="connsiteY0"/>
                  </a:cxn>
                  <a:cxn ang="0">
                    <a:pos x="connsiteX1" y="connsiteY1"/>
                  </a:cxn>
                  <a:cxn ang="0">
                    <a:pos x="connsiteX2" y="connsiteY2"/>
                  </a:cxn>
                </a:cxnLst>
                <a:rect l="l" t="t" r="r" b="b"/>
                <a:pathLst>
                  <a:path w="2857" h="952">
                    <a:moveTo>
                      <a:pt x="2857" y="0"/>
                    </a:moveTo>
                    <a:cubicBezTo>
                      <a:pt x="1905" y="0"/>
                      <a:pt x="952" y="953"/>
                      <a:pt x="0" y="953"/>
                    </a:cubicBezTo>
                    <a:cubicBezTo>
                      <a:pt x="952" y="953"/>
                      <a:pt x="1905" y="953"/>
                      <a:pt x="2857" y="0"/>
                    </a:cubicBezTo>
                    <a:close/>
                  </a:path>
                </a:pathLst>
              </a:custGeom>
              <a:grpFill/>
              <a:ln w="9525" cap="flat">
                <a:noFill/>
                <a:prstDash val="solid"/>
                <a:miter/>
              </a:ln>
            </p:spPr>
            <p:txBody>
              <a:bodyPr rtlCol="0" anchor="ctr"/>
              <a:lstStyle/>
              <a:p>
                <a:endParaRPr lang="en-US" sz="1765"/>
              </a:p>
            </p:txBody>
          </p:sp>
          <p:sp>
            <p:nvSpPr>
              <p:cNvPr id="333" name="Freeform: Shape 332">
                <a:extLst>
                  <a:ext uri="{FF2B5EF4-FFF2-40B4-BE49-F238E27FC236}">
                    <a16:creationId xmlns:a16="http://schemas.microsoft.com/office/drawing/2014/main" id="{2C2A5014-C5D4-4A5F-AD32-DB27641BD7E5}"/>
                  </a:ext>
                </a:extLst>
              </p:cNvPr>
              <p:cNvSpPr/>
              <p:nvPr/>
            </p:nvSpPr>
            <p:spPr>
              <a:xfrm>
                <a:off x="9562705" y="3084876"/>
                <a:ext cx="423" cy="9525"/>
              </a:xfrm>
              <a:custGeom>
                <a:avLst/>
                <a:gdLst>
                  <a:gd name="connsiteX0" fmla="*/ 423 w 423"/>
                  <a:gd name="connsiteY0" fmla="*/ 0 h 9525"/>
                  <a:gd name="connsiteX1" fmla="*/ 423 w 423"/>
                  <a:gd name="connsiteY1" fmla="*/ 0 h 9525"/>
                  <a:gd name="connsiteX2" fmla="*/ 423 w 423"/>
                  <a:gd name="connsiteY2" fmla="*/ 0 h 9525"/>
                </a:gdLst>
                <a:ahLst/>
                <a:cxnLst>
                  <a:cxn ang="0">
                    <a:pos x="connsiteX0" y="connsiteY0"/>
                  </a:cxn>
                  <a:cxn ang="0">
                    <a:pos x="connsiteX1" y="connsiteY1"/>
                  </a:cxn>
                  <a:cxn ang="0">
                    <a:pos x="connsiteX2" y="connsiteY2"/>
                  </a:cxn>
                </a:cxnLst>
                <a:rect l="l" t="t" r="r" b="b"/>
                <a:pathLst>
                  <a:path w="423" h="9525">
                    <a:moveTo>
                      <a:pt x="423" y="0"/>
                    </a:moveTo>
                    <a:cubicBezTo>
                      <a:pt x="423" y="0"/>
                      <a:pt x="-529" y="0"/>
                      <a:pt x="423" y="0"/>
                    </a:cubicBezTo>
                    <a:cubicBezTo>
                      <a:pt x="-529" y="0"/>
                      <a:pt x="423" y="0"/>
                      <a:pt x="423" y="0"/>
                    </a:cubicBezTo>
                    <a:close/>
                  </a:path>
                </a:pathLst>
              </a:custGeom>
              <a:grpFill/>
              <a:ln w="9525" cap="flat">
                <a:noFill/>
                <a:prstDash val="solid"/>
                <a:miter/>
              </a:ln>
            </p:spPr>
            <p:txBody>
              <a:bodyPr rtlCol="0" anchor="ctr"/>
              <a:lstStyle/>
              <a:p>
                <a:endParaRPr lang="en-US" sz="1765"/>
              </a:p>
            </p:txBody>
          </p:sp>
          <p:sp>
            <p:nvSpPr>
              <p:cNvPr id="334" name="Freeform: Shape 333">
                <a:extLst>
                  <a:ext uri="{FF2B5EF4-FFF2-40B4-BE49-F238E27FC236}">
                    <a16:creationId xmlns:a16="http://schemas.microsoft.com/office/drawing/2014/main" id="{E3453EC3-D479-46E6-95DC-B549B87B627A}"/>
                  </a:ext>
                </a:extLst>
              </p:cNvPr>
              <p:cNvSpPr/>
              <p:nvPr/>
            </p:nvSpPr>
            <p:spPr>
              <a:xfrm>
                <a:off x="9558219" y="3085829"/>
                <a:ext cx="1099" cy="423"/>
              </a:xfrm>
              <a:custGeom>
                <a:avLst/>
                <a:gdLst>
                  <a:gd name="connsiteX0" fmla="*/ 1100 w 1099"/>
                  <a:gd name="connsiteY0" fmla="*/ 0 h 423"/>
                  <a:gd name="connsiteX1" fmla="*/ 1100 w 1099"/>
                  <a:gd name="connsiteY1" fmla="*/ 0 h 423"/>
                  <a:gd name="connsiteX2" fmla="*/ 1100 w 1099"/>
                  <a:gd name="connsiteY2" fmla="*/ 0 h 423"/>
                </a:gdLst>
                <a:ahLst/>
                <a:cxnLst>
                  <a:cxn ang="0">
                    <a:pos x="connsiteX0" y="connsiteY0"/>
                  </a:cxn>
                  <a:cxn ang="0">
                    <a:pos x="connsiteX1" y="connsiteY1"/>
                  </a:cxn>
                  <a:cxn ang="0">
                    <a:pos x="connsiteX2" y="connsiteY2"/>
                  </a:cxn>
                </a:cxnLst>
                <a:rect l="l" t="t" r="r" b="b"/>
                <a:pathLst>
                  <a:path w="1099" h="423">
                    <a:moveTo>
                      <a:pt x="1100" y="0"/>
                    </a:moveTo>
                    <a:cubicBezTo>
                      <a:pt x="147" y="0"/>
                      <a:pt x="-805" y="953"/>
                      <a:pt x="1100" y="0"/>
                    </a:cubicBezTo>
                    <a:lnTo>
                      <a:pt x="1100" y="0"/>
                    </a:lnTo>
                    <a:close/>
                  </a:path>
                </a:pathLst>
              </a:custGeom>
              <a:grpFill/>
              <a:ln w="9525" cap="flat">
                <a:noFill/>
                <a:prstDash val="solid"/>
                <a:miter/>
              </a:ln>
            </p:spPr>
            <p:txBody>
              <a:bodyPr rtlCol="0" anchor="ctr"/>
              <a:lstStyle/>
              <a:p>
                <a:endParaRPr lang="en-US" sz="1765"/>
              </a:p>
            </p:txBody>
          </p:sp>
          <p:sp>
            <p:nvSpPr>
              <p:cNvPr id="335" name="Freeform: Shape 334">
                <a:extLst>
                  <a:ext uri="{FF2B5EF4-FFF2-40B4-BE49-F238E27FC236}">
                    <a16:creationId xmlns:a16="http://schemas.microsoft.com/office/drawing/2014/main" id="{A1C5E85A-FA6F-4576-AA82-8BE7ABC0310B}"/>
                  </a:ext>
                </a:extLst>
              </p:cNvPr>
              <p:cNvSpPr/>
              <p:nvPr/>
            </p:nvSpPr>
            <p:spPr>
              <a:xfrm>
                <a:off x="7936258" y="2977201"/>
                <a:ext cx="3574732" cy="1473560"/>
              </a:xfrm>
              <a:custGeom>
                <a:avLst/>
                <a:gdLst>
                  <a:gd name="connsiteX0" fmla="*/ 3568065 w 3574732"/>
                  <a:gd name="connsiteY0" fmla="*/ 231500 h 1473560"/>
                  <a:gd name="connsiteX1" fmla="*/ 3562350 w 3574732"/>
                  <a:gd name="connsiteY1" fmla="*/ 230548 h 1473560"/>
                  <a:gd name="connsiteX2" fmla="*/ 3549015 w 3574732"/>
                  <a:gd name="connsiteY2" fmla="*/ 230548 h 1473560"/>
                  <a:gd name="connsiteX3" fmla="*/ 3529965 w 3574732"/>
                  <a:gd name="connsiteY3" fmla="*/ 230548 h 1473560"/>
                  <a:gd name="connsiteX4" fmla="*/ 3511868 w 3574732"/>
                  <a:gd name="connsiteY4" fmla="*/ 233405 h 1473560"/>
                  <a:gd name="connsiteX5" fmla="*/ 3504248 w 3574732"/>
                  <a:gd name="connsiteY5" fmla="*/ 231500 h 1473560"/>
                  <a:gd name="connsiteX6" fmla="*/ 3489960 w 3574732"/>
                  <a:gd name="connsiteY6" fmla="*/ 225785 h 1473560"/>
                  <a:gd name="connsiteX7" fmla="*/ 3489008 w 3574732"/>
                  <a:gd name="connsiteY7" fmla="*/ 222928 h 1473560"/>
                  <a:gd name="connsiteX8" fmla="*/ 3480435 w 3574732"/>
                  <a:gd name="connsiteY8" fmla="*/ 214355 h 1473560"/>
                  <a:gd name="connsiteX9" fmla="*/ 3476625 w 3574732"/>
                  <a:gd name="connsiteY9" fmla="*/ 206735 h 1473560"/>
                  <a:gd name="connsiteX10" fmla="*/ 3462338 w 3574732"/>
                  <a:gd name="connsiteY10" fmla="*/ 201973 h 1473560"/>
                  <a:gd name="connsiteX11" fmla="*/ 3456623 w 3574732"/>
                  <a:gd name="connsiteY11" fmla="*/ 198163 h 1473560"/>
                  <a:gd name="connsiteX12" fmla="*/ 3442335 w 3574732"/>
                  <a:gd name="connsiteY12" fmla="*/ 194353 h 1473560"/>
                  <a:gd name="connsiteX13" fmla="*/ 3441383 w 3574732"/>
                  <a:gd name="connsiteY13" fmla="*/ 191495 h 1473560"/>
                  <a:gd name="connsiteX14" fmla="*/ 3419475 w 3574732"/>
                  <a:gd name="connsiteY14" fmla="*/ 185780 h 1473560"/>
                  <a:gd name="connsiteX15" fmla="*/ 3406140 w 3574732"/>
                  <a:gd name="connsiteY15" fmla="*/ 180065 h 1473560"/>
                  <a:gd name="connsiteX16" fmla="*/ 3389948 w 3574732"/>
                  <a:gd name="connsiteY16" fmla="*/ 177208 h 1473560"/>
                  <a:gd name="connsiteX17" fmla="*/ 3362325 w 3574732"/>
                  <a:gd name="connsiteY17" fmla="*/ 172445 h 1473560"/>
                  <a:gd name="connsiteX18" fmla="*/ 3348990 w 3574732"/>
                  <a:gd name="connsiteY18" fmla="*/ 172445 h 1473560"/>
                  <a:gd name="connsiteX19" fmla="*/ 3334703 w 3574732"/>
                  <a:gd name="connsiteY19" fmla="*/ 172445 h 1473560"/>
                  <a:gd name="connsiteX20" fmla="*/ 3318510 w 3574732"/>
                  <a:gd name="connsiteY20" fmla="*/ 172445 h 1473560"/>
                  <a:gd name="connsiteX21" fmla="*/ 3301365 w 3574732"/>
                  <a:gd name="connsiteY21" fmla="*/ 170540 h 1473560"/>
                  <a:gd name="connsiteX22" fmla="*/ 3277553 w 3574732"/>
                  <a:gd name="connsiteY22" fmla="*/ 166730 h 1473560"/>
                  <a:gd name="connsiteX23" fmla="*/ 3255645 w 3574732"/>
                  <a:gd name="connsiteY23" fmla="*/ 168635 h 1473560"/>
                  <a:gd name="connsiteX24" fmla="*/ 3247073 w 3574732"/>
                  <a:gd name="connsiteY24" fmla="*/ 170540 h 1473560"/>
                  <a:gd name="connsiteX25" fmla="*/ 3244215 w 3574732"/>
                  <a:gd name="connsiteY25" fmla="*/ 184828 h 1473560"/>
                  <a:gd name="connsiteX26" fmla="*/ 3238500 w 3574732"/>
                  <a:gd name="connsiteY26" fmla="*/ 185780 h 1473560"/>
                  <a:gd name="connsiteX27" fmla="*/ 3219450 w 3574732"/>
                  <a:gd name="connsiteY27" fmla="*/ 180065 h 1473560"/>
                  <a:gd name="connsiteX28" fmla="*/ 3221355 w 3574732"/>
                  <a:gd name="connsiteY28" fmla="*/ 172445 h 1473560"/>
                  <a:gd name="connsiteX29" fmla="*/ 3218498 w 3574732"/>
                  <a:gd name="connsiteY29" fmla="*/ 162920 h 1473560"/>
                  <a:gd name="connsiteX30" fmla="*/ 3197543 w 3574732"/>
                  <a:gd name="connsiteY30" fmla="*/ 162920 h 1473560"/>
                  <a:gd name="connsiteX31" fmla="*/ 3176588 w 3574732"/>
                  <a:gd name="connsiteY31" fmla="*/ 166730 h 1473560"/>
                  <a:gd name="connsiteX32" fmla="*/ 3168015 w 3574732"/>
                  <a:gd name="connsiteY32" fmla="*/ 168635 h 1473560"/>
                  <a:gd name="connsiteX33" fmla="*/ 3148965 w 3574732"/>
                  <a:gd name="connsiteY33" fmla="*/ 169588 h 1473560"/>
                  <a:gd name="connsiteX34" fmla="*/ 3138488 w 3574732"/>
                  <a:gd name="connsiteY34" fmla="*/ 169588 h 1473560"/>
                  <a:gd name="connsiteX35" fmla="*/ 3098483 w 3574732"/>
                  <a:gd name="connsiteY35" fmla="*/ 168635 h 1473560"/>
                  <a:gd name="connsiteX36" fmla="*/ 3076575 w 3574732"/>
                  <a:gd name="connsiteY36" fmla="*/ 165778 h 1473560"/>
                  <a:gd name="connsiteX37" fmla="*/ 3063240 w 3574732"/>
                  <a:gd name="connsiteY37" fmla="*/ 157205 h 1473560"/>
                  <a:gd name="connsiteX38" fmla="*/ 3055620 w 3574732"/>
                  <a:gd name="connsiteY38" fmla="*/ 150538 h 1473560"/>
                  <a:gd name="connsiteX39" fmla="*/ 3049905 w 3574732"/>
                  <a:gd name="connsiteY39" fmla="*/ 147680 h 1473560"/>
                  <a:gd name="connsiteX40" fmla="*/ 3016568 w 3574732"/>
                  <a:gd name="connsiteY40" fmla="*/ 147680 h 1473560"/>
                  <a:gd name="connsiteX41" fmla="*/ 3002280 w 3574732"/>
                  <a:gd name="connsiteY41" fmla="*/ 147680 h 1473560"/>
                  <a:gd name="connsiteX42" fmla="*/ 2980373 w 3574732"/>
                  <a:gd name="connsiteY42" fmla="*/ 144823 h 1473560"/>
                  <a:gd name="connsiteX43" fmla="*/ 2952750 w 3574732"/>
                  <a:gd name="connsiteY43" fmla="*/ 141965 h 1473560"/>
                  <a:gd name="connsiteX44" fmla="*/ 2938463 w 3574732"/>
                  <a:gd name="connsiteY44" fmla="*/ 137203 h 1473560"/>
                  <a:gd name="connsiteX45" fmla="*/ 2919413 w 3574732"/>
                  <a:gd name="connsiteY45" fmla="*/ 131488 h 1473560"/>
                  <a:gd name="connsiteX46" fmla="*/ 2913698 w 3574732"/>
                  <a:gd name="connsiteY46" fmla="*/ 129583 h 1473560"/>
                  <a:gd name="connsiteX47" fmla="*/ 2892743 w 3574732"/>
                  <a:gd name="connsiteY47" fmla="*/ 128630 h 1473560"/>
                  <a:gd name="connsiteX48" fmla="*/ 2873693 w 3574732"/>
                  <a:gd name="connsiteY48" fmla="*/ 126725 h 1473560"/>
                  <a:gd name="connsiteX49" fmla="*/ 2868930 w 3574732"/>
                  <a:gd name="connsiteY49" fmla="*/ 124820 h 1473560"/>
                  <a:gd name="connsiteX50" fmla="*/ 2851785 w 3574732"/>
                  <a:gd name="connsiteY50" fmla="*/ 120058 h 1473560"/>
                  <a:gd name="connsiteX51" fmla="*/ 2834640 w 3574732"/>
                  <a:gd name="connsiteY51" fmla="*/ 115295 h 1473560"/>
                  <a:gd name="connsiteX52" fmla="*/ 2817495 w 3574732"/>
                  <a:gd name="connsiteY52" fmla="*/ 113390 h 1473560"/>
                  <a:gd name="connsiteX53" fmla="*/ 2800350 w 3574732"/>
                  <a:gd name="connsiteY53" fmla="*/ 112438 h 1473560"/>
                  <a:gd name="connsiteX54" fmla="*/ 2785110 w 3574732"/>
                  <a:gd name="connsiteY54" fmla="*/ 114343 h 1473560"/>
                  <a:gd name="connsiteX55" fmla="*/ 2761298 w 3574732"/>
                  <a:gd name="connsiteY55" fmla="*/ 113390 h 1473560"/>
                  <a:gd name="connsiteX56" fmla="*/ 2740343 w 3574732"/>
                  <a:gd name="connsiteY56" fmla="*/ 113390 h 1473560"/>
                  <a:gd name="connsiteX57" fmla="*/ 2718435 w 3574732"/>
                  <a:gd name="connsiteY57" fmla="*/ 121963 h 1473560"/>
                  <a:gd name="connsiteX58" fmla="*/ 2713673 w 3574732"/>
                  <a:gd name="connsiteY58" fmla="*/ 121963 h 1473560"/>
                  <a:gd name="connsiteX59" fmla="*/ 2708910 w 3574732"/>
                  <a:gd name="connsiteY59" fmla="*/ 126725 h 1473560"/>
                  <a:gd name="connsiteX60" fmla="*/ 2704148 w 3574732"/>
                  <a:gd name="connsiteY60" fmla="*/ 133393 h 1473560"/>
                  <a:gd name="connsiteX61" fmla="*/ 2692718 w 3574732"/>
                  <a:gd name="connsiteY61" fmla="*/ 133393 h 1473560"/>
                  <a:gd name="connsiteX62" fmla="*/ 2676525 w 3574732"/>
                  <a:gd name="connsiteY62" fmla="*/ 133393 h 1473560"/>
                  <a:gd name="connsiteX63" fmla="*/ 2654618 w 3574732"/>
                  <a:gd name="connsiteY63" fmla="*/ 133393 h 1473560"/>
                  <a:gd name="connsiteX64" fmla="*/ 2646998 w 3574732"/>
                  <a:gd name="connsiteY64" fmla="*/ 139108 h 1473560"/>
                  <a:gd name="connsiteX65" fmla="*/ 2635568 w 3574732"/>
                  <a:gd name="connsiteY65" fmla="*/ 140060 h 1473560"/>
                  <a:gd name="connsiteX66" fmla="*/ 2616518 w 3574732"/>
                  <a:gd name="connsiteY66" fmla="*/ 140060 h 1473560"/>
                  <a:gd name="connsiteX67" fmla="*/ 2606040 w 3574732"/>
                  <a:gd name="connsiteY67" fmla="*/ 133393 h 1473560"/>
                  <a:gd name="connsiteX68" fmla="*/ 2606040 w 3574732"/>
                  <a:gd name="connsiteY68" fmla="*/ 130535 h 1473560"/>
                  <a:gd name="connsiteX69" fmla="*/ 2597468 w 3574732"/>
                  <a:gd name="connsiteY69" fmla="*/ 128630 h 1473560"/>
                  <a:gd name="connsiteX70" fmla="*/ 2586038 w 3574732"/>
                  <a:gd name="connsiteY70" fmla="*/ 128630 h 1473560"/>
                  <a:gd name="connsiteX71" fmla="*/ 2578418 w 3574732"/>
                  <a:gd name="connsiteY71" fmla="*/ 132440 h 1473560"/>
                  <a:gd name="connsiteX72" fmla="*/ 2572703 w 3574732"/>
                  <a:gd name="connsiteY72" fmla="*/ 141965 h 1473560"/>
                  <a:gd name="connsiteX73" fmla="*/ 2562225 w 3574732"/>
                  <a:gd name="connsiteY73" fmla="*/ 141965 h 1473560"/>
                  <a:gd name="connsiteX74" fmla="*/ 2545080 w 3574732"/>
                  <a:gd name="connsiteY74" fmla="*/ 139108 h 1473560"/>
                  <a:gd name="connsiteX75" fmla="*/ 2530793 w 3574732"/>
                  <a:gd name="connsiteY75" fmla="*/ 130535 h 1473560"/>
                  <a:gd name="connsiteX76" fmla="*/ 2527935 w 3574732"/>
                  <a:gd name="connsiteY76" fmla="*/ 117200 h 1473560"/>
                  <a:gd name="connsiteX77" fmla="*/ 2526983 w 3574732"/>
                  <a:gd name="connsiteY77" fmla="*/ 109580 h 1473560"/>
                  <a:gd name="connsiteX78" fmla="*/ 2521268 w 3574732"/>
                  <a:gd name="connsiteY78" fmla="*/ 104818 h 1473560"/>
                  <a:gd name="connsiteX79" fmla="*/ 2506980 w 3574732"/>
                  <a:gd name="connsiteY79" fmla="*/ 100055 h 1473560"/>
                  <a:gd name="connsiteX80" fmla="*/ 2499360 w 3574732"/>
                  <a:gd name="connsiteY80" fmla="*/ 98150 h 1473560"/>
                  <a:gd name="connsiteX81" fmla="*/ 2480310 w 3574732"/>
                  <a:gd name="connsiteY81" fmla="*/ 95293 h 1473560"/>
                  <a:gd name="connsiteX82" fmla="*/ 2450783 w 3574732"/>
                  <a:gd name="connsiteY82" fmla="*/ 94340 h 1473560"/>
                  <a:gd name="connsiteX83" fmla="*/ 2443163 w 3574732"/>
                  <a:gd name="connsiteY83" fmla="*/ 97198 h 1473560"/>
                  <a:gd name="connsiteX84" fmla="*/ 2430780 w 3574732"/>
                  <a:gd name="connsiteY84" fmla="*/ 104818 h 1473560"/>
                  <a:gd name="connsiteX85" fmla="*/ 2426018 w 3574732"/>
                  <a:gd name="connsiteY85" fmla="*/ 103865 h 1473560"/>
                  <a:gd name="connsiteX86" fmla="*/ 2407920 w 3574732"/>
                  <a:gd name="connsiteY86" fmla="*/ 103865 h 1473560"/>
                  <a:gd name="connsiteX87" fmla="*/ 2391728 w 3574732"/>
                  <a:gd name="connsiteY87" fmla="*/ 101008 h 1473560"/>
                  <a:gd name="connsiteX88" fmla="*/ 2375535 w 3574732"/>
                  <a:gd name="connsiteY88" fmla="*/ 96245 h 1473560"/>
                  <a:gd name="connsiteX89" fmla="*/ 2370773 w 3574732"/>
                  <a:gd name="connsiteY89" fmla="*/ 93388 h 1473560"/>
                  <a:gd name="connsiteX90" fmla="*/ 2359343 w 3574732"/>
                  <a:gd name="connsiteY90" fmla="*/ 90530 h 1473560"/>
                  <a:gd name="connsiteX91" fmla="*/ 2347913 w 3574732"/>
                  <a:gd name="connsiteY91" fmla="*/ 90530 h 1473560"/>
                  <a:gd name="connsiteX92" fmla="*/ 2339340 w 3574732"/>
                  <a:gd name="connsiteY92" fmla="*/ 90530 h 1473560"/>
                  <a:gd name="connsiteX93" fmla="*/ 2328863 w 3574732"/>
                  <a:gd name="connsiteY93" fmla="*/ 90530 h 1473560"/>
                  <a:gd name="connsiteX94" fmla="*/ 2314575 w 3574732"/>
                  <a:gd name="connsiteY94" fmla="*/ 91483 h 1473560"/>
                  <a:gd name="connsiteX95" fmla="*/ 2304098 w 3574732"/>
                  <a:gd name="connsiteY95" fmla="*/ 91483 h 1473560"/>
                  <a:gd name="connsiteX96" fmla="*/ 2292668 w 3574732"/>
                  <a:gd name="connsiteY96" fmla="*/ 91483 h 1473560"/>
                  <a:gd name="connsiteX97" fmla="*/ 2279333 w 3574732"/>
                  <a:gd name="connsiteY97" fmla="*/ 88625 h 1473560"/>
                  <a:gd name="connsiteX98" fmla="*/ 2262188 w 3574732"/>
                  <a:gd name="connsiteY98" fmla="*/ 85768 h 1473560"/>
                  <a:gd name="connsiteX99" fmla="*/ 2237423 w 3574732"/>
                  <a:gd name="connsiteY99" fmla="*/ 84815 h 1473560"/>
                  <a:gd name="connsiteX100" fmla="*/ 2232660 w 3574732"/>
                  <a:gd name="connsiteY100" fmla="*/ 82910 h 1473560"/>
                  <a:gd name="connsiteX101" fmla="*/ 2225040 w 3574732"/>
                  <a:gd name="connsiteY101" fmla="*/ 82910 h 1473560"/>
                  <a:gd name="connsiteX102" fmla="*/ 2213610 w 3574732"/>
                  <a:gd name="connsiteY102" fmla="*/ 85768 h 1473560"/>
                  <a:gd name="connsiteX103" fmla="*/ 2189798 w 3574732"/>
                  <a:gd name="connsiteY103" fmla="*/ 94340 h 1473560"/>
                  <a:gd name="connsiteX104" fmla="*/ 2170748 w 3574732"/>
                  <a:gd name="connsiteY104" fmla="*/ 95293 h 1473560"/>
                  <a:gd name="connsiteX105" fmla="*/ 2159318 w 3574732"/>
                  <a:gd name="connsiteY105" fmla="*/ 99103 h 1473560"/>
                  <a:gd name="connsiteX106" fmla="*/ 2141220 w 3574732"/>
                  <a:gd name="connsiteY106" fmla="*/ 104818 h 1473560"/>
                  <a:gd name="connsiteX107" fmla="*/ 2127885 w 3574732"/>
                  <a:gd name="connsiteY107" fmla="*/ 103865 h 1473560"/>
                  <a:gd name="connsiteX108" fmla="*/ 2117408 w 3574732"/>
                  <a:gd name="connsiteY108" fmla="*/ 101008 h 1473560"/>
                  <a:gd name="connsiteX109" fmla="*/ 2123123 w 3574732"/>
                  <a:gd name="connsiteY109" fmla="*/ 96245 h 1473560"/>
                  <a:gd name="connsiteX110" fmla="*/ 2146935 w 3574732"/>
                  <a:gd name="connsiteY110" fmla="*/ 90530 h 1473560"/>
                  <a:gd name="connsiteX111" fmla="*/ 2162175 w 3574732"/>
                  <a:gd name="connsiteY111" fmla="*/ 84815 h 1473560"/>
                  <a:gd name="connsiteX112" fmla="*/ 2170748 w 3574732"/>
                  <a:gd name="connsiteY112" fmla="*/ 81958 h 1473560"/>
                  <a:gd name="connsiteX113" fmla="*/ 2194560 w 3574732"/>
                  <a:gd name="connsiteY113" fmla="*/ 67670 h 1473560"/>
                  <a:gd name="connsiteX114" fmla="*/ 2205038 w 3574732"/>
                  <a:gd name="connsiteY114" fmla="*/ 67670 h 1473560"/>
                  <a:gd name="connsiteX115" fmla="*/ 2222183 w 3574732"/>
                  <a:gd name="connsiteY115" fmla="*/ 67670 h 1473560"/>
                  <a:gd name="connsiteX116" fmla="*/ 2241233 w 3574732"/>
                  <a:gd name="connsiteY116" fmla="*/ 67670 h 1473560"/>
                  <a:gd name="connsiteX117" fmla="*/ 2265045 w 3574732"/>
                  <a:gd name="connsiteY117" fmla="*/ 61955 h 1473560"/>
                  <a:gd name="connsiteX118" fmla="*/ 2266950 w 3574732"/>
                  <a:gd name="connsiteY118" fmla="*/ 55288 h 1473560"/>
                  <a:gd name="connsiteX119" fmla="*/ 2265998 w 3574732"/>
                  <a:gd name="connsiteY119" fmla="*/ 45763 h 1473560"/>
                  <a:gd name="connsiteX120" fmla="*/ 2263140 w 3574732"/>
                  <a:gd name="connsiteY120" fmla="*/ 38143 h 1473560"/>
                  <a:gd name="connsiteX121" fmla="*/ 2257425 w 3574732"/>
                  <a:gd name="connsiteY121" fmla="*/ 25760 h 1473560"/>
                  <a:gd name="connsiteX122" fmla="*/ 2241233 w 3574732"/>
                  <a:gd name="connsiteY122" fmla="*/ 22903 h 1473560"/>
                  <a:gd name="connsiteX123" fmla="*/ 2225040 w 3574732"/>
                  <a:gd name="connsiteY123" fmla="*/ 19093 h 1473560"/>
                  <a:gd name="connsiteX124" fmla="*/ 2216468 w 3574732"/>
                  <a:gd name="connsiteY124" fmla="*/ 19093 h 1473560"/>
                  <a:gd name="connsiteX125" fmla="*/ 2211705 w 3574732"/>
                  <a:gd name="connsiteY125" fmla="*/ 18140 h 1473560"/>
                  <a:gd name="connsiteX126" fmla="*/ 2195513 w 3574732"/>
                  <a:gd name="connsiteY126" fmla="*/ 19093 h 1473560"/>
                  <a:gd name="connsiteX127" fmla="*/ 2182178 w 3574732"/>
                  <a:gd name="connsiteY127" fmla="*/ 17188 h 1473560"/>
                  <a:gd name="connsiteX128" fmla="*/ 2161223 w 3574732"/>
                  <a:gd name="connsiteY128" fmla="*/ 16235 h 1473560"/>
                  <a:gd name="connsiteX129" fmla="*/ 2142173 w 3574732"/>
                  <a:gd name="connsiteY129" fmla="*/ 16235 h 1473560"/>
                  <a:gd name="connsiteX130" fmla="*/ 2131695 w 3574732"/>
                  <a:gd name="connsiteY130" fmla="*/ 13378 h 1473560"/>
                  <a:gd name="connsiteX131" fmla="*/ 2130743 w 3574732"/>
                  <a:gd name="connsiteY131" fmla="*/ 1948 h 1473560"/>
                  <a:gd name="connsiteX132" fmla="*/ 2120265 w 3574732"/>
                  <a:gd name="connsiteY132" fmla="*/ 995 h 1473560"/>
                  <a:gd name="connsiteX133" fmla="*/ 2093595 w 3574732"/>
                  <a:gd name="connsiteY133" fmla="*/ 1948 h 1473560"/>
                  <a:gd name="connsiteX134" fmla="*/ 2074545 w 3574732"/>
                  <a:gd name="connsiteY134" fmla="*/ 995 h 1473560"/>
                  <a:gd name="connsiteX135" fmla="*/ 2057400 w 3574732"/>
                  <a:gd name="connsiteY135" fmla="*/ 43 h 1473560"/>
                  <a:gd name="connsiteX136" fmla="*/ 2052638 w 3574732"/>
                  <a:gd name="connsiteY136" fmla="*/ 14330 h 1473560"/>
                  <a:gd name="connsiteX137" fmla="*/ 2052638 w 3574732"/>
                  <a:gd name="connsiteY137" fmla="*/ 19093 h 1473560"/>
                  <a:gd name="connsiteX138" fmla="*/ 2049780 w 3574732"/>
                  <a:gd name="connsiteY138" fmla="*/ 22903 h 1473560"/>
                  <a:gd name="connsiteX139" fmla="*/ 2038350 w 3574732"/>
                  <a:gd name="connsiteY139" fmla="*/ 27665 h 1473560"/>
                  <a:gd name="connsiteX140" fmla="*/ 2026920 w 3574732"/>
                  <a:gd name="connsiteY140" fmla="*/ 31475 h 1473560"/>
                  <a:gd name="connsiteX141" fmla="*/ 2010728 w 3574732"/>
                  <a:gd name="connsiteY141" fmla="*/ 33380 h 1473560"/>
                  <a:gd name="connsiteX142" fmla="*/ 1985963 w 3574732"/>
                  <a:gd name="connsiteY142" fmla="*/ 36238 h 1473560"/>
                  <a:gd name="connsiteX143" fmla="*/ 1981200 w 3574732"/>
                  <a:gd name="connsiteY143" fmla="*/ 35285 h 1473560"/>
                  <a:gd name="connsiteX144" fmla="*/ 1960245 w 3574732"/>
                  <a:gd name="connsiteY144" fmla="*/ 34333 h 1473560"/>
                  <a:gd name="connsiteX145" fmla="*/ 1949768 w 3574732"/>
                  <a:gd name="connsiteY145" fmla="*/ 34333 h 1473560"/>
                  <a:gd name="connsiteX146" fmla="*/ 1939290 w 3574732"/>
                  <a:gd name="connsiteY146" fmla="*/ 35285 h 1473560"/>
                  <a:gd name="connsiteX147" fmla="*/ 1918335 w 3574732"/>
                  <a:gd name="connsiteY147" fmla="*/ 39095 h 1473560"/>
                  <a:gd name="connsiteX148" fmla="*/ 1897380 w 3574732"/>
                  <a:gd name="connsiteY148" fmla="*/ 42905 h 1473560"/>
                  <a:gd name="connsiteX149" fmla="*/ 1873568 w 3574732"/>
                  <a:gd name="connsiteY149" fmla="*/ 46715 h 1473560"/>
                  <a:gd name="connsiteX150" fmla="*/ 1855470 w 3574732"/>
                  <a:gd name="connsiteY150" fmla="*/ 47668 h 1473560"/>
                  <a:gd name="connsiteX151" fmla="*/ 1850708 w 3574732"/>
                  <a:gd name="connsiteY151" fmla="*/ 47668 h 1473560"/>
                  <a:gd name="connsiteX152" fmla="*/ 1825943 w 3574732"/>
                  <a:gd name="connsiteY152" fmla="*/ 54335 h 1473560"/>
                  <a:gd name="connsiteX153" fmla="*/ 1812608 w 3574732"/>
                  <a:gd name="connsiteY153" fmla="*/ 58145 h 1473560"/>
                  <a:gd name="connsiteX154" fmla="*/ 1804035 w 3574732"/>
                  <a:gd name="connsiteY154" fmla="*/ 65765 h 1473560"/>
                  <a:gd name="connsiteX155" fmla="*/ 1795463 w 3574732"/>
                  <a:gd name="connsiteY155" fmla="*/ 74338 h 1473560"/>
                  <a:gd name="connsiteX156" fmla="*/ 1786890 w 3574732"/>
                  <a:gd name="connsiteY156" fmla="*/ 76243 h 1473560"/>
                  <a:gd name="connsiteX157" fmla="*/ 1770698 w 3574732"/>
                  <a:gd name="connsiteY157" fmla="*/ 80053 h 1473560"/>
                  <a:gd name="connsiteX158" fmla="*/ 1755458 w 3574732"/>
                  <a:gd name="connsiteY158" fmla="*/ 86720 h 1473560"/>
                  <a:gd name="connsiteX159" fmla="*/ 1728788 w 3574732"/>
                  <a:gd name="connsiteY159" fmla="*/ 87673 h 1473560"/>
                  <a:gd name="connsiteX160" fmla="*/ 1721168 w 3574732"/>
                  <a:gd name="connsiteY160" fmla="*/ 87673 h 1473560"/>
                  <a:gd name="connsiteX161" fmla="*/ 1712595 w 3574732"/>
                  <a:gd name="connsiteY161" fmla="*/ 88625 h 1473560"/>
                  <a:gd name="connsiteX162" fmla="*/ 1709738 w 3574732"/>
                  <a:gd name="connsiteY162" fmla="*/ 93388 h 1473560"/>
                  <a:gd name="connsiteX163" fmla="*/ 1704975 w 3574732"/>
                  <a:gd name="connsiteY163" fmla="*/ 102913 h 1473560"/>
                  <a:gd name="connsiteX164" fmla="*/ 1704975 w 3574732"/>
                  <a:gd name="connsiteY164" fmla="*/ 108628 h 1473560"/>
                  <a:gd name="connsiteX165" fmla="*/ 1703070 w 3574732"/>
                  <a:gd name="connsiteY165" fmla="*/ 115295 h 1473560"/>
                  <a:gd name="connsiteX166" fmla="*/ 1701165 w 3574732"/>
                  <a:gd name="connsiteY166" fmla="*/ 123868 h 1473560"/>
                  <a:gd name="connsiteX167" fmla="*/ 1698308 w 3574732"/>
                  <a:gd name="connsiteY167" fmla="*/ 127678 h 1473560"/>
                  <a:gd name="connsiteX168" fmla="*/ 1675448 w 3574732"/>
                  <a:gd name="connsiteY168" fmla="*/ 121010 h 1473560"/>
                  <a:gd name="connsiteX169" fmla="*/ 1674495 w 3574732"/>
                  <a:gd name="connsiteY169" fmla="*/ 114343 h 1473560"/>
                  <a:gd name="connsiteX170" fmla="*/ 1666875 w 3574732"/>
                  <a:gd name="connsiteY170" fmla="*/ 111485 h 1473560"/>
                  <a:gd name="connsiteX171" fmla="*/ 1652588 w 3574732"/>
                  <a:gd name="connsiteY171" fmla="*/ 111485 h 1473560"/>
                  <a:gd name="connsiteX172" fmla="*/ 1644968 w 3574732"/>
                  <a:gd name="connsiteY172" fmla="*/ 111485 h 1473560"/>
                  <a:gd name="connsiteX173" fmla="*/ 1637348 w 3574732"/>
                  <a:gd name="connsiteY173" fmla="*/ 121963 h 1473560"/>
                  <a:gd name="connsiteX174" fmla="*/ 1626870 w 3574732"/>
                  <a:gd name="connsiteY174" fmla="*/ 124820 h 1473560"/>
                  <a:gd name="connsiteX175" fmla="*/ 1626870 w 3574732"/>
                  <a:gd name="connsiteY175" fmla="*/ 127678 h 1473560"/>
                  <a:gd name="connsiteX176" fmla="*/ 1624013 w 3574732"/>
                  <a:gd name="connsiteY176" fmla="*/ 133393 h 1473560"/>
                  <a:gd name="connsiteX177" fmla="*/ 1609725 w 3574732"/>
                  <a:gd name="connsiteY177" fmla="*/ 130535 h 1473560"/>
                  <a:gd name="connsiteX178" fmla="*/ 1605915 w 3574732"/>
                  <a:gd name="connsiteY178" fmla="*/ 120058 h 1473560"/>
                  <a:gd name="connsiteX179" fmla="*/ 1607820 w 3574732"/>
                  <a:gd name="connsiteY179" fmla="*/ 109580 h 1473560"/>
                  <a:gd name="connsiteX180" fmla="*/ 1606868 w 3574732"/>
                  <a:gd name="connsiteY180" fmla="*/ 103865 h 1473560"/>
                  <a:gd name="connsiteX181" fmla="*/ 1599248 w 3574732"/>
                  <a:gd name="connsiteY181" fmla="*/ 111485 h 1473560"/>
                  <a:gd name="connsiteX182" fmla="*/ 1584008 w 3574732"/>
                  <a:gd name="connsiteY182" fmla="*/ 119105 h 1473560"/>
                  <a:gd name="connsiteX183" fmla="*/ 1575435 w 3574732"/>
                  <a:gd name="connsiteY183" fmla="*/ 128630 h 1473560"/>
                  <a:gd name="connsiteX184" fmla="*/ 1572578 w 3574732"/>
                  <a:gd name="connsiteY184" fmla="*/ 133393 h 1473560"/>
                  <a:gd name="connsiteX185" fmla="*/ 1572578 w 3574732"/>
                  <a:gd name="connsiteY185" fmla="*/ 146728 h 1473560"/>
                  <a:gd name="connsiteX186" fmla="*/ 1585913 w 3574732"/>
                  <a:gd name="connsiteY186" fmla="*/ 154348 h 1473560"/>
                  <a:gd name="connsiteX187" fmla="*/ 1591628 w 3574732"/>
                  <a:gd name="connsiteY187" fmla="*/ 157205 h 1473560"/>
                  <a:gd name="connsiteX188" fmla="*/ 1592580 w 3574732"/>
                  <a:gd name="connsiteY188" fmla="*/ 162920 h 1473560"/>
                  <a:gd name="connsiteX189" fmla="*/ 1589723 w 3574732"/>
                  <a:gd name="connsiteY189" fmla="*/ 168635 h 1473560"/>
                  <a:gd name="connsiteX190" fmla="*/ 1587818 w 3574732"/>
                  <a:gd name="connsiteY190" fmla="*/ 177208 h 1473560"/>
                  <a:gd name="connsiteX191" fmla="*/ 1593533 w 3574732"/>
                  <a:gd name="connsiteY191" fmla="*/ 177208 h 1473560"/>
                  <a:gd name="connsiteX192" fmla="*/ 1604010 w 3574732"/>
                  <a:gd name="connsiteY192" fmla="*/ 180065 h 1473560"/>
                  <a:gd name="connsiteX193" fmla="*/ 1602105 w 3574732"/>
                  <a:gd name="connsiteY193" fmla="*/ 184828 h 1473560"/>
                  <a:gd name="connsiteX194" fmla="*/ 1599248 w 3574732"/>
                  <a:gd name="connsiteY194" fmla="*/ 191495 h 1473560"/>
                  <a:gd name="connsiteX195" fmla="*/ 1589723 w 3574732"/>
                  <a:gd name="connsiteY195" fmla="*/ 202925 h 1473560"/>
                  <a:gd name="connsiteX196" fmla="*/ 1584008 w 3574732"/>
                  <a:gd name="connsiteY196" fmla="*/ 208640 h 1473560"/>
                  <a:gd name="connsiteX197" fmla="*/ 1579245 w 3574732"/>
                  <a:gd name="connsiteY197" fmla="*/ 213403 h 1473560"/>
                  <a:gd name="connsiteX198" fmla="*/ 1574483 w 3574732"/>
                  <a:gd name="connsiteY198" fmla="*/ 215308 h 1473560"/>
                  <a:gd name="connsiteX199" fmla="*/ 1564005 w 3574732"/>
                  <a:gd name="connsiteY199" fmla="*/ 225785 h 1473560"/>
                  <a:gd name="connsiteX200" fmla="*/ 1555433 w 3574732"/>
                  <a:gd name="connsiteY200" fmla="*/ 229595 h 1473560"/>
                  <a:gd name="connsiteX201" fmla="*/ 1542098 w 3574732"/>
                  <a:gd name="connsiteY201" fmla="*/ 234358 h 1473560"/>
                  <a:gd name="connsiteX202" fmla="*/ 1537335 w 3574732"/>
                  <a:gd name="connsiteY202" fmla="*/ 239120 h 1473560"/>
                  <a:gd name="connsiteX203" fmla="*/ 1526858 w 3574732"/>
                  <a:gd name="connsiteY203" fmla="*/ 241025 h 1473560"/>
                  <a:gd name="connsiteX204" fmla="*/ 1521143 w 3574732"/>
                  <a:gd name="connsiteY204" fmla="*/ 237215 h 1473560"/>
                  <a:gd name="connsiteX205" fmla="*/ 1525905 w 3574732"/>
                  <a:gd name="connsiteY205" fmla="*/ 232453 h 1473560"/>
                  <a:gd name="connsiteX206" fmla="*/ 1539240 w 3574732"/>
                  <a:gd name="connsiteY206" fmla="*/ 225785 h 1473560"/>
                  <a:gd name="connsiteX207" fmla="*/ 1552575 w 3574732"/>
                  <a:gd name="connsiteY207" fmla="*/ 218165 h 1473560"/>
                  <a:gd name="connsiteX208" fmla="*/ 1560195 w 3574732"/>
                  <a:gd name="connsiteY208" fmla="*/ 206735 h 1473560"/>
                  <a:gd name="connsiteX209" fmla="*/ 1563053 w 3574732"/>
                  <a:gd name="connsiteY209" fmla="*/ 198163 h 1473560"/>
                  <a:gd name="connsiteX210" fmla="*/ 1562100 w 3574732"/>
                  <a:gd name="connsiteY210" fmla="*/ 193400 h 1473560"/>
                  <a:gd name="connsiteX211" fmla="*/ 1561148 w 3574732"/>
                  <a:gd name="connsiteY211" fmla="*/ 186733 h 1473560"/>
                  <a:gd name="connsiteX212" fmla="*/ 1558290 w 3574732"/>
                  <a:gd name="connsiteY212" fmla="*/ 176255 h 1473560"/>
                  <a:gd name="connsiteX213" fmla="*/ 1561148 w 3574732"/>
                  <a:gd name="connsiteY213" fmla="*/ 166730 h 1473560"/>
                  <a:gd name="connsiteX214" fmla="*/ 1554480 w 3574732"/>
                  <a:gd name="connsiteY214" fmla="*/ 156253 h 1473560"/>
                  <a:gd name="connsiteX215" fmla="*/ 1557338 w 3574732"/>
                  <a:gd name="connsiteY215" fmla="*/ 144823 h 1473560"/>
                  <a:gd name="connsiteX216" fmla="*/ 1550670 w 3574732"/>
                  <a:gd name="connsiteY216" fmla="*/ 130535 h 1473560"/>
                  <a:gd name="connsiteX217" fmla="*/ 1553528 w 3574732"/>
                  <a:gd name="connsiteY217" fmla="*/ 122915 h 1473560"/>
                  <a:gd name="connsiteX218" fmla="*/ 1558290 w 3574732"/>
                  <a:gd name="connsiteY218" fmla="*/ 116248 h 1473560"/>
                  <a:gd name="connsiteX219" fmla="*/ 1557338 w 3574732"/>
                  <a:gd name="connsiteY219" fmla="*/ 107675 h 1473560"/>
                  <a:gd name="connsiteX220" fmla="*/ 1549718 w 3574732"/>
                  <a:gd name="connsiteY220" fmla="*/ 104818 h 1473560"/>
                  <a:gd name="connsiteX221" fmla="*/ 1525905 w 3574732"/>
                  <a:gd name="connsiteY221" fmla="*/ 104818 h 1473560"/>
                  <a:gd name="connsiteX222" fmla="*/ 1517333 w 3574732"/>
                  <a:gd name="connsiteY222" fmla="*/ 107675 h 1473560"/>
                  <a:gd name="connsiteX223" fmla="*/ 1505903 w 3574732"/>
                  <a:gd name="connsiteY223" fmla="*/ 110533 h 1473560"/>
                  <a:gd name="connsiteX224" fmla="*/ 1501140 w 3574732"/>
                  <a:gd name="connsiteY224" fmla="*/ 116248 h 1473560"/>
                  <a:gd name="connsiteX225" fmla="*/ 1485900 w 3574732"/>
                  <a:gd name="connsiteY225" fmla="*/ 128630 h 1473560"/>
                  <a:gd name="connsiteX226" fmla="*/ 1477328 w 3574732"/>
                  <a:gd name="connsiteY226" fmla="*/ 130535 h 1473560"/>
                  <a:gd name="connsiteX227" fmla="*/ 1469708 w 3574732"/>
                  <a:gd name="connsiteY227" fmla="*/ 141013 h 1473560"/>
                  <a:gd name="connsiteX228" fmla="*/ 1462088 w 3574732"/>
                  <a:gd name="connsiteY228" fmla="*/ 150538 h 1473560"/>
                  <a:gd name="connsiteX229" fmla="*/ 1463040 w 3574732"/>
                  <a:gd name="connsiteY229" fmla="*/ 162920 h 1473560"/>
                  <a:gd name="connsiteX230" fmla="*/ 1471613 w 3574732"/>
                  <a:gd name="connsiteY230" fmla="*/ 165778 h 1473560"/>
                  <a:gd name="connsiteX231" fmla="*/ 1474470 w 3574732"/>
                  <a:gd name="connsiteY231" fmla="*/ 174350 h 1473560"/>
                  <a:gd name="connsiteX232" fmla="*/ 1478280 w 3574732"/>
                  <a:gd name="connsiteY232" fmla="*/ 181018 h 1473560"/>
                  <a:gd name="connsiteX233" fmla="*/ 1483043 w 3574732"/>
                  <a:gd name="connsiteY233" fmla="*/ 184828 h 1473560"/>
                  <a:gd name="connsiteX234" fmla="*/ 1497330 w 3574732"/>
                  <a:gd name="connsiteY234" fmla="*/ 188638 h 1473560"/>
                  <a:gd name="connsiteX235" fmla="*/ 1497330 w 3574732"/>
                  <a:gd name="connsiteY235" fmla="*/ 175303 h 1473560"/>
                  <a:gd name="connsiteX236" fmla="*/ 1495425 w 3574732"/>
                  <a:gd name="connsiteY236" fmla="*/ 179113 h 1473560"/>
                  <a:gd name="connsiteX237" fmla="*/ 1479233 w 3574732"/>
                  <a:gd name="connsiteY237" fmla="*/ 177208 h 1473560"/>
                  <a:gd name="connsiteX238" fmla="*/ 1465898 w 3574732"/>
                  <a:gd name="connsiteY238" fmla="*/ 175303 h 1473560"/>
                  <a:gd name="connsiteX239" fmla="*/ 1455420 w 3574732"/>
                  <a:gd name="connsiteY239" fmla="*/ 169588 h 1473560"/>
                  <a:gd name="connsiteX240" fmla="*/ 1449705 w 3574732"/>
                  <a:gd name="connsiteY240" fmla="*/ 164825 h 1473560"/>
                  <a:gd name="connsiteX241" fmla="*/ 1441133 w 3574732"/>
                  <a:gd name="connsiteY241" fmla="*/ 159110 h 1473560"/>
                  <a:gd name="connsiteX242" fmla="*/ 1427798 w 3574732"/>
                  <a:gd name="connsiteY242" fmla="*/ 155300 h 1473560"/>
                  <a:gd name="connsiteX243" fmla="*/ 1403033 w 3574732"/>
                  <a:gd name="connsiteY243" fmla="*/ 150538 h 1473560"/>
                  <a:gd name="connsiteX244" fmla="*/ 1394460 w 3574732"/>
                  <a:gd name="connsiteY244" fmla="*/ 150538 h 1473560"/>
                  <a:gd name="connsiteX245" fmla="*/ 1383983 w 3574732"/>
                  <a:gd name="connsiteY245" fmla="*/ 149585 h 1473560"/>
                  <a:gd name="connsiteX246" fmla="*/ 1369695 w 3574732"/>
                  <a:gd name="connsiteY246" fmla="*/ 148633 h 1473560"/>
                  <a:gd name="connsiteX247" fmla="*/ 1348740 w 3574732"/>
                  <a:gd name="connsiteY247" fmla="*/ 144823 h 1473560"/>
                  <a:gd name="connsiteX248" fmla="*/ 1341120 w 3574732"/>
                  <a:gd name="connsiteY248" fmla="*/ 141013 h 1473560"/>
                  <a:gd name="connsiteX249" fmla="*/ 1330643 w 3574732"/>
                  <a:gd name="connsiteY249" fmla="*/ 141013 h 1473560"/>
                  <a:gd name="connsiteX250" fmla="*/ 1327785 w 3574732"/>
                  <a:gd name="connsiteY250" fmla="*/ 147680 h 1473560"/>
                  <a:gd name="connsiteX251" fmla="*/ 1338263 w 3574732"/>
                  <a:gd name="connsiteY251" fmla="*/ 152443 h 1473560"/>
                  <a:gd name="connsiteX252" fmla="*/ 1346835 w 3574732"/>
                  <a:gd name="connsiteY252" fmla="*/ 158158 h 1473560"/>
                  <a:gd name="connsiteX253" fmla="*/ 1346835 w 3574732"/>
                  <a:gd name="connsiteY253" fmla="*/ 163873 h 1473560"/>
                  <a:gd name="connsiteX254" fmla="*/ 1342073 w 3574732"/>
                  <a:gd name="connsiteY254" fmla="*/ 167683 h 1473560"/>
                  <a:gd name="connsiteX255" fmla="*/ 1331595 w 3574732"/>
                  <a:gd name="connsiteY255" fmla="*/ 168635 h 1473560"/>
                  <a:gd name="connsiteX256" fmla="*/ 1320165 w 3574732"/>
                  <a:gd name="connsiteY256" fmla="*/ 170540 h 1473560"/>
                  <a:gd name="connsiteX257" fmla="*/ 1308735 w 3574732"/>
                  <a:gd name="connsiteY257" fmla="*/ 170540 h 1473560"/>
                  <a:gd name="connsiteX258" fmla="*/ 1292543 w 3574732"/>
                  <a:gd name="connsiteY258" fmla="*/ 171493 h 1473560"/>
                  <a:gd name="connsiteX259" fmla="*/ 1274445 w 3574732"/>
                  <a:gd name="connsiteY259" fmla="*/ 174350 h 1473560"/>
                  <a:gd name="connsiteX260" fmla="*/ 1265873 w 3574732"/>
                  <a:gd name="connsiteY260" fmla="*/ 175303 h 1473560"/>
                  <a:gd name="connsiteX261" fmla="*/ 1255395 w 3574732"/>
                  <a:gd name="connsiteY261" fmla="*/ 176255 h 1473560"/>
                  <a:gd name="connsiteX262" fmla="*/ 1244918 w 3574732"/>
                  <a:gd name="connsiteY262" fmla="*/ 175303 h 1473560"/>
                  <a:gd name="connsiteX263" fmla="*/ 1231583 w 3574732"/>
                  <a:gd name="connsiteY263" fmla="*/ 171493 h 1473560"/>
                  <a:gd name="connsiteX264" fmla="*/ 1226820 w 3574732"/>
                  <a:gd name="connsiteY264" fmla="*/ 168635 h 1473560"/>
                  <a:gd name="connsiteX265" fmla="*/ 1221105 w 3574732"/>
                  <a:gd name="connsiteY265" fmla="*/ 168635 h 1473560"/>
                  <a:gd name="connsiteX266" fmla="*/ 1194435 w 3574732"/>
                  <a:gd name="connsiteY266" fmla="*/ 171493 h 1473560"/>
                  <a:gd name="connsiteX267" fmla="*/ 1185863 w 3574732"/>
                  <a:gd name="connsiteY267" fmla="*/ 177208 h 1473560"/>
                  <a:gd name="connsiteX268" fmla="*/ 1161098 w 3574732"/>
                  <a:gd name="connsiteY268" fmla="*/ 184828 h 1473560"/>
                  <a:gd name="connsiteX269" fmla="*/ 1153478 w 3574732"/>
                  <a:gd name="connsiteY269" fmla="*/ 187685 h 1473560"/>
                  <a:gd name="connsiteX270" fmla="*/ 1134428 w 3574732"/>
                  <a:gd name="connsiteY270" fmla="*/ 196258 h 1473560"/>
                  <a:gd name="connsiteX271" fmla="*/ 1121093 w 3574732"/>
                  <a:gd name="connsiteY271" fmla="*/ 196258 h 1473560"/>
                  <a:gd name="connsiteX272" fmla="*/ 1113473 w 3574732"/>
                  <a:gd name="connsiteY272" fmla="*/ 201973 h 1473560"/>
                  <a:gd name="connsiteX273" fmla="*/ 1097280 w 3574732"/>
                  <a:gd name="connsiteY273" fmla="*/ 199115 h 1473560"/>
                  <a:gd name="connsiteX274" fmla="*/ 1088708 w 3574732"/>
                  <a:gd name="connsiteY274" fmla="*/ 191495 h 1473560"/>
                  <a:gd name="connsiteX275" fmla="*/ 1087755 w 3574732"/>
                  <a:gd name="connsiteY275" fmla="*/ 188638 h 1473560"/>
                  <a:gd name="connsiteX276" fmla="*/ 1099185 w 3574732"/>
                  <a:gd name="connsiteY276" fmla="*/ 188638 h 1473560"/>
                  <a:gd name="connsiteX277" fmla="*/ 1121093 w 3574732"/>
                  <a:gd name="connsiteY277" fmla="*/ 181018 h 1473560"/>
                  <a:gd name="connsiteX278" fmla="*/ 1087755 w 3574732"/>
                  <a:gd name="connsiteY278" fmla="*/ 179113 h 1473560"/>
                  <a:gd name="connsiteX279" fmla="*/ 1071563 w 3574732"/>
                  <a:gd name="connsiteY279" fmla="*/ 179113 h 1473560"/>
                  <a:gd name="connsiteX280" fmla="*/ 1062990 w 3574732"/>
                  <a:gd name="connsiteY280" fmla="*/ 182923 h 1473560"/>
                  <a:gd name="connsiteX281" fmla="*/ 1058228 w 3574732"/>
                  <a:gd name="connsiteY281" fmla="*/ 190543 h 1473560"/>
                  <a:gd name="connsiteX282" fmla="*/ 1055370 w 3574732"/>
                  <a:gd name="connsiteY282" fmla="*/ 203878 h 1473560"/>
                  <a:gd name="connsiteX283" fmla="*/ 1048703 w 3574732"/>
                  <a:gd name="connsiteY283" fmla="*/ 218165 h 1473560"/>
                  <a:gd name="connsiteX284" fmla="*/ 1034415 w 3574732"/>
                  <a:gd name="connsiteY284" fmla="*/ 214355 h 1473560"/>
                  <a:gd name="connsiteX285" fmla="*/ 1025843 w 3574732"/>
                  <a:gd name="connsiteY285" fmla="*/ 216260 h 1473560"/>
                  <a:gd name="connsiteX286" fmla="*/ 1021080 w 3574732"/>
                  <a:gd name="connsiteY286" fmla="*/ 219118 h 1473560"/>
                  <a:gd name="connsiteX287" fmla="*/ 1010603 w 3574732"/>
                  <a:gd name="connsiteY287" fmla="*/ 224833 h 1473560"/>
                  <a:gd name="connsiteX288" fmla="*/ 1002983 w 3574732"/>
                  <a:gd name="connsiteY288" fmla="*/ 225785 h 1473560"/>
                  <a:gd name="connsiteX289" fmla="*/ 997268 w 3574732"/>
                  <a:gd name="connsiteY289" fmla="*/ 227690 h 1473560"/>
                  <a:gd name="connsiteX290" fmla="*/ 995363 w 3574732"/>
                  <a:gd name="connsiteY290" fmla="*/ 233405 h 1473560"/>
                  <a:gd name="connsiteX291" fmla="*/ 990600 w 3574732"/>
                  <a:gd name="connsiteY291" fmla="*/ 240073 h 1473560"/>
                  <a:gd name="connsiteX292" fmla="*/ 980123 w 3574732"/>
                  <a:gd name="connsiteY292" fmla="*/ 246740 h 1473560"/>
                  <a:gd name="connsiteX293" fmla="*/ 969645 w 3574732"/>
                  <a:gd name="connsiteY293" fmla="*/ 245788 h 1473560"/>
                  <a:gd name="connsiteX294" fmla="*/ 958215 w 3574732"/>
                  <a:gd name="connsiteY294" fmla="*/ 241978 h 1473560"/>
                  <a:gd name="connsiteX295" fmla="*/ 950595 w 3574732"/>
                  <a:gd name="connsiteY295" fmla="*/ 239120 h 1473560"/>
                  <a:gd name="connsiteX296" fmla="*/ 940118 w 3574732"/>
                  <a:gd name="connsiteY296" fmla="*/ 238168 h 1473560"/>
                  <a:gd name="connsiteX297" fmla="*/ 932498 w 3574732"/>
                  <a:gd name="connsiteY297" fmla="*/ 241978 h 1473560"/>
                  <a:gd name="connsiteX298" fmla="*/ 933450 w 3574732"/>
                  <a:gd name="connsiteY298" fmla="*/ 250550 h 1473560"/>
                  <a:gd name="connsiteX299" fmla="*/ 949643 w 3574732"/>
                  <a:gd name="connsiteY299" fmla="*/ 258170 h 1473560"/>
                  <a:gd name="connsiteX300" fmla="*/ 925830 w 3574732"/>
                  <a:gd name="connsiteY300" fmla="*/ 257218 h 1473560"/>
                  <a:gd name="connsiteX301" fmla="*/ 908685 w 3574732"/>
                  <a:gd name="connsiteY301" fmla="*/ 248645 h 1473560"/>
                  <a:gd name="connsiteX302" fmla="*/ 908685 w 3574732"/>
                  <a:gd name="connsiteY302" fmla="*/ 245788 h 1473560"/>
                  <a:gd name="connsiteX303" fmla="*/ 907733 w 3574732"/>
                  <a:gd name="connsiteY303" fmla="*/ 238168 h 1473560"/>
                  <a:gd name="connsiteX304" fmla="*/ 907733 w 3574732"/>
                  <a:gd name="connsiteY304" fmla="*/ 231500 h 1473560"/>
                  <a:gd name="connsiteX305" fmla="*/ 907733 w 3574732"/>
                  <a:gd name="connsiteY305" fmla="*/ 225785 h 1473560"/>
                  <a:gd name="connsiteX306" fmla="*/ 887730 w 3574732"/>
                  <a:gd name="connsiteY306" fmla="*/ 215308 h 1473560"/>
                  <a:gd name="connsiteX307" fmla="*/ 892493 w 3574732"/>
                  <a:gd name="connsiteY307" fmla="*/ 215308 h 1473560"/>
                  <a:gd name="connsiteX308" fmla="*/ 895350 w 3574732"/>
                  <a:gd name="connsiteY308" fmla="*/ 215308 h 1473560"/>
                  <a:gd name="connsiteX309" fmla="*/ 902970 w 3574732"/>
                  <a:gd name="connsiteY309" fmla="*/ 216260 h 1473560"/>
                  <a:gd name="connsiteX310" fmla="*/ 923925 w 3574732"/>
                  <a:gd name="connsiteY310" fmla="*/ 218165 h 1473560"/>
                  <a:gd name="connsiteX311" fmla="*/ 942975 w 3574732"/>
                  <a:gd name="connsiteY311" fmla="*/ 215308 h 1473560"/>
                  <a:gd name="connsiteX312" fmla="*/ 951548 w 3574732"/>
                  <a:gd name="connsiteY312" fmla="*/ 215308 h 1473560"/>
                  <a:gd name="connsiteX313" fmla="*/ 962025 w 3574732"/>
                  <a:gd name="connsiteY313" fmla="*/ 217213 h 1473560"/>
                  <a:gd name="connsiteX314" fmla="*/ 983933 w 3574732"/>
                  <a:gd name="connsiteY314" fmla="*/ 219118 h 1473560"/>
                  <a:gd name="connsiteX315" fmla="*/ 1002030 w 3574732"/>
                  <a:gd name="connsiteY315" fmla="*/ 213403 h 1473560"/>
                  <a:gd name="connsiteX316" fmla="*/ 1007745 w 3574732"/>
                  <a:gd name="connsiteY316" fmla="*/ 201973 h 1473560"/>
                  <a:gd name="connsiteX317" fmla="*/ 1001078 w 3574732"/>
                  <a:gd name="connsiteY317" fmla="*/ 189590 h 1473560"/>
                  <a:gd name="connsiteX318" fmla="*/ 984885 w 3574732"/>
                  <a:gd name="connsiteY318" fmla="*/ 185780 h 1473560"/>
                  <a:gd name="connsiteX319" fmla="*/ 968693 w 3574732"/>
                  <a:gd name="connsiteY319" fmla="*/ 179113 h 1473560"/>
                  <a:gd name="connsiteX320" fmla="*/ 952500 w 3574732"/>
                  <a:gd name="connsiteY320" fmla="*/ 173398 h 1473560"/>
                  <a:gd name="connsiteX321" fmla="*/ 942023 w 3574732"/>
                  <a:gd name="connsiteY321" fmla="*/ 169588 h 1473560"/>
                  <a:gd name="connsiteX322" fmla="*/ 927735 w 3574732"/>
                  <a:gd name="connsiteY322" fmla="*/ 166730 h 1473560"/>
                  <a:gd name="connsiteX323" fmla="*/ 916305 w 3574732"/>
                  <a:gd name="connsiteY323" fmla="*/ 163873 h 1473560"/>
                  <a:gd name="connsiteX324" fmla="*/ 896303 w 3574732"/>
                  <a:gd name="connsiteY324" fmla="*/ 159110 h 1473560"/>
                  <a:gd name="connsiteX325" fmla="*/ 887730 w 3574732"/>
                  <a:gd name="connsiteY325" fmla="*/ 155300 h 1473560"/>
                  <a:gd name="connsiteX326" fmla="*/ 868680 w 3574732"/>
                  <a:gd name="connsiteY326" fmla="*/ 151490 h 1473560"/>
                  <a:gd name="connsiteX327" fmla="*/ 851535 w 3574732"/>
                  <a:gd name="connsiteY327" fmla="*/ 146728 h 1473560"/>
                  <a:gd name="connsiteX328" fmla="*/ 834390 w 3574732"/>
                  <a:gd name="connsiteY328" fmla="*/ 139108 h 1473560"/>
                  <a:gd name="connsiteX329" fmla="*/ 818198 w 3574732"/>
                  <a:gd name="connsiteY329" fmla="*/ 137203 h 1473560"/>
                  <a:gd name="connsiteX330" fmla="*/ 787718 w 3574732"/>
                  <a:gd name="connsiteY330" fmla="*/ 136250 h 1473560"/>
                  <a:gd name="connsiteX331" fmla="*/ 760095 w 3574732"/>
                  <a:gd name="connsiteY331" fmla="*/ 133393 h 1473560"/>
                  <a:gd name="connsiteX332" fmla="*/ 754380 w 3574732"/>
                  <a:gd name="connsiteY332" fmla="*/ 133393 h 1473560"/>
                  <a:gd name="connsiteX333" fmla="*/ 736283 w 3574732"/>
                  <a:gd name="connsiteY333" fmla="*/ 134345 h 1473560"/>
                  <a:gd name="connsiteX334" fmla="*/ 715328 w 3574732"/>
                  <a:gd name="connsiteY334" fmla="*/ 135298 h 1473560"/>
                  <a:gd name="connsiteX335" fmla="*/ 701993 w 3574732"/>
                  <a:gd name="connsiteY335" fmla="*/ 140060 h 1473560"/>
                  <a:gd name="connsiteX336" fmla="*/ 690563 w 3574732"/>
                  <a:gd name="connsiteY336" fmla="*/ 140060 h 1473560"/>
                  <a:gd name="connsiteX337" fmla="*/ 684848 w 3574732"/>
                  <a:gd name="connsiteY337" fmla="*/ 140060 h 1473560"/>
                  <a:gd name="connsiteX338" fmla="*/ 670560 w 3574732"/>
                  <a:gd name="connsiteY338" fmla="*/ 141965 h 1473560"/>
                  <a:gd name="connsiteX339" fmla="*/ 662940 w 3574732"/>
                  <a:gd name="connsiteY339" fmla="*/ 142918 h 1473560"/>
                  <a:gd name="connsiteX340" fmla="*/ 652463 w 3574732"/>
                  <a:gd name="connsiteY340" fmla="*/ 147680 h 1473560"/>
                  <a:gd name="connsiteX341" fmla="*/ 637223 w 3574732"/>
                  <a:gd name="connsiteY341" fmla="*/ 153395 h 1473560"/>
                  <a:gd name="connsiteX342" fmla="*/ 619125 w 3574732"/>
                  <a:gd name="connsiteY342" fmla="*/ 158158 h 1473560"/>
                  <a:gd name="connsiteX343" fmla="*/ 605790 w 3574732"/>
                  <a:gd name="connsiteY343" fmla="*/ 161968 h 1473560"/>
                  <a:gd name="connsiteX344" fmla="*/ 598170 w 3574732"/>
                  <a:gd name="connsiteY344" fmla="*/ 165778 h 1473560"/>
                  <a:gd name="connsiteX345" fmla="*/ 587693 w 3574732"/>
                  <a:gd name="connsiteY345" fmla="*/ 170540 h 1473560"/>
                  <a:gd name="connsiteX346" fmla="*/ 579120 w 3574732"/>
                  <a:gd name="connsiteY346" fmla="*/ 180065 h 1473560"/>
                  <a:gd name="connsiteX347" fmla="*/ 576263 w 3574732"/>
                  <a:gd name="connsiteY347" fmla="*/ 183875 h 1473560"/>
                  <a:gd name="connsiteX348" fmla="*/ 560070 w 3574732"/>
                  <a:gd name="connsiteY348" fmla="*/ 195305 h 1473560"/>
                  <a:gd name="connsiteX349" fmla="*/ 551498 w 3574732"/>
                  <a:gd name="connsiteY349" fmla="*/ 200068 h 1473560"/>
                  <a:gd name="connsiteX350" fmla="*/ 535305 w 3574732"/>
                  <a:gd name="connsiteY350" fmla="*/ 208640 h 1473560"/>
                  <a:gd name="connsiteX351" fmla="*/ 524828 w 3574732"/>
                  <a:gd name="connsiteY351" fmla="*/ 220070 h 1473560"/>
                  <a:gd name="connsiteX352" fmla="*/ 520065 w 3574732"/>
                  <a:gd name="connsiteY352" fmla="*/ 227690 h 1473560"/>
                  <a:gd name="connsiteX353" fmla="*/ 512445 w 3574732"/>
                  <a:gd name="connsiteY353" fmla="*/ 237215 h 1473560"/>
                  <a:gd name="connsiteX354" fmla="*/ 494348 w 3574732"/>
                  <a:gd name="connsiteY354" fmla="*/ 245788 h 1473560"/>
                  <a:gd name="connsiteX355" fmla="*/ 478155 w 3574732"/>
                  <a:gd name="connsiteY355" fmla="*/ 257218 h 1473560"/>
                  <a:gd name="connsiteX356" fmla="*/ 467678 w 3574732"/>
                  <a:gd name="connsiteY356" fmla="*/ 259123 h 1473560"/>
                  <a:gd name="connsiteX357" fmla="*/ 457200 w 3574732"/>
                  <a:gd name="connsiteY357" fmla="*/ 265790 h 1473560"/>
                  <a:gd name="connsiteX358" fmla="*/ 439103 w 3574732"/>
                  <a:gd name="connsiteY358" fmla="*/ 268648 h 1473560"/>
                  <a:gd name="connsiteX359" fmla="*/ 428625 w 3574732"/>
                  <a:gd name="connsiteY359" fmla="*/ 274363 h 1473560"/>
                  <a:gd name="connsiteX360" fmla="*/ 422910 w 3574732"/>
                  <a:gd name="connsiteY360" fmla="*/ 278173 h 1473560"/>
                  <a:gd name="connsiteX361" fmla="*/ 415290 w 3574732"/>
                  <a:gd name="connsiteY361" fmla="*/ 283888 h 1473560"/>
                  <a:gd name="connsiteX362" fmla="*/ 409575 w 3574732"/>
                  <a:gd name="connsiteY362" fmla="*/ 286745 h 1473560"/>
                  <a:gd name="connsiteX363" fmla="*/ 401003 w 3574732"/>
                  <a:gd name="connsiteY363" fmla="*/ 295318 h 1473560"/>
                  <a:gd name="connsiteX364" fmla="*/ 395288 w 3574732"/>
                  <a:gd name="connsiteY364" fmla="*/ 304843 h 1473560"/>
                  <a:gd name="connsiteX365" fmla="*/ 398145 w 3574732"/>
                  <a:gd name="connsiteY365" fmla="*/ 317225 h 1473560"/>
                  <a:gd name="connsiteX366" fmla="*/ 401003 w 3574732"/>
                  <a:gd name="connsiteY366" fmla="*/ 329608 h 1473560"/>
                  <a:gd name="connsiteX367" fmla="*/ 401003 w 3574732"/>
                  <a:gd name="connsiteY367" fmla="*/ 334370 h 1473560"/>
                  <a:gd name="connsiteX368" fmla="*/ 405765 w 3574732"/>
                  <a:gd name="connsiteY368" fmla="*/ 338180 h 1473560"/>
                  <a:gd name="connsiteX369" fmla="*/ 411480 w 3574732"/>
                  <a:gd name="connsiteY369" fmla="*/ 342943 h 1473560"/>
                  <a:gd name="connsiteX370" fmla="*/ 414338 w 3574732"/>
                  <a:gd name="connsiteY370" fmla="*/ 351515 h 1473560"/>
                  <a:gd name="connsiteX371" fmla="*/ 420053 w 3574732"/>
                  <a:gd name="connsiteY371" fmla="*/ 361993 h 1473560"/>
                  <a:gd name="connsiteX372" fmla="*/ 427673 w 3574732"/>
                  <a:gd name="connsiteY372" fmla="*/ 361993 h 1473560"/>
                  <a:gd name="connsiteX373" fmla="*/ 443865 w 3574732"/>
                  <a:gd name="connsiteY373" fmla="*/ 360088 h 1473560"/>
                  <a:gd name="connsiteX374" fmla="*/ 452438 w 3574732"/>
                  <a:gd name="connsiteY374" fmla="*/ 355325 h 1473560"/>
                  <a:gd name="connsiteX375" fmla="*/ 460058 w 3574732"/>
                  <a:gd name="connsiteY375" fmla="*/ 352468 h 1473560"/>
                  <a:gd name="connsiteX376" fmla="*/ 462915 w 3574732"/>
                  <a:gd name="connsiteY376" fmla="*/ 348658 h 1473560"/>
                  <a:gd name="connsiteX377" fmla="*/ 467678 w 3574732"/>
                  <a:gd name="connsiteY377" fmla="*/ 343895 h 1473560"/>
                  <a:gd name="connsiteX378" fmla="*/ 478155 w 3574732"/>
                  <a:gd name="connsiteY378" fmla="*/ 341990 h 1473560"/>
                  <a:gd name="connsiteX379" fmla="*/ 483870 w 3574732"/>
                  <a:gd name="connsiteY379" fmla="*/ 341038 h 1473560"/>
                  <a:gd name="connsiteX380" fmla="*/ 492443 w 3574732"/>
                  <a:gd name="connsiteY380" fmla="*/ 341990 h 1473560"/>
                  <a:gd name="connsiteX381" fmla="*/ 493395 w 3574732"/>
                  <a:gd name="connsiteY381" fmla="*/ 351515 h 1473560"/>
                  <a:gd name="connsiteX382" fmla="*/ 499110 w 3574732"/>
                  <a:gd name="connsiteY382" fmla="*/ 358183 h 1473560"/>
                  <a:gd name="connsiteX383" fmla="*/ 504825 w 3574732"/>
                  <a:gd name="connsiteY383" fmla="*/ 363898 h 1473560"/>
                  <a:gd name="connsiteX384" fmla="*/ 512445 w 3574732"/>
                  <a:gd name="connsiteY384" fmla="*/ 367708 h 1473560"/>
                  <a:gd name="connsiteX385" fmla="*/ 522923 w 3574732"/>
                  <a:gd name="connsiteY385" fmla="*/ 377233 h 1473560"/>
                  <a:gd name="connsiteX386" fmla="*/ 521018 w 3574732"/>
                  <a:gd name="connsiteY386" fmla="*/ 384853 h 1473560"/>
                  <a:gd name="connsiteX387" fmla="*/ 523875 w 3574732"/>
                  <a:gd name="connsiteY387" fmla="*/ 395330 h 1473560"/>
                  <a:gd name="connsiteX388" fmla="*/ 538163 w 3574732"/>
                  <a:gd name="connsiteY388" fmla="*/ 399140 h 1473560"/>
                  <a:gd name="connsiteX389" fmla="*/ 549593 w 3574732"/>
                  <a:gd name="connsiteY389" fmla="*/ 398188 h 1473560"/>
                  <a:gd name="connsiteX390" fmla="*/ 558165 w 3574732"/>
                  <a:gd name="connsiteY390" fmla="*/ 393425 h 1473560"/>
                  <a:gd name="connsiteX391" fmla="*/ 569595 w 3574732"/>
                  <a:gd name="connsiteY391" fmla="*/ 389615 h 1473560"/>
                  <a:gd name="connsiteX392" fmla="*/ 580073 w 3574732"/>
                  <a:gd name="connsiteY392" fmla="*/ 382948 h 1473560"/>
                  <a:gd name="connsiteX393" fmla="*/ 585788 w 3574732"/>
                  <a:gd name="connsiteY393" fmla="*/ 379138 h 1473560"/>
                  <a:gd name="connsiteX394" fmla="*/ 585788 w 3574732"/>
                  <a:gd name="connsiteY394" fmla="*/ 373423 h 1473560"/>
                  <a:gd name="connsiteX395" fmla="*/ 596265 w 3574732"/>
                  <a:gd name="connsiteY395" fmla="*/ 361993 h 1473560"/>
                  <a:gd name="connsiteX396" fmla="*/ 601028 w 3574732"/>
                  <a:gd name="connsiteY396" fmla="*/ 355325 h 1473560"/>
                  <a:gd name="connsiteX397" fmla="*/ 606743 w 3574732"/>
                  <a:gd name="connsiteY397" fmla="*/ 348658 h 1473560"/>
                  <a:gd name="connsiteX398" fmla="*/ 614363 w 3574732"/>
                  <a:gd name="connsiteY398" fmla="*/ 341990 h 1473560"/>
                  <a:gd name="connsiteX399" fmla="*/ 620078 w 3574732"/>
                  <a:gd name="connsiteY399" fmla="*/ 337228 h 1473560"/>
                  <a:gd name="connsiteX400" fmla="*/ 621983 w 3574732"/>
                  <a:gd name="connsiteY400" fmla="*/ 323893 h 1473560"/>
                  <a:gd name="connsiteX401" fmla="*/ 621983 w 3574732"/>
                  <a:gd name="connsiteY401" fmla="*/ 319130 h 1473560"/>
                  <a:gd name="connsiteX402" fmla="*/ 616268 w 3574732"/>
                  <a:gd name="connsiteY402" fmla="*/ 318178 h 1473560"/>
                  <a:gd name="connsiteX403" fmla="*/ 604838 w 3574732"/>
                  <a:gd name="connsiteY403" fmla="*/ 317225 h 1473560"/>
                  <a:gd name="connsiteX404" fmla="*/ 599123 w 3574732"/>
                  <a:gd name="connsiteY404" fmla="*/ 314368 h 1473560"/>
                  <a:gd name="connsiteX405" fmla="*/ 599123 w 3574732"/>
                  <a:gd name="connsiteY405" fmla="*/ 307700 h 1473560"/>
                  <a:gd name="connsiteX406" fmla="*/ 601028 w 3574732"/>
                  <a:gd name="connsiteY406" fmla="*/ 301033 h 1473560"/>
                  <a:gd name="connsiteX407" fmla="*/ 614363 w 3574732"/>
                  <a:gd name="connsiteY407" fmla="*/ 291508 h 1473560"/>
                  <a:gd name="connsiteX408" fmla="*/ 622935 w 3574732"/>
                  <a:gd name="connsiteY408" fmla="*/ 287698 h 1473560"/>
                  <a:gd name="connsiteX409" fmla="*/ 636270 w 3574732"/>
                  <a:gd name="connsiteY409" fmla="*/ 277220 h 1473560"/>
                  <a:gd name="connsiteX410" fmla="*/ 641033 w 3574732"/>
                  <a:gd name="connsiteY410" fmla="*/ 273410 h 1473560"/>
                  <a:gd name="connsiteX411" fmla="*/ 649605 w 3574732"/>
                  <a:gd name="connsiteY411" fmla="*/ 265790 h 1473560"/>
                  <a:gd name="connsiteX412" fmla="*/ 658178 w 3574732"/>
                  <a:gd name="connsiteY412" fmla="*/ 260075 h 1473560"/>
                  <a:gd name="connsiteX413" fmla="*/ 661035 w 3574732"/>
                  <a:gd name="connsiteY413" fmla="*/ 250550 h 1473560"/>
                  <a:gd name="connsiteX414" fmla="*/ 662940 w 3574732"/>
                  <a:gd name="connsiteY414" fmla="*/ 245788 h 1473560"/>
                  <a:gd name="connsiteX415" fmla="*/ 668655 w 3574732"/>
                  <a:gd name="connsiteY415" fmla="*/ 240073 h 1473560"/>
                  <a:gd name="connsiteX416" fmla="*/ 680085 w 3574732"/>
                  <a:gd name="connsiteY416" fmla="*/ 233405 h 1473560"/>
                  <a:gd name="connsiteX417" fmla="*/ 688658 w 3574732"/>
                  <a:gd name="connsiteY417" fmla="*/ 231500 h 1473560"/>
                  <a:gd name="connsiteX418" fmla="*/ 696278 w 3574732"/>
                  <a:gd name="connsiteY418" fmla="*/ 228643 h 1473560"/>
                  <a:gd name="connsiteX419" fmla="*/ 707708 w 3574732"/>
                  <a:gd name="connsiteY419" fmla="*/ 227690 h 1473560"/>
                  <a:gd name="connsiteX420" fmla="*/ 719138 w 3574732"/>
                  <a:gd name="connsiteY420" fmla="*/ 228643 h 1473560"/>
                  <a:gd name="connsiteX421" fmla="*/ 733425 w 3574732"/>
                  <a:gd name="connsiteY421" fmla="*/ 231500 h 1473560"/>
                  <a:gd name="connsiteX422" fmla="*/ 733425 w 3574732"/>
                  <a:gd name="connsiteY422" fmla="*/ 237215 h 1473560"/>
                  <a:gd name="connsiteX423" fmla="*/ 730568 w 3574732"/>
                  <a:gd name="connsiteY423" fmla="*/ 244835 h 1473560"/>
                  <a:gd name="connsiteX424" fmla="*/ 727710 w 3574732"/>
                  <a:gd name="connsiteY424" fmla="*/ 251503 h 1473560"/>
                  <a:gd name="connsiteX425" fmla="*/ 724853 w 3574732"/>
                  <a:gd name="connsiteY425" fmla="*/ 256265 h 1473560"/>
                  <a:gd name="connsiteX426" fmla="*/ 720090 w 3574732"/>
                  <a:gd name="connsiteY426" fmla="*/ 261028 h 1473560"/>
                  <a:gd name="connsiteX427" fmla="*/ 701993 w 3574732"/>
                  <a:gd name="connsiteY427" fmla="*/ 266743 h 1473560"/>
                  <a:gd name="connsiteX428" fmla="*/ 685800 w 3574732"/>
                  <a:gd name="connsiteY428" fmla="*/ 271505 h 1473560"/>
                  <a:gd name="connsiteX429" fmla="*/ 678180 w 3574732"/>
                  <a:gd name="connsiteY429" fmla="*/ 275315 h 1473560"/>
                  <a:gd name="connsiteX430" fmla="*/ 678180 w 3574732"/>
                  <a:gd name="connsiteY430" fmla="*/ 281030 h 1473560"/>
                  <a:gd name="connsiteX431" fmla="*/ 676275 w 3574732"/>
                  <a:gd name="connsiteY431" fmla="*/ 291508 h 1473560"/>
                  <a:gd name="connsiteX432" fmla="*/ 677228 w 3574732"/>
                  <a:gd name="connsiteY432" fmla="*/ 301033 h 1473560"/>
                  <a:gd name="connsiteX433" fmla="*/ 672465 w 3574732"/>
                  <a:gd name="connsiteY433" fmla="*/ 311510 h 1473560"/>
                  <a:gd name="connsiteX434" fmla="*/ 678180 w 3574732"/>
                  <a:gd name="connsiteY434" fmla="*/ 321988 h 1473560"/>
                  <a:gd name="connsiteX435" fmla="*/ 683895 w 3574732"/>
                  <a:gd name="connsiteY435" fmla="*/ 324845 h 1473560"/>
                  <a:gd name="connsiteX436" fmla="*/ 695325 w 3574732"/>
                  <a:gd name="connsiteY436" fmla="*/ 324845 h 1473560"/>
                  <a:gd name="connsiteX437" fmla="*/ 705803 w 3574732"/>
                  <a:gd name="connsiteY437" fmla="*/ 328655 h 1473560"/>
                  <a:gd name="connsiteX438" fmla="*/ 720090 w 3574732"/>
                  <a:gd name="connsiteY438" fmla="*/ 329608 h 1473560"/>
                  <a:gd name="connsiteX439" fmla="*/ 733425 w 3574732"/>
                  <a:gd name="connsiteY439" fmla="*/ 328655 h 1473560"/>
                  <a:gd name="connsiteX440" fmla="*/ 743903 w 3574732"/>
                  <a:gd name="connsiteY440" fmla="*/ 326750 h 1473560"/>
                  <a:gd name="connsiteX441" fmla="*/ 752475 w 3574732"/>
                  <a:gd name="connsiteY441" fmla="*/ 323893 h 1473560"/>
                  <a:gd name="connsiteX442" fmla="*/ 760095 w 3574732"/>
                  <a:gd name="connsiteY442" fmla="*/ 323893 h 1473560"/>
                  <a:gd name="connsiteX443" fmla="*/ 779145 w 3574732"/>
                  <a:gd name="connsiteY443" fmla="*/ 323893 h 1473560"/>
                  <a:gd name="connsiteX444" fmla="*/ 793433 w 3574732"/>
                  <a:gd name="connsiteY444" fmla="*/ 324845 h 1473560"/>
                  <a:gd name="connsiteX445" fmla="*/ 796290 w 3574732"/>
                  <a:gd name="connsiteY445" fmla="*/ 328655 h 1473560"/>
                  <a:gd name="connsiteX446" fmla="*/ 790575 w 3574732"/>
                  <a:gd name="connsiteY446" fmla="*/ 337228 h 1473560"/>
                  <a:gd name="connsiteX447" fmla="*/ 782003 w 3574732"/>
                  <a:gd name="connsiteY447" fmla="*/ 337228 h 1473560"/>
                  <a:gd name="connsiteX448" fmla="*/ 776288 w 3574732"/>
                  <a:gd name="connsiteY448" fmla="*/ 339133 h 1473560"/>
                  <a:gd name="connsiteX449" fmla="*/ 758190 w 3574732"/>
                  <a:gd name="connsiteY449" fmla="*/ 340085 h 1473560"/>
                  <a:gd name="connsiteX450" fmla="*/ 740093 w 3574732"/>
                  <a:gd name="connsiteY450" fmla="*/ 341990 h 1473560"/>
                  <a:gd name="connsiteX451" fmla="*/ 725805 w 3574732"/>
                  <a:gd name="connsiteY451" fmla="*/ 343895 h 1473560"/>
                  <a:gd name="connsiteX452" fmla="*/ 721043 w 3574732"/>
                  <a:gd name="connsiteY452" fmla="*/ 347705 h 1473560"/>
                  <a:gd name="connsiteX453" fmla="*/ 719138 w 3574732"/>
                  <a:gd name="connsiteY453" fmla="*/ 353420 h 1473560"/>
                  <a:gd name="connsiteX454" fmla="*/ 713423 w 3574732"/>
                  <a:gd name="connsiteY454" fmla="*/ 360088 h 1473560"/>
                  <a:gd name="connsiteX455" fmla="*/ 705803 w 3574732"/>
                  <a:gd name="connsiteY455" fmla="*/ 368660 h 1473560"/>
                  <a:gd name="connsiteX456" fmla="*/ 695325 w 3574732"/>
                  <a:gd name="connsiteY456" fmla="*/ 370565 h 1473560"/>
                  <a:gd name="connsiteX457" fmla="*/ 687705 w 3574732"/>
                  <a:gd name="connsiteY457" fmla="*/ 370565 h 1473560"/>
                  <a:gd name="connsiteX458" fmla="*/ 674370 w 3574732"/>
                  <a:gd name="connsiteY458" fmla="*/ 372470 h 1473560"/>
                  <a:gd name="connsiteX459" fmla="*/ 669608 w 3574732"/>
                  <a:gd name="connsiteY459" fmla="*/ 378185 h 1473560"/>
                  <a:gd name="connsiteX460" fmla="*/ 664845 w 3574732"/>
                  <a:gd name="connsiteY460" fmla="*/ 382948 h 1473560"/>
                  <a:gd name="connsiteX461" fmla="*/ 662940 w 3574732"/>
                  <a:gd name="connsiteY461" fmla="*/ 388663 h 1473560"/>
                  <a:gd name="connsiteX462" fmla="*/ 657225 w 3574732"/>
                  <a:gd name="connsiteY462" fmla="*/ 398188 h 1473560"/>
                  <a:gd name="connsiteX463" fmla="*/ 649605 w 3574732"/>
                  <a:gd name="connsiteY463" fmla="*/ 404855 h 1473560"/>
                  <a:gd name="connsiteX464" fmla="*/ 627698 w 3574732"/>
                  <a:gd name="connsiteY464" fmla="*/ 409618 h 1473560"/>
                  <a:gd name="connsiteX465" fmla="*/ 600075 w 3574732"/>
                  <a:gd name="connsiteY465" fmla="*/ 414380 h 1473560"/>
                  <a:gd name="connsiteX466" fmla="*/ 594360 w 3574732"/>
                  <a:gd name="connsiteY466" fmla="*/ 414380 h 1473560"/>
                  <a:gd name="connsiteX467" fmla="*/ 578168 w 3574732"/>
                  <a:gd name="connsiteY467" fmla="*/ 415333 h 1473560"/>
                  <a:gd name="connsiteX468" fmla="*/ 560070 w 3574732"/>
                  <a:gd name="connsiteY468" fmla="*/ 417238 h 1473560"/>
                  <a:gd name="connsiteX469" fmla="*/ 551498 w 3574732"/>
                  <a:gd name="connsiteY469" fmla="*/ 418190 h 1473560"/>
                  <a:gd name="connsiteX470" fmla="*/ 540068 w 3574732"/>
                  <a:gd name="connsiteY470" fmla="*/ 417238 h 1473560"/>
                  <a:gd name="connsiteX471" fmla="*/ 523875 w 3574732"/>
                  <a:gd name="connsiteY471" fmla="*/ 414380 h 1473560"/>
                  <a:gd name="connsiteX472" fmla="*/ 506730 w 3574732"/>
                  <a:gd name="connsiteY472" fmla="*/ 413428 h 1473560"/>
                  <a:gd name="connsiteX473" fmla="*/ 498158 w 3574732"/>
                  <a:gd name="connsiteY473" fmla="*/ 413428 h 1473560"/>
                  <a:gd name="connsiteX474" fmla="*/ 486728 w 3574732"/>
                  <a:gd name="connsiteY474" fmla="*/ 413428 h 1473560"/>
                  <a:gd name="connsiteX475" fmla="*/ 481965 w 3574732"/>
                  <a:gd name="connsiteY475" fmla="*/ 407713 h 1473560"/>
                  <a:gd name="connsiteX476" fmla="*/ 498158 w 3574732"/>
                  <a:gd name="connsiteY476" fmla="*/ 401045 h 1473560"/>
                  <a:gd name="connsiteX477" fmla="*/ 493395 w 3574732"/>
                  <a:gd name="connsiteY477" fmla="*/ 395330 h 1473560"/>
                  <a:gd name="connsiteX478" fmla="*/ 484823 w 3574732"/>
                  <a:gd name="connsiteY478" fmla="*/ 391520 h 1473560"/>
                  <a:gd name="connsiteX479" fmla="*/ 484823 w 3574732"/>
                  <a:gd name="connsiteY479" fmla="*/ 386758 h 1473560"/>
                  <a:gd name="connsiteX480" fmla="*/ 477203 w 3574732"/>
                  <a:gd name="connsiteY480" fmla="*/ 376280 h 1473560"/>
                  <a:gd name="connsiteX481" fmla="*/ 474345 w 3574732"/>
                  <a:gd name="connsiteY481" fmla="*/ 369613 h 1473560"/>
                  <a:gd name="connsiteX482" fmla="*/ 466725 w 3574732"/>
                  <a:gd name="connsiteY482" fmla="*/ 368660 h 1473560"/>
                  <a:gd name="connsiteX483" fmla="*/ 461010 w 3574732"/>
                  <a:gd name="connsiteY483" fmla="*/ 374375 h 1473560"/>
                  <a:gd name="connsiteX484" fmla="*/ 450533 w 3574732"/>
                  <a:gd name="connsiteY484" fmla="*/ 377233 h 1473560"/>
                  <a:gd name="connsiteX485" fmla="*/ 445770 w 3574732"/>
                  <a:gd name="connsiteY485" fmla="*/ 381995 h 1473560"/>
                  <a:gd name="connsiteX486" fmla="*/ 443865 w 3574732"/>
                  <a:gd name="connsiteY486" fmla="*/ 390568 h 1473560"/>
                  <a:gd name="connsiteX487" fmla="*/ 443865 w 3574732"/>
                  <a:gd name="connsiteY487" fmla="*/ 399140 h 1473560"/>
                  <a:gd name="connsiteX488" fmla="*/ 446723 w 3574732"/>
                  <a:gd name="connsiteY488" fmla="*/ 408665 h 1473560"/>
                  <a:gd name="connsiteX489" fmla="*/ 449580 w 3574732"/>
                  <a:gd name="connsiteY489" fmla="*/ 403903 h 1473560"/>
                  <a:gd name="connsiteX490" fmla="*/ 446723 w 3574732"/>
                  <a:gd name="connsiteY490" fmla="*/ 414380 h 1473560"/>
                  <a:gd name="connsiteX491" fmla="*/ 435293 w 3574732"/>
                  <a:gd name="connsiteY491" fmla="*/ 416285 h 1473560"/>
                  <a:gd name="connsiteX492" fmla="*/ 430530 w 3574732"/>
                  <a:gd name="connsiteY492" fmla="*/ 416285 h 1473560"/>
                  <a:gd name="connsiteX493" fmla="*/ 420053 w 3574732"/>
                  <a:gd name="connsiteY493" fmla="*/ 417238 h 1473560"/>
                  <a:gd name="connsiteX494" fmla="*/ 411480 w 3574732"/>
                  <a:gd name="connsiteY494" fmla="*/ 417238 h 1473560"/>
                  <a:gd name="connsiteX495" fmla="*/ 389573 w 3574732"/>
                  <a:gd name="connsiteY495" fmla="*/ 421048 h 1473560"/>
                  <a:gd name="connsiteX496" fmla="*/ 383858 w 3574732"/>
                  <a:gd name="connsiteY496" fmla="*/ 427715 h 1473560"/>
                  <a:gd name="connsiteX497" fmla="*/ 379095 w 3574732"/>
                  <a:gd name="connsiteY497" fmla="*/ 433430 h 1473560"/>
                  <a:gd name="connsiteX498" fmla="*/ 376238 w 3574732"/>
                  <a:gd name="connsiteY498" fmla="*/ 440098 h 1473560"/>
                  <a:gd name="connsiteX499" fmla="*/ 362903 w 3574732"/>
                  <a:gd name="connsiteY499" fmla="*/ 447718 h 1473560"/>
                  <a:gd name="connsiteX500" fmla="*/ 348615 w 3574732"/>
                  <a:gd name="connsiteY500" fmla="*/ 451528 h 1473560"/>
                  <a:gd name="connsiteX501" fmla="*/ 340043 w 3574732"/>
                  <a:gd name="connsiteY501" fmla="*/ 457243 h 1473560"/>
                  <a:gd name="connsiteX502" fmla="*/ 334328 w 3574732"/>
                  <a:gd name="connsiteY502" fmla="*/ 464863 h 1473560"/>
                  <a:gd name="connsiteX503" fmla="*/ 328613 w 3574732"/>
                  <a:gd name="connsiteY503" fmla="*/ 468673 h 1473560"/>
                  <a:gd name="connsiteX504" fmla="*/ 312420 w 3574732"/>
                  <a:gd name="connsiteY504" fmla="*/ 472483 h 1473560"/>
                  <a:gd name="connsiteX505" fmla="*/ 299085 w 3574732"/>
                  <a:gd name="connsiteY505" fmla="*/ 477245 h 1473560"/>
                  <a:gd name="connsiteX506" fmla="*/ 293370 w 3574732"/>
                  <a:gd name="connsiteY506" fmla="*/ 480103 h 1473560"/>
                  <a:gd name="connsiteX507" fmla="*/ 282893 w 3574732"/>
                  <a:gd name="connsiteY507" fmla="*/ 481055 h 1473560"/>
                  <a:gd name="connsiteX508" fmla="*/ 275273 w 3574732"/>
                  <a:gd name="connsiteY508" fmla="*/ 484865 h 1473560"/>
                  <a:gd name="connsiteX509" fmla="*/ 260033 w 3574732"/>
                  <a:gd name="connsiteY509" fmla="*/ 489628 h 1473560"/>
                  <a:gd name="connsiteX510" fmla="*/ 248603 w 3574732"/>
                  <a:gd name="connsiteY510" fmla="*/ 489628 h 1473560"/>
                  <a:gd name="connsiteX511" fmla="*/ 224790 w 3574732"/>
                  <a:gd name="connsiteY511" fmla="*/ 490580 h 1473560"/>
                  <a:gd name="connsiteX512" fmla="*/ 214313 w 3574732"/>
                  <a:gd name="connsiteY512" fmla="*/ 496295 h 1473560"/>
                  <a:gd name="connsiteX513" fmla="*/ 217170 w 3574732"/>
                  <a:gd name="connsiteY513" fmla="*/ 500105 h 1473560"/>
                  <a:gd name="connsiteX514" fmla="*/ 222885 w 3574732"/>
                  <a:gd name="connsiteY514" fmla="*/ 502963 h 1473560"/>
                  <a:gd name="connsiteX515" fmla="*/ 228600 w 3574732"/>
                  <a:gd name="connsiteY515" fmla="*/ 505820 h 1473560"/>
                  <a:gd name="connsiteX516" fmla="*/ 234315 w 3574732"/>
                  <a:gd name="connsiteY516" fmla="*/ 506773 h 1473560"/>
                  <a:gd name="connsiteX517" fmla="*/ 245745 w 3574732"/>
                  <a:gd name="connsiteY517" fmla="*/ 508678 h 1473560"/>
                  <a:gd name="connsiteX518" fmla="*/ 254318 w 3574732"/>
                  <a:gd name="connsiteY518" fmla="*/ 509630 h 1473560"/>
                  <a:gd name="connsiteX519" fmla="*/ 273368 w 3574732"/>
                  <a:gd name="connsiteY519" fmla="*/ 520108 h 1473560"/>
                  <a:gd name="connsiteX520" fmla="*/ 276225 w 3574732"/>
                  <a:gd name="connsiteY520" fmla="*/ 524870 h 1473560"/>
                  <a:gd name="connsiteX521" fmla="*/ 276225 w 3574732"/>
                  <a:gd name="connsiteY521" fmla="*/ 532490 h 1473560"/>
                  <a:gd name="connsiteX522" fmla="*/ 276225 w 3574732"/>
                  <a:gd name="connsiteY522" fmla="*/ 538205 h 1473560"/>
                  <a:gd name="connsiteX523" fmla="*/ 273368 w 3574732"/>
                  <a:gd name="connsiteY523" fmla="*/ 550588 h 1473560"/>
                  <a:gd name="connsiteX524" fmla="*/ 268605 w 3574732"/>
                  <a:gd name="connsiteY524" fmla="*/ 561065 h 1473560"/>
                  <a:gd name="connsiteX525" fmla="*/ 262890 w 3574732"/>
                  <a:gd name="connsiteY525" fmla="*/ 562018 h 1473560"/>
                  <a:gd name="connsiteX526" fmla="*/ 257175 w 3574732"/>
                  <a:gd name="connsiteY526" fmla="*/ 562018 h 1473560"/>
                  <a:gd name="connsiteX527" fmla="*/ 246698 w 3574732"/>
                  <a:gd name="connsiteY527" fmla="*/ 564875 h 1473560"/>
                  <a:gd name="connsiteX528" fmla="*/ 236220 w 3574732"/>
                  <a:gd name="connsiteY528" fmla="*/ 564875 h 1473560"/>
                  <a:gd name="connsiteX529" fmla="*/ 225743 w 3574732"/>
                  <a:gd name="connsiteY529" fmla="*/ 564875 h 1473560"/>
                  <a:gd name="connsiteX530" fmla="*/ 206693 w 3574732"/>
                  <a:gd name="connsiteY530" fmla="*/ 564875 h 1473560"/>
                  <a:gd name="connsiteX531" fmla="*/ 192405 w 3574732"/>
                  <a:gd name="connsiteY531" fmla="*/ 563923 h 1473560"/>
                  <a:gd name="connsiteX532" fmla="*/ 186690 w 3574732"/>
                  <a:gd name="connsiteY532" fmla="*/ 561065 h 1473560"/>
                  <a:gd name="connsiteX533" fmla="*/ 178118 w 3574732"/>
                  <a:gd name="connsiteY533" fmla="*/ 560113 h 1473560"/>
                  <a:gd name="connsiteX534" fmla="*/ 170498 w 3574732"/>
                  <a:gd name="connsiteY534" fmla="*/ 560113 h 1473560"/>
                  <a:gd name="connsiteX535" fmla="*/ 161925 w 3574732"/>
                  <a:gd name="connsiteY535" fmla="*/ 562018 h 1473560"/>
                  <a:gd name="connsiteX536" fmla="*/ 153353 w 3574732"/>
                  <a:gd name="connsiteY536" fmla="*/ 564875 h 1473560"/>
                  <a:gd name="connsiteX537" fmla="*/ 151448 w 3574732"/>
                  <a:gd name="connsiteY537" fmla="*/ 570590 h 1473560"/>
                  <a:gd name="connsiteX538" fmla="*/ 149543 w 3574732"/>
                  <a:gd name="connsiteY538" fmla="*/ 581068 h 1473560"/>
                  <a:gd name="connsiteX539" fmla="*/ 144780 w 3574732"/>
                  <a:gd name="connsiteY539" fmla="*/ 586783 h 1473560"/>
                  <a:gd name="connsiteX540" fmla="*/ 141923 w 3574732"/>
                  <a:gd name="connsiteY540" fmla="*/ 592498 h 1473560"/>
                  <a:gd name="connsiteX541" fmla="*/ 144780 w 3574732"/>
                  <a:gd name="connsiteY541" fmla="*/ 602975 h 1473560"/>
                  <a:gd name="connsiteX542" fmla="*/ 145733 w 3574732"/>
                  <a:gd name="connsiteY542" fmla="*/ 611548 h 1473560"/>
                  <a:gd name="connsiteX543" fmla="*/ 143828 w 3574732"/>
                  <a:gd name="connsiteY543" fmla="*/ 624883 h 1473560"/>
                  <a:gd name="connsiteX544" fmla="*/ 144780 w 3574732"/>
                  <a:gd name="connsiteY544" fmla="*/ 631550 h 1473560"/>
                  <a:gd name="connsiteX545" fmla="*/ 145733 w 3574732"/>
                  <a:gd name="connsiteY545" fmla="*/ 642028 h 1473560"/>
                  <a:gd name="connsiteX546" fmla="*/ 167640 w 3574732"/>
                  <a:gd name="connsiteY546" fmla="*/ 647743 h 1473560"/>
                  <a:gd name="connsiteX547" fmla="*/ 188595 w 3574732"/>
                  <a:gd name="connsiteY547" fmla="*/ 649648 h 1473560"/>
                  <a:gd name="connsiteX548" fmla="*/ 204788 w 3574732"/>
                  <a:gd name="connsiteY548" fmla="*/ 648695 h 1473560"/>
                  <a:gd name="connsiteX549" fmla="*/ 223838 w 3574732"/>
                  <a:gd name="connsiteY549" fmla="*/ 646790 h 1473560"/>
                  <a:gd name="connsiteX550" fmla="*/ 237173 w 3574732"/>
                  <a:gd name="connsiteY550" fmla="*/ 647743 h 1473560"/>
                  <a:gd name="connsiteX551" fmla="*/ 251460 w 3574732"/>
                  <a:gd name="connsiteY551" fmla="*/ 644885 h 1473560"/>
                  <a:gd name="connsiteX552" fmla="*/ 260033 w 3574732"/>
                  <a:gd name="connsiteY552" fmla="*/ 642980 h 1473560"/>
                  <a:gd name="connsiteX553" fmla="*/ 265748 w 3574732"/>
                  <a:gd name="connsiteY553" fmla="*/ 642028 h 1473560"/>
                  <a:gd name="connsiteX554" fmla="*/ 280988 w 3574732"/>
                  <a:gd name="connsiteY554" fmla="*/ 635360 h 1473560"/>
                  <a:gd name="connsiteX555" fmla="*/ 286703 w 3574732"/>
                  <a:gd name="connsiteY555" fmla="*/ 633455 h 1473560"/>
                  <a:gd name="connsiteX556" fmla="*/ 292418 w 3574732"/>
                  <a:gd name="connsiteY556" fmla="*/ 629645 h 1473560"/>
                  <a:gd name="connsiteX557" fmla="*/ 302895 w 3574732"/>
                  <a:gd name="connsiteY557" fmla="*/ 622978 h 1473560"/>
                  <a:gd name="connsiteX558" fmla="*/ 302895 w 3574732"/>
                  <a:gd name="connsiteY558" fmla="*/ 617263 h 1473560"/>
                  <a:gd name="connsiteX559" fmla="*/ 305753 w 3574732"/>
                  <a:gd name="connsiteY559" fmla="*/ 608690 h 1473560"/>
                  <a:gd name="connsiteX560" fmla="*/ 313373 w 3574732"/>
                  <a:gd name="connsiteY560" fmla="*/ 607738 h 1473560"/>
                  <a:gd name="connsiteX561" fmla="*/ 319088 w 3574732"/>
                  <a:gd name="connsiteY561" fmla="*/ 602975 h 1473560"/>
                  <a:gd name="connsiteX562" fmla="*/ 320993 w 3574732"/>
                  <a:gd name="connsiteY562" fmla="*/ 597260 h 1473560"/>
                  <a:gd name="connsiteX563" fmla="*/ 326708 w 3574732"/>
                  <a:gd name="connsiteY563" fmla="*/ 593450 h 1473560"/>
                  <a:gd name="connsiteX564" fmla="*/ 344805 w 3574732"/>
                  <a:gd name="connsiteY564" fmla="*/ 589640 h 1473560"/>
                  <a:gd name="connsiteX565" fmla="*/ 353378 w 3574732"/>
                  <a:gd name="connsiteY565" fmla="*/ 582020 h 1473560"/>
                  <a:gd name="connsiteX566" fmla="*/ 359093 w 3574732"/>
                  <a:gd name="connsiteY566" fmla="*/ 579163 h 1473560"/>
                  <a:gd name="connsiteX567" fmla="*/ 361950 w 3574732"/>
                  <a:gd name="connsiteY567" fmla="*/ 574400 h 1473560"/>
                  <a:gd name="connsiteX568" fmla="*/ 366713 w 3574732"/>
                  <a:gd name="connsiteY568" fmla="*/ 570590 h 1473560"/>
                  <a:gd name="connsiteX569" fmla="*/ 368618 w 3574732"/>
                  <a:gd name="connsiteY569" fmla="*/ 566780 h 1473560"/>
                  <a:gd name="connsiteX570" fmla="*/ 374333 w 3574732"/>
                  <a:gd name="connsiteY570" fmla="*/ 562018 h 1473560"/>
                  <a:gd name="connsiteX571" fmla="*/ 382905 w 3574732"/>
                  <a:gd name="connsiteY571" fmla="*/ 563923 h 1473560"/>
                  <a:gd name="connsiteX572" fmla="*/ 388620 w 3574732"/>
                  <a:gd name="connsiteY572" fmla="*/ 563923 h 1473560"/>
                  <a:gd name="connsiteX573" fmla="*/ 391478 w 3574732"/>
                  <a:gd name="connsiteY573" fmla="*/ 568685 h 1473560"/>
                  <a:gd name="connsiteX574" fmla="*/ 397193 w 3574732"/>
                  <a:gd name="connsiteY574" fmla="*/ 571543 h 1473560"/>
                  <a:gd name="connsiteX575" fmla="*/ 404813 w 3574732"/>
                  <a:gd name="connsiteY575" fmla="*/ 573448 h 1473560"/>
                  <a:gd name="connsiteX576" fmla="*/ 410528 w 3574732"/>
                  <a:gd name="connsiteY576" fmla="*/ 572495 h 1473560"/>
                  <a:gd name="connsiteX577" fmla="*/ 416243 w 3574732"/>
                  <a:gd name="connsiteY577" fmla="*/ 571543 h 1473560"/>
                  <a:gd name="connsiteX578" fmla="*/ 426720 w 3574732"/>
                  <a:gd name="connsiteY578" fmla="*/ 565828 h 1473560"/>
                  <a:gd name="connsiteX579" fmla="*/ 434340 w 3574732"/>
                  <a:gd name="connsiteY579" fmla="*/ 560113 h 1473560"/>
                  <a:gd name="connsiteX580" fmla="*/ 440055 w 3574732"/>
                  <a:gd name="connsiteY580" fmla="*/ 557255 h 1473560"/>
                  <a:gd name="connsiteX581" fmla="*/ 447675 w 3574732"/>
                  <a:gd name="connsiteY581" fmla="*/ 553445 h 1473560"/>
                  <a:gd name="connsiteX582" fmla="*/ 455295 w 3574732"/>
                  <a:gd name="connsiteY582" fmla="*/ 554398 h 1473560"/>
                  <a:gd name="connsiteX583" fmla="*/ 462915 w 3574732"/>
                  <a:gd name="connsiteY583" fmla="*/ 554398 h 1473560"/>
                  <a:gd name="connsiteX584" fmla="*/ 468630 w 3574732"/>
                  <a:gd name="connsiteY584" fmla="*/ 556303 h 1473560"/>
                  <a:gd name="connsiteX585" fmla="*/ 474345 w 3574732"/>
                  <a:gd name="connsiteY585" fmla="*/ 558208 h 1473560"/>
                  <a:gd name="connsiteX586" fmla="*/ 482918 w 3574732"/>
                  <a:gd name="connsiteY586" fmla="*/ 562018 h 1473560"/>
                  <a:gd name="connsiteX587" fmla="*/ 493395 w 3574732"/>
                  <a:gd name="connsiteY587" fmla="*/ 568685 h 1473560"/>
                  <a:gd name="connsiteX588" fmla="*/ 496253 w 3574732"/>
                  <a:gd name="connsiteY588" fmla="*/ 574400 h 1473560"/>
                  <a:gd name="connsiteX589" fmla="*/ 504825 w 3574732"/>
                  <a:gd name="connsiteY589" fmla="*/ 580115 h 1473560"/>
                  <a:gd name="connsiteX590" fmla="*/ 512445 w 3574732"/>
                  <a:gd name="connsiteY590" fmla="*/ 585830 h 1473560"/>
                  <a:gd name="connsiteX591" fmla="*/ 521018 w 3574732"/>
                  <a:gd name="connsiteY591" fmla="*/ 592498 h 1473560"/>
                  <a:gd name="connsiteX592" fmla="*/ 526733 w 3574732"/>
                  <a:gd name="connsiteY592" fmla="*/ 594403 h 1473560"/>
                  <a:gd name="connsiteX593" fmla="*/ 537210 w 3574732"/>
                  <a:gd name="connsiteY593" fmla="*/ 598213 h 1473560"/>
                  <a:gd name="connsiteX594" fmla="*/ 551498 w 3574732"/>
                  <a:gd name="connsiteY594" fmla="*/ 603928 h 1473560"/>
                  <a:gd name="connsiteX595" fmla="*/ 560070 w 3574732"/>
                  <a:gd name="connsiteY595" fmla="*/ 605833 h 1473560"/>
                  <a:gd name="connsiteX596" fmla="*/ 561023 w 3574732"/>
                  <a:gd name="connsiteY596" fmla="*/ 610595 h 1473560"/>
                  <a:gd name="connsiteX597" fmla="*/ 563880 w 3574732"/>
                  <a:gd name="connsiteY597" fmla="*/ 615358 h 1473560"/>
                  <a:gd name="connsiteX598" fmla="*/ 566738 w 3574732"/>
                  <a:gd name="connsiteY598" fmla="*/ 620120 h 1473560"/>
                  <a:gd name="connsiteX599" fmla="*/ 567690 w 3574732"/>
                  <a:gd name="connsiteY599" fmla="*/ 626788 h 1473560"/>
                  <a:gd name="connsiteX600" fmla="*/ 575310 w 3574732"/>
                  <a:gd name="connsiteY600" fmla="*/ 629645 h 1473560"/>
                  <a:gd name="connsiteX601" fmla="*/ 581025 w 3574732"/>
                  <a:gd name="connsiteY601" fmla="*/ 630598 h 1473560"/>
                  <a:gd name="connsiteX602" fmla="*/ 589598 w 3574732"/>
                  <a:gd name="connsiteY602" fmla="*/ 627740 h 1473560"/>
                  <a:gd name="connsiteX603" fmla="*/ 589598 w 3574732"/>
                  <a:gd name="connsiteY603" fmla="*/ 620120 h 1473560"/>
                  <a:gd name="connsiteX604" fmla="*/ 589598 w 3574732"/>
                  <a:gd name="connsiteY604" fmla="*/ 612500 h 1473560"/>
                  <a:gd name="connsiteX605" fmla="*/ 589598 w 3574732"/>
                  <a:gd name="connsiteY605" fmla="*/ 609643 h 1473560"/>
                  <a:gd name="connsiteX606" fmla="*/ 589598 w 3574732"/>
                  <a:gd name="connsiteY606" fmla="*/ 608690 h 1473560"/>
                  <a:gd name="connsiteX607" fmla="*/ 589598 w 3574732"/>
                  <a:gd name="connsiteY607" fmla="*/ 608690 h 1473560"/>
                  <a:gd name="connsiteX608" fmla="*/ 588645 w 3574732"/>
                  <a:gd name="connsiteY608" fmla="*/ 604880 h 1473560"/>
                  <a:gd name="connsiteX609" fmla="*/ 594360 w 3574732"/>
                  <a:gd name="connsiteY609" fmla="*/ 602023 h 1473560"/>
                  <a:gd name="connsiteX610" fmla="*/ 601980 w 3574732"/>
                  <a:gd name="connsiteY610" fmla="*/ 597260 h 1473560"/>
                  <a:gd name="connsiteX611" fmla="*/ 598170 w 3574732"/>
                  <a:gd name="connsiteY611" fmla="*/ 590593 h 1473560"/>
                  <a:gd name="connsiteX612" fmla="*/ 592455 w 3574732"/>
                  <a:gd name="connsiteY612" fmla="*/ 589640 h 1473560"/>
                  <a:gd name="connsiteX613" fmla="*/ 584835 w 3574732"/>
                  <a:gd name="connsiteY613" fmla="*/ 587735 h 1473560"/>
                  <a:gd name="connsiteX614" fmla="*/ 579120 w 3574732"/>
                  <a:gd name="connsiteY614" fmla="*/ 586783 h 1473560"/>
                  <a:gd name="connsiteX615" fmla="*/ 573405 w 3574732"/>
                  <a:gd name="connsiteY615" fmla="*/ 584878 h 1473560"/>
                  <a:gd name="connsiteX616" fmla="*/ 561975 w 3574732"/>
                  <a:gd name="connsiteY616" fmla="*/ 578210 h 1473560"/>
                  <a:gd name="connsiteX617" fmla="*/ 557213 w 3574732"/>
                  <a:gd name="connsiteY617" fmla="*/ 576305 h 1473560"/>
                  <a:gd name="connsiteX618" fmla="*/ 549593 w 3574732"/>
                  <a:gd name="connsiteY618" fmla="*/ 571543 h 1473560"/>
                  <a:gd name="connsiteX619" fmla="*/ 532448 w 3574732"/>
                  <a:gd name="connsiteY619" fmla="*/ 562018 h 1473560"/>
                  <a:gd name="connsiteX620" fmla="*/ 521018 w 3574732"/>
                  <a:gd name="connsiteY620" fmla="*/ 556303 h 1473560"/>
                  <a:gd name="connsiteX621" fmla="*/ 514350 w 3574732"/>
                  <a:gd name="connsiteY621" fmla="*/ 545825 h 1473560"/>
                  <a:gd name="connsiteX622" fmla="*/ 514350 w 3574732"/>
                  <a:gd name="connsiteY622" fmla="*/ 541063 h 1473560"/>
                  <a:gd name="connsiteX623" fmla="*/ 519113 w 3574732"/>
                  <a:gd name="connsiteY623" fmla="*/ 536300 h 1473560"/>
                  <a:gd name="connsiteX624" fmla="*/ 541020 w 3574732"/>
                  <a:gd name="connsiteY624" fmla="*/ 540110 h 1473560"/>
                  <a:gd name="connsiteX625" fmla="*/ 546735 w 3574732"/>
                  <a:gd name="connsiteY625" fmla="*/ 542015 h 1473560"/>
                  <a:gd name="connsiteX626" fmla="*/ 554355 w 3574732"/>
                  <a:gd name="connsiteY626" fmla="*/ 545825 h 1473560"/>
                  <a:gd name="connsiteX627" fmla="*/ 560070 w 3574732"/>
                  <a:gd name="connsiteY627" fmla="*/ 549635 h 1473560"/>
                  <a:gd name="connsiteX628" fmla="*/ 574358 w 3574732"/>
                  <a:gd name="connsiteY628" fmla="*/ 554398 h 1473560"/>
                  <a:gd name="connsiteX629" fmla="*/ 584835 w 3574732"/>
                  <a:gd name="connsiteY629" fmla="*/ 559160 h 1473560"/>
                  <a:gd name="connsiteX630" fmla="*/ 592455 w 3574732"/>
                  <a:gd name="connsiteY630" fmla="*/ 563923 h 1473560"/>
                  <a:gd name="connsiteX631" fmla="*/ 608648 w 3574732"/>
                  <a:gd name="connsiteY631" fmla="*/ 569638 h 1473560"/>
                  <a:gd name="connsiteX632" fmla="*/ 617220 w 3574732"/>
                  <a:gd name="connsiteY632" fmla="*/ 578210 h 1473560"/>
                  <a:gd name="connsiteX633" fmla="*/ 621030 w 3574732"/>
                  <a:gd name="connsiteY633" fmla="*/ 584878 h 1473560"/>
                  <a:gd name="connsiteX634" fmla="*/ 628650 w 3574732"/>
                  <a:gd name="connsiteY634" fmla="*/ 591545 h 1473560"/>
                  <a:gd name="connsiteX635" fmla="*/ 632460 w 3574732"/>
                  <a:gd name="connsiteY635" fmla="*/ 597260 h 1473560"/>
                  <a:gd name="connsiteX636" fmla="*/ 637223 w 3574732"/>
                  <a:gd name="connsiteY636" fmla="*/ 603928 h 1473560"/>
                  <a:gd name="connsiteX637" fmla="*/ 638175 w 3574732"/>
                  <a:gd name="connsiteY637" fmla="*/ 611548 h 1473560"/>
                  <a:gd name="connsiteX638" fmla="*/ 641033 w 3574732"/>
                  <a:gd name="connsiteY638" fmla="*/ 616310 h 1473560"/>
                  <a:gd name="connsiteX639" fmla="*/ 649605 w 3574732"/>
                  <a:gd name="connsiteY639" fmla="*/ 622025 h 1473560"/>
                  <a:gd name="connsiteX640" fmla="*/ 653415 w 3574732"/>
                  <a:gd name="connsiteY640" fmla="*/ 626788 h 1473560"/>
                  <a:gd name="connsiteX641" fmla="*/ 661988 w 3574732"/>
                  <a:gd name="connsiteY641" fmla="*/ 631550 h 1473560"/>
                  <a:gd name="connsiteX642" fmla="*/ 667703 w 3574732"/>
                  <a:gd name="connsiteY642" fmla="*/ 636313 h 1473560"/>
                  <a:gd name="connsiteX643" fmla="*/ 667703 w 3574732"/>
                  <a:gd name="connsiteY643" fmla="*/ 642028 h 1473560"/>
                  <a:gd name="connsiteX644" fmla="*/ 670560 w 3574732"/>
                  <a:gd name="connsiteY644" fmla="*/ 650600 h 1473560"/>
                  <a:gd name="connsiteX645" fmla="*/ 678180 w 3574732"/>
                  <a:gd name="connsiteY645" fmla="*/ 652505 h 1473560"/>
                  <a:gd name="connsiteX646" fmla="*/ 688658 w 3574732"/>
                  <a:gd name="connsiteY646" fmla="*/ 652505 h 1473560"/>
                  <a:gd name="connsiteX647" fmla="*/ 701993 w 3574732"/>
                  <a:gd name="connsiteY647" fmla="*/ 648695 h 1473560"/>
                  <a:gd name="connsiteX648" fmla="*/ 704850 w 3574732"/>
                  <a:gd name="connsiteY648" fmla="*/ 645838 h 1473560"/>
                  <a:gd name="connsiteX649" fmla="*/ 710565 w 3574732"/>
                  <a:gd name="connsiteY649" fmla="*/ 642980 h 1473560"/>
                  <a:gd name="connsiteX650" fmla="*/ 715328 w 3574732"/>
                  <a:gd name="connsiteY650" fmla="*/ 638218 h 1473560"/>
                  <a:gd name="connsiteX651" fmla="*/ 715328 w 3574732"/>
                  <a:gd name="connsiteY651" fmla="*/ 632503 h 1473560"/>
                  <a:gd name="connsiteX652" fmla="*/ 715328 w 3574732"/>
                  <a:gd name="connsiteY652" fmla="*/ 625835 h 1473560"/>
                  <a:gd name="connsiteX653" fmla="*/ 712470 w 3574732"/>
                  <a:gd name="connsiteY653" fmla="*/ 621073 h 1473560"/>
                  <a:gd name="connsiteX654" fmla="*/ 712470 w 3574732"/>
                  <a:gd name="connsiteY654" fmla="*/ 616310 h 1473560"/>
                  <a:gd name="connsiteX655" fmla="*/ 711518 w 3574732"/>
                  <a:gd name="connsiteY655" fmla="*/ 611548 h 1473560"/>
                  <a:gd name="connsiteX656" fmla="*/ 713423 w 3574732"/>
                  <a:gd name="connsiteY656" fmla="*/ 604880 h 1473560"/>
                  <a:gd name="connsiteX657" fmla="*/ 719138 w 3574732"/>
                  <a:gd name="connsiteY657" fmla="*/ 601070 h 1473560"/>
                  <a:gd name="connsiteX658" fmla="*/ 741045 w 3574732"/>
                  <a:gd name="connsiteY658" fmla="*/ 602975 h 1473560"/>
                  <a:gd name="connsiteX659" fmla="*/ 748665 w 3574732"/>
                  <a:gd name="connsiteY659" fmla="*/ 607738 h 1473560"/>
                  <a:gd name="connsiteX660" fmla="*/ 749618 w 3574732"/>
                  <a:gd name="connsiteY660" fmla="*/ 612500 h 1473560"/>
                  <a:gd name="connsiteX661" fmla="*/ 753428 w 3574732"/>
                  <a:gd name="connsiteY661" fmla="*/ 623930 h 1473560"/>
                  <a:gd name="connsiteX662" fmla="*/ 756285 w 3574732"/>
                  <a:gd name="connsiteY662" fmla="*/ 630598 h 1473560"/>
                  <a:gd name="connsiteX663" fmla="*/ 763905 w 3574732"/>
                  <a:gd name="connsiteY663" fmla="*/ 637265 h 1473560"/>
                  <a:gd name="connsiteX664" fmla="*/ 772478 w 3574732"/>
                  <a:gd name="connsiteY664" fmla="*/ 641075 h 1473560"/>
                  <a:gd name="connsiteX665" fmla="*/ 773430 w 3574732"/>
                  <a:gd name="connsiteY665" fmla="*/ 644885 h 1473560"/>
                  <a:gd name="connsiteX666" fmla="*/ 783908 w 3574732"/>
                  <a:gd name="connsiteY666" fmla="*/ 646790 h 1473560"/>
                  <a:gd name="connsiteX667" fmla="*/ 801053 w 3574732"/>
                  <a:gd name="connsiteY667" fmla="*/ 650600 h 1473560"/>
                  <a:gd name="connsiteX668" fmla="*/ 812483 w 3574732"/>
                  <a:gd name="connsiteY668" fmla="*/ 651553 h 1473560"/>
                  <a:gd name="connsiteX669" fmla="*/ 826770 w 3574732"/>
                  <a:gd name="connsiteY669" fmla="*/ 651553 h 1473560"/>
                  <a:gd name="connsiteX670" fmla="*/ 840105 w 3574732"/>
                  <a:gd name="connsiteY670" fmla="*/ 651553 h 1473560"/>
                  <a:gd name="connsiteX671" fmla="*/ 848678 w 3574732"/>
                  <a:gd name="connsiteY671" fmla="*/ 651553 h 1473560"/>
                  <a:gd name="connsiteX672" fmla="*/ 862965 w 3574732"/>
                  <a:gd name="connsiteY672" fmla="*/ 650600 h 1473560"/>
                  <a:gd name="connsiteX673" fmla="*/ 874395 w 3574732"/>
                  <a:gd name="connsiteY673" fmla="*/ 650600 h 1473560"/>
                  <a:gd name="connsiteX674" fmla="*/ 887730 w 3574732"/>
                  <a:gd name="connsiteY674" fmla="*/ 650600 h 1473560"/>
                  <a:gd name="connsiteX675" fmla="*/ 896303 w 3574732"/>
                  <a:gd name="connsiteY675" fmla="*/ 653458 h 1473560"/>
                  <a:gd name="connsiteX676" fmla="*/ 904875 w 3574732"/>
                  <a:gd name="connsiteY676" fmla="*/ 660125 h 1473560"/>
                  <a:gd name="connsiteX677" fmla="*/ 918210 w 3574732"/>
                  <a:gd name="connsiteY677" fmla="*/ 662983 h 1473560"/>
                  <a:gd name="connsiteX678" fmla="*/ 918210 w 3574732"/>
                  <a:gd name="connsiteY678" fmla="*/ 666793 h 1473560"/>
                  <a:gd name="connsiteX679" fmla="*/ 918210 w 3574732"/>
                  <a:gd name="connsiteY679" fmla="*/ 673460 h 1473560"/>
                  <a:gd name="connsiteX680" fmla="*/ 912495 w 3574732"/>
                  <a:gd name="connsiteY680" fmla="*/ 677270 h 1473560"/>
                  <a:gd name="connsiteX681" fmla="*/ 904875 w 3574732"/>
                  <a:gd name="connsiteY681" fmla="*/ 681080 h 1473560"/>
                  <a:gd name="connsiteX682" fmla="*/ 902018 w 3574732"/>
                  <a:gd name="connsiteY682" fmla="*/ 684890 h 1473560"/>
                  <a:gd name="connsiteX683" fmla="*/ 896303 w 3574732"/>
                  <a:gd name="connsiteY683" fmla="*/ 691558 h 1473560"/>
                  <a:gd name="connsiteX684" fmla="*/ 894398 w 3574732"/>
                  <a:gd name="connsiteY684" fmla="*/ 702035 h 1473560"/>
                  <a:gd name="connsiteX685" fmla="*/ 894398 w 3574732"/>
                  <a:gd name="connsiteY685" fmla="*/ 711560 h 1473560"/>
                  <a:gd name="connsiteX686" fmla="*/ 889635 w 3574732"/>
                  <a:gd name="connsiteY686" fmla="*/ 717275 h 1473560"/>
                  <a:gd name="connsiteX687" fmla="*/ 881063 w 3574732"/>
                  <a:gd name="connsiteY687" fmla="*/ 720133 h 1473560"/>
                  <a:gd name="connsiteX688" fmla="*/ 862013 w 3574732"/>
                  <a:gd name="connsiteY688" fmla="*/ 722038 h 1473560"/>
                  <a:gd name="connsiteX689" fmla="*/ 850583 w 3574732"/>
                  <a:gd name="connsiteY689" fmla="*/ 722038 h 1473560"/>
                  <a:gd name="connsiteX690" fmla="*/ 842963 w 3574732"/>
                  <a:gd name="connsiteY690" fmla="*/ 721085 h 1473560"/>
                  <a:gd name="connsiteX691" fmla="*/ 834390 w 3574732"/>
                  <a:gd name="connsiteY691" fmla="*/ 724895 h 1473560"/>
                  <a:gd name="connsiteX692" fmla="*/ 807720 w 3574732"/>
                  <a:gd name="connsiteY692" fmla="*/ 727753 h 1473560"/>
                  <a:gd name="connsiteX693" fmla="*/ 793433 w 3574732"/>
                  <a:gd name="connsiteY693" fmla="*/ 727753 h 1473560"/>
                  <a:gd name="connsiteX694" fmla="*/ 771525 w 3574732"/>
                  <a:gd name="connsiteY694" fmla="*/ 725848 h 1473560"/>
                  <a:gd name="connsiteX695" fmla="*/ 758190 w 3574732"/>
                  <a:gd name="connsiteY695" fmla="*/ 723943 h 1473560"/>
                  <a:gd name="connsiteX696" fmla="*/ 750570 w 3574732"/>
                  <a:gd name="connsiteY696" fmla="*/ 722038 h 1473560"/>
                  <a:gd name="connsiteX697" fmla="*/ 734378 w 3574732"/>
                  <a:gd name="connsiteY697" fmla="*/ 720133 h 1473560"/>
                  <a:gd name="connsiteX698" fmla="*/ 718185 w 3574732"/>
                  <a:gd name="connsiteY698" fmla="*/ 715370 h 1473560"/>
                  <a:gd name="connsiteX699" fmla="*/ 706755 w 3574732"/>
                  <a:gd name="connsiteY699" fmla="*/ 714418 h 1473560"/>
                  <a:gd name="connsiteX700" fmla="*/ 684848 w 3574732"/>
                  <a:gd name="connsiteY700" fmla="*/ 711560 h 1473560"/>
                  <a:gd name="connsiteX701" fmla="*/ 667703 w 3574732"/>
                  <a:gd name="connsiteY701" fmla="*/ 711560 h 1473560"/>
                  <a:gd name="connsiteX702" fmla="*/ 651510 w 3574732"/>
                  <a:gd name="connsiteY702" fmla="*/ 713465 h 1473560"/>
                  <a:gd name="connsiteX703" fmla="*/ 648653 w 3574732"/>
                  <a:gd name="connsiteY703" fmla="*/ 719180 h 1473560"/>
                  <a:gd name="connsiteX704" fmla="*/ 632460 w 3574732"/>
                  <a:gd name="connsiteY704" fmla="*/ 728705 h 1473560"/>
                  <a:gd name="connsiteX705" fmla="*/ 607695 w 3574732"/>
                  <a:gd name="connsiteY705" fmla="*/ 726800 h 1473560"/>
                  <a:gd name="connsiteX706" fmla="*/ 596265 w 3574732"/>
                  <a:gd name="connsiteY706" fmla="*/ 723943 h 1473560"/>
                  <a:gd name="connsiteX707" fmla="*/ 585788 w 3574732"/>
                  <a:gd name="connsiteY707" fmla="*/ 721085 h 1473560"/>
                  <a:gd name="connsiteX708" fmla="*/ 571500 w 3574732"/>
                  <a:gd name="connsiteY708" fmla="*/ 717275 h 1473560"/>
                  <a:gd name="connsiteX709" fmla="*/ 560070 w 3574732"/>
                  <a:gd name="connsiteY709" fmla="*/ 714418 h 1473560"/>
                  <a:gd name="connsiteX710" fmla="*/ 548640 w 3574732"/>
                  <a:gd name="connsiteY710" fmla="*/ 710608 h 1473560"/>
                  <a:gd name="connsiteX711" fmla="*/ 537210 w 3574732"/>
                  <a:gd name="connsiteY711" fmla="*/ 707750 h 1473560"/>
                  <a:gd name="connsiteX712" fmla="*/ 521018 w 3574732"/>
                  <a:gd name="connsiteY712" fmla="*/ 704893 h 1473560"/>
                  <a:gd name="connsiteX713" fmla="*/ 515303 w 3574732"/>
                  <a:gd name="connsiteY713" fmla="*/ 701083 h 1473560"/>
                  <a:gd name="connsiteX714" fmla="*/ 507683 w 3574732"/>
                  <a:gd name="connsiteY714" fmla="*/ 697273 h 1473560"/>
                  <a:gd name="connsiteX715" fmla="*/ 501968 w 3574732"/>
                  <a:gd name="connsiteY715" fmla="*/ 697273 h 1473560"/>
                  <a:gd name="connsiteX716" fmla="*/ 494348 w 3574732"/>
                  <a:gd name="connsiteY716" fmla="*/ 694415 h 1473560"/>
                  <a:gd name="connsiteX717" fmla="*/ 488633 w 3574732"/>
                  <a:gd name="connsiteY717" fmla="*/ 689653 h 1473560"/>
                  <a:gd name="connsiteX718" fmla="*/ 482918 w 3574732"/>
                  <a:gd name="connsiteY718" fmla="*/ 681080 h 1473560"/>
                  <a:gd name="connsiteX719" fmla="*/ 482918 w 3574732"/>
                  <a:gd name="connsiteY719" fmla="*/ 675365 h 1473560"/>
                  <a:gd name="connsiteX720" fmla="*/ 485775 w 3574732"/>
                  <a:gd name="connsiteY720" fmla="*/ 662983 h 1473560"/>
                  <a:gd name="connsiteX721" fmla="*/ 484823 w 3574732"/>
                  <a:gd name="connsiteY721" fmla="*/ 655363 h 1473560"/>
                  <a:gd name="connsiteX722" fmla="*/ 480060 w 3574732"/>
                  <a:gd name="connsiteY722" fmla="*/ 651553 h 1473560"/>
                  <a:gd name="connsiteX723" fmla="*/ 461010 w 3574732"/>
                  <a:gd name="connsiteY723" fmla="*/ 652505 h 1473560"/>
                  <a:gd name="connsiteX724" fmla="*/ 450533 w 3574732"/>
                  <a:gd name="connsiteY724" fmla="*/ 652505 h 1473560"/>
                  <a:gd name="connsiteX725" fmla="*/ 440055 w 3574732"/>
                  <a:gd name="connsiteY725" fmla="*/ 652505 h 1473560"/>
                  <a:gd name="connsiteX726" fmla="*/ 421005 w 3574732"/>
                  <a:gd name="connsiteY726" fmla="*/ 651553 h 1473560"/>
                  <a:gd name="connsiteX727" fmla="*/ 410528 w 3574732"/>
                  <a:gd name="connsiteY727" fmla="*/ 651553 h 1473560"/>
                  <a:gd name="connsiteX728" fmla="*/ 402908 w 3574732"/>
                  <a:gd name="connsiteY728" fmla="*/ 650600 h 1473560"/>
                  <a:gd name="connsiteX729" fmla="*/ 392430 w 3574732"/>
                  <a:gd name="connsiteY729" fmla="*/ 650600 h 1473560"/>
                  <a:gd name="connsiteX730" fmla="*/ 373380 w 3574732"/>
                  <a:gd name="connsiteY730" fmla="*/ 650600 h 1473560"/>
                  <a:gd name="connsiteX731" fmla="*/ 365760 w 3574732"/>
                  <a:gd name="connsiteY731" fmla="*/ 650600 h 1473560"/>
                  <a:gd name="connsiteX732" fmla="*/ 352425 w 3574732"/>
                  <a:gd name="connsiteY732" fmla="*/ 650600 h 1473560"/>
                  <a:gd name="connsiteX733" fmla="*/ 339090 w 3574732"/>
                  <a:gd name="connsiteY733" fmla="*/ 650600 h 1473560"/>
                  <a:gd name="connsiteX734" fmla="*/ 330518 w 3574732"/>
                  <a:gd name="connsiteY734" fmla="*/ 653458 h 1473560"/>
                  <a:gd name="connsiteX735" fmla="*/ 324803 w 3574732"/>
                  <a:gd name="connsiteY735" fmla="*/ 658220 h 1473560"/>
                  <a:gd name="connsiteX736" fmla="*/ 316230 w 3574732"/>
                  <a:gd name="connsiteY736" fmla="*/ 659173 h 1473560"/>
                  <a:gd name="connsiteX737" fmla="*/ 304800 w 3574732"/>
                  <a:gd name="connsiteY737" fmla="*/ 662030 h 1473560"/>
                  <a:gd name="connsiteX738" fmla="*/ 294323 w 3574732"/>
                  <a:gd name="connsiteY738" fmla="*/ 662983 h 1473560"/>
                  <a:gd name="connsiteX739" fmla="*/ 288608 w 3574732"/>
                  <a:gd name="connsiteY739" fmla="*/ 663935 h 1473560"/>
                  <a:gd name="connsiteX740" fmla="*/ 280988 w 3574732"/>
                  <a:gd name="connsiteY740" fmla="*/ 667745 h 1473560"/>
                  <a:gd name="connsiteX741" fmla="*/ 261938 w 3574732"/>
                  <a:gd name="connsiteY741" fmla="*/ 670603 h 1473560"/>
                  <a:gd name="connsiteX742" fmla="*/ 254318 w 3574732"/>
                  <a:gd name="connsiteY742" fmla="*/ 671555 h 1473560"/>
                  <a:gd name="connsiteX743" fmla="*/ 238125 w 3574732"/>
                  <a:gd name="connsiteY743" fmla="*/ 679175 h 1473560"/>
                  <a:gd name="connsiteX744" fmla="*/ 219075 w 3574732"/>
                  <a:gd name="connsiteY744" fmla="*/ 674413 h 1473560"/>
                  <a:gd name="connsiteX745" fmla="*/ 205740 w 3574732"/>
                  <a:gd name="connsiteY745" fmla="*/ 674413 h 1473560"/>
                  <a:gd name="connsiteX746" fmla="*/ 200025 w 3574732"/>
                  <a:gd name="connsiteY746" fmla="*/ 678223 h 1473560"/>
                  <a:gd name="connsiteX747" fmla="*/ 188595 w 3574732"/>
                  <a:gd name="connsiteY747" fmla="*/ 681080 h 1473560"/>
                  <a:gd name="connsiteX748" fmla="*/ 177165 w 3574732"/>
                  <a:gd name="connsiteY748" fmla="*/ 684890 h 1473560"/>
                  <a:gd name="connsiteX749" fmla="*/ 168593 w 3574732"/>
                  <a:gd name="connsiteY749" fmla="*/ 691558 h 1473560"/>
                  <a:gd name="connsiteX750" fmla="*/ 160020 w 3574732"/>
                  <a:gd name="connsiteY750" fmla="*/ 692510 h 1473560"/>
                  <a:gd name="connsiteX751" fmla="*/ 155258 w 3574732"/>
                  <a:gd name="connsiteY751" fmla="*/ 693463 h 1473560"/>
                  <a:gd name="connsiteX752" fmla="*/ 149543 w 3574732"/>
                  <a:gd name="connsiteY752" fmla="*/ 695368 h 1473560"/>
                  <a:gd name="connsiteX753" fmla="*/ 146685 w 3574732"/>
                  <a:gd name="connsiteY753" fmla="*/ 701083 h 1473560"/>
                  <a:gd name="connsiteX754" fmla="*/ 141923 w 3574732"/>
                  <a:gd name="connsiteY754" fmla="*/ 706798 h 1473560"/>
                  <a:gd name="connsiteX755" fmla="*/ 136208 w 3574732"/>
                  <a:gd name="connsiteY755" fmla="*/ 711560 h 1473560"/>
                  <a:gd name="connsiteX756" fmla="*/ 131445 w 3574732"/>
                  <a:gd name="connsiteY756" fmla="*/ 721085 h 1473560"/>
                  <a:gd name="connsiteX757" fmla="*/ 128588 w 3574732"/>
                  <a:gd name="connsiteY757" fmla="*/ 729658 h 1473560"/>
                  <a:gd name="connsiteX758" fmla="*/ 122873 w 3574732"/>
                  <a:gd name="connsiteY758" fmla="*/ 740135 h 1473560"/>
                  <a:gd name="connsiteX759" fmla="*/ 115253 w 3574732"/>
                  <a:gd name="connsiteY759" fmla="*/ 744898 h 1473560"/>
                  <a:gd name="connsiteX760" fmla="*/ 104775 w 3574732"/>
                  <a:gd name="connsiteY760" fmla="*/ 749660 h 1473560"/>
                  <a:gd name="connsiteX761" fmla="*/ 97155 w 3574732"/>
                  <a:gd name="connsiteY761" fmla="*/ 746803 h 1473560"/>
                  <a:gd name="connsiteX762" fmla="*/ 81915 w 3574732"/>
                  <a:gd name="connsiteY762" fmla="*/ 754423 h 1473560"/>
                  <a:gd name="connsiteX763" fmla="*/ 76200 w 3574732"/>
                  <a:gd name="connsiteY763" fmla="*/ 756328 h 1473560"/>
                  <a:gd name="connsiteX764" fmla="*/ 68580 w 3574732"/>
                  <a:gd name="connsiteY764" fmla="*/ 762995 h 1473560"/>
                  <a:gd name="connsiteX765" fmla="*/ 63818 w 3574732"/>
                  <a:gd name="connsiteY765" fmla="*/ 767758 h 1473560"/>
                  <a:gd name="connsiteX766" fmla="*/ 56198 w 3574732"/>
                  <a:gd name="connsiteY766" fmla="*/ 781093 h 1473560"/>
                  <a:gd name="connsiteX767" fmla="*/ 51435 w 3574732"/>
                  <a:gd name="connsiteY767" fmla="*/ 782045 h 1473560"/>
                  <a:gd name="connsiteX768" fmla="*/ 40958 w 3574732"/>
                  <a:gd name="connsiteY768" fmla="*/ 787760 h 1473560"/>
                  <a:gd name="connsiteX769" fmla="*/ 25718 w 3574732"/>
                  <a:gd name="connsiteY769" fmla="*/ 794428 h 1473560"/>
                  <a:gd name="connsiteX770" fmla="*/ 18098 w 3574732"/>
                  <a:gd name="connsiteY770" fmla="*/ 802048 h 1473560"/>
                  <a:gd name="connsiteX771" fmla="*/ 12383 w 3574732"/>
                  <a:gd name="connsiteY771" fmla="*/ 815383 h 1473560"/>
                  <a:gd name="connsiteX772" fmla="*/ 6668 w 3574732"/>
                  <a:gd name="connsiteY772" fmla="*/ 823955 h 1473560"/>
                  <a:gd name="connsiteX773" fmla="*/ 6668 w 3574732"/>
                  <a:gd name="connsiteY773" fmla="*/ 834433 h 1473560"/>
                  <a:gd name="connsiteX774" fmla="*/ 6668 w 3574732"/>
                  <a:gd name="connsiteY774" fmla="*/ 839195 h 1473560"/>
                  <a:gd name="connsiteX775" fmla="*/ 6668 w 3574732"/>
                  <a:gd name="connsiteY775" fmla="*/ 850625 h 1473560"/>
                  <a:gd name="connsiteX776" fmla="*/ 9525 w 3574732"/>
                  <a:gd name="connsiteY776" fmla="*/ 864913 h 1473560"/>
                  <a:gd name="connsiteX777" fmla="*/ 9525 w 3574732"/>
                  <a:gd name="connsiteY777" fmla="*/ 874438 h 1473560"/>
                  <a:gd name="connsiteX778" fmla="*/ 7620 w 3574732"/>
                  <a:gd name="connsiteY778" fmla="*/ 888725 h 1473560"/>
                  <a:gd name="connsiteX779" fmla="*/ 5715 w 3574732"/>
                  <a:gd name="connsiteY779" fmla="*/ 894440 h 1473560"/>
                  <a:gd name="connsiteX780" fmla="*/ 2858 w 3574732"/>
                  <a:gd name="connsiteY780" fmla="*/ 908728 h 1473560"/>
                  <a:gd name="connsiteX781" fmla="*/ 0 w 3574732"/>
                  <a:gd name="connsiteY781" fmla="*/ 919205 h 1473560"/>
                  <a:gd name="connsiteX782" fmla="*/ 5715 w 3574732"/>
                  <a:gd name="connsiteY782" fmla="*/ 929683 h 1473560"/>
                  <a:gd name="connsiteX783" fmla="*/ 8573 w 3574732"/>
                  <a:gd name="connsiteY783" fmla="*/ 938255 h 1473560"/>
                  <a:gd name="connsiteX784" fmla="*/ 24765 w 3574732"/>
                  <a:gd name="connsiteY784" fmla="*/ 944923 h 1473560"/>
                  <a:gd name="connsiteX785" fmla="*/ 32385 w 3574732"/>
                  <a:gd name="connsiteY785" fmla="*/ 949685 h 1473560"/>
                  <a:gd name="connsiteX786" fmla="*/ 42863 w 3574732"/>
                  <a:gd name="connsiteY786" fmla="*/ 961115 h 1473560"/>
                  <a:gd name="connsiteX787" fmla="*/ 56198 w 3574732"/>
                  <a:gd name="connsiteY787" fmla="*/ 968735 h 1473560"/>
                  <a:gd name="connsiteX788" fmla="*/ 61913 w 3574732"/>
                  <a:gd name="connsiteY788" fmla="*/ 973498 h 1473560"/>
                  <a:gd name="connsiteX789" fmla="*/ 75248 w 3574732"/>
                  <a:gd name="connsiteY789" fmla="*/ 980165 h 1473560"/>
                  <a:gd name="connsiteX790" fmla="*/ 86678 w 3574732"/>
                  <a:gd name="connsiteY790" fmla="*/ 985880 h 1473560"/>
                  <a:gd name="connsiteX791" fmla="*/ 95250 w 3574732"/>
                  <a:gd name="connsiteY791" fmla="*/ 993500 h 1473560"/>
                  <a:gd name="connsiteX792" fmla="*/ 114300 w 3574732"/>
                  <a:gd name="connsiteY792" fmla="*/ 1001120 h 1473560"/>
                  <a:gd name="connsiteX793" fmla="*/ 120015 w 3574732"/>
                  <a:gd name="connsiteY793" fmla="*/ 1009693 h 1473560"/>
                  <a:gd name="connsiteX794" fmla="*/ 137160 w 3574732"/>
                  <a:gd name="connsiteY794" fmla="*/ 1020170 h 1473560"/>
                  <a:gd name="connsiteX795" fmla="*/ 147638 w 3574732"/>
                  <a:gd name="connsiteY795" fmla="*/ 1026838 h 1473560"/>
                  <a:gd name="connsiteX796" fmla="*/ 165735 w 3574732"/>
                  <a:gd name="connsiteY796" fmla="*/ 1026838 h 1473560"/>
                  <a:gd name="connsiteX797" fmla="*/ 184785 w 3574732"/>
                  <a:gd name="connsiteY797" fmla="*/ 1023028 h 1473560"/>
                  <a:gd name="connsiteX798" fmla="*/ 190500 w 3574732"/>
                  <a:gd name="connsiteY798" fmla="*/ 1021123 h 1473560"/>
                  <a:gd name="connsiteX799" fmla="*/ 201930 w 3574732"/>
                  <a:gd name="connsiteY799" fmla="*/ 1019218 h 1473560"/>
                  <a:gd name="connsiteX800" fmla="*/ 207645 w 3574732"/>
                  <a:gd name="connsiteY800" fmla="*/ 1019218 h 1473560"/>
                  <a:gd name="connsiteX801" fmla="*/ 216218 w 3574732"/>
                  <a:gd name="connsiteY801" fmla="*/ 1019218 h 1473560"/>
                  <a:gd name="connsiteX802" fmla="*/ 224790 w 3574732"/>
                  <a:gd name="connsiteY802" fmla="*/ 1019218 h 1473560"/>
                  <a:gd name="connsiteX803" fmla="*/ 233363 w 3574732"/>
                  <a:gd name="connsiteY803" fmla="*/ 1021123 h 1473560"/>
                  <a:gd name="connsiteX804" fmla="*/ 249555 w 3574732"/>
                  <a:gd name="connsiteY804" fmla="*/ 1021123 h 1473560"/>
                  <a:gd name="connsiteX805" fmla="*/ 258128 w 3574732"/>
                  <a:gd name="connsiteY805" fmla="*/ 1020170 h 1473560"/>
                  <a:gd name="connsiteX806" fmla="*/ 279083 w 3574732"/>
                  <a:gd name="connsiteY806" fmla="*/ 1018265 h 1473560"/>
                  <a:gd name="connsiteX807" fmla="*/ 295275 w 3574732"/>
                  <a:gd name="connsiteY807" fmla="*/ 1013503 h 1473560"/>
                  <a:gd name="connsiteX808" fmla="*/ 306705 w 3574732"/>
                  <a:gd name="connsiteY808" fmla="*/ 1006835 h 1473560"/>
                  <a:gd name="connsiteX809" fmla="*/ 314325 w 3574732"/>
                  <a:gd name="connsiteY809" fmla="*/ 1003025 h 1473560"/>
                  <a:gd name="connsiteX810" fmla="*/ 320040 w 3574732"/>
                  <a:gd name="connsiteY810" fmla="*/ 1002073 h 1473560"/>
                  <a:gd name="connsiteX811" fmla="*/ 334328 w 3574732"/>
                  <a:gd name="connsiteY811" fmla="*/ 1002073 h 1473560"/>
                  <a:gd name="connsiteX812" fmla="*/ 347663 w 3574732"/>
                  <a:gd name="connsiteY812" fmla="*/ 1003978 h 1473560"/>
                  <a:gd name="connsiteX813" fmla="*/ 358140 w 3574732"/>
                  <a:gd name="connsiteY813" fmla="*/ 1005883 h 1473560"/>
                  <a:gd name="connsiteX814" fmla="*/ 366713 w 3574732"/>
                  <a:gd name="connsiteY814" fmla="*/ 1006835 h 1473560"/>
                  <a:gd name="connsiteX815" fmla="*/ 377190 w 3574732"/>
                  <a:gd name="connsiteY815" fmla="*/ 1008740 h 1473560"/>
                  <a:gd name="connsiteX816" fmla="*/ 385763 w 3574732"/>
                  <a:gd name="connsiteY816" fmla="*/ 1014455 h 1473560"/>
                  <a:gd name="connsiteX817" fmla="*/ 394335 w 3574732"/>
                  <a:gd name="connsiteY817" fmla="*/ 1021123 h 1473560"/>
                  <a:gd name="connsiteX818" fmla="*/ 404813 w 3574732"/>
                  <a:gd name="connsiteY818" fmla="*/ 1023980 h 1473560"/>
                  <a:gd name="connsiteX819" fmla="*/ 412433 w 3574732"/>
                  <a:gd name="connsiteY819" fmla="*/ 1025885 h 1473560"/>
                  <a:gd name="connsiteX820" fmla="*/ 429578 w 3574732"/>
                  <a:gd name="connsiteY820" fmla="*/ 1027790 h 1473560"/>
                  <a:gd name="connsiteX821" fmla="*/ 437198 w 3574732"/>
                  <a:gd name="connsiteY821" fmla="*/ 1027790 h 1473560"/>
                  <a:gd name="connsiteX822" fmla="*/ 450533 w 3574732"/>
                  <a:gd name="connsiteY822" fmla="*/ 1030648 h 1473560"/>
                  <a:gd name="connsiteX823" fmla="*/ 451485 w 3574732"/>
                  <a:gd name="connsiteY823" fmla="*/ 1036363 h 1473560"/>
                  <a:gd name="connsiteX824" fmla="*/ 451485 w 3574732"/>
                  <a:gd name="connsiteY824" fmla="*/ 1045888 h 1473560"/>
                  <a:gd name="connsiteX825" fmla="*/ 451485 w 3574732"/>
                  <a:gd name="connsiteY825" fmla="*/ 1055413 h 1473560"/>
                  <a:gd name="connsiteX826" fmla="*/ 451485 w 3574732"/>
                  <a:gd name="connsiteY826" fmla="*/ 1066843 h 1473560"/>
                  <a:gd name="connsiteX827" fmla="*/ 449580 w 3574732"/>
                  <a:gd name="connsiteY827" fmla="*/ 1076368 h 1473560"/>
                  <a:gd name="connsiteX828" fmla="*/ 447675 w 3574732"/>
                  <a:gd name="connsiteY828" fmla="*/ 1087798 h 1473560"/>
                  <a:gd name="connsiteX829" fmla="*/ 447675 w 3574732"/>
                  <a:gd name="connsiteY829" fmla="*/ 1095418 h 1473560"/>
                  <a:gd name="connsiteX830" fmla="*/ 450533 w 3574732"/>
                  <a:gd name="connsiteY830" fmla="*/ 1102085 h 1473560"/>
                  <a:gd name="connsiteX831" fmla="*/ 458153 w 3574732"/>
                  <a:gd name="connsiteY831" fmla="*/ 1108753 h 1473560"/>
                  <a:gd name="connsiteX832" fmla="*/ 465773 w 3574732"/>
                  <a:gd name="connsiteY832" fmla="*/ 1112563 h 1473560"/>
                  <a:gd name="connsiteX833" fmla="*/ 474345 w 3574732"/>
                  <a:gd name="connsiteY833" fmla="*/ 1113515 h 1473560"/>
                  <a:gd name="connsiteX834" fmla="*/ 487680 w 3574732"/>
                  <a:gd name="connsiteY834" fmla="*/ 1123040 h 1473560"/>
                  <a:gd name="connsiteX835" fmla="*/ 493395 w 3574732"/>
                  <a:gd name="connsiteY835" fmla="*/ 1129708 h 1473560"/>
                  <a:gd name="connsiteX836" fmla="*/ 499110 w 3574732"/>
                  <a:gd name="connsiteY836" fmla="*/ 1134470 h 1473560"/>
                  <a:gd name="connsiteX837" fmla="*/ 507683 w 3574732"/>
                  <a:gd name="connsiteY837" fmla="*/ 1150663 h 1473560"/>
                  <a:gd name="connsiteX838" fmla="*/ 510540 w 3574732"/>
                  <a:gd name="connsiteY838" fmla="*/ 1157330 h 1473560"/>
                  <a:gd name="connsiteX839" fmla="*/ 507683 w 3574732"/>
                  <a:gd name="connsiteY839" fmla="*/ 1165903 h 1473560"/>
                  <a:gd name="connsiteX840" fmla="*/ 507683 w 3574732"/>
                  <a:gd name="connsiteY840" fmla="*/ 1173523 h 1473560"/>
                  <a:gd name="connsiteX841" fmla="*/ 518160 w 3574732"/>
                  <a:gd name="connsiteY841" fmla="*/ 1182095 h 1473560"/>
                  <a:gd name="connsiteX842" fmla="*/ 525780 w 3574732"/>
                  <a:gd name="connsiteY842" fmla="*/ 1185905 h 1473560"/>
                  <a:gd name="connsiteX843" fmla="*/ 526733 w 3574732"/>
                  <a:gd name="connsiteY843" fmla="*/ 1192573 h 1473560"/>
                  <a:gd name="connsiteX844" fmla="*/ 523875 w 3574732"/>
                  <a:gd name="connsiteY844" fmla="*/ 1198288 h 1473560"/>
                  <a:gd name="connsiteX845" fmla="*/ 519113 w 3574732"/>
                  <a:gd name="connsiteY845" fmla="*/ 1203050 h 1473560"/>
                  <a:gd name="connsiteX846" fmla="*/ 511493 w 3574732"/>
                  <a:gd name="connsiteY846" fmla="*/ 1214480 h 1473560"/>
                  <a:gd name="connsiteX847" fmla="*/ 506730 w 3574732"/>
                  <a:gd name="connsiteY847" fmla="*/ 1219243 h 1473560"/>
                  <a:gd name="connsiteX848" fmla="*/ 506730 w 3574732"/>
                  <a:gd name="connsiteY848" fmla="*/ 1227815 h 1473560"/>
                  <a:gd name="connsiteX849" fmla="*/ 499110 w 3574732"/>
                  <a:gd name="connsiteY849" fmla="*/ 1233530 h 1473560"/>
                  <a:gd name="connsiteX850" fmla="*/ 491490 w 3574732"/>
                  <a:gd name="connsiteY850" fmla="*/ 1245913 h 1473560"/>
                  <a:gd name="connsiteX851" fmla="*/ 491490 w 3574732"/>
                  <a:gd name="connsiteY851" fmla="*/ 1250675 h 1473560"/>
                  <a:gd name="connsiteX852" fmla="*/ 494348 w 3574732"/>
                  <a:gd name="connsiteY852" fmla="*/ 1260200 h 1473560"/>
                  <a:gd name="connsiteX853" fmla="*/ 495300 w 3574732"/>
                  <a:gd name="connsiteY853" fmla="*/ 1280203 h 1473560"/>
                  <a:gd name="connsiteX854" fmla="*/ 501968 w 3574732"/>
                  <a:gd name="connsiteY854" fmla="*/ 1290680 h 1473560"/>
                  <a:gd name="connsiteX855" fmla="*/ 500063 w 3574732"/>
                  <a:gd name="connsiteY855" fmla="*/ 1304015 h 1473560"/>
                  <a:gd name="connsiteX856" fmla="*/ 502920 w 3574732"/>
                  <a:gd name="connsiteY856" fmla="*/ 1310683 h 1473560"/>
                  <a:gd name="connsiteX857" fmla="*/ 514350 w 3574732"/>
                  <a:gd name="connsiteY857" fmla="*/ 1320208 h 1473560"/>
                  <a:gd name="connsiteX858" fmla="*/ 525780 w 3574732"/>
                  <a:gd name="connsiteY858" fmla="*/ 1326875 h 1473560"/>
                  <a:gd name="connsiteX859" fmla="*/ 534353 w 3574732"/>
                  <a:gd name="connsiteY859" fmla="*/ 1337353 h 1473560"/>
                  <a:gd name="connsiteX860" fmla="*/ 535305 w 3574732"/>
                  <a:gd name="connsiteY860" fmla="*/ 1342115 h 1473560"/>
                  <a:gd name="connsiteX861" fmla="*/ 533400 w 3574732"/>
                  <a:gd name="connsiteY861" fmla="*/ 1349735 h 1473560"/>
                  <a:gd name="connsiteX862" fmla="*/ 533400 w 3574732"/>
                  <a:gd name="connsiteY862" fmla="*/ 1360213 h 1473560"/>
                  <a:gd name="connsiteX863" fmla="*/ 534353 w 3574732"/>
                  <a:gd name="connsiteY863" fmla="*/ 1369738 h 1473560"/>
                  <a:gd name="connsiteX864" fmla="*/ 547688 w 3574732"/>
                  <a:gd name="connsiteY864" fmla="*/ 1380215 h 1473560"/>
                  <a:gd name="connsiteX865" fmla="*/ 553403 w 3574732"/>
                  <a:gd name="connsiteY865" fmla="*/ 1388788 h 1473560"/>
                  <a:gd name="connsiteX866" fmla="*/ 559118 w 3574732"/>
                  <a:gd name="connsiteY866" fmla="*/ 1393550 h 1473560"/>
                  <a:gd name="connsiteX867" fmla="*/ 563880 w 3574732"/>
                  <a:gd name="connsiteY867" fmla="*/ 1398313 h 1473560"/>
                  <a:gd name="connsiteX868" fmla="*/ 573405 w 3574732"/>
                  <a:gd name="connsiteY868" fmla="*/ 1410695 h 1473560"/>
                  <a:gd name="connsiteX869" fmla="*/ 576263 w 3574732"/>
                  <a:gd name="connsiteY869" fmla="*/ 1419268 h 1473560"/>
                  <a:gd name="connsiteX870" fmla="*/ 580073 w 3574732"/>
                  <a:gd name="connsiteY870" fmla="*/ 1425935 h 1473560"/>
                  <a:gd name="connsiteX871" fmla="*/ 588645 w 3574732"/>
                  <a:gd name="connsiteY871" fmla="*/ 1436413 h 1473560"/>
                  <a:gd name="connsiteX872" fmla="*/ 594360 w 3574732"/>
                  <a:gd name="connsiteY872" fmla="*/ 1442128 h 1473560"/>
                  <a:gd name="connsiteX873" fmla="*/ 597218 w 3574732"/>
                  <a:gd name="connsiteY873" fmla="*/ 1451653 h 1473560"/>
                  <a:gd name="connsiteX874" fmla="*/ 597218 w 3574732"/>
                  <a:gd name="connsiteY874" fmla="*/ 1458320 h 1473560"/>
                  <a:gd name="connsiteX875" fmla="*/ 598170 w 3574732"/>
                  <a:gd name="connsiteY875" fmla="*/ 1464035 h 1473560"/>
                  <a:gd name="connsiteX876" fmla="*/ 601980 w 3574732"/>
                  <a:gd name="connsiteY876" fmla="*/ 1473560 h 1473560"/>
                  <a:gd name="connsiteX877" fmla="*/ 612458 w 3574732"/>
                  <a:gd name="connsiteY877" fmla="*/ 1473560 h 1473560"/>
                  <a:gd name="connsiteX878" fmla="*/ 618173 w 3574732"/>
                  <a:gd name="connsiteY878" fmla="*/ 1473560 h 1473560"/>
                  <a:gd name="connsiteX879" fmla="*/ 628650 w 3574732"/>
                  <a:gd name="connsiteY879" fmla="*/ 1473560 h 1473560"/>
                  <a:gd name="connsiteX880" fmla="*/ 639128 w 3574732"/>
                  <a:gd name="connsiteY880" fmla="*/ 1473560 h 1473560"/>
                  <a:gd name="connsiteX881" fmla="*/ 650558 w 3574732"/>
                  <a:gd name="connsiteY881" fmla="*/ 1472608 h 1473560"/>
                  <a:gd name="connsiteX882" fmla="*/ 656273 w 3574732"/>
                  <a:gd name="connsiteY882" fmla="*/ 1470703 h 1473560"/>
                  <a:gd name="connsiteX883" fmla="*/ 667703 w 3574732"/>
                  <a:gd name="connsiteY883" fmla="*/ 1469750 h 1473560"/>
                  <a:gd name="connsiteX884" fmla="*/ 681038 w 3574732"/>
                  <a:gd name="connsiteY884" fmla="*/ 1468798 h 1473560"/>
                  <a:gd name="connsiteX885" fmla="*/ 698183 w 3574732"/>
                  <a:gd name="connsiteY885" fmla="*/ 1468798 h 1473560"/>
                  <a:gd name="connsiteX886" fmla="*/ 719138 w 3574732"/>
                  <a:gd name="connsiteY886" fmla="*/ 1466893 h 1473560"/>
                  <a:gd name="connsiteX887" fmla="*/ 746760 w 3574732"/>
                  <a:gd name="connsiteY887" fmla="*/ 1462130 h 1473560"/>
                  <a:gd name="connsiteX888" fmla="*/ 764858 w 3574732"/>
                  <a:gd name="connsiteY888" fmla="*/ 1456415 h 1473560"/>
                  <a:gd name="connsiteX889" fmla="*/ 775335 w 3574732"/>
                  <a:gd name="connsiteY889" fmla="*/ 1447843 h 1473560"/>
                  <a:gd name="connsiteX890" fmla="*/ 781050 w 3574732"/>
                  <a:gd name="connsiteY890" fmla="*/ 1444033 h 1473560"/>
                  <a:gd name="connsiteX891" fmla="*/ 786765 w 3574732"/>
                  <a:gd name="connsiteY891" fmla="*/ 1440223 h 1473560"/>
                  <a:gd name="connsiteX892" fmla="*/ 802005 w 3574732"/>
                  <a:gd name="connsiteY892" fmla="*/ 1434508 h 1473560"/>
                  <a:gd name="connsiteX893" fmla="*/ 810578 w 3574732"/>
                  <a:gd name="connsiteY893" fmla="*/ 1427840 h 1473560"/>
                  <a:gd name="connsiteX894" fmla="*/ 815340 w 3574732"/>
                  <a:gd name="connsiteY894" fmla="*/ 1424030 h 1473560"/>
                  <a:gd name="connsiteX895" fmla="*/ 821055 w 3574732"/>
                  <a:gd name="connsiteY895" fmla="*/ 1415458 h 1473560"/>
                  <a:gd name="connsiteX896" fmla="*/ 826770 w 3574732"/>
                  <a:gd name="connsiteY896" fmla="*/ 1412600 h 1473560"/>
                  <a:gd name="connsiteX897" fmla="*/ 834390 w 3574732"/>
                  <a:gd name="connsiteY897" fmla="*/ 1406885 h 1473560"/>
                  <a:gd name="connsiteX898" fmla="*/ 836295 w 3574732"/>
                  <a:gd name="connsiteY898" fmla="*/ 1404028 h 1473560"/>
                  <a:gd name="connsiteX899" fmla="*/ 839153 w 3574732"/>
                  <a:gd name="connsiteY899" fmla="*/ 1389740 h 1473560"/>
                  <a:gd name="connsiteX900" fmla="*/ 839153 w 3574732"/>
                  <a:gd name="connsiteY900" fmla="*/ 1381168 h 1473560"/>
                  <a:gd name="connsiteX901" fmla="*/ 843915 w 3574732"/>
                  <a:gd name="connsiteY901" fmla="*/ 1370690 h 1473560"/>
                  <a:gd name="connsiteX902" fmla="*/ 859155 w 3574732"/>
                  <a:gd name="connsiteY902" fmla="*/ 1365928 h 1473560"/>
                  <a:gd name="connsiteX903" fmla="*/ 864870 w 3574732"/>
                  <a:gd name="connsiteY903" fmla="*/ 1364975 h 1473560"/>
                  <a:gd name="connsiteX904" fmla="*/ 870585 w 3574732"/>
                  <a:gd name="connsiteY904" fmla="*/ 1364023 h 1473560"/>
                  <a:gd name="connsiteX905" fmla="*/ 881063 w 3574732"/>
                  <a:gd name="connsiteY905" fmla="*/ 1357355 h 1473560"/>
                  <a:gd name="connsiteX906" fmla="*/ 880110 w 3574732"/>
                  <a:gd name="connsiteY906" fmla="*/ 1354498 h 1473560"/>
                  <a:gd name="connsiteX907" fmla="*/ 880110 w 3574732"/>
                  <a:gd name="connsiteY907" fmla="*/ 1347830 h 1473560"/>
                  <a:gd name="connsiteX908" fmla="*/ 880110 w 3574732"/>
                  <a:gd name="connsiteY908" fmla="*/ 1338305 h 1473560"/>
                  <a:gd name="connsiteX909" fmla="*/ 880110 w 3574732"/>
                  <a:gd name="connsiteY909" fmla="*/ 1329733 h 1473560"/>
                  <a:gd name="connsiteX910" fmla="*/ 880110 w 3574732"/>
                  <a:gd name="connsiteY910" fmla="*/ 1317350 h 1473560"/>
                  <a:gd name="connsiteX911" fmla="*/ 884873 w 3574732"/>
                  <a:gd name="connsiteY911" fmla="*/ 1302110 h 1473560"/>
                  <a:gd name="connsiteX912" fmla="*/ 884873 w 3574732"/>
                  <a:gd name="connsiteY912" fmla="*/ 1298300 h 1473560"/>
                  <a:gd name="connsiteX913" fmla="*/ 902970 w 3574732"/>
                  <a:gd name="connsiteY913" fmla="*/ 1287823 h 1473560"/>
                  <a:gd name="connsiteX914" fmla="*/ 921068 w 3574732"/>
                  <a:gd name="connsiteY914" fmla="*/ 1278298 h 1473560"/>
                  <a:gd name="connsiteX915" fmla="*/ 929640 w 3574732"/>
                  <a:gd name="connsiteY915" fmla="*/ 1275440 h 1473560"/>
                  <a:gd name="connsiteX916" fmla="*/ 935355 w 3574732"/>
                  <a:gd name="connsiteY916" fmla="*/ 1272583 h 1473560"/>
                  <a:gd name="connsiteX917" fmla="*/ 945833 w 3574732"/>
                  <a:gd name="connsiteY917" fmla="*/ 1270678 h 1473560"/>
                  <a:gd name="connsiteX918" fmla="*/ 954405 w 3574732"/>
                  <a:gd name="connsiteY918" fmla="*/ 1267820 h 1473560"/>
                  <a:gd name="connsiteX919" fmla="*/ 962978 w 3574732"/>
                  <a:gd name="connsiteY919" fmla="*/ 1264963 h 1473560"/>
                  <a:gd name="connsiteX920" fmla="*/ 970598 w 3574732"/>
                  <a:gd name="connsiteY920" fmla="*/ 1257343 h 1473560"/>
                  <a:gd name="connsiteX921" fmla="*/ 975360 w 3574732"/>
                  <a:gd name="connsiteY921" fmla="*/ 1243055 h 1473560"/>
                  <a:gd name="connsiteX922" fmla="*/ 975360 w 3574732"/>
                  <a:gd name="connsiteY922" fmla="*/ 1227815 h 1473560"/>
                  <a:gd name="connsiteX923" fmla="*/ 975360 w 3574732"/>
                  <a:gd name="connsiteY923" fmla="*/ 1219243 h 1473560"/>
                  <a:gd name="connsiteX924" fmla="*/ 975360 w 3574732"/>
                  <a:gd name="connsiteY924" fmla="*/ 1204955 h 1473560"/>
                  <a:gd name="connsiteX925" fmla="*/ 975360 w 3574732"/>
                  <a:gd name="connsiteY925" fmla="*/ 1193525 h 1473560"/>
                  <a:gd name="connsiteX926" fmla="*/ 963930 w 3574732"/>
                  <a:gd name="connsiteY926" fmla="*/ 1181143 h 1473560"/>
                  <a:gd name="connsiteX927" fmla="*/ 961073 w 3574732"/>
                  <a:gd name="connsiteY927" fmla="*/ 1170665 h 1473560"/>
                  <a:gd name="connsiteX928" fmla="*/ 960120 w 3574732"/>
                  <a:gd name="connsiteY928" fmla="*/ 1159235 h 1473560"/>
                  <a:gd name="connsiteX929" fmla="*/ 960120 w 3574732"/>
                  <a:gd name="connsiteY929" fmla="*/ 1145900 h 1473560"/>
                  <a:gd name="connsiteX930" fmla="*/ 960120 w 3574732"/>
                  <a:gd name="connsiteY930" fmla="*/ 1132565 h 1473560"/>
                  <a:gd name="connsiteX931" fmla="*/ 965835 w 3574732"/>
                  <a:gd name="connsiteY931" fmla="*/ 1121135 h 1473560"/>
                  <a:gd name="connsiteX932" fmla="*/ 970598 w 3574732"/>
                  <a:gd name="connsiteY932" fmla="*/ 1111610 h 1473560"/>
                  <a:gd name="connsiteX933" fmla="*/ 985838 w 3574732"/>
                  <a:gd name="connsiteY933" fmla="*/ 1100180 h 1473560"/>
                  <a:gd name="connsiteX934" fmla="*/ 1001078 w 3574732"/>
                  <a:gd name="connsiteY934" fmla="*/ 1089703 h 1473560"/>
                  <a:gd name="connsiteX935" fmla="*/ 1011555 w 3574732"/>
                  <a:gd name="connsiteY935" fmla="*/ 1083988 h 1473560"/>
                  <a:gd name="connsiteX936" fmla="*/ 1022985 w 3574732"/>
                  <a:gd name="connsiteY936" fmla="*/ 1077320 h 1473560"/>
                  <a:gd name="connsiteX937" fmla="*/ 1033463 w 3574732"/>
                  <a:gd name="connsiteY937" fmla="*/ 1072558 h 1473560"/>
                  <a:gd name="connsiteX938" fmla="*/ 1051560 w 3574732"/>
                  <a:gd name="connsiteY938" fmla="*/ 1063033 h 1473560"/>
                  <a:gd name="connsiteX939" fmla="*/ 1063943 w 3574732"/>
                  <a:gd name="connsiteY939" fmla="*/ 1055413 h 1473560"/>
                  <a:gd name="connsiteX940" fmla="*/ 1072515 w 3574732"/>
                  <a:gd name="connsiteY940" fmla="*/ 1049698 h 1473560"/>
                  <a:gd name="connsiteX941" fmla="*/ 1094423 w 3574732"/>
                  <a:gd name="connsiteY941" fmla="*/ 1042078 h 1473560"/>
                  <a:gd name="connsiteX942" fmla="*/ 1115378 w 3574732"/>
                  <a:gd name="connsiteY942" fmla="*/ 1027790 h 1473560"/>
                  <a:gd name="connsiteX943" fmla="*/ 1123950 w 3574732"/>
                  <a:gd name="connsiteY943" fmla="*/ 1018265 h 1473560"/>
                  <a:gd name="connsiteX944" fmla="*/ 1125855 w 3574732"/>
                  <a:gd name="connsiteY944" fmla="*/ 1011598 h 1473560"/>
                  <a:gd name="connsiteX945" fmla="*/ 1136333 w 3574732"/>
                  <a:gd name="connsiteY945" fmla="*/ 1002073 h 1473560"/>
                  <a:gd name="connsiteX946" fmla="*/ 1139190 w 3574732"/>
                  <a:gd name="connsiteY946" fmla="*/ 997310 h 1473560"/>
                  <a:gd name="connsiteX947" fmla="*/ 1154430 w 3574732"/>
                  <a:gd name="connsiteY947" fmla="*/ 975403 h 1473560"/>
                  <a:gd name="connsiteX948" fmla="*/ 1156335 w 3574732"/>
                  <a:gd name="connsiteY948" fmla="*/ 963973 h 1473560"/>
                  <a:gd name="connsiteX949" fmla="*/ 1158240 w 3574732"/>
                  <a:gd name="connsiteY949" fmla="*/ 958258 h 1473560"/>
                  <a:gd name="connsiteX950" fmla="*/ 1160145 w 3574732"/>
                  <a:gd name="connsiteY950" fmla="*/ 951590 h 1473560"/>
                  <a:gd name="connsiteX951" fmla="*/ 1141095 w 3574732"/>
                  <a:gd name="connsiteY951" fmla="*/ 955400 h 1473560"/>
                  <a:gd name="connsiteX952" fmla="*/ 1127760 w 3574732"/>
                  <a:gd name="connsiteY952" fmla="*/ 955400 h 1473560"/>
                  <a:gd name="connsiteX953" fmla="*/ 1116330 w 3574732"/>
                  <a:gd name="connsiteY953" fmla="*/ 956353 h 1473560"/>
                  <a:gd name="connsiteX954" fmla="*/ 1095375 w 3574732"/>
                  <a:gd name="connsiteY954" fmla="*/ 955400 h 1473560"/>
                  <a:gd name="connsiteX955" fmla="*/ 1089660 w 3574732"/>
                  <a:gd name="connsiteY955" fmla="*/ 955400 h 1473560"/>
                  <a:gd name="connsiteX956" fmla="*/ 1073468 w 3574732"/>
                  <a:gd name="connsiteY956" fmla="*/ 956353 h 1473560"/>
                  <a:gd name="connsiteX957" fmla="*/ 1067753 w 3574732"/>
                  <a:gd name="connsiteY957" fmla="*/ 957305 h 1473560"/>
                  <a:gd name="connsiteX958" fmla="*/ 1053465 w 3574732"/>
                  <a:gd name="connsiteY958" fmla="*/ 957305 h 1473560"/>
                  <a:gd name="connsiteX959" fmla="*/ 1042035 w 3574732"/>
                  <a:gd name="connsiteY959" fmla="*/ 953495 h 1473560"/>
                  <a:gd name="connsiteX960" fmla="*/ 1030605 w 3574732"/>
                  <a:gd name="connsiteY960" fmla="*/ 946828 h 1473560"/>
                  <a:gd name="connsiteX961" fmla="*/ 1027748 w 3574732"/>
                  <a:gd name="connsiteY961" fmla="*/ 943018 h 1473560"/>
                  <a:gd name="connsiteX962" fmla="*/ 1021080 w 3574732"/>
                  <a:gd name="connsiteY962" fmla="*/ 933493 h 1473560"/>
                  <a:gd name="connsiteX963" fmla="*/ 1004888 w 3574732"/>
                  <a:gd name="connsiteY963" fmla="*/ 923968 h 1473560"/>
                  <a:gd name="connsiteX964" fmla="*/ 993458 w 3574732"/>
                  <a:gd name="connsiteY964" fmla="*/ 921110 h 1473560"/>
                  <a:gd name="connsiteX965" fmla="*/ 984885 w 3574732"/>
                  <a:gd name="connsiteY965" fmla="*/ 912538 h 1473560"/>
                  <a:gd name="connsiteX966" fmla="*/ 976313 w 3574732"/>
                  <a:gd name="connsiteY966" fmla="*/ 908728 h 1473560"/>
                  <a:gd name="connsiteX967" fmla="*/ 963930 w 3574732"/>
                  <a:gd name="connsiteY967" fmla="*/ 908728 h 1473560"/>
                  <a:gd name="connsiteX968" fmla="*/ 953453 w 3574732"/>
                  <a:gd name="connsiteY968" fmla="*/ 896345 h 1473560"/>
                  <a:gd name="connsiteX969" fmla="*/ 949643 w 3574732"/>
                  <a:gd name="connsiteY969" fmla="*/ 885868 h 1473560"/>
                  <a:gd name="connsiteX970" fmla="*/ 942975 w 3574732"/>
                  <a:gd name="connsiteY970" fmla="*/ 872533 h 1473560"/>
                  <a:gd name="connsiteX971" fmla="*/ 934403 w 3574732"/>
                  <a:gd name="connsiteY971" fmla="*/ 862055 h 1473560"/>
                  <a:gd name="connsiteX972" fmla="*/ 930593 w 3574732"/>
                  <a:gd name="connsiteY972" fmla="*/ 847768 h 1473560"/>
                  <a:gd name="connsiteX973" fmla="*/ 924878 w 3574732"/>
                  <a:gd name="connsiteY973" fmla="*/ 838243 h 1473560"/>
                  <a:gd name="connsiteX974" fmla="*/ 917258 w 3574732"/>
                  <a:gd name="connsiteY974" fmla="*/ 833480 h 1473560"/>
                  <a:gd name="connsiteX975" fmla="*/ 901065 w 3574732"/>
                  <a:gd name="connsiteY975" fmla="*/ 820145 h 1473560"/>
                  <a:gd name="connsiteX976" fmla="*/ 893445 w 3574732"/>
                  <a:gd name="connsiteY976" fmla="*/ 815383 h 1473560"/>
                  <a:gd name="connsiteX977" fmla="*/ 884873 w 3574732"/>
                  <a:gd name="connsiteY977" fmla="*/ 812525 h 1473560"/>
                  <a:gd name="connsiteX978" fmla="*/ 881063 w 3574732"/>
                  <a:gd name="connsiteY978" fmla="*/ 799190 h 1473560"/>
                  <a:gd name="connsiteX979" fmla="*/ 882968 w 3574732"/>
                  <a:gd name="connsiteY979" fmla="*/ 790618 h 1473560"/>
                  <a:gd name="connsiteX980" fmla="*/ 880110 w 3574732"/>
                  <a:gd name="connsiteY980" fmla="*/ 778235 h 1473560"/>
                  <a:gd name="connsiteX981" fmla="*/ 880110 w 3574732"/>
                  <a:gd name="connsiteY981" fmla="*/ 774425 h 1473560"/>
                  <a:gd name="connsiteX982" fmla="*/ 880110 w 3574732"/>
                  <a:gd name="connsiteY982" fmla="*/ 766805 h 1473560"/>
                  <a:gd name="connsiteX983" fmla="*/ 884873 w 3574732"/>
                  <a:gd name="connsiteY983" fmla="*/ 761090 h 1473560"/>
                  <a:gd name="connsiteX984" fmla="*/ 895350 w 3574732"/>
                  <a:gd name="connsiteY984" fmla="*/ 761090 h 1473560"/>
                  <a:gd name="connsiteX985" fmla="*/ 905828 w 3574732"/>
                  <a:gd name="connsiteY985" fmla="*/ 762043 h 1473560"/>
                  <a:gd name="connsiteX986" fmla="*/ 916305 w 3574732"/>
                  <a:gd name="connsiteY986" fmla="*/ 767758 h 1473560"/>
                  <a:gd name="connsiteX987" fmla="*/ 921068 w 3574732"/>
                  <a:gd name="connsiteY987" fmla="*/ 773473 h 1473560"/>
                  <a:gd name="connsiteX988" fmla="*/ 924878 w 3574732"/>
                  <a:gd name="connsiteY988" fmla="*/ 779188 h 1473560"/>
                  <a:gd name="connsiteX989" fmla="*/ 930593 w 3574732"/>
                  <a:gd name="connsiteY989" fmla="*/ 783950 h 1473560"/>
                  <a:gd name="connsiteX990" fmla="*/ 930593 w 3574732"/>
                  <a:gd name="connsiteY990" fmla="*/ 790618 h 1473560"/>
                  <a:gd name="connsiteX991" fmla="*/ 930593 w 3574732"/>
                  <a:gd name="connsiteY991" fmla="*/ 798238 h 1473560"/>
                  <a:gd name="connsiteX992" fmla="*/ 944880 w 3574732"/>
                  <a:gd name="connsiteY992" fmla="*/ 814430 h 1473560"/>
                  <a:gd name="connsiteX993" fmla="*/ 956310 w 3574732"/>
                  <a:gd name="connsiteY993" fmla="*/ 831575 h 1473560"/>
                  <a:gd name="connsiteX994" fmla="*/ 973455 w 3574732"/>
                  <a:gd name="connsiteY994" fmla="*/ 843958 h 1473560"/>
                  <a:gd name="connsiteX995" fmla="*/ 990600 w 3574732"/>
                  <a:gd name="connsiteY995" fmla="*/ 853483 h 1473560"/>
                  <a:gd name="connsiteX996" fmla="*/ 993458 w 3574732"/>
                  <a:gd name="connsiteY996" fmla="*/ 864913 h 1473560"/>
                  <a:gd name="connsiteX997" fmla="*/ 1000125 w 3574732"/>
                  <a:gd name="connsiteY997" fmla="*/ 875390 h 1473560"/>
                  <a:gd name="connsiteX998" fmla="*/ 1011555 w 3574732"/>
                  <a:gd name="connsiteY998" fmla="*/ 883963 h 1473560"/>
                  <a:gd name="connsiteX999" fmla="*/ 1027748 w 3574732"/>
                  <a:gd name="connsiteY999" fmla="*/ 893488 h 1473560"/>
                  <a:gd name="connsiteX1000" fmla="*/ 1031558 w 3574732"/>
                  <a:gd name="connsiteY1000" fmla="*/ 901108 h 1473560"/>
                  <a:gd name="connsiteX1001" fmla="*/ 1032510 w 3574732"/>
                  <a:gd name="connsiteY1001" fmla="*/ 913490 h 1473560"/>
                  <a:gd name="connsiteX1002" fmla="*/ 1033463 w 3574732"/>
                  <a:gd name="connsiteY1002" fmla="*/ 921110 h 1473560"/>
                  <a:gd name="connsiteX1003" fmla="*/ 1037273 w 3574732"/>
                  <a:gd name="connsiteY1003" fmla="*/ 927778 h 1473560"/>
                  <a:gd name="connsiteX1004" fmla="*/ 1042035 w 3574732"/>
                  <a:gd name="connsiteY1004" fmla="*/ 931588 h 1473560"/>
                  <a:gd name="connsiteX1005" fmla="*/ 1053465 w 3574732"/>
                  <a:gd name="connsiteY1005" fmla="*/ 935398 h 1473560"/>
                  <a:gd name="connsiteX1006" fmla="*/ 1061085 w 3574732"/>
                  <a:gd name="connsiteY1006" fmla="*/ 936350 h 1473560"/>
                  <a:gd name="connsiteX1007" fmla="*/ 1075373 w 3574732"/>
                  <a:gd name="connsiteY1007" fmla="*/ 936350 h 1473560"/>
                  <a:gd name="connsiteX1008" fmla="*/ 1086803 w 3574732"/>
                  <a:gd name="connsiteY1008" fmla="*/ 935398 h 1473560"/>
                  <a:gd name="connsiteX1009" fmla="*/ 1101090 w 3574732"/>
                  <a:gd name="connsiteY1009" fmla="*/ 934445 h 1473560"/>
                  <a:gd name="connsiteX1010" fmla="*/ 1115378 w 3574732"/>
                  <a:gd name="connsiteY1010" fmla="*/ 930635 h 1473560"/>
                  <a:gd name="connsiteX1011" fmla="*/ 1131570 w 3574732"/>
                  <a:gd name="connsiteY1011" fmla="*/ 926825 h 1473560"/>
                  <a:gd name="connsiteX1012" fmla="*/ 1140143 w 3574732"/>
                  <a:gd name="connsiteY1012" fmla="*/ 925873 h 1473560"/>
                  <a:gd name="connsiteX1013" fmla="*/ 1150620 w 3574732"/>
                  <a:gd name="connsiteY1013" fmla="*/ 923015 h 1473560"/>
                  <a:gd name="connsiteX1014" fmla="*/ 1163955 w 3574732"/>
                  <a:gd name="connsiteY1014" fmla="*/ 915395 h 1473560"/>
                  <a:gd name="connsiteX1015" fmla="*/ 1180148 w 3574732"/>
                  <a:gd name="connsiteY1015" fmla="*/ 906823 h 1473560"/>
                  <a:gd name="connsiteX1016" fmla="*/ 1188720 w 3574732"/>
                  <a:gd name="connsiteY1016" fmla="*/ 903965 h 1473560"/>
                  <a:gd name="connsiteX1017" fmla="*/ 1212533 w 3574732"/>
                  <a:gd name="connsiteY1017" fmla="*/ 900155 h 1473560"/>
                  <a:gd name="connsiteX1018" fmla="*/ 1228725 w 3574732"/>
                  <a:gd name="connsiteY1018" fmla="*/ 895393 h 1473560"/>
                  <a:gd name="connsiteX1019" fmla="*/ 1246823 w 3574732"/>
                  <a:gd name="connsiteY1019" fmla="*/ 882058 h 1473560"/>
                  <a:gd name="connsiteX1020" fmla="*/ 1249680 w 3574732"/>
                  <a:gd name="connsiteY1020" fmla="*/ 879200 h 1473560"/>
                  <a:gd name="connsiteX1021" fmla="*/ 1263015 w 3574732"/>
                  <a:gd name="connsiteY1021" fmla="*/ 877295 h 1473560"/>
                  <a:gd name="connsiteX1022" fmla="*/ 1274445 w 3574732"/>
                  <a:gd name="connsiteY1022" fmla="*/ 872533 h 1473560"/>
                  <a:gd name="connsiteX1023" fmla="*/ 1280160 w 3574732"/>
                  <a:gd name="connsiteY1023" fmla="*/ 869675 h 1473560"/>
                  <a:gd name="connsiteX1024" fmla="*/ 1299210 w 3574732"/>
                  <a:gd name="connsiteY1024" fmla="*/ 861103 h 1473560"/>
                  <a:gd name="connsiteX1025" fmla="*/ 1306830 w 3574732"/>
                  <a:gd name="connsiteY1025" fmla="*/ 852530 h 1473560"/>
                  <a:gd name="connsiteX1026" fmla="*/ 1315403 w 3574732"/>
                  <a:gd name="connsiteY1026" fmla="*/ 843005 h 1473560"/>
                  <a:gd name="connsiteX1027" fmla="*/ 1314450 w 3574732"/>
                  <a:gd name="connsiteY1027" fmla="*/ 829670 h 1473560"/>
                  <a:gd name="connsiteX1028" fmla="*/ 1313498 w 3574732"/>
                  <a:gd name="connsiteY1028" fmla="*/ 824908 h 1473560"/>
                  <a:gd name="connsiteX1029" fmla="*/ 1310640 w 3574732"/>
                  <a:gd name="connsiteY1029" fmla="*/ 822050 h 1473560"/>
                  <a:gd name="connsiteX1030" fmla="*/ 1304925 w 3574732"/>
                  <a:gd name="connsiteY1030" fmla="*/ 817288 h 1473560"/>
                  <a:gd name="connsiteX1031" fmla="*/ 1290638 w 3574732"/>
                  <a:gd name="connsiteY1031" fmla="*/ 813478 h 1473560"/>
                  <a:gd name="connsiteX1032" fmla="*/ 1271588 w 3574732"/>
                  <a:gd name="connsiteY1032" fmla="*/ 804905 h 1473560"/>
                  <a:gd name="connsiteX1033" fmla="*/ 1270635 w 3574732"/>
                  <a:gd name="connsiteY1033" fmla="*/ 800143 h 1473560"/>
                  <a:gd name="connsiteX1034" fmla="*/ 1259205 w 3574732"/>
                  <a:gd name="connsiteY1034" fmla="*/ 795380 h 1473560"/>
                  <a:gd name="connsiteX1035" fmla="*/ 1245870 w 3574732"/>
                  <a:gd name="connsiteY1035" fmla="*/ 793475 h 1473560"/>
                  <a:gd name="connsiteX1036" fmla="*/ 1238250 w 3574732"/>
                  <a:gd name="connsiteY1036" fmla="*/ 793475 h 1473560"/>
                  <a:gd name="connsiteX1037" fmla="*/ 1232535 w 3574732"/>
                  <a:gd name="connsiteY1037" fmla="*/ 793475 h 1473560"/>
                  <a:gd name="connsiteX1038" fmla="*/ 1224915 w 3574732"/>
                  <a:gd name="connsiteY1038" fmla="*/ 793475 h 1473560"/>
                  <a:gd name="connsiteX1039" fmla="*/ 1217295 w 3574732"/>
                  <a:gd name="connsiteY1039" fmla="*/ 797285 h 1473560"/>
                  <a:gd name="connsiteX1040" fmla="*/ 1211580 w 3574732"/>
                  <a:gd name="connsiteY1040" fmla="*/ 801095 h 1473560"/>
                  <a:gd name="connsiteX1041" fmla="*/ 1203960 w 3574732"/>
                  <a:gd name="connsiteY1041" fmla="*/ 802048 h 1473560"/>
                  <a:gd name="connsiteX1042" fmla="*/ 1192530 w 3574732"/>
                  <a:gd name="connsiteY1042" fmla="*/ 798238 h 1473560"/>
                  <a:gd name="connsiteX1043" fmla="*/ 1183958 w 3574732"/>
                  <a:gd name="connsiteY1043" fmla="*/ 793475 h 1473560"/>
                  <a:gd name="connsiteX1044" fmla="*/ 1162050 w 3574732"/>
                  <a:gd name="connsiteY1044" fmla="*/ 777283 h 1473560"/>
                  <a:gd name="connsiteX1045" fmla="*/ 1157288 w 3574732"/>
                  <a:gd name="connsiteY1045" fmla="*/ 776330 h 1473560"/>
                  <a:gd name="connsiteX1046" fmla="*/ 1148715 w 3574732"/>
                  <a:gd name="connsiteY1046" fmla="*/ 769663 h 1473560"/>
                  <a:gd name="connsiteX1047" fmla="*/ 1140143 w 3574732"/>
                  <a:gd name="connsiteY1047" fmla="*/ 759185 h 1473560"/>
                  <a:gd name="connsiteX1048" fmla="*/ 1132523 w 3574732"/>
                  <a:gd name="connsiteY1048" fmla="*/ 751565 h 1473560"/>
                  <a:gd name="connsiteX1049" fmla="*/ 1126808 w 3574732"/>
                  <a:gd name="connsiteY1049" fmla="*/ 741088 h 1473560"/>
                  <a:gd name="connsiteX1050" fmla="*/ 1129665 w 3574732"/>
                  <a:gd name="connsiteY1050" fmla="*/ 733468 h 1473560"/>
                  <a:gd name="connsiteX1051" fmla="*/ 1138238 w 3574732"/>
                  <a:gd name="connsiteY1051" fmla="*/ 733468 h 1473560"/>
                  <a:gd name="connsiteX1052" fmla="*/ 1159193 w 3574732"/>
                  <a:gd name="connsiteY1052" fmla="*/ 736325 h 1473560"/>
                  <a:gd name="connsiteX1053" fmla="*/ 1167765 w 3574732"/>
                  <a:gd name="connsiteY1053" fmla="*/ 743945 h 1473560"/>
                  <a:gd name="connsiteX1054" fmla="*/ 1173480 w 3574732"/>
                  <a:gd name="connsiteY1054" fmla="*/ 748708 h 1473560"/>
                  <a:gd name="connsiteX1055" fmla="*/ 1179195 w 3574732"/>
                  <a:gd name="connsiteY1055" fmla="*/ 755375 h 1473560"/>
                  <a:gd name="connsiteX1056" fmla="*/ 1187768 w 3574732"/>
                  <a:gd name="connsiteY1056" fmla="*/ 765853 h 1473560"/>
                  <a:gd name="connsiteX1057" fmla="*/ 1193483 w 3574732"/>
                  <a:gd name="connsiteY1057" fmla="*/ 768710 h 1473560"/>
                  <a:gd name="connsiteX1058" fmla="*/ 1206818 w 3574732"/>
                  <a:gd name="connsiteY1058" fmla="*/ 774425 h 1473560"/>
                  <a:gd name="connsiteX1059" fmla="*/ 1231583 w 3574732"/>
                  <a:gd name="connsiteY1059" fmla="*/ 775378 h 1473560"/>
                  <a:gd name="connsiteX1060" fmla="*/ 1245870 w 3574732"/>
                  <a:gd name="connsiteY1060" fmla="*/ 776330 h 1473560"/>
                  <a:gd name="connsiteX1061" fmla="*/ 1259205 w 3574732"/>
                  <a:gd name="connsiteY1061" fmla="*/ 777283 h 1473560"/>
                  <a:gd name="connsiteX1062" fmla="*/ 1267778 w 3574732"/>
                  <a:gd name="connsiteY1062" fmla="*/ 781093 h 1473560"/>
                  <a:gd name="connsiteX1063" fmla="*/ 1276350 w 3574732"/>
                  <a:gd name="connsiteY1063" fmla="*/ 784903 h 1473560"/>
                  <a:gd name="connsiteX1064" fmla="*/ 1287780 w 3574732"/>
                  <a:gd name="connsiteY1064" fmla="*/ 789665 h 1473560"/>
                  <a:gd name="connsiteX1065" fmla="*/ 1298258 w 3574732"/>
                  <a:gd name="connsiteY1065" fmla="*/ 791570 h 1473560"/>
                  <a:gd name="connsiteX1066" fmla="*/ 1308735 w 3574732"/>
                  <a:gd name="connsiteY1066" fmla="*/ 793475 h 1473560"/>
                  <a:gd name="connsiteX1067" fmla="*/ 1322070 w 3574732"/>
                  <a:gd name="connsiteY1067" fmla="*/ 796333 h 1473560"/>
                  <a:gd name="connsiteX1068" fmla="*/ 1335405 w 3574732"/>
                  <a:gd name="connsiteY1068" fmla="*/ 798238 h 1473560"/>
                  <a:gd name="connsiteX1069" fmla="*/ 1357313 w 3574732"/>
                  <a:gd name="connsiteY1069" fmla="*/ 798238 h 1473560"/>
                  <a:gd name="connsiteX1070" fmla="*/ 1390650 w 3574732"/>
                  <a:gd name="connsiteY1070" fmla="*/ 798238 h 1473560"/>
                  <a:gd name="connsiteX1071" fmla="*/ 1402080 w 3574732"/>
                  <a:gd name="connsiteY1071" fmla="*/ 797285 h 1473560"/>
                  <a:gd name="connsiteX1072" fmla="*/ 1415415 w 3574732"/>
                  <a:gd name="connsiteY1072" fmla="*/ 797285 h 1473560"/>
                  <a:gd name="connsiteX1073" fmla="*/ 1434465 w 3574732"/>
                  <a:gd name="connsiteY1073" fmla="*/ 798238 h 1473560"/>
                  <a:gd name="connsiteX1074" fmla="*/ 1447800 w 3574732"/>
                  <a:gd name="connsiteY1074" fmla="*/ 803000 h 1473560"/>
                  <a:gd name="connsiteX1075" fmla="*/ 1459230 w 3574732"/>
                  <a:gd name="connsiteY1075" fmla="*/ 814430 h 1473560"/>
                  <a:gd name="connsiteX1076" fmla="*/ 1467803 w 3574732"/>
                  <a:gd name="connsiteY1076" fmla="*/ 821098 h 1473560"/>
                  <a:gd name="connsiteX1077" fmla="*/ 1482090 w 3574732"/>
                  <a:gd name="connsiteY1077" fmla="*/ 828718 h 1473560"/>
                  <a:gd name="connsiteX1078" fmla="*/ 1495425 w 3574732"/>
                  <a:gd name="connsiteY1078" fmla="*/ 842053 h 1473560"/>
                  <a:gd name="connsiteX1079" fmla="*/ 1503998 w 3574732"/>
                  <a:gd name="connsiteY1079" fmla="*/ 845863 h 1473560"/>
                  <a:gd name="connsiteX1080" fmla="*/ 1518285 w 3574732"/>
                  <a:gd name="connsiteY1080" fmla="*/ 843958 h 1473560"/>
                  <a:gd name="connsiteX1081" fmla="*/ 1524000 w 3574732"/>
                  <a:gd name="connsiteY1081" fmla="*/ 838243 h 1473560"/>
                  <a:gd name="connsiteX1082" fmla="*/ 1534478 w 3574732"/>
                  <a:gd name="connsiteY1082" fmla="*/ 837290 h 1473560"/>
                  <a:gd name="connsiteX1083" fmla="*/ 1534478 w 3574732"/>
                  <a:gd name="connsiteY1083" fmla="*/ 841100 h 1473560"/>
                  <a:gd name="connsiteX1084" fmla="*/ 1540193 w 3574732"/>
                  <a:gd name="connsiteY1084" fmla="*/ 856340 h 1473560"/>
                  <a:gd name="connsiteX1085" fmla="*/ 1546860 w 3574732"/>
                  <a:gd name="connsiteY1085" fmla="*/ 871580 h 1473560"/>
                  <a:gd name="connsiteX1086" fmla="*/ 1544955 w 3574732"/>
                  <a:gd name="connsiteY1086" fmla="*/ 887773 h 1473560"/>
                  <a:gd name="connsiteX1087" fmla="*/ 1548765 w 3574732"/>
                  <a:gd name="connsiteY1087" fmla="*/ 895393 h 1473560"/>
                  <a:gd name="connsiteX1088" fmla="*/ 1551623 w 3574732"/>
                  <a:gd name="connsiteY1088" fmla="*/ 900155 h 1473560"/>
                  <a:gd name="connsiteX1089" fmla="*/ 1564005 w 3574732"/>
                  <a:gd name="connsiteY1089" fmla="*/ 919205 h 1473560"/>
                  <a:gd name="connsiteX1090" fmla="*/ 1571625 w 3574732"/>
                  <a:gd name="connsiteY1090" fmla="*/ 923968 h 1473560"/>
                  <a:gd name="connsiteX1091" fmla="*/ 1569720 w 3574732"/>
                  <a:gd name="connsiteY1091" fmla="*/ 933493 h 1473560"/>
                  <a:gd name="connsiteX1092" fmla="*/ 1572578 w 3574732"/>
                  <a:gd name="connsiteY1092" fmla="*/ 940160 h 1473560"/>
                  <a:gd name="connsiteX1093" fmla="*/ 1578293 w 3574732"/>
                  <a:gd name="connsiteY1093" fmla="*/ 946828 h 1473560"/>
                  <a:gd name="connsiteX1094" fmla="*/ 1584960 w 3574732"/>
                  <a:gd name="connsiteY1094" fmla="*/ 958258 h 1473560"/>
                  <a:gd name="connsiteX1095" fmla="*/ 1587818 w 3574732"/>
                  <a:gd name="connsiteY1095" fmla="*/ 970640 h 1473560"/>
                  <a:gd name="connsiteX1096" fmla="*/ 1604963 w 3574732"/>
                  <a:gd name="connsiteY1096" fmla="*/ 980165 h 1473560"/>
                  <a:gd name="connsiteX1097" fmla="*/ 1615440 w 3574732"/>
                  <a:gd name="connsiteY1097" fmla="*/ 982070 h 1473560"/>
                  <a:gd name="connsiteX1098" fmla="*/ 1628775 w 3574732"/>
                  <a:gd name="connsiteY1098" fmla="*/ 982070 h 1473560"/>
                  <a:gd name="connsiteX1099" fmla="*/ 1634490 w 3574732"/>
                  <a:gd name="connsiteY1099" fmla="*/ 981118 h 1473560"/>
                  <a:gd name="connsiteX1100" fmla="*/ 1644968 w 3574732"/>
                  <a:gd name="connsiteY1100" fmla="*/ 974450 h 1473560"/>
                  <a:gd name="connsiteX1101" fmla="*/ 1657350 w 3574732"/>
                  <a:gd name="connsiteY1101" fmla="*/ 961115 h 1473560"/>
                  <a:gd name="connsiteX1102" fmla="*/ 1660208 w 3574732"/>
                  <a:gd name="connsiteY1102" fmla="*/ 954448 h 1473560"/>
                  <a:gd name="connsiteX1103" fmla="*/ 1660208 w 3574732"/>
                  <a:gd name="connsiteY1103" fmla="*/ 943970 h 1473560"/>
                  <a:gd name="connsiteX1104" fmla="*/ 1663065 w 3574732"/>
                  <a:gd name="connsiteY1104" fmla="*/ 940160 h 1473560"/>
                  <a:gd name="connsiteX1105" fmla="*/ 1670685 w 3574732"/>
                  <a:gd name="connsiteY1105" fmla="*/ 932540 h 1473560"/>
                  <a:gd name="connsiteX1106" fmla="*/ 1676400 w 3574732"/>
                  <a:gd name="connsiteY1106" fmla="*/ 922063 h 1473560"/>
                  <a:gd name="connsiteX1107" fmla="*/ 1676400 w 3574732"/>
                  <a:gd name="connsiteY1107" fmla="*/ 914443 h 1473560"/>
                  <a:gd name="connsiteX1108" fmla="*/ 1676400 w 3574732"/>
                  <a:gd name="connsiteY1108" fmla="*/ 904918 h 1473560"/>
                  <a:gd name="connsiteX1109" fmla="*/ 1686878 w 3574732"/>
                  <a:gd name="connsiteY1109" fmla="*/ 903013 h 1473560"/>
                  <a:gd name="connsiteX1110" fmla="*/ 1710690 w 3574732"/>
                  <a:gd name="connsiteY1110" fmla="*/ 890630 h 1473560"/>
                  <a:gd name="connsiteX1111" fmla="*/ 1712595 w 3574732"/>
                  <a:gd name="connsiteY1111" fmla="*/ 886820 h 1473560"/>
                  <a:gd name="connsiteX1112" fmla="*/ 1727835 w 3574732"/>
                  <a:gd name="connsiteY1112" fmla="*/ 872533 h 1473560"/>
                  <a:gd name="connsiteX1113" fmla="*/ 1744028 w 3574732"/>
                  <a:gd name="connsiteY1113" fmla="*/ 866818 h 1473560"/>
                  <a:gd name="connsiteX1114" fmla="*/ 1751648 w 3574732"/>
                  <a:gd name="connsiteY1114" fmla="*/ 862055 h 1473560"/>
                  <a:gd name="connsiteX1115" fmla="*/ 1778318 w 3574732"/>
                  <a:gd name="connsiteY1115" fmla="*/ 847768 h 1473560"/>
                  <a:gd name="connsiteX1116" fmla="*/ 1804988 w 3574732"/>
                  <a:gd name="connsiteY1116" fmla="*/ 838243 h 1473560"/>
                  <a:gd name="connsiteX1117" fmla="*/ 1817370 w 3574732"/>
                  <a:gd name="connsiteY1117" fmla="*/ 833480 h 1473560"/>
                  <a:gd name="connsiteX1118" fmla="*/ 1838325 w 3574732"/>
                  <a:gd name="connsiteY1118" fmla="*/ 829670 h 1473560"/>
                  <a:gd name="connsiteX1119" fmla="*/ 1855470 w 3574732"/>
                  <a:gd name="connsiteY1119" fmla="*/ 830623 h 1473560"/>
                  <a:gd name="connsiteX1120" fmla="*/ 1865948 w 3574732"/>
                  <a:gd name="connsiteY1120" fmla="*/ 833480 h 1473560"/>
                  <a:gd name="connsiteX1121" fmla="*/ 1877378 w 3574732"/>
                  <a:gd name="connsiteY1121" fmla="*/ 836338 h 1473560"/>
                  <a:gd name="connsiteX1122" fmla="*/ 1888808 w 3574732"/>
                  <a:gd name="connsiteY1122" fmla="*/ 848720 h 1473560"/>
                  <a:gd name="connsiteX1123" fmla="*/ 1898333 w 3574732"/>
                  <a:gd name="connsiteY1123" fmla="*/ 869675 h 1473560"/>
                  <a:gd name="connsiteX1124" fmla="*/ 1899285 w 3574732"/>
                  <a:gd name="connsiteY1124" fmla="*/ 883963 h 1473560"/>
                  <a:gd name="connsiteX1125" fmla="*/ 1899285 w 3574732"/>
                  <a:gd name="connsiteY1125" fmla="*/ 895393 h 1473560"/>
                  <a:gd name="connsiteX1126" fmla="*/ 1913573 w 3574732"/>
                  <a:gd name="connsiteY1126" fmla="*/ 908728 h 1473560"/>
                  <a:gd name="connsiteX1127" fmla="*/ 1929765 w 3574732"/>
                  <a:gd name="connsiteY1127" fmla="*/ 905870 h 1473560"/>
                  <a:gd name="connsiteX1128" fmla="*/ 1932623 w 3574732"/>
                  <a:gd name="connsiteY1128" fmla="*/ 901108 h 1473560"/>
                  <a:gd name="connsiteX1129" fmla="*/ 1943100 w 3574732"/>
                  <a:gd name="connsiteY1129" fmla="*/ 896345 h 1473560"/>
                  <a:gd name="connsiteX1130" fmla="*/ 1957388 w 3574732"/>
                  <a:gd name="connsiteY1130" fmla="*/ 895393 h 1473560"/>
                  <a:gd name="connsiteX1131" fmla="*/ 1965008 w 3574732"/>
                  <a:gd name="connsiteY1131" fmla="*/ 903965 h 1473560"/>
                  <a:gd name="connsiteX1132" fmla="*/ 1979295 w 3574732"/>
                  <a:gd name="connsiteY1132" fmla="*/ 913490 h 1473560"/>
                  <a:gd name="connsiteX1133" fmla="*/ 1979295 w 3574732"/>
                  <a:gd name="connsiteY1133" fmla="*/ 919205 h 1473560"/>
                  <a:gd name="connsiteX1134" fmla="*/ 1976438 w 3574732"/>
                  <a:gd name="connsiteY1134" fmla="*/ 925873 h 1473560"/>
                  <a:gd name="connsiteX1135" fmla="*/ 1976438 w 3574732"/>
                  <a:gd name="connsiteY1135" fmla="*/ 938255 h 1473560"/>
                  <a:gd name="connsiteX1136" fmla="*/ 1980248 w 3574732"/>
                  <a:gd name="connsiteY1136" fmla="*/ 947780 h 1473560"/>
                  <a:gd name="connsiteX1137" fmla="*/ 1980248 w 3574732"/>
                  <a:gd name="connsiteY1137" fmla="*/ 957305 h 1473560"/>
                  <a:gd name="connsiteX1138" fmla="*/ 1980248 w 3574732"/>
                  <a:gd name="connsiteY1138" fmla="*/ 973498 h 1473560"/>
                  <a:gd name="connsiteX1139" fmla="*/ 1973580 w 3574732"/>
                  <a:gd name="connsiteY1139" fmla="*/ 989690 h 1473560"/>
                  <a:gd name="connsiteX1140" fmla="*/ 1982153 w 3574732"/>
                  <a:gd name="connsiteY1140" fmla="*/ 1002073 h 1473560"/>
                  <a:gd name="connsiteX1141" fmla="*/ 1983105 w 3574732"/>
                  <a:gd name="connsiteY1141" fmla="*/ 1005883 h 1473560"/>
                  <a:gd name="connsiteX1142" fmla="*/ 1994535 w 3574732"/>
                  <a:gd name="connsiteY1142" fmla="*/ 1011598 h 1473560"/>
                  <a:gd name="connsiteX1143" fmla="*/ 1994535 w 3574732"/>
                  <a:gd name="connsiteY1143" fmla="*/ 1015408 h 1473560"/>
                  <a:gd name="connsiteX1144" fmla="*/ 1998345 w 3574732"/>
                  <a:gd name="connsiteY1144" fmla="*/ 1022075 h 1473560"/>
                  <a:gd name="connsiteX1145" fmla="*/ 2002155 w 3574732"/>
                  <a:gd name="connsiteY1145" fmla="*/ 1029695 h 1473560"/>
                  <a:gd name="connsiteX1146" fmla="*/ 2008823 w 3574732"/>
                  <a:gd name="connsiteY1146" fmla="*/ 1039220 h 1473560"/>
                  <a:gd name="connsiteX1147" fmla="*/ 2013585 w 3574732"/>
                  <a:gd name="connsiteY1147" fmla="*/ 1044935 h 1473560"/>
                  <a:gd name="connsiteX1148" fmla="*/ 2033588 w 3574732"/>
                  <a:gd name="connsiteY1148" fmla="*/ 1048745 h 1473560"/>
                  <a:gd name="connsiteX1149" fmla="*/ 2038350 w 3574732"/>
                  <a:gd name="connsiteY1149" fmla="*/ 1052555 h 1473560"/>
                  <a:gd name="connsiteX1150" fmla="*/ 2049780 w 3574732"/>
                  <a:gd name="connsiteY1150" fmla="*/ 1057318 h 1473560"/>
                  <a:gd name="connsiteX1151" fmla="*/ 2060258 w 3574732"/>
                  <a:gd name="connsiteY1151" fmla="*/ 1059223 h 1473560"/>
                  <a:gd name="connsiteX1152" fmla="*/ 2068830 w 3574732"/>
                  <a:gd name="connsiteY1152" fmla="*/ 1053508 h 1473560"/>
                  <a:gd name="connsiteX1153" fmla="*/ 2067878 w 3574732"/>
                  <a:gd name="connsiteY1153" fmla="*/ 1048745 h 1473560"/>
                  <a:gd name="connsiteX1154" fmla="*/ 2067878 w 3574732"/>
                  <a:gd name="connsiteY1154" fmla="*/ 1039220 h 1473560"/>
                  <a:gd name="connsiteX1155" fmla="*/ 2064068 w 3574732"/>
                  <a:gd name="connsiteY1155" fmla="*/ 1033505 h 1473560"/>
                  <a:gd name="connsiteX1156" fmla="*/ 2056448 w 3574732"/>
                  <a:gd name="connsiteY1156" fmla="*/ 1028743 h 1473560"/>
                  <a:gd name="connsiteX1157" fmla="*/ 2045018 w 3574732"/>
                  <a:gd name="connsiteY1157" fmla="*/ 1022075 h 1473560"/>
                  <a:gd name="connsiteX1158" fmla="*/ 2027873 w 3574732"/>
                  <a:gd name="connsiteY1158" fmla="*/ 1011598 h 1473560"/>
                  <a:gd name="connsiteX1159" fmla="*/ 2017395 w 3574732"/>
                  <a:gd name="connsiteY1159" fmla="*/ 1003025 h 1473560"/>
                  <a:gd name="connsiteX1160" fmla="*/ 2008823 w 3574732"/>
                  <a:gd name="connsiteY1160" fmla="*/ 990643 h 1473560"/>
                  <a:gd name="connsiteX1161" fmla="*/ 2005013 w 3574732"/>
                  <a:gd name="connsiteY1161" fmla="*/ 982070 h 1473560"/>
                  <a:gd name="connsiteX1162" fmla="*/ 2004060 w 3574732"/>
                  <a:gd name="connsiteY1162" fmla="*/ 970640 h 1473560"/>
                  <a:gd name="connsiteX1163" fmla="*/ 2003108 w 3574732"/>
                  <a:gd name="connsiteY1163" fmla="*/ 962068 h 1473560"/>
                  <a:gd name="connsiteX1164" fmla="*/ 2003108 w 3574732"/>
                  <a:gd name="connsiteY1164" fmla="*/ 950638 h 1473560"/>
                  <a:gd name="connsiteX1165" fmla="*/ 2008823 w 3574732"/>
                  <a:gd name="connsiteY1165" fmla="*/ 941113 h 1473560"/>
                  <a:gd name="connsiteX1166" fmla="*/ 2019300 w 3574732"/>
                  <a:gd name="connsiteY1166" fmla="*/ 941113 h 1473560"/>
                  <a:gd name="connsiteX1167" fmla="*/ 2025015 w 3574732"/>
                  <a:gd name="connsiteY1167" fmla="*/ 943018 h 1473560"/>
                  <a:gd name="connsiteX1168" fmla="*/ 2033588 w 3574732"/>
                  <a:gd name="connsiteY1168" fmla="*/ 949685 h 1473560"/>
                  <a:gd name="connsiteX1169" fmla="*/ 2042160 w 3574732"/>
                  <a:gd name="connsiteY1169" fmla="*/ 950638 h 1473560"/>
                  <a:gd name="connsiteX1170" fmla="*/ 2045970 w 3574732"/>
                  <a:gd name="connsiteY1170" fmla="*/ 954448 h 1473560"/>
                  <a:gd name="connsiteX1171" fmla="*/ 2051685 w 3574732"/>
                  <a:gd name="connsiteY1171" fmla="*/ 960163 h 1473560"/>
                  <a:gd name="connsiteX1172" fmla="*/ 2073593 w 3574732"/>
                  <a:gd name="connsiteY1172" fmla="*/ 968735 h 1473560"/>
                  <a:gd name="connsiteX1173" fmla="*/ 2081213 w 3574732"/>
                  <a:gd name="connsiteY1173" fmla="*/ 973498 h 1473560"/>
                  <a:gd name="connsiteX1174" fmla="*/ 2081213 w 3574732"/>
                  <a:gd name="connsiteY1174" fmla="*/ 980165 h 1473560"/>
                  <a:gd name="connsiteX1175" fmla="*/ 2097405 w 3574732"/>
                  <a:gd name="connsiteY1175" fmla="*/ 985880 h 1473560"/>
                  <a:gd name="connsiteX1176" fmla="*/ 2123123 w 3574732"/>
                  <a:gd name="connsiteY1176" fmla="*/ 968735 h 1473560"/>
                  <a:gd name="connsiteX1177" fmla="*/ 2139315 w 3574732"/>
                  <a:gd name="connsiteY1177" fmla="*/ 960163 h 1473560"/>
                  <a:gd name="connsiteX1178" fmla="*/ 2154555 w 3574732"/>
                  <a:gd name="connsiteY1178" fmla="*/ 956353 h 1473560"/>
                  <a:gd name="connsiteX1179" fmla="*/ 2156460 w 3574732"/>
                  <a:gd name="connsiteY1179" fmla="*/ 948733 h 1473560"/>
                  <a:gd name="connsiteX1180" fmla="*/ 2159318 w 3574732"/>
                  <a:gd name="connsiteY1180" fmla="*/ 939208 h 1473560"/>
                  <a:gd name="connsiteX1181" fmla="*/ 2161223 w 3574732"/>
                  <a:gd name="connsiteY1181" fmla="*/ 935398 h 1473560"/>
                  <a:gd name="connsiteX1182" fmla="*/ 2161223 w 3574732"/>
                  <a:gd name="connsiteY1182" fmla="*/ 921110 h 1473560"/>
                  <a:gd name="connsiteX1183" fmla="*/ 2161223 w 3574732"/>
                  <a:gd name="connsiteY1183" fmla="*/ 912538 h 1473560"/>
                  <a:gd name="connsiteX1184" fmla="*/ 2149793 w 3574732"/>
                  <a:gd name="connsiteY1184" fmla="*/ 905870 h 1473560"/>
                  <a:gd name="connsiteX1185" fmla="*/ 2149793 w 3574732"/>
                  <a:gd name="connsiteY1185" fmla="*/ 899203 h 1473560"/>
                  <a:gd name="connsiteX1186" fmla="*/ 2144078 w 3574732"/>
                  <a:gd name="connsiteY1186" fmla="*/ 893488 h 1473560"/>
                  <a:gd name="connsiteX1187" fmla="*/ 2138363 w 3574732"/>
                  <a:gd name="connsiteY1187" fmla="*/ 889678 h 1473560"/>
                  <a:gd name="connsiteX1188" fmla="*/ 2127885 w 3574732"/>
                  <a:gd name="connsiteY1188" fmla="*/ 881105 h 1473560"/>
                  <a:gd name="connsiteX1189" fmla="*/ 2111693 w 3574732"/>
                  <a:gd name="connsiteY1189" fmla="*/ 868723 h 1473560"/>
                  <a:gd name="connsiteX1190" fmla="*/ 2122170 w 3574732"/>
                  <a:gd name="connsiteY1190" fmla="*/ 853483 h 1473560"/>
                  <a:gd name="connsiteX1191" fmla="*/ 2130743 w 3574732"/>
                  <a:gd name="connsiteY1191" fmla="*/ 852530 h 1473560"/>
                  <a:gd name="connsiteX1192" fmla="*/ 2145030 w 3574732"/>
                  <a:gd name="connsiteY1192" fmla="*/ 850625 h 1473560"/>
                  <a:gd name="connsiteX1193" fmla="*/ 2152650 w 3574732"/>
                  <a:gd name="connsiteY1193" fmla="*/ 844910 h 1473560"/>
                  <a:gd name="connsiteX1194" fmla="*/ 2158365 w 3574732"/>
                  <a:gd name="connsiteY1194" fmla="*/ 843005 h 1473560"/>
                  <a:gd name="connsiteX1195" fmla="*/ 2165985 w 3574732"/>
                  <a:gd name="connsiteY1195" fmla="*/ 841100 h 1473560"/>
                  <a:gd name="connsiteX1196" fmla="*/ 2171700 w 3574732"/>
                  <a:gd name="connsiteY1196" fmla="*/ 844910 h 1473560"/>
                  <a:gd name="connsiteX1197" fmla="*/ 2180273 w 3574732"/>
                  <a:gd name="connsiteY1197" fmla="*/ 851578 h 1473560"/>
                  <a:gd name="connsiteX1198" fmla="*/ 2190750 w 3574732"/>
                  <a:gd name="connsiteY1198" fmla="*/ 850625 h 1473560"/>
                  <a:gd name="connsiteX1199" fmla="*/ 2199323 w 3574732"/>
                  <a:gd name="connsiteY1199" fmla="*/ 845863 h 1473560"/>
                  <a:gd name="connsiteX1200" fmla="*/ 2206943 w 3574732"/>
                  <a:gd name="connsiteY1200" fmla="*/ 839195 h 1473560"/>
                  <a:gd name="connsiteX1201" fmla="*/ 2223135 w 3574732"/>
                  <a:gd name="connsiteY1201" fmla="*/ 834433 h 1473560"/>
                  <a:gd name="connsiteX1202" fmla="*/ 2228850 w 3574732"/>
                  <a:gd name="connsiteY1202" fmla="*/ 833480 h 1473560"/>
                  <a:gd name="connsiteX1203" fmla="*/ 2236470 w 3574732"/>
                  <a:gd name="connsiteY1203" fmla="*/ 830623 h 1473560"/>
                  <a:gd name="connsiteX1204" fmla="*/ 2247900 w 3574732"/>
                  <a:gd name="connsiteY1204" fmla="*/ 825860 h 1473560"/>
                  <a:gd name="connsiteX1205" fmla="*/ 2255520 w 3574732"/>
                  <a:gd name="connsiteY1205" fmla="*/ 824908 h 1473560"/>
                  <a:gd name="connsiteX1206" fmla="*/ 2274570 w 3574732"/>
                  <a:gd name="connsiteY1206" fmla="*/ 823955 h 1473560"/>
                  <a:gd name="connsiteX1207" fmla="*/ 2286000 w 3574732"/>
                  <a:gd name="connsiteY1207" fmla="*/ 821098 h 1473560"/>
                  <a:gd name="connsiteX1208" fmla="*/ 2293620 w 3574732"/>
                  <a:gd name="connsiteY1208" fmla="*/ 815383 h 1473560"/>
                  <a:gd name="connsiteX1209" fmla="*/ 2293620 w 3574732"/>
                  <a:gd name="connsiteY1209" fmla="*/ 812525 h 1473560"/>
                  <a:gd name="connsiteX1210" fmla="*/ 2309813 w 3574732"/>
                  <a:gd name="connsiteY1210" fmla="*/ 802048 h 1473560"/>
                  <a:gd name="connsiteX1211" fmla="*/ 2318385 w 3574732"/>
                  <a:gd name="connsiteY1211" fmla="*/ 796333 h 1473560"/>
                  <a:gd name="connsiteX1212" fmla="*/ 2333625 w 3574732"/>
                  <a:gd name="connsiteY1212" fmla="*/ 785855 h 1473560"/>
                  <a:gd name="connsiteX1213" fmla="*/ 2348865 w 3574732"/>
                  <a:gd name="connsiteY1213" fmla="*/ 773473 h 1473560"/>
                  <a:gd name="connsiteX1214" fmla="*/ 2362200 w 3574732"/>
                  <a:gd name="connsiteY1214" fmla="*/ 766805 h 1473560"/>
                  <a:gd name="connsiteX1215" fmla="*/ 2366963 w 3574732"/>
                  <a:gd name="connsiteY1215" fmla="*/ 758233 h 1473560"/>
                  <a:gd name="connsiteX1216" fmla="*/ 2366963 w 3574732"/>
                  <a:gd name="connsiteY1216" fmla="*/ 751565 h 1473560"/>
                  <a:gd name="connsiteX1217" fmla="*/ 2368868 w 3574732"/>
                  <a:gd name="connsiteY1217" fmla="*/ 728705 h 1473560"/>
                  <a:gd name="connsiteX1218" fmla="*/ 2374583 w 3574732"/>
                  <a:gd name="connsiteY1218" fmla="*/ 718228 h 1473560"/>
                  <a:gd name="connsiteX1219" fmla="*/ 2374583 w 3574732"/>
                  <a:gd name="connsiteY1219" fmla="*/ 712513 h 1473560"/>
                  <a:gd name="connsiteX1220" fmla="*/ 2367915 w 3574732"/>
                  <a:gd name="connsiteY1220" fmla="*/ 697273 h 1473560"/>
                  <a:gd name="connsiteX1221" fmla="*/ 2366963 w 3574732"/>
                  <a:gd name="connsiteY1221" fmla="*/ 690605 h 1473560"/>
                  <a:gd name="connsiteX1222" fmla="*/ 2366010 w 3574732"/>
                  <a:gd name="connsiteY1222" fmla="*/ 684890 h 1473560"/>
                  <a:gd name="connsiteX1223" fmla="*/ 2358390 w 3574732"/>
                  <a:gd name="connsiteY1223" fmla="*/ 682985 h 1473560"/>
                  <a:gd name="connsiteX1224" fmla="*/ 2353628 w 3574732"/>
                  <a:gd name="connsiteY1224" fmla="*/ 682033 h 1473560"/>
                  <a:gd name="connsiteX1225" fmla="*/ 2336483 w 3574732"/>
                  <a:gd name="connsiteY1225" fmla="*/ 673460 h 1473560"/>
                  <a:gd name="connsiteX1226" fmla="*/ 2355533 w 3574732"/>
                  <a:gd name="connsiteY1226" fmla="*/ 669650 h 1473560"/>
                  <a:gd name="connsiteX1227" fmla="*/ 2357438 w 3574732"/>
                  <a:gd name="connsiteY1227" fmla="*/ 662983 h 1473560"/>
                  <a:gd name="connsiteX1228" fmla="*/ 2367915 w 3574732"/>
                  <a:gd name="connsiteY1228" fmla="*/ 661078 h 1473560"/>
                  <a:gd name="connsiteX1229" fmla="*/ 2391728 w 3574732"/>
                  <a:gd name="connsiteY1229" fmla="*/ 658220 h 1473560"/>
                  <a:gd name="connsiteX1230" fmla="*/ 2391728 w 3574732"/>
                  <a:gd name="connsiteY1230" fmla="*/ 655363 h 1473560"/>
                  <a:gd name="connsiteX1231" fmla="*/ 2390775 w 3574732"/>
                  <a:gd name="connsiteY1231" fmla="*/ 642028 h 1473560"/>
                  <a:gd name="connsiteX1232" fmla="*/ 2387918 w 3574732"/>
                  <a:gd name="connsiteY1232" fmla="*/ 638218 h 1473560"/>
                  <a:gd name="connsiteX1233" fmla="*/ 2374583 w 3574732"/>
                  <a:gd name="connsiteY1233" fmla="*/ 636313 h 1473560"/>
                  <a:gd name="connsiteX1234" fmla="*/ 2361248 w 3574732"/>
                  <a:gd name="connsiteY1234" fmla="*/ 635360 h 1473560"/>
                  <a:gd name="connsiteX1235" fmla="*/ 2350770 w 3574732"/>
                  <a:gd name="connsiteY1235" fmla="*/ 635360 h 1473560"/>
                  <a:gd name="connsiteX1236" fmla="*/ 2328863 w 3574732"/>
                  <a:gd name="connsiteY1236" fmla="*/ 635360 h 1473560"/>
                  <a:gd name="connsiteX1237" fmla="*/ 2315528 w 3574732"/>
                  <a:gd name="connsiteY1237" fmla="*/ 632503 h 1473560"/>
                  <a:gd name="connsiteX1238" fmla="*/ 2314575 w 3574732"/>
                  <a:gd name="connsiteY1238" fmla="*/ 630598 h 1473560"/>
                  <a:gd name="connsiteX1239" fmla="*/ 2311718 w 3574732"/>
                  <a:gd name="connsiteY1239" fmla="*/ 622025 h 1473560"/>
                  <a:gd name="connsiteX1240" fmla="*/ 2330768 w 3574732"/>
                  <a:gd name="connsiteY1240" fmla="*/ 621073 h 1473560"/>
                  <a:gd name="connsiteX1241" fmla="*/ 2338388 w 3574732"/>
                  <a:gd name="connsiteY1241" fmla="*/ 620120 h 1473560"/>
                  <a:gd name="connsiteX1242" fmla="*/ 2351723 w 3574732"/>
                  <a:gd name="connsiteY1242" fmla="*/ 617263 h 1473560"/>
                  <a:gd name="connsiteX1243" fmla="*/ 2354580 w 3574732"/>
                  <a:gd name="connsiteY1243" fmla="*/ 613453 h 1473560"/>
                  <a:gd name="connsiteX1244" fmla="*/ 2366010 w 3574732"/>
                  <a:gd name="connsiteY1244" fmla="*/ 608690 h 1473560"/>
                  <a:gd name="connsiteX1245" fmla="*/ 2376488 w 3574732"/>
                  <a:gd name="connsiteY1245" fmla="*/ 611548 h 1473560"/>
                  <a:gd name="connsiteX1246" fmla="*/ 2380298 w 3574732"/>
                  <a:gd name="connsiteY1246" fmla="*/ 617263 h 1473560"/>
                  <a:gd name="connsiteX1247" fmla="*/ 2391728 w 3574732"/>
                  <a:gd name="connsiteY1247" fmla="*/ 617263 h 1473560"/>
                  <a:gd name="connsiteX1248" fmla="*/ 2406968 w 3574732"/>
                  <a:gd name="connsiteY1248" fmla="*/ 613453 h 1473560"/>
                  <a:gd name="connsiteX1249" fmla="*/ 2427923 w 3574732"/>
                  <a:gd name="connsiteY1249" fmla="*/ 616310 h 1473560"/>
                  <a:gd name="connsiteX1250" fmla="*/ 2436495 w 3574732"/>
                  <a:gd name="connsiteY1250" fmla="*/ 624883 h 1473560"/>
                  <a:gd name="connsiteX1251" fmla="*/ 2445068 w 3574732"/>
                  <a:gd name="connsiteY1251" fmla="*/ 632503 h 1473560"/>
                  <a:gd name="connsiteX1252" fmla="*/ 2448878 w 3574732"/>
                  <a:gd name="connsiteY1252" fmla="*/ 640123 h 1473560"/>
                  <a:gd name="connsiteX1253" fmla="*/ 2457450 w 3574732"/>
                  <a:gd name="connsiteY1253" fmla="*/ 643933 h 1473560"/>
                  <a:gd name="connsiteX1254" fmla="*/ 2457450 w 3574732"/>
                  <a:gd name="connsiteY1254" fmla="*/ 651553 h 1473560"/>
                  <a:gd name="connsiteX1255" fmla="*/ 2455545 w 3574732"/>
                  <a:gd name="connsiteY1255" fmla="*/ 662030 h 1473560"/>
                  <a:gd name="connsiteX1256" fmla="*/ 2458403 w 3574732"/>
                  <a:gd name="connsiteY1256" fmla="*/ 669650 h 1473560"/>
                  <a:gd name="connsiteX1257" fmla="*/ 2459355 w 3574732"/>
                  <a:gd name="connsiteY1257" fmla="*/ 673460 h 1473560"/>
                  <a:gd name="connsiteX1258" fmla="*/ 2472690 w 3574732"/>
                  <a:gd name="connsiteY1258" fmla="*/ 676318 h 1473560"/>
                  <a:gd name="connsiteX1259" fmla="*/ 2486978 w 3574732"/>
                  <a:gd name="connsiteY1259" fmla="*/ 677270 h 1473560"/>
                  <a:gd name="connsiteX1260" fmla="*/ 2497455 w 3574732"/>
                  <a:gd name="connsiteY1260" fmla="*/ 677270 h 1473560"/>
                  <a:gd name="connsiteX1261" fmla="*/ 2507933 w 3574732"/>
                  <a:gd name="connsiteY1261" fmla="*/ 675365 h 1473560"/>
                  <a:gd name="connsiteX1262" fmla="*/ 2518410 w 3574732"/>
                  <a:gd name="connsiteY1262" fmla="*/ 670603 h 1473560"/>
                  <a:gd name="connsiteX1263" fmla="*/ 2521268 w 3574732"/>
                  <a:gd name="connsiteY1263" fmla="*/ 656315 h 1473560"/>
                  <a:gd name="connsiteX1264" fmla="*/ 2517458 w 3574732"/>
                  <a:gd name="connsiteY1264" fmla="*/ 649648 h 1473560"/>
                  <a:gd name="connsiteX1265" fmla="*/ 2508885 w 3574732"/>
                  <a:gd name="connsiteY1265" fmla="*/ 642028 h 1473560"/>
                  <a:gd name="connsiteX1266" fmla="*/ 2505075 w 3574732"/>
                  <a:gd name="connsiteY1266" fmla="*/ 630598 h 1473560"/>
                  <a:gd name="connsiteX1267" fmla="*/ 2502218 w 3574732"/>
                  <a:gd name="connsiteY1267" fmla="*/ 619168 h 1473560"/>
                  <a:gd name="connsiteX1268" fmla="*/ 2515553 w 3574732"/>
                  <a:gd name="connsiteY1268" fmla="*/ 603928 h 1473560"/>
                  <a:gd name="connsiteX1269" fmla="*/ 2517458 w 3574732"/>
                  <a:gd name="connsiteY1269" fmla="*/ 601070 h 1473560"/>
                  <a:gd name="connsiteX1270" fmla="*/ 2525078 w 3574732"/>
                  <a:gd name="connsiteY1270" fmla="*/ 587735 h 1473560"/>
                  <a:gd name="connsiteX1271" fmla="*/ 2527935 w 3574732"/>
                  <a:gd name="connsiteY1271" fmla="*/ 582973 h 1473560"/>
                  <a:gd name="connsiteX1272" fmla="*/ 2549843 w 3574732"/>
                  <a:gd name="connsiteY1272" fmla="*/ 581068 h 1473560"/>
                  <a:gd name="connsiteX1273" fmla="*/ 2579370 w 3574732"/>
                  <a:gd name="connsiteY1273" fmla="*/ 571543 h 1473560"/>
                  <a:gd name="connsiteX1274" fmla="*/ 2589848 w 3574732"/>
                  <a:gd name="connsiteY1274" fmla="*/ 568685 h 1473560"/>
                  <a:gd name="connsiteX1275" fmla="*/ 2611755 w 3574732"/>
                  <a:gd name="connsiteY1275" fmla="*/ 558208 h 1473560"/>
                  <a:gd name="connsiteX1276" fmla="*/ 2624138 w 3574732"/>
                  <a:gd name="connsiteY1276" fmla="*/ 547730 h 1473560"/>
                  <a:gd name="connsiteX1277" fmla="*/ 2648903 w 3574732"/>
                  <a:gd name="connsiteY1277" fmla="*/ 539158 h 1473560"/>
                  <a:gd name="connsiteX1278" fmla="*/ 2653665 w 3574732"/>
                  <a:gd name="connsiteY1278" fmla="*/ 528680 h 1473560"/>
                  <a:gd name="connsiteX1279" fmla="*/ 2662238 w 3574732"/>
                  <a:gd name="connsiteY1279" fmla="*/ 521060 h 1473560"/>
                  <a:gd name="connsiteX1280" fmla="*/ 2684145 w 3574732"/>
                  <a:gd name="connsiteY1280" fmla="*/ 512488 h 1473560"/>
                  <a:gd name="connsiteX1281" fmla="*/ 2694623 w 3574732"/>
                  <a:gd name="connsiteY1281" fmla="*/ 502010 h 1473560"/>
                  <a:gd name="connsiteX1282" fmla="*/ 2696528 w 3574732"/>
                  <a:gd name="connsiteY1282" fmla="*/ 487723 h 1473560"/>
                  <a:gd name="connsiteX1283" fmla="*/ 2695575 w 3574732"/>
                  <a:gd name="connsiteY1283" fmla="*/ 478198 h 1473560"/>
                  <a:gd name="connsiteX1284" fmla="*/ 2694623 w 3574732"/>
                  <a:gd name="connsiteY1284" fmla="*/ 472483 h 1473560"/>
                  <a:gd name="connsiteX1285" fmla="*/ 2707005 w 3574732"/>
                  <a:gd name="connsiteY1285" fmla="*/ 460100 h 1473560"/>
                  <a:gd name="connsiteX1286" fmla="*/ 2707005 w 3574732"/>
                  <a:gd name="connsiteY1286" fmla="*/ 453433 h 1473560"/>
                  <a:gd name="connsiteX1287" fmla="*/ 2707005 w 3574732"/>
                  <a:gd name="connsiteY1287" fmla="*/ 439145 h 1473560"/>
                  <a:gd name="connsiteX1288" fmla="*/ 2711768 w 3574732"/>
                  <a:gd name="connsiteY1288" fmla="*/ 428668 h 1473560"/>
                  <a:gd name="connsiteX1289" fmla="*/ 2711768 w 3574732"/>
                  <a:gd name="connsiteY1289" fmla="*/ 416285 h 1473560"/>
                  <a:gd name="connsiteX1290" fmla="*/ 2701290 w 3574732"/>
                  <a:gd name="connsiteY1290" fmla="*/ 412475 h 1473560"/>
                  <a:gd name="connsiteX1291" fmla="*/ 2689860 w 3574732"/>
                  <a:gd name="connsiteY1291" fmla="*/ 413428 h 1473560"/>
                  <a:gd name="connsiteX1292" fmla="*/ 2673668 w 3574732"/>
                  <a:gd name="connsiteY1292" fmla="*/ 416285 h 1473560"/>
                  <a:gd name="connsiteX1293" fmla="*/ 2660333 w 3574732"/>
                  <a:gd name="connsiteY1293" fmla="*/ 412475 h 1473560"/>
                  <a:gd name="connsiteX1294" fmla="*/ 2653665 w 3574732"/>
                  <a:gd name="connsiteY1294" fmla="*/ 401998 h 1473560"/>
                  <a:gd name="connsiteX1295" fmla="*/ 2647950 w 3574732"/>
                  <a:gd name="connsiteY1295" fmla="*/ 401998 h 1473560"/>
                  <a:gd name="connsiteX1296" fmla="*/ 2634615 w 3574732"/>
                  <a:gd name="connsiteY1296" fmla="*/ 400093 h 1473560"/>
                  <a:gd name="connsiteX1297" fmla="*/ 2629853 w 3574732"/>
                  <a:gd name="connsiteY1297" fmla="*/ 396283 h 1473560"/>
                  <a:gd name="connsiteX1298" fmla="*/ 2629853 w 3574732"/>
                  <a:gd name="connsiteY1298" fmla="*/ 393425 h 1473560"/>
                  <a:gd name="connsiteX1299" fmla="*/ 2632710 w 3574732"/>
                  <a:gd name="connsiteY1299" fmla="*/ 383900 h 1473560"/>
                  <a:gd name="connsiteX1300" fmla="*/ 2676525 w 3574732"/>
                  <a:gd name="connsiteY1300" fmla="*/ 375328 h 1473560"/>
                  <a:gd name="connsiteX1301" fmla="*/ 2681288 w 3574732"/>
                  <a:gd name="connsiteY1301" fmla="*/ 368660 h 1473560"/>
                  <a:gd name="connsiteX1302" fmla="*/ 2697480 w 3574732"/>
                  <a:gd name="connsiteY1302" fmla="*/ 356278 h 1473560"/>
                  <a:gd name="connsiteX1303" fmla="*/ 2716530 w 3574732"/>
                  <a:gd name="connsiteY1303" fmla="*/ 344848 h 1473560"/>
                  <a:gd name="connsiteX1304" fmla="*/ 2734628 w 3574732"/>
                  <a:gd name="connsiteY1304" fmla="*/ 334370 h 1473560"/>
                  <a:gd name="connsiteX1305" fmla="*/ 2745105 w 3574732"/>
                  <a:gd name="connsiteY1305" fmla="*/ 330560 h 1473560"/>
                  <a:gd name="connsiteX1306" fmla="*/ 2777490 w 3574732"/>
                  <a:gd name="connsiteY1306" fmla="*/ 328655 h 1473560"/>
                  <a:gd name="connsiteX1307" fmla="*/ 2785110 w 3574732"/>
                  <a:gd name="connsiteY1307" fmla="*/ 327703 h 1473560"/>
                  <a:gd name="connsiteX1308" fmla="*/ 2798445 w 3574732"/>
                  <a:gd name="connsiteY1308" fmla="*/ 327703 h 1473560"/>
                  <a:gd name="connsiteX1309" fmla="*/ 2814638 w 3574732"/>
                  <a:gd name="connsiteY1309" fmla="*/ 330560 h 1473560"/>
                  <a:gd name="connsiteX1310" fmla="*/ 2841308 w 3574732"/>
                  <a:gd name="connsiteY1310" fmla="*/ 331513 h 1473560"/>
                  <a:gd name="connsiteX1311" fmla="*/ 2855595 w 3574732"/>
                  <a:gd name="connsiteY1311" fmla="*/ 328655 h 1473560"/>
                  <a:gd name="connsiteX1312" fmla="*/ 2869883 w 3574732"/>
                  <a:gd name="connsiteY1312" fmla="*/ 324845 h 1473560"/>
                  <a:gd name="connsiteX1313" fmla="*/ 2877503 w 3574732"/>
                  <a:gd name="connsiteY1313" fmla="*/ 324845 h 1473560"/>
                  <a:gd name="connsiteX1314" fmla="*/ 2909888 w 3574732"/>
                  <a:gd name="connsiteY1314" fmla="*/ 331513 h 1473560"/>
                  <a:gd name="connsiteX1315" fmla="*/ 2924175 w 3574732"/>
                  <a:gd name="connsiteY1315" fmla="*/ 339133 h 1473560"/>
                  <a:gd name="connsiteX1316" fmla="*/ 2934653 w 3574732"/>
                  <a:gd name="connsiteY1316" fmla="*/ 341038 h 1473560"/>
                  <a:gd name="connsiteX1317" fmla="*/ 2943225 w 3574732"/>
                  <a:gd name="connsiteY1317" fmla="*/ 339133 h 1473560"/>
                  <a:gd name="connsiteX1318" fmla="*/ 2956560 w 3574732"/>
                  <a:gd name="connsiteY1318" fmla="*/ 324845 h 1473560"/>
                  <a:gd name="connsiteX1319" fmla="*/ 2958465 w 3574732"/>
                  <a:gd name="connsiteY1319" fmla="*/ 320083 h 1473560"/>
                  <a:gd name="connsiteX1320" fmla="*/ 2966085 w 3574732"/>
                  <a:gd name="connsiteY1320" fmla="*/ 311510 h 1473560"/>
                  <a:gd name="connsiteX1321" fmla="*/ 2971800 w 3574732"/>
                  <a:gd name="connsiteY1321" fmla="*/ 306748 h 1473560"/>
                  <a:gd name="connsiteX1322" fmla="*/ 2979420 w 3574732"/>
                  <a:gd name="connsiteY1322" fmla="*/ 303890 h 1473560"/>
                  <a:gd name="connsiteX1323" fmla="*/ 2987040 w 3574732"/>
                  <a:gd name="connsiteY1323" fmla="*/ 300080 h 1473560"/>
                  <a:gd name="connsiteX1324" fmla="*/ 2995613 w 3574732"/>
                  <a:gd name="connsiteY1324" fmla="*/ 295318 h 1473560"/>
                  <a:gd name="connsiteX1325" fmla="*/ 3006090 w 3574732"/>
                  <a:gd name="connsiteY1325" fmla="*/ 291508 h 1473560"/>
                  <a:gd name="connsiteX1326" fmla="*/ 3036570 w 3574732"/>
                  <a:gd name="connsiteY1326" fmla="*/ 291508 h 1473560"/>
                  <a:gd name="connsiteX1327" fmla="*/ 3044190 w 3574732"/>
                  <a:gd name="connsiteY1327" fmla="*/ 299128 h 1473560"/>
                  <a:gd name="connsiteX1328" fmla="*/ 3051810 w 3574732"/>
                  <a:gd name="connsiteY1328" fmla="*/ 301985 h 1473560"/>
                  <a:gd name="connsiteX1329" fmla="*/ 3062288 w 3574732"/>
                  <a:gd name="connsiteY1329" fmla="*/ 300080 h 1473560"/>
                  <a:gd name="connsiteX1330" fmla="*/ 3075623 w 3574732"/>
                  <a:gd name="connsiteY1330" fmla="*/ 293413 h 1473560"/>
                  <a:gd name="connsiteX1331" fmla="*/ 3087053 w 3574732"/>
                  <a:gd name="connsiteY1331" fmla="*/ 289603 h 1473560"/>
                  <a:gd name="connsiteX1332" fmla="*/ 3097530 w 3574732"/>
                  <a:gd name="connsiteY1332" fmla="*/ 284840 h 1473560"/>
                  <a:gd name="connsiteX1333" fmla="*/ 3105150 w 3574732"/>
                  <a:gd name="connsiteY1333" fmla="*/ 283888 h 1473560"/>
                  <a:gd name="connsiteX1334" fmla="*/ 3113723 w 3574732"/>
                  <a:gd name="connsiteY1334" fmla="*/ 287698 h 1473560"/>
                  <a:gd name="connsiteX1335" fmla="*/ 3100388 w 3574732"/>
                  <a:gd name="connsiteY1335" fmla="*/ 297223 h 1473560"/>
                  <a:gd name="connsiteX1336" fmla="*/ 3089910 w 3574732"/>
                  <a:gd name="connsiteY1336" fmla="*/ 302938 h 1473560"/>
                  <a:gd name="connsiteX1337" fmla="*/ 3071813 w 3574732"/>
                  <a:gd name="connsiteY1337" fmla="*/ 311510 h 1473560"/>
                  <a:gd name="connsiteX1338" fmla="*/ 3061335 w 3574732"/>
                  <a:gd name="connsiteY1338" fmla="*/ 317225 h 1473560"/>
                  <a:gd name="connsiteX1339" fmla="*/ 3052763 w 3574732"/>
                  <a:gd name="connsiteY1339" fmla="*/ 321988 h 1473560"/>
                  <a:gd name="connsiteX1340" fmla="*/ 3044190 w 3574732"/>
                  <a:gd name="connsiteY1340" fmla="*/ 328655 h 1473560"/>
                  <a:gd name="connsiteX1341" fmla="*/ 3030855 w 3574732"/>
                  <a:gd name="connsiteY1341" fmla="*/ 337228 h 1473560"/>
                  <a:gd name="connsiteX1342" fmla="*/ 3015615 w 3574732"/>
                  <a:gd name="connsiteY1342" fmla="*/ 341990 h 1473560"/>
                  <a:gd name="connsiteX1343" fmla="*/ 2994660 w 3574732"/>
                  <a:gd name="connsiteY1343" fmla="*/ 351515 h 1473560"/>
                  <a:gd name="connsiteX1344" fmla="*/ 2982278 w 3574732"/>
                  <a:gd name="connsiteY1344" fmla="*/ 364850 h 1473560"/>
                  <a:gd name="connsiteX1345" fmla="*/ 2979420 w 3574732"/>
                  <a:gd name="connsiteY1345" fmla="*/ 368660 h 1473560"/>
                  <a:gd name="connsiteX1346" fmla="*/ 2967038 w 3574732"/>
                  <a:gd name="connsiteY1346" fmla="*/ 379138 h 1473560"/>
                  <a:gd name="connsiteX1347" fmla="*/ 2972753 w 3574732"/>
                  <a:gd name="connsiteY1347" fmla="*/ 387710 h 1473560"/>
                  <a:gd name="connsiteX1348" fmla="*/ 2968943 w 3574732"/>
                  <a:gd name="connsiteY1348" fmla="*/ 408665 h 1473560"/>
                  <a:gd name="connsiteX1349" fmla="*/ 2968943 w 3574732"/>
                  <a:gd name="connsiteY1349" fmla="*/ 418190 h 1473560"/>
                  <a:gd name="connsiteX1350" fmla="*/ 2968943 w 3574732"/>
                  <a:gd name="connsiteY1350" fmla="*/ 427715 h 1473560"/>
                  <a:gd name="connsiteX1351" fmla="*/ 2968943 w 3574732"/>
                  <a:gd name="connsiteY1351" fmla="*/ 434383 h 1473560"/>
                  <a:gd name="connsiteX1352" fmla="*/ 2979420 w 3574732"/>
                  <a:gd name="connsiteY1352" fmla="*/ 440098 h 1473560"/>
                  <a:gd name="connsiteX1353" fmla="*/ 2989898 w 3574732"/>
                  <a:gd name="connsiteY1353" fmla="*/ 449623 h 1473560"/>
                  <a:gd name="connsiteX1354" fmla="*/ 2990850 w 3574732"/>
                  <a:gd name="connsiteY1354" fmla="*/ 455338 h 1473560"/>
                  <a:gd name="connsiteX1355" fmla="*/ 3007043 w 3574732"/>
                  <a:gd name="connsiteY1355" fmla="*/ 457243 h 1473560"/>
                  <a:gd name="connsiteX1356" fmla="*/ 3017520 w 3574732"/>
                  <a:gd name="connsiteY1356" fmla="*/ 448670 h 1473560"/>
                  <a:gd name="connsiteX1357" fmla="*/ 3020378 w 3574732"/>
                  <a:gd name="connsiteY1357" fmla="*/ 441050 h 1473560"/>
                  <a:gd name="connsiteX1358" fmla="*/ 3027998 w 3574732"/>
                  <a:gd name="connsiteY1358" fmla="*/ 435335 h 1473560"/>
                  <a:gd name="connsiteX1359" fmla="*/ 3038475 w 3574732"/>
                  <a:gd name="connsiteY1359" fmla="*/ 428668 h 1473560"/>
                  <a:gd name="connsiteX1360" fmla="*/ 3037523 w 3574732"/>
                  <a:gd name="connsiteY1360" fmla="*/ 425810 h 1473560"/>
                  <a:gd name="connsiteX1361" fmla="*/ 3047048 w 3574732"/>
                  <a:gd name="connsiteY1361" fmla="*/ 416285 h 1473560"/>
                  <a:gd name="connsiteX1362" fmla="*/ 3054668 w 3574732"/>
                  <a:gd name="connsiteY1362" fmla="*/ 413428 h 1473560"/>
                  <a:gd name="connsiteX1363" fmla="*/ 3072765 w 3574732"/>
                  <a:gd name="connsiteY1363" fmla="*/ 403903 h 1473560"/>
                  <a:gd name="connsiteX1364" fmla="*/ 3083243 w 3574732"/>
                  <a:gd name="connsiteY1364" fmla="*/ 397235 h 1473560"/>
                  <a:gd name="connsiteX1365" fmla="*/ 3077528 w 3574732"/>
                  <a:gd name="connsiteY1365" fmla="*/ 386758 h 1473560"/>
                  <a:gd name="connsiteX1366" fmla="*/ 3080385 w 3574732"/>
                  <a:gd name="connsiteY1366" fmla="*/ 383900 h 1473560"/>
                  <a:gd name="connsiteX1367" fmla="*/ 3080385 w 3574732"/>
                  <a:gd name="connsiteY1367" fmla="*/ 381043 h 1473560"/>
                  <a:gd name="connsiteX1368" fmla="*/ 3085148 w 3574732"/>
                  <a:gd name="connsiteY1368" fmla="*/ 377233 h 1473560"/>
                  <a:gd name="connsiteX1369" fmla="*/ 3092768 w 3574732"/>
                  <a:gd name="connsiteY1369" fmla="*/ 370565 h 1473560"/>
                  <a:gd name="connsiteX1370" fmla="*/ 3089910 w 3574732"/>
                  <a:gd name="connsiteY1370" fmla="*/ 357230 h 1473560"/>
                  <a:gd name="connsiteX1371" fmla="*/ 3097530 w 3574732"/>
                  <a:gd name="connsiteY1371" fmla="*/ 375328 h 1473560"/>
                  <a:gd name="connsiteX1372" fmla="*/ 3097530 w 3574732"/>
                  <a:gd name="connsiteY1372" fmla="*/ 371518 h 1473560"/>
                  <a:gd name="connsiteX1373" fmla="*/ 3110865 w 3574732"/>
                  <a:gd name="connsiteY1373" fmla="*/ 366755 h 1473560"/>
                  <a:gd name="connsiteX1374" fmla="*/ 3116580 w 3574732"/>
                  <a:gd name="connsiteY1374" fmla="*/ 351515 h 1473560"/>
                  <a:gd name="connsiteX1375" fmla="*/ 3148013 w 3574732"/>
                  <a:gd name="connsiteY1375" fmla="*/ 343895 h 1473560"/>
                  <a:gd name="connsiteX1376" fmla="*/ 3166110 w 3574732"/>
                  <a:gd name="connsiteY1376" fmla="*/ 342943 h 1473560"/>
                  <a:gd name="connsiteX1377" fmla="*/ 3183255 w 3574732"/>
                  <a:gd name="connsiteY1377" fmla="*/ 343895 h 1473560"/>
                  <a:gd name="connsiteX1378" fmla="*/ 3253740 w 3574732"/>
                  <a:gd name="connsiteY1378" fmla="*/ 336275 h 1473560"/>
                  <a:gd name="connsiteX1379" fmla="*/ 3258503 w 3574732"/>
                  <a:gd name="connsiteY1379" fmla="*/ 332465 h 1473560"/>
                  <a:gd name="connsiteX1380" fmla="*/ 3274695 w 3574732"/>
                  <a:gd name="connsiteY1380" fmla="*/ 321988 h 1473560"/>
                  <a:gd name="connsiteX1381" fmla="*/ 3301365 w 3574732"/>
                  <a:gd name="connsiteY1381" fmla="*/ 315320 h 1473560"/>
                  <a:gd name="connsiteX1382" fmla="*/ 3317558 w 3574732"/>
                  <a:gd name="connsiteY1382" fmla="*/ 304843 h 1473560"/>
                  <a:gd name="connsiteX1383" fmla="*/ 3336608 w 3574732"/>
                  <a:gd name="connsiteY1383" fmla="*/ 306748 h 1473560"/>
                  <a:gd name="connsiteX1384" fmla="*/ 3358515 w 3574732"/>
                  <a:gd name="connsiteY1384" fmla="*/ 309605 h 1473560"/>
                  <a:gd name="connsiteX1385" fmla="*/ 3407093 w 3574732"/>
                  <a:gd name="connsiteY1385" fmla="*/ 300080 h 1473560"/>
                  <a:gd name="connsiteX1386" fmla="*/ 3403283 w 3574732"/>
                  <a:gd name="connsiteY1386" fmla="*/ 291508 h 1473560"/>
                  <a:gd name="connsiteX1387" fmla="*/ 3380423 w 3574732"/>
                  <a:gd name="connsiteY1387" fmla="*/ 282935 h 1473560"/>
                  <a:gd name="connsiteX1388" fmla="*/ 3364230 w 3574732"/>
                  <a:gd name="connsiteY1388" fmla="*/ 270553 h 1473560"/>
                  <a:gd name="connsiteX1389" fmla="*/ 3358515 w 3574732"/>
                  <a:gd name="connsiteY1389" fmla="*/ 260075 h 1473560"/>
                  <a:gd name="connsiteX1390" fmla="*/ 3369945 w 3574732"/>
                  <a:gd name="connsiteY1390" fmla="*/ 260075 h 1473560"/>
                  <a:gd name="connsiteX1391" fmla="*/ 3397568 w 3574732"/>
                  <a:gd name="connsiteY1391" fmla="*/ 257218 h 1473560"/>
                  <a:gd name="connsiteX1392" fmla="*/ 3405188 w 3574732"/>
                  <a:gd name="connsiteY1392" fmla="*/ 249598 h 1473560"/>
                  <a:gd name="connsiteX1393" fmla="*/ 3408045 w 3574732"/>
                  <a:gd name="connsiteY1393" fmla="*/ 244835 h 1473560"/>
                  <a:gd name="connsiteX1394" fmla="*/ 3415665 w 3574732"/>
                  <a:gd name="connsiteY1394" fmla="*/ 241025 h 1473560"/>
                  <a:gd name="connsiteX1395" fmla="*/ 3424238 w 3574732"/>
                  <a:gd name="connsiteY1395" fmla="*/ 241025 h 1473560"/>
                  <a:gd name="connsiteX1396" fmla="*/ 3432810 w 3574732"/>
                  <a:gd name="connsiteY1396" fmla="*/ 242930 h 1473560"/>
                  <a:gd name="connsiteX1397" fmla="*/ 3449003 w 3574732"/>
                  <a:gd name="connsiteY1397" fmla="*/ 250550 h 1473560"/>
                  <a:gd name="connsiteX1398" fmla="*/ 3456623 w 3574732"/>
                  <a:gd name="connsiteY1398" fmla="*/ 253408 h 1473560"/>
                  <a:gd name="connsiteX1399" fmla="*/ 3472815 w 3574732"/>
                  <a:gd name="connsiteY1399" fmla="*/ 257218 h 1473560"/>
                  <a:gd name="connsiteX1400" fmla="*/ 3494723 w 3574732"/>
                  <a:gd name="connsiteY1400" fmla="*/ 260075 h 1473560"/>
                  <a:gd name="connsiteX1401" fmla="*/ 3519488 w 3574732"/>
                  <a:gd name="connsiteY1401" fmla="*/ 266743 h 1473560"/>
                  <a:gd name="connsiteX1402" fmla="*/ 3535680 w 3574732"/>
                  <a:gd name="connsiteY1402" fmla="*/ 265790 h 1473560"/>
                  <a:gd name="connsiteX1403" fmla="*/ 3549015 w 3574732"/>
                  <a:gd name="connsiteY1403" fmla="*/ 255313 h 1473560"/>
                  <a:gd name="connsiteX1404" fmla="*/ 3551873 w 3574732"/>
                  <a:gd name="connsiteY1404" fmla="*/ 243883 h 1473560"/>
                  <a:gd name="connsiteX1405" fmla="*/ 3560445 w 3574732"/>
                  <a:gd name="connsiteY1405" fmla="*/ 241025 h 1473560"/>
                  <a:gd name="connsiteX1406" fmla="*/ 3569018 w 3574732"/>
                  <a:gd name="connsiteY1406" fmla="*/ 237215 h 1473560"/>
                  <a:gd name="connsiteX1407" fmla="*/ 3574733 w 3574732"/>
                  <a:gd name="connsiteY1407" fmla="*/ 230548 h 1473560"/>
                  <a:gd name="connsiteX1408" fmla="*/ 3568065 w 3574732"/>
                  <a:gd name="connsiteY1408" fmla="*/ 231500 h 1473560"/>
                  <a:gd name="connsiteX1409" fmla="*/ 601028 w 3574732"/>
                  <a:gd name="connsiteY1409" fmla="*/ 290555 h 1473560"/>
                  <a:gd name="connsiteX1410" fmla="*/ 601028 w 3574732"/>
                  <a:gd name="connsiteY1410" fmla="*/ 290555 h 1473560"/>
                  <a:gd name="connsiteX1411" fmla="*/ 601028 w 3574732"/>
                  <a:gd name="connsiteY1411" fmla="*/ 290555 h 1473560"/>
                  <a:gd name="connsiteX1412" fmla="*/ 874395 w 3574732"/>
                  <a:gd name="connsiteY1412" fmla="*/ 1083035 h 1473560"/>
                  <a:gd name="connsiteX1413" fmla="*/ 867728 w 3574732"/>
                  <a:gd name="connsiteY1413" fmla="*/ 1091608 h 1473560"/>
                  <a:gd name="connsiteX1414" fmla="*/ 861060 w 3574732"/>
                  <a:gd name="connsiteY1414" fmla="*/ 1097323 h 1473560"/>
                  <a:gd name="connsiteX1415" fmla="*/ 849630 w 3574732"/>
                  <a:gd name="connsiteY1415" fmla="*/ 1106848 h 1473560"/>
                  <a:gd name="connsiteX1416" fmla="*/ 838200 w 3574732"/>
                  <a:gd name="connsiteY1416" fmla="*/ 1104943 h 1473560"/>
                  <a:gd name="connsiteX1417" fmla="*/ 841058 w 3574732"/>
                  <a:gd name="connsiteY1417" fmla="*/ 1096370 h 1473560"/>
                  <a:gd name="connsiteX1418" fmla="*/ 839153 w 3574732"/>
                  <a:gd name="connsiteY1418" fmla="*/ 1091608 h 1473560"/>
                  <a:gd name="connsiteX1419" fmla="*/ 845820 w 3574732"/>
                  <a:gd name="connsiteY1419" fmla="*/ 1085893 h 1473560"/>
                  <a:gd name="connsiteX1420" fmla="*/ 859155 w 3574732"/>
                  <a:gd name="connsiteY1420" fmla="*/ 1084940 h 1473560"/>
                  <a:gd name="connsiteX1421" fmla="*/ 874395 w 3574732"/>
                  <a:gd name="connsiteY1421" fmla="*/ 1083035 h 1473560"/>
                  <a:gd name="connsiteX1422" fmla="*/ 1003935 w 3574732"/>
                  <a:gd name="connsiteY1422" fmla="*/ 591545 h 1473560"/>
                  <a:gd name="connsiteX1423" fmla="*/ 995363 w 3574732"/>
                  <a:gd name="connsiteY1423" fmla="*/ 595355 h 1473560"/>
                  <a:gd name="connsiteX1424" fmla="*/ 986790 w 3574732"/>
                  <a:gd name="connsiteY1424" fmla="*/ 595355 h 1473560"/>
                  <a:gd name="connsiteX1425" fmla="*/ 978218 w 3574732"/>
                  <a:gd name="connsiteY1425" fmla="*/ 595355 h 1473560"/>
                  <a:gd name="connsiteX1426" fmla="*/ 958215 w 3574732"/>
                  <a:gd name="connsiteY1426" fmla="*/ 593450 h 1473560"/>
                  <a:gd name="connsiteX1427" fmla="*/ 918210 w 3574732"/>
                  <a:gd name="connsiteY1427" fmla="*/ 588688 h 1473560"/>
                  <a:gd name="connsiteX1428" fmla="*/ 901065 w 3574732"/>
                  <a:gd name="connsiteY1428" fmla="*/ 588688 h 1473560"/>
                  <a:gd name="connsiteX1429" fmla="*/ 885825 w 3574732"/>
                  <a:gd name="connsiteY1429" fmla="*/ 588688 h 1473560"/>
                  <a:gd name="connsiteX1430" fmla="*/ 868680 w 3574732"/>
                  <a:gd name="connsiteY1430" fmla="*/ 585830 h 1473560"/>
                  <a:gd name="connsiteX1431" fmla="*/ 846773 w 3574732"/>
                  <a:gd name="connsiteY1431" fmla="*/ 586783 h 1473560"/>
                  <a:gd name="connsiteX1432" fmla="*/ 824865 w 3574732"/>
                  <a:gd name="connsiteY1432" fmla="*/ 589640 h 1473560"/>
                  <a:gd name="connsiteX1433" fmla="*/ 813435 w 3574732"/>
                  <a:gd name="connsiteY1433" fmla="*/ 589640 h 1473560"/>
                  <a:gd name="connsiteX1434" fmla="*/ 802005 w 3574732"/>
                  <a:gd name="connsiteY1434" fmla="*/ 589640 h 1473560"/>
                  <a:gd name="connsiteX1435" fmla="*/ 791528 w 3574732"/>
                  <a:gd name="connsiteY1435" fmla="*/ 586783 h 1473560"/>
                  <a:gd name="connsiteX1436" fmla="*/ 791528 w 3574732"/>
                  <a:gd name="connsiteY1436" fmla="*/ 577258 h 1473560"/>
                  <a:gd name="connsiteX1437" fmla="*/ 802958 w 3574732"/>
                  <a:gd name="connsiteY1437" fmla="*/ 565828 h 1473560"/>
                  <a:gd name="connsiteX1438" fmla="*/ 807720 w 3574732"/>
                  <a:gd name="connsiteY1438" fmla="*/ 560113 h 1473560"/>
                  <a:gd name="connsiteX1439" fmla="*/ 809625 w 3574732"/>
                  <a:gd name="connsiteY1439" fmla="*/ 553445 h 1473560"/>
                  <a:gd name="connsiteX1440" fmla="*/ 821055 w 3574732"/>
                  <a:gd name="connsiteY1440" fmla="*/ 544873 h 1473560"/>
                  <a:gd name="connsiteX1441" fmla="*/ 827723 w 3574732"/>
                  <a:gd name="connsiteY1441" fmla="*/ 538205 h 1473560"/>
                  <a:gd name="connsiteX1442" fmla="*/ 845820 w 3574732"/>
                  <a:gd name="connsiteY1442" fmla="*/ 529633 h 1473560"/>
                  <a:gd name="connsiteX1443" fmla="*/ 854393 w 3574732"/>
                  <a:gd name="connsiteY1443" fmla="*/ 529633 h 1473560"/>
                  <a:gd name="connsiteX1444" fmla="*/ 867728 w 3574732"/>
                  <a:gd name="connsiteY1444" fmla="*/ 529633 h 1473560"/>
                  <a:gd name="connsiteX1445" fmla="*/ 881063 w 3574732"/>
                  <a:gd name="connsiteY1445" fmla="*/ 537253 h 1473560"/>
                  <a:gd name="connsiteX1446" fmla="*/ 884873 w 3574732"/>
                  <a:gd name="connsiteY1446" fmla="*/ 545825 h 1473560"/>
                  <a:gd name="connsiteX1447" fmla="*/ 906780 w 3574732"/>
                  <a:gd name="connsiteY1447" fmla="*/ 550588 h 1473560"/>
                  <a:gd name="connsiteX1448" fmla="*/ 928688 w 3574732"/>
                  <a:gd name="connsiteY1448" fmla="*/ 546778 h 1473560"/>
                  <a:gd name="connsiteX1449" fmla="*/ 926783 w 3574732"/>
                  <a:gd name="connsiteY1449" fmla="*/ 541063 h 1473560"/>
                  <a:gd name="connsiteX1450" fmla="*/ 926783 w 3574732"/>
                  <a:gd name="connsiteY1450" fmla="*/ 531538 h 1473560"/>
                  <a:gd name="connsiteX1451" fmla="*/ 942023 w 3574732"/>
                  <a:gd name="connsiteY1451" fmla="*/ 519155 h 1473560"/>
                  <a:gd name="connsiteX1452" fmla="*/ 948690 w 3574732"/>
                  <a:gd name="connsiteY1452" fmla="*/ 527728 h 1473560"/>
                  <a:gd name="connsiteX1453" fmla="*/ 948690 w 3574732"/>
                  <a:gd name="connsiteY1453" fmla="*/ 534395 h 1473560"/>
                  <a:gd name="connsiteX1454" fmla="*/ 946785 w 3574732"/>
                  <a:gd name="connsiteY1454" fmla="*/ 538205 h 1473560"/>
                  <a:gd name="connsiteX1455" fmla="*/ 953453 w 3574732"/>
                  <a:gd name="connsiteY1455" fmla="*/ 546778 h 1473560"/>
                  <a:gd name="connsiteX1456" fmla="*/ 972503 w 3574732"/>
                  <a:gd name="connsiteY1456" fmla="*/ 561065 h 1473560"/>
                  <a:gd name="connsiteX1457" fmla="*/ 987743 w 3574732"/>
                  <a:gd name="connsiteY1457" fmla="*/ 571543 h 1473560"/>
                  <a:gd name="connsiteX1458" fmla="*/ 998220 w 3574732"/>
                  <a:gd name="connsiteY1458" fmla="*/ 579163 h 1473560"/>
                  <a:gd name="connsiteX1459" fmla="*/ 1004888 w 3574732"/>
                  <a:gd name="connsiteY1459" fmla="*/ 584878 h 1473560"/>
                  <a:gd name="connsiteX1460" fmla="*/ 1003935 w 3574732"/>
                  <a:gd name="connsiteY1460" fmla="*/ 591545 h 1473560"/>
                  <a:gd name="connsiteX1461" fmla="*/ 1239203 w 3574732"/>
                  <a:gd name="connsiteY1461" fmla="*/ 609643 h 1473560"/>
                  <a:gd name="connsiteX1462" fmla="*/ 1230630 w 3574732"/>
                  <a:gd name="connsiteY1462" fmla="*/ 612500 h 1473560"/>
                  <a:gd name="connsiteX1463" fmla="*/ 1212533 w 3574732"/>
                  <a:gd name="connsiteY1463" fmla="*/ 622025 h 1473560"/>
                  <a:gd name="connsiteX1464" fmla="*/ 1212533 w 3574732"/>
                  <a:gd name="connsiteY1464" fmla="*/ 627740 h 1473560"/>
                  <a:gd name="connsiteX1465" fmla="*/ 1212533 w 3574732"/>
                  <a:gd name="connsiteY1465" fmla="*/ 633455 h 1473560"/>
                  <a:gd name="connsiteX1466" fmla="*/ 1214438 w 3574732"/>
                  <a:gd name="connsiteY1466" fmla="*/ 637265 h 1473560"/>
                  <a:gd name="connsiteX1467" fmla="*/ 1196340 w 3574732"/>
                  <a:gd name="connsiteY1467" fmla="*/ 645838 h 1473560"/>
                  <a:gd name="connsiteX1468" fmla="*/ 1183005 w 3574732"/>
                  <a:gd name="connsiteY1468" fmla="*/ 645838 h 1473560"/>
                  <a:gd name="connsiteX1469" fmla="*/ 1169670 w 3574732"/>
                  <a:gd name="connsiteY1469" fmla="*/ 642980 h 1473560"/>
                  <a:gd name="connsiteX1470" fmla="*/ 1157288 w 3574732"/>
                  <a:gd name="connsiteY1470" fmla="*/ 625835 h 1473560"/>
                  <a:gd name="connsiteX1471" fmla="*/ 1150620 w 3574732"/>
                  <a:gd name="connsiteY1471" fmla="*/ 614405 h 1473560"/>
                  <a:gd name="connsiteX1472" fmla="*/ 1143953 w 3574732"/>
                  <a:gd name="connsiteY1472" fmla="*/ 600118 h 1473560"/>
                  <a:gd name="connsiteX1473" fmla="*/ 1123950 w 3574732"/>
                  <a:gd name="connsiteY1473" fmla="*/ 586783 h 1473560"/>
                  <a:gd name="connsiteX1474" fmla="*/ 1115378 w 3574732"/>
                  <a:gd name="connsiteY1474" fmla="*/ 571543 h 1473560"/>
                  <a:gd name="connsiteX1475" fmla="*/ 1113473 w 3574732"/>
                  <a:gd name="connsiteY1475" fmla="*/ 559160 h 1473560"/>
                  <a:gd name="connsiteX1476" fmla="*/ 1113473 w 3574732"/>
                  <a:gd name="connsiteY1476" fmla="*/ 550588 h 1473560"/>
                  <a:gd name="connsiteX1477" fmla="*/ 1116330 w 3574732"/>
                  <a:gd name="connsiteY1477" fmla="*/ 539158 h 1473560"/>
                  <a:gd name="connsiteX1478" fmla="*/ 1129665 w 3574732"/>
                  <a:gd name="connsiteY1478" fmla="*/ 535348 h 1473560"/>
                  <a:gd name="connsiteX1479" fmla="*/ 1163003 w 3574732"/>
                  <a:gd name="connsiteY1479" fmla="*/ 531538 h 1473560"/>
                  <a:gd name="connsiteX1480" fmla="*/ 1196340 w 3574732"/>
                  <a:gd name="connsiteY1480" fmla="*/ 527728 h 1473560"/>
                  <a:gd name="connsiteX1481" fmla="*/ 1201103 w 3574732"/>
                  <a:gd name="connsiteY1481" fmla="*/ 531538 h 1473560"/>
                  <a:gd name="connsiteX1482" fmla="*/ 1187768 w 3574732"/>
                  <a:gd name="connsiteY1482" fmla="*/ 540110 h 1473560"/>
                  <a:gd name="connsiteX1483" fmla="*/ 1176338 w 3574732"/>
                  <a:gd name="connsiteY1483" fmla="*/ 545825 h 1473560"/>
                  <a:gd name="connsiteX1484" fmla="*/ 1176338 w 3574732"/>
                  <a:gd name="connsiteY1484" fmla="*/ 557255 h 1473560"/>
                  <a:gd name="connsiteX1485" fmla="*/ 1176338 w 3574732"/>
                  <a:gd name="connsiteY1485" fmla="*/ 568685 h 1473560"/>
                  <a:gd name="connsiteX1486" fmla="*/ 1206818 w 3574732"/>
                  <a:gd name="connsiteY1486" fmla="*/ 584878 h 1473560"/>
                  <a:gd name="connsiteX1487" fmla="*/ 1222058 w 3574732"/>
                  <a:gd name="connsiteY1487" fmla="*/ 587735 h 1473560"/>
                  <a:gd name="connsiteX1488" fmla="*/ 1237298 w 3574732"/>
                  <a:gd name="connsiteY1488" fmla="*/ 593450 h 1473560"/>
                  <a:gd name="connsiteX1489" fmla="*/ 1243965 w 3574732"/>
                  <a:gd name="connsiteY1489" fmla="*/ 599165 h 1473560"/>
                  <a:gd name="connsiteX1490" fmla="*/ 1239203 w 3574732"/>
                  <a:gd name="connsiteY1490" fmla="*/ 609643 h 1473560"/>
                  <a:gd name="connsiteX1491" fmla="*/ 1342073 w 3574732"/>
                  <a:gd name="connsiteY1491" fmla="*/ 556303 h 1473560"/>
                  <a:gd name="connsiteX1492" fmla="*/ 1335405 w 3574732"/>
                  <a:gd name="connsiteY1492" fmla="*/ 562970 h 1473560"/>
                  <a:gd name="connsiteX1493" fmla="*/ 1322070 w 3574732"/>
                  <a:gd name="connsiteY1493" fmla="*/ 562970 h 1473560"/>
                  <a:gd name="connsiteX1494" fmla="*/ 1308735 w 3574732"/>
                  <a:gd name="connsiteY1494" fmla="*/ 554398 h 1473560"/>
                  <a:gd name="connsiteX1495" fmla="*/ 1311593 w 3574732"/>
                  <a:gd name="connsiteY1495" fmla="*/ 542015 h 1473560"/>
                  <a:gd name="connsiteX1496" fmla="*/ 1316355 w 3574732"/>
                  <a:gd name="connsiteY1496" fmla="*/ 536300 h 1473560"/>
                  <a:gd name="connsiteX1497" fmla="*/ 1333500 w 3574732"/>
                  <a:gd name="connsiteY1497" fmla="*/ 536300 h 1473560"/>
                  <a:gd name="connsiteX1498" fmla="*/ 1342073 w 3574732"/>
                  <a:gd name="connsiteY1498" fmla="*/ 548683 h 1473560"/>
                  <a:gd name="connsiteX1499" fmla="*/ 1342073 w 3574732"/>
                  <a:gd name="connsiteY1499" fmla="*/ 556303 h 147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Lst>
                <a:rect l="l" t="t" r="r" b="b"/>
                <a:pathLst>
                  <a:path w="3574732" h="1473560">
                    <a:moveTo>
                      <a:pt x="3568065" y="231500"/>
                    </a:moveTo>
                    <a:cubicBezTo>
                      <a:pt x="3568065" y="231500"/>
                      <a:pt x="3568065" y="231500"/>
                      <a:pt x="3562350" y="230548"/>
                    </a:cubicBezTo>
                    <a:cubicBezTo>
                      <a:pt x="3556635" y="229595"/>
                      <a:pt x="3549015" y="230548"/>
                      <a:pt x="3549015" y="230548"/>
                    </a:cubicBezTo>
                    <a:cubicBezTo>
                      <a:pt x="3549015" y="230548"/>
                      <a:pt x="3534728" y="230548"/>
                      <a:pt x="3529965" y="230548"/>
                    </a:cubicBezTo>
                    <a:cubicBezTo>
                      <a:pt x="3525203" y="230548"/>
                      <a:pt x="3516630" y="234358"/>
                      <a:pt x="3511868" y="233405"/>
                    </a:cubicBezTo>
                    <a:cubicBezTo>
                      <a:pt x="3507105" y="232453"/>
                      <a:pt x="3504248" y="231500"/>
                      <a:pt x="3504248" y="231500"/>
                    </a:cubicBezTo>
                    <a:cubicBezTo>
                      <a:pt x="3504248" y="231500"/>
                      <a:pt x="3498533" y="230548"/>
                      <a:pt x="3489960" y="225785"/>
                    </a:cubicBezTo>
                    <a:cubicBezTo>
                      <a:pt x="3481388" y="221023"/>
                      <a:pt x="3489960" y="225785"/>
                      <a:pt x="3489008" y="222928"/>
                    </a:cubicBezTo>
                    <a:cubicBezTo>
                      <a:pt x="3487103" y="220070"/>
                      <a:pt x="3480435" y="214355"/>
                      <a:pt x="3480435" y="214355"/>
                    </a:cubicBezTo>
                    <a:lnTo>
                      <a:pt x="3476625" y="206735"/>
                    </a:lnTo>
                    <a:lnTo>
                      <a:pt x="3462338" y="201973"/>
                    </a:lnTo>
                    <a:lnTo>
                      <a:pt x="3456623" y="198163"/>
                    </a:lnTo>
                    <a:lnTo>
                      <a:pt x="3442335" y="194353"/>
                    </a:lnTo>
                    <a:cubicBezTo>
                      <a:pt x="3442335" y="194353"/>
                      <a:pt x="3442335" y="194353"/>
                      <a:pt x="3441383" y="191495"/>
                    </a:cubicBezTo>
                    <a:cubicBezTo>
                      <a:pt x="3440430" y="188638"/>
                      <a:pt x="3419475" y="185780"/>
                      <a:pt x="3419475" y="185780"/>
                    </a:cubicBezTo>
                    <a:cubicBezTo>
                      <a:pt x="3419475" y="185780"/>
                      <a:pt x="3408998" y="182923"/>
                      <a:pt x="3406140" y="180065"/>
                    </a:cubicBezTo>
                    <a:cubicBezTo>
                      <a:pt x="3403283" y="177208"/>
                      <a:pt x="3389948" y="177208"/>
                      <a:pt x="3389948" y="177208"/>
                    </a:cubicBezTo>
                    <a:cubicBezTo>
                      <a:pt x="3389948" y="177208"/>
                      <a:pt x="3368040" y="175303"/>
                      <a:pt x="3362325" y="172445"/>
                    </a:cubicBezTo>
                    <a:cubicBezTo>
                      <a:pt x="3356610" y="169588"/>
                      <a:pt x="3354705" y="172445"/>
                      <a:pt x="3348990" y="172445"/>
                    </a:cubicBezTo>
                    <a:cubicBezTo>
                      <a:pt x="3343275" y="172445"/>
                      <a:pt x="3340418" y="172445"/>
                      <a:pt x="3334703" y="172445"/>
                    </a:cubicBezTo>
                    <a:cubicBezTo>
                      <a:pt x="3328988" y="172445"/>
                      <a:pt x="3323273" y="172445"/>
                      <a:pt x="3318510" y="172445"/>
                    </a:cubicBezTo>
                    <a:cubicBezTo>
                      <a:pt x="3313748" y="172445"/>
                      <a:pt x="3301365" y="170540"/>
                      <a:pt x="3301365" y="170540"/>
                    </a:cubicBezTo>
                    <a:lnTo>
                      <a:pt x="3277553" y="166730"/>
                    </a:lnTo>
                    <a:lnTo>
                      <a:pt x="3255645" y="168635"/>
                    </a:lnTo>
                    <a:lnTo>
                      <a:pt x="3247073" y="170540"/>
                    </a:lnTo>
                    <a:lnTo>
                      <a:pt x="3244215" y="184828"/>
                    </a:lnTo>
                    <a:lnTo>
                      <a:pt x="3238500" y="185780"/>
                    </a:lnTo>
                    <a:cubicBezTo>
                      <a:pt x="3238500" y="185780"/>
                      <a:pt x="3222308" y="184828"/>
                      <a:pt x="3219450" y="180065"/>
                    </a:cubicBezTo>
                    <a:cubicBezTo>
                      <a:pt x="3216593" y="175303"/>
                      <a:pt x="3219450" y="180065"/>
                      <a:pt x="3221355" y="172445"/>
                    </a:cubicBezTo>
                    <a:lnTo>
                      <a:pt x="3218498" y="162920"/>
                    </a:lnTo>
                    <a:lnTo>
                      <a:pt x="3197543" y="162920"/>
                    </a:lnTo>
                    <a:cubicBezTo>
                      <a:pt x="3197543" y="162920"/>
                      <a:pt x="3189923" y="164825"/>
                      <a:pt x="3176588" y="166730"/>
                    </a:cubicBezTo>
                    <a:cubicBezTo>
                      <a:pt x="3163253" y="168635"/>
                      <a:pt x="3176588" y="166730"/>
                      <a:pt x="3168015" y="168635"/>
                    </a:cubicBezTo>
                    <a:cubicBezTo>
                      <a:pt x="3159443" y="170540"/>
                      <a:pt x="3157538" y="169588"/>
                      <a:pt x="3148965" y="169588"/>
                    </a:cubicBezTo>
                    <a:cubicBezTo>
                      <a:pt x="3140393" y="169588"/>
                      <a:pt x="3138488" y="169588"/>
                      <a:pt x="3138488" y="169588"/>
                    </a:cubicBezTo>
                    <a:cubicBezTo>
                      <a:pt x="3138488" y="169588"/>
                      <a:pt x="3125153" y="169588"/>
                      <a:pt x="3098483" y="168635"/>
                    </a:cubicBezTo>
                    <a:cubicBezTo>
                      <a:pt x="3071813" y="167683"/>
                      <a:pt x="3082290" y="167683"/>
                      <a:pt x="3076575" y="165778"/>
                    </a:cubicBezTo>
                    <a:cubicBezTo>
                      <a:pt x="3070860" y="163873"/>
                      <a:pt x="3070860" y="161968"/>
                      <a:pt x="3063240" y="157205"/>
                    </a:cubicBezTo>
                    <a:cubicBezTo>
                      <a:pt x="3055620" y="152443"/>
                      <a:pt x="3055620" y="150538"/>
                      <a:pt x="3055620" y="150538"/>
                    </a:cubicBezTo>
                    <a:lnTo>
                      <a:pt x="3049905" y="147680"/>
                    </a:lnTo>
                    <a:lnTo>
                      <a:pt x="3016568" y="147680"/>
                    </a:lnTo>
                    <a:lnTo>
                      <a:pt x="3002280" y="147680"/>
                    </a:lnTo>
                    <a:cubicBezTo>
                      <a:pt x="3002280" y="147680"/>
                      <a:pt x="2986088" y="147680"/>
                      <a:pt x="2980373" y="144823"/>
                    </a:cubicBezTo>
                    <a:cubicBezTo>
                      <a:pt x="2974658" y="141965"/>
                      <a:pt x="2963228" y="144823"/>
                      <a:pt x="2952750" y="141965"/>
                    </a:cubicBezTo>
                    <a:cubicBezTo>
                      <a:pt x="2942273" y="139108"/>
                      <a:pt x="2942273" y="139108"/>
                      <a:pt x="2938463" y="137203"/>
                    </a:cubicBezTo>
                    <a:cubicBezTo>
                      <a:pt x="2933700" y="135298"/>
                      <a:pt x="2929890" y="136250"/>
                      <a:pt x="2919413" y="131488"/>
                    </a:cubicBezTo>
                    <a:cubicBezTo>
                      <a:pt x="2908935" y="126725"/>
                      <a:pt x="2919413" y="131488"/>
                      <a:pt x="2913698" y="129583"/>
                    </a:cubicBezTo>
                    <a:cubicBezTo>
                      <a:pt x="2907983" y="127678"/>
                      <a:pt x="2892743" y="128630"/>
                      <a:pt x="2892743" y="128630"/>
                    </a:cubicBezTo>
                    <a:cubicBezTo>
                      <a:pt x="2892743" y="128630"/>
                      <a:pt x="2878455" y="128630"/>
                      <a:pt x="2873693" y="126725"/>
                    </a:cubicBezTo>
                    <a:cubicBezTo>
                      <a:pt x="2868930" y="124820"/>
                      <a:pt x="2873693" y="126725"/>
                      <a:pt x="2868930" y="124820"/>
                    </a:cubicBezTo>
                    <a:cubicBezTo>
                      <a:pt x="2864168" y="122915"/>
                      <a:pt x="2861310" y="123868"/>
                      <a:pt x="2851785" y="120058"/>
                    </a:cubicBezTo>
                    <a:cubicBezTo>
                      <a:pt x="2841308" y="116248"/>
                      <a:pt x="2840355" y="120058"/>
                      <a:pt x="2834640" y="115295"/>
                    </a:cubicBezTo>
                    <a:cubicBezTo>
                      <a:pt x="2828925" y="110533"/>
                      <a:pt x="2821305" y="114343"/>
                      <a:pt x="2817495" y="113390"/>
                    </a:cubicBezTo>
                    <a:cubicBezTo>
                      <a:pt x="2812733" y="112438"/>
                      <a:pt x="2806065" y="112438"/>
                      <a:pt x="2800350" y="112438"/>
                    </a:cubicBezTo>
                    <a:cubicBezTo>
                      <a:pt x="2794635" y="112438"/>
                      <a:pt x="2789873" y="114343"/>
                      <a:pt x="2785110" y="114343"/>
                    </a:cubicBezTo>
                    <a:cubicBezTo>
                      <a:pt x="2780348" y="114343"/>
                      <a:pt x="2767965" y="113390"/>
                      <a:pt x="2761298" y="113390"/>
                    </a:cubicBezTo>
                    <a:cubicBezTo>
                      <a:pt x="2755583" y="113390"/>
                      <a:pt x="2749868" y="113390"/>
                      <a:pt x="2740343" y="113390"/>
                    </a:cubicBezTo>
                    <a:cubicBezTo>
                      <a:pt x="2731770" y="113390"/>
                      <a:pt x="2718435" y="121963"/>
                      <a:pt x="2718435" y="121963"/>
                    </a:cubicBezTo>
                    <a:cubicBezTo>
                      <a:pt x="2718435" y="121963"/>
                      <a:pt x="2718435" y="121963"/>
                      <a:pt x="2713673" y="121963"/>
                    </a:cubicBezTo>
                    <a:cubicBezTo>
                      <a:pt x="2708910" y="121963"/>
                      <a:pt x="2708910" y="126725"/>
                      <a:pt x="2708910" y="126725"/>
                    </a:cubicBezTo>
                    <a:lnTo>
                      <a:pt x="2704148" y="133393"/>
                    </a:lnTo>
                    <a:lnTo>
                      <a:pt x="2692718" y="133393"/>
                    </a:lnTo>
                    <a:lnTo>
                      <a:pt x="2676525" y="133393"/>
                    </a:lnTo>
                    <a:lnTo>
                      <a:pt x="2654618" y="133393"/>
                    </a:lnTo>
                    <a:lnTo>
                      <a:pt x="2646998" y="139108"/>
                    </a:lnTo>
                    <a:cubicBezTo>
                      <a:pt x="2646998" y="139108"/>
                      <a:pt x="2639378" y="140060"/>
                      <a:pt x="2635568" y="140060"/>
                    </a:cubicBezTo>
                    <a:cubicBezTo>
                      <a:pt x="2630805" y="140060"/>
                      <a:pt x="2616518" y="140060"/>
                      <a:pt x="2616518" y="140060"/>
                    </a:cubicBezTo>
                    <a:cubicBezTo>
                      <a:pt x="2616518" y="140060"/>
                      <a:pt x="2610803" y="139108"/>
                      <a:pt x="2606040" y="133393"/>
                    </a:cubicBezTo>
                    <a:cubicBezTo>
                      <a:pt x="2602230" y="127678"/>
                      <a:pt x="2606040" y="133393"/>
                      <a:pt x="2606040" y="130535"/>
                    </a:cubicBezTo>
                    <a:cubicBezTo>
                      <a:pt x="2606040" y="127678"/>
                      <a:pt x="2597468" y="128630"/>
                      <a:pt x="2597468" y="128630"/>
                    </a:cubicBezTo>
                    <a:lnTo>
                      <a:pt x="2586038" y="128630"/>
                    </a:lnTo>
                    <a:lnTo>
                      <a:pt x="2578418" y="132440"/>
                    </a:lnTo>
                    <a:lnTo>
                      <a:pt x="2572703" y="141965"/>
                    </a:lnTo>
                    <a:lnTo>
                      <a:pt x="2562225" y="141965"/>
                    </a:lnTo>
                    <a:cubicBezTo>
                      <a:pt x="2562225" y="141965"/>
                      <a:pt x="2548890" y="140060"/>
                      <a:pt x="2545080" y="139108"/>
                    </a:cubicBezTo>
                    <a:cubicBezTo>
                      <a:pt x="2540318" y="138155"/>
                      <a:pt x="2533650" y="135298"/>
                      <a:pt x="2530793" y="130535"/>
                    </a:cubicBezTo>
                    <a:cubicBezTo>
                      <a:pt x="2527935" y="125773"/>
                      <a:pt x="2527935" y="124820"/>
                      <a:pt x="2527935" y="117200"/>
                    </a:cubicBezTo>
                    <a:cubicBezTo>
                      <a:pt x="2527935" y="109580"/>
                      <a:pt x="2526983" y="109580"/>
                      <a:pt x="2526983" y="109580"/>
                    </a:cubicBezTo>
                    <a:lnTo>
                      <a:pt x="2521268" y="104818"/>
                    </a:lnTo>
                    <a:lnTo>
                      <a:pt x="2506980" y="100055"/>
                    </a:lnTo>
                    <a:lnTo>
                      <a:pt x="2499360" y="98150"/>
                    </a:lnTo>
                    <a:lnTo>
                      <a:pt x="2480310" y="95293"/>
                    </a:lnTo>
                    <a:lnTo>
                      <a:pt x="2450783" y="94340"/>
                    </a:lnTo>
                    <a:lnTo>
                      <a:pt x="2443163" y="97198"/>
                    </a:lnTo>
                    <a:lnTo>
                      <a:pt x="2430780" y="104818"/>
                    </a:lnTo>
                    <a:cubicBezTo>
                      <a:pt x="2430780" y="104818"/>
                      <a:pt x="2430780" y="104818"/>
                      <a:pt x="2426018" y="103865"/>
                    </a:cubicBezTo>
                    <a:cubicBezTo>
                      <a:pt x="2421255" y="102913"/>
                      <a:pt x="2412683" y="104818"/>
                      <a:pt x="2407920" y="103865"/>
                    </a:cubicBezTo>
                    <a:cubicBezTo>
                      <a:pt x="2403158" y="102913"/>
                      <a:pt x="2396490" y="102913"/>
                      <a:pt x="2391728" y="101008"/>
                    </a:cubicBezTo>
                    <a:cubicBezTo>
                      <a:pt x="2386965" y="99103"/>
                      <a:pt x="2375535" y="96245"/>
                      <a:pt x="2375535" y="96245"/>
                    </a:cubicBezTo>
                    <a:cubicBezTo>
                      <a:pt x="2375535" y="96245"/>
                      <a:pt x="2375535" y="96245"/>
                      <a:pt x="2370773" y="93388"/>
                    </a:cubicBezTo>
                    <a:cubicBezTo>
                      <a:pt x="2366010" y="90530"/>
                      <a:pt x="2365058" y="91483"/>
                      <a:pt x="2359343" y="90530"/>
                    </a:cubicBezTo>
                    <a:cubicBezTo>
                      <a:pt x="2353628" y="89578"/>
                      <a:pt x="2351723" y="91483"/>
                      <a:pt x="2347913" y="90530"/>
                    </a:cubicBezTo>
                    <a:cubicBezTo>
                      <a:pt x="2343150" y="89578"/>
                      <a:pt x="2339340" y="90530"/>
                      <a:pt x="2339340" y="90530"/>
                    </a:cubicBezTo>
                    <a:lnTo>
                      <a:pt x="2328863" y="90530"/>
                    </a:lnTo>
                    <a:lnTo>
                      <a:pt x="2314575" y="91483"/>
                    </a:lnTo>
                    <a:cubicBezTo>
                      <a:pt x="2314575" y="91483"/>
                      <a:pt x="2308860" y="91483"/>
                      <a:pt x="2304098" y="91483"/>
                    </a:cubicBezTo>
                    <a:cubicBezTo>
                      <a:pt x="2299335" y="91483"/>
                      <a:pt x="2298383" y="91483"/>
                      <a:pt x="2292668" y="91483"/>
                    </a:cubicBezTo>
                    <a:cubicBezTo>
                      <a:pt x="2286953" y="91483"/>
                      <a:pt x="2279333" y="88625"/>
                      <a:pt x="2279333" y="88625"/>
                    </a:cubicBezTo>
                    <a:cubicBezTo>
                      <a:pt x="2279333" y="88625"/>
                      <a:pt x="2267903" y="88625"/>
                      <a:pt x="2262188" y="85768"/>
                    </a:cubicBezTo>
                    <a:cubicBezTo>
                      <a:pt x="2256473" y="82910"/>
                      <a:pt x="2237423" y="84815"/>
                      <a:pt x="2237423" y="84815"/>
                    </a:cubicBezTo>
                    <a:cubicBezTo>
                      <a:pt x="2237423" y="84815"/>
                      <a:pt x="2237423" y="84815"/>
                      <a:pt x="2232660" y="82910"/>
                    </a:cubicBezTo>
                    <a:cubicBezTo>
                      <a:pt x="2227898" y="81005"/>
                      <a:pt x="2225040" y="82910"/>
                      <a:pt x="2225040" y="82910"/>
                    </a:cubicBezTo>
                    <a:lnTo>
                      <a:pt x="2213610" y="85768"/>
                    </a:lnTo>
                    <a:cubicBezTo>
                      <a:pt x="2213610" y="85768"/>
                      <a:pt x="2197418" y="91483"/>
                      <a:pt x="2189798" y="94340"/>
                    </a:cubicBezTo>
                    <a:cubicBezTo>
                      <a:pt x="2189798" y="94340"/>
                      <a:pt x="2176463" y="94340"/>
                      <a:pt x="2170748" y="95293"/>
                    </a:cubicBezTo>
                    <a:cubicBezTo>
                      <a:pt x="2165033" y="96245"/>
                      <a:pt x="2163128" y="97198"/>
                      <a:pt x="2159318" y="99103"/>
                    </a:cubicBezTo>
                    <a:cubicBezTo>
                      <a:pt x="2154555" y="101008"/>
                      <a:pt x="2148840" y="104818"/>
                      <a:pt x="2141220" y="104818"/>
                    </a:cubicBezTo>
                    <a:cubicBezTo>
                      <a:pt x="2133600" y="104818"/>
                      <a:pt x="2141220" y="104818"/>
                      <a:pt x="2127885" y="103865"/>
                    </a:cubicBezTo>
                    <a:cubicBezTo>
                      <a:pt x="2114550" y="102913"/>
                      <a:pt x="2117408" y="101008"/>
                      <a:pt x="2117408" y="101008"/>
                    </a:cubicBezTo>
                    <a:lnTo>
                      <a:pt x="2123123" y="96245"/>
                    </a:lnTo>
                    <a:cubicBezTo>
                      <a:pt x="2123123" y="96245"/>
                      <a:pt x="2144078" y="93388"/>
                      <a:pt x="2146935" y="90530"/>
                    </a:cubicBezTo>
                    <a:cubicBezTo>
                      <a:pt x="2149793" y="87673"/>
                      <a:pt x="2157413" y="86720"/>
                      <a:pt x="2162175" y="84815"/>
                    </a:cubicBezTo>
                    <a:cubicBezTo>
                      <a:pt x="2166938" y="82910"/>
                      <a:pt x="2167890" y="84815"/>
                      <a:pt x="2170748" y="81958"/>
                    </a:cubicBezTo>
                    <a:cubicBezTo>
                      <a:pt x="2173605" y="79100"/>
                      <a:pt x="2192655" y="75290"/>
                      <a:pt x="2194560" y="67670"/>
                    </a:cubicBezTo>
                    <a:cubicBezTo>
                      <a:pt x="2194560" y="67670"/>
                      <a:pt x="2200275" y="67670"/>
                      <a:pt x="2205038" y="67670"/>
                    </a:cubicBezTo>
                    <a:cubicBezTo>
                      <a:pt x="2209800" y="67670"/>
                      <a:pt x="2216468" y="67670"/>
                      <a:pt x="2222183" y="67670"/>
                    </a:cubicBezTo>
                    <a:cubicBezTo>
                      <a:pt x="2227898" y="67670"/>
                      <a:pt x="2241233" y="67670"/>
                      <a:pt x="2241233" y="67670"/>
                    </a:cubicBezTo>
                    <a:lnTo>
                      <a:pt x="2265045" y="61955"/>
                    </a:lnTo>
                    <a:lnTo>
                      <a:pt x="2266950" y="55288"/>
                    </a:lnTo>
                    <a:cubicBezTo>
                      <a:pt x="2266950" y="55288"/>
                      <a:pt x="2268855" y="51478"/>
                      <a:pt x="2265998" y="45763"/>
                    </a:cubicBezTo>
                    <a:cubicBezTo>
                      <a:pt x="2263140" y="40048"/>
                      <a:pt x="2263140" y="38143"/>
                      <a:pt x="2263140" y="38143"/>
                    </a:cubicBezTo>
                    <a:lnTo>
                      <a:pt x="2257425" y="25760"/>
                    </a:lnTo>
                    <a:lnTo>
                      <a:pt x="2241233" y="22903"/>
                    </a:lnTo>
                    <a:lnTo>
                      <a:pt x="2225040" y="19093"/>
                    </a:lnTo>
                    <a:cubicBezTo>
                      <a:pt x="2225040" y="19093"/>
                      <a:pt x="2225040" y="19093"/>
                      <a:pt x="2216468" y="19093"/>
                    </a:cubicBezTo>
                    <a:cubicBezTo>
                      <a:pt x="2207895" y="19093"/>
                      <a:pt x="2216468" y="19093"/>
                      <a:pt x="2211705" y="18140"/>
                    </a:cubicBezTo>
                    <a:cubicBezTo>
                      <a:pt x="2206943" y="17188"/>
                      <a:pt x="2201228" y="20045"/>
                      <a:pt x="2195513" y="19093"/>
                    </a:cubicBezTo>
                    <a:cubicBezTo>
                      <a:pt x="2189798" y="18140"/>
                      <a:pt x="2182178" y="17188"/>
                      <a:pt x="2182178" y="17188"/>
                    </a:cubicBezTo>
                    <a:cubicBezTo>
                      <a:pt x="2182178" y="17188"/>
                      <a:pt x="2170748" y="17188"/>
                      <a:pt x="2161223" y="16235"/>
                    </a:cubicBezTo>
                    <a:cubicBezTo>
                      <a:pt x="2161223" y="16235"/>
                      <a:pt x="2146935" y="17188"/>
                      <a:pt x="2142173" y="16235"/>
                    </a:cubicBezTo>
                    <a:cubicBezTo>
                      <a:pt x="2137410" y="15283"/>
                      <a:pt x="2134553" y="16235"/>
                      <a:pt x="2131695" y="13378"/>
                    </a:cubicBezTo>
                    <a:cubicBezTo>
                      <a:pt x="2128838" y="10520"/>
                      <a:pt x="2130743" y="1948"/>
                      <a:pt x="2130743" y="1948"/>
                    </a:cubicBezTo>
                    <a:lnTo>
                      <a:pt x="2120265" y="995"/>
                    </a:lnTo>
                    <a:lnTo>
                      <a:pt x="2093595" y="1948"/>
                    </a:lnTo>
                    <a:lnTo>
                      <a:pt x="2074545" y="995"/>
                    </a:lnTo>
                    <a:cubicBezTo>
                      <a:pt x="2074545" y="995"/>
                      <a:pt x="2061210" y="995"/>
                      <a:pt x="2057400" y="43"/>
                    </a:cubicBezTo>
                    <a:cubicBezTo>
                      <a:pt x="2052638" y="-910"/>
                      <a:pt x="2052638" y="14330"/>
                      <a:pt x="2052638" y="14330"/>
                    </a:cubicBezTo>
                    <a:lnTo>
                      <a:pt x="2052638" y="19093"/>
                    </a:lnTo>
                    <a:lnTo>
                      <a:pt x="2049780" y="22903"/>
                    </a:lnTo>
                    <a:cubicBezTo>
                      <a:pt x="2049780" y="22903"/>
                      <a:pt x="2042160" y="25760"/>
                      <a:pt x="2038350" y="27665"/>
                    </a:cubicBezTo>
                    <a:cubicBezTo>
                      <a:pt x="2033588" y="29570"/>
                      <a:pt x="2026920" y="31475"/>
                      <a:pt x="2026920" y="31475"/>
                    </a:cubicBezTo>
                    <a:lnTo>
                      <a:pt x="2010728" y="33380"/>
                    </a:lnTo>
                    <a:lnTo>
                      <a:pt x="1985963" y="36238"/>
                    </a:lnTo>
                    <a:cubicBezTo>
                      <a:pt x="1985963" y="36238"/>
                      <a:pt x="1985963" y="36238"/>
                      <a:pt x="1981200" y="35285"/>
                    </a:cubicBezTo>
                    <a:cubicBezTo>
                      <a:pt x="1976438" y="34333"/>
                      <a:pt x="1960245" y="34333"/>
                      <a:pt x="1960245" y="34333"/>
                    </a:cubicBezTo>
                    <a:lnTo>
                      <a:pt x="1949768" y="34333"/>
                    </a:lnTo>
                    <a:lnTo>
                      <a:pt x="1939290" y="35285"/>
                    </a:lnTo>
                    <a:lnTo>
                      <a:pt x="1918335" y="39095"/>
                    </a:lnTo>
                    <a:lnTo>
                      <a:pt x="1897380" y="42905"/>
                    </a:lnTo>
                    <a:lnTo>
                      <a:pt x="1873568" y="46715"/>
                    </a:lnTo>
                    <a:lnTo>
                      <a:pt x="1855470" y="47668"/>
                    </a:lnTo>
                    <a:cubicBezTo>
                      <a:pt x="1855470" y="47668"/>
                      <a:pt x="1855470" y="47668"/>
                      <a:pt x="1850708" y="47668"/>
                    </a:cubicBezTo>
                    <a:cubicBezTo>
                      <a:pt x="1845945" y="47668"/>
                      <a:pt x="1825943" y="54335"/>
                      <a:pt x="1825943" y="54335"/>
                    </a:cubicBezTo>
                    <a:lnTo>
                      <a:pt x="1812608" y="58145"/>
                    </a:lnTo>
                    <a:cubicBezTo>
                      <a:pt x="1812608" y="58145"/>
                      <a:pt x="1807845" y="65765"/>
                      <a:pt x="1804035" y="65765"/>
                    </a:cubicBezTo>
                    <a:cubicBezTo>
                      <a:pt x="1799273" y="65765"/>
                      <a:pt x="1795463" y="74338"/>
                      <a:pt x="1795463" y="74338"/>
                    </a:cubicBezTo>
                    <a:lnTo>
                      <a:pt x="1786890" y="76243"/>
                    </a:lnTo>
                    <a:cubicBezTo>
                      <a:pt x="1786890" y="76243"/>
                      <a:pt x="1775460" y="80053"/>
                      <a:pt x="1770698" y="80053"/>
                    </a:cubicBezTo>
                    <a:cubicBezTo>
                      <a:pt x="1765935" y="80053"/>
                      <a:pt x="1763078" y="85768"/>
                      <a:pt x="1755458" y="86720"/>
                    </a:cubicBezTo>
                    <a:cubicBezTo>
                      <a:pt x="1747838" y="87673"/>
                      <a:pt x="1733550" y="87673"/>
                      <a:pt x="1728788" y="87673"/>
                    </a:cubicBezTo>
                    <a:cubicBezTo>
                      <a:pt x="1724025" y="87673"/>
                      <a:pt x="1721168" y="87673"/>
                      <a:pt x="1721168" y="87673"/>
                    </a:cubicBezTo>
                    <a:lnTo>
                      <a:pt x="1712595" y="88625"/>
                    </a:lnTo>
                    <a:lnTo>
                      <a:pt x="1709738" y="93388"/>
                    </a:lnTo>
                    <a:lnTo>
                      <a:pt x="1704975" y="102913"/>
                    </a:lnTo>
                    <a:lnTo>
                      <a:pt x="1704975" y="108628"/>
                    </a:lnTo>
                    <a:lnTo>
                      <a:pt x="1703070" y="115295"/>
                    </a:lnTo>
                    <a:lnTo>
                      <a:pt x="1701165" y="123868"/>
                    </a:lnTo>
                    <a:lnTo>
                      <a:pt x="1698308" y="127678"/>
                    </a:lnTo>
                    <a:lnTo>
                      <a:pt x="1675448" y="121010"/>
                    </a:lnTo>
                    <a:lnTo>
                      <a:pt x="1674495" y="114343"/>
                    </a:lnTo>
                    <a:lnTo>
                      <a:pt x="1666875" y="111485"/>
                    </a:lnTo>
                    <a:cubicBezTo>
                      <a:pt x="1666875" y="111485"/>
                      <a:pt x="1658303" y="111485"/>
                      <a:pt x="1652588" y="111485"/>
                    </a:cubicBezTo>
                    <a:cubicBezTo>
                      <a:pt x="1646873" y="111485"/>
                      <a:pt x="1644968" y="111485"/>
                      <a:pt x="1644968" y="111485"/>
                    </a:cubicBezTo>
                    <a:lnTo>
                      <a:pt x="1637348" y="121963"/>
                    </a:lnTo>
                    <a:cubicBezTo>
                      <a:pt x="1637348" y="121963"/>
                      <a:pt x="1637348" y="121963"/>
                      <a:pt x="1626870" y="124820"/>
                    </a:cubicBezTo>
                    <a:cubicBezTo>
                      <a:pt x="1626870" y="124820"/>
                      <a:pt x="1626870" y="124820"/>
                      <a:pt x="1626870" y="127678"/>
                    </a:cubicBezTo>
                    <a:cubicBezTo>
                      <a:pt x="1626870" y="130535"/>
                      <a:pt x="1624013" y="133393"/>
                      <a:pt x="1624013" y="133393"/>
                    </a:cubicBezTo>
                    <a:lnTo>
                      <a:pt x="1609725" y="130535"/>
                    </a:lnTo>
                    <a:cubicBezTo>
                      <a:pt x="1609725" y="130535"/>
                      <a:pt x="1606868" y="125773"/>
                      <a:pt x="1605915" y="120058"/>
                    </a:cubicBezTo>
                    <a:cubicBezTo>
                      <a:pt x="1604963" y="114343"/>
                      <a:pt x="1607820" y="113390"/>
                      <a:pt x="1607820" y="109580"/>
                    </a:cubicBezTo>
                    <a:cubicBezTo>
                      <a:pt x="1607820" y="105770"/>
                      <a:pt x="1606868" y="103865"/>
                      <a:pt x="1606868" y="103865"/>
                    </a:cubicBezTo>
                    <a:lnTo>
                      <a:pt x="1599248" y="111485"/>
                    </a:lnTo>
                    <a:cubicBezTo>
                      <a:pt x="1599248" y="111485"/>
                      <a:pt x="1590675" y="118153"/>
                      <a:pt x="1584008" y="119105"/>
                    </a:cubicBezTo>
                    <a:cubicBezTo>
                      <a:pt x="1578293" y="120058"/>
                      <a:pt x="1575435" y="128630"/>
                      <a:pt x="1575435" y="128630"/>
                    </a:cubicBezTo>
                    <a:lnTo>
                      <a:pt x="1572578" y="133393"/>
                    </a:lnTo>
                    <a:lnTo>
                      <a:pt x="1572578" y="146728"/>
                    </a:lnTo>
                    <a:lnTo>
                      <a:pt x="1585913" y="154348"/>
                    </a:lnTo>
                    <a:lnTo>
                      <a:pt x="1591628" y="157205"/>
                    </a:lnTo>
                    <a:lnTo>
                      <a:pt x="1592580" y="162920"/>
                    </a:lnTo>
                    <a:lnTo>
                      <a:pt x="1589723" y="168635"/>
                    </a:lnTo>
                    <a:lnTo>
                      <a:pt x="1587818" y="177208"/>
                    </a:lnTo>
                    <a:lnTo>
                      <a:pt x="1593533" y="177208"/>
                    </a:lnTo>
                    <a:lnTo>
                      <a:pt x="1604010" y="180065"/>
                    </a:lnTo>
                    <a:lnTo>
                      <a:pt x="1602105" y="184828"/>
                    </a:lnTo>
                    <a:lnTo>
                      <a:pt x="1599248" y="191495"/>
                    </a:lnTo>
                    <a:lnTo>
                      <a:pt x="1589723" y="202925"/>
                    </a:lnTo>
                    <a:lnTo>
                      <a:pt x="1584008" y="208640"/>
                    </a:lnTo>
                    <a:lnTo>
                      <a:pt x="1579245" y="213403"/>
                    </a:lnTo>
                    <a:cubicBezTo>
                      <a:pt x="1579245" y="213403"/>
                      <a:pt x="1579245" y="213403"/>
                      <a:pt x="1574483" y="215308"/>
                    </a:cubicBezTo>
                    <a:cubicBezTo>
                      <a:pt x="1569720" y="217213"/>
                      <a:pt x="1564005" y="225785"/>
                      <a:pt x="1564005" y="225785"/>
                    </a:cubicBezTo>
                    <a:lnTo>
                      <a:pt x="1555433" y="229595"/>
                    </a:lnTo>
                    <a:lnTo>
                      <a:pt x="1542098" y="234358"/>
                    </a:lnTo>
                    <a:lnTo>
                      <a:pt x="1537335" y="239120"/>
                    </a:lnTo>
                    <a:cubicBezTo>
                      <a:pt x="1537335" y="239120"/>
                      <a:pt x="1531620" y="241978"/>
                      <a:pt x="1526858" y="241025"/>
                    </a:cubicBezTo>
                    <a:cubicBezTo>
                      <a:pt x="1522095" y="240073"/>
                      <a:pt x="1521143" y="237215"/>
                      <a:pt x="1521143" y="237215"/>
                    </a:cubicBezTo>
                    <a:lnTo>
                      <a:pt x="1525905" y="232453"/>
                    </a:lnTo>
                    <a:lnTo>
                      <a:pt x="1539240" y="225785"/>
                    </a:lnTo>
                    <a:cubicBezTo>
                      <a:pt x="1539240" y="225785"/>
                      <a:pt x="1546860" y="223880"/>
                      <a:pt x="1552575" y="218165"/>
                    </a:cubicBezTo>
                    <a:cubicBezTo>
                      <a:pt x="1552575" y="218165"/>
                      <a:pt x="1560195" y="209593"/>
                      <a:pt x="1560195" y="206735"/>
                    </a:cubicBezTo>
                    <a:cubicBezTo>
                      <a:pt x="1560195" y="203878"/>
                      <a:pt x="1563053" y="198163"/>
                      <a:pt x="1563053" y="198163"/>
                    </a:cubicBezTo>
                    <a:lnTo>
                      <a:pt x="1562100" y="193400"/>
                    </a:lnTo>
                    <a:lnTo>
                      <a:pt x="1561148" y="186733"/>
                    </a:lnTo>
                    <a:lnTo>
                      <a:pt x="1558290" y="176255"/>
                    </a:lnTo>
                    <a:lnTo>
                      <a:pt x="1561148" y="166730"/>
                    </a:lnTo>
                    <a:cubicBezTo>
                      <a:pt x="1561148" y="166730"/>
                      <a:pt x="1561148" y="166730"/>
                      <a:pt x="1554480" y="156253"/>
                    </a:cubicBezTo>
                    <a:cubicBezTo>
                      <a:pt x="1547813" y="145775"/>
                      <a:pt x="1557338" y="147680"/>
                      <a:pt x="1557338" y="144823"/>
                    </a:cubicBezTo>
                    <a:cubicBezTo>
                      <a:pt x="1557338" y="141965"/>
                      <a:pt x="1550670" y="133393"/>
                      <a:pt x="1550670" y="130535"/>
                    </a:cubicBezTo>
                    <a:cubicBezTo>
                      <a:pt x="1550670" y="127678"/>
                      <a:pt x="1553528" y="122915"/>
                      <a:pt x="1553528" y="122915"/>
                    </a:cubicBezTo>
                    <a:cubicBezTo>
                      <a:pt x="1553528" y="122915"/>
                      <a:pt x="1559243" y="119105"/>
                      <a:pt x="1558290" y="116248"/>
                    </a:cubicBezTo>
                    <a:cubicBezTo>
                      <a:pt x="1557338" y="113390"/>
                      <a:pt x="1560195" y="110533"/>
                      <a:pt x="1557338" y="107675"/>
                    </a:cubicBezTo>
                    <a:cubicBezTo>
                      <a:pt x="1554480" y="104818"/>
                      <a:pt x="1549718" y="104818"/>
                      <a:pt x="1549718" y="104818"/>
                    </a:cubicBezTo>
                    <a:cubicBezTo>
                      <a:pt x="1549718" y="104818"/>
                      <a:pt x="1536383" y="104818"/>
                      <a:pt x="1525905" y="104818"/>
                    </a:cubicBezTo>
                    <a:lnTo>
                      <a:pt x="1517333" y="107675"/>
                    </a:lnTo>
                    <a:cubicBezTo>
                      <a:pt x="1517333" y="107675"/>
                      <a:pt x="1511618" y="109580"/>
                      <a:pt x="1505903" y="110533"/>
                    </a:cubicBezTo>
                    <a:cubicBezTo>
                      <a:pt x="1500188" y="111485"/>
                      <a:pt x="1501140" y="116248"/>
                      <a:pt x="1501140" y="116248"/>
                    </a:cubicBezTo>
                    <a:cubicBezTo>
                      <a:pt x="1501140" y="116248"/>
                      <a:pt x="1493520" y="122915"/>
                      <a:pt x="1485900" y="128630"/>
                    </a:cubicBezTo>
                    <a:cubicBezTo>
                      <a:pt x="1478280" y="134345"/>
                      <a:pt x="1485900" y="128630"/>
                      <a:pt x="1477328" y="130535"/>
                    </a:cubicBezTo>
                    <a:lnTo>
                      <a:pt x="1469708" y="141013"/>
                    </a:lnTo>
                    <a:lnTo>
                      <a:pt x="1462088" y="150538"/>
                    </a:lnTo>
                    <a:lnTo>
                      <a:pt x="1463040" y="162920"/>
                    </a:lnTo>
                    <a:lnTo>
                      <a:pt x="1471613" y="165778"/>
                    </a:lnTo>
                    <a:lnTo>
                      <a:pt x="1474470" y="174350"/>
                    </a:lnTo>
                    <a:lnTo>
                      <a:pt x="1478280" y="181018"/>
                    </a:lnTo>
                    <a:lnTo>
                      <a:pt x="1483043" y="184828"/>
                    </a:lnTo>
                    <a:lnTo>
                      <a:pt x="1497330" y="188638"/>
                    </a:lnTo>
                    <a:lnTo>
                      <a:pt x="1497330" y="175303"/>
                    </a:lnTo>
                    <a:lnTo>
                      <a:pt x="1495425" y="179113"/>
                    </a:lnTo>
                    <a:lnTo>
                      <a:pt x="1479233" y="177208"/>
                    </a:lnTo>
                    <a:cubicBezTo>
                      <a:pt x="1479233" y="177208"/>
                      <a:pt x="1470660" y="177208"/>
                      <a:pt x="1465898" y="175303"/>
                    </a:cubicBezTo>
                    <a:cubicBezTo>
                      <a:pt x="1461135" y="173398"/>
                      <a:pt x="1458278" y="172445"/>
                      <a:pt x="1455420" y="169588"/>
                    </a:cubicBezTo>
                    <a:cubicBezTo>
                      <a:pt x="1452563" y="166730"/>
                      <a:pt x="1449705" y="164825"/>
                      <a:pt x="1449705" y="164825"/>
                    </a:cubicBezTo>
                    <a:lnTo>
                      <a:pt x="1441133" y="159110"/>
                    </a:lnTo>
                    <a:cubicBezTo>
                      <a:pt x="1441133" y="159110"/>
                      <a:pt x="1432560" y="157205"/>
                      <a:pt x="1427798" y="155300"/>
                    </a:cubicBezTo>
                    <a:cubicBezTo>
                      <a:pt x="1423035" y="153395"/>
                      <a:pt x="1411605" y="154348"/>
                      <a:pt x="1403033" y="150538"/>
                    </a:cubicBezTo>
                    <a:lnTo>
                      <a:pt x="1394460" y="150538"/>
                    </a:lnTo>
                    <a:lnTo>
                      <a:pt x="1383983" y="149585"/>
                    </a:lnTo>
                    <a:lnTo>
                      <a:pt x="1369695" y="148633"/>
                    </a:lnTo>
                    <a:cubicBezTo>
                      <a:pt x="1369695" y="148633"/>
                      <a:pt x="1355408" y="145775"/>
                      <a:pt x="1348740" y="144823"/>
                    </a:cubicBezTo>
                    <a:cubicBezTo>
                      <a:pt x="1343025" y="143870"/>
                      <a:pt x="1341120" y="141013"/>
                      <a:pt x="1341120" y="141013"/>
                    </a:cubicBezTo>
                    <a:lnTo>
                      <a:pt x="1330643" y="141013"/>
                    </a:lnTo>
                    <a:lnTo>
                      <a:pt x="1327785" y="147680"/>
                    </a:lnTo>
                    <a:lnTo>
                      <a:pt x="1338263" y="152443"/>
                    </a:lnTo>
                    <a:lnTo>
                      <a:pt x="1346835" y="158158"/>
                    </a:lnTo>
                    <a:lnTo>
                      <a:pt x="1346835" y="163873"/>
                    </a:lnTo>
                    <a:lnTo>
                      <a:pt x="1342073" y="167683"/>
                    </a:lnTo>
                    <a:lnTo>
                      <a:pt x="1331595" y="168635"/>
                    </a:lnTo>
                    <a:lnTo>
                      <a:pt x="1320165" y="170540"/>
                    </a:lnTo>
                    <a:lnTo>
                      <a:pt x="1308735" y="170540"/>
                    </a:lnTo>
                    <a:lnTo>
                      <a:pt x="1292543" y="171493"/>
                    </a:lnTo>
                    <a:lnTo>
                      <a:pt x="1274445" y="174350"/>
                    </a:lnTo>
                    <a:lnTo>
                      <a:pt x="1265873" y="175303"/>
                    </a:lnTo>
                    <a:lnTo>
                      <a:pt x="1255395" y="176255"/>
                    </a:lnTo>
                    <a:lnTo>
                      <a:pt x="1244918" y="175303"/>
                    </a:lnTo>
                    <a:lnTo>
                      <a:pt x="1231583" y="171493"/>
                    </a:lnTo>
                    <a:cubicBezTo>
                      <a:pt x="1231583" y="171493"/>
                      <a:pt x="1231583" y="171493"/>
                      <a:pt x="1226820" y="168635"/>
                    </a:cubicBezTo>
                    <a:cubicBezTo>
                      <a:pt x="1222058" y="165778"/>
                      <a:pt x="1221105" y="168635"/>
                      <a:pt x="1221105" y="168635"/>
                    </a:cubicBezTo>
                    <a:cubicBezTo>
                      <a:pt x="1221105" y="168635"/>
                      <a:pt x="1207770" y="169588"/>
                      <a:pt x="1194435" y="171493"/>
                    </a:cubicBezTo>
                    <a:cubicBezTo>
                      <a:pt x="1181100" y="173398"/>
                      <a:pt x="1185863" y="177208"/>
                      <a:pt x="1185863" y="177208"/>
                    </a:cubicBezTo>
                    <a:lnTo>
                      <a:pt x="1161098" y="184828"/>
                    </a:lnTo>
                    <a:lnTo>
                      <a:pt x="1153478" y="187685"/>
                    </a:lnTo>
                    <a:cubicBezTo>
                      <a:pt x="1153478" y="187685"/>
                      <a:pt x="1140143" y="193400"/>
                      <a:pt x="1134428" y="196258"/>
                    </a:cubicBezTo>
                    <a:cubicBezTo>
                      <a:pt x="1128713" y="199115"/>
                      <a:pt x="1121093" y="196258"/>
                      <a:pt x="1121093" y="196258"/>
                    </a:cubicBezTo>
                    <a:lnTo>
                      <a:pt x="1113473" y="201973"/>
                    </a:lnTo>
                    <a:cubicBezTo>
                      <a:pt x="1113473" y="201973"/>
                      <a:pt x="1102043" y="200068"/>
                      <a:pt x="1097280" y="199115"/>
                    </a:cubicBezTo>
                    <a:cubicBezTo>
                      <a:pt x="1092518" y="198163"/>
                      <a:pt x="1088708" y="191495"/>
                      <a:pt x="1088708" y="191495"/>
                    </a:cubicBezTo>
                    <a:cubicBezTo>
                      <a:pt x="1088708" y="191495"/>
                      <a:pt x="1088708" y="191495"/>
                      <a:pt x="1087755" y="188638"/>
                    </a:cubicBezTo>
                    <a:cubicBezTo>
                      <a:pt x="1085850" y="185780"/>
                      <a:pt x="1099185" y="188638"/>
                      <a:pt x="1099185" y="188638"/>
                    </a:cubicBezTo>
                    <a:lnTo>
                      <a:pt x="1121093" y="181018"/>
                    </a:lnTo>
                    <a:cubicBezTo>
                      <a:pt x="1121093" y="181018"/>
                      <a:pt x="1091565" y="180065"/>
                      <a:pt x="1087755" y="179113"/>
                    </a:cubicBezTo>
                    <a:cubicBezTo>
                      <a:pt x="1082993" y="178160"/>
                      <a:pt x="1077278" y="180065"/>
                      <a:pt x="1071563" y="179113"/>
                    </a:cubicBezTo>
                    <a:cubicBezTo>
                      <a:pt x="1065848" y="178160"/>
                      <a:pt x="1062990" y="182923"/>
                      <a:pt x="1062990" y="182923"/>
                    </a:cubicBezTo>
                    <a:lnTo>
                      <a:pt x="1058228" y="190543"/>
                    </a:lnTo>
                    <a:cubicBezTo>
                      <a:pt x="1058228" y="190543"/>
                      <a:pt x="1056323" y="198163"/>
                      <a:pt x="1055370" y="203878"/>
                    </a:cubicBezTo>
                    <a:cubicBezTo>
                      <a:pt x="1053465" y="209593"/>
                      <a:pt x="1048703" y="218165"/>
                      <a:pt x="1048703" y="218165"/>
                    </a:cubicBezTo>
                    <a:cubicBezTo>
                      <a:pt x="1048703" y="218165"/>
                      <a:pt x="1038225" y="216260"/>
                      <a:pt x="1034415" y="214355"/>
                    </a:cubicBezTo>
                    <a:cubicBezTo>
                      <a:pt x="1029653" y="212450"/>
                      <a:pt x="1025843" y="216260"/>
                      <a:pt x="1025843" y="216260"/>
                    </a:cubicBezTo>
                    <a:cubicBezTo>
                      <a:pt x="1025843" y="216260"/>
                      <a:pt x="1025843" y="216260"/>
                      <a:pt x="1021080" y="219118"/>
                    </a:cubicBezTo>
                    <a:cubicBezTo>
                      <a:pt x="1016318" y="221975"/>
                      <a:pt x="1010603" y="224833"/>
                      <a:pt x="1010603" y="224833"/>
                    </a:cubicBezTo>
                    <a:lnTo>
                      <a:pt x="1002983" y="225785"/>
                    </a:lnTo>
                    <a:lnTo>
                      <a:pt x="997268" y="227690"/>
                    </a:lnTo>
                    <a:lnTo>
                      <a:pt x="995363" y="233405"/>
                    </a:lnTo>
                    <a:lnTo>
                      <a:pt x="990600" y="240073"/>
                    </a:lnTo>
                    <a:lnTo>
                      <a:pt x="980123" y="246740"/>
                    </a:lnTo>
                    <a:lnTo>
                      <a:pt x="969645" y="245788"/>
                    </a:lnTo>
                    <a:lnTo>
                      <a:pt x="958215" y="241978"/>
                    </a:lnTo>
                    <a:lnTo>
                      <a:pt x="950595" y="239120"/>
                    </a:lnTo>
                    <a:cubicBezTo>
                      <a:pt x="950595" y="239120"/>
                      <a:pt x="950595" y="239120"/>
                      <a:pt x="940118" y="238168"/>
                    </a:cubicBezTo>
                    <a:cubicBezTo>
                      <a:pt x="929640" y="237215"/>
                      <a:pt x="932498" y="241978"/>
                      <a:pt x="932498" y="241978"/>
                    </a:cubicBezTo>
                    <a:lnTo>
                      <a:pt x="933450" y="250550"/>
                    </a:lnTo>
                    <a:lnTo>
                      <a:pt x="949643" y="258170"/>
                    </a:lnTo>
                    <a:lnTo>
                      <a:pt x="925830" y="257218"/>
                    </a:lnTo>
                    <a:cubicBezTo>
                      <a:pt x="925830" y="257218"/>
                      <a:pt x="915353" y="254360"/>
                      <a:pt x="908685" y="248645"/>
                    </a:cubicBezTo>
                    <a:cubicBezTo>
                      <a:pt x="901065" y="242930"/>
                      <a:pt x="908685" y="248645"/>
                      <a:pt x="908685" y="245788"/>
                    </a:cubicBezTo>
                    <a:cubicBezTo>
                      <a:pt x="908685" y="242930"/>
                      <a:pt x="907733" y="238168"/>
                      <a:pt x="907733" y="238168"/>
                    </a:cubicBezTo>
                    <a:lnTo>
                      <a:pt x="907733" y="231500"/>
                    </a:lnTo>
                    <a:lnTo>
                      <a:pt x="907733" y="225785"/>
                    </a:lnTo>
                    <a:lnTo>
                      <a:pt x="887730" y="215308"/>
                    </a:lnTo>
                    <a:cubicBezTo>
                      <a:pt x="887730" y="215308"/>
                      <a:pt x="887730" y="215308"/>
                      <a:pt x="892493" y="215308"/>
                    </a:cubicBezTo>
                    <a:cubicBezTo>
                      <a:pt x="893445" y="215308"/>
                      <a:pt x="894398" y="215308"/>
                      <a:pt x="895350" y="215308"/>
                    </a:cubicBezTo>
                    <a:cubicBezTo>
                      <a:pt x="898208" y="216260"/>
                      <a:pt x="899160" y="217213"/>
                      <a:pt x="902970" y="216260"/>
                    </a:cubicBezTo>
                    <a:cubicBezTo>
                      <a:pt x="907733" y="215308"/>
                      <a:pt x="923925" y="218165"/>
                      <a:pt x="923925" y="218165"/>
                    </a:cubicBezTo>
                    <a:cubicBezTo>
                      <a:pt x="923925" y="218165"/>
                      <a:pt x="938213" y="217213"/>
                      <a:pt x="942975" y="215308"/>
                    </a:cubicBezTo>
                    <a:cubicBezTo>
                      <a:pt x="947738" y="213403"/>
                      <a:pt x="951548" y="215308"/>
                      <a:pt x="951548" y="215308"/>
                    </a:cubicBezTo>
                    <a:lnTo>
                      <a:pt x="962025" y="217213"/>
                    </a:lnTo>
                    <a:lnTo>
                      <a:pt x="983933" y="219118"/>
                    </a:lnTo>
                    <a:lnTo>
                      <a:pt x="1002030" y="213403"/>
                    </a:lnTo>
                    <a:lnTo>
                      <a:pt x="1007745" y="201973"/>
                    </a:lnTo>
                    <a:cubicBezTo>
                      <a:pt x="1007745" y="201973"/>
                      <a:pt x="1004888" y="193400"/>
                      <a:pt x="1001078" y="189590"/>
                    </a:cubicBezTo>
                    <a:cubicBezTo>
                      <a:pt x="996315" y="185780"/>
                      <a:pt x="989648" y="186733"/>
                      <a:pt x="984885" y="185780"/>
                    </a:cubicBezTo>
                    <a:cubicBezTo>
                      <a:pt x="980123" y="184828"/>
                      <a:pt x="968693" y="179113"/>
                      <a:pt x="968693" y="179113"/>
                    </a:cubicBezTo>
                    <a:lnTo>
                      <a:pt x="952500" y="173398"/>
                    </a:lnTo>
                    <a:lnTo>
                      <a:pt x="942023" y="169588"/>
                    </a:lnTo>
                    <a:lnTo>
                      <a:pt x="927735" y="166730"/>
                    </a:lnTo>
                    <a:lnTo>
                      <a:pt x="916305" y="163873"/>
                    </a:lnTo>
                    <a:lnTo>
                      <a:pt x="896303" y="159110"/>
                    </a:lnTo>
                    <a:lnTo>
                      <a:pt x="887730" y="155300"/>
                    </a:lnTo>
                    <a:cubicBezTo>
                      <a:pt x="887730" y="155300"/>
                      <a:pt x="873443" y="151490"/>
                      <a:pt x="868680" y="151490"/>
                    </a:cubicBezTo>
                    <a:cubicBezTo>
                      <a:pt x="863918" y="151490"/>
                      <a:pt x="855345" y="147680"/>
                      <a:pt x="851535" y="146728"/>
                    </a:cubicBezTo>
                    <a:cubicBezTo>
                      <a:pt x="846773" y="145775"/>
                      <a:pt x="840105" y="142918"/>
                      <a:pt x="834390" y="139108"/>
                    </a:cubicBezTo>
                    <a:lnTo>
                      <a:pt x="818198" y="137203"/>
                    </a:lnTo>
                    <a:lnTo>
                      <a:pt x="787718" y="136250"/>
                    </a:lnTo>
                    <a:lnTo>
                      <a:pt x="760095" y="133393"/>
                    </a:lnTo>
                    <a:lnTo>
                      <a:pt x="754380" y="133393"/>
                    </a:lnTo>
                    <a:lnTo>
                      <a:pt x="736283" y="134345"/>
                    </a:lnTo>
                    <a:cubicBezTo>
                      <a:pt x="736283" y="134345"/>
                      <a:pt x="720090" y="135298"/>
                      <a:pt x="715328" y="135298"/>
                    </a:cubicBezTo>
                    <a:cubicBezTo>
                      <a:pt x="710565" y="135298"/>
                      <a:pt x="701993" y="140060"/>
                      <a:pt x="701993" y="140060"/>
                    </a:cubicBezTo>
                    <a:lnTo>
                      <a:pt x="690563" y="140060"/>
                    </a:lnTo>
                    <a:lnTo>
                      <a:pt x="684848" y="140060"/>
                    </a:lnTo>
                    <a:lnTo>
                      <a:pt x="670560" y="141965"/>
                    </a:lnTo>
                    <a:lnTo>
                      <a:pt x="662940" y="142918"/>
                    </a:lnTo>
                    <a:lnTo>
                      <a:pt x="652463" y="147680"/>
                    </a:lnTo>
                    <a:cubicBezTo>
                      <a:pt x="652463" y="147680"/>
                      <a:pt x="641985" y="153395"/>
                      <a:pt x="637223" y="153395"/>
                    </a:cubicBezTo>
                    <a:cubicBezTo>
                      <a:pt x="632460" y="153395"/>
                      <a:pt x="619125" y="158158"/>
                      <a:pt x="619125" y="158158"/>
                    </a:cubicBezTo>
                    <a:lnTo>
                      <a:pt x="605790" y="161968"/>
                    </a:lnTo>
                    <a:lnTo>
                      <a:pt x="598170" y="165778"/>
                    </a:lnTo>
                    <a:lnTo>
                      <a:pt x="587693" y="170540"/>
                    </a:lnTo>
                    <a:lnTo>
                      <a:pt x="579120" y="180065"/>
                    </a:lnTo>
                    <a:lnTo>
                      <a:pt x="576263" y="183875"/>
                    </a:lnTo>
                    <a:lnTo>
                      <a:pt x="560070" y="195305"/>
                    </a:lnTo>
                    <a:lnTo>
                      <a:pt x="551498" y="200068"/>
                    </a:lnTo>
                    <a:cubicBezTo>
                      <a:pt x="551498" y="200068"/>
                      <a:pt x="541020" y="206735"/>
                      <a:pt x="535305" y="208640"/>
                    </a:cubicBezTo>
                    <a:cubicBezTo>
                      <a:pt x="529590" y="210545"/>
                      <a:pt x="529590" y="218165"/>
                      <a:pt x="524828" y="220070"/>
                    </a:cubicBezTo>
                    <a:cubicBezTo>
                      <a:pt x="520065" y="221975"/>
                      <a:pt x="520065" y="227690"/>
                      <a:pt x="520065" y="227690"/>
                    </a:cubicBezTo>
                    <a:lnTo>
                      <a:pt x="512445" y="237215"/>
                    </a:lnTo>
                    <a:cubicBezTo>
                      <a:pt x="512445" y="237215"/>
                      <a:pt x="499110" y="244835"/>
                      <a:pt x="494348" y="245788"/>
                    </a:cubicBezTo>
                    <a:cubicBezTo>
                      <a:pt x="489585" y="246740"/>
                      <a:pt x="485775" y="255313"/>
                      <a:pt x="478155" y="257218"/>
                    </a:cubicBezTo>
                    <a:cubicBezTo>
                      <a:pt x="470535" y="259123"/>
                      <a:pt x="478155" y="257218"/>
                      <a:pt x="467678" y="259123"/>
                    </a:cubicBezTo>
                    <a:cubicBezTo>
                      <a:pt x="457200" y="261028"/>
                      <a:pt x="461963" y="263885"/>
                      <a:pt x="457200" y="265790"/>
                    </a:cubicBezTo>
                    <a:cubicBezTo>
                      <a:pt x="452438" y="267695"/>
                      <a:pt x="439103" y="268648"/>
                      <a:pt x="439103" y="268648"/>
                    </a:cubicBezTo>
                    <a:lnTo>
                      <a:pt x="428625" y="274363"/>
                    </a:lnTo>
                    <a:lnTo>
                      <a:pt x="422910" y="278173"/>
                    </a:lnTo>
                    <a:lnTo>
                      <a:pt x="415290" y="283888"/>
                    </a:lnTo>
                    <a:lnTo>
                      <a:pt x="409575" y="286745"/>
                    </a:lnTo>
                    <a:lnTo>
                      <a:pt x="401003" y="295318"/>
                    </a:lnTo>
                    <a:lnTo>
                      <a:pt x="395288" y="304843"/>
                    </a:lnTo>
                    <a:cubicBezTo>
                      <a:pt x="395288" y="304843"/>
                      <a:pt x="399098" y="314368"/>
                      <a:pt x="398145" y="317225"/>
                    </a:cubicBezTo>
                    <a:cubicBezTo>
                      <a:pt x="396240" y="320083"/>
                      <a:pt x="401003" y="329608"/>
                      <a:pt x="401003" y="329608"/>
                    </a:cubicBezTo>
                    <a:lnTo>
                      <a:pt x="401003" y="334370"/>
                    </a:lnTo>
                    <a:lnTo>
                      <a:pt x="405765" y="338180"/>
                    </a:lnTo>
                    <a:lnTo>
                      <a:pt x="411480" y="342943"/>
                    </a:lnTo>
                    <a:lnTo>
                      <a:pt x="414338" y="351515"/>
                    </a:lnTo>
                    <a:lnTo>
                      <a:pt x="420053" y="361993"/>
                    </a:lnTo>
                    <a:lnTo>
                      <a:pt x="427673" y="361993"/>
                    </a:lnTo>
                    <a:lnTo>
                      <a:pt x="443865" y="360088"/>
                    </a:lnTo>
                    <a:lnTo>
                      <a:pt x="452438" y="355325"/>
                    </a:lnTo>
                    <a:lnTo>
                      <a:pt x="460058" y="352468"/>
                    </a:lnTo>
                    <a:lnTo>
                      <a:pt x="462915" y="348658"/>
                    </a:lnTo>
                    <a:lnTo>
                      <a:pt x="467678" y="343895"/>
                    </a:lnTo>
                    <a:lnTo>
                      <a:pt x="478155" y="341990"/>
                    </a:lnTo>
                    <a:lnTo>
                      <a:pt x="483870" y="341038"/>
                    </a:lnTo>
                    <a:lnTo>
                      <a:pt x="492443" y="341990"/>
                    </a:lnTo>
                    <a:lnTo>
                      <a:pt x="493395" y="351515"/>
                    </a:lnTo>
                    <a:lnTo>
                      <a:pt x="499110" y="358183"/>
                    </a:lnTo>
                    <a:lnTo>
                      <a:pt x="504825" y="363898"/>
                    </a:lnTo>
                    <a:lnTo>
                      <a:pt x="512445" y="367708"/>
                    </a:lnTo>
                    <a:lnTo>
                      <a:pt x="522923" y="377233"/>
                    </a:lnTo>
                    <a:lnTo>
                      <a:pt x="521018" y="384853"/>
                    </a:lnTo>
                    <a:lnTo>
                      <a:pt x="523875" y="395330"/>
                    </a:lnTo>
                    <a:lnTo>
                      <a:pt x="538163" y="399140"/>
                    </a:lnTo>
                    <a:lnTo>
                      <a:pt x="549593" y="398188"/>
                    </a:lnTo>
                    <a:lnTo>
                      <a:pt x="558165" y="393425"/>
                    </a:lnTo>
                    <a:lnTo>
                      <a:pt x="569595" y="389615"/>
                    </a:lnTo>
                    <a:cubicBezTo>
                      <a:pt x="569595" y="389615"/>
                      <a:pt x="578168" y="385805"/>
                      <a:pt x="580073" y="382948"/>
                    </a:cubicBezTo>
                    <a:cubicBezTo>
                      <a:pt x="581978" y="380090"/>
                      <a:pt x="585788" y="381995"/>
                      <a:pt x="585788" y="379138"/>
                    </a:cubicBezTo>
                    <a:cubicBezTo>
                      <a:pt x="585788" y="376280"/>
                      <a:pt x="585788" y="373423"/>
                      <a:pt x="585788" y="373423"/>
                    </a:cubicBezTo>
                    <a:lnTo>
                      <a:pt x="596265" y="361993"/>
                    </a:lnTo>
                    <a:lnTo>
                      <a:pt x="601028" y="355325"/>
                    </a:lnTo>
                    <a:cubicBezTo>
                      <a:pt x="601028" y="355325"/>
                      <a:pt x="606743" y="351515"/>
                      <a:pt x="606743" y="348658"/>
                    </a:cubicBezTo>
                    <a:cubicBezTo>
                      <a:pt x="606743" y="345800"/>
                      <a:pt x="614363" y="344848"/>
                      <a:pt x="614363" y="341990"/>
                    </a:cubicBezTo>
                    <a:cubicBezTo>
                      <a:pt x="614363" y="339133"/>
                      <a:pt x="620078" y="337228"/>
                      <a:pt x="620078" y="337228"/>
                    </a:cubicBezTo>
                    <a:lnTo>
                      <a:pt x="621983" y="323893"/>
                    </a:lnTo>
                    <a:lnTo>
                      <a:pt x="621983" y="319130"/>
                    </a:lnTo>
                    <a:lnTo>
                      <a:pt x="616268" y="318178"/>
                    </a:lnTo>
                    <a:lnTo>
                      <a:pt x="604838" y="317225"/>
                    </a:lnTo>
                    <a:lnTo>
                      <a:pt x="599123" y="314368"/>
                    </a:lnTo>
                    <a:lnTo>
                      <a:pt x="599123" y="307700"/>
                    </a:lnTo>
                    <a:cubicBezTo>
                      <a:pt x="599123" y="307700"/>
                      <a:pt x="599123" y="307700"/>
                      <a:pt x="601028" y="301033"/>
                    </a:cubicBezTo>
                    <a:cubicBezTo>
                      <a:pt x="601028" y="301033"/>
                      <a:pt x="601028" y="301033"/>
                      <a:pt x="614363" y="291508"/>
                    </a:cubicBezTo>
                    <a:cubicBezTo>
                      <a:pt x="614363" y="291508"/>
                      <a:pt x="621983" y="290555"/>
                      <a:pt x="622935" y="287698"/>
                    </a:cubicBezTo>
                    <a:cubicBezTo>
                      <a:pt x="624840" y="284840"/>
                      <a:pt x="631508" y="283888"/>
                      <a:pt x="636270" y="277220"/>
                    </a:cubicBezTo>
                    <a:cubicBezTo>
                      <a:pt x="641033" y="270553"/>
                      <a:pt x="636270" y="277220"/>
                      <a:pt x="641033" y="273410"/>
                    </a:cubicBezTo>
                    <a:cubicBezTo>
                      <a:pt x="645795" y="269600"/>
                      <a:pt x="649605" y="269600"/>
                      <a:pt x="649605" y="265790"/>
                    </a:cubicBezTo>
                    <a:cubicBezTo>
                      <a:pt x="649605" y="261980"/>
                      <a:pt x="658178" y="260075"/>
                      <a:pt x="658178" y="260075"/>
                    </a:cubicBezTo>
                    <a:lnTo>
                      <a:pt x="661035" y="250550"/>
                    </a:lnTo>
                    <a:cubicBezTo>
                      <a:pt x="661035" y="250550"/>
                      <a:pt x="661035" y="250550"/>
                      <a:pt x="662940" y="245788"/>
                    </a:cubicBezTo>
                    <a:cubicBezTo>
                      <a:pt x="664845" y="241025"/>
                      <a:pt x="668655" y="240073"/>
                      <a:pt x="668655" y="240073"/>
                    </a:cubicBezTo>
                    <a:lnTo>
                      <a:pt x="680085" y="233405"/>
                    </a:lnTo>
                    <a:lnTo>
                      <a:pt x="688658" y="231500"/>
                    </a:lnTo>
                    <a:lnTo>
                      <a:pt x="696278" y="228643"/>
                    </a:lnTo>
                    <a:lnTo>
                      <a:pt x="707708" y="227690"/>
                    </a:lnTo>
                    <a:cubicBezTo>
                      <a:pt x="707708" y="227690"/>
                      <a:pt x="713423" y="229595"/>
                      <a:pt x="719138" y="228643"/>
                    </a:cubicBezTo>
                    <a:cubicBezTo>
                      <a:pt x="724853" y="227690"/>
                      <a:pt x="733425" y="231500"/>
                      <a:pt x="733425" y="231500"/>
                    </a:cubicBezTo>
                    <a:lnTo>
                      <a:pt x="733425" y="237215"/>
                    </a:lnTo>
                    <a:lnTo>
                      <a:pt x="730568" y="244835"/>
                    </a:lnTo>
                    <a:lnTo>
                      <a:pt x="727710" y="251503"/>
                    </a:lnTo>
                    <a:lnTo>
                      <a:pt x="724853" y="256265"/>
                    </a:lnTo>
                    <a:lnTo>
                      <a:pt x="720090" y="261028"/>
                    </a:lnTo>
                    <a:cubicBezTo>
                      <a:pt x="720090" y="261028"/>
                      <a:pt x="706755" y="266743"/>
                      <a:pt x="701993" y="266743"/>
                    </a:cubicBezTo>
                    <a:cubicBezTo>
                      <a:pt x="697230" y="266743"/>
                      <a:pt x="685800" y="271505"/>
                      <a:pt x="685800" y="271505"/>
                    </a:cubicBezTo>
                    <a:cubicBezTo>
                      <a:pt x="685800" y="271505"/>
                      <a:pt x="682943" y="275315"/>
                      <a:pt x="678180" y="275315"/>
                    </a:cubicBezTo>
                    <a:cubicBezTo>
                      <a:pt x="673418" y="275315"/>
                      <a:pt x="678180" y="281030"/>
                      <a:pt x="678180" y="281030"/>
                    </a:cubicBezTo>
                    <a:lnTo>
                      <a:pt x="676275" y="291508"/>
                    </a:lnTo>
                    <a:lnTo>
                      <a:pt x="677228" y="301033"/>
                    </a:lnTo>
                    <a:lnTo>
                      <a:pt x="672465" y="311510"/>
                    </a:lnTo>
                    <a:lnTo>
                      <a:pt x="678180" y="321988"/>
                    </a:lnTo>
                    <a:lnTo>
                      <a:pt x="683895" y="324845"/>
                    </a:lnTo>
                    <a:lnTo>
                      <a:pt x="695325" y="324845"/>
                    </a:lnTo>
                    <a:lnTo>
                      <a:pt x="705803" y="328655"/>
                    </a:lnTo>
                    <a:lnTo>
                      <a:pt x="720090" y="329608"/>
                    </a:lnTo>
                    <a:lnTo>
                      <a:pt x="733425" y="328655"/>
                    </a:lnTo>
                    <a:lnTo>
                      <a:pt x="743903" y="326750"/>
                    </a:lnTo>
                    <a:lnTo>
                      <a:pt x="752475" y="323893"/>
                    </a:lnTo>
                    <a:lnTo>
                      <a:pt x="760095" y="323893"/>
                    </a:lnTo>
                    <a:lnTo>
                      <a:pt x="779145" y="323893"/>
                    </a:lnTo>
                    <a:lnTo>
                      <a:pt x="793433" y="324845"/>
                    </a:lnTo>
                    <a:lnTo>
                      <a:pt x="796290" y="328655"/>
                    </a:lnTo>
                    <a:lnTo>
                      <a:pt x="790575" y="337228"/>
                    </a:lnTo>
                    <a:lnTo>
                      <a:pt x="782003" y="337228"/>
                    </a:lnTo>
                    <a:lnTo>
                      <a:pt x="776288" y="339133"/>
                    </a:lnTo>
                    <a:lnTo>
                      <a:pt x="758190" y="340085"/>
                    </a:lnTo>
                    <a:lnTo>
                      <a:pt x="740093" y="341990"/>
                    </a:lnTo>
                    <a:lnTo>
                      <a:pt x="725805" y="343895"/>
                    </a:lnTo>
                    <a:lnTo>
                      <a:pt x="721043" y="347705"/>
                    </a:lnTo>
                    <a:lnTo>
                      <a:pt x="719138" y="353420"/>
                    </a:lnTo>
                    <a:lnTo>
                      <a:pt x="713423" y="360088"/>
                    </a:lnTo>
                    <a:lnTo>
                      <a:pt x="705803" y="368660"/>
                    </a:lnTo>
                    <a:lnTo>
                      <a:pt x="695325" y="370565"/>
                    </a:lnTo>
                    <a:lnTo>
                      <a:pt x="687705" y="370565"/>
                    </a:lnTo>
                    <a:lnTo>
                      <a:pt x="674370" y="372470"/>
                    </a:lnTo>
                    <a:lnTo>
                      <a:pt x="669608" y="378185"/>
                    </a:lnTo>
                    <a:lnTo>
                      <a:pt x="664845" y="382948"/>
                    </a:lnTo>
                    <a:lnTo>
                      <a:pt x="662940" y="388663"/>
                    </a:lnTo>
                    <a:lnTo>
                      <a:pt x="657225" y="398188"/>
                    </a:lnTo>
                    <a:lnTo>
                      <a:pt x="649605" y="404855"/>
                    </a:lnTo>
                    <a:lnTo>
                      <a:pt x="627698" y="409618"/>
                    </a:lnTo>
                    <a:lnTo>
                      <a:pt x="600075" y="414380"/>
                    </a:lnTo>
                    <a:lnTo>
                      <a:pt x="594360" y="414380"/>
                    </a:lnTo>
                    <a:cubicBezTo>
                      <a:pt x="594360" y="414380"/>
                      <a:pt x="583883" y="416285"/>
                      <a:pt x="578168" y="415333"/>
                    </a:cubicBezTo>
                    <a:cubicBezTo>
                      <a:pt x="572453" y="414380"/>
                      <a:pt x="564833" y="418190"/>
                      <a:pt x="560070" y="417238"/>
                    </a:cubicBezTo>
                    <a:cubicBezTo>
                      <a:pt x="555308" y="416285"/>
                      <a:pt x="551498" y="418190"/>
                      <a:pt x="551498" y="418190"/>
                    </a:cubicBezTo>
                    <a:lnTo>
                      <a:pt x="540068" y="417238"/>
                    </a:lnTo>
                    <a:lnTo>
                      <a:pt x="523875" y="414380"/>
                    </a:lnTo>
                    <a:cubicBezTo>
                      <a:pt x="523875" y="414380"/>
                      <a:pt x="510540" y="414380"/>
                      <a:pt x="506730" y="413428"/>
                    </a:cubicBezTo>
                    <a:cubicBezTo>
                      <a:pt x="501968" y="412475"/>
                      <a:pt x="498158" y="413428"/>
                      <a:pt x="498158" y="413428"/>
                    </a:cubicBezTo>
                    <a:lnTo>
                      <a:pt x="486728" y="413428"/>
                    </a:lnTo>
                    <a:cubicBezTo>
                      <a:pt x="486728" y="413428"/>
                      <a:pt x="486728" y="413428"/>
                      <a:pt x="481965" y="407713"/>
                    </a:cubicBezTo>
                    <a:lnTo>
                      <a:pt x="498158" y="401045"/>
                    </a:lnTo>
                    <a:lnTo>
                      <a:pt x="493395" y="395330"/>
                    </a:lnTo>
                    <a:lnTo>
                      <a:pt x="484823" y="391520"/>
                    </a:lnTo>
                    <a:lnTo>
                      <a:pt x="484823" y="386758"/>
                    </a:lnTo>
                    <a:lnTo>
                      <a:pt x="477203" y="376280"/>
                    </a:lnTo>
                    <a:lnTo>
                      <a:pt x="474345" y="369613"/>
                    </a:lnTo>
                    <a:lnTo>
                      <a:pt x="466725" y="368660"/>
                    </a:lnTo>
                    <a:lnTo>
                      <a:pt x="461010" y="374375"/>
                    </a:lnTo>
                    <a:lnTo>
                      <a:pt x="450533" y="377233"/>
                    </a:lnTo>
                    <a:lnTo>
                      <a:pt x="445770" y="381995"/>
                    </a:lnTo>
                    <a:lnTo>
                      <a:pt x="443865" y="390568"/>
                    </a:lnTo>
                    <a:lnTo>
                      <a:pt x="443865" y="399140"/>
                    </a:lnTo>
                    <a:lnTo>
                      <a:pt x="446723" y="408665"/>
                    </a:lnTo>
                    <a:lnTo>
                      <a:pt x="449580" y="403903"/>
                    </a:lnTo>
                    <a:lnTo>
                      <a:pt x="446723" y="414380"/>
                    </a:lnTo>
                    <a:lnTo>
                      <a:pt x="435293" y="416285"/>
                    </a:lnTo>
                    <a:cubicBezTo>
                      <a:pt x="435293" y="416285"/>
                      <a:pt x="435293" y="416285"/>
                      <a:pt x="430530" y="416285"/>
                    </a:cubicBezTo>
                    <a:cubicBezTo>
                      <a:pt x="425768" y="416285"/>
                      <a:pt x="424815" y="418190"/>
                      <a:pt x="420053" y="417238"/>
                    </a:cubicBezTo>
                    <a:cubicBezTo>
                      <a:pt x="415290" y="416285"/>
                      <a:pt x="411480" y="417238"/>
                      <a:pt x="411480" y="417238"/>
                    </a:cubicBezTo>
                    <a:lnTo>
                      <a:pt x="389573" y="421048"/>
                    </a:lnTo>
                    <a:cubicBezTo>
                      <a:pt x="389573" y="421048"/>
                      <a:pt x="387668" y="425810"/>
                      <a:pt x="383858" y="427715"/>
                    </a:cubicBezTo>
                    <a:cubicBezTo>
                      <a:pt x="379095" y="429620"/>
                      <a:pt x="379095" y="433430"/>
                      <a:pt x="379095" y="433430"/>
                    </a:cubicBezTo>
                    <a:lnTo>
                      <a:pt x="376238" y="440098"/>
                    </a:lnTo>
                    <a:cubicBezTo>
                      <a:pt x="376238" y="440098"/>
                      <a:pt x="367665" y="446765"/>
                      <a:pt x="362903" y="447718"/>
                    </a:cubicBezTo>
                    <a:cubicBezTo>
                      <a:pt x="358140" y="448670"/>
                      <a:pt x="352425" y="450575"/>
                      <a:pt x="348615" y="451528"/>
                    </a:cubicBezTo>
                    <a:cubicBezTo>
                      <a:pt x="343853" y="452480"/>
                      <a:pt x="340043" y="457243"/>
                      <a:pt x="340043" y="457243"/>
                    </a:cubicBezTo>
                    <a:lnTo>
                      <a:pt x="334328" y="464863"/>
                    </a:lnTo>
                    <a:lnTo>
                      <a:pt x="328613" y="468673"/>
                    </a:lnTo>
                    <a:cubicBezTo>
                      <a:pt x="328613" y="468673"/>
                      <a:pt x="320040" y="471530"/>
                      <a:pt x="312420" y="472483"/>
                    </a:cubicBezTo>
                    <a:cubicBezTo>
                      <a:pt x="304800" y="473435"/>
                      <a:pt x="299085" y="477245"/>
                      <a:pt x="299085" y="477245"/>
                    </a:cubicBezTo>
                    <a:lnTo>
                      <a:pt x="293370" y="480103"/>
                    </a:lnTo>
                    <a:lnTo>
                      <a:pt x="282893" y="481055"/>
                    </a:lnTo>
                    <a:lnTo>
                      <a:pt x="275273" y="484865"/>
                    </a:lnTo>
                    <a:lnTo>
                      <a:pt x="260033" y="489628"/>
                    </a:lnTo>
                    <a:lnTo>
                      <a:pt x="248603" y="489628"/>
                    </a:lnTo>
                    <a:lnTo>
                      <a:pt x="224790" y="490580"/>
                    </a:lnTo>
                    <a:lnTo>
                      <a:pt x="214313" y="496295"/>
                    </a:lnTo>
                    <a:lnTo>
                      <a:pt x="217170" y="500105"/>
                    </a:lnTo>
                    <a:lnTo>
                      <a:pt x="222885" y="502963"/>
                    </a:lnTo>
                    <a:lnTo>
                      <a:pt x="228600" y="505820"/>
                    </a:lnTo>
                    <a:lnTo>
                      <a:pt x="234315" y="506773"/>
                    </a:lnTo>
                    <a:lnTo>
                      <a:pt x="245745" y="508678"/>
                    </a:lnTo>
                    <a:lnTo>
                      <a:pt x="254318" y="509630"/>
                    </a:lnTo>
                    <a:cubicBezTo>
                      <a:pt x="254318" y="509630"/>
                      <a:pt x="260033" y="513440"/>
                      <a:pt x="273368" y="520108"/>
                    </a:cubicBezTo>
                    <a:cubicBezTo>
                      <a:pt x="286703" y="526775"/>
                      <a:pt x="276225" y="524870"/>
                      <a:pt x="276225" y="524870"/>
                    </a:cubicBezTo>
                    <a:cubicBezTo>
                      <a:pt x="276225" y="524870"/>
                      <a:pt x="277178" y="529633"/>
                      <a:pt x="276225" y="532490"/>
                    </a:cubicBezTo>
                    <a:cubicBezTo>
                      <a:pt x="274320" y="535348"/>
                      <a:pt x="276225" y="538205"/>
                      <a:pt x="276225" y="538205"/>
                    </a:cubicBezTo>
                    <a:cubicBezTo>
                      <a:pt x="276225" y="538205"/>
                      <a:pt x="274320" y="547730"/>
                      <a:pt x="273368" y="550588"/>
                    </a:cubicBezTo>
                    <a:cubicBezTo>
                      <a:pt x="271463" y="553445"/>
                      <a:pt x="268605" y="561065"/>
                      <a:pt x="268605" y="561065"/>
                    </a:cubicBezTo>
                    <a:cubicBezTo>
                      <a:pt x="268605" y="561065"/>
                      <a:pt x="268605" y="561065"/>
                      <a:pt x="262890" y="562018"/>
                    </a:cubicBezTo>
                    <a:cubicBezTo>
                      <a:pt x="257175" y="562970"/>
                      <a:pt x="257175" y="562018"/>
                      <a:pt x="257175" y="562018"/>
                    </a:cubicBezTo>
                    <a:cubicBezTo>
                      <a:pt x="257175" y="562018"/>
                      <a:pt x="251460" y="564875"/>
                      <a:pt x="246698" y="564875"/>
                    </a:cubicBezTo>
                    <a:cubicBezTo>
                      <a:pt x="241935" y="564875"/>
                      <a:pt x="236220" y="564875"/>
                      <a:pt x="236220" y="564875"/>
                    </a:cubicBezTo>
                    <a:lnTo>
                      <a:pt x="225743" y="564875"/>
                    </a:lnTo>
                    <a:cubicBezTo>
                      <a:pt x="225743" y="564875"/>
                      <a:pt x="212408" y="564875"/>
                      <a:pt x="206693" y="564875"/>
                    </a:cubicBezTo>
                    <a:cubicBezTo>
                      <a:pt x="200978" y="564875"/>
                      <a:pt x="196215" y="563923"/>
                      <a:pt x="192405" y="563923"/>
                    </a:cubicBezTo>
                    <a:cubicBezTo>
                      <a:pt x="187643" y="563923"/>
                      <a:pt x="186690" y="561065"/>
                      <a:pt x="186690" y="561065"/>
                    </a:cubicBezTo>
                    <a:lnTo>
                      <a:pt x="178118" y="560113"/>
                    </a:lnTo>
                    <a:lnTo>
                      <a:pt x="170498" y="560113"/>
                    </a:lnTo>
                    <a:lnTo>
                      <a:pt x="161925" y="562018"/>
                    </a:lnTo>
                    <a:cubicBezTo>
                      <a:pt x="161925" y="562018"/>
                      <a:pt x="161925" y="562018"/>
                      <a:pt x="153353" y="564875"/>
                    </a:cubicBezTo>
                    <a:lnTo>
                      <a:pt x="151448" y="570590"/>
                    </a:lnTo>
                    <a:lnTo>
                      <a:pt x="149543" y="581068"/>
                    </a:lnTo>
                    <a:lnTo>
                      <a:pt x="144780" y="586783"/>
                    </a:lnTo>
                    <a:lnTo>
                      <a:pt x="141923" y="592498"/>
                    </a:lnTo>
                    <a:lnTo>
                      <a:pt x="144780" y="602975"/>
                    </a:lnTo>
                    <a:lnTo>
                      <a:pt x="145733" y="611548"/>
                    </a:lnTo>
                    <a:cubicBezTo>
                      <a:pt x="145733" y="611548"/>
                      <a:pt x="143828" y="622025"/>
                      <a:pt x="143828" y="624883"/>
                    </a:cubicBezTo>
                    <a:cubicBezTo>
                      <a:pt x="143828" y="627740"/>
                      <a:pt x="144780" y="631550"/>
                      <a:pt x="144780" y="631550"/>
                    </a:cubicBezTo>
                    <a:lnTo>
                      <a:pt x="145733" y="642028"/>
                    </a:lnTo>
                    <a:lnTo>
                      <a:pt x="167640" y="647743"/>
                    </a:lnTo>
                    <a:lnTo>
                      <a:pt x="188595" y="649648"/>
                    </a:lnTo>
                    <a:lnTo>
                      <a:pt x="204788" y="648695"/>
                    </a:lnTo>
                    <a:lnTo>
                      <a:pt x="223838" y="646790"/>
                    </a:lnTo>
                    <a:lnTo>
                      <a:pt x="237173" y="647743"/>
                    </a:lnTo>
                    <a:cubicBezTo>
                      <a:pt x="237173" y="647743"/>
                      <a:pt x="245745" y="646790"/>
                      <a:pt x="251460" y="644885"/>
                    </a:cubicBezTo>
                    <a:cubicBezTo>
                      <a:pt x="257175" y="642980"/>
                      <a:pt x="260033" y="642980"/>
                      <a:pt x="260033" y="642980"/>
                    </a:cubicBezTo>
                    <a:lnTo>
                      <a:pt x="265748" y="642028"/>
                    </a:lnTo>
                    <a:lnTo>
                      <a:pt x="280988" y="635360"/>
                    </a:lnTo>
                    <a:lnTo>
                      <a:pt x="286703" y="633455"/>
                    </a:lnTo>
                    <a:lnTo>
                      <a:pt x="292418" y="629645"/>
                    </a:lnTo>
                    <a:lnTo>
                      <a:pt x="302895" y="622978"/>
                    </a:lnTo>
                    <a:lnTo>
                      <a:pt x="302895" y="617263"/>
                    </a:lnTo>
                    <a:cubicBezTo>
                      <a:pt x="302895" y="617263"/>
                      <a:pt x="302895" y="613453"/>
                      <a:pt x="305753" y="608690"/>
                    </a:cubicBezTo>
                    <a:lnTo>
                      <a:pt x="313373" y="607738"/>
                    </a:lnTo>
                    <a:lnTo>
                      <a:pt x="319088" y="602975"/>
                    </a:lnTo>
                    <a:lnTo>
                      <a:pt x="320993" y="597260"/>
                    </a:lnTo>
                    <a:cubicBezTo>
                      <a:pt x="320993" y="597260"/>
                      <a:pt x="320993" y="597260"/>
                      <a:pt x="326708" y="593450"/>
                    </a:cubicBezTo>
                    <a:lnTo>
                      <a:pt x="344805" y="589640"/>
                    </a:lnTo>
                    <a:lnTo>
                      <a:pt x="353378" y="582020"/>
                    </a:lnTo>
                    <a:lnTo>
                      <a:pt x="359093" y="579163"/>
                    </a:lnTo>
                    <a:lnTo>
                      <a:pt x="361950" y="574400"/>
                    </a:lnTo>
                    <a:lnTo>
                      <a:pt x="366713" y="570590"/>
                    </a:lnTo>
                    <a:lnTo>
                      <a:pt x="368618" y="566780"/>
                    </a:lnTo>
                    <a:lnTo>
                      <a:pt x="374333" y="562018"/>
                    </a:lnTo>
                    <a:lnTo>
                      <a:pt x="382905" y="563923"/>
                    </a:lnTo>
                    <a:lnTo>
                      <a:pt x="388620" y="563923"/>
                    </a:lnTo>
                    <a:lnTo>
                      <a:pt x="391478" y="568685"/>
                    </a:lnTo>
                    <a:lnTo>
                      <a:pt x="397193" y="571543"/>
                    </a:lnTo>
                    <a:lnTo>
                      <a:pt x="404813" y="573448"/>
                    </a:lnTo>
                    <a:lnTo>
                      <a:pt x="410528" y="572495"/>
                    </a:lnTo>
                    <a:lnTo>
                      <a:pt x="416243" y="571543"/>
                    </a:lnTo>
                    <a:lnTo>
                      <a:pt x="426720" y="565828"/>
                    </a:lnTo>
                    <a:lnTo>
                      <a:pt x="434340" y="560113"/>
                    </a:lnTo>
                    <a:lnTo>
                      <a:pt x="440055" y="557255"/>
                    </a:lnTo>
                    <a:lnTo>
                      <a:pt x="447675" y="553445"/>
                    </a:lnTo>
                    <a:lnTo>
                      <a:pt x="455295" y="554398"/>
                    </a:lnTo>
                    <a:lnTo>
                      <a:pt x="462915" y="554398"/>
                    </a:lnTo>
                    <a:lnTo>
                      <a:pt x="468630" y="556303"/>
                    </a:lnTo>
                    <a:lnTo>
                      <a:pt x="474345" y="558208"/>
                    </a:lnTo>
                    <a:lnTo>
                      <a:pt x="482918" y="562018"/>
                    </a:lnTo>
                    <a:lnTo>
                      <a:pt x="493395" y="568685"/>
                    </a:lnTo>
                    <a:lnTo>
                      <a:pt x="496253" y="574400"/>
                    </a:lnTo>
                    <a:lnTo>
                      <a:pt x="504825" y="580115"/>
                    </a:lnTo>
                    <a:lnTo>
                      <a:pt x="512445" y="585830"/>
                    </a:lnTo>
                    <a:lnTo>
                      <a:pt x="521018" y="592498"/>
                    </a:lnTo>
                    <a:lnTo>
                      <a:pt x="526733" y="594403"/>
                    </a:lnTo>
                    <a:lnTo>
                      <a:pt x="537210" y="598213"/>
                    </a:lnTo>
                    <a:lnTo>
                      <a:pt x="551498" y="603928"/>
                    </a:lnTo>
                    <a:lnTo>
                      <a:pt x="560070" y="605833"/>
                    </a:lnTo>
                    <a:lnTo>
                      <a:pt x="561023" y="610595"/>
                    </a:lnTo>
                    <a:lnTo>
                      <a:pt x="563880" y="615358"/>
                    </a:lnTo>
                    <a:lnTo>
                      <a:pt x="566738" y="620120"/>
                    </a:lnTo>
                    <a:lnTo>
                      <a:pt x="567690" y="626788"/>
                    </a:lnTo>
                    <a:lnTo>
                      <a:pt x="575310" y="629645"/>
                    </a:lnTo>
                    <a:lnTo>
                      <a:pt x="581025" y="630598"/>
                    </a:lnTo>
                    <a:lnTo>
                      <a:pt x="589598" y="627740"/>
                    </a:lnTo>
                    <a:cubicBezTo>
                      <a:pt x="589598" y="627740"/>
                      <a:pt x="589598" y="627740"/>
                      <a:pt x="589598" y="620120"/>
                    </a:cubicBezTo>
                    <a:cubicBezTo>
                      <a:pt x="589598" y="612500"/>
                      <a:pt x="589598" y="620120"/>
                      <a:pt x="589598" y="612500"/>
                    </a:cubicBezTo>
                    <a:cubicBezTo>
                      <a:pt x="589598" y="611548"/>
                      <a:pt x="589598" y="610595"/>
                      <a:pt x="589598" y="609643"/>
                    </a:cubicBezTo>
                    <a:cubicBezTo>
                      <a:pt x="589598" y="609643"/>
                      <a:pt x="589598" y="609643"/>
                      <a:pt x="589598" y="608690"/>
                    </a:cubicBezTo>
                    <a:cubicBezTo>
                      <a:pt x="589598" y="608690"/>
                      <a:pt x="589598" y="608690"/>
                      <a:pt x="589598" y="608690"/>
                    </a:cubicBezTo>
                    <a:cubicBezTo>
                      <a:pt x="589598" y="604880"/>
                      <a:pt x="589598" y="608690"/>
                      <a:pt x="588645" y="604880"/>
                    </a:cubicBezTo>
                    <a:cubicBezTo>
                      <a:pt x="587693" y="601070"/>
                      <a:pt x="594360" y="602023"/>
                      <a:pt x="594360" y="602023"/>
                    </a:cubicBezTo>
                    <a:lnTo>
                      <a:pt x="601980" y="597260"/>
                    </a:lnTo>
                    <a:lnTo>
                      <a:pt x="598170" y="590593"/>
                    </a:lnTo>
                    <a:lnTo>
                      <a:pt x="592455" y="589640"/>
                    </a:lnTo>
                    <a:lnTo>
                      <a:pt x="584835" y="587735"/>
                    </a:lnTo>
                    <a:lnTo>
                      <a:pt x="579120" y="586783"/>
                    </a:lnTo>
                    <a:lnTo>
                      <a:pt x="573405" y="584878"/>
                    </a:lnTo>
                    <a:lnTo>
                      <a:pt x="561975" y="578210"/>
                    </a:lnTo>
                    <a:cubicBezTo>
                      <a:pt x="561975" y="578210"/>
                      <a:pt x="561975" y="578210"/>
                      <a:pt x="557213" y="576305"/>
                    </a:cubicBezTo>
                    <a:cubicBezTo>
                      <a:pt x="552450" y="574400"/>
                      <a:pt x="549593" y="571543"/>
                      <a:pt x="549593" y="571543"/>
                    </a:cubicBezTo>
                    <a:lnTo>
                      <a:pt x="532448" y="562018"/>
                    </a:lnTo>
                    <a:lnTo>
                      <a:pt x="521018" y="556303"/>
                    </a:lnTo>
                    <a:cubicBezTo>
                      <a:pt x="521018" y="556303"/>
                      <a:pt x="513398" y="548683"/>
                      <a:pt x="514350" y="545825"/>
                    </a:cubicBezTo>
                    <a:cubicBezTo>
                      <a:pt x="514350" y="542968"/>
                      <a:pt x="514350" y="541063"/>
                      <a:pt x="514350" y="541063"/>
                    </a:cubicBezTo>
                    <a:lnTo>
                      <a:pt x="519113" y="536300"/>
                    </a:lnTo>
                    <a:cubicBezTo>
                      <a:pt x="519113" y="536300"/>
                      <a:pt x="536258" y="539158"/>
                      <a:pt x="541020" y="540110"/>
                    </a:cubicBezTo>
                    <a:cubicBezTo>
                      <a:pt x="545783" y="541063"/>
                      <a:pt x="546735" y="542015"/>
                      <a:pt x="546735" y="542015"/>
                    </a:cubicBezTo>
                    <a:lnTo>
                      <a:pt x="554355" y="545825"/>
                    </a:lnTo>
                    <a:lnTo>
                      <a:pt x="560070" y="549635"/>
                    </a:lnTo>
                    <a:lnTo>
                      <a:pt x="574358" y="554398"/>
                    </a:lnTo>
                    <a:lnTo>
                      <a:pt x="584835" y="559160"/>
                    </a:lnTo>
                    <a:lnTo>
                      <a:pt x="592455" y="563923"/>
                    </a:lnTo>
                    <a:lnTo>
                      <a:pt x="608648" y="569638"/>
                    </a:lnTo>
                    <a:lnTo>
                      <a:pt x="617220" y="578210"/>
                    </a:lnTo>
                    <a:lnTo>
                      <a:pt x="621030" y="584878"/>
                    </a:lnTo>
                    <a:lnTo>
                      <a:pt x="628650" y="591545"/>
                    </a:lnTo>
                    <a:lnTo>
                      <a:pt x="632460" y="597260"/>
                    </a:lnTo>
                    <a:lnTo>
                      <a:pt x="637223" y="603928"/>
                    </a:lnTo>
                    <a:lnTo>
                      <a:pt x="638175" y="611548"/>
                    </a:lnTo>
                    <a:lnTo>
                      <a:pt x="641033" y="616310"/>
                    </a:lnTo>
                    <a:lnTo>
                      <a:pt x="649605" y="622025"/>
                    </a:lnTo>
                    <a:lnTo>
                      <a:pt x="653415" y="626788"/>
                    </a:lnTo>
                    <a:lnTo>
                      <a:pt x="661988" y="631550"/>
                    </a:lnTo>
                    <a:lnTo>
                      <a:pt x="667703" y="636313"/>
                    </a:lnTo>
                    <a:lnTo>
                      <a:pt x="667703" y="642028"/>
                    </a:lnTo>
                    <a:lnTo>
                      <a:pt x="670560" y="650600"/>
                    </a:lnTo>
                    <a:lnTo>
                      <a:pt x="678180" y="652505"/>
                    </a:lnTo>
                    <a:lnTo>
                      <a:pt x="688658" y="652505"/>
                    </a:lnTo>
                    <a:lnTo>
                      <a:pt x="701993" y="648695"/>
                    </a:lnTo>
                    <a:cubicBezTo>
                      <a:pt x="701993" y="648695"/>
                      <a:pt x="701993" y="648695"/>
                      <a:pt x="704850" y="645838"/>
                    </a:cubicBezTo>
                    <a:cubicBezTo>
                      <a:pt x="707708" y="642980"/>
                      <a:pt x="704850" y="645838"/>
                      <a:pt x="710565" y="642980"/>
                    </a:cubicBezTo>
                    <a:lnTo>
                      <a:pt x="715328" y="638218"/>
                    </a:lnTo>
                    <a:lnTo>
                      <a:pt x="715328" y="632503"/>
                    </a:lnTo>
                    <a:lnTo>
                      <a:pt x="715328" y="625835"/>
                    </a:lnTo>
                    <a:lnTo>
                      <a:pt x="712470" y="621073"/>
                    </a:lnTo>
                    <a:cubicBezTo>
                      <a:pt x="712470" y="621073"/>
                      <a:pt x="712470" y="621073"/>
                      <a:pt x="712470" y="616310"/>
                    </a:cubicBezTo>
                    <a:cubicBezTo>
                      <a:pt x="712470" y="611548"/>
                      <a:pt x="712470" y="616310"/>
                      <a:pt x="711518" y="611548"/>
                    </a:cubicBezTo>
                    <a:lnTo>
                      <a:pt x="713423" y="604880"/>
                    </a:lnTo>
                    <a:lnTo>
                      <a:pt x="719138" y="601070"/>
                    </a:lnTo>
                    <a:lnTo>
                      <a:pt x="741045" y="602975"/>
                    </a:lnTo>
                    <a:lnTo>
                      <a:pt x="748665" y="607738"/>
                    </a:lnTo>
                    <a:lnTo>
                      <a:pt x="749618" y="612500"/>
                    </a:lnTo>
                    <a:lnTo>
                      <a:pt x="753428" y="623930"/>
                    </a:lnTo>
                    <a:lnTo>
                      <a:pt x="756285" y="630598"/>
                    </a:lnTo>
                    <a:lnTo>
                      <a:pt x="763905" y="637265"/>
                    </a:lnTo>
                    <a:lnTo>
                      <a:pt x="772478" y="641075"/>
                    </a:lnTo>
                    <a:lnTo>
                      <a:pt x="773430" y="644885"/>
                    </a:lnTo>
                    <a:lnTo>
                      <a:pt x="783908" y="646790"/>
                    </a:lnTo>
                    <a:cubicBezTo>
                      <a:pt x="783908" y="646790"/>
                      <a:pt x="789623" y="648695"/>
                      <a:pt x="801053" y="650600"/>
                    </a:cubicBezTo>
                    <a:cubicBezTo>
                      <a:pt x="812483" y="652505"/>
                      <a:pt x="812483" y="651553"/>
                      <a:pt x="812483" y="651553"/>
                    </a:cubicBezTo>
                    <a:lnTo>
                      <a:pt x="826770" y="651553"/>
                    </a:lnTo>
                    <a:cubicBezTo>
                      <a:pt x="826770" y="651553"/>
                      <a:pt x="835343" y="652505"/>
                      <a:pt x="840105" y="651553"/>
                    </a:cubicBezTo>
                    <a:cubicBezTo>
                      <a:pt x="844868" y="650600"/>
                      <a:pt x="848678" y="651553"/>
                      <a:pt x="848678" y="651553"/>
                    </a:cubicBezTo>
                    <a:lnTo>
                      <a:pt x="862965" y="650600"/>
                    </a:lnTo>
                    <a:lnTo>
                      <a:pt x="874395" y="650600"/>
                    </a:lnTo>
                    <a:cubicBezTo>
                      <a:pt x="874395" y="650600"/>
                      <a:pt x="882015" y="651553"/>
                      <a:pt x="887730" y="650600"/>
                    </a:cubicBezTo>
                    <a:cubicBezTo>
                      <a:pt x="893445" y="649648"/>
                      <a:pt x="896303" y="653458"/>
                      <a:pt x="896303" y="653458"/>
                    </a:cubicBezTo>
                    <a:lnTo>
                      <a:pt x="904875" y="660125"/>
                    </a:lnTo>
                    <a:lnTo>
                      <a:pt x="918210" y="662983"/>
                    </a:lnTo>
                    <a:lnTo>
                      <a:pt x="918210" y="666793"/>
                    </a:lnTo>
                    <a:lnTo>
                      <a:pt x="918210" y="673460"/>
                    </a:lnTo>
                    <a:lnTo>
                      <a:pt x="912495" y="677270"/>
                    </a:lnTo>
                    <a:cubicBezTo>
                      <a:pt x="912495" y="677270"/>
                      <a:pt x="912495" y="677270"/>
                      <a:pt x="904875" y="681080"/>
                    </a:cubicBezTo>
                    <a:lnTo>
                      <a:pt x="902018" y="684890"/>
                    </a:lnTo>
                    <a:cubicBezTo>
                      <a:pt x="902018" y="684890"/>
                      <a:pt x="897255" y="688700"/>
                      <a:pt x="896303" y="691558"/>
                    </a:cubicBezTo>
                    <a:cubicBezTo>
                      <a:pt x="894398" y="694415"/>
                      <a:pt x="896303" y="699178"/>
                      <a:pt x="894398" y="702035"/>
                    </a:cubicBezTo>
                    <a:cubicBezTo>
                      <a:pt x="892493" y="704893"/>
                      <a:pt x="894398" y="711560"/>
                      <a:pt x="894398" y="711560"/>
                    </a:cubicBezTo>
                    <a:lnTo>
                      <a:pt x="889635" y="717275"/>
                    </a:lnTo>
                    <a:lnTo>
                      <a:pt x="881063" y="720133"/>
                    </a:lnTo>
                    <a:lnTo>
                      <a:pt x="862013" y="722038"/>
                    </a:lnTo>
                    <a:cubicBezTo>
                      <a:pt x="862013" y="722038"/>
                      <a:pt x="862013" y="722038"/>
                      <a:pt x="850583" y="722038"/>
                    </a:cubicBezTo>
                    <a:cubicBezTo>
                      <a:pt x="839153" y="722038"/>
                      <a:pt x="850583" y="722038"/>
                      <a:pt x="842963" y="721085"/>
                    </a:cubicBezTo>
                    <a:cubicBezTo>
                      <a:pt x="835343" y="720133"/>
                      <a:pt x="834390" y="724895"/>
                      <a:pt x="834390" y="724895"/>
                    </a:cubicBezTo>
                    <a:cubicBezTo>
                      <a:pt x="834390" y="724895"/>
                      <a:pt x="815340" y="726800"/>
                      <a:pt x="807720" y="727753"/>
                    </a:cubicBezTo>
                    <a:cubicBezTo>
                      <a:pt x="800100" y="728705"/>
                      <a:pt x="793433" y="727753"/>
                      <a:pt x="793433" y="727753"/>
                    </a:cubicBezTo>
                    <a:cubicBezTo>
                      <a:pt x="793433" y="727753"/>
                      <a:pt x="777240" y="725848"/>
                      <a:pt x="771525" y="725848"/>
                    </a:cubicBezTo>
                    <a:cubicBezTo>
                      <a:pt x="765810" y="725848"/>
                      <a:pt x="758190" y="723943"/>
                      <a:pt x="758190" y="723943"/>
                    </a:cubicBezTo>
                    <a:lnTo>
                      <a:pt x="750570" y="722038"/>
                    </a:lnTo>
                    <a:lnTo>
                      <a:pt x="734378" y="720133"/>
                    </a:lnTo>
                    <a:lnTo>
                      <a:pt x="718185" y="715370"/>
                    </a:lnTo>
                    <a:lnTo>
                      <a:pt x="706755" y="714418"/>
                    </a:lnTo>
                    <a:cubicBezTo>
                      <a:pt x="706755" y="714418"/>
                      <a:pt x="688658" y="713465"/>
                      <a:pt x="684848" y="711560"/>
                    </a:cubicBezTo>
                    <a:cubicBezTo>
                      <a:pt x="680085" y="709655"/>
                      <a:pt x="667703" y="711560"/>
                      <a:pt x="667703" y="711560"/>
                    </a:cubicBezTo>
                    <a:cubicBezTo>
                      <a:pt x="667703" y="711560"/>
                      <a:pt x="656273" y="713465"/>
                      <a:pt x="651510" y="713465"/>
                    </a:cubicBezTo>
                    <a:cubicBezTo>
                      <a:pt x="646748" y="713465"/>
                      <a:pt x="648653" y="719180"/>
                      <a:pt x="648653" y="719180"/>
                    </a:cubicBezTo>
                    <a:cubicBezTo>
                      <a:pt x="648653" y="719180"/>
                      <a:pt x="641033" y="727753"/>
                      <a:pt x="632460" y="728705"/>
                    </a:cubicBezTo>
                    <a:cubicBezTo>
                      <a:pt x="623888" y="729658"/>
                      <a:pt x="611505" y="726800"/>
                      <a:pt x="607695" y="726800"/>
                    </a:cubicBezTo>
                    <a:cubicBezTo>
                      <a:pt x="602933" y="726800"/>
                      <a:pt x="601980" y="725848"/>
                      <a:pt x="596265" y="723943"/>
                    </a:cubicBezTo>
                    <a:cubicBezTo>
                      <a:pt x="590550" y="722038"/>
                      <a:pt x="585788" y="721085"/>
                      <a:pt x="585788" y="721085"/>
                    </a:cubicBezTo>
                    <a:lnTo>
                      <a:pt x="571500" y="717275"/>
                    </a:lnTo>
                    <a:cubicBezTo>
                      <a:pt x="571500" y="717275"/>
                      <a:pt x="565785" y="717275"/>
                      <a:pt x="560070" y="714418"/>
                    </a:cubicBezTo>
                    <a:cubicBezTo>
                      <a:pt x="554355" y="711560"/>
                      <a:pt x="548640" y="710608"/>
                      <a:pt x="548640" y="710608"/>
                    </a:cubicBezTo>
                    <a:lnTo>
                      <a:pt x="537210" y="707750"/>
                    </a:lnTo>
                    <a:cubicBezTo>
                      <a:pt x="537210" y="707750"/>
                      <a:pt x="525780" y="705845"/>
                      <a:pt x="521018" y="704893"/>
                    </a:cubicBezTo>
                    <a:cubicBezTo>
                      <a:pt x="516255" y="703940"/>
                      <a:pt x="515303" y="701083"/>
                      <a:pt x="515303" y="701083"/>
                    </a:cubicBezTo>
                    <a:lnTo>
                      <a:pt x="507683" y="697273"/>
                    </a:lnTo>
                    <a:lnTo>
                      <a:pt x="501968" y="697273"/>
                    </a:lnTo>
                    <a:lnTo>
                      <a:pt x="494348" y="694415"/>
                    </a:lnTo>
                    <a:lnTo>
                      <a:pt x="488633" y="689653"/>
                    </a:lnTo>
                    <a:cubicBezTo>
                      <a:pt x="488633" y="689653"/>
                      <a:pt x="484823" y="683938"/>
                      <a:pt x="482918" y="681080"/>
                    </a:cubicBezTo>
                    <a:cubicBezTo>
                      <a:pt x="481965" y="678223"/>
                      <a:pt x="482918" y="675365"/>
                      <a:pt x="482918" y="675365"/>
                    </a:cubicBezTo>
                    <a:lnTo>
                      <a:pt x="485775" y="662983"/>
                    </a:lnTo>
                    <a:cubicBezTo>
                      <a:pt x="485775" y="662983"/>
                      <a:pt x="485775" y="662983"/>
                      <a:pt x="484823" y="655363"/>
                    </a:cubicBezTo>
                    <a:cubicBezTo>
                      <a:pt x="483870" y="647743"/>
                      <a:pt x="484823" y="655363"/>
                      <a:pt x="480060" y="651553"/>
                    </a:cubicBezTo>
                    <a:lnTo>
                      <a:pt x="461010" y="652505"/>
                    </a:lnTo>
                    <a:lnTo>
                      <a:pt x="450533" y="652505"/>
                    </a:lnTo>
                    <a:lnTo>
                      <a:pt x="440055" y="652505"/>
                    </a:lnTo>
                    <a:lnTo>
                      <a:pt x="421005" y="651553"/>
                    </a:lnTo>
                    <a:lnTo>
                      <a:pt x="410528" y="651553"/>
                    </a:lnTo>
                    <a:lnTo>
                      <a:pt x="402908" y="650600"/>
                    </a:lnTo>
                    <a:lnTo>
                      <a:pt x="392430" y="650600"/>
                    </a:lnTo>
                    <a:lnTo>
                      <a:pt x="373380" y="650600"/>
                    </a:lnTo>
                    <a:lnTo>
                      <a:pt x="365760" y="650600"/>
                    </a:lnTo>
                    <a:lnTo>
                      <a:pt x="352425" y="650600"/>
                    </a:lnTo>
                    <a:lnTo>
                      <a:pt x="339090" y="650600"/>
                    </a:lnTo>
                    <a:lnTo>
                      <a:pt x="330518" y="653458"/>
                    </a:lnTo>
                    <a:lnTo>
                      <a:pt x="324803" y="658220"/>
                    </a:lnTo>
                    <a:lnTo>
                      <a:pt x="316230" y="659173"/>
                    </a:lnTo>
                    <a:lnTo>
                      <a:pt x="304800" y="662030"/>
                    </a:lnTo>
                    <a:lnTo>
                      <a:pt x="294323" y="662983"/>
                    </a:lnTo>
                    <a:lnTo>
                      <a:pt x="288608" y="663935"/>
                    </a:lnTo>
                    <a:lnTo>
                      <a:pt x="280988" y="667745"/>
                    </a:lnTo>
                    <a:lnTo>
                      <a:pt x="261938" y="670603"/>
                    </a:lnTo>
                    <a:lnTo>
                      <a:pt x="254318" y="671555"/>
                    </a:lnTo>
                    <a:lnTo>
                      <a:pt x="238125" y="679175"/>
                    </a:lnTo>
                    <a:lnTo>
                      <a:pt x="219075" y="674413"/>
                    </a:lnTo>
                    <a:lnTo>
                      <a:pt x="205740" y="674413"/>
                    </a:lnTo>
                    <a:lnTo>
                      <a:pt x="200025" y="678223"/>
                    </a:lnTo>
                    <a:lnTo>
                      <a:pt x="188595" y="681080"/>
                    </a:lnTo>
                    <a:cubicBezTo>
                      <a:pt x="188595" y="681080"/>
                      <a:pt x="180975" y="684890"/>
                      <a:pt x="177165" y="684890"/>
                    </a:cubicBezTo>
                    <a:cubicBezTo>
                      <a:pt x="172403" y="684890"/>
                      <a:pt x="168593" y="691558"/>
                      <a:pt x="168593" y="691558"/>
                    </a:cubicBezTo>
                    <a:cubicBezTo>
                      <a:pt x="168593" y="691558"/>
                      <a:pt x="168593" y="691558"/>
                      <a:pt x="160020" y="692510"/>
                    </a:cubicBezTo>
                    <a:cubicBezTo>
                      <a:pt x="151448" y="693463"/>
                      <a:pt x="160020" y="692510"/>
                      <a:pt x="155258" y="693463"/>
                    </a:cubicBezTo>
                    <a:cubicBezTo>
                      <a:pt x="150495" y="694415"/>
                      <a:pt x="149543" y="695368"/>
                      <a:pt x="149543" y="695368"/>
                    </a:cubicBezTo>
                    <a:lnTo>
                      <a:pt x="146685" y="701083"/>
                    </a:lnTo>
                    <a:lnTo>
                      <a:pt x="141923" y="706798"/>
                    </a:lnTo>
                    <a:lnTo>
                      <a:pt x="136208" y="711560"/>
                    </a:lnTo>
                    <a:lnTo>
                      <a:pt x="131445" y="721085"/>
                    </a:lnTo>
                    <a:lnTo>
                      <a:pt x="128588" y="729658"/>
                    </a:lnTo>
                    <a:lnTo>
                      <a:pt x="122873" y="740135"/>
                    </a:lnTo>
                    <a:lnTo>
                      <a:pt x="115253" y="744898"/>
                    </a:lnTo>
                    <a:lnTo>
                      <a:pt x="104775" y="749660"/>
                    </a:lnTo>
                    <a:lnTo>
                      <a:pt x="97155" y="746803"/>
                    </a:lnTo>
                    <a:lnTo>
                      <a:pt x="81915" y="754423"/>
                    </a:lnTo>
                    <a:lnTo>
                      <a:pt x="76200" y="756328"/>
                    </a:lnTo>
                    <a:cubicBezTo>
                      <a:pt x="76200" y="756328"/>
                      <a:pt x="71438" y="760138"/>
                      <a:pt x="68580" y="762995"/>
                    </a:cubicBezTo>
                    <a:cubicBezTo>
                      <a:pt x="65723" y="765853"/>
                      <a:pt x="63818" y="767758"/>
                      <a:pt x="63818" y="767758"/>
                    </a:cubicBezTo>
                    <a:cubicBezTo>
                      <a:pt x="63818" y="767758"/>
                      <a:pt x="60960" y="774425"/>
                      <a:pt x="56198" y="781093"/>
                    </a:cubicBezTo>
                    <a:cubicBezTo>
                      <a:pt x="51435" y="787760"/>
                      <a:pt x="56198" y="781093"/>
                      <a:pt x="51435" y="782045"/>
                    </a:cubicBezTo>
                    <a:cubicBezTo>
                      <a:pt x="46673" y="782998"/>
                      <a:pt x="45720" y="786808"/>
                      <a:pt x="40958" y="787760"/>
                    </a:cubicBezTo>
                    <a:cubicBezTo>
                      <a:pt x="36195" y="788713"/>
                      <a:pt x="35243" y="789665"/>
                      <a:pt x="25718" y="794428"/>
                    </a:cubicBezTo>
                    <a:lnTo>
                      <a:pt x="18098" y="802048"/>
                    </a:lnTo>
                    <a:lnTo>
                      <a:pt x="12383" y="815383"/>
                    </a:lnTo>
                    <a:lnTo>
                      <a:pt x="6668" y="823955"/>
                    </a:lnTo>
                    <a:lnTo>
                      <a:pt x="6668" y="834433"/>
                    </a:lnTo>
                    <a:lnTo>
                      <a:pt x="6668" y="839195"/>
                    </a:lnTo>
                    <a:lnTo>
                      <a:pt x="6668" y="850625"/>
                    </a:lnTo>
                    <a:lnTo>
                      <a:pt x="9525" y="864913"/>
                    </a:lnTo>
                    <a:lnTo>
                      <a:pt x="9525" y="874438"/>
                    </a:lnTo>
                    <a:cubicBezTo>
                      <a:pt x="9525" y="874438"/>
                      <a:pt x="10478" y="885868"/>
                      <a:pt x="7620" y="888725"/>
                    </a:cubicBezTo>
                    <a:cubicBezTo>
                      <a:pt x="4763" y="891583"/>
                      <a:pt x="5715" y="894440"/>
                      <a:pt x="5715" y="894440"/>
                    </a:cubicBezTo>
                    <a:lnTo>
                      <a:pt x="2858" y="908728"/>
                    </a:lnTo>
                    <a:lnTo>
                      <a:pt x="0" y="919205"/>
                    </a:lnTo>
                    <a:lnTo>
                      <a:pt x="5715" y="929683"/>
                    </a:lnTo>
                    <a:lnTo>
                      <a:pt x="8573" y="938255"/>
                    </a:lnTo>
                    <a:lnTo>
                      <a:pt x="24765" y="944923"/>
                    </a:lnTo>
                    <a:lnTo>
                      <a:pt x="32385" y="949685"/>
                    </a:lnTo>
                    <a:lnTo>
                      <a:pt x="42863" y="961115"/>
                    </a:lnTo>
                    <a:lnTo>
                      <a:pt x="56198" y="968735"/>
                    </a:lnTo>
                    <a:lnTo>
                      <a:pt x="61913" y="973498"/>
                    </a:lnTo>
                    <a:lnTo>
                      <a:pt x="75248" y="980165"/>
                    </a:lnTo>
                    <a:lnTo>
                      <a:pt x="86678" y="985880"/>
                    </a:lnTo>
                    <a:lnTo>
                      <a:pt x="95250" y="993500"/>
                    </a:lnTo>
                    <a:lnTo>
                      <a:pt x="114300" y="1001120"/>
                    </a:lnTo>
                    <a:lnTo>
                      <a:pt x="120015" y="1009693"/>
                    </a:lnTo>
                    <a:lnTo>
                      <a:pt x="137160" y="1020170"/>
                    </a:lnTo>
                    <a:lnTo>
                      <a:pt x="147638" y="1026838"/>
                    </a:lnTo>
                    <a:cubicBezTo>
                      <a:pt x="147638" y="1026838"/>
                      <a:pt x="153353" y="1026838"/>
                      <a:pt x="165735" y="1026838"/>
                    </a:cubicBezTo>
                    <a:cubicBezTo>
                      <a:pt x="177165" y="1026838"/>
                      <a:pt x="176213" y="1025885"/>
                      <a:pt x="184785" y="1023028"/>
                    </a:cubicBezTo>
                    <a:lnTo>
                      <a:pt x="190500" y="1021123"/>
                    </a:lnTo>
                    <a:lnTo>
                      <a:pt x="201930" y="1019218"/>
                    </a:lnTo>
                    <a:lnTo>
                      <a:pt x="207645" y="1019218"/>
                    </a:lnTo>
                    <a:lnTo>
                      <a:pt x="216218" y="1019218"/>
                    </a:lnTo>
                    <a:lnTo>
                      <a:pt x="224790" y="1019218"/>
                    </a:lnTo>
                    <a:lnTo>
                      <a:pt x="233363" y="1021123"/>
                    </a:lnTo>
                    <a:lnTo>
                      <a:pt x="249555" y="1021123"/>
                    </a:lnTo>
                    <a:lnTo>
                      <a:pt x="258128" y="1020170"/>
                    </a:lnTo>
                    <a:cubicBezTo>
                      <a:pt x="258128" y="1020170"/>
                      <a:pt x="263843" y="1020170"/>
                      <a:pt x="279083" y="1018265"/>
                    </a:cubicBezTo>
                    <a:cubicBezTo>
                      <a:pt x="293370" y="1016360"/>
                      <a:pt x="289560" y="1016360"/>
                      <a:pt x="295275" y="1013503"/>
                    </a:cubicBezTo>
                    <a:cubicBezTo>
                      <a:pt x="295275" y="1013503"/>
                      <a:pt x="303848" y="1009693"/>
                      <a:pt x="306705" y="1006835"/>
                    </a:cubicBezTo>
                    <a:cubicBezTo>
                      <a:pt x="309563" y="1003978"/>
                      <a:pt x="314325" y="1003025"/>
                      <a:pt x="314325" y="1003025"/>
                    </a:cubicBezTo>
                    <a:lnTo>
                      <a:pt x="320040" y="1002073"/>
                    </a:lnTo>
                    <a:lnTo>
                      <a:pt x="334328" y="1002073"/>
                    </a:lnTo>
                    <a:lnTo>
                      <a:pt x="347663" y="1003978"/>
                    </a:lnTo>
                    <a:lnTo>
                      <a:pt x="358140" y="1005883"/>
                    </a:lnTo>
                    <a:lnTo>
                      <a:pt x="366713" y="1006835"/>
                    </a:lnTo>
                    <a:lnTo>
                      <a:pt x="377190" y="1008740"/>
                    </a:lnTo>
                    <a:lnTo>
                      <a:pt x="385763" y="1014455"/>
                    </a:lnTo>
                    <a:lnTo>
                      <a:pt x="394335" y="1021123"/>
                    </a:lnTo>
                    <a:lnTo>
                      <a:pt x="404813" y="1023980"/>
                    </a:lnTo>
                    <a:lnTo>
                      <a:pt x="412433" y="1025885"/>
                    </a:lnTo>
                    <a:lnTo>
                      <a:pt x="429578" y="1027790"/>
                    </a:lnTo>
                    <a:lnTo>
                      <a:pt x="437198" y="1027790"/>
                    </a:lnTo>
                    <a:lnTo>
                      <a:pt x="450533" y="1030648"/>
                    </a:lnTo>
                    <a:lnTo>
                      <a:pt x="451485" y="1036363"/>
                    </a:lnTo>
                    <a:cubicBezTo>
                      <a:pt x="451485" y="1036363"/>
                      <a:pt x="452438" y="1043030"/>
                      <a:pt x="451485" y="1045888"/>
                    </a:cubicBezTo>
                    <a:cubicBezTo>
                      <a:pt x="449580" y="1048745"/>
                      <a:pt x="452438" y="1050650"/>
                      <a:pt x="451485" y="1055413"/>
                    </a:cubicBezTo>
                    <a:cubicBezTo>
                      <a:pt x="449580" y="1060175"/>
                      <a:pt x="451485" y="1066843"/>
                      <a:pt x="451485" y="1066843"/>
                    </a:cubicBezTo>
                    <a:lnTo>
                      <a:pt x="449580" y="1076368"/>
                    </a:lnTo>
                    <a:lnTo>
                      <a:pt x="447675" y="1087798"/>
                    </a:lnTo>
                    <a:lnTo>
                      <a:pt x="447675" y="1095418"/>
                    </a:lnTo>
                    <a:lnTo>
                      <a:pt x="450533" y="1102085"/>
                    </a:lnTo>
                    <a:lnTo>
                      <a:pt x="458153" y="1108753"/>
                    </a:lnTo>
                    <a:lnTo>
                      <a:pt x="465773" y="1112563"/>
                    </a:lnTo>
                    <a:lnTo>
                      <a:pt x="474345" y="1113515"/>
                    </a:lnTo>
                    <a:lnTo>
                      <a:pt x="487680" y="1123040"/>
                    </a:lnTo>
                    <a:lnTo>
                      <a:pt x="493395" y="1129708"/>
                    </a:lnTo>
                    <a:lnTo>
                      <a:pt x="499110" y="1134470"/>
                    </a:lnTo>
                    <a:cubicBezTo>
                      <a:pt x="499110" y="1134470"/>
                      <a:pt x="504825" y="1138280"/>
                      <a:pt x="507683" y="1150663"/>
                    </a:cubicBezTo>
                    <a:cubicBezTo>
                      <a:pt x="510540" y="1163045"/>
                      <a:pt x="507683" y="1150663"/>
                      <a:pt x="510540" y="1157330"/>
                    </a:cubicBezTo>
                    <a:cubicBezTo>
                      <a:pt x="513398" y="1163998"/>
                      <a:pt x="507683" y="1165903"/>
                      <a:pt x="507683" y="1165903"/>
                    </a:cubicBezTo>
                    <a:cubicBezTo>
                      <a:pt x="507683" y="1165903"/>
                      <a:pt x="507683" y="1170665"/>
                      <a:pt x="507683" y="1173523"/>
                    </a:cubicBezTo>
                    <a:cubicBezTo>
                      <a:pt x="507683" y="1176380"/>
                      <a:pt x="518160" y="1182095"/>
                      <a:pt x="518160" y="1182095"/>
                    </a:cubicBezTo>
                    <a:lnTo>
                      <a:pt x="525780" y="1185905"/>
                    </a:lnTo>
                    <a:lnTo>
                      <a:pt x="526733" y="1192573"/>
                    </a:lnTo>
                    <a:lnTo>
                      <a:pt x="523875" y="1198288"/>
                    </a:lnTo>
                    <a:lnTo>
                      <a:pt x="519113" y="1203050"/>
                    </a:lnTo>
                    <a:cubicBezTo>
                      <a:pt x="519113" y="1203050"/>
                      <a:pt x="517208" y="1210670"/>
                      <a:pt x="511493" y="1214480"/>
                    </a:cubicBezTo>
                    <a:cubicBezTo>
                      <a:pt x="505778" y="1218290"/>
                      <a:pt x="511493" y="1214480"/>
                      <a:pt x="506730" y="1219243"/>
                    </a:cubicBezTo>
                    <a:cubicBezTo>
                      <a:pt x="506730" y="1219243"/>
                      <a:pt x="506730" y="1224958"/>
                      <a:pt x="506730" y="1227815"/>
                    </a:cubicBezTo>
                    <a:cubicBezTo>
                      <a:pt x="506730" y="1230673"/>
                      <a:pt x="499110" y="1233530"/>
                      <a:pt x="499110" y="1233530"/>
                    </a:cubicBezTo>
                    <a:cubicBezTo>
                      <a:pt x="499110" y="1233530"/>
                      <a:pt x="496253" y="1243055"/>
                      <a:pt x="491490" y="1245913"/>
                    </a:cubicBezTo>
                    <a:cubicBezTo>
                      <a:pt x="486728" y="1248770"/>
                      <a:pt x="491490" y="1250675"/>
                      <a:pt x="491490" y="1250675"/>
                    </a:cubicBezTo>
                    <a:lnTo>
                      <a:pt x="494348" y="1260200"/>
                    </a:lnTo>
                    <a:cubicBezTo>
                      <a:pt x="494348" y="1260200"/>
                      <a:pt x="497205" y="1273535"/>
                      <a:pt x="495300" y="1280203"/>
                    </a:cubicBezTo>
                    <a:lnTo>
                      <a:pt x="501968" y="1290680"/>
                    </a:lnTo>
                    <a:lnTo>
                      <a:pt x="500063" y="1304015"/>
                    </a:lnTo>
                    <a:lnTo>
                      <a:pt x="502920" y="1310683"/>
                    </a:lnTo>
                    <a:lnTo>
                      <a:pt x="514350" y="1320208"/>
                    </a:lnTo>
                    <a:lnTo>
                      <a:pt x="525780" y="1326875"/>
                    </a:lnTo>
                    <a:cubicBezTo>
                      <a:pt x="525780" y="1326875"/>
                      <a:pt x="531495" y="1333543"/>
                      <a:pt x="534353" y="1337353"/>
                    </a:cubicBezTo>
                    <a:cubicBezTo>
                      <a:pt x="537210" y="1341163"/>
                      <a:pt x="535305" y="1342115"/>
                      <a:pt x="535305" y="1342115"/>
                    </a:cubicBezTo>
                    <a:lnTo>
                      <a:pt x="533400" y="1349735"/>
                    </a:lnTo>
                    <a:lnTo>
                      <a:pt x="533400" y="1360213"/>
                    </a:lnTo>
                    <a:lnTo>
                      <a:pt x="534353" y="1369738"/>
                    </a:lnTo>
                    <a:lnTo>
                      <a:pt x="547688" y="1380215"/>
                    </a:lnTo>
                    <a:lnTo>
                      <a:pt x="553403" y="1388788"/>
                    </a:lnTo>
                    <a:lnTo>
                      <a:pt x="559118" y="1393550"/>
                    </a:lnTo>
                    <a:lnTo>
                      <a:pt x="563880" y="1398313"/>
                    </a:lnTo>
                    <a:lnTo>
                      <a:pt x="573405" y="1410695"/>
                    </a:lnTo>
                    <a:lnTo>
                      <a:pt x="576263" y="1419268"/>
                    </a:lnTo>
                    <a:lnTo>
                      <a:pt x="580073" y="1425935"/>
                    </a:lnTo>
                    <a:lnTo>
                      <a:pt x="588645" y="1436413"/>
                    </a:lnTo>
                    <a:lnTo>
                      <a:pt x="594360" y="1442128"/>
                    </a:lnTo>
                    <a:lnTo>
                      <a:pt x="597218" y="1451653"/>
                    </a:lnTo>
                    <a:lnTo>
                      <a:pt x="597218" y="1458320"/>
                    </a:lnTo>
                    <a:lnTo>
                      <a:pt x="598170" y="1464035"/>
                    </a:lnTo>
                    <a:lnTo>
                      <a:pt x="601980" y="1473560"/>
                    </a:lnTo>
                    <a:lnTo>
                      <a:pt x="612458" y="1473560"/>
                    </a:lnTo>
                    <a:lnTo>
                      <a:pt x="618173" y="1473560"/>
                    </a:lnTo>
                    <a:lnTo>
                      <a:pt x="628650" y="1473560"/>
                    </a:lnTo>
                    <a:lnTo>
                      <a:pt x="639128" y="1473560"/>
                    </a:lnTo>
                    <a:lnTo>
                      <a:pt x="650558" y="1472608"/>
                    </a:lnTo>
                    <a:cubicBezTo>
                      <a:pt x="650558" y="1472608"/>
                      <a:pt x="650558" y="1472608"/>
                      <a:pt x="656273" y="1470703"/>
                    </a:cubicBezTo>
                    <a:cubicBezTo>
                      <a:pt x="661988" y="1468798"/>
                      <a:pt x="667703" y="1469750"/>
                      <a:pt x="667703" y="1469750"/>
                    </a:cubicBezTo>
                    <a:lnTo>
                      <a:pt x="681038" y="1468798"/>
                    </a:lnTo>
                    <a:lnTo>
                      <a:pt x="698183" y="1468798"/>
                    </a:lnTo>
                    <a:lnTo>
                      <a:pt x="719138" y="1466893"/>
                    </a:lnTo>
                    <a:lnTo>
                      <a:pt x="746760" y="1462130"/>
                    </a:lnTo>
                    <a:lnTo>
                      <a:pt x="764858" y="1456415"/>
                    </a:lnTo>
                    <a:cubicBezTo>
                      <a:pt x="764858" y="1456415"/>
                      <a:pt x="773430" y="1452605"/>
                      <a:pt x="775335" y="1447843"/>
                    </a:cubicBezTo>
                    <a:cubicBezTo>
                      <a:pt x="777240" y="1443080"/>
                      <a:pt x="781050" y="1444033"/>
                      <a:pt x="781050" y="1444033"/>
                    </a:cubicBezTo>
                    <a:lnTo>
                      <a:pt x="786765" y="1440223"/>
                    </a:lnTo>
                    <a:cubicBezTo>
                      <a:pt x="786765" y="1440223"/>
                      <a:pt x="795338" y="1438318"/>
                      <a:pt x="802005" y="1434508"/>
                    </a:cubicBezTo>
                    <a:cubicBezTo>
                      <a:pt x="807720" y="1430698"/>
                      <a:pt x="810578" y="1430698"/>
                      <a:pt x="810578" y="1427840"/>
                    </a:cubicBezTo>
                    <a:cubicBezTo>
                      <a:pt x="810578" y="1424983"/>
                      <a:pt x="815340" y="1424030"/>
                      <a:pt x="815340" y="1424030"/>
                    </a:cubicBezTo>
                    <a:cubicBezTo>
                      <a:pt x="815340" y="1424030"/>
                      <a:pt x="820103" y="1418315"/>
                      <a:pt x="821055" y="1415458"/>
                    </a:cubicBezTo>
                    <a:cubicBezTo>
                      <a:pt x="822960" y="1412600"/>
                      <a:pt x="826770" y="1412600"/>
                      <a:pt x="826770" y="1412600"/>
                    </a:cubicBezTo>
                    <a:cubicBezTo>
                      <a:pt x="826770" y="1412600"/>
                      <a:pt x="826770" y="1412600"/>
                      <a:pt x="834390" y="1406885"/>
                    </a:cubicBezTo>
                    <a:cubicBezTo>
                      <a:pt x="842010" y="1401170"/>
                      <a:pt x="834390" y="1406885"/>
                      <a:pt x="836295" y="1404028"/>
                    </a:cubicBezTo>
                    <a:cubicBezTo>
                      <a:pt x="838200" y="1401170"/>
                      <a:pt x="838200" y="1395455"/>
                      <a:pt x="839153" y="1389740"/>
                    </a:cubicBezTo>
                    <a:cubicBezTo>
                      <a:pt x="841058" y="1384025"/>
                      <a:pt x="839153" y="1384978"/>
                      <a:pt x="839153" y="1381168"/>
                    </a:cubicBezTo>
                    <a:cubicBezTo>
                      <a:pt x="839153" y="1377358"/>
                      <a:pt x="843915" y="1373548"/>
                      <a:pt x="843915" y="1370690"/>
                    </a:cubicBezTo>
                    <a:cubicBezTo>
                      <a:pt x="843915" y="1367833"/>
                      <a:pt x="859155" y="1365928"/>
                      <a:pt x="859155" y="1365928"/>
                    </a:cubicBezTo>
                    <a:lnTo>
                      <a:pt x="864870" y="1364975"/>
                    </a:lnTo>
                    <a:lnTo>
                      <a:pt x="870585" y="1364023"/>
                    </a:lnTo>
                    <a:lnTo>
                      <a:pt x="881063" y="1357355"/>
                    </a:lnTo>
                    <a:cubicBezTo>
                      <a:pt x="881063" y="1357355"/>
                      <a:pt x="881063" y="1357355"/>
                      <a:pt x="880110" y="1354498"/>
                    </a:cubicBezTo>
                    <a:cubicBezTo>
                      <a:pt x="879158" y="1351640"/>
                      <a:pt x="882015" y="1350688"/>
                      <a:pt x="880110" y="1347830"/>
                    </a:cubicBezTo>
                    <a:cubicBezTo>
                      <a:pt x="879158" y="1344973"/>
                      <a:pt x="882015" y="1344020"/>
                      <a:pt x="880110" y="1338305"/>
                    </a:cubicBezTo>
                    <a:cubicBezTo>
                      <a:pt x="879158" y="1332590"/>
                      <a:pt x="882015" y="1334495"/>
                      <a:pt x="880110" y="1329733"/>
                    </a:cubicBezTo>
                    <a:cubicBezTo>
                      <a:pt x="879158" y="1324970"/>
                      <a:pt x="882015" y="1325923"/>
                      <a:pt x="880110" y="1317350"/>
                    </a:cubicBezTo>
                    <a:cubicBezTo>
                      <a:pt x="879158" y="1308778"/>
                      <a:pt x="884873" y="1302110"/>
                      <a:pt x="884873" y="1302110"/>
                    </a:cubicBezTo>
                    <a:lnTo>
                      <a:pt x="884873" y="1298300"/>
                    </a:lnTo>
                    <a:cubicBezTo>
                      <a:pt x="884873" y="1298300"/>
                      <a:pt x="897255" y="1290680"/>
                      <a:pt x="902970" y="1287823"/>
                    </a:cubicBezTo>
                    <a:lnTo>
                      <a:pt x="921068" y="1278298"/>
                    </a:lnTo>
                    <a:lnTo>
                      <a:pt x="929640" y="1275440"/>
                    </a:lnTo>
                    <a:lnTo>
                      <a:pt x="935355" y="1272583"/>
                    </a:lnTo>
                    <a:lnTo>
                      <a:pt x="945833" y="1270678"/>
                    </a:lnTo>
                    <a:lnTo>
                      <a:pt x="954405" y="1267820"/>
                    </a:lnTo>
                    <a:lnTo>
                      <a:pt x="962978" y="1264963"/>
                    </a:lnTo>
                    <a:lnTo>
                      <a:pt x="970598" y="1257343"/>
                    </a:lnTo>
                    <a:cubicBezTo>
                      <a:pt x="970598" y="1257343"/>
                      <a:pt x="975360" y="1247818"/>
                      <a:pt x="975360" y="1243055"/>
                    </a:cubicBezTo>
                    <a:cubicBezTo>
                      <a:pt x="975360" y="1238293"/>
                      <a:pt x="977265" y="1231625"/>
                      <a:pt x="975360" y="1227815"/>
                    </a:cubicBezTo>
                    <a:cubicBezTo>
                      <a:pt x="974408" y="1224005"/>
                      <a:pt x="977265" y="1223053"/>
                      <a:pt x="975360" y="1219243"/>
                    </a:cubicBezTo>
                    <a:cubicBezTo>
                      <a:pt x="974408" y="1215433"/>
                      <a:pt x="977265" y="1207813"/>
                      <a:pt x="975360" y="1204955"/>
                    </a:cubicBezTo>
                    <a:cubicBezTo>
                      <a:pt x="974408" y="1202098"/>
                      <a:pt x="975360" y="1193525"/>
                      <a:pt x="975360" y="1193525"/>
                    </a:cubicBezTo>
                    <a:cubicBezTo>
                      <a:pt x="975360" y="1193525"/>
                      <a:pt x="966788" y="1184000"/>
                      <a:pt x="963930" y="1181143"/>
                    </a:cubicBezTo>
                    <a:cubicBezTo>
                      <a:pt x="961073" y="1178285"/>
                      <a:pt x="963930" y="1174475"/>
                      <a:pt x="961073" y="1170665"/>
                    </a:cubicBezTo>
                    <a:cubicBezTo>
                      <a:pt x="958215" y="1166855"/>
                      <a:pt x="962978" y="1165903"/>
                      <a:pt x="960120" y="1159235"/>
                    </a:cubicBezTo>
                    <a:cubicBezTo>
                      <a:pt x="957263" y="1152568"/>
                      <a:pt x="962025" y="1154473"/>
                      <a:pt x="960120" y="1145900"/>
                    </a:cubicBezTo>
                    <a:cubicBezTo>
                      <a:pt x="959168" y="1137328"/>
                      <a:pt x="960120" y="1132565"/>
                      <a:pt x="960120" y="1132565"/>
                    </a:cubicBezTo>
                    <a:lnTo>
                      <a:pt x="965835" y="1121135"/>
                    </a:lnTo>
                    <a:lnTo>
                      <a:pt x="970598" y="1111610"/>
                    </a:lnTo>
                    <a:lnTo>
                      <a:pt x="985838" y="1100180"/>
                    </a:lnTo>
                    <a:lnTo>
                      <a:pt x="1001078" y="1089703"/>
                    </a:lnTo>
                    <a:cubicBezTo>
                      <a:pt x="1001078" y="1089703"/>
                      <a:pt x="1009650" y="1086845"/>
                      <a:pt x="1011555" y="1083988"/>
                    </a:cubicBezTo>
                    <a:cubicBezTo>
                      <a:pt x="1013460" y="1081130"/>
                      <a:pt x="1020128" y="1080178"/>
                      <a:pt x="1022985" y="1077320"/>
                    </a:cubicBezTo>
                    <a:cubicBezTo>
                      <a:pt x="1025843" y="1074463"/>
                      <a:pt x="1033463" y="1072558"/>
                      <a:pt x="1033463" y="1072558"/>
                    </a:cubicBezTo>
                    <a:lnTo>
                      <a:pt x="1051560" y="1063033"/>
                    </a:lnTo>
                    <a:lnTo>
                      <a:pt x="1063943" y="1055413"/>
                    </a:lnTo>
                    <a:lnTo>
                      <a:pt x="1072515" y="1049698"/>
                    </a:lnTo>
                    <a:lnTo>
                      <a:pt x="1094423" y="1042078"/>
                    </a:lnTo>
                    <a:lnTo>
                      <a:pt x="1115378" y="1027790"/>
                    </a:lnTo>
                    <a:lnTo>
                      <a:pt x="1123950" y="1018265"/>
                    </a:lnTo>
                    <a:lnTo>
                      <a:pt x="1125855" y="1011598"/>
                    </a:lnTo>
                    <a:lnTo>
                      <a:pt x="1136333" y="1002073"/>
                    </a:lnTo>
                    <a:lnTo>
                      <a:pt x="1139190" y="997310"/>
                    </a:lnTo>
                    <a:lnTo>
                      <a:pt x="1154430" y="975403"/>
                    </a:lnTo>
                    <a:cubicBezTo>
                      <a:pt x="1154430" y="975403"/>
                      <a:pt x="1157288" y="966830"/>
                      <a:pt x="1156335" y="963973"/>
                    </a:cubicBezTo>
                    <a:cubicBezTo>
                      <a:pt x="1155383" y="961115"/>
                      <a:pt x="1158240" y="958258"/>
                      <a:pt x="1158240" y="958258"/>
                    </a:cubicBezTo>
                    <a:lnTo>
                      <a:pt x="1160145" y="951590"/>
                    </a:lnTo>
                    <a:lnTo>
                      <a:pt x="1141095" y="955400"/>
                    </a:lnTo>
                    <a:lnTo>
                      <a:pt x="1127760" y="955400"/>
                    </a:lnTo>
                    <a:lnTo>
                      <a:pt x="1116330" y="956353"/>
                    </a:lnTo>
                    <a:cubicBezTo>
                      <a:pt x="1116330" y="956353"/>
                      <a:pt x="1102995" y="956353"/>
                      <a:pt x="1095375" y="955400"/>
                    </a:cubicBezTo>
                    <a:cubicBezTo>
                      <a:pt x="1087755" y="954448"/>
                      <a:pt x="1089660" y="955400"/>
                      <a:pt x="1089660" y="955400"/>
                    </a:cubicBezTo>
                    <a:lnTo>
                      <a:pt x="1073468" y="956353"/>
                    </a:lnTo>
                    <a:lnTo>
                      <a:pt x="1067753" y="957305"/>
                    </a:lnTo>
                    <a:lnTo>
                      <a:pt x="1053465" y="957305"/>
                    </a:lnTo>
                    <a:cubicBezTo>
                      <a:pt x="1053465" y="957305"/>
                      <a:pt x="1047750" y="957305"/>
                      <a:pt x="1042035" y="953495"/>
                    </a:cubicBezTo>
                    <a:cubicBezTo>
                      <a:pt x="1042035" y="953495"/>
                      <a:pt x="1036320" y="951590"/>
                      <a:pt x="1030605" y="946828"/>
                    </a:cubicBezTo>
                    <a:cubicBezTo>
                      <a:pt x="1024890" y="942065"/>
                      <a:pt x="1030605" y="946828"/>
                      <a:pt x="1027748" y="943018"/>
                    </a:cubicBezTo>
                    <a:cubicBezTo>
                      <a:pt x="1024890" y="939208"/>
                      <a:pt x="1022033" y="936350"/>
                      <a:pt x="1021080" y="933493"/>
                    </a:cubicBezTo>
                    <a:cubicBezTo>
                      <a:pt x="1020128" y="930635"/>
                      <a:pt x="1004888" y="923968"/>
                      <a:pt x="1004888" y="923968"/>
                    </a:cubicBezTo>
                    <a:lnTo>
                      <a:pt x="993458" y="921110"/>
                    </a:lnTo>
                    <a:lnTo>
                      <a:pt x="984885" y="912538"/>
                    </a:lnTo>
                    <a:lnTo>
                      <a:pt x="976313" y="908728"/>
                    </a:lnTo>
                    <a:lnTo>
                      <a:pt x="963930" y="908728"/>
                    </a:lnTo>
                    <a:cubicBezTo>
                      <a:pt x="963930" y="908728"/>
                      <a:pt x="956310" y="900155"/>
                      <a:pt x="953453" y="896345"/>
                    </a:cubicBezTo>
                    <a:cubicBezTo>
                      <a:pt x="950595" y="892535"/>
                      <a:pt x="949643" y="885868"/>
                      <a:pt x="949643" y="885868"/>
                    </a:cubicBezTo>
                    <a:lnTo>
                      <a:pt x="942975" y="872533"/>
                    </a:lnTo>
                    <a:lnTo>
                      <a:pt x="934403" y="862055"/>
                    </a:lnTo>
                    <a:lnTo>
                      <a:pt x="930593" y="847768"/>
                    </a:lnTo>
                    <a:lnTo>
                      <a:pt x="924878" y="838243"/>
                    </a:lnTo>
                    <a:lnTo>
                      <a:pt x="917258" y="833480"/>
                    </a:lnTo>
                    <a:lnTo>
                      <a:pt x="901065" y="820145"/>
                    </a:lnTo>
                    <a:lnTo>
                      <a:pt x="893445" y="815383"/>
                    </a:lnTo>
                    <a:lnTo>
                      <a:pt x="884873" y="812525"/>
                    </a:lnTo>
                    <a:cubicBezTo>
                      <a:pt x="884873" y="812525"/>
                      <a:pt x="882015" y="802048"/>
                      <a:pt x="881063" y="799190"/>
                    </a:cubicBezTo>
                    <a:cubicBezTo>
                      <a:pt x="880110" y="796333"/>
                      <a:pt x="882968" y="790618"/>
                      <a:pt x="882968" y="790618"/>
                    </a:cubicBezTo>
                    <a:cubicBezTo>
                      <a:pt x="882968" y="790618"/>
                      <a:pt x="882968" y="781093"/>
                      <a:pt x="880110" y="778235"/>
                    </a:cubicBezTo>
                    <a:cubicBezTo>
                      <a:pt x="877253" y="775378"/>
                      <a:pt x="880110" y="774425"/>
                      <a:pt x="880110" y="774425"/>
                    </a:cubicBezTo>
                    <a:cubicBezTo>
                      <a:pt x="880110" y="774425"/>
                      <a:pt x="882015" y="769663"/>
                      <a:pt x="880110" y="766805"/>
                    </a:cubicBezTo>
                    <a:cubicBezTo>
                      <a:pt x="879158" y="763948"/>
                      <a:pt x="884873" y="761090"/>
                      <a:pt x="884873" y="761090"/>
                    </a:cubicBezTo>
                    <a:lnTo>
                      <a:pt x="895350" y="761090"/>
                    </a:lnTo>
                    <a:lnTo>
                      <a:pt x="905828" y="762043"/>
                    </a:lnTo>
                    <a:lnTo>
                      <a:pt x="916305" y="767758"/>
                    </a:lnTo>
                    <a:lnTo>
                      <a:pt x="921068" y="773473"/>
                    </a:lnTo>
                    <a:lnTo>
                      <a:pt x="924878" y="779188"/>
                    </a:lnTo>
                    <a:lnTo>
                      <a:pt x="930593" y="783950"/>
                    </a:lnTo>
                    <a:lnTo>
                      <a:pt x="930593" y="790618"/>
                    </a:lnTo>
                    <a:lnTo>
                      <a:pt x="930593" y="798238"/>
                    </a:lnTo>
                    <a:lnTo>
                      <a:pt x="944880" y="814430"/>
                    </a:lnTo>
                    <a:lnTo>
                      <a:pt x="956310" y="831575"/>
                    </a:lnTo>
                    <a:lnTo>
                      <a:pt x="973455" y="843958"/>
                    </a:lnTo>
                    <a:lnTo>
                      <a:pt x="990600" y="853483"/>
                    </a:lnTo>
                    <a:lnTo>
                      <a:pt x="993458" y="864913"/>
                    </a:lnTo>
                    <a:lnTo>
                      <a:pt x="1000125" y="875390"/>
                    </a:lnTo>
                    <a:lnTo>
                      <a:pt x="1011555" y="883963"/>
                    </a:lnTo>
                    <a:lnTo>
                      <a:pt x="1027748" y="893488"/>
                    </a:lnTo>
                    <a:lnTo>
                      <a:pt x="1031558" y="901108"/>
                    </a:lnTo>
                    <a:lnTo>
                      <a:pt x="1032510" y="913490"/>
                    </a:lnTo>
                    <a:lnTo>
                      <a:pt x="1033463" y="921110"/>
                    </a:lnTo>
                    <a:lnTo>
                      <a:pt x="1037273" y="927778"/>
                    </a:lnTo>
                    <a:lnTo>
                      <a:pt x="1042035" y="931588"/>
                    </a:lnTo>
                    <a:lnTo>
                      <a:pt x="1053465" y="935398"/>
                    </a:lnTo>
                    <a:lnTo>
                      <a:pt x="1061085" y="936350"/>
                    </a:lnTo>
                    <a:lnTo>
                      <a:pt x="1075373" y="936350"/>
                    </a:lnTo>
                    <a:lnTo>
                      <a:pt x="1086803" y="935398"/>
                    </a:lnTo>
                    <a:lnTo>
                      <a:pt x="1101090" y="934445"/>
                    </a:lnTo>
                    <a:cubicBezTo>
                      <a:pt x="1101090" y="934445"/>
                      <a:pt x="1109663" y="934445"/>
                      <a:pt x="1115378" y="930635"/>
                    </a:cubicBezTo>
                    <a:cubicBezTo>
                      <a:pt x="1121093" y="926825"/>
                      <a:pt x="1131570" y="926825"/>
                      <a:pt x="1131570" y="926825"/>
                    </a:cubicBezTo>
                    <a:lnTo>
                      <a:pt x="1140143" y="925873"/>
                    </a:lnTo>
                    <a:cubicBezTo>
                      <a:pt x="1140143" y="925873"/>
                      <a:pt x="1145858" y="925873"/>
                      <a:pt x="1150620" y="923015"/>
                    </a:cubicBezTo>
                    <a:cubicBezTo>
                      <a:pt x="1155383" y="920158"/>
                      <a:pt x="1159193" y="920158"/>
                      <a:pt x="1163955" y="915395"/>
                    </a:cubicBezTo>
                    <a:cubicBezTo>
                      <a:pt x="1168718" y="910633"/>
                      <a:pt x="1180148" y="906823"/>
                      <a:pt x="1180148" y="906823"/>
                    </a:cubicBezTo>
                    <a:lnTo>
                      <a:pt x="1188720" y="903965"/>
                    </a:lnTo>
                    <a:lnTo>
                      <a:pt x="1212533" y="900155"/>
                    </a:lnTo>
                    <a:lnTo>
                      <a:pt x="1228725" y="895393"/>
                    </a:lnTo>
                    <a:cubicBezTo>
                      <a:pt x="1228725" y="895393"/>
                      <a:pt x="1242060" y="887773"/>
                      <a:pt x="1246823" y="882058"/>
                    </a:cubicBezTo>
                    <a:cubicBezTo>
                      <a:pt x="1251585" y="876343"/>
                      <a:pt x="1246823" y="882058"/>
                      <a:pt x="1249680" y="879200"/>
                    </a:cubicBezTo>
                    <a:cubicBezTo>
                      <a:pt x="1252538" y="876343"/>
                      <a:pt x="1263015" y="877295"/>
                      <a:pt x="1263015" y="877295"/>
                    </a:cubicBezTo>
                    <a:lnTo>
                      <a:pt x="1274445" y="872533"/>
                    </a:lnTo>
                    <a:lnTo>
                      <a:pt x="1280160" y="869675"/>
                    </a:lnTo>
                    <a:cubicBezTo>
                      <a:pt x="1280160" y="869675"/>
                      <a:pt x="1298258" y="863960"/>
                      <a:pt x="1299210" y="861103"/>
                    </a:cubicBezTo>
                    <a:cubicBezTo>
                      <a:pt x="1301115" y="858245"/>
                      <a:pt x="1303973" y="857293"/>
                      <a:pt x="1306830" y="852530"/>
                    </a:cubicBezTo>
                    <a:cubicBezTo>
                      <a:pt x="1309688" y="847768"/>
                      <a:pt x="1314450" y="846815"/>
                      <a:pt x="1315403" y="843005"/>
                    </a:cubicBezTo>
                    <a:cubicBezTo>
                      <a:pt x="1317308" y="839195"/>
                      <a:pt x="1314450" y="829670"/>
                      <a:pt x="1314450" y="829670"/>
                    </a:cubicBezTo>
                    <a:cubicBezTo>
                      <a:pt x="1314450" y="829670"/>
                      <a:pt x="1314450" y="829670"/>
                      <a:pt x="1313498" y="824908"/>
                    </a:cubicBezTo>
                    <a:cubicBezTo>
                      <a:pt x="1312545" y="820145"/>
                      <a:pt x="1313498" y="824908"/>
                      <a:pt x="1310640" y="822050"/>
                    </a:cubicBezTo>
                    <a:cubicBezTo>
                      <a:pt x="1307783" y="819193"/>
                      <a:pt x="1304925" y="817288"/>
                      <a:pt x="1304925" y="817288"/>
                    </a:cubicBezTo>
                    <a:cubicBezTo>
                      <a:pt x="1304925" y="817288"/>
                      <a:pt x="1294448" y="813478"/>
                      <a:pt x="1290638" y="813478"/>
                    </a:cubicBezTo>
                    <a:cubicBezTo>
                      <a:pt x="1285875" y="813478"/>
                      <a:pt x="1276350" y="807763"/>
                      <a:pt x="1271588" y="804905"/>
                    </a:cubicBezTo>
                    <a:cubicBezTo>
                      <a:pt x="1266825" y="802048"/>
                      <a:pt x="1271588" y="804905"/>
                      <a:pt x="1270635" y="800143"/>
                    </a:cubicBezTo>
                    <a:cubicBezTo>
                      <a:pt x="1269683" y="795380"/>
                      <a:pt x="1259205" y="795380"/>
                      <a:pt x="1259205" y="795380"/>
                    </a:cubicBezTo>
                    <a:lnTo>
                      <a:pt x="1245870" y="793475"/>
                    </a:lnTo>
                    <a:lnTo>
                      <a:pt x="1238250" y="793475"/>
                    </a:lnTo>
                    <a:lnTo>
                      <a:pt x="1232535" y="793475"/>
                    </a:lnTo>
                    <a:lnTo>
                      <a:pt x="1224915" y="793475"/>
                    </a:lnTo>
                    <a:lnTo>
                      <a:pt x="1217295" y="797285"/>
                    </a:lnTo>
                    <a:lnTo>
                      <a:pt x="1211580" y="801095"/>
                    </a:lnTo>
                    <a:lnTo>
                      <a:pt x="1203960" y="802048"/>
                    </a:lnTo>
                    <a:lnTo>
                      <a:pt x="1192530" y="798238"/>
                    </a:lnTo>
                    <a:cubicBezTo>
                      <a:pt x="1192530" y="798238"/>
                      <a:pt x="1187768" y="794428"/>
                      <a:pt x="1183958" y="793475"/>
                    </a:cubicBezTo>
                    <a:cubicBezTo>
                      <a:pt x="1179195" y="792523"/>
                      <a:pt x="1172528" y="789665"/>
                      <a:pt x="1162050" y="777283"/>
                    </a:cubicBezTo>
                    <a:cubicBezTo>
                      <a:pt x="1152525" y="764900"/>
                      <a:pt x="1162050" y="777283"/>
                      <a:pt x="1157288" y="776330"/>
                    </a:cubicBezTo>
                    <a:cubicBezTo>
                      <a:pt x="1152525" y="775378"/>
                      <a:pt x="1151573" y="772520"/>
                      <a:pt x="1148715" y="769663"/>
                    </a:cubicBezTo>
                    <a:cubicBezTo>
                      <a:pt x="1145858" y="766805"/>
                      <a:pt x="1140143" y="759185"/>
                      <a:pt x="1140143" y="759185"/>
                    </a:cubicBezTo>
                    <a:cubicBezTo>
                      <a:pt x="1140143" y="759185"/>
                      <a:pt x="1136333" y="754423"/>
                      <a:pt x="1132523" y="751565"/>
                    </a:cubicBezTo>
                    <a:cubicBezTo>
                      <a:pt x="1129665" y="748708"/>
                      <a:pt x="1126808" y="741088"/>
                      <a:pt x="1126808" y="741088"/>
                    </a:cubicBezTo>
                    <a:lnTo>
                      <a:pt x="1129665" y="733468"/>
                    </a:lnTo>
                    <a:lnTo>
                      <a:pt x="1138238" y="733468"/>
                    </a:lnTo>
                    <a:lnTo>
                      <a:pt x="1159193" y="736325"/>
                    </a:lnTo>
                    <a:lnTo>
                      <a:pt x="1167765" y="743945"/>
                    </a:lnTo>
                    <a:lnTo>
                      <a:pt x="1173480" y="748708"/>
                    </a:lnTo>
                    <a:lnTo>
                      <a:pt x="1179195" y="755375"/>
                    </a:lnTo>
                    <a:lnTo>
                      <a:pt x="1187768" y="765853"/>
                    </a:lnTo>
                    <a:lnTo>
                      <a:pt x="1193483" y="768710"/>
                    </a:lnTo>
                    <a:lnTo>
                      <a:pt x="1206818" y="774425"/>
                    </a:lnTo>
                    <a:lnTo>
                      <a:pt x="1231583" y="775378"/>
                    </a:lnTo>
                    <a:lnTo>
                      <a:pt x="1245870" y="776330"/>
                    </a:lnTo>
                    <a:lnTo>
                      <a:pt x="1259205" y="777283"/>
                    </a:lnTo>
                    <a:lnTo>
                      <a:pt x="1267778" y="781093"/>
                    </a:lnTo>
                    <a:lnTo>
                      <a:pt x="1276350" y="784903"/>
                    </a:lnTo>
                    <a:lnTo>
                      <a:pt x="1287780" y="789665"/>
                    </a:lnTo>
                    <a:lnTo>
                      <a:pt x="1298258" y="791570"/>
                    </a:lnTo>
                    <a:lnTo>
                      <a:pt x="1308735" y="793475"/>
                    </a:lnTo>
                    <a:lnTo>
                      <a:pt x="1322070" y="796333"/>
                    </a:lnTo>
                    <a:lnTo>
                      <a:pt x="1335405" y="798238"/>
                    </a:lnTo>
                    <a:lnTo>
                      <a:pt x="1357313" y="798238"/>
                    </a:lnTo>
                    <a:lnTo>
                      <a:pt x="1390650" y="798238"/>
                    </a:lnTo>
                    <a:lnTo>
                      <a:pt x="1402080" y="797285"/>
                    </a:lnTo>
                    <a:lnTo>
                      <a:pt x="1415415" y="797285"/>
                    </a:lnTo>
                    <a:lnTo>
                      <a:pt x="1434465" y="798238"/>
                    </a:lnTo>
                    <a:lnTo>
                      <a:pt x="1447800" y="803000"/>
                    </a:lnTo>
                    <a:lnTo>
                      <a:pt x="1459230" y="814430"/>
                    </a:lnTo>
                    <a:lnTo>
                      <a:pt x="1467803" y="821098"/>
                    </a:lnTo>
                    <a:lnTo>
                      <a:pt x="1482090" y="828718"/>
                    </a:lnTo>
                    <a:cubicBezTo>
                      <a:pt x="1482090" y="828718"/>
                      <a:pt x="1489710" y="833480"/>
                      <a:pt x="1495425" y="842053"/>
                    </a:cubicBezTo>
                    <a:cubicBezTo>
                      <a:pt x="1501140" y="850625"/>
                      <a:pt x="1503998" y="845863"/>
                      <a:pt x="1503998" y="845863"/>
                    </a:cubicBezTo>
                    <a:lnTo>
                      <a:pt x="1518285" y="843958"/>
                    </a:lnTo>
                    <a:lnTo>
                      <a:pt x="1524000" y="838243"/>
                    </a:lnTo>
                    <a:lnTo>
                      <a:pt x="1534478" y="837290"/>
                    </a:lnTo>
                    <a:lnTo>
                      <a:pt x="1534478" y="841100"/>
                    </a:lnTo>
                    <a:lnTo>
                      <a:pt x="1540193" y="856340"/>
                    </a:lnTo>
                    <a:cubicBezTo>
                      <a:pt x="1540193" y="856340"/>
                      <a:pt x="1546860" y="868723"/>
                      <a:pt x="1546860" y="871580"/>
                    </a:cubicBezTo>
                    <a:cubicBezTo>
                      <a:pt x="1546860" y="874438"/>
                      <a:pt x="1544955" y="884915"/>
                      <a:pt x="1544955" y="887773"/>
                    </a:cubicBezTo>
                    <a:cubicBezTo>
                      <a:pt x="1544955" y="890630"/>
                      <a:pt x="1548765" y="895393"/>
                      <a:pt x="1548765" y="895393"/>
                    </a:cubicBezTo>
                    <a:lnTo>
                      <a:pt x="1551623" y="900155"/>
                    </a:lnTo>
                    <a:lnTo>
                      <a:pt x="1564005" y="919205"/>
                    </a:lnTo>
                    <a:lnTo>
                      <a:pt x="1571625" y="923968"/>
                    </a:lnTo>
                    <a:cubicBezTo>
                      <a:pt x="1571625" y="923968"/>
                      <a:pt x="1571625" y="930635"/>
                      <a:pt x="1569720" y="933493"/>
                    </a:cubicBezTo>
                    <a:cubicBezTo>
                      <a:pt x="1567815" y="936350"/>
                      <a:pt x="1572578" y="940160"/>
                      <a:pt x="1572578" y="940160"/>
                    </a:cubicBezTo>
                    <a:lnTo>
                      <a:pt x="1578293" y="946828"/>
                    </a:lnTo>
                    <a:lnTo>
                      <a:pt x="1584960" y="958258"/>
                    </a:lnTo>
                    <a:cubicBezTo>
                      <a:pt x="1584960" y="958258"/>
                      <a:pt x="1588770" y="965878"/>
                      <a:pt x="1587818" y="970640"/>
                    </a:cubicBezTo>
                    <a:cubicBezTo>
                      <a:pt x="1585913" y="975403"/>
                      <a:pt x="1604963" y="980165"/>
                      <a:pt x="1604963" y="980165"/>
                    </a:cubicBezTo>
                    <a:cubicBezTo>
                      <a:pt x="1604963" y="980165"/>
                      <a:pt x="1610678" y="982070"/>
                      <a:pt x="1615440" y="982070"/>
                    </a:cubicBezTo>
                    <a:cubicBezTo>
                      <a:pt x="1620203" y="982070"/>
                      <a:pt x="1628775" y="982070"/>
                      <a:pt x="1628775" y="982070"/>
                    </a:cubicBezTo>
                    <a:lnTo>
                      <a:pt x="1634490" y="981118"/>
                    </a:lnTo>
                    <a:lnTo>
                      <a:pt x="1644968" y="974450"/>
                    </a:lnTo>
                    <a:cubicBezTo>
                      <a:pt x="1644968" y="974450"/>
                      <a:pt x="1657350" y="964925"/>
                      <a:pt x="1657350" y="961115"/>
                    </a:cubicBezTo>
                    <a:cubicBezTo>
                      <a:pt x="1657350" y="957305"/>
                      <a:pt x="1660208" y="957305"/>
                      <a:pt x="1660208" y="954448"/>
                    </a:cubicBezTo>
                    <a:cubicBezTo>
                      <a:pt x="1660208" y="951590"/>
                      <a:pt x="1660208" y="947780"/>
                      <a:pt x="1660208" y="943970"/>
                    </a:cubicBezTo>
                    <a:cubicBezTo>
                      <a:pt x="1660208" y="940160"/>
                      <a:pt x="1663065" y="940160"/>
                      <a:pt x="1663065" y="940160"/>
                    </a:cubicBezTo>
                    <a:cubicBezTo>
                      <a:pt x="1663065" y="940160"/>
                      <a:pt x="1667828" y="936350"/>
                      <a:pt x="1670685" y="932540"/>
                    </a:cubicBezTo>
                    <a:cubicBezTo>
                      <a:pt x="1673543" y="928730"/>
                      <a:pt x="1676400" y="922063"/>
                      <a:pt x="1676400" y="922063"/>
                    </a:cubicBezTo>
                    <a:lnTo>
                      <a:pt x="1676400" y="914443"/>
                    </a:lnTo>
                    <a:lnTo>
                      <a:pt x="1676400" y="904918"/>
                    </a:lnTo>
                    <a:lnTo>
                      <a:pt x="1686878" y="903013"/>
                    </a:lnTo>
                    <a:cubicBezTo>
                      <a:pt x="1686878" y="903013"/>
                      <a:pt x="1703070" y="895393"/>
                      <a:pt x="1710690" y="890630"/>
                    </a:cubicBezTo>
                    <a:cubicBezTo>
                      <a:pt x="1718310" y="885868"/>
                      <a:pt x="1710690" y="890630"/>
                      <a:pt x="1712595" y="886820"/>
                    </a:cubicBezTo>
                    <a:cubicBezTo>
                      <a:pt x="1714500" y="883010"/>
                      <a:pt x="1727835" y="875390"/>
                      <a:pt x="1727835" y="872533"/>
                    </a:cubicBezTo>
                    <a:cubicBezTo>
                      <a:pt x="1727835" y="869675"/>
                      <a:pt x="1744028" y="866818"/>
                      <a:pt x="1744028" y="866818"/>
                    </a:cubicBezTo>
                    <a:lnTo>
                      <a:pt x="1751648" y="862055"/>
                    </a:lnTo>
                    <a:lnTo>
                      <a:pt x="1778318" y="847768"/>
                    </a:lnTo>
                    <a:cubicBezTo>
                      <a:pt x="1778318" y="847768"/>
                      <a:pt x="1786890" y="844910"/>
                      <a:pt x="1804988" y="838243"/>
                    </a:cubicBezTo>
                    <a:cubicBezTo>
                      <a:pt x="1813560" y="835385"/>
                      <a:pt x="1816418" y="833480"/>
                      <a:pt x="1817370" y="833480"/>
                    </a:cubicBezTo>
                    <a:lnTo>
                      <a:pt x="1838325" y="829670"/>
                    </a:lnTo>
                    <a:lnTo>
                      <a:pt x="1855470" y="830623"/>
                    </a:lnTo>
                    <a:lnTo>
                      <a:pt x="1865948" y="833480"/>
                    </a:lnTo>
                    <a:lnTo>
                      <a:pt x="1877378" y="836338"/>
                    </a:lnTo>
                    <a:lnTo>
                      <a:pt x="1888808" y="848720"/>
                    </a:lnTo>
                    <a:lnTo>
                      <a:pt x="1898333" y="869675"/>
                    </a:lnTo>
                    <a:lnTo>
                      <a:pt x="1899285" y="883963"/>
                    </a:lnTo>
                    <a:lnTo>
                      <a:pt x="1899285" y="895393"/>
                    </a:lnTo>
                    <a:lnTo>
                      <a:pt x="1913573" y="908728"/>
                    </a:lnTo>
                    <a:lnTo>
                      <a:pt x="1929765" y="905870"/>
                    </a:lnTo>
                    <a:lnTo>
                      <a:pt x="1932623" y="901108"/>
                    </a:lnTo>
                    <a:lnTo>
                      <a:pt x="1943100" y="896345"/>
                    </a:lnTo>
                    <a:lnTo>
                      <a:pt x="1957388" y="895393"/>
                    </a:lnTo>
                    <a:lnTo>
                      <a:pt x="1965008" y="903965"/>
                    </a:lnTo>
                    <a:lnTo>
                      <a:pt x="1979295" y="913490"/>
                    </a:lnTo>
                    <a:lnTo>
                      <a:pt x="1979295" y="919205"/>
                    </a:lnTo>
                    <a:lnTo>
                      <a:pt x="1976438" y="925873"/>
                    </a:lnTo>
                    <a:lnTo>
                      <a:pt x="1976438" y="938255"/>
                    </a:lnTo>
                    <a:lnTo>
                      <a:pt x="1980248" y="947780"/>
                    </a:lnTo>
                    <a:lnTo>
                      <a:pt x="1980248" y="957305"/>
                    </a:lnTo>
                    <a:lnTo>
                      <a:pt x="1980248" y="973498"/>
                    </a:lnTo>
                    <a:cubicBezTo>
                      <a:pt x="1980248" y="973498"/>
                      <a:pt x="1980248" y="980165"/>
                      <a:pt x="1973580" y="989690"/>
                    </a:cubicBezTo>
                    <a:cubicBezTo>
                      <a:pt x="1967865" y="999215"/>
                      <a:pt x="1982153" y="1002073"/>
                      <a:pt x="1982153" y="1002073"/>
                    </a:cubicBezTo>
                    <a:lnTo>
                      <a:pt x="1983105" y="1005883"/>
                    </a:lnTo>
                    <a:lnTo>
                      <a:pt x="1994535" y="1011598"/>
                    </a:lnTo>
                    <a:lnTo>
                      <a:pt x="1994535" y="1015408"/>
                    </a:lnTo>
                    <a:lnTo>
                      <a:pt x="1998345" y="1022075"/>
                    </a:lnTo>
                    <a:lnTo>
                      <a:pt x="2002155" y="1029695"/>
                    </a:lnTo>
                    <a:lnTo>
                      <a:pt x="2008823" y="1039220"/>
                    </a:lnTo>
                    <a:lnTo>
                      <a:pt x="2013585" y="1044935"/>
                    </a:lnTo>
                    <a:cubicBezTo>
                      <a:pt x="2013585" y="1044935"/>
                      <a:pt x="2021205" y="1046840"/>
                      <a:pt x="2033588" y="1048745"/>
                    </a:cubicBezTo>
                    <a:cubicBezTo>
                      <a:pt x="2046923" y="1050650"/>
                      <a:pt x="2038350" y="1052555"/>
                      <a:pt x="2038350" y="1052555"/>
                    </a:cubicBezTo>
                    <a:lnTo>
                      <a:pt x="2049780" y="1057318"/>
                    </a:lnTo>
                    <a:cubicBezTo>
                      <a:pt x="2049780" y="1057318"/>
                      <a:pt x="2055495" y="1059223"/>
                      <a:pt x="2060258" y="1059223"/>
                    </a:cubicBezTo>
                    <a:cubicBezTo>
                      <a:pt x="2065020" y="1059223"/>
                      <a:pt x="2068830" y="1053508"/>
                      <a:pt x="2068830" y="1053508"/>
                    </a:cubicBezTo>
                    <a:cubicBezTo>
                      <a:pt x="2068830" y="1053508"/>
                      <a:pt x="2068830" y="1053508"/>
                      <a:pt x="2067878" y="1048745"/>
                    </a:cubicBezTo>
                    <a:cubicBezTo>
                      <a:pt x="2066925" y="1043983"/>
                      <a:pt x="2069783" y="1043983"/>
                      <a:pt x="2067878" y="1039220"/>
                    </a:cubicBezTo>
                    <a:cubicBezTo>
                      <a:pt x="2066925" y="1034458"/>
                      <a:pt x="2064068" y="1033505"/>
                      <a:pt x="2064068" y="1033505"/>
                    </a:cubicBezTo>
                    <a:lnTo>
                      <a:pt x="2056448" y="1028743"/>
                    </a:lnTo>
                    <a:lnTo>
                      <a:pt x="2045018" y="1022075"/>
                    </a:lnTo>
                    <a:cubicBezTo>
                      <a:pt x="2045018" y="1022075"/>
                      <a:pt x="2045018" y="1022075"/>
                      <a:pt x="2027873" y="1011598"/>
                    </a:cubicBezTo>
                    <a:cubicBezTo>
                      <a:pt x="2027873" y="1011598"/>
                      <a:pt x="2019300" y="1006835"/>
                      <a:pt x="2017395" y="1003025"/>
                    </a:cubicBezTo>
                    <a:cubicBezTo>
                      <a:pt x="2016443" y="999215"/>
                      <a:pt x="2013585" y="993500"/>
                      <a:pt x="2008823" y="990643"/>
                    </a:cubicBezTo>
                    <a:cubicBezTo>
                      <a:pt x="2004060" y="987785"/>
                      <a:pt x="2005013" y="982070"/>
                      <a:pt x="2005013" y="982070"/>
                    </a:cubicBezTo>
                    <a:cubicBezTo>
                      <a:pt x="2005013" y="982070"/>
                      <a:pt x="2006918" y="976355"/>
                      <a:pt x="2004060" y="970640"/>
                    </a:cubicBezTo>
                    <a:cubicBezTo>
                      <a:pt x="2001203" y="964925"/>
                      <a:pt x="2005965" y="964925"/>
                      <a:pt x="2003108" y="962068"/>
                    </a:cubicBezTo>
                    <a:cubicBezTo>
                      <a:pt x="2000250" y="959210"/>
                      <a:pt x="2003108" y="950638"/>
                      <a:pt x="2003108" y="950638"/>
                    </a:cubicBezTo>
                    <a:lnTo>
                      <a:pt x="2008823" y="941113"/>
                    </a:lnTo>
                    <a:lnTo>
                      <a:pt x="2019300" y="941113"/>
                    </a:lnTo>
                    <a:lnTo>
                      <a:pt x="2025015" y="943018"/>
                    </a:lnTo>
                    <a:lnTo>
                      <a:pt x="2033588" y="949685"/>
                    </a:lnTo>
                    <a:lnTo>
                      <a:pt x="2042160" y="950638"/>
                    </a:lnTo>
                    <a:lnTo>
                      <a:pt x="2045970" y="954448"/>
                    </a:lnTo>
                    <a:lnTo>
                      <a:pt x="2051685" y="960163"/>
                    </a:lnTo>
                    <a:lnTo>
                      <a:pt x="2073593" y="968735"/>
                    </a:lnTo>
                    <a:lnTo>
                      <a:pt x="2081213" y="973498"/>
                    </a:lnTo>
                    <a:lnTo>
                      <a:pt x="2081213" y="980165"/>
                    </a:lnTo>
                    <a:lnTo>
                      <a:pt x="2097405" y="985880"/>
                    </a:lnTo>
                    <a:cubicBezTo>
                      <a:pt x="2097405" y="985880"/>
                      <a:pt x="2121218" y="975403"/>
                      <a:pt x="2123123" y="968735"/>
                    </a:cubicBezTo>
                    <a:lnTo>
                      <a:pt x="2139315" y="960163"/>
                    </a:lnTo>
                    <a:lnTo>
                      <a:pt x="2154555" y="956353"/>
                    </a:lnTo>
                    <a:lnTo>
                      <a:pt x="2156460" y="948733"/>
                    </a:lnTo>
                    <a:cubicBezTo>
                      <a:pt x="2156460" y="948733"/>
                      <a:pt x="2158365" y="943970"/>
                      <a:pt x="2159318" y="939208"/>
                    </a:cubicBezTo>
                    <a:cubicBezTo>
                      <a:pt x="2161223" y="934445"/>
                      <a:pt x="2159318" y="939208"/>
                      <a:pt x="2161223" y="935398"/>
                    </a:cubicBezTo>
                    <a:cubicBezTo>
                      <a:pt x="2163128" y="931588"/>
                      <a:pt x="2163128" y="926825"/>
                      <a:pt x="2161223" y="921110"/>
                    </a:cubicBezTo>
                    <a:cubicBezTo>
                      <a:pt x="2160270" y="915395"/>
                      <a:pt x="2163128" y="915395"/>
                      <a:pt x="2161223" y="912538"/>
                    </a:cubicBezTo>
                    <a:cubicBezTo>
                      <a:pt x="2159318" y="909680"/>
                      <a:pt x="2153603" y="908728"/>
                      <a:pt x="2149793" y="905870"/>
                    </a:cubicBezTo>
                    <a:cubicBezTo>
                      <a:pt x="2145030" y="903013"/>
                      <a:pt x="2151698" y="902060"/>
                      <a:pt x="2149793" y="899203"/>
                    </a:cubicBezTo>
                    <a:cubicBezTo>
                      <a:pt x="2148840" y="896345"/>
                      <a:pt x="2144078" y="893488"/>
                      <a:pt x="2144078" y="893488"/>
                    </a:cubicBezTo>
                    <a:lnTo>
                      <a:pt x="2138363" y="889678"/>
                    </a:lnTo>
                    <a:lnTo>
                      <a:pt x="2127885" y="881105"/>
                    </a:lnTo>
                    <a:lnTo>
                      <a:pt x="2111693" y="868723"/>
                    </a:lnTo>
                    <a:cubicBezTo>
                      <a:pt x="2111693" y="868723"/>
                      <a:pt x="2117408" y="860150"/>
                      <a:pt x="2122170" y="853483"/>
                    </a:cubicBezTo>
                    <a:lnTo>
                      <a:pt x="2130743" y="852530"/>
                    </a:lnTo>
                    <a:cubicBezTo>
                      <a:pt x="2130743" y="852530"/>
                      <a:pt x="2136458" y="852530"/>
                      <a:pt x="2145030" y="850625"/>
                    </a:cubicBezTo>
                    <a:cubicBezTo>
                      <a:pt x="2153603" y="848720"/>
                      <a:pt x="2152650" y="849673"/>
                      <a:pt x="2152650" y="844910"/>
                    </a:cubicBezTo>
                    <a:cubicBezTo>
                      <a:pt x="2152650" y="840148"/>
                      <a:pt x="2158365" y="843005"/>
                      <a:pt x="2158365" y="843005"/>
                    </a:cubicBezTo>
                    <a:lnTo>
                      <a:pt x="2165985" y="841100"/>
                    </a:lnTo>
                    <a:lnTo>
                      <a:pt x="2171700" y="844910"/>
                    </a:lnTo>
                    <a:lnTo>
                      <a:pt x="2180273" y="851578"/>
                    </a:lnTo>
                    <a:lnTo>
                      <a:pt x="2190750" y="850625"/>
                    </a:lnTo>
                    <a:lnTo>
                      <a:pt x="2199323" y="845863"/>
                    </a:lnTo>
                    <a:lnTo>
                      <a:pt x="2206943" y="839195"/>
                    </a:lnTo>
                    <a:cubicBezTo>
                      <a:pt x="2206943" y="839195"/>
                      <a:pt x="2214563" y="834433"/>
                      <a:pt x="2223135" y="834433"/>
                    </a:cubicBezTo>
                    <a:cubicBezTo>
                      <a:pt x="2231708" y="834433"/>
                      <a:pt x="2228850" y="833480"/>
                      <a:pt x="2228850" y="833480"/>
                    </a:cubicBezTo>
                    <a:lnTo>
                      <a:pt x="2236470" y="830623"/>
                    </a:lnTo>
                    <a:lnTo>
                      <a:pt x="2247900" y="825860"/>
                    </a:lnTo>
                    <a:lnTo>
                      <a:pt x="2255520" y="824908"/>
                    </a:lnTo>
                    <a:lnTo>
                      <a:pt x="2274570" y="823955"/>
                    </a:lnTo>
                    <a:lnTo>
                      <a:pt x="2286000" y="821098"/>
                    </a:lnTo>
                    <a:lnTo>
                      <a:pt x="2293620" y="815383"/>
                    </a:lnTo>
                    <a:cubicBezTo>
                      <a:pt x="2293620" y="815383"/>
                      <a:pt x="2293620" y="815383"/>
                      <a:pt x="2293620" y="812525"/>
                    </a:cubicBezTo>
                    <a:cubicBezTo>
                      <a:pt x="2293620" y="809668"/>
                      <a:pt x="2308860" y="805858"/>
                      <a:pt x="2309813" y="802048"/>
                    </a:cubicBezTo>
                    <a:cubicBezTo>
                      <a:pt x="2311718" y="798238"/>
                      <a:pt x="2318385" y="796333"/>
                      <a:pt x="2318385" y="796333"/>
                    </a:cubicBezTo>
                    <a:cubicBezTo>
                      <a:pt x="2318385" y="796333"/>
                      <a:pt x="2324100" y="791570"/>
                      <a:pt x="2333625" y="785855"/>
                    </a:cubicBezTo>
                    <a:cubicBezTo>
                      <a:pt x="2342198" y="780140"/>
                      <a:pt x="2348865" y="773473"/>
                      <a:pt x="2348865" y="773473"/>
                    </a:cubicBezTo>
                    <a:lnTo>
                      <a:pt x="2362200" y="766805"/>
                    </a:lnTo>
                    <a:cubicBezTo>
                      <a:pt x="2362200" y="766805"/>
                      <a:pt x="2365058" y="762995"/>
                      <a:pt x="2366963" y="758233"/>
                    </a:cubicBezTo>
                    <a:cubicBezTo>
                      <a:pt x="2368868" y="753470"/>
                      <a:pt x="2366963" y="751565"/>
                      <a:pt x="2366963" y="751565"/>
                    </a:cubicBezTo>
                    <a:cubicBezTo>
                      <a:pt x="2366963" y="751565"/>
                      <a:pt x="2372678" y="742993"/>
                      <a:pt x="2368868" y="728705"/>
                    </a:cubicBezTo>
                    <a:cubicBezTo>
                      <a:pt x="2365058" y="714418"/>
                      <a:pt x="2373630" y="721085"/>
                      <a:pt x="2374583" y="718228"/>
                    </a:cubicBezTo>
                    <a:cubicBezTo>
                      <a:pt x="2376488" y="715370"/>
                      <a:pt x="2374583" y="712513"/>
                      <a:pt x="2374583" y="712513"/>
                    </a:cubicBezTo>
                    <a:cubicBezTo>
                      <a:pt x="2374583" y="712513"/>
                      <a:pt x="2368868" y="700130"/>
                      <a:pt x="2367915" y="697273"/>
                    </a:cubicBezTo>
                    <a:cubicBezTo>
                      <a:pt x="2366963" y="694415"/>
                      <a:pt x="2367915" y="693463"/>
                      <a:pt x="2366963" y="690605"/>
                    </a:cubicBezTo>
                    <a:cubicBezTo>
                      <a:pt x="2365058" y="687748"/>
                      <a:pt x="2366010" y="684890"/>
                      <a:pt x="2366010" y="684890"/>
                    </a:cubicBezTo>
                    <a:cubicBezTo>
                      <a:pt x="2366010" y="684890"/>
                      <a:pt x="2366010" y="684890"/>
                      <a:pt x="2358390" y="682985"/>
                    </a:cubicBezTo>
                    <a:cubicBezTo>
                      <a:pt x="2350770" y="681080"/>
                      <a:pt x="2358390" y="682985"/>
                      <a:pt x="2353628" y="682033"/>
                    </a:cubicBezTo>
                    <a:cubicBezTo>
                      <a:pt x="2348865" y="681080"/>
                      <a:pt x="2337435" y="676318"/>
                      <a:pt x="2336483" y="673460"/>
                    </a:cubicBezTo>
                    <a:cubicBezTo>
                      <a:pt x="2335530" y="670603"/>
                      <a:pt x="2355533" y="669650"/>
                      <a:pt x="2355533" y="669650"/>
                    </a:cubicBezTo>
                    <a:cubicBezTo>
                      <a:pt x="2355533" y="669650"/>
                      <a:pt x="2355533" y="669650"/>
                      <a:pt x="2357438" y="662983"/>
                    </a:cubicBezTo>
                    <a:lnTo>
                      <a:pt x="2367915" y="661078"/>
                    </a:lnTo>
                    <a:cubicBezTo>
                      <a:pt x="2367915" y="661078"/>
                      <a:pt x="2382203" y="662030"/>
                      <a:pt x="2391728" y="658220"/>
                    </a:cubicBezTo>
                    <a:cubicBezTo>
                      <a:pt x="2400300" y="654410"/>
                      <a:pt x="2391728" y="658220"/>
                      <a:pt x="2391728" y="655363"/>
                    </a:cubicBezTo>
                    <a:cubicBezTo>
                      <a:pt x="2391728" y="652505"/>
                      <a:pt x="2393633" y="647743"/>
                      <a:pt x="2390775" y="642028"/>
                    </a:cubicBezTo>
                    <a:cubicBezTo>
                      <a:pt x="2387918" y="636313"/>
                      <a:pt x="2390775" y="642028"/>
                      <a:pt x="2387918" y="638218"/>
                    </a:cubicBezTo>
                    <a:cubicBezTo>
                      <a:pt x="2385060" y="634408"/>
                      <a:pt x="2379345" y="636313"/>
                      <a:pt x="2374583" y="636313"/>
                    </a:cubicBezTo>
                    <a:cubicBezTo>
                      <a:pt x="2369820" y="636313"/>
                      <a:pt x="2361248" y="635360"/>
                      <a:pt x="2361248" y="635360"/>
                    </a:cubicBezTo>
                    <a:lnTo>
                      <a:pt x="2350770" y="635360"/>
                    </a:lnTo>
                    <a:cubicBezTo>
                      <a:pt x="2350770" y="635360"/>
                      <a:pt x="2340293" y="635360"/>
                      <a:pt x="2328863" y="635360"/>
                    </a:cubicBezTo>
                    <a:cubicBezTo>
                      <a:pt x="2317433" y="635360"/>
                      <a:pt x="2328863" y="635360"/>
                      <a:pt x="2315528" y="632503"/>
                    </a:cubicBezTo>
                    <a:cubicBezTo>
                      <a:pt x="2302193" y="629645"/>
                      <a:pt x="2315528" y="632503"/>
                      <a:pt x="2314575" y="630598"/>
                    </a:cubicBezTo>
                    <a:cubicBezTo>
                      <a:pt x="2313623" y="628693"/>
                      <a:pt x="2314575" y="630598"/>
                      <a:pt x="2311718" y="622025"/>
                    </a:cubicBezTo>
                    <a:cubicBezTo>
                      <a:pt x="2308860" y="613453"/>
                      <a:pt x="2330768" y="621073"/>
                      <a:pt x="2330768" y="621073"/>
                    </a:cubicBezTo>
                    <a:lnTo>
                      <a:pt x="2338388" y="620120"/>
                    </a:lnTo>
                    <a:lnTo>
                      <a:pt x="2351723" y="617263"/>
                    </a:lnTo>
                    <a:lnTo>
                      <a:pt x="2354580" y="613453"/>
                    </a:lnTo>
                    <a:lnTo>
                      <a:pt x="2366010" y="608690"/>
                    </a:lnTo>
                    <a:lnTo>
                      <a:pt x="2376488" y="611548"/>
                    </a:lnTo>
                    <a:lnTo>
                      <a:pt x="2380298" y="617263"/>
                    </a:lnTo>
                    <a:lnTo>
                      <a:pt x="2391728" y="617263"/>
                    </a:lnTo>
                    <a:lnTo>
                      <a:pt x="2406968" y="613453"/>
                    </a:lnTo>
                    <a:cubicBezTo>
                      <a:pt x="2406968" y="613453"/>
                      <a:pt x="2412683" y="614405"/>
                      <a:pt x="2427923" y="616310"/>
                    </a:cubicBezTo>
                    <a:cubicBezTo>
                      <a:pt x="2442210" y="618215"/>
                      <a:pt x="2436495" y="624883"/>
                      <a:pt x="2436495" y="624883"/>
                    </a:cubicBezTo>
                    <a:lnTo>
                      <a:pt x="2445068" y="632503"/>
                    </a:lnTo>
                    <a:lnTo>
                      <a:pt x="2448878" y="640123"/>
                    </a:lnTo>
                    <a:lnTo>
                      <a:pt x="2457450" y="643933"/>
                    </a:lnTo>
                    <a:lnTo>
                      <a:pt x="2457450" y="651553"/>
                    </a:lnTo>
                    <a:lnTo>
                      <a:pt x="2455545" y="662030"/>
                    </a:lnTo>
                    <a:lnTo>
                      <a:pt x="2458403" y="669650"/>
                    </a:lnTo>
                    <a:lnTo>
                      <a:pt x="2459355" y="673460"/>
                    </a:lnTo>
                    <a:cubicBezTo>
                      <a:pt x="2459355" y="673460"/>
                      <a:pt x="2467928" y="674413"/>
                      <a:pt x="2472690" y="676318"/>
                    </a:cubicBezTo>
                    <a:cubicBezTo>
                      <a:pt x="2477453" y="678223"/>
                      <a:pt x="2486978" y="677270"/>
                      <a:pt x="2486978" y="677270"/>
                    </a:cubicBezTo>
                    <a:lnTo>
                      <a:pt x="2497455" y="677270"/>
                    </a:lnTo>
                    <a:lnTo>
                      <a:pt x="2507933" y="675365"/>
                    </a:lnTo>
                    <a:lnTo>
                      <a:pt x="2518410" y="670603"/>
                    </a:lnTo>
                    <a:cubicBezTo>
                      <a:pt x="2518410" y="670603"/>
                      <a:pt x="2518410" y="670603"/>
                      <a:pt x="2521268" y="656315"/>
                    </a:cubicBezTo>
                    <a:cubicBezTo>
                      <a:pt x="2521268" y="656315"/>
                      <a:pt x="2516505" y="652505"/>
                      <a:pt x="2517458" y="649648"/>
                    </a:cubicBezTo>
                    <a:cubicBezTo>
                      <a:pt x="2517458" y="646790"/>
                      <a:pt x="2508885" y="642028"/>
                      <a:pt x="2508885" y="642028"/>
                    </a:cubicBezTo>
                    <a:cubicBezTo>
                      <a:pt x="2508885" y="642028"/>
                      <a:pt x="2506028" y="634408"/>
                      <a:pt x="2505075" y="630598"/>
                    </a:cubicBezTo>
                    <a:cubicBezTo>
                      <a:pt x="2504123" y="626788"/>
                      <a:pt x="2504123" y="623930"/>
                      <a:pt x="2502218" y="619168"/>
                    </a:cubicBezTo>
                    <a:cubicBezTo>
                      <a:pt x="2501265" y="614405"/>
                      <a:pt x="2506980" y="612500"/>
                      <a:pt x="2515553" y="603928"/>
                    </a:cubicBezTo>
                    <a:cubicBezTo>
                      <a:pt x="2524125" y="595355"/>
                      <a:pt x="2515553" y="603928"/>
                      <a:pt x="2517458" y="601070"/>
                    </a:cubicBezTo>
                    <a:cubicBezTo>
                      <a:pt x="2519363" y="598213"/>
                      <a:pt x="2522220" y="593450"/>
                      <a:pt x="2525078" y="587735"/>
                    </a:cubicBezTo>
                    <a:cubicBezTo>
                      <a:pt x="2527935" y="582020"/>
                      <a:pt x="2525078" y="587735"/>
                      <a:pt x="2527935" y="582973"/>
                    </a:cubicBezTo>
                    <a:cubicBezTo>
                      <a:pt x="2530793" y="578210"/>
                      <a:pt x="2549843" y="581068"/>
                      <a:pt x="2549843" y="581068"/>
                    </a:cubicBezTo>
                    <a:cubicBezTo>
                      <a:pt x="2549843" y="581068"/>
                      <a:pt x="2566035" y="577258"/>
                      <a:pt x="2579370" y="571543"/>
                    </a:cubicBezTo>
                    <a:cubicBezTo>
                      <a:pt x="2592705" y="565828"/>
                      <a:pt x="2589848" y="568685"/>
                      <a:pt x="2589848" y="568685"/>
                    </a:cubicBezTo>
                    <a:cubicBezTo>
                      <a:pt x="2589848" y="568685"/>
                      <a:pt x="2608898" y="562018"/>
                      <a:pt x="2611755" y="558208"/>
                    </a:cubicBezTo>
                    <a:cubicBezTo>
                      <a:pt x="2614613" y="554398"/>
                      <a:pt x="2620328" y="553445"/>
                      <a:pt x="2624138" y="547730"/>
                    </a:cubicBezTo>
                    <a:cubicBezTo>
                      <a:pt x="2626995" y="542015"/>
                      <a:pt x="2646045" y="542968"/>
                      <a:pt x="2648903" y="539158"/>
                    </a:cubicBezTo>
                    <a:cubicBezTo>
                      <a:pt x="2651760" y="535348"/>
                      <a:pt x="2651760" y="534395"/>
                      <a:pt x="2653665" y="528680"/>
                    </a:cubicBezTo>
                    <a:cubicBezTo>
                      <a:pt x="2655570" y="522965"/>
                      <a:pt x="2662238" y="521060"/>
                      <a:pt x="2662238" y="521060"/>
                    </a:cubicBezTo>
                    <a:lnTo>
                      <a:pt x="2684145" y="512488"/>
                    </a:lnTo>
                    <a:lnTo>
                      <a:pt x="2694623" y="502010"/>
                    </a:lnTo>
                    <a:cubicBezTo>
                      <a:pt x="2694623" y="502010"/>
                      <a:pt x="2696528" y="493438"/>
                      <a:pt x="2696528" y="487723"/>
                    </a:cubicBezTo>
                    <a:cubicBezTo>
                      <a:pt x="2696528" y="482008"/>
                      <a:pt x="2696528" y="481055"/>
                      <a:pt x="2695575" y="478198"/>
                    </a:cubicBezTo>
                    <a:cubicBezTo>
                      <a:pt x="2693670" y="475340"/>
                      <a:pt x="2694623" y="472483"/>
                      <a:pt x="2694623" y="472483"/>
                    </a:cubicBezTo>
                    <a:cubicBezTo>
                      <a:pt x="2694623" y="472483"/>
                      <a:pt x="2702243" y="466768"/>
                      <a:pt x="2707005" y="460100"/>
                    </a:cubicBezTo>
                    <a:cubicBezTo>
                      <a:pt x="2711768" y="453433"/>
                      <a:pt x="2707005" y="460100"/>
                      <a:pt x="2707005" y="453433"/>
                    </a:cubicBezTo>
                    <a:cubicBezTo>
                      <a:pt x="2707005" y="446765"/>
                      <a:pt x="2706053" y="446765"/>
                      <a:pt x="2707005" y="439145"/>
                    </a:cubicBezTo>
                    <a:cubicBezTo>
                      <a:pt x="2708910" y="431525"/>
                      <a:pt x="2712720" y="431525"/>
                      <a:pt x="2711768" y="428668"/>
                    </a:cubicBezTo>
                    <a:cubicBezTo>
                      <a:pt x="2710815" y="425810"/>
                      <a:pt x="2713673" y="422000"/>
                      <a:pt x="2711768" y="416285"/>
                    </a:cubicBezTo>
                    <a:lnTo>
                      <a:pt x="2701290" y="412475"/>
                    </a:lnTo>
                    <a:lnTo>
                      <a:pt x="2689860" y="413428"/>
                    </a:lnTo>
                    <a:cubicBezTo>
                      <a:pt x="2689860" y="413428"/>
                      <a:pt x="2684145" y="414380"/>
                      <a:pt x="2673668" y="416285"/>
                    </a:cubicBezTo>
                    <a:cubicBezTo>
                      <a:pt x="2663190" y="418190"/>
                      <a:pt x="2673668" y="416285"/>
                      <a:pt x="2660333" y="412475"/>
                    </a:cubicBezTo>
                    <a:cubicBezTo>
                      <a:pt x="2646998" y="408665"/>
                      <a:pt x="2657475" y="406760"/>
                      <a:pt x="2653665" y="401998"/>
                    </a:cubicBezTo>
                    <a:cubicBezTo>
                      <a:pt x="2648903" y="397235"/>
                      <a:pt x="2647950" y="401998"/>
                      <a:pt x="2647950" y="401998"/>
                    </a:cubicBezTo>
                    <a:cubicBezTo>
                      <a:pt x="2647950" y="401998"/>
                      <a:pt x="2642235" y="402950"/>
                      <a:pt x="2634615" y="400093"/>
                    </a:cubicBezTo>
                    <a:cubicBezTo>
                      <a:pt x="2626995" y="397235"/>
                      <a:pt x="2634615" y="400093"/>
                      <a:pt x="2629853" y="396283"/>
                    </a:cubicBezTo>
                    <a:cubicBezTo>
                      <a:pt x="2625090" y="392473"/>
                      <a:pt x="2629853" y="396283"/>
                      <a:pt x="2629853" y="393425"/>
                    </a:cubicBezTo>
                    <a:cubicBezTo>
                      <a:pt x="2629853" y="390568"/>
                      <a:pt x="2632710" y="383900"/>
                      <a:pt x="2632710" y="383900"/>
                    </a:cubicBezTo>
                    <a:cubicBezTo>
                      <a:pt x="2632710" y="383900"/>
                      <a:pt x="2653665" y="382948"/>
                      <a:pt x="2676525" y="375328"/>
                    </a:cubicBezTo>
                    <a:cubicBezTo>
                      <a:pt x="2700338" y="366755"/>
                      <a:pt x="2681288" y="368660"/>
                      <a:pt x="2681288" y="368660"/>
                    </a:cubicBezTo>
                    <a:lnTo>
                      <a:pt x="2697480" y="356278"/>
                    </a:lnTo>
                    <a:cubicBezTo>
                      <a:pt x="2697480" y="356278"/>
                      <a:pt x="2716530" y="349610"/>
                      <a:pt x="2716530" y="344848"/>
                    </a:cubicBezTo>
                    <a:cubicBezTo>
                      <a:pt x="2716530" y="340085"/>
                      <a:pt x="2732723" y="338180"/>
                      <a:pt x="2734628" y="334370"/>
                    </a:cubicBezTo>
                    <a:cubicBezTo>
                      <a:pt x="2736533" y="330560"/>
                      <a:pt x="2745105" y="330560"/>
                      <a:pt x="2745105" y="330560"/>
                    </a:cubicBezTo>
                    <a:lnTo>
                      <a:pt x="2777490" y="328655"/>
                    </a:lnTo>
                    <a:lnTo>
                      <a:pt x="2785110" y="327703"/>
                    </a:lnTo>
                    <a:lnTo>
                      <a:pt x="2798445" y="327703"/>
                    </a:lnTo>
                    <a:lnTo>
                      <a:pt x="2814638" y="330560"/>
                    </a:lnTo>
                    <a:lnTo>
                      <a:pt x="2841308" y="331513"/>
                    </a:lnTo>
                    <a:lnTo>
                      <a:pt x="2855595" y="328655"/>
                    </a:lnTo>
                    <a:cubicBezTo>
                      <a:pt x="2855595" y="328655"/>
                      <a:pt x="2867025" y="327703"/>
                      <a:pt x="2869883" y="324845"/>
                    </a:cubicBezTo>
                    <a:cubicBezTo>
                      <a:pt x="2872740" y="321988"/>
                      <a:pt x="2877503" y="324845"/>
                      <a:pt x="2877503" y="324845"/>
                    </a:cubicBezTo>
                    <a:lnTo>
                      <a:pt x="2909888" y="331513"/>
                    </a:lnTo>
                    <a:lnTo>
                      <a:pt x="2924175" y="339133"/>
                    </a:lnTo>
                    <a:lnTo>
                      <a:pt x="2934653" y="341038"/>
                    </a:lnTo>
                    <a:lnTo>
                      <a:pt x="2943225" y="339133"/>
                    </a:lnTo>
                    <a:cubicBezTo>
                      <a:pt x="2943225" y="339133"/>
                      <a:pt x="2956560" y="334370"/>
                      <a:pt x="2956560" y="324845"/>
                    </a:cubicBezTo>
                    <a:cubicBezTo>
                      <a:pt x="2956560" y="315320"/>
                      <a:pt x="2956560" y="324845"/>
                      <a:pt x="2958465" y="320083"/>
                    </a:cubicBezTo>
                    <a:cubicBezTo>
                      <a:pt x="2960370" y="315320"/>
                      <a:pt x="2958465" y="320083"/>
                      <a:pt x="2966085" y="311510"/>
                    </a:cubicBezTo>
                    <a:cubicBezTo>
                      <a:pt x="2973705" y="302938"/>
                      <a:pt x="2971800" y="306748"/>
                      <a:pt x="2971800" y="306748"/>
                    </a:cubicBezTo>
                    <a:lnTo>
                      <a:pt x="2979420" y="303890"/>
                    </a:lnTo>
                    <a:lnTo>
                      <a:pt x="2987040" y="300080"/>
                    </a:lnTo>
                    <a:cubicBezTo>
                      <a:pt x="2987040" y="300080"/>
                      <a:pt x="2992755" y="299128"/>
                      <a:pt x="2995613" y="295318"/>
                    </a:cubicBezTo>
                    <a:cubicBezTo>
                      <a:pt x="2998470" y="291508"/>
                      <a:pt x="3006090" y="291508"/>
                      <a:pt x="3006090" y="291508"/>
                    </a:cubicBezTo>
                    <a:cubicBezTo>
                      <a:pt x="3006090" y="291508"/>
                      <a:pt x="3011805" y="291508"/>
                      <a:pt x="3036570" y="291508"/>
                    </a:cubicBezTo>
                    <a:cubicBezTo>
                      <a:pt x="3061335" y="291508"/>
                      <a:pt x="3044190" y="299128"/>
                      <a:pt x="3044190" y="299128"/>
                    </a:cubicBezTo>
                    <a:cubicBezTo>
                      <a:pt x="3044190" y="299128"/>
                      <a:pt x="3044190" y="299128"/>
                      <a:pt x="3051810" y="301985"/>
                    </a:cubicBezTo>
                    <a:lnTo>
                      <a:pt x="3062288" y="300080"/>
                    </a:lnTo>
                    <a:lnTo>
                      <a:pt x="3075623" y="293413"/>
                    </a:lnTo>
                    <a:lnTo>
                      <a:pt x="3087053" y="289603"/>
                    </a:lnTo>
                    <a:cubicBezTo>
                      <a:pt x="3087053" y="289603"/>
                      <a:pt x="3092768" y="288650"/>
                      <a:pt x="3097530" y="284840"/>
                    </a:cubicBezTo>
                    <a:cubicBezTo>
                      <a:pt x="3102293" y="281030"/>
                      <a:pt x="3105150" y="283888"/>
                      <a:pt x="3105150" y="283888"/>
                    </a:cubicBezTo>
                    <a:cubicBezTo>
                      <a:pt x="3105150" y="283888"/>
                      <a:pt x="3105150" y="283888"/>
                      <a:pt x="3113723" y="287698"/>
                    </a:cubicBezTo>
                    <a:cubicBezTo>
                      <a:pt x="3113723" y="287698"/>
                      <a:pt x="3106103" y="294365"/>
                      <a:pt x="3100388" y="297223"/>
                    </a:cubicBezTo>
                    <a:cubicBezTo>
                      <a:pt x="3094673" y="300080"/>
                      <a:pt x="3089910" y="302938"/>
                      <a:pt x="3089910" y="302938"/>
                    </a:cubicBezTo>
                    <a:lnTo>
                      <a:pt x="3071813" y="311510"/>
                    </a:lnTo>
                    <a:lnTo>
                      <a:pt x="3061335" y="317225"/>
                    </a:lnTo>
                    <a:cubicBezTo>
                      <a:pt x="3061335" y="317225"/>
                      <a:pt x="3058478" y="321035"/>
                      <a:pt x="3052763" y="321988"/>
                    </a:cubicBezTo>
                    <a:cubicBezTo>
                      <a:pt x="3047048" y="322940"/>
                      <a:pt x="3050858" y="325798"/>
                      <a:pt x="3044190" y="328655"/>
                    </a:cubicBezTo>
                    <a:cubicBezTo>
                      <a:pt x="3036570" y="331513"/>
                      <a:pt x="3030855" y="337228"/>
                      <a:pt x="3030855" y="337228"/>
                    </a:cubicBezTo>
                    <a:lnTo>
                      <a:pt x="3015615" y="341990"/>
                    </a:lnTo>
                    <a:cubicBezTo>
                      <a:pt x="3015615" y="341990"/>
                      <a:pt x="3002280" y="349610"/>
                      <a:pt x="2994660" y="351515"/>
                    </a:cubicBezTo>
                    <a:cubicBezTo>
                      <a:pt x="2987040" y="353420"/>
                      <a:pt x="2989898" y="361040"/>
                      <a:pt x="2982278" y="364850"/>
                    </a:cubicBezTo>
                    <a:cubicBezTo>
                      <a:pt x="2974658" y="368660"/>
                      <a:pt x="2979420" y="368660"/>
                      <a:pt x="2979420" y="368660"/>
                    </a:cubicBezTo>
                    <a:cubicBezTo>
                      <a:pt x="2979420" y="368660"/>
                      <a:pt x="2971800" y="375328"/>
                      <a:pt x="2967038" y="379138"/>
                    </a:cubicBezTo>
                    <a:cubicBezTo>
                      <a:pt x="2962275" y="382948"/>
                      <a:pt x="2972753" y="387710"/>
                      <a:pt x="2972753" y="387710"/>
                    </a:cubicBezTo>
                    <a:lnTo>
                      <a:pt x="2968943" y="408665"/>
                    </a:lnTo>
                    <a:lnTo>
                      <a:pt x="2968943" y="418190"/>
                    </a:lnTo>
                    <a:lnTo>
                      <a:pt x="2968943" y="427715"/>
                    </a:lnTo>
                    <a:lnTo>
                      <a:pt x="2968943" y="434383"/>
                    </a:lnTo>
                    <a:lnTo>
                      <a:pt x="2979420" y="440098"/>
                    </a:lnTo>
                    <a:lnTo>
                      <a:pt x="2989898" y="449623"/>
                    </a:lnTo>
                    <a:lnTo>
                      <a:pt x="2990850" y="455338"/>
                    </a:lnTo>
                    <a:cubicBezTo>
                      <a:pt x="2990850" y="455338"/>
                      <a:pt x="2998470" y="458195"/>
                      <a:pt x="3007043" y="457243"/>
                    </a:cubicBezTo>
                    <a:lnTo>
                      <a:pt x="3017520" y="448670"/>
                    </a:lnTo>
                    <a:lnTo>
                      <a:pt x="3020378" y="441050"/>
                    </a:lnTo>
                    <a:lnTo>
                      <a:pt x="3027998" y="435335"/>
                    </a:lnTo>
                    <a:lnTo>
                      <a:pt x="3038475" y="428668"/>
                    </a:lnTo>
                    <a:cubicBezTo>
                      <a:pt x="3038475" y="428668"/>
                      <a:pt x="3038475" y="428668"/>
                      <a:pt x="3037523" y="425810"/>
                    </a:cubicBezTo>
                    <a:cubicBezTo>
                      <a:pt x="3036570" y="422953"/>
                      <a:pt x="3047048" y="416285"/>
                      <a:pt x="3047048" y="416285"/>
                    </a:cubicBezTo>
                    <a:lnTo>
                      <a:pt x="3054668" y="413428"/>
                    </a:lnTo>
                    <a:lnTo>
                      <a:pt x="3072765" y="403903"/>
                    </a:lnTo>
                    <a:cubicBezTo>
                      <a:pt x="3072765" y="403903"/>
                      <a:pt x="3072765" y="403903"/>
                      <a:pt x="3083243" y="397235"/>
                    </a:cubicBezTo>
                    <a:cubicBezTo>
                      <a:pt x="3083243" y="397235"/>
                      <a:pt x="3077528" y="392473"/>
                      <a:pt x="3077528" y="386758"/>
                    </a:cubicBezTo>
                    <a:cubicBezTo>
                      <a:pt x="3077528" y="381043"/>
                      <a:pt x="3077528" y="386758"/>
                      <a:pt x="3080385" y="383900"/>
                    </a:cubicBezTo>
                    <a:cubicBezTo>
                      <a:pt x="3083243" y="381043"/>
                      <a:pt x="3080385" y="383900"/>
                      <a:pt x="3080385" y="381043"/>
                    </a:cubicBezTo>
                    <a:cubicBezTo>
                      <a:pt x="3080385" y="378185"/>
                      <a:pt x="3085148" y="377233"/>
                      <a:pt x="3085148" y="377233"/>
                    </a:cubicBezTo>
                    <a:lnTo>
                      <a:pt x="3092768" y="370565"/>
                    </a:lnTo>
                    <a:cubicBezTo>
                      <a:pt x="3092768" y="370565"/>
                      <a:pt x="3092768" y="370565"/>
                      <a:pt x="3089910" y="357230"/>
                    </a:cubicBezTo>
                    <a:lnTo>
                      <a:pt x="3097530" y="375328"/>
                    </a:lnTo>
                    <a:cubicBezTo>
                      <a:pt x="3097530" y="375328"/>
                      <a:pt x="3097530" y="375328"/>
                      <a:pt x="3097530" y="371518"/>
                    </a:cubicBezTo>
                    <a:cubicBezTo>
                      <a:pt x="3097530" y="367708"/>
                      <a:pt x="3110865" y="366755"/>
                      <a:pt x="3110865" y="366755"/>
                    </a:cubicBezTo>
                    <a:lnTo>
                      <a:pt x="3116580" y="351515"/>
                    </a:lnTo>
                    <a:cubicBezTo>
                      <a:pt x="3116580" y="351515"/>
                      <a:pt x="3124200" y="349610"/>
                      <a:pt x="3148013" y="343895"/>
                    </a:cubicBezTo>
                    <a:cubicBezTo>
                      <a:pt x="3171825" y="338180"/>
                      <a:pt x="3161348" y="342943"/>
                      <a:pt x="3166110" y="342943"/>
                    </a:cubicBezTo>
                    <a:cubicBezTo>
                      <a:pt x="3170873" y="342943"/>
                      <a:pt x="3183255" y="343895"/>
                      <a:pt x="3183255" y="343895"/>
                    </a:cubicBezTo>
                    <a:cubicBezTo>
                      <a:pt x="3183255" y="343895"/>
                      <a:pt x="3243263" y="340085"/>
                      <a:pt x="3253740" y="336275"/>
                    </a:cubicBezTo>
                    <a:cubicBezTo>
                      <a:pt x="3264218" y="332465"/>
                      <a:pt x="3258503" y="332465"/>
                      <a:pt x="3258503" y="332465"/>
                    </a:cubicBezTo>
                    <a:cubicBezTo>
                      <a:pt x="3258503" y="332465"/>
                      <a:pt x="3271838" y="325798"/>
                      <a:pt x="3274695" y="321988"/>
                    </a:cubicBezTo>
                    <a:cubicBezTo>
                      <a:pt x="3277553" y="318178"/>
                      <a:pt x="3288983" y="319130"/>
                      <a:pt x="3301365" y="315320"/>
                    </a:cubicBezTo>
                    <a:cubicBezTo>
                      <a:pt x="3312795" y="311510"/>
                      <a:pt x="3317558" y="304843"/>
                      <a:pt x="3317558" y="304843"/>
                    </a:cubicBezTo>
                    <a:cubicBezTo>
                      <a:pt x="3317558" y="304843"/>
                      <a:pt x="3331845" y="307700"/>
                      <a:pt x="3336608" y="306748"/>
                    </a:cubicBezTo>
                    <a:cubicBezTo>
                      <a:pt x="3341370" y="305795"/>
                      <a:pt x="3358515" y="309605"/>
                      <a:pt x="3358515" y="309605"/>
                    </a:cubicBezTo>
                    <a:cubicBezTo>
                      <a:pt x="3358515" y="309605"/>
                      <a:pt x="3388995" y="306748"/>
                      <a:pt x="3407093" y="300080"/>
                    </a:cubicBezTo>
                    <a:cubicBezTo>
                      <a:pt x="3425190" y="292460"/>
                      <a:pt x="3407093" y="300080"/>
                      <a:pt x="3403283" y="291508"/>
                    </a:cubicBezTo>
                    <a:cubicBezTo>
                      <a:pt x="3399473" y="282935"/>
                      <a:pt x="3383280" y="286745"/>
                      <a:pt x="3380423" y="282935"/>
                    </a:cubicBezTo>
                    <a:cubicBezTo>
                      <a:pt x="3377565" y="279125"/>
                      <a:pt x="3379470" y="279125"/>
                      <a:pt x="3364230" y="270553"/>
                    </a:cubicBezTo>
                    <a:cubicBezTo>
                      <a:pt x="3364230" y="270553"/>
                      <a:pt x="3353753" y="263885"/>
                      <a:pt x="3358515" y="260075"/>
                    </a:cubicBezTo>
                    <a:lnTo>
                      <a:pt x="3369945" y="260075"/>
                    </a:lnTo>
                    <a:cubicBezTo>
                      <a:pt x="3369945" y="260075"/>
                      <a:pt x="3388043" y="259123"/>
                      <a:pt x="3397568" y="257218"/>
                    </a:cubicBezTo>
                    <a:cubicBezTo>
                      <a:pt x="3408045" y="255313"/>
                      <a:pt x="3403283" y="253408"/>
                      <a:pt x="3405188" y="249598"/>
                    </a:cubicBezTo>
                    <a:cubicBezTo>
                      <a:pt x="3407093" y="245788"/>
                      <a:pt x="3408045" y="244835"/>
                      <a:pt x="3408045" y="244835"/>
                    </a:cubicBezTo>
                    <a:lnTo>
                      <a:pt x="3415665" y="241025"/>
                    </a:lnTo>
                    <a:lnTo>
                      <a:pt x="3424238" y="241025"/>
                    </a:lnTo>
                    <a:lnTo>
                      <a:pt x="3432810" y="242930"/>
                    </a:lnTo>
                    <a:lnTo>
                      <a:pt x="3449003" y="250550"/>
                    </a:lnTo>
                    <a:lnTo>
                      <a:pt x="3456623" y="253408"/>
                    </a:lnTo>
                    <a:cubicBezTo>
                      <a:pt x="3456623" y="253408"/>
                      <a:pt x="3465195" y="257218"/>
                      <a:pt x="3472815" y="257218"/>
                    </a:cubicBezTo>
                    <a:cubicBezTo>
                      <a:pt x="3480435" y="257218"/>
                      <a:pt x="3489960" y="260075"/>
                      <a:pt x="3494723" y="260075"/>
                    </a:cubicBezTo>
                    <a:cubicBezTo>
                      <a:pt x="3499485" y="260075"/>
                      <a:pt x="3514725" y="267695"/>
                      <a:pt x="3519488" y="266743"/>
                    </a:cubicBezTo>
                    <a:cubicBezTo>
                      <a:pt x="3524250" y="265790"/>
                      <a:pt x="3529965" y="267695"/>
                      <a:pt x="3535680" y="265790"/>
                    </a:cubicBezTo>
                    <a:cubicBezTo>
                      <a:pt x="3541395" y="263885"/>
                      <a:pt x="3543300" y="261980"/>
                      <a:pt x="3549015" y="255313"/>
                    </a:cubicBezTo>
                    <a:cubicBezTo>
                      <a:pt x="3554730" y="248645"/>
                      <a:pt x="3549015" y="255313"/>
                      <a:pt x="3551873" y="243883"/>
                    </a:cubicBezTo>
                    <a:cubicBezTo>
                      <a:pt x="3554730" y="232453"/>
                      <a:pt x="3560445" y="241025"/>
                      <a:pt x="3560445" y="241025"/>
                    </a:cubicBezTo>
                    <a:lnTo>
                      <a:pt x="3569018" y="237215"/>
                    </a:lnTo>
                    <a:lnTo>
                      <a:pt x="3574733" y="230548"/>
                    </a:lnTo>
                    <a:lnTo>
                      <a:pt x="3568065" y="231500"/>
                    </a:lnTo>
                    <a:close/>
                    <a:moveTo>
                      <a:pt x="601028" y="290555"/>
                    </a:moveTo>
                    <a:cubicBezTo>
                      <a:pt x="601028" y="290555"/>
                      <a:pt x="601028" y="290555"/>
                      <a:pt x="601028" y="290555"/>
                    </a:cubicBezTo>
                    <a:cubicBezTo>
                      <a:pt x="601028" y="290555"/>
                      <a:pt x="601028" y="290555"/>
                      <a:pt x="601028" y="290555"/>
                    </a:cubicBezTo>
                    <a:close/>
                    <a:moveTo>
                      <a:pt x="874395" y="1083035"/>
                    </a:moveTo>
                    <a:lnTo>
                      <a:pt x="867728" y="1091608"/>
                    </a:lnTo>
                    <a:lnTo>
                      <a:pt x="861060" y="1097323"/>
                    </a:lnTo>
                    <a:lnTo>
                      <a:pt x="849630" y="1106848"/>
                    </a:lnTo>
                    <a:lnTo>
                      <a:pt x="838200" y="1104943"/>
                    </a:lnTo>
                    <a:lnTo>
                      <a:pt x="841058" y="1096370"/>
                    </a:lnTo>
                    <a:cubicBezTo>
                      <a:pt x="841058" y="1096370"/>
                      <a:pt x="841058" y="1096370"/>
                      <a:pt x="839153" y="1091608"/>
                    </a:cubicBezTo>
                    <a:cubicBezTo>
                      <a:pt x="837248" y="1087798"/>
                      <a:pt x="845820" y="1085893"/>
                      <a:pt x="845820" y="1085893"/>
                    </a:cubicBezTo>
                    <a:lnTo>
                      <a:pt x="859155" y="1084940"/>
                    </a:lnTo>
                    <a:lnTo>
                      <a:pt x="874395" y="1083035"/>
                    </a:lnTo>
                    <a:close/>
                    <a:moveTo>
                      <a:pt x="1003935" y="591545"/>
                    </a:moveTo>
                    <a:cubicBezTo>
                      <a:pt x="1003935" y="591545"/>
                      <a:pt x="1003935" y="591545"/>
                      <a:pt x="995363" y="595355"/>
                    </a:cubicBezTo>
                    <a:cubicBezTo>
                      <a:pt x="986790" y="599165"/>
                      <a:pt x="995363" y="595355"/>
                      <a:pt x="986790" y="595355"/>
                    </a:cubicBezTo>
                    <a:cubicBezTo>
                      <a:pt x="978218" y="595355"/>
                      <a:pt x="978218" y="595355"/>
                      <a:pt x="978218" y="595355"/>
                    </a:cubicBezTo>
                    <a:lnTo>
                      <a:pt x="958215" y="593450"/>
                    </a:lnTo>
                    <a:lnTo>
                      <a:pt x="918210" y="588688"/>
                    </a:lnTo>
                    <a:cubicBezTo>
                      <a:pt x="918210" y="588688"/>
                      <a:pt x="906780" y="588688"/>
                      <a:pt x="901065" y="588688"/>
                    </a:cubicBezTo>
                    <a:cubicBezTo>
                      <a:pt x="894398" y="588688"/>
                      <a:pt x="885825" y="588688"/>
                      <a:pt x="885825" y="588688"/>
                    </a:cubicBezTo>
                    <a:lnTo>
                      <a:pt x="868680" y="585830"/>
                    </a:lnTo>
                    <a:cubicBezTo>
                      <a:pt x="868680" y="585830"/>
                      <a:pt x="853440" y="586783"/>
                      <a:pt x="846773" y="586783"/>
                    </a:cubicBezTo>
                    <a:cubicBezTo>
                      <a:pt x="840105" y="586783"/>
                      <a:pt x="838200" y="586783"/>
                      <a:pt x="824865" y="589640"/>
                    </a:cubicBezTo>
                    <a:cubicBezTo>
                      <a:pt x="811530" y="592498"/>
                      <a:pt x="824865" y="589640"/>
                      <a:pt x="813435" y="589640"/>
                    </a:cubicBezTo>
                    <a:cubicBezTo>
                      <a:pt x="802005" y="589640"/>
                      <a:pt x="813435" y="589640"/>
                      <a:pt x="802005" y="589640"/>
                    </a:cubicBezTo>
                    <a:cubicBezTo>
                      <a:pt x="790575" y="589640"/>
                      <a:pt x="791528" y="586783"/>
                      <a:pt x="791528" y="586783"/>
                    </a:cubicBezTo>
                    <a:cubicBezTo>
                      <a:pt x="791528" y="586783"/>
                      <a:pt x="791528" y="581068"/>
                      <a:pt x="791528" y="577258"/>
                    </a:cubicBezTo>
                    <a:cubicBezTo>
                      <a:pt x="791528" y="573448"/>
                      <a:pt x="798195" y="571543"/>
                      <a:pt x="802958" y="565828"/>
                    </a:cubicBezTo>
                    <a:cubicBezTo>
                      <a:pt x="807720" y="560113"/>
                      <a:pt x="802958" y="565828"/>
                      <a:pt x="807720" y="560113"/>
                    </a:cubicBezTo>
                    <a:cubicBezTo>
                      <a:pt x="812483" y="554398"/>
                      <a:pt x="809625" y="553445"/>
                      <a:pt x="809625" y="553445"/>
                    </a:cubicBezTo>
                    <a:lnTo>
                      <a:pt x="821055" y="544873"/>
                    </a:lnTo>
                    <a:lnTo>
                      <a:pt x="827723" y="538205"/>
                    </a:lnTo>
                    <a:lnTo>
                      <a:pt x="845820" y="529633"/>
                    </a:lnTo>
                    <a:lnTo>
                      <a:pt x="854393" y="529633"/>
                    </a:lnTo>
                    <a:lnTo>
                      <a:pt x="867728" y="529633"/>
                    </a:lnTo>
                    <a:lnTo>
                      <a:pt x="881063" y="537253"/>
                    </a:lnTo>
                    <a:lnTo>
                      <a:pt x="884873" y="545825"/>
                    </a:lnTo>
                    <a:lnTo>
                      <a:pt x="906780" y="550588"/>
                    </a:lnTo>
                    <a:lnTo>
                      <a:pt x="928688" y="546778"/>
                    </a:lnTo>
                    <a:cubicBezTo>
                      <a:pt x="928688" y="546778"/>
                      <a:pt x="928688" y="546778"/>
                      <a:pt x="926783" y="541063"/>
                    </a:cubicBezTo>
                    <a:cubicBezTo>
                      <a:pt x="924878" y="535348"/>
                      <a:pt x="926783" y="531538"/>
                      <a:pt x="926783" y="531538"/>
                    </a:cubicBezTo>
                    <a:cubicBezTo>
                      <a:pt x="926783" y="531538"/>
                      <a:pt x="933450" y="525823"/>
                      <a:pt x="942023" y="519155"/>
                    </a:cubicBezTo>
                    <a:lnTo>
                      <a:pt x="948690" y="527728"/>
                    </a:lnTo>
                    <a:lnTo>
                      <a:pt x="948690" y="534395"/>
                    </a:lnTo>
                    <a:cubicBezTo>
                      <a:pt x="948690" y="534395"/>
                      <a:pt x="948690" y="534395"/>
                      <a:pt x="946785" y="538205"/>
                    </a:cubicBezTo>
                    <a:cubicBezTo>
                      <a:pt x="944880" y="542015"/>
                      <a:pt x="953453" y="546778"/>
                      <a:pt x="953453" y="546778"/>
                    </a:cubicBezTo>
                    <a:lnTo>
                      <a:pt x="972503" y="561065"/>
                    </a:lnTo>
                    <a:lnTo>
                      <a:pt x="987743" y="571543"/>
                    </a:lnTo>
                    <a:lnTo>
                      <a:pt x="998220" y="579163"/>
                    </a:lnTo>
                    <a:lnTo>
                      <a:pt x="1004888" y="584878"/>
                    </a:lnTo>
                    <a:lnTo>
                      <a:pt x="1003935" y="591545"/>
                    </a:lnTo>
                    <a:close/>
                    <a:moveTo>
                      <a:pt x="1239203" y="609643"/>
                    </a:moveTo>
                    <a:lnTo>
                      <a:pt x="1230630" y="612500"/>
                    </a:lnTo>
                    <a:lnTo>
                      <a:pt x="1212533" y="622025"/>
                    </a:lnTo>
                    <a:lnTo>
                      <a:pt x="1212533" y="627740"/>
                    </a:lnTo>
                    <a:cubicBezTo>
                      <a:pt x="1212533" y="627740"/>
                      <a:pt x="1210628" y="628693"/>
                      <a:pt x="1212533" y="633455"/>
                    </a:cubicBezTo>
                    <a:cubicBezTo>
                      <a:pt x="1214438" y="637265"/>
                      <a:pt x="1219200" y="629645"/>
                      <a:pt x="1214438" y="637265"/>
                    </a:cubicBezTo>
                    <a:cubicBezTo>
                      <a:pt x="1209675" y="645838"/>
                      <a:pt x="1196340" y="645838"/>
                      <a:pt x="1196340" y="645838"/>
                    </a:cubicBezTo>
                    <a:lnTo>
                      <a:pt x="1183005" y="645838"/>
                    </a:lnTo>
                    <a:lnTo>
                      <a:pt x="1169670" y="642980"/>
                    </a:lnTo>
                    <a:lnTo>
                      <a:pt x="1157288" y="625835"/>
                    </a:lnTo>
                    <a:lnTo>
                      <a:pt x="1150620" y="614405"/>
                    </a:lnTo>
                    <a:cubicBezTo>
                      <a:pt x="1150620" y="614405"/>
                      <a:pt x="1143953" y="604880"/>
                      <a:pt x="1143953" y="600118"/>
                    </a:cubicBezTo>
                    <a:cubicBezTo>
                      <a:pt x="1143953" y="596308"/>
                      <a:pt x="1123950" y="586783"/>
                      <a:pt x="1123950" y="586783"/>
                    </a:cubicBezTo>
                    <a:lnTo>
                      <a:pt x="1115378" y="571543"/>
                    </a:lnTo>
                    <a:lnTo>
                      <a:pt x="1113473" y="559160"/>
                    </a:lnTo>
                    <a:cubicBezTo>
                      <a:pt x="1113473" y="559160"/>
                      <a:pt x="1108710" y="555350"/>
                      <a:pt x="1113473" y="550588"/>
                    </a:cubicBezTo>
                    <a:cubicBezTo>
                      <a:pt x="1118235" y="546778"/>
                      <a:pt x="1109663" y="538205"/>
                      <a:pt x="1116330" y="539158"/>
                    </a:cubicBezTo>
                    <a:cubicBezTo>
                      <a:pt x="1122998" y="541063"/>
                      <a:pt x="1129665" y="535348"/>
                      <a:pt x="1129665" y="535348"/>
                    </a:cubicBezTo>
                    <a:cubicBezTo>
                      <a:pt x="1149668" y="534395"/>
                      <a:pt x="1163003" y="531538"/>
                      <a:pt x="1163003" y="531538"/>
                    </a:cubicBezTo>
                    <a:cubicBezTo>
                      <a:pt x="1196340" y="527728"/>
                      <a:pt x="1196340" y="527728"/>
                      <a:pt x="1196340" y="527728"/>
                    </a:cubicBezTo>
                    <a:lnTo>
                      <a:pt x="1201103" y="531538"/>
                    </a:lnTo>
                    <a:cubicBezTo>
                      <a:pt x="1201103" y="535348"/>
                      <a:pt x="1187768" y="540110"/>
                      <a:pt x="1187768" y="540110"/>
                    </a:cubicBezTo>
                    <a:lnTo>
                      <a:pt x="1176338" y="545825"/>
                    </a:lnTo>
                    <a:lnTo>
                      <a:pt x="1176338" y="557255"/>
                    </a:lnTo>
                    <a:cubicBezTo>
                      <a:pt x="1176338" y="557255"/>
                      <a:pt x="1169670" y="565828"/>
                      <a:pt x="1176338" y="568685"/>
                    </a:cubicBezTo>
                    <a:cubicBezTo>
                      <a:pt x="1183005" y="571543"/>
                      <a:pt x="1206818" y="584878"/>
                      <a:pt x="1206818" y="584878"/>
                    </a:cubicBezTo>
                    <a:lnTo>
                      <a:pt x="1222058" y="587735"/>
                    </a:lnTo>
                    <a:lnTo>
                      <a:pt x="1237298" y="593450"/>
                    </a:lnTo>
                    <a:lnTo>
                      <a:pt x="1243965" y="599165"/>
                    </a:lnTo>
                    <a:lnTo>
                      <a:pt x="1239203" y="609643"/>
                    </a:lnTo>
                    <a:close/>
                    <a:moveTo>
                      <a:pt x="1342073" y="556303"/>
                    </a:moveTo>
                    <a:lnTo>
                      <a:pt x="1335405" y="562970"/>
                    </a:lnTo>
                    <a:lnTo>
                      <a:pt x="1322070" y="562970"/>
                    </a:lnTo>
                    <a:cubicBezTo>
                      <a:pt x="1322070" y="562970"/>
                      <a:pt x="1313498" y="558208"/>
                      <a:pt x="1308735" y="554398"/>
                    </a:cubicBezTo>
                    <a:cubicBezTo>
                      <a:pt x="1303973" y="550588"/>
                      <a:pt x="1310640" y="548683"/>
                      <a:pt x="1311593" y="542015"/>
                    </a:cubicBezTo>
                    <a:cubicBezTo>
                      <a:pt x="1311593" y="535348"/>
                      <a:pt x="1311593" y="542015"/>
                      <a:pt x="1316355" y="536300"/>
                    </a:cubicBezTo>
                    <a:lnTo>
                      <a:pt x="1333500" y="536300"/>
                    </a:lnTo>
                    <a:lnTo>
                      <a:pt x="1342073" y="548683"/>
                    </a:lnTo>
                    <a:lnTo>
                      <a:pt x="1342073" y="556303"/>
                    </a:lnTo>
                    <a:close/>
                  </a:path>
                </a:pathLst>
              </a:custGeom>
              <a:grpFill/>
              <a:ln w="9525" cap="flat">
                <a:noFill/>
                <a:prstDash val="solid"/>
                <a:miter/>
              </a:ln>
            </p:spPr>
            <p:txBody>
              <a:bodyPr rtlCol="0" anchor="ctr"/>
              <a:lstStyle/>
              <a:p>
                <a:endParaRPr lang="en-US" sz="1765"/>
              </a:p>
            </p:txBody>
          </p:sp>
          <p:sp>
            <p:nvSpPr>
              <p:cNvPr id="336" name="Freeform: Shape 335">
                <a:extLst>
                  <a:ext uri="{FF2B5EF4-FFF2-40B4-BE49-F238E27FC236}">
                    <a16:creationId xmlns:a16="http://schemas.microsoft.com/office/drawing/2014/main" id="{0485443B-AB2A-4BE9-9E52-0597AF6CB104}"/>
                  </a:ext>
                </a:extLst>
              </p:cNvPr>
              <p:cNvSpPr/>
              <p:nvPr/>
            </p:nvSpPr>
            <p:spPr>
              <a:xfrm>
                <a:off x="8953529" y="4190729"/>
                <a:ext cx="130567" cy="157171"/>
              </a:xfrm>
              <a:custGeom>
                <a:avLst/>
                <a:gdLst>
                  <a:gd name="connsiteX0" fmla="*/ 126682 w 130567"/>
                  <a:gd name="connsiteY0" fmla="*/ 4763 h 157171"/>
                  <a:gd name="connsiteX1" fmla="*/ 126682 w 130567"/>
                  <a:gd name="connsiteY1" fmla="*/ 10478 h 157171"/>
                  <a:gd name="connsiteX2" fmla="*/ 126682 w 130567"/>
                  <a:gd name="connsiteY2" fmla="*/ 25717 h 157171"/>
                  <a:gd name="connsiteX3" fmla="*/ 126682 w 130567"/>
                  <a:gd name="connsiteY3" fmla="*/ 34290 h 157171"/>
                  <a:gd name="connsiteX4" fmla="*/ 129540 w 130567"/>
                  <a:gd name="connsiteY4" fmla="*/ 45720 h 157171"/>
                  <a:gd name="connsiteX5" fmla="*/ 122872 w 130567"/>
                  <a:gd name="connsiteY5" fmla="*/ 57150 h 157171"/>
                  <a:gd name="connsiteX6" fmla="*/ 117157 w 130567"/>
                  <a:gd name="connsiteY6" fmla="*/ 69533 h 157171"/>
                  <a:gd name="connsiteX7" fmla="*/ 115253 w 130567"/>
                  <a:gd name="connsiteY7" fmla="*/ 75247 h 157171"/>
                  <a:gd name="connsiteX8" fmla="*/ 110490 w 130567"/>
                  <a:gd name="connsiteY8" fmla="*/ 88583 h 157171"/>
                  <a:gd name="connsiteX9" fmla="*/ 107632 w 130567"/>
                  <a:gd name="connsiteY9" fmla="*/ 98108 h 157171"/>
                  <a:gd name="connsiteX10" fmla="*/ 97155 w 130567"/>
                  <a:gd name="connsiteY10" fmla="*/ 112395 h 157171"/>
                  <a:gd name="connsiteX11" fmla="*/ 91440 w 130567"/>
                  <a:gd name="connsiteY11" fmla="*/ 118110 h 157171"/>
                  <a:gd name="connsiteX12" fmla="*/ 79057 w 130567"/>
                  <a:gd name="connsiteY12" fmla="*/ 126683 h 157171"/>
                  <a:gd name="connsiteX13" fmla="*/ 78105 w 130567"/>
                  <a:gd name="connsiteY13" fmla="*/ 133350 h 157171"/>
                  <a:gd name="connsiteX14" fmla="*/ 74295 w 130567"/>
                  <a:gd name="connsiteY14" fmla="*/ 145733 h 157171"/>
                  <a:gd name="connsiteX15" fmla="*/ 69532 w 130567"/>
                  <a:gd name="connsiteY15" fmla="*/ 152400 h 157171"/>
                  <a:gd name="connsiteX16" fmla="*/ 54292 w 130567"/>
                  <a:gd name="connsiteY16" fmla="*/ 155258 h 157171"/>
                  <a:gd name="connsiteX17" fmla="*/ 46672 w 130567"/>
                  <a:gd name="connsiteY17" fmla="*/ 156210 h 157171"/>
                  <a:gd name="connsiteX18" fmla="*/ 35242 w 130567"/>
                  <a:gd name="connsiteY18" fmla="*/ 154305 h 157171"/>
                  <a:gd name="connsiteX19" fmla="*/ 20955 w 130567"/>
                  <a:gd name="connsiteY19" fmla="*/ 144780 h 157171"/>
                  <a:gd name="connsiteX20" fmla="*/ 18097 w 130567"/>
                  <a:gd name="connsiteY20" fmla="*/ 139065 h 157171"/>
                  <a:gd name="connsiteX21" fmla="*/ 12382 w 130567"/>
                  <a:gd name="connsiteY21" fmla="*/ 133350 h 157171"/>
                  <a:gd name="connsiteX22" fmla="*/ 2857 w 130567"/>
                  <a:gd name="connsiteY22" fmla="*/ 129540 h 157171"/>
                  <a:gd name="connsiteX23" fmla="*/ 953 w 130567"/>
                  <a:gd name="connsiteY23" fmla="*/ 120015 h 157171"/>
                  <a:gd name="connsiteX24" fmla="*/ 0 w 130567"/>
                  <a:gd name="connsiteY24" fmla="*/ 113347 h 157171"/>
                  <a:gd name="connsiteX25" fmla="*/ 2857 w 130567"/>
                  <a:gd name="connsiteY25" fmla="*/ 104775 h 157171"/>
                  <a:gd name="connsiteX26" fmla="*/ 10478 w 130567"/>
                  <a:gd name="connsiteY26" fmla="*/ 101917 h 157171"/>
                  <a:gd name="connsiteX27" fmla="*/ 18097 w 130567"/>
                  <a:gd name="connsiteY27" fmla="*/ 98108 h 157171"/>
                  <a:gd name="connsiteX28" fmla="*/ 26670 w 130567"/>
                  <a:gd name="connsiteY28" fmla="*/ 93345 h 157171"/>
                  <a:gd name="connsiteX29" fmla="*/ 31432 w 130567"/>
                  <a:gd name="connsiteY29" fmla="*/ 84772 h 157171"/>
                  <a:gd name="connsiteX30" fmla="*/ 31432 w 130567"/>
                  <a:gd name="connsiteY30" fmla="*/ 74295 h 157171"/>
                  <a:gd name="connsiteX31" fmla="*/ 31432 w 130567"/>
                  <a:gd name="connsiteY31" fmla="*/ 64770 h 157171"/>
                  <a:gd name="connsiteX32" fmla="*/ 32385 w 130567"/>
                  <a:gd name="connsiteY32" fmla="*/ 55245 h 157171"/>
                  <a:gd name="connsiteX33" fmla="*/ 44767 w 130567"/>
                  <a:gd name="connsiteY33" fmla="*/ 48578 h 157171"/>
                  <a:gd name="connsiteX34" fmla="*/ 53340 w 130567"/>
                  <a:gd name="connsiteY34" fmla="*/ 44767 h 157171"/>
                  <a:gd name="connsiteX35" fmla="*/ 63817 w 130567"/>
                  <a:gd name="connsiteY35" fmla="*/ 40958 h 157171"/>
                  <a:gd name="connsiteX36" fmla="*/ 76200 w 130567"/>
                  <a:gd name="connsiteY36" fmla="*/ 34290 h 157171"/>
                  <a:gd name="connsiteX37" fmla="*/ 81915 w 130567"/>
                  <a:gd name="connsiteY37" fmla="*/ 31433 h 157171"/>
                  <a:gd name="connsiteX38" fmla="*/ 93345 w 130567"/>
                  <a:gd name="connsiteY38" fmla="*/ 27622 h 157171"/>
                  <a:gd name="connsiteX39" fmla="*/ 102870 w 130567"/>
                  <a:gd name="connsiteY39" fmla="*/ 18097 h 157171"/>
                  <a:gd name="connsiteX40" fmla="*/ 107632 w 130567"/>
                  <a:gd name="connsiteY40" fmla="*/ 6667 h 157171"/>
                  <a:gd name="connsiteX41" fmla="*/ 115253 w 130567"/>
                  <a:gd name="connsiteY41" fmla="*/ 0 h 157171"/>
                  <a:gd name="connsiteX42" fmla="*/ 126682 w 130567"/>
                  <a:gd name="connsiteY42" fmla="*/ 4763 h 15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567" h="157171">
                    <a:moveTo>
                      <a:pt x="126682" y="4763"/>
                    </a:moveTo>
                    <a:cubicBezTo>
                      <a:pt x="126682" y="4763"/>
                      <a:pt x="125730" y="6667"/>
                      <a:pt x="126682" y="10478"/>
                    </a:cubicBezTo>
                    <a:cubicBezTo>
                      <a:pt x="127635" y="14288"/>
                      <a:pt x="125730" y="22860"/>
                      <a:pt x="126682" y="25717"/>
                    </a:cubicBezTo>
                    <a:cubicBezTo>
                      <a:pt x="127635" y="28575"/>
                      <a:pt x="124778" y="28575"/>
                      <a:pt x="126682" y="34290"/>
                    </a:cubicBezTo>
                    <a:cubicBezTo>
                      <a:pt x="128588" y="40005"/>
                      <a:pt x="132397" y="40958"/>
                      <a:pt x="129540" y="45720"/>
                    </a:cubicBezTo>
                    <a:cubicBezTo>
                      <a:pt x="127635" y="49530"/>
                      <a:pt x="128588" y="44767"/>
                      <a:pt x="122872" y="57150"/>
                    </a:cubicBezTo>
                    <a:cubicBezTo>
                      <a:pt x="117157" y="69533"/>
                      <a:pt x="119063" y="63817"/>
                      <a:pt x="117157" y="69533"/>
                    </a:cubicBezTo>
                    <a:cubicBezTo>
                      <a:pt x="115253" y="75247"/>
                      <a:pt x="116205" y="67628"/>
                      <a:pt x="115253" y="75247"/>
                    </a:cubicBezTo>
                    <a:cubicBezTo>
                      <a:pt x="114300" y="82867"/>
                      <a:pt x="111442" y="83820"/>
                      <a:pt x="110490" y="88583"/>
                    </a:cubicBezTo>
                    <a:cubicBezTo>
                      <a:pt x="109538" y="93345"/>
                      <a:pt x="111442" y="95250"/>
                      <a:pt x="107632" y="98108"/>
                    </a:cubicBezTo>
                    <a:cubicBezTo>
                      <a:pt x="103822" y="101917"/>
                      <a:pt x="97155" y="112395"/>
                      <a:pt x="97155" y="112395"/>
                    </a:cubicBezTo>
                    <a:cubicBezTo>
                      <a:pt x="97155" y="112395"/>
                      <a:pt x="93345" y="113347"/>
                      <a:pt x="91440" y="118110"/>
                    </a:cubicBezTo>
                    <a:cubicBezTo>
                      <a:pt x="89535" y="121920"/>
                      <a:pt x="78105" y="123825"/>
                      <a:pt x="79057" y="126683"/>
                    </a:cubicBezTo>
                    <a:cubicBezTo>
                      <a:pt x="80010" y="129540"/>
                      <a:pt x="78105" y="129540"/>
                      <a:pt x="78105" y="133350"/>
                    </a:cubicBezTo>
                    <a:cubicBezTo>
                      <a:pt x="78105" y="137160"/>
                      <a:pt x="76200" y="141922"/>
                      <a:pt x="74295" y="145733"/>
                    </a:cubicBezTo>
                    <a:cubicBezTo>
                      <a:pt x="73342" y="149542"/>
                      <a:pt x="69532" y="152400"/>
                      <a:pt x="69532" y="152400"/>
                    </a:cubicBezTo>
                    <a:lnTo>
                      <a:pt x="54292" y="155258"/>
                    </a:lnTo>
                    <a:cubicBezTo>
                      <a:pt x="54292" y="155258"/>
                      <a:pt x="53340" y="156210"/>
                      <a:pt x="46672" y="156210"/>
                    </a:cubicBezTo>
                    <a:cubicBezTo>
                      <a:pt x="40005" y="155258"/>
                      <a:pt x="45720" y="160020"/>
                      <a:pt x="35242" y="154305"/>
                    </a:cubicBezTo>
                    <a:cubicBezTo>
                      <a:pt x="25717" y="148590"/>
                      <a:pt x="20955" y="144780"/>
                      <a:pt x="20955" y="144780"/>
                    </a:cubicBezTo>
                    <a:lnTo>
                      <a:pt x="18097" y="139065"/>
                    </a:lnTo>
                    <a:cubicBezTo>
                      <a:pt x="18097" y="139065"/>
                      <a:pt x="16192" y="135255"/>
                      <a:pt x="12382" y="133350"/>
                    </a:cubicBezTo>
                    <a:cubicBezTo>
                      <a:pt x="9525" y="131445"/>
                      <a:pt x="2857" y="129540"/>
                      <a:pt x="2857" y="129540"/>
                    </a:cubicBezTo>
                    <a:lnTo>
                      <a:pt x="953" y="120015"/>
                    </a:lnTo>
                    <a:lnTo>
                      <a:pt x="0" y="113347"/>
                    </a:lnTo>
                    <a:lnTo>
                      <a:pt x="2857" y="104775"/>
                    </a:lnTo>
                    <a:cubicBezTo>
                      <a:pt x="2857" y="104775"/>
                      <a:pt x="7620" y="102870"/>
                      <a:pt x="10478" y="101917"/>
                    </a:cubicBezTo>
                    <a:cubicBezTo>
                      <a:pt x="13335" y="100965"/>
                      <a:pt x="18097" y="98108"/>
                      <a:pt x="18097" y="98108"/>
                    </a:cubicBezTo>
                    <a:lnTo>
                      <a:pt x="26670" y="93345"/>
                    </a:lnTo>
                    <a:lnTo>
                      <a:pt x="31432" y="84772"/>
                    </a:lnTo>
                    <a:lnTo>
                      <a:pt x="31432" y="74295"/>
                    </a:lnTo>
                    <a:lnTo>
                      <a:pt x="31432" y="64770"/>
                    </a:lnTo>
                    <a:lnTo>
                      <a:pt x="32385" y="55245"/>
                    </a:lnTo>
                    <a:lnTo>
                      <a:pt x="44767" y="48578"/>
                    </a:lnTo>
                    <a:lnTo>
                      <a:pt x="53340" y="44767"/>
                    </a:lnTo>
                    <a:cubicBezTo>
                      <a:pt x="53340" y="44767"/>
                      <a:pt x="60007" y="41910"/>
                      <a:pt x="63817" y="40958"/>
                    </a:cubicBezTo>
                    <a:cubicBezTo>
                      <a:pt x="66675" y="40005"/>
                      <a:pt x="76200" y="34290"/>
                      <a:pt x="76200" y="34290"/>
                    </a:cubicBezTo>
                    <a:lnTo>
                      <a:pt x="81915" y="31433"/>
                    </a:lnTo>
                    <a:cubicBezTo>
                      <a:pt x="81915" y="31433"/>
                      <a:pt x="87630" y="31433"/>
                      <a:pt x="93345" y="27622"/>
                    </a:cubicBezTo>
                    <a:cubicBezTo>
                      <a:pt x="99060" y="23813"/>
                      <a:pt x="98107" y="25717"/>
                      <a:pt x="102870" y="18097"/>
                    </a:cubicBezTo>
                    <a:cubicBezTo>
                      <a:pt x="107632" y="10478"/>
                      <a:pt x="107632" y="6667"/>
                      <a:pt x="107632" y="6667"/>
                    </a:cubicBezTo>
                    <a:lnTo>
                      <a:pt x="115253" y="0"/>
                    </a:lnTo>
                    <a:lnTo>
                      <a:pt x="126682" y="4763"/>
                    </a:lnTo>
                    <a:close/>
                  </a:path>
                </a:pathLst>
              </a:custGeom>
              <a:grpFill/>
              <a:ln w="9525" cap="flat">
                <a:noFill/>
                <a:prstDash val="solid"/>
                <a:miter/>
              </a:ln>
            </p:spPr>
            <p:txBody>
              <a:bodyPr rtlCol="0" anchor="ctr"/>
              <a:lstStyle/>
              <a:p>
                <a:endParaRPr lang="en-US" sz="1765"/>
              </a:p>
            </p:txBody>
          </p:sp>
        </p:grpSp>
        <p:grpSp>
          <p:nvGrpSpPr>
            <p:cNvPr id="12" name="Graphic 10">
              <a:extLst>
                <a:ext uri="{FF2B5EF4-FFF2-40B4-BE49-F238E27FC236}">
                  <a16:creationId xmlns:a16="http://schemas.microsoft.com/office/drawing/2014/main" id="{68DFF284-CB18-4460-98ED-004F77EB0A2D}"/>
                </a:ext>
                <a:ext uri="{C183D7F6-B498-43B3-948B-1728B52AA6E4}">
                  <adec:decorative xmlns:adec="http://schemas.microsoft.com/office/drawing/2017/decorative" val="1"/>
                </a:ext>
              </a:extLst>
            </p:cNvPr>
            <p:cNvGrpSpPr/>
            <p:nvPr/>
          </p:nvGrpSpPr>
          <p:grpSpPr>
            <a:xfrm>
              <a:off x="4781433" y="2414195"/>
              <a:ext cx="7312233" cy="2281215"/>
              <a:chOff x="5337839" y="2790554"/>
              <a:chExt cx="6173152" cy="1925853"/>
            </a:xfrm>
            <a:gradFill>
              <a:gsLst>
                <a:gs pos="0">
                  <a:schemeClr val="accent1">
                    <a:alpha val="86000"/>
                  </a:schemeClr>
                </a:gs>
                <a:gs pos="99000">
                  <a:schemeClr val="accent1">
                    <a:lumMod val="75000"/>
                    <a:alpha val="74000"/>
                  </a:schemeClr>
                </a:gs>
              </a:gsLst>
              <a:lin ang="10800000" scaled="1"/>
            </a:gradFill>
            <a:effectLst>
              <a:outerShdw blurRad="215900" algn="ctr" rotWithShape="0">
                <a:prstClr val="black">
                  <a:alpha val="40000"/>
                </a:prstClr>
              </a:outerShdw>
            </a:effectLst>
          </p:grpSpPr>
          <p:sp>
            <p:nvSpPr>
              <p:cNvPr id="13" name="Freeform: Shape 12">
                <a:extLst>
                  <a:ext uri="{FF2B5EF4-FFF2-40B4-BE49-F238E27FC236}">
                    <a16:creationId xmlns:a16="http://schemas.microsoft.com/office/drawing/2014/main" id="{F24F8201-E568-4686-8B1B-6696166487D7}"/>
                  </a:ext>
                </a:extLst>
              </p:cNvPr>
              <p:cNvSpPr/>
              <p:nvPr/>
            </p:nvSpPr>
            <p:spPr>
              <a:xfrm>
                <a:off x="6191278" y="3024602"/>
                <a:ext cx="312420" cy="100279"/>
              </a:xfrm>
              <a:custGeom>
                <a:avLst/>
                <a:gdLst>
                  <a:gd name="connsiteX0" fmla="*/ 256223 w 312420"/>
                  <a:gd name="connsiteY0" fmla="*/ 95517 h 100279"/>
                  <a:gd name="connsiteX1" fmla="*/ 273368 w 312420"/>
                  <a:gd name="connsiteY1" fmla="*/ 97422 h 100279"/>
                  <a:gd name="connsiteX2" fmla="*/ 280035 w 312420"/>
                  <a:gd name="connsiteY2" fmla="*/ 96469 h 100279"/>
                  <a:gd name="connsiteX3" fmla="*/ 284798 w 312420"/>
                  <a:gd name="connsiteY3" fmla="*/ 90754 h 100279"/>
                  <a:gd name="connsiteX4" fmla="*/ 284798 w 312420"/>
                  <a:gd name="connsiteY4" fmla="*/ 87897 h 100279"/>
                  <a:gd name="connsiteX5" fmla="*/ 284798 w 312420"/>
                  <a:gd name="connsiteY5" fmla="*/ 84087 h 100279"/>
                  <a:gd name="connsiteX6" fmla="*/ 290513 w 312420"/>
                  <a:gd name="connsiteY6" fmla="*/ 81229 h 100279"/>
                  <a:gd name="connsiteX7" fmla="*/ 300990 w 312420"/>
                  <a:gd name="connsiteY7" fmla="*/ 77419 h 100279"/>
                  <a:gd name="connsiteX8" fmla="*/ 307658 w 312420"/>
                  <a:gd name="connsiteY8" fmla="*/ 76467 h 100279"/>
                  <a:gd name="connsiteX9" fmla="*/ 312420 w 312420"/>
                  <a:gd name="connsiteY9" fmla="*/ 72657 h 100279"/>
                  <a:gd name="connsiteX10" fmla="*/ 312420 w 312420"/>
                  <a:gd name="connsiteY10" fmla="*/ 68847 h 100279"/>
                  <a:gd name="connsiteX11" fmla="*/ 311468 w 312420"/>
                  <a:gd name="connsiteY11" fmla="*/ 65989 h 100279"/>
                  <a:gd name="connsiteX12" fmla="*/ 297180 w 312420"/>
                  <a:gd name="connsiteY12" fmla="*/ 63132 h 100279"/>
                  <a:gd name="connsiteX13" fmla="*/ 284798 w 312420"/>
                  <a:gd name="connsiteY13" fmla="*/ 61227 h 100279"/>
                  <a:gd name="connsiteX14" fmla="*/ 279083 w 312420"/>
                  <a:gd name="connsiteY14" fmla="*/ 59322 h 100279"/>
                  <a:gd name="connsiteX15" fmla="*/ 271463 w 312420"/>
                  <a:gd name="connsiteY15" fmla="*/ 56464 h 100279"/>
                  <a:gd name="connsiteX16" fmla="*/ 269558 w 312420"/>
                  <a:gd name="connsiteY16" fmla="*/ 53607 h 100279"/>
                  <a:gd name="connsiteX17" fmla="*/ 262890 w 312420"/>
                  <a:gd name="connsiteY17" fmla="*/ 49797 h 100279"/>
                  <a:gd name="connsiteX18" fmla="*/ 256223 w 312420"/>
                  <a:gd name="connsiteY18" fmla="*/ 44082 h 100279"/>
                  <a:gd name="connsiteX19" fmla="*/ 253365 w 312420"/>
                  <a:gd name="connsiteY19" fmla="*/ 39319 h 100279"/>
                  <a:gd name="connsiteX20" fmla="*/ 247650 w 312420"/>
                  <a:gd name="connsiteY20" fmla="*/ 31699 h 100279"/>
                  <a:gd name="connsiteX21" fmla="*/ 240030 w 312420"/>
                  <a:gd name="connsiteY21" fmla="*/ 29794 h 100279"/>
                  <a:gd name="connsiteX22" fmla="*/ 232410 w 312420"/>
                  <a:gd name="connsiteY22" fmla="*/ 28842 h 100279"/>
                  <a:gd name="connsiteX23" fmla="*/ 227648 w 312420"/>
                  <a:gd name="connsiteY23" fmla="*/ 24079 h 100279"/>
                  <a:gd name="connsiteX24" fmla="*/ 222885 w 312420"/>
                  <a:gd name="connsiteY24" fmla="*/ 20269 h 100279"/>
                  <a:gd name="connsiteX25" fmla="*/ 220980 w 312420"/>
                  <a:gd name="connsiteY25" fmla="*/ 15507 h 100279"/>
                  <a:gd name="connsiteX26" fmla="*/ 220027 w 312420"/>
                  <a:gd name="connsiteY26" fmla="*/ 10744 h 100279"/>
                  <a:gd name="connsiteX27" fmla="*/ 218123 w 312420"/>
                  <a:gd name="connsiteY27" fmla="*/ 7887 h 100279"/>
                  <a:gd name="connsiteX28" fmla="*/ 213360 w 312420"/>
                  <a:gd name="connsiteY28" fmla="*/ 4077 h 100279"/>
                  <a:gd name="connsiteX29" fmla="*/ 206693 w 312420"/>
                  <a:gd name="connsiteY29" fmla="*/ 3124 h 100279"/>
                  <a:gd name="connsiteX30" fmla="*/ 204788 w 312420"/>
                  <a:gd name="connsiteY30" fmla="*/ 9792 h 100279"/>
                  <a:gd name="connsiteX31" fmla="*/ 200025 w 312420"/>
                  <a:gd name="connsiteY31" fmla="*/ 13602 h 100279"/>
                  <a:gd name="connsiteX32" fmla="*/ 181927 w 312420"/>
                  <a:gd name="connsiteY32" fmla="*/ 15507 h 100279"/>
                  <a:gd name="connsiteX33" fmla="*/ 175260 w 312420"/>
                  <a:gd name="connsiteY33" fmla="*/ 16459 h 100279"/>
                  <a:gd name="connsiteX34" fmla="*/ 164783 w 312420"/>
                  <a:gd name="connsiteY34" fmla="*/ 13602 h 100279"/>
                  <a:gd name="connsiteX35" fmla="*/ 150495 w 312420"/>
                  <a:gd name="connsiteY35" fmla="*/ 13602 h 100279"/>
                  <a:gd name="connsiteX36" fmla="*/ 143827 w 312420"/>
                  <a:gd name="connsiteY36" fmla="*/ 13602 h 100279"/>
                  <a:gd name="connsiteX37" fmla="*/ 138113 w 312420"/>
                  <a:gd name="connsiteY37" fmla="*/ 14554 h 100279"/>
                  <a:gd name="connsiteX38" fmla="*/ 129540 w 312420"/>
                  <a:gd name="connsiteY38" fmla="*/ 11697 h 100279"/>
                  <a:gd name="connsiteX39" fmla="*/ 116205 w 312420"/>
                  <a:gd name="connsiteY39" fmla="*/ 10744 h 100279"/>
                  <a:gd name="connsiteX40" fmla="*/ 106680 w 312420"/>
                  <a:gd name="connsiteY40" fmla="*/ 9792 h 100279"/>
                  <a:gd name="connsiteX41" fmla="*/ 100013 w 312420"/>
                  <a:gd name="connsiteY41" fmla="*/ 9792 h 100279"/>
                  <a:gd name="connsiteX42" fmla="*/ 93345 w 312420"/>
                  <a:gd name="connsiteY42" fmla="*/ 8839 h 100279"/>
                  <a:gd name="connsiteX43" fmla="*/ 85725 w 312420"/>
                  <a:gd name="connsiteY43" fmla="*/ 5982 h 100279"/>
                  <a:gd name="connsiteX44" fmla="*/ 77152 w 312420"/>
                  <a:gd name="connsiteY44" fmla="*/ 1219 h 100279"/>
                  <a:gd name="connsiteX45" fmla="*/ 67627 w 312420"/>
                  <a:gd name="connsiteY45" fmla="*/ 267 h 100279"/>
                  <a:gd name="connsiteX46" fmla="*/ 63818 w 312420"/>
                  <a:gd name="connsiteY46" fmla="*/ 1219 h 100279"/>
                  <a:gd name="connsiteX47" fmla="*/ 58102 w 312420"/>
                  <a:gd name="connsiteY47" fmla="*/ 4077 h 100279"/>
                  <a:gd name="connsiteX48" fmla="*/ 53340 w 312420"/>
                  <a:gd name="connsiteY48" fmla="*/ 6934 h 100279"/>
                  <a:gd name="connsiteX49" fmla="*/ 44768 w 312420"/>
                  <a:gd name="connsiteY49" fmla="*/ 9792 h 100279"/>
                  <a:gd name="connsiteX50" fmla="*/ 36195 w 312420"/>
                  <a:gd name="connsiteY50" fmla="*/ 10744 h 100279"/>
                  <a:gd name="connsiteX51" fmla="*/ 28575 w 312420"/>
                  <a:gd name="connsiteY51" fmla="*/ 12649 h 100279"/>
                  <a:gd name="connsiteX52" fmla="*/ 22860 w 312420"/>
                  <a:gd name="connsiteY52" fmla="*/ 17412 h 100279"/>
                  <a:gd name="connsiteX53" fmla="*/ 17145 w 312420"/>
                  <a:gd name="connsiteY53" fmla="*/ 19317 h 100279"/>
                  <a:gd name="connsiteX54" fmla="*/ 15240 w 312420"/>
                  <a:gd name="connsiteY54" fmla="*/ 21222 h 100279"/>
                  <a:gd name="connsiteX55" fmla="*/ 7620 w 312420"/>
                  <a:gd name="connsiteY55" fmla="*/ 23127 h 100279"/>
                  <a:gd name="connsiteX56" fmla="*/ 3810 w 312420"/>
                  <a:gd name="connsiteY56" fmla="*/ 26937 h 100279"/>
                  <a:gd name="connsiteX57" fmla="*/ 0 w 312420"/>
                  <a:gd name="connsiteY57" fmla="*/ 31699 h 100279"/>
                  <a:gd name="connsiteX58" fmla="*/ 3810 w 312420"/>
                  <a:gd name="connsiteY58" fmla="*/ 37414 h 100279"/>
                  <a:gd name="connsiteX59" fmla="*/ 6668 w 312420"/>
                  <a:gd name="connsiteY59" fmla="*/ 39319 h 100279"/>
                  <a:gd name="connsiteX60" fmla="*/ 14288 w 312420"/>
                  <a:gd name="connsiteY60" fmla="*/ 41224 h 100279"/>
                  <a:gd name="connsiteX61" fmla="*/ 24765 w 312420"/>
                  <a:gd name="connsiteY61" fmla="*/ 43129 h 100279"/>
                  <a:gd name="connsiteX62" fmla="*/ 26670 w 312420"/>
                  <a:gd name="connsiteY62" fmla="*/ 43129 h 100279"/>
                  <a:gd name="connsiteX63" fmla="*/ 29527 w 312420"/>
                  <a:gd name="connsiteY63" fmla="*/ 46939 h 100279"/>
                  <a:gd name="connsiteX64" fmla="*/ 30480 w 312420"/>
                  <a:gd name="connsiteY64" fmla="*/ 49797 h 100279"/>
                  <a:gd name="connsiteX65" fmla="*/ 33338 w 312420"/>
                  <a:gd name="connsiteY65" fmla="*/ 53607 h 100279"/>
                  <a:gd name="connsiteX66" fmla="*/ 35243 w 312420"/>
                  <a:gd name="connsiteY66" fmla="*/ 62179 h 100279"/>
                  <a:gd name="connsiteX67" fmla="*/ 35243 w 312420"/>
                  <a:gd name="connsiteY67" fmla="*/ 65037 h 100279"/>
                  <a:gd name="connsiteX68" fmla="*/ 38100 w 312420"/>
                  <a:gd name="connsiteY68" fmla="*/ 70752 h 100279"/>
                  <a:gd name="connsiteX69" fmla="*/ 41910 w 312420"/>
                  <a:gd name="connsiteY69" fmla="*/ 75514 h 100279"/>
                  <a:gd name="connsiteX70" fmla="*/ 50483 w 312420"/>
                  <a:gd name="connsiteY70" fmla="*/ 79324 h 100279"/>
                  <a:gd name="connsiteX71" fmla="*/ 59055 w 312420"/>
                  <a:gd name="connsiteY71" fmla="*/ 81229 h 100279"/>
                  <a:gd name="connsiteX72" fmla="*/ 66675 w 312420"/>
                  <a:gd name="connsiteY72" fmla="*/ 81229 h 100279"/>
                  <a:gd name="connsiteX73" fmla="*/ 74295 w 312420"/>
                  <a:gd name="connsiteY73" fmla="*/ 83134 h 100279"/>
                  <a:gd name="connsiteX74" fmla="*/ 77152 w 312420"/>
                  <a:gd name="connsiteY74" fmla="*/ 85992 h 100279"/>
                  <a:gd name="connsiteX75" fmla="*/ 82868 w 312420"/>
                  <a:gd name="connsiteY75" fmla="*/ 86944 h 100279"/>
                  <a:gd name="connsiteX76" fmla="*/ 88583 w 312420"/>
                  <a:gd name="connsiteY76" fmla="*/ 90754 h 100279"/>
                  <a:gd name="connsiteX77" fmla="*/ 93345 w 312420"/>
                  <a:gd name="connsiteY77" fmla="*/ 93612 h 100279"/>
                  <a:gd name="connsiteX78" fmla="*/ 104775 w 312420"/>
                  <a:gd name="connsiteY78" fmla="*/ 95517 h 100279"/>
                  <a:gd name="connsiteX79" fmla="*/ 116205 w 312420"/>
                  <a:gd name="connsiteY79" fmla="*/ 97422 h 100279"/>
                  <a:gd name="connsiteX80" fmla="*/ 127635 w 312420"/>
                  <a:gd name="connsiteY80" fmla="*/ 98374 h 100279"/>
                  <a:gd name="connsiteX81" fmla="*/ 135255 w 312420"/>
                  <a:gd name="connsiteY81" fmla="*/ 99327 h 100279"/>
                  <a:gd name="connsiteX82" fmla="*/ 138113 w 312420"/>
                  <a:gd name="connsiteY82" fmla="*/ 100279 h 100279"/>
                  <a:gd name="connsiteX83" fmla="*/ 147638 w 312420"/>
                  <a:gd name="connsiteY83" fmla="*/ 98374 h 100279"/>
                  <a:gd name="connsiteX84" fmla="*/ 156210 w 312420"/>
                  <a:gd name="connsiteY84" fmla="*/ 96469 h 100279"/>
                  <a:gd name="connsiteX85" fmla="*/ 163830 w 312420"/>
                  <a:gd name="connsiteY85" fmla="*/ 94564 h 100279"/>
                  <a:gd name="connsiteX86" fmla="*/ 173355 w 312420"/>
                  <a:gd name="connsiteY86" fmla="*/ 93612 h 100279"/>
                  <a:gd name="connsiteX87" fmla="*/ 180975 w 312420"/>
                  <a:gd name="connsiteY87" fmla="*/ 92659 h 100279"/>
                  <a:gd name="connsiteX88" fmla="*/ 194310 w 312420"/>
                  <a:gd name="connsiteY88" fmla="*/ 92659 h 100279"/>
                  <a:gd name="connsiteX89" fmla="*/ 200977 w 312420"/>
                  <a:gd name="connsiteY89" fmla="*/ 89802 h 100279"/>
                  <a:gd name="connsiteX90" fmla="*/ 206693 w 312420"/>
                  <a:gd name="connsiteY90" fmla="*/ 89802 h 100279"/>
                  <a:gd name="connsiteX91" fmla="*/ 220027 w 312420"/>
                  <a:gd name="connsiteY91" fmla="*/ 89802 h 100279"/>
                  <a:gd name="connsiteX92" fmla="*/ 222885 w 312420"/>
                  <a:gd name="connsiteY92" fmla="*/ 89802 h 100279"/>
                  <a:gd name="connsiteX93" fmla="*/ 229552 w 312420"/>
                  <a:gd name="connsiteY93" fmla="*/ 91707 h 100279"/>
                  <a:gd name="connsiteX94" fmla="*/ 234315 w 312420"/>
                  <a:gd name="connsiteY94" fmla="*/ 93612 h 100279"/>
                  <a:gd name="connsiteX95" fmla="*/ 240983 w 312420"/>
                  <a:gd name="connsiteY95" fmla="*/ 95517 h 100279"/>
                  <a:gd name="connsiteX96" fmla="*/ 256223 w 312420"/>
                  <a:gd name="connsiteY96" fmla="*/ 95517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12420" h="100279">
                    <a:moveTo>
                      <a:pt x="256223" y="95517"/>
                    </a:moveTo>
                    <a:lnTo>
                      <a:pt x="273368" y="97422"/>
                    </a:lnTo>
                    <a:cubicBezTo>
                      <a:pt x="280035" y="96469"/>
                      <a:pt x="280035" y="96469"/>
                      <a:pt x="280035" y="96469"/>
                    </a:cubicBezTo>
                    <a:lnTo>
                      <a:pt x="284798" y="90754"/>
                    </a:lnTo>
                    <a:lnTo>
                      <a:pt x="284798" y="87897"/>
                    </a:lnTo>
                    <a:lnTo>
                      <a:pt x="284798" y="84087"/>
                    </a:lnTo>
                    <a:lnTo>
                      <a:pt x="290513" y="81229"/>
                    </a:lnTo>
                    <a:cubicBezTo>
                      <a:pt x="297180" y="80277"/>
                      <a:pt x="300990" y="77419"/>
                      <a:pt x="300990" y="77419"/>
                    </a:cubicBezTo>
                    <a:cubicBezTo>
                      <a:pt x="307658" y="76467"/>
                      <a:pt x="307658" y="76467"/>
                      <a:pt x="307658" y="76467"/>
                    </a:cubicBezTo>
                    <a:lnTo>
                      <a:pt x="312420" y="72657"/>
                    </a:lnTo>
                    <a:lnTo>
                      <a:pt x="312420" y="68847"/>
                    </a:lnTo>
                    <a:lnTo>
                      <a:pt x="311468" y="65989"/>
                    </a:lnTo>
                    <a:cubicBezTo>
                      <a:pt x="311468" y="65989"/>
                      <a:pt x="300990" y="63132"/>
                      <a:pt x="297180" y="63132"/>
                    </a:cubicBezTo>
                    <a:cubicBezTo>
                      <a:pt x="294323" y="63132"/>
                      <a:pt x="284798" y="61227"/>
                      <a:pt x="284798" y="61227"/>
                    </a:cubicBezTo>
                    <a:lnTo>
                      <a:pt x="279083" y="59322"/>
                    </a:lnTo>
                    <a:lnTo>
                      <a:pt x="271463" y="56464"/>
                    </a:lnTo>
                    <a:lnTo>
                      <a:pt x="269558" y="53607"/>
                    </a:lnTo>
                    <a:lnTo>
                      <a:pt x="262890" y="49797"/>
                    </a:lnTo>
                    <a:lnTo>
                      <a:pt x="256223" y="44082"/>
                    </a:lnTo>
                    <a:lnTo>
                      <a:pt x="253365" y="39319"/>
                    </a:lnTo>
                    <a:lnTo>
                      <a:pt x="247650" y="31699"/>
                    </a:lnTo>
                    <a:lnTo>
                      <a:pt x="240030" y="29794"/>
                    </a:lnTo>
                    <a:lnTo>
                      <a:pt x="232410" y="28842"/>
                    </a:lnTo>
                    <a:lnTo>
                      <a:pt x="227648" y="24079"/>
                    </a:lnTo>
                    <a:cubicBezTo>
                      <a:pt x="227648" y="24079"/>
                      <a:pt x="221933" y="22174"/>
                      <a:pt x="222885" y="20269"/>
                    </a:cubicBezTo>
                    <a:cubicBezTo>
                      <a:pt x="223838" y="18364"/>
                      <a:pt x="220980" y="17412"/>
                      <a:pt x="220980" y="15507"/>
                    </a:cubicBezTo>
                    <a:cubicBezTo>
                      <a:pt x="220980" y="13602"/>
                      <a:pt x="220027" y="10744"/>
                      <a:pt x="220027" y="10744"/>
                    </a:cubicBezTo>
                    <a:lnTo>
                      <a:pt x="218123" y="7887"/>
                    </a:lnTo>
                    <a:lnTo>
                      <a:pt x="213360" y="4077"/>
                    </a:lnTo>
                    <a:lnTo>
                      <a:pt x="206693" y="3124"/>
                    </a:lnTo>
                    <a:lnTo>
                      <a:pt x="204788" y="9792"/>
                    </a:lnTo>
                    <a:lnTo>
                      <a:pt x="200025" y="13602"/>
                    </a:lnTo>
                    <a:lnTo>
                      <a:pt x="181927" y="15507"/>
                    </a:lnTo>
                    <a:lnTo>
                      <a:pt x="175260" y="16459"/>
                    </a:lnTo>
                    <a:cubicBezTo>
                      <a:pt x="175260" y="16459"/>
                      <a:pt x="168593" y="12649"/>
                      <a:pt x="164783" y="13602"/>
                    </a:cubicBezTo>
                    <a:cubicBezTo>
                      <a:pt x="160020" y="14554"/>
                      <a:pt x="150495" y="13602"/>
                      <a:pt x="150495" y="13602"/>
                    </a:cubicBezTo>
                    <a:lnTo>
                      <a:pt x="143827" y="13602"/>
                    </a:lnTo>
                    <a:lnTo>
                      <a:pt x="138113" y="14554"/>
                    </a:lnTo>
                    <a:lnTo>
                      <a:pt x="129540" y="11697"/>
                    </a:lnTo>
                    <a:lnTo>
                      <a:pt x="116205" y="10744"/>
                    </a:lnTo>
                    <a:lnTo>
                      <a:pt x="106680" y="9792"/>
                    </a:lnTo>
                    <a:lnTo>
                      <a:pt x="100013" y="9792"/>
                    </a:lnTo>
                    <a:lnTo>
                      <a:pt x="93345" y="8839"/>
                    </a:lnTo>
                    <a:lnTo>
                      <a:pt x="85725" y="5982"/>
                    </a:lnTo>
                    <a:lnTo>
                      <a:pt x="77152" y="1219"/>
                    </a:lnTo>
                    <a:cubicBezTo>
                      <a:pt x="77152" y="1219"/>
                      <a:pt x="70485" y="-686"/>
                      <a:pt x="67627" y="267"/>
                    </a:cubicBezTo>
                    <a:cubicBezTo>
                      <a:pt x="63818" y="1219"/>
                      <a:pt x="63818" y="1219"/>
                      <a:pt x="63818" y="1219"/>
                    </a:cubicBezTo>
                    <a:lnTo>
                      <a:pt x="58102" y="4077"/>
                    </a:lnTo>
                    <a:cubicBezTo>
                      <a:pt x="58102" y="4077"/>
                      <a:pt x="55245" y="5029"/>
                      <a:pt x="53340" y="6934"/>
                    </a:cubicBezTo>
                    <a:cubicBezTo>
                      <a:pt x="52388" y="8839"/>
                      <a:pt x="44768" y="9792"/>
                      <a:pt x="44768" y="9792"/>
                    </a:cubicBezTo>
                    <a:lnTo>
                      <a:pt x="36195" y="10744"/>
                    </a:lnTo>
                    <a:lnTo>
                      <a:pt x="28575" y="12649"/>
                    </a:lnTo>
                    <a:lnTo>
                      <a:pt x="22860" y="17412"/>
                    </a:lnTo>
                    <a:cubicBezTo>
                      <a:pt x="22860" y="17412"/>
                      <a:pt x="20002" y="17412"/>
                      <a:pt x="17145" y="19317"/>
                    </a:cubicBezTo>
                    <a:cubicBezTo>
                      <a:pt x="15240" y="21222"/>
                      <a:pt x="15240" y="21222"/>
                      <a:pt x="15240" y="21222"/>
                    </a:cubicBezTo>
                    <a:lnTo>
                      <a:pt x="7620" y="23127"/>
                    </a:lnTo>
                    <a:lnTo>
                      <a:pt x="3810" y="26937"/>
                    </a:lnTo>
                    <a:lnTo>
                      <a:pt x="0" y="31699"/>
                    </a:lnTo>
                    <a:cubicBezTo>
                      <a:pt x="0" y="31699"/>
                      <a:pt x="952" y="35509"/>
                      <a:pt x="3810" y="37414"/>
                    </a:cubicBezTo>
                    <a:cubicBezTo>
                      <a:pt x="6668" y="39319"/>
                      <a:pt x="3810" y="38367"/>
                      <a:pt x="6668" y="39319"/>
                    </a:cubicBezTo>
                    <a:cubicBezTo>
                      <a:pt x="9525" y="41224"/>
                      <a:pt x="3810" y="39319"/>
                      <a:pt x="14288" y="41224"/>
                    </a:cubicBezTo>
                    <a:cubicBezTo>
                      <a:pt x="24765" y="43129"/>
                      <a:pt x="22860" y="43129"/>
                      <a:pt x="24765" y="43129"/>
                    </a:cubicBezTo>
                    <a:cubicBezTo>
                      <a:pt x="26670" y="43129"/>
                      <a:pt x="26670" y="43129"/>
                      <a:pt x="26670" y="43129"/>
                    </a:cubicBezTo>
                    <a:cubicBezTo>
                      <a:pt x="26670" y="43129"/>
                      <a:pt x="28575" y="44082"/>
                      <a:pt x="29527" y="46939"/>
                    </a:cubicBezTo>
                    <a:cubicBezTo>
                      <a:pt x="30480" y="49797"/>
                      <a:pt x="26670" y="45034"/>
                      <a:pt x="30480" y="49797"/>
                    </a:cubicBezTo>
                    <a:lnTo>
                      <a:pt x="33338" y="53607"/>
                    </a:lnTo>
                    <a:lnTo>
                      <a:pt x="35243" y="62179"/>
                    </a:lnTo>
                    <a:cubicBezTo>
                      <a:pt x="35243" y="62179"/>
                      <a:pt x="33338" y="62179"/>
                      <a:pt x="35243" y="65037"/>
                    </a:cubicBezTo>
                    <a:cubicBezTo>
                      <a:pt x="37148" y="67894"/>
                      <a:pt x="38100" y="70752"/>
                      <a:pt x="38100" y="70752"/>
                    </a:cubicBezTo>
                    <a:cubicBezTo>
                      <a:pt x="38100" y="70752"/>
                      <a:pt x="38100" y="73609"/>
                      <a:pt x="41910" y="75514"/>
                    </a:cubicBezTo>
                    <a:cubicBezTo>
                      <a:pt x="46673" y="77419"/>
                      <a:pt x="46673" y="77419"/>
                      <a:pt x="50483" y="79324"/>
                    </a:cubicBezTo>
                    <a:cubicBezTo>
                      <a:pt x="55245" y="81229"/>
                      <a:pt x="59055" y="81229"/>
                      <a:pt x="59055" y="81229"/>
                    </a:cubicBezTo>
                    <a:lnTo>
                      <a:pt x="66675" y="81229"/>
                    </a:lnTo>
                    <a:cubicBezTo>
                      <a:pt x="66675" y="81229"/>
                      <a:pt x="71438" y="80277"/>
                      <a:pt x="74295" y="83134"/>
                    </a:cubicBezTo>
                    <a:cubicBezTo>
                      <a:pt x="77152" y="85992"/>
                      <a:pt x="77152" y="85992"/>
                      <a:pt x="77152" y="85992"/>
                    </a:cubicBezTo>
                    <a:lnTo>
                      <a:pt x="82868" y="86944"/>
                    </a:lnTo>
                    <a:cubicBezTo>
                      <a:pt x="82868" y="86944"/>
                      <a:pt x="83820" y="87897"/>
                      <a:pt x="88583" y="90754"/>
                    </a:cubicBezTo>
                    <a:cubicBezTo>
                      <a:pt x="93345" y="93612"/>
                      <a:pt x="86677" y="91707"/>
                      <a:pt x="93345" y="93612"/>
                    </a:cubicBezTo>
                    <a:cubicBezTo>
                      <a:pt x="100013" y="95517"/>
                      <a:pt x="104775" y="95517"/>
                      <a:pt x="104775" y="95517"/>
                    </a:cubicBezTo>
                    <a:cubicBezTo>
                      <a:pt x="104775" y="95517"/>
                      <a:pt x="112395" y="95517"/>
                      <a:pt x="116205" y="97422"/>
                    </a:cubicBezTo>
                    <a:cubicBezTo>
                      <a:pt x="119063" y="99327"/>
                      <a:pt x="127635" y="98374"/>
                      <a:pt x="127635" y="98374"/>
                    </a:cubicBezTo>
                    <a:cubicBezTo>
                      <a:pt x="127635" y="98374"/>
                      <a:pt x="132398" y="98374"/>
                      <a:pt x="135255" y="99327"/>
                    </a:cubicBezTo>
                    <a:cubicBezTo>
                      <a:pt x="138113" y="100279"/>
                      <a:pt x="138113" y="100279"/>
                      <a:pt x="138113" y="100279"/>
                    </a:cubicBezTo>
                    <a:cubicBezTo>
                      <a:pt x="138113" y="100279"/>
                      <a:pt x="143827" y="97422"/>
                      <a:pt x="147638" y="98374"/>
                    </a:cubicBezTo>
                    <a:cubicBezTo>
                      <a:pt x="152400" y="99327"/>
                      <a:pt x="156210" y="96469"/>
                      <a:pt x="156210" y="96469"/>
                    </a:cubicBezTo>
                    <a:cubicBezTo>
                      <a:pt x="156210" y="96469"/>
                      <a:pt x="160973" y="95517"/>
                      <a:pt x="163830" y="94564"/>
                    </a:cubicBezTo>
                    <a:cubicBezTo>
                      <a:pt x="166688" y="93612"/>
                      <a:pt x="170498" y="93612"/>
                      <a:pt x="173355" y="93612"/>
                    </a:cubicBezTo>
                    <a:cubicBezTo>
                      <a:pt x="176213" y="93612"/>
                      <a:pt x="178118" y="92659"/>
                      <a:pt x="180975" y="92659"/>
                    </a:cubicBezTo>
                    <a:cubicBezTo>
                      <a:pt x="183833" y="92659"/>
                      <a:pt x="194310" y="92659"/>
                      <a:pt x="194310" y="92659"/>
                    </a:cubicBezTo>
                    <a:lnTo>
                      <a:pt x="200977" y="89802"/>
                    </a:lnTo>
                    <a:cubicBezTo>
                      <a:pt x="200977" y="89802"/>
                      <a:pt x="201930" y="89802"/>
                      <a:pt x="206693" y="89802"/>
                    </a:cubicBezTo>
                    <a:cubicBezTo>
                      <a:pt x="211455" y="89802"/>
                      <a:pt x="216218" y="89802"/>
                      <a:pt x="220027" y="89802"/>
                    </a:cubicBezTo>
                    <a:cubicBezTo>
                      <a:pt x="222885" y="89802"/>
                      <a:pt x="222885" y="89802"/>
                      <a:pt x="222885" y="89802"/>
                    </a:cubicBezTo>
                    <a:cubicBezTo>
                      <a:pt x="222885" y="89802"/>
                      <a:pt x="224790" y="89802"/>
                      <a:pt x="229552" y="91707"/>
                    </a:cubicBezTo>
                    <a:cubicBezTo>
                      <a:pt x="234315" y="93612"/>
                      <a:pt x="227648" y="92659"/>
                      <a:pt x="234315" y="93612"/>
                    </a:cubicBezTo>
                    <a:cubicBezTo>
                      <a:pt x="240983" y="95517"/>
                      <a:pt x="236220" y="94564"/>
                      <a:pt x="240983" y="95517"/>
                    </a:cubicBezTo>
                    <a:cubicBezTo>
                      <a:pt x="248602" y="94564"/>
                      <a:pt x="256223" y="95517"/>
                      <a:pt x="256223" y="95517"/>
                    </a:cubicBezTo>
                    <a:close/>
                  </a:path>
                </a:pathLst>
              </a:custGeom>
              <a:grpFill/>
              <a:ln w="9525" cap="flat">
                <a:noFill/>
                <a:prstDash val="solid"/>
                <a:miter/>
              </a:ln>
            </p:spPr>
            <p:txBody>
              <a:bodyPr rtlCol="0" anchor="ctr"/>
              <a:lstStyle/>
              <a:p>
                <a:endParaRPr lang="en-US" sz="1765"/>
              </a:p>
            </p:txBody>
          </p:sp>
          <p:sp>
            <p:nvSpPr>
              <p:cNvPr id="14" name="Freeform: Shape 13">
                <a:extLst>
                  <a:ext uri="{FF2B5EF4-FFF2-40B4-BE49-F238E27FC236}">
                    <a16:creationId xmlns:a16="http://schemas.microsoft.com/office/drawing/2014/main" id="{2CCE6736-8A6F-46E4-AE61-54A9E63DBD81}"/>
                  </a:ext>
                </a:extLst>
              </p:cNvPr>
              <p:cNvSpPr/>
              <p:nvPr/>
            </p:nvSpPr>
            <p:spPr>
              <a:xfrm>
                <a:off x="5337839" y="2790554"/>
                <a:ext cx="9525" cy="9525"/>
              </a:xfrm>
              <a:custGeom>
                <a:avLst/>
                <a:gdLst/>
                <a:ahLst/>
                <a:cxnLst/>
                <a:rect l="l" t="t" r="r" b="b"/>
                <a:pathLst>
                  <a:path w="9525" h="9525"/>
                </a:pathLst>
              </a:custGeom>
              <a:grpFill/>
              <a:ln w="9525" cap="flat">
                <a:noFill/>
                <a:prstDash val="solid"/>
                <a:miter/>
              </a:ln>
            </p:spPr>
            <p:txBody>
              <a:bodyPr rtlCol="0" anchor="ctr"/>
              <a:lstStyle/>
              <a:p>
                <a:endParaRPr lang="en-US" sz="1765"/>
              </a:p>
            </p:txBody>
          </p:sp>
          <p:sp>
            <p:nvSpPr>
              <p:cNvPr id="17" name="Freeform: Shape 16">
                <a:extLst>
                  <a:ext uri="{FF2B5EF4-FFF2-40B4-BE49-F238E27FC236}">
                    <a16:creationId xmlns:a16="http://schemas.microsoft.com/office/drawing/2014/main" id="{A45B9B0F-8494-4DEC-896B-D2E90B574A94}"/>
                  </a:ext>
                </a:extLst>
              </p:cNvPr>
              <p:cNvSpPr/>
              <p:nvPr/>
            </p:nvSpPr>
            <p:spPr>
              <a:xfrm>
                <a:off x="6089361" y="3003913"/>
                <a:ext cx="156604" cy="65008"/>
              </a:xfrm>
              <a:custGeom>
                <a:avLst/>
                <a:gdLst>
                  <a:gd name="connsiteX0" fmla="*/ 123825 w 156604"/>
                  <a:gd name="connsiteY0" fmla="*/ 23813 h 65008"/>
                  <a:gd name="connsiteX1" fmla="*/ 113348 w 156604"/>
                  <a:gd name="connsiteY1" fmla="*/ 30480 h 65008"/>
                  <a:gd name="connsiteX2" fmla="*/ 105727 w 156604"/>
                  <a:gd name="connsiteY2" fmla="*/ 31433 h 65008"/>
                  <a:gd name="connsiteX3" fmla="*/ 97155 w 156604"/>
                  <a:gd name="connsiteY3" fmla="*/ 36195 h 65008"/>
                  <a:gd name="connsiteX4" fmla="*/ 97155 w 156604"/>
                  <a:gd name="connsiteY4" fmla="*/ 38100 h 65008"/>
                  <a:gd name="connsiteX5" fmla="*/ 95250 w 156604"/>
                  <a:gd name="connsiteY5" fmla="*/ 41910 h 65008"/>
                  <a:gd name="connsiteX6" fmla="*/ 91440 w 156604"/>
                  <a:gd name="connsiteY6" fmla="*/ 44768 h 65008"/>
                  <a:gd name="connsiteX7" fmla="*/ 83820 w 156604"/>
                  <a:gd name="connsiteY7" fmla="*/ 48578 h 65008"/>
                  <a:gd name="connsiteX8" fmla="*/ 83820 w 156604"/>
                  <a:gd name="connsiteY8" fmla="*/ 52388 h 65008"/>
                  <a:gd name="connsiteX9" fmla="*/ 82867 w 156604"/>
                  <a:gd name="connsiteY9" fmla="*/ 56197 h 65008"/>
                  <a:gd name="connsiteX10" fmla="*/ 80963 w 156604"/>
                  <a:gd name="connsiteY10" fmla="*/ 60008 h 65008"/>
                  <a:gd name="connsiteX11" fmla="*/ 75248 w 156604"/>
                  <a:gd name="connsiteY11" fmla="*/ 63818 h 65008"/>
                  <a:gd name="connsiteX12" fmla="*/ 54292 w 156604"/>
                  <a:gd name="connsiteY12" fmla="*/ 64770 h 65008"/>
                  <a:gd name="connsiteX13" fmla="*/ 45720 w 156604"/>
                  <a:gd name="connsiteY13" fmla="*/ 64770 h 65008"/>
                  <a:gd name="connsiteX14" fmla="*/ 39052 w 156604"/>
                  <a:gd name="connsiteY14" fmla="*/ 63818 h 65008"/>
                  <a:gd name="connsiteX15" fmla="*/ 29527 w 156604"/>
                  <a:gd name="connsiteY15" fmla="*/ 61913 h 65008"/>
                  <a:gd name="connsiteX16" fmla="*/ 24765 w 156604"/>
                  <a:gd name="connsiteY16" fmla="*/ 58103 h 65008"/>
                  <a:gd name="connsiteX17" fmla="*/ 19050 w 156604"/>
                  <a:gd name="connsiteY17" fmla="*/ 54293 h 65008"/>
                  <a:gd name="connsiteX18" fmla="*/ 10477 w 156604"/>
                  <a:gd name="connsiteY18" fmla="*/ 52388 h 65008"/>
                  <a:gd name="connsiteX19" fmla="*/ 5715 w 156604"/>
                  <a:gd name="connsiteY19" fmla="*/ 50483 h 65008"/>
                  <a:gd name="connsiteX20" fmla="*/ 3810 w 156604"/>
                  <a:gd name="connsiteY20" fmla="*/ 47625 h 65008"/>
                  <a:gd name="connsiteX21" fmla="*/ 2857 w 156604"/>
                  <a:gd name="connsiteY21" fmla="*/ 40958 h 65008"/>
                  <a:gd name="connsiteX22" fmla="*/ 0 w 156604"/>
                  <a:gd name="connsiteY22" fmla="*/ 37147 h 65008"/>
                  <a:gd name="connsiteX23" fmla="*/ 952 w 156604"/>
                  <a:gd name="connsiteY23" fmla="*/ 33338 h 65008"/>
                  <a:gd name="connsiteX24" fmla="*/ 5715 w 156604"/>
                  <a:gd name="connsiteY24" fmla="*/ 29528 h 65008"/>
                  <a:gd name="connsiteX25" fmla="*/ 10477 w 156604"/>
                  <a:gd name="connsiteY25" fmla="*/ 25718 h 65008"/>
                  <a:gd name="connsiteX26" fmla="*/ 11430 w 156604"/>
                  <a:gd name="connsiteY26" fmla="*/ 20955 h 65008"/>
                  <a:gd name="connsiteX27" fmla="*/ 13335 w 156604"/>
                  <a:gd name="connsiteY27" fmla="*/ 17145 h 65008"/>
                  <a:gd name="connsiteX28" fmla="*/ 14288 w 156604"/>
                  <a:gd name="connsiteY28" fmla="*/ 13335 h 65008"/>
                  <a:gd name="connsiteX29" fmla="*/ 20002 w 156604"/>
                  <a:gd name="connsiteY29" fmla="*/ 8572 h 65008"/>
                  <a:gd name="connsiteX30" fmla="*/ 27623 w 156604"/>
                  <a:gd name="connsiteY30" fmla="*/ 953 h 65008"/>
                  <a:gd name="connsiteX31" fmla="*/ 30480 w 156604"/>
                  <a:gd name="connsiteY31" fmla="*/ 953 h 65008"/>
                  <a:gd name="connsiteX32" fmla="*/ 43815 w 156604"/>
                  <a:gd name="connsiteY32" fmla="*/ 0 h 65008"/>
                  <a:gd name="connsiteX33" fmla="*/ 56198 w 156604"/>
                  <a:gd name="connsiteY33" fmla="*/ 953 h 65008"/>
                  <a:gd name="connsiteX34" fmla="*/ 69532 w 156604"/>
                  <a:gd name="connsiteY34" fmla="*/ 2858 h 65008"/>
                  <a:gd name="connsiteX35" fmla="*/ 90488 w 156604"/>
                  <a:gd name="connsiteY35" fmla="*/ 2858 h 65008"/>
                  <a:gd name="connsiteX36" fmla="*/ 103823 w 156604"/>
                  <a:gd name="connsiteY36" fmla="*/ 2858 h 65008"/>
                  <a:gd name="connsiteX37" fmla="*/ 117157 w 156604"/>
                  <a:gd name="connsiteY37" fmla="*/ 2858 h 65008"/>
                  <a:gd name="connsiteX38" fmla="*/ 131445 w 156604"/>
                  <a:gd name="connsiteY38" fmla="*/ 3810 h 65008"/>
                  <a:gd name="connsiteX39" fmla="*/ 139065 w 156604"/>
                  <a:gd name="connsiteY39" fmla="*/ 8572 h 65008"/>
                  <a:gd name="connsiteX40" fmla="*/ 150495 w 156604"/>
                  <a:gd name="connsiteY40" fmla="*/ 10478 h 65008"/>
                  <a:gd name="connsiteX41" fmla="*/ 155257 w 156604"/>
                  <a:gd name="connsiteY41" fmla="*/ 11430 h 65008"/>
                  <a:gd name="connsiteX42" fmla="*/ 156210 w 156604"/>
                  <a:gd name="connsiteY42" fmla="*/ 15240 h 65008"/>
                  <a:gd name="connsiteX43" fmla="*/ 147638 w 156604"/>
                  <a:gd name="connsiteY43" fmla="*/ 19050 h 65008"/>
                  <a:gd name="connsiteX44" fmla="*/ 123825 w 156604"/>
                  <a:gd name="connsiteY44" fmla="*/ 23813 h 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6604" h="65008">
                    <a:moveTo>
                      <a:pt x="123825" y="23813"/>
                    </a:moveTo>
                    <a:cubicBezTo>
                      <a:pt x="120015" y="27622"/>
                      <a:pt x="113348" y="30480"/>
                      <a:pt x="113348" y="30480"/>
                    </a:cubicBezTo>
                    <a:lnTo>
                      <a:pt x="105727" y="31433"/>
                    </a:lnTo>
                    <a:cubicBezTo>
                      <a:pt x="105727" y="31433"/>
                      <a:pt x="97155" y="34290"/>
                      <a:pt x="97155" y="36195"/>
                    </a:cubicBezTo>
                    <a:cubicBezTo>
                      <a:pt x="97155" y="38100"/>
                      <a:pt x="97155" y="38100"/>
                      <a:pt x="97155" y="38100"/>
                    </a:cubicBezTo>
                    <a:lnTo>
                      <a:pt x="95250" y="41910"/>
                    </a:lnTo>
                    <a:lnTo>
                      <a:pt x="91440" y="44768"/>
                    </a:lnTo>
                    <a:lnTo>
                      <a:pt x="83820" y="48578"/>
                    </a:lnTo>
                    <a:lnTo>
                      <a:pt x="83820" y="52388"/>
                    </a:lnTo>
                    <a:lnTo>
                      <a:pt x="82867" y="56197"/>
                    </a:lnTo>
                    <a:cubicBezTo>
                      <a:pt x="82867" y="56197"/>
                      <a:pt x="85725" y="56197"/>
                      <a:pt x="80963" y="60008"/>
                    </a:cubicBezTo>
                    <a:cubicBezTo>
                      <a:pt x="75248" y="63818"/>
                      <a:pt x="88582" y="61913"/>
                      <a:pt x="75248" y="63818"/>
                    </a:cubicBezTo>
                    <a:cubicBezTo>
                      <a:pt x="61913" y="65723"/>
                      <a:pt x="54292" y="64770"/>
                      <a:pt x="54292" y="64770"/>
                    </a:cubicBezTo>
                    <a:lnTo>
                      <a:pt x="45720" y="64770"/>
                    </a:lnTo>
                    <a:lnTo>
                      <a:pt x="39052" y="63818"/>
                    </a:lnTo>
                    <a:lnTo>
                      <a:pt x="29527" y="61913"/>
                    </a:lnTo>
                    <a:lnTo>
                      <a:pt x="24765" y="58103"/>
                    </a:lnTo>
                    <a:lnTo>
                      <a:pt x="19050" y="54293"/>
                    </a:lnTo>
                    <a:lnTo>
                      <a:pt x="10477" y="52388"/>
                    </a:lnTo>
                    <a:lnTo>
                      <a:pt x="5715" y="50483"/>
                    </a:lnTo>
                    <a:lnTo>
                      <a:pt x="3810" y="47625"/>
                    </a:lnTo>
                    <a:lnTo>
                      <a:pt x="2857" y="40958"/>
                    </a:lnTo>
                    <a:lnTo>
                      <a:pt x="0" y="37147"/>
                    </a:lnTo>
                    <a:lnTo>
                      <a:pt x="952" y="33338"/>
                    </a:lnTo>
                    <a:lnTo>
                      <a:pt x="5715" y="29528"/>
                    </a:lnTo>
                    <a:lnTo>
                      <a:pt x="10477" y="25718"/>
                    </a:lnTo>
                    <a:lnTo>
                      <a:pt x="11430" y="20955"/>
                    </a:lnTo>
                    <a:lnTo>
                      <a:pt x="13335" y="17145"/>
                    </a:lnTo>
                    <a:lnTo>
                      <a:pt x="14288" y="13335"/>
                    </a:lnTo>
                    <a:cubicBezTo>
                      <a:pt x="14288" y="13335"/>
                      <a:pt x="14288" y="11430"/>
                      <a:pt x="20002" y="8572"/>
                    </a:cubicBezTo>
                    <a:cubicBezTo>
                      <a:pt x="25717" y="5715"/>
                      <a:pt x="24765" y="953"/>
                      <a:pt x="27623" y="953"/>
                    </a:cubicBezTo>
                    <a:cubicBezTo>
                      <a:pt x="30480" y="953"/>
                      <a:pt x="26670" y="1905"/>
                      <a:pt x="30480" y="953"/>
                    </a:cubicBezTo>
                    <a:cubicBezTo>
                      <a:pt x="35242" y="0"/>
                      <a:pt x="38100" y="0"/>
                      <a:pt x="43815" y="0"/>
                    </a:cubicBezTo>
                    <a:cubicBezTo>
                      <a:pt x="49530" y="953"/>
                      <a:pt x="51435" y="-953"/>
                      <a:pt x="56198" y="953"/>
                    </a:cubicBezTo>
                    <a:cubicBezTo>
                      <a:pt x="60960" y="2858"/>
                      <a:pt x="62865" y="2858"/>
                      <a:pt x="69532" y="2858"/>
                    </a:cubicBezTo>
                    <a:cubicBezTo>
                      <a:pt x="76200" y="3810"/>
                      <a:pt x="90488" y="2858"/>
                      <a:pt x="90488" y="2858"/>
                    </a:cubicBezTo>
                    <a:cubicBezTo>
                      <a:pt x="90488" y="2858"/>
                      <a:pt x="100013" y="2858"/>
                      <a:pt x="103823" y="2858"/>
                    </a:cubicBezTo>
                    <a:cubicBezTo>
                      <a:pt x="107632" y="2858"/>
                      <a:pt x="111442" y="2858"/>
                      <a:pt x="117157" y="2858"/>
                    </a:cubicBezTo>
                    <a:cubicBezTo>
                      <a:pt x="122873" y="2858"/>
                      <a:pt x="131445" y="3810"/>
                      <a:pt x="131445" y="3810"/>
                    </a:cubicBezTo>
                    <a:cubicBezTo>
                      <a:pt x="134302" y="7620"/>
                      <a:pt x="139065" y="8572"/>
                      <a:pt x="139065" y="8572"/>
                    </a:cubicBezTo>
                    <a:cubicBezTo>
                      <a:pt x="139065" y="8572"/>
                      <a:pt x="145732" y="9525"/>
                      <a:pt x="150495" y="10478"/>
                    </a:cubicBezTo>
                    <a:cubicBezTo>
                      <a:pt x="155257" y="11430"/>
                      <a:pt x="154305" y="6668"/>
                      <a:pt x="155257" y="11430"/>
                    </a:cubicBezTo>
                    <a:cubicBezTo>
                      <a:pt x="156210" y="15240"/>
                      <a:pt x="157163" y="10478"/>
                      <a:pt x="156210" y="15240"/>
                    </a:cubicBezTo>
                    <a:cubicBezTo>
                      <a:pt x="155257" y="20003"/>
                      <a:pt x="150495" y="17145"/>
                      <a:pt x="147638" y="19050"/>
                    </a:cubicBezTo>
                    <a:cubicBezTo>
                      <a:pt x="142875" y="20955"/>
                      <a:pt x="123825" y="23813"/>
                      <a:pt x="123825" y="23813"/>
                    </a:cubicBezTo>
                    <a:close/>
                  </a:path>
                </a:pathLst>
              </a:custGeom>
              <a:grpFill/>
              <a:ln w="9525" cap="flat">
                <a:noFill/>
                <a:prstDash val="solid"/>
                <a:miter/>
              </a:ln>
            </p:spPr>
            <p:txBody>
              <a:bodyPr rtlCol="0" anchor="ctr"/>
              <a:lstStyle/>
              <a:p>
                <a:endParaRPr lang="en-US" sz="1765"/>
              </a:p>
            </p:txBody>
          </p:sp>
          <p:sp>
            <p:nvSpPr>
              <p:cNvPr id="18" name="Freeform: Shape 17">
                <a:extLst>
                  <a:ext uri="{FF2B5EF4-FFF2-40B4-BE49-F238E27FC236}">
                    <a16:creationId xmlns:a16="http://schemas.microsoft.com/office/drawing/2014/main" id="{E61765F0-BBE2-46EC-9E91-3665943E5C89}"/>
                  </a:ext>
                </a:extLst>
              </p:cNvPr>
              <p:cNvSpPr/>
              <p:nvPr/>
            </p:nvSpPr>
            <p:spPr>
              <a:xfrm>
                <a:off x="6127461" y="2930148"/>
                <a:ext cx="114723" cy="40428"/>
              </a:xfrm>
              <a:custGeom>
                <a:avLst/>
                <a:gdLst>
                  <a:gd name="connsiteX0" fmla="*/ 40957 w 114723"/>
                  <a:gd name="connsiteY0" fmla="*/ 39476 h 40428"/>
                  <a:gd name="connsiteX1" fmla="*/ 31432 w 114723"/>
                  <a:gd name="connsiteY1" fmla="*/ 39476 h 40428"/>
                  <a:gd name="connsiteX2" fmla="*/ 16192 w 114723"/>
                  <a:gd name="connsiteY2" fmla="*/ 40428 h 40428"/>
                  <a:gd name="connsiteX3" fmla="*/ 6667 w 114723"/>
                  <a:gd name="connsiteY3" fmla="*/ 39476 h 40428"/>
                  <a:gd name="connsiteX4" fmla="*/ 952 w 114723"/>
                  <a:gd name="connsiteY4" fmla="*/ 35666 h 40428"/>
                  <a:gd name="connsiteX5" fmla="*/ 0 w 114723"/>
                  <a:gd name="connsiteY5" fmla="*/ 30903 h 40428"/>
                  <a:gd name="connsiteX6" fmla="*/ 6667 w 114723"/>
                  <a:gd name="connsiteY6" fmla="*/ 27093 h 40428"/>
                  <a:gd name="connsiteX7" fmla="*/ 15240 w 114723"/>
                  <a:gd name="connsiteY7" fmla="*/ 24236 h 40428"/>
                  <a:gd name="connsiteX8" fmla="*/ 21907 w 114723"/>
                  <a:gd name="connsiteY8" fmla="*/ 23283 h 40428"/>
                  <a:gd name="connsiteX9" fmla="*/ 33338 w 114723"/>
                  <a:gd name="connsiteY9" fmla="*/ 19473 h 40428"/>
                  <a:gd name="connsiteX10" fmla="*/ 41910 w 114723"/>
                  <a:gd name="connsiteY10" fmla="*/ 15663 h 40428"/>
                  <a:gd name="connsiteX11" fmla="*/ 46673 w 114723"/>
                  <a:gd name="connsiteY11" fmla="*/ 14711 h 40428"/>
                  <a:gd name="connsiteX12" fmla="*/ 56198 w 114723"/>
                  <a:gd name="connsiteY12" fmla="*/ 11853 h 40428"/>
                  <a:gd name="connsiteX13" fmla="*/ 59055 w 114723"/>
                  <a:gd name="connsiteY13" fmla="*/ 12806 h 40428"/>
                  <a:gd name="connsiteX14" fmla="*/ 70485 w 114723"/>
                  <a:gd name="connsiteY14" fmla="*/ 6138 h 40428"/>
                  <a:gd name="connsiteX15" fmla="*/ 78105 w 114723"/>
                  <a:gd name="connsiteY15" fmla="*/ 2328 h 40428"/>
                  <a:gd name="connsiteX16" fmla="*/ 90488 w 114723"/>
                  <a:gd name="connsiteY16" fmla="*/ 423 h 40428"/>
                  <a:gd name="connsiteX17" fmla="*/ 99060 w 114723"/>
                  <a:gd name="connsiteY17" fmla="*/ 423 h 40428"/>
                  <a:gd name="connsiteX18" fmla="*/ 107632 w 114723"/>
                  <a:gd name="connsiteY18" fmla="*/ 1376 h 40428"/>
                  <a:gd name="connsiteX19" fmla="*/ 114300 w 114723"/>
                  <a:gd name="connsiteY19" fmla="*/ 4233 h 40428"/>
                  <a:gd name="connsiteX20" fmla="*/ 114300 w 114723"/>
                  <a:gd name="connsiteY20" fmla="*/ 11853 h 40428"/>
                  <a:gd name="connsiteX21" fmla="*/ 110490 w 114723"/>
                  <a:gd name="connsiteY21" fmla="*/ 18521 h 40428"/>
                  <a:gd name="connsiteX22" fmla="*/ 103823 w 114723"/>
                  <a:gd name="connsiteY22" fmla="*/ 24236 h 40428"/>
                  <a:gd name="connsiteX23" fmla="*/ 92392 w 114723"/>
                  <a:gd name="connsiteY23" fmla="*/ 27093 h 40428"/>
                  <a:gd name="connsiteX24" fmla="*/ 87630 w 114723"/>
                  <a:gd name="connsiteY24" fmla="*/ 28046 h 40428"/>
                  <a:gd name="connsiteX25" fmla="*/ 82867 w 114723"/>
                  <a:gd name="connsiteY25" fmla="*/ 28046 h 40428"/>
                  <a:gd name="connsiteX26" fmla="*/ 77152 w 114723"/>
                  <a:gd name="connsiteY26" fmla="*/ 28046 h 40428"/>
                  <a:gd name="connsiteX27" fmla="*/ 71438 w 114723"/>
                  <a:gd name="connsiteY27" fmla="*/ 28998 h 40428"/>
                  <a:gd name="connsiteX28" fmla="*/ 65723 w 114723"/>
                  <a:gd name="connsiteY28" fmla="*/ 29951 h 40428"/>
                  <a:gd name="connsiteX29" fmla="*/ 60960 w 114723"/>
                  <a:gd name="connsiteY29" fmla="*/ 33761 h 40428"/>
                  <a:gd name="connsiteX30" fmla="*/ 56198 w 114723"/>
                  <a:gd name="connsiteY30" fmla="*/ 36618 h 40428"/>
                  <a:gd name="connsiteX31" fmla="*/ 40957 w 114723"/>
                  <a:gd name="connsiteY31" fmla="*/ 39476 h 4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723" h="40428">
                    <a:moveTo>
                      <a:pt x="40957" y="39476"/>
                    </a:moveTo>
                    <a:cubicBezTo>
                      <a:pt x="40957" y="39476"/>
                      <a:pt x="34290" y="39476"/>
                      <a:pt x="31432" y="39476"/>
                    </a:cubicBezTo>
                    <a:cubicBezTo>
                      <a:pt x="28575" y="39476"/>
                      <a:pt x="16192" y="40428"/>
                      <a:pt x="16192" y="40428"/>
                    </a:cubicBezTo>
                    <a:lnTo>
                      <a:pt x="6667" y="39476"/>
                    </a:lnTo>
                    <a:lnTo>
                      <a:pt x="952" y="35666"/>
                    </a:lnTo>
                    <a:lnTo>
                      <a:pt x="0" y="30903"/>
                    </a:lnTo>
                    <a:cubicBezTo>
                      <a:pt x="0" y="30903"/>
                      <a:pt x="1905" y="29951"/>
                      <a:pt x="6667" y="27093"/>
                    </a:cubicBezTo>
                    <a:cubicBezTo>
                      <a:pt x="11430" y="25188"/>
                      <a:pt x="15240" y="24236"/>
                      <a:pt x="15240" y="24236"/>
                    </a:cubicBezTo>
                    <a:cubicBezTo>
                      <a:pt x="21907" y="23283"/>
                      <a:pt x="16192" y="24236"/>
                      <a:pt x="21907" y="23283"/>
                    </a:cubicBezTo>
                    <a:cubicBezTo>
                      <a:pt x="27623" y="22331"/>
                      <a:pt x="28575" y="20426"/>
                      <a:pt x="33338" y="19473"/>
                    </a:cubicBezTo>
                    <a:cubicBezTo>
                      <a:pt x="38100" y="18521"/>
                      <a:pt x="38100" y="15663"/>
                      <a:pt x="41910" y="15663"/>
                    </a:cubicBezTo>
                    <a:cubicBezTo>
                      <a:pt x="46673" y="14711"/>
                      <a:pt x="40957" y="16616"/>
                      <a:pt x="46673" y="14711"/>
                    </a:cubicBezTo>
                    <a:cubicBezTo>
                      <a:pt x="52388" y="13758"/>
                      <a:pt x="53340" y="10901"/>
                      <a:pt x="56198" y="11853"/>
                    </a:cubicBezTo>
                    <a:cubicBezTo>
                      <a:pt x="59055" y="12806"/>
                      <a:pt x="59055" y="12806"/>
                      <a:pt x="59055" y="12806"/>
                    </a:cubicBezTo>
                    <a:lnTo>
                      <a:pt x="70485" y="6138"/>
                    </a:lnTo>
                    <a:cubicBezTo>
                      <a:pt x="70485" y="6138"/>
                      <a:pt x="72390" y="2328"/>
                      <a:pt x="78105" y="2328"/>
                    </a:cubicBezTo>
                    <a:cubicBezTo>
                      <a:pt x="83820" y="2328"/>
                      <a:pt x="90488" y="423"/>
                      <a:pt x="90488" y="423"/>
                    </a:cubicBezTo>
                    <a:cubicBezTo>
                      <a:pt x="90488" y="423"/>
                      <a:pt x="95250" y="-529"/>
                      <a:pt x="99060" y="423"/>
                    </a:cubicBezTo>
                    <a:cubicBezTo>
                      <a:pt x="103823" y="1376"/>
                      <a:pt x="107632" y="1376"/>
                      <a:pt x="107632" y="1376"/>
                    </a:cubicBezTo>
                    <a:lnTo>
                      <a:pt x="114300" y="4233"/>
                    </a:lnTo>
                    <a:cubicBezTo>
                      <a:pt x="115252" y="8996"/>
                      <a:pt x="114300" y="8043"/>
                      <a:pt x="114300" y="11853"/>
                    </a:cubicBezTo>
                    <a:cubicBezTo>
                      <a:pt x="114300" y="15663"/>
                      <a:pt x="112395" y="15663"/>
                      <a:pt x="110490" y="18521"/>
                    </a:cubicBezTo>
                    <a:cubicBezTo>
                      <a:pt x="109538" y="21378"/>
                      <a:pt x="103823" y="24236"/>
                      <a:pt x="103823" y="24236"/>
                    </a:cubicBezTo>
                    <a:lnTo>
                      <a:pt x="92392" y="27093"/>
                    </a:lnTo>
                    <a:lnTo>
                      <a:pt x="87630" y="28046"/>
                    </a:lnTo>
                    <a:lnTo>
                      <a:pt x="82867" y="28046"/>
                    </a:lnTo>
                    <a:lnTo>
                      <a:pt x="77152" y="28046"/>
                    </a:lnTo>
                    <a:lnTo>
                      <a:pt x="71438" y="28998"/>
                    </a:lnTo>
                    <a:lnTo>
                      <a:pt x="65723" y="29951"/>
                    </a:lnTo>
                    <a:cubicBezTo>
                      <a:pt x="60960" y="33761"/>
                      <a:pt x="60960" y="33761"/>
                      <a:pt x="60960" y="33761"/>
                    </a:cubicBezTo>
                    <a:lnTo>
                      <a:pt x="56198" y="36618"/>
                    </a:lnTo>
                    <a:lnTo>
                      <a:pt x="40957" y="39476"/>
                    </a:lnTo>
                    <a:close/>
                  </a:path>
                </a:pathLst>
              </a:custGeom>
              <a:grpFill/>
              <a:ln w="9525" cap="flat">
                <a:noFill/>
                <a:prstDash val="solid"/>
                <a:miter/>
              </a:ln>
            </p:spPr>
            <p:txBody>
              <a:bodyPr rtlCol="0" anchor="ctr"/>
              <a:lstStyle/>
              <a:p>
                <a:endParaRPr lang="en-US" sz="1765"/>
              </a:p>
            </p:txBody>
          </p:sp>
          <p:sp>
            <p:nvSpPr>
              <p:cNvPr id="19" name="Freeform: Shape 18">
                <a:extLst>
                  <a:ext uri="{FF2B5EF4-FFF2-40B4-BE49-F238E27FC236}">
                    <a16:creationId xmlns:a16="http://schemas.microsoft.com/office/drawing/2014/main" id="{405F14EF-51C2-4A98-9132-055794D7A9F6}"/>
                  </a:ext>
                </a:extLst>
              </p:cNvPr>
              <p:cNvSpPr/>
              <p:nvPr/>
            </p:nvSpPr>
            <p:spPr>
              <a:xfrm>
                <a:off x="6227474" y="2955336"/>
                <a:ext cx="208597" cy="46114"/>
              </a:xfrm>
              <a:custGeom>
                <a:avLst/>
                <a:gdLst>
                  <a:gd name="connsiteX0" fmla="*/ 62865 w 208597"/>
                  <a:gd name="connsiteY0" fmla="*/ 4763 h 46114"/>
                  <a:gd name="connsiteX1" fmla="*/ 47625 w 208597"/>
                  <a:gd name="connsiteY1" fmla="*/ 4763 h 46114"/>
                  <a:gd name="connsiteX2" fmla="*/ 35242 w 208597"/>
                  <a:gd name="connsiteY2" fmla="*/ 4763 h 46114"/>
                  <a:gd name="connsiteX3" fmla="*/ 25717 w 208597"/>
                  <a:gd name="connsiteY3" fmla="*/ 5715 h 46114"/>
                  <a:gd name="connsiteX4" fmla="*/ 18098 w 208597"/>
                  <a:gd name="connsiteY4" fmla="*/ 10478 h 46114"/>
                  <a:gd name="connsiteX5" fmla="*/ 14288 w 208597"/>
                  <a:gd name="connsiteY5" fmla="*/ 17145 h 46114"/>
                  <a:gd name="connsiteX6" fmla="*/ 13335 w 208597"/>
                  <a:gd name="connsiteY6" fmla="*/ 19050 h 46114"/>
                  <a:gd name="connsiteX7" fmla="*/ 1905 w 208597"/>
                  <a:gd name="connsiteY7" fmla="*/ 24765 h 46114"/>
                  <a:gd name="connsiteX8" fmla="*/ 0 w 208597"/>
                  <a:gd name="connsiteY8" fmla="*/ 31433 h 46114"/>
                  <a:gd name="connsiteX9" fmla="*/ 9525 w 208597"/>
                  <a:gd name="connsiteY9" fmla="*/ 34290 h 46114"/>
                  <a:gd name="connsiteX10" fmla="*/ 21907 w 208597"/>
                  <a:gd name="connsiteY10" fmla="*/ 34290 h 46114"/>
                  <a:gd name="connsiteX11" fmla="*/ 35242 w 208597"/>
                  <a:gd name="connsiteY11" fmla="*/ 34290 h 46114"/>
                  <a:gd name="connsiteX12" fmla="*/ 40957 w 208597"/>
                  <a:gd name="connsiteY12" fmla="*/ 35243 h 46114"/>
                  <a:gd name="connsiteX13" fmla="*/ 56198 w 208597"/>
                  <a:gd name="connsiteY13" fmla="*/ 35243 h 46114"/>
                  <a:gd name="connsiteX14" fmla="*/ 60960 w 208597"/>
                  <a:gd name="connsiteY14" fmla="*/ 37148 h 46114"/>
                  <a:gd name="connsiteX15" fmla="*/ 62865 w 208597"/>
                  <a:gd name="connsiteY15" fmla="*/ 40958 h 46114"/>
                  <a:gd name="connsiteX16" fmla="*/ 70485 w 208597"/>
                  <a:gd name="connsiteY16" fmla="*/ 44768 h 46114"/>
                  <a:gd name="connsiteX17" fmla="*/ 81915 w 208597"/>
                  <a:gd name="connsiteY17" fmla="*/ 45720 h 46114"/>
                  <a:gd name="connsiteX18" fmla="*/ 95250 w 208597"/>
                  <a:gd name="connsiteY18" fmla="*/ 41910 h 46114"/>
                  <a:gd name="connsiteX19" fmla="*/ 107632 w 208597"/>
                  <a:gd name="connsiteY19" fmla="*/ 39053 h 46114"/>
                  <a:gd name="connsiteX20" fmla="*/ 116205 w 208597"/>
                  <a:gd name="connsiteY20" fmla="*/ 39053 h 46114"/>
                  <a:gd name="connsiteX21" fmla="*/ 134302 w 208597"/>
                  <a:gd name="connsiteY21" fmla="*/ 36195 h 46114"/>
                  <a:gd name="connsiteX22" fmla="*/ 148590 w 208597"/>
                  <a:gd name="connsiteY22" fmla="*/ 34290 h 46114"/>
                  <a:gd name="connsiteX23" fmla="*/ 166688 w 208597"/>
                  <a:gd name="connsiteY23" fmla="*/ 34290 h 46114"/>
                  <a:gd name="connsiteX24" fmla="*/ 179070 w 208597"/>
                  <a:gd name="connsiteY24" fmla="*/ 35243 h 46114"/>
                  <a:gd name="connsiteX25" fmla="*/ 190500 w 208597"/>
                  <a:gd name="connsiteY25" fmla="*/ 35243 h 46114"/>
                  <a:gd name="connsiteX26" fmla="*/ 197167 w 208597"/>
                  <a:gd name="connsiteY26" fmla="*/ 33338 h 46114"/>
                  <a:gd name="connsiteX27" fmla="*/ 204788 w 208597"/>
                  <a:gd name="connsiteY27" fmla="*/ 29528 h 46114"/>
                  <a:gd name="connsiteX28" fmla="*/ 208598 w 208597"/>
                  <a:gd name="connsiteY28" fmla="*/ 20955 h 46114"/>
                  <a:gd name="connsiteX29" fmla="*/ 204788 w 208597"/>
                  <a:gd name="connsiteY29" fmla="*/ 14288 h 46114"/>
                  <a:gd name="connsiteX30" fmla="*/ 192405 w 208597"/>
                  <a:gd name="connsiteY30" fmla="*/ 12383 h 46114"/>
                  <a:gd name="connsiteX31" fmla="*/ 180023 w 208597"/>
                  <a:gd name="connsiteY31" fmla="*/ 12383 h 46114"/>
                  <a:gd name="connsiteX32" fmla="*/ 170498 w 208597"/>
                  <a:gd name="connsiteY32" fmla="*/ 11430 h 46114"/>
                  <a:gd name="connsiteX33" fmla="*/ 166688 w 208597"/>
                  <a:gd name="connsiteY33" fmla="*/ 11430 h 46114"/>
                  <a:gd name="connsiteX34" fmla="*/ 158115 w 208597"/>
                  <a:gd name="connsiteY34" fmla="*/ 3810 h 46114"/>
                  <a:gd name="connsiteX35" fmla="*/ 153352 w 208597"/>
                  <a:gd name="connsiteY35" fmla="*/ 1905 h 46114"/>
                  <a:gd name="connsiteX36" fmla="*/ 139065 w 208597"/>
                  <a:gd name="connsiteY36" fmla="*/ 0 h 46114"/>
                  <a:gd name="connsiteX37" fmla="*/ 131445 w 208597"/>
                  <a:gd name="connsiteY37" fmla="*/ 0 h 46114"/>
                  <a:gd name="connsiteX38" fmla="*/ 126682 w 208597"/>
                  <a:gd name="connsiteY38" fmla="*/ 953 h 46114"/>
                  <a:gd name="connsiteX39" fmla="*/ 124777 w 208597"/>
                  <a:gd name="connsiteY39" fmla="*/ 6668 h 46114"/>
                  <a:gd name="connsiteX40" fmla="*/ 120967 w 208597"/>
                  <a:gd name="connsiteY40" fmla="*/ 11430 h 46114"/>
                  <a:gd name="connsiteX41" fmla="*/ 120015 w 208597"/>
                  <a:gd name="connsiteY41" fmla="*/ 13335 h 46114"/>
                  <a:gd name="connsiteX42" fmla="*/ 112395 w 208597"/>
                  <a:gd name="connsiteY42" fmla="*/ 17145 h 46114"/>
                  <a:gd name="connsiteX43" fmla="*/ 105727 w 208597"/>
                  <a:gd name="connsiteY43" fmla="*/ 18098 h 46114"/>
                  <a:gd name="connsiteX44" fmla="*/ 97155 w 208597"/>
                  <a:gd name="connsiteY44" fmla="*/ 18098 h 46114"/>
                  <a:gd name="connsiteX45" fmla="*/ 90488 w 208597"/>
                  <a:gd name="connsiteY45" fmla="*/ 17145 h 46114"/>
                  <a:gd name="connsiteX46" fmla="*/ 87630 w 208597"/>
                  <a:gd name="connsiteY46" fmla="*/ 14288 h 46114"/>
                  <a:gd name="connsiteX47" fmla="*/ 79057 w 208597"/>
                  <a:gd name="connsiteY47" fmla="*/ 10478 h 46114"/>
                  <a:gd name="connsiteX48" fmla="*/ 62865 w 208597"/>
                  <a:gd name="connsiteY48" fmla="*/ 4763 h 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8597" h="46114">
                    <a:moveTo>
                      <a:pt x="62865" y="4763"/>
                    </a:moveTo>
                    <a:lnTo>
                      <a:pt x="47625" y="4763"/>
                    </a:lnTo>
                    <a:lnTo>
                      <a:pt x="35242" y="4763"/>
                    </a:lnTo>
                    <a:cubicBezTo>
                      <a:pt x="35242" y="4763"/>
                      <a:pt x="28575" y="2858"/>
                      <a:pt x="25717" y="5715"/>
                    </a:cubicBezTo>
                    <a:cubicBezTo>
                      <a:pt x="21907" y="8573"/>
                      <a:pt x="19050" y="7620"/>
                      <a:pt x="18098" y="10478"/>
                    </a:cubicBezTo>
                    <a:cubicBezTo>
                      <a:pt x="17145" y="13335"/>
                      <a:pt x="16192" y="14288"/>
                      <a:pt x="14288" y="17145"/>
                    </a:cubicBezTo>
                    <a:cubicBezTo>
                      <a:pt x="13335" y="19050"/>
                      <a:pt x="13335" y="19050"/>
                      <a:pt x="13335" y="19050"/>
                    </a:cubicBezTo>
                    <a:lnTo>
                      <a:pt x="1905" y="24765"/>
                    </a:lnTo>
                    <a:cubicBezTo>
                      <a:pt x="0" y="28575"/>
                      <a:pt x="0" y="31433"/>
                      <a:pt x="0" y="31433"/>
                    </a:cubicBezTo>
                    <a:cubicBezTo>
                      <a:pt x="5715" y="34290"/>
                      <a:pt x="5715" y="33338"/>
                      <a:pt x="9525" y="34290"/>
                    </a:cubicBezTo>
                    <a:cubicBezTo>
                      <a:pt x="14288" y="35243"/>
                      <a:pt x="15240" y="33338"/>
                      <a:pt x="21907" y="34290"/>
                    </a:cubicBezTo>
                    <a:cubicBezTo>
                      <a:pt x="28575" y="35243"/>
                      <a:pt x="29527" y="33338"/>
                      <a:pt x="35242" y="34290"/>
                    </a:cubicBezTo>
                    <a:cubicBezTo>
                      <a:pt x="40957" y="35243"/>
                      <a:pt x="30480" y="34290"/>
                      <a:pt x="40957" y="35243"/>
                    </a:cubicBezTo>
                    <a:cubicBezTo>
                      <a:pt x="50482" y="36195"/>
                      <a:pt x="52388" y="34290"/>
                      <a:pt x="56198" y="35243"/>
                    </a:cubicBezTo>
                    <a:cubicBezTo>
                      <a:pt x="60960" y="37148"/>
                      <a:pt x="60960" y="37148"/>
                      <a:pt x="60960" y="37148"/>
                    </a:cubicBezTo>
                    <a:cubicBezTo>
                      <a:pt x="60960" y="37148"/>
                      <a:pt x="60007" y="39053"/>
                      <a:pt x="62865" y="40958"/>
                    </a:cubicBezTo>
                    <a:cubicBezTo>
                      <a:pt x="65723" y="42863"/>
                      <a:pt x="65723" y="43815"/>
                      <a:pt x="70485" y="44768"/>
                    </a:cubicBezTo>
                    <a:cubicBezTo>
                      <a:pt x="75248" y="45720"/>
                      <a:pt x="78105" y="46673"/>
                      <a:pt x="81915" y="45720"/>
                    </a:cubicBezTo>
                    <a:cubicBezTo>
                      <a:pt x="84773" y="44768"/>
                      <a:pt x="92392" y="41910"/>
                      <a:pt x="95250" y="41910"/>
                    </a:cubicBezTo>
                    <a:cubicBezTo>
                      <a:pt x="98107" y="41910"/>
                      <a:pt x="107632" y="39053"/>
                      <a:pt x="107632" y="39053"/>
                    </a:cubicBezTo>
                    <a:cubicBezTo>
                      <a:pt x="107632" y="39053"/>
                      <a:pt x="113348" y="38100"/>
                      <a:pt x="116205" y="39053"/>
                    </a:cubicBezTo>
                    <a:cubicBezTo>
                      <a:pt x="119063" y="40005"/>
                      <a:pt x="130492" y="37148"/>
                      <a:pt x="134302" y="36195"/>
                    </a:cubicBezTo>
                    <a:cubicBezTo>
                      <a:pt x="137160" y="35243"/>
                      <a:pt x="142875" y="33338"/>
                      <a:pt x="148590" y="34290"/>
                    </a:cubicBezTo>
                    <a:cubicBezTo>
                      <a:pt x="154305" y="35243"/>
                      <a:pt x="166688" y="34290"/>
                      <a:pt x="166688" y="34290"/>
                    </a:cubicBezTo>
                    <a:cubicBezTo>
                      <a:pt x="166688" y="34290"/>
                      <a:pt x="173355" y="34290"/>
                      <a:pt x="179070" y="35243"/>
                    </a:cubicBezTo>
                    <a:cubicBezTo>
                      <a:pt x="184785" y="36195"/>
                      <a:pt x="190500" y="35243"/>
                      <a:pt x="190500" y="35243"/>
                    </a:cubicBezTo>
                    <a:cubicBezTo>
                      <a:pt x="190500" y="35243"/>
                      <a:pt x="192405" y="33338"/>
                      <a:pt x="197167" y="33338"/>
                    </a:cubicBezTo>
                    <a:cubicBezTo>
                      <a:pt x="201930" y="33338"/>
                      <a:pt x="201930" y="30480"/>
                      <a:pt x="204788" y="29528"/>
                    </a:cubicBezTo>
                    <a:cubicBezTo>
                      <a:pt x="208598" y="28575"/>
                      <a:pt x="208598" y="20955"/>
                      <a:pt x="208598" y="20955"/>
                    </a:cubicBezTo>
                    <a:lnTo>
                      <a:pt x="204788" y="14288"/>
                    </a:lnTo>
                    <a:lnTo>
                      <a:pt x="192405" y="12383"/>
                    </a:lnTo>
                    <a:lnTo>
                      <a:pt x="180023" y="12383"/>
                    </a:lnTo>
                    <a:cubicBezTo>
                      <a:pt x="180023" y="12383"/>
                      <a:pt x="173355" y="11430"/>
                      <a:pt x="170498" y="11430"/>
                    </a:cubicBezTo>
                    <a:cubicBezTo>
                      <a:pt x="166688" y="11430"/>
                      <a:pt x="166688" y="11430"/>
                      <a:pt x="166688" y="11430"/>
                    </a:cubicBezTo>
                    <a:lnTo>
                      <a:pt x="158115" y="3810"/>
                    </a:lnTo>
                    <a:lnTo>
                      <a:pt x="153352" y="1905"/>
                    </a:lnTo>
                    <a:lnTo>
                      <a:pt x="139065" y="0"/>
                    </a:lnTo>
                    <a:lnTo>
                      <a:pt x="131445" y="0"/>
                    </a:lnTo>
                    <a:lnTo>
                      <a:pt x="126682" y="953"/>
                    </a:lnTo>
                    <a:cubicBezTo>
                      <a:pt x="126682" y="953"/>
                      <a:pt x="124777" y="4763"/>
                      <a:pt x="124777" y="6668"/>
                    </a:cubicBezTo>
                    <a:cubicBezTo>
                      <a:pt x="124777" y="8573"/>
                      <a:pt x="122873" y="9525"/>
                      <a:pt x="120967" y="11430"/>
                    </a:cubicBezTo>
                    <a:cubicBezTo>
                      <a:pt x="120015" y="13335"/>
                      <a:pt x="121920" y="11430"/>
                      <a:pt x="120015" y="13335"/>
                    </a:cubicBezTo>
                    <a:cubicBezTo>
                      <a:pt x="118110" y="15240"/>
                      <a:pt x="112395" y="17145"/>
                      <a:pt x="112395" y="17145"/>
                    </a:cubicBezTo>
                    <a:lnTo>
                      <a:pt x="105727" y="18098"/>
                    </a:lnTo>
                    <a:lnTo>
                      <a:pt x="97155" y="18098"/>
                    </a:lnTo>
                    <a:lnTo>
                      <a:pt x="90488" y="17145"/>
                    </a:lnTo>
                    <a:lnTo>
                      <a:pt x="87630" y="14288"/>
                    </a:lnTo>
                    <a:lnTo>
                      <a:pt x="79057" y="10478"/>
                    </a:lnTo>
                    <a:lnTo>
                      <a:pt x="62865" y="4763"/>
                    </a:lnTo>
                    <a:close/>
                  </a:path>
                </a:pathLst>
              </a:custGeom>
              <a:grpFill/>
              <a:ln w="9525" cap="flat">
                <a:noFill/>
                <a:prstDash val="solid"/>
                <a:miter/>
              </a:ln>
            </p:spPr>
            <p:txBody>
              <a:bodyPr rtlCol="0" anchor="ctr"/>
              <a:lstStyle/>
              <a:p>
                <a:endParaRPr lang="en-US" sz="1765"/>
              </a:p>
            </p:txBody>
          </p:sp>
          <p:sp>
            <p:nvSpPr>
              <p:cNvPr id="20" name="Freeform: Shape 19">
                <a:extLst>
                  <a:ext uri="{FF2B5EF4-FFF2-40B4-BE49-F238E27FC236}">
                    <a16:creationId xmlns:a16="http://schemas.microsoft.com/office/drawing/2014/main" id="{183755C6-7661-4C2C-85CC-B998308CCD8F}"/>
                  </a:ext>
                </a:extLst>
              </p:cNvPr>
              <p:cNvSpPr/>
              <p:nvPr/>
            </p:nvSpPr>
            <p:spPr>
              <a:xfrm>
                <a:off x="6294576" y="2902525"/>
                <a:ext cx="65401" cy="30903"/>
              </a:xfrm>
              <a:custGeom>
                <a:avLst/>
                <a:gdLst>
                  <a:gd name="connsiteX0" fmla="*/ 17670 w 65401"/>
                  <a:gd name="connsiteY0" fmla="*/ 30903 h 30903"/>
                  <a:gd name="connsiteX1" fmla="*/ 2430 w 65401"/>
                  <a:gd name="connsiteY1" fmla="*/ 27093 h 30903"/>
                  <a:gd name="connsiteX2" fmla="*/ 1477 w 65401"/>
                  <a:gd name="connsiteY2" fmla="*/ 22331 h 30903"/>
                  <a:gd name="connsiteX3" fmla="*/ 5287 w 65401"/>
                  <a:gd name="connsiteY3" fmla="*/ 22331 h 30903"/>
                  <a:gd name="connsiteX4" fmla="*/ 10050 w 65401"/>
                  <a:gd name="connsiteY4" fmla="*/ 20426 h 30903"/>
                  <a:gd name="connsiteX5" fmla="*/ 11002 w 65401"/>
                  <a:gd name="connsiteY5" fmla="*/ 12806 h 30903"/>
                  <a:gd name="connsiteX6" fmla="*/ 10050 w 65401"/>
                  <a:gd name="connsiteY6" fmla="*/ 10901 h 30903"/>
                  <a:gd name="connsiteX7" fmla="*/ 5287 w 65401"/>
                  <a:gd name="connsiteY7" fmla="*/ 8043 h 30903"/>
                  <a:gd name="connsiteX8" fmla="*/ 11002 w 65401"/>
                  <a:gd name="connsiteY8" fmla="*/ 3281 h 30903"/>
                  <a:gd name="connsiteX9" fmla="*/ 25290 w 65401"/>
                  <a:gd name="connsiteY9" fmla="*/ 1376 h 30903"/>
                  <a:gd name="connsiteX10" fmla="*/ 42435 w 65401"/>
                  <a:gd name="connsiteY10" fmla="*/ 423 h 30903"/>
                  <a:gd name="connsiteX11" fmla="*/ 51960 w 65401"/>
                  <a:gd name="connsiteY11" fmla="*/ 423 h 30903"/>
                  <a:gd name="connsiteX12" fmla="*/ 62437 w 65401"/>
                  <a:gd name="connsiteY12" fmla="*/ 3281 h 30903"/>
                  <a:gd name="connsiteX13" fmla="*/ 65295 w 65401"/>
                  <a:gd name="connsiteY13" fmla="*/ 7091 h 30903"/>
                  <a:gd name="connsiteX14" fmla="*/ 60532 w 65401"/>
                  <a:gd name="connsiteY14" fmla="*/ 14711 h 30903"/>
                  <a:gd name="connsiteX15" fmla="*/ 53865 w 65401"/>
                  <a:gd name="connsiteY15" fmla="*/ 18521 h 30903"/>
                  <a:gd name="connsiteX16" fmla="*/ 53865 w 65401"/>
                  <a:gd name="connsiteY16" fmla="*/ 21378 h 30903"/>
                  <a:gd name="connsiteX17" fmla="*/ 53865 w 65401"/>
                  <a:gd name="connsiteY17" fmla="*/ 25188 h 30903"/>
                  <a:gd name="connsiteX18" fmla="*/ 53865 w 65401"/>
                  <a:gd name="connsiteY18" fmla="*/ 28998 h 30903"/>
                  <a:gd name="connsiteX19" fmla="*/ 46245 w 65401"/>
                  <a:gd name="connsiteY19" fmla="*/ 29951 h 30903"/>
                  <a:gd name="connsiteX20" fmla="*/ 40530 w 65401"/>
                  <a:gd name="connsiteY20" fmla="*/ 29951 h 30903"/>
                  <a:gd name="connsiteX21" fmla="*/ 31005 w 65401"/>
                  <a:gd name="connsiteY21" fmla="*/ 28998 h 30903"/>
                  <a:gd name="connsiteX22" fmla="*/ 26242 w 65401"/>
                  <a:gd name="connsiteY22" fmla="*/ 28998 h 30903"/>
                  <a:gd name="connsiteX23" fmla="*/ 19575 w 65401"/>
                  <a:gd name="connsiteY23" fmla="*/ 29951 h 30903"/>
                  <a:gd name="connsiteX24" fmla="*/ 17670 w 65401"/>
                  <a:gd name="connsiteY24" fmla="*/ 30903 h 3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401" h="30903">
                    <a:moveTo>
                      <a:pt x="17670" y="30903"/>
                    </a:moveTo>
                    <a:lnTo>
                      <a:pt x="2430" y="27093"/>
                    </a:lnTo>
                    <a:cubicBezTo>
                      <a:pt x="2430" y="27093"/>
                      <a:pt x="-2333" y="22331"/>
                      <a:pt x="1477" y="22331"/>
                    </a:cubicBezTo>
                    <a:cubicBezTo>
                      <a:pt x="5287" y="22331"/>
                      <a:pt x="5287" y="22331"/>
                      <a:pt x="5287" y="22331"/>
                    </a:cubicBezTo>
                    <a:lnTo>
                      <a:pt x="10050" y="20426"/>
                    </a:lnTo>
                    <a:cubicBezTo>
                      <a:pt x="10050" y="20426"/>
                      <a:pt x="11955" y="14711"/>
                      <a:pt x="11002" y="12806"/>
                    </a:cubicBezTo>
                    <a:cubicBezTo>
                      <a:pt x="10050" y="10901"/>
                      <a:pt x="10050" y="10901"/>
                      <a:pt x="10050" y="10901"/>
                    </a:cubicBezTo>
                    <a:lnTo>
                      <a:pt x="5287" y="8043"/>
                    </a:lnTo>
                    <a:cubicBezTo>
                      <a:pt x="5287" y="8043"/>
                      <a:pt x="5287" y="4233"/>
                      <a:pt x="11002" y="3281"/>
                    </a:cubicBezTo>
                    <a:cubicBezTo>
                      <a:pt x="16717" y="2328"/>
                      <a:pt x="22432" y="2328"/>
                      <a:pt x="25290" y="1376"/>
                    </a:cubicBezTo>
                    <a:cubicBezTo>
                      <a:pt x="28147" y="423"/>
                      <a:pt x="39577" y="423"/>
                      <a:pt x="42435" y="423"/>
                    </a:cubicBezTo>
                    <a:cubicBezTo>
                      <a:pt x="45292" y="423"/>
                      <a:pt x="49102" y="-529"/>
                      <a:pt x="51960" y="423"/>
                    </a:cubicBezTo>
                    <a:cubicBezTo>
                      <a:pt x="54817" y="1376"/>
                      <a:pt x="62437" y="3281"/>
                      <a:pt x="62437" y="3281"/>
                    </a:cubicBezTo>
                    <a:cubicBezTo>
                      <a:pt x="62437" y="3281"/>
                      <a:pt x="64342" y="5186"/>
                      <a:pt x="65295" y="7091"/>
                    </a:cubicBezTo>
                    <a:cubicBezTo>
                      <a:pt x="66247" y="9948"/>
                      <a:pt x="60532" y="12806"/>
                      <a:pt x="60532" y="14711"/>
                    </a:cubicBezTo>
                    <a:cubicBezTo>
                      <a:pt x="60532" y="16616"/>
                      <a:pt x="53865" y="15663"/>
                      <a:pt x="53865" y="18521"/>
                    </a:cubicBezTo>
                    <a:cubicBezTo>
                      <a:pt x="53865" y="21378"/>
                      <a:pt x="53865" y="17568"/>
                      <a:pt x="53865" y="21378"/>
                    </a:cubicBezTo>
                    <a:cubicBezTo>
                      <a:pt x="53865" y="25188"/>
                      <a:pt x="53865" y="21378"/>
                      <a:pt x="53865" y="25188"/>
                    </a:cubicBezTo>
                    <a:cubicBezTo>
                      <a:pt x="53865" y="28998"/>
                      <a:pt x="53865" y="28998"/>
                      <a:pt x="53865" y="28998"/>
                    </a:cubicBezTo>
                    <a:lnTo>
                      <a:pt x="46245" y="29951"/>
                    </a:lnTo>
                    <a:lnTo>
                      <a:pt x="40530" y="29951"/>
                    </a:lnTo>
                    <a:lnTo>
                      <a:pt x="31005" y="28998"/>
                    </a:lnTo>
                    <a:lnTo>
                      <a:pt x="26242" y="28998"/>
                    </a:lnTo>
                    <a:lnTo>
                      <a:pt x="19575" y="29951"/>
                    </a:lnTo>
                    <a:lnTo>
                      <a:pt x="17670" y="30903"/>
                    </a:lnTo>
                    <a:close/>
                  </a:path>
                </a:pathLst>
              </a:custGeom>
              <a:grpFill/>
              <a:ln w="9525" cap="flat">
                <a:noFill/>
                <a:prstDash val="solid"/>
                <a:miter/>
              </a:ln>
            </p:spPr>
            <p:txBody>
              <a:bodyPr rtlCol="0" anchor="ctr"/>
              <a:lstStyle/>
              <a:p>
                <a:endParaRPr lang="en-US" sz="1765"/>
              </a:p>
            </p:txBody>
          </p:sp>
          <p:sp>
            <p:nvSpPr>
              <p:cNvPr id="21" name="Freeform: Shape 20">
                <a:extLst>
                  <a:ext uri="{FF2B5EF4-FFF2-40B4-BE49-F238E27FC236}">
                    <a16:creationId xmlns:a16="http://schemas.microsoft.com/office/drawing/2014/main" id="{BDC8D695-11B2-4E6B-A566-2A4A593D26A5}"/>
                  </a:ext>
                </a:extLst>
              </p:cNvPr>
              <p:cNvSpPr/>
              <p:nvPr/>
            </p:nvSpPr>
            <p:spPr>
              <a:xfrm>
                <a:off x="6449139" y="2949621"/>
                <a:ext cx="125044" cy="39246"/>
              </a:xfrm>
              <a:custGeom>
                <a:avLst/>
                <a:gdLst>
                  <a:gd name="connsiteX0" fmla="*/ 43129 w 125044"/>
                  <a:gd name="connsiteY0" fmla="*/ 10477 h 39246"/>
                  <a:gd name="connsiteX1" fmla="*/ 30747 w 125044"/>
                  <a:gd name="connsiteY1" fmla="*/ 11430 h 39246"/>
                  <a:gd name="connsiteX2" fmla="*/ 24079 w 125044"/>
                  <a:gd name="connsiteY2" fmla="*/ 9525 h 39246"/>
                  <a:gd name="connsiteX3" fmla="*/ 23127 w 125044"/>
                  <a:gd name="connsiteY3" fmla="*/ 6667 h 39246"/>
                  <a:gd name="connsiteX4" fmla="*/ 16459 w 125044"/>
                  <a:gd name="connsiteY4" fmla="*/ 1905 h 39246"/>
                  <a:gd name="connsiteX5" fmla="*/ 8839 w 125044"/>
                  <a:gd name="connsiteY5" fmla="*/ 1905 h 39246"/>
                  <a:gd name="connsiteX6" fmla="*/ 1219 w 125044"/>
                  <a:gd name="connsiteY6" fmla="*/ 4763 h 39246"/>
                  <a:gd name="connsiteX7" fmla="*/ 267 w 125044"/>
                  <a:gd name="connsiteY7" fmla="*/ 8572 h 39246"/>
                  <a:gd name="connsiteX8" fmla="*/ 1219 w 125044"/>
                  <a:gd name="connsiteY8" fmla="*/ 11430 h 39246"/>
                  <a:gd name="connsiteX9" fmla="*/ 8839 w 125044"/>
                  <a:gd name="connsiteY9" fmla="*/ 16192 h 39246"/>
                  <a:gd name="connsiteX10" fmla="*/ 17412 w 125044"/>
                  <a:gd name="connsiteY10" fmla="*/ 18097 h 39246"/>
                  <a:gd name="connsiteX11" fmla="*/ 18364 w 125044"/>
                  <a:gd name="connsiteY11" fmla="*/ 20955 h 39246"/>
                  <a:gd name="connsiteX12" fmla="*/ 26937 w 125044"/>
                  <a:gd name="connsiteY12" fmla="*/ 23813 h 39246"/>
                  <a:gd name="connsiteX13" fmla="*/ 39319 w 125044"/>
                  <a:gd name="connsiteY13" fmla="*/ 25717 h 39246"/>
                  <a:gd name="connsiteX14" fmla="*/ 45034 w 125044"/>
                  <a:gd name="connsiteY14" fmla="*/ 27622 h 39246"/>
                  <a:gd name="connsiteX15" fmla="*/ 49797 w 125044"/>
                  <a:gd name="connsiteY15" fmla="*/ 29527 h 39246"/>
                  <a:gd name="connsiteX16" fmla="*/ 59322 w 125044"/>
                  <a:gd name="connsiteY16" fmla="*/ 33338 h 39246"/>
                  <a:gd name="connsiteX17" fmla="*/ 72657 w 125044"/>
                  <a:gd name="connsiteY17" fmla="*/ 38100 h 39246"/>
                  <a:gd name="connsiteX18" fmla="*/ 81229 w 125044"/>
                  <a:gd name="connsiteY18" fmla="*/ 39052 h 39246"/>
                  <a:gd name="connsiteX19" fmla="*/ 95517 w 125044"/>
                  <a:gd name="connsiteY19" fmla="*/ 39052 h 39246"/>
                  <a:gd name="connsiteX20" fmla="*/ 102184 w 125044"/>
                  <a:gd name="connsiteY20" fmla="*/ 37147 h 39246"/>
                  <a:gd name="connsiteX21" fmla="*/ 107899 w 125044"/>
                  <a:gd name="connsiteY21" fmla="*/ 35242 h 39246"/>
                  <a:gd name="connsiteX22" fmla="*/ 116472 w 125044"/>
                  <a:gd name="connsiteY22" fmla="*/ 34290 h 39246"/>
                  <a:gd name="connsiteX23" fmla="*/ 123139 w 125044"/>
                  <a:gd name="connsiteY23" fmla="*/ 29527 h 39246"/>
                  <a:gd name="connsiteX24" fmla="*/ 125044 w 125044"/>
                  <a:gd name="connsiteY24" fmla="*/ 22860 h 39246"/>
                  <a:gd name="connsiteX25" fmla="*/ 117424 w 125044"/>
                  <a:gd name="connsiteY25" fmla="*/ 18097 h 39246"/>
                  <a:gd name="connsiteX26" fmla="*/ 112662 w 125044"/>
                  <a:gd name="connsiteY26" fmla="*/ 16192 h 39246"/>
                  <a:gd name="connsiteX27" fmla="*/ 109804 w 125044"/>
                  <a:gd name="connsiteY27" fmla="*/ 12382 h 39246"/>
                  <a:gd name="connsiteX28" fmla="*/ 103137 w 125044"/>
                  <a:gd name="connsiteY28" fmla="*/ 8572 h 39246"/>
                  <a:gd name="connsiteX29" fmla="*/ 103137 w 125044"/>
                  <a:gd name="connsiteY29" fmla="*/ 4763 h 39246"/>
                  <a:gd name="connsiteX30" fmla="*/ 101232 w 125044"/>
                  <a:gd name="connsiteY30" fmla="*/ 1905 h 39246"/>
                  <a:gd name="connsiteX31" fmla="*/ 87897 w 125044"/>
                  <a:gd name="connsiteY31" fmla="*/ 0 h 39246"/>
                  <a:gd name="connsiteX32" fmla="*/ 79324 w 125044"/>
                  <a:gd name="connsiteY32" fmla="*/ 952 h 39246"/>
                  <a:gd name="connsiteX33" fmla="*/ 67894 w 125044"/>
                  <a:gd name="connsiteY33" fmla="*/ 1905 h 39246"/>
                  <a:gd name="connsiteX34" fmla="*/ 56464 w 125044"/>
                  <a:gd name="connsiteY34" fmla="*/ 3810 h 39246"/>
                  <a:gd name="connsiteX35" fmla="*/ 50749 w 125044"/>
                  <a:gd name="connsiteY35" fmla="*/ 4763 h 39246"/>
                  <a:gd name="connsiteX36" fmla="*/ 43129 w 125044"/>
                  <a:gd name="connsiteY36" fmla="*/ 10477 h 3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044" h="39246">
                    <a:moveTo>
                      <a:pt x="43129" y="10477"/>
                    </a:moveTo>
                    <a:lnTo>
                      <a:pt x="30747" y="11430"/>
                    </a:lnTo>
                    <a:lnTo>
                      <a:pt x="24079" y="9525"/>
                    </a:lnTo>
                    <a:lnTo>
                      <a:pt x="23127" y="6667"/>
                    </a:lnTo>
                    <a:lnTo>
                      <a:pt x="16459" y="1905"/>
                    </a:lnTo>
                    <a:cubicBezTo>
                      <a:pt x="16459" y="1905"/>
                      <a:pt x="11697" y="0"/>
                      <a:pt x="8839" y="1905"/>
                    </a:cubicBezTo>
                    <a:cubicBezTo>
                      <a:pt x="5029" y="2857"/>
                      <a:pt x="1219" y="4763"/>
                      <a:pt x="1219" y="4763"/>
                    </a:cubicBezTo>
                    <a:cubicBezTo>
                      <a:pt x="1219" y="4763"/>
                      <a:pt x="-686" y="5715"/>
                      <a:pt x="267" y="8572"/>
                    </a:cubicBezTo>
                    <a:cubicBezTo>
                      <a:pt x="1219" y="11430"/>
                      <a:pt x="1219" y="11430"/>
                      <a:pt x="1219" y="11430"/>
                    </a:cubicBezTo>
                    <a:lnTo>
                      <a:pt x="8839" y="16192"/>
                    </a:lnTo>
                    <a:lnTo>
                      <a:pt x="17412" y="18097"/>
                    </a:lnTo>
                    <a:lnTo>
                      <a:pt x="18364" y="20955"/>
                    </a:lnTo>
                    <a:cubicBezTo>
                      <a:pt x="18364" y="20955"/>
                      <a:pt x="24079" y="22860"/>
                      <a:pt x="26937" y="23813"/>
                    </a:cubicBezTo>
                    <a:cubicBezTo>
                      <a:pt x="29794" y="24765"/>
                      <a:pt x="39319" y="25717"/>
                      <a:pt x="39319" y="25717"/>
                    </a:cubicBezTo>
                    <a:lnTo>
                      <a:pt x="45034" y="27622"/>
                    </a:lnTo>
                    <a:lnTo>
                      <a:pt x="49797" y="29527"/>
                    </a:lnTo>
                    <a:cubicBezTo>
                      <a:pt x="49797" y="29527"/>
                      <a:pt x="55512" y="31432"/>
                      <a:pt x="59322" y="33338"/>
                    </a:cubicBezTo>
                    <a:cubicBezTo>
                      <a:pt x="64084" y="35242"/>
                      <a:pt x="72657" y="38100"/>
                      <a:pt x="72657" y="38100"/>
                    </a:cubicBezTo>
                    <a:lnTo>
                      <a:pt x="81229" y="39052"/>
                    </a:lnTo>
                    <a:cubicBezTo>
                      <a:pt x="81229" y="39052"/>
                      <a:pt x="92659" y="38100"/>
                      <a:pt x="95517" y="39052"/>
                    </a:cubicBezTo>
                    <a:cubicBezTo>
                      <a:pt x="98374" y="40005"/>
                      <a:pt x="102184" y="37147"/>
                      <a:pt x="102184" y="37147"/>
                    </a:cubicBezTo>
                    <a:cubicBezTo>
                      <a:pt x="102184" y="37147"/>
                      <a:pt x="104089" y="34290"/>
                      <a:pt x="107899" y="35242"/>
                    </a:cubicBezTo>
                    <a:cubicBezTo>
                      <a:pt x="110757" y="36195"/>
                      <a:pt x="116472" y="34290"/>
                      <a:pt x="116472" y="34290"/>
                    </a:cubicBezTo>
                    <a:lnTo>
                      <a:pt x="123139" y="29527"/>
                    </a:lnTo>
                    <a:lnTo>
                      <a:pt x="125044" y="22860"/>
                    </a:lnTo>
                    <a:lnTo>
                      <a:pt x="117424" y="18097"/>
                    </a:lnTo>
                    <a:lnTo>
                      <a:pt x="112662" y="16192"/>
                    </a:lnTo>
                    <a:lnTo>
                      <a:pt x="109804" y="12382"/>
                    </a:lnTo>
                    <a:lnTo>
                      <a:pt x="103137" y="8572"/>
                    </a:lnTo>
                    <a:lnTo>
                      <a:pt x="103137" y="4763"/>
                    </a:lnTo>
                    <a:lnTo>
                      <a:pt x="101232" y="1905"/>
                    </a:lnTo>
                    <a:lnTo>
                      <a:pt x="87897" y="0"/>
                    </a:lnTo>
                    <a:lnTo>
                      <a:pt x="79324" y="952"/>
                    </a:lnTo>
                    <a:cubicBezTo>
                      <a:pt x="79324" y="952"/>
                      <a:pt x="70752" y="0"/>
                      <a:pt x="67894" y="1905"/>
                    </a:cubicBezTo>
                    <a:cubicBezTo>
                      <a:pt x="65989" y="3810"/>
                      <a:pt x="62179" y="2857"/>
                      <a:pt x="56464" y="3810"/>
                    </a:cubicBezTo>
                    <a:cubicBezTo>
                      <a:pt x="50749" y="4763"/>
                      <a:pt x="50749" y="4763"/>
                      <a:pt x="50749" y="4763"/>
                    </a:cubicBezTo>
                    <a:lnTo>
                      <a:pt x="43129" y="10477"/>
                    </a:lnTo>
                    <a:close/>
                  </a:path>
                </a:pathLst>
              </a:custGeom>
              <a:grpFill/>
              <a:ln w="9525" cap="flat">
                <a:noFill/>
                <a:prstDash val="solid"/>
                <a:miter/>
              </a:ln>
            </p:spPr>
            <p:txBody>
              <a:bodyPr rtlCol="0" anchor="ctr"/>
              <a:lstStyle/>
              <a:p>
                <a:endParaRPr lang="en-US" sz="1765"/>
              </a:p>
            </p:txBody>
          </p:sp>
          <p:sp>
            <p:nvSpPr>
              <p:cNvPr id="22" name="Freeform: Shape 21">
                <a:extLst>
                  <a:ext uri="{FF2B5EF4-FFF2-40B4-BE49-F238E27FC236}">
                    <a16:creationId xmlns:a16="http://schemas.microsoft.com/office/drawing/2014/main" id="{C1680C12-7438-446D-9E49-3C3D1088C444}"/>
                  </a:ext>
                </a:extLst>
              </p:cNvPr>
              <p:cNvSpPr/>
              <p:nvPr/>
            </p:nvSpPr>
            <p:spPr>
              <a:xfrm>
                <a:off x="6418450" y="2925808"/>
                <a:ext cx="29051" cy="13335"/>
              </a:xfrm>
              <a:custGeom>
                <a:avLst/>
                <a:gdLst>
                  <a:gd name="connsiteX0" fmla="*/ 6191 w 29051"/>
                  <a:gd name="connsiteY0" fmla="*/ 11430 h 13335"/>
                  <a:gd name="connsiteX1" fmla="*/ 1429 w 29051"/>
                  <a:gd name="connsiteY1" fmla="*/ 9525 h 13335"/>
                  <a:gd name="connsiteX2" fmla="*/ 476 w 29051"/>
                  <a:gd name="connsiteY2" fmla="*/ 5715 h 13335"/>
                  <a:gd name="connsiteX3" fmla="*/ 2381 w 29051"/>
                  <a:gd name="connsiteY3" fmla="*/ 2858 h 13335"/>
                  <a:gd name="connsiteX4" fmla="*/ 8096 w 29051"/>
                  <a:gd name="connsiteY4" fmla="*/ 0 h 13335"/>
                  <a:gd name="connsiteX5" fmla="*/ 16669 w 29051"/>
                  <a:gd name="connsiteY5" fmla="*/ 0 h 13335"/>
                  <a:gd name="connsiteX6" fmla="*/ 22384 w 29051"/>
                  <a:gd name="connsiteY6" fmla="*/ 1905 h 13335"/>
                  <a:gd name="connsiteX7" fmla="*/ 25241 w 29051"/>
                  <a:gd name="connsiteY7" fmla="*/ 5715 h 13335"/>
                  <a:gd name="connsiteX8" fmla="*/ 26194 w 29051"/>
                  <a:gd name="connsiteY8" fmla="*/ 7620 h 13335"/>
                  <a:gd name="connsiteX9" fmla="*/ 29051 w 29051"/>
                  <a:gd name="connsiteY9" fmla="*/ 10478 h 13335"/>
                  <a:gd name="connsiteX10" fmla="*/ 22384 w 29051"/>
                  <a:gd name="connsiteY10" fmla="*/ 12383 h 13335"/>
                  <a:gd name="connsiteX11" fmla="*/ 17621 w 29051"/>
                  <a:gd name="connsiteY11" fmla="*/ 13335 h 13335"/>
                  <a:gd name="connsiteX12" fmla="*/ 12859 w 29051"/>
                  <a:gd name="connsiteY12" fmla="*/ 12383 h 13335"/>
                  <a:gd name="connsiteX13" fmla="*/ 6191 w 29051"/>
                  <a:gd name="connsiteY13" fmla="*/ 11430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13335">
                    <a:moveTo>
                      <a:pt x="6191" y="11430"/>
                    </a:moveTo>
                    <a:lnTo>
                      <a:pt x="1429" y="9525"/>
                    </a:lnTo>
                    <a:lnTo>
                      <a:pt x="476" y="5715"/>
                    </a:lnTo>
                    <a:cubicBezTo>
                      <a:pt x="476" y="5715"/>
                      <a:pt x="-1429" y="1905"/>
                      <a:pt x="2381" y="2858"/>
                    </a:cubicBezTo>
                    <a:cubicBezTo>
                      <a:pt x="7144" y="3810"/>
                      <a:pt x="-476" y="0"/>
                      <a:pt x="8096" y="0"/>
                    </a:cubicBezTo>
                    <a:cubicBezTo>
                      <a:pt x="16669" y="0"/>
                      <a:pt x="16669" y="0"/>
                      <a:pt x="16669" y="0"/>
                    </a:cubicBezTo>
                    <a:lnTo>
                      <a:pt x="22384" y="1905"/>
                    </a:lnTo>
                    <a:cubicBezTo>
                      <a:pt x="22384" y="1905"/>
                      <a:pt x="24289" y="3810"/>
                      <a:pt x="25241" y="5715"/>
                    </a:cubicBezTo>
                    <a:cubicBezTo>
                      <a:pt x="26194" y="7620"/>
                      <a:pt x="26194" y="7620"/>
                      <a:pt x="26194" y="7620"/>
                    </a:cubicBezTo>
                    <a:lnTo>
                      <a:pt x="29051" y="10478"/>
                    </a:lnTo>
                    <a:lnTo>
                      <a:pt x="22384" y="12383"/>
                    </a:lnTo>
                    <a:lnTo>
                      <a:pt x="17621" y="13335"/>
                    </a:lnTo>
                    <a:lnTo>
                      <a:pt x="12859" y="12383"/>
                    </a:lnTo>
                    <a:lnTo>
                      <a:pt x="6191" y="11430"/>
                    </a:lnTo>
                    <a:close/>
                  </a:path>
                </a:pathLst>
              </a:custGeom>
              <a:grpFill/>
              <a:ln w="9525" cap="flat">
                <a:noFill/>
                <a:prstDash val="solid"/>
                <a:miter/>
              </a:ln>
            </p:spPr>
            <p:txBody>
              <a:bodyPr rtlCol="0" anchor="ctr"/>
              <a:lstStyle/>
              <a:p>
                <a:endParaRPr lang="en-US" sz="1765"/>
              </a:p>
            </p:txBody>
          </p:sp>
          <p:sp>
            <p:nvSpPr>
              <p:cNvPr id="23" name="Freeform: Shape 22">
                <a:extLst>
                  <a:ext uri="{FF2B5EF4-FFF2-40B4-BE49-F238E27FC236}">
                    <a16:creationId xmlns:a16="http://schemas.microsoft.com/office/drawing/2014/main" id="{4DC9F219-EEAC-4076-91B5-AC8ED7F52C12}"/>
                  </a:ext>
                </a:extLst>
              </p:cNvPr>
              <p:cNvSpPr/>
              <p:nvPr/>
            </p:nvSpPr>
            <p:spPr>
              <a:xfrm>
                <a:off x="6431309" y="2885909"/>
                <a:ext cx="106679" cy="41804"/>
              </a:xfrm>
              <a:custGeom>
                <a:avLst/>
                <a:gdLst>
                  <a:gd name="connsiteX0" fmla="*/ 20955 w 106679"/>
                  <a:gd name="connsiteY0" fmla="*/ 2752 h 41804"/>
                  <a:gd name="connsiteX1" fmla="*/ 14288 w 106679"/>
                  <a:gd name="connsiteY1" fmla="*/ 2752 h 41804"/>
                  <a:gd name="connsiteX2" fmla="*/ 2857 w 106679"/>
                  <a:gd name="connsiteY2" fmla="*/ 2752 h 41804"/>
                  <a:gd name="connsiteX3" fmla="*/ 0 w 106679"/>
                  <a:gd name="connsiteY3" fmla="*/ 2752 h 41804"/>
                  <a:gd name="connsiteX4" fmla="*/ 0 w 106679"/>
                  <a:gd name="connsiteY4" fmla="*/ 8467 h 41804"/>
                  <a:gd name="connsiteX5" fmla="*/ 8572 w 106679"/>
                  <a:gd name="connsiteY5" fmla="*/ 12277 h 41804"/>
                  <a:gd name="connsiteX6" fmla="*/ 11430 w 106679"/>
                  <a:gd name="connsiteY6" fmla="*/ 12277 h 41804"/>
                  <a:gd name="connsiteX7" fmla="*/ 14288 w 106679"/>
                  <a:gd name="connsiteY7" fmla="*/ 17039 h 41804"/>
                  <a:gd name="connsiteX8" fmla="*/ 20955 w 106679"/>
                  <a:gd name="connsiteY8" fmla="*/ 21802 h 41804"/>
                  <a:gd name="connsiteX9" fmla="*/ 25717 w 106679"/>
                  <a:gd name="connsiteY9" fmla="*/ 23707 h 41804"/>
                  <a:gd name="connsiteX10" fmla="*/ 25717 w 106679"/>
                  <a:gd name="connsiteY10" fmla="*/ 25612 h 41804"/>
                  <a:gd name="connsiteX11" fmla="*/ 23813 w 106679"/>
                  <a:gd name="connsiteY11" fmla="*/ 30374 h 41804"/>
                  <a:gd name="connsiteX12" fmla="*/ 40957 w 106679"/>
                  <a:gd name="connsiteY12" fmla="*/ 34184 h 41804"/>
                  <a:gd name="connsiteX13" fmla="*/ 50482 w 106679"/>
                  <a:gd name="connsiteY13" fmla="*/ 33232 h 41804"/>
                  <a:gd name="connsiteX14" fmla="*/ 57150 w 106679"/>
                  <a:gd name="connsiteY14" fmla="*/ 32279 h 41804"/>
                  <a:gd name="connsiteX15" fmla="*/ 66675 w 106679"/>
                  <a:gd name="connsiteY15" fmla="*/ 32279 h 41804"/>
                  <a:gd name="connsiteX16" fmla="*/ 69532 w 106679"/>
                  <a:gd name="connsiteY16" fmla="*/ 32279 h 41804"/>
                  <a:gd name="connsiteX17" fmla="*/ 80010 w 106679"/>
                  <a:gd name="connsiteY17" fmla="*/ 37042 h 41804"/>
                  <a:gd name="connsiteX18" fmla="*/ 84772 w 106679"/>
                  <a:gd name="connsiteY18" fmla="*/ 38947 h 41804"/>
                  <a:gd name="connsiteX19" fmla="*/ 92392 w 106679"/>
                  <a:gd name="connsiteY19" fmla="*/ 40852 h 41804"/>
                  <a:gd name="connsiteX20" fmla="*/ 95250 w 106679"/>
                  <a:gd name="connsiteY20" fmla="*/ 41804 h 41804"/>
                  <a:gd name="connsiteX21" fmla="*/ 106680 w 106679"/>
                  <a:gd name="connsiteY21" fmla="*/ 37994 h 41804"/>
                  <a:gd name="connsiteX22" fmla="*/ 106680 w 106679"/>
                  <a:gd name="connsiteY22" fmla="*/ 33232 h 41804"/>
                  <a:gd name="connsiteX23" fmla="*/ 97155 w 106679"/>
                  <a:gd name="connsiteY23" fmla="*/ 29422 h 41804"/>
                  <a:gd name="connsiteX24" fmla="*/ 93345 w 106679"/>
                  <a:gd name="connsiteY24" fmla="*/ 24659 h 41804"/>
                  <a:gd name="connsiteX25" fmla="*/ 93345 w 106679"/>
                  <a:gd name="connsiteY25" fmla="*/ 21802 h 41804"/>
                  <a:gd name="connsiteX26" fmla="*/ 87630 w 106679"/>
                  <a:gd name="connsiteY26" fmla="*/ 18944 h 41804"/>
                  <a:gd name="connsiteX27" fmla="*/ 79057 w 106679"/>
                  <a:gd name="connsiteY27" fmla="*/ 16087 h 41804"/>
                  <a:gd name="connsiteX28" fmla="*/ 70485 w 106679"/>
                  <a:gd name="connsiteY28" fmla="*/ 11324 h 41804"/>
                  <a:gd name="connsiteX29" fmla="*/ 64770 w 106679"/>
                  <a:gd name="connsiteY29" fmla="*/ 6562 h 41804"/>
                  <a:gd name="connsiteX30" fmla="*/ 60007 w 106679"/>
                  <a:gd name="connsiteY30" fmla="*/ 4657 h 41804"/>
                  <a:gd name="connsiteX31" fmla="*/ 51435 w 106679"/>
                  <a:gd name="connsiteY31" fmla="*/ 2752 h 41804"/>
                  <a:gd name="connsiteX32" fmla="*/ 45720 w 106679"/>
                  <a:gd name="connsiteY32" fmla="*/ 847 h 41804"/>
                  <a:gd name="connsiteX33" fmla="*/ 31432 w 106679"/>
                  <a:gd name="connsiteY33" fmla="*/ 847 h 41804"/>
                  <a:gd name="connsiteX34" fmla="*/ 20955 w 106679"/>
                  <a:gd name="connsiteY34" fmla="*/ 2752 h 4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6679" h="41804">
                    <a:moveTo>
                      <a:pt x="20955" y="2752"/>
                    </a:moveTo>
                    <a:lnTo>
                      <a:pt x="14288" y="2752"/>
                    </a:lnTo>
                    <a:cubicBezTo>
                      <a:pt x="14288" y="2752"/>
                      <a:pt x="6667" y="2752"/>
                      <a:pt x="2857" y="2752"/>
                    </a:cubicBezTo>
                    <a:cubicBezTo>
                      <a:pt x="0" y="2752"/>
                      <a:pt x="0" y="2752"/>
                      <a:pt x="0" y="2752"/>
                    </a:cubicBezTo>
                    <a:lnTo>
                      <a:pt x="0" y="8467"/>
                    </a:lnTo>
                    <a:cubicBezTo>
                      <a:pt x="0" y="8467"/>
                      <a:pt x="5715" y="12277"/>
                      <a:pt x="8572" y="12277"/>
                    </a:cubicBezTo>
                    <a:cubicBezTo>
                      <a:pt x="11430" y="12277"/>
                      <a:pt x="8572" y="7514"/>
                      <a:pt x="11430" y="12277"/>
                    </a:cubicBezTo>
                    <a:cubicBezTo>
                      <a:pt x="14288" y="17039"/>
                      <a:pt x="14288" y="17039"/>
                      <a:pt x="14288" y="17039"/>
                    </a:cubicBezTo>
                    <a:lnTo>
                      <a:pt x="20955" y="21802"/>
                    </a:lnTo>
                    <a:cubicBezTo>
                      <a:pt x="20955" y="21802"/>
                      <a:pt x="25717" y="21802"/>
                      <a:pt x="25717" y="23707"/>
                    </a:cubicBezTo>
                    <a:cubicBezTo>
                      <a:pt x="25717" y="25612"/>
                      <a:pt x="27622" y="20849"/>
                      <a:pt x="25717" y="25612"/>
                    </a:cubicBezTo>
                    <a:cubicBezTo>
                      <a:pt x="23813" y="30374"/>
                      <a:pt x="17145" y="26564"/>
                      <a:pt x="23813" y="30374"/>
                    </a:cubicBezTo>
                    <a:cubicBezTo>
                      <a:pt x="30480" y="34184"/>
                      <a:pt x="40957" y="34184"/>
                      <a:pt x="40957" y="34184"/>
                    </a:cubicBezTo>
                    <a:lnTo>
                      <a:pt x="50482" y="33232"/>
                    </a:lnTo>
                    <a:lnTo>
                      <a:pt x="57150" y="32279"/>
                    </a:lnTo>
                    <a:cubicBezTo>
                      <a:pt x="57150" y="32279"/>
                      <a:pt x="63817" y="32279"/>
                      <a:pt x="66675" y="32279"/>
                    </a:cubicBezTo>
                    <a:cubicBezTo>
                      <a:pt x="69532" y="32279"/>
                      <a:pt x="64770" y="29422"/>
                      <a:pt x="69532" y="32279"/>
                    </a:cubicBezTo>
                    <a:cubicBezTo>
                      <a:pt x="75247" y="35137"/>
                      <a:pt x="76200" y="36089"/>
                      <a:pt x="80010" y="37042"/>
                    </a:cubicBezTo>
                    <a:cubicBezTo>
                      <a:pt x="84772" y="38947"/>
                      <a:pt x="77152" y="37042"/>
                      <a:pt x="84772" y="38947"/>
                    </a:cubicBezTo>
                    <a:cubicBezTo>
                      <a:pt x="92392" y="40852"/>
                      <a:pt x="89535" y="39899"/>
                      <a:pt x="92392" y="40852"/>
                    </a:cubicBezTo>
                    <a:cubicBezTo>
                      <a:pt x="95250" y="41804"/>
                      <a:pt x="95250" y="41804"/>
                      <a:pt x="95250" y="41804"/>
                    </a:cubicBezTo>
                    <a:lnTo>
                      <a:pt x="106680" y="37994"/>
                    </a:lnTo>
                    <a:lnTo>
                      <a:pt x="106680" y="33232"/>
                    </a:lnTo>
                    <a:lnTo>
                      <a:pt x="97155" y="29422"/>
                    </a:lnTo>
                    <a:lnTo>
                      <a:pt x="93345" y="24659"/>
                    </a:lnTo>
                    <a:lnTo>
                      <a:pt x="93345" y="21802"/>
                    </a:lnTo>
                    <a:lnTo>
                      <a:pt x="87630" y="18944"/>
                    </a:lnTo>
                    <a:lnTo>
                      <a:pt x="79057" y="16087"/>
                    </a:lnTo>
                    <a:lnTo>
                      <a:pt x="70485" y="11324"/>
                    </a:lnTo>
                    <a:lnTo>
                      <a:pt x="64770" y="6562"/>
                    </a:lnTo>
                    <a:lnTo>
                      <a:pt x="60007" y="4657"/>
                    </a:lnTo>
                    <a:lnTo>
                      <a:pt x="51435" y="2752"/>
                    </a:lnTo>
                    <a:lnTo>
                      <a:pt x="45720" y="847"/>
                    </a:lnTo>
                    <a:cubicBezTo>
                      <a:pt x="45720" y="847"/>
                      <a:pt x="38100" y="-1058"/>
                      <a:pt x="31432" y="847"/>
                    </a:cubicBezTo>
                    <a:cubicBezTo>
                      <a:pt x="24765" y="1799"/>
                      <a:pt x="20955" y="2752"/>
                      <a:pt x="20955" y="2752"/>
                    </a:cubicBezTo>
                    <a:close/>
                  </a:path>
                </a:pathLst>
              </a:custGeom>
              <a:grpFill/>
              <a:ln w="9525" cap="flat">
                <a:noFill/>
                <a:prstDash val="solid"/>
                <a:miter/>
              </a:ln>
            </p:spPr>
            <p:txBody>
              <a:bodyPr rtlCol="0" anchor="ctr"/>
              <a:lstStyle/>
              <a:p>
                <a:endParaRPr lang="en-US" sz="1765"/>
              </a:p>
            </p:txBody>
          </p:sp>
          <p:sp>
            <p:nvSpPr>
              <p:cNvPr id="24" name="Freeform: Shape 23">
                <a:extLst>
                  <a:ext uri="{FF2B5EF4-FFF2-40B4-BE49-F238E27FC236}">
                    <a16:creationId xmlns:a16="http://schemas.microsoft.com/office/drawing/2014/main" id="{2CCF2565-1EB1-48E3-8BED-B2621191A0F9}"/>
                  </a:ext>
                </a:extLst>
              </p:cNvPr>
              <p:cNvSpPr/>
              <p:nvPr/>
            </p:nvSpPr>
            <p:spPr>
              <a:xfrm>
                <a:off x="6404639" y="3011534"/>
                <a:ext cx="49529" cy="26669"/>
              </a:xfrm>
              <a:custGeom>
                <a:avLst/>
                <a:gdLst>
                  <a:gd name="connsiteX0" fmla="*/ 31433 w 49529"/>
                  <a:gd name="connsiteY0" fmla="*/ 21907 h 26669"/>
                  <a:gd name="connsiteX1" fmla="*/ 40958 w 49529"/>
                  <a:gd name="connsiteY1" fmla="*/ 21907 h 26669"/>
                  <a:gd name="connsiteX2" fmla="*/ 44767 w 49529"/>
                  <a:gd name="connsiteY2" fmla="*/ 16192 h 26669"/>
                  <a:gd name="connsiteX3" fmla="*/ 49530 w 49529"/>
                  <a:gd name="connsiteY3" fmla="*/ 8572 h 26669"/>
                  <a:gd name="connsiteX4" fmla="*/ 40958 w 49529"/>
                  <a:gd name="connsiteY4" fmla="*/ 2857 h 26669"/>
                  <a:gd name="connsiteX5" fmla="*/ 35242 w 49529"/>
                  <a:gd name="connsiteY5" fmla="*/ 952 h 26669"/>
                  <a:gd name="connsiteX6" fmla="*/ 26670 w 49529"/>
                  <a:gd name="connsiteY6" fmla="*/ 0 h 26669"/>
                  <a:gd name="connsiteX7" fmla="*/ 15240 w 49529"/>
                  <a:gd name="connsiteY7" fmla="*/ 0 h 26669"/>
                  <a:gd name="connsiteX8" fmla="*/ 10477 w 49529"/>
                  <a:gd name="connsiteY8" fmla="*/ 0 h 26669"/>
                  <a:gd name="connsiteX9" fmla="*/ 8573 w 49529"/>
                  <a:gd name="connsiteY9" fmla="*/ 4763 h 26669"/>
                  <a:gd name="connsiteX10" fmla="*/ 10477 w 49529"/>
                  <a:gd name="connsiteY10" fmla="*/ 11430 h 26669"/>
                  <a:gd name="connsiteX11" fmla="*/ 8573 w 49529"/>
                  <a:gd name="connsiteY11" fmla="*/ 17145 h 26669"/>
                  <a:gd name="connsiteX12" fmla="*/ 0 w 49529"/>
                  <a:gd name="connsiteY12" fmla="*/ 17145 h 26669"/>
                  <a:gd name="connsiteX13" fmla="*/ 952 w 49529"/>
                  <a:gd name="connsiteY13" fmla="*/ 22860 h 26669"/>
                  <a:gd name="connsiteX14" fmla="*/ 7620 w 49529"/>
                  <a:gd name="connsiteY14" fmla="*/ 23813 h 26669"/>
                  <a:gd name="connsiteX15" fmla="*/ 14288 w 49529"/>
                  <a:gd name="connsiteY15" fmla="*/ 26670 h 26669"/>
                  <a:gd name="connsiteX16" fmla="*/ 25717 w 49529"/>
                  <a:gd name="connsiteY16" fmla="*/ 22860 h 26669"/>
                  <a:gd name="connsiteX17" fmla="*/ 31433 w 49529"/>
                  <a:gd name="connsiteY17" fmla="*/ 21907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529" h="26669">
                    <a:moveTo>
                      <a:pt x="31433" y="21907"/>
                    </a:moveTo>
                    <a:lnTo>
                      <a:pt x="40958" y="21907"/>
                    </a:lnTo>
                    <a:cubicBezTo>
                      <a:pt x="40958" y="21907"/>
                      <a:pt x="40958" y="15240"/>
                      <a:pt x="44767" y="16192"/>
                    </a:cubicBezTo>
                    <a:cubicBezTo>
                      <a:pt x="47625" y="17145"/>
                      <a:pt x="49530" y="8572"/>
                      <a:pt x="49530" y="8572"/>
                    </a:cubicBezTo>
                    <a:lnTo>
                      <a:pt x="40958" y="2857"/>
                    </a:lnTo>
                    <a:lnTo>
                      <a:pt x="35242" y="952"/>
                    </a:lnTo>
                    <a:lnTo>
                      <a:pt x="26670" y="0"/>
                    </a:lnTo>
                    <a:lnTo>
                      <a:pt x="15240" y="0"/>
                    </a:lnTo>
                    <a:lnTo>
                      <a:pt x="10477" y="0"/>
                    </a:lnTo>
                    <a:cubicBezTo>
                      <a:pt x="8573" y="4763"/>
                      <a:pt x="4763" y="952"/>
                      <a:pt x="8573" y="4763"/>
                    </a:cubicBezTo>
                    <a:cubicBezTo>
                      <a:pt x="11430" y="8572"/>
                      <a:pt x="10477" y="11430"/>
                      <a:pt x="10477" y="11430"/>
                    </a:cubicBezTo>
                    <a:lnTo>
                      <a:pt x="8573" y="17145"/>
                    </a:lnTo>
                    <a:lnTo>
                      <a:pt x="0" y="17145"/>
                    </a:lnTo>
                    <a:lnTo>
                      <a:pt x="952" y="22860"/>
                    </a:lnTo>
                    <a:lnTo>
                      <a:pt x="7620" y="23813"/>
                    </a:lnTo>
                    <a:lnTo>
                      <a:pt x="14288" y="26670"/>
                    </a:lnTo>
                    <a:lnTo>
                      <a:pt x="25717" y="22860"/>
                    </a:lnTo>
                    <a:lnTo>
                      <a:pt x="31433" y="21907"/>
                    </a:lnTo>
                    <a:close/>
                  </a:path>
                </a:pathLst>
              </a:custGeom>
              <a:grpFill/>
              <a:ln w="9525" cap="flat">
                <a:noFill/>
                <a:prstDash val="solid"/>
                <a:miter/>
              </a:ln>
            </p:spPr>
            <p:txBody>
              <a:bodyPr rtlCol="0" anchor="ctr"/>
              <a:lstStyle/>
              <a:p>
                <a:endParaRPr lang="en-US" sz="1765"/>
              </a:p>
            </p:txBody>
          </p:sp>
          <p:sp>
            <p:nvSpPr>
              <p:cNvPr id="25" name="Freeform: Shape 24">
                <a:extLst>
                  <a:ext uri="{FF2B5EF4-FFF2-40B4-BE49-F238E27FC236}">
                    <a16:creationId xmlns:a16="http://schemas.microsoft.com/office/drawing/2014/main" id="{6CE8B4F1-535F-43BD-A8E5-1B30C9EEA714}"/>
                  </a:ext>
                </a:extLst>
              </p:cNvPr>
              <p:cNvSpPr/>
              <p:nvPr/>
            </p:nvSpPr>
            <p:spPr>
              <a:xfrm>
                <a:off x="6474981" y="3011534"/>
                <a:ext cx="107423" cy="60007"/>
              </a:xfrm>
              <a:custGeom>
                <a:avLst/>
                <a:gdLst>
                  <a:gd name="connsiteX0" fmla="*/ 58245 w 107423"/>
                  <a:gd name="connsiteY0" fmla="*/ 57150 h 60007"/>
                  <a:gd name="connsiteX1" fmla="*/ 48720 w 107423"/>
                  <a:gd name="connsiteY1" fmla="*/ 50482 h 60007"/>
                  <a:gd name="connsiteX2" fmla="*/ 46815 w 107423"/>
                  <a:gd name="connsiteY2" fmla="*/ 47625 h 60007"/>
                  <a:gd name="connsiteX3" fmla="*/ 42052 w 107423"/>
                  <a:gd name="connsiteY3" fmla="*/ 45720 h 60007"/>
                  <a:gd name="connsiteX4" fmla="*/ 36337 w 107423"/>
                  <a:gd name="connsiteY4" fmla="*/ 43815 h 60007"/>
                  <a:gd name="connsiteX5" fmla="*/ 29670 w 107423"/>
                  <a:gd name="connsiteY5" fmla="*/ 39052 h 60007"/>
                  <a:gd name="connsiteX6" fmla="*/ 24907 w 107423"/>
                  <a:gd name="connsiteY6" fmla="*/ 36195 h 60007"/>
                  <a:gd name="connsiteX7" fmla="*/ 16335 w 107423"/>
                  <a:gd name="connsiteY7" fmla="*/ 34290 h 60007"/>
                  <a:gd name="connsiteX8" fmla="*/ 3000 w 107423"/>
                  <a:gd name="connsiteY8" fmla="*/ 32385 h 60007"/>
                  <a:gd name="connsiteX9" fmla="*/ 2047 w 107423"/>
                  <a:gd name="connsiteY9" fmla="*/ 29527 h 60007"/>
                  <a:gd name="connsiteX10" fmla="*/ 3000 w 107423"/>
                  <a:gd name="connsiteY10" fmla="*/ 27622 h 60007"/>
                  <a:gd name="connsiteX11" fmla="*/ 19192 w 107423"/>
                  <a:gd name="connsiteY11" fmla="*/ 26670 h 60007"/>
                  <a:gd name="connsiteX12" fmla="*/ 24907 w 107423"/>
                  <a:gd name="connsiteY12" fmla="*/ 26670 h 60007"/>
                  <a:gd name="connsiteX13" fmla="*/ 30622 w 107423"/>
                  <a:gd name="connsiteY13" fmla="*/ 25717 h 60007"/>
                  <a:gd name="connsiteX14" fmla="*/ 36337 w 107423"/>
                  <a:gd name="connsiteY14" fmla="*/ 21907 h 60007"/>
                  <a:gd name="connsiteX15" fmla="*/ 37290 w 107423"/>
                  <a:gd name="connsiteY15" fmla="*/ 19050 h 60007"/>
                  <a:gd name="connsiteX16" fmla="*/ 35385 w 107423"/>
                  <a:gd name="connsiteY16" fmla="*/ 16192 h 60007"/>
                  <a:gd name="connsiteX17" fmla="*/ 39195 w 107423"/>
                  <a:gd name="connsiteY17" fmla="*/ 3810 h 60007"/>
                  <a:gd name="connsiteX18" fmla="*/ 42052 w 107423"/>
                  <a:gd name="connsiteY18" fmla="*/ 2857 h 60007"/>
                  <a:gd name="connsiteX19" fmla="*/ 53482 w 107423"/>
                  <a:gd name="connsiteY19" fmla="*/ 2857 h 60007"/>
                  <a:gd name="connsiteX20" fmla="*/ 62055 w 107423"/>
                  <a:gd name="connsiteY20" fmla="*/ 1905 h 60007"/>
                  <a:gd name="connsiteX21" fmla="*/ 73485 w 107423"/>
                  <a:gd name="connsiteY21" fmla="*/ 0 h 60007"/>
                  <a:gd name="connsiteX22" fmla="*/ 81105 w 107423"/>
                  <a:gd name="connsiteY22" fmla="*/ 0 h 60007"/>
                  <a:gd name="connsiteX23" fmla="*/ 87773 w 107423"/>
                  <a:gd name="connsiteY23" fmla="*/ 1905 h 60007"/>
                  <a:gd name="connsiteX24" fmla="*/ 92535 w 107423"/>
                  <a:gd name="connsiteY24" fmla="*/ 5715 h 60007"/>
                  <a:gd name="connsiteX25" fmla="*/ 92535 w 107423"/>
                  <a:gd name="connsiteY25" fmla="*/ 9525 h 60007"/>
                  <a:gd name="connsiteX26" fmla="*/ 92535 w 107423"/>
                  <a:gd name="connsiteY26" fmla="*/ 15240 h 60007"/>
                  <a:gd name="connsiteX27" fmla="*/ 92535 w 107423"/>
                  <a:gd name="connsiteY27" fmla="*/ 20955 h 60007"/>
                  <a:gd name="connsiteX28" fmla="*/ 99202 w 107423"/>
                  <a:gd name="connsiteY28" fmla="*/ 24765 h 60007"/>
                  <a:gd name="connsiteX29" fmla="*/ 103965 w 107423"/>
                  <a:gd name="connsiteY29" fmla="*/ 26670 h 60007"/>
                  <a:gd name="connsiteX30" fmla="*/ 103965 w 107423"/>
                  <a:gd name="connsiteY30" fmla="*/ 38100 h 60007"/>
                  <a:gd name="connsiteX31" fmla="*/ 103965 w 107423"/>
                  <a:gd name="connsiteY31" fmla="*/ 42863 h 60007"/>
                  <a:gd name="connsiteX32" fmla="*/ 104917 w 107423"/>
                  <a:gd name="connsiteY32" fmla="*/ 46672 h 60007"/>
                  <a:gd name="connsiteX33" fmla="*/ 92535 w 107423"/>
                  <a:gd name="connsiteY33" fmla="*/ 52388 h 60007"/>
                  <a:gd name="connsiteX34" fmla="*/ 85867 w 107423"/>
                  <a:gd name="connsiteY34" fmla="*/ 53340 h 60007"/>
                  <a:gd name="connsiteX35" fmla="*/ 82057 w 107423"/>
                  <a:gd name="connsiteY35" fmla="*/ 55245 h 60007"/>
                  <a:gd name="connsiteX36" fmla="*/ 77295 w 107423"/>
                  <a:gd name="connsiteY36" fmla="*/ 59055 h 60007"/>
                  <a:gd name="connsiteX37" fmla="*/ 67770 w 107423"/>
                  <a:gd name="connsiteY37" fmla="*/ 60007 h 60007"/>
                  <a:gd name="connsiteX38" fmla="*/ 58245 w 107423"/>
                  <a:gd name="connsiteY38" fmla="*/ 5715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423" h="60007">
                    <a:moveTo>
                      <a:pt x="58245" y="57150"/>
                    </a:moveTo>
                    <a:lnTo>
                      <a:pt x="48720" y="50482"/>
                    </a:lnTo>
                    <a:lnTo>
                      <a:pt x="46815" y="47625"/>
                    </a:lnTo>
                    <a:lnTo>
                      <a:pt x="42052" y="45720"/>
                    </a:lnTo>
                    <a:lnTo>
                      <a:pt x="36337" y="43815"/>
                    </a:lnTo>
                    <a:lnTo>
                      <a:pt x="29670" y="39052"/>
                    </a:lnTo>
                    <a:lnTo>
                      <a:pt x="24907" y="36195"/>
                    </a:lnTo>
                    <a:lnTo>
                      <a:pt x="16335" y="34290"/>
                    </a:lnTo>
                    <a:lnTo>
                      <a:pt x="3000" y="32385"/>
                    </a:lnTo>
                    <a:cubicBezTo>
                      <a:pt x="3000" y="32385"/>
                      <a:pt x="1095" y="31432"/>
                      <a:pt x="2047" y="29527"/>
                    </a:cubicBezTo>
                    <a:cubicBezTo>
                      <a:pt x="3000" y="27622"/>
                      <a:pt x="-3668" y="29527"/>
                      <a:pt x="3000" y="27622"/>
                    </a:cubicBezTo>
                    <a:cubicBezTo>
                      <a:pt x="9667" y="25717"/>
                      <a:pt x="19192" y="26670"/>
                      <a:pt x="19192" y="26670"/>
                    </a:cubicBezTo>
                    <a:lnTo>
                      <a:pt x="24907" y="26670"/>
                    </a:lnTo>
                    <a:cubicBezTo>
                      <a:pt x="24907" y="26670"/>
                      <a:pt x="26812" y="25717"/>
                      <a:pt x="30622" y="25717"/>
                    </a:cubicBezTo>
                    <a:cubicBezTo>
                      <a:pt x="33480" y="25717"/>
                      <a:pt x="36337" y="21907"/>
                      <a:pt x="36337" y="21907"/>
                    </a:cubicBezTo>
                    <a:lnTo>
                      <a:pt x="37290" y="19050"/>
                    </a:lnTo>
                    <a:lnTo>
                      <a:pt x="35385" y="16192"/>
                    </a:lnTo>
                    <a:cubicBezTo>
                      <a:pt x="35385" y="16192"/>
                      <a:pt x="35385" y="3810"/>
                      <a:pt x="39195" y="3810"/>
                    </a:cubicBezTo>
                    <a:cubicBezTo>
                      <a:pt x="42052" y="2857"/>
                      <a:pt x="38242" y="2857"/>
                      <a:pt x="42052" y="2857"/>
                    </a:cubicBezTo>
                    <a:cubicBezTo>
                      <a:pt x="46815" y="2857"/>
                      <a:pt x="53482" y="2857"/>
                      <a:pt x="53482" y="2857"/>
                    </a:cubicBezTo>
                    <a:lnTo>
                      <a:pt x="62055" y="1905"/>
                    </a:lnTo>
                    <a:lnTo>
                      <a:pt x="73485" y="0"/>
                    </a:lnTo>
                    <a:lnTo>
                      <a:pt x="81105" y="0"/>
                    </a:lnTo>
                    <a:lnTo>
                      <a:pt x="87773" y="1905"/>
                    </a:lnTo>
                    <a:lnTo>
                      <a:pt x="92535" y="5715"/>
                    </a:lnTo>
                    <a:lnTo>
                      <a:pt x="92535" y="9525"/>
                    </a:lnTo>
                    <a:lnTo>
                      <a:pt x="92535" y="15240"/>
                    </a:lnTo>
                    <a:cubicBezTo>
                      <a:pt x="92535" y="15240"/>
                      <a:pt x="88725" y="20002"/>
                      <a:pt x="92535" y="20955"/>
                    </a:cubicBezTo>
                    <a:cubicBezTo>
                      <a:pt x="95392" y="21907"/>
                      <a:pt x="99202" y="24765"/>
                      <a:pt x="99202" y="24765"/>
                    </a:cubicBezTo>
                    <a:lnTo>
                      <a:pt x="103965" y="26670"/>
                    </a:lnTo>
                    <a:lnTo>
                      <a:pt x="103965" y="38100"/>
                    </a:lnTo>
                    <a:cubicBezTo>
                      <a:pt x="103965" y="38100"/>
                      <a:pt x="103012" y="39052"/>
                      <a:pt x="103965" y="42863"/>
                    </a:cubicBezTo>
                    <a:cubicBezTo>
                      <a:pt x="104917" y="46672"/>
                      <a:pt x="110632" y="42863"/>
                      <a:pt x="104917" y="46672"/>
                    </a:cubicBezTo>
                    <a:cubicBezTo>
                      <a:pt x="99202" y="50482"/>
                      <a:pt x="92535" y="52388"/>
                      <a:pt x="92535" y="52388"/>
                    </a:cubicBezTo>
                    <a:cubicBezTo>
                      <a:pt x="92535" y="52388"/>
                      <a:pt x="89677" y="53340"/>
                      <a:pt x="85867" y="53340"/>
                    </a:cubicBezTo>
                    <a:cubicBezTo>
                      <a:pt x="82057" y="55245"/>
                      <a:pt x="82057" y="55245"/>
                      <a:pt x="82057" y="55245"/>
                    </a:cubicBezTo>
                    <a:lnTo>
                      <a:pt x="77295" y="59055"/>
                    </a:lnTo>
                    <a:lnTo>
                      <a:pt x="67770" y="60007"/>
                    </a:lnTo>
                    <a:lnTo>
                      <a:pt x="58245" y="57150"/>
                    </a:lnTo>
                    <a:close/>
                  </a:path>
                </a:pathLst>
              </a:custGeom>
              <a:grpFill/>
              <a:ln w="9525" cap="flat">
                <a:noFill/>
                <a:prstDash val="solid"/>
                <a:miter/>
              </a:ln>
            </p:spPr>
            <p:txBody>
              <a:bodyPr rtlCol="0" anchor="ctr"/>
              <a:lstStyle/>
              <a:p>
                <a:endParaRPr lang="en-US" sz="1765"/>
              </a:p>
            </p:txBody>
          </p:sp>
          <p:sp>
            <p:nvSpPr>
              <p:cNvPr id="26" name="Freeform: Shape 25">
                <a:extLst>
                  <a:ext uri="{FF2B5EF4-FFF2-40B4-BE49-F238E27FC236}">
                    <a16:creationId xmlns:a16="http://schemas.microsoft.com/office/drawing/2014/main" id="{5D009068-668F-4467-8D82-70724EA64283}"/>
                  </a:ext>
                </a:extLst>
              </p:cNvPr>
              <p:cNvSpPr/>
              <p:nvPr/>
            </p:nvSpPr>
            <p:spPr>
              <a:xfrm>
                <a:off x="6600854" y="3011295"/>
                <a:ext cx="77495" cy="35480"/>
              </a:xfrm>
              <a:custGeom>
                <a:avLst/>
                <a:gdLst>
                  <a:gd name="connsiteX0" fmla="*/ 9525 w 77495"/>
                  <a:gd name="connsiteY0" fmla="*/ 35481 h 35480"/>
                  <a:gd name="connsiteX1" fmla="*/ 1905 w 77495"/>
                  <a:gd name="connsiteY1" fmla="*/ 33576 h 35480"/>
                  <a:gd name="connsiteX2" fmla="*/ 0 w 77495"/>
                  <a:gd name="connsiteY2" fmla="*/ 28813 h 35480"/>
                  <a:gd name="connsiteX3" fmla="*/ 952 w 77495"/>
                  <a:gd name="connsiteY3" fmla="*/ 22146 h 35480"/>
                  <a:gd name="connsiteX4" fmla="*/ 952 w 77495"/>
                  <a:gd name="connsiteY4" fmla="*/ 12621 h 35480"/>
                  <a:gd name="connsiteX5" fmla="*/ 1905 w 77495"/>
                  <a:gd name="connsiteY5" fmla="*/ 8811 h 35480"/>
                  <a:gd name="connsiteX6" fmla="*/ 3810 w 77495"/>
                  <a:gd name="connsiteY6" fmla="*/ 5001 h 35480"/>
                  <a:gd name="connsiteX7" fmla="*/ 9525 w 77495"/>
                  <a:gd name="connsiteY7" fmla="*/ 238 h 35480"/>
                  <a:gd name="connsiteX8" fmla="*/ 14288 w 77495"/>
                  <a:gd name="connsiteY8" fmla="*/ 238 h 35480"/>
                  <a:gd name="connsiteX9" fmla="*/ 31432 w 77495"/>
                  <a:gd name="connsiteY9" fmla="*/ 1191 h 35480"/>
                  <a:gd name="connsiteX10" fmla="*/ 44767 w 77495"/>
                  <a:gd name="connsiteY10" fmla="*/ 1191 h 35480"/>
                  <a:gd name="connsiteX11" fmla="*/ 50482 w 77495"/>
                  <a:gd name="connsiteY11" fmla="*/ 1191 h 35480"/>
                  <a:gd name="connsiteX12" fmla="*/ 59055 w 77495"/>
                  <a:gd name="connsiteY12" fmla="*/ 238 h 35480"/>
                  <a:gd name="connsiteX13" fmla="*/ 68580 w 77495"/>
                  <a:gd name="connsiteY13" fmla="*/ 1191 h 35480"/>
                  <a:gd name="connsiteX14" fmla="*/ 73342 w 77495"/>
                  <a:gd name="connsiteY14" fmla="*/ 3096 h 35480"/>
                  <a:gd name="connsiteX15" fmla="*/ 77152 w 77495"/>
                  <a:gd name="connsiteY15" fmla="*/ 8811 h 35480"/>
                  <a:gd name="connsiteX16" fmla="*/ 76200 w 77495"/>
                  <a:gd name="connsiteY16" fmla="*/ 14526 h 35480"/>
                  <a:gd name="connsiteX17" fmla="*/ 75247 w 77495"/>
                  <a:gd name="connsiteY17" fmla="*/ 16431 h 35480"/>
                  <a:gd name="connsiteX18" fmla="*/ 66675 w 77495"/>
                  <a:gd name="connsiteY18" fmla="*/ 24051 h 35480"/>
                  <a:gd name="connsiteX19" fmla="*/ 60960 w 77495"/>
                  <a:gd name="connsiteY19" fmla="*/ 25003 h 35480"/>
                  <a:gd name="connsiteX20" fmla="*/ 53340 w 77495"/>
                  <a:gd name="connsiteY20" fmla="*/ 26908 h 35480"/>
                  <a:gd name="connsiteX21" fmla="*/ 44767 w 77495"/>
                  <a:gd name="connsiteY21" fmla="*/ 30718 h 35480"/>
                  <a:gd name="connsiteX22" fmla="*/ 33338 w 77495"/>
                  <a:gd name="connsiteY22" fmla="*/ 33576 h 35480"/>
                  <a:gd name="connsiteX23" fmla="*/ 28575 w 77495"/>
                  <a:gd name="connsiteY23" fmla="*/ 33576 h 35480"/>
                  <a:gd name="connsiteX24" fmla="*/ 21907 w 77495"/>
                  <a:gd name="connsiteY24" fmla="*/ 34528 h 35480"/>
                  <a:gd name="connsiteX25" fmla="*/ 15240 w 77495"/>
                  <a:gd name="connsiteY25" fmla="*/ 35481 h 35480"/>
                  <a:gd name="connsiteX26" fmla="*/ 9525 w 77495"/>
                  <a:gd name="connsiteY26" fmla="*/ 35481 h 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495" h="35480">
                    <a:moveTo>
                      <a:pt x="9525" y="35481"/>
                    </a:moveTo>
                    <a:lnTo>
                      <a:pt x="1905" y="33576"/>
                    </a:lnTo>
                    <a:lnTo>
                      <a:pt x="0" y="28813"/>
                    </a:lnTo>
                    <a:lnTo>
                      <a:pt x="952" y="22146"/>
                    </a:lnTo>
                    <a:lnTo>
                      <a:pt x="952" y="12621"/>
                    </a:lnTo>
                    <a:lnTo>
                      <a:pt x="1905" y="8811"/>
                    </a:lnTo>
                    <a:lnTo>
                      <a:pt x="3810" y="5001"/>
                    </a:lnTo>
                    <a:lnTo>
                      <a:pt x="9525" y="238"/>
                    </a:lnTo>
                    <a:lnTo>
                      <a:pt x="14288" y="238"/>
                    </a:lnTo>
                    <a:lnTo>
                      <a:pt x="31432" y="1191"/>
                    </a:lnTo>
                    <a:lnTo>
                      <a:pt x="44767" y="1191"/>
                    </a:lnTo>
                    <a:cubicBezTo>
                      <a:pt x="44767" y="1191"/>
                      <a:pt x="46672" y="1191"/>
                      <a:pt x="50482" y="1191"/>
                    </a:cubicBezTo>
                    <a:cubicBezTo>
                      <a:pt x="53340" y="1191"/>
                      <a:pt x="59055" y="238"/>
                      <a:pt x="59055" y="238"/>
                    </a:cubicBezTo>
                    <a:cubicBezTo>
                      <a:pt x="59055" y="238"/>
                      <a:pt x="64770" y="-714"/>
                      <a:pt x="68580" y="1191"/>
                    </a:cubicBezTo>
                    <a:cubicBezTo>
                      <a:pt x="73342" y="3096"/>
                      <a:pt x="68580" y="-2619"/>
                      <a:pt x="73342" y="3096"/>
                    </a:cubicBezTo>
                    <a:cubicBezTo>
                      <a:pt x="77152" y="8811"/>
                      <a:pt x="78105" y="5953"/>
                      <a:pt x="77152" y="8811"/>
                    </a:cubicBezTo>
                    <a:cubicBezTo>
                      <a:pt x="77152" y="11668"/>
                      <a:pt x="77152" y="12621"/>
                      <a:pt x="76200" y="14526"/>
                    </a:cubicBezTo>
                    <a:cubicBezTo>
                      <a:pt x="75247" y="16431"/>
                      <a:pt x="75247" y="16431"/>
                      <a:pt x="75247" y="16431"/>
                    </a:cubicBezTo>
                    <a:lnTo>
                      <a:pt x="66675" y="24051"/>
                    </a:lnTo>
                    <a:lnTo>
                      <a:pt x="60960" y="25003"/>
                    </a:lnTo>
                    <a:lnTo>
                      <a:pt x="53340" y="26908"/>
                    </a:lnTo>
                    <a:cubicBezTo>
                      <a:pt x="53340" y="26908"/>
                      <a:pt x="48577" y="28813"/>
                      <a:pt x="44767" y="30718"/>
                    </a:cubicBezTo>
                    <a:cubicBezTo>
                      <a:pt x="40005" y="32623"/>
                      <a:pt x="33338" y="33576"/>
                      <a:pt x="33338" y="33576"/>
                    </a:cubicBezTo>
                    <a:lnTo>
                      <a:pt x="28575" y="33576"/>
                    </a:lnTo>
                    <a:lnTo>
                      <a:pt x="21907" y="34528"/>
                    </a:lnTo>
                    <a:lnTo>
                      <a:pt x="15240" y="35481"/>
                    </a:lnTo>
                    <a:lnTo>
                      <a:pt x="9525" y="35481"/>
                    </a:lnTo>
                    <a:close/>
                  </a:path>
                </a:pathLst>
              </a:custGeom>
              <a:grpFill/>
              <a:ln w="9525" cap="flat">
                <a:noFill/>
                <a:prstDash val="solid"/>
                <a:miter/>
              </a:ln>
            </p:spPr>
            <p:txBody>
              <a:bodyPr rtlCol="0" anchor="ctr"/>
              <a:lstStyle/>
              <a:p>
                <a:endParaRPr lang="en-US" sz="1765"/>
              </a:p>
            </p:txBody>
          </p:sp>
          <p:sp>
            <p:nvSpPr>
              <p:cNvPr id="27" name="Freeform: Shape 26">
                <a:extLst>
                  <a:ext uri="{FF2B5EF4-FFF2-40B4-BE49-F238E27FC236}">
                    <a16:creationId xmlns:a16="http://schemas.microsoft.com/office/drawing/2014/main" id="{F77615D0-5C3A-493A-97BF-BDD849B24EBD}"/>
                  </a:ext>
                </a:extLst>
              </p:cNvPr>
              <p:cNvSpPr/>
              <p:nvPr/>
            </p:nvSpPr>
            <p:spPr>
              <a:xfrm>
                <a:off x="6586566" y="2980794"/>
                <a:ext cx="48577" cy="17404"/>
              </a:xfrm>
              <a:custGeom>
                <a:avLst/>
                <a:gdLst>
                  <a:gd name="connsiteX0" fmla="*/ 8572 w 48577"/>
                  <a:gd name="connsiteY0" fmla="*/ 17405 h 17404"/>
                  <a:gd name="connsiteX1" fmla="*/ 3810 w 48577"/>
                  <a:gd name="connsiteY1" fmla="*/ 17405 h 17404"/>
                  <a:gd name="connsiteX2" fmla="*/ 0 w 48577"/>
                  <a:gd name="connsiteY2" fmla="*/ 10737 h 17404"/>
                  <a:gd name="connsiteX3" fmla="*/ 1905 w 48577"/>
                  <a:gd name="connsiteY3" fmla="*/ 7880 h 17404"/>
                  <a:gd name="connsiteX4" fmla="*/ 5715 w 48577"/>
                  <a:gd name="connsiteY4" fmla="*/ 4070 h 17404"/>
                  <a:gd name="connsiteX5" fmla="*/ 10477 w 48577"/>
                  <a:gd name="connsiteY5" fmla="*/ 3117 h 17404"/>
                  <a:gd name="connsiteX6" fmla="*/ 20002 w 48577"/>
                  <a:gd name="connsiteY6" fmla="*/ 2165 h 17404"/>
                  <a:gd name="connsiteX7" fmla="*/ 32385 w 48577"/>
                  <a:gd name="connsiteY7" fmla="*/ 260 h 17404"/>
                  <a:gd name="connsiteX8" fmla="*/ 43815 w 48577"/>
                  <a:gd name="connsiteY8" fmla="*/ 2165 h 17404"/>
                  <a:gd name="connsiteX9" fmla="*/ 48577 w 48577"/>
                  <a:gd name="connsiteY9" fmla="*/ 5022 h 17404"/>
                  <a:gd name="connsiteX10" fmla="*/ 48577 w 48577"/>
                  <a:gd name="connsiteY10" fmla="*/ 11690 h 17404"/>
                  <a:gd name="connsiteX11" fmla="*/ 42863 w 48577"/>
                  <a:gd name="connsiteY11" fmla="*/ 15500 h 17404"/>
                  <a:gd name="connsiteX12" fmla="*/ 8572 w 48577"/>
                  <a:gd name="connsiteY12" fmla="*/ 17405 h 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77" h="17404">
                    <a:moveTo>
                      <a:pt x="8572" y="17405"/>
                    </a:moveTo>
                    <a:lnTo>
                      <a:pt x="3810" y="17405"/>
                    </a:lnTo>
                    <a:lnTo>
                      <a:pt x="0" y="10737"/>
                    </a:lnTo>
                    <a:lnTo>
                      <a:pt x="1905" y="7880"/>
                    </a:lnTo>
                    <a:cubicBezTo>
                      <a:pt x="1905" y="7880"/>
                      <a:pt x="952" y="5975"/>
                      <a:pt x="5715" y="4070"/>
                    </a:cubicBezTo>
                    <a:cubicBezTo>
                      <a:pt x="10477" y="3117"/>
                      <a:pt x="10477" y="3117"/>
                      <a:pt x="10477" y="3117"/>
                    </a:cubicBezTo>
                    <a:cubicBezTo>
                      <a:pt x="10477" y="3117"/>
                      <a:pt x="17145" y="2165"/>
                      <a:pt x="20002" y="2165"/>
                    </a:cubicBezTo>
                    <a:cubicBezTo>
                      <a:pt x="22860" y="1212"/>
                      <a:pt x="28575" y="-693"/>
                      <a:pt x="32385" y="260"/>
                    </a:cubicBezTo>
                    <a:cubicBezTo>
                      <a:pt x="35242" y="1212"/>
                      <a:pt x="39052" y="-693"/>
                      <a:pt x="43815" y="2165"/>
                    </a:cubicBezTo>
                    <a:cubicBezTo>
                      <a:pt x="48577" y="5022"/>
                      <a:pt x="48577" y="5022"/>
                      <a:pt x="48577" y="5022"/>
                    </a:cubicBezTo>
                    <a:lnTo>
                      <a:pt x="48577" y="11690"/>
                    </a:lnTo>
                    <a:lnTo>
                      <a:pt x="42863" y="15500"/>
                    </a:lnTo>
                    <a:lnTo>
                      <a:pt x="8572" y="17405"/>
                    </a:lnTo>
                    <a:close/>
                  </a:path>
                </a:pathLst>
              </a:custGeom>
              <a:grpFill/>
              <a:ln w="9525" cap="flat">
                <a:noFill/>
                <a:prstDash val="solid"/>
                <a:miter/>
              </a:ln>
            </p:spPr>
            <p:txBody>
              <a:bodyPr rtlCol="0" anchor="ctr"/>
              <a:lstStyle/>
              <a:p>
                <a:endParaRPr lang="en-US" sz="1765"/>
              </a:p>
            </p:txBody>
          </p:sp>
          <p:sp>
            <p:nvSpPr>
              <p:cNvPr id="28" name="Freeform: Shape 27">
                <a:extLst>
                  <a:ext uri="{FF2B5EF4-FFF2-40B4-BE49-F238E27FC236}">
                    <a16:creationId xmlns:a16="http://schemas.microsoft.com/office/drawing/2014/main" id="{084BB0BB-CCC6-481F-8B9E-E79B6769C9B1}"/>
                  </a:ext>
                </a:extLst>
              </p:cNvPr>
              <p:cNvSpPr/>
              <p:nvPr/>
            </p:nvSpPr>
            <p:spPr>
              <a:xfrm>
                <a:off x="6737908" y="3182031"/>
                <a:ext cx="118215" cy="40957"/>
              </a:xfrm>
              <a:custGeom>
                <a:avLst/>
                <a:gdLst>
                  <a:gd name="connsiteX0" fmla="*/ 51541 w 118215"/>
                  <a:gd name="connsiteY0" fmla="*/ 3810 h 40957"/>
                  <a:gd name="connsiteX1" fmla="*/ 42016 w 118215"/>
                  <a:gd name="connsiteY1" fmla="*/ 953 h 40957"/>
                  <a:gd name="connsiteX2" fmla="*/ 28681 w 118215"/>
                  <a:gd name="connsiteY2" fmla="*/ 0 h 40957"/>
                  <a:gd name="connsiteX3" fmla="*/ 21061 w 118215"/>
                  <a:gd name="connsiteY3" fmla="*/ 953 h 40957"/>
                  <a:gd name="connsiteX4" fmla="*/ 17251 w 118215"/>
                  <a:gd name="connsiteY4" fmla="*/ 6668 h 40957"/>
                  <a:gd name="connsiteX5" fmla="*/ 10583 w 118215"/>
                  <a:gd name="connsiteY5" fmla="*/ 10478 h 40957"/>
                  <a:gd name="connsiteX6" fmla="*/ 10583 w 118215"/>
                  <a:gd name="connsiteY6" fmla="*/ 12383 h 40957"/>
                  <a:gd name="connsiteX7" fmla="*/ 9631 w 118215"/>
                  <a:gd name="connsiteY7" fmla="*/ 16193 h 40957"/>
                  <a:gd name="connsiteX8" fmla="*/ 9631 w 118215"/>
                  <a:gd name="connsiteY8" fmla="*/ 19050 h 40957"/>
                  <a:gd name="connsiteX9" fmla="*/ 4868 w 118215"/>
                  <a:gd name="connsiteY9" fmla="*/ 23813 h 40957"/>
                  <a:gd name="connsiteX10" fmla="*/ 2963 w 118215"/>
                  <a:gd name="connsiteY10" fmla="*/ 28575 h 40957"/>
                  <a:gd name="connsiteX11" fmla="*/ 2963 w 118215"/>
                  <a:gd name="connsiteY11" fmla="*/ 34290 h 40957"/>
                  <a:gd name="connsiteX12" fmla="*/ 18203 w 118215"/>
                  <a:gd name="connsiteY12" fmla="*/ 36195 h 40957"/>
                  <a:gd name="connsiteX13" fmla="*/ 23918 w 118215"/>
                  <a:gd name="connsiteY13" fmla="*/ 39053 h 40957"/>
                  <a:gd name="connsiteX14" fmla="*/ 31538 w 118215"/>
                  <a:gd name="connsiteY14" fmla="*/ 40958 h 40957"/>
                  <a:gd name="connsiteX15" fmla="*/ 41063 w 118215"/>
                  <a:gd name="connsiteY15" fmla="*/ 40005 h 40957"/>
                  <a:gd name="connsiteX16" fmla="*/ 46778 w 118215"/>
                  <a:gd name="connsiteY16" fmla="*/ 33338 h 40957"/>
                  <a:gd name="connsiteX17" fmla="*/ 56303 w 118215"/>
                  <a:gd name="connsiteY17" fmla="*/ 32385 h 40957"/>
                  <a:gd name="connsiteX18" fmla="*/ 62018 w 118215"/>
                  <a:gd name="connsiteY18" fmla="*/ 32385 h 40957"/>
                  <a:gd name="connsiteX19" fmla="*/ 71543 w 118215"/>
                  <a:gd name="connsiteY19" fmla="*/ 33338 h 40957"/>
                  <a:gd name="connsiteX20" fmla="*/ 80116 w 118215"/>
                  <a:gd name="connsiteY20" fmla="*/ 34290 h 40957"/>
                  <a:gd name="connsiteX21" fmla="*/ 98213 w 118215"/>
                  <a:gd name="connsiteY21" fmla="*/ 35243 h 40957"/>
                  <a:gd name="connsiteX22" fmla="*/ 111548 w 118215"/>
                  <a:gd name="connsiteY22" fmla="*/ 37148 h 40957"/>
                  <a:gd name="connsiteX23" fmla="*/ 118216 w 118215"/>
                  <a:gd name="connsiteY23" fmla="*/ 35243 h 40957"/>
                  <a:gd name="connsiteX24" fmla="*/ 118216 w 118215"/>
                  <a:gd name="connsiteY24" fmla="*/ 32385 h 40957"/>
                  <a:gd name="connsiteX25" fmla="*/ 111548 w 118215"/>
                  <a:gd name="connsiteY25" fmla="*/ 28575 h 40957"/>
                  <a:gd name="connsiteX26" fmla="*/ 103928 w 118215"/>
                  <a:gd name="connsiteY26" fmla="*/ 27623 h 40957"/>
                  <a:gd name="connsiteX27" fmla="*/ 90593 w 118215"/>
                  <a:gd name="connsiteY27" fmla="*/ 23813 h 40957"/>
                  <a:gd name="connsiteX28" fmla="*/ 89641 w 118215"/>
                  <a:gd name="connsiteY28" fmla="*/ 20955 h 40957"/>
                  <a:gd name="connsiteX29" fmla="*/ 82021 w 118215"/>
                  <a:gd name="connsiteY29" fmla="*/ 16193 h 40957"/>
                  <a:gd name="connsiteX30" fmla="*/ 77258 w 118215"/>
                  <a:gd name="connsiteY30" fmla="*/ 15240 h 40957"/>
                  <a:gd name="connsiteX31" fmla="*/ 75353 w 118215"/>
                  <a:gd name="connsiteY31" fmla="*/ 12383 h 40957"/>
                  <a:gd name="connsiteX32" fmla="*/ 61066 w 118215"/>
                  <a:gd name="connsiteY32" fmla="*/ 8573 h 40957"/>
                  <a:gd name="connsiteX33" fmla="*/ 51541 w 118215"/>
                  <a:gd name="connsiteY33" fmla="*/ 381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215" h="40957">
                    <a:moveTo>
                      <a:pt x="51541" y="3810"/>
                    </a:moveTo>
                    <a:lnTo>
                      <a:pt x="42016" y="953"/>
                    </a:lnTo>
                    <a:lnTo>
                      <a:pt x="28681" y="0"/>
                    </a:lnTo>
                    <a:lnTo>
                      <a:pt x="21061" y="953"/>
                    </a:lnTo>
                    <a:lnTo>
                      <a:pt x="17251" y="6668"/>
                    </a:lnTo>
                    <a:cubicBezTo>
                      <a:pt x="17251" y="6668"/>
                      <a:pt x="10583" y="8573"/>
                      <a:pt x="10583" y="10478"/>
                    </a:cubicBezTo>
                    <a:cubicBezTo>
                      <a:pt x="10583" y="12383"/>
                      <a:pt x="11536" y="8573"/>
                      <a:pt x="10583" y="12383"/>
                    </a:cubicBezTo>
                    <a:cubicBezTo>
                      <a:pt x="9631" y="16193"/>
                      <a:pt x="9631" y="16193"/>
                      <a:pt x="9631" y="16193"/>
                    </a:cubicBezTo>
                    <a:cubicBezTo>
                      <a:pt x="9631" y="16193"/>
                      <a:pt x="9631" y="17145"/>
                      <a:pt x="9631" y="19050"/>
                    </a:cubicBezTo>
                    <a:cubicBezTo>
                      <a:pt x="9631" y="20955"/>
                      <a:pt x="4868" y="21908"/>
                      <a:pt x="4868" y="23813"/>
                    </a:cubicBezTo>
                    <a:cubicBezTo>
                      <a:pt x="4868" y="25718"/>
                      <a:pt x="2963" y="28575"/>
                      <a:pt x="2963" y="28575"/>
                    </a:cubicBezTo>
                    <a:cubicBezTo>
                      <a:pt x="2963" y="34290"/>
                      <a:pt x="-3704" y="31433"/>
                      <a:pt x="2963" y="34290"/>
                    </a:cubicBezTo>
                    <a:cubicBezTo>
                      <a:pt x="9631" y="37148"/>
                      <a:pt x="18203" y="36195"/>
                      <a:pt x="18203" y="36195"/>
                    </a:cubicBezTo>
                    <a:lnTo>
                      <a:pt x="23918" y="39053"/>
                    </a:lnTo>
                    <a:lnTo>
                      <a:pt x="31538" y="40958"/>
                    </a:lnTo>
                    <a:lnTo>
                      <a:pt x="41063" y="40005"/>
                    </a:lnTo>
                    <a:cubicBezTo>
                      <a:pt x="41063" y="40005"/>
                      <a:pt x="42968" y="33338"/>
                      <a:pt x="46778" y="33338"/>
                    </a:cubicBezTo>
                    <a:cubicBezTo>
                      <a:pt x="49636" y="32385"/>
                      <a:pt x="56303" y="32385"/>
                      <a:pt x="56303" y="32385"/>
                    </a:cubicBezTo>
                    <a:lnTo>
                      <a:pt x="62018" y="32385"/>
                    </a:lnTo>
                    <a:lnTo>
                      <a:pt x="71543" y="33338"/>
                    </a:lnTo>
                    <a:cubicBezTo>
                      <a:pt x="71543" y="33338"/>
                      <a:pt x="77258" y="34290"/>
                      <a:pt x="80116" y="34290"/>
                    </a:cubicBezTo>
                    <a:cubicBezTo>
                      <a:pt x="82973" y="34290"/>
                      <a:pt x="94403" y="34290"/>
                      <a:pt x="98213" y="35243"/>
                    </a:cubicBezTo>
                    <a:cubicBezTo>
                      <a:pt x="101071" y="36195"/>
                      <a:pt x="111548" y="37148"/>
                      <a:pt x="111548" y="37148"/>
                    </a:cubicBezTo>
                    <a:lnTo>
                      <a:pt x="118216" y="35243"/>
                    </a:lnTo>
                    <a:lnTo>
                      <a:pt x="118216" y="32385"/>
                    </a:lnTo>
                    <a:lnTo>
                      <a:pt x="111548" y="28575"/>
                    </a:lnTo>
                    <a:lnTo>
                      <a:pt x="103928" y="27623"/>
                    </a:lnTo>
                    <a:lnTo>
                      <a:pt x="90593" y="23813"/>
                    </a:lnTo>
                    <a:lnTo>
                      <a:pt x="89641" y="20955"/>
                    </a:lnTo>
                    <a:lnTo>
                      <a:pt x="82021" y="16193"/>
                    </a:lnTo>
                    <a:lnTo>
                      <a:pt x="77258" y="15240"/>
                    </a:lnTo>
                    <a:cubicBezTo>
                      <a:pt x="77258" y="15240"/>
                      <a:pt x="76306" y="14288"/>
                      <a:pt x="75353" y="12383"/>
                    </a:cubicBezTo>
                    <a:cubicBezTo>
                      <a:pt x="74401" y="10478"/>
                      <a:pt x="61066" y="8573"/>
                      <a:pt x="61066" y="8573"/>
                    </a:cubicBezTo>
                    <a:lnTo>
                      <a:pt x="51541" y="3810"/>
                    </a:lnTo>
                    <a:close/>
                  </a:path>
                </a:pathLst>
              </a:custGeom>
              <a:grpFill/>
              <a:ln w="9525" cap="flat">
                <a:noFill/>
                <a:prstDash val="solid"/>
                <a:miter/>
              </a:ln>
            </p:spPr>
            <p:txBody>
              <a:bodyPr rtlCol="0" anchor="ctr"/>
              <a:lstStyle/>
              <a:p>
                <a:endParaRPr lang="en-US" sz="1765"/>
              </a:p>
            </p:txBody>
          </p:sp>
          <p:sp>
            <p:nvSpPr>
              <p:cNvPr id="29" name="Freeform: Shape 28">
                <a:extLst>
                  <a:ext uri="{FF2B5EF4-FFF2-40B4-BE49-F238E27FC236}">
                    <a16:creationId xmlns:a16="http://schemas.microsoft.com/office/drawing/2014/main" id="{EBE287A2-9BF1-4674-9E74-D028E2134FD3}"/>
                  </a:ext>
                </a:extLst>
              </p:cNvPr>
              <p:cNvSpPr/>
              <p:nvPr/>
            </p:nvSpPr>
            <p:spPr>
              <a:xfrm>
                <a:off x="6787470" y="3229656"/>
                <a:ext cx="39126" cy="10477"/>
              </a:xfrm>
              <a:custGeom>
                <a:avLst/>
                <a:gdLst>
                  <a:gd name="connsiteX0" fmla="*/ 32459 w 39126"/>
                  <a:gd name="connsiteY0" fmla="*/ 953 h 10477"/>
                  <a:gd name="connsiteX1" fmla="*/ 18171 w 39126"/>
                  <a:gd name="connsiteY1" fmla="*/ 953 h 10477"/>
                  <a:gd name="connsiteX2" fmla="*/ 13409 w 39126"/>
                  <a:gd name="connsiteY2" fmla="*/ 2858 h 10477"/>
                  <a:gd name="connsiteX3" fmla="*/ 7694 w 39126"/>
                  <a:gd name="connsiteY3" fmla="*/ 4763 h 10477"/>
                  <a:gd name="connsiteX4" fmla="*/ 74 w 39126"/>
                  <a:gd name="connsiteY4" fmla="*/ 5715 h 10477"/>
                  <a:gd name="connsiteX5" fmla="*/ 1026 w 39126"/>
                  <a:gd name="connsiteY5" fmla="*/ 7620 h 10477"/>
                  <a:gd name="connsiteX6" fmla="*/ 6741 w 39126"/>
                  <a:gd name="connsiteY6" fmla="*/ 10478 h 10477"/>
                  <a:gd name="connsiteX7" fmla="*/ 16266 w 39126"/>
                  <a:gd name="connsiteY7" fmla="*/ 9525 h 10477"/>
                  <a:gd name="connsiteX8" fmla="*/ 21029 w 39126"/>
                  <a:gd name="connsiteY8" fmla="*/ 9525 h 10477"/>
                  <a:gd name="connsiteX9" fmla="*/ 34364 w 39126"/>
                  <a:gd name="connsiteY9" fmla="*/ 9525 h 10477"/>
                  <a:gd name="connsiteX10" fmla="*/ 39126 w 39126"/>
                  <a:gd name="connsiteY10" fmla="*/ 8573 h 10477"/>
                  <a:gd name="connsiteX11" fmla="*/ 39126 w 39126"/>
                  <a:gd name="connsiteY11" fmla="*/ 0 h 10477"/>
                  <a:gd name="connsiteX12" fmla="*/ 32459 w 39126"/>
                  <a:gd name="connsiteY12" fmla="*/ 953 h 1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26" h="10477">
                    <a:moveTo>
                      <a:pt x="32459" y="953"/>
                    </a:moveTo>
                    <a:lnTo>
                      <a:pt x="18171" y="953"/>
                    </a:lnTo>
                    <a:cubicBezTo>
                      <a:pt x="13409" y="2858"/>
                      <a:pt x="13409" y="2858"/>
                      <a:pt x="13409" y="2858"/>
                    </a:cubicBezTo>
                    <a:lnTo>
                      <a:pt x="7694" y="4763"/>
                    </a:lnTo>
                    <a:cubicBezTo>
                      <a:pt x="7694" y="4763"/>
                      <a:pt x="-879" y="3810"/>
                      <a:pt x="74" y="5715"/>
                    </a:cubicBezTo>
                    <a:cubicBezTo>
                      <a:pt x="1026" y="7620"/>
                      <a:pt x="1026" y="7620"/>
                      <a:pt x="1026" y="7620"/>
                    </a:cubicBezTo>
                    <a:lnTo>
                      <a:pt x="6741" y="10478"/>
                    </a:lnTo>
                    <a:lnTo>
                      <a:pt x="16266" y="9525"/>
                    </a:lnTo>
                    <a:cubicBezTo>
                      <a:pt x="16266" y="9525"/>
                      <a:pt x="17219" y="8573"/>
                      <a:pt x="21029" y="9525"/>
                    </a:cubicBezTo>
                    <a:cubicBezTo>
                      <a:pt x="23886" y="10478"/>
                      <a:pt x="34364" y="9525"/>
                      <a:pt x="34364" y="9525"/>
                    </a:cubicBezTo>
                    <a:lnTo>
                      <a:pt x="39126" y="8573"/>
                    </a:lnTo>
                    <a:lnTo>
                      <a:pt x="39126" y="0"/>
                    </a:lnTo>
                    <a:lnTo>
                      <a:pt x="32459" y="953"/>
                    </a:lnTo>
                    <a:close/>
                  </a:path>
                </a:pathLst>
              </a:custGeom>
              <a:grpFill/>
              <a:ln w="9525" cap="flat">
                <a:noFill/>
                <a:prstDash val="solid"/>
                <a:miter/>
              </a:ln>
            </p:spPr>
            <p:txBody>
              <a:bodyPr rtlCol="0" anchor="ctr"/>
              <a:lstStyle/>
              <a:p>
                <a:endParaRPr lang="en-US" sz="1765"/>
              </a:p>
            </p:txBody>
          </p:sp>
          <p:sp>
            <p:nvSpPr>
              <p:cNvPr id="30" name="Freeform: Shape 29">
                <a:extLst>
                  <a:ext uri="{FF2B5EF4-FFF2-40B4-BE49-F238E27FC236}">
                    <a16:creationId xmlns:a16="http://schemas.microsoft.com/office/drawing/2014/main" id="{0C1BF5C3-1C01-4516-9A8B-01375B1E8184}"/>
                  </a:ext>
                </a:extLst>
              </p:cNvPr>
              <p:cNvSpPr/>
              <p:nvPr/>
            </p:nvSpPr>
            <p:spPr>
              <a:xfrm>
                <a:off x="6892241" y="3188804"/>
                <a:ext cx="51512" cy="17991"/>
              </a:xfrm>
              <a:custGeom>
                <a:avLst/>
                <a:gdLst>
                  <a:gd name="connsiteX0" fmla="*/ 44845 w 51512"/>
                  <a:gd name="connsiteY0" fmla="*/ 14182 h 17991"/>
                  <a:gd name="connsiteX1" fmla="*/ 21985 w 51512"/>
                  <a:gd name="connsiteY1" fmla="*/ 17039 h 17991"/>
                  <a:gd name="connsiteX2" fmla="*/ 14365 w 51512"/>
                  <a:gd name="connsiteY2" fmla="*/ 17039 h 17991"/>
                  <a:gd name="connsiteX3" fmla="*/ 1030 w 51512"/>
                  <a:gd name="connsiteY3" fmla="*/ 17992 h 17991"/>
                  <a:gd name="connsiteX4" fmla="*/ 78 w 51512"/>
                  <a:gd name="connsiteY4" fmla="*/ 15134 h 17991"/>
                  <a:gd name="connsiteX5" fmla="*/ 3888 w 51512"/>
                  <a:gd name="connsiteY5" fmla="*/ 8467 h 17991"/>
                  <a:gd name="connsiteX6" fmla="*/ 8650 w 51512"/>
                  <a:gd name="connsiteY6" fmla="*/ 8467 h 17991"/>
                  <a:gd name="connsiteX7" fmla="*/ 15318 w 51512"/>
                  <a:gd name="connsiteY7" fmla="*/ 2752 h 17991"/>
                  <a:gd name="connsiteX8" fmla="*/ 20080 w 51512"/>
                  <a:gd name="connsiteY8" fmla="*/ 847 h 17991"/>
                  <a:gd name="connsiteX9" fmla="*/ 24843 w 51512"/>
                  <a:gd name="connsiteY9" fmla="*/ 847 h 17991"/>
                  <a:gd name="connsiteX10" fmla="*/ 38178 w 51512"/>
                  <a:gd name="connsiteY10" fmla="*/ 1799 h 17991"/>
                  <a:gd name="connsiteX11" fmla="*/ 41035 w 51512"/>
                  <a:gd name="connsiteY11" fmla="*/ 2752 h 17991"/>
                  <a:gd name="connsiteX12" fmla="*/ 46750 w 51512"/>
                  <a:gd name="connsiteY12" fmla="*/ 3704 h 17991"/>
                  <a:gd name="connsiteX13" fmla="*/ 51513 w 51512"/>
                  <a:gd name="connsiteY13" fmla="*/ 8467 h 17991"/>
                  <a:gd name="connsiteX14" fmla="*/ 51513 w 51512"/>
                  <a:gd name="connsiteY14" fmla="*/ 12277 h 17991"/>
                  <a:gd name="connsiteX15" fmla="*/ 44845 w 51512"/>
                  <a:gd name="connsiteY15" fmla="*/ 14182 h 1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512" h="17991">
                    <a:moveTo>
                      <a:pt x="44845" y="14182"/>
                    </a:moveTo>
                    <a:lnTo>
                      <a:pt x="21985" y="17039"/>
                    </a:lnTo>
                    <a:lnTo>
                      <a:pt x="14365" y="17039"/>
                    </a:lnTo>
                    <a:lnTo>
                      <a:pt x="1030" y="17992"/>
                    </a:lnTo>
                    <a:lnTo>
                      <a:pt x="78" y="15134"/>
                    </a:lnTo>
                    <a:cubicBezTo>
                      <a:pt x="78" y="15134"/>
                      <a:pt x="-875" y="8467"/>
                      <a:pt x="3888" y="8467"/>
                    </a:cubicBezTo>
                    <a:cubicBezTo>
                      <a:pt x="8650" y="8467"/>
                      <a:pt x="8650" y="8467"/>
                      <a:pt x="8650" y="8467"/>
                    </a:cubicBezTo>
                    <a:lnTo>
                      <a:pt x="15318" y="2752"/>
                    </a:lnTo>
                    <a:lnTo>
                      <a:pt x="20080" y="847"/>
                    </a:lnTo>
                    <a:cubicBezTo>
                      <a:pt x="20080" y="847"/>
                      <a:pt x="18175" y="-1058"/>
                      <a:pt x="24843" y="847"/>
                    </a:cubicBezTo>
                    <a:cubicBezTo>
                      <a:pt x="31510" y="2752"/>
                      <a:pt x="34368" y="847"/>
                      <a:pt x="38178" y="1799"/>
                    </a:cubicBezTo>
                    <a:cubicBezTo>
                      <a:pt x="41035" y="2752"/>
                      <a:pt x="41035" y="2752"/>
                      <a:pt x="41035" y="2752"/>
                    </a:cubicBezTo>
                    <a:lnTo>
                      <a:pt x="46750" y="3704"/>
                    </a:lnTo>
                    <a:cubicBezTo>
                      <a:pt x="51513" y="8467"/>
                      <a:pt x="51513" y="5609"/>
                      <a:pt x="51513" y="8467"/>
                    </a:cubicBezTo>
                    <a:cubicBezTo>
                      <a:pt x="51513" y="12277"/>
                      <a:pt x="51513" y="12277"/>
                      <a:pt x="51513" y="12277"/>
                    </a:cubicBezTo>
                    <a:lnTo>
                      <a:pt x="44845" y="14182"/>
                    </a:lnTo>
                    <a:close/>
                  </a:path>
                </a:pathLst>
              </a:custGeom>
              <a:grpFill/>
              <a:ln w="9525" cap="flat">
                <a:noFill/>
                <a:prstDash val="solid"/>
                <a:miter/>
              </a:ln>
            </p:spPr>
            <p:txBody>
              <a:bodyPr rtlCol="0" anchor="ctr"/>
              <a:lstStyle/>
              <a:p>
                <a:endParaRPr lang="en-US" sz="1765"/>
              </a:p>
            </p:txBody>
          </p:sp>
          <p:sp>
            <p:nvSpPr>
              <p:cNvPr id="31" name="Freeform: Shape 30">
                <a:extLst>
                  <a:ext uri="{FF2B5EF4-FFF2-40B4-BE49-F238E27FC236}">
                    <a16:creationId xmlns:a16="http://schemas.microsoft.com/office/drawing/2014/main" id="{71274083-D4B7-41C6-B33D-6EF2E4287862}"/>
                  </a:ext>
                </a:extLst>
              </p:cNvPr>
              <p:cNvSpPr/>
              <p:nvPr/>
            </p:nvSpPr>
            <p:spPr>
              <a:xfrm>
                <a:off x="6909464" y="3135359"/>
                <a:ext cx="44437" cy="15239"/>
              </a:xfrm>
              <a:custGeom>
                <a:avLst/>
                <a:gdLst>
                  <a:gd name="connsiteX0" fmla="*/ 43815 w 44437"/>
                  <a:gd name="connsiteY0" fmla="*/ 13335 h 15239"/>
                  <a:gd name="connsiteX1" fmla="*/ 32385 w 44437"/>
                  <a:gd name="connsiteY1" fmla="*/ 14288 h 15239"/>
                  <a:gd name="connsiteX2" fmla="*/ 13335 w 44437"/>
                  <a:gd name="connsiteY2" fmla="*/ 15240 h 15239"/>
                  <a:gd name="connsiteX3" fmla="*/ 7620 w 44437"/>
                  <a:gd name="connsiteY3" fmla="*/ 12382 h 15239"/>
                  <a:gd name="connsiteX4" fmla="*/ 5715 w 44437"/>
                  <a:gd name="connsiteY4" fmla="*/ 8572 h 15239"/>
                  <a:gd name="connsiteX5" fmla="*/ 0 w 44437"/>
                  <a:gd name="connsiteY5" fmla="*/ 3810 h 15239"/>
                  <a:gd name="connsiteX6" fmla="*/ 3810 w 44437"/>
                  <a:gd name="connsiteY6" fmla="*/ 0 h 15239"/>
                  <a:gd name="connsiteX7" fmla="*/ 15240 w 44437"/>
                  <a:gd name="connsiteY7" fmla="*/ 952 h 15239"/>
                  <a:gd name="connsiteX8" fmla="*/ 22860 w 44437"/>
                  <a:gd name="connsiteY8" fmla="*/ 952 h 15239"/>
                  <a:gd name="connsiteX9" fmla="*/ 37147 w 44437"/>
                  <a:gd name="connsiteY9" fmla="*/ 1905 h 15239"/>
                  <a:gd name="connsiteX10" fmla="*/ 42863 w 44437"/>
                  <a:gd name="connsiteY10" fmla="*/ 2857 h 15239"/>
                  <a:gd name="connsiteX11" fmla="*/ 43815 w 44437"/>
                  <a:gd name="connsiteY11"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37" h="15239">
                    <a:moveTo>
                      <a:pt x="43815" y="13335"/>
                    </a:moveTo>
                    <a:lnTo>
                      <a:pt x="32385" y="14288"/>
                    </a:lnTo>
                    <a:lnTo>
                      <a:pt x="13335" y="15240"/>
                    </a:lnTo>
                    <a:lnTo>
                      <a:pt x="7620" y="12382"/>
                    </a:lnTo>
                    <a:lnTo>
                      <a:pt x="5715" y="8572"/>
                    </a:lnTo>
                    <a:lnTo>
                      <a:pt x="0" y="3810"/>
                    </a:lnTo>
                    <a:cubicBezTo>
                      <a:pt x="0" y="3810"/>
                      <a:pt x="0" y="0"/>
                      <a:pt x="3810" y="0"/>
                    </a:cubicBezTo>
                    <a:cubicBezTo>
                      <a:pt x="6667" y="952"/>
                      <a:pt x="15240" y="952"/>
                      <a:pt x="15240" y="952"/>
                    </a:cubicBezTo>
                    <a:lnTo>
                      <a:pt x="22860" y="952"/>
                    </a:lnTo>
                    <a:lnTo>
                      <a:pt x="37147" y="1905"/>
                    </a:lnTo>
                    <a:lnTo>
                      <a:pt x="42863" y="2857"/>
                    </a:lnTo>
                    <a:cubicBezTo>
                      <a:pt x="45720" y="7620"/>
                      <a:pt x="43815" y="13335"/>
                      <a:pt x="43815" y="13335"/>
                    </a:cubicBezTo>
                    <a:close/>
                  </a:path>
                </a:pathLst>
              </a:custGeom>
              <a:grpFill/>
              <a:ln w="9525" cap="flat">
                <a:noFill/>
                <a:prstDash val="solid"/>
                <a:miter/>
              </a:ln>
            </p:spPr>
            <p:txBody>
              <a:bodyPr rtlCol="0" anchor="ctr"/>
              <a:lstStyle/>
              <a:p>
                <a:endParaRPr lang="en-US" sz="1765"/>
              </a:p>
            </p:txBody>
          </p:sp>
          <p:sp>
            <p:nvSpPr>
              <p:cNvPr id="32" name="Freeform: Shape 31">
                <a:extLst>
                  <a:ext uri="{FF2B5EF4-FFF2-40B4-BE49-F238E27FC236}">
                    <a16:creationId xmlns:a16="http://schemas.microsoft.com/office/drawing/2014/main" id="{0E61D2A1-52DB-4095-B29B-48C9063DDA35}"/>
                  </a:ext>
                </a:extLst>
              </p:cNvPr>
              <p:cNvSpPr/>
              <p:nvPr/>
            </p:nvSpPr>
            <p:spPr>
              <a:xfrm>
                <a:off x="6576089" y="2948245"/>
                <a:ext cx="300990" cy="63288"/>
              </a:xfrm>
              <a:custGeom>
                <a:avLst/>
                <a:gdLst>
                  <a:gd name="connsiteX0" fmla="*/ 282892 w 300990"/>
                  <a:gd name="connsiteY0" fmla="*/ 53763 h 63288"/>
                  <a:gd name="connsiteX1" fmla="*/ 277178 w 300990"/>
                  <a:gd name="connsiteY1" fmla="*/ 54716 h 63288"/>
                  <a:gd name="connsiteX2" fmla="*/ 267653 w 300990"/>
                  <a:gd name="connsiteY2" fmla="*/ 55668 h 63288"/>
                  <a:gd name="connsiteX3" fmla="*/ 258128 w 300990"/>
                  <a:gd name="connsiteY3" fmla="*/ 55668 h 63288"/>
                  <a:gd name="connsiteX4" fmla="*/ 248603 w 300990"/>
                  <a:gd name="connsiteY4" fmla="*/ 55668 h 63288"/>
                  <a:gd name="connsiteX5" fmla="*/ 237172 w 300990"/>
                  <a:gd name="connsiteY5" fmla="*/ 58526 h 63288"/>
                  <a:gd name="connsiteX6" fmla="*/ 229553 w 300990"/>
                  <a:gd name="connsiteY6" fmla="*/ 62336 h 63288"/>
                  <a:gd name="connsiteX7" fmla="*/ 221933 w 300990"/>
                  <a:gd name="connsiteY7" fmla="*/ 63288 h 63288"/>
                  <a:gd name="connsiteX8" fmla="*/ 210503 w 300990"/>
                  <a:gd name="connsiteY8" fmla="*/ 63288 h 63288"/>
                  <a:gd name="connsiteX9" fmla="*/ 202883 w 300990"/>
                  <a:gd name="connsiteY9" fmla="*/ 63288 h 63288"/>
                  <a:gd name="connsiteX10" fmla="*/ 196215 w 300990"/>
                  <a:gd name="connsiteY10" fmla="*/ 63288 h 63288"/>
                  <a:gd name="connsiteX11" fmla="*/ 187642 w 300990"/>
                  <a:gd name="connsiteY11" fmla="*/ 63288 h 63288"/>
                  <a:gd name="connsiteX12" fmla="*/ 180975 w 300990"/>
                  <a:gd name="connsiteY12" fmla="*/ 63288 h 63288"/>
                  <a:gd name="connsiteX13" fmla="*/ 176213 w 300990"/>
                  <a:gd name="connsiteY13" fmla="*/ 63288 h 63288"/>
                  <a:gd name="connsiteX14" fmla="*/ 164783 w 300990"/>
                  <a:gd name="connsiteY14" fmla="*/ 61383 h 63288"/>
                  <a:gd name="connsiteX15" fmla="*/ 158115 w 300990"/>
                  <a:gd name="connsiteY15" fmla="*/ 60431 h 63288"/>
                  <a:gd name="connsiteX16" fmla="*/ 142875 w 300990"/>
                  <a:gd name="connsiteY16" fmla="*/ 58526 h 63288"/>
                  <a:gd name="connsiteX17" fmla="*/ 135255 w 300990"/>
                  <a:gd name="connsiteY17" fmla="*/ 57573 h 63288"/>
                  <a:gd name="connsiteX18" fmla="*/ 114300 w 300990"/>
                  <a:gd name="connsiteY18" fmla="*/ 52811 h 63288"/>
                  <a:gd name="connsiteX19" fmla="*/ 101917 w 300990"/>
                  <a:gd name="connsiteY19" fmla="*/ 51858 h 63288"/>
                  <a:gd name="connsiteX20" fmla="*/ 93345 w 300990"/>
                  <a:gd name="connsiteY20" fmla="*/ 50906 h 63288"/>
                  <a:gd name="connsiteX21" fmla="*/ 86678 w 300990"/>
                  <a:gd name="connsiteY21" fmla="*/ 49001 h 63288"/>
                  <a:gd name="connsiteX22" fmla="*/ 80963 w 300990"/>
                  <a:gd name="connsiteY22" fmla="*/ 46143 h 63288"/>
                  <a:gd name="connsiteX23" fmla="*/ 80963 w 300990"/>
                  <a:gd name="connsiteY23" fmla="*/ 40428 h 63288"/>
                  <a:gd name="connsiteX24" fmla="*/ 79058 w 300990"/>
                  <a:gd name="connsiteY24" fmla="*/ 34713 h 63288"/>
                  <a:gd name="connsiteX25" fmla="*/ 78105 w 300990"/>
                  <a:gd name="connsiteY25" fmla="*/ 29951 h 63288"/>
                  <a:gd name="connsiteX26" fmla="*/ 72390 w 300990"/>
                  <a:gd name="connsiteY26" fmla="*/ 25188 h 63288"/>
                  <a:gd name="connsiteX27" fmla="*/ 63817 w 300990"/>
                  <a:gd name="connsiteY27" fmla="*/ 21378 h 63288"/>
                  <a:gd name="connsiteX28" fmla="*/ 58103 w 300990"/>
                  <a:gd name="connsiteY28" fmla="*/ 19473 h 63288"/>
                  <a:gd name="connsiteX29" fmla="*/ 40958 w 300990"/>
                  <a:gd name="connsiteY29" fmla="*/ 15663 h 63288"/>
                  <a:gd name="connsiteX30" fmla="*/ 29528 w 300990"/>
                  <a:gd name="connsiteY30" fmla="*/ 15663 h 63288"/>
                  <a:gd name="connsiteX31" fmla="*/ 23813 w 300990"/>
                  <a:gd name="connsiteY31" fmla="*/ 15663 h 63288"/>
                  <a:gd name="connsiteX32" fmla="*/ 10478 w 300990"/>
                  <a:gd name="connsiteY32" fmla="*/ 14711 h 63288"/>
                  <a:gd name="connsiteX33" fmla="*/ 953 w 300990"/>
                  <a:gd name="connsiteY33" fmla="*/ 11853 h 63288"/>
                  <a:gd name="connsiteX34" fmla="*/ 0 w 300990"/>
                  <a:gd name="connsiteY34" fmla="*/ 6138 h 63288"/>
                  <a:gd name="connsiteX35" fmla="*/ 5715 w 300990"/>
                  <a:gd name="connsiteY35" fmla="*/ 3281 h 63288"/>
                  <a:gd name="connsiteX36" fmla="*/ 12383 w 300990"/>
                  <a:gd name="connsiteY36" fmla="*/ 2328 h 63288"/>
                  <a:gd name="connsiteX37" fmla="*/ 28575 w 300990"/>
                  <a:gd name="connsiteY37" fmla="*/ 423 h 63288"/>
                  <a:gd name="connsiteX38" fmla="*/ 38100 w 300990"/>
                  <a:gd name="connsiteY38" fmla="*/ 423 h 63288"/>
                  <a:gd name="connsiteX39" fmla="*/ 51435 w 300990"/>
                  <a:gd name="connsiteY39" fmla="*/ 423 h 63288"/>
                  <a:gd name="connsiteX40" fmla="*/ 60008 w 300990"/>
                  <a:gd name="connsiteY40" fmla="*/ 423 h 63288"/>
                  <a:gd name="connsiteX41" fmla="*/ 72390 w 300990"/>
                  <a:gd name="connsiteY41" fmla="*/ 2328 h 63288"/>
                  <a:gd name="connsiteX42" fmla="*/ 79058 w 300990"/>
                  <a:gd name="connsiteY42" fmla="*/ 4233 h 63288"/>
                  <a:gd name="connsiteX43" fmla="*/ 86678 w 300990"/>
                  <a:gd name="connsiteY43" fmla="*/ 5186 h 63288"/>
                  <a:gd name="connsiteX44" fmla="*/ 94297 w 300990"/>
                  <a:gd name="connsiteY44" fmla="*/ 9948 h 63288"/>
                  <a:gd name="connsiteX45" fmla="*/ 89535 w 300990"/>
                  <a:gd name="connsiteY45" fmla="*/ 13758 h 63288"/>
                  <a:gd name="connsiteX46" fmla="*/ 99060 w 300990"/>
                  <a:gd name="connsiteY46" fmla="*/ 19473 h 63288"/>
                  <a:gd name="connsiteX47" fmla="*/ 104775 w 300990"/>
                  <a:gd name="connsiteY47" fmla="*/ 19473 h 63288"/>
                  <a:gd name="connsiteX48" fmla="*/ 110490 w 300990"/>
                  <a:gd name="connsiteY48" fmla="*/ 28046 h 63288"/>
                  <a:gd name="connsiteX49" fmla="*/ 123825 w 300990"/>
                  <a:gd name="connsiteY49" fmla="*/ 31856 h 63288"/>
                  <a:gd name="connsiteX50" fmla="*/ 135255 w 300990"/>
                  <a:gd name="connsiteY50" fmla="*/ 33761 h 63288"/>
                  <a:gd name="connsiteX51" fmla="*/ 149542 w 300990"/>
                  <a:gd name="connsiteY51" fmla="*/ 35666 h 63288"/>
                  <a:gd name="connsiteX52" fmla="*/ 154305 w 300990"/>
                  <a:gd name="connsiteY52" fmla="*/ 39476 h 63288"/>
                  <a:gd name="connsiteX53" fmla="*/ 167640 w 300990"/>
                  <a:gd name="connsiteY53" fmla="*/ 39476 h 63288"/>
                  <a:gd name="connsiteX54" fmla="*/ 194310 w 300990"/>
                  <a:gd name="connsiteY54" fmla="*/ 35666 h 63288"/>
                  <a:gd name="connsiteX55" fmla="*/ 205740 w 300990"/>
                  <a:gd name="connsiteY55" fmla="*/ 34713 h 63288"/>
                  <a:gd name="connsiteX56" fmla="*/ 214313 w 300990"/>
                  <a:gd name="connsiteY56" fmla="*/ 34713 h 63288"/>
                  <a:gd name="connsiteX57" fmla="*/ 231458 w 300990"/>
                  <a:gd name="connsiteY57" fmla="*/ 36618 h 63288"/>
                  <a:gd name="connsiteX58" fmla="*/ 246697 w 300990"/>
                  <a:gd name="connsiteY58" fmla="*/ 36618 h 63288"/>
                  <a:gd name="connsiteX59" fmla="*/ 258128 w 300990"/>
                  <a:gd name="connsiteY59" fmla="*/ 35666 h 63288"/>
                  <a:gd name="connsiteX60" fmla="*/ 269558 w 300990"/>
                  <a:gd name="connsiteY60" fmla="*/ 35666 h 63288"/>
                  <a:gd name="connsiteX61" fmla="*/ 276225 w 300990"/>
                  <a:gd name="connsiteY61" fmla="*/ 35666 h 63288"/>
                  <a:gd name="connsiteX62" fmla="*/ 290513 w 300990"/>
                  <a:gd name="connsiteY62" fmla="*/ 36618 h 63288"/>
                  <a:gd name="connsiteX63" fmla="*/ 297180 w 300990"/>
                  <a:gd name="connsiteY63" fmla="*/ 39476 h 63288"/>
                  <a:gd name="connsiteX64" fmla="*/ 299085 w 300990"/>
                  <a:gd name="connsiteY64" fmla="*/ 42333 h 63288"/>
                  <a:gd name="connsiteX65" fmla="*/ 300990 w 300990"/>
                  <a:gd name="connsiteY65" fmla="*/ 46143 h 63288"/>
                  <a:gd name="connsiteX66" fmla="*/ 296228 w 300990"/>
                  <a:gd name="connsiteY66" fmla="*/ 53763 h 63288"/>
                  <a:gd name="connsiteX67" fmla="*/ 282892 w 300990"/>
                  <a:gd name="connsiteY67" fmla="*/ 53763 h 6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0990" h="63288">
                    <a:moveTo>
                      <a:pt x="282892" y="53763"/>
                    </a:moveTo>
                    <a:lnTo>
                      <a:pt x="277178" y="54716"/>
                    </a:lnTo>
                    <a:lnTo>
                      <a:pt x="267653" y="55668"/>
                    </a:lnTo>
                    <a:lnTo>
                      <a:pt x="258128" y="55668"/>
                    </a:lnTo>
                    <a:lnTo>
                      <a:pt x="248603" y="55668"/>
                    </a:lnTo>
                    <a:cubicBezTo>
                      <a:pt x="241935" y="57573"/>
                      <a:pt x="237172" y="58526"/>
                      <a:pt x="237172" y="58526"/>
                    </a:cubicBezTo>
                    <a:lnTo>
                      <a:pt x="229553" y="62336"/>
                    </a:lnTo>
                    <a:cubicBezTo>
                      <a:pt x="229553" y="62336"/>
                      <a:pt x="228600" y="63288"/>
                      <a:pt x="221933" y="63288"/>
                    </a:cubicBezTo>
                    <a:cubicBezTo>
                      <a:pt x="215265" y="63288"/>
                      <a:pt x="210503" y="63288"/>
                      <a:pt x="210503" y="63288"/>
                    </a:cubicBezTo>
                    <a:lnTo>
                      <a:pt x="202883" y="63288"/>
                    </a:lnTo>
                    <a:lnTo>
                      <a:pt x="196215" y="63288"/>
                    </a:lnTo>
                    <a:lnTo>
                      <a:pt x="187642" y="63288"/>
                    </a:lnTo>
                    <a:lnTo>
                      <a:pt x="180975" y="63288"/>
                    </a:lnTo>
                    <a:lnTo>
                      <a:pt x="176213" y="63288"/>
                    </a:lnTo>
                    <a:lnTo>
                      <a:pt x="164783" y="61383"/>
                    </a:lnTo>
                    <a:lnTo>
                      <a:pt x="158115" y="60431"/>
                    </a:lnTo>
                    <a:lnTo>
                      <a:pt x="142875" y="58526"/>
                    </a:lnTo>
                    <a:cubicBezTo>
                      <a:pt x="142875" y="58526"/>
                      <a:pt x="140017" y="57573"/>
                      <a:pt x="135255" y="57573"/>
                    </a:cubicBezTo>
                    <a:cubicBezTo>
                      <a:pt x="130492" y="57573"/>
                      <a:pt x="114300" y="52811"/>
                      <a:pt x="114300" y="52811"/>
                    </a:cubicBezTo>
                    <a:cubicBezTo>
                      <a:pt x="114300" y="52811"/>
                      <a:pt x="105728" y="50906"/>
                      <a:pt x="101917" y="51858"/>
                    </a:cubicBezTo>
                    <a:cubicBezTo>
                      <a:pt x="99060" y="52811"/>
                      <a:pt x="93345" y="50906"/>
                      <a:pt x="93345" y="50906"/>
                    </a:cubicBezTo>
                    <a:lnTo>
                      <a:pt x="86678" y="49001"/>
                    </a:lnTo>
                    <a:lnTo>
                      <a:pt x="80963" y="46143"/>
                    </a:lnTo>
                    <a:lnTo>
                      <a:pt x="80963" y="40428"/>
                    </a:lnTo>
                    <a:lnTo>
                      <a:pt x="79058" y="34713"/>
                    </a:lnTo>
                    <a:lnTo>
                      <a:pt x="78105" y="29951"/>
                    </a:lnTo>
                    <a:lnTo>
                      <a:pt x="72390" y="25188"/>
                    </a:lnTo>
                    <a:cubicBezTo>
                      <a:pt x="72390" y="25188"/>
                      <a:pt x="69533" y="23283"/>
                      <a:pt x="63817" y="21378"/>
                    </a:cubicBezTo>
                    <a:cubicBezTo>
                      <a:pt x="58103" y="19473"/>
                      <a:pt x="58103" y="19473"/>
                      <a:pt x="58103" y="19473"/>
                    </a:cubicBezTo>
                    <a:cubicBezTo>
                      <a:pt x="58103" y="19473"/>
                      <a:pt x="43815" y="15663"/>
                      <a:pt x="40958" y="15663"/>
                    </a:cubicBezTo>
                    <a:cubicBezTo>
                      <a:pt x="38100" y="15663"/>
                      <a:pt x="29528" y="15663"/>
                      <a:pt x="29528" y="15663"/>
                    </a:cubicBezTo>
                    <a:cubicBezTo>
                      <a:pt x="29528" y="15663"/>
                      <a:pt x="28575" y="15663"/>
                      <a:pt x="23813" y="15663"/>
                    </a:cubicBezTo>
                    <a:cubicBezTo>
                      <a:pt x="19050" y="15663"/>
                      <a:pt x="10478" y="14711"/>
                      <a:pt x="10478" y="14711"/>
                    </a:cubicBezTo>
                    <a:lnTo>
                      <a:pt x="953" y="11853"/>
                    </a:lnTo>
                    <a:lnTo>
                      <a:pt x="0" y="6138"/>
                    </a:lnTo>
                    <a:lnTo>
                      <a:pt x="5715" y="3281"/>
                    </a:lnTo>
                    <a:cubicBezTo>
                      <a:pt x="12383" y="2328"/>
                      <a:pt x="4763" y="4233"/>
                      <a:pt x="12383" y="2328"/>
                    </a:cubicBezTo>
                    <a:cubicBezTo>
                      <a:pt x="20003" y="423"/>
                      <a:pt x="28575" y="423"/>
                      <a:pt x="28575" y="423"/>
                    </a:cubicBezTo>
                    <a:lnTo>
                      <a:pt x="38100" y="423"/>
                    </a:lnTo>
                    <a:lnTo>
                      <a:pt x="51435" y="423"/>
                    </a:lnTo>
                    <a:cubicBezTo>
                      <a:pt x="51435" y="423"/>
                      <a:pt x="56197" y="-529"/>
                      <a:pt x="60008" y="423"/>
                    </a:cubicBezTo>
                    <a:cubicBezTo>
                      <a:pt x="64770" y="1376"/>
                      <a:pt x="72390" y="2328"/>
                      <a:pt x="72390" y="2328"/>
                    </a:cubicBezTo>
                    <a:lnTo>
                      <a:pt x="79058" y="4233"/>
                    </a:lnTo>
                    <a:lnTo>
                      <a:pt x="86678" y="5186"/>
                    </a:lnTo>
                    <a:lnTo>
                      <a:pt x="94297" y="9948"/>
                    </a:lnTo>
                    <a:cubicBezTo>
                      <a:pt x="94297" y="9948"/>
                      <a:pt x="88583" y="11853"/>
                      <a:pt x="89535" y="13758"/>
                    </a:cubicBezTo>
                    <a:cubicBezTo>
                      <a:pt x="90488" y="15663"/>
                      <a:pt x="99060" y="19473"/>
                      <a:pt x="99060" y="19473"/>
                    </a:cubicBezTo>
                    <a:lnTo>
                      <a:pt x="104775" y="19473"/>
                    </a:lnTo>
                    <a:lnTo>
                      <a:pt x="110490" y="28046"/>
                    </a:lnTo>
                    <a:lnTo>
                      <a:pt x="123825" y="31856"/>
                    </a:lnTo>
                    <a:cubicBezTo>
                      <a:pt x="123825" y="31856"/>
                      <a:pt x="131445" y="32808"/>
                      <a:pt x="135255" y="33761"/>
                    </a:cubicBezTo>
                    <a:cubicBezTo>
                      <a:pt x="138113" y="34713"/>
                      <a:pt x="149542" y="35666"/>
                      <a:pt x="149542" y="35666"/>
                    </a:cubicBezTo>
                    <a:cubicBezTo>
                      <a:pt x="149542" y="35666"/>
                      <a:pt x="150495" y="38523"/>
                      <a:pt x="154305" y="39476"/>
                    </a:cubicBezTo>
                    <a:cubicBezTo>
                      <a:pt x="157163" y="40428"/>
                      <a:pt x="162878" y="40428"/>
                      <a:pt x="167640" y="39476"/>
                    </a:cubicBezTo>
                    <a:cubicBezTo>
                      <a:pt x="172403" y="38523"/>
                      <a:pt x="194310" y="35666"/>
                      <a:pt x="194310" y="35666"/>
                    </a:cubicBezTo>
                    <a:lnTo>
                      <a:pt x="205740" y="34713"/>
                    </a:lnTo>
                    <a:lnTo>
                      <a:pt x="214313" y="34713"/>
                    </a:lnTo>
                    <a:cubicBezTo>
                      <a:pt x="221933" y="36618"/>
                      <a:pt x="225742" y="36618"/>
                      <a:pt x="231458" y="36618"/>
                    </a:cubicBezTo>
                    <a:cubicBezTo>
                      <a:pt x="238125" y="37571"/>
                      <a:pt x="246697" y="36618"/>
                      <a:pt x="246697" y="36618"/>
                    </a:cubicBezTo>
                    <a:lnTo>
                      <a:pt x="258128" y="35666"/>
                    </a:lnTo>
                    <a:lnTo>
                      <a:pt x="269558" y="35666"/>
                    </a:lnTo>
                    <a:lnTo>
                      <a:pt x="276225" y="35666"/>
                    </a:lnTo>
                    <a:cubicBezTo>
                      <a:pt x="276225" y="35666"/>
                      <a:pt x="289560" y="34713"/>
                      <a:pt x="290513" y="36618"/>
                    </a:cubicBezTo>
                    <a:cubicBezTo>
                      <a:pt x="291465" y="38523"/>
                      <a:pt x="295275" y="36618"/>
                      <a:pt x="297180" y="39476"/>
                    </a:cubicBezTo>
                    <a:cubicBezTo>
                      <a:pt x="299085" y="42333"/>
                      <a:pt x="297180" y="38523"/>
                      <a:pt x="299085" y="42333"/>
                    </a:cubicBezTo>
                    <a:cubicBezTo>
                      <a:pt x="300990" y="46143"/>
                      <a:pt x="300990" y="43286"/>
                      <a:pt x="300990" y="46143"/>
                    </a:cubicBezTo>
                    <a:cubicBezTo>
                      <a:pt x="300990" y="49953"/>
                      <a:pt x="296228" y="53763"/>
                      <a:pt x="296228" y="53763"/>
                    </a:cubicBezTo>
                    <a:lnTo>
                      <a:pt x="282892" y="53763"/>
                    </a:lnTo>
                    <a:close/>
                  </a:path>
                </a:pathLst>
              </a:custGeom>
              <a:grpFill/>
              <a:ln w="9525" cap="flat">
                <a:noFill/>
                <a:prstDash val="solid"/>
                <a:miter/>
              </a:ln>
            </p:spPr>
            <p:txBody>
              <a:bodyPr rtlCol="0" anchor="ctr"/>
              <a:lstStyle/>
              <a:p>
                <a:endParaRPr lang="en-US" sz="1765"/>
              </a:p>
            </p:txBody>
          </p:sp>
          <p:sp>
            <p:nvSpPr>
              <p:cNvPr id="33" name="Freeform: Shape 32">
                <a:extLst>
                  <a:ext uri="{FF2B5EF4-FFF2-40B4-BE49-F238E27FC236}">
                    <a16:creationId xmlns:a16="http://schemas.microsoft.com/office/drawing/2014/main" id="{29AD9D81-D372-4656-9E35-A0C3ECA9DC33}"/>
                  </a:ext>
                </a:extLst>
              </p:cNvPr>
              <p:cNvSpPr/>
              <p:nvPr/>
            </p:nvSpPr>
            <p:spPr>
              <a:xfrm>
                <a:off x="6555074" y="2902133"/>
                <a:ext cx="61442" cy="32247"/>
              </a:xfrm>
              <a:custGeom>
                <a:avLst/>
                <a:gdLst>
                  <a:gd name="connsiteX0" fmla="*/ 44827 w 61442"/>
                  <a:gd name="connsiteY0" fmla="*/ 32248 h 32247"/>
                  <a:gd name="connsiteX1" fmla="*/ 35302 w 61442"/>
                  <a:gd name="connsiteY1" fmla="*/ 30343 h 32247"/>
                  <a:gd name="connsiteX2" fmla="*/ 21015 w 61442"/>
                  <a:gd name="connsiteY2" fmla="*/ 29390 h 32247"/>
                  <a:gd name="connsiteX3" fmla="*/ 20062 w 61442"/>
                  <a:gd name="connsiteY3" fmla="*/ 26533 h 32247"/>
                  <a:gd name="connsiteX4" fmla="*/ 13394 w 61442"/>
                  <a:gd name="connsiteY4" fmla="*/ 20818 h 32247"/>
                  <a:gd name="connsiteX5" fmla="*/ 7680 w 61442"/>
                  <a:gd name="connsiteY5" fmla="*/ 18913 h 32247"/>
                  <a:gd name="connsiteX6" fmla="*/ 2917 w 61442"/>
                  <a:gd name="connsiteY6" fmla="*/ 18913 h 32247"/>
                  <a:gd name="connsiteX7" fmla="*/ 60 w 61442"/>
                  <a:gd name="connsiteY7" fmla="*/ 12245 h 32247"/>
                  <a:gd name="connsiteX8" fmla="*/ 60 w 61442"/>
                  <a:gd name="connsiteY8" fmla="*/ 7483 h 32247"/>
                  <a:gd name="connsiteX9" fmla="*/ 4822 w 61442"/>
                  <a:gd name="connsiteY9" fmla="*/ 1768 h 32247"/>
                  <a:gd name="connsiteX10" fmla="*/ 10537 w 61442"/>
                  <a:gd name="connsiteY10" fmla="*/ 815 h 32247"/>
                  <a:gd name="connsiteX11" fmla="*/ 21967 w 61442"/>
                  <a:gd name="connsiteY11" fmla="*/ 1768 h 32247"/>
                  <a:gd name="connsiteX12" fmla="*/ 31492 w 61442"/>
                  <a:gd name="connsiteY12" fmla="*/ 1768 h 32247"/>
                  <a:gd name="connsiteX13" fmla="*/ 34349 w 61442"/>
                  <a:gd name="connsiteY13" fmla="*/ 2720 h 32247"/>
                  <a:gd name="connsiteX14" fmla="*/ 41017 w 61442"/>
                  <a:gd name="connsiteY14" fmla="*/ 1768 h 32247"/>
                  <a:gd name="connsiteX15" fmla="*/ 56257 w 61442"/>
                  <a:gd name="connsiteY15" fmla="*/ 2720 h 32247"/>
                  <a:gd name="connsiteX16" fmla="*/ 58162 w 61442"/>
                  <a:gd name="connsiteY16" fmla="*/ 4625 h 32247"/>
                  <a:gd name="connsiteX17" fmla="*/ 61019 w 61442"/>
                  <a:gd name="connsiteY17" fmla="*/ 10340 h 32247"/>
                  <a:gd name="connsiteX18" fmla="*/ 61019 w 61442"/>
                  <a:gd name="connsiteY18" fmla="*/ 16055 h 32247"/>
                  <a:gd name="connsiteX19" fmla="*/ 61019 w 61442"/>
                  <a:gd name="connsiteY19" fmla="*/ 18913 h 32247"/>
                  <a:gd name="connsiteX20" fmla="*/ 61019 w 61442"/>
                  <a:gd name="connsiteY20" fmla="*/ 23675 h 32247"/>
                  <a:gd name="connsiteX21" fmla="*/ 61019 w 61442"/>
                  <a:gd name="connsiteY21" fmla="*/ 26533 h 32247"/>
                  <a:gd name="connsiteX22" fmla="*/ 61019 w 61442"/>
                  <a:gd name="connsiteY22" fmla="*/ 28438 h 32247"/>
                  <a:gd name="connsiteX23" fmla="*/ 44827 w 61442"/>
                  <a:gd name="connsiteY23" fmla="*/ 32248 h 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442" h="32247">
                    <a:moveTo>
                      <a:pt x="44827" y="32248"/>
                    </a:moveTo>
                    <a:lnTo>
                      <a:pt x="35302" y="30343"/>
                    </a:lnTo>
                    <a:lnTo>
                      <a:pt x="21015" y="29390"/>
                    </a:lnTo>
                    <a:lnTo>
                      <a:pt x="20062" y="26533"/>
                    </a:lnTo>
                    <a:lnTo>
                      <a:pt x="13394" y="20818"/>
                    </a:lnTo>
                    <a:cubicBezTo>
                      <a:pt x="13394" y="20818"/>
                      <a:pt x="12442" y="18913"/>
                      <a:pt x="7680" y="18913"/>
                    </a:cubicBezTo>
                    <a:cubicBezTo>
                      <a:pt x="2917" y="18913"/>
                      <a:pt x="2917" y="18913"/>
                      <a:pt x="2917" y="18913"/>
                    </a:cubicBezTo>
                    <a:lnTo>
                      <a:pt x="60" y="12245"/>
                    </a:lnTo>
                    <a:lnTo>
                      <a:pt x="60" y="7483"/>
                    </a:lnTo>
                    <a:cubicBezTo>
                      <a:pt x="60" y="7483"/>
                      <a:pt x="-893" y="3673"/>
                      <a:pt x="4822" y="1768"/>
                    </a:cubicBezTo>
                    <a:cubicBezTo>
                      <a:pt x="10537" y="815"/>
                      <a:pt x="3869" y="-1090"/>
                      <a:pt x="10537" y="815"/>
                    </a:cubicBezTo>
                    <a:cubicBezTo>
                      <a:pt x="17205" y="2720"/>
                      <a:pt x="17205" y="815"/>
                      <a:pt x="21967" y="1768"/>
                    </a:cubicBezTo>
                    <a:cubicBezTo>
                      <a:pt x="26730" y="2720"/>
                      <a:pt x="28635" y="815"/>
                      <a:pt x="31492" y="1768"/>
                    </a:cubicBezTo>
                    <a:cubicBezTo>
                      <a:pt x="34349" y="2720"/>
                      <a:pt x="34349" y="2720"/>
                      <a:pt x="34349" y="2720"/>
                    </a:cubicBezTo>
                    <a:cubicBezTo>
                      <a:pt x="34349" y="2720"/>
                      <a:pt x="35302" y="1768"/>
                      <a:pt x="41017" y="1768"/>
                    </a:cubicBezTo>
                    <a:cubicBezTo>
                      <a:pt x="46732" y="2720"/>
                      <a:pt x="54352" y="815"/>
                      <a:pt x="56257" y="2720"/>
                    </a:cubicBezTo>
                    <a:cubicBezTo>
                      <a:pt x="58162" y="4625"/>
                      <a:pt x="58162" y="4625"/>
                      <a:pt x="58162" y="4625"/>
                    </a:cubicBezTo>
                    <a:cubicBezTo>
                      <a:pt x="58162" y="4625"/>
                      <a:pt x="60067" y="8435"/>
                      <a:pt x="61019" y="10340"/>
                    </a:cubicBezTo>
                    <a:cubicBezTo>
                      <a:pt x="61972" y="12245"/>
                      <a:pt x="61019" y="16055"/>
                      <a:pt x="61019" y="16055"/>
                    </a:cubicBezTo>
                    <a:cubicBezTo>
                      <a:pt x="61019" y="16055"/>
                      <a:pt x="60067" y="17008"/>
                      <a:pt x="61019" y="18913"/>
                    </a:cubicBezTo>
                    <a:cubicBezTo>
                      <a:pt x="61972" y="20818"/>
                      <a:pt x="61019" y="23675"/>
                      <a:pt x="61019" y="23675"/>
                    </a:cubicBezTo>
                    <a:cubicBezTo>
                      <a:pt x="61019" y="23675"/>
                      <a:pt x="61019" y="24628"/>
                      <a:pt x="61019" y="26533"/>
                    </a:cubicBezTo>
                    <a:cubicBezTo>
                      <a:pt x="61019" y="28438"/>
                      <a:pt x="61019" y="28438"/>
                      <a:pt x="61019" y="28438"/>
                    </a:cubicBezTo>
                    <a:lnTo>
                      <a:pt x="44827" y="32248"/>
                    </a:lnTo>
                    <a:close/>
                  </a:path>
                </a:pathLst>
              </a:custGeom>
              <a:grpFill/>
              <a:ln w="9525" cap="flat">
                <a:noFill/>
                <a:prstDash val="solid"/>
                <a:miter/>
              </a:ln>
            </p:spPr>
            <p:txBody>
              <a:bodyPr rtlCol="0" anchor="ctr"/>
              <a:lstStyle/>
              <a:p>
                <a:endParaRPr lang="en-US" sz="1765"/>
              </a:p>
            </p:txBody>
          </p:sp>
          <p:sp>
            <p:nvSpPr>
              <p:cNvPr id="34" name="Freeform: Shape 33">
                <a:extLst>
                  <a:ext uri="{FF2B5EF4-FFF2-40B4-BE49-F238E27FC236}">
                    <a16:creationId xmlns:a16="http://schemas.microsoft.com/office/drawing/2014/main" id="{1F5E2DAA-3210-4109-AB37-261FC4254E62}"/>
                  </a:ext>
                </a:extLst>
              </p:cNvPr>
              <p:cNvSpPr/>
              <p:nvPr/>
            </p:nvSpPr>
            <p:spPr>
              <a:xfrm>
                <a:off x="6586291" y="2844579"/>
                <a:ext cx="180297" cy="79324"/>
              </a:xfrm>
              <a:custGeom>
                <a:avLst/>
                <a:gdLst>
                  <a:gd name="connsiteX0" fmla="*/ 5037 w 180297"/>
                  <a:gd name="connsiteY0" fmla="*/ 21222 h 79324"/>
                  <a:gd name="connsiteX1" fmla="*/ 275 w 180297"/>
                  <a:gd name="connsiteY1" fmla="*/ 25032 h 79324"/>
                  <a:gd name="connsiteX2" fmla="*/ 275 w 180297"/>
                  <a:gd name="connsiteY2" fmla="*/ 30747 h 79324"/>
                  <a:gd name="connsiteX3" fmla="*/ 1227 w 180297"/>
                  <a:gd name="connsiteY3" fmla="*/ 32652 h 79324"/>
                  <a:gd name="connsiteX4" fmla="*/ 3132 w 180297"/>
                  <a:gd name="connsiteY4" fmla="*/ 36462 h 79324"/>
                  <a:gd name="connsiteX5" fmla="*/ 9800 w 180297"/>
                  <a:gd name="connsiteY5" fmla="*/ 44082 h 79324"/>
                  <a:gd name="connsiteX6" fmla="*/ 17420 w 180297"/>
                  <a:gd name="connsiteY6" fmla="*/ 45987 h 79324"/>
                  <a:gd name="connsiteX7" fmla="*/ 25992 w 180297"/>
                  <a:gd name="connsiteY7" fmla="*/ 45987 h 79324"/>
                  <a:gd name="connsiteX8" fmla="*/ 37422 w 180297"/>
                  <a:gd name="connsiteY8" fmla="*/ 45987 h 79324"/>
                  <a:gd name="connsiteX9" fmla="*/ 51710 w 180297"/>
                  <a:gd name="connsiteY9" fmla="*/ 47892 h 79324"/>
                  <a:gd name="connsiteX10" fmla="*/ 58377 w 180297"/>
                  <a:gd name="connsiteY10" fmla="*/ 48844 h 79324"/>
                  <a:gd name="connsiteX11" fmla="*/ 61235 w 180297"/>
                  <a:gd name="connsiteY11" fmla="*/ 54559 h 79324"/>
                  <a:gd name="connsiteX12" fmla="*/ 61235 w 180297"/>
                  <a:gd name="connsiteY12" fmla="*/ 62179 h 79324"/>
                  <a:gd name="connsiteX13" fmla="*/ 61235 w 180297"/>
                  <a:gd name="connsiteY13" fmla="*/ 69799 h 79324"/>
                  <a:gd name="connsiteX14" fmla="*/ 64092 w 180297"/>
                  <a:gd name="connsiteY14" fmla="*/ 74562 h 79324"/>
                  <a:gd name="connsiteX15" fmla="*/ 72665 w 180297"/>
                  <a:gd name="connsiteY15" fmla="*/ 76467 h 79324"/>
                  <a:gd name="connsiteX16" fmla="*/ 84095 w 180297"/>
                  <a:gd name="connsiteY16" fmla="*/ 76467 h 79324"/>
                  <a:gd name="connsiteX17" fmla="*/ 97430 w 180297"/>
                  <a:gd name="connsiteY17" fmla="*/ 77419 h 79324"/>
                  <a:gd name="connsiteX18" fmla="*/ 106002 w 180297"/>
                  <a:gd name="connsiteY18" fmla="*/ 79324 h 79324"/>
                  <a:gd name="connsiteX19" fmla="*/ 114575 w 180297"/>
                  <a:gd name="connsiteY19" fmla="*/ 79324 h 79324"/>
                  <a:gd name="connsiteX20" fmla="*/ 124100 w 180297"/>
                  <a:gd name="connsiteY20" fmla="*/ 76467 h 79324"/>
                  <a:gd name="connsiteX21" fmla="*/ 133625 w 180297"/>
                  <a:gd name="connsiteY21" fmla="*/ 73609 h 79324"/>
                  <a:gd name="connsiteX22" fmla="*/ 146960 w 180297"/>
                  <a:gd name="connsiteY22" fmla="*/ 70752 h 79324"/>
                  <a:gd name="connsiteX23" fmla="*/ 150770 w 180297"/>
                  <a:gd name="connsiteY23" fmla="*/ 62179 h 79324"/>
                  <a:gd name="connsiteX24" fmla="*/ 159342 w 180297"/>
                  <a:gd name="connsiteY24" fmla="*/ 61227 h 79324"/>
                  <a:gd name="connsiteX25" fmla="*/ 166963 w 180297"/>
                  <a:gd name="connsiteY25" fmla="*/ 60274 h 79324"/>
                  <a:gd name="connsiteX26" fmla="*/ 172677 w 180297"/>
                  <a:gd name="connsiteY26" fmla="*/ 59322 h 79324"/>
                  <a:gd name="connsiteX27" fmla="*/ 178392 w 180297"/>
                  <a:gd name="connsiteY27" fmla="*/ 55512 h 79324"/>
                  <a:gd name="connsiteX28" fmla="*/ 180297 w 180297"/>
                  <a:gd name="connsiteY28" fmla="*/ 50749 h 79324"/>
                  <a:gd name="connsiteX29" fmla="*/ 180297 w 180297"/>
                  <a:gd name="connsiteY29" fmla="*/ 47892 h 79324"/>
                  <a:gd name="connsiteX30" fmla="*/ 174582 w 180297"/>
                  <a:gd name="connsiteY30" fmla="*/ 45034 h 79324"/>
                  <a:gd name="connsiteX31" fmla="*/ 153627 w 180297"/>
                  <a:gd name="connsiteY31" fmla="*/ 37414 h 79324"/>
                  <a:gd name="connsiteX32" fmla="*/ 146007 w 180297"/>
                  <a:gd name="connsiteY32" fmla="*/ 28842 h 79324"/>
                  <a:gd name="connsiteX33" fmla="*/ 138388 w 180297"/>
                  <a:gd name="connsiteY33" fmla="*/ 25032 h 79324"/>
                  <a:gd name="connsiteX34" fmla="*/ 124100 w 180297"/>
                  <a:gd name="connsiteY34" fmla="*/ 23127 h 79324"/>
                  <a:gd name="connsiteX35" fmla="*/ 110765 w 180297"/>
                  <a:gd name="connsiteY35" fmla="*/ 19317 h 79324"/>
                  <a:gd name="connsiteX36" fmla="*/ 96477 w 180297"/>
                  <a:gd name="connsiteY36" fmla="*/ 9792 h 79324"/>
                  <a:gd name="connsiteX37" fmla="*/ 91715 w 180297"/>
                  <a:gd name="connsiteY37" fmla="*/ 8839 h 79324"/>
                  <a:gd name="connsiteX38" fmla="*/ 85047 w 180297"/>
                  <a:gd name="connsiteY38" fmla="*/ 7887 h 79324"/>
                  <a:gd name="connsiteX39" fmla="*/ 72665 w 180297"/>
                  <a:gd name="connsiteY39" fmla="*/ 5982 h 79324"/>
                  <a:gd name="connsiteX40" fmla="*/ 65045 w 180297"/>
                  <a:gd name="connsiteY40" fmla="*/ 3124 h 79324"/>
                  <a:gd name="connsiteX41" fmla="*/ 58377 w 180297"/>
                  <a:gd name="connsiteY41" fmla="*/ 1219 h 79324"/>
                  <a:gd name="connsiteX42" fmla="*/ 49805 w 180297"/>
                  <a:gd name="connsiteY42" fmla="*/ 267 h 79324"/>
                  <a:gd name="connsiteX43" fmla="*/ 30755 w 180297"/>
                  <a:gd name="connsiteY43" fmla="*/ 4077 h 79324"/>
                  <a:gd name="connsiteX44" fmla="*/ 22182 w 180297"/>
                  <a:gd name="connsiteY44" fmla="*/ 10744 h 79324"/>
                  <a:gd name="connsiteX45" fmla="*/ 16467 w 180297"/>
                  <a:gd name="connsiteY45" fmla="*/ 16459 h 79324"/>
                  <a:gd name="connsiteX46" fmla="*/ 5037 w 180297"/>
                  <a:gd name="connsiteY46" fmla="*/ 21222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0297" h="79324">
                    <a:moveTo>
                      <a:pt x="5037" y="21222"/>
                    </a:moveTo>
                    <a:cubicBezTo>
                      <a:pt x="5037" y="21222"/>
                      <a:pt x="-678" y="22174"/>
                      <a:pt x="275" y="25032"/>
                    </a:cubicBezTo>
                    <a:cubicBezTo>
                      <a:pt x="1227" y="27889"/>
                      <a:pt x="-678" y="28842"/>
                      <a:pt x="275" y="30747"/>
                    </a:cubicBezTo>
                    <a:cubicBezTo>
                      <a:pt x="1227" y="32652"/>
                      <a:pt x="-678" y="28842"/>
                      <a:pt x="1227" y="32652"/>
                    </a:cubicBezTo>
                    <a:cubicBezTo>
                      <a:pt x="3132" y="36462"/>
                      <a:pt x="3132" y="31699"/>
                      <a:pt x="3132" y="36462"/>
                    </a:cubicBezTo>
                    <a:cubicBezTo>
                      <a:pt x="3132" y="41224"/>
                      <a:pt x="5990" y="43129"/>
                      <a:pt x="9800" y="44082"/>
                    </a:cubicBezTo>
                    <a:cubicBezTo>
                      <a:pt x="12657" y="45034"/>
                      <a:pt x="17420" y="45987"/>
                      <a:pt x="17420" y="45987"/>
                    </a:cubicBezTo>
                    <a:cubicBezTo>
                      <a:pt x="17420" y="45987"/>
                      <a:pt x="23135" y="45987"/>
                      <a:pt x="25992" y="45987"/>
                    </a:cubicBezTo>
                    <a:cubicBezTo>
                      <a:pt x="28850" y="45987"/>
                      <a:pt x="37422" y="45987"/>
                      <a:pt x="37422" y="45987"/>
                    </a:cubicBezTo>
                    <a:cubicBezTo>
                      <a:pt x="45042" y="47892"/>
                      <a:pt x="45042" y="46939"/>
                      <a:pt x="51710" y="47892"/>
                    </a:cubicBezTo>
                    <a:cubicBezTo>
                      <a:pt x="58377" y="48844"/>
                      <a:pt x="58377" y="48844"/>
                      <a:pt x="58377" y="48844"/>
                    </a:cubicBezTo>
                    <a:cubicBezTo>
                      <a:pt x="58377" y="48844"/>
                      <a:pt x="60282" y="51702"/>
                      <a:pt x="61235" y="54559"/>
                    </a:cubicBezTo>
                    <a:cubicBezTo>
                      <a:pt x="62187" y="57417"/>
                      <a:pt x="60282" y="58369"/>
                      <a:pt x="61235" y="62179"/>
                    </a:cubicBezTo>
                    <a:cubicBezTo>
                      <a:pt x="62187" y="65989"/>
                      <a:pt x="61235" y="69799"/>
                      <a:pt x="61235" y="69799"/>
                    </a:cubicBezTo>
                    <a:lnTo>
                      <a:pt x="64092" y="74562"/>
                    </a:lnTo>
                    <a:cubicBezTo>
                      <a:pt x="64092" y="74562"/>
                      <a:pt x="69807" y="76467"/>
                      <a:pt x="72665" y="76467"/>
                    </a:cubicBezTo>
                    <a:cubicBezTo>
                      <a:pt x="75522" y="76467"/>
                      <a:pt x="80285" y="76467"/>
                      <a:pt x="84095" y="76467"/>
                    </a:cubicBezTo>
                    <a:cubicBezTo>
                      <a:pt x="86952" y="76467"/>
                      <a:pt x="93620" y="76467"/>
                      <a:pt x="97430" y="77419"/>
                    </a:cubicBezTo>
                    <a:cubicBezTo>
                      <a:pt x="100287" y="78372"/>
                      <a:pt x="103145" y="79324"/>
                      <a:pt x="106002" y="79324"/>
                    </a:cubicBezTo>
                    <a:cubicBezTo>
                      <a:pt x="108860" y="79324"/>
                      <a:pt x="114575" y="79324"/>
                      <a:pt x="114575" y="79324"/>
                    </a:cubicBezTo>
                    <a:lnTo>
                      <a:pt x="124100" y="76467"/>
                    </a:lnTo>
                    <a:cubicBezTo>
                      <a:pt x="124100" y="76467"/>
                      <a:pt x="130767" y="73609"/>
                      <a:pt x="133625" y="73609"/>
                    </a:cubicBezTo>
                    <a:cubicBezTo>
                      <a:pt x="136482" y="73609"/>
                      <a:pt x="146960" y="70752"/>
                      <a:pt x="146960" y="70752"/>
                    </a:cubicBezTo>
                    <a:cubicBezTo>
                      <a:pt x="146960" y="70752"/>
                      <a:pt x="146007" y="62179"/>
                      <a:pt x="150770" y="62179"/>
                    </a:cubicBezTo>
                    <a:cubicBezTo>
                      <a:pt x="155532" y="62179"/>
                      <a:pt x="159342" y="61227"/>
                      <a:pt x="159342" y="61227"/>
                    </a:cubicBezTo>
                    <a:lnTo>
                      <a:pt x="166963" y="60274"/>
                    </a:lnTo>
                    <a:cubicBezTo>
                      <a:pt x="166963" y="60274"/>
                      <a:pt x="168867" y="59322"/>
                      <a:pt x="172677" y="59322"/>
                    </a:cubicBezTo>
                    <a:cubicBezTo>
                      <a:pt x="175535" y="59322"/>
                      <a:pt x="178392" y="55512"/>
                      <a:pt x="178392" y="55512"/>
                    </a:cubicBezTo>
                    <a:lnTo>
                      <a:pt x="180297" y="50749"/>
                    </a:lnTo>
                    <a:lnTo>
                      <a:pt x="180297" y="47892"/>
                    </a:lnTo>
                    <a:cubicBezTo>
                      <a:pt x="180297" y="47892"/>
                      <a:pt x="179345" y="46939"/>
                      <a:pt x="174582" y="45034"/>
                    </a:cubicBezTo>
                    <a:cubicBezTo>
                      <a:pt x="169820" y="43129"/>
                      <a:pt x="153627" y="37414"/>
                      <a:pt x="153627" y="37414"/>
                    </a:cubicBezTo>
                    <a:lnTo>
                      <a:pt x="146007" y="28842"/>
                    </a:lnTo>
                    <a:lnTo>
                      <a:pt x="138388" y="25032"/>
                    </a:lnTo>
                    <a:lnTo>
                      <a:pt x="124100" y="23127"/>
                    </a:lnTo>
                    <a:lnTo>
                      <a:pt x="110765" y="19317"/>
                    </a:lnTo>
                    <a:lnTo>
                      <a:pt x="96477" y="9792"/>
                    </a:lnTo>
                    <a:lnTo>
                      <a:pt x="91715" y="8839"/>
                    </a:lnTo>
                    <a:lnTo>
                      <a:pt x="85047" y="7887"/>
                    </a:lnTo>
                    <a:lnTo>
                      <a:pt x="72665" y="5982"/>
                    </a:lnTo>
                    <a:lnTo>
                      <a:pt x="65045" y="3124"/>
                    </a:lnTo>
                    <a:lnTo>
                      <a:pt x="58377" y="1219"/>
                    </a:lnTo>
                    <a:cubicBezTo>
                      <a:pt x="58377" y="1219"/>
                      <a:pt x="63140" y="-686"/>
                      <a:pt x="49805" y="267"/>
                    </a:cubicBezTo>
                    <a:cubicBezTo>
                      <a:pt x="36470" y="1219"/>
                      <a:pt x="34565" y="2172"/>
                      <a:pt x="30755" y="4077"/>
                    </a:cubicBezTo>
                    <a:cubicBezTo>
                      <a:pt x="26945" y="5029"/>
                      <a:pt x="22182" y="6934"/>
                      <a:pt x="22182" y="10744"/>
                    </a:cubicBezTo>
                    <a:cubicBezTo>
                      <a:pt x="22182" y="14554"/>
                      <a:pt x="16467" y="16459"/>
                      <a:pt x="16467" y="16459"/>
                    </a:cubicBezTo>
                    <a:lnTo>
                      <a:pt x="5037" y="21222"/>
                    </a:lnTo>
                    <a:close/>
                  </a:path>
                </a:pathLst>
              </a:custGeom>
              <a:grpFill/>
              <a:ln w="9525" cap="flat">
                <a:noFill/>
                <a:prstDash val="solid"/>
                <a:miter/>
              </a:ln>
            </p:spPr>
            <p:txBody>
              <a:bodyPr rtlCol="0" anchor="ctr"/>
              <a:lstStyle/>
              <a:p>
                <a:endParaRPr lang="en-US" sz="1765"/>
              </a:p>
            </p:txBody>
          </p:sp>
          <p:sp>
            <p:nvSpPr>
              <p:cNvPr id="35" name="Freeform: Shape 34">
                <a:extLst>
                  <a:ext uri="{FF2B5EF4-FFF2-40B4-BE49-F238E27FC236}">
                    <a16:creationId xmlns:a16="http://schemas.microsoft.com/office/drawing/2014/main" id="{CD7FA902-5F5A-4FCC-A207-E6418D03491D}"/>
                  </a:ext>
                </a:extLst>
              </p:cNvPr>
              <p:cNvSpPr/>
              <p:nvPr/>
            </p:nvSpPr>
            <p:spPr>
              <a:xfrm>
                <a:off x="6688484" y="2797750"/>
                <a:ext cx="501014" cy="170920"/>
              </a:xfrm>
              <a:custGeom>
                <a:avLst/>
                <a:gdLst>
                  <a:gd name="connsiteX0" fmla="*/ 0 w 501014"/>
                  <a:gd name="connsiteY0" fmla="*/ 32808 h 170920"/>
                  <a:gd name="connsiteX1" fmla="*/ 3810 w 501014"/>
                  <a:gd name="connsiteY1" fmla="*/ 40428 h 170920"/>
                  <a:gd name="connsiteX2" fmla="*/ 16192 w 501014"/>
                  <a:gd name="connsiteY2" fmla="*/ 48048 h 170920"/>
                  <a:gd name="connsiteX3" fmla="*/ 31433 w 501014"/>
                  <a:gd name="connsiteY3" fmla="*/ 49953 h 170920"/>
                  <a:gd name="connsiteX4" fmla="*/ 36195 w 501014"/>
                  <a:gd name="connsiteY4" fmla="*/ 53763 h 170920"/>
                  <a:gd name="connsiteX5" fmla="*/ 44767 w 501014"/>
                  <a:gd name="connsiteY5" fmla="*/ 58526 h 170920"/>
                  <a:gd name="connsiteX6" fmla="*/ 52388 w 501014"/>
                  <a:gd name="connsiteY6" fmla="*/ 60431 h 170920"/>
                  <a:gd name="connsiteX7" fmla="*/ 61913 w 501014"/>
                  <a:gd name="connsiteY7" fmla="*/ 61383 h 170920"/>
                  <a:gd name="connsiteX8" fmla="*/ 83820 w 501014"/>
                  <a:gd name="connsiteY8" fmla="*/ 62336 h 170920"/>
                  <a:gd name="connsiteX9" fmla="*/ 99060 w 501014"/>
                  <a:gd name="connsiteY9" fmla="*/ 63288 h 170920"/>
                  <a:gd name="connsiteX10" fmla="*/ 112395 w 501014"/>
                  <a:gd name="connsiteY10" fmla="*/ 63288 h 170920"/>
                  <a:gd name="connsiteX11" fmla="*/ 132397 w 501014"/>
                  <a:gd name="connsiteY11" fmla="*/ 63288 h 170920"/>
                  <a:gd name="connsiteX12" fmla="*/ 141922 w 501014"/>
                  <a:gd name="connsiteY12" fmla="*/ 62336 h 170920"/>
                  <a:gd name="connsiteX13" fmla="*/ 155258 w 501014"/>
                  <a:gd name="connsiteY13" fmla="*/ 62336 h 170920"/>
                  <a:gd name="connsiteX14" fmla="*/ 163830 w 501014"/>
                  <a:gd name="connsiteY14" fmla="*/ 62336 h 170920"/>
                  <a:gd name="connsiteX15" fmla="*/ 163830 w 501014"/>
                  <a:gd name="connsiteY15" fmla="*/ 69956 h 170920"/>
                  <a:gd name="connsiteX16" fmla="*/ 153352 w 501014"/>
                  <a:gd name="connsiteY16" fmla="*/ 73766 h 170920"/>
                  <a:gd name="connsiteX17" fmla="*/ 130492 w 501014"/>
                  <a:gd name="connsiteY17" fmla="*/ 76623 h 170920"/>
                  <a:gd name="connsiteX18" fmla="*/ 116205 w 501014"/>
                  <a:gd name="connsiteY18" fmla="*/ 78528 h 170920"/>
                  <a:gd name="connsiteX19" fmla="*/ 104775 w 501014"/>
                  <a:gd name="connsiteY19" fmla="*/ 80433 h 170920"/>
                  <a:gd name="connsiteX20" fmla="*/ 91440 w 501014"/>
                  <a:gd name="connsiteY20" fmla="*/ 85196 h 170920"/>
                  <a:gd name="connsiteX21" fmla="*/ 92392 w 501014"/>
                  <a:gd name="connsiteY21" fmla="*/ 91863 h 170920"/>
                  <a:gd name="connsiteX22" fmla="*/ 100013 w 501014"/>
                  <a:gd name="connsiteY22" fmla="*/ 93768 h 170920"/>
                  <a:gd name="connsiteX23" fmla="*/ 105727 w 501014"/>
                  <a:gd name="connsiteY23" fmla="*/ 93768 h 170920"/>
                  <a:gd name="connsiteX24" fmla="*/ 105727 w 501014"/>
                  <a:gd name="connsiteY24" fmla="*/ 96626 h 170920"/>
                  <a:gd name="connsiteX25" fmla="*/ 104775 w 501014"/>
                  <a:gd name="connsiteY25" fmla="*/ 99483 h 170920"/>
                  <a:gd name="connsiteX26" fmla="*/ 99060 w 501014"/>
                  <a:gd name="connsiteY26" fmla="*/ 109961 h 170920"/>
                  <a:gd name="connsiteX27" fmla="*/ 85725 w 501014"/>
                  <a:gd name="connsiteY27" fmla="*/ 110913 h 170920"/>
                  <a:gd name="connsiteX28" fmla="*/ 85725 w 501014"/>
                  <a:gd name="connsiteY28" fmla="*/ 112818 h 170920"/>
                  <a:gd name="connsiteX29" fmla="*/ 79058 w 501014"/>
                  <a:gd name="connsiteY29" fmla="*/ 117581 h 170920"/>
                  <a:gd name="connsiteX30" fmla="*/ 51435 w 501014"/>
                  <a:gd name="connsiteY30" fmla="*/ 127106 h 170920"/>
                  <a:gd name="connsiteX31" fmla="*/ 51435 w 501014"/>
                  <a:gd name="connsiteY31" fmla="*/ 129963 h 170920"/>
                  <a:gd name="connsiteX32" fmla="*/ 59055 w 501014"/>
                  <a:gd name="connsiteY32" fmla="*/ 138536 h 170920"/>
                  <a:gd name="connsiteX33" fmla="*/ 54292 w 501014"/>
                  <a:gd name="connsiteY33" fmla="*/ 143298 h 170920"/>
                  <a:gd name="connsiteX34" fmla="*/ 29527 w 501014"/>
                  <a:gd name="connsiteY34" fmla="*/ 150918 h 170920"/>
                  <a:gd name="connsiteX35" fmla="*/ 24765 w 501014"/>
                  <a:gd name="connsiteY35" fmla="*/ 153776 h 170920"/>
                  <a:gd name="connsiteX36" fmla="*/ 24765 w 501014"/>
                  <a:gd name="connsiteY36" fmla="*/ 157586 h 170920"/>
                  <a:gd name="connsiteX37" fmla="*/ 38100 w 501014"/>
                  <a:gd name="connsiteY37" fmla="*/ 162348 h 170920"/>
                  <a:gd name="connsiteX38" fmla="*/ 47625 w 501014"/>
                  <a:gd name="connsiteY38" fmla="*/ 162348 h 170920"/>
                  <a:gd name="connsiteX39" fmla="*/ 82867 w 501014"/>
                  <a:gd name="connsiteY39" fmla="*/ 160443 h 170920"/>
                  <a:gd name="connsiteX40" fmla="*/ 92392 w 501014"/>
                  <a:gd name="connsiteY40" fmla="*/ 160443 h 170920"/>
                  <a:gd name="connsiteX41" fmla="*/ 98108 w 501014"/>
                  <a:gd name="connsiteY41" fmla="*/ 165206 h 170920"/>
                  <a:gd name="connsiteX42" fmla="*/ 112395 w 501014"/>
                  <a:gd name="connsiteY42" fmla="*/ 166158 h 170920"/>
                  <a:gd name="connsiteX43" fmla="*/ 127635 w 501014"/>
                  <a:gd name="connsiteY43" fmla="*/ 168063 h 170920"/>
                  <a:gd name="connsiteX44" fmla="*/ 140017 w 501014"/>
                  <a:gd name="connsiteY44" fmla="*/ 169016 h 170920"/>
                  <a:gd name="connsiteX45" fmla="*/ 147638 w 501014"/>
                  <a:gd name="connsiteY45" fmla="*/ 169016 h 170920"/>
                  <a:gd name="connsiteX46" fmla="*/ 159067 w 501014"/>
                  <a:gd name="connsiteY46" fmla="*/ 170921 h 170920"/>
                  <a:gd name="connsiteX47" fmla="*/ 182880 w 501014"/>
                  <a:gd name="connsiteY47" fmla="*/ 169968 h 170920"/>
                  <a:gd name="connsiteX48" fmla="*/ 194310 w 501014"/>
                  <a:gd name="connsiteY48" fmla="*/ 164253 h 170920"/>
                  <a:gd name="connsiteX49" fmla="*/ 200977 w 501014"/>
                  <a:gd name="connsiteY49" fmla="*/ 154728 h 170920"/>
                  <a:gd name="connsiteX50" fmla="*/ 206692 w 501014"/>
                  <a:gd name="connsiteY50" fmla="*/ 148061 h 170920"/>
                  <a:gd name="connsiteX51" fmla="*/ 216217 w 501014"/>
                  <a:gd name="connsiteY51" fmla="*/ 143298 h 170920"/>
                  <a:gd name="connsiteX52" fmla="*/ 224790 w 501014"/>
                  <a:gd name="connsiteY52" fmla="*/ 136631 h 170920"/>
                  <a:gd name="connsiteX53" fmla="*/ 232410 w 501014"/>
                  <a:gd name="connsiteY53" fmla="*/ 127106 h 170920"/>
                  <a:gd name="connsiteX54" fmla="*/ 241935 w 501014"/>
                  <a:gd name="connsiteY54" fmla="*/ 124248 h 170920"/>
                  <a:gd name="connsiteX55" fmla="*/ 253365 w 501014"/>
                  <a:gd name="connsiteY55" fmla="*/ 120438 h 170920"/>
                  <a:gd name="connsiteX56" fmla="*/ 260985 w 501014"/>
                  <a:gd name="connsiteY56" fmla="*/ 116628 h 170920"/>
                  <a:gd name="connsiteX57" fmla="*/ 262890 w 501014"/>
                  <a:gd name="connsiteY57" fmla="*/ 109961 h 170920"/>
                  <a:gd name="connsiteX58" fmla="*/ 268605 w 501014"/>
                  <a:gd name="connsiteY58" fmla="*/ 103293 h 170920"/>
                  <a:gd name="connsiteX59" fmla="*/ 276225 w 501014"/>
                  <a:gd name="connsiteY59" fmla="*/ 100436 h 170920"/>
                  <a:gd name="connsiteX60" fmla="*/ 290513 w 501014"/>
                  <a:gd name="connsiteY60" fmla="*/ 93768 h 170920"/>
                  <a:gd name="connsiteX61" fmla="*/ 310515 w 501014"/>
                  <a:gd name="connsiteY61" fmla="*/ 87101 h 170920"/>
                  <a:gd name="connsiteX62" fmla="*/ 325755 w 501014"/>
                  <a:gd name="connsiteY62" fmla="*/ 79481 h 170920"/>
                  <a:gd name="connsiteX63" fmla="*/ 334327 w 501014"/>
                  <a:gd name="connsiteY63" fmla="*/ 75671 h 170920"/>
                  <a:gd name="connsiteX64" fmla="*/ 351472 w 501014"/>
                  <a:gd name="connsiteY64" fmla="*/ 68051 h 170920"/>
                  <a:gd name="connsiteX65" fmla="*/ 366713 w 501014"/>
                  <a:gd name="connsiteY65" fmla="*/ 64241 h 170920"/>
                  <a:gd name="connsiteX66" fmla="*/ 384810 w 501014"/>
                  <a:gd name="connsiteY66" fmla="*/ 57573 h 170920"/>
                  <a:gd name="connsiteX67" fmla="*/ 397192 w 501014"/>
                  <a:gd name="connsiteY67" fmla="*/ 54716 h 170920"/>
                  <a:gd name="connsiteX68" fmla="*/ 417195 w 501014"/>
                  <a:gd name="connsiteY68" fmla="*/ 49953 h 170920"/>
                  <a:gd name="connsiteX69" fmla="*/ 428625 w 501014"/>
                  <a:gd name="connsiteY69" fmla="*/ 43286 h 170920"/>
                  <a:gd name="connsiteX70" fmla="*/ 435292 w 501014"/>
                  <a:gd name="connsiteY70" fmla="*/ 41381 h 170920"/>
                  <a:gd name="connsiteX71" fmla="*/ 448627 w 501014"/>
                  <a:gd name="connsiteY71" fmla="*/ 38523 h 170920"/>
                  <a:gd name="connsiteX72" fmla="*/ 473392 w 501014"/>
                  <a:gd name="connsiteY72" fmla="*/ 33761 h 170920"/>
                  <a:gd name="connsiteX73" fmla="*/ 478155 w 501014"/>
                  <a:gd name="connsiteY73" fmla="*/ 30903 h 170920"/>
                  <a:gd name="connsiteX74" fmla="*/ 498158 w 501014"/>
                  <a:gd name="connsiteY74" fmla="*/ 28046 h 170920"/>
                  <a:gd name="connsiteX75" fmla="*/ 501015 w 501014"/>
                  <a:gd name="connsiteY75" fmla="*/ 17568 h 170920"/>
                  <a:gd name="connsiteX76" fmla="*/ 499110 w 501014"/>
                  <a:gd name="connsiteY76" fmla="*/ 13758 h 170920"/>
                  <a:gd name="connsiteX77" fmla="*/ 489585 w 501014"/>
                  <a:gd name="connsiteY77" fmla="*/ 11853 h 170920"/>
                  <a:gd name="connsiteX78" fmla="*/ 472440 w 501014"/>
                  <a:gd name="connsiteY78" fmla="*/ 8043 h 170920"/>
                  <a:gd name="connsiteX79" fmla="*/ 456247 w 501014"/>
                  <a:gd name="connsiteY79" fmla="*/ 4233 h 170920"/>
                  <a:gd name="connsiteX80" fmla="*/ 436245 w 501014"/>
                  <a:gd name="connsiteY80" fmla="*/ 2328 h 170920"/>
                  <a:gd name="connsiteX81" fmla="*/ 408622 w 501014"/>
                  <a:gd name="connsiteY81" fmla="*/ 2328 h 170920"/>
                  <a:gd name="connsiteX82" fmla="*/ 388620 w 501014"/>
                  <a:gd name="connsiteY82" fmla="*/ 423 h 170920"/>
                  <a:gd name="connsiteX83" fmla="*/ 372427 w 501014"/>
                  <a:gd name="connsiteY83" fmla="*/ 423 h 170920"/>
                  <a:gd name="connsiteX84" fmla="*/ 345758 w 501014"/>
                  <a:gd name="connsiteY84" fmla="*/ 423 h 170920"/>
                  <a:gd name="connsiteX85" fmla="*/ 302895 w 501014"/>
                  <a:gd name="connsiteY85" fmla="*/ 423 h 170920"/>
                  <a:gd name="connsiteX86" fmla="*/ 273367 w 501014"/>
                  <a:gd name="connsiteY86" fmla="*/ 1376 h 170920"/>
                  <a:gd name="connsiteX87" fmla="*/ 231458 w 501014"/>
                  <a:gd name="connsiteY87" fmla="*/ 4233 h 170920"/>
                  <a:gd name="connsiteX88" fmla="*/ 209550 w 501014"/>
                  <a:gd name="connsiteY88" fmla="*/ 7091 h 170920"/>
                  <a:gd name="connsiteX89" fmla="*/ 188595 w 501014"/>
                  <a:gd name="connsiteY89" fmla="*/ 5186 h 170920"/>
                  <a:gd name="connsiteX90" fmla="*/ 154305 w 501014"/>
                  <a:gd name="connsiteY90" fmla="*/ 5186 h 170920"/>
                  <a:gd name="connsiteX91" fmla="*/ 140017 w 501014"/>
                  <a:gd name="connsiteY91" fmla="*/ 6138 h 170920"/>
                  <a:gd name="connsiteX92" fmla="*/ 121920 w 501014"/>
                  <a:gd name="connsiteY92" fmla="*/ 8996 h 170920"/>
                  <a:gd name="connsiteX93" fmla="*/ 100965 w 501014"/>
                  <a:gd name="connsiteY93" fmla="*/ 10901 h 170920"/>
                  <a:gd name="connsiteX94" fmla="*/ 88583 w 501014"/>
                  <a:gd name="connsiteY94" fmla="*/ 12806 h 170920"/>
                  <a:gd name="connsiteX95" fmla="*/ 69533 w 501014"/>
                  <a:gd name="connsiteY95" fmla="*/ 16616 h 170920"/>
                  <a:gd name="connsiteX96" fmla="*/ 57150 w 501014"/>
                  <a:gd name="connsiteY96" fmla="*/ 17568 h 170920"/>
                  <a:gd name="connsiteX97" fmla="*/ 50483 w 501014"/>
                  <a:gd name="connsiteY97" fmla="*/ 19473 h 170920"/>
                  <a:gd name="connsiteX98" fmla="*/ 40005 w 501014"/>
                  <a:gd name="connsiteY98" fmla="*/ 22331 h 170920"/>
                  <a:gd name="connsiteX99" fmla="*/ 26670 w 501014"/>
                  <a:gd name="connsiteY99" fmla="*/ 25188 h 170920"/>
                  <a:gd name="connsiteX100" fmla="*/ 17145 w 501014"/>
                  <a:gd name="connsiteY100" fmla="*/ 27093 h 170920"/>
                  <a:gd name="connsiteX101" fmla="*/ 0 w 501014"/>
                  <a:gd name="connsiteY101" fmla="*/ 32808 h 1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1014" h="170920">
                    <a:moveTo>
                      <a:pt x="0" y="32808"/>
                    </a:moveTo>
                    <a:cubicBezTo>
                      <a:pt x="0" y="32808"/>
                      <a:pt x="952" y="39476"/>
                      <a:pt x="3810" y="40428"/>
                    </a:cubicBezTo>
                    <a:cubicBezTo>
                      <a:pt x="6667" y="42333"/>
                      <a:pt x="16192" y="48048"/>
                      <a:pt x="16192" y="48048"/>
                    </a:cubicBezTo>
                    <a:lnTo>
                      <a:pt x="31433" y="49953"/>
                    </a:lnTo>
                    <a:cubicBezTo>
                      <a:pt x="31433" y="49953"/>
                      <a:pt x="33338" y="51858"/>
                      <a:pt x="36195" y="53763"/>
                    </a:cubicBezTo>
                    <a:cubicBezTo>
                      <a:pt x="38100" y="55668"/>
                      <a:pt x="44767" y="58526"/>
                      <a:pt x="44767" y="58526"/>
                    </a:cubicBezTo>
                    <a:lnTo>
                      <a:pt x="52388" y="60431"/>
                    </a:lnTo>
                    <a:cubicBezTo>
                      <a:pt x="52388" y="60431"/>
                      <a:pt x="56197" y="60431"/>
                      <a:pt x="61913" y="61383"/>
                    </a:cubicBezTo>
                    <a:cubicBezTo>
                      <a:pt x="68580" y="62336"/>
                      <a:pt x="83820" y="62336"/>
                      <a:pt x="83820" y="62336"/>
                    </a:cubicBezTo>
                    <a:lnTo>
                      <a:pt x="99060" y="63288"/>
                    </a:lnTo>
                    <a:cubicBezTo>
                      <a:pt x="99060" y="63288"/>
                      <a:pt x="106680" y="62336"/>
                      <a:pt x="112395" y="63288"/>
                    </a:cubicBezTo>
                    <a:cubicBezTo>
                      <a:pt x="118110" y="64241"/>
                      <a:pt x="132397" y="63288"/>
                      <a:pt x="132397" y="63288"/>
                    </a:cubicBezTo>
                    <a:cubicBezTo>
                      <a:pt x="132397" y="63288"/>
                      <a:pt x="137160" y="62336"/>
                      <a:pt x="141922" y="62336"/>
                    </a:cubicBezTo>
                    <a:cubicBezTo>
                      <a:pt x="147638" y="63288"/>
                      <a:pt x="155258" y="62336"/>
                      <a:pt x="155258" y="62336"/>
                    </a:cubicBezTo>
                    <a:lnTo>
                      <a:pt x="163830" y="62336"/>
                    </a:lnTo>
                    <a:cubicBezTo>
                      <a:pt x="168592" y="66146"/>
                      <a:pt x="164783" y="68051"/>
                      <a:pt x="163830" y="69956"/>
                    </a:cubicBezTo>
                    <a:cubicBezTo>
                      <a:pt x="162877" y="71861"/>
                      <a:pt x="157163" y="71861"/>
                      <a:pt x="153352" y="73766"/>
                    </a:cubicBezTo>
                    <a:cubicBezTo>
                      <a:pt x="149542" y="75671"/>
                      <a:pt x="145733" y="74718"/>
                      <a:pt x="130492" y="76623"/>
                    </a:cubicBezTo>
                    <a:cubicBezTo>
                      <a:pt x="116205" y="78528"/>
                      <a:pt x="116205" y="78528"/>
                      <a:pt x="116205" y="78528"/>
                    </a:cubicBezTo>
                    <a:cubicBezTo>
                      <a:pt x="116205" y="78528"/>
                      <a:pt x="108585" y="78528"/>
                      <a:pt x="104775" y="80433"/>
                    </a:cubicBezTo>
                    <a:cubicBezTo>
                      <a:pt x="101917" y="82338"/>
                      <a:pt x="90488" y="78528"/>
                      <a:pt x="91440" y="85196"/>
                    </a:cubicBezTo>
                    <a:cubicBezTo>
                      <a:pt x="92392" y="91863"/>
                      <a:pt x="92392" y="91863"/>
                      <a:pt x="92392" y="91863"/>
                    </a:cubicBezTo>
                    <a:lnTo>
                      <a:pt x="100013" y="93768"/>
                    </a:lnTo>
                    <a:lnTo>
                      <a:pt x="105727" y="93768"/>
                    </a:lnTo>
                    <a:cubicBezTo>
                      <a:pt x="105727" y="93768"/>
                      <a:pt x="106680" y="93768"/>
                      <a:pt x="105727" y="96626"/>
                    </a:cubicBezTo>
                    <a:cubicBezTo>
                      <a:pt x="104775" y="99483"/>
                      <a:pt x="104775" y="99483"/>
                      <a:pt x="104775" y="99483"/>
                    </a:cubicBezTo>
                    <a:lnTo>
                      <a:pt x="99060" y="109961"/>
                    </a:lnTo>
                    <a:cubicBezTo>
                      <a:pt x="99060" y="109961"/>
                      <a:pt x="85725" y="109008"/>
                      <a:pt x="85725" y="110913"/>
                    </a:cubicBezTo>
                    <a:cubicBezTo>
                      <a:pt x="85725" y="112818"/>
                      <a:pt x="85725" y="112818"/>
                      <a:pt x="85725" y="112818"/>
                    </a:cubicBezTo>
                    <a:cubicBezTo>
                      <a:pt x="85725" y="112818"/>
                      <a:pt x="79058" y="114723"/>
                      <a:pt x="79058" y="117581"/>
                    </a:cubicBezTo>
                    <a:cubicBezTo>
                      <a:pt x="79058" y="120438"/>
                      <a:pt x="51435" y="124248"/>
                      <a:pt x="51435" y="127106"/>
                    </a:cubicBezTo>
                    <a:cubicBezTo>
                      <a:pt x="51435" y="129963"/>
                      <a:pt x="51435" y="129963"/>
                      <a:pt x="51435" y="129963"/>
                    </a:cubicBezTo>
                    <a:cubicBezTo>
                      <a:pt x="51435" y="129963"/>
                      <a:pt x="55245" y="136631"/>
                      <a:pt x="59055" y="138536"/>
                    </a:cubicBezTo>
                    <a:cubicBezTo>
                      <a:pt x="61913" y="140441"/>
                      <a:pt x="54292" y="143298"/>
                      <a:pt x="54292" y="143298"/>
                    </a:cubicBezTo>
                    <a:lnTo>
                      <a:pt x="29527" y="150918"/>
                    </a:lnTo>
                    <a:lnTo>
                      <a:pt x="24765" y="153776"/>
                    </a:lnTo>
                    <a:cubicBezTo>
                      <a:pt x="24765" y="153776"/>
                      <a:pt x="21908" y="153776"/>
                      <a:pt x="24765" y="157586"/>
                    </a:cubicBezTo>
                    <a:cubicBezTo>
                      <a:pt x="27622" y="161396"/>
                      <a:pt x="38100" y="162348"/>
                      <a:pt x="38100" y="162348"/>
                    </a:cubicBezTo>
                    <a:cubicBezTo>
                      <a:pt x="38100" y="162348"/>
                      <a:pt x="43815" y="161396"/>
                      <a:pt x="47625" y="162348"/>
                    </a:cubicBezTo>
                    <a:cubicBezTo>
                      <a:pt x="52388" y="163301"/>
                      <a:pt x="82867" y="160443"/>
                      <a:pt x="82867" y="160443"/>
                    </a:cubicBezTo>
                    <a:cubicBezTo>
                      <a:pt x="82867" y="160443"/>
                      <a:pt x="93345" y="157586"/>
                      <a:pt x="92392" y="160443"/>
                    </a:cubicBezTo>
                    <a:cubicBezTo>
                      <a:pt x="92392" y="163301"/>
                      <a:pt x="94297" y="165206"/>
                      <a:pt x="98108" y="165206"/>
                    </a:cubicBezTo>
                    <a:cubicBezTo>
                      <a:pt x="100965" y="165206"/>
                      <a:pt x="106680" y="164253"/>
                      <a:pt x="112395" y="166158"/>
                    </a:cubicBezTo>
                    <a:cubicBezTo>
                      <a:pt x="118110" y="168063"/>
                      <a:pt x="127635" y="168063"/>
                      <a:pt x="127635" y="168063"/>
                    </a:cubicBezTo>
                    <a:lnTo>
                      <a:pt x="140017" y="169016"/>
                    </a:lnTo>
                    <a:cubicBezTo>
                      <a:pt x="140017" y="169016"/>
                      <a:pt x="144780" y="168063"/>
                      <a:pt x="147638" y="169016"/>
                    </a:cubicBezTo>
                    <a:cubicBezTo>
                      <a:pt x="150495" y="170921"/>
                      <a:pt x="155258" y="170921"/>
                      <a:pt x="159067" y="170921"/>
                    </a:cubicBezTo>
                    <a:cubicBezTo>
                      <a:pt x="161925" y="170921"/>
                      <a:pt x="173355" y="169968"/>
                      <a:pt x="182880" y="169968"/>
                    </a:cubicBezTo>
                    <a:cubicBezTo>
                      <a:pt x="192405" y="169016"/>
                      <a:pt x="190500" y="166158"/>
                      <a:pt x="194310" y="164253"/>
                    </a:cubicBezTo>
                    <a:cubicBezTo>
                      <a:pt x="197167" y="163301"/>
                      <a:pt x="200977" y="154728"/>
                      <a:pt x="200977" y="154728"/>
                    </a:cubicBezTo>
                    <a:cubicBezTo>
                      <a:pt x="200977" y="154728"/>
                      <a:pt x="202883" y="149966"/>
                      <a:pt x="206692" y="148061"/>
                    </a:cubicBezTo>
                    <a:cubicBezTo>
                      <a:pt x="209550" y="147108"/>
                      <a:pt x="213360" y="144251"/>
                      <a:pt x="216217" y="143298"/>
                    </a:cubicBezTo>
                    <a:cubicBezTo>
                      <a:pt x="219075" y="142346"/>
                      <a:pt x="220980" y="138536"/>
                      <a:pt x="224790" y="136631"/>
                    </a:cubicBezTo>
                    <a:cubicBezTo>
                      <a:pt x="229552" y="135678"/>
                      <a:pt x="229552" y="128058"/>
                      <a:pt x="232410" y="127106"/>
                    </a:cubicBezTo>
                    <a:cubicBezTo>
                      <a:pt x="235267" y="126153"/>
                      <a:pt x="238125" y="124248"/>
                      <a:pt x="241935" y="124248"/>
                    </a:cubicBezTo>
                    <a:cubicBezTo>
                      <a:pt x="246697" y="124248"/>
                      <a:pt x="253365" y="120438"/>
                      <a:pt x="253365" y="120438"/>
                    </a:cubicBezTo>
                    <a:lnTo>
                      <a:pt x="260985" y="116628"/>
                    </a:lnTo>
                    <a:lnTo>
                      <a:pt x="262890" y="109961"/>
                    </a:lnTo>
                    <a:cubicBezTo>
                      <a:pt x="262890" y="109961"/>
                      <a:pt x="262890" y="103293"/>
                      <a:pt x="268605" y="103293"/>
                    </a:cubicBezTo>
                    <a:cubicBezTo>
                      <a:pt x="274320" y="103293"/>
                      <a:pt x="271463" y="101388"/>
                      <a:pt x="276225" y="100436"/>
                    </a:cubicBezTo>
                    <a:cubicBezTo>
                      <a:pt x="280988" y="99483"/>
                      <a:pt x="290513" y="93768"/>
                      <a:pt x="290513" y="93768"/>
                    </a:cubicBezTo>
                    <a:lnTo>
                      <a:pt x="310515" y="87101"/>
                    </a:lnTo>
                    <a:lnTo>
                      <a:pt x="325755" y="79481"/>
                    </a:lnTo>
                    <a:lnTo>
                      <a:pt x="334327" y="75671"/>
                    </a:lnTo>
                    <a:cubicBezTo>
                      <a:pt x="334327" y="75671"/>
                      <a:pt x="346710" y="68051"/>
                      <a:pt x="351472" y="68051"/>
                    </a:cubicBezTo>
                    <a:cubicBezTo>
                      <a:pt x="356235" y="68051"/>
                      <a:pt x="362902" y="64241"/>
                      <a:pt x="366713" y="64241"/>
                    </a:cubicBezTo>
                    <a:cubicBezTo>
                      <a:pt x="371475" y="64241"/>
                      <a:pt x="384810" y="57573"/>
                      <a:pt x="384810" y="57573"/>
                    </a:cubicBezTo>
                    <a:cubicBezTo>
                      <a:pt x="384810" y="57573"/>
                      <a:pt x="392430" y="56621"/>
                      <a:pt x="397192" y="54716"/>
                    </a:cubicBezTo>
                    <a:cubicBezTo>
                      <a:pt x="401955" y="53763"/>
                      <a:pt x="417195" y="49953"/>
                      <a:pt x="417195" y="49953"/>
                    </a:cubicBezTo>
                    <a:lnTo>
                      <a:pt x="428625" y="43286"/>
                    </a:lnTo>
                    <a:cubicBezTo>
                      <a:pt x="428625" y="43286"/>
                      <a:pt x="430530" y="42333"/>
                      <a:pt x="435292" y="41381"/>
                    </a:cubicBezTo>
                    <a:cubicBezTo>
                      <a:pt x="440055" y="40428"/>
                      <a:pt x="443865" y="39476"/>
                      <a:pt x="448627" y="38523"/>
                    </a:cubicBezTo>
                    <a:cubicBezTo>
                      <a:pt x="453390" y="37571"/>
                      <a:pt x="473392" y="33761"/>
                      <a:pt x="473392" y="33761"/>
                    </a:cubicBezTo>
                    <a:cubicBezTo>
                      <a:pt x="473392" y="33761"/>
                      <a:pt x="458152" y="33761"/>
                      <a:pt x="478155" y="30903"/>
                    </a:cubicBezTo>
                    <a:cubicBezTo>
                      <a:pt x="498158" y="28046"/>
                      <a:pt x="498158" y="28046"/>
                      <a:pt x="498158" y="28046"/>
                    </a:cubicBezTo>
                    <a:lnTo>
                      <a:pt x="501015" y="17568"/>
                    </a:lnTo>
                    <a:lnTo>
                      <a:pt x="499110" y="13758"/>
                    </a:lnTo>
                    <a:lnTo>
                      <a:pt x="489585" y="11853"/>
                    </a:lnTo>
                    <a:lnTo>
                      <a:pt x="472440" y="8043"/>
                    </a:lnTo>
                    <a:lnTo>
                      <a:pt x="456247" y="4233"/>
                    </a:lnTo>
                    <a:cubicBezTo>
                      <a:pt x="456247" y="4233"/>
                      <a:pt x="441960" y="2328"/>
                      <a:pt x="436245" y="2328"/>
                    </a:cubicBezTo>
                    <a:cubicBezTo>
                      <a:pt x="430530" y="2328"/>
                      <a:pt x="408622" y="2328"/>
                      <a:pt x="408622" y="2328"/>
                    </a:cubicBezTo>
                    <a:cubicBezTo>
                      <a:pt x="408622" y="2328"/>
                      <a:pt x="393383" y="423"/>
                      <a:pt x="388620" y="423"/>
                    </a:cubicBezTo>
                    <a:cubicBezTo>
                      <a:pt x="383858" y="423"/>
                      <a:pt x="375285" y="423"/>
                      <a:pt x="372427" y="423"/>
                    </a:cubicBezTo>
                    <a:cubicBezTo>
                      <a:pt x="369570" y="423"/>
                      <a:pt x="345758" y="423"/>
                      <a:pt x="345758" y="423"/>
                    </a:cubicBezTo>
                    <a:cubicBezTo>
                      <a:pt x="345758" y="423"/>
                      <a:pt x="308610" y="-529"/>
                      <a:pt x="302895" y="423"/>
                    </a:cubicBezTo>
                    <a:cubicBezTo>
                      <a:pt x="297180" y="1376"/>
                      <a:pt x="281940" y="423"/>
                      <a:pt x="273367" y="1376"/>
                    </a:cubicBezTo>
                    <a:cubicBezTo>
                      <a:pt x="264795" y="2328"/>
                      <a:pt x="231458" y="4233"/>
                      <a:pt x="231458" y="4233"/>
                    </a:cubicBezTo>
                    <a:lnTo>
                      <a:pt x="209550" y="7091"/>
                    </a:lnTo>
                    <a:cubicBezTo>
                      <a:pt x="209550" y="7091"/>
                      <a:pt x="194310" y="5186"/>
                      <a:pt x="188595" y="5186"/>
                    </a:cubicBezTo>
                    <a:cubicBezTo>
                      <a:pt x="182880" y="8043"/>
                      <a:pt x="154305" y="5186"/>
                      <a:pt x="154305" y="5186"/>
                    </a:cubicBezTo>
                    <a:lnTo>
                      <a:pt x="140017" y="6138"/>
                    </a:lnTo>
                    <a:cubicBezTo>
                      <a:pt x="140017" y="6138"/>
                      <a:pt x="125730" y="7091"/>
                      <a:pt x="121920" y="8996"/>
                    </a:cubicBezTo>
                    <a:cubicBezTo>
                      <a:pt x="118110" y="9948"/>
                      <a:pt x="100965" y="10901"/>
                      <a:pt x="100965" y="10901"/>
                    </a:cubicBezTo>
                    <a:lnTo>
                      <a:pt x="88583" y="12806"/>
                    </a:lnTo>
                    <a:cubicBezTo>
                      <a:pt x="88583" y="12806"/>
                      <a:pt x="73342" y="16616"/>
                      <a:pt x="69533" y="16616"/>
                    </a:cubicBezTo>
                    <a:cubicBezTo>
                      <a:pt x="66675" y="17568"/>
                      <a:pt x="57150" y="17568"/>
                      <a:pt x="57150" y="17568"/>
                    </a:cubicBezTo>
                    <a:lnTo>
                      <a:pt x="50483" y="19473"/>
                    </a:lnTo>
                    <a:lnTo>
                      <a:pt x="40005" y="22331"/>
                    </a:lnTo>
                    <a:lnTo>
                      <a:pt x="26670" y="25188"/>
                    </a:lnTo>
                    <a:lnTo>
                      <a:pt x="17145" y="27093"/>
                    </a:lnTo>
                    <a:lnTo>
                      <a:pt x="0" y="32808"/>
                    </a:lnTo>
                    <a:close/>
                  </a:path>
                </a:pathLst>
              </a:custGeom>
              <a:grpFill/>
              <a:ln w="9525" cap="flat">
                <a:noFill/>
                <a:prstDash val="solid"/>
                <a:miter/>
              </a:ln>
            </p:spPr>
            <p:txBody>
              <a:bodyPr rtlCol="0" anchor="ctr"/>
              <a:lstStyle/>
              <a:p>
                <a:endParaRPr lang="en-US" sz="1765"/>
              </a:p>
            </p:txBody>
          </p:sp>
          <p:sp>
            <p:nvSpPr>
              <p:cNvPr id="36" name="Freeform: Shape 35">
                <a:extLst>
                  <a:ext uri="{FF2B5EF4-FFF2-40B4-BE49-F238E27FC236}">
                    <a16:creationId xmlns:a16="http://schemas.microsoft.com/office/drawing/2014/main" id="{7C1BB3DD-C289-488F-9723-E50DB41F2FB0}"/>
                  </a:ext>
                </a:extLst>
              </p:cNvPr>
              <p:cNvSpPr/>
              <p:nvPr/>
            </p:nvSpPr>
            <p:spPr>
              <a:xfrm>
                <a:off x="6865648" y="3021232"/>
                <a:ext cx="48577" cy="18876"/>
              </a:xfrm>
              <a:custGeom>
                <a:avLst/>
                <a:gdLst>
                  <a:gd name="connsiteX0" fmla="*/ 39053 w 48577"/>
                  <a:gd name="connsiteY0" fmla="*/ 16971 h 18876"/>
                  <a:gd name="connsiteX1" fmla="*/ 36195 w 48577"/>
                  <a:gd name="connsiteY1" fmla="*/ 16971 h 18876"/>
                  <a:gd name="connsiteX2" fmla="*/ 24765 w 48577"/>
                  <a:gd name="connsiteY2" fmla="*/ 16971 h 18876"/>
                  <a:gd name="connsiteX3" fmla="*/ 21908 w 48577"/>
                  <a:gd name="connsiteY3" fmla="*/ 16971 h 18876"/>
                  <a:gd name="connsiteX4" fmla="*/ 15240 w 48577"/>
                  <a:gd name="connsiteY4" fmla="*/ 15066 h 18876"/>
                  <a:gd name="connsiteX5" fmla="*/ 1905 w 48577"/>
                  <a:gd name="connsiteY5" fmla="*/ 11256 h 18876"/>
                  <a:gd name="connsiteX6" fmla="*/ 0 w 48577"/>
                  <a:gd name="connsiteY6" fmla="*/ 7446 h 18876"/>
                  <a:gd name="connsiteX7" fmla="*/ 0 w 48577"/>
                  <a:gd name="connsiteY7" fmla="*/ 2684 h 18876"/>
                  <a:gd name="connsiteX8" fmla="*/ 2858 w 48577"/>
                  <a:gd name="connsiteY8" fmla="*/ 1731 h 18876"/>
                  <a:gd name="connsiteX9" fmla="*/ 4763 w 48577"/>
                  <a:gd name="connsiteY9" fmla="*/ 1731 h 18876"/>
                  <a:gd name="connsiteX10" fmla="*/ 14288 w 48577"/>
                  <a:gd name="connsiteY10" fmla="*/ 779 h 18876"/>
                  <a:gd name="connsiteX11" fmla="*/ 16193 w 48577"/>
                  <a:gd name="connsiteY11" fmla="*/ 1731 h 18876"/>
                  <a:gd name="connsiteX12" fmla="*/ 22860 w 48577"/>
                  <a:gd name="connsiteY12" fmla="*/ 5541 h 18876"/>
                  <a:gd name="connsiteX13" fmla="*/ 39053 w 48577"/>
                  <a:gd name="connsiteY13" fmla="*/ 7446 h 18876"/>
                  <a:gd name="connsiteX14" fmla="*/ 42863 w 48577"/>
                  <a:gd name="connsiteY14" fmla="*/ 8399 h 18876"/>
                  <a:gd name="connsiteX15" fmla="*/ 44768 w 48577"/>
                  <a:gd name="connsiteY15" fmla="*/ 9351 h 18876"/>
                  <a:gd name="connsiteX16" fmla="*/ 46673 w 48577"/>
                  <a:gd name="connsiteY16" fmla="*/ 12209 h 18876"/>
                  <a:gd name="connsiteX17" fmla="*/ 48578 w 48577"/>
                  <a:gd name="connsiteY17" fmla="*/ 14114 h 18876"/>
                  <a:gd name="connsiteX18" fmla="*/ 45720 w 48577"/>
                  <a:gd name="connsiteY18" fmla="*/ 17924 h 18876"/>
                  <a:gd name="connsiteX19" fmla="*/ 40958 w 48577"/>
                  <a:gd name="connsiteY19" fmla="*/ 18876 h 18876"/>
                  <a:gd name="connsiteX20" fmla="*/ 39053 w 48577"/>
                  <a:gd name="connsiteY20" fmla="*/ 16971 h 1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77" h="18876">
                    <a:moveTo>
                      <a:pt x="39053" y="16971"/>
                    </a:moveTo>
                    <a:lnTo>
                      <a:pt x="36195" y="16971"/>
                    </a:lnTo>
                    <a:lnTo>
                      <a:pt x="24765" y="16971"/>
                    </a:lnTo>
                    <a:lnTo>
                      <a:pt x="21908" y="16971"/>
                    </a:lnTo>
                    <a:lnTo>
                      <a:pt x="15240" y="15066"/>
                    </a:lnTo>
                    <a:lnTo>
                      <a:pt x="1905" y="11256"/>
                    </a:lnTo>
                    <a:cubicBezTo>
                      <a:pt x="1905" y="11256"/>
                      <a:pt x="0" y="9351"/>
                      <a:pt x="0" y="7446"/>
                    </a:cubicBezTo>
                    <a:cubicBezTo>
                      <a:pt x="0" y="5541"/>
                      <a:pt x="0" y="2684"/>
                      <a:pt x="0" y="2684"/>
                    </a:cubicBezTo>
                    <a:cubicBezTo>
                      <a:pt x="0" y="2684"/>
                      <a:pt x="953" y="1731"/>
                      <a:pt x="2858" y="1731"/>
                    </a:cubicBezTo>
                    <a:cubicBezTo>
                      <a:pt x="4763" y="1731"/>
                      <a:pt x="953" y="1731"/>
                      <a:pt x="4763" y="1731"/>
                    </a:cubicBezTo>
                    <a:cubicBezTo>
                      <a:pt x="9525" y="1731"/>
                      <a:pt x="12383" y="779"/>
                      <a:pt x="14288" y="779"/>
                    </a:cubicBezTo>
                    <a:cubicBezTo>
                      <a:pt x="16193" y="1731"/>
                      <a:pt x="9525" y="-2079"/>
                      <a:pt x="16193" y="1731"/>
                    </a:cubicBezTo>
                    <a:cubicBezTo>
                      <a:pt x="22860" y="5541"/>
                      <a:pt x="18098" y="3636"/>
                      <a:pt x="22860" y="5541"/>
                    </a:cubicBezTo>
                    <a:cubicBezTo>
                      <a:pt x="27623" y="6494"/>
                      <a:pt x="39053" y="7446"/>
                      <a:pt x="39053" y="7446"/>
                    </a:cubicBezTo>
                    <a:cubicBezTo>
                      <a:pt x="39053" y="7446"/>
                      <a:pt x="40958" y="7446"/>
                      <a:pt x="42863" y="8399"/>
                    </a:cubicBezTo>
                    <a:cubicBezTo>
                      <a:pt x="44768" y="9351"/>
                      <a:pt x="43815" y="6494"/>
                      <a:pt x="44768" y="9351"/>
                    </a:cubicBezTo>
                    <a:cubicBezTo>
                      <a:pt x="46673" y="12209"/>
                      <a:pt x="43815" y="10304"/>
                      <a:pt x="46673" y="12209"/>
                    </a:cubicBezTo>
                    <a:cubicBezTo>
                      <a:pt x="48578" y="14114"/>
                      <a:pt x="48578" y="12209"/>
                      <a:pt x="48578" y="14114"/>
                    </a:cubicBezTo>
                    <a:cubicBezTo>
                      <a:pt x="48578" y="16019"/>
                      <a:pt x="45720" y="17924"/>
                      <a:pt x="45720" y="17924"/>
                    </a:cubicBezTo>
                    <a:lnTo>
                      <a:pt x="40958" y="18876"/>
                    </a:lnTo>
                    <a:lnTo>
                      <a:pt x="39053" y="16971"/>
                    </a:lnTo>
                    <a:close/>
                  </a:path>
                </a:pathLst>
              </a:custGeom>
              <a:grpFill/>
              <a:ln w="9525" cap="flat">
                <a:noFill/>
                <a:prstDash val="solid"/>
                <a:miter/>
              </a:ln>
            </p:spPr>
            <p:txBody>
              <a:bodyPr rtlCol="0" anchor="ctr"/>
              <a:lstStyle/>
              <a:p>
                <a:endParaRPr lang="en-US" sz="1765"/>
              </a:p>
            </p:txBody>
          </p:sp>
          <p:sp>
            <p:nvSpPr>
              <p:cNvPr id="37" name="Freeform: Shape 36">
                <a:extLst>
                  <a:ext uri="{FF2B5EF4-FFF2-40B4-BE49-F238E27FC236}">
                    <a16:creationId xmlns:a16="http://schemas.microsoft.com/office/drawing/2014/main" id="{0B608C4E-6853-4157-90CD-67E23DD3B874}"/>
                  </a:ext>
                </a:extLst>
              </p:cNvPr>
              <p:cNvSpPr/>
              <p:nvPr/>
            </p:nvSpPr>
            <p:spPr>
              <a:xfrm>
                <a:off x="7005044" y="2790554"/>
                <a:ext cx="1036941" cy="497205"/>
              </a:xfrm>
              <a:custGeom>
                <a:avLst/>
                <a:gdLst>
                  <a:gd name="connsiteX0" fmla="*/ 75870 w 1036941"/>
                  <a:gd name="connsiteY0" fmla="*/ 120968 h 497205"/>
                  <a:gd name="connsiteX1" fmla="*/ 59677 w 1036941"/>
                  <a:gd name="connsiteY1" fmla="*/ 120968 h 497205"/>
                  <a:gd name="connsiteX2" fmla="*/ 50152 w 1036941"/>
                  <a:gd name="connsiteY2" fmla="*/ 121920 h 497205"/>
                  <a:gd name="connsiteX3" fmla="*/ 33007 w 1036941"/>
                  <a:gd name="connsiteY3" fmla="*/ 121920 h 497205"/>
                  <a:gd name="connsiteX4" fmla="*/ 21577 w 1036941"/>
                  <a:gd name="connsiteY4" fmla="*/ 121920 h 497205"/>
                  <a:gd name="connsiteX5" fmla="*/ 13004 w 1036941"/>
                  <a:gd name="connsiteY5" fmla="*/ 121920 h 497205"/>
                  <a:gd name="connsiteX6" fmla="*/ 9195 w 1036941"/>
                  <a:gd name="connsiteY6" fmla="*/ 121920 h 497205"/>
                  <a:gd name="connsiteX7" fmla="*/ 3479 w 1036941"/>
                  <a:gd name="connsiteY7" fmla="*/ 121920 h 497205"/>
                  <a:gd name="connsiteX8" fmla="*/ 622 w 1036941"/>
                  <a:gd name="connsiteY8" fmla="*/ 128588 h 497205"/>
                  <a:gd name="connsiteX9" fmla="*/ 1575 w 1036941"/>
                  <a:gd name="connsiteY9" fmla="*/ 131445 h 497205"/>
                  <a:gd name="connsiteX10" fmla="*/ 3479 w 1036941"/>
                  <a:gd name="connsiteY10" fmla="*/ 132398 h 497205"/>
                  <a:gd name="connsiteX11" fmla="*/ 8242 w 1036941"/>
                  <a:gd name="connsiteY11" fmla="*/ 136208 h 497205"/>
                  <a:gd name="connsiteX12" fmla="*/ 11100 w 1036941"/>
                  <a:gd name="connsiteY12" fmla="*/ 137160 h 497205"/>
                  <a:gd name="connsiteX13" fmla="*/ 17767 w 1036941"/>
                  <a:gd name="connsiteY13" fmla="*/ 139065 h 497205"/>
                  <a:gd name="connsiteX14" fmla="*/ 29197 w 1036941"/>
                  <a:gd name="connsiteY14" fmla="*/ 141923 h 497205"/>
                  <a:gd name="connsiteX15" fmla="*/ 31102 w 1036941"/>
                  <a:gd name="connsiteY15" fmla="*/ 142875 h 497205"/>
                  <a:gd name="connsiteX16" fmla="*/ 41579 w 1036941"/>
                  <a:gd name="connsiteY16" fmla="*/ 148590 h 497205"/>
                  <a:gd name="connsiteX17" fmla="*/ 45390 w 1036941"/>
                  <a:gd name="connsiteY17" fmla="*/ 150495 h 497205"/>
                  <a:gd name="connsiteX18" fmla="*/ 54915 w 1036941"/>
                  <a:gd name="connsiteY18" fmla="*/ 152400 h 497205"/>
                  <a:gd name="connsiteX19" fmla="*/ 59677 w 1036941"/>
                  <a:gd name="connsiteY19" fmla="*/ 154305 h 497205"/>
                  <a:gd name="connsiteX20" fmla="*/ 63487 w 1036941"/>
                  <a:gd name="connsiteY20" fmla="*/ 157163 h 497205"/>
                  <a:gd name="connsiteX21" fmla="*/ 62535 w 1036941"/>
                  <a:gd name="connsiteY21" fmla="*/ 163830 h 497205"/>
                  <a:gd name="connsiteX22" fmla="*/ 56820 w 1036941"/>
                  <a:gd name="connsiteY22" fmla="*/ 169545 h 497205"/>
                  <a:gd name="connsiteX23" fmla="*/ 52057 w 1036941"/>
                  <a:gd name="connsiteY23" fmla="*/ 176213 h 497205"/>
                  <a:gd name="connsiteX24" fmla="*/ 53010 w 1036941"/>
                  <a:gd name="connsiteY24" fmla="*/ 179070 h 497205"/>
                  <a:gd name="connsiteX25" fmla="*/ 55867 w 1036941"/>
                  <a:gd name="connsiteY25" fmla="*/ 185738 h 497205"/>
                  <a:gd name="connsiteX26" fmla="*/ 60629 w 1036941"/>
                  <a:gd name="connsiteY26" fmla="*/ 188595 h 497205"/>
                  <a:gd name="connsiteX27" fmla="*/ 66345 w 1036941"/>
                  <a:gd name="connsiteY27" fmla="*/ 189548 h 497205"/>
                  <a:gd name="connsiteX28" fmla="*/ 82537 w 1036941"/>
                  <a:gd name="connsiteY28" fmla="*/ 191453 h 497205"/>
                  <a:gd name="connsiteX29" fmla="*/ 88252 w 1036941"/>
                  <a:gd name="connsiteY29" fmla="*/ 192405 h 497205"/>
                  <a:gd name="connsiteX30" fmla="*/ 95872 w 1036941"/>
                  <a:gd name="connsiteY30" fmla="*/ 191453 h 497205"/>
                  <a:gd name="connsiteX31" fmla="*/ 105397 w 1036941"/>
                  <a:gd name="connsiteY31" fmla="*/ 184785 h 497205"/>
                  <a:gd name="connsiteX32" fmla="*/ 110160 w 1036941"/>
                  <a:gd name="connsiteY32" fmla="*/ 182880 h 497205"/>
                  <a:gd name="connsiteX33" fmla="*/ 123495 w 1036941"/>
                  <a:gd name="connsiteY33" fmla="*/ 182880 h 497205"/>
                  <a:gd name="connsiteX34" fmla="*/ 129210 w 1036941"/>
                  <a:gd name="connsiteY34" fmla="*/ 183833 h 497205"/>
                  <a:gd name="connsiteX35" fmla="*/ 146354 w 1036941"/>
                  <a:gd name="connsiteY35" fmla="*/ 184785 h 497205"/>
                  <a:gd name="connsiteX36" fmla="*/ 167310 w 1036941"/>
                  <a:gd name="connsiteY36" fmla="*/ 185738 h 497205"/>
                  <a:gd name="connsiteX37" fmla="*/ 180645 w 1036941"/>
                  <a:gd name="connsiteY37" fmla="*/ 183833 h 497205"/>
                  <a:gd name="connsiteX38" fmla="*/ 184454 w 1036941"/>
                  <a:gd name="connsiteY38" fmla="*/ 185738 h 497205"/>
                  <a:gd name="connsiteX39" fmla="*/ 199695 w 1036941"/>
                  <a:gd name="connsiteY39" fmla="*/ 194310 h 497205"/>
                  <a:gd name="connsiteX40" fmla="*/ 211125 w 1036941"/>
                  <a:gd name="connsiteY40" fmla="*/ 198120 h 497205"/>
                  <a:gd name="connsiteX41" fmla="*/ 224460 w 1036941"/>
                  <a:gd name="connsiteY41" fmla="*/ 201930 h 497205"/>
                  <a:gd name="connsiteX42" fmla="*/ 246367 w 1036941"/>
                  <a:gd name="connsiteY42" fmla="*/ 209550 h 497205"/>
                  <a:gd name="connsiteX43" fmla="*/ 252082 w 1036941"/>
                  <a:gd name="connsiteY43" fmla="*/ 216218 h 497205"/>
                  <a:gd name="connsiteX44" fmla="*/ 253987 w 1036941"/>
                  <a:gd name="connsiteY44" fmla="*/ 219075 h 497205"/>
                  <a:gd name="connsiteX45" fmla="*/ 266370 w 1036941"/>
                  <a:gd name="connsiteY45" fmla="*/ 231458 h 497205"/>
                  <a:gd name="connsiteX46" fmla="*/ 272085 w 1036941"/>
                  <a:gd name="connsiteY46" fmla="*/ 235268 h 497205"/>
                  <a:gd name="connsiteX47" fmla="*/ 277800 w 1036941"/>
                  <a:gd name="connsiteY47" fmla="*/ 239078 h 497205"/>
                  <a:gd name="connsiteX48" fmla="*/ 282562 w 1036941"/>
                  <a:gd name="connsiteY48" fmla="*/ 242888 h 497205"/>
                  <a:gd name="connsiteX49" fmla="*/ 286372 w 1036941"/>
                  <a:gd name="connsiteY49" fmla="*/ 253365 h 497205"/>
                  <a:gd name="connsiteX50" fmla="*/ 287325 w 1036941"/>
                  <a:gd name="connsiteY50" fmla="*/ 258128 h 497205"/>
                  <a:gd name="connsiteX51" fmla="*/ 287325 w 1036941"/>
                  <a:gd name="connsiteY51" fmla="*/ 268605 h 497205"/>
                  <a:gd name="connsiteX52" fmla="*/ 287325 w 1036941"/>
                  <a:gd name="connsiteY52" fmla="*/ 271463 h 497205"/>
                  <a:gd name="connsiteX53" fmla="*/ 287325 w 1036941"/>
                  <a:gd name="connsiteY53" fmla="*/ 276225 h 497205"/>
                  <a:gd name="connsiteX54" fmla="*/ 288277 w 1036941"/>
                  <a:gd name="connsiteY54" fmla="*/ 283845 h 497205"/>
                  <a:gd name="connsiteX55" fmla="*/ 292087 w 1036941"/>
                  <a:gd name="connsiteY55" fmla="*/ 288608 h 497205"/>
                  <a:gd name="connsiteX56" fmla="*/ 297802 w 1036941"/>
                  <a:gd name="connsiteY56" fmla="*/ 292418 h 497205"/>
                  <a:gd name="connsiteX57" fmla="*/ 307327 w 1036941"/>
                  <a:gd name="connsiteY57" fmla="*/ 293370 h 497205"/>
                  <a:gd name="connsiteX58" fmla="*/ 310185 w 1036941"/>
                  <a:gd name="connsiteY58" fmla="*/ 292418 h 497205"/>
                  <a:gd name="connsiteX59" fmla="*/ 312090 w 1036941"/>
                  <a:gd name="connsiteY59" fmla="*/ 290513 h 497205"/>
                  <a:gd name="connsiteX60" fmla="*/ 311137 w 1036941"/>
                  <a:gd name="connsiteY60" fmla="*/ 285750 h 497205"/>
                  <a:gd name="connsiteX61" fmla="*/ 310185 w 1036941"/>
                  <a:gd name="connsiteY61" fmla="*/ 283845 h 497205"/>
                  <a:gd name="connsiteX62" fmla="*/ 311137 w 1036941"/>
                  <a:gd name="connsiteY62" fmla="*/ 280035 h 497205"/>
                  <a:gd name="connsiteX63" fmla="*/ 322567 w 1036941"/>
                  <a:gd name="connsiteY63" fmla="*/ 280035 h 497205"/>
                  <a:gd name="connsiteX64" fmla="*/ 332092 w 1036941"/>
                  <a:gd name="connsiteY64" fmla="*/ 279083 h 497205"/>
                  <a:gd name="connsiteX65" fmla="*/ 336855 w 1036941"/>
                  <a:gd name="connsiteY65" fmla="*/ 279083 h 497205"/>
                  <a:gd name="connsiteX66" fmla="*/ 337807 w 1036941"/>
                  <a:gd name="connsiteY66" fmla="*/ 283845 h 497205"/>
                  <a:gd name="connsiteX67" fmla="*/ 340665 w 1036941"/>
                  <a:gd name="connsiteY67" fmla="*/ 289560 h 497205"/>
                  <a:gd name="connsiteX68" fmla="*/ 350190 w 1036941"/>
                  <a:gd name="connsiteY68" fmla="*/ 292418 h 497205"/>
                  <a:gd name="connsiteX69" fmla="*/ 356857 w 1036941"/>
                  <a:gd name="connsiteY69" fmla="*/ 294323 h 497205"/>
                  <a:gd name="connsiteX70" fmla="*/ 360667 w 1036941"/>
                  <a:gd name="connsiteY70" fmla="*/ 296228 h 497205"/>
                  <a:gd name="connsiteX71" fmla="*/ 361620 w 1036941"/>
                  <a:gd name="connsiteY71" fmla="*/ 298133 h 497205"/>
                  <a:gd name="connsiteX72" fmla="*/ 359715 w 1036941"/>
                  <a:gd name="connsiteY72" fmla="*/ 302895 h 497205"/>
                  <a:gd name="connsiteX73" fmla="*/ 360667 w 1036941"/>
                  <a:gd name="connsiteY73" fmla="*/ 312420 h 497205"/>
                  <a:gd name="connsiteX74" fmla="*/ 361620 w 1036941"/>
                  <a:gd name="connsiteY74" fmla="*/ 317183 h 497205"/>
                  <a:gd name="connsiteX75" fmla="*/ 361620 w 1036941"/>
                  <a:gd name="connsiteY75" fmla="*/ 323850 h 497205"/>
                  <a:gd name="connsiteX76" fmla="*/ 360667 w 1036941"/>
                  <a:gd name="connsiteY76" fmla="*/ 327660 h 497205"/>
                  <a:gd name="connsiteX77" fmla="*/ 358762 w 1036941"/>
                  <a:gd name="connsiteY77" fmla="*/ 334328 h 497205"/>
                  <a:gd name="connsiteX78" fmla="*/ 354952 w 1036941"/>
                  <a:gd name="connsiteY78" fmla="*/ 342900 h 497205"/>
                  <a:gd name="connsiteX79" fmla="*/ 351142 w 1036941"/>
                  <a:gd name="connsiteY79" fmla="*/ 347663 h 497205"/>
                  <a:gd name="connsiteX80" fmla="*/ 339712 w 1036941"/>
                  <a:gd name="connsiteY80" fmla="*/ 354330 h 497205"/>
                  <a:gd name="connsiteX81" fmla="*/ 333045 w 1036941"/>
                  <a:gd name="connsiteY81" fmla="*/ 358140 h 497205"/>
                  <a:gd name="connsiteX82" fmla="*/ 326377 w 1036941"/>
                  <a:gd name="connsiteY82" fmla="*/ 360998 h 497205"/>
                  <a:gd name="connsiteX83" fmla="*/ 321615 w 1036941"/>
                  <a:gd name="connsiteY83" fmla="*/ 363855 h 497205"/>
                  <a:gd name="connsiteX84" fmla="*/ 320662 w 1036941"/>
                  <a:gd name="connsiteY84" fmla="*/ 373380 h 497205"/>
                  <a:gd name="connsiteX85" fmla="*/ 318757 w 1036941"/>
                  <a:gd name="connsiteY85" fmla="*/ 375285 h 497205"/>
                  <a:gd name="connsiteX86" fmla="*/ 316852 w 1036941"/>
                  <a:gd name="connsiteY86" fmla="*/ 381000 h 497205"/>
                  <a:gd name="connsiteX87" fmla="*/ 316852 w 1036941"/>
                  <a:gd name="connsiteY87" fmla="*/ 392430 h 497205"/>
                  <a:gd name="connsiteX88" fmla="*/ 324472 w 1036941"/>
                  <a:gd name="connsiteY88" fmla="*/ 401003 h 497205"/>
                  <a:gd name="connsiteX89" fmla="*/ 325425 w 1036941"/>
                  <a:gd name="connsiteY89" fmla="*/ 403860 h 497205"/>
                  <a:gd name="connsiteX90" fmla="*/ 329235 w 1036941"/>
                  <a:gd name="connsiteY90" fmla="*/ 407670 h 497205"/>
                  <a:gd name="connsiteX91" fmla="*/ 342570 w 1036941"/>
                  <a:gd name="connsiteY91" fmla="*/ 420053 h 497205"/>
                  <a:gd name="connsiteX92" fmla="*/ 354000 w 1036941"/>
                  <a:gd name="connsiteY92" fmla="*/ 427673 h 497205"/>
                  <a:gd name="connsiteX93" fmla="*/ 358762 w 1036941"/>
                  <a:gd name="connsiteY93" fmla="*/ 437198 h 497205"/>
                  <a:gd name="connsiteX94" fmla="*/ 364477 w 1036941"/>
                  <a:gd name="connsiteY94" fmla="*/ 445770 h 497205"/>
                  <a:gd name="connsiteX95" fmla="*/ 372097 w 1036941"/>
                  <a:gd name="connsiteY95" fmla="*/ 451485 h 497205"/>
                  <a:gd name="connsiteX96" fmla="*/ 381622 w 1036941"/>
                  <a:gd name="connsiteY96" fmla="*/ 457200 h 497205"/>
                  <a:gd name="connsiteX97" fmla="*/ 393052 w 1036941"/>
                  <a:gd name="connsiteY97" fmla="*/ 463868 h 497205"/>
                  <a:gd name="connsiteX98" fmla="*/ 398767 w 1036941"/>
                  <a:gd name="connsiteY98" fmla="*/ 472440 h 497205"/>
                  <a:gd name="connsiteX99" fmla="*/ 406387 w 1036941"/>
                  <a:gd name="connsiteY99" fmla="*/ 478155 h 497205"/>
                  <a:gd name="connsiteX100" fmla="*/ 416865 w 1036941"/>
                  <a:gd name="connsiteY100" fmla="*/ 483870 h 497205"/>
                  <a:gd name="connsiteX101" fmla="*/ 420675 w 1036941"/>
                  <a:gd name="connsiteY101" fmla="*/ 485775 h 497205"/>
                  <a:gd name="connsiteX102" fmla="*/ 434010 w 1036941"/>
                  <a:gd name="connsiteY102" fmla="*/ 491490 h 497205"/>
                  <a:gd name="connsiteX103" fmla="*/ 442582 w 1036941"/>
                  <a:gd name="connsiteY103" fmla="*/ 494348 h 497205"/>
                  <a:gd name="connsiteX104" fmla="*/ 448297 w 1036941"/>
                  <a:gd name="connsiteY104" fmla="*/ 496253 h 497205"/>
                  <a:gd name="connsiteX105" fmla="*/ 465442 w 1036941"/>
                  <a:gd name="connsiteY105" fmla="*/ 497205 h 497205"/>
                  <a:gd name="connsiteX106" fmla="*/ 481635 w 1036941"/>
                  <a:gd name="connsiteY106" fmla="*/ 493395 h 497205"/>
                  <a:gd name="connsiteX107" fmla="*/ 489255 w 1036941"/>
                  <a:gd name="connsiteY107" fmla="*/ 492443 h 497205"/>
                  <a:gd name="connsiteX108" fmla="*/ 496875 w 1036941"/>
                  <a:gd name="connsiteY108" fmla="*/ 492443 h 497205"/>
                  <a:gd name="connsiteX109" fmla="*/ 507352 w 1036941"/>
                  <a:gd name="connsiteY109" fmla="*/ 483870 h 497205"/>
                  <a:gd name="connsiteX110" fmla="*/ 512115 w 1036941"/>
                  <a:gd name="connsiteY110" fmla="*/ 474345 h 497205"/>
                  <a:gd name="connsiteX111" fmla="*/ 514020 w 1036941"/>
                  <a:gd name="connsiteY111" fmla="*/ 465773 h 497205"/>
                  <a:gd name="connsiteX112" fmla="*/ 518782 w 1036941"/>
                  <a:gd name="connsiteY112" fmla="*/ 460058 h 497205"/>
                  <a:gd name="connsiteX113" fmla="*/ 522592 w 1036941"/>
                  <a:gd name="connsiteY113" fmla="*/ 451485 h 497205"/>
                  <a:gd name="connsiteX114" fmla="*/ 531165 w 1036941"/>
                  <a:gd name="connsiteY114" fmla="*/ 444818 h 497205"/>
                  <a:gd name="connsiteX115" fmla="*/ 534975 w 1036941"/>
                  <a:gd name="connsiteY115" fmla="*/ 438150 h 497205"/>
                  <a:gd name="connsiteX116" fmla="*/ 540690 w 1036941"/>
                  <a:gd name="connsiteY116" fmla="*/ 430530 h 497205"/>
                  <a:gd name="connsiteX117" fmla="*/ 545452 w 1036941"/>
                  <a:gd name="connsiteY117" fmla="*/ 425768 h 497205"/>
                  <a:gd name="connsiteX118" fmla="*/ 551167 w 1036941"/>
                  <a:gd name="connsiteY118" fmla="*/ 420053 h 497205"/>
                  <a:gd name="connsiteX119" fmla="*/ 554977 w 1036941"/>
                  <a:gd name="connsiteY119" fmla="*/ 412433 h 497205"/>
                  <a:gd name="connsiteX120" fmla="*/ 557835 w 1036941"/>
                  <a:gd name="connsiteY120" fmla="*/ 408623 h 497205"/>
                  <a:gd name="connsiteX121" fmla="*/ 569265 w 1036941"/>
                  <a:gd name="connsiteY121" fmla="*/ 403860 h 497205"/>
                  <a:gd name="connsiteX122" fmla="*/ 583552 w 1036941"/>
                  <a:gd name="connsiteY122" fmla="*/ 401003 h 497205"/>
                  <a:gd name="connsiteX123" fmla="*/ 593077 w 1036941"/>
                  <a:gd name="connsiteY123" fmla="*/ 398145 h 497205"/>
                  <a:gd name="connsiteX124" fmla="*/ 603555 w 1036941"/>
                  <a:gd name="connsiteY124" fmla="*/ 398145 h 497205"/>
                  <a:gd name="connsiteX125" fmla="*/ 618795 w 1036941"/>
                  <a:gd name="connsiteY125" fmla="*/ 397193 h 497205"/>
                  <a:gd name="connsiteX126" fmla="*/ 624510 w 1036941"/>
                  <a:gd name="connsiteY126" fmla="*/ 397193 h 497205"/>
                  <a:gd name="connsiteX127" fmla="*/ 644512 w 1036941"/>
                  <a:gd name="connsiteY127" fmla="*/ 394335 h 497205"/>
                  <a:gd name="connsiteX128" fmla="*/ 653085 w 1036941"/>
                  <a:gd name="connsiteY128" fmla="*/ 391478 h 497205"/>
                  <a:gd name="connsiteX129" fmla="*/ 657847 w 1036941"/>
                  <a:gd name="connsiteY129" fmla="*/ 387668 h 497205"/>
                  <a:gd name="connsiteX130" fmla="*/ 663562 w 1036941"/>
                  <a:gd name="connsiteY130" fmla="*/ 382905 h 497205"/>
                  <a:gd name="connsiteX131" fmla="*/ 669277 w 1036941"/>
                  <a:gd name="connsiteY131" fmla="*/ 376238 h 497205"/>
                  <a:gd name="connsiteX132" fmla="*/ 673087 w 1036941"/>
                  <a:gd name="connsiteY132" fmla="*/ 372428 h 497205"/>
                  <a:gd name="connsiteX133" fmla="*/ 677850 w 1036941"/>
                  <a:gd name="connsiteY133" fmla="*/ 367665 h 497205"/>
                  <a:gd name="connsiteX134" fmla="*/ 683565 w 1036941"/>
                  <a:gd name="connsiteY134" fmla="*/ 362903 h 497205"/>
                  <a:gd name="connsiteX135" fmla="*/ 695947 w 1036941"/>
                  <a:gd name="connsiteY135" fmla="*/ 360998 h 497205"/>
                  <a:gd name="connsiteX136" fmla="*/ 702615 w 1036941"/>
                  <a:gd name="connsiteY136" fmla="*/ 360045 h 497205"/>
                  <a:gd name="connsiteX137" fmla="*/ 706425 w 1036941"/>
                  <a:gd name="connsiteY137" fmla="*/ 360045 h 497205"/>
                  <a:gd name="connsiteX138" fmla="*/ 714045 w 1036941"/>
                  <a:gd name="connsiteY138" fmla="*/ 360045 h 497205"/>
                  <a:gd name="connsiteX139" fmla="*/ 725475 w 1036941"/>
                  <a:gd name="connsiteY139" fmla="*/ 360045 h 497205"/>
                  <a:gd name="connsiteX140" fmla="*/ 739762 w 1036941"/>
                  <a:gd name="connsiteY140" fmla="*/ 356235 h 497205"/>
                  <a:gd name="connsiteX141" fmla="*/ 751192 w 1036941"/>
                  <a:gd name="connsiteY141" fmla="*/ 350520 h 497205"/>
                  <a:gd name="connsiteX142" fmla="*/ 760717 w 1036941"/>
                  <a:gd name="connsiteY142" fmla="*/ 348615 h 497205"/>
                  <a:gd name="connsiteX143" fmla="*/ 771195 w 1036941"/>
                  <a:gd name="connsiteY143" fmla="*/ 348615 h 497205"/>
                  <a:gd name="connsiteX144" fmla="*/ 779767 w 1036941"/>
                  <a:gd name="connsiteY144" fmla="*/ 348615 h 497205"/>
                  <a:gd name="connsiteX145" fmla="*/ 793102 w 1036941"/>
                  <a:gd name="connsiteY145" fmla="*/ 346710 h 497205"/>
                  <a:gd name="connsiteX146" fmla="*/ 813105 w 1036941"/>
                  <a:gd name="connsiteY146" fmla="*/ 345758 h 497205"/>
                  <a:gd name="connsiteX147" fmla="*/ 820725 w 1036941"/>
                  <a:gd name="connsiteY147" fmla="*/ 345758 h 497205"/>
                  <a:gd name="connsiteX148" fmla="*/ 829297 w 1036941"/>
                  <a:gd name="connsiteY148" fmla="*/ 345758 h 497205"/>
                  <a:gd name="connsiteX149" fmla="*/ 844537 w 1036941"/>
                  <a:gd name="connsiteY149" fmla="*/ 340995 h 497205"/>
                  <a:gd name="connsiteX150" fmla="*/ 846442 w 1036941"/>
                  <a:gd name="connsiteY150" fmla="*/ 335280 h 497205"/>
                  <a:gd name="connsiteX151" fmla="*/ 847395 w 1036941"/>
                  <a:gd name="connsiteY151" fmla="*/ 329565 h 497205"/>
                  <a:gd name="connsiteX152" fmla="*/ 847395 w 1036941"/>
                  <a:gd name="connsiteY152" fmla="*/ 327660 h 497205"/>
                  <a:gd name="connsiteX153" fmla="*/ 833107 w 1036941"/>
                  <a:gd name="connsiteY153" fmla="*/ 324803 h 497205"/>
                  <a:gd name="connsiteX154" fmla="*/ 817867 w 1036941"/>
                  <a:gd name="connsiteY154" fmla="*/ 322898 h 497205"/>
                  <a:gd name="connsiteX155" fmla="*/ 810247 w 1036941"/>
                  <a:gd name="connsiteY155" fmla="*/ 320993 h 497205"/>
                  <a:gd name="connsiteX156" fmla="*/ 806437 w 1036941"/>
                  <a:gd name="connsiteY156" fmla="*/ 316230 h 497205"/>
                  <a:gd name="connsiteX157" fmla="*/ 806437 w 1036941"/>
                  <a:gd name="connsiteY157" fmla="*/ 312420 h 497205"/>
                  <a:gd name="connsiteX158" fmla="*/ 816914 w 1036941"/>
                  <a:gd name="connsiteY158" fmla="*/ 312420 h 497205"/>
                  <a:gd name="connsiteX159" fmla="*/ 835964 w 1036941"/>
                  <a:gd name="connsiteY159" fmla="*/ 316230 h 497205"/>
                  <a:gd name="connsiteX160" fmla="*/ 853110 w 1036941"/>
                  <a:gd name="connsiteY160" fmla="*/ 318135 h 497205"/>
                  <a:gd name="connsiteX161" fmla="*/ 865492 w 1036941"/>
                  <a:gd name="connsiteY161" fmla="*/ 318135 h 497205"/>
                  <a:gd name="connsiteX162" fmla="*/ 870255 w 1036941"/>
                  <a:gd name="connsiteY162" fmla="*/ 317183 h 497205"/>
                  <a:gd name="connsiteX163" fmla="*/ 881685 w 1036941"/>
                  <a:gd name="connsiteY163" fmla="*/ 317183 h 497205"/>
                  <a:gd name="connsiteX164" fmla="*/ 886447 w 1036941"/>
                  <a:gd name="connsiteY164" fmla="*/ 316230 h 497205"/>
                  <a:gd name="connsiteX165" fmla="*/ 893114 w 1036941"/>
                  <a:gd name="connsiteY165" fmla="*/ 311468 h 497205"/>
                  <a:gd name="connsiteX166" fmla="*/ 894067 w 1036941"/>
                  <a:gd name="connsiteY166" fmla="*/ 305753 h 497205"/>
                  <a:gd name="connsiteX167" fmla="*/ 890257 w 1036941"/>
                  <a:gd name="connsiteY167" fmla="*/ 302895 h 497205"/>
                  <a:gd name="connsiteX168" fmla="*/ 880732 w 1036941"/>
                  <a:gd name="connsiteY168" fmla="*/ 303848 h 497205"/>
                  <a:gd name="connsiteX169" fmla="*/ 875970 w 1036941"/>
                  <a:gd name="connsiteY169" fmla="*/ 301943 h 497205"/>
                  <a:gd name="connsiteX170" fmla="*/ 873112 w 1036941"/>
                  <a:gd name="connsiteY170" fmla="*/ 294323 h 497205"/>
                  <a:gd name="connsiteX171" fmla="*/ 868350 w 1036941"/>
                  <a:gd name="connsiteY171" fmla="*/ 290513 h 497205"/>
                  <a:gd name="connsiteX172" fmla="*/ 859777 w 1036941"/>
                  <a:gd name="connsiteY172" fmla="*/ 286703 h 497205"/>
                  <a:gd name="connsiteX173" fmla="*/ 859777 w 1036941"/>
                  <a:gd name="connsiteY173" fmla="*/ 281940 h 497205"/>
                  <a:gd name="connsiteX174" fmla="*/ 859777 w 1036941"/>
                  <a:gd name="connsiteY174" fmla="*/ 274320 h 497205"/>
                  <a:gd name="connsiteX175" fmla="*/ 860730 w 1036941"/>
                  <a:gd name="connsiteY175" fmla="*/ 264795 h 497205"/>
                  <a:gd name="connsiteX176" fmla="*/ 863587 w 1036941"/>
                  <a:gd name="connsiteY176" fmla="*/ 254318 h 497205"/>
                  <a:gd name="connsiteX177" fmla="*/ 866445 w 1036941"/>
                  <a:gd name="connsiteY177" fmla="*/ 250508 h 497205"/>
                  <a:gd name="connsiteX178" fmla="*/ 872160 w 1036941"/>
                  <a:gd name="connsiteY178" fmla="*/ 247650 h 497205"/>
                  <a:gd name="connsiteX179" fmla="*/ 880732 w 1036941"/>
                  <a:gd name="connsiteY179" fmla="*/ 241935 h 497205"/>
                  <a:gd name="connsiteX180" fmla="*/ 884542 w 1036941"/>
                  <a:gd name="connsiteY180" fmla="*/ 240983 h 497205"/>
                  <a:gd name="connsiteX181" fmla="*/ 891210 w 1036941"/>
                  <a:gd name="connsiteY181" fmla="*/ 240030 h 497205"/>
                  <a:gd name="connsiteX182" fmla="*/ 901687 w 1036941"/>
                  <a:gd name="connsiteY182" fmla="*/ 237173 h 497205"/>
                  <a:gd name="connsiteX183" fmla="*/ 915975 w 1036941"/>
                  <a:gd name="connsiteY183" fmla="*/ 231458 h 497205"/>
                  <a:gd name="connsiteX184" fmla="*/ 916927 w 1036941"/>
                  <a:gd name="connsiteY184" fmla="*/ 227648 h 497205"/>
                  <a:gd name="connsiteX185" fmla="*/ 917880 w 1036941"/>
                  <a:gd name="connsiteY185" fmla="*/ 220028 h 497205"/>
                  <a:gd name="connsiteX186" fmla="*/ 919785 w 1036941"/>
                  <a:gd name="connsiteY186" fmla="*/ 211455 h 497205"/>
                  <a:gd name="connsiteX187" fmla="*/ 924547 w 1036941"/>
                  <a:gd name="connsiteY187" fmla="*/ 209550 h 497205"/>
                  <a:gd name="connsiteX188" fmla="*/ 927405 w 1036941"/>
                  <a:gd name="connsiteY188" fmla="*/ 200978 h 497205"/>
                  <a:gd name="connsiteX189" fmla="*/ 924547 w 1036941"/>
                  <a:gd name="connsiteY189" fmla="*/ 198120 h 497205"/>
                  <a:gd name="connsiteX190" fmla="*/ 913117 w 1036941"/>
                  <a:gd name="connsiteY190" fmla="*/ 198120 h 497205"/>
                  <a:gd name="connsiteX191" fmla="*/ 905497 w 1036941"/>
                  <a:gd name="connsiteY191" fmla="*/ 198120 h 497205"/>
                  <a:gd name="connsiteX192" fmla="*/ 898830 w 1036941"/>
                  <a:gd name="connsiteY192" fmla="*/ 196215 h 497205"/>
                  <a:gd name="connsiteX193" fmla="*/ 896925 w 1036941"/>
                  <a:gd name="connsiteY193" fmla="*/ 194310 h 497205"/>
                  <a:gd name="connsiteX194" fmla="*/ 894067 w 1036941"/>
                  <a:gd name="connsiteY194" fmla="*/ 191453 h 497205"/>
                  <a:gd name="connsiteX195" fmla="*/ 893114 w 1036941"/>
                  <a:gd name="connsiteY195" fmla="*/ 188595 h 497205"/>
                  <a:gd name="connsiteX196" fmla="*/ 893114 w 1036941"/>
                  <a:gd name="connsiteY196" fmla="*/ 185738 h 497205"/>
                  <a:gd name="connsiteX197" fmla="*/ 900735 w 1036941"/>
                  <a:gd name="connsiteY197" fmla="*/ 184785 h 497205"/>
                  <a:gd name="connsiteX198" fmla="*/ 915022 w 1036941"/>
                  <a:gd name="connsiteY198" fmla="*/ 183833 h 497205"/>
                  <a:gd name="connsiteX199" fmla="*/ 919785 w 1036941"/>
                  <a:gd name="connsiteY199" fmla="*/ 181928 h 497205"/>
                  <a:gd name="connsiteX200" fmla="*/ 922642 w 1036941"/>
                  <a:gd name="connsiteY200" fmla="*/ 176213 h 497205"/>
                  <a:gd name="connsiteX201" fmla="*/ 921689 w 1036941"/>
                  <a:gd name="connsiteY201" fmla="*/ 169545 h 497205"/>
                  <a:gd name="connsiteX202" fmla="*/ 915022 w 1036941"/>
                  <a:gd name="connsiteY202" fmla="*/ 168593 h 497205"/>
                  <a:gd name="connsiteX203" fmla="*/ 909307 w 1036941"/>
                  <a:gd name="connsiteY203" fmla="*/ 166688 h 497205"/>
                  <a:gd name="connsiteX204" fmla="*/ 904545 w 1036941"/>
                  <a:gd name="connsiteY204" fmla="*/ 165735 h 497205"/>
                  <a:gd name="connsiteX205" fmla="*/ 899782 w 1036941"/>
                  <a:gd name="connsiteY205" fmla="*/ 164783 h 497205"/>
                  <a:gd name="connsiteX206" fmla="*/ 893114 w 1036941"/>
                  <a:gd name="connsiteY206" fmla="*/ 160973 h 497205"/>
                  <a:gd name="connsiteX207" fmla="*/ 889305 w 1036941"/>
                  <a:gd name="connsiteY207" fmla="*/ 153353 h 497205"/>
                  <a:gd name="connsiteX208" fmla="*/ 888352 w 1036941"/>
                  <a:gd name="connsiteY208" fmla="*/ 146685 h 497205"/>
                  <a:gd name="connsiteX209" fmla="*/ 903592 w 1036941"/>
                  <a:gd name="connsiteY209" fmla="*/ 137160 h 497205"/>
                  <a:gd name="connsiteX210" fmla="*/ 905497 w 1036941"/>
                  <a:gd name="connsiteY210" fmla="*/ 135255 h 497205"/>
                  <a:gd name="connsiteX211" fmla="*/ 917880 w 1036941"/>
                  <a:gd name="connsiteY211" fmla="*/ 123825 h 497205"/>
                  <a:gd name="connsiteX212" fmla="*/ 925500 w 1036941"/>
                  <a:gd name="connsiteY212" fmla="*/ 120015 h 497205"/>
                  <a:gd name="connsiteX213" fmla="*/ 931214 w 1036941"/>
                  <a:gd name="connsiteY213" fmla="*/ 116205 h 497205"/>
                  <a:gd name="connsiteX214" fmla="*/ 935977 w 1036941"/>
                  <a:gd name="connsiteY214" fmla="*/ 113348 h 497205"/>
                  <a:gd name="connsiteX215" fmla="*/ 939787 w 1036941"/>
                  <a:gd name="connsiteY215" fmla="*/ 112395 h 497205"/>
                  <a:gd name="connsiteX216" fmla="*/ 950264 w 1036941"/>
                  <a:gd name="connsiteY216" fmla="*/ 110490 h 497205"/>
                  <a:gd name="connsiteX217" fmla="*/ 956932 w 1036941"/>
                  <a:gd name="connsiteY217" fmla="*/ 103823 h 497205"/>
                  <a:gd name="connsiteX218" fmla="*/ 962647 w 1036941"/>
                  <a:gd name="connsiteY218" fmla="*/ 99060 h 497205"/>
                  <a:gd name="connsiteX219" fmla="*/ 968362 w 1036941"/>
                  <a:gd name="connsiteY219" fmla="*/ 98108 h 497205"/>
                  <a:gd name="connsiteX220" fmla="*/ 975982 w 1036941"/>
                  <a:gd name="connsiteY220" fmla="*/ 95250 h 497205"/>
                  <a:gd name="connsiteX221" fmla="*/ 983602 w 1036941"/>
                  <a:gd name="connsiteY221" fmla="*/ 90488 h 497205"/>
                  <a:gd name="connsiteX222" fmla="*/ 991222 w 1036941"/>
                  <a:gd name="connsiteY222" fmla="*/ 89535 h 497205"/>
                  <a:gd name="connsiteX223" fmla="*/ 1006462 w 1036941"/>
                  <a:gd name="connsiteY223" fmla="*/ 87630 h 497205"/>
                  <a:gd name="connsiteX224" fmla="*/ 1013130 w 1036941"/>
                  <a:gd name="connsiteY224" fmla="*/ 81915 h 497205"/>
                  <a:gd name="connsiteX225" fmla="*/ 1019797 w 1036941"/>
                  <a:gd name="connsiteY225" fmla="*/ 81915 h 497205"/>
                  <a:gd name="connsiteX226" fmla="*/ 1027417 w 1036941"/>
                  <a:gd name="connsiteY226" fmla="*/ 80010 h 497205"/>
                  <a:gd name="connsiteX227" fmla="*/ 1034085 w 1036941"/>
                  <a:gd name="connsiteY227" fmla="*/ 76200 h 497205"/>
                  <a:gd name="connsiteX228" fmla="*/ 1035989 w 1036941"/>
                  <a:gd name="connsiteY228" fmla="*/ 71438 h 497205"/>
                  <a:gd name="connsiteX229" fmla="*/ 1036942 w 1036941"/>
                  <a:gd name="connsiteY229" fmla="*/ 67628 h 497205"/>
                  <a:gd name="connsiteX230" fmla="*/ 1035989 w 1036941"/>
                  <a:gd name="connsiteY230" fmla="*/ 63818 h 497205"/>
                  <a:gd name="connsiteX231" fmla="*/ 1028370 w 1036941"/>
                  <a:gd name="connsiteY231" fmla="*/ 61913 h 497205"/>
                  <a:gd name="connsiteX232" fmla="*/ 1018845 w 1036941"/>
                  <a:gd name="connsiteY232" fmla="*/ 61913 h 497205"/>
                  <a:gd name="connsiteX233" fmla="*/ 1011225 w 1036941"/>
                  <a:gd name="connsiteY233" fmla="*/ 60960 h 497205"/>
                  <a:gd name="connsiteX234" fmla="*/ 984555 w 1036941"/>
                  <a:gd name="connsiteY234" fmla="*/ 58103 h 497205"/>
                  <a:gd name="connsiteX235" fmla="*/ 975030 w 1036941"/>
                  <a:gd name="connsiteY235" fmla="*/ 58103 h 497205"/>
                  <a:gd name="connsiteX236" fmla="*/ 963600 w 1036941"/>
                  <a:gd name="connsiteY236" fmla="*/ 58103 h 497205"/>
                  <a:gd name="connsiteX237" fmla="*/ 957885 w 1036941"/>
                  <a:gd name="connsiteY237" fmla="*/ 58103 h 497205"/>
                  <a:gd name="connsiteX238" fmla="*/ 950264 w 1036941"/>
                  <a:gd name="connsiteY238" fmla="*/ 60008 h 497205"/>
                  <a:gd name="connsiteX239" fmla="*/ 945502 w 1036941"/>
                  <a:gd name="connsiteY239" fmla="*/ 62865 h 497205"/>
                  <a:gd name="connsiteX240" fmla="*/ 935025 w 1036941"/>
                  <a:gd name="connsiteY240" fmla="*/ 65723 h 497205"/>
                  <a:gd name="connsiteX241" fmla="*/ 930262 w 1036941"/>
                  <a:gd name="connsiteY241" fmla="*/ 68580 h 497205"/>
                  <a:gd name="connsiteX242" fmla="*/ 918832 w 1036941"/>
                  <a:gd name="connsiteY242" fmla="*/ 71438 h 497205"/>
                  <a:gd name="connsiteX243" fmla="*/ 895020 w 1036941"/>
                  <a:gd name="connsiteY243" fmla="*/ 59055 h 497205"/>
                  <a:gd name="connsiteX244" fmla="*/ 890257 w 1036941"/>
                  <a:gd name="connsiteY244" fmla="*/ 59055 h 497205"/>
                  <a:gd name="connsiteX245" fmla="*/ 882637 w 1036941"/>
                  <a:gd name="connsiteY245" fmla="*/ 57150 h 497205"/>
                  <a:gd name="connsiteX246" fmla="*/ 877875 w 1036941"/>
                  <a:gd name="connsiteY246" fmla="*/ 54293 h 497205"/>
                  <a:gd name="connsiteX247" fmla="*/ 874064 w 1036941"/>
                  <a:gd name="connsiteY247" fmla="*/ 52388 h 497205"/>
                  <a:gd name="connsiteX248" fmla="*/ 869302 w 1036941"/>
                  <a:gd name="connsiteY248" fmla="*/ 47625 h 497205"/>
                  <a:gd name="connsiteX249" fmla="*/ 867397 w 1036941"/>
                  <a:gd name="connsiteY249" fmla="*/ 42863 h 497205"/>
                  <a:gd name="connsiteX250" fmla="*/ 861682 w 1036941"/>
                  <a:gd name="connsiteY250" fmla="*/ 35243 h 497205"/>
                  <a:gd name="connsiteX251" fmla="*/ 860730 w 1036941"/>
                  <a:gd name="connsiteY251" fmla="*/ 31433 h 497205"/>
                  <a:gd name="connsiteX252" fmla="*/ 856920 w 1036941"/>
                  <a:gd name="connsiteY252" fmla="*/ 25718 h 497205"/>
                  <a:gd name="connsiteX253" fmla="*/ 855014 w 1036941"/>
                  <a:gd name="connsiteY253" fmla="*/ 22860 h 497205"/>
                  <a:gd name="connsiteX254" fmla="*/ 849300 w 1036941"/>
                  <a:gd name="connsiteY254" fmla="*/ 20955 h 497205"/>
                  <a:gd name="connsiteX255" fmla="*/ 844537 w 1036941"/>
                  <a:gd name="connsiteY255" fmla="*/ 20003 h 497205"/>
                  <a:gd name="connsiteX256" fmla="*/ 839775 w 1036941"/>
                  <a:gd name="connsiteY256" fmla="*/ 20003 h 497205"/>
                  <a:gd name="connsiteX257" fmla="*/ 829297 w 1036941"/>
                  <a:gd name="connsiteY257" fmla="*/ 19050 h 497205"/>
                  <a:gd name="connsiteX258" fmla="*/ 822630 w 1036941"/>
                  <a:gd name="connsiteY258" fmla="*/ 18098 h 497205"/>
                  <a:gd name="connsiteX259" fmla="*/ 815010 w 1036941"/>
                  <a:gd name="connsiteY259" fmla="*/ 18098 h 497205"/>
                  <a:gd name="connsiteX260" fmla="*/ 807389 w 1036941"/>
                  <a:gd name="connsiteY260" fmla="*/ 16193 h 497205"/>
                  <a:gd name="connsiteX261" fmla="*/ 790245 w 1036941"/>
                  <a:gd name="connsiteY261" fmla="*/ 15240 h 497205"/>
                  <a:gd name="connsiteX262" fmla="*/ 787387 w 1036941"/>
                  <a:gd name="connsiteY262" fmla="*/ 13335 h 497205"/>
                  <a:gd name="connsiteX263" fmla="*/ 777862 w 1036941"/>
                  <a:gd name="connsiteY263" fmla="*/ 5715 h 497205"/>
                  <a:gd name="connsiteX264" fmla="*/ 759765 w 1036941"/>
                  <a:gd name="connsiteY264" fmla="*/ 3810 h 497205"/>
                  <a:gd name="connsiteX265" fmla="*/ 744525 w 1036941"/>
                  <a:gd name="connsiteY265" fmla="*/ 3810 h 497205"/>
                  <a:gd name="connsiteX266" fmla="*/ 717855 w 1036941"/>
                  <a:gd name="connsiteY266" fmla="*/ 1905 h 497205"/>
                  <a:gd name="connsiteX267" fmla="*/ 711187 w 1036941"/>
                  <a:gd name="connsiteY267" fmla="*/ 0 h 497205"/>
                  <a:gd name="connsiteX268" fmla="*/ 690232 w 1036941"/>
                  <a:gd name="connsiteY268" fmla="*/ 0 h 497205"/>
                  <a:gd name="connsiteX269" fmla="*/ 679755 w 1036941"/>
                  <a:gd name="connsiteY269" fmla="*/ 1905 h 497205"/>
                  <a:gd name="connsiteX270" fmla="*/ 671182 w 1036941"/>
                  <a:gd name="connsiteY270" fmla="*/ 2858 h 497205"/>
                  <a:gd name="connsiteX271" fmla="*/ 652132 w 1036941"/>
                  <a:gd name="connsiteY271" fmla="*/ 3810 h 497205"/>
                  <a:gd name="connsiteX272" fmla="*/ 641655 w 1036941"/>
                  <a:gd name="connsiteY272" fmla="*/ 3810 h 497205"/>
                  <a:gd name="connsiteX273" fmla="*/ 636892 w 1036941"/>
                  <a:gd name="connsiteY273" fmla="*/ 4763 h 497205"/>
                  <a:gd name="connsiteX274" fmla="*/ 617842 w 1036941"/>
                  <a:gd name="connsiteY274" fmla="*/ 5715 h 497205"/>
                  <a:gd name="connsiteX275" fmla="*/ 611175 w 1036941"/>
                  <a:gd name="connsiteY275" fmla="*/ 7620 h 497205"/>
                  <a:gd name="connsiteX276" fmla="*/ 597840 w 1036941"/>
                  <a:gd name="connsiteY276" fmla="*/ 9525 h 497205"/>
                  <a:gd name="connsiteX277" fmla="*/ 583552 w 1036941"/>
                  <a:gd name="connsiteY277" fmla="*/ 12383 h 497205"/>
                  <a:gd name="connsiteX278" fmla="*/ 575932 w 1036941"/>
                  <a:gd name="connsiteY278" fmla="*/ 12383 h 497205"/>
                  <a:gd name="connsiteX279" fmla="*/ 568312 w 1036941"/>
                  <a:gd name="connsiteY279" fmla="*/ 12383 h 497205"/>
                  <a:gd name="connsiteX280" fmla="*/ 553072 w 1036941"/>
                  <a:gd name="connsiteY280" fmla="*/ 12383 h 497205"/>
                  <a:gd name="connsiteX281" fmla="*/ 542595 w 1036941"/>
                  <a:gd name="connsiteY281" fmla="*/ 12383 h 497205"/>
                  <a:gd name="connsiteX282" fmla="*/ 523545 w 1036941"/>
                  <a:gd name="connsiteY282" fmla="*/ 12383 h 497205"/>
                  <a:gd name="connsiteX283" fmla="*/ 506400 w 1036941"/>
                  <a:gd name="connsiteY283" fmla="*/ 10478 h 497205"/>
                  <a:gd name="connsiteX284" fmla="*/ 489255 w 1036941"/>
                  <a:gd name="connsiteY284" fmla="*/ 8573 h 497205"/>
                  <a:gd name="connsiteX285" fmla="*/ 478777 w 1036941"/>
                  <a:gd name="connsiteY285" fmla="*/ 8573 h 497205"/>
                  <a:gd name="connsiteX286" fmla="*/ 471157 w 1036941"/>
                  <a:gd name="connsiteY286" fmla="*/ 9525 h 497205"/>
                  <a:gd name="connsiteX287" fmla="*/ 456870 w 1036941"/>
                  <a:gd name="connsiteY287" fmla="*/ 11430 h 497205"/>
                  <a:gd name="connsiteX288" fmla="*/ 452107 w 1036941"/>
                  <a:gd name="connsiteY288" fmla="*/ 12383 h 497205"/>
                  <a:gd name="connsiteX289" fmla="*/ 448297 w 1036941"/>
                  <a:gd name="connsiteY289" fmla="*/ 14288 h 497205"/>
                  <a:gd name="connsiteX290" fmla="*/ 447345 w 1036941"/>
                  <a:gd name="connsiteY290" fmla="*/ 18098 h 497205"/>
                  <a:gd name="connsiteX291" fmla="*/ 442582 w 1036941"/>
                  <a:gd name="connsiteY291" fmla="*/ 20955 h 497205"/>
                  <a:gd name="connsiteX292" fmla="*/ 434962 w 1036941"/>
                  <a:gd name="connsiteY292" fmla="*/ 21908 h 497205"/>
                  <a:gd name="connsiteX293" fmla="*/ 425437 w 1036941"/>
                  <a:gd name="connsiteY293" fmla="*/ 26670 h 497205"/>
                  <a:gd name="connsiteX294" fmla="*/ 416865 w 1036941"/>
                  <a:gd name="connsiteY294" fmla="*/ 28575 h 497205"/>
                  <a:gd name="connsiteX295" fmla="*/ 396862 w 1036941"/>
                  <a:gd name="connsiteY295" fmla="*/ 28575 h 497205"/>
                  <a:gd name="connsiteX296" fmla="*/ 392100 w 1036941"/>
                  <a:gd name="connsiteY296" fmla="*/ 27623 h 497205"/>
                  <a:gd name="connsiteX297" fmla="*/ 384480 w 1036941"/>
                  <a:gd name="connsiteY297" fmla="*/ 29528 h 497205"/>
                  <a:gd name="connsiteX298" fmla="*/ 374955 w 1036941"/>
                  <a:gd name="connsiteY298" fmla="*/ 32385 h 497205"/>
                  <a:gd name="connsiteX299" fmla="*/ 365430 w 1036941"/>
                  <a:gd name="connsiteY299" fmla="*/ 36195 h 497205"/>
                  <a:gd name="connsiteX300" fmla="*/ 360667 w 1036941"/>
                  <a:gd name="connsiteY300" fmla="*/ 38100 h 497205"/>
                  <a:gd name="connsiteX301" fmla="*/ 349237 w 1036941"/>
                  <a:gd name="connsiteY301" fmla="*/ 38100 h 497205"/>
                  <a:gd name="connsiteX302" fmla="*/ 338760 w 1036941"/>
                  <a:gd name="connsiteY302" fmla="*/ 36195 h 497205"/>
                  <a:gd name="connsiteX303" fmla="*/ 308280 w 1036941"/>
                  <a:gd name="connsiteY303" fmla="*/ 35243 h 497205"/>
                  <a:gd name="connsiteX304" fmla="*/ 299707 w 1036941"/>
                  <a:gd name="connsiteY304" fmla="*/ 35243 h 497205"/>
                  <a:gd name="connsiteX305" fmla="*/ 291135 w 1036941"/>
                  <a:gd name="connsiteY305" fmla="*/ 35243 h 497205"/>
                  <a:gd name="connsiteX306" fmla="*/ 286372 w 1036941"/>
                  <a:gd name="connsiteY306" fmla="*/ 35243 h 497205"/>
                  <a:gd name="connsiteX307" fmla="*/ 275895 w 1036941"/>
                  <a:gd name="connsiteY307" fmla="*/ 35243 h 497205"/>
                  <a:gd name="connsiteX308" fmla="*/ 263512 w 1036941"/>
                  <a:gd name="connsiteY308" fmla="*/ 35243 h 497205"/>
                  <a:gd name="connsiteX309" fmla="*/ 255892 w 1036941"/>
                  <a:gd name="connsiteY309" fmla="*/ 35243 h 497205"/>
                  <a:gd name="connsiteX310" fmla="*/ 250177 w 1036941"/>
                  <a:gd name="connsiteY310" fmla="*/ 36195 h 497205"/>
                  <a:gd name="connsiteX311" fmla="*/ 240652 w 1036941"/>
                  <a:gd name="connsiteY311" fmla="*/ 39053 h 497205"/>
                  <a:gd name="connsiteX312" fmla="*/ 235890 w 1036941"/>
                  <a:gd name="connsiteY312" fmla="*/ 41910 h 497205"/>
                  <a:gd name="connsiteX313" fmla="*/ 224460 w 1036941"/>
                  <a:gd name="connsiteY313" fmla="*/ 42863 h 497205"/>
                  <a:gd name="connsiteX314" fmla="*/ 219697 w 1036941"/>
                  <a:gd name="connsiteY314" fmla="*/ 42863 h 497205"/>
                  <a:gd name="connsiteX315" fmla="*/ 215887 w 1036941"/>
                  <a:gd name="connsiteY315" fmla="*/ 44768 h 497205"/>
                  <a:gd name="connsiteX316" fmla="*/ 210172 w 1036941"/>
                  <a:gd name="connsiteY316" fmla="*/ 47625 h 497205"/>
                  <a:gd name="connsiteX317" fmla="*/ 201600 w 1036941"/>
                  <a:gd name="connsiteY317" fmla="*/ 49530 h 497205"/>
                  <a:gd name="connsiteX318" fmla="*/ 191122 w 1036941"/>
                  <a:gd name="connsiteY318" fmla="*/ 51435 h 497205"/>
                  <a:gd name="connsiteX319" fmla="*/ 185407 w 1036941"/>
                  <a:gd name="connsiteY319" fmla="*/ 51435 h 497205"/>
                  <a:gd name="connsiteX320" fmla="*/ 182550 w 1036941"/>
                  <a:gd name="connsiteY320" fmla="*/ 51435 h 497205"/>
                  <a:gd name="connsiteX321" fmla="*/ 171120 w 1036941"/>
                  <a:gd name="connsiteY321" fmla="*/ 51435 h 497205"/>
                  <a:gd name="connsiteX322" fmla="*/ 163500 w 1036941"/>
                  <a:gd name="connsiteY322" fmla="*/ 53340 h 497205"/>
                  <a:gd name="connsiteX323" fmla="*/ 158737 w 1036941"/>
                  <a:gd name="connsiteY323" fmla="*/ 56198 h 497205"/>
                  <a:gd name="connsiteX324" fmla="*/ 150165 w 1036941"/>
                  <a:gd name="connsiteY324" fmla="*/ 61913 h 497205"/>
                  <a:gd name="connsiteX325" fmla="*/ 146354 w 1036941"/>
                  <a:gd name="connsiteY325" fmla="*/ 64770 h 497205"/>
                  <a:gd name="connsiteX326" fmla="*/ 134925 w 1036941"/>
                  <a:gd name="connsiteY326" fmla="*/ 67628 h 497205"/>
                  <a:gd name="connsiteX327" fmla="*/ 113970 w 1036941"/>
                  <a:gd name="connsiteY327" fmla="*/ 69533 h 497205"/>
                  <a:gd name="connsiteX328" fmla="*/ 100635 w 1036941"/>
                  <a:gd name="connsiteY328" fmla="*/ 70485 h 497205"/>
                  <a:gd name="connsiteX329" fmla="*/ 92062 w 1036941"/>
                  <a:gd name="connsiteY329" fmla="*/ 71438 h 497205"/>
                  <a:gd name="connsiteX330" fmla="*/ 88252 w 1036941"/>
                  <a:gd name="connsiteY330" fmla="*/ 75248 h 497205"/>
                  <a:gd name="connsiteX331" fmla="*/ 87300 w 1036941"/>
                  <a:gd name="connsiteY331" fmla="*/ 79058 h 497205"/>
                  <a:gd name="connsiteX332" fmla="*/ 92062 w 1036941"/>
                  <a:gd name="connsiteY332" fmla="*/ 80963 h 497205"/>
                  <a:gd name="connsiteX333" fmla="*/ 104445 w 1036941"/>
                  <a:gd name="connsiteY333" fmla="*/ 81915 h 497205"/>
                  <a:gd name="connsiteX334" fmla="*/ 108254 w 1036941"/>
                  <a:gd name="connsiteY334" fmla="*/ 82868 h 497205"/>
                  <a:gd name="connsiteX335" fmla="*/ 113017 w 1036941"/>
                  <a:gd name="connsiteY335" fmla="*/ 85725 h 497205"/>
                  <a:gd name="connsiteX336" fmla="*/ 113970 w 1036941"/>
                  <a:gd name="connsiteY336" fmla="*/ 89535 h 497205"/>
                  <a:gd name="connsiteX337" fmla="*/ 111112 w 1036941"/>
                  <a:gd name="connsiteY337" fmla="*/ 98108 h 497205"/>
                  <a:gd name="connsiteX338" fmla="*/ 102540 w 1036941"/>
                  <a:gd name="connsiteY338" fmla="*/ 100013 h 497205"/>
                  <a:gd name="connsiteX339" fmla="*/ 95872 w 1036941"/>
                  <a:gd name="connsiteY339" fmla="*/ 102870 h 497205"/>
                  <a:gd name="connsiteX340" fmla="*/ 94920 w 1036941"/>
                  <a:gd name="connsiteY340" fmla="*/ 106680 h 497205"/>
                  <a:gd name="connsiteX341" fmla="*/ 89204 w 1036941"/>
                  <a:gd name="connsiteY341" fmla="*/ 110490 h 497205"/>
                  <a:gd name="connsiteX342" fmla="*/ 83490 w 1036941"/>
                  <a:gd name="connsiteY342" fmla="*/ 112395 h 497205"/>
                  <a:gd name="connsiteX343" fmla="*/ 81585 w 1036941"/>
                  <a:gd name="connsiteY343" fmla="*/ 114300 h 497205"/>
                  <a:gd name="connsiteX344" fmla="*/ 75870 w 1036941"/>
                  <a:gd name="connsiteY344" fmla="*/ 120968 h 4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Lst>
                <a:rect l="l" t="t" r="r" b="b"/>
                <a:pathLst>
                  <a:path w="1036941" h="497205">
                    <a:moveTo>
                      <a:pt x="75870" y="120968"/>
                    </a:moveTo>
                    <a:lnTo>
                      <a:pt x="59677" y="120968"/>
                    </a:lnTo>
                    <a:cubicBezTo>
                      <a:pt x="59677" y="120968"/>
                      <a:pt x="53962" y="120968"/>
                      <a:pt x="50152" y="121920"/>
                    </a:cubicBezTo>
                    <a:cubicBezTo>
                      <a:pt x="46342" y="121920"/>
                      <a:pt x="34912" y="121920"/>
                      <a:pt x="33007" y="121920"/>
                    </a:cubicBezTo>
                    <a:cubicBezTo>
                      <a:pt x="31102" y="121920"/>
                      <a:pt x="21577" y="121920"/>
                      <a:pt x="21577" y="121920"/>
                    </a:cubicBezTo>
                    <a:lnTo>
                      <a:pt x="13004" y="121920"/>
                    </a:lnTo>
                    <a:lnTo>
                      <a:pt x="9195" y="121920"/>
                    </a:lnTo>
                    <a:lnTo>
                      <a:pt x="3479" y="121920"/>
                    </a:lnTo>
                    <a:cubicBezTo>
                      <a:pt x="1575" y="124778"/>
                      <a:pt x="622" y="128588"/>
                      <a:pt x="622" y="128588"/>
                    </a:cubicBezTo>
                    <a:cubicBezTo>
                      <a:pt x="622" y="128588"/>
                      <a:pt x="-1283" y="129540"/>
                      <a:pt x="1575" y="131445"/>
                    </a:cubicBezTo>
                    <a:cubicBezTo>
                      <a:pt x="3479" y="132398"/>
                      <a:pt x="-1283" y="128588"/>
                      <a:pt x="3479" y="132398"/>
                    </a:cubicBezTo>
                    <a:cubicBezTo>
                      <a:pt x="8242" y="136208"/>
                      <a:pt x="5385" y="135255"/>
                      <a:pt x="8242" y="136208"/>
                    </a:cubicBezTo>
                    <a:cubicBezTo>
                      <a:pt x="11100" y="137160"/>
                      <a:pt x="11100" y="137160"/>
                      <a:pt x="11100" y="137160"/>
                    </a:cubicBezTo>
                    <a:cubicBezTo>
                      <a:pt x="11100" y="137160"/>
                      <a:pt x="13004" y="138113"/>
                      <a:pt x="17767" y="139065"/>
                    </a:cubicBezTo>
                    <a:cubicBezTo>
                      <a:pt x="22529" y="140018"/>
                      <a:pt x="28245" y="140018"/>
                      <a:pt x="29197" y="141923"/>
                    </a:cubicBezTo>
                    <a:cubicBezTo>
                      <a:pt x="31102" y="142875"/>
                      <a:pt x="25387" y="138113"/>
                      <a:pt x="31102" y="142875"/>
                    </a:cubicBezTo>
                    <a:cubicBezTo>
                      <a:pt x="35865" y="147638"/>
                      <a:pt x="37770" y="146685"/>
                      <a:pt x="41579" y="148590"/>
                    </a:cubicBezTo>
                    <a:cubicBezTo>
                      <a:pt x="45390" y="150495"/>
                      <a:pt x="45390" y="150495"/>
                      <a:pt x="45390" y="150495"/>
                    </a:cubicBezTo>
                    <a:cubicBezTo>
                      <a:pt x="45390" y="150495"/>
                      <a:pt x="50152" y="150495"/>
                      <a:pt x="54915" y="152400"/>
                    </a:cubicBezTo>
                    <a:cubicBezTo>
                      <a:pt x="59677" y="154305"/>
                      <a:pt x="55867" y="151448"/>
                      <a:pt x="59677" y="154305"/>
                    </a:cubicBezTo>
                    <a:cubicBezTo>
                      <a:pt x="63487" y="157163"/>
                      <a:pt x="61582" y="154305"/>
                      <a:pt x="63487" y="157163"/>
                    </a:cubicBezTo>
                    <a:cubicBezTo>
                      <a:pt x="65392" y="160020"/>
                      <a:pt x="68250" y="158115"/>
                      <a:pt x="62535" y="163830"/>
                    </a:cubicBezTo>
                    <a:cubicBezTo>
                      <a:pt x="56820" y="169545"/>
                      <a:pt x="56820" y="169545"/>
                      <a:pt x="56820" y="169545"/>
                    </a:cubicBezTo>
                    <a:cubicBezTo>
                      <a:pt x="56820" y="169545"/>
                      <a:pt x="51104" y="173355"/>
                      <a:pt x="52057" y="176213"/>
                    </a:cubicBezTo>
                    <a:cubicBezTo>
                      <a:pt x="53010" y="179070"/>
                      <a:pt x="51104" y="175260"/>
                      <a:pt x="53010" y="179070"/>
                    </a:cubicBezTo>
                    <a:cubicBezTo>
                      <a:pt x="53962" y="182880"/>
                      <a:pt x="53962" y="182880"/>
                      <a:pt x="55867" y="185738"/>
                    </a:cubicBezTo>
                    <a:cubicBezTo>
                      <a:pt x="56820" y="187643"/>
                      <a:pt x="58725" y="187643"/>
                      <a:pt x="60629" y="188595"/>
                    </a:cubicBezTo>
                    <a:cubicBezTo>
                      <a:pt x="62535" y="190500"/>
                      <a:pt x="60629" y="188595"/>
                      <a:pt x="66345" y="189548"/>
                    </a:cubicBezTo>
                    <a:cubicBezTo>
                      <a:pt x="72060" y="191453"/>
                      <a:pt x="79679" y="190500"/>
                      <a:pt x="82537" y="191453"/>
                    </a:cubicBezTo>
                    <a:cubicBezTo>
                      <a:pt x="85395" y="192405"/>
                      <a:pt x="84442" y="192405"/>
                      <a:pt x="88252" y="192405"/>
                    </a:cubicBezTo>
                    <a:cubicBezTo>
                      <a:pt x="92062" y="192405"/>
                      <a:pt x="93015" y="192405"/>
                      <a:pt x="95872" y="191453"/>
                    </a:cubicBezTo>
                    <a:cubicBezTo>
                      <a:pt x="98729" y="191453"/>
                      <a:pt x="105397" y="184785"/>
                      <a:pt x="105397" y="184785"/>
                    </a:cubicBezTo>
                    <a:cubicBezTo>
                      <a:pt x="105397" y="184785"/>
                      <a:pt x="106350" y="182880"/>
                      <a:pt x="110160" y="182880"/>
                    </a:cubicBezTo>
                    <a:cubicBezTo>
                      <a:pt x="113970" y="182880"/>
                      <a:pt x="123495" y="182880"/>
                      <a:pt x="123495" y="182880"/>
                    </a:cubicBezTo>
                    <a:cubicBezTo>
                      <a:pt x="123495" y="182880"/>
                      <a:pt x="125400" y="182880"/>
                      <a:pt x="129210" y="183833"/>
                    </a:cubicBezTo>
                    <a:cubicBezTo>
                      <a:pt x="133020" y="184785"/>
                      <a:pt x="125400" y="183833"/>
                      <a:pt x="146354" y="184785"/>
                    </a:cubicBezTo>
                    <a:cubicBezTo>
                      <a:pt x="167310" y="185738"/>
                      <a:pt x="167310" y="185738"/>
                      <a:pt x="167310" y="185738"/>
                    </a:cubicBezTo>
                    <a:cubicBezTo>
                      <a:pt x="167310" y="185738"/>
                      <a:pt x="176835" y="181928"/>
                      <a:pt x="180645" y="183833"/>
                    </a:cubicBezTo>
                    <a:cubicBezTo>
                      <a:pt x="184454" y="185738"/>
                      <a:pt x="177787" y="181928"/>
                      <a:pt x="184454" y="185738"/>
                    </a:cubicBezTo>
                    <a:cubicBezTo>
                      <a:pt x="191122" y="189548"/>
                      <a:pt x="197790" y="193358"/>
                      <a:pt x="199695" y="194310"/>
                    </a:cubicBezTo>
                    <a:cubicBezTo>
                      <a:pt x="201600" y="195263"/>
                      <a:pt x="207315" y="196215"/>
                      <a:pt x="211125" y="198120"/>
                    </a:cubicBezTo>
                    <a:cubicBezTo>
                      <a:pt x="214935" y="200025"/>
                      <a:pt x="210172" y="197168"/>
                      <a:pt x="224460" y="201930"/>
                    </a:cubicBezTo>
                    <a:cubicBezTo>
                      <a:pt x="238747" y="206693"/>
                      <a:pt x="244462" y="207645"/>
                      <a:pt x="246367" y="209550"/>
                    </a:cubicBezTo>
                    <a:cubicBezTo>
                      <a:pt x="247320" y="210503"/>
                      <a:pt x="250177" y="212408"/>
                      <a:pt x="252082" y="216218"/>
                    </a:cubicBezTo>
                    <a:cubicBezTo>
                      <a:pt x="253987" y="219075"/>
                      <a:pt x="251129" y="215265"/>
                      <a:pt x="253987" y="219075"/>
                    </a:cubicBezTo>
                    <a:cubicBezTo>
                      <a:pt x="257797" y="223838"/>
                      <a:pt x="264465" y="230505"/>
                      <a:pt x="266370" y="231458"/>
                    </a:cubicBezTo>
                    <a:cubicBezTo>
                      <a:pt x="268275" y="233363"/>
                      <a:pt x="271132" y="233363"/>
                      <a:pt x="272085" y="235268"/>
                    </a:cubicBezTo>
                    <a:cubicBezTo>
                      <a:pt x="273990" y="237173"/>
                      <a:pt x="276847" y="237173"/>
                      <a:pt x="277800" y="239078"/>
                    </a:cubicBezTo>
                    <a:cubicBezTo>
                      <a:pt x="278752" y="240030"/>
                      <a:pt x="281610" y="239078"/>
                      <a:pt x="282562" y="242888"/>
                    </a:cubicBezTo>
                    <a:cubicBezTo>
                      <a:pt x="283515" y="246698"/>
                      <a:pt x="284467" y="252413"/>
                      <a:pt x="286372" y="253365"/>
                    </a:cubicBezTo>
                    <a:cubicBezTo>
                      <a:pt x="287325" y="255270"/>
                      <a:pt x="286372" y="255270"/>
                      <a:pt x="287325" y="258128"/>
                    </a:cubicBezTo>
                    <a:cubicBezTo>
                      <a:pt x="288277" y="261938"/>
                      <a:pt x="287325" y="268605"/>
                      <a:pt x="287325" y="268605"/>
                    </a:cubicBezTo>
                    <a:cubicBezTo>
                      <a:pt x="287325" y="268605"/>
                      <a:pt x="287325" y="269558"/>
                      <a:pt x="287325" y="271463"/>
                    </a:cubicBezTo>
                    <a:cubicBezTo>
                      <a:pt x="287325" y="273368"/>
                      <a:pt x="287325" y="272415"/>
                      <a:pt x="287325" y="276225"/>
                    </a:cubicBezTo>
                    <a:cubicBezTo>
                      <a:pt x="287325" y="279083"/>
                      <a:pt x="284467" y="279083"/>
                      <a:pt x="288277" y="283845"/>
                    </a:cubicBezTo>
                    <a:cubicBezTo>
                      <a:pt x="292087" y="288608"/>
                      <a:pt x="289230" y="285750"/>
                      <a:pt x="292087" y="288608"/>
                    </a:cubicBezTo>
                    <a:cubicBezTo>
                      <a:pt x="293992" y="290513"/>
                      <a:pt x="297802" y="292418"/>
                      <a:pt x="297802" y="292418"/>
                    </a:cubicBezTo>
                    <a:lnTo>
                      <a:pt x="307327" y="293370"/>
                    </a:lnTo>
                    <a:lnTo>
                      <a:pt x="310185" y="292418"/>
                    </a:lnTo>
                    <a:lnTo>
                      <a:pt x="312090" y="290513"/>
                    </a:lnTo>
                    <a:lnTo>
                      <a:pt x="311137" y="285750"/>
                    </a:lnTo>
                    <a:lnTo>
                      <a:pt x="310185" y="283845"/>
                    </a:lnTo>
                    <a:lnTo>
                      <a:pt x="311137" y="280035"/>
                    </a:lnTo>
                    <a:cubicBezTo>
                      <a:pt x="315900" y="280035"/>
                      <a:pt x="319710" y="280035"/>
                      <a:pt x="322567" y="280035"/>
                    </a:cubicBezTo>
                    <a:cubicBezTo>
                      <a:pt x="324472" y="280035"/>
                      <a:pt x="332092" y="279083"/>
                      <a:pt x="332092" y="279083"/>
                    </a:cubicBezTo>
                    <a:lnTo>
                      <a:pt x="336855" y="279083"/>
                    </a:lnTo>
                    <a:cubicBezTo>
                      <a:pt x="337807" y="283845"/>
                      <a:pt x="337807" y="280988"/>
                      <a:pt x="337807" y="283845"/>
                    </a:cubicBezTo>
                    <a:cubicBezTo>
                      <a:pt x="337807" y="286703"/>
                      <a:pt x="338760" y="287655"/>
                      <a:pt x="340665" y="289560"/>
                    </a:cubicBezTo>
                    <a:cubicBezTo>
                      <a:pt x="342570" y="290513"/>
                      <a:pt x="350190" y="292418"/>
                      <a:pt x="350190" y="292418"/>
                    </a:cubicBezTo>
                    <a:lnTo>
                      <a:pt x="356857" y="294323"/>
                    </a:lnTo>
                    <a:lnTo>
                      <a:pt x="360667" y="296228"/>
                    </a:lnTo>
                    <a:lnTo>
                      <a:pt x="361620" y="298133"/>
                    </a:lnTo>
                    <a:lnTo>
                      <a:pt x="359715" y="302895"/>
                    </a:lnTo>
                    <a:lnTo>
                      <a:pt x="360667" y="312420"/>
                    </a:lnTo>
                    <a:cubicBezTo>
                      <a:pt x="360667" y="312420"/>
                      <a:pt x="361620" y="315278"/>
                      <a:pt x="361620" y="317183"/>
                    </a:cubicBezTo>
                    <a:cubicBezTo>
                      <a:pt x="361620" y="319088"/>
                      <a:pt x="361620" y="322898"/>
                      <a:pt x="361620" y="323850"/>
                    </a:cubicBezTo>
                    <a:cubicBezTo>
                      <a:pt x="361620" y="324803"/>
                      <a:pt x="361620" y="324803"/>
                      <a:pt x="360667" y="327660"/>
                    </a:cubicBezTo>
                    <a:cubicBezTo>
                      <a:pt x="359715" y="330518"/>
                      <a:pt x="359715" y="331470"/>
                      <a:pt x="358762" y="334328"/>
                    </a:cubicBezTo>
                    <a:cubicBezTo>
                      <a:pt x="356857" y="337185"/>
                      <a:pt x="356857" y="340995"/>
                      <a:pt x="354952" y="342900"/>
                    </a:cubicBezTo>
                    <a:cubicBezTo>
                      <a:pt x="353047" y="344805"/>
                      <a:pt x="353047" y="344805"/>
                      <a:pt x="351142" y="347663"/>
                    </a:cubicBezTo>
                    <a:cubicBezTo>
                      <a:pt x="349237" y="349568"/>
                      <a:pt x="342570" y="351473"/>
                      <a:pt x="339712" y="354330"/>
                    </a:cubicBezTo>
                    <a:cubicBezTo>
                      <a:pt x="337807" y="356235"/>
                      <a:pt x="333045" y="358140"/>
                      <a:pt x="333045" y="358140"/>
                    </a:cubicBezTo>
                    <a:lnTo>
                      <a:pt x="326377" y="360998"/>
                    </a:lnTo>
                    <a:lnTo>
                      <a:pt x="321615" y="363855"/>
                    </a:lnTo>
                    <a:lnTo>
                      <a:pt x="320662" y="373380"/>
                    </a:lnTo>
                    <a:lnTo>
                      <a:pt x="318757" y="375285"/>
                    </a:lnTo>
                    <a:cubicBezTo>
                      <a:pt x="318757" y="375285"/>
                      <a:pt x="315900" y="378143"/>
                      <a:pt x="316852" y="381000"/>
                    </a:cubicBezTo>
                    <a:cubicBezTo>
                      <a:pt x="317805" y="383858"/>
                      <a:pt x="312090" y="387668"/>
                      <a:pt x="316852" y="392430"/>
                    </a:cubicBezTo>
                    <a:cubicBezTo>
                      <a:pt x="320662" y="397193"/>
                      <a:pt x="324472" y="401003"/>
                      <a:pt x="324472" y="401003"/>
                    </a:cubicBezTo>
                    <a:lnTo>
                      <a:pt x="325425" y="403860"/>
                    </a:lnTo>
                    <a:cubicBezTo>
                      <a:pt x="325425" y="403860"/>
                      <a:pt x="321615" y="401955"/>
                      <a:pt x="329235" y="407670"/>
                    </a:cubicBezTo>
                    <a:cubicBezTo>
                      <a:pt x="336855" y="413385"/>
                      <a:pt x="341617" y="418148"/>
                      <a:pt x="342570" y="420053"/>
                    </a:cubicBezTo>
                    <a:cubicBezTo>
                      <a:pt x="343522" y="421005"/>
                      <a:pt x="353047" y="425768"/>
                      <a:pt x="354000" y="427673"/>
                    </a:cubicBezTo>
                    <a:cubicBezTo>
                      <a:pt x="354952" y="429578"/>
                      <a:pt x="357810" y="434340"/>
                      <a:pt x="358762" y="437198"/>
                    </a:cubicBezTo>
                    <a:cubicBezTo>
                      <a:pt x="359715" y="440055"/>
                      <a:pt x="356857" y="440055"/>
                      <a:pt x="364477" y="445770"/>
                    </a:cubicBezTo>
                    <a:cubicBezTo>
                      <a:pt x="372097" y="451485"/>
                      <a:pt x="368287" y="448628"/>
                      <a:pt x="372097" y="451485"/>
                    </a:cubicBezTo>
                    <a:cubicBezTo>
                      <a:pt x="375907" y="454343"/>
                      <a:pt x="375907" y="454343"/>
                      <a:pt x="381622" y="457200"/>
                    </a:cubicBezTo>
                    <a:cubicBezTo>
                      <a:pt x="387337" y="460058"/>
                      <a:pt x="389242" y="460058"/>
                      <a:pt x="393052" y="463868"/>
                    </a:cubicBezTo>
                    <a:cubicBezTo>
                      <a:pt x="396862" y="467678"/>
                      <a:pt x="394005" y="468630"/>
                      <a:pt x="398767" y="472440"/>
                    </a:cubicBezTo>
                    <a:cubicBezTo>
                      <a:pt x="403530" y="476250"/>
                      <a:pt x="402577" y="476250"/>
                      <a:pt x="406387" y="478155"/>
                    </a:cubicBezTo>
                    <a:cubicBezTo>
                      <a:pt x="409245" y="481013"/>
                      <a:pt x="415912" y="481965"/>
                      <a:pt x="416865" y="483870"/>
                    </a:cubicBezTo>
                    <a:cubicBezTo>
                      <a:pt x="417817" y="484823"/>
                      <a:pt x="420675" y="485775"/>
                      <a:pt x="420675" y="485775"/>
                    </a:cubicBezTo>
                    <a:lnTo>
                      <a:pt x="434010" y="491490"/>
                    </a:lnTo>
                    <a:lnTo>
                      <a:pt x="442582" y="494348"/>
                    </a:lnTo>
                    <a:lnTo>
                      <a:pt x="448297" y="496253"/>
                    </a:lnTo>
                    <a:cubicBezTo>
                      <a:pt x="448297" y="496253"/>
                      <a:pt x="462585" y="497205"/>
                      <a:pt x="465442" y="497205"/>
                    </a:cubicBezTo>
                    <a:cubicBezTo>
                      <a:pt x="469252" y="497205"/>
                      <a:pt x="481635" y="493395"/>
                      <a:pt x="481635" y="493395"/>
                    </a:cubicBezTo>
                    <a:cubicBezTo>
                      <a:pt x="481635" y="493395"/>
                      <a:pt x="485445" y="491490"/>
                      <a:pt x="489255" y="492443"/>
                    </a:cubicBezTo>
                    <a:cubicBezTo>
                      <a:pt x="493065" y="493395"/>
                      <a:pt x="494017" y="493395"/>
                      <a:pt x="496875" y="492443"/>
                    </a:cubicBezTo>
                    <a:cubicBezTo>
                      <a:pt x="499732" y="491490"/>
                      <a:pt x="503542" y="485775"/>
                      <a:pt x="507352" y="483870"/>
                    </a:cubicBezTo>
                    <a:cubicBezTo>
                      <a:pt x="511162" y="481965"/>
                      <a:pt x="510210" y="477203"/>
                      <a:pt x="512115" y="474345"/>
                    </a:cubicBezTo>
                    <a:cubicBezTo>
                      <a:pt x="514020" y="471488"/>
                      <a:pt x="511162" y="467678"/>
                      <a:pt x="514020" y="465773"/>
                    </a:cubicBezTo>
                    <a:cubicBezTo>
                      <a:pt x="515925" y="463868"/>
                      <a:pt x="516877" y="461963"/>
                      <a:pt x="518782" y="460058"/>
                    </a:cubicBezTo>
                    <a:cubicBezTo>
                      <a:pt x="520687" y="458153"/>
                      <a:pt x="518782" y="453390"/>
                      <a:pt x="522592" y="451485"/>
                    </a:cubicBezTo>
                    <a:cubicBezTo>
                      <a:pt x="526402" y="449580"/>
                      <a:pt x="531165" y="444818"/>
                      <a:pt x="531165" y="444818"/>
                    </a:cubicBezTo>
                    <a:cubicBezTo>
                      <a:pt x="531165" y="444818"/>
                      <a:pt x="533070" y="441008"/>
                      <a:pt x="534975" y="438150"/>
                    </a:cubicBezTo>
                    <a:cubicBezTo>
                      <a:pt x="536880" y="436245"/>
                      <a:pt x="538785" y="431483"/>
                      <a:pt x="540690" y="430530"/>
                    </a:cubicBezTo>
                    <a:cubicBezTo>
                      <a:pt x="542595" y="429578"/>
                      <a:pt x="545452" y="425768"/>
                      <a:pt x="545452" y="425768"/>
                    </a:cubicBezTo>
                    <a:cubicBezTo>
                      <a:pt x="545452" y="425768"/>
                      <a:pt x="551167" y="421005"/>
                      <a:pt x="551167" y="420053"/>
                    </a:cubicBezTo>
                    <a:cubicBezTo>
                      <a:pt x="552120" y="419100"/>
                      <a:pt x="554977" y="412433"/>
                      <a:pt x="554977" y="412433"/>
                    </a:cubicBezTo>
                    <a:cubicBezTo>
                      <a:pt x="554977" y="412433"/>
                      <a:pt x="555930" y="410528"/>
                      <a:pt x="557835" y="408623"/>
                    </a:cubicBezTo>
                    <a:cubicBezTo>
                      <a:pt x="559740" y="406718"/>
                      <a:pt x="569265" y="403860"/>
                      <a:pt x="569265" y="403860"/>
                    </a:cubicBezTo>
                    <a:cubicBezTo>
                      <a:pt x="580695" y="401955"/>
                      <a:pt x="578790" y="401955"/>
                      <a:pt x="583552" y="401003"/>
                    </a:cubicBezTo>
                    <a:cubicBezTo>
                      <a:pt x="588315" y="400050"/>
                      <a:pt x="593077" y="398145"/>
                      <a:pt x="593077" y="398145"/>
                    </a:cubicBezTo>
                    <a:lnTo>
                      <a:pt x="603555" y="398145"/>
                    </a:lnTo>
                    <a:cubicBezTo>
                      <a:pt x="603555" y="398145"/>
                      <a:pt x="616890" y="397193"/>
                      <a:pt x="618795" y="397193"/>
                    </a:cubicBezTo>
                    <a:cubicBezTo>
                      <a:pt x="620700" y="397193"/>
                      <a:pt x="620700" y="397193"/>
                      <a:pt x="624510" y="397193"/>
                    </a:cubicBezTo>
                    <a:cubicBezTo>
                      <a:pt x="629272" y="397193"/>
                      <a:pt x="640702" y="394335"/>
                      <a:pt x="644512" y="394335"/>
                    </a:cubicBezTo>
                    <a:cubicBezTo>
                      <a:pt x="648322" y="394335"/>
                      <a:pt x="653085" y="391478"/>
                      <a:pt x="653085" y="391478"/>
                    </a:cubicBezTo>
                    <a:cubicBezTo>
                      <a:pt x="653085" y="391478"/>
                      <a:pt x="654990" y="388620"/>
                      <a:pt x="657847" y="387668"/>
                    </a:cubicBezTo>
                    <a:cubicBezTo>
                      <a:pt x="659752" y="387668"/>
                      <a:pt x="660705" y="383858"/>
                      <a:pt x="663562" y="382905"/>
                    </a:cubicBezTo>
                    <a:cubicBezTo>
                      <a:pt x="665467" y="381953"/>
                      <a:pt x="666420" y="377190"/>
                      <a:pt x="669277" y="376238"/>
                    </a:cubicBezTo>
                    <a:cubicBezTo>
                      <a:pt x="671182" y="375285"/>
                      <a:pt x="671182" y="374333"/>
                      <a:pt x="673087" y="372428"/>
                    </a:cubicBezTo>
                    <a:cubicBezTo>
                      <a:pt x="674992" y="370523"/>
                      <a:pt x="677850" y="367665"/>
                      <a:pt x="677850" y="367665"/>
                    </a:cubicBezTo>
                    <a:cubicBezTo>
                      <a:pt x="677850" y="367665"/>
                      <a:pt x="679755" y="362903"/>
                      <a:pt x="683565" y="362903"/>
                    </a:cubicBezTo>
                    <a:cubicBezTo>
                      <a:pt x="686422" y="362903"/>
                      <a:pt x="695947" y="360998"/>
                      <a:pt x="695947" y="360998"/>
                    </a:cubicBezTo>
                    <a:lnTo>
                      <a:pt x="702615" y="360045"/>
                    </a:lnTo>
                    <a:cubicBezTo>
                      <a:pt x="702615" y="360045"/>
                      <a:pt x="704520" y="360045"/>
                      <a:pt x="706425" y="360045"/>
                    </a:cubicBezTo>
                    <a:cubicBezTo>
                      <a:pt x="708330" y="360045"/>
                      <a:pt x="714045" y="360045"/>
                      <a:pt x="714045" y="360045"/>
                    </a:cubicBezTo>
                    <a:cubicBezTo>
                      <a:pt x="714045" y="360045"/>
                      <a:pt x="718807" y="360998"/>
                      <a:pt x="725475" y="360045"/>
                    </a:cubicBezTo>
                    <a:cubicBezTo>
                      <a:pt x="732142" y="359093"/>
                      <a:pt x="731190" y="361950"/>
                      <a:pt x="739762" y="356235"/>
                    </a:cubicBezTo>
                    <a:cubicBezTo>
                      <a:pt x="748335" y="351473"/>
                      <a:pt x="748335" y="350520"/>
                      <a:pt x="751192" y="350520"/>
                    </a:cubicBezTo>
                    <a:cubicBezTo>
                      <a:pt x="754050" y="350520"/>
                      <a:pt x="760717" y="348615"/>
                      <a:pt x="760717" y="348615"/>
                    </a:cubicBezTo>
                    <a:lnTo>
                      <a:pt x="771195" y="348615"/>
                    </a:lnTo>
                    <a:cubicBezTo>
                      <a:pt x="771195" y="348615"/>
                      <a:pt x="776910" y="348615"/>
                      <a:pt x="779767" y="348615"/>
                    </a:cubicBezTo>
                    <a:cubicBezTo>
                      <a:pt x="782625" y="348615"/>
                      <a:pt x="786435" y="346710"/>
                      <a:pt x="793102" y="346710"/>
                    </a:cubicBezTo>
                    <a:cubicBezTo>
                      <a:pt x="799770" y="346710"/>
                      <a:pt x="809295" y="345758"/>
                      <a:pt x="813105" y="345758"/>
                    </a:cubicBezTo>
                    <a:cubicBezTo>
                      <a:pt x="816914" y="346710"/>
                      <a:pt x="818820" y="345758"/>
                      <a:pt x="820725" y="345758"/>
                    </a:cubicBezTo>
                    <a:cubicBezTo>
                      <a:pt x="822630" y="346710"/>
                      <a:pt x="826439" y="346710"/>
                      <a:pt x="829297" y="345758"/>
                    </a:cubicBezTo>
                    <a:cubicBezTo>
                      <a:pt x="832155" y="345758"/>
                      <a:pt x="844537" y="340995"/>
                      <a:pt x="844537" y="340995"/>
                    </a:cubicBezTo>
                    <a:cubicBezTo>
                      <a:pt x="844537" y="340995"/>
                      <a:pt x="846442" y="337185"/>
                      <a:pt x="846442" y="335280"/>
                    </a:cubicBezTo>
                    <a:cubicBezTo>
                      <a:pt x="847395" y="333375"/>
                      <a:pt x="847395" y="329565"/>
                      <a:pt x="847395" y="329565"/>
                    </a:cubicBezTo>
                    <a:lnTo>
                      <a:pt x="847395" y="327660"/>
                    </a:lnTo>
                    <a:cubicBezTo>
                      <a:pt x="847395" y="327660"/>
                      <a:pt x="837870" y="324803"/>
                      <a:pt x="833107" y="324803"/>
                    </a:cubicBezTo>
                    <a:cubicBezTo>
                      <a:pt x="828345" y="324803"/>
                      <a:pt x="820725" y="322898"/>
                      <a:pt x="817867" y="322898"/>
                    </a:cubicBezTo>
                    <a:cubicBezTo>
                      <a:pt x="815010" y="322898"/>
                      <a:pt x="810247" y="320993"/>
                      <a:pt x="810247" y="320993"/>
                    </a:cubicBezTo>
                    <a:lnTo>
                      <a:pt x="806437" y="316230"/>
                    </a:lnTo>
                    <a:lnTo>
                      <a:pt x="806437" y="312420"/>
                    </a:lnTo>
                    <a:cubicBezTo>
                      <a:pt x="812152" y="312420"/>
                      <a:pt x="814057" y="312420"/>
                      <a:pt x="816914" y="312420"/>
                    </a:cubicBezTo>
                    <a:cubicBezTo>
                      <a:pt x="818820" y="313373"/>
                      <a:pt x="835964" y="316230"/>
                      <a:pt x="835964" y="316230"/>
                    </a:cubicBezTo>
                    <a:cubicBezTo>
                      <a:pt x="835964" y="316230"/>
                      <a:pt x="850252" y="317183"/>
                      <a:pt x="853110" y="318135"/>
                    </a:cubicBezTo>
                    <a:cubicBezTo>
                      <a:pt x="855967" y="319088"/>
                      <a:pt x="865492" y="318135"/>
                      <a:pt x="865492" y="318135"/>
                    </a:cubicBezTo>
                    <a:lnTo>
                      <a:pt x="870255" y="317183"/>
                    </a:lnTo>
                    <a:lnTo>
                      <a:pt x="881685" y="317183"/>
                    </a:lnTo>
                    <a:cubicBezTo>
                      <a:pt x="881685" y="317183"/>
                      <a:pt x="884542" y="316230"/>
                      <a:pt x="886447" y="316230"/>
                    </a:cubicBezTo>
                    <a:cubicBezTo>
                      <a:pt x="888352" y="316230"/>
                      <a:pt x="891210" y="313373"/>
                      <a:pt x="893114" y="311468"/>
                    </a:cubicBezTo>
                    <a:cubicBezTo>
                      <a:pt x="895020" y="310515"/>
                      <a:pt x="894067" y="305753"/>
                      <a:pt x="894067" y="305753"/>
                    </a:cubicBezTo>
                    <a:lnTo>
                      <a:pt x="890257" y="302895"/>
                    </a:lnTo>
                    <a:lnTo>
                      <a:pt x="880732" y="303848"/>
                    </a:lnTo>
                    <a:lnTo>
                      <a:pt x="875970" y="301943"/>
                    </a:lnTo>
                    <a:lnTo>
                      <a:pt x="873112" y="294323"/>
                    </a:lnTo>
                    <a:lnTo>
                      <a:pt x="868350" y="290513"/>
                    </a:lnTo>
                    <a:lnTo>
                      <a:pt x="859777" y="286703"/>
                    </a:lnTo>
                    <a:cubicBezTo>
                      <a:pt x="859777" y="286703"/>
                      <a:pt x="858825" y="284798"/>
                      <a:pt x="859777" y="281940"/>
                    </a:cubicBezTo>
                    <a:cubicBezTo>
                      <a:pt x="860730" y="280035"/>
                      <a:pt x="858825" y="277178"/>
                      <a:pt x="859777" y="274320"/>
                    </a:cubicBezTo>
                    <a:cubicBezTo>
                      <a:pt x="861682" y="272415"/>
                      <a:pt x="857872" y="270510"/>
                      <a:pt x="860730" y="264795"/>
                    </a:cubicBezTo>
                    <a:cubicBezTo>
                      <a:pt x="863587" y="258128"/>
                      <a:pt x="863587" y="254318"/>
                      <a:pt x="863587" y="254318"/>
                    </a:cubicBezTo>
                    <a:cubicBezTo>
                      <a:pt x="863587" y="254318"/>
                      <a:pt x="864539" y="250508"/>
                      <a:pt x="866445" y="250508"/>
                    </a:cubicBezTo>
                    <a:cubicBezTo>
                      <a:pt x="868350" y="250508"/>
                      <a:pt x="872160" y="247650"/>
                      <a:pt x="872160" y="247650"/>
                    </a:cubicBezTo>
                    <a:lnTo>
                      <a:pt x="880732" y="241935"/>
                    </a:lnTo>
                    <a:cubicBezTo>
                      <a:pt x="880732" y="241935"/>
                      <a:pt x="882637" y="240983"/>
                      <a:pt x="884542" y="240983"/>
                    </a:cubicBezTo>
                    <a:cubicBezTo>
                      <a:pt x="886447" y="240983"/>
                      <a:pt x="889305" y="240983"/>
                      <a:pt x="891210" y="240030"/>
                    </a:cubicBezTo>
                    <a:cubicBezTo>
                      <a:pt x="893114" y="240030"/>
                      <a:pt x="895020" y="237173"/>
                      <a:pt x="901687" y="237173"/>
                    </a:cubicBezTo>
                    <a:cubicBezTo>
                      <a:pt x="908355" y="237173"/>
                      <a:pt x="915975" y="231458"/>
                      <a:pt x="915975" y="231458"/>
                    </a:cubicBezTo>
                    <a:lnTo>
                      <a:pt x="916927" y="227648"/>
                    </a:lnTo>
                    <a:lnTo>
                      <a:pt x="917880" y="220028"/>
                    </a:lnTo>
                    <a:cubicBezTo>
                      <a:pt x="917880" y="220028"/>
                      <a:pt x="916927" y="211455"/>
                      <a:pt x="919785" y="211455"/>
                    </a:cubicBezTo>
                    <a:cubicBezTo>
                      <a:pt x="921689" y="211455"/>
                      <a:pt x="922642" y="209550"/>
                      <a:pt x="924547" y="209550"/>
                    </a:cubicBezTo>
                    <a:cubicBezTo>
                      <a:pt x="926452" y="209550"/>
                      <a:pt x="927405" y="200978"/>
                      <a:pt x="927405" y="200978"/>
                    </a:cubicBezTo>
                    <a:lnTo>
                      <a:pt x="924547" y="198120"/>
                    </a:lnTo>
                    <a:lnTo>
                      <a:pt x="913117" y="198120"/>
                    </a:lnTo>
                    <a:lnTo>
                      <a:pt x="905497" y="198120"/>
                    </a:lnTo>
                    <a:lnTo>
                      <a:pt x="898830" y="196215"/>
                    </a:lnTo>
                    <a:lnTo>
                      <a:pt x="896925" y="194310"/>
                    </a:lnTo>
                    <a:lnTo>
                      <a:pt x="894067" y="191453"/>
                    </a:lnTo>
                    <a:lnTo>
                      <a:pt x="893114" y="188595"/>
                    </a:lnTo>
                    <a:lnTo>
                      <a:pt x="893114" y="185738"/>
                    </a:lnTo>
                    <a:cubicBezTo>
                      <a:pt x="893114" y="185738"/>
                      <a:pt x="898830" y="184785"/>
                      <a:pt x="900735" y="184785"/>
                    </a:cubicBezTo>
                    <a:cubicBezTo>
                      <a:pt x="902639" y="184785"/>
                      <a:pt x="915022" y="183833"/>
                      <a:pt x="915022" y="183833"/>
                    </a:cubicBezTo>
                    <a:cubicBezTo>
                      <a:pt x="915022" y="183833"/>
                      <a:pt x="918832" y="183833"/>
                      <a:pt x="919785" y="181928"/>
                    </a:cubicBezTo>
                    <a:cubicBezTo>
                      <a:pt x="921689" y="180975"/>
                      <a:pt x="922642" y="176213"/>
                      <a:pt x="922642" y="176213"/>
                    </a:cubicBezTo>
                    <a:lnTo>
                      <a:pt x="921689" y="169545"/>
                    </a:lnTo>
                    <a:lnTo>
                      <a:pt x="915022" y="168593"/>
                    </a:lnTo>
                    <a:lnTo>
                      <a:pt x="909307" y="166688"/>
                    </a:lnTo>
                    <a:lnTo>
                      <a:pt x="904545" y="165735"/>
                    </a:lnTo>
                    <a:lnTo>
                      <a:pt x="899782" y="164783"/>
                    </a:lnTo>
                    <a:lnTo>
                      <a:pt x="893114" y="160973"/>
                    </a:lnTo>
                    <a:lnTo>
                      <a:pt x="889305" y="153353"/>
                    </a:lnTo>
                    <a:cubicBezTo>
                      <a:pt x="889305" y="153353"/>
                      <a:pt x="888352" y="148590"/>
                      <a:pt x="888352" y="146685"/>
                    </a:cubicBezTo>
                    <a:cubicBezTo>
                      <a:pt x="889305" y="145733"/>
                      <a:pt x="903592" y="137160"/>
                      <a:pt x="903592" y="137160"/>
                    </a:cubicBezTo>
                    <a:lnTo>
                      <a:pt x="905497" y="135255"/>
                    </a:lnTo>
                    <a:cubicBezTo>
                      <a:pt x="905497" y="135255"/>
                      <a:pt x="915022" y="123825"/>
                      <a:pt x="917880" y="123825"/>
                    </a:cubicBezTo>
                    <a:cubicBezTo>
                      <a:pt x="920737" y="123825"/>
                      <a:pt x="922642" y="120015"/>
                      <a:pt x="925500" y="120015"/>
                    </a:cubicBezTo>
                    <a:cubicBezTo>
                      <a:pt x="927405" y="120015"/>
                      <a:pt x="931214" y="116205"/>
                      <a:pt x="931214" y="116205"/>
                    </a:cubicBezTo>
                    <a:lnTo>
                      <a:pt x="935977" y="113348"/>
                    </a:lnTo>
                    <a:cubicBezTo>
                      <a:pt x="935977" y="113348"/>
                      <a:pt x="936930" y="112395"/>
                      <a:pt x="939787" y="112395"/>
                    </a:cubicBezTo>
                    <a:cubicBezTo>
                      <a:pt x="942645" y="112395"/>
                      <a:pt x="950264" y="110490"/>
                      <a:pt x="950264" y="110490"/>
                    </a:cubicBezTo>
                    <a:lnTo>
                      <a:pt x="956932" y="103823"/>
                    </a:lnTo>
                    <a:lnTo>
                      <a:pt x="962647" y="99060"/>
                    </a:lnTo>
                    <a:lnTo>
                      <a:pt x="968362" y="98108"/>
                    </a:lnTo>
                    <a:cubicBezTo>
                      <a:pt x="968362" y="98108"/>
                      <a:pt x="973125" y="96203"/>
                      <a:pt x="975982" y="95250"/>
                    </a:cubicBezTo>
                    <a:cubicBezTo>
                      <a:pt x="977887" y="94298"/>
                      <a:pt x="983602" y="90488"/>
                      <a:pt x="983602" y="90488"/>
                    </a:cubicBezTo>
                    <a:lnTo>
                      <a:pt x="991222" y="89535"/>
                    </a:lnTo>
                    <a:lnTo>
                      <a:pt x="1006462" y="87630"/>
                    </a:lnTo>
                    <a:cubicBezTo>
                      <a:pt x="1006462" y="87630"/>
                      <a:pt x="1011225" y="81915"/>
                      <a:pt x="1013130" y="81915"/>
                    </a:cubicBezTo>
                    <a:cubicBezTo>
                      <a:pt x="1015035" y="81915"/>
                      <a:pt x="1019797" y="81915"/>
                      <a:pt x="1019797" y="81915"/>
                    </a:cubicBezTo>
                    <a:lnTo>
                      <a:pt x="1027417" y="80010"/>
                    </a:lnTo>
                    <a:cubicBezTo>
                      <a:pt x="1027417" y="80010"/>
                      <a:pt x="1033132" y="78105"/>
                      <a:pt x="1034085" y="76200"/>
                    </a:cubicBezTo>
                    <a:cubicBezTo>
                      <a:pt x="1035037" y="75248"/>
                      <a:pt x="1035989" y="71438"/>
                      <a:pt x="1035989" y="71438"/>
                    </a:cubicBezTo>
                    <a:lnTo>
                      <a:pt x="1036942" y="67628"/>
                    </a:lnTo>
                    <a:lnTo>
                      <a:pt x="1035989" y="63818"/>
                    </a:lnTo>
                    <a:lnTo>
                      <a:pt x="1028370" y="61913"/>
                    </a:lnTo>
                    <a:lnTo>
                      <a:pt x="1018845" y="61913"/>
                    </a:lnTo>
                    <a:lnTo>
                      <a:pt x="1011225" y="60960"/>
                    </a:lnTo>
                    <a:lnTo>
                      <a:pt x="984555" y="58103"/>
                    </a:lnTo>
                    <a:cubicBezTo>
                      <a:pt x="984555" y="58103"/>
                      <a:pt x="976935" y="57150"/>
                      <a:pt x="975030" y="58103"/>
                    </a:cubicBezTo>
                    <a:cubicBezTo>
                      <a:pt x="973125" y="58103"/>
                      <a:pt x="963600" y="58103"/>
                      <a:pt x="963600" y="58103"/>
                    </a:cubicBezTo>
                    <a:cubicBezTo>
                      <a:pt x="963600" y="58103"/>
                      <a:pt x="958837" y="57150"/>
                      <a:pt x="957885" y="58103"/>
                    </a:cubicBezTo>
                    <a:cubicBezTo>
                      <a:pt x="955980" y="59055"/>
                      <a:pt x="950264" y="58103"/>
                      <a:pt x="950264" y="60008"/>
                    </a:cubicBezTo>
                    <a:cubicBezTo>
                      <a:pt x="950264" y="61913"/>
                      <a:pt x="947407" y="60960"/>
                      <a:pt x="945502" y="62865"/>
                    </a:cubicBezTo>
                    <a:cubicBezTo>
                      <a:pt x="943597" y="64770"/>
                      <a:pt x="935977" y="63818"/>
                      <a:pt x="935025" y="65723"/>
                    </a:cubicBezTo>
                    <a:cubicBezTo>
                      <a:pt x="934072" y="67628"/>
                      <a:pt x="932167" y="66675"/>
                      <a:pt x="930262" y="68580"/>
                    </a:cubicBezTo>
                    <a:cubicBezTo>
                      <a:pt x="928357" y="70485"/>
                      <a:pt x="918832" y="71438"/>
                      <a:pt x="918832" y="71438"/>
                    </a:cubicBezTo>
                    <a:lnTo>
                      <a:pt x="895020" y="59055"/>
                    </a:lnTo>
                    <a:lnTo>
                      <a:pt x="890257" y="59055"/>
                    </a:lnTo>
                    <a:lnTo>
                      <a:pt x="882637" y="57150"/>
                    </a:lnTo>
                    <a:lnTo>
                      <a:pt x="877875" y="54293"/>
                    </a:lnTo>
                    <a:cubicBezTo>
                      <a:pt x="877875" y="54293"/>
                      <a:pt x="875970" y="53340"/>
                      <a:pt x="874064" y="52388"/>
                    </a:cubicBezTo>
                    <a:cubicBezTo>
                      <a:pt x="872160" y="51435"/>
                      <a:pt x="869302" y="47625"/>
                      <a:pt x="869302" y="47625"/>
                    </a:cubicBezTo>
                    <a:lnTo>
                      <a:pt x="867397" y="42863"/>
                    </a:lnTo>
                    <a:lnTo>
                      <a:pt x="861682" y="35243"/>
                    </a:lnTo>
                    <a:lnTo>
                      <a:pt x="860730" y="31433"/>
                    </a:lnTo>
                    <a:lnTo>
                      <a:pt x="856920" y="25718"/>
                    </a:lnTo>
                    <a:lnTo>
                      <a:pt x="855014" y="22860"/>
                    </a:lnTo>
                    <a:lnTo>
                      <a:pt x="849300" y="20955"/>
                    </a:lnTo>
                    <a:lnTo>
                      <a:pt x="844537" y="20003"/>
                    </a:lnTo>
                    <a:lnTo>
                      <a:pt x="839775" y="20003"/>
                    </a:lnTo>
                    <a:lnTo>
                      <a:pt x="829297" y="19050"/>
                    </a:lnTo>
                    <a:cubicBezTo>
                      <a:pt x="829297" y="19050"/>
                      <a:pt x="825487" y="18098"/>
                      <a:pt x="822630" y="18098"/>
                    </a:cubicBezTo>
                    <a:cubicBezTo>
                      <a:pt x="819772" y="18098"/>
                      <a:pt x="817867" y="18098"/>
                      <a:pt x="815010" y="18098"/>
                    </a:cubicBezTo>
                    <a:cubicBezTo>
                      <a:pt x="811200" y="18098"/>
                      <a:pt x="807389" y="16193"/>
                      <a:pt x="807389" y="16193"/>
                    </a:cubicBezTo>
                    <a:lnTo>
                      <a:pt x="790245" y="15240"/>
                    </a:lnTo>
                    <a:lnTo>
                      <a:pt x="787387" y="13335"/>
                    </a:lnTo>
                    <a:lnTo>
                      <a:pt x="777862" y="5715"/>
                    </a:lnTo>
                    <a:cubicBezTo>
                      <a:pt x="774052" y="3810"/>
                      <a:pt x="759765" y="3810"/>
                      <a:pt x="759765" y="3810"/>
                    </a:cubicBezTo>
                    <a:lnTo>
                      <a:pt x="744525" y="3810"/>
                    </a:lnTo>
                    <a:lnTo>
                      <a:pt x="717855" y="1905"/>
                    </a:lnTo>
                    <a:cubicBezTo>
                      <a:pt x="717855" y="1905"/>
                      <a:pt x="714045" y="953"/>
                      <a:pt x="711187" y="0"/>
                    </a:cubicBezTo>
                    <a:cubicBezTo>
                      <a:pt x="707377" y="0"/>
                      <a:pt x="690232" y="0"/>
                      <a:pt x="690232" y="0"/>
                    </a:cubicBezTo>
                    <a:lnTo>
                      <a:pt x="679755" y="1905"/>
                    </a:lnTo>
                    <a:lnTo>
                      <a:pt x="671182" y="2858"/>
                    </a:lnTo>
                    <a:lnTo>
                      <a:pt x="652132" y="3810"/>
                    </a:lnTo>
                    <a:lnTo>
                      <a:pt x="641655" y="3810"/>
                    </a:lnTo>
                    <a:lnTo>
                      <a:pt x="636892" y="4763"/>
                    </a:lnTo>
                    <a:cubicBezTo>
                      <a:pt x="636892" y="4763"/>
                      <a:pt x="619747" y="3810"/>
                      <a:pt x="617842" y="5715"/>
                    </a:cubicBezTo>
                    <a:cubicBezTo>
                      <a:pt x="615937" y="6668"/>
                      <a:pt x="613080" y="5715"/>
                      <a:pt x="611175" y="7620"/>
                    </a:cubicBezTo>
                    <a:cubicBezTo>
                      <a:pt x="609270" y="8573"/>
                      <a:pt x="597840" y="9525"/>
                      <a:pt x="597840" y="9525"/>
                    </a:cubicBezTo>
                    <a:lnTo>
                      <a:pt x="583552" y="12383"/>
                    </a:lnTo>
                    <a:lnTo>
                      <a:pt x="575932" y="12383"/>
                    </a:lnTo>
                    <a:lnTo>
                      <a:pt x="568312" y="12383"/>
                    </a:lnTo>
                    <a:lnTo>
                      <a:pt x="553072" y="12383"/>
                    </a:lnTo>
                    <a:lnTo>
                      <a:pt x="542595" y="12383"/>
                    </a:lnTo>
                    <a:lnTo>
                      <a:pt x="523545" y="12383"/>
                    </a:lnTo>
                    <a:lnTo>
                      <a:pt x="506400" y="10478"/>
                    </a:lnTo>
                    <a:lnTo>
                      <a:pt x="489255" y="8573"/>
                    </a:lnTo>
                    <a:lnTo>
                      <a:pt x="478777" y="8573"/>
                    </a:lnTo>
                    <a:lnTo>
                      <a:pt x="471157" y="9525"/>
                    </a:lnTo>
                    <a:lnTo>
                      <a:pt x="456870" y="11430"/>
                    </a:lnTo>
                    <a:lnTo>
                      <a:pt x="452107" y="12383"/>
                    </a:lnTo>
                    <a:lnTo>
                      <a:pt x="448297" y="14288"/>
                    </a:lnTo>
                    <a:lnTo>
                      <a:pt x="447345" y="18098"/>
                    </a:lnTo>
                    <a:lnTo>
                      <a:pt x="442582" y="20955"/>
                    </a:lnTo>
                    <a:lnTo>
                      <a:pt x="434962" y="21908"/>
                    </a:lnTo>
                    <a:lnTo>
                      <a:pt x="425437" y="26670"/>
                    </a:lnTo>
                    <a:lnTo>
                      <a:pt x="416865" y="28575"/>
                    </a:lnTo>
                    <a:lnTo>
                      <a:pt x="396862" y="28575"/>
                    </a:lnTo>
                    <a:lnTo>
                      <a:pt x="392100" y="27623"/>
                    </a:lnTo>
                    <a:lnTo>
                      <a:pt x="384480" y="29528"/>
                    </a:lnTo>
                    <a:lnTo>
                      <a:pt x="374955" y="32385"/>
                    </a:lnTo>
                    <a:lnTo>
                      <a:pt x="365430" y="36195"/>
                    </a:lnTo>
                    <a:lnTo>
                      <a:pt x="360667" y="38100"/>
                    </a:lnTo>
                    <a:lnTo>
                      <a:pt x="349237" y="38100"/>
                    </a:lnTo>
                    <a:lnTo>
                      <a:pt x="338760" y="36195"/>
                    </a:lnTo>
                    <a:cubicBezTo>
                      <a:pt x="334950" y="35243"/>
                      <a:pt x="308280" y="35243"/>
                      <a:pt x="308280" y="35243"/>
                    </a:cubicBezTo>
                    <a:lnTo>
                      <a:pt x="299707" y="35243"/>
                    </a:lnTo>
                    <a:lnTo>
                      <a:pt x="291135" y="35243"/>
                    </a:lnTo>
                    <a:lnTo>
                      <a:pt x="286372" y="35243"/>
                    </a:lnTo>
                    <a:lnTo>
                      <a:pt x="275895" y="35243"/>
                    </a:lnTo>
                    <a:lnTo>
                      <a:pt x="263512" y="35243"/>
                    </a:lnTo>
                    <a:lnTo>
                      <a:pt x="255892" y="35243"/>
                    </a:lnTo>
                    <a:lnTo>
                      <a:pt x="250177" y="36195"/>
                    </a:lnTo>
                    <a:cubicBezTo>
                      <a:pt x="250177" y="36195"/>
                      <a:pt x="242557" y="36195"/>
                      <a:pt x="240652" y="39053"/>
                    </a:cubicBezTo>
                    <a:cubicBezTo>
                      <a:pt x="238747" y="40958"/>
                      <a:pt x="237795" y="40958"/>
                      <a:pt x="235890" y="41910"/>
                    </a:cubicBezTo>
                    <a:cubicBezTo>
                      <a:pt x="233985" y="42863"/>
                      <a:pt x="224460" y="42863"/>
                      <a:pt x="224460" y="42863"/>
                    </a:cubicBezTo>
                    <a:lnTo>
                      <a:pt x="219697" y="42863"/>
                    </a:lnTo>
                    <a:lnTo>
                      <a:pt x="215887" y="44768"/>
                    </a:lnTo>
                    <a:lnTo>
                      <a:pt x="210172" y="47625"/>
                    </a:lnTo>
                    <a:cubicBezTo>
                      <a:pt x="210172" y="47625"/>
                      <a:pt x="205410" y="48578"/>
                      <a:pt x="201600" y="49530"/>
                    </a:cubicBezTo>
                    <a:cubicBezTo>
                      <a:pt x="198742" y="50483"/>
                      <a:pt x="191122" y="51435"/>
                      <a:pt x="191122" y="51435"/>
                    </a:cubicBezTo>
                    <a:lnTo>
                      <a:pt x="185407" y="51435"/>
                    </a:lnTo>
                    <a:lnTo>
                      <a:pt x="182550" y="51435"/>
                    </a:lnTo>
                    <a:lnTo>
                      <a:pt x="171120" y="51435"/>
                    </a:lnTo>
                    <a:lnTo>
                      <a:pt x="163500" y="53340"/>
                    </a:lnTo>
                    <a:cubicBezTo>
                      <a:pt x="163500" y="53340"/>
                      <a:pt x="160642" y="53340"/>
                      <a:pt x="158737" y="56198"/>
                    </a:cubicBezTo>
                    <a:cubicBezTo>
                      <a:pt x="156832" y="58103"/>
                      <a:pt x="151117" y="60960"/>
                      <a:pt x="150165" y="61913"/>
                    </a:cubicBezTo>
                    <a:cubicBezTo>
                      <a:pt x="149212" y="62865"/>
                      <a:pt x="146354" y="64770"/>
                      <a:pt x="146354" y="64770"/>
                    </a:cubicBezTo>
                    <a:lnTo>
                      <a:pt x="134925" y="67628"/>
                    </a:lnTo>
                    <a:lnTo>
                      <a:pt x="113970" y="69533"/>
                    </a:lnTo>
                    <a:lnTo>
                      <a:pt x="100635" y="70485"/>
                    </a:lnTo>
                    <a:lnTo>
                      <a:pt x="92062" y="71438"/>
                    </a:lnTo>
                    <a:cubicBezTo>
                      <a:pt x="92062" y="71438"/>
                      <a:pt x="88252" y="73343"/>
                      <a:pt x="88252" y="75248"/>
                    </a:cubicBezTo>
                    <a:cubicBezTo>
                      <a:pt x="88252" y="76200"/>
                      <a:pt x="87300" y="79058"/>
                      <a:pt x="87300" y="79058"/>
                    </a:cubicBezTo>
                    <a:cubicBezTo>
                      <a:pt x="87300" y="79058"/>
                      <a:pt x="90157" y="80963"/>
                      <a:pt x="92062" y="80963"/>
                    </a:cubicBezTo>
                    <a:cubicBezTo>
                      <a:pt x="93967" y="80963"/>
                      <a:pt x="104445" y="81915"/>
                      <a:pt x="104445" y="81915"/>
                    </a:cubicBezTo>
                    <a:cubicBezTo>
                      <a:pt x="104445" y="81915"/>
                      <a:pt x="106350" y="82868"/>
                      <a:pt x="108254" y="82868"/>
                    </a:cubicBezTo>
                    <a:cubicBezTo>
                      <a:pt x="110160" y="83820"/>
                      <a:pt x="113017" y="85725"/>
                      <a:pt x="113017" y="85725"/>
                    </a:cubicBezTo>
                    <a:cubicBezTo>
                      <a:pt x="113017" y="85725"/>
                      <a:pt x="113970" y="84773"/>
                      <a:pt x="113970" y="89535"/>
                    </a:cubicBezTo>
                    <a:cubicBezTo>
                      <a:pt x="113017" y="94298"/>
                      <a:pt x="111112" y="98108"/>
                      <a:pt x="111112" y="98108"/>
                    </a:cubicBezTo>
                    <a:lnTo>
                      <a:pt x="102540" y="100013"/>
                    </a:lnTo>
                    <a:cubicBezTo>
                      <a:pt x="102540" y="100013"/>
                      <a:pt x="95872" y="100965"/>
                      <a:pt x="95872" y="102870"/>
                    </a:cubicBezTo>
                    <a:cubicBezTo>
                      <a:pt x="95872" y="103823"/>
                      <a:pt x="94920" y="106680"/>
                      <a:pt x="94920" y="106680"/>
                    </a:cubicBezTo>
                    <a:lnTo>
                      <a:pt x="89204" y="110490"/>
                    </a:lnTo>
                    <a:lnTo>
                      <a:pt x="83490" y="112395"/>
                    </a:lnTo>
                    <a:lnTo>
                      <a:pt x="81585" y="114300"/>
                    </a:lnTo>
                    <a:lnTo>
                      <a:pt x="75870" y="120968"/>
                    </a:lnTo>
                    <a:close/>
                  </a:path>
                </a:pathLst>
              </a:custGeom>
              <a:grpFill/>
              <a:ln w="9525" cap="flat">
                <a:noFill/>
                <a:prstDash val="solid"/>
                <a:miter/>
              </a:ln>
            </p:spPr>
            <p:txBody>
              <a:bodyPr rtlCol="0" anchor="ctr"/>
              <a:lstStyle/>
              <a:p>
                <a:endParaRPr lang="en-US" sz="1765"/>
              </a:p>
            </p:txBody>
          </p:sp>
          <p:sp>
            <p:nvSpPr>
              <p:cNvPr id="38" name="Freeform: Shape 37">
                <a:extLst>
                  <a:ext uri="{FF2B5EF4-FFF2-40B4-BE49-F238E27FC236}">
                    <a16:creationId xmlns:a16="http://schemas.microsoft.com/office/drawing/2014/main" id="{57A5C612-EE94-49CC-B233-05C1F359D956}"/>
                  </a:ext>
                </a:extLst>
              </p:cNvPr>
              <p:cNvSpPr/>
              <p:nvPr/>
            </p:nvSpPr>
            <p:spPr>
              <a:xfrm>
                <a:off x="7292898" y="3092496"/>
                <a:ext cx="56620" cy="27622"/>
              </a:xfrm>
              <a:custGeom>
                <a:avLst/>
                <a:gdLst>
                  <a:gd name="connsiteX0" fmla="*/ 43286 w 56620"/>
                  <a:gd name="connsiteY0" fmla="*/ 24765 h 27622"/>
                  <a:gd name="connsiteX1" fmla="*/ 41381 w 56620"/>
                  <a:gd name="connsiteY1" fmla="*/ 26670 h 27622"/>
                  <a:gd name="connsiteX2" fmla="*/ 28046 w 56620"/>
                  <a:gd name="connsiteY2" fmla="*/ 27622 h 27622"/>
                  <a:gd name="connsiteX3" fmla="*/ 21378 w 56620"/>
                  <a:gd name="connsiteY3" fmla="*/ 27622 h 27622"/>
                  <a:gd name="connsiteX4" fmla="*/ 14711 w 56620"/>
                  <a:gd name="connsiteY4" fmla="*/ 27622 h 27622"/>
                  <a:gd name="connsiteX5" fmla="*/ 10901 w 56620"/>
                  <a:gd name="connsiteY5" fmla="*/ 26670 h 27622"/>
                  <a:gd name="connsiteX6" fmla="*/ 9948 w 56620"/>
                  <a:gd name="connsiteY6" fmla="*/ 23813 h 27622"/>
                  <a:gd name="connsiteX7" fmla="*/ 3281 w 56620"/>
                  <a:gd name="connsiteY7" fmla="*/ 21907 h 27622"/>
                  <a:gd name="connsiteX8" fmla="*/ 1376 w 56620"/>
                  <a:gd name="connsiteY8" fmla="*/ 21907 h 27622"/>
                  <a:gd name="connsiteX9" fmla="*/ 1376 w 56620"/>
                  <a:gd name="connsiteY9" fmla="*/ 19050 h 27622"/>
                  <a:gd name="connsiteX10" fmla="*/ 1376 w 56620"/>
                  <a:gd name="connsiteY10" fmla="*/ 16193 h 27622"/>
                  <a:gd name="connsiteX11" fmla="*/ 423 w 56620"/>
                  <a:gd name="connsiteY11" fmla="*/ 12382 h 27622"/>
                  <a:gd name="connsiteX12" fmla="*/ 423 w 56620"/>
                  <a:gd name="connsiteY12" fmla="*/ 10477 h 27622"/>
                  <a:gd name="connsiteX13" fmla="*/ 1376 w 56620"/>
                  <a:gd name="connsiteY13" fmla="*/ 10477 h 27622"/>
                  <a:gd name="connsiteX14" fmla="*/ 4233 w 56620"/>
                  <a:gd name="connsiteY14" fmla="*/ 10477 h 27622"/>
                  <a:gd name="connsiteX15" fmla="*/ 7091 w 56620"/>
                  <a:gd name="connsiteY15" fmla="*/ 8572 h 27622"/>
                  <a:gd name="connsiteX16" fmla="*/ 12806 w 56620"/>
                  <a:gd name="connsiteY16" fmla="*/ 8572 h 27622"/>
                  <a:gd name="connsiteX17" fmla="*/ 19473 w 56620"/>
                  <a:gd name="connsiteY17" fmla="*/ 7620 h 27622"/>
                  <a:gd name="connsiteX18" fmla="*/ 28046 w 56620"/>
                  <a:gd name="connsiteY18" fmla="*/ 4763 h 27622"/>
                  <a:gd name="connsiteX19" fmla="*/ 30903 w 56620"/>
                  <a:gd name="connsiteY19" fmla="*/ 4763 h 27622"/>
                  <a:gd name="connsiteX20" fmla="*/ 34713 w 56620"/>
                  <a:gd name="connsiteY20" fmla="*/ 3810 h 27622"/>
                  <a:gd name="connsiteX21" fmla="*/ 40428 w 56620"/>
                  <a:gd name="connsiteY21" fmla="*/ 5715 h 27622"/>
                  <a:gd name="connsiteX22" fmla="*/ 45191 w 56620"/>
                  <a:gd name="connsiteY22" fmla="*/ 3810 h 27622"/>
                  <a:gd name="connsiteX23" fmla="*/ 49001 w 56620"/>
                  <a:gd name="connsiteY23" fmla="*/ 0 h 27622"/>
                  <a:gd name="connsiteX24" fmla="*/ 51858 w 56620"/>
                  <a:gd name="connsiteY24" fmla="*/ 952 h 27622"/>
                  <a:gd name="connsiteX25" fmla="*/ 55668 w 56620"/>
                  <a:gd name="connsiteY25" fmla="*/ 2857 h 27622"/>
                  <a:gd name="connsiteX26" fmla="*/ 54716 w 56620"/>
                  <a:gd name="connsiteY26" fmla="*/ 7620 h 27622"/>
                  <a:gd name="connsiteX27" fmla="*/ 55668 w 56620"/>
                  <a:gd name="connsiteY27" fmla="*/ 10477 h 27622"/>
                  <a:gd name="connsiteX28" fmla="*/ 56621 w 56620"/>
                  <a:gd name="connsiteY28" fmla="*/ 12382 h 27622"/>
                  <a:gd name="connsiteX29" fmla="*/ 54716 w 56620"/>
                  <a:gd name="connsiteY29" fmla="*/ 15240 h 27622"/>
                  <a:gd name="connsiteX30" fmla="*/ 46143 w 56620"/>
                  <a:gd name="connsiteY30" fmla="*/ 17145 h 27622"/>
                  <a:gd name="connsiteX31" fmla="*/ 47096 w 56620"/>
                  <a:gd name="connsiteY31" fmla="*/ 20955 h 27622"/>
                  <a:gd name="connsiteX32" fmla="*/ 47096 w 56620"/>
                  <a:gd name="connsiteY32" fmla="*/ 21907 h 27622"/>
                  <a:gd name="connsiteX33" fmla="*/ 48048 w 56620"/>
                  <a:gd name="connsiteY33" fmla="*/ 23813 h 27622"/>
                  <a:gd name="connsiteX34" fmla="*/ 43286 w 56620"/>
                  <a:gd name="connsiteY34" fmla="*/ 24765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620" h="27622">
                    <a:moveTo>
                      <a:pt x="43286" y="24765"/>
                    </a:moveTo>
                    <a:cubicBezTo>
                      <a:pt x="43286" y="24765"/>
                      <a:pt x="43286" y="25718"/>
                      <a:pt x="41381" y="26670"/>
                    </a:cubicBezTo>
                    <a:cubicBezTo>
                      <a:pt x="39476" y="26670"/>
                      <a:pt x="28046" y="27622"/>
                      <a:pt x="28046" y="27622"/>
                    </a:cubicBezTo>
                    <a:lnTo>
                      <a:pt x="21378" y="27622"/>
                    </a:lnTo>
                    <a:lnTo>
                      <a:pt x="14711" y="27622"/>
                    </a:lnTo>
                    <a:lnTo>
                      <a:pt x="10901" y="26670"/>
                    </a:lnTo>
                    <a:cubicBezTo>
                      <a:pt x="10901" y="26670"/>
                      <a:pt x="10901" y="24765"/>
                      <a:pt x="9948" y="23813"/>
                    </a:cubicBezTo>
                    <a:cubicBezTo>
                      <a:pt x="8043" y="22860"/>
                      <a:pt x="3281" y="21907"/>
                      <a:pt x="3281" y="21907"/>
                    </a:cubicBezTo>
                    <a:lnTo>
                      <a:pt x="1376" y="21907"/>
                    </a:lnTo>
                    <a:lnTo>
                      <a:pt x="1376" y="19050"/>
                    </a:lnTo>
                    <a:lnTo>
                      <a:pt x="1376" y="16193"/>
                    </a:lnTo>
                    <a:lnTo>
                      <a:pt x="423" y="12382"/>
                    </a:lnTo>
                    <a:cubicBezTo>
                      <a:pt x="423" y="12382"/>
                      <a:pt x="-529" y="10477"/>
                      <a:pt x="423" y="10477"/>
                    </a:cubicBezTo>
                    <a:cubicBezTo>
                      <a:pt x="1376" y="10477"/>
                      <a:pt x="-1482" y="10477"/>
                      <a:pt x="1376" y="10477"/>
                    </a:cubicBezTo>
                    <a:cubicBezTo>
                      <a:pt x="4233" y="10477"/>
                      <a:pt x="2328" y="10477"/>
                      <a:pt x="4233" y="10477"/>
                    </a:cubicBezTo>
                    <a:cubicBezTo>
                      <a:pt x="6138" y="10477"/>
                      <a:pt x="7091" y="8572"/>
                      <a:pt x="7091" y="8572"/>
                    </a:cubicBezTo>
                    <a:cubicBezTo>
                      <a:pt x="10901" y="8572"/>
                      <a:pt x="9948" y="8572"/>
                      <a:pt x="12806" y="8572"/>
                    </a:cubicBezTo>
                    <a:cubicBezTo>
                      <a:pt x="15663" y="8572"/>
                      <a:pt x="13758" y="10477"/>
                      <a:pt x="19473" y="7620"/>
                    </a:cubicBezTo>
                    <a:cubicBezTo>
                      <a:pt x="24236" y="4763"/>
                      <a:pt x="26141" y="4763"/>
                      <a:pt x="28046" y="4763"/>
                    </a:cubicBezTo>
                    <a:cubicBezTo>
                      <a:pt x="29951" y="4763"/>
                      <a:pt x="30903" y="4763"/>
                      <a:pt x="30903" y="4763"/>
                    </a:cubicBezTo>
                    <a:cubicBezTo>
                      <a:pt x="30903" y="4763"/>
                      <a:pt x="29951" y="1905"/>
                      <a:pt x="34713" y="3810"/>
                    </a:cubicBezTo>
                    <a:cubicBezTo>
                      <a:pt x="39476" y="5715"/>
                      <a:pt x="38523" y="5715"/>
                      <a:pt x="40428" y="5715"/>
                    </a:cubicBezTo>
                    <a:cubicBezTo>
                      <a:pt x="42333" y="5715"/>
                      <a:pt x="43286" y="3810"/>
                      <a:pt x="45191" y="3810"/>
                    </a:cubicBezTo>
                    <a:cubicBezTo>
                      <a:pt x="47096" y="2857"/>
                      <a:pt x="46143" y="0"/>
                      <a:pt x="49001" y="0"/>
                    </a:cubicBezTo>
                    <a:cubicBezTo>
                      <a:pt x="51858" y="952"/>
                      <a:pt x="49001" y="0"/>
                      <a:pt x="51858" y="952"/>
                    </a:cubicBezTo>
                    <a:cubicBezTo>
                      <a:pt x="54716" y="1905"/>
                      <a:pt x="54716" y="952"/>
                      <a:pt x="55668" y="2857"/>
                    </a:cubicBezTo>
                    <a:cubicBezTo>
                      <a:pt x="56621" y="4763"/>
                      <a:pt x="55668" y="6668"/>
                      <a:pt x="54716" y="7620"/>
                    </a:cubicBezTo>
                    <a:cubicBezTo>
                      <a:pt x="54716" y="8572"/>
                      <a:pt x="55668" y="8572"/>
                      <a:pt x="55668" y="10477"/>
                    </a:cubicBezTo>
                    <a:cubicBezTo>
                      <a:pt x="55668" y="11430"/>
                      <a:pt x="56621" y="12382"/>
                      <a:pt x="56621" y="12382"/>
                    </a:cubicBezTo>
                    <a:cubicBezTo>
                      <a:pt x="56621" y="13335"/>
                      <a:pt x="55668" y="14288"/>
                      <a:pt x="54716" y="15240"/>
                    </a:cubicBezTo>
                    <a:cubicBezTo>
                      <a:pt x="53763" y="16193"/>
                      <a:pt x="46143" y="17145"/>
                      <a:pt x="46143" y="17145"/>
                    </a:cubicBezTo>
                    <a:lnTo>
                      <a:pt x="47096" y="20955"/>
                    </a:lnTo>
                    <a:cubicBezTo>
                      <a:pt x="47096" y="20955"/>
                      <a:pt x="46143" y="20955"/>
                      <a:pt x="47096" y="21907"/>
                    </a:cubicBezTo>
                    <a:cubicBezTo>
                      <a:pt x="48048" y="23813"/>
                      <a:pt x="49001" y="23813"/>
                      <a:pt x="48048" y="23813"/>
                    </a:cubicBezTo>
                    <a:cubicBezTo>
                      <a:pt x="48048" y="24765"/>
                      <a:pt x="43286" y="24765"/>
                      <a:pt x="43286" y="24765"/>
                    </a:cubicBezTo>
                    <a:close/>
                  </a:path>
                </a:pathLst>
              </a:custGeom>
              <a:grpFill/>
              <a:ln w="9525" cap="flat">
                <a:noFill/>
                <a:prstDash val="solid"/>
                <a:miter/>
              </a:ln>
            </p:spPr>
            <p:txBody>
              <a:bodyPr rtlCol="0" anchor="ctr"/>
              <a:lstStyle/>
              <a:p>
                <a:endParaRPr lang="en-US" sz="1765"/>
              </a:p>
            </p:txBody>
          </p:sp>
          <p:sp>
            <p:nvSpPr>
              <p:cNvPr id="39" name="Freeform: Shape 38">
                <a:extLst>
                  <a:ext uri="{FF2B5EF4-FFF2-40B4-BE49-F238E27FC236}">
                    <a16:creationId xmlns:a16="http://schemas.microsoft.com/office/drawing/2014/main" id="{2DB7E8B0-CD28-4429-A5DC-62F8A4DCF859}"/>
                  </a:ext>
                </a:extLst>
              </p:cNvPr>
              <p:cNvSpPr/>
              <p:nvPr/>
            </p:nvSpPr>
            <p:spPr>
              <a:xfrm>
                <a:off x="7209128" y="3423014"/>
                <a:ext cx="121340" cy="68579"/>
              </a:xfrm>
              <a:custGeom>
                <a:avLst/>
                <a:gdLst>
                  <a:gd name="connsiteX0" fmla="*/ 70857 w 121340"/>
                  <a:gd name="connsiteY0" fmla="*/ 11430 h 68579"/>
                  <a:gd name="connsiteX1" fmla="*/ 68000 w 121340"/>
                  <a:gd name="connsiteY1" fmla="*/ 6667 h 68579"/>
                  <a:gd name="connsiteX2" fmla="*/ 65143 w 121340"/>
                  <a:gd name="connsiteY2" fmla="*/ 1905 h 68579"/>
                  <a:gd name="connsiteX3" fmla="*/ 60380 w 121340"/>
                  <a:gd name="connsiteY3" fmla="*/ 0 h 68579"/>
                  <a:gd name="connsiteX4" fmla="*/ 57523 w 121340"/>
                  <a:gd name="connsiteY4" fmla="*/ 952 h 68579"/>
                  <a:gd name="connsiteX5" fmla="*/ 49903 w 121340"/>
                  <a:gd name="connsiteY5" fmla="*/ 1905 h 68579"/>
                  <a:gd name="connsiteX6" fmla="*/ 44188 w 121340"/>
                  <a:gd name="connsiteY6" fmla="*/ 1905 h 68579"/>
                  <a:gd name="connsiteX7" fmla="*/ 39425 w 121340"/>
                  <a:gd name="connsiteY7" fmla="*/ 5715 h 68579"/>
                  <a:gd name="connsiteX8" fmla="*/ 37520 w 121340"/>
                  <a:gd name="connsiteY8" fmla="*/ 9525 h 68579"/>
                  <a:gd name="connsiteX9" fmla="*/ 31805 w 121340"/>
                  <a:gd name="connsiteY9" fmla="*/ 14288 h 68579"/>
                  <a:gd name="connsiteX10" fmla="*/ 28948 w 121340"/>
                  <a:gd name="connsiteY10" fmla="*/ 16192 h 68579"/>
                  <a:gd name="connsiteX11" fmla="*/ 27043 w 121340"/>
                  <a:gd name="connsiteY11" fmla="*/ 18098 h 68579"/>
                  <a:gd name="connsiteX12" fmla="*/ 27995 w 121340"/>
                  <a:gd name="connsiteY12" fmla="*/ 19050 h 68579"/>
                  <a:gd name="connsiteX13" fmla="*/ 24185 w 121340"/>
                  <a:gd name="connsiteY13" fmla="*/ 24765 h 68579"/>
                  <a:gd name="connsiteX14" fmla="*/ 19423 w 121340"/>
                  <a:gd name="connsiteY14" fmla="*/ 27623 h 68579"/>
                  <a:gd name="connsiteX15" fmla="*/ 8945 w 121340"/>
                  <a:gd name="connsiteY15" fmla="*/ 29527 h 68579"/>
                  <a:gd name="connsiteX16" fmla="*/ 4182 w 121340"/>
                  <a:gd name="connsiteY16" fmla="*/ 31432 h 68579"/>
                  <a:gd name="connsiteX17" fmla="*/ 1325 w 121340"/>
                  <a:gd name="connsiteY17" fmla="*/ 33338 h 68579"/>
                  <a:gd name="connsiteX18" fmla="*/ 3230 w 121340"/>
                  <a:gd name="connsiteY18" fmla="*/ 38100 h 68579"/>
                  <a:gd name="connsiteX19" fmla="*/ 2278 w 121340"/>
                  <a:gd name="connsiteY19" fmla="*/ 42863 h 68579"/>
                  <a:gd name="connsiteX20" fmla="*/ 1325 w 121340"/>
                  <a:gd name="connsiteY20" fmla="*/ 47625 h 68579"/>
                  <a:gd name="connsiteX21" fmla="*/ 12755 w 121340"/>
                  <a:gd name="connsiteY21" fmla="*/ 49530 h 68579"/>
                  <a:gd name="connsiteX22" fmla="*/ 20375 w 121340"/>
                  <a:gd name="connsiteY22" fmla="*/ 49530 h 68579"/>
                  <a:gd name="connsiteX23" fmla="*/ 27995 w 121340"/>
                  <a:gd name="connsiteY23" fmla="*/ 49530 h 68579"/>
                  <a:gd name="connsiteX24" fmla="*/ 29900 w 121340"/>
                  <a:gd name="connsiteY24" fmla="*/ 51435 h 68579"/>
                  <a:gd name="connsiteX25" fmla="*/ 34663 w 121340"/>
                  <a:gd name="connsiteY25" fmla="*/ 53340 h 68579"/>
                  <a:gd name="connsiteX26" fmla="*/ 42282 w 121340"/>
                  <a:gd name="connsiteY26" fmla="*/ 53340 h 68579"/>
                  <a:gd name="connsiteX27" fmla="*/ 47045 w 121340"/>
                  <a:gd name="connsiteY27" fmla="*/ 56198 h 68579"/>
                  <a:gd name="connsiteX28" fmla="*/ 47045 w 121340"/>
                  <a:gd name="connsiteY28" fmla="*/ 60007 h 68579"/>
                  <a:gd name="connsiteX29" fmla="*/ 47045 w 121340"/>
                  <a:gd name="connsiteY29" fmla="*/ 64770 h 68579"/>
                  <a:gd name="connsiteX30" fmla="*/ 53713 w 121340"/>
                  <a:gd name="connsiteY30" fmla="*/ 68580 h 68579"/>
                  <a:gd name="connsiteX31" fmla="*/ 57523 w 121340"/>
                  <a:gd name="connsiteY31" fmla="*/ 68580 h 68579"/>
                  <a:gd name="connsiteX32" fmla="*/ 62285 w 121340"/>
                  <a:gd name="connsiteY32" fmla="*/ 67627 h 68579"/>
                  <a:gd name="connsiteX33" fmla="*/ 71810 w 121340"/>
                  <a:gd name="connsiteY33" fmla="*/ 65723 h 68579"/>
                  <a:gd name="connsiteX34" fmla="*/ 74668 w 121340"/>
                  <a:gd name="connsiteY34" fmla="*/ 65723 h 68579"/>
                  <a:gd name="connsiteX35" fmla="*/ 75620 w 121340"/>
                  <a:gd name="connsiteY35" fmla="*/ 60007 h 68579"/>
                  <a:gd name="connsiteX36" fmla="*/ 76573 w 121340"/>
                  <a:gd name="connsiteY36" fmla="*/ 57150 h 68579"/>
                  <a:gd name="connsiteX37" fmla="*/ 81335 w 121340"/>
                  <a:gd name="connsiteY37" fmla="*/ 56198 h 68579"/>
                  <a:gd name="connsiteX38" fmla="*/ 88003 w 121340"/>
                  <a:gd name="connsiteY38" fmla="*/ 56198 h 68579"/>
                  <a:gd name="connsiteX39" fmla="*/ 96575 w 121340"/>
                  <a:gd name="connsiteY39" fmla="*/ 56198 h 68579"/>
                  <a:gd name="connsiteX40" fmla="*/ 98480 w 121340"/>
                  <a:gd name="connsiteY40" fmla="*/ 56198 h 68579"/>
                  <a:gd name="connsiteX41" fmla="*/ 104195 w 121340"/>
                  <a:gd name="connsiteY41" fmla="*/ 55245 h 68579"/>
                  <a:gd name="connsiteX42" fmla="*/ 109910 w 121340"/>
                  <a:gd name="connsiteY42" fmla="*/ 53340 h 68579"/>
                  <a:gd name="connsiteX43" fmla="*/ 114673 w 121340"/>
                  <a:gd name="connsiteY43" fmla="*/ 51435 h 68579"/>
                  <a:gd name="connsiteX44" fmla="*/ 120388 w 121340"/>
                  <a:gd name="connsiteY44" fmla="*/ 44767 h 68579"/>
                  <a:gd name="connsiteX45" fmla="*/ 121340 w 121340"/>
                  <a:gd name="connsiteY45" fmla="*/ 40957 h 68579"/>
                  <a:gd name="connsiteX46" fmla="*/ 116578 w 121340"/>
                  <a:gd name="connsiteY46" fmla="*/ 38100 h 68579"/>
                  <a:gd name="connsiteX47" fmla="*/ 108957 w 121340"/>
                  <a:gd name="connsiteY47" fmla="*/ 35242 h 68579"/>
                  <a:gd name="connsiteX48" fmla="*/ 108957 w 121340"/>
                  <a:gd name="connsiteY48" fmla="*/ 29527 h 68579"/>
                  <a:gd name="connsiteX49" fmla="*/ 106100 w 121340"/>
                  <a:gd name="connsiteY49" fmla="*/ 25717 h 68579"/>
                  <a:gd name="connsiteX50" fmla="*/ 101338 w 121340"/>
                  <a:gd name="connsiteY50" fmla="*/ 24765 h 68579"/>
                  <a:gd name="connsiteX51" fmla="*/ 90860 w 121340"/>
                  <a:gd name="connsiteY51" fmla="*/ 21907 h 68579"/>
                  <a:gd name="connsiteX52" fmla="*/ 89907 w 121340"/>
                  <a:gd name="connsiteY52" fmla="*/ 19050 h 68579"/>
                  <a:gd name="connsiteX53" fmla="*/ 82288 w 121340"/>
                  <a:gd name="connsiteY53" fmla="*/ 16192 h 68579"/>
                  <a:gd name="connsiteX54" fmla="*/ 76573 w 121340"/>
                  <a:gd name="connsiteY54" fmla="*/ 15240 h 68579"/>
                  <a:gd name="connsiteX55" fmla="*/ 70857 w 121340"/>
                  <a:gd name="connsiteY55" fmla="*/ 11430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340" h="68579">
                    <a:moveTo>
                      <a:pt x="70857" y="11430"/>
                    </a:moveTo>
                    <a:lnTo>
                      <a:pt x="68000" y="6667"/>
                    </a:lnTo>
                    <a:lnTo>
                      <a:pt x="65143" y="1905"/>
                    </a:lnTo>
                    <a:lnTo>
                      <a:pt x="60380" y="0"/>
                    </a:lnTo>
                    <a:lnTo>
                      <a:pt x="57523" y="952"/>
                    </a:lnTo>
                    <a:lnTo>
                      <a:pt x="49903" y="1905"/>
                    </a:lnTo>
                    <a:lnTo>
                      <a:pt x="44188" y="1905"/>
                    </a:lnTo>
                    <a:cubicBezTo>
                      <a:pt x="44188" y="1905"/>
                      <a:pt x="39425" y="4763"/>
                      <a:pt x="39425" y="5715"/>
                    </a:cubicBezTo>
                    <a:cubicBezTo>
                      <a:pt x="40378" y="6667"/>
                      <a:pt x="37520" y="7620"/>
                      <a:pt x="37520" y="9525"/>
                    </a:cubicBezTo>
                    <a:cubicBezTo>
                      <a:pt x="36568" y="10477"/>
                      <a:pt x="31805" y="14288"/>
                      <a:pt x="31805" y="14288"/>
                    </a:cubicBezTo>
                    <a:lnTo>
                      <a:pt x="28948" y="16192"/>
                    </a:lnTo>
                    <a:cubicBezTo>
                      <a:pt x="28948" y="16192"/>
                      <a:pt x="27043" y="16192"/>
                      <a:pt x="27043" y="18098"/>
                    </a:cubicBezTo>
                    <a:cubicBezTo>
                      <a:pt x="27995" y="19050"/>
                      <a:pt x="27995" y="17145"/>
                      <a:pt x="27995" y="19050"/>
                    </a:cubicBezTo>
                    <a:cubicBezTo>
                      <a:pt x="27995" y="21907"/>
                      <a:pt x="24185" y="24765"/>
                      <a:pt x="24185" y="24765"/>
                    </a:cubicBezTo>
                    <a:lnTo>
                      <a:pt x="19423" y="27623"/>
                    </a:lnTo>
                    <a:lnTo>
                      <a:pt x="8945" y="29527"/>
                    </a:lnTo>
                    <a:lnTo>
                      <a:pt x="4182" y="31432"/>
                    </a:lnTo>
                    <a:lnTo>
                      <a:pt x="1325" y="33338"/>
                    </a:lnTo>
                    <a:cubicBezTo>
                      <a:pt x="3230" y="38100"/>
                      <a:pt x="3230" y="38100"/>
                      <a:pt x="3230" y="38100"/>
                    </a:cubicBezTo>
                    <a:cubicBezTo>
                      <a:pt x="3230" y="38100"/>
                      <a:pt x="1325" y="40957"/>
                      <a:pt x="2278" y="42863"/>
                    </a:cubicBezTo>
                    <a:cubicBezTo>
                      <a:pt x="3230" y="43815"/>
                      <a:pt x="-2485" y="46673"/>
                      <a:pt x="1325" y="47625"/>
                    </a:cubicBezTo>
                    <a:cubicBezTo>
                      <a:pt x="5135" y="48577"/>
                      <a:pt x="9898" y="48577"/>
                      <a:pt x="12755" y="49530"/>
                    </a:cubicBezTo>
                    <a:cubicBezTo>
                      <a:pt x="14660" y="50482"/>
                      <a:pt x="17518" y="48577"/>
                      <a:pt x="20375" y="49530"/>
                    </a:cubicBezTo>
                    <a:cubicBezTo>
                      <a:pt x="23232" y="50482"/>
                      <a:pt x="27995" y="49530"/>
                      <a:pt x="27995" y="49530"/>
                    </a:cubicBezTo>
                    <a:lnTo>
                      <a:pt x="29900" y="51435"/>
                    </a:lnTo>
                    <a:cubicBezTo>
                      <a:pt x="29900" y="51435"/>
                      <a:pt x="31805" y="53340"/>
                      <a:pt x="34663" y="53340"/>
                    </a:cubicBezTo>
                    <a:cubicBezTo>
                      <a:pt x="36568" y="53340"/>
                      <a:pt x="39425" y="53340"/>
                      <a:pt x="42282" y="53340"/>
                    </a:cubicBezTo>
                    <a:cubicBezTo>
                      <a:pt x="45140" y="54292"/>
                      <a:pt x="47045" y="54292"/>
                      <a:pt x="47045" y="56198"/>
                    </a:cubicBezTo>
                    <a:cubicBezTo>
                      <a:pt x="47998" y="58102"/>
                      <a:pt x="46093" y="58102"/>
                      <a:pt x="47045" y="60007"/>
                    </a:cubicBezTo>
                    <a:cubicBezTo>
                      <a:pt x="47998" y="61913"/>
                      <a:pt x="45140" y="62865"/>
                      <a:pt x="47045" y="64770"/>
                    </a:cubicBezTo>
                    <a:cubicBezTo>
                      <a:pt x="48950" y="66675"/>
                      <a:pt x="53713" y="68580"/>
                      <a:pt x="53713" y="68580"/>
                    </a:cubicBezTo>
                    <a:lnTo>
                      <a:pt x="57523" y="68580"/>
                    </a:lnTo>
                    <a:cubicBezTo>
                      <a:pt x="57523" y="68580"/>
                      <a:pt x="58475" y="68580"/>
                      <a:pt x="62285" y="67627"/>
                    </a:cubicBezTo>
                    <a:cubicBezTo>
                      <a:pt x="66095" y="67627"/>
                      <a:pt x="71810" y="65723"/>
                      <a:pt x="71810" y="65723"/>
                    </a:cubicBezTo>
                    <a:lnTo>
                      <a:pt x="74668" y="65723"/>
                    </a:lnTo>
                    <a:lnTo>
                      <a:pt x="75620" y="60007"/>
                    </a:lnTo>
                    <a:lnTo>
                      <a:pt x="76573" y="57150"/>
                    </a:lnTo>
                    <a:lnTo>
                      <a:pt x="81335" y="56198"/>
                    </a:lnTo>
                    <a:cubicBezTo>
                      <a:pt x="81335" y="56198"/>
                      <a:pt x="86098" y="56198"/>
                      <a:pt x="88003" y="56198"/>
                    </a:cubicBezTo>
                    <a:cubicBezTo>
                      <a:pt x="89907" y="57150"/>
                      <a:pt x="94670" y="56198"/>
                      <a:pt x="96575" y="56198"/>
                    </a:cubicBezTo>
                    <a:cubicBezTo>
                      <a:pt x="98480" y="56198"/>
                      <a:pt x="96575" y="56198"/>
                      <a:pt x="98480" y="56198"/>
                    </a:cubicBezTo>
                    <a:cubicBezTo>
                      <a:pt x="100385" y="55245"/>
                      <a:pt x="104195" y="55245"/>
                      <a:pt x="104195" y="55245"/>
                    </a:cubicBezTo>
                    <a:lnTo>
                      <a:pt x="109910" y="53340"/>
                    </a:lnTo>
                    <a:cubicBezTo>
                      <a:pt x="109910" y="53340"/>
                      <a:pt x="111815" y="52388"/>
                      <a:pt x="114673" y="51435"/>
                    </a:cubicBezTo>
                    <a:cubicBezTo>
                      <a:pt x="117530" y="51435"/>
                      <a:pt x="120388" y="44767"/>
                      <a:pt x="120388" y="44767"/>
                    </a:cubicBezTo>
                    <a:lnTo>
                      <a:pt x="121340" y="40957"/>
                    </a:lnTo>
                    <a:lnTo>
                      <a:pt x="116578" y="38100"/>
                    </a:lnTo>
                    <a:cubicBezTo>
                      <a:pt x="116578" y="38100"/>
                      <a:pt x="108957" y="36195"/>
                      <a:pt x="108957" y="35242"/>
                    </a:cubicBezTo>
                    <a:cubicBezTo>
                      <a:pt x="109910" y="34290"/>
                      <a:pt x="108957" y="29527"/>
                      <a:pt x="108957" y="29527"/>
                    </a:cubicBezTo>
                    <a:lnTo>
                      <a:pt x="106100" y="25717"/>
                    </a:lnTo>
                    <a:lnTo>
                      <a:pt x="101338" y="24765"/>
                    </a:lnTo>
                    <a:lnTo>
                      <a:pt x="90860" y="21907"/>
                    </a:lnTo>
                    <a:lnTo>
                      <a:pt x="89907" y="19050"/>
                    </a:lnTo>
                    <a:lnTo>
                      <a:pt x="82288" y="16192"/>
                    </a:lnTo>
                    <a:lnTo>
                      <a:pt x="76573" y="15240"/>
                    </a:lnTo>
                    <a:lnTo>
                      <a:pt x="70857" y="11430"/>
                    </a:lnTo>
                    <a:close/>
                  </a:path>
                </a:pathLst>
              </a:custGeom>
              <a:grpFill/>
              <a:ln w="9525" cap="flat">
                <a:noFill/>
                <a:prstDash val="solid"/>
                <a:miter/>
              </a:ln>
            </p:spPr>
            <p:txBody>
              <a:bodyPr rtlCol="0" anchor="ctr"/>
              <a:lstStyle/>
              <a:p>
                <a:endParaRPr lang="en-US" sz="1765"/>
              </a:p>
            </p:txBody>
          </p:sp>
          <p:sp>
            <p:nvSpPr>
              <p:cNvPr id="40" name="Freeform: Shape 39">
                <a:extLst>
                  <a:ext uri="{FF2B5EF4-FFF2-40B4-BE49-F238E27FC236}">
                    <a16:creationId xmlns:a16="http://schemas.microsoft.com/office/drawing/2014/main" id="{E3D9C49A-18B1-439E-A993-B497820C20D9}"/>
                  </a:ext>
                </a:extLst>
              </p:cNvPr>
              <p:cNvSpPr/>
              <p:nvPr/>
            </p:nvSpPr>
            <p:spPr>
              <a:xfrm>
                <a:off x="7826721" y="3175364"/>
                <a:ext cx="181927" cy="61912"/>
              </a:xfrm>
              <a:custGeom>
                <a:avLst/>
                <a:gdLst>
                  <a:gd name="connsiteX0" fmla="*/ 152400 w 181927"/>
                  <a:gd name="connsiteY0" fmla="*/ 1905 h 61912"/>
                  <a:gd name="connsiteX1" fmla="*/ 140970 w 181927"/>
                  <a:gd name="connsiteY1" fmla="*/ 0 h 61912"/>
                  <a:gd name="connsiteX2" fmla="*/ 135255 w 181927"/>
                  <a:gd name="connsiteY2" fmla="*/ 0 h 61912"/>
                  <a:gd name="connsiteX3" fmla="*/ 126683 w 181927"/>
                  <a:gd name="connsiteY3" fmla="*/ 952 h 61912"/>
                  <a:gd name="connsiteX4" fmla="*/ 117158 w 181927"/>
                  <a:gd name="connsiteY4" fmla="*/ 3810 h 61912"/>
                  <a:gd name="connsiteX5" fmla="*/ 111443 w 181927"/>
                  <a:gd name="connsiteY5" fmla="*/ 4763 h 61912"/>
                  <a:gd name="connsiteX6" fmla="*/ 100965 w 181927"/>
                  <a:gd name="connsiteY6" fmla="*/ 5715 h 61912"/>
                  <a:gd name="connsiteX7" fmla="*/ 92393 w 181927"/>
                  <a:gd name="connsiteY7" fmla="*/ 5715 h 61912"/>
                  <a:gd name="connsiteX8" fmla="*/ 83820 w 181927"/>
                  <a:gd name="connsiteY8" fmla="*/ 6667 h 61912"/>
                  <a:gd name="connsiteX9" fmla="*/ 76200 w 181927"/>
                  <a:gd name="connsiteY9" fmla="*/ 7620 h 61912"/>
                  <a:gd name="connsiteX10" fmla="*/ 61913 w 181927"/>
                  <a:gd name="connsiteY10" fmla="*/ 7620 h 61912"/>
                  <a:gd name="connsiteX11" fmla="*/ 46673 w 181927"/>
                  <a:gd name="connsiteY11" fmla="*/ 5715 h 61912"/>
                  <a:gd name="connsiteX12" fmla="*/ 33338 w 181927"/>
                  <a:gd name="connsiteY12" fmla="*/ 2857 h 61912"/>
                  <a:gd name="connsiteX13" fmla="*/ 24765 w 181927"/>
                  <a:gd name="connsiteY13" fmla="*/ 952 h 61912"/>
                  <a:gd name="connsiteX14" fmla="*/ 14288 w 181927"/>
                  <a:gd name="connsiteY14" fmla="*/ 952 h 61912"/>
                  <a:gd name="connsiteX15" fmla="*/ 8573 w 181927"/>
                  <a:gd name="connsiteY15" fmla="*/ 1905 h 61912"/>
                  <a:gd name="connsiteX16" fmla="*/ 0 w 181927"/>
                  <a:gd name="connsiteY16" fmla="*/ 3810 h 61912"/>
                  <a:gd name="connsiteX17" fmla="*/ 953 w 181927"/>
                  <a:gd name="connsiteY17" fmla="*/ 10477 h 61912"/>
                  <a:gd name="connsiteX18" fmla="*/ 12383 w 181927"/>
                  <a:gd name="connsiteY18" fmla="*/ 12382 h 61912"/>
                  <a:gd name="connsiteX19" fmla="*/ 29528 w 181927"/>
                  <a:gd name="connsiteY19" fmla="*/ 21907 h 61912"/>
                  <a:gd name="connsiteX20" fmla="*/ 30480 w 181927"/>
                  <a:gd name="connsiteY20" fmla="*/ 23813 h 61912"/>
                  <a:gd name="connsiteX21" fmla="*/ 29528 w 181927"/>
                  <a:gd name="connsiteY21" fmla="*/ 29527 h 61912"/>
                  <a:gd name="connsiteX22" fmla="*/ 37148 w 181927"/>
                  <a:gd name="connsiteY22" fmla="*/ 34290 h 61912"/>
                  <a:gd name="connsiteX23" fmla="*/ 38100 w 181927"/>
                  <a:gd name="connsiteY23" fmla="*/ 36195 h 61912"/>
                  <a:gd name="connsiteX24" fmla="*/ 39053 w 181927"/>
                  <a:gd name="connsiteY24" fmla="*/ 41910 h 61912"/>
                  <a:gd name="connsiteX25" fmla="*/ 40005 w 181927"/>
                  <a:gd name="connsiteY25" fmla="*/ 45720 h 61912"/>
                  <a:gd name="connsiteX26" fmla="*/ 49530 w 181927"/>
                  <a:gd name="connsiteY26" fmla="*/ 48577 h 61912"/>
                  <a:gd name="connsiteX27" fmla="*/ 57150 w 181927"/>
                  <a:gd name="connsiteY27" fmla="*/ 49530 h 61912"/>
                  <a:gd name="connsiteX28" fmla="*/ 60960 w 181927"/>
                  <a:gd name="connsiteY28" fmla="*/ 54292 h 61912"/>
                  <a:gd name="connsiteX29" fmla="*/ 66675 w 181927"/>
                  <a:gd name="connsiteY29" fmla="*/ 57150 h 61912"/>
                  <a:gd name="connsiteX30" fmla="*/ 74295 w 181927"/>
                  <a:gd name="connsiteY30" fmla="*/ 60007 h 61912"/>
                  <a:gd name="connsiteX31" fmla="*/ 81915 w 181927"/>
                  <a:gd name="connsiteY31" fmla="*/ 61913 h 61912"/>
                  <a:gd name="connsiteX32" fmla="*/ 93345 w 181927"/>
                  <a:gd name="connsiteY32" fmla="*/ 59055 h 61912"/>
                  <a:gd name="connsiteX33" fmla="*/ 107633 w 181927"/>
                  <a:gd name="connsiteY33" fmla="*/ 59055 h 61912"/>
                  <a:gd name="connsiteX34" fmla="*/ 112395 w 181927"/>
                  <a:gd name="connsiteY34" fmla="*/ 56197 h 61912"/>
                  <a:gd name="connsiteX35" fmla="*/ 115253 w 181927"/>
                  <a:gd name="connsiteY35" fmla="*/ 50482 h 61912"/>
                  <a:gd name="connsiteX36" fmla="*/ 120968 w 181927"/>
                  <a:gd name="connsiteY36" fmla="*/ 47625 h 61912"/>
                  <a:gd name="connsiteX37" fmla="*/ 130493 w 181927"/>
                  <a:gd name="connsiteY37" fmla="*/ 45720 h 61912"/>
                  <a:gd name="connsiteX38" fmla="*/ 138113 w 181927"/>
                  <a:gd name="connsiteY38" fmla="*/ 44767 h 61912"/>
                  <a:gd name="connsiteX39" fmla="*/ 143828 w 181927"/>
                  <a:gd name="connsiteY39" fmla="*/ 40005 h 61912"/>
                  <a:gd name="connsiteX40" fmla="*/ 147638 w 181927"/>
                  <a:gd name="connsiteY40" fmla="*/ 36195 h 61912"/>
                  <a:gd name="connsiteX41" fmla="*/ 159068 w 181927"/>
                  <a:gd name="connsiteY41" fmla="*/ 34290 h 61912"/>
                  <a:gd name="connsiteX42" fmla="*/ 166688 w 181927"/>
                  <a:gd name="connsiteY42" fmla="*/ 35242 h 61912"/>
                  <a:gd name="connsiteX43" fmla="*/ 171450 w 181927"/>
                  <a:gd name="connsiteY43" fmla="*/ 35242 h 61912"/>
                  <a:gd name="connsiteX44" fmla="*/ 179070 w 181927"/>
                  <a:gd name="connsiteY44" fmla="*/ 32385 h 61912"/>
                  <a:gd name="connsiteX45" fmla="*/ 181928 w 181927"/>
                  <a:gd name="connsiteY45" fmla="*/ 23813 h 61912"/>
                  <a:gd name="connsiteX46" fmla="*/ 180975 w 181927"/>
                  <a:gd name="connsiteY46" fmla="*/ 20002 h 61912"/>
                  <a:gd name="connsiteX47" fmla="*/ 173355 w 181927"/>
                  <a:gd name="connsiteY47" fmla="*/ 17145 h 61912"/>
                  <a:gd name="connsiteX48" fmla="*/ 168593 w 181927"/>
                  <a:gd name="connsiteY48" fmla="*/ 15240 h 61912"/>
                  <a:gd name="connsiteX49" fmla="*/ 164783 w 181927"/>
                  <a:gd name="connsiteY49" fmla="*/ 12382 h 61912"/>
                  <a:gd name="connsiteX50" fmla="*/ 161925 w 181927"/>
                  <a:gd name="connsiteY50" fmla="*/ 10477 h 61912"/>
                  <a:gd name="connsiteX51" fmla="*/ 158115 w 181927"/>
                  <a:gd name="connsiteY51" fmla="*/ 10477 h 61912"/>
                  <a:gd name="connsiteX52" fmla="*/ 154305 w 181927"/>
                  <a:gd name="connsiteY52" fmla="*/ 7620 h 61912"/>
                  <a:gd name="connsiteX53" fmla="*/ 152400 w 181927"/>
                  <a:gd name="connsiteY53" fmla="*/ 190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1927" h="61912">
                    <a:moveTo>
                      <a:pt x="152400" y="1905"/>
                    </a:moveTo>
                    <a:lnTo>
                      <a:pt x="140970" y="0"/>
                    </a:lnTo>
                    <a:lnTo>
                      <a:pt x="135255" y="0"/>
                    </a:lnTo>
                    <a:lnTo>
                      <a:pt x="126683" y="952"/>
                    </a:lnTo>
                    <a:lnTo>
                      <a:pt x="117158" y="3810"/>
                    </a:lnTo>
                    <a:lnTo>
                      <a:pt x="111443" y="4763"/>
                    </a:lnTo>
                    <a:lnTo>
                      <a:pt x="100965" y="5715"/>
                    </a:lnTo>
                    <a:lnTo>
                      <a:pt x="92393" y="5715"/>
                    </a:lnTo>
                    <a:lnTo>
                      <a:pt x="83820" y="6667"/>
                    </a:lnTo>
                    <a:cubicBezTo>
                      <a:pt x="83820" y="6667"/>
                      <a:pt x="79058" y="6667"/>
                      <a:pt x="76200" y="7620"/>
                    </a:cubicBezTo>
                    <a:cubicBezTo>
                      <a:pt x="73343" y="8572"/>
                      <a:pt x="61913" y="7620"/>
                      <a:pt x="61913" y="7620"/>
                    </a:cubicBezTo>
                    <a:lnTo>
                      <a:pt x="46673" y="5715"/>
                    </a:lnTo>
                    <a:lnTo>
                      <a:pt x="33338" y="2857"/>
                    </a:lnTo>
                    <a:lnTo>
                      <a:pt x="24765" y="952"/>
                    </a:lnTo>
                    <a:lnTo>
                      <a:pt x="14288" y="952"/>
                    </a:lnTo>
                    <a:lnTo>
                      <a:pt x="8573" y="1905"/>
                    </a:lnTo>
                    <a:lnTo>
                      <a:pt x="0" y="3810"/>
                    </a:lnTo>
                    <a:lnTo>
                      <a:pt x="953" y="10477"/>
                    </a:lnTo>
                    <a:cubicBezTo>
                      <a:pt x="5715" y="12382"/>
                      <a:pt x="10478" y="12382"/>
                      <a:pt x="12383" y="12382"/>
                    </a:cubicBezTo>
                    <a:cubicBezTo>
                      <a:pt x="14288" y="13335"/>
                      <a:pt x="29528" y="21907"/>
                      <a:pt x="29528" y="21907"/>
                    </a:cubicBezTo>
                    <a:cubicBezTo>
                      <a:pt x="29528" y="21907"/>
                      <a:pt x="29528" y="21907"/>
                      <a:pt x="30480" y="23813"/>
                    </a:cubicBezTo>
                    <a:cubicBezTo>
                      <a:pt x="31433" y="25717"/>
                      <a:pt x="28575" y="27622"/>
                      <a:pt x="29528" y="29527"/>
                    </a:cubicBezTo>
                    <a:cubicBezTo>
                      <a:pt x="30480" y="31432"/>
                      <a:pt x="35243" y="32385"/>
                      <a:pt x="37148" y="34290"/>
                    </a:cubicBezTo>
                    <a:cubicBezTo>
                      <a:pt x="38100" y="36195"/>
                      <a:pt x="36195" y="32385"/>
                      <a:pt x="38100" y="36195"/>
                    </a:cubicBezTo>
                    <a:cubicBezTo>
                      <a:pt x="40958" y="40005"/>
                      <a:pt x="39053" y="38100"/>
                      <a:pt x="39053" y="41910"/>
                    </a:cubicBezTo>
                    <a:cubicBezTo>
                      <a:pt x="40005" y="45720"/>
                      <a:pt x="40005" y="45720"/>
                      <a:pt x="40005" y="45720"/>
                    </a:cubicBezTo>
                    <a:lnTo>
                      <a:pt x="49530" y="48577"/>
                    </a:lnTo>
                    <a:cubicBezTo>
                      <a:pt x="49530" y="48577"/>
                      <a:pt x="57150" y="46672"/>
                      <a:pt x="57150" y="49530"/>
                    </a:cubicBezTo>
                    <a:cubicBezTo>
                      <a:pt x="58103" y="51435"/>
                      <a:pt x="59055" y="52388"/>
                      <a:pt x="60960" y="54292"/>
                    </a:cubicBezTo>
                    <a:cubicBezTo>
                      <a:pt x="62865" y="56197"/>
                      <a:pt x="66675" y="57150"/>
                      <a:pt x="66675" y="57150"/>
                    </a:cubicBezTo>
                    <a:lnTo>
                      <a:pt x="74295" y="60007"/>
                    </a:lnTo>
                    <a:lnTo>
                      <a:pt x="81915" y="61913"/>
                    </a:lnTo>
                    <a:cubicBezTo>
                      <a:pt x="81915" y="61913"/>
                      <a:pt x="90488" y="58102"/>
                      <a:pt x="93345" y="59055"/>
                    </a:cubicBezTo>
                    <a:cubicBezTo>
                      <a:pt x="97155" y="60007"/>
                      <a:pt x="107633" y="59055"/>
                      <a:pt x="107633" y="59055"/>
                    </a:cubicBezTo>
                    <a:lnTo>
                      <a:pt x="112395" y="56197"/>
                    </a:lnTo>
                    <a:lnTo>
                      <a:pt x="115253" y="50482"/>
                    </a:lnTo>
                    <a:cubicBezTo>
                      <a:pt x="115253" y="50482"/>
                      <a:pt x="116205" y="48577"/>
                      <a:pt x="120968" y="47625"/>
                    </a:cubicBezTo>
                    <a:cubicBezTo>
                      <a:pt x="125730" y="46672"/>
                      <a:pt x="130493" y="45720"/>
                      <a:pt x="130493" y="45720"/>
                    </a:cubicBezTo>
                    <a:lnTo>
                      <a:pt x="138113" y="44767"/>
                    </a:lnTo>
                    <a:lnTo>
                      <a:pt x="143828" y="40005"/>
                    </a:lnTo>
                    <a:cubicBezTo>
                      <a:pt x="143828" y="40005"/>
                      <a:pt x="143828" y="36195"/>
                      <a:pt x="147638" y="36195"/>
                    </a:cubicBezTo>
                    <a:cubicBezTo>
                      <a:pt x="151448" y="36195"/>
                      <a:pt x="156210" y="33338"/>
                      <a:pt x="159068" y="34290"/>
                    </a:cubicBezTo>
                    <a:cubicBezTo>
                      <a:pt x="161925" y="35242"/>
                      <a:pt x="166688" y="35242"/>
                      <a:pt x="166688" y="35242"/>
                    </a:cubicBezTo>
                    <a:lnTo>
                      <a:pt x="171450" y="35242"/>
                    </a:lnTo>
                    <a:lnTo>
                      <a:pt x="179070" y="32385"/>
                    </a:lnTo>
                    <a:lnTo>
                      <a:pt x="181928" y="23813"/>
                    </a:lnTo>
                    <a:lnTo>
                      <a:pt x="180975" y="20002"/>
                    </a:lnTo>
                    <a:lnTo>
                      <a:pt x="173355" y="17145"/>
                    </a:lnTo>
                    <a:lnTo>
                      <a:pt x="168593" y="15240"/>
                    </a:lnTo>
                    <a:lnTo>
                      <a:pt x="164783" y="12382"/>
                    </a:lnTo>
                    <a:cubicBezTo>
                      <a:pt x="164783" y="12382"/>
                      <a:pt x="165735" y="10477"/>
                      <a:pt x="161925" y="10477"/>
                    </a:cubicBezTo>
                    <a:cubicBezTo>
                      <a:pt x="158115" y="10477"/>
                      <a:pt x="158115" y="10477"/>
                      <a:pt x="158115" y="10477"/>
                    </a:cubicBezTo>
                    <a:lnTo>
                      <a:pt x="154305" y="7620"/>
                    </a:lnTo>
                    <a:lnTo>
                      <a:pt x="152400" y="1905"/>
                    </a:lnTo>
                    <a:close/>
                  </a:path>
                </a:pathLst>
              </a:custGeom>
              <a:grpFill/>
              <a:ln w="9525" cap="flat">
                <a:noFill/>
                <a:prstDash val="solid"/>
                <a:miter/>
              </a:ln>
            </p:spPr>
            <p:txBody>
              <a:bodyPr rtlCol="0" anchor="ctr"/>
              <a:lstStyle/>
              <a:p>
                <a:endParaRPr lang="en-US" sz="1765"/>
              </a:p>
            </p:txBody>
          </p:sp>
          <p:sp>
            <p:nvSpPr>
              <p:cNvPr id="41" name="Freeform: Shape 40">
                <a:extLst>
                  <a:ext uri="{FF2B5EF4-FFF2-40B4-BE49-F238E27FC236}">
                    <a16:creationId xmlns:a16="http://schemas.microsoft.com/office/drawing/2014/main" id="{393C9134-606D-4B60-A44B-ED5D23DE20DA}"/>
                  </a:ext>
                </a:extLst>
              </p:cNvPr>
              <p:cNvSpPr/>
              <p:nvPr/>
            </p:nvSpPr>
            <p:spPr>
              <a:xfrm>
                <a:off x="6775161" y="3774486"/>
                <a:ext cx="164782" cy="41909"/>
              </a:xfrm>
              <a:custGeom>
                <a:avLst/>
                <a:gdLst>
                  <a:gd name="connsiteX0" fmla="*/ 160973 w 164782"/>
                  <a:gd name="connsiteY0" fmla="*/ 40005 h 41909"/>
                  <a:gd name="connsiteX1" fmla="*/ 155258 w 164782"/>
                  <a:gd name="connsiteY1" fmla="*/ 40005 h 41909"/>
                  <a:gd name="connsiteX2" fmla="*/ 142875 w 164782"/>
                  <a:gd name="connsiteY2" fmla="*/ 41910 h 41909"/>
                  <a:gd name="connsiteX3" fmla="*/ 134303 w 164782"/>
                  <a:gd name="connsiteY3" fmla="*/ 40957 h 41909"/>
                  <a:gd name="connsiteX4" fmla="*/ 128588 w 164782"/>
                  <a:gd name="connsiteY4" fmla="*/ 38100 h 41909"/>
                  <a:gd name="connsiteX5" fmla="*/ 122873 w 164782"/>
                  <a:gd name="connsiteY5" fmla="*/ 35242 h 41909"/>
                  <a:gd name="connsiteX6" fmla="*/ 120015 w 164782"/>
                  <a:gd name="connsiteY6" fmla="*/ 32385 h 41909"/>
                  <a:gd name="connsiteX7" fmla="*/ 116205 w 164782"/>
                  <a:gd name="connsiteY7" fmla="*/ 30480 h 41909"/>
                  <a:gd name="connsiteX8" fmla="*/ 108585 w 164782"/>
                  <a:gd name="connsiteY8" fmla="*/ 28575 h 41909"/>
                  <a:gd name="connsiteX9" fmla="*/ 103823 w 164782"/>
                  <a:gd name="connsiteY9" fmla="*/ 27622 h 41909"/>
                  <a:gd name="connsiteX10" fmla="*/ 99060 w 164782"/>
                  <a:gd name="connsiteY10" fmla="*/ 25717 h 41909"/>
                  <a:gd name="connsiteX11" fmla="*/ 89535 w 164782"/>
                  <a:gd name="connsiteY11" fmla="*/ 23813 h 41909"/>
                  <a:gd name="connsiteX12" fmla="*/ 82868 w 164782"/>
                  <a:gd name="connsiteY12" fmla="*/ 22860 h 41909"/>
                  <a:gd name="connsiteX13" fmla="*/ 73343 w 164782"/>
                  <a:gd name="connsiteY13" fmla="*/ 19050 h 41909"/>
                  <a:gd name="connsiteX14" fmla="*/ 61913 w 164782"/>
                  <a:gd name="connsiteY14" fmla="*/ 16192 h 41909"/>
                  <a:gd name="connsiteX15" fmla="*/ 57150 w 164782"/>
                  <a:gd name="connsiteY15" fmla="*/ 15240 h 41909"/>
                  <a:gd name="connsiteX16" fmla="*/ 53340 w 164782"/>
                  <a:gd name="connsiteY16" fmla="*/ 15240 h 41909"/>
                  <a:gd name="connsiteX17" fmla="*/ 45720 w 164782"/>
                  <a:gd name="connsiteY17" fmla="*/ 15240 h 41909"/>
                  <a:gd name="connsiteX18" fmla="*/ 37148 w 164782"/>
                  <a:gd name="connsiteY18" fmla="*/ 16192 h 41909"/>
                  <a:gd name="connsiteX19" fmla="*/ 30480 w 164782"/>
                  <a:gd name="connsiteY19" fmla="*/ 16192 h 41909"/>
                  <a:gd name="connsiteX20" fmla="*/ 20003 w 164782"/>
                  <a:gd name="connsiteY20" fmla="*/ 16192 h 41909"/>
                  <a:gd name="connsiteX21" fmla="*/ 13335 w 164782"/>
                  <a:gd name="connsiteY21" fmla="*/ 15240 h 41909"/>
                  <a:gd name="connsiteX22" fmla="*/ 4763 w 164782"/>
                  <a:gd name="connsiteY22" fmla="*/ 14288 h 41909"/>
                  <a:gd name="connsiteX23" fmla="*/ 0 w 164782"/>
                  <a:gd name="connsiteY23" fmla="*/ 8572 h 41909"/>
                  <a:gd name="connsiteX24" fmla="*/ 0 w 164782"/>
                  <a:gd name="connsiteY24" fmla="*/ 4763 h 41909"/>
                  <a:gd name="connsiteX25" fmla="*/ 3810 w 164782"/>
                  <a:gd name="connsiteY25" fmla="*/ 3810 h 41909"/>
                  <a:gd name="connsiteX26" fmla="*/ 8573 w 164782"/>
                  <a:gd name="connsiteY26" fmla="*/ 3810 h 41909"/>
                  <a:gd name="connsiteX27" fmla="*/ 16193 w 164782"/>
                  <a:gd name="connsiteY27" fmla="*/ 952 h 41909"/>
                  <a:gd name="connsiteX28" fmla="*/ 20955 w 164782"/>
                  <a:gd name="connsiteY28" fmla="*/ 0 h 41909"/>
                  <a:gd name="connsiteX29" fmla="*/ 22860 w 164782"/>
                  <a:gd name="connsiteY29" fmla="*/ 0 h 41909"/>
                  <a:gd name="connsiteX30" fmla="*/ 32385 w 164782"/>
                  <a:gd name="connsiteY30" fmla="*/ 952 h 41909"/>
                  <a:gd name="connsiteX31" fmla="*/ 40958 w 164782"/>
                  <a:gd name="connsiteY31" fmla="*/ 1905 h 41909"/>
                  <a:gd name="connsiteX32" fmla="*/ 52388 w 164782"/>
                  <a:gd name="connsiteY32" fmla="*/ 952 h 41909"/>
                  <a:gd name="connsiteX33" fmla="*/ 59055 w 164782"/>
                  <a:gd name="connsiteY33" fmla="*/ 952 h 41909"/>
                  <a:gd name="connsiteX34" fmla="*/ 70485 w 164782"/>
                  <a:gd name="connsiteY34" fmla="*/ 1905 h 41909"/>
                  <a:gd name="connsiteX35" fmla="*/ 81915 w 164782"/>
                  <a:gd name="connsiteY35" fmla="*/ 2857 h 41909"/>
                  <a:gd name="connsiteX36" fmla="*/ 89535 w 164782"/>
                  <a:gd name="connsiteY36" fmla="*/ 5715 h 41909"/>
                  <a:gd name="connsiteX37" fmla="*/ 97155 w 164782"/>
                  <a:gd name="connsiteY37" fmla="*/ 7620 h 41909"/>
                  <a:gd name="connsiteX38" fmla="*/ 104775 w 164782"/>
                  <a:gd name="connsiteY38" fmla="*/ 7620 h 41909"/>
                  <a:gd name="connsiteX39" fmla="*/ 113348 w 164782"/>
                  <a:gd name="connsiteY39" fmla="*/ 9525 h 41909"/>
                  <a:gd name="connsiteX40" fmla="*/ 118110 w 164782"/>
                  <a:gd name="connsiteY40" fmla="*/ 13335 h 41909"/>
                  <a:gd name="connsiteX41" fmla="*/ 123825 w 164782"/>
                  <a:gd name="connsiteY41" fmla="*/ 16192 h 41909"/>
                  <a:gd name="connsiteX42" fmla="*/ 130493 w 164782"/>
                  <a:gd name="connsiteY42" fmla="*/ 20002 h 41909"/>
                  <a:gd name="connsiteX43" fmla="*/ 139065 w 164782"/>
                  <a:gd name="connsiteY43" fmla="*/ 21907 h 41909"/>
                  <a:gd name="connsiteX44" fmla="*/ 151448 w 164782"/>
                  <a:gd name="connsiteY44" fmla="*/ 22860 h 41909"/>
                  <a:gd name="connsiteX45" fmla="*/ 160020 w 164782"/>
                  <a:gd name="connsiteY45" fmla="*/ 23813 h 41909"/>
                  <a:gd name="connsiteX46" fmla="*/ 164783 w 164782"/>
                  <a:gd name="connsiteY46" fmla="*/ 27622 h 41909"/>
                  <a:gd name="connsiteX47" fmla="*/ 161925 w 164782"/>
                  <a:gd name="connsiteY47" fmla="*/ 33338 h 41909"/>
                  <a:gd name="connsiteX48" fmla="*/ 160973 w 164782"/>
                  <a:gd name="connsiteY48" fmla="*/ 40005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782" h="41909">
                    <a:moveTo>
                      <a:pt x="160973" y="40005"/>
                    </a:moveTo>
                    <a:cubicBezTo>
                      <a:pt x="160973" y="40005"/>
                      <a:pt x="158115" y="38100"/>
                      <a:pt x="155258" y="40005"/>
                    </a:cubicBezTo>
                    <a:cubicBezTo>
                      <a:pt x="152400" y="40957"/>
                      <a:pt x="142875" y="41910"/>
                      <a:pt x="142875" y="41910"/>
                    </a:cubicBezTo>
                    <a:lnTo>
                      <a:pt x="134303" y="40957"/>
                    </a:lnTo>
                    <a:lnTo>
                      <a:pt x="128588" y="38100"/>
                    </a:lnTo>
                    <a:lnTo>
                      <a:pt x="122873" y="35242"/>
                    </a:lnTo>
                    <a:lnTo>
                      <a:pt x="120015" y="32385"/>
                    </a:lnTo>
                    <a:lnTo>
                      <a:pt x="116205" y="30480"/>
                    </a:lnTo>
                    <a:lnTo>
                      <a:pt x="108585" y="28575"/>
                    </a:lnTo>
                    <a:lnTo>
                      <a:pt x="103823" y="27622"/>
                    </a:lnTo>
                    <a:lnTo>
                      <a:pt x="99060" y="25717"/>
                    </a:lnTo>
                    <a:lnTo>
                      <a:pt x="89535" y="23813"/>
                    </a:lnTo>
                    <a:lnTo>
                      <a:pt x="82868" y="22860"/>
                    </a:lnTo>
                    <a:lnTo>
                      <a:pt x="73343" y="19050"/>
                    </a:lnTo>
                    <a:lnTo>
                      <a:pt x="61913" y="16192"/>
                    </a:lnTo>
                    <a:lnTo>
                      <a:pt x="57150" y="15240"/>
                    </a:lnTo>
                    <a:lnTo>
                      <a:pt x="53340" y="15240"/>
                    </a:lnTo>
                    <a:cubicBezTo>
                      <a:pt x="53340" y="15240"/>
                      <a:pt x="47625" y="14288"/>
                      <a:pt x="45720" y="15240"/>
                    </a:cubicBezTo>
                    <a:cubicBezTo>
                      <a:pt x="43815" y="16192"/>
                      <a:pt x="37148" y="16192"/>
                      <a:pt x="37148" y="16192"/>
                    </a:cubicBezTo>
                    <a:cubicBezTo>
                      <a:pt x="37148" y="16192"/>
                      <a:pt x="37148" y="15240"/>
                      <a:pt x="30480" y="16192"/>
                    </a:cubicBezTo>
                    <a:cubicBezTo>
                      <a:pt x="23813" y="17145"/>
                      <a:pt x="20003" y="16192"/>
                      <a:pt x="20003" y="16192"/>
                    </a:cubicBezTo>
                    <a:lnTo>
                      <a:pt x="13335" y="15240"/>
                    </a:lnTo>
                    <a:lnTo>
                      <a:pt x="4763" y="14288"/>
                    </a:lnTo>
                    <a:lnTo>
                      <a:pt x="0" y="8572"/>
                    </a:lnTo>
                    <a:lnTo>
                      <a:pt x="0" y="4763"/>
                    </a:lnTo>
                    <a:cubicBezTo>
                      <a:pt x="3810" y="3810"/>
                      <a:pt x="-952" y="3810"/>
                      <a:pt x="3810" y="3810"/>
                    </a:cubicBezTo>
                    <a:cubicBezTo>
                      <a:pt x="8573" y="3810"/>
                      <a:pt x="8573" y="3810"/>
                      <a:pt x="8573" y="3810"/>
                    </a:cubicBezTo>
                    <a:lnTo>
                      <a:pt x="16193" y="952"/>
                    </a:lnTo>
                    <a:cubicBezTo>
                      <a:pt x="16193" y="952"/>
                      <a:pt x="18098" y="0"/>
                      <a:pt x="20955" y="0"/>
                    </a:cubicBezTo>
                    <a:cubicBezTo>
                      <a:pt x="22860" y="0"/>
                      <a:pt x="19050" y="0"/>
                      <a:pt x="22860" y="0"/>
                    </a:cubicBezTo>
                    <a:cubicBezTo>
                      <a:pt x="26670" y="0"/>
                      <a:pt x="32385" y="952"/>
                      <a:pt x="32385" y="952"/>
                    </a:cubicBezTo>
                    <a:cubicBezTo>
                      <a:pt x="32385" y="952"/>
                      <a:pt x="38100" y="1905"/>
                      <a:pt x="40958" y="1905"/>
                    </a:cubicBezTo>
                    <a:cubicBezTo>
                      <a:pt x="43815" y="1905"/>
                      <a:pt x="52388" y="952"/>
                      <a:pt x="52388" y="952"/>
                    </a:cubicBezTo>
                    <a:lnTo>
                      <a:pt x="59055" y="952"/>
                    </a:lnTo>
                    <a:lnTo>
                      <a:pt x="70485" y="1905"/>
                    </a:lnTo>
                    <a:cubicBezTo>
                      <a:pt x="70485" y="1905"/>
                      <a:pt x="80010" y="2857"/>
                      <a:pt x="81915" y="2857"/>
                    </a:cubicBezTo>
                    <a:cubicBezTo>
                      <a:pt x="83820" y="3810"/>
                      <a:pt x="89535" y="5715"/>
                      <a:pt x="89535" y="5715"/>
                    </a:cubicBezTo>
                    <a:lnTo>
                      <a:pt x="97155" y="7620"/>
                    </a:lnTo>
                    <a:cubicBezTo>
                      <a:pt x="97155" y="7620"/>
                      <a:pt x="102870" y="7620"/>
                      <a:pt x="104775" y="7620"/>
                    </a:cubicBezTo>
                    <a:cubicBezTo>
                      <a:pt x="106680" y="7620"/>
                      <a:pt x="113348" y="9525"/>
                      <a:pt x="113348" y="9525"/>
                    </a:cubicBezTo>
                    <a:cubicBezTo>
                      <a:pt x="113348" y="9525"/>
                      <a:pt x="116205" y="12382"/>
                      <a:pt x="118110" y="13335"/>
                    </a:cubicBezTo>
                    <a:cubicBezTo>
                      <a:pt x="120015" y="15240"/>
                      <a:pt x="122873" y="14288"/>
                      <a:pt x="123825" y="16192"/>
                    </a:cubicBezTo>
                    <a:cubicBezTo>
                      <a:pt x="124778" y="18097"/>
                      <a:pt x="130493" y="20002"/>
                      <a:pt x="130493" y="20002"/>
                    </a:cubicBezTo>
                    <a:lnTo>
                      <a:pt x="139065" y="21907"/>
                    </a:lnTo>
                    <a:cubicBezTo>
                      <a:pt x="139065" y="21907"/>
                      <a:pt x="149543" y="22860"/>
                      <a:pt x="151448" y="22860"/>
                    </a:cubicBezTo>
                    <a:cubicBezTo>
                      <a:pt x="153353" y="22860"/>
                      <a:pt x="158115" y="23813"/>
                      <a:pt x="160020" y="23813"/>
                    </a:cubicBezTo>
                    <a:cubicBezTo>
                      <a:pt x="161925" y="23813"/>
                      <a:pt x="164783" y="27622"/>
                      <a:pt x="164783" y="27622"/>
                    </a:cubicBezTo>
                    <a:cubicBezTo>
                      <a:pt x="163830" y="30480"/>
                      <a:pt x="161925" y="33338"/>
                      <a:pt x="161925" y="33338"/>
                    </a:cubicBezTo>
                    <a:lnTo>
                      <a:pt x="160973" y="40005"/>
                    </a:lnTo>
                    <a:close/>
                  </a:path>
                </a:pathLst>
              </a:custGeom>
              <a:grpFill/>
              <a:ln w="9525" cap="flat">
                <a:noFill/>
                <a:prstDash val="solid"/>
                <a:miter/>
              </a:ln>
            </p:spPr>
            <p:txBody>
              <a:bodyPr rtlCol="0" anchor="ctr"/>
              <a:lstStyle/>
              <a:p>
                <a:endParaRPr lang="en-US" sz="1765"/>
              </a:p>
            </p:txBody>
          </p:sp>
          <p:sp>
            <p:nvSpPr>
              <p:cNvPr id="42" name="Freeform: Shape 41">
                <a:extLst>
                  <a:ext uri="{FF2B5EF4-FFF2-40B4-BE49-F238E27FC236}">
                    <a16:creationId xmlns:a16="http://schemas.microsoft.com/office/drawing/2014/main" id="{9063F222-C7A5-4E08-A7A9-18601E7CC4CD}"/>
                  </a:ext>
                </a:extLst>
              </p:cNvPr>
              <p:cNvSpPr/>
              <p:nvPr/>
            </p:nvSpPr>
            <p:spPr>
              <a:xfrm>
                <a:off x="6870411" y="3828779"/>
                <a:ext cx="50482" cy="15239"/>
              </a:xfrm>
              <a:custGeom>
                <a:avLst/>
                <a:gdLst>
                  <a:gd name="connsiteX0" fmla="*/ 40958 w 50482"/>
                  <a:gd name="connsiteY0" fmla="*/ 13335 h 15239"/>
                  <a:gd name="connsiteX1" fmla="*/ 32385 w 50482"/>
                  <a:gd name="connsiteY1" fmla="*/ 13335 h 15239"/>
                  <a:gd name="connsiteX2" fmla="*/ 26670 w 50482"/>
                  <a:gd name="connsiteY2" fmla="*/ 13335 h 15239"/>
                  <a:gd name="connsiteX3" fmla="*/ 20003 w 50482"/>
                  <a:gd name="connsiteY3" fmla="*/ 13335 h 15239"/>
                  <a:gd name="connsiteX4" fmla="*/ 15240 w 50482"/>
                  <a:gd name="connsiteY4" fmla="*/ 12383 h 15239"/>
                  <a:gd name="connsiteX5" fmla="*/ 12383 w 50482"/>
                  <a:gd name="connsiteY5" fmla="*/ 12383 h 15239"/>
                  <a:gd name="connsiteX6" fmla="*/ 7620 w 50482"/>
                  <a:gd name="connsiteY6" fmla="*/ 11430 h 15239"/>
                  <a:gd name="connsiteX7" fmla="*/ 4763 w 50482"/>
                  <a:gd name="connsiteY7" fmla="*/ 10477 h 15239"/>
                  <a:gd name="connsiteX8" fmla="*/ 953 w 50482"/>
                  <a:gd name="connsiteY8" fmla="*/ 7620 h 15239"/>
                  <a:gd name="connsiteX9" fmla="*/ 0 w 50482"/>
                  <a:gd name="connsiteY9" fmla="*/ 4763 h 15239"/>
                  <a:gd name="connsiteX10" fmla="*/ 1905 w 50482"/>
                  <a:gd name="connsiteY10" fmla="*/ 3810 h 15239"/>
                  <a:gd name="connsiteX11" fmla="*/ 6668 w 50482"/>
                  <a:gd name="connsiteY11" fmla="*/ 0 h 15239"/>
                  <a:gd name="connsiteX12" fmla="*/ 8573 w 50482"/>
                  <a:gd name="connsiteY12" fmla="*/ 0 h 15239"/>
                  <a:gd name="connsiteX13" fmla="*/ 14288 w 50482"/>
                  <a:gd name="connsiteY13" fmla="*/ 0 h 15239"/>
                  <a:gd name="connsiteX14" fmla="*/ 21908 w 50482"/>
                  <a:gd name="connsiteY14" fmla="*/ 0 h 15239"/>
                  <a:gd name="connsiteX15" fmla="*/ 26670 w 50482"/>
                  <a:gd name="connsiteY15" fmla="*/ 0 h 15239"/>
                  <a:gd name="connsiteX16" fmla="*/ 29528 w 50482"/>
                  <a:gd name="connsiteY16" fmla="*/ 0 h 15239"/>
                  <a:gd name="connsiteX17" fmla="*/ 33338 w 50482"/>
                  <a:gd name="connsiteY17" fmla="*/ 952 h 15239"/>
                  <a:gd name="connsiteX18" fmla="*/ 40005 w 50482"/>
                  <a:gd name="connsiteY18" fmla="*/ 1905 h 15239"/>
                  <a:gd name="connsiteX19" fmla="*/ 45720 w 50482"/>
                  <a:gd name="connsiteY19" fmla="*/ 3810 h 15239"/>
                  <a:gd name="connsiteX20" fmla="*/ 48578 w 50482"/>
                  <a:gd name="connsiteY20" fmla="*/ 6667 h 15239"/>
                  <a:gd name="connsiteX21" fmla="*/ 50483 w 50482"/>
                  <a:gd name="connsiteY21" fmla="*/ 10477 h 15239"/>
                  <a:gd name="connsiteX22" fmla="*/ 50483 w 50482"/>
                  <a:gd name="connsiteY22" fmla="*/ 12383 h 15239"/>
                  <a:gd name="connsiteX23" fmla="*/ 46673 w 50482"/>
                  <a:gd name="connsiteY23" fmla="*/ 15240 h 15239"/>
                  <a:gd name="connsiteX24" fmla="*/ 40958 w 50482"/>
                  <a:gd name="connsiteY24"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82" h="15239">
                    <a:moveTo>
                      <a:pt x="40958" y="13335"/>
                    </a:moveTo>
                    <a:lnTo>
                      <a:pt x="32385" y="13335"/>
                    </a:lnTo>
                    <a:lnTo>
                      <a:pt x="26670" y="13335"/>
                    </a:lnTo>
                    <a:lnTo>
                      <a:pt x="20003" y="13335"/>
                    </a:lnTo>
                    <a:lnTo>
                      <a:pt x="15240" y="12383"/>
                    </a:lnTo>
                    <a:cubicBezTo>
                      <a:pt x="15240" y="12383"/>
                      <a:pt x="13335" y="12383"/>
                      <a:pt x="12383" y="12383"/>
                    </a:cubicBezTo>
                    <a:cubicBezTo>
                      <a:pt x="10478" y="12383"/>
                      <a:pt x="7620" y="11430"/>
                      <a:pt x="7620" y="11430"/>
                    </a:cubicBezTo>
                    <a:lnTo>
                      <a:pt x="4763" y="10477"/>
                    </a:lnTo>
                    <a:lnTo>
                      <a:pt x="953" y="7620"/>
                    </a:lnTo>
                    <a:lnTo>
                      <a:pt x="0" y="4763"/>
                    </a:lnTo>
                    <a:lnTo>
                      <a:pt x="1905" y="3810"/>
                    </a:lnTo>
                    <a:cubicBezTo>
                      <a:pt x="4763" y="1905"/>
                      <a:pt x="4763" y="0"/>
                      <a:pt x="6668" y="0"/>
                    </a:cubicBezTo>
                    <a:cubicBezTo>
                      <a:pt x="8573" y="0"/>
                      <a:pt x="5715" y="0"/>
                      <a:pt x="8573" y="0"/>
                    </a:cubicBezTo>
                    <a:cubicBezTo>
                      <a:pt x="11430" y="0"/>
                      <a:pt x="14288" y="0"/>
                      <a:pt x="14288" y="0"/>
                    </a:cubicBezTo>
                    <a:cubicBezTo>
                      <a:pt x="14288" y="0"/>
                      <a:pt x="20003" y="0"/>
                      <a:pt x="21908" y="0"/>
                    </a:cubicBezTo>
                    <a:cubicBezTo>
                      <a:pt x="23813" y="0"/>
                      <a:pt x="26670" y="0"/>
                      <a:pt x="26670" y="0"/>
                    </a:cubicBezTo>
                    <a:lnTo>
                      <a:pt x="29528" y="0"/>
                    </a:lnTo>
                    <a:lnTo>
                      <a:pt x="33338" y="952"/>
                    </a:lnTo>
                    <a:cubicBezTo>
                      <a:pt x="33338" y="952"/>
                      <a:pt x="34290" y="0"/>
                      <a:pt x="40005" y="1905"/>
                    </a:cubicBezTo>
                    <a:cubicBezTo>
                      <a:pt x="45720" y="3810"/>
                      <a:pt x="45720" y="3810"/>
                      <a:pt x="45720" y="3810"/>
                    </a:cubicBezTo>
                    <a:cubicBezTo>
                      <a:pt x="45720" y="3810"/>
                      <a:pt x="47625" y="4763"/>
                      <a:pt x="48578" y="6667"/>
                    </a:cubicBezTo>
                    <a:cubicBezTo>
                      <a:pt x="49530" y="8573"/>
                      <a:pt x="50483" y="8573"/>
                      <a:pt x="50483" y="10477"/>
                    </a:cubicBezTo>
                    <a:cubicBezTo>
                      <a:pt x="50483" y="12383"/>
                      <a:pt x="50483" y="10477"/>
                      <a:pt x="50483" y="12383"/>
                    </a:cubicBezTo>
                    <a:cubicBezTo>
                      <a:pt x="50483" y="14288"/>
                      <a:pt x="46673" y="15240"/>
                      <a:pt x="46673" y="15240"/>
                    </a:cubicBezTo>
                    <a:lnTo>
                      <a:pt x="40958" y="13335"/>
                    </a:lnTo>
                    <a:close/>
                  </a:path>
                </a:pathLst>
              </a:custGeom>
              <a:grpFill/>
              <a:ln w="9525" cap="flat">
                <a:noFill/>
                <a:prstDash val="solid"/>
                <a:miter/>
              </a:ln>
            </p:spPr>
            <p:txBody>
              <a:bodyPr rtlCol="0" anchor="ctr"/>
              <a:lstStyle/>
              <a:p>
                <a:endParaRPr lang="en-US" sz="1765"/>
              </a:p>
            </p:txBody>
          </p:sp>
          <p:sp>
            <p:nvSpPr>
              <p:cNvPr id="43" name="Freeform: Shape 42">
                <a:extLst>
                  <a:ext uri="{FF2B5EF4-FFF2-40B4-BE49-F238E27FC236}">
                    <a16:creationId xmlns:a16="http://schemas.microsoft.com/office/drawing/2014/main" id="{4F9DC825-8998-4F4B-B85A-6A0818A49D54}"/>
                  </a:ext>
                </a:extLst>
              </p:cNvPr>
              <p:cNvSpPr/>
              <p:nvPr/>
            </p:nvSpPr>
            <p:spPr>
              <a:xfrm>
                <a:off x="6929466" y="3811210"/>
                <a:ext cx="125729" cy="30056"/>
              </a:xfrm>
              <a:custGeom>
                <a:avLst/>
                <a:gdLst>
                  <a:gd name="connsiteX0" fmla="*/ 12382 w 125729"/>
                  <a:gd name="connsiteY0" fmla="*/ 17568 h 30056"/>
                  <a:gd name="connsiteX1" fmla="*/ 4763 w 125729"/>
                  <a:gd name="connsiteY1" fmla="*/ 17568 h 30056"/>
                  <a:gd name="connsiteX2" fmla="*/ 0 w 125729"/>
                  <a:gd name="connsiteY2" fmla="*/ 18521 h 30056"/>
                  <a:gd name="connsiteX3" fmla="*/ 952 w 125729"/>
                  <a:gd name="connsiteY3" fmla="*/ 21378 h 30056"/>
                  <a:gd name="connsiteX4" fmla="*/ 1905 w 125729"/>
                  <a:gd name="connsiteY4" fmla="*/ 22331 h 30056"/>
                  <a:gd name="connsiteX5" fmla="*/ 4763 w 125729"/>
                  <a:gd name="connsiteY5" fmla="*/ 25188 h 30056"/>
                  <a:gd name="connsiteX6" fmla="*/ 5715 w 125729"/>
                  <a:gd name="connsiteY6" fmla="*/ 27093 h 30056"/>
                  <a:gd name="connsiteX7" fmla="*/ 18097 w 125729"/>
                  <a:gd name="connsiteY7" fmla="*/ 29951 h 30056"/>
                  <a:gd name="connsiteX8" fmla="*/ 23813 w 125729"/>
                  <a:gd name="connsiteY8" fmla="*/ 29951 h 30056"/>
                  <a:gd name="connsiteX9" fmla="*/ 28575 w 125729"/>
                  <a:gd name="connsiteY9" fmla="*/ 28046 h 30056"/>
                  <a:gd name="connsiteX10" fmla="*/ 33338 w 125729"/>
                  <a:gd name="connsiteY10" fmla="*/ 28046 h 30056"/>
                  <a:gd name="connsiteX11" fmla="*/ 39052 w 125729"/>
                  <a:gd name="connsiteY11" fmla="*/ 28998 h 30056"/>
                  <a:gd name="connsiteX12" fmla="*/ 51435 w 125729"/>
                  <a:gd name="connsiteY12" fmla="*/ 28998 h 30056"/>
                  <a:gd name="connsiteX13" fmla="*/ 57150 w 125729"/>
                  <a:gd name="connsiteY13" fmla="*/ 28998 h 30056"/>
                  <a:gd name="connsiteX14" fmla="*/ 64770 w 125729"/>
                  <a:gd name="connsiteY14" fmla="*/ 28998 h 30056"/>
                  <a:gd name="connsiteX15" fmla="*/ 78105 w 125729"/>
                  <a:gd name="connsiteY15" fmla="*/ 28046 h 30056"/>
                  <a:gd name="connsiteX16" fmla="*/ 87630 w 125729"/>
                  <a:gd name="connsiteY16" fmla="*/ 28998 h 30056"/>
                  <a:gd name="connsiteX17" fmla="*/ 95250 w 125729"/>
                  <a:gd name="connsiteY17" fmla="*/ 29951 h 30056"/>
                  <a:gd name="connsiteX18" fmla="*/ 100013 w 125729"/>
                  <a:gd name="connsiteY18" fmla="*/ 29951 h 30056"/>
                  <a:gd name="connsiteX19" fmla="*/ 107632 w 125729"/>
                  <a:gd name="connsiteY19" fmla="*/ 29951 h 30056"/>
                  <a:gd name="connsiteX20" fmla="*/ 116205 w 125729"/>
                  <a:gd name="connsiteY20" fmla="*/ 28998 h 30056"/>
                  <a:gd name="connsiteX21" fmla="*/ 121920 w 125729"/>
                  <a:gd name="connsiteY21" fmla="*/ 28046 h 30056"/>
                  <a:gd name="connsiteX22" fmla="*/ 124777 w 125729"/>
                  <a:gd name="connsiteY22" fmla="*/ 26141 h 30056"/>
                  <a:gd name="connsiteX23" fmla="*/ 125730 w 125729"/>
                  <a:gd name="connsiteY23" fmla="*/ 23283 h 30056"/>
                  <a:gd name="connsiteX24" fmla="*/ 122872 w 125729"/>
                  <a:gd name="connsiteY24" fmla="*/ 20426 h 30056"/>
                  <a:gd name="connsiteX25" fmla="*/ 116205 w 125729"/>
                  <a:gd name="connsiteY25" fmla="*/ 17568 h 30056"/>
                  <a:gd name="connsiteX26" fmla="*/ 111442 w 125729"/>
                  <a:gd name="connsiteY26" fmla="*/ 13758 h 30056"/>
                  <a:gd name="connsiteX27" fmla="*/ 110490 w 125729"/>
                  <a:gd name="connsiteY27" fmla="*/ 12806 h 30056"/>
                  <a:gd name="connsiteX28" fmla="*/ 102870 w 125729"/>
                  <a:gd name="connsiteY28" fmla="*/ 10901 h 30056"/>
                  <a:gd name="connsiteX29" fmla="*/ 98107 w 125729"/>
                  <a:gd name="connsiteY29" fmla="*/ 9948 h 30056"/>
                  <a:gd name="connsiteX30" fmla="*/ 91440 w 125729"/>
                  <a:gd name="connsiteY30" fmla="*/ 7091 h 30056"/>
                  <a:gd name="connsiteX31" fmla="*/ 86677 w 125729"/>
                  <a:gd name="connsiteY31" fmla="*/ 5186 h 30056"/>
                  <a:gd name="connsiteX32" fmla="*/ 76200 w 125729"/>
                  <a:gd name="connsiteY32" fmla="*/ 2328 h 30056"/>
                  <a:gd name="connsiteX33" fmla="*/ 63817 w 125729"/>
                  <a:gd name="connsiteY33" fmla="*/ 423 h 30056"/>
                  <a:gd name="connsiteX34" fmla="*/ 57150 w 125729"/>
                  <a:gd name="connsiteY34" fmla="*/ 423 h 30056"/>
                  <a:gd name="connsiteX35" fmla="*/ 48577 w 125729"/>
                  <a:gd name="connsiteY35" fmla="*/ 1376 h 30056"/>
                  <a:gd name="connsiteX36" fmla="*/ 42863 w 125729"/>
                  <a:gd name="connsiteY36" fmla="*/ 2328 h 30056"/>
                  <a:gd name="connsiteX37" fmla="*/ 35242 w 125729"/>
                  <a:gd name="connsiteY37" fmla="*/ 6138 h 30056"/>
                  <a:gd name="connsiteX38" fmla="*/ 31432 w 125729"/>
                  <a:gd name="connsiteY38" fmla="*/ 9948 h 30056"/>
                  <a:gd name="connsiteX39" fmla="*/ 27622 w 125729"/>
                  <a:gd name="connsiteY39" fmla="*/ 11853 h 30056"/>
                  <a:gd name="connsiteX40" fmla="*/ 23813 w 125729"/>
                  <a:gd name="connsiteY40" fmla="*/ 12806 h 30056"/>
                  <a:gd name="connsiteX41" fmla="*/ 20002 w 125729"/>
                  <a:gd name="connsiteY41" fmla="*/ 13758 h 30056"/>
                  <a:gd name="connsiteX42" fmla="*/ 12382 w 125729"/>
                  <a:gd name="connsiteY42" fmla="*/ 17568 h 3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729" h="30056">
                    <a:moveTo>
                      <a:pt x="12382" y="17568"/>
                    </a:moveTo>
                    <a:cubicBezTo>
                      <a:pt x="10477" y="17568"/>
                      <a:pt x="4763" y="17568"/>
                      <a:pt x="4763" y="17568"/>
                    </a:cubicBezTo>
                    <a:lnTo>
                      <a:pt x="0" y="18521"/>
                    </a:lnTo>
                    <a:cubicBezTo>
                      <a:pt x="0" y="18521"/>
                      <a:pt x="952" y="20426"/>
                      <a:pt x="952" y="21378"/>
                    </a:cubicBezTo>
                    <a:cubicBezTo>
                      <a:pt x="1905" y="22331"/>
                      <a:pt x="1905" y="22331"/>
                      <a:pt x="1905" y="22331"/>
                    </a:cubicBezTo>
                    <a:cubicBezTo>
                      <a:pt x="1905" y="22331"/>
                      <a:pt x="3810" y="23283"/>
                      <a:pt x="4763" y="25188"/>
                    </a:cubicBezTo>
                    <a:cubicBezTo>
                      <a:pt x="5715" y="27093"/>
                      <a:pt x="4763" y="23283"/>
                      <a:pt x="5715" y="27093"/>
                    </a:cubicBezTo>
                    <a:cubicBezTo>
                      <a:pt x="6667" y="30903"/>
                      <a:pt x="18097" y="29951"/>
                      <a:pt x="18097" y="29951"/>
                    </a:cubicBezTo>
                    <a:cubicBezTo>
                      <a:pt x="18097" y="29951"/>
                      <a:pt x="22860" y="29951"/>
                      <a:pt x="23813" y="29951"/>
                    </a:cubicBezTo>
                    <a:cubicBezTo>
                      <a:pt x="25717" y="29951"/>
                      <a:pt x="28575" y="28046"/>
                      <a:pt x="28575" y="28046"/>
                    </a:cubicBezTo>
                    <a:lnTo>
                      <a:pt x="33338" y="28046"/>
                    </a:lnTo>
                    <a:cubicBezTo>
                      <a:pt x="33338" y="28046"/>
                      <a:pt x="37147" y="28998"/>
                      <a:pt x="39052" y="28998"/>
                    </a:cubicBezTo>
                    <a:cubicBezTo>
                      <a:pt x="40957" y="28998"/>
                      <a:pt x="51435" y="28998"/>
                      <a:pt x="51435" y="28998"/>
                    </a:cubicBezTo>
                    <a:cubicBezTo>
                      <a:pt x="51435" y="28998"/>
                      <a:pt x="54292" y="28998"/>
                      <a:pt x="57150" y="28998"/>
                    </a:cubicBezTo>
                    <a:cubicBezTo>
                      <a:pt x="59055" y="28998"/>
                      <a:pt x="61913" y="28998"/>
                      <a:pt x="64770" y="28998"/>
                    </a:cubicBezTo>
                    <a:cubicBezTo>
                      <a:pt x="67627" y="28998"/>
                      <a:pt x="75247" y="28046"/>
                      <a:pt x="78105" y="28046"/>
                    </a:cubicBezTo>
                    <a:cubicBezTo>
                      <a:pt x="80963" y="28046"/>
                      <a:pt x="85725" y="28998"/>
                      <a:pt x="87630" y="28998"/>
                    </a:cubicBezTo>
                    <a:cubicBezTo>
                      <a:pt x="89535" y="28998"/>
                      <a:pt x="93345" y="28998"/>
                      <a:pt x="95250" y="29951"/>
                    </a:cubicBezTo>
                    <a:cubicBezTo>
                      <a:pt x="97155" y="29951"/>
                      <a:pt x="97155" y="29951"/>
                      <a:pt x="100013" y="29951"/>
                    </a:cubicBezTo>
                    <a:cubicBezTo>
                      <a:pt x="102870" y="29951"/>
                      <a:pt x="104775" y="29951"/>
                      <a:pt x="107632" y="29951"/>
                    </a:cubicBezTo>
                    <a:cubicBezTo>
                      <a:pt x="111442" y="29951"/>
                      <a:pt x="114300" y="29951"/>
                      <a:pt x="116205" y="28998"/>
                    </a:cubicBezTo>
                    <a:cubicBezTo>
                      <a:pt x="118110" y="28998"/>
                      <a:pt x="120967" y="28046"/>
                      <a:pt x="121920" y="28046"/>
                    </a:cubicBezTo>
                    <a:cubicBezTo>
                      <a:pt x="123825" y="28046"/>
                      <a:pt x="124777" y="27093"/>
                      <a:pt x="124777" y="26141"/>
                    </a:cubicBezTo>
                    <a:cubicBezTo>
                      <a:pt x="125730" y="25188"/>
                      <a:pt x="125730" y="23283"/>
                      <a:pt x="125730" y="23283"/>
                    </a:cubicBezTo>
                    <a:cubicBezTo>
                      <a:pt x="125730" y="23283"/>
                      <a:pt x="124777" y="21378"/>
                      <a:pt x="122872" y="20426"/>
                    </a:cubicBezTo>
                    <a:cubicBezTo>
                      <a:pt x="120967" y="19473"/>
                      <a:pt x="118110" y="18521"/>
                      <a:pt x="116205" y="17568"/>
                    </a:cubicBezTo>
                    <a:cubicBezTo>
                      <a:pt x="114300" y="16616"/>
                      <a:pt x="111442" y="13758"/>
                      <a:pt x="111442" y="13758"/>
                    </a:cubicBezTo>
                    <a:cubicBezTo>
                      <a:pt x="111442" y="13758"/>
                      <a:pt x="112395" y="12806"/>
                      <a:pt x="110490" y="12806"/>
                    </a:cubicBezTo>
                    <a:cubicBezTo>
                      <a:pt x="108585" y="12806"/>
                      <a:pt x="102870" y="10901"/>
                      <a:pt x="102870" y="10901"/>
                    </a:cubicBezTo>
                    <a:lnTo>
                      <a:pt x="98107" y="9948"/>
                    </a:lnTo>
                    <a:lnTo>
                      <a:pt x="91440" y="7091"/>
                    </a:lnTo>
                    <a:lnTo>
                      <a:pt x="86677" y="5186"/>
                    </a:lnTo>
                    <a:cubicBezTo>
                      <a:pt x="86677" y="5186"/>
                      <a:pt x="79057" y="2328"/>
                      <a:pt x="76200" y="2328"/>
                    </a:cubicBezTo>
                    <a:cubicBezTo>
                      <a:pt x="73342" y="2328"/>
                      <a:pt x="63817" y="423"/>
                      <a:pt x="63817" y="423"/>
                    </a:cubicBezTo>
                    <a:cubicBezTo>
                      <a:pt x="63817" y="423"/>
                      <a:pt x="60007" y="-529"/>
                      <a:pt x="57150" y="423"/>
                    </a:cubicBezTo>
                    <a:cubicBezTo>
                      <a:pt x="54292" y="1376"/>
                      <a:pt x="50482" y="1376"/>
                      <a:pt x="48577" y="1376"/>
                    </a:cubicBezTo>
                    <a:cubicBezTo>
                      <a:pt x="46672" y="2328"/>
                      <a:pt x="42863" y="2328"/>
                      <a:pt x="42863" y="2328"/>
                    </a:cubicBezTo>
                    <a:cubicBezTo>
                      <a:pt x="42863" y="2328"/>
                      <a:pt x="38100" y="3281"/>
                      <a:pt x="35242" y="6138"/>
                    </a:cubicBezTo>
                    <a:cubicBezTo>
                      <a:pt x="33338" y="8996"/>
                      <a:pt x="32385" y="8996"/>
                      <a:pt x="31432" y="9948"/>
                    </a:cubicBezTo>
                    <a:cubicBezTo>
                      <a:pt x="30480" y="10901"/>
                      <a:pt x="27622" y="11853"/>
                      <a:pt x="27622" y="11853"/>
                    </a:cubicBezTo>
                    <a:cubicBezTo>
                      <a:pt x="27622" y="11853"/>
                      <a:pt x="25717" y="11853"/>
                      <a:pt x="23813" y="12806"/>
                    </a:cubicBezTo>
                    <a:cubicBezTo>
                      <a:pt x="21907" y="13758"/>
                      <a:pt x="20002" y="13758"/>
                      <a:pt x="20002" y="13758"/>
                    </a:cubicBezTo>
                    <a:lnTo>
                      <a:pt x="12382" y="17568"/>
                    </a:lnTo>
                    <a:close/>
                  </a:path>
                </a:pathLst>
              </a:custGeom>
              <a:grpFill/>
              <a:ln w="9525" cap="flat">
                <a:noFill/>
                <a:prstDash val="solid"/>
                <a:miter/>
              </a:ln>
            </p:spPr>
            <p:txBody>
              <a:bodyPr rtlCol="0" anchor="ctr"/>
              <a:lstStyle/>
              <a:p>
                <a:endParaRPr lang="en-US" sz="1765"/>
              </a:p>
            </p:txBody>
          </p:sp>
          <p:sp>
            <p:nvSpPr>
              <p:cNvPr id="44" name="Freeform: Shape 43">
                <a:extLst>
                  <a:ext uri="{FF2B5EF4-FFF2-40B4-BE49-F238E27FC236}">
                    <a16:creationId xmlns:a16="http://schemas.microsoft.com/office/drawing/2014/main" id="{8C736CE1-3F6E-4F37-9738-9190604F1CDE}"/>
                  </a:ext>
                </a:extLst>
              </p:cNvPr>
              <p:cNvSpPr/>
              <p:nvPr/>
            </p:nvSpPr>
            <p:spPr>
              <a:xfrm>
                <a:off x="5443566" y="3186793"/>
                <a:ext cx="1904" cy="9525"/>
              </a:xfrm>
              <a:custGeom>
                <a:avLst/>
                <a:gdLst>
                  <a:gd name="connsiteX0" fmla="*/ 1905 w 1904"/>
                  <a:gd name="connsiteY0" fmla="*/ 0 h 9525"/>
                  <a:gd name="connsiteX1" fmla="*/ 0 w 1904"/>
                  <a:gd name="connsiteY1" fmla="*/ 0 h 9525"/>
                  <a:gd name="connsiteX2" fmla="*/ 1905 w 1904"/>
                  <a:gd name="connsiteY2" fmla="*/ 0 h 9525"/>
                </a:gdLst>
                <a:ahLst/>
                <a:cxnLst>
                  <a:cxn ang="0">
                    <a:pos x="connsiteX0" y="connsiteY0"/>
                  </a:cxn>
                  <a:cxn ang="0">
                    <a:pos x="connsiteX1" y="connsiteY1"/>
                  </a:cxn>
                  <a:cxn ang="0">
                    <a:pos x="connsiteX2" y="connsiteY2"/>
                  </a:cxn>
                </a:cxnLst>
                <a:rect l="l" t="t" r="r" b="b"/>
                <a:pathLst>
                  <a:path w="1904" h="9525">
                    <a:moveTo>
                      <a:pt x="1905" y="0"/>
                    </a:moveTo>
                    <a:cubicBezTo>
                      <a:pt x="1905" y="0"/>
                      <a:pt x="952" y="0"/>
                      <a:pt x="0" y="0"/>
                    </a:cubicBezTo>
                    <a:cubicBezTo>
                      <a:pt x="0" y="0"/>
                      <a:pt x="952" y="0"/>
                      <a:pt x="1905" y="0"/>
                    </a:cubicBezTo>
                    <a:close/>
                  </a:path>
                </a:pathLst>
              </a:custGeom>
              <a:grpFill/>
              <a:ln w="9525" cap="flat">
                <a:noFill/>
                <a:prstDash val="solid"/>
                <a:miter/>
              </a:ln>
            </p:spPr>
            <p:txBody>
              <a:bodyPr rtlCol="0" anchor="ctr"/>
              <a:lstStyle/>
              <a:p>
                <a:endParaRPr lang="en-US" sz="1765"/>
              </a:p>
            </p:txBody>
          </p:sp>
          <p:sp>
            <p:nvSpPr>
              <p:cNvPr id="46" name="Freeform: Shape 45">
                <a:extLst>
                  <a:ext uri="{FF2B5EF4-FFF2-40B4-BE49-F238E27FC236}">
                    <a16:creationId xmlns:a16="http://schemas.microsoft.com/office/drawing/2014/main" id="{E0D96788-96AD-4645-9E4B-6AC4AF81199C}"/>
                  </a:ext>
                </a:extLst>
              </p:cNvPr>
              <p:cNvSpPr/>
              <p:nvPr/>
            </p:nvSpPr>
            <p:spPr>
              <a:xfrm>
                <a:off x="5337839" y="3029631"/>
                <a:ext cx="2242184" cy="1686775"/>
              </a:xfrm>
              <a:custGeom>
                <a:avLst/>
                <a:gdLst>
                  <a:gd name="connsiteX0" fmla="*/ 2242185 w 2242184"/>
                  <a:gd name="connsiteY0" fmla="*/ 1098233 h 1686775"/>
                  <a:gd name="connsiteX1" fmla="*/ 2238375 w 2242184"/>
                  <a:gd name="connsiteY1" fmla="*/ 1078230 h 1686775"/>
                  <a:gd name="connsiteX2" fmla="*/ 2238375 w 2242184"/>
                  <a:gd name="connsiteY2" fmla="*/ 1068705 h 1686775"/>
                  <a:gd name="connsiteX3" fmla="*/ 2238375 w 2242184"/>
                  <a:gd name="connsiteY3" fmla="*/ 1062990 h 1686775"/>
                  <a:gd name="connsiteX4" fmla="*/ 2227898 w 2242184"/>
                  <a:gd name="connsiteY4" fmla="*/ 1052513 h 1686775"/>
                  <a:gd name="connsiteX5" fmla="*/ 2212658 w 2242184"/>
                  <a:gd name="connsiteY5" fmla="*/ 1049655 h 1686775"/>
                  <a:gd name="connsiteX6" fmla="*/ 2188845 w 2242184"/>
                  <a:gd name="connsiteY6" fmla="*/ 1042035 h 1686775"/>
                  <a:gd name="connsiteX7" fmla="*/ 2180273 w 2242184"/>
                  <a:gd name="connsiteY7" fmla="*/ 1037273 h 1686775"/>
                  <a:gd name="connsiteX8" fmla="*/ 2165033 w 2242184"/>
                  <a:gd name="connsiteY8" fmla="*/ 1034415 h 1686775"/>
                  <a:gd name="connsiteX9" fmla="*/ 2153603 w 2242184"/>
                  <a:gd name="connsiteY9" fmla="*/ 1032510 h 1686775"/>
                  <a:gd name="connsiteX10" fmla="*/ 2118360 w 2242184"/>
                  <a:gd name="connsiteY10" fmla="*/ 1026795 h 1686775"/>
                  <a:gd name="connsiteX11" fmla="*/ 2109788 w 2242184"/>
                  <a:gd name="connsiteY11" fmla="*/ 1024890 h 1686775"/>
                  <a:gd name="connsiteX12" fmla="*/ 2087880 w 2242184"/>
                  <a:gd name="connsiteY12" fmla="*/ 1020127 h 1686775"/>
                  <a:gd name="connsiteX13" fmla="*/ 2070735 w 2242184"/>
                  <a:gd name="connsiteY13" fmla="*/ 1015365 h 1686775"/>
                  <a:gd name="connsiteX14" fmla="*/ 2059305 w 2242184"/>
                  <a:gd name="connsiteY14" fmla="*/ 1013460 h 1686775"/>
                  <a:gd name="connsiteX15" fmla="*/ 2045970 w 2242184"/>
                  <a:gd name="connsiteY15" fmla="*/ 1010602 h 1686775"/>
                  <a:gd name="connsiteX16" fmla="*/ 2037398 w 2242184"/>
                  <a:gd name="connsiteY16" fmla="*/ 1005840 h 1686775"/>
                  <a:gd name="connsiteX17" fmla="*/ 2022158 w 2242184"/>
                  <a:gd name="connsiteY17" fmla="*/ 992505 h 1686775"/>
                  <a:gd name="connsiteX18" fmla="*/ 2006918 w 2242184"/>
                  <a:gd name="connsiteY18" fmla="*/ 979170 h 1686775"/>
                  <a:gd name="connsiteX19" fmla="*/ 2000250 w 2242184"/>
                  <a:gd name="connsiteY19" fmla="*/ 970598 h 1686775"/>
                  <a:gd name="connsiteX20" fmla="*/ 1993583 w 2242184"/>
                  <a:gd name="connsiteY20" fmla="*/ 963930 h 1686775"/>
                  <a:gd name="connsiteX21" fmla="*/ 1969770 w 2242184"/>
                  <a:gd name="connsiteY21" fmla="*/ 950595 h 1686775"/>
                  <a:gd name="connsiteX22" fmla="*/ 1954530 w 2242184"/>
                  <a:gd name="connsiteY22" fmla="*/ 944880 h 1686775"/>
                  <a:gd name="connsiteX23" fmla="*/ 1937385 w 2242184"/>
                  <a:gd name="connsiteY23" fmla="*/ 939165 h 1686775"/>
                  <a:gd name="connsiteX24" fmla="*/ 1910715 w 2242184"/>
                  <a:gd name="connsiteY24" fmla="*/ 934402 h 1686775"/>
                  <a:gd name="connsiteX25" fmla="*/ 1902143 w 2242184"/>
                  <a:gd name="connsiteY25" fmla="*/ 934402 h 1686775"/>
                  <a:gd name="connsiteX26" fmla="*/ 1880235 w 2242184"/>
                  <a:gd name="connsiteY26" fmla="*/ 928688 h 1686775"/>
                  <a:gd name="connsiteX27" fmla="*/ 1866900 w 2242184"/>
                  <a:gd name="connsiteY27" fmla="*/ 922973 h 1686775"/>
                  <a:gd name="connsiteX28" fmla="*/ 1858328 w 2242184"/>
                  <a:gd name="connsiteY28" fmla="*/ 911543 h 1686775"/>
                  <a:gd name="connsiteX29" fmla="*/ 1841183 w 2242184"/>
                  <a:gd name="connsiteY29" fmla="*/ 902970 h 1686775"/>
                  <a:gd name="connsiteX30" fmla="*/ 1830705 w 2242184"/>
                  <a:gd name="connsiteY30" fmla="*/ 897255 h 1686775"/>
                  <a:gd name="connsiteX31" fmla="*/ 1804035 w 2242184"/>
                  <a:gd name="connsiteY31" fmla="*/ 889635 h 1686775"/>
                  <a:gd name="connsiteX32" fmla="*/ 1784033 w 2242184"/>
                  <a:gd name="connsiteY32" fmla="*/ 887730 h 1686775"/>
                  <a:gd name="connsiteX33" fmla="*/ 1740218 w 2242184"/>
                  <a:gd name="connsiteY33" fmla="*/ 887730 h 1686775"/>
                  <a:gd name="connsiteX34" fmla="*/ 1720215 w 2242184"/>
                  <a:gd name="connsiteY34" fmla="*/ 887730 h 1686775"/>
                  <a:gd name="connsiteX35" fmla="*/ 1706880 w 2242184"/>
                  <a:gd name="connsiteY35" fmla="*/ 887730 h 1686775"/>
                  <a:gd name="connsiteX36" fmla="*/ 1674495 w 2242184"/>
                  <a:gd name="connsiteY36" fmla="*/ 879158 h 1686775"/>
                  <a:gd name="connsiteX37" fmla="*/ 1652588 w 2242184"/>
                  <a:gd name="connsiteY37" fmla="*/ 880110 h 1686775"/>
                  <a:gd name="connsiteX38" fmla="*/ 1644015 w 2242184"/>
                  <a:gd name="connsiteY38" fmla="*/ 878205 h 1686775"/>
                  <a:gd name="connsiteX39" fmla="*/ 1622108 w 2242184"/>
                  <a:gd name="connsiteY39" fmla="*/ 878205 h 1686775"/>
                  <a:gd name="connsiteX40" fmla="*/ 1590675 w 2242184"/>
                  <a:gd name="connsiteY40" fmla="*/ 884873 h 1686775"/>
                  <a:gd name="connsiteX41" fmla="*/ 1572578 w 2242184"/>
                  <a:gd name="connsiteY41" fmla="*/ 896302 h 1686775"/>
                  <a:gd name="connsiteX42" fmla="*/ 1557338 w 2242184"/>
                  <a:gd name="connsiteY42" fmla="*/ 897255 h 1686775"/>
                  <a:gd name="connsiteX43" fmla="*/ 1524000 w 2242184"/>
                  <a:gd name="connsiteY43" fmla="*/ 900113 h 1686775"/>
                  <a:gd name="connsiteX44" fmla="*/ 1508760 w 2242184"/>
                  <a:gd name="connsiteY44" fmla="*/ 900113 h 1686775"/>
                  <a:gd name="connsiteX45" fmla="*/ 1500188 w 2242184"/>
                  <a:gd name="connsiteY45" fmla="*/ 900113 h 1686775"/>
                  <a:gd name="connsiteX46" fmla="*/ 1480185 w 2242184"/>
                  <a:gd name="connsiteY46" fmla="*/ 897255 h 1686775"/>
                  <a:gd name="connsiteX47" fmla="*/ 1466850 w 2242184"/>
                  <a:gd name="connsiteY47" fmla="*/ 894398 h 1686775"/>
                  <a:gd name="connsiteX48" fmla="*/ 1458278 w 2242184"/>
                  <a:gd name="connsiteY48" fmla="*/ 882015 h 1686775"/>
                  <a:gd name="connsiteX49" fmla="*/ 1458278 w 2242184"/>
                  <a:gd name="connsiteY49" fmla="*/ 875348 h 1686775"/>
                  <a:gd name="connsiteX50" fmla="*/ 1458278 w 2242184"/>
                  <a:gd name="connsiteY50" fmla="*/ 866775 h 1686775"/>
                  <a:gd name="connsiteX51" fmla="*/ 1456373 w 2242184"/>
                  <a:gd name="connsiteY51" fmla="*/ 855345 h 1686775"/>
                  <a:gd name="connsiteX52" fmla="*/ 1454468 w 2242184"/>
                  <a:gd name="connsiteY52" fmla="*/ 838200 h 1686775"/>
                  <a:gd name="connsiteX53" fmla="*/ 1445895 w 2242184"/>
                  <a:gd name="connsiteY53" fmla="*/ 832485 h 1686775"/>
                  <a:gd name="connsiteX54" fmla="*/ 1432560 w 2242184"/>
                  <a:gd name="connsiteY54" fmla="*/ 830580 h 1686775"/>
                  <a:gd name="connsiteX55" fmla="*/ 1423988 w 2242184"/>
                  <a:gd name="connsiteY55" fmla="*/ 828675 h 1686775"/>
                  <a:gd name="connsiteX56" fmla="*/ 1403985 w 2242184"/>
                  <a:gd name="connsiteY56" fmla="*/ 821055 h 1686775"/>
                  <a:gd name="connsiteX57" fmla="*/ 1392555 w 2242184"/>
                  <a:gd name="connsiteY57" fmla="*/ 821055 h 1686775"/>
                  <a:gd name="connsiteX58" fmla="*/ 1379220 w 2242184"/>
                  <a:gd name="connsiteY58" fmla="*/ 821055 h 1686775"/>
                  <a:gd name="connsiteX59" fmla="*/ 1367790 w 2242184"/>
                  <a:gd name="connsiteY59" fmla="*/ 821055 h 1686775"/>
                  <a:gd name="connsiteX60" fmla="*/ 1359218 w 2242184"/>
                  <a:gd name="connsiteY60" fmla="*/ 815340 h 1686775"/>
                  <a:gd name="connsiteX61" fmla="*/ 1370648 w 2242184"/>
                  <a:gd name="connsiteY61" fmla="*/ 811530 h 1686775"/>
                  <a:gd name="connsiteX62" fmla="*/ 1382078 w 2242184"/>
                  <a:gd name="connsiteY62" fmla="*/ 808673 h 1686775"/>
                  <a:gd name="connsiteX63" fmla="*/ 1386840 w 2242184"/>
                  <a:gd name="connsiteY63" fmla="*/ 802958 h 1686775"/>
                  <a:gd name="connsiteX64" fmla="*/ 1386840 w 2242184"/>
                  <a:gd name="connsiteY64" fmla="*/ 797243 h 1686775"/>
                  <a:gd name="connsiteX65" fmla="*/ 1384935 w 2242184"/>
                  <a:gd name="connsiteY65" fmla="*/ 784860 h 1686775"/>
                  <a:gd name="connsiteX66" fmla="*/ 1384935 w 2242184"/>
                  <a:gd name="connsiteY66" fmla="*/ 776288 h 1686775"/>
                  <a:gd name="connsiteX67" fmla="*/ 1391603 w 2242184"/>
                  <a:gd name="connsiteY67" fmla="*/ 767715 h 1686775"/>
                  <a:gd name="connsiteX68" fmla="*/ 1394460 w 2242184"/>
                  <a:gd name="connsiteY68" fmla="*/ 759143 h 1686775"/>
                  <a:gd name="connsiteX69" fmla="*/ 1377315 w 2242184"/>
                  <a:gd name="connsiteY69" fmla="*/ 754380 h 1686775"/>
                  <a:gd name="connsiteX70" fmla="*/ 1359218 w 2242184"/>
                  <a:gd name="connsiteY70" fmla="*/ 757238 h 1686775"/>
                  <a:gd name="connsiteX71" fmla="*/ 1361123 w 2242184"/>
                  <a:gd name="connsiteY71" fmla="*/ 761048 h 1686775"/>
                  <a:gd name="connsiteX72" fmla="*/ 1347788 w 2242184"/>
                  <a:gd name="connsiteY72" fmla="*/ 761048 h 1686775"/>
                  <a:gd name="connsiteX73" fmla="*/ 1332548 w 2242184"/>
                  <a:gd name="connsiteY73" fmla="*/ 763905 h 1686775"/>
                  <a:gd name="connsiteX74" fmla="*/ 1332548 w 2242184"/>
                  <a:gd name="connsiteY74" fmla="*/ 767715 h 1686775"/>
                  <a:gd name="connsiteX75" fmla="*/ 1319213 w 2242184"/>
                  <a:gd name="connsiteY75" fmla="*/ 777240 h 1686775"/>
                  <a:gd name="connsiteX76" fmla="*/ 1312545 w 2242184"/>
                  <a:gd name="connsiteY76" fmla="*/ 785813 h 1686775"/>
                  <a:gd name="connsiteX77" fmla="*/ 1299210 w 2242184"/>
                  <a:gd name="connsiteY77" fmla="*/ 788670 h 1686775"/>
                  <a:gd name="connsiteX78" fmla="*/ 1290638 w 2242184"/>
                  <a:gd name="connsiteY78" fmla="*/ 789623 h 1686775"/>
                  <a:gd name="connsiteX79" fmla="*/ 1279208 w 2242184"/>
                  <a:gd name="connsiteY79" fmla="*/ 790575 h 1686775"/>
                  <a:gd name="connsiteX80" fmla="*/ 1263968 w 2242184"/>
                  <a:gd name="connsiteY80" fmla="*/ 790575 h 1686775"/>
                  <a:gd name="connsiteX81" fmla="*/ 1253490 w 2242184"/>
                  <a:gd name="connsiteY81" fmla="*/ 784860 h 1686775"/>
                  <a:gd name="connsiteX82" fmla="*/ 1244918 w 2242184"/>
                  <a:gd name="connsiteY82" fmla="*/ 777240 h 1686775"/>
                  <a:gd name="connsiteX83" fmla="*/ 1236345 w 2242184"/>
                  <a:gd name="connsiteY83" fmla="*/ 771525 h 1686775"/>
                  <a:gd name="connsiteX84" fmla="*/ 1229678 w 2242184"/>
                  <a:gd name="connsiteY84" fmla="*/ 765810 h 1686775"/>
                  <a:gd name="connsiteX85" fmla="*/ 1225868 w 2242184"/>
                  <a:gd name="connsiteY85" fmla="*/ 757238 h 1686775"/>
                  <a:gd name="connsiteX86" fmla="*/ 1223963 w 2242184"/>
                  <a:gd name="connsiteY86" fmla="*/ 747713 h 1686775"/>
                  <a:gd name="connsiteX87" fmla="*/ 1223963 w 2242184"/>
                  <a:gd name="connsiteY87" fmla="*/ 733425 h 1686775"/>
                  <a:gd name="connsiteX88" fmla="*/ 1223963 w 2242184"/>
                  <a:gd name="connsiteY88" fmla="*/ 723900 h 1686775"/>
                  <a:gd name="connsiteX89" fmla="*/ 1217295 w 2242184"/>
                  <a:gd name="connsiteY89" fmla="*/ 715327 h 1686775"/>
                  <a:gd name="connsiteX90" fmla="*/ 1215390 w 2242184"/>
                  <a:gd name="connsiteY90" fmla="*/ 700088 h 1686775"/>
                  <a:gd name="connsiteX91" fmla="*/ 1217295 w 2242184"/>
                  <a:gd name="connsiteY91" fmla="*/ 694373 h 1686775"/>
                  <a:gd name="connsiteX92" fmla="*/ 1223963 w 2242184"/>
                  <a:gd name="connsiteY92" fmla="*/ 684848 h 1686775"/>
                  <a:gd name="connsiteX93" fmla="*/ 1238250 w 2242184"/>
                  <a:gd name="connsiteY93" fmla="*/ 675323 h 1686775"/>
                  <a:gd name="connsiteX94" fmla="*/ 1258253 w 2242184"/>
                  <a:gd name="connsiteY94" fmla="*/ 674370 h 1686775"/>
                  <a:gd name="connsiteX95" fmla="*/ 1271588 w 2242184"/>
                  <a:gd name="connsiteY95" fmla="*/ 673418 h 1686775"/>
                  <a:gd name="connsiteX96" fmla="*/ 1278255 w 2242184"/>
                  <a:gd name="connsiteY96" fmla="*/ 675323 h 1686775"/>
                  <a:gd name="connsiteX97" fmla="*/ 1291590 w 2242184"/>
                  <a:gd name="connsiteY97" fmla="*/ 675323 h 1686775"/>
                  <a:gd name="connsiteX98" fmla="*/ 1313498 w 2242184"/>
                  <a:gd name="connsiteY98" fmla="*/ 674370 h 1686775"/>
                  <a:gd name="connsiteX99" fmla="*/ 1322070 w 2242184"/>
                  <a:gd name="connsiteY99" fmla="*/ 677227 h 1686775"/>
                  <a:gd name="connsiteX100" fmla="*/ 1339215 w 2242184"/>
                  <a:gd name="connsiteY100" fmla="*/ 677227 h 1686775"/>
                  <a:gd name="connsiteX101" fmla="*/ 1347788 w 2242184"/>
                  <a:gd name="connsiteY101" fmla="*/ 676275 h 1686775"/>
                  <a:gd name="connsiteX102" fmla="*/ 1365885 w 2242184"/>
                  <a:gd name="connsiteY102" fmla="*/ 673418 h 1686775"/>
                  <a:gd name="connsiteX103" fmla="*/ 1377315 w 2242184"/>
                  <a:gd name="connsiteY103" fmla="*/ 672465 h 1686775"/>
                  <a:gd name="connsiteX104" fmla="*/ 1414463 w 2242184"/>
                  <a:gd name="connsiteY104" fmla="*/ 671513 h 1686775"/>
                  <a:gd name="connsiteX105" fmla="*/ 1436370 w 2242184"/>
                  <a:gd name="connsiteY105" fmla="*/ 674370 h 1686775"/>
                  <a:gd name="connsiteX106" fmla="*/ 1449705 w 2242184"/>
                  <a:gd name="connsiteY106" fmla="*/ 677227 h 1686775"/>
                  <a:gd name="connsiteX107" fmla="*/ 1458278 w 2242184"/>
                  <a:gd name="connsiteY107" fmla="*/ 679133 h 1686775"/>
                  <a:gd name="connsiteX108" fmla="*/ 1460183 w 2242184"/>
                  <a:gd name="connsiteY108" fmla="*/ 684848 h 1686775"/>
                  <a:gd name="connsiteX109" fmla="*/ 1463993 w 2242184"/>
                  <a:gd name="connsiteY109" fmla="*/ 701993 h 1686775"/>
                  <a:gd name="connsiteX110" fmla="*/ 1467803 w 2242184"/>
                  <a:gd name="connsiteY110" fmla="*/ 720090 h 1686775"/>
                  <a:gd name="connsiteX111" fmla="*/ 1474470 w 2242184"/>
                  <a:gd name="connsiteY111" fmla="*/ 724852 h 1686775"/>
                  <a:gd name="connsiteX112" fmla="*/ 1498283 w 2242184"/>
                  <a:gd name="connsiteY112" fmla="*/ 730568 h 1686775"/>
                  <a:gd name="connsiteX113" fmla="*/ 1506855 w 2242184"/>
                  <a:gd name="connsiteY113" fmla="*/ 727710 h 1686775"/>
                  <a:gd name="connsiteX114" fmla="*/ 1513523 w 2242184"/>
                  <a:gd name="connsiteY114" fmla="*/ 721043 h 1686775"/>
                  <a:gd name="connsiteX115" fmla="*/ 1516380 w 2242184"/>
                  <a:gd name="connsiteY115" fmla="*/ 708660 h 1686775"/>
                  <a:gd name="connsiteX116" fmla="*/ 1518285 w 2242184"/>
                  <a:gd name="connsiteY116" fmla="*/ 702945 h 1686775"/>
                  <a:gd name="connsiteX117" fmla="*/ 1509713 w 2242184"/>
                  <a:gd name="connsiteY117" fmla="*/ 682943 h 1686775"/>
                  <a:gd name="connsiteX118" fmla="*/ 1503045 w 2242184"/>
                  <a:gd name="connsiteY118" fmla="*/ 676275 h 1686775"/>
                  <a:gd name="connsiteX119" fmla="*/ 1501140 w 2242184"/>
                  <a:gd name="connsiteY119" fmla="*/ 667702 h 1686775"/>
                  <a:gd name="connsiteX120" fmla="*/ 1499235 w 2242184"/>
                  <a:gd name="connsiteY120" fmla="*/ 659130 h 1686775"/>
                  <a:gd name="connsiteX121" fmla="*/ 1497330 w 2242184"/>
                  <a:gd name="connsiteY121" fmla="*/ 641985 h 1686775"/>
                  <a:gd name="connsiteX122" fmla="*/ 1512570 w 2242184"/>
                  <a:gd name="connsiteY122" fmla="*/ 633413 h 1686775"/>
                  <a:gd name="connsiteX123" fmla="*/ 1521143 w 2242184"/>
                  <a:gd name="connsiteY123" fmla="*/ 633413 h 1686775"/>
                  <a:gd name="connsiteX124" fmla="*/ 1547813 w 2242184"/>
                  <a:gd name="connsiteY124" fmla="*/ 629602 h 1686775"/>
                  <a:gd name="connsiteX125" fmla="*/ 1556385 w 2242184"/>
                  <a:gd name="connsiteY125" fmla="*/ 625793 h 1686775"/>
                  <a:gd name="connsiteX126" fmla="*/ 1561148 w 2242184"/>
                  <a:gd name="connsiteY126" fmla="*/ 620077 h 1686775"/>
                  <a:gd name="connsiteX127" fmla="*/ 1583055 w 2242184"/>
                  <a:gd name="connsiteY127" fmla="*/ 605790 h 1686775"/>
                  <a:gd name="connsiteX128" fmla="*/ 1587818 w 2242184"/>
                  <a:gd name="connsiteY128" fmla="*/ 597218 h 1686775"/>
                  <a:gd name="connsiteX129" fmla="*/ 1587818 w 2242184"/>
                  <a:gd name="connsiteY129" fmla="*/ 591502 h 1686775"/>
                  <a:gd name="connsiteX130" fmla="*/ 1587818 w 2242184"/>
                  <a:gd name="connsiteY130" fmla="*/ 585788 h 1686775"/>
                  <a:gd name="connsiteX131" fmla="*/ 1581150 w 2242184"/>
                  <a:gd name="connsiteY131" fmla="*/ 574358 h 1686775"/>
                  <a:gd name="connsiteX132" fmla="*/ 1592580 w 2242184"/>
                  <a:gd name="connsiteY132" fmla="*/ 564833 h 1686775"/>
                  <a:gd name="connsiteX133" fmla="*/ 1604010 w 2242184"/>
                  <a:gd name="connsiteY133" fmla="*/ 564833 h 1686775"/>
                  <a:gd name="connsiteX134" fmla="*/ 1610678 w 2242184"/>
                  <a:gd name="connsiteY134" fmla="*/ 555308 h 1686775"/>
                  <a:gd name="connsiteX135" fmla="*/ 1622108 w 2242184"/>
                  <a:gd name="connsiteY135" fmla="*/ 549593 h 1686775"/>
                  <a:gd name="connsiteX136" fmla="*/ 1640205 w 2242184"/>
                  <a:gd name="connsiteY136" fmla="*/ 543877 h 1686775"/>
                  <a:gd name="connsiteX137" fmla="*/ 1653540 w 2242184"/>
                  <a:gd name="connsiteY137" fmla="*/ 538163 h 1686775"/>
                  <a:gd name="connsiteX138" fmla="*/ 1662113 w 2242184"/>
                  <a:gd name="connsiteY138" fmla="*/ 534352 h 1686775"/>
                  <a:gd name="connsiteX139" fmla="*/ 1677353 w 2242184"/>
                  <a:gd name="connsiteY139" fmla="*/ 524827 h 1686775"/>
                  <a:gd name="connsiteX140" fmla="*/ 1679258 w 2242184"/>
                  <a:gd name="connsiteY140" fmla="*/ 519112 h 1686775"/>
                  <a:gd name="connsiteX141" fmla="*/ 1679258 w 2242184"/>
                  <a:gd name="connsiteY141" fmla="*/ 507683 h 1686775"/>
                  <a:gd name="connsiteX142" fmla="*/ 1684020 w 2242184"/>
                  <a:gd name="connsiteY142" fmla="*/ 496252 h 1686775"/>
                  <a:gd name="connsiteX143" fmla="*/ 1688783 w 2242184"/>
                  <a:gd name="connsiteY143" fmla="*/ 490537 h 1686775"/>
                  <a:gd name="connsiteX144" fmla="*/ 1700213 w 2242184"/>
                  <a:gd name="connsiteY144" fmla="*/ 487680 h 1686775"/>
                  <a:gd name="connsiteX145" fmla="*/ 1708785 w 2242184"/>
                  <a:gd name="connsiteY145" fmla="*/ 487680 h 1686775"/>
                  <a:gd name="connsiteX146" fmla="*/ 1742123 w 2242184"/>
                  <a:gd name="connsiteY146" fmla="*/ 484823 h 1686775"/>
                  <a:gd name="connsiteX147" fmla="*/ 1760220 w 2242184"/>
                  <a:gd name="connsiteY147" fmla="*/ 479108 h 1686775"/>
                  <a:gd name="connsiteX148" fmla="*/ 1760220 w 2242184"/>
                  <a:gd name="connsiteY148" fmla="*/ 484823 h 1686775"/>
                  <a:gd name="connsiteX149" fmla="*/ 1768793 w 2242184"/>
                  <a:gd name="connsiteY149" fmla="*/ 494348 h 1686775"/>
                  <a:gd name="connsiteX150" fmla="*/ 1775460 w 2242184"/>
                  <a:gd name="connsiteY150" fmla="*/ 496252 h 1686775"/>
                  <a:gd name="connsiteX151" fmla="*/ 1784033 w 2242184"/>
                  <a:gd name="connsiteY151" fmla="*/ 492443 h 1686775"/>
                  <a:gd name="connsiteX152" fmla="*/ 1790700 w 2242184"/>
                  <a:gd name="connsiteY152" fmla="*/ 485775 h 1686775"/>
                  <a:gd name="connsiteX153" fmla="*/ 1799273 w 2242184"/>
                  <a:gd name="connsiteY153" fmla="*/ 484823 h 1686775"/>
                  <a:gd name="connsiteX154" fmla="*/ 1805940 w 2242184"/>
                  <a:gd name="connsiteY154" fmla="*/ 487680 h 1686775"/>
                  <a:gd name="connsiteX155" fmla="*/ 1817370 w 2242184"/>
                  <a:gd name="connsiteY155" fmla="*/ 486727 h 1686775"/>
                  <a:gd name="connsiteX156" fmla="*/ 1825943 w 2242184"/>
                  <a:gd name="connsiteY156" fmla="*/ 486727 h 1686775"/>
                  <a:gd name="connsiteX157" fmla="*/ 1841183 w 2242184"/>
                  <a:gd name="connsiteY157" fmla="*/ 481012 h 1686775"/>
                  <a:gd name="connsiteX158" fmla="*/ 1847850 w 2242184"/>
                  <a:gd name="connsiteY158" fmla="*/ 478155 h 1686775"/>
                  <a:gd name="connsiteX159" fmla="*/ 1854518 w 2242184"/>
                  <a:gd name="connsiteY159" fmla="*/ 472440 h 1686775"/>
                  <a:gd name="connsiteX160" fmla="*/ 1859280 w 2242184"/>
                  <a:gd name="connsiteY160" fmla="*/ 463868 h 1686775"/>
                  <a:gd name="connsiteX161" fmla="*/ 1852613 w 2242184"/>
                  <a:gd name="connsiteY161" fmla="*/ 461010 h 1686775"/>
                  <a:gd name="connsiteX162" fmla="*/ 1844040 w 2242184"/>
                  <a:gd name="connsiteY162" fmla="*/ 459105 h 1686775"/>
                  <a:gd name="connsiteX163" fmla="*/ 1830705 w 2242184"/>
                  <a:gd name="connsiteY163" fmla="*/ 460058 h 1686775"/>
                  <a:gd name="connsiteX164" fmla="*/ 1806893 w 2242184"/>
                  <a:gd name="connsiteY164" fmla="*/ 458152 h 1686775"/>
                  <a:gd name="connsiteX165" fmla="*/ 1793558 w 2242184"/>
                  <a:gd name="connsiteY165" fmla="*/ 455295 h 1686775"/>
                  <a:gd name="connsiteX166" fmla="*/ 1782128 w 2242184"/>
                  <a:gd name="connsiteY166" fmla="*/ 455295 h 1686775"/>
                  <a:gd name="connsiteX167" fmla="*/ 1773555 w 2242184"/>
                  <a:gd name="connsiteY167" fmla="*/ 450533 h 1686775"/>
                  <a:gd name="connsiteX168" fmla="*/ 1773555 w 2242184"/>
                  <a:gd name="connsiteY168" fmla="*/ 441960 h 1686775"/>
                  <a:gd name="connsiteX169" fmla="*/ 1773555 w 2242184"/>
                  <a:gd name="connsiteY169" fmla="*/ 435293 h 1686775"/>
                  <a:gd name="connsiteX170" fmla="*/ 1771650 w 2242184"/>
                  <a:gd name="connsiteY170" fmla="*/ 429577 h 1686775"/>
                  <a:gd name="connsiteX171" fmla="*/ 1756410 w 2242184"/>
                  <a:gd name="connsiteY171" fmla="*/ 416243 h 1686775"/>
                  <a:gd name="connsiteX172" fmla="*/ 1734503 w 2242184"/>
                  <a:gd name="connsiteY172" fmla="*/ 422910 h 1686775"/>
                  <a:gd name="connsiteX173" fmla="*/ 1723073 w 2242184"/>
                  <a:gd name="connsiteY173" fmla="*/ 425768 h 1686775"/>
                  <a:gd name="connsiteX174" fmla="*/ 1707833 w 2242184"/>
                  <a:gd name="connsiteY174" fmla="*/ 432435 h 1686775"/>
                  <a:gd name="connsiteX175" fmla="*/ 1699260 w 2242184"/>
                  <a:gd name="connsiteY175" fmla="*/ 432435 h 1686775"/>
                  <a:gd name="connsiteX176" fmla="*/ 1704023 w 2242184"/>
                  <a:gd name="connsiteY176" fmla="*/ 423862 h 1686775"/>
                  <a:gd name="connsiteX177" fmla="*/ 1719263 w 2242184"/>
                  <a:gd name="connsiteY177" fmla="*/ 414337 h 1686775"/>
                  <a:gd name="connsiteX178" fmla="*/ 1732598 w 2242184"/>
                  <a:gd name="connsiteY178" fmla="*/ 408623 h 1686775"/>
                  <a:gd name="connsiteX179" fmla="*/ 1745933 w 2242184"/>
                  <a:gd name="connsiteY179" fmla="*/ 407670 h 1686775"/>
                  <a:gd name="connsiteX180" fmla="*/ 1763078 w 2242184"/>
                  <a:gd name="connsiteY180" fmla="*/ 409575 h 1686775"/>
                  <a:gd name="connsiteX181" fmla="*/ 1778318 w 2242184"/>
                  <a:gd name="connsiteY181" fmla="*/ 409575 h 1686775"/>
                  <a:gd name="connsiteX182" fmla="*/ 1793558 w 2242184"/>
                  <a:gd name="connsiteY182" fmla="*/ 411480 h 1686775"/>
                  <a:gd name="connsiteX183" fmla="*/ 1798320 w 2242184"/>
                  <a:gd name="connsiteY183" fmla="*/ 417195 h 1686775"/>
                  <a:gd name="connsiteX184" fmla="*/ 1804988 w 2242184"/>
                  <a:gd name="connsiteY184" fmla="*/ 422910 h 1686775"/>
                  <a:gd name="connsiteX185" fmla="*/ 1818323 w 2242184"/>
                  <a:gd name="connsiteY185" fmla="*/ 425768 h 1686775"/>
                  <a:gd name="connsiteX186" fmla="*/ 1824990 w 2242184"/>
                  <a:gd name="connsiteY186" fmla="*/ 419100 h 1686775"/>
                  <a:gd name="connsiteX187" fmla="*/ 1836420 w 2242184"/>
                  <a:gd name="connsiteY187" fmla="*/ 415290 h 1686775"/>
                  <a:gd name="connsiteX188" fmla="*/ 1849755 w 2242184"/>
                  <a:gd name="connsiteY188" fmla="*/ 412433 h 1686775"/>
                  <a:gd name="connsiteX189" fmla="*/ 1861185 w 2242184"/>
                  <a:gd name="connsiteY189" fmla="*/ 414337 h 1686775"/>
                  <a:gd name="connsiteX190" fmla="*/ 1874520 w 2242184"/>
                  <a:gd name="connsiteY190" fmla="*/ 416243 h 1686775"/>
                  <a:gd name="connsiteX191" fmla="*/ 1883093 w 2242184"/>
                  <a:gd name="connsiteY191" fmla="*/ 407670 h 1686775"/>
                  <a:gd name="connsiteX192" fmla="*/ 1889760 w 2242184"/>
                  <a:gd name="connsiteY192" fmla="*/ 392430 h 1686775"/>
                  <a:gd name="connsiteX193" fmla="*/ 1901190 w 2242184"/>
                  <a:gd name="connsiteY193" fmla="*/ 386715 h 1686775"/>
                  <a:gd name="connsiteX194" fmla="*/ 1919288 w 2242184"/>
                  <a:gd name="connsiteY194" fmla="*/ 381000 h 1686775"/>
                  <a:gd name="connsiteX195" fmla="*/ 1925955 w 2242184"/>
                  <a:gd name="connsiteY195" fmla="*/ 371475 h 1686775"/>
                  <a:gd name="connsiteX196" fmla="*/ 1924050 w 2242184"/>
                  <a:gd name="connsiteY196" fmla="*/ 359093 h 1686775"/>
                  <a:gd name="connsiteX197" fmla="*/ 1920240 w 2242184"/>
                  <a:gd name="connsiteY197" fmla="*/ 352425 h 1686775"/>
                  <a:gd name="connsiteX198" fmla="*/ 1900238 w 2242184"/>
                  <a:gd name="connsiteY198" fmla="*/ 349568 h 1686775"/>
                  <a:gd name="connsiteX199" fmla="*/ 1891665 w 2242184"/>
                  <a:gd name="connsiteY199" fmla="*/ 340995 h 1686775"/>
                  <a:gd name="connsiteX200" fmla="*/ 1889760 w 2242184"/>
                  <a:gd name="connsiteY200" fmla="*/ 335280 h 1686775"/>
                  <a:gd name="connsiteX201" fmla="*/ 1876425 w 2242184"/>
                  <a:gd name="connsiteY201" fmla="*/ 332423 h 1686775"/>
                  <a:gd name="connsiteX202" fmla="*/ 1864995 w 2242184"/>
                  <a:gd name="connsiteY202" fmla="*/ 330518 h 1686775"/>
                  <a:gd name="connsiteX203" fmla="*/ 1854518 w 2242184"/>
                  <a:gd name="connsiteY203" fmla="*/ 319087 h 1686775"/>
                  <a:gd name="connsiteX204" fmla="*/ 1844040 w 2242184"/>
                  <a:gd name="connsiteY204" fmla="*/ 303848 h 1686775"/>
                  <a:gd name="connsiteX205" fmla="*/ 1837373 w 2242184"/>
                  <a:gd name="connsiteY205" fmla="*/ 291465 h 1686775"/>
                  <a:gd name="connsiteX206" fmla="*/ 1817370 w 2242184"/>
                  <a:gd name="connsiteY206" fmla="*/ 280987 h 1686775"/>
                  <a:gd name="connsiteX207" fmla="*/ 1810703 w 2242184"/>
                  <a:gd name="connsiteY207" fmla="*/ 273368 h 1686775"/>
                  <a:gd name="connsiteX208" fmla="*/ 1800225 w 2242184"/>
                  <a:gd name="connsiteY208" fmla="*/ 267653 h 1686775"/>
                  <a:gd name="connsiteX209" fmla="*/ 1786890 w 2242184"/>
                  <a:gd name="connsiteY209" fmla="*/ 257175 h 1686775"/>
                  <a:gd name="connsiteX210" fmla="*/ 1766888 w 2242184"/>
                  <a:gd name="connsiteY210" fmla="*/ 268605 h 1686775"/>
                  <a:gd name="connsiteX211" fmla="*/ 1753553 w 2242184"/>
                  <a:gd name="connsiteY211" fmla="*/ 275273 h 1686775"/>
                  <a:gd name="connsiteX212" fmla="*/ 1726883 w 2242184"/>
                  <a:gd name="connsiteY212" fmla="*/ 279083 h 1686775"/>
                  <a:gd name="connsiteX213" fmla="*/ 1715453 w 2242184"/>
                  <a:gd name="connsiteY213" fmla="*/ 276225 h 1686775"/>
                  <a:gd name="connsiteX214" fmla="*/ 1713548 w 2242184"/>
                  <a:gd name="connsiteY214" fmla="*/ 267653 h 1686775"/>
                  <a:gd name="connsiteX215" fmla="*/ 1711643 w 2242184"/>
                  <a:gd name="connsiteY215" fmla="*/ 258128 h 1686775"/>
                  <a:gd name="connsiteX216" fmla="*/ 1711643 w 2242184"/>
                  <a:gd name="connsiteY216" fmla="*/ 249555 h 1686775"/>
                  <a:gd name="connsiteX217" fmla="*/ 1709738 w 2242184"/>
                  <a:gd name="connsiteY217" fmla="*/ 242887 h 1686775"/>
                  <a:gd name="connsiteX218" fmla="*/ 1705928 w 2242184"/>
                  <a:gd name="connsiteY218" fmla="*/ 237173 h 1686775"/>
                  <a:gd name="connsiteX219" fmla="*/ 1690688 w 2242184"/>
                  <a:gd name="connsiteY219" fmla="*/ 234315 h 1686775"/>
                  <a:gd name="connsiteX220" fmla="*/ 1677353 w 2242184"/>
                  <a:gd name="connsiteY220" fmla="*/ 232410 h 1686775"/>
                  <a:gd name="connsiteX221" fmla="*/ 1665923 w 2242184"/>
                  <a:gd name="connsiteY221" fmla="*/ 232410 h 1686775"/>
                  <a:gd name="connsiteX222" fmla="*/ 1657350 w 2242184"/>
                  <a:gd name="connsiteY222" fmla="*/ 224790 h 1686775"/>
                  <a:gd name="connsiteX223" fmla="*/ 1647825 w 2242184"/>
                  <a:gd name="connsiteY223" fmla="*/ 218123 h 1686775"/>
                  <a:gd name="connsiteX224" fmla="*/ 1634490 w 2242184"/>
                  <a:gd name="connsiteY224" fmla="*/ 215265 h 1686775"/>
                  <a:gd name="connsiteX225" fmla="*/ 1617345 w 2242184"/>
                  <a:gd name="connsiteY225" fmla="*/ 215265 h 1686775"/>
                  <a:gd name="connsiteX226" fmla="*/ 1605915 w 2242184"/>
                  <a:gd name="connsiteY226" fmla="*/ 215265 h 1686775"/>
                  <a:gd name="connsiteX227" fmla="*/ 1584008 w 2242184"/>
                  <a:gd name="connsiteY227" fmla="*/ 215265 h 1686775"/>
                  <a:gd name="connsiteX228" fmla="*/ 1570673 w 2242184"/>
                  <a:gd name="connsiteY228" fmla="*/ 219075 h 1686775"/>
                  <a:gd name="connsiteX229" fmla="*/ 1559243 w 2242184"/>
                  <a:gd name="connsiteY229" fmla="*/ 242887 h 1686775"/>
                  <a:gd name="connsiteX230" fmla="*/ 1559243 w 2242184"/>
                  <a:gd name="connsiteY230" fmla="*/ 255270 h 1686775"/>
                  <a:gd name="connsiteX231" fmla="*/ 1559243 w 2242184"/>
                  <a:gd name="connsiteY231" fmla="*/ 261937 h 1686775"/>
                  <a:gd name="connsiteX232" fmla="*/ 1559243 w 2242184"/>
                  <a:gd name="connsiteY232" fmla="*/ 265748 h 1686775"/>
                  <a:gd name="connsiteX233" fmla="*/ 1563053 w 2242184"/>
                  <a:gd name="connsiteY233" fmla="*/ 280035 h 1686775"/>
                  <a:gd name="connsiteX234" fmla="*/ 1566863 w 2242184"/>
                  <a:gd name="connsiteY234" fmla="*/ 297180 h 1686775"/>
                  <a:gd name="connsiteX235" fmla="*/ 1564005 w 2242184"/>
                  <a:gd name="connsiteY235" fmla="*/ 320040 h 1686775"/>
                  <a:gd name="connsiteX236" fmla="*/ 1550670 w 2242184"/>
                  <a:gd name="connsiteY236" fmla="*/ 331470 h 1686775"/>
                  <a:gd name="connsiteX237" fmla="*/ 1542098 w 2242184"/>
                  <a:gd name="connsiteY237" fmla="*/ 331470 h 1686775"/>
                  <a:gd name="connsiteX238" fmla="*/ 1528763 w 2242184"/>
                  <a:gd name="connsiteY238" fmla="*/ 343853 h 1686775"/>
                  <a:gd name="connsiteX239" fmla="*/ 1535430 w 2242184"/>
                  <a:gd name="connsiteY239" fmla="*/ 359093 h 1686775"/>
                  <a:gd name="connsiteX240" fmla="*/ 1537335 w 2242184"/>
                  <a:gd name="connsiteY240" fmla="*/ 377190 h 1686775"/>
                  <a:gd name="connsiteX241" fmla="*/ 1544003 w 2242184"/>
                  <a:gd name="connsiteY241" fmla="*/ 382905 h 1686775"/>
                  <a:gd name="connsiteX242" fmla="*/ 1517333 w 2242184"/>
                  <a:gd name="connsiteY242" fmla="*/ 385762 h 1686775"/>
                  <a:gd name="connsiteX243" fmla="*/ 1510665 w 2242184"/>
                  <a:gd name="connsiteY243" fmla="*/ 380048 h 1686775"/>
                  <a:gd name="connsiteX244" fmla="*/ 1500188 w 2242184"/>
                  <a:gd name="connsiteY244" fmla="*/ 369570 h 1686775"/>
                  <a:gd name="connsiteX245" fmla="*/ 1496378 w 2242184"/>
                  <a:gd name="connsiteY245" fmla="*/ 358140 h 1686775"/>
                  <a:gd name="connsiteX246" fmla="*/ 1492568 w 2242184"/>
                  <a:gd name="connsiteY246" fmla="*/ 342900 h 1686775"/>
                  <a:gd name="connsiteX247" fmla="*/ 1490663 w 2242184"/>
                  <a:gd name="connsiteY247" fmla="*/ 328612 h 1686775"/>
                  <a:gd name="connsiteX248" fmla="*/ 1470660 w 2242184"/>
                  <a:gd name="connsiteY248" fmla="*/ 323850 h 1686775"/>
                  <a:gd name="connsiteX249" fmla="*/ 1450658 w 2242184"/>
                  <a:gd name="connsiteY249" fmla="*/ 320993 h 1686775"/>
                  <a:gd name="connsiteX250" fmla="*/ 1442085 w 2242184"/>
                  <a:gd name="connsiteY250" fmla="*/ 316230 h 1686775"/>
                  <a:gd name="connsiteX251" fmla="*/ 1437323 w 2242184"/>
                  <a:gd name="connsiteY251" fmla="*/ 310515 h 1686775"/>
                  <a:gd name="connsiteX252" fmla="*/ 1410653 w 2242184"/>
                  <a:gd name="connsiteY252" fmla="*/ 304800 h 1686775"/>
                  <a:gd name="connsiteX253" fmla="*/ 1390650 w 2242184"/>
                  <a:gd name="connsiteY253" fmla="*/ 303848 h 1686775"/>
                  <a:gd name="connsiteX254" fmla="*/ 1380173 w 2242184"/>
                  <a:gd name="connsiteY254" fmla="*/ 296228 h 1686775"/>
                  <a:gd name="connsiteX255" fmla="*/ 1366838 w 2242184"/>
                  <a:gd name="connsiteY255" fmla="*/ 294323 h 1686775"/>
                  <a:gd name="connsiteX256" fmla="*/ 1353503 w 2242184"/>
                  <a:gd name="connsiteY256" fmla="*/ 292418 h 1686775"/>
                  <a:gd name="connsiteX257" fmla="*/ 1336358 w 2242184"/>
                  <a:gd name="connsiteY257" fmla="*/ 289560 h 1686775"/>
                  <a:gd name="connsiteX258" fmla="*/ 1323023 w 2242184"/>
                  <a:gd name="connsiteY258" fmla="*/ 287655 h 1686775"/>
                  <a:gd name="connsiteX259" fmla="*/ 1312545 w 2242184"/>
                  <a:gd name="connsiteY259" fmla="*/ 279083 h 1686775"/>
                  <a:gd name="connsiteX260" fmla="*/ 1308735 w 2242184"/>
                  <a:gd name="connsiteY260" fmla="*/ 270510 h 1686775"/>
                  <a:gd name="connsiteX261" fmla="*/ 1291590 w 2242184"/>
                  <a:gd name="connsiteY261" fmla="*/ 264795 h 1686775"/>
                  <a:gd name="connsiteX262" fmla="*/ 1278255 w 2242184"/>
                  <a:gd name="connsiteY262" fmla="*/ 260033 h 1686775"/>
                  <a:gd name="connsiteX263" fmla="*/ 1263015 w 2242184"/>
                  <a:gd name="connsiteY263" fmla="*/ 255270 h 1686775"/>
                  <a:gd name="connsiteX264" fmla="*/ 1267778 w 2242184"/>
                  <a:gd name="connsiteY264" fmla="*/ 243840 h 1686775"/>
                  <a:gd name="connsiteX265" fmla="*/ 1279208 w 2242184"/>
                  <a:gd name="connsiteY265" fmla="*/ 234315 h 1686775"/>
                  <a:gd name="connsiteX266" fmla="*/ 1290638 w 2242184"/>
                  <a:gd name="connsiteY266" fmla="*/ 228600 h 1686775"/>
                  <a:gd name="connsiteX267" fmla="*/ 1292543 w 2242184"/>
                  <a:gd name="connsiteY267" fmla="*/ 222885 h 1686775"/>
                  <a:gd name="connsiteX268" fmla="*/ 1299210 w 2242184"/>
                  <a:gd name="connsiteY268" fmla="*/ 216217 h 1686775"/>
                  <a:gd name="connsiteX269" fmla="*/ 1301115 w 2242184"/>
                  <a:gd name="connsiteY269" fmla="*/ 210503 h 1686775"/>
                  <a:gd name="connsiteX270" fmla="*/ 1307783 w 2242184"/>
                  <a:gd name="connsiteY270" fmla="*/ 209550 h 1686775"/>
                  <a:gd name="connsiteX271" fmla="*/ 1319213 w 2242184"/>
                  <a:gd name="connsiteY271" fmla="*/ 200025 h 1686775"/>
                  <a:gd name="connsiteX272" fmla="*/ 1327785 w 2242184"/>
                  <a:gd name="connsiteY272" fmla="*/ 193358 h 1686775"/>
                  <a:gd name="connsiteX273" fmla="*/ 1334453 w 2242184"/>
                  <a:gd name="connsiteY273" fmla="*/ 192405 h 1686775"/>
                  <a:gd name="connsiteX274" fmla="*/ 1343025 w 2242184"/>
                  <a:gd name="connsiteY274" fmla="*/ 192405 h 1686775"/>
                  <a:gd name="connsiteX275" fmla="*/ 1361123 w 2242184"/>
                  <a:gd name="connsiteY275" fmla="*/ 185737 h 1686775"/>
                  <a:gd name="connsiteX276" fmla="*/ 1369695 w 2242184"/>
                  <a:gd name="connsiteY276" fmla="*/ 180023 h 1686775"/>
                  <a:gd name="connsiteX277" fmla="*/ 1398270 w 2242184"/>
                  <a:gd name="connsiteY277" fmla="*/ 164783 h 1686775"/>
                  <a:gd name="connsiteX278" fmla="*/ 1403033 w 2242184"/>
                  <a:gd name="connsiteY278" fmla="*/ 158115 h 1686775"/>
                  <a:gd name="connsiteX279" fmla="*/ 1405890 w 2242184"/>
                  <a:gd name="connsiteY279" fmla="*/ 151448 h 1686775"/>
                  <a:gd name="connsiteX280" fmla="*/ 1412558 w 2242184"/>
                  <a:gd name="connsiteY280" fmla="*/ 142875 h 1686775"/>
                  <a:gd name="connsiteX281" fmla="*/ 1425893 w 2242184"/>
                  <a:gd name="connsiteY281" fmla="*/ 140017 h 1686775"/>
                  <a:gd name="connsiteX282" fmla="*/ 1434465 w 2242184"/>
                  <a:gd name="connsiteY282" fmla="*/ 139065 h 1686775"/>
                  <a:gd name="connsiteX283" fmla="*/ 1461135 w 2242184"/>
                  <a:gd name="connsiteY283" fmla="*/ 139065 h 1686775"/>
                  <a:gd name="connsiteX284" fmla="*/ 1483043 w 2242184"/>
                  <a:gd name="connsiteY284" fmla="*/ 135255 h 1686775"/>
                  <a:gd name="connsiteX285" fmla="*/ 1487805 w 2242184"/>
                  <a:gd name="connsiteY285" fmla="*/ 128587 h 1686775"/>
                  <a:gd name="connsiteX286" fmla="*/ 1490663 w 2242184"/>
                  <a:gd name="connsiteY286" fmla="*/ 120015 h 1686775"/>
                  <a:gd name="connsiteX287" fmla="*/ 1497330 w 2242184"/>
                  <a:gd name="connsiteY287" fmla="*/ 111442 h 1686775"/>
                  <a:gd name="connsiteX288" fmla="*/ 1500188 w 2242184"/>
                  <a:gd name="connsiteY288" fmla="*/ 102870 h 1686775"/>
                  <a:gd name="connsiteX289" fmla="*/ 1500188 w 2242184"/>
                  <a:gd name="connsiteY289" fmla="*/ 91440 h 1686775"/>
                  <a:gd name="connsiteX290" fmla="*/ 1486853 w 2242184"/>
                  <a:gd name="connsiteY290" fmla="*/ 82867 h 1686775"/>
                  <a:gd name="connsiteX291" fmla="*/ 1478280 w 2242184"/>
                  <a:gd name="connsiteY291" fmla="*/ 78105 h 1686775"/>
                  <a:gd name="connsiteX292" fmla="*/ 1506855 w 2242184"/>
                  <a:gd name="connsiteY292" fmla="*/ 75248 h 1686775"/>
                  <a:gd name="connsiteX293" fmla="*/ 1513523 w 2242184"/>
                  <a:gd name="connsiteY293" fmla="*/ 77153 h 1686775"/>
                  <a:gd name="connsiteX294" fmla="*/ 1531620 w 2242184"/>
                  <a:gd name="connsiteY294" fmla="*/ 77153 h 1686775"/>
                  <a:gd name="connsiteX295" fmla="*/ 1544955 w 2242184"/>
                  <a:gd name="connsiteY295" fmla="*/ 77153 h 1686775"/>
                  <a:gd name="connsiteX296" fmla="*/ 1560195 w 2242184"/>
                  <a:gd name="connsiteY296" fmla="*/ 80010 h 1686775"/>
                  <a:gd name="connsiteX297" fmla="*/ 1584008 w 2242184"/>
                  <a:gd name="connsiteY297" fmla="*/ 84773 h 1686775"/>
                  <a:gd name="connsiteX298" fmla="*/ 1594485 w 2242184"/>
                  <a:gd name="connsiteY298" fmla="*/ 87630 h 1686775"/>
                  <a:gd name="connsiteX299" fmla="*/ 1603058 w 2242184"/>
                  <a:gd name="connsiteY299" fmla="*/ 90487 h 1686775"/>
                  <a:gd name="connsiteX300" fmla="*/ 1633538 w 2242184"/>
                  <a:gd name="connsiteY300" fmla="*/ 100965 h 1686775"/>
                  <a:gd name="connsiteX301" fmla="*/ 1642110 w 2242184"/>
                  <a:gd name="connsiteY301" fmla="*/ 105728 h 1686775"/>
                  <a:gd name="connsiteX302" fmla="*/ 1645920 w 2242184"/>
                  <a:gd name="connsiteY302" fmla="*/ 112395 h 1686775"/>
                  <a:gd name="connsiteX303" fmla="*/ 1647825 w 2242184"/>
                  <a:gd name="connsiteY303" fmla="*/ 118110 h 1686775"/>
                  <a:gd name="connsiteX304" fmla="*/ 1643063 w 2242184"/>
                  <a:gd name="connsiteY304" fmla="*/ 126683 h 1686775"/>
                  <a:gd name="connsiteX305" fmla="*/ 1643063 w 2242184"/>
                  <a:gd name="connsiteY305" fmla="*/ 130492 h 1686775"/>
                  <a:gd name="connsiteX306" fmla="*/ 1629728 w 2242184"/>
                  <a:gd name="connsiteY306" fmla="*/ 141923 h 1686775"/>
                  <a:gd name="connsiteX307" fmla="*/ 1624965 w 2242184"/>
                  <a:gd name="connsiteY307" fmla="*/ 151448 h 1686775"/>
                  <a:gd name="connsiteX308" fmla="*/ 1626870 w 2242184"/>
                  <a:gd name="connsiteY308" fmla="*/ 160973 h 1686775"/>
                  <a:gd name="connsiteX309" fmla="*/ 1637348 w 2242184"/>
                  <a:gd name="connsiteY309" fmla="*/ 169545 h 1686775"/>
                  <a:gd name="connsiteX310" fmla="*/ 1647825 w 2242184"/>
                  <a:gd name="connsiteY310" fmla="*/ 177165 h 1686775"/>
                  <a:gd name="connsiteX311" fmla="*/ 1654493 w 2242184"/>
                  <a:gd name="connsiteY311" fmla="*/ 182880 h 1686775"/>
                  <a:gd name="connsiteX312" fmla="*/ 1664970 w 2242184"/>
                  <a:gd name="connsiteY312" fmla="*/ 190500 h 1686775"/>
                  <a:gd name="connsiteX313" fmla="*/ 1680210 w 2242184"/>
                  <a:gd name="connsiteY313" fmla="*/ 196215 h 1686775"/>
                  <a:gd name="connsiteX314" fmla="*/ 1704023 w 2242184"/>
                  <a:gd name="connsiteY314" fmla="*/ 206692 h 1686775"/>
                  <a:gd name="connsiteX315" fmla="*/ 1710690 w 2242184"/>
                  <a:gd name="connsiteY315" fmla="*/ 209550 h 1686775"/>
                  <a:gd name="connsiteX316" fmla="*/ 1727835 w 2242184"/>
                  <a:gd name="connsiteY316" fmla="*/ 215265 h 1686775"/>
                  <a:gd name="connsiteX317" fmla="*/ 1736408 w 2242184"/>
                  <a:gd name="connsiteY317" fmla="*/ 218123 h 1686775"/>
                  <a:gd name="connsiteX318" fmla="*/ 1751648 w 2242184"/>
                  <a:gd name="connsiteY318" fmla="*/ 217170 h 1686775"/>
                  <a:gd name="connsiteX319" fmla="*/ 1762125 w 2242184"/>
                  <a:gd name="connsiteY319" fmla="*/ 218123 h 1686775"/>
                  <a:gd name="connsiteX320" fmla="*/ 1760220 w 2242184"/>
                  <a:gd name="connsiteY320" fmla="*/ 209550 h 1686775"/>
                  <a:gd name="connsiteX321" fmla="*/ 1771650 w 2242184"/>
                  <a:gd name="connsiteY321" fmla="*/ 209550 h 1686775"/>
                  <a:gd name="connsiteX322" fmla="*/ 1789748 w 2242184"/>
                  <a:gd name="connsiteY322" fmla="*/ 207645 h 1686775"/>
                  <a:gd name="connsiteX323" fmla="*/ 1792605 w 2242184"/>
                  <a:gd name="connsiteY323" fmla="*/ 203835 h 1686775"/>
                  <a:gd name="connsiteX324" fmla="*/ 1794510 w 2242184"/>
                  <a:gd name="connsiteY324" fmla="*/ 198120 h 1686775"/>
                  <a:gd name="connsiteX325" fmla="*/ 1789748 w 2242184"/>
                  <a:gd name="connsiteY325" fmla="*/ 192405 h 1686775"/>
                  <a:gd name="connsiteX326" fmla="*/ 1784985 w 2242184"/>
                  <a:gd name="connsiteY326" fmla="*/ 187642 h 1686775"/>
                  <a:gd name="connsiteX327" fmla="*/ 1778318 w 2242184"/>
                  <a:gd name="connsiteY327" fmla="*/ 178117 h 1686775"/>
                  <a:gd name="connsiteX328" fmla="*/ 1771650 w 2242184"/>
                  <a:gd name="connsiteY328" fmla="*/ 169545 h 1686775"/>
                  <a:gd name="connsiteX329" fmla="*/ 1755458 w 2242184"/>
                  <a:gd name="connsiteY329" fmla="*/ 163830 h 1686775"/>
                  <a:gd name="connsiteX330" fmla="*/ 1749743 w 2242184"/>
                  <a:gd name="connsiteY330" fmla="*/ 155258 h 1686775"/>
                  <a:gd name="connsiteX331" fmla="*/ 1751648 w 2242184"/>
                  <a:gd name="connsiteY331" fmla="*/ 148590 h 1686775"/>
                  <a:gd name="connsiteX332" fmla="*/ 1764983 w 2242184"/>
                  <a:gd name="connsiteY332" fmla="*/ 149542 h 1686775"/>
                  <a:gd name="connsiteX333" fmla="*/ 1772603 w 2242184"/>
                  <a:gd name="connsiteY333" fmla="*/ 155258 h 1686775"/>
                  <a:gd name="connsiteX334" fmla="*/ 1781175 w 2242184"/>
                  <a:gd name="connsiteY334" fmla="*/ 158115 h 1686775"/>
                  <a:gd name="connsiteX335" fmla="*/ 1786890 w 2242184"/>
                  <a:gd name="connsiteY335" fmla="*/ 161925 h 1686775"/>
                  <a:gd name="connsiteX336" fmla="*/ 1798320 w 2242184"/>
                  <a:gd name="connsiteY336" fmla="*/ 164783 h 1686775"/>
                  <a:gd name="connsiteX337" fmla="*/ 1806893 w 2242184"/>
                  <a:gd name="connsiteY337" fmla="*/ 165735 h 1686775"/>
                  <a:gd name="connsiteX338" fmla="*/ 1814513 w 2242184"/>
                  <a:gd name="connsiteY338" fmla="*/ 160973 h 1686775"/>
                  <a:gd name="connsiteX339" fmla="*/ 1820228 w 2242184"/>
                  <a:gd name="connsiteY339" fmla="*/ 156210 h 1686775"/>
                  <a:gd name="connsiteX340" fmla="*/ 1834515 w 2242184"/>
                  <a:gd name="connsiteY340" fmla="*/ 156210 h 1686775"/>
                  <a:gd name="connsiteX341" fmla="*/ 1839278 w 2242184"/>
                  <a:gd name="connsiteY341" fmla="*/ 156210 h 1686775"/>
                  <a:gd name="connsiteX342" fmla="*/ 1846898 w 2242184"/>
                  <a:gd name="connsiteY342" fmla="*/ 150495 h 1686775"/>
                  <a:gd name="connsiteX343" fmla="*/ 1852613 w 2242184"/>
                  <a:gd name="connsiteY343" fmla="*/ 145733 h 1686775"/>
                  <a:gd name="connsiteX344" fmla="*/ 1854518 w 2242184"/>
                  <a:gd name="connsiteY344" fmla="*/ 140017 h 1686775"/>
                  <a:gd name="connsiteX345" fmla="*/ 1856423 w 2242184"/>
                  <a:gd name="connsiteY345" fmla="*/ 134303 h 1686775"/>
                  <a:gd name="connsiteX346" fmla="*/ 1856423 w 2242184"/>
                  <a:gd name="connsiteY346" fmla="*/ 130492 h 1686775"/>
                  <a:gd name="connsiteX347" fmla="*/ 1848803 w 2242184"/>
                  <a:gd name="connsiteY347" fmla="*/ 126683 h 1686775"/>
                  <a:gd name="connsiteX348" fmla="*/ 1837373 w 2242184"/>
                  <a:gd name="connsiteY348" fmla="*/ 123825 h 1686775"/>
                  <a:gd name="connsiteX349" fmla="*/ 1820228 w 2242184"/>
                  <a:gd name="connsiteY349" fmla="*/ 119062 h 1686775"/>
                  <a:gd name="connsiteX350" fmla="*/ 1805940 w 2242184"/>
                  <a:gd name="connsiteY350" fmla="*/ 111442 h 1686775"/>
                  <a:gd name="connsiteX351" fmla="*/ 1800225 w 2242184"/>
                  <a:gd name="connsiteY351" fmla="*/ 112395 h 1686775"/>
                  <a:gd name="connsiteX352" fmla="*/ 1788795 w 2242184"/>
                  <a:gd name="connsiteY352" fmla="*/ 111442 h 1686775"/>
                  <a:gd name="connsiteX353" fmla="*/ 1778318 w 2242184"/>
                  <a:gd name="connsiteY353" fmla="*/ 105728 h 1686775"/>
                  <a:gd name="connsiteX354" fmla="*/ 1772603 w 2242184"/>
                  <a:gd name="connsiteY354" fmla="*/ 101917 h 1686775"/>
                  <a:gd name="connsiteX355" fmla="*/ 1762125 w 2242184"/>
                  <a:gd name="connsiteY355" fmla="*/ 100965 h 1686775"/>
                  <a:gd name="connsiteX356" fmla="*/ 1750695 w 2242184"/>
                  <a:gd name="connsiteY356" fmla="*/ 96203 h 1686775"/>
                  <a:gd name="connsiteX357" fmla="*/ 1752600 w 2242184"/>
                  <a:gd name="connsiteY357" fmla="*/ 85725 h 1686775"/>
                  <a:gd name="connsiteX358" fmla="*/ 1751648 w 2242184"/>
                  <a:gd name="connsiteY358" fmla="*/ 79058 h 1686775"/>
                  <a:gd name="connsiteX359" fmla="*/ 1751648 w 2242184"/>
                  <a:gd name="connsiteY359" fmla="*/ 75248 h 1686775"/>
                  <a:gd name="connsiteX360" fmla="*/ 1745933 w 2242184"/>
                  <a:gd name="connsiteY360" fmla="*/ 67628 h 1686775"/>
                  <a:gd name="connsiteX361" fmla="*/ 1737360 w 2242184"/>
                  <a:gd name="connsiteY361" fmla="*/ 63817 h 1686775"/>
                  <a:gd name="connsiteX362" fmla="*/ 1725930 w 2242184"/>
                  <a:gd name="connsiteY362" fmla="*/ 62865 h 1686775"/>
                  <a:gd name="connsiteX363" fmla="*/ 1708785 w 2242184"/>
                  <a:gd name="connsiteY363" fmla="*/ 54292 h 1686775"/>
                  <a:gd name="connsiteX364" fmla="*/ 1700213 w 2242184"/>
                  <a:gd name="connsiteY364" fmla="*/ 51435 h 1686775"/>
                  <a:gd name="connsiteX365" fmla="*/ 1676400 w 2242184"/>
                  <a:gd name="connsiteY365" fmla="*/ 46672 h 1686775"/>
                  <a:gd name="connsiteX366" fmla="*/ 1664970 w 2242184"/>
                  <a:gd name="connsiteY366" fmla="*/ 43815 h 1686775"/>
                  <a:gd name="connsiteX367" fmla="*/ 1650683 w 2242184"/>
                  <a:gd name="connsiteY367" fmla="*/ 42863 h 1686775"/>
                  <a:gd name="connsiteX368" fmla="*/ 1628775 w 2242184"/>
                  <a:gd name="connsiteY368" fmla="*/ 31432 h 1686775"/>
                  <a:gd name="connsiteX369" fmla="*/ 1612583 w 2242184"/>
                  <a:gd name="connsiteY369" fmla="*/ 22860 h 1686775"/>
                  <a:gd name="connsiteX370" fmla="*/ 1604010 w 2242184"/>
                  <a:gd name="connsiteY370" fmla="*/ 14288 h 1686775"/>
                  <a:gd name="connsiteX371" fmla="*/ 1590675 w 2242184"/>
                  <a:gd name="connsiteY371" fmla="*/ 15240 h 1686775"/>
                  <a:gd name="connsiteX372" fmla="*/ 1583055 w 2242184"/>
                  <a:gd name="connsiteY372" fmla="*/ 13335 h 1686775"/>
                  <a:gd name="connsiteX373" fmla="*/ 1561148 w 2242184"/>
                  <a:gd name="connsiteY373" fmla="*/ 17145 h 1686775"/>
                  <a:gd name="connsiteX374" fmla="*/ 1553528 w 2242184"/>
                  <a:gd name="connsiteY374" fmla="*/ 25717 h 1686775"/>
                  <a:gd name="connsiteX375" fmla="*/ 1544955 w 2242184"/>
                  <a:gd name="connsiteY375" fmla="*/ 24765 h 1686775"/>
                  <a:gd name="connsiteX376" fmla="*/ 1534478 w 2242184"/>
                  <a:gd name="connsiteY376" fmla="*/ 18097 h 1686775"/>
                  <a:gd name="connsiteX377" fmla="*/ 1524000 w 2242184"/>
                  <a:gd name="connsiteY377" fmla="*/ 11430 h 1686775"/>
                  <a:gd name="connsiteX378" fmla="*/ 1503998 w 2242184"/>
                  <a:gd name="connsiteY378" fmla="*/ 4763 h 1686775"/>
                  <a:gd name="connsiteX379" fmla="*/ 1495425 w 2242184"/>
                  <a:gd name="connsiteY379" fmla="*/ 1905 h 1686775"/>
                  <a:gd name="connsiteX380" fmla="*/ 1474470 w 2242184"/>
                  <a:gd name="connsiteY380" fmla="*/ 1905 h 1686775"/>
                  <a:gd name="connsiteX381" fmla="*/ 1468755 w 2242184"/>
                  <a:gd name="connsiteY381" fmla="*/ 1905 h 1686775"/>
                  <a:gd name="connsiteX382" fmla="*/ 1463993 w 2242184"/>
                  <a:gd name="connsiteY382" fmla="*/ 5715 h 1686775"/>
                  <a:gd name="connsiteX383" fmla="*/ 1458278 w 2242184"/>
                  <a:gd name="connsiteY383" fmla="*/ 8572 h 1686775"/>
                  <a:gd name="connsiteX384" fmla="*/ 1449705 w 2242184"/>
                  <a:gd name="connsiteY384" fmla="*/ 11430 h 1686775"/>
                  <a:gd name="connsiteX385" fmla="*/ 1444943 w 2242184"/>
                  <a:gd name="connsiteY385" fmla="*/ 17145 h 1686775"/>
                  <a:gd name="connsiteX386" fmla="*/ 1442085 w 2242184"/>
                  <a:gd name="connsiteY386" fmla="*/ 24765 h 1686775"/>
                  <a:gd name="connsiteX387" fmla="*/ 1443038 w 2242184"/>
                  <a:gd name="connsiteY387" fmla="*/ 28575 h 1686775"/>
                  <a:gd name="connsiteX388" fmla="*/ 1434465 w 2242184"/>
                  <a:gd name="connsiteY388" fmla="*/ 33338 h 1686775"/>
                  <a:gd name="connsiteX389" fmla="*/ 1425893 w 2242184"/>
                  <a:gd name="connsiteY389" fmla="*/ 31432 h 1686775"/>
                  <a:gd name="connsiteX390" fmla="*/ 1423035 w 2242184"/>
                  <a:gd name="connsiteY390" fmla="*/ 23813 h 1686775"/>
                  <a:gd name="connsiteX391" fmla="*/ 1425893 w 2242184"/>
                  <a:gd name="connsiteY391" fmla="*/ 19050 h 1686775"/>
                  <a:gd name="connsiteX392" fmla="*/ 1430655 w 2242184"/>
                  <a:gd name="connsiteY392" fmla="*/ 13335 h 1686775"/>
                  <a:gd name="connsiteX393" fmla="*/ 1432560 w 2242184"/>
                  <a:gd name="connsiteY393" fmla="*/ 7620 h 1686775"/>
                  <a:gd name="connsiteX394" fmla="*/ 1432560 w 2242184"/>
                  <a:gd name="connsiteY394" fmla="*/ 3810 h 1686775"/>
                  <a:gd name="connsiteX395" fmla="*/ 1415415 w 2242184"/>
                  <a:gd name="connsiteY395" fmla="*/ 953 h 1686775"/>
                  <a:gd name="connsiteX396" fmla="*/ 1402080 w 2242184"/>
                  <a:gd name="connsiteY396" fmla="*/ 0 h 1686775"/>
                  <a:gd name="connsiteX397" fmla="*/ 1380173 w 2242184"/>
                  <a:gd name="connsiteY397" fmla="*/ 6667 h 1686775"/>
                  <a:gd name="connsiteX398" fmla="*/ 1369695 w 2242184"/>
                  <a:gd name="connsiteY398" fmla="*/ 15240 h 1686775"/>
                  <a:gd name="connsiteX399" fmla="*/ 1369695 w 2242184"/>
                  <a:gd name="connsiteY399" fmla="*/ 18097 h 1686775"/>
                  <a:gd name="connsiteX400" fmla="*/ 1366838 w 2242184"/>
                  <a:gd name="connsiteY400" fmla="*/ 30480 h 1686775"/>
                  <a:gd name="connsiteX401" fmla="*/ 1366838 w 2242184"/>
                  <a:gd name="connsiteY401" fmla="*/ 40957 h 1686775"/>
                  <a:gd name="connsiteX402" fmla="*/ 1374458 w 2242184"/>
                  <a:gd name="connsiteY402" fmla="*/ 48578 h 1686775"/>
                  <a:gd name="connsiteX403" fmla="*/ 1382078 w 2242184"/>
                  <a:gd name="connsiteY403" fmla="*/ 55245 h 1686775"/>
                  <a:gd name="connsiteX404" fmla="*/ 1390650 w 2242184"/>
                  <a:gd name="connsiteY404" fmla="*/ 60960 h 1686775"/>
                  <a:gd name="connsiteX405" fmla="*/ 1407795 w 2242184"/>
                  <a:gd name="connsiteY405" fmla="*/ 65723 h 1686775"/>
                  <a:gd name="connsiteX406" fmla="*/ 1415415 w 2242184"/>
                  <a:gd name="connsiteY406" fmla="*/ 69533 h 1686775"/>
                  <a:gd name="connsiteX407" fmla="*/ 1418273 w 2242184"/>
                  <a:gd name="connsiteY407" fmla="*/ 72390 h 1686775"/>
                  <a:gd name="connsiteX408" fmla="*/ 1432560 w 2242184"/>
                  <a:gd name="connsiteY408" fmla="*/ 76200 h 1686775"/>
                  <a:gd name="connsiteX409" fmla="*/ 1443990 w 2242184"/>
                  <a:gd name="connsiteY409" fmla="*/ 80962 h 1686775"/>
                  <a:gd name="connsiteX410" fmla="*/ 1446848 w 2242184"/>
                  <a:gd name="connsiteY410" fmla="*/ 87630 h 1686775"/>
                  <a:gd name="connsiteX411" fmla="*/ 1441133 w 2242184"/>
                  <a:gd name="connsiteY411" fmla="*/ 95250 h 1686775"/>
                  <a:gd name="connsiteX412" fmla="*/ 1441133 w 2242184"/>
                  <a:gd name="connsiteY412" fmla="*/ 98108 h 1686775"/>
                  <a:gd name="connsiteX413" fmla="*/ 1429703 w 2242184"/>
                  <a:gd name="connsiteY413" fmla="*/ 104775 h 1686775"/>
                  <a:gd name="connsiteX414" fmla="*/ 1419225 w 2242184"/>
                  <a:gd name="connsiteY414" fmla="*/ 110490 h 1686775"/>
                  <a:gd name="connsiteX415" fmla="*/ 1417320 w 2242184"/>
                  <a:gd name="connsiteY415" fmla="*/ 116205 h 1686775"/>
                  <a:gd name="connsiteX416" fmla="*/ 1403033 w 2242184"/>
                  <a:gd name="connsiteY416" fmla="*/ 120015 h 1686775"/>
                  <a:gd name="connsiteX417" fmla="*/ 1397318 w 2242184"/>
                  <a:gd name="connsiteY417" fmla="*/ 116205 h 1686775"/>
                  <a:gd name="connsiteX418" fmla="*/ 1397318 w 2242184"/>
                  <a:gd name="connsiteY418" fmla="*/ 107633 h 1686775"/>
                  <a:gd name="connsiteX419" fmla="*/ 1397318 w 2242184"/>
                  <a:gd name="connsiteY419" fmla="*/ 101917 h 1686775"/>
                  <a:gd name="connsiteX420" fmla="*/ 1396365 w 2242184"/>
                  <a:gd name="connsiteY420" fmla="*/ 95250 h 1686775"/>
                  <a:gd name="connsiteX421" fmla="*/ 1393508 w 2242184"/>
                  <a:gd name="connsiteY421" fmla="*/ 90487 h 1686775"/>
                  <a:gd name="connsiteX422" fmla="*/ 1384935 w 2242184"/>
                  <a:gd name="connsiteY422" fmla="*/ 88583 h 1686775"/>
                  <a:gd name="connsiteX423" fmla="*/ 1376363 w 2242184"/>
                  <a:gd name="connsiteY423" fmla="*/ 88583 h 1686775"/>
                  <a:gd name="connsiteX424" fmla="*/ 1364933 w 2242184"/>
                  <a:gd name="connsiteY424" fmla="*/ 88583 h 1686775"/>
                  <a:gd name="connsiteX425" fmla="*/ 1354455 w 2242184"/>
                  <a:gd name="connsiteY425" fmla="*/ 84773 h 1686775"/>
                  <a:gd name="connsiteX426" fmla="*/ 1354455 w 2242184"/>
                  <a:gd name="connsiteY426" fmla="*/ 81915 h 1686775"/>
                  <a:gd name="connsiteX427" fmla="*/ 1341120 w 2242184"/>
                  <a:gd name="connsiteY427" fmla="*/ 76200 h 1686775"/>
                  <a:gd name="connsiteX428" fmla="*/ 1324928 w 2242184"/>
                  <a:gd name="connsiteY428" fmla="*/ 74295 h 1686775"/>
                  <a:gd name="connsiteX429" fmla="*/ 1319213 w 2242184"/>
                  <a:gd name="connsiteY429" fmla="*/ 73342 h 1686775"/>
                  <a:gd name="connsiteX430" fmla="*/ 1318260 w 2242184"/>
                  <a:gd name="connsiteY430" fmla="*/ 60960 h 1686775"/>
                  <a:gd name="connsiteX431" fmla="*/ 1315403 w 2242184"/>
                  <a:gd name="connsiteY431" fmla="*/ 53340 h 1686775"/>
                  <a:gd name="connsiteX432" fmla="*/ 1309688 w 2242184"/>
                  <a:gd name="connsiteY432" fmla="*/ 45720 h 1686775"/>
                  <a:gd name="connsiteX433" fmla="*/ 1304925 w 2242184"/>
                  <a:gd name="connsiteY433" fmla="*/ 41910 h 1686775"/>
                  <a:gd name="connsiteX434" fmla="*/ 1299210 w 2242184"/>
                  <a:gd name="connsiteY434" fmla="*/ 40005 h 1686775"/>
                  <a:gd name="connsiteX435" fmla="*/ 1274445 w 2242184"/>
                  <a:gd name="connsiteY435" fmla="*/ 35242 h 1686775"/>
                  <a:gd name="connsiteX436" fmla="*/ 1266825 w 2242184"/>
                  <a:gd name="connsiteY436" fmla="*/ 39053 h 1686775"/>
                  <a:gd name="connsiteX437" fmla="*/ 1259205 w 2242184"/>
                  <a:gd name="connsiteY437" fmla="*/ 44767 h 1686775"/>
                  <a:gd name="connsiteX438" fmla="*/ 1247775 w 2242184"/>
                  <a:gd name="connsiteY438" fmla="*/ 48578 h 1686775"/>
                  <a:gd name="connsiteX439" fmla="*/ 1247775 w 2242184"/>
                  <a:gd name="connsiteY439" fmla="*/ 56197 h 1686775"/>
                  <a:gd name="connsiteX440" fmla="*/ 1253490 w 2242184"/>
                  <a:gd name="connsiteY440" fmla="*/ 66675 h 1686775"/>
                  <a:gd name="connsiteX441" fmla="*/ 1258253 w 2242184"/>
                  <a:gd name="connsiteY441" fmla="*/ 72390 h 1686775"/>
                  <a:gd name="connsiteX442" fmla="*/ 1263968 w 2242184"/>
                  <a:gd name="connsiteY442" fmla="*/ 77153 h 1686775"/>
                  <a:gd name="connsiteX443" fmla="*/ 1272540 w 2242184"/>
                  <a:gd name="connsiteY443" fmla="*/ 80962 h 1686775"/>
                  <a:gd name="connsiteX444" fmla="*/ 1280160 w 2242184"/>
                  <a:gd name="connsiteY444" fmla="*/ 83820 h 1686775"/>
                  <a:gd name="connsiteX445" fmla="*/ 1287780 w 2242184"/>
                  <a:gd name="connsiteY445" fmla="*/ 89535 h 1686775"/>
                  <a:gd name="connsiteX446" fmla="*/ 1291590 w 2242184"/>
                  <a:gd name="connsiteY446" fmla="*/ 97155 h 1686775"/>
                  <a:gd name="connsiteX447" fmla="*/ 1285875 w 2242184"/>
                  <a:gd name="connsiteY447" fmla="*/ 108585 h 1686775"/>
                  <a:gd name="connsiteX448" fmla="*/ 1271588 w 2242184"/>
                  <a:gd name="connsiteY448" fmla="*/ 109537 h 1686775"/>
                  <a:gd name="connsiteX449" fmla="*/ 1255395 w 2242184"/>
                  <a:gd name="connsiteY449" fmla="*/ 109537 h 1686775"/>
                  <a:gd name="connsiteX450" fmla="*/ 1249680 w 2242184"/>
                  <a:gd name="connsiteY450" fmla="*/ 101917 h 1686775"/>
                  <a:gd name="connsiteX451" fmla="*/ 1251585 w 2242184"/>
                  <a:gd name="connsiteY451" fmla="*/ 94298 h 1686775"/>
                  <a:gd name="connsiteX452" fmla="*/ 1254443 w 2242184"/>
                  <a:gd name="connsiteY452" fmla="*/ 89535 h 1686775"/>
                  <a:gd name="connsiteX453" fmla="*/ 1243965 w 2242184"/>
                  <a:gd name="connsiteY453" fmla="*/ 81915 h 1686775"/>
                  <a:gd name="connsiteX454" fmla="*/ 1230630 w 2242184"/>
                  <a:gd name="connsiteY454" fmla="*/ 79058 h 1686775"/>
                  <a:gd name="connsiteX455" fmla="*/ 1203008 w 2242184"/>
                  <a:gd name="connsiteY455" fmla="*/ 78105 h 1686775"/>
                  <a:gd name="connsiteX456" fmla="*/ 1203008 w 2242184"/>
                  <a:gd name="connsiteY456" fmla="*/ 84773 h 1686775"/>
                  <a:gd name="connsiteX457" fmla="*/ 1214438 w 2242184"/>
                  <a:gd name="connsiteY457" fmla="*/ 90487 h 1686775"/>
                  <a:gd name="connsiteX458" fmla="*/ 1221105 w 2242184"/>
                  <a:gd name="connsiteY458" fmla="*/ 100965 h 1686775"/>
                  <a:gd name="connsiteX459" fmla="*/ 1212533 w 2242184"/>
                  <a:gd name="connsiteY459" fmla="*/ 103823 h 1686775"/>
                  <a:gd name="connsiteX460" fmla="*/ 1190625 w 2242184"/>
                  <a:gd name="connsiteY460" fmla="*/ 105728 h 1686775"/>
                  <a:gd name="connsiteX461" fmla="*/ 1163003 w 2242184"/>
                  <a:gd name="connsiteY461" fmla="*/ 107633 h 1686775"/>
                  <a:gd name="connsiteX462" fmla="*/ 1130618 w 2242184"/>
                  <a:gd name="connsiteY462" fmla="*/ 108585 h 1686775"/>
                  <a:gd name="connsiteX463" fmla="*/ 1111568 w 2242184"/>
                  <a:gd name="connsiteY463" fmla="*/ 109537 h 1686775"/>
                  <a:gd name="connsiteX464" fmla="*/ 1084898 w 2242184"/>
                  <a:gd name="connsiteY464" fmla="*/ 110490 h 1686775"/>
                  <a:gd name="connsiteX465" fmla="*/ 1076325 w 2242184"/>
                  <a:gd name="connsiteY465" fmla="*/ 110490 h 1686775"/>
                  <a:gd name="connsiteX466" fmla="*/ 1054418 w 2242184"/>
                  <a:gd name="connsiteY466" fmla="*/ 106680 h 1686775"/>
                  <a:gd name="connsiteX467" fmla="*/ 1051560 w 2242184"/>
                  <a:gd name="connsiteY467" fmla="*/ 112395 h 1686775"/>
                  <a:gd name="connsiteX468" fmla="*/ 1041083 w 2242184"/>
                  <a:gd name="connsiteY468" fmla="*/ 118110 h 1686775"/>
                  <a:gd name="connsiteX469" fmla="*/ 1032510 w 2242184"/>
                  <a:gd name="connsiteY469" fmla="*/ 116205 h 1686775"/>
                  <a:gd name="connsiteX470" fmla="*/ 1024890 w 2242184"/>
                  <a:gd name="connsiteY470" fmla="*/ 116205 h 1686775"/>
                  <a:gd name="connsiteX471" fmla="*/ 1013460 w 2242184"/>
                  <a:gd name="connsiteY471" fmla="*/ 114300 h 1686775"/>
                  <a:gd name="connsiteX472" fmla="*/ 1008698 w 2242184"/>
                  <a:gd name="connsiteY472" fmla="*/ 115253 h 1686775"/>
                  <a:gd name="connsiteX473" fmla="*/ 975360 w 2242184"/>
                  <a:gd name="connsiteY473" fmla="*/ 113348 h 1686775"/>
                  <a:gd name="connsiteX474" fmla="*/ 942975 w 2242184"/>
                  <a:gd name="connsiteY474" fmla="*/ 104775 h 1686775"/>
                  <a:gd name="connsiteX475" fmla="*/ 935355 w 2242184"/>
                  <a:gd name="connsiteY475" fmla="*/ 101917 h 1686775"/>
                  <a:gd name="connsiteX476" fmla="*/ 929640 w 2242184"/>
                  <a:gd name="connsiteY476" fmla="*/ 99060 h 1686775"/>
                  <a:gd name="connsiteX477" fmla="*/ 921068 w 2242184"/>
                  <a:gd name="connsiteY477" fmla="*/ 92392 h 1686775"/>
                  <a:gd name="connsiteX478" fmla="*/ 918210 w 2242184"/>
                  <a:gd name="connsiteY478" fmla="*/ 86678 h 1686775"/>
                  <a:gd name="connsiteX479" fmla="*/ 910590 w 2242184"/>
                  <a:gd name="connsiteY479" fmla="*/ 85725 h 1686775"/>
                  <a:gd name="connsiteX480" fmla="*/ 896303 w 2242184"/>
                  <a:gd name="connsiteY480" fmla="*/ 84773 h 1686775"/>
                  <a:gd name="connsiteX481" fmla="*/ 884873 w 2242184"/>
                  <a:gd name="connsiteY481" fmla="*/ 84773 h 1686775"/>
                  <a:gd name="connsiteX482" fmla="*/ 868680 w 2242184"/>
                  <a:gd name="connsiteY482" fmla="*/ 84773 h 1686775"/>
                  <a:gd name="connsiteX483" fmla="*/ 857250 w 2242184"/>
                  <a:gd name="connsiteY483" fmla="*/ 81915 h 1686775"/>
                  <a:gd name="connsiteX484" fmla="*/ 849630 w 2242184"/>
                  <a:gd name="connsiteY484" fmla="*/ 80010 h 1686775"/>
                  <a:gd name="connsiteX485" fmla="*/ 836295 w 2242184"/>
                  <a:gd name="connsiteY485" fmla="*/ 73342 h 1686775"/>
                  <a:gd name="connsiteX486" fmla="*/ 825818 w 2242184"/>
                  <a:gd name="connsiteY486" fmla="*/ 70485 h 1686775"/>
                  <a:gd name="connsiteX487" fmla="*/ 815340 w 2242184"/>
                  <a:gd name="connsiteY487" fmla="*/ 70485 h 1686775"/>
                  <a:gd name="connsiteX488" fmla="*/ 803910 w 2242184"/>
                  <a:gd name="connsiteY488" fmla="*/ 70485 h 1686775"/>
                  <a:gd name="connsiteX489" fmla="*/ 792480 w 2242184"/>
                  <a:gd name="connsiteY489" fmla="*/ 70485 h 1686775"/>
                  <a:gd name="connsiteX490" fmla="*/ 786765 w 2242184"/>
                  <a:gd name="connsiteY490" fmla="*/ 71437 h 1686775"/>
                  <a:gd name="connsiteX491" fmla="*/ 770573 w 2242184"/>
                  <a:gd name="connsiteY491" fmla="*/ 72390 h 1686775"/>
                  <a:gd name="connsiteX492" fmla="*/ 754380 w 2242184"/>
                  <a:gd name="connsiteY492" fmla="*/ 72390 h 1686775"/>
                  <a:gd name="connsiteX493" fmla="*/ 731520 w 2242184"/>
                  <a:gd name="connsiteY493" fmla="*/ 63817 h 1686775"/>
                  <a:gd name="connsiteX494" fmla="*/ 714375 w 2242184"/>
                  <a:gd name="connsiteY494" fmla="*/ 59055 h 1686775"/>
                  <a:gd name="connsiteX495" fmla="*/ 703898 w 2242184"/>
                  <a:gd name="connsiteY495" fmla="*/ 59055 h 1686775"/>
                  <a:gd name="connsiteX496" fmla="*/ 679133 w 2242184"/>
                  <a:gd name="connsiteY496" fmla="*/ 61913 h 1686775"/>
                  <a:gd name="connsiteX497" fmla="*/ 673418 w 2242184"/>
                  <a:gd name="connsiteY497" fmla="*/ 62865 h 1686775"/>
                  <a:gd name="connsiteX498" fmla="*/ 665798 w 2242184"/>
                  <a:gd name="connsiteY498" fmla="*/ 64770 h 1686775"/>
                  <a:gd name="connsiteX499" fmla="*/ 655320 w 2242184"/>
                  <a:gd name="connsiteY499" fmla="*/ 67628 h 1686775"/>
                  <a:gd name="connsiteX500" fmla="*/ 641033 w 2242184"/>
                  <a:gd name="connsiteY500" fmla="*/ 68580 h 1686775"/>
                  <a:gd name="connsiteX501" fmla="*/ 635318 w 2242184"/>
                  <a:gd name="connsiteY501" fmla="*/ 67628 h 1686775"/>
                  <a:gd name="connsiteX502" fmla="*/ 624840 w 2242184"/>
                  <a:gd name="connsiteY502" fmla="*/ 67628 h 1686775"/>
                  <a:gd name="connsiteX503" fmla="*/ 617220 w 2242184"/>
                  <a:gd name="connsiteY503" fmla="*/ 70485 h 1686775"/>
                  <a:gd name="connsiteX504" fmla="*/ 608648 w 2242184"/>
                  <a:gd name="connsiteY504" fmla="*/ 74295 h 1686775"/>
                  <a:gd name="connsiteX505" fmla="*/ 598170 w 2242184"/>
                  <a:gd name="connsiteY505" fmla="*/ 77153 h 1686775"/>
                  <a:gd name="connsiteX506" fmla="*/ 583883 w 2242184"/>
                  <a:gd name="connsiteY506" fmla="*/ 74295 h 1686775"/>
                  <a:gd name="connsiteX507" fmla="*/ 567690 w 2242184"/>
                  <a:gd name="connsiteY507" fmla="*/ 75248 h 1686775"/>
                  <a:gd name="connsiteX508" fmla="*/ 554355 w 2242184"/>
                  <a:gd name="connsiteY508" fmla="*/ 78105 h 1686775"/>
                  <a:gd name="connsiteX509" fmla="*/ 535305 w 2242184"/>
                  <a:gd name="connsiteY509" fmla="*/ 80962 h 1686775"/>
                  <a:gd name="connsiteX510" fmla="*/ 524828 w 2242184"/>
                  <a:gd name="connsiteY510" fmla="*/ 80010 h 1686775"/>
                  <a:gd name="connsiteX511" fmla="*/ 513398 w 2242184"/>
                  <a:gd name="connsiteY511" fmla="*/ 76200 h 1686775"/>
                  <a:gd name="connsiteX512" fmla="*/ 502920 w 2242184"/>
                  <a:gd name="connsiteY512" fmla="*/ 73342 h 1686775"/>
                  <a:gd name="connsiteX513" fmla="*/ 495300 w 2242184"/>
                  <a:gd name="connsiteY513" fmla="*/ 69533 h 1686775"/>
                  <a:gd name="connsiteX514" fmla="*/ 481965 w 2242184"/>
                  <a:gd name="connsiteY514" fmla="*/ 65723 h 1686775"/>
                  <a:gd name="connsiteX515" fmla="*/ 451485 w 2242184"/>
                  <a:gd name="connsiteY515" fmla="*/ 62865 h 1686775"/>
                  <a:gd name="connsiteX516" fmla="*/ 437198 w 2242184"/>
                  <a:gd name="connsiteY516" fmla="*/ 62865 h 1686775"/>
                  <a:gd name="connsiteX517" fmla="*/ 406718 w 2242184"/>
                  <a:gd name="connsiteY517" fmla="*/ 61913 h 1686775"/>
                  <a:gd name="connsiteX518" fmla="*/ 385763 w 2242184"/>
                  <a:gd name="connsiteY518" fmla="*/ 60960 h 1686775"/>
                  <a:gd name="connsiteX519" fmla="*/ 364808 w 2242184"/>
                  <a:gd name="connsiteY519" fmla="*/ 59055 h 1686775"/>
                  <a:gd name="connsiteX520" fmla="*/ 352425 w 2242184"/>
                  <a:gd name="connsiteY520" fmla="*/ 55245 h 1686775"/>
                  <a:gd name="connsiteX521" fmla="*/ 339090 w 2242184"/>
                  <a:gd name="connsiteY521" fmla="*/ 55245 h 1686775"/>
                  <a:gd name="connsiteX522" fmla="*/ 317183 w 2242184"/>
                  <a:gd name="connsiteY522" fmla="*/ 54292 h 1686775"/>
                  <a:gd name="connsiteX523" fmla="*/ 290513 w 2242184"/>
                  <a:gd name="connsiteY523" fmla="*/ 51435 h 1686775"/>
                  <a:gd name="connsiteX524" fmla="*/ 279083 w 2242184"/>
                  <a:gd name="connsiteY524" fmla="*/ 46672 h 1686775"/>
                  <a:gd name="connsiteX525" fmla="*/ 261938 w 2242184"/>
                  <a:gd name="connsiteY525" fmla="*/ 44767 h 1686775"/>
                  <a:gd name="connsiteX526" fmla="*/ 251460 w 2242184"/>
                  <a:gd name="connsiteY526" fmla="*/ 44767 h 1686775"/>
                  <a:gd name="connsiteX527" fmla="*/ 237173 w 2242184"/>
                  <a:gd name="connsiteY527" fmla="*/ 40005 h 1686775"/>
                  <a:gd name="connsiteX528" fmla="*/ 226695 w 2242184"/>
                  <a:gd name="connsiteY528" fmla="*/ 36195 h 1686775"/>
                  <a:gd name="connsiteX529" fmla="*/ 191453 w 2242184"/>
                  <a:gd name="connsiteY529" fmla="*/ 35242 h 1686775"/>
                  <a:gd name="connsiteX530" fmla="*/ 166688 w 2242184"/>
                  <a:gd name="connsiteY530" fmla="*/ 38100 h 1686775"/>
                  <a:gd name="connsiteX531" fmla="*/ 153353 w 2242184"/>
                  <a:gd name="connsiteY531" fmla="*/ 43815 h 1686775"/>
                  <a:gd name="connsiteX532" fmla="*/ 145733 w 2242184"/>
                  <a:gd name="connsiteY532" fmla="*/ 46672 h 1686775"/>
                  <a:gd name="connsiteX533" fmla="*/ 123825 w 2242184"/>
                  <a:gd name="connsiteY533" fmla="*/ 48578 h 1686775"/>
                  <a:gd name="connsiteX534" fmla="*/ 113348 w 2242184"/>
                  <a:gd name="connsiteY534" fmla="*/ 53340 h 1686775"/>
                  <a:gd name="connsiteX535" fmla="*/ 104775 w 2242184"/>
                  <a:gd name="connsiteY535" fmla="*/ 60960 h 1686775"/>
                  <a:gd name="connsiteX536" fmla="*/ 97155 w 2242184"/>
                  <a:gd name="connsiteY536" fmla="*/ 61913 h 1686775"/>
                  <a:gd name="connsiteX537" fmla="*/ 97155 w 2242184"/>
                  <a:gd name="connsiteY537" fmla="*/ 65723 h 1686775"/>
                  <a:gd name="connsiteX538" fmla="*/ 80963 w 2242184"/>
                  <a:gd name="connsiteY538" fmla="*/ 76200 h 1686775"/>
                  <a:gd name="connsiteX539" fmla="*/ 64770 w 2242184"/>
                  <a:gd name="connsiteY539" fmla="*/ 80962 h 1686775"/>
                  <a:gd name="connsiteX540" fmla="*/ 59055 w 2242184"/>
                  <a:gd name="connsiteY540" fmla="*/ 84773 h 1686775"/>
                  <a:gd name="connsiteX541" fmla="*/ 62865 w 2242184"/>
                  <a:gd name="connsiteY541" fmla="*/ 89535 h 1686775"/>
                  <a:gd name="connsiteX542" fmla="*/ 62865 w 2242184"/>
                  <a:gd name="connsiteY542" fmla="*/ 94298 h 1686775"/>
                  <a:gd name="connsiteX543" fmla="*/ 74295 w 2242184"/>
                  <a:gd name="connsiteY543" fmla="*/ 99060 h 1686775"/>
                  <a:gd name="connsiteX544" fmla="*/ 91440 w 2242184"/>
                  <a:gd name="connsiteY544" fmla="*/ 107633 h 1686775"/>
                  <a:gd name="connsiteX545" fmla="*/ 96203 w 2242184"/>
                  <a:gd name="connsiteY545" fmla="*/ 110490 h 1686775"/>
                  <a:gd name="connsiteX546" fmla="*/ 113348 w 2242184"/>
                  <a:gd name="connsiteY546" fmla="*/ 120015 h 1686775"/>
                  <a:gd name="connsiteX547" fmla="*/ 116205 w 2242184"/>
                  <a:gd name="connsiteY547" fmla="*/ 122873 h 1686775"/>
                  <a:gd name="connsiteX548" fmla="*/ 104775 w 2242184"/>
                  <a:gd name="connsiteY548" fmla="*/ 125730 h 1686775"/>
                  <a:gd name="connsiteX549" fmla="*/ 91440 w 2242184"/>
                  <a:gd name="connsiteY549" fmla="*/ 126683 h 1686775"/>
                  <a:gd name="connsiteX550" fmla="*/ 78105 w 2242184"/>
                  <a:gd name="connsiteY550" fmla="*/ 125730 h 1686775"/>
                  <a:gd name="connsiteX551" fmla="*/ 59055 w 2242184"/>
                  <a:gd name="connsiteY551" fmla="*/ 125730 h 1686775"/>
                  <a:gd name="connsiteX552" fmla="*/ 48578 w 2242184"/>
                  <a:gd name="connsiteY552" fmla="*/ 127635 h 1686775"/>
                  <a:gd name="connsiteX553" fmla="*/ 21908 w 2242184"/>
                  <a:gd name="connsiteY553" fmla="*/ 129540 h 1686775"/>
                  <a:gd name="connsiteX554" fmla="*/ 20003 w 2242184"/>
                  <a:gd name="connsiteY554" fmla="*/ 136208 h 1686775"/>
                  <a:gd name="connsiteX555" fmla="*/ 22860 w 2242184"/>
                  <a:gd name="connsiteY555" fmla="*/ 147637 h 1686775"/>
                  <a:gd name="connsiteX556" fmla="*/ 33338 w 2242184"/>
                  <a:gd name="connsiteY556" fmla="*/ 157162 h 1686775"/>
                  <a:gd name="connsiteX557" fmla="*/ 38100 w 2242184"/>
                  <a:gd name="connsiteY557" fmla="*/ 159067 h 1686775"/>
                  <a:gd name="connsiteX558" fmla="*/ 56198 w 2242184"/>
                  <a:gd name="connsiteY558" fmla="*/ 159067 h 1686775"/>
                  <a:gd name="connsiteX559" fmla="*/ 67628 w 2242184"/>
                  <a:gd name="connsiteY559" fmla="*/ 159067 h 1686775"/>
                  <a:gd name="connsiteX560" fmla="*/ 81915 w 2242184"/>
                  <a:gd name="connsiteY560" fmla="*/ 157162 h 1686775"/>
                  <a:gd name="connsiteX561" fmla="*/ 90488 w 2242184"/>
                  <a:gd name="connsiteY561" fmla="*/ 156210 h 1686775"/>
                  <a:gd name="connsiteX562" fmla="*/ 101918 w 2242184"/>
                  <a:gd name="connsiteY562" fmla="*/ 156210 h 1686775"/>
                  <a:gd name="connsiteX563" fmla="*/ 106680 w 2242184"/>
                  <a:gd name="connsiteY563" fmla="*/ 157162 h 1686775"/>
                  <a:gd name="connsiteX564" fmla="*/ 128588 w 2242184"/>
                  <a:gd name="connsiteY564" fmla="*/ 160973 h 1686775"/>
                  <a:gd name="connsiteX565" fmla="*/ 131445 w 2242184"/>
                  <a:gd name="connsiteY565" fmla="*/ 164783 h 1686775"/>
                  <a:gd name="connsiteX566" fmla="*/ 129540 w 2242184"/>
                  <a:gd name="connsiteY566" fmla="*/ 170498 h 1686775"/>
                  <a:gd name="connsiteX567" fmla="*/ 130493 w 2242184"/>
                  <a:gd name="connsiteY567" fmla="*/ 175260 h 1686775"/>
                  <a:gd name="connsiteX568" fmla="*/ 114300 w 2242184"/>
                  <a:gd name="connsiteY568" fmla="*/ 178117 h 1686775"/>
                  <a:gd name="connsiteX569" fmla="*/ 100965 w 2242184"/>
                  <a:gd name="connsiteY569" fmla="*/ 179070 h 1686775"/>
                  <a:gd name="connsiteX570" fmla="*/ 85725 w 2242184"/>
                  <a:gd name="connsiteY570" fmla="*/ 184785 h 1686775"/>
                  <a:gd name="connsiteX571" fmla="*/ 71438 w 2242184"/>
                  <a:gd name="connsiteY571" fmla="*/ 184785 h 1686775"/>
                  <a:gd name="connsiteX572" fmla="*/ 60960 w 2242184"/>
                  <a:gd name="connsiteY572" fmla="*/ 188595 h 1686775"/>
                  <a:gd name="connsiteX573" fmla="*/ 52388 w 2242184"/>
                  <a:gd name="connsiteY573" fmla="*/ 194310 h 1686775"/>
                  <a:gd name="connsiteX574" fmla="*/ 53340 w 2242184"/>
                  <a:gd name="connsiteY574" fmla="*/ 197167 h 1686775"/>
                  <a:gd name="connsiteX575" fmla="*/ 45720 w 2242184"/>
                  <a:gd name="connsiteY575" fmla="*/ 203835 h 1686775"/>
                  <a:gd name="connsiteX576" fmla="*/ 42863 w 2242184"/>
                  <a:gd name="connsiteY576" fmla="*/ 208598 h 1686775"/>
                  <a:gd name="connsiteX577" fmla="*/ 40958 w 2242184"/>
                  <a:gd name="connsiteY577" fmla="*/ 216217 h 1686775"/>
                  <a:gd name="connsiteX578" fmla="*/ 49530 w 2242184"/>
                  <a:gd name="connsiteY578" fmla="*/ 221933 h 1686775"/>
                  <a:gd name="connsiteX579" fmla="*/ 57150 w 2242184"/>
                  <a:gd name="connsiteY579" fmla="*/ 227648 h 1686775"/>
                  <a:gd name="connsiteX580" fmla="*/ 70485 w 2242184"/>
                  <a:gd name="connsiteY580" fmla="*/ 231458 h 1686775"/>
                  <a:gd name="connsiteX581" fmla="*/ 83820 w 2242184"/>
                  <a:gd name="connsiteY581" fmla="*/ 237173 h 1686775"/>
                  <a:gd name="connsiteX582" fmla="*/ 90488 w 2242184"/>
                  <a:gd name="connsiteY582" fmla="*/ 242887 h 1686775"/>
                  <a:gd name="connsiteX583" fmla="*/ 100965 w 2242184"/>
                  <a:gd name="connsiteY583" fmla="*/ 245745 h 1686775"/>
                  <a:gd name="connsiteX584" fmla="*/ 112395 w 2242184"/>
                  <a:gd name="connsiteY584" fmla="*/ 247650 h 1686775"/>
                  <a:gd name="connsiteX585" fmla="*/ 125730 w 2242184"/>
                  <a:gd name="connsiteY585" fmla="*/ 255270 h 1686775"/>
                  <a:gd name="connsiteX586" fmla="*/ 137160 w 2242184"/>
                  <a:gd name="connsiteY586" fmla="*/ 255270 h 1686775"/>
                  <a:gd name="connsiteX587" fmla="*/ 152400 w 2242184"/>
                  <a:gd name="connsiteY587" fmla="*/ 257175 h 1686775"/>
                  <a:gd name="connsiteX588" fmla="*/ 159068 w 2242184"/>
                  <a:gd name="connsiteY588" fmla="*/ 260033 h 1686775"/>
                  <a:gd name="connsiteX589" fmla="*/ 172403 w 2242184"/>
                  <a:gd name="connsiteY589" fmla="*/ 261937 h 1686775"/>
                  <a:gd name="connsiteX590" fmla="*/ 182880 w 2242184"/>
                  <a:gd name="connsiteY590" fmla="*/ 264795 h 1686775"/>
                  <a:gd name="connsiteX591" fmla="*/ 184785 w 2242184"/>
                  <a:gd name="connsiteY591" fmla="*/ 270510 h 1686775"/>
                  <a:gd name="connsiteX592" fmla="*/ 180023 w 2242184"/>
                  <a:gd name="connsiteY592" fmla="*/ 277178 h 1686775"/>
                  <a:gd name="connsiteX593" fmla="*/ 161925 w 2242184"/>
                  <a:gd name="connsiteY593" fmla="*/ 284798 h 1686775"/>
                  <a:gd name="connsiteX594" fmla="*/ 148590 w 2242184"/>
                  <a:gd name="connsiteY594" fmla="*/ 290512 h 1686775"/>
                  <a:gd name="connsiteX595" fmla="*/ 135255 w 2242184"/>
                  <a:gd name="connsiteY595" fmla="*/ 296228 h 1686775"/>
                  <a:gd name="connsiteX596" fmla="*/ 123825 w 2242184"/>
                  <a:gd name="connsiteY596" fmla="*/ 300037 h 1686775"/>
                  <a:gd name="connsiteX597" fmla="*/ 110490 w 2242184"/>
                  <a:gd name="connsiteY597" fmla="*/ 303848 h 1686775"/>
                  <a:gd name="connsiteX598" fmla="*/ 99060 w 2242184"/>
                  <a:gd name="connsiteY598" fmla="*/ 307658 h 1686775"/>
                  <a:gd name="connsiteX599" fmla="*/ 79058 w 2242184"/>
                  <a:gd name="connsiteY599" fmla="*/ 310515 h 1686775"/>
                  <a:gd name="connsiteX600" fmla="*/ 63818 w 2242184"/>
                  <a:gd name="connsiteY600" fmla="*/ 314325 h 1686775"/>
                  <a:gd name="connsiteX601" fmla="*/ 50483 w 2242184"/>
                  <a:gd name="connsiteY601" fmla="*/ 315278 h 1686775"/>
                  <a:gd name="connsiteX602" fmla="*/ 38100 w 2242184"/>
                  <a:gd name="connsiteY602" fmla="*/ 320040 h 1686775"/>
                  <a:gd name="connsiteX603" fmla="*/ 18098 w 2242184"/>
                  <a:gd name="connsiteY603" fmla="*/ 322898 h 1686775"/>
                  <a:gd name="connsiteX604" fmla="*/ 0 w 2242184"/>
                  <a:gd name="connsiteY604" fmla="*/ 322898 h 1686775"/>
                  <a:gd name="connsiteX605" fmla="*/ 0 w 2242184"/>
                  <a:gd name="connsiteY605" fmla="*/ 328612 h 1686775"/>
                  <a:gd name="connsiteX606" fmla="*/ 15240 w 2242184"/>
                  <a:gd name="connsiteY606" fmla="*/ 330518 h 1686775"/>
                  <a:gd name="connsiteX607" fmla="*/ 37148 w 2242184"/>
                  <a:gd name="connsiteY607" fmla="*/ 327660 h 1686775"/>
                  <a:gd name="connsiteX608" fmla="*/ 57150 w 2242184"/>
                  <a:gd name="connsiteY608" fmla="*/ 324803 h 1686775"/>
                  <a:gd name="connsiteX609" fmla="*/ 81915 w 2242184"/>
                  <a:gd name="connsiteY609" fmla="*/ 320993 h 1686775"/>
                  <a:gd name="connsiteX610" fmla="*/ 100013 w 2242184"/>
                  <a:gd name="connsiteY610" fmla="*/ 318135 h 1686775"/>
                  <a:gd name="connsiteX611" fmla="*/ 120015 w 2242184"/>
                  <a:gd name="connsiteY611" fmla="*/ 315278 h 1686775"/>
                  <a:gd name="connsiteX612" fmla="*/ 138113 w 2242184"/>
                  <a:gd name="connsiteY612" fmla="*/ 312420 h 1686775"/>
                  <a:gd name="connsiteX613" fmla="*/ 164783 w 2242184"/>
                  <a:gd name="connsiteY613" fmla="*/ 306705 h 1686775"/>
                  <a:gd name="connsiteX614" fmla="*/ 176213 w 2242184"/>
                  <a:gd name="connsiteY614" fmla="*/ 300037 h 1686775"/>
                  <a:gd name="connsiteX615" fmla="*/ 189548 w 2242184"/>
                  <a:gd name="connsiteY615" fmla="*/ 294323 h 1686775"/>
                  <a:gd name="connsiteX616" fmla="*/ 200978 w 2242184"/>
                  <a:gd name="connsiteY616" fmla="*/ 288608 h 1686775"/>
                  <a:gd name="connsiteX617" fmla="*/ 212408 w 2242184"/>
                  <a:gd name="connsiteY617" fmla="*/ 280035 h 1686775"/>
                  <a:gd name="connsiteX618" fmla="*/ 227648 w 2242184"/>
                  <a:gd name="connsiteY618" fmla="*/ 270510 h 1686775"/>
                  <a:gd name="connsiteX619" fmla="*/ 236220 w 2242184"/>
                  <a:gd name="connsiteY619" fmla="*/ 261937 h 1686775"/>
                  <a:gd name="connsiteX620" fmla="*/ 249555 w 2242184"/>
                  <a:gd name="connsiteY620" fmla="*/ 255270 h 1686775"/>
                  <a:gd name="connsiteX621" fmla="*/ 258128 w 2242184"/>
                  <a:gd name="connsiteY621" fmla="*/ 249555 h 1686775"/>
                  <a:gd name="connsiteX622" fmla="*/ 269558 w 2242184"/>
                  <a:gd name="connsiteY622" fmla="*/ 240983 h 1686775"/>
                  <a:gd name="connsiteX623" fmla="*/ 276225 w 2242184"/>
                  <a:gd name="connsiteY623" fmla="*/ 235267 h 1686775"/>
                  <a:gd name="connsiteX624" fmla="*/ 278130 w 2242184"/>
                  <a:gd name="connsiteY624" fmla="*/ 229553 h 1686775"/>
                  <a:gd name="connsiteX625" fmla="*/ 291465 w 2242184"/>
                  <a:gd name="connsiteY625" fmla="*/ 226695 h 1686775"/>
                  <a:gd name="connsiteX626" fmla="*/ 298133 w 2242184"/>
                  <a:gd name="connsiteY626" fmla="*/ 232410 h 1686775"/>
                  <a:gd name="connsiteX627" fmla="*/ 293370 w 2242184"/>
                  <a:gd name="connsiteY627" fmla="*/ 238125 h 1686775"/>
                  <a:gd name="connsiteX628" fmla="*/ 303848 w 2242184"/>
                  <a:gd name="connsiteY628" fmla="*/ 242887 h 1686775"/>
                  <a:gd name="connsiteX629" fmla="*/ 319088 w 2242184"/>
                  <a:gd name="connsiteY629" fmla="*/ 234315 h 1686775"/>
                  <a:gd name="connsiteX630" fmla="*/ 325755 w 2242184"/>
                  <a:gd name="connsiteY630" fmla="*/ 231458 h 1686775"/>
                  <a:gd name="connsiteX631" fmla="*/ 345758 w 2242184"/>
                  <a:gd name="connsiteY631" fmla="*/ 233362 h 1686775"/>
                  <a:gd name="connsiteX632" fmla="*/ 357188 w 2242184"/>
                  <a:gd name="connsiteY632" fmla="*/ 227648 h 1686775"/>
                  <a:gd name="connsiteX633" fmla="*/ 367665 w 2242184"/>
                  <a:gd name="connsiteY633" fmla="*/ 229553 h 1686775"/>
                  <a:gd name="connsiteX634" fmla="*/ 381000 w 2242184"/>
                  <a:gd name="connsiteY634" fmla="*/ 229553 h 1686775"/>
                  <a:gd name="connsiteX635" fmla="*/ 396240 w 2242184"/>
                  <a:gd name="connsiteY635" fmla="*/ 232410 h 1686775"/>
                  <a:gd name="connsiteX636" fmla="*/ 416243 w 2242184"/>
                  <a:gd name="connsiteY636" fmla="*/ 238125 h 1686775"/>
                  <a:gd name="connsiteX637" fmla="*/ 440055 w 2242184"/>
                  <a:gd name="connsiteY637" fmla="*/ 240030 h 1686775"/>
                  <a:gd name="connsiteX638" fmla="*/ 453390 w 2242184"/>
                  <a:gd name="connsiteY638" fmla="*/ 240030 h 1686775"/>
                  <a:gd name="connsiteX639" fmla="*/ 468630 w 2242184"/>
                  <a:gd name="connsiteY639" fmla="*/ 244792 h 1686775"/>
                  <a:gd name="connsiteX640" fmla="*/ 477203 w 2242184"/>
                  <a:gd name="connsiteY640" fmla="*/ 244792 h 1686775"/>
                  <a:gd name="connsiteX641" fmla="*/ 499110 w 2242184"/>
                  <a:gd name="connsiteY641" fmla="*/ 247650 h 1686775"/>
                  <a:gd name="connsiteX642" fmla="*/ 509588 w 2242184"/>
                  <a:gd name="connsiteY642" fmla="*/ 252412 h 1686775"/>
                  <a:gd name="connsiteX643" fmla="*/ 526733 w 2242184"/>
                  <a:gd name="connsiteY643" fmla="*/ 260985 h 1686775"/>
                  <a:gd name="connsiteX644" fmla="*/ 533400 w 2242184"/>
                  <a:gd name="connsiteY644" fmla="*/ 263843 h 1686775"/>
                  <a:gd name="connsiteX645" fmla="*/ 543878 w 2242184"/>
                  <a:gd name="connsiteY645" fmla="*/ 268605 h 1686775"/>
                  <a:gd name="connsiteX646" fmla="*/ 559118 w 2242184"/>
                  <a:gd name="connsiteY646" fmla="*/ 276225 h 1686775"/>
                  <a:gd name="connsiteX647" fmla="*/ 565785 w 2242184"/>
                  <a:gd name="connsiteY647" fmla="*/ 278130 h 1686775"/>
                  <a:gd name="connsiteX648" fmla="*/ 579120 w 2242184"/>
                  <a:gd name="connsiteY648" fmla="*/ 285750 h 1686775"/>
                  <a:gd name="connsiteX649" fmla="*/ 592455 w 2242184"/>
                  <a:gd name="connsiteY649" fmla="*/ 294323 h 1686775"/>
                  <a:gd name="connsiteX650" fmla="*/ 599123 w 2242184"/>
                  <a:gd name="connsiteY650" fmla="*/ 303848 h 1686775"/>
                  <a:gd name="connsiteX651" fmla="*/ 612458 w 2242184"/>
                  <a:gd name="connsiteY651" fmla="*/ 312420 h 1686775"/>
                  <a:gd name="connsiteX652" fmla="*/ 629603 w 2242184"/>
                  <a:gd name="connsiteY652" fmla="*/ 322898 h 1686775"/>
                  <a:gd name="connsiteX653" fmla="*/ 640080 w 2242184"/>
                  <a:gd name="connsiteY653" fmla="*/ 328612 h 1686775"/>
                  <a:gd name="connsiteX654" fmla="*/ 655320 w 2242184"/>
                  <a:gd name="connsiteY654" fmla="*/ 336233 h 1686775"/>
                  <a:gd name="connsiteX655" fmla="*/ 659130 w 2242184"/>
                  <a:gd name="connsiteY655" fmla="*/ 342900 h 1686775"/>
                  <a:gd name="connsiteX656" fmla="*/ 667703 w 2242184"/>
                  <a:gd name="connsiteY656" fmla="*/ 348615 h 1686775"/>
                  <a:gd name="connsiteX657" fmla="*/ 681038 w 2242184"/>
                  <a:gd name="connsiteY657" fmla="*/ 353378 h 1686775"/>
                  <a:gd name="connsiteX658" fmla="*/ 689610 w 2242184"/>
                  <a:gd name="connsiteY658" fmla="*/ 359093 h 1686775"/>
                  <a:gd name="connsiteX659" fmla="*/ 696278 w 2242184"/>
                  <a:gd name="connsiteY659" fmla="*/ 367665 h 1686775"/>
                  <a:gd name="connsiteX660" fmla="*/ 698183 w 2242184"/>
                  <a:gd name="connsiteY660" fmla="*/ 371475 h 1686775"/>
                  <a:gd name="connsiteX661" fmla="*/ 721995 w 2242184"/>
                  <a:gd name="connsiteY661" fmla="*/ 380048 h 1686775"/>
                  <a:gd name="connsiteX662" fmla="*/ 730568 w 2242184"/>
                  <a:gd name="connsiteY662" fmla="*/ 384810 h 1686775"/>
                  <a:gd name="connsiteX663" fmla="*/ 739140 w 2242184"/>
                  <a:gd name="connsiteY663" fmla="*/ 389573 h 1686775"/>
                  <a:gd name="connsiteX664" fmla="*/ 761048 w 2242184"/>
                  <a:gd name="connsiteY664" fmla="*/ 395287 h 1686775"/>
                  <a:gd name="connsiteX665" fmla="*/ 778193 w 2242184"/>
                  <a:gd name="connsiteY665" fmla="*/ 402908 h 1686775"/>
                  <a:gd name="connsiteX666" fmla="*/ 778193 w 2242184"/>
                  <a:gd name="connsiteY666" fmla="*/ 406718 h 1686775"/>
                  <a:gd name="connsiteX667" fmla="*/ 782003 w 2242184"/>
                  <a:gd name="connsiteY667" fmla="*/ 416243 h 1686775"/>
                  <a:gd name="connsiteX668" fmla="*/ 773430 w 2242184"/>
                  <a:gd name="connsiteY668" fmla="*/ 420052 h 1686775"/>
                  <a:gd name="connsiteX669" fmla="*/ 762000 w 2242184"/>
                  <a:gd name="connsiteY669" fmla="*/ 420052 h 1686775"/>
                  <a:gd name="connsiteX670" fmla="*/ 755333 w 2242184"/>
                  <a:gd name="connsiteY670" fmla="*/ 413385 h 1686775"/>
                  <a:gd name="connsiteX671" fmla="*/ 746760 w 2242184"/>
                  <a:gd name="connsiteY671" fmla="*/ 406718 h 1686775"/>
                  <a:gd name="connsiteX672" fmla="*/ 738188 w 2242184"/>
                  <a:gd name="connsiteY672" fmla="*/ 403860 h 1686775"/>
                  <a:gd name="connsiteX673" fmla="*/ 729615 w 2242184"/>
                  <a:gd name="connsiteY673" fmla="*/ 399098 h 1686775"/>
                  <a:gd name="connsiteX674" fmla="*/ 705803 w 2242184"/>
                  <a:gd name="connsiteY674" fmla="*/ 391477 h 1686775"/>
                  <a:gd name="connsiteX675" fmla="*/ 699135 w 2242184"/>
                  <a:gd name="connsiteY675" fmla="*/ 392430 h 1686775"/>
                  <a:gd name="connsiteX676" fmla="*/ 707708 w 2242184"/>
                  <a:gd name="connsiteY676" fmla="*/ 402908 h 1686775"/>
                  <a:gd name="connsiteX677" fmla="*/ 722948 w 2242184"/>
                  <a:gd name="connsiteY677" fmla="*/ 411480 h 1686775"/>
                  <a:gd name="connsiteX678" fmla="*/ 736283 w 2242184"/>
                  <a:gd name="connsiteY678" fmla="*/ 419100 h 1686775"/>
                  <a:gd name="connsiteX679" fmla="*/ 742950 w 2242184"/>
                  <a:gd name="connsiteY679" fmla="*/ 427673 h 1686775"/>
                  <a:gd name="connsiteX680" fmla="*/ 742950 w 2242184"/>
                  <a:gd name="connsiteY680" fmla="*/ 431483 h 1686775"/>
                  <a:gd name="connsiteX681" fmla="*/ 744855 w 2242184"/>
                  <a:gd name="connsiteY681" fmla="*/ 445770 h 1686775"/>
                  <a:gd name="connsiteX682" fmla="*/ 752475 w 2242184"/>
                  <a:gd name="connsiteY682" fmla="*/ 456248 h 1686775"/>
                  <a:gd name="connsiteX683" fmla="*/ 747713 w 2242184"/>
                  <a:gd name="connsiteY683" fmla="*/ 487680 h 1686775"/>
                  <a:gd name="connsiteX684" fmla="*/ 751523 w 2242184"/>
                  <a:gd name="connsiteY684" fmla="*/ 500062 h 1686775"/>
                  <a:gd name="connsiteX685" fmla="*/ 751523 w 2242184"/>
                  <a:gd name="connsiteY685" fmla="*/ 506730 h 1686775"/>
                  <a:gd name="connsiteX686" fmla="*/ 758190 w 2242184"/>
                  <a:gd name="connsiteY686" fmla="*/ 521970 h 1686775"/>
                  <a:gd name="connsiteX687" fmla="*/ 764858 w 2242184"/>
                  <a:gd name="connsiteY687" fmla="*/ 536258 h 1686775"/>
                  <a:gd name="connsiteX688" fmla="*/ 768668 w 2242184"/>
                  <a:gd name="connsiteY688" fmla="*/ 542925 h 1686775"/>
                  <a:gd name="connsiteX689" fmla="*/ 775335 w 2242184"/>
                  <a:gd name="connsiteY689" fmla="*/ 551498 h 1686775"/>
                  <a:gd name="connsiteX690" fmla="*/ 785813 w 2242184"/>
                  <a:gd name="connsiteY690" fmla="*/ 559118 h 1686775"/>
                  <a:gd name="connsiteX691" fmla="*/ 794385 w 2242184"/>
                  <a:gd name="connsiteY691" fmla="*/ 568643 h 1686775"/>
                  <a:gd name="connsiteX692" fmla="*/ 801053 w 2242184"/>
                  <a:gd name="connsiteY692" fmla="*/ 580073 h 1686775"/>
                  <a:gd name="connsiteX693" fmla="*/ 804863 w 2242184"/>
                  <a:gd name="connsiteY693" fmla="*/ 585788 h 1686775"/>
                  <a:gd name="connsiteX694" fmla="*/ 808673 w 2242184"/>
                  <a:gd name="connsiteY694" fmla="*/ 592455 h 1686775"/>
                  <a:gd name="connsiteX695" fmla="*/ 815340 w 2242184"/>
                  <a:gd name="connsiteY695" fmla="*/ 599123 h 1686775"/>
                  <a:gd name="connsiteX696" fmla="*/ 825818 w 2242184"/>
                  <a:gd name="connsiteY696" fmla="*/ 601980 h 1686775"/>
                  <a:gd name="connsiteX697" fmla="*/ 832485 w 2242184"/>
                  <a:gd name="connsiteY697" fmla="*/ 606743 h 1686775"/>
                  <a:gd name="connsiteX698" fmla="*/ 843915 w 2242184"/>
                  <a:gd name="connsiteY698" fmla="*/ 609600 h 1686775"/>
                  <a:gd name="connsiteX699" fmla="*/ 852488 w 2242184"/>
                  <a:gd name="connsiteY699" fmla="*/ 612458 h 1686775"/>
                  <a:gd name="connsiteX700" fmla="*/ 859155 w 2242184"/>
                  <a:gd name="connsiteY700" fmla="*/ 618173 h 1686775"/>
                  <a:gd name="connsiteX701" fmla="*/ 879158 w 2242184"/>
                  <a:gd name="connsiteY701" fmla="*/ 631508 h 1686775"/>
                  <a:gd name="connsiteX702" fmla="*/ 885825 w 2242184"/>
                  <a:gd name="connsiteY702" fmla="*/ 643890 h 1686775"/>
                  <a:gd name="connsiteX703" fmla="*/ 889635 w 2242184"/>
                  <a:gd name="connsiteY703" fmla="*/ 650558 h 1686775"/>
                  <a:gd name="connsiteX704" fmla="*/ 902018 w 2242184"/>
                  <a:gd name="connsiteY704" fmla="*/ 665798 h 1686775"/>
                  <a:gd name="connsiteX705" fmla="*/ 903923 w 2242184"/>
                  <a:gd name="connsiteY705" fmla="*/ 671513 h 1686775"/>
                  <a:gd name="connsiteX706" fmla="*/ 917258 w 2242184"/>
                  <a:gd name="connsiteY706" fmla="*/ 685800 h 1686775"/>
                  <a:gd name="connsiteX707" fmla="*/ 923925 w 2242184"/>
                  <a:gd name="connsiteY707" fmla="*/ 701040 h 1686775"/>
                  <a:gd name="connsiteX708" fmla="*/ 945833 w 2242184"/>
                  <a:gd name="connsiteY708" fmla="*/ 711518 h 1686775"/>
                  <a:gd name="connsiteX709" fmla="*/ 956310 w 2242184"/>
                  <a:gd name="connsiteY709" fmla="*/ 717233 h 1686775"/>
                  <a:gd name="connsiteX710" fmla="*/ 969645 w 2242184"/>
                  <a:gd name="connsiteY710" fmla="*/ 725805 h 1686775"/>
                  <a:gd name="connsiteX711" fmla="*/ 980123 w 2242184"/>
                  <a:gd name="connsiteY711" fmla="*/ 731520 h 1686775"/>
                  <a:gd name="connsiteX712" fmla="*/ 993458 w 2242184"/>
                  <a:gd name="connsiteY712" fmla="*/ 731520 h 1686775"/>
                  <a:gd name="connsiteX713" fmla="*/ 990600 w 2242184"/>
                  <a:gd name="connsiteY713" fmla="*/ 722948 h 1686775"/>
                  <a:gd name="connsiteX714" fmla="*/ 982028 w 2242184"/>
                  <a:gd name="connsiteY714" fmla="*/ 717233 h 1686775"/>
                  <a:gd name="connsiteX715" fmla="*/ 968693 w 2242184"/>
                  <a:gd name="connsiteY715" fmla="*/ 706755 h 1686775"/>
                  <a:gd name="connsiteX716" fmla="*/ 960120 w 2242184"/>
                  <a:gd name="connsiteY716" fmla="*/ 698183 h 1686775"/>
                  <a:gd name="connsiteX717" fmla="*/ 953453 w 2242184"/>
                  <a:gd name="connsiteY717" fmla="*/ 692468 h 1686775"/>
                  <a:gd name="connsiteX718" fmla="*/ 949643 w 2242184"/>
                  <a:gd name="connsiteY718" fmla="*/ 686752 h 1686775"/>
                  <a:gd name="connsiteX719" fmla="*/ 945833 w 2242184"/>
                  <a:gd name="connsiteY719" fmla="*/ 678180 h 1686775"/>
                  <a:gd name="connsiteX720" fmla="*/ 939165 w 2242184"/>
                  <a:gd name="connsiteY720" fmla="*/ 672465 h 1686775"/>
                  <a:gd name="connsiteX721" fmla="*/ 935355 w 2242184"/>
                  <a:gd name="connsiteY721" fmla="*/ 663893 h 1686775"/>
                  <a:gd name="connsiteX722" fmla="*/ 923925 w 2242184"/>
                  <a:gd name="connsiteY722" fmla="*/ 655320 h 1686775"/>
                  <a:gd name="connsiteX723" fmla="*/ 923925 w 2242184"/>
                  <a:gd name="connsiteY723" fmla="*/ 648652 h 1686775"/>
                  <a:gd name="connsiteX724" fmla="*/ 935355 w 2242184"/>
                  <a:gd name="connsiteY724" fmla="*/ 645795 h 1686775"/>
                  <a:gd name="connsiteX725" fmla="*/ 943928 w 2242184"/>
                  <a:gd name="connsiteY725" fmla="*/ 651510 h 1686775"/>
                  <a:gd name="connsiteX726" fmla="*/ 962978 w 2242184"/>
                  <a:gd name="connsiteY726" fmla="*/ 677227 h 1686775"/>
                  <a:gd name="connsiteX727" fmla="*/ 980123 w 2242184"/>
                  <a:gd name="connsiteY727" fmla="*/ 690563 h 1686775"/>
                  <a:gd name="connsiteX728" fmla="*/ 997268 w 2242184"/>
                  <a:gd name="connsiteY728" fmla="*/ 701040 h 1686775"/>
                  <a:gd name="connsiteX729" fmla="*/ 1012508 w 2242184"/>
                  <a:gd name="connsiteY729" fmla="*/ 712470 h 1686775"/>
                  <a:gd name="connsiteX730" fmla="*/ 1019175 w 2242184"/>
                  <a:gd name="connsiteY730" fmla="*/ 719138 h 1686775"/>
                  <a:gd name="connsiteX731" fmla="*/ 1034415 w 2242184"/>
                  <a:gd name="connsiteY731" fmla="*/ 733425 h 1686775"/>
                  <a:gd name="connsiteX732" fmla="*/ 1044893 w 2242184"/>
                  <a:gd name="connsiteY732" fmla="*/ 739140 h 1686775"/>
                  <a:gd name="connsiteX733" fmla="*/ 1048703 w 2242184"/>
                  <a:gd name="connsiteY733" fmla="*/ 745808 h 1686775"/>
                  <a:gd name="connsiteX734" fmla="*/ 1055370 w 2242184"/>
                  <a:gd name="connsiteY734" fmla="*/ 750570 h 1686775"/>
                  <a:gd name="connsiteX735" fmla="*/ 1062038 w 2242184"/>
                  <a:gd name="connsiteY735" fmla="*/ 756285 h 1686775"/>
                  <a:gd name="connsiteX736" fmla="*/ 1068705 w 2242184"/>
                  <a:gd name="connsiteY736" fmla="*/ 761048 h 1686775"/>
                  <a:gd name="connsiteX737" fmla="*/ 1072515 w 2242184"/>
                  <a:gd name="connsiteY737" fmla="*/ 766763 h 1686775"/>
                  <a:gd name="connsiteX738" fmla="*/ 1070610 w 2242184"/>
                  <a:gd name="connsiteY738" fmla="*/ 772477 h 1686775"/>
                  <a:gd name="connsiteX739" fmla="*/ 1074420 w 2242184"/>
                  <a:gd name="connsiteY739" fmla="*/ 779145 h 1686775"/>
                  <a:gd name="connsiteX740" fmla="*/ 1081088 w 2242184"/>
                  <a:gd name="connsiteY740" fmla="*/ 783908 h 1686775"/>
                  <a:gd name="connsiteX741" fmla="*/ 1094423 w 2242184"/>
                  <a:gd name="connsiteY741" fmla="*/ 789623 h 1686775"/>
                  <a:gd name="connsiteX742" fmla="*/ 1101090 w 2242184"/>
                  <a:gd name="connsiteY742" fmla="*/ 792480 h 1686775"/>
                  <a:gd name="connsiteX743" fmla="*/ 1116330 w 2242184"/>
                  <a:gd name="connsiteY743" fmla="*/ 798195 h 1686775"/>
                  <a:gd name="connsiteX744" fmla="*/ 1121093 w 2242184"/>
                  <a:gd name="connsiteY744" fmla="*/ 802005 h 1686775"/>
                  <a:gd name="connsiteX745" fmla="*/ 1125855 w 2242184"/>
                  <a:gd name="connsiteY745" fmla="*/ 805815 h 1686775"/>
                  <a:gd name="connsiteX746" fmla="*/ 1129665 w 2242184"/>
                  <a:gd name="connsiteY746" fmla="*/ 808673 h 1686775"/>
                  <a:gd name="connsiteX747" fmla="*/ 1151573 w 2242184"/>
                  <a:gd name="connsiteY747" fmla="*/ 820102 h 1686775"/>
                  <a:gd name="connsiteX748" fmla="*/ 1168718 w 2242184"/>
                  <a:gd name="connsiteY748" fmla="*/ 827723 h 1686775"/>
                  <a:gd name="connsiteX749" fmla="*/ 1180148 w 2242184"/>
                  <a:gd name="connsiteY749" fmla="*/ 827723 h 1686775"/>
                  <a:gd name="connsiteX750" fmla="*/ 1193483 w 2242184"/>
                  <a:gd name="connsiteY750" fmla="*/ 827723 h 1686775"/>
                  <a:gd name="connsiteX751" fmla="*/ 1213485 w 2242184"/>
                  <a:gd name="connsiteY751" fmla="*/ 827723 h 1686775"/>
                  <a:gd name="connsiteX752" fmla="*/ 1235393 w 2242184"/>
                  <a:gd name="connsiteY752" fmla="*/ 827723 h 1686775"/>
                  <a:gd name="connsiteX753" fmla="*/ 1250633 w 2242184"/>
                  <a:gd name="connsiteY753" fmla="*/ 826770 h 1686775"/>
                  <a:gd name="connsiteX754" fmla="*/ 1272540 w 2242184"/>
                  <a:gd name="connsiteY754" fmla="*/ 826770 h 1686775"/>
                  <a:gd name="connsiteX755" fmla="*/ 1279208 w 2242184"/>
                  <a:gd name="connsiteY755" fmla="*/ 829627 h 1686775"/>
                  <a:gd name="connsiteX756" fmla="*/ 1290638 w 2242184"/>
                  <a:gd name="connsiteY756" fmla="*/ 829627 h 1686775"/>
                  <a:gd name="connsiteX757" fmla="*/ 1297305 w 2242184"/>
                  <a:gd name="connsiteY757" fmla="*/ 831533 h 1686775"/>
                  <a:gd name="connsiteX758" fmla="*/ 1302068 w 2242184"/>
                  <a:gd name="connsiteY758" fmla="*/ 837248 h 1686775"/>
                  <a:gd name="connsiteX759" fmla="*/ 1323975 w 2242184"/>
                  <a:gd name="connsiteY759" fmla="*/ 853440 h 1686775"/>
                  <a:gd name="connsiteX760" fmla="*/ 1341120 w 2242184"/>
                  <a:gd name="connsiteY760" fmla="*/ 853440 h 1686775"/>
                  <a:gd name="connsiteX761" fmla="*/ 1354455 w 2242184"/>
                  <a:gd name="connsiteY761" fmla="*/ 855345 h 1686775"/>
                  <a:gd name="connsiteX762" fmla="*/ 1369695 w 2242184"/>
                  <a:gd name="connsiteY762" fmla="*/ 863918 h 1686775"/>
                  <a:gd name="connsiteX763" fmla="*/ 1383030 w 2242184"/>
                  <a:gd name="connsiteY763" fmla="*/ 869633 h 1686775"/>
                  <a:gd name="connsiteX764" fmla="*/ 1391603 w 2242184"/>
                  <a:gd name="connsiteY764" fmla="*/ 875348 h 1686775"/>
                  <a:gd name="connsiteX765" fmla="*/ 1402080 w 2242184"/>
                  <a:gd name="connsiteY765" fmla="*/ 885825 h 1686775"/>
                  <a:gd name="connsiteX766" fmla="*/ 1410653 w 2242184"/>
                  <a:gd name="connsiteY766" fmla="*/ 891540 h 1686775"/>
                  <a:gd name="connsiteX767" fmla="*/ 1423988 w 2242184"/>
                  <a:gd name="connsiteY767" fmla="*/ 900113 h 1686775"/>
                  <a:gd name="connsiteX768" fmla="*/ 1435418 w 2242184"/>
                  <a:gd name="connsiteY768" fmla="*/ 902970 h 1686775"/>
                  <a:gd name="connsiteX769" fmla="*/ 1437323 w 2242184"/>
                  <a:gd name="connsiteY769" fmla="*/ 909638 h 1686775"/>
                  <a:gd name="connsiteX770" fmla="*/ 1437323 w 2242184"/>
                  <a:gd name="connsiteY770" fmla="*/ 913448 h 1686775"/>
                  <a:gd name="connsiteX771" fmla="*/ 1450658 w 2242184"/>
                  <a:gd name="connsiteY771" fmla="*/ 921068 h 1686775"/>
                  <a:gd name="connsiteX772" fmla="*/ 1459230 w 2242184"/>
                  <a:gd name="connsiteY772" fmla="*/ 923925 h 1686775"/>
                  <a:gd name="connsiteX773" fmla="*/ 1481138 w 2242184"/>
                  <a:gd name="connsiteY773" fmla="*/ 923925 h 1686775"/>
                  <a:gd name="connsiteX774" fmla="*/ 1489710 w 2242184"/>
                  <a:gd name="connsiteY774" fmla="*/ 923925 h 1686775"/>
                  <a:gd name="connsiteX775" fmla="*/ 1498283 w 2242184"/>
                  <a:gd name="connsiteY775" fmla="*/ 922973 h 1686775"/>
                  <a:gd name="connsiteX776" fmla="*/ 1506855 w 2242184"/>
                  <a:gd name="connsiteY776" fmla="*/ 922973 h 1686775"/>
                  <a:gd name="connsiteX777" fmla="*/ 1520190 w 2242184"/>
                  <a:gd name="connsiteY777" fmla="*/ 922973 h 1686775"/>
                  <a:gd name="connsiteX778" fmla="*/ 1533525 w 2242184"/>
                  <a:gd name="connsiteY778" fmla="*/ 922973 h 1686775"/>
                  <a:gd name="connsiteX779" fmla="*/ 1550670 w 2242184"/>
                  <a:gd name="connsiteY779" fmla="*/ 922973 h 1686775"/>
                  <a:gd name="connsiteX780" fmla="*/ 1547813 w 2242184"/>
                  <a:gd name="connsiteY780" fmla="*/ 938213 h 1686775"/>
                  <a:gd name="connsiteX781" fmla="*/ 1547813 w 2242184"/>
                  <a:gd name="connsiteY781" fmla="*/ 955358 h 1686775"/>
                  <a:gd name="connsiteX782" fmla="*/ 1544955 w 2242184"/>
                  <a:gd name="connsiteY782" fmla="*/ 964883 h 1686775"/>
                  <a:gd name="connsiteX783" fmla="*/ 1546860 w 2242184"/>
                  <a:gd name="connsiteY783" fmla="*/ 968693 h 1686775"/>
                  <a:gd name="connsiteX784" fmla="*/ 1542098 w 2242184"/>
                  <a:gd name="connsiteY784" fmla="*/ 975360 h 1686775"/>
                  <a:gd name="connsiteX785" fmla="*/ 1528763 w 2242184"/>
                  <a:gd name="connsiteY785" fmla="*/ 984885 h 1686775"/>
                  <a:gd name="connsiteX786" fmla="*/ 1508760 w 2242184"/>
                  <a:gd name="connsiteY786" fmla="*/ 994410 h 1686775"/>
                  <a:gd name="connsiteX787" fmla="*/ 1508760 w 2242184"/>
                  <a:gd name="connsiteY787" fmla="*/ 998220 h 1686775"/>
                  <a:gd name="connsiteX788" fmla="*/ 1495425 w 2242184"/>
                  <a:gd name="connsiteY788" fmla="*/ 1007745 h 1686775"/>
                  <a:gd name="connsiteX789" fmla="*/ 1482090 w 2242184"/>
                  <a:gd name="connsiteY789" fmla="*/ 1016318 h 1686775"/>
                  <a:gd name="connsiteX790" fmla="*/ 1479233 w 2242184"/>
                  <a:gd name="connsiteY790" fmla="*/ 1031557 h 1686775"/>
                  <a:gd name="connsiteX791" fmla="*/ 1485900 w 2242184"/>
                  <a:gd name="connsiteY791" fmla="*/ 1043940 h 1686775"/>
                  <a:gd name="connsiteX792" fmla="*/ 1483043 w 2242184"/>
                  <a:gd name="connsiteY792" fmla="*/ 1055370 h 1686775"/>
                  <a:gd name="connsiteX793" fmla="*/ 1483043 w 2242184"/>
                  <a:gd name="connsiteY793" fmla="*/ 1061085 h 1686775"/>
                  <a:gd name="connsiteX794" fmla="*/ 1483043 w 2242184"/>
                  <a:gd name="connsiteY794" fmla="*/ 1075373 h 1686775"/>
                  <a:gd name="connsiteX795" fmla="*/ 1484948 w 2242184"/>
                  <a:gd name="connsiteY795" fmla="*/ 1079183 h 1686775"/>
                  <a:gd name="connsiteX796" fmla="*/ 1495425 w 2242184"/>
                  <a:gd name="connsiteY796" fmla="*/ 1083945 h 1686775"/>
                  <a:gd name="connsiteX797" fmla="*/ 1508760 w 2242184"/>
                  <a:gd name="connsiteY797" fmla="*/ 1091565 h 1686775"/>
                  <a:gd name="connsiteX798" fmla="*/ 1515428 w 2242184"/>
                  <a:gd name="connsiteY798" fmla="*/ 1103948 h 1686775"/>
                  <a:gd name="connsiteX799" fmla="*/ 1524000 w 2242184"/>
                  <a:gd name="connsiteY799" fmla="*/ 1118235 h 1686775"/>
                  <a:gd name="connsiteX800" fmla="*/ 1547813 w 2242184"/>
                  <a:gd name="connsiteY800" fmla="*/ 1141095 h 1686775"/>
                  <a:gd name="connsiteX801" fmla="*/ 1554480 w 2242184"/>
                  <a:gd name="connsiteY801" fmla="*/ 1146810 h 1686775"/>
                  <a:gd name="connsiteX802" fmla="*/ 1556385 w 2242184"/>
                  <a:gd name="connsiteY802" fmla="*/ 1150620 h 1686775"/>
                  <a:gd name="connsiteX803" fmla="*/ 1571625 w 2242184"/>
                  <a:gd name="connsiteY803" fmla="*/ 1162050 h 1686775"/>
                  <a:gd name="connsiteX804" fmla="*/ 1586865 w 2242184"/>
                  <a:gd name="connsiteY804" fmla="*/ 1173480 h 1686775"/>
                  <a:gd name="connsiteX805" fmla="*/ 1600200 w 2242184"/>
                  <a:gd name="connsiteY805" fmla="*/ 1181100 h 1686775"/>
                  <a:gd name="connsiteX806" fmla="*/ 1608773 w 2242184"/>
                  <a:gd name="connsiteY806" fmla="*/ 1183958 h 1686775"/>
                  <a:gd name="connsiteX807" fmla="*/ 1624013 w 2242184"/>
                  <a:gd name="connsiteY807" fmla="*/ 1191578 h 1686775"/>
                  <a:gd name="connsiteX808" fmla="*/ 1634490 w 2242184"/>
                  <a:gd name="connsiteY808" fmla="*/ 1197293 h 1686775"/>
                  <a:gd name="connsiteX809" fmla="*/ 1651635 w 2242184"/>
                  <a:gd name="connsiteY809" fmla="*/ 1204913 h 1686775"/>
                  <a:gd name="connsiteX810" fmla="*/ 1655445 w 2242184"/>
                  <a:gd name="connsiteY810" fmla="*/ 1210628 h 1686775"/>
                  <a:gd name="connsiteX811" fmla="*/ 1659255 w 2242184"/>
                  <a:gd name="connsiteY811" fmla="*/ 1216343 h 1686775"/>
                  <a:gd name="connsiteX812" fmla="*/ 1659255 w 2242184"/>
                  <a:gd name="connsiteY812" fmla="*/ 1218248 h 1686775"/>
                  <a:gd name="connsiteX813" fmla="*/ 1659255 w 2242184"/>
                  <a:gd name="connsiteY813" fmla="*/ 1218248 h 1686775"/>
                  <a:gd name="connsiteX814" fmla="*/ 1659255 w 2242184"/>
                  <a:gd name="connsiteY814" fmla="*/ 1221105 h 1686775"/>
                  <a:gd name="connsiteX815" fmla="*/ 1663065 w 2242184"/>
                  <a:gd name="connsiteY815" fmla="*/ 1259205 h 1686775"/>
                  <a:gd name="connsiteX816" fmla="*/ 1664970 w 2242184"/>
                  <a:gd name="connsiteY816" fmla="*/ 1273493 h 1686775"/>
                  <a:gd name="connsiteX817" fmla="*/ 1664970 w 2242184"/>
                  <a:gd name="connsiteY817" fmla="*/ 1293495 h 1686775"/>
                  <a:gd name="connsiteX818" fmla="*/ 1664970 w 2242184"/>
                  <a:gd name="connsiteY818" fmla="*/ 1299210 h 1686775"/>
                  <a:gd name="connsiteX819" fmla="*/ 1664970 w 2242184"/>
                  <a:gd name="connsiteY819" fmla="*/ 1313498 h 1686775"/>
                  <a:gd name="connsiteX820" fmla="*/ 1666875 w 2242184"/>
                  <a:gd name="connsiteY820" fmla="*/ 1317308 h 1686775"/>
                  <a:gd name="connsiteX821" fmla="*/ 1657350 w 2242184"/>
                  <a:gd name="connsiteY821" fmla="*/ 1332548 h 1686775"/>
                  <a:gd name="connsiteX822" fmla="*/ 1655445 w 2242184"/>
                  <a:gd name="connsiteY822" fmla="*/ 1336358 h 1686775"/>
                  <a:gd name="connsiteX823" fmla="*/ 1646873 w 2242184"/>
                  <a:gd name="connsiteY823" fmla="*/ 1345883 h 1686775"/>
                  <a:gd name="connsiteX824" fmla="*/ 1642110 w 2242184"/>
                  <a:gd name="connsiteY824" fmla="*/ 1351598 h 1686775"/>
                  <a:gd name="connsiteX825" fmla="*/ 1639253 w 2242184"/>
                  <a:gd name="connsiteY825" fmla="*/ 1360170 h 1686775"/>
                  <a:gd name="connsiteX826" fmla="*/ 1637348 w 2242184"/>
                  <a:gd name="connsiteY826" fmla="*/ 1365885 h 1686775"/>
                  <a:gd name="connsiteX827" fmla="*/ 1644015 w 2242184"/>
                  <a:gd name="connsiteY827" fmla="*/ 1375410 h 1686775"/>
                  <a:gd name="connsiteX828" fmla="*/ 1644015 w 2242184"/>
                  <a:gd name="connsiteY828" fmla="*/ 1383983 h 1686775"/>
                  <a:gd name="connsiteX829" fmla="*/ 1644015 w 2242184"/>
                  <a:gd name="connsiteY829" fmla="*/ 1387793 h 1686775"/>
                  <a:gd name="connsiteX830" fmla="*/ 1635443 w 2242184"/>
                  <a:gd name="connsiteY830" fmla="*/ 1391603 h 1686775"/>
                  <a:gd name="connsiteX831" fmla="*/ 1633538 w 2242184"/>
                  <a:gd name="connsiteY831" fmla="*/ 1395413 h 1686775"/>
                  <a:gd name="connsiteX832" fmla="*/ 1628775 w 2242184"/>
                  <a:gd name="connsiteY832" fmla="*/ 1402080 h 1686775"/>
                  <a:gd name="connsiteX833" fmla="*/ 1622108 w 2242184"/>
                  <a:gd name="connsiteY833" fmla="*/ 1407795 h 1686775"/>
                  <a:gd name="connsiteX834" fmla="*/ 1612583 w 2242184"/>
                  <a:gd name="connsiteY834" fmla="*/ 1427798 h 1686775"/>
                  <a:gd name="connsiteX835" fmla="*/ 1614488 w 2242184"/>
                  <a:gd name="connsiteY835" fmla="*/ 1448753 h 1686775"/>
                  <a:gd name="connsiteX836" fmla="*/ 1616393 w 2242184"/>
                  <a:gd name="connsiteY836" fmla="*/ 1468755 h 1686775"/>
                  <a:gd name="connsiteX837" fmla="*/ 1613535 w 2242184"/>
                  <a:gd name="connsiteY837" fmla="*/ 1480185 h 1686775"/>
                  <a:gd name="connsiteX838" fmla="*/ 1602105 w 2242184"/>
                  <a:gd name="connsiteY838" fmla="*/ 1486853 h 1686775"/>
                  <a:gd name="connsiteX839" fmla="*/ 1593533 w 2242184"/>
                  <a:gd name="connsiteY839" fmla="*/ 1490663 h 1686775"/>
                  <a:gd name="connsiteX840" fmla="*/ 1588770 w 2242184"/>
                  <a:gd name="connsiteY840" fmla="*/ 1497330 h 1686775"/>
                  <a:gd name="connsiteX841" fmla="*/ 1597343 w 2242184"/>
                  <a:gd name="connsiteY841" fmla="*/ 1503045 h 1686775"/>
                  <a:gd name="connsiteX842" fmla="*/ 1599248 w 2242184"/>
                  <a:gd name="connsiteY842" fmla="*/ 1523048 h 1686775"/>
                  <a:gd name="connsiteX843" fmla="*/ 1601153 w 2242184"/>
                  <a:gd name="connsiteY843" fmla="*/ 1529715 h 1686775"/>
                  <a:gd name="connsiteX844" fmla="*/ 1601153 w 2242184"/>
                  <a:gd name="connsiteY844" fmla="*/ 1535430 h 1686775"/>
                  <a:gd name="connsiteX845" fmla="*/ 1585913 w 2242184"/>
                  <a:gd name="connsiteY845" fmla="*/ 1542098 h 1686775"/>
                  <a:gd name="connsiteX846" fmla="*/ 1574483 w 2242184"/>
                  <a:gd name="connsiteY846" fmla="*/ 1564958 h 1686775"/>
                  <a:gd name="connsiteX847" fmla="*/ 1578293 w 2242184"/>
                  <a:gd name="connsiteY847" fmla="*/ 1573530 h 1686775"/>
                  <a:gd name="connsiteX848" fmla="*/ 1584960 w 2242184"/>
                  <a:gd name="connsiteY848" fmla="*/ 1583055 h 1686775"/>
                  <a:gd name="connsiteX849" fmla="*/ 1584960 w 2242184"/>
                  <a:gd name="connsiteY849" fmla="*/ 1586865 h 1686775"/>
                  <a:gd name="connsiteX850" fmla="*/ 1586865 w 2242184"/>
                  <a:gd name="connsiteY850" fmla="*/ 1593533 h 1686775"/>
                  <a:gd name="connsiteX851" fmla="*/ 1586865 w 2242184"/>
                  <a:gd name="connsiteY851" fmla="*/ 1602105 h 1686775"/>
                  <a:gd name="connsiteX852" fmla="*/ 1586865 w 2242184"/>
                  <a:gd name="connsiteY852" fmla="*/ 1614488 h 1686775"/>
                  <a:gd name="connsiteX853" fmla="*/ 1586865 w 2242184"/>
                  <a:gd name="connsiteY853" fmla="*/ 1618298 h 1686775"/>
                  <a:gd name="connsiteX854" fmla="*/ 1600200 w 2242184"/>
                  <a:gd name="connsiteY854" fmla="*/ 1632585 h 1686775"/>
                  <a:gd name="connsiteX855" fmla="*/ 1610678 w 2242184"/>
                  <a:gd name="connsiteY855" fmla="*/ 1642110 h 1686775"/>
                  <a:gd name="connsiteX856" fmla="*/ 1607820 w 2242184"/>
                  <a:gd name="connsiteY856" fmla="*/ 1656398 h 1686775"/>
                  <a:gd name="connsiteX857" fmla="*/ 1611630 w 2242184"/>
                  <a:gd name="connsiteY857" fmla="*/ 1662113 h 1686775"/>
                  <a:gd name="connsiteX858" fmla="*/ 1615440 w 2242184"/>
                  <a:gd name="connsiteY858" fmla="*/ 1668780 h 1686775"/>
                  <a:gd name="connsiteX859" fmla="*/ 1637348 w 2242184"/>
                  <a:gd name="connsiteY859" fmla="*/ 1679258 h 1686775"/>
                  <a:gd name="connsiteX860" fmla="*/ 1652588 w 2242184"/>
                  <a:gd name="connsiteY860" fmla="*/ 1682115 h 1686775"/>
                  <a:gd name="connsiteX861" fmla="*/ 1661160 w 2242184"/>
                  <a:gd name="connsiteY861" fmla="*/ 1682115 h 1686775"/>
                  <a:gd name="connsiteX862" fmla="*/ 1689735 w 2242184"/>
                  <a:gd name="connsiteY862" fmla="*/ 1684973 h 1686775"/>
                  <a:gd name="connsiteX863" fmla="*/ 1711643 w 2242184"/>
                  <a:gd name="connsiteY863" fmla="*/ 1684973 h 1686775"/>
                  <a:gd name="connsiteX864" fmla="*/ 1718310 w 2242184"/>
                  <a:gd name="connsiteY864" fmla="*/ 1682115 h 1686775"/>
                  <a:gd name="connsiteX865" fmla="*/ 1726883 w 2242184"/>
                  <a:gd name="connsiteY865" fmla="*/ 1676400 h 1686775"/>
                  <a:gd name="connsiteX866" fmla="*/ 1728788 w 2242184"/>
                  <a:gd name="connsiteY866" fmla="*/ 1670685 h 1686775"/>
                  <a:gd name="connsiteX867" fmla="*/ 1713548 w 2242184"/>
                  <a:gd name="connsiteY867" fmla="*/ 1667828 h 1686775"/>
                  <a:gd name="connsiteX868" fmla="*/ 1700213 w 2242184"/>
                  <a:gd name="connsiteY868" fmla="*/ 1662113 h 1686775"/>
                  <a:gd name="connsiteX869" fmla="*/ 1683068 w 2242184"/>
                  <a:gd name="connsiteY869" fmla="*/ 1644968 h 1686775"/>
                  <a:gd name="connsiteX870" fmla="*/ 1681163 w 2242184"/>
                  <a:gd name="connsiteY870" fmla="*/ 1633538 h 1686775"/>
                  <a:gd name="connsiteX871" fmla="*/ 1684020 w 2242184"/>
                  <a:gd name="connsiteY871" fmla="*/ 1619250 h 1686775"/>
                  <a:gd name="connsiteX872" fmla="*/ 1690688 w 2242184"/>
                  <a:gd name="connsiteY872" fmla="*/ 1609725 h 1686775"/>
                  <a:gd name="connsiteX873" fmla="*/ 1702118 w 2242184"/>
                  <a:gd name="connsiteY873" fmla="*/ 1597343 h 1686775"/>
                  <a:gd name="connsiteX874" fmla="*/ 1710690 w 2242184"/>
                  <a:gd name="connsiteY874" fmla="*/ 1591628 h 1686775"/>
                  <a:gd name="connsiteX875" fmla="*/ 1725930 w 2242184"/>
                  <a:gd name="connsiteY875" fmla="*/ 1585913 h 1686775"/>
                  <a:gd name="connsiteX876" fmla="*/ 1734503 w 2242184"/>
                  <a:gd name="connsiteY876" fmla="*/ 1579245 h 1686775"/>
                  <a:gd name="connsiteX877" fmla="*/ 1734503 w 2242184"/>
                  <a:gd name="connsiteY877" fmla="*/ 1573530 h 1686775"/>
                  <a:gd name="connsiteX878" fmla="*/ 1734503 w 2242184"/>
                  <a:gd name="connsiteY878" fmla="*/ 1567815 h 1686775"/>
                  <a:gd name="connsiteX879" fmla="*/ 1727835 w 2242184"/>
                  <a:gd name="connsiteY879" fmla="*/ 1562100 h 1686775"/>
                  <a:gd name="connsiteX880" fmla="*/ 1725930 w 2242184"/>
                  <a:gd name="connsiteY880" fmla="*/ 1552575 h 1686775"/>
                  <a:gd name="connsiteX881" fmla="*/ 1725930 w 2242184"/>
                  <a:gd name="connsiteY881" fmla="*/ 1545908 h 1686775"/>
                  <a:gd name="connsiteX882" fmla="*/ 1727835 w 2242184"/>
                  <a:gd name="connsiteY882" fmla="*/ 1540193 h 1686775"/>
                  <a:gd name="connsiteX883" fmla="*/ 1745933 w 2242184"/>
                  <a:gd name="connsiteY883" fmla="*/ 1528763 h 1686775"/>
                  <a:gd name="connsiteX884" fmla="*/ 1752600 w 2242184"/>
                  <a:gd name="connsiteY884" fmla="*/ 1523048 h 1686775"/>
                  <a:gd name="connsiteX885" fmla="*/ 1757363 w 2242184"/>
                  <a:gd name="connsiteY885" fmla="*/ 1511618 h 1686775"/>
                  <a:gd name="connsiteX886" fmla="*/ 1759268 w 2242184"/>
                  <a:gd name="connsiteY886" fmla="*/ 1504950 h 1686775"/>
                  <a:gd name="connsiteX887" fmla="*/ 1764030 w 2242184"/>
                  <a:gd name="connsiteY887" fmla="*/ 1499235 h 1686775"/>
                  <a:gd name="connsiteX888" fmla="*/ 1768793 w 2242184"/>
                  <a:gd name="connsiteY888" fmla="*/ 1490663 h 1686775"/>
                  <a:gd name="connsiteX889" fmla="*/ 1770698 w 2242184"/>
                  <a:gd name="connsiteY889" fmla="*/ 1484948 h 1686775"/>
                  <a:gd name="connsiteX890" fmla="*/ 1779270 w 2242184"/>
                  <a:gd name="connsiteY890" fmla="*/ 1482090 h 1686775"/>
                  <a:gd name="connsiteX891" fmla="*/ 1787843 w 2242184"/>
                  <a:gd name="connsiteY891" fmla="*/ 1479233 h 1686775"/>
                  <a:gd name="connsiteX892" fmla="*/ 1796415 w 2242184"/>
                  <a:gd name="connsiteY892" fmla="*/ 1470660 h 1686775"/>
                  <a:gd name="connsiteX893" fmla="*/ 1803083 w 2242184"/>
                  <a:gd name="connsiteY893" fmla="*/ 1466850 h 1686775"/>
                  <a:gd name="connsiteX894" fmla="*/ 1807845 w 2242184"/>
                  <a:gd name="connsiteY894" fmla="*/ 1460183 h 1686775"/>
                  <a:gd name="connsiteX895" fmla="*/ 1823085 w 2242184"/>
                  <a:gd name="connsiteY895" fmla="*/ 1460183 h 1686775"/>
                  <a:gd name="connsiteX896" fmla="*/ 1841183 w 2242184"/>
                  <a:gd name="connsiteY896" fmla="*/ 1459230 h 1686775"/>
                  <a:gd name="connsiteX897" fmla="*/ 1847850 w 2242184"/>
                  <a:gd name="connsiteY897" fmla="*/ 1458278 h 1686775"/>
                  <a:gd name="connsiteX898" fmla="*/ 1861185 w 2242184"/>
                  <a:gd name="connsiteY898" fmla="*/ 1452563 h 1686775"/>
                  <a:gd name="connsiteX899" fmla="*/ 1883093 w 2242184"/>
                  <a:gd name="connsiteY899" fmla="*/ 1445895 h 1686775"/>
                  <a:gd name="connsiteX900" fmla="*/ 1892618 w 2242184"/>
                  <a:gd name="connsiteY900" fmla="*/ 1434465 h 1686775"/>
                  <a:gd name="connsiteX901" fmla="*/ 1892618 w 2242184"/>
                  <a:gd name="connsiteY901" fmla="*/ 1422083 h 1686775"/>
                  <a:gd name="connsiteX902" fmla="*/ 1901190 w 2242184"/>
                  <a:gd name="connsiteY902" fmla="*/ 1413510 h 1686775"/>
                  <a:gd name="connsiteX903" fmla="*/ 1905953 w 2242184"/>
                  <a:gd name="connsiteY903" fmla="*/ 1407795 h 1686775"/>
                  <a:gd name="connsiteX904" fmla="*/ 1919288 w 2242184"/>
                  <a:gd name="connsiteY904" fmla="*/ 1406843 h 1686775"/>
                  <a:gd name="connsiteX905" fmla="*/ 1927860 w 2242184"/>
                  <a:gd name="connsiteY905" fmla="*/ 1408748 h 1686775"/>
                  <a:gd name="connsiteX906" fmla="*/ 1943100 w 2242184"/>
                  <a:gd name="connsiteY906" fmla="*/ 1403033 h 1686775"/>
                  <a:gd name="connsiteX907" fmla="*/ 1951673 w 2242184"/>
                  <a:gd name="connsiteY907" fmla="*/ 1397318 h 1686775"/>
                  <a:gd name="connsiteX908" fmla="*/ 1965008 w 2242184"/>
                  <a:gd name="connsiteY908" fmla="*/ 1387793 h 1686775"/>
                  <a:gd name="connsiteX909" fmla="*/ 1980248 w 2242184"/>
                  <a:gd name="connsiteY909" fmla="*/ 1376363 h 1686775"/>
                  <a:gd name="connsiteX910" fmla="*/ 1980248 w 2242184"/>
                  <a:gd name="connsiteY910" fmla="*/ 1370648 h 1686775"/>
                  <a:gd name="connsiteX911" fmla="*/ 1991678 w 2242184"/>
                  <a:gd name="connsiteY911" fmla="*/ 1358265 h 1686775"/>
                  <a:gd name="connsiteX912" fmla="*/ 2003108 w 2242184"/>
                  <a:gd name="connsiteY912" fmla="*/ 1349693 h 1686775"/>
                  <a:gd name="connsiteX913" fmla="*/ 2021205 w 2242184"/>
                  <a:gd name="connsiteY913" fmla="*/ 1343978 h 1686775"/>
                  <a:gd name="connsiteX914" fmla="*/ 2032635 w 2242184"/>
                  <a:gd name="connsiteY914" fmla="*/ 1334453 h 1686775"/>
                  <a:gd name="connsiteX915" fmla="*/ 2034540 w 2242184"/>
                  <a:gd name="connsiteY915" fmla="*/ 1327785 h 1686775"/>
                  <a:gd name="connsiteX916" fmla="*/ 2034540 w 2242184"/>
                  <a:gd name="connsiteY916" fmla="*/ 1319213 h 1686775"/>
                  <a:gd name="connsiteX917" fmla="*/ 2045970 w 2242184"/>
                  <a:gd name="connsiteY917" fmla="*/ 1306830 h 1686775"/>
                  <a:gd name="connsiteX918" fmla="*/ 2047875 w 2242184"/>
                  <a:gd name="connsiteY918" fmla="*/ 1301115 h 1686775"/>
                  <a:gd name="connsiteX919" fmla="*/ 2054543 w 2242184"/>
                  <a:gd name="connsiteY919" fmla="*/ 1294448 h 1686775"/>
                  <a:gd name="connsiteX920" fmla="*/ 2061210 w 2242184"/>
                  <a:gd name="connsiteY920" fmla="*/ 1293495 h 1686775"/>
                  <a:gd name="connsiteX921" fmla="*/ 2069783 w 2242184"/>
                  <a:gd name="connsiteY921" fmla="*/ 1284923 h 1686775"/>
                  <a:gd name="connsiteX922" fmla="*/ 2076450 w 2242184"/>
                  <a:gd name="connsiteY922" fmla="*/ 1283970 h 1686775"/>
                  <a:gd name="connsiteX923" fmla="*/ 2096453 w 2242184"/>
                  <a:gd name="connsiteY923" fmla="*/ 1274445 h 1686775"/>
                  <a:gd name="connsiteX924" fmla="*/ 2121218 w 2242184"/>
                  <a:gd name="connsiteY924" fmla="*/ 1270635 h 1686775"/>
                  <a:gd name="connsiteX925" fmla="*/ 2132648 w 2242184"/>
                  <a:gd name="connsiteY925" fmla="*/ 1266825 h 1686775"/>
                  <a:gd name="connsiteX926" fmla="*/ 2152650 w 2242184"/>
                  <a:gd name="connsiteY926" fmla="*/ 1261110 h 1686775"/>
                  <a:gd name="connsiteX927" fmla="*/ 2174558 w 2242184"/>
                  <a:gd name="connsiteY927" fmla="*/ 1252538 h 1686775"/>
                  <a:gd name="connsiteX928" fmla="*/ 2181225 w 2242184"/>
                  <a:gd name="connsiteY928" fmla="*/ 1245870 h 1686775"/>
                  <a:gd name="connsiteX929" fmla="*/ 2187893 w 2242184"/>
                  <a:gd name="connsiteY929" fmla="*/ 1236345 h 1686775"/>
                  <a:gd name="connsiteX930" fmla="*/ 2201228 w 2242184"/>
                  <a:gd name="connsiteY930" fmla="*/ 1224915 h 1686775"/>
                  <a:gd name="connsiteX931" fmla="*/ 2204085 w 2242184"/>
                  <a:gd name="connsiteY931" fmla="*/ 1203960 h 1686775"/>
                  <a:gd name="connsiteX932" fmla="*/ 2206943 w 2242184"/>
                  <a:gd name="connsiteY932" fmla="*/ 1194435 h 1686775"/>
                  <a:gd name="connsiteX933" fmla="*/ 2216468 w 2242184"/>
                  <a:gd name="connsiteY933" fmla="*/ 1182053 h 1686775"/>
                  <a:gd name="connsiteX934" fmla="*/ 2216468 w 2242184"/>
                  <a:gd name="connsiteY934" fmla="*/ 1172528 h 1686775"/>
                  <a:gd name="connsiteX935" fmla="*/ 2214563 w 2242184"/>
                  <a:gd name="connsiteY935" fmla="*/ 1165860 h 1686775"/>
                  <a:gd name="connsiteX936" fmla="*/ 2214563 w 2242184"/>
                  <a:gd name="connsiteY936" fmla="*/ 1160145 h 1686775"/>
                  <a:gd name="connsiteX937" fmla="*/ 2225993 w 2242184"/>
                  <a:gd name="connsiteY937" fmla="*/ 1151573 h 1686775"/>
                  <a:gd name="connsiteX938" fmla="*/ 2237423 w 2242184"/>
                  <a:gd name="connsiteY938" fmla="*/ 1127760 h 1686775"/>
                  <a:gd name="connsiteX939" fmla="*/ 2235518 w 2242184"/>
                  <a:gd name="connsiteY939" fmla="*/ 1113473 h 1686775"/>
                  <a:gd name="connsiteX940" fmla="*/ 2242185 w 2242184"/>
                  <a:gd name="connsiteY940" fmla="*/ 1098233 h 1686775"/>
                  <a:gd name="connsiteX941" fmla="*/ 1526858 w 2242184"/>
                  <a:gd name="connsiteY941" fmla="*/ 497205 h 1686775"/>
                  <a:gd name="connsiteX942" fmla="*/ 1528763 w 2242184"/>
                  <a:gd name="connsiteY942" fmla="*/ 494348 h 1686775"/>
                  <a:gd name="connsiteX943" fmla="*/ 1531620 w 2242184"/>
                  <a:gd name="connsiteY943" fmla="*/ 491490 h 1686775"/>
                  <a:gd name="connsiteX944" fmla="*/ 1540193 w 2242184"/>
                  <a:gd name="connsiteY944" fmla="*/ 491490 h 1686775"/>
                  <a:gd name="connsiteX945" fmla="*/ 1545908 w 2242184"/>
                  <a:gd name="connsiteY945" fmla="*/ 490537 h 1686775"/>
                  <a:gd name="connsiteX946" fmla="*/ 1553528 w 2242184"/>
                  <a:gd name="connsiteY946" fmla="*/ 490537 h 1686775"/>
                  <a:gd name="connsiteX947" fmla="*/ 1561148 w 2242184"/>
                  <a:gd name="connsiteY947" fmla="*/ 490537 h 1686775"/>
                  <a:gd name="connsiteX948" fmla="*/ 1576388 w 2242184"/>
                  <a:gd name="connsiteY948" fmla="*/ 489585 h 1686775"/>
                  <a:gd name="connsiteX949" fmla="*/ 1578293 w 2242184"/>
                  <a:gd name="connsiteY949" fmla="*/ 493395 h 1686775"/>
                  <a:gd name="connsiteX950" fmla="*/ 1578293 w 2242184"/>
                  <a:gd name="connsiteY950" fmla="*/ 494348 h 1686775"/>
                  <a:gd name="connsiteX951" fmla="*/ 1576388 w 2242184"/>
                  <a:gd name="connsiteY951" fmla="*/ 497205 h 1686775"/>
                  <a:gd name="connsiteX952" fmla="*/ 1571625 w 2242184"/>
                  <a:gd name="connsiteY952" fmla="*/ 498158 h 1686775"/>
                  <a:gd name="connsiteX953" fmla="*/ 1564005 w 2242184"/>
                  <a:gd name="connsiteY953" fmla="*/ 499110 h 1686775"/>
                  <a:gd name="connsiteX954" fmla="*/ 1557338 w 2242184"/>
                  <a:gd name="connsiteY954" fmla="*/ 500062 h 1686775"/>
                  <a:gd name="connsiteX955" fmla="*/ 1550670 w 2242184"/>
                  <a:gd name="connsiteY955" fmla="*/ 501015 h 1686775"/>
                  <a:gd name="connsiteX956" fmla="*/ 1539240 w 2242184"/>
                  <a:gd name="connsiteY956" fmla="*/ 501968 h 1686775"/>
                  <a:gd name="connsiteX957" fmla="*/ 1534478 w 2242184"/>
                  <a:gd name="connsiteY957" fmla="*/ 502920 h 1686775"/>
                  <a:gd name="connsiteX958" fmla="*/ 1528763 w 2242184"/>
                  <a:gd name="connsiteY958" fmla="*/ 503873 h 1686775"/>
                  <a:gd name="connsiteX959" fmla="*/ 1521143 w 2242184"/>
                  <a:gd name="connsiteY959" fmla="*/ 508635 h 1686775"/>
                  <a:gd name="connsiteX960" fmla="*/ 1510665 w 2242184"/>
                  <a:gd name="connsiteY960" fmla="*/ 514350 h 1686775"/>
                  <a:gd name="connsiteX961" fmla="*/ 1501140 w 2242184"/>
                  <a:gd name="connsiteY961" fmla="*/ 515302 h 1686775"/>
                  <a:gd name="connsiteX962" fmla="*/ 1495425 w 2242184"/>
                  <a:gd name="connsiteY962" fmla="*/ 516255 h 1686775"/>
                  <a:gd name="connsiteX963" fmla="*/ 1495425 w 2242184"/>
                  <a:gd name="connsiteY963" fmla="*/ 516255 h 1686775"/>
                  <a:gd name="connsiteX964" fmla="*/ 1495425 w 2242184"/>
                  <a:gd name="connsiteY964" fmla="*/ 516255 h 1686775"/>
                  <a:gd name="connsiteX965" fmla="*/ 1483995 w 2242184"/>
                  <a:gd name="connsiteY965" fmla="*/ 518160 h 1686775"/>
                  <a:gd name="connsiteX966" fmla="*/ 1474470 w 2242184"/>
                  <a:gd name="connsiteY966" fmla="*/ 516255 h 1686775"/>
                  <a:gd name="connsiteX967" fmla="*/ 1467803 w 2242184"/>
                  <a:gd name="connsiteY967" fmla="*/ 514350 h 1686775"/>
                  <a:gd name="connsiteX968" fmla="*/ 1467803 w 2242184"/>
                  <a:gd name="connsiteY968" fmla="*/ 510540 h 1686775"/>
                  <a:gd name="connsiteX969" fmla="*/ 1471613 w 2242184"/>
                  <a:gd name="connsiteY969" fmla="*/ 503873 h 1686775"/>
                  <a:gd name="connsiteX970" fmla="*/ 1477328 w 2242184"/>
                  <a:gd name="connsiteY970" fmla="*/ 502920 h 1686775"/>
                  <a:gd name="connsiteX971" fmla="*/ 1488758 w 2242184"/>
                  <a:gd name="connsiteY971" fmla="*/ 502920 h 1686775"/>
                  <a:gd name="connsiteX972" fmla="*/ 1491615 w 2242184"/>
                  <a:gd name="connsiteY972" fmla="*/ 502920 h 1686775"/>
                  <a:gd name="connsiteX973" fmla="*/ 1502093 w 2242184"/>
                  <a:gd name="connsiteY973" fmla="*/ 502920 h 1686775"/>
                  <a:gd name="connsiteX974" fmla="*/ 1509713 w 2242184"/>
                  <a:gd name="connsiteY974" fmla="*/ 501968 h 1686775"/>
                  <a:gd name="connsiteX975" fmla="*/ 1518285 w 2242184"/>
                  <a:gd name="connsiteY975" fmla="*/ 501015 h 1686775"/>
                  <a:gd name="connsiteX976" fmla="*/ 1524000 w 2242184"/>
                  <a:gd name="connsiteY976" fmla="*/ 498158 h 1686775"/>
                  <a:gd name="connsiteX977" fmla="*/ 1526858 w 2242184"/>
                  <a:gd name="connsiteY977" fmla="*/ 497205 h 1686775"/>
                  <a:gd name="connsiteX978" fmla="*/ 1446848 w 2242184"/>
                  <a:gd name="connsiteY978" fmla="*/ 462915 h 1686775"/>
                  <a:gd name="connsiteX979" fmla="*/ 1453515 w 2242184"/>
                  <a:gd name="connsiteY979" fmla="*/ 462915 h 1686775"/>
                  <a:gd name="connsiteX980" fmla="*/ 1463993 w 2242184"/>
                  <a:gd name="connsiteY980" fmla="*/ 462915 h 1686775"/>
                  <a:gd name="connsiteX981" fmla="*/ 1468755 w 2242184"/>
                  <a:gd name="connsiteY981" fmla="*/ 461962 h 1686775"/>
                  <a:gd name="connsiteX982" fmla="*/ 1479233 w 2242184"/>
                  <a:gd name="connsiteY982" fmla="*/ 461010 h 1686775"/>
                  <a:gd name="connsiteX983" fmla="*/ 1490663 w 2242184"/>
                  <a:gd name="connsiteY983" fmla="*/ 460058 h 1686775"/>
                  <a:gd name="connsiteX984" fmla="*/ 1502093 w 2242184"/>
                  <a:gd name="connsiteY984" fmla="*/ 461010 h 1686775"/>
                  <a:gd name="connsiteX985" fmla="*/ 1513523 w 2242184"/>
                  <a:gd name="connsiteY985" fmla="*/ 461010 h 1686775"/>
                  <a:gd name="connsiteX986" fmla="*/ 1515428 w 2242184"/>
                  <a:gd name="connsiteY986" fmla="*/ 466725 h 1686775"/>
                  <a:gd name="connsiteX987" fmla="*/ 1518285 w 2242184"/>
                  <a:gd name="connsiteY987" fmla="*/ 466725 h 1686775"/>
                  <a:gd name="connsiteX988" fmla="*/ 1521143 w 2242184"/>
                  <a:gd name="connsiteY988" fmla="*/ 467677 h 1686775"/>
                  <a:gd name="connsiteX989" fmla="*/ 1520190 w 2242184"/>
                  <a:gd name="connsiteY989" fmla="*/ 469583 h 1686775"/>
                  <a:gd name="connsiteX990" fmla="*/ 1515428 w 2242184"/>
                  <a:gd name="connsiteY990" fmla="*/ 472440 h 1686775"/>
                  <a:gd name="connsiteX991" fmla="*/ 1511618 w 2242184"/>
                  <a:gd name="connsiteY991" fmla="*/ 473393 h 1686775"/>
                  <a:gd name="connsiteX992" fmla="*/ 1504950 w 2242184"/>
                  <a:gd name="connsiteY992" fmla="*/ 473393 h 1686775"/>
                  <a:gd name="connsiteX993" fmla="*/ 1498283 w 2242184"/>
                  <a:gd name="connsiteY993" fmla="*/ 473393 h 1686775"/>
                  <a:gd name="connsiteX994" fmla="*/ 1495425 w 2242184"/>
                  <a:gd name="connsiteY994" fmla="*/ 474345 h 1686775"/>
                  <a:gd name="connsiteX995" fmla="*/ 1493520 w 2242184"/>
                  <a:gd name="connsiteY995" fmla="*/ 478155 h 1686775"/>
                  <a:gd name="connsiteX996" fmla="*/ 1492568 w 2242184"/>
                  <a:gd name="connsiteY996" fmla="*/ 485775 h 1686775"/>
                  <a:gd name="connsiteX997" fmla="*/ 1483043 w 2242184"/>
                  <a:gd name="connsiteY997" fmla="*/ 488633 h 1686775"/>
                  <a:gd name="connsiteX998" fmla="*/ 1477328 w 2242184"/>
                  <a:gd name="connsiteY998" fmla="*/ 488633 h 1686775"/>
                  <a:gd name="connsiteX999" fmla="*/ 1471613 w 2242184"/>
                  <a:gd name="connsiteY999" fmla="*/ 484823 h 1686775"/>
                  <a:gd name="connsiteX1000" fmla="*/ 1464945 w 2242184"/>
                  <a:gd name="connsiteY1000" fmla="*/ 482918 h 1686775"/>
                  <a:gd name="connsiteX1001" fmla="*/ 1460183 w 2242184"/>
                  <a:gd name="connsiteY1001" fmla="*/ 478155 h 1686775"/>
                  <a:gd name="connsiteX1002" fmla="*/ 1460183 w 2242184"/>
                  <a:gd name="connsiteY1002" fmla="*/ 476250 h 1686775"/>
                  <a:gd name="connsiteX1003" fmla="*/ 1457325 w 2242184"/>
                  <a:gd name="connsiteY1003" fmla="*/ 473393 h 1686775"/>
                  <a:gd name="connsiteX1004" fmla="*/ 1450658 w 2242184"/>
                  <a:gd name="connsiteY1004" fmla="*/ 469583 h 1686775"/>
                  <a:gd name="connsiteX1005" fmla="*/ 1444943 w 2242184"/>
                  <a:gd name="connsiteY1005" fmla="*/ 469583 h 1686775"/>
                  <a:gd name="connsiteX1006" fmla="*/ 1436370 w 2242184"/>
                  <a:gd name="connsiteY1006" fmla="*/ 469583 h 1686775"/>
                  <a:gd name="connsiteX1007" fmla="*/ 1431608 w 2242184"/>
                  <a:gd name="connsiteY1007" fmla="*/ 469583 h 1686775"/>
                  <a:gd name="connsiteX1008" fmla="*/ 1425893 w 2242184"/>
                  <a:gd name="connsiteY1008" fmla="*/ 472440 h 1686775"/>
                  <a:gd name="connsiteX1009" fmla="*/ 1421130 w 2242184"/>
                  <a:gd name="connsiteY1009" fmla="*/ 474345 h 1686775"/>
                  <a:gd name="connsiteX1010" fmla="*/ 1416368 w 2242184"/>
                  <a:gd name="connsiteY1010" fmla="*/ 478155 h 1686775"/>
                  <a:gd name="connsiteX1011" fmla="*/ 1415415 w 2242184"/>
                  <a:gd name="connsiteY1011" fmla="*/ 480060 h 1686775"/>
                  <a:gd name="connsiteX1012" fmla="*/ 1414463 w 2242184"/>
                  <a:gd name="connsiteY1012" fmla="*/ 484823 h 1686775"/>
                  <a:gd name="connsiteX1013" fmla="*/ 1410653 w 2242184"/>
                  <a:gd name="connsiteY1013" fmla="*/ 486727 h 1686775"/>
                  <a:gd name="connsiteX1014" fmla="*/ 1409700 w 2242184"/>
                  <a:gd name="connsiteY1014" fmla="*/ 492443 h 1686775"/>
                  <a:gd name="connsiteX1015" fmla="*/ 1407795 w 2242184"/>
                  <a:gd name="connsiteY1015" fmla="*/ 499110 h 1686775"/>
                  <a:gd name="connsiteX1016" fmla="*/ 1406843 w 2242184"/>
                  <a:gd name="connsiteY1016" fmla="*/ 502920 h 1686775"/>
                  <a:gd name="connsiteX1017" fmla="*/ 1405890 w 2242184"/>
                  <a:gd name="connsiteY1017" fmla="*/ 504825 h 1686775"/>
                  <a:gd name="connsiteX1018" fmla="*/ 1400175 w 2242184"/>
                  <a:gd name="connsiteY1018" fmla="*/ 504825 h 1686775"/>
                  <a:gd name="connsiteX1019" fmla="*/ 1396365 w 2242184"/>
                  <a:gd name="connsiteY1019" fmla="*/ 504825 h 1686775"/>
                  <a:gd name="connsiteX1020" fmla="*/ 1391603 w 2242184"/>
                  <a:gd name="connsiteY1020" fmla="*/ 502920 h 1686775"/>
                  <a:gd name="connsiteX1021" fmla="*/ 1388745 w 2242184"/>
                  <a:gd name="connsiteY1021" fmla="*/ 500062 h 1686775"/>
                  <a:gd name="connsiteX1022" fmla="*/ 1389698 w 2242184"/>
                  <a:gd name="connsiteY1022" fmla="*/ 493395 h 1686775"/>
                  <a:gd name="connsiteX1023" fmla="*/ 1387793 w 2242184"/>
                  <a:gd name="connsiteY1023" fmla="*/ 486727 h 1686775"/>
                  <a:gd name="connsiteX1024" fmla="*/ 1387793 w 2242184"/>
                  <a:gd name="connsiteY1024" fmla="*/ 483870 h 1686775"/>
                  <a:gd name="connsiteX1025" fmla="*/ 1387793 w 2242184"/>
                  <a:gd name="connsiteY1025" fmla="*/ 477202 h 1686775"/>
                  <a:gd name="connsiteX1026" fmla="*/ 1391603 w 2242184"/>
                  <a:gd name="connsiteY1026" fmla="*/ 473393 h 1686775"/>
                  <a:gd name="connsiteX1027" fmla="*/ 1395413 w 2242184"/>
                  <a:gd name="connsiteY1027" fmla="*/ 469583 h 1686775"/>
                  <a:gd name="connsiteX1028" fmla="*/ 1403985 w 2242184"/>
                  <a:gd name="connsiteY1028" fmla="*/ 467677 h 1686775"/>
                  <a:gd name="connsiteX1029" fmla="*/ 1413510 w 2242184"/>
                  <a:gd name="connsiteY1029" fmla="*/ 464820 h 1686775"/>
                  <a:gd name="connsiteX1030" fmla="*/ 1414463 w 2242184"/>
                  <a:gd name="connsiteY1030" fmla="*/ 462915 h 1686775"/>
                  <a:gd name="connsiteX1031" fmla="*/ 1422083 w 2242184"/>
                  <a:gd name="connsiteY1031" fmla="*/ 460058 h 1686775"/>
                  <a:gd name="connsiteX1032" fmla="*/ 1423988 w 2242184"/>
                  <a:gd name="connsiteY1032" fmla="*/ 460058 h 1686775"/>
                  <a:gd name="connsiteX1033" fmla="*/ 1429703 w 2242184"/>
                  <a:gd name="connsiteY1033" fmla="*/ 460058 h 1686775"/>
                  <a:gd name="connsiteX1034" fmla="*/ 1434465 w 2242184"/>
                  <a:gd name="connsiteY1034" fmla="*/ 460058 h 1686775"/>
                  <a:gd name="connsiteX1035" fmla="*/ 1446848 w 2242184"/>
                  <a:gd name="connsiteY1035" fmla="*/ 462915 h 1686775"/>
                  <a:gd name="connsiteX1036" fmla="*/ 1322070 w 2242184"/>
                  <a:gd name="connsiteY1036" fmla="*/ 445770 h 1686775"/>
                  <a:gd name="connsiteX1037" fmla="*/ 1324928 w 2242184"/>
                  <a:gd name="connsiteY1037" fmla="*/ 443865 h 1686775"/>
                  <a:gd name="connsiteX1038" fmla="*/ 1329690 w 2242184"/>
                  <a:gd name="connsiteY1038" fmla="*/ 441960 h 1686775"/>
                  <a:gd name="connsiteX1039" fmla="*/ 1333500 w 2242184"/>
                  <a:gd name="connsiteY1039" fmla="*/ 439102 h 1686775"/>
                  <a:gd name="connsiteX1040" fmla="*/ 1334453 w 2242184"/>
                  <a:gd name="connsiteY1040" fmla="*/ 437198 h 1686775"/>
                  <a:gd name="connsiteX1041" fmla="*/ 1338263 w 2242184"/>
                  <a:gd name="connsiteY1041" fmla="*/ 436245 h 1686775"/>
                  <a:gd name="connsiteX1042" fmla="*/ 1348740 w 2242184"/>
                  <a:gd name="connsiteY1042" fmla="*/ 432435 h 1686775"/>
                  <a:gd name="connsiteX1043" fmla="*/ 1353503 w 2242184"/>
                  <a:gd name="connsiteY1043" fmla="*/ 429577 h 1686775"/>
                  <a:gd name="connsiteX1044" fmla="*/ 1355408 w 2242184"/>
                  <a:gd name="connsiteY1044" fmla="*/ 428625 h 1686775"/>
                  <a:gd name="connsiteX1045" fmla="*/ 1357313 w 2242184"/>
                  <a:gd name="connsiteY1045" fmla="*/ 428625 h 1686775"/>
                  <a:gd name="connsiteX1046" fmla="*/ 1363980 w 2242184"/>
                  <a:gd name="connsiteY1046" fmla="*/ 428625 h 1686775"/>
                  <a:gd name="connsiteX1047" fmla="*/ 1366838 w 2242184"/>
                  <a:gd name="connsiteY1047" fmla="*/ 428625 h 1686775"/>
                  <a:gd name="connsiteX1048" fmla="*/ 1376363 w 2242184"/>
                  <a:gd name="connsiteY1048" fmla="*/ 427673 h 1686775"/>
                  <a:gd name="connsiteX1049" fmla="*/ 1381125 w 2242184"/>
                  <a:gd name="connsiteY1049" fmla="*/ 425768 h 1686775"/>
                  <a:gd name="connsiteX1050" fmla="*/ 1384935 w 2242184"/>
                  <a:gd name="connsiteY1050" fmla="*/ 424815 h 1686775"/>
                  <a:gd name="connsiteX1051" fmla="*/ 1387793 w 2242184"/>
                  <a:gd name="connsiteY1051" fmla="*/ 423862 h 1686775"/>
                  <a:gd name="connsiteX1052" fmla="*/ 1392555 w 2242184"/>
                  <a:gd name="connsiteY1052" fmla="*/ 424815 h 1686775"/>
                  <a:gd name="connsiteX1053" fmla="*/ 1397318 w 2242184"/>
                  <a:gd name="connsiteY1053" fmla="*/ 425768 h 1686775"/>
                  <a:gd name="connsiteX1054" fmla="*/ 1403033 w 2242184"/>
                  <a:gd name="connsiteY1054" fmla="*/ 428625 h 1686775"/>
                  <a:gd name="connsiteX1055" fmla="*/ 1408748 w 2242184"/>
                  <a:gd name="connsiteY1055" fmla="*/ 431483 h 1686775"/>
                  <a:gd name="connsiteX1056" fmla="*/ 1411605 w 2242184"/>
                  <a:gd name="connsiteY1056" fmla="*/ 433387 h 1686775"/>
                  <a:gd name="connsiteX1057" fmla="*/ 1418273 w 2242184"/>
                  <a:gd name="connsiteY1057" fmla="*/ 435293 h 1686775"/>
                  <a:gd name="connsiteX1058" fmla="*/ 1421130 w 2242184"/>
                  <a:gd name="connsiteY1058" fmla="*/ 436245 h 1686775"/>
                  <a:gd name="connsiteX1059" fmla="*/ 1423035 w 2242184"/>
                  <a:gd name="connsiteY1059" fmla="*/ 437198 h 1686775"/>
                  <a:gd name="connsiteX1060" fmla="*/ 1424940 w 2242184"/>
                  <a:gd name="connsiteY1060" fmla="*/ 439102 h 1686775"/>
                  <a:gd name="connsiteX1061" fmla="*/ 1425893 w 2242184"/>
                  <a:gd name="connsiteY1061" fmla="*/ 440055 h 1686775"/>
                  <a:gd name="connsiteX1062" fmla="*/ 1432560 w 2242184"/>
                  <a:gd name="connsiteY1062" fmla="*/ 446723 h 1686775"/>
                  <a:gd name="connsiteX1063" fmla="*/ 1429703 w 2242184"/>
                  <a:gd name="connsiteY1063" fmla="*/ 446723 h 1686775"/>
                  <a:gd name="connsiteX1064" fmla="*/ 1411605 w 2242184"/>
                  <a:gd name="connsiteY1064" fmla="*/ 447675 h 1686775"/>
                  <a:gd name="connsiteX1065" fmla="*/ 1404938 w 2242184"/>
                  <a:gd name="connsiteY1065" fmla="*/ 447675 h 1686775"/>
                  <a:gd name="connsiteX1066" fmla="*/ 1399223 w 2242184"/>
                  <a:gd name="connsiteY1066" fmla="*/ 447675 h 1686775"/>
                  <a:gd name="connsiteX1067" fmla="*/ 1393508 w 2242184"/>
                  <a:gd name="connsiteY1067" fmla="*/ 447675 h 1686775"/>
                  <a:gd name="connsiteX1068" fmla="*/ 1388745 w 2242184"/>
                  <a:gd name="connsiteY1068" fmla="*/ 447675 h 1686775"/>
                  <a:gd name="connsiteX1069" fmla="*/ 1381125 w 2242184"/>
                  <a:gd name="connsiteY1069" fmla="*/ 447675 h 1686775"/>
                  <a:gd name="connsiteX1070" fmla="*/ 1373505 w 2242184"/>
                  <a:gd name="connsiteY1070" fmla="*/ 449580 h 1686775"/>
                  <a:gd name="connsiteX1071" fmla="*/ 1360170 w 2242184"/>
                  <a:gd name="connsiteY1071" fmla="*/ 449580 h 1686775"/>
                  <a:gd name="connsiteX1072" fmla="*/ 1354455 w 2242184"/>
                  <a:gd name="connsiteY1072" fmla="*/ 449580 h 1686775"/>
                  <a:gd name="connsiteX1073" fmla="*/ 1342073 w 2242184"/>
                  <a:gd name="connsiteY1073" fmla="*/ 452437 h 1686775"/>
                  <a:gd name="connsiteX1074" fmla="*/ 1339215 w 2242184"/>
                  <a:gd name="connsiteY1074" fmla="*/ 453390 h 1686775"/>
                  <a:gd name="connsiteX1075" fmla="*/ 1331595 w 2242184"/>
                  <a:gd name="connsiteY1075" fmla="*/ 455295 h 1686775"/>
                  <a:gd name="connsiteX1076" fmla="*/ 1325880 w 2242184"/>
                  <a:gd name="connsiteY1076" fmla="*/ 455295 h 1686775"/>
                  <a:gd name="connsiteX1077" fmla="*/ 1322070 w 2242184"/>
                  <a:gd name="connsiteY1077" fmla="*/ 455295 h 1686775"/>
                  <a:gd name="connsiteX1078" fmla="*/ 1320165 w 2242184"/>
                  <a:gd name="connsiteY1078" fmla="*/ 452437 h 1686775"/>
                  <a:gd name="connsiteX1079" fmla="*/ 1320165 w 2242184"/>
                  <a:gd name="connsiteY1079" fmla="*/ 449580 h 1686775"/>
                  <a:gd name="connsiteX1080" fmla="*/ 1322070 w 2242184"/>
                  <a:gd name="connsiteY1080" fmla="*/ 445770 h 1686775"/>
                  <a:gd name="connsiteX1081" fmla="*/ 1762125 w 2242184"/>
                  <a:gd name="connsiteY1081" fmla="*/ 147637 h 1686775"/>
                  <a:gd name="connsiteX1082" fmla="*/ 1762125 w 2242184"/>
                  <a:gd name="connsiteY1082" fmla="*/ 147637 h 1686775"/>
                  <a:gd name="connsiteX1083" fmla="*/ 1762125 w 2242184"/>
                  <a:gd name="connsiteY1083" fmla="*/ 147637 h 1686775"/>
                  <a:gd name="connsiteX1084" fmla="*/ 870585 w 2242184"/>
                  <a:gd name="connsiteY1084" fmla="*/ 141923 h 1686775"/>
                  <a:gd name="connsiteX1085" fmla="*/ 862965 w 2242184"/>
                  <a:gd name="connsiteY1085" fmla="*/ 145733 h 1686775"/>
                  <a:gd name="connsiteX1086" fmla="*/ 854393 w 2242184"/>
                  <a:gd name="connsiteY1086" fmla="*/ 146685 h 1686775"/>
                  <a:gd name="connsiteX1087" fmla="*/ 851535 w 2242184"/>
                  <a:gd name="connsiteY1087" fmla="*/ 146685 h 1686775"/>
                  <a:gd name="connsiteX1088" fmla="*/ 844868 w 2242184"/>
                  <a:gd name="connsiteY1088" fmla="*/ 146685 h 1686775"/>
                  <a:gd name="connsiteX1089" fmla="*/ 840105 w 2242184"/>
                  <a:gd name="connsiteY1089" fmla="*/ 147637 h 1686775"/>
                  <a:gd name="connsiteX1090" fmla="*/ 834390 w 2242184"/>
                  <a:gd name="connsiteY1090" fmla="*/ 149542 h 1686775"/>
                  <a:gd name="connsiteX1091" fmla="*/ 829628 w 2242184"/>
                  <a:gd name="connsiteY1091" fmla="*/ 147637 h 1686775"/>
                  <a:gd name="connsiteX1092" fmla="*/ 826770 w 2242184"/>
                  <a:gd name="connsiteY1092" fmla="*/ 145733 h 1686775"/>
                  <a:gd name="connsiteX1093" fmla="*/ 819150 w 2242184"/>
                  <a:gd name="connsiteY1093" fmla="*/ 144780 h 1686775"/>
                  <a:gd name="connsiteX1094" fmla="*/ 811530 w 2242184"/>
                  <a:gd name="connsiteY1094" fmla="*/ 144780 h 1686775"/>
                  <a:gd name="connsiteX1095" fmla="*/ 804863 w 2242184"/>
                  <a:gd name="connsiteY1095" fmla="*/ 144780 h 1686775"/>
                  <a:gd name="connsiteX1096" fmla="*/ 800100 w 2242184"/>
                  <a:gd name="connsiteY1096" fmla="*/ 142875 h 1686775"/>
                  <a:gd name="connsiteX1097" fmla="*/ 788670 w 2242184"/>
                  <a:gd name="connsiteY1097" fmla="*/ 142875 h 1686775"/>
                  <a:gd name="connsiteX1098" fmla="*/ 784860 w 2242184"/>
                  <a:gd name="connsiteY1098" fmla="*/ 142875 h 1686775"/>
                  <a:gd name="connsiteX1099" fmla="*/ 776288 w 2242184"/>
                  <a:gd name="connsiteY1099" fmla="*/ 141923 h 1686775"/>
                  <a:gd name="connsiteX1100" fmla="*/ 764858 w 2242184"/>
                  <a:gd name="connsiteY1100" fmla="*/ 140970 h 1686775"/>
                  <a:gd name="connsiteX1101" fmla="*/ 756285 w 2242184"/>
                  <a:gd name="connsiteY1101" fmla="*/ 140017 h 1686775"/>
                  <a:gd name="connsiteX1102" fmla="*/ 750570 w 2242184"/>
                  <a:gd name="connsiteY1102" fmla="*/ 135255 h 1686775"/>
                  <a:gd name="connsiteX1103" fmla="*/ 751523 w 2242184"/>
                  <a:gd name="connsiteY1103" fmla="*/ 133350 h 1686775"/>
                  <a:gd name="connsiteX1104" fmla="*/ 754380 w 2242184"/>
                  <a:gd name="connsiteY1104" fmla="*/ 131445 h 1686775"/>
                  <a:gd name="connsiteX1105" fmla="*/ 760095 w 2242184"/>
                  <a:gd name="connsiteY1105" fmla="*/ 131445 h 1686775"/>
                  <a:gd name="connsiteX1106" fmla="*/ 771525 w 2242184"/>
                  <a:gd name="connsiteY1106" fmla="*/ 131445 h 1686775"/>
                  <a:gd name="connsiteX1107" fmla="*/ 776288 w 2242184"/>
                  <a:gd name="connsiteY1107" fmla="*/ 131445 h 1686775"/>
                  <a:gd name="connsiteX1108" fmla="*/ 783908 w 2242184"/>
                  <a:gd name="connsiteY1108" fmla="*/ 131445 h 1686775"/>
                  <a:gd name="connsiteX1109" fmla="*/ 792480 w 2242184"/>
                  <a:gd name="connsiteY1109" fmla="*/ 129540 h 1686775"/>
                  <a:gd name="connsiteX1110" fmla="*/ 794385 w 2242184"/>
                  <a:gd name="connsiteY1110" fmla="*/ 129540 h 1686775"/>
                  <a:gd name="connsiteX1111" fmla="*/ 793433 w 2242184"/>
                  <a:gd name="connsiteY1111" fmla="*/ 129540 h 1686775"/>
                  <a:gd name="connsiteX1112" fmla="*/ 793433 w 2242184"/>
                  <a:gd name="connsiteY1112" fmla="*/ 129540 h 1686775"/>
                  <a:gd name="connsiteX1113" fmla="*/ 792480 w 2242184"/>
                  <a:gd name="connsiteY1113" fmla="*/ 129540 h 1686775"/>
                  <a:gd name="connsiteX1114" fmla="*/ 793433 w 2242184"/>
                  <a:gd name="connsiteY1114" fmla="*/ 129540 h 1686775"/>
                  <a:gd name="connsiteX1115" fmla="*/ 793433 w 2242184"/>
                  <a:gd name="connsiteY1115" fmla="*/ 129540 h 1686775"/>
                  <a:gd name="connsiteX1116" fmla="*/ 794385 w 2242184"/>
                  <a:gd name="connsiteY1116" fmla="*/ 129540 h 1686775"/>
                  <a:gd name="connsiteX1117" fmla="*/ 802958 w 2242184"/>
                  <a:gd name="connsiteY1117" fmla="*/ 128587 h 1686775"/>
                  <a:gd name="connsiteX1118" fmla="*/ 805815 w 2242184"/>
                  <a:gd name="connsiteY1118" fmla="*/ 128587 h 1686775"/>
                  <a:gd name="connsiteX1119" fmla="*/ 815340 w 2242184"/>
                  <a:gd name="connsiteY1119" fmla="*/ 128587 h 1686775"/>
                  <a:gd name="connsiteX1120" fmla="*/ 822008 w 2242184"/>
                  <a:gd name="connsiteY1120" fmla="*/ 128587 h 1686775"/>
                  <a:gd name="connsiteX1121" fmla="*/ 827723 w 2242184"/>
                  <a:gd name="connsiteY1121" fmla="*/ 129540 h 1686775"/>
                  <a:gd name="connsiteX1122" fmla="*/ 832485 w 2242184"/>
                  <a:gd name="connsiteY1122" fmla="*/ 130492 h 1686775"/>
                  <a:gd name="connsiteX1123" fmla="*/ 832485 w 2242184"/>
                  <a:gd name="connsiteY1123" fmla="*/ 131445 h 1686775"/>
                  <a:gd name="connsiteX1124" fmla="*/ 840105 w 2242184"/>
                  <a:gd name="connsiteY1124" fmla="*/ 135255 h 1686775"/>
                  <a:gd name="connsiteX1125" fmla="*/ 842963 w 2242184"/>
                  <a:gd name="connsiteY1125" fmla="*/ 136208 h 1686775"/>
                  <a:gd name="connsiteX1126" fmla="*/ 852488 w 2242184"/>
                  <a:gd name="connsiteY1126" fmla="*/ 131445 h 1686775"/>
                  <a:gd name="connsiteX1127" fmla="*/ 857250 w 2242184"/>
                  <a:gd name="connsiteY1127" fmla="*/ 132398 h 1686775"/>
                  <a:gd name="connsiteX1128" fmla="*/ 862013 w 2242184"/>
                  <a:gd name="connsiteY1128" fmla="*/ 131445 h 1686775"/>
                  <a:gd name="connsiteX1129" fmla="*/ 869633 w 2242184"/>
                  <a:gd name="connsiteY1129" fmla="*/ 132398 h 1686775"/>
                  <a:gd name="connsiteX1130" fmla="*/ 872490 w 2242184"/>
                  <a:gd name="connsiteY1130" fmla="*/ 134303 h 1686775"/>
                  <a:gd name="connsiteX1131" fmla="*/ 873443 w 2242184"/>
                  <a:gd name="connsiteY1131" fmla="*/ 136208 h 1686775"/>
                  <a:gd name="connsiteX1132" fmla="*/ 870585 w 2242184"/>
                  <a:gd name="connsiteY1132" fmla="*/ 141923 h 1686775"/>
                  <a:gd name="connsiteX1133" fmla="*/ 1010603 w 2242184"/>
                  <a:gd name="connsiteY1133" fmla="*/ 202883 h 1686775"/>
                  <a:gd name="connsiteX1134" fmla="*/ 1005840 w 2242184"/>
                  <a:gd name="connsiteY1134" fmla="*/ 204787 h 1686775"/>
                  <a:gd name="connsiteX1135" fmla="*/ 1000125 w 2242184"/>
                  <a:gd name="connsiteY1135" fmla="*/ 206692 h 1686775"/>
                  <a:gd name="connsiteX1136" fmla="*/ 992505 w 2242184"/>
                  <a:gd name="connsiteY1136" fmla="*/ 206692 h 1686775"/>
                  <a:gd name="connsiteX1137" fmla="*/ 984885 w 2242184"/>
                  <a:gd name="connsiteY1137" fmla="*/ 207645 h 1686775"/>
                  <a:gd name="connsiteX1138" fmla="*/ 977265 w 2242184"/>
                  <a:gd name="connsiteY1138" fmla="*/ 209550 h 1686775"/>
                  <a:gd name="connsiteX1139" fmla="*/ 969645 w 2242184"/>
                  <a:gd name="connsiteY1139" fmla="*/ 212408 h 1686775"/>
                  <a:gd name="connsiteX1140" fmla="*/ 963930 w 2242184"/>
                  <a:gd name="connsiteY1140" fmla="*/ 213360 h 1686775"/>
                  <a:gd name="connsiteX1141" fmla="*/ 961073 w 2242184"/>
                  <a:gd name="connsiteY1141" fmla="*/ 217170 h 1686775"/>
                  <a:gd name="connsiteX1142" fmla="*/ 953453 w 2242184"/>
                  <a:gd name="connsiteY1142" fmla="*/ 219075 h 1686775"/>
                  <a:gd name="connsiteX1143" fmla="*/ 943928 w 2242184"/>
                  <a:gd name="connsiteY1143" fmla="*/ 220980 h 1686775"/>
                  <a:gd name="connsiteX1144" fmla="*/ 935355 w 2242184"/>
                  <a:gd name="connsiteY1144" fmla="*/ 220980 h 1686775"/>
                  <a:gd name="connsiteX1145" fmla="*/ 925830 w 2242184"/>
                  <a:gd name="connsiteY1145" fmla="*/ 220980 h 1686775"/>
                  <a:gd name="connsiteX1146" fmla="*/ 917258 w 2242184"/>
                  <a:gd name="connsiteY1146" fmla="*/ 220980 h 1686775"/>
                  <a:gd name="connsiteX1147" fmla="*/ 910590 w 2242184"/>
                  <a:gd name="connsiteY1147" fmla="*/ 221933 h 1686775"/>
                  <a:gd name="connsiteX1148" fmla="*/ 903923 w 2242184"/>
                  <a:gd name="connsiteY1148" fmla="*/ 224790 h 1686775"/>
                  <a:gd name="connsiteX1149" fmla="*/ 895350 w 2242184"/>
                  <a:gd name="connsiteY1149" fmla="*/ 226695 h 1686775"/>
                  <a:gd name="connsiteX1150" fmla="*/ 887730 w 2242184"/>
                  <a:gd name="connsiteY1150" fmla="*/ 227648 h 1686775"/>
                  <a:gd name="connsiteX1151" fmla="*/ 886778 w 2242184"/>
                  <a:gd name="connsiteY1151" fmla="*/ 221933 h 1686775"/>
                  <a:gd name="connsiteX1152" fmla="*/ 887730 w 2242184"/>
                  <a:gd name="connsiteY1152" fmla="*/ 220980 h 1686775"/>
                  <a:gd name="connsiteX1153" fmla="*/ 892493 w 2242184"/>
                  <a:gd name="connsiteY1153" fmla="*/ 220028 h 1686775"/>
                  <a:gd name="connsiteX1154" fmla="*/ 895350 w 2242184"/>
                  <a:gd name="connsiteY1154" fmla="*/ 219075 h 1686775"/>
                  <a:gd name="connsiteX1155" fmla="*/ 902018 w 2242184"/>
                  <a:gd name="connsiteY1155" fmla="*/ 216217 h 1686775"/>
                  <a:gd name="connsiteX1156" fmla="*/ 910590 w 2242184"/>
                  <a:gd name="connsiteY1156" fmla="*/ 214312 h 1686775"/>
                  <a:gd name="connsiteX1157" fmla="*/ 918210 w 2242184"/>
                  <a:gd name="connsiteY1157" fmla="*/ 211455 h 1686775"/>
                  <a:gd name="connsiteX1158" fmla="*/ 922020 w 2242184"/>
                  <a:gd name="connsiteY1158" fmla="*/ 206692 h 1686775"/>
                  <a:gd name="connsiteX1159" fmla="*/ 928688 w 2242184"/>
                  <a:gd name="connsiteY1159" fmla="*/ 206692 h 1686775"/>
                  <a:gd name="connsiteX1160" fmla="*/ 931545 w 2242184"/>
                  <a:gd name="connsiteY1160" fmla="*/ 206692 h 1686775"/>
                  <a:gd name="connsiteX1161" fmla="*/ 942975 w 2242184"/>
                  <a:gd name="connsiteY1161" fmla="*/ 205740 h 1686775"/>
                  <a:gd name="connsiteX1162" fmla="*/ 949643 w 2242184"/>
                  <a:gd name="connsiteY1162" fmla="*/ 206692 h 1686775"/>
                  <a:gd name="connsiteX1163" fmla="*/ 956310 w 2242184"/>
                  <a:gd name="connsiteY1163" fmla="*/ 206692 h 1686775"/>
                  <a:gd name="connsiteX1164" fmla="*/ 965835 w 2242184"/>
                  <a:gd name="connsiteY1164" fmla="*/ 204787 h 1686775"/>
                  <a:gd name="connsiteX1165" fmla="*/ 971550 w 2242184"/>
                  <a:gd name="connsiteY1165" fmla="*/ 201930 h 1686775"/>
                  <a:gd name="connsiteX1166" fmla="*/ 977265 w 2242184"/>
                  <a:gd name="connsiteY1166" fmla="*/ 199073 h 1686775"/>
                  <a:gd name="connsiteX1167" fmla="*/ 982028 w 2242184"/>
                  <a:gd name="connsiteY1167" fmla="*/ 197167 h 1686775"/>
                  <a:gd name="connsiteX1168" fmla="*/ 986790 w 2242184"/>
                  <a:gd name="connsiteY1168" fmla="*/ 196215 h 1686775"/>
                  <a:gd name="connsiteX1169" fmla="*/ 997268 w 2242184"/>
                  <a:gd name="connsiteY1169" fmla="*/ 195262 h 1686775"/>
                  <a:gd name="connsiteX1170" fmla="*/ 1002030 w 2242184"/>
                  <a:gd name="connsiteY1170" fmla="*/ 193358 h 1686775"/>
                  <a:gd name="connsiteX1171" fmla="*/ 1013460 w 2242184"/>
                  <a:gd name="connsiteY1171" fmla="*/ 192405 h 1686775"/>
                  <a:gd name="connsiteX1172" fmla="*/ 1015365 w 2242184"/>
                  <a:gd name="connsiteY1172" fmla="*/ 194310 h 1686775"/>
                  <a:gd name="connsiteX1173" fmla="*/ 1010603 w 2242184"/>
                  <a:gd name="connsiteY1173" fmla="*/ 202883 h 1686775"/>
                  <a:gd name="connsiteX1174" fmla="*/ 1220153 w 2242184"/>
                  <a:gd name="connsiteY1174" fmla="*/ 380048 h 1686775"/>
                  <a:gd name="connsiteX1175" fmla="*/ 1218248 w 2242184"/>
                  <a:gd name="connsiteY1175" fmla="*/ 374333 h 1686775"/>
                  <a:gd name="connsiteX1176" fmla="*/ 1212533 w 2242184"/>
                  <a:gd name="connsiteY1176" fmla="*/ 371475 h 1686775"/>
                  <a:gd name="connsiteX1177" fmla="*/ 1210628 w 2242184"/>
                  <a:gd name="connsiteY1177" fmla="*/ 369570 h 1686775"/>
                  <a:gd name="connsiteX1178" fmla="*/ 1210628 w 2242184"/>
                  <a:gd name="connsiteY1178" fmla="*/ 367665 h 1686775"/>
                  <a:gd name="connsiteX1179" fmla="*/ 1208723 w 2242184"/>
                  <a:gd name="connsiteY1179" fmla="*/ 364808 h 1686775"/>
                  <a:gd name="connsiteX1180" fmla="*/ 1203960 w 2242184"/>
                  <a:gd name="connsiteY1180" fmla="*/ 362903 h 1686775"/>
                  <a:gd name="connsiteX1181" fmla="*/ 1200150 w 2242184"/>
                  <a:gd name="connsiteY1181" fmla="*/ 362903 h 1686775"/>
                  <a:gd name="connsiteX1182" fmla="*/ 1193483 w 2242184"/>
                  <a:gd name="connsiteY1182" fmla="*/ 360998 h 1686775"/>
                  <a:gd name="connsiteX1183" fmla="*/ 1188720 w 2242184"/>
                  <a:gd name="connsiteY1183" fmla="*/ 358140 h 1686775"/>
                  <a:gd name="connsiteX1184" fmla="*/ 1185863 w 2242184"/>
                  <a:gd name="connsiteY1184" fmla="*/ 355283 h 1686775"/>
                  <a:gd name="connsiteX1185" fmla="*/ 1184910 w 2242184"/>
                  <a:gd name="connsiteY1185" fmla="*/ 353378 h 1686775"/>
                  <a:gd name="connsiteX1186" fmla="*/ 1185863 w 2242184"/>
                  <a:gd name="connsiteY1186" fmla="*/ 351473 h 1686775"/>
                  <a:gd name="connsiteX1187" fmla="*/ 1187768 w 2242184"/>
                  <a:gd name="connsiteY1187" fmla="*/ 347662 h 1686775"/>
                  <a:gd name="connsiteX1188" fmla="*/ 1190625 w 2242184"/>
                  <a:gd name="connsiteY1188" fmla="*/ 346710 h 1686775"/>
                  <a:gd name="connsiteX1189" fmla="*/ 1196340 w 2242184"/>
                  <a:gd name="connsiteY1189" fmla="*/ 345758 h 1686775"/>
                  <a:gd name="connsiteX1190" fmla="*/ 1200150 w 2242184"/>
                  <a:gd name="connsiteY1190" fmla="*/ 345758 h 1686775"/>
                  <a:gd name="connsiteX1191" fmla="*/ 1203960 w 2242184"/>
                  <a:gd name="connsiteY1191" fmla="*/ 345758 h 1686775"/>
                  <a:gd name="connsiteX1192" fmla="*/ 1207770 w 2242184"/>
                  <a:gd name="connsiteY1192" fmla="*/ 343853 h 1686775"/>
                  <a:gd name="connsiteX1193" fmla="*/ 1213485 w 2242184"/>
                  <a:gd name="connsiteY1193" fmla="*/ 343853 h 1686775"/>
                  <a:gd name="connsiteX1194" fmla="*/ 1218248 w 2242184"/>
                  <a:gd name="connsiteY1194" fmla="*/ 343853 h 1686775"/>
                  <a:gd name="connsiteX1195" fmla="*/ 1221105 w 2242184"/>
                  <a:gd name="connsiteY1195" fmla="*/ 344805 h 1686775"/>
                  <a:gd name="connsiteX1196" fmla="*/ 1225868 w 2242184"/>
                  <a:gd name="connsiteY1196" fmla="*/ 348615 h 1686775"/>
                  <a:gd name="connsiteX1197" fmla="*/ 1226820 w 2242184"/>
                  <a:gd name="connsiteY1197" fmla="*/ 350520 h 1686775"/>
                  <a:gd name="connsiteX1198" fmla="*/ 1227773 w 2242184"/>
                  <a:gd name="connsiteY1198" fmla="*/ 352425 h 1686775"/>
                  <a:gd name="connsiteX1199" fmla="*/ 1226820 w 2242184"/>
                  <a:gd name="connsiteY1199" fmla="*/ 356235 h 1686775"/>
                  <a:gd name="connsiteX1200" fmla="*/ 1226820 w 2242184"/>
                  <a:gd name="connsiteY1200" fmla="*/ 359093 h 1686775"/>
                  <a:gd name="connsiteX1201" fmla="*/ 1232535 w 2242184"/>
                  <a:gd name="connsiteY1201" fmla="*/ 362903 h 1686775"/>
                  <a:gd name="connsiteX1202" fmla="*/ 1239203 w 2242184"/>
                  <a:gd name="connsiteY1202" fmla="*/ 364808 h 1686775"/>
                  <a:gd name="connsiteX1203" fmla="*/ 1244918 w 2242184"/>
                  <a:gd name="connsiteY1203" fmla="*/ 368618 h 1686775"/>
                  <a:gd name="connsiteX1204" fmla="*/ 1245870 w 2242184"/>
                  <a:gd name="connsiteY1204" fmla="*/ 372427 h 1686775"/>
                  <a:gd name="connsiteX1205" fmla="*/ 1246823 w 2242184"/>
                  <a:gd name="connsiteY1205" fmla="*/ 375285 h 1686775"/>
                  <a:gd name="connsiteX1206" fmla="*/ 1249680 w 2242184"/>
                  <a:gd name="connsiteY1206" fmla="*/ 378143 h 1686775"/>
                  <a:gd name="connsiteX1207" fmla="*/ 1250633 w 2242184"/>
                  <a:gd name="connsiteY1207" fmla="*/ 380048 h 1686775"/>
                  <a:gd name="connsiteX1208" fmla="*/ 1249680 w 2242184"/>
                  <a:gd name="connsiteY1208" fmla="*/ 384810 h 1686775"/>
                  <a:gd name="connsiteX1209" fmla="*/ 1247775 w 2242184"/>
                  <a:gd name="connsiteY1209" fmla="*/ 389573 h 1686775"/>
                  <a:gd name="connsiteX1210" fmla="*/ 1244918 w 2242184"/>
                  <a:gd name="connsiteY1210" fmla="*/ 392430 h 1686775"/>
                  <a:gd name="connsiteX1211" fmla="*/ 1237298 w 2242184"/>
                  <a:gd name="connsiteY1211" fmla="*/ 392430 h 1686775"/>
                  <a:gd name="connsiteX1212" fmla="*/ 1231583 w 2242184"/>
                  <a:gd name="connsiteY1212" fmla="*/ 392430 h 1686775"/>
                  <a:gd name="connsiteX1213" fmla="*/ 1225868 w 2242184"/>
                  <a:gd name="connsiteY1213" fmla="*/ 390525 h 1686775"/>
                  <a:gd name="connsiteX1214" fmla="*/ 1220153 w 2242184"/>
                  <a:gd name="connsiteY1214" fmla="*/ 380048 h 168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Lst>
                <a:rect l="l" t="t" r="r" b="b"/>
                <a:pathLst>
                  <a:path w="2242184" h="1686775">
                    <a:moveTo>
                      <a:pt x="2242185" y="1098233"/>
                    </a:moveTo>
                    <a:lnTo>
                      <a:pt x="2238375" y="1078230"/>
                    </a:lnTo>
                    <a:lnTo>
                      <a:pt x="2238375" y="1068705"/>
                    </a:lnTo>
                    <a:lnTo>
                      <a:pt x="2238375" y="1062990"/>
                    </a:lnTo>
                    <a:lnTo>
                      <a:pt x="2227898" y="1052513"/>
                    </a:lnTo>
                    <a:lnTo>
                      <a:pt x="2212658" y="1049655"/>
                    </a:lnTo>
                    <a:lnTo>
                      <a:pt x="2188845" y="1042035"/>
                    </a:lnTo>
                    <a:lnTo>
                      <a:pt x="2180273" y="1037273"/>
                    </a:lnTo>
                    <a:lnTo>
                      <a:pt x="2165033" y="1034415"/>
                    </a:lnTo>
                    <a:lnTo>
                      <a:pt x="2153603" y="1032510"/>
                    </a:lnTo>
                    <a:lnTo>
                      <a:pt x="2118360" y="1026795"/>
                    </a:lnTo>
                    <a:lnTo>
                      <a:pt x="2109788" y="1024890"/>
                    </a:lnTo>
                    <a:lnTo>
                      <a:pt x="2087880" y="1020127"/>
                    </a:lnTo>
                    <a:lnTo>
                      <a:pt x="2070735" y="1015365"/>
                    </a:lnTo>
                    <a:lnTo>
                      <a:pt x="2059305" y="1013460"/>
                    </a:lnTo>
                    <a:lnTo>
                      <a:pt x="2045970" y="1010602"/>
                    </a:lnTo>
                    <a:cubicBezTo>
                      <a:pt x="2045970" y="1010602"/>
                      <a:pt x="2044065" y="1011555"/>
                      <a:pt x="2037398" y="1005840"/>
                    </a:cubicBezTo>
                    <a:cubicBezTo>
                      <a:pt x="2030730" y="1000125"/>
                      <a:pt x="2022158" y="992505"/>
                      <a:pt x="2022158" y="992505"/>
                    </a:cubicBezTo>
                    <a:lnTo>
                      <a:pt x="2006918" y="979170"/>
                    </a:lnTo>
                    <a:lnTo>
                      <a:pt x="2000250" y="970598"/>
                    </a:lnTo>
                    <a:lnTo>
                      <a:pt x="1993583" y="963930"/>
                    </a:lnTo>
                    <a:lnTo>
                      <a:pt x="1969770" y="950595"/>
                    </a:lnTo>
                    <a:lnTo>
                      <a:pt x="1954530" y="944880"/>
                    </a:lnTo>
                    <a:lnTo>
                      <a:pt x="1937385" y="939165"/>
                    </a:lnTo>
                    <a:lnTo>
                      <a:pt x="1910715" y="934402"/>
                    </a:lnTo>
                    <a:cubicBezTo>
                      <a:pt x="1910715" y="934402"/>
                      <a:pt x="1910715" y="937260"/>
                      <a:pt x="1902143" y="934402"/>
                    </a:cubicBezTo>
                    <a:cubicBezTo>
                      <a:pt x="1893570" y="931545"/>
                      <a:pt x="1880235" y="928688"/>
                      <a:pt x="1880235" y="928688"/>
                    </a:cubicBezTo>
                    <a:lnTo>
                      <a:pt x="1866900" y="922973"/>
                    </a:lnTo>
                    <a:lnTo>
                      <a:pt x="1858328" y="911543"/>
                    </a:lnTo>
                    <a:lnTo>
                      <a:pt x="1841183" y="902970"/>
                    </a:lnTo>
                    <a:lnTo>
                      <a:pt x="1830705" y="897255"/>
                    </a:lnTo>
                    <a:lnTo>
                      <a:pt x="1804035" y="889635"/>
                    </a:lnTo>
                    <a:lnTo>
                      <a:pt x="1784033" y="887730"/>
                    </a:lnTo>
                    <a:lnTo>
                      <a:pt x="1740218" y="887730"/>
                    </a:lnTo>
                    <a:lnTo>
                      <a:pt x="1720215" y="887730"/>
                    </a:lnTo>
                    <a:lnTo>
                      <a:pt x="1706880" y="887730"/>
                    </a:lnTo>
                    <a:lnTo>
                      <a:pt x="1674495" y="879158"/>
                    </a:lnTo>
                    <a:lnTo>
                      <a:pt x="1652588" y="880110"/>
                    </a:lnTo>
                    <a:lnTo>
                      <a:pt x="1644015" y="878205"/>
                    </a:lnTo>
                    <a:cubicBezTo>
                      <a:pt x="1644015" y="878205"/>
                      <a:pt x="1630680" y="873443"/>
                      <a:pt x="1622108" y="878205"/>
                    </a:cubicBezTo>
                    <a:cubicBezTo>
                      <a:pt x="1613535" y="882015"/>
                      <a:pt x="1590675" y="884873"/>
                      <a:pt x="1590675" y="884873"/>
                    </a:cubicBezTo>
                    <a:cubicBezTo>
                      <a:pt x="1587818" y="893445"/>
                      <a:pt x="1572578" y="896302"/>
                      <a:pt x="1572578" y="896302"/>
                    </a:cubicBezTo>
                    <a:lnTo>
                      <a:pt x="1557338" y="897255"/>
                    </a:lnTo>
                    <a:lnTo>
                      <a:pt x="1524000" y="900113"/>
                    </a:lnTo>
                    <a:lnTo>
                      <a:pt x="1508760" y="900113"/>
                    </a:lnTo>
                    <a:lnTo>
                      <a:pt x="1500188" y="900113"/>
                    </a:lnTo>
                    <a:lnTo>
                      <a:pt x="1480185" y="897255"/>
                    </a:lnTo>
                    <a:lnTo>
                      <a:pt x="1466850" y="894398"/>
                    </a:lnTo>
                    <a:lnTo>
                      <a:pt x="1458278" y="882015"/>
                    </a:lnTo>
                    <a:lnTo>
                      <a:pt x="1458278" y="875348"/>
                    </a:lnTo>
                    <a:lnTo>
                      <a:pt x="1458278" y="866775"/>
                    </a:lnTo>
                    <a:lnTo>
                      <a:pt x="1456373" y="855345"/>
                    </a:lnTo>
                    <a:lnTo>
                      <a:pt x="1454468" y="838200"/>
                    </a:lnTo>
                    <a:lnTo>
                      <a:pt x="1445895" y="832485"/>
                    </a:lnTo>
                    <a:lnTo>
                      <a:pt x="1432560" y="830580"/>
                    </a:lnTo>
                    <a:lnTo>
                      <a:pt x="1423988" y="828675"/>
                    </a:lnTo>
                    <a:lnTo>
                      <a:pt x="1403985" y="821055"/>
                    </a:lnTo>
                    <a:lnTo>
                      <a:pt x="1392555" y="821055"/>
                    </a:lnTo>
                    <a:lnTo>
                      <a:pt x="1379220" y="821055"/>
                    </a:lnTo>
                    <a:lnTo>
                      <a:pt x="1367790" y="821055"/>
                    </a:lnTo>
                    <a:lnTo>
                      <a:pt x="1359218" y="815340"/>
                    </a:lnTo>
                    <a:lnTo>
                      <a:pt x="1370648" y="811530"/>
                    </a:lnTo>
                    <a:lnTo>
                      <a:pt x="1382078" y="808673"/>
                    </a:lnTo>
                    <a:lnTo>
                      <a:pt x="1386840" y="802958"/>
                    </a:lnTo>
                    <a:lnTo>
                      <a:pt x="1386840" y="797243"/>
                    </a:lnTo>
                    <a:lnTo>
                      <a:pt x="1384935" y="784860"/>
                    </a:lnTo>
                    <a:lnTo>
                      <a:pt x="1384935" y="776288"/>
                    </a:lnTo>
                    <a:lnTo>
                      <a:pt x="1391603" y="767715"/>
                    </a:lnTo>
                    <a:lnTo>
                      <a:pt x="1394460" y="759143"/>
                    </a:lnTo>
                    <a:cubicBezTo>
                      <a:pt x="1394460" y="759143"/>
                      <a:pt x="1385888" y="751523"/>
                      <a:pt x="1377315" y="754380"/>
                    </a:cubicBezTo>
                    <a:cubicBezTo>
                      <a:pt x="1368743" y="757238"/>
                      <a:pt x="1357313" y="752475"/>
                      <a:pt x="1359218" y="757238"/>
                    </a:cubicBezTo>
                    <a:cubicBezTo>
                      <a:pt x="1361123" y="761048"/>
                      <a:pt x="1361123" y="761048"/>
                      <a:pt x="1361123" y="761048"/>
                    </a:cubicBezTo>
                    <a:lnTo>
                      <a:pt x="1347788" y="761048"/>
                    </a:lnTo>
                    <a:cubicBezTo>
                      <a:pt x="1347788" y="761048"/>
                      <a:pt x="1332548" y="759143"/>
                      <a:pt x="1332548" y="763905"/>
                    </a:cubicBezTo>
                    <a:cubicBezTo>
                      <a:pt x="1332548" y="767715"/>
                      <a:pt x="1334453" y="761048"/>
                      <a:pt x="1332548" y="767715"/>
                    </a:cubicBezTo>
                    <a:cubicBezTo>
                      <a:pt x="1330643" y="774383"/>
                      <a:pt x="1317308" y="771525"/>
                      <a:pt x="1319213" y="777240"/>
                    </a:cubicBezTo>
                    <a:cubicBezTo>
                      <a:pt x="1321118" y="782955"/>
                      <a:pt x="1312545" y="785813"/>
                      <a:pt x="1312545" y="785813"/>
                    </a:cubicBezTo>
                    <a:lnTo>
                      <a:pt x="1299210" y="788670"/>
                    </a:lnTo>
                    <a:lnTo>
                      <a:pt x="1290638" y="789623"/>
                    </a:lnTo>
                    <a:cubicBezTo>
                      <a:pt x="1290638" y="789623"/>
                      <a:pt x="1285875" y="790575"/>
                      <a:pt x="1279208" y="790575"/>
                    </a:cubicBezTo>
                    <a:cubicBezTo>
                      <a:pt x="1272540" y="790575"/>
                      <a:pt x="1263968" y="790575"/>
                      <a:pt x="1263968" y="790575"/>
                    </a:cubicBezTo>
                    <a:lnTo>
                      <a:pt x="1253490" y="784860"/>
                    </a:lnTo>
                    <a:lnTo>
                      <a:pt x="1244918" y="777240"/>
                    </a:lnTo>
                    <a:lnTo>
                      <a:pt x="1236345" y="771525"/>
                    </a:lnTo>
                    <a:lnTo>
                      <a:pt x="1229678" y="765810"/>
                    </a:lnTo>
                    <a:lnTo>
                      <a:pt x="1225868" y="757238"/>
                    </a:lnTo>
                    <a:cubicBezTo>
                      <a:pt x="1225868" y="757238"/>
                      <a:pt x="1223963" y="751523"/>
                      <a:pt x="1223963" y="747713"/>
                    </a:cubicBezTo>
                    <a:cubicBezTo>
                      <a:pt x="1223963" y="743902"/>
                      <a:pt x="1223963" y="733425"/>
                      <a:pt x="1223963" y="733425"/>
                    </a:cubicBezTo>
                    <a:lnTo>
                      <a:pt x="1223963" y="723900"/>
                    </a:lnTo>
                    <a:lnTo>
                      <a:pt x="1217295" y="715327"/>
                    </a:lnTo>
                    <a:lnTo>
                      <a:pt x="1215390" y="700088"/>
                    </a:lnTo>
                    <a:lnTo>
                      <a:pt x="1217295" y="694373"/>
                    </a:lnTo>
                    <a:lnTo>
                      <a:pt x="1223963" y="684848"/>
                    </a:lnTo>
                    <a:lnTo>
                      <a:pt x="1238250" y="675323"/>
                    </a:lnTo>
                    <a:lnTo>
                      <a:pt x="1258253" y="674370"/>
                    </a:lnTo>
                    <a:cubicBezTo>
                      <a:pt x="1258253" y="674370"/>
                      <a:pt x="1264920" y="671513"/>
                      <a:pt x="1271588" y="673418"/>
                    </a:cubicBezTo>
                    <a:cubicBezTo>
                      <a:pt x="1278255" y="675323"/>
                      <a:pt x="1264920" y="674370"/>
                      <a:pt x="1278255" y="675323"/>
                    </a:cubicBezTo>
                    <a:cubicBezTo>
                      <a:pt x="1291590" y="675323"/>
                      <a:pt x="1278255" y="675323"/>
                      <a:pt x="1291590" y="675323"/>
                    </a:cubicBezTo>
                    <a:cubicBezTo>
                      <a:pt x="1304925" y="675323"/>
                      <a:pt x="1304925" y="671513"/>
                      <a:pt x="1313498" y="674370"/>
                    </a:cubicBezTo>
                    <a:cubicBezTo>
                      <a:pt x="1322070" y="677227"/>
                      <a:pt x="1304925" y="677227"/>
                      <a:pt x="1322070" y="677227"/>
                    </a:cubicBezTo>
                    <a:cubicBezTo>
                      <a:pt x="1339215" y="677227"/>
                      <a:pt x="1330643" y="679133"/>
                      <a:pt x="1339215" y="677227"/>
                    </a:cubicBezTo>
                    <a:cubicBezTo>
                      <a:pt x="1347788" y="676275"/>
                      <a:pt x="1347788" y="676275"/>
                      <a:pt x="1347788" y="676275"/>
                    </a:cubicBezTo>
                    <a:lnTo>
                      <a:pt x="1365885" y="673418"/>
                    </a:lnTo>
                    <a:cubicBezTo>
                      <a:pt x="1365885" y="673418"/>
                      <a:pt x="1370648" y="672465"/>
                      <a:pt x="1377315" y="672465"/>
                    </a:cubicBezTo>
                    <a:cubicBezTo>
                      <a:pt x="1383983" y="672465"/>
                      <a:pt x="1414463" y="671513"/>
                      <a:pt x="1414463" y="671513"/>
                    </a:cubicBezTo>
                    <a:lnTo>
                      <a:pt x="1436370" y="674370"/>
                    </a:lnTo>
                    <a:lnTo>
                      <a:pt x="1449705" y="677227"/>
                    </a:lnTo>
                    <a:cubicBezTo>
                      <a:pt x="1449705" y="677227"/>
                      <a:pt x="1456373" y="673418"/>
                      <a:pt x="1458278" y="679133"/>
                    </a:cubicBezTo>
                    <a:cubicBezTo>
                      <a:pt x="1460183" y="684848"/>
                      <a:pt x="1460183" y="684848"/>
                      <a:pt x="1460183" y="684848"/>
                    </a:cubicBezTo>
                    <a:cubicBezTo>
                      <a:pt x="1463993" y="701993"/>
                      <a:pt x="1463993" y="701993"/>
                      <a:pt x="1463993" y="701993"/>
                    </a:cubicBezTo>
                    <a:cubicBezTo>
                      <a:pt x="1463993" y="701993"/>
                      <a:pt x="1461135" y="716280"/>
                      <a:pt x="1467803" y="720090"/>
                    </a:cubicBezTo>
                    <a:cubicBezTo>
                      <a:pt x="1474470" y="724852"/>
                      <a:pt x="1474470" y="724852"/>
                      <a:pt x="1474470" y="724852"/>
                    </a:cubicBezTo>
                    <a:lnTo>
                      <a:pt x="1498283" y="730568"/>
                    </a:lnTo>
                    <a:lnTo>
                      <a:pt x="1506855" y="727710"/>
                    </a:lnTo>
                    <a:lnTo>
                      <a:pt x="1513523" y="721043"/>
                    </a:lnTo>
                    <a:lnTo>
                      <a:pt x="1516380" y="708660"/>
                    </a:lnTo>
                    <a:lnTo>
                      <a:pt x="1518285" y="702945"/>
                    </a:lnTo>
                    <a:lnTo>
                      <a:pt x="1509713" y="682943"/>
                    </a:lnTo>
                    <a:lnTo>
                      <a:pt x="1503045" y="676275"/>
                    </a:lnTo>
                    <a:lnTo>
                      <a:pt x="1501140" y="667702"/>
                    </a:lnTo>
                    <a:lnTo>
                      <a:pt x="1499235" y="659130"/>
                    </a:lnTo>
                    <a:lnTo>
                      <a:pt x="1497330" y="641985"/>
                    </a:lnTo>
                    <a:lnTo>
                      <a:pt x="1512570" y="633413"/>
                    </a:lnTo>
                    <a:lnTo>
                      <a:pt x="1521143" y="633413"/>
                    </a:lnTo>
                    <a:lnTo>
                      <a:pt x="1547813" y="629602"/>
                    </a:lnTo>
                    <a:lnTo>
                      <a:pt x="1556385" y="625793"/>
                    </a:lnTo>
                    <a:lnTo>
                      <a:pt x="1561148" y="620077"/>
                    </a:lnTo>
                    <a:lnTo>
                      <a:pt x="1583055" y="605790"/>
                    </a:lnTo>
                    <a:lnTo>
                      <a:pt x="1587818" y="597218"/>
                    </a:lnTo>
                    <a:lnTo>
                      <a:pt x="1587818" y="591502"/>
                    </a:lnTo>
                    <a:lnTo>
                      <a:pt x="1587818" y="585788"/>
                    </a:lnTo>
                    <a:lnTo>
                      <a:pt x="1581150" y="574358"/>
                    </a:lnTo>
                    <a:lnTo>
                      <a:pt x="1592580" y="564833"/>
                    </a:lnTo>
                    <a:lnTo>
                      <a:pt x="1604010" y="564833"/>
                    </a:lnTo>
                    <a:cubicBezTo>
                      <a:pt x="1604010" y="564833"/>
                      <a:pt x="1604010" y="555308"/>
                      <a:pt x="1610678" y="555308"/>
                    </a:cubicBezTo>
                    <a:cubicBezTo>
                      <a:pt x="1617345" y="555308"/>
                      <a:pt x="1615440" y="549593"/>
                      <a:pt x="1622108" y="549593"/>
                    </a:cubicBezTo>
                    <a:cubicBezTo>
                      <a:pt x="1628775" y="549593"/>
                      <a:pt x="1640205" y="543877"/>
                      <a:pt x="1640205" y="543877"/>
                    </a:cubicBezTo>
                    <a:lnTo>
                      <a:pt x="1653540" y="538163"/>
                    </a:lnTo>
                    <a:lnTo>
                      <a:pt x="1662113" y="534352"/>
                    </a:lnTo>
                    <a:lnTo>
                      <a:pt x="1677353" y="524827"/>
                    </a:lnTo>
                    <a:lnTo>
                      <a:pt x="1679258" y="519112"/>
                    </a:lnTo>
                    <a:lnTo>
                      <a:pt x="1679258" y="507683"/>
                    </a:lnTo>
                    <a:lnTo>
                      <a:pt x="1684020" y="496252"/>
                    </a:lnTo>
                    <a:lnTo>
                      <a:pt x="1688783" y="490537"/>
                    </a:lnTo>
                    <a:cubicBezTo>
                      <a:pt x="1688783" y="490537"/>
                      <a:pt x="1690688" y="487680"/>
                      <a:pt x="1700213" y="487680"/>
                    </a:cubicBezTo>
                    <a:cubicBezTo>
                      <a:pt x="1708785" y="487680"/>
                      <a:pt x="1708785" y="487680"/>
                      <a:pt x="1708785" y="487680"/>
                    </a:cubicBezTo>
                    <a:lnTo>
                      <a:pt x="1742123" y="484823"/>
                    </a:lnTo>
                    <a:lnTo>
                      <a:pt x="1760220" y="479108"/>
                    </a:lnTo>
                    <a:cubicBezTo>
                      <a:pt x="1760220" y="479108"/>
                      <a:pt x="1758315" y="480060"/>
                      <a:pt x="1760220" y="484823"/>
                    </a:cubicBezTo>
                    <a:cubicBezTo>
                      <a:pt x="1762125" y="488633"/>
                      <a:pt x="1762125" y="493395"/>
                      <a:pt x="1768793" y="494348"/>
                    </a:cubicBezTo>
                    <a:cubicBezTo>
                      <a:pt x="1775460" y="496252"/>
                      <a:pt x="1775460" y="496252"/>
                      <a:pt x="1775460" y="496252"/>
                    </a:cubicBezTo>
                    <a:lnTo>
                      <a:pt x="1784033" y="492443"/>
                    </a:lnTo>
                    <a:lnTo>
                      <a:pt x="1790700" y="485775"/>
                    </a:lnTo>
                    <a:cubicBezTo>
                      <a:pt x="1790700" y="485775"/>
                      <a:pt x="1792605" y="481965"/>
                      <a:pt x="1799273" y="484823"/>
                    </a:cubicBezTo>
                    <a:cubicBezTo>
                      <a:pt x="1805940" y="487680"/>
                      <a:pt x="1805940" y="487680"/>
                      <a:pt x="1805940" y="487680"/>
                    </a:cubicBezTo>
                    <a:lnTo>
                      <a:pt x="1817370" y="486727"/>
                    </a:lnTo>
                    <a:cubicBezTo>
                      <a:pt x="1817370" y="486727"/>
                      <a:pt x="1819275" y="486727"/>
                      <a:pt x="1825943" y="486727"/>
                    </a:cubicBezTo>
                    <a:cubicBezTo>
                      <a:pt x="1832610" y="486727"/>
                      <a:pt x="1834515" y="483870"/>
                      <a:pt x="1841183" y="481012"/>
                    </a:cubicBezTo>
                    <a:cubicBezTo>
                      <a:pt x="1847850" y="478155"/>
                      <a:pt x="1841183" y="483870"/>
                      <a:pt x="1847850" y="478155"/>
                    </a:cubicBezTo>
                    <a:cubicBezTo>
                      <a:pt x="1854518" y="472440"/>
                      <a:pt x="1854518" y="472440"/>
                      <a:pt x="1854518" y="472440"/>
                    </a:cubicBezTo>
                    <a:lnTo>
                      <a:pt x="1859280" y="463868"/>
                    </a:lnTo>
                    <a:cubicBezTo>
                      <a:pt x="1852613" y="461010"/>
                      <a:pt x="1861185" y="462915"/>
                      <a:pt x="1852613" y="461010"/>
                    </a:cubicBezTo>
                    <a:cubicBezTo>
                      <a:pt x="1844040" y="459105"/>
                      <a:pt x="1844040" y="459105"/>
                      <a:pt x="1844040" y="459105"/>
                    </a:cubicBezTo>
                    <a:lnTo>
                      <a:pt x="1830705" y="460058"/>
                    </a:lnTo>
                    <a:lnTo>
                      <a:pt x="1806893" y="458152"/>
                    </a:lnTo>
                    <a:lnTo>
                      <a:pt x="1793558" y="455295"/>
                    </a:lnTo>
                    <a:lnTo>
                      <a:pt x="1782128" y="455295"/>
                    </a:lnTo>
                    <a:lnTo>
                      <a:pt x="1773555" y="450533"/>
                    </a:lnTo>
                    <a:lnTo>
                      <a:pt x="1773555" y="441960"/>
                    </a:lnTo>
                    <a:lnTo>
                      <a:pt x="1773555" y="435293"/>
                    </a:lnTo>
                    <a:lnTo>
                      <a:pt x="1771650" y="429577"/>
                    </a:lnTo>
                    <a:lnTo>
                      <a:pt x="1756410" y="416243"/>
                    </a:lnTo>
                    <a:lnTo>
                      <a:pt x="1734503" y="422910"/>
                    </a:lnTo>
                    <a:lnTo>
                      <a:pt x="1723073" y="425768"/>
                    </a:lnTo>
                    <a:lnTo>
                      <a:pt x="1707833" y="432435"/>
                    </a:lnTo>
                    <a:lnTo>
                      <a:pt x="1699260" y="432435"/>
                    </a:lnTo>
                    <a:lnTo>
                      <a:pt x="1704023" y="423862"/>
                    </a:lnTo>
                    <a:lnTo>
                      <a:pt x="1719263" y="414337"/>
                    </a:lnTo>
                    <a:lnTo>
                      <a:pt x="1732598" y="408623"/>
                    </a:lnTo>
                    <a:cubicBezTo>
                      <a:pt x="1732598" y="408623"/>
                      <a:pt x="1737360" y="405765"/>
                      <a:pt x="1745933" y="407670"/>
                    </a:cubicBezTo>
                    <a:cubicBezTo>
                      <a:pt x="1754505" y="409575"/>
                      <a:pt x="1763078" y="409575"/>
                      <a:pt x="1763078" y="409575"/>
                    </a:cubicBezTo>
                    <a:cubicBezTo>
                      <a:pt x="1763078" y="409575"/>
                      <a:pt x="1771650" y="408623"/>
                      <a:pt x="1778318" y="409575"/>
                    </a:cubicBezTo>
                    <a:cubicBezTo>
                      <a:pt x="1784985" y="411480"/>
                      <a:pt x="1789748" y="405765"/>
                      <a:pt x="1793558" y="411480"/>
                    </a:cubicBezTo>
                    <a:cubicBezTo>
                      <a:pt x="1798320" y="417195"/>
                      <a:pt x="1791653" y="411480"/>
                      <a:pt x="1798320" y="417195"/>
                    </a:cubicBezTo>
                    <a:cubicBezTo>
                      <a:pt x="1804988" y="422910"/>
                      <a:pt x="1804988" y="422910"/>
                      <a:pt x="1804988" y="422910"/>
                    </a:cubicBezTo>
                    <a:lnTo>
                      <a:pt x="1818323" y="425768"/>
                    </a:lnTo>
                    <a:lnTo>
                      <a:pt x="1824990" y="419100"/>
                    </a:lnTo>
                    <a:lnTo>
                      <a:pt x="1836420" y="415290"/>
                    </a:lnTo>
                    <a:lnTo>
                      <a:pt x="1849755" y="412433"/>
                    </a:lnTo>
                    <a:cubicBezTo>
                      <a:pt x="1849755" y="412433"/>
                      <a:pt x="1850708" y="412433"/>
                      <a:pt x="1861185" y="414337"/>
                    </a:cubicBezTo>
                    <a:cubicBezTo>
                      <a:pt x="1874520" y="416243"/>
                      <a:pt x="1874520" y="416243"/>
                      <a:pt x="1874520" y="416243"/>
                    </a:cubicBezTo>
                    <a:lnTo>
                      <a:pt x="1883093" y="407670"/>
                    </a:lnTo>
                    <a:cubicBezTo>
                      <a:pt x="1896428" y="401002"/>
                      <a:pt x="1889760" y="392430"/>
                      <a:pt x="1889760" y="392430"/>
                    </a:cubicBezTo>
                    <a:cubicBezTo>
                      <a:pt x="1889760" y="392430"/>
                      <a:pt x="1889760" y="386715"/>
                      <a:pt x="1901190" y="386715"/>
                    </a:cubicBezTo>
                    <a:cubicBezTo>
                      <a:pt x="1912620" y="386715"/>
                      <a:pt x="1919288" y="381000"/>
                      <a:pt x="1919288" y="381000"/>
                    </a:cubicBezTo>
                    <a:lnTo>
                      <a:pt x="1925955" y="371475"/>
                    </a:lnTo>
                    <a:lnTo>
                      <a:pt x="1924050" y="359093"/>
                    </a:lnTo>
                    <a:lnTo>
                      <a:pt x="1920240" y="352425"/>
                    </a:lnTo>
                    <a:lnTo>
                      <a:pt x="1900238" y="349568"/>
                    </a:lnTo>
                    <a:lnTo>
                      <a:pt x="1891665" y="340995"/>
                    </a:lnTo>
                    <a:lnTo>
                      <a:pt x="1889760" y="335280"/>
                    </a:lnTo>
                    <a:lnTo>
                      <a:pt x="1876425" y="332423"/>
                    </a:lnTo>
                    <a:lnTo>
                      <a:pt x="1864995" y="330518"/>
                    </a:lnTo>
                    <a:lnTo>
                      <a:pt x="1854518" y="319087"/>
                    </a:lnTo>
                    <a:lnTo>
                      <a:pt x="1844040" y="303848"/>
                    </a:lnTo>
                    <a:lnTo>
                      <a:pt x="1837373" y="291465"/>
                    </a:lnTo>
                    <a:lnTo>
                      <a:pt x="1817370" y="280987"/>
                    </a:lnTo>
                    <a:lnTo>
                      <a:pt x="1810703" y="273368"/>
                    </a:lnTo>
                    <a:lnTo>
                      <a:pt x="1800225" y="267653"/>
                    </a:lnTo>
                    <a:lnTo>
                      <a:pt x="1786890" y="257175"/>
                    </a:lnTo>
                    <a:lnTo>
                      <a:pt x="1766888" y="268605"/>
                    </a:lnTo>
                    <a:lnTo>
                      <a:pt x="1753553" y="275273"/>
                    </a:lnTo>
                    <a:lnTo>
                      <a:pt x="1726883" y="279083"/>
                    </a:lnTo>
                    <a:lnTo>
                      <a:pt x="1715453" y="276225"/>
                    </a:lnTo>
                    <a:cubicBezTo>
                      <a:pt x="1715453" y="276225"/>
                      <a:pt x="1715453" y="272415"/>
                      <a:pt x="1713548" y="267653"/>
                    </a:cubicBezTo>
                    <a:cubicBezTo>
                      <a:pt x="1711643" y="263843"/>
                      <a:pt x="1711643" y="258128"/>
                      <a:pt x="1711643" y="258128"/>
                    </a:cubicBezTo>
                    <a:lnTo>
                      <a:pt x="1711643" y="249555"/>
                    </a:lnTo>
                    <a:lnTo>
                      <a:pt x="1709738" y="242887"/>
                    </a:lnTo>
                    <a:lnTo>
                      <a:pt x="1705928" y="237173"/>
                    </a:lnTo>
                    <a:cubicBezTo>
                      <a:pt x="1690688" y="234315"/>
                      <a:pt x="1690688" y="234315"/>
                      <a:pt x="1690688" y="234315"/>
                    </a:cubicBezTo>
                    <a:lnTo>
                      <a:pt x="1677353" y="232410"/>
                    </a:lnTo>
                    <a:lnTo>
                      <a:pt x="1665923" y="232410"/>
                    </a:lnTo>
                    <a:lnTo>
                      <a:pt x="1657350" y="224790"/>
                    </a:lnTo>
                    <a:lnTo>
                      <a:pt x="1647825" y="218123"/>
                    </a:lnTo>
                    <a:lnTo>
                      <a:pt x="1634490" y="215265"/>
                    </a:lnTo>
                    <a:lnTo>
                      <a:pt x="1617345" y="215265"/>
                    </a:lnTo>
                    <a:lnTo>
                      <a:pt x="1605915" y="215265"/>
                    </a:lnTo>
                    <a:lnTo>
                      <a:pt x="1584008" y="215265"/>
                    </a:lnTo>
                    <a:lnTo>
                      <a:pt x="1570673" y="219075"/>
                    </a:lnTo>
                    <a:lnTo>
                      <a:pt x="1559243" y="242887"/>
                    </a:lnTo>
                    <a:cubicBezTo>
                      <a:pt x="1559243" y="242887"/>
                      <a:pt x="1559243" y="248603"/>
                      <a:pt x="1559243" y="255270"/>
                    </a:cubicBezTo>
                    <a:cubicBezTo>
                      <a:pt x="1559243" y="261937"/>
                      <a:pt x="1559243" y="258128"/>
                      <a:pt x="1559243" y="261937"/>
                    </a:cubicBezTo>
                    <a:cubicBezTo>
                      <a:pt x="1559243" y="265748"/>
                      <a:pt x="1559243" y="265748"/>
                      <a:pt x="1559243" y="265748"/>
                    </a:cubicBezTo>
                    <a:lnTo>
                      <a:pt x="1563053" y="280035"/>
                    </a:lnTo>
                    <a:cubicBezTo>
                      <a:pt x="1563053" y="280035"/>
                      <a:pt x="1566863" y="291465"/>
                      <a:pt x="1566863" y="297180"/>
                    </a:cubicBezTo>
                    <a:cubicBezTo>
                      <a:pt x="1566863" y="302895"/>
                      <a:pt x="1564005" y="320040"/>
                      <a:pt x="1564005" y="320040"/>
                    </a:cubicBezTo>
                    <a:lnTo>
                      <a:pt x="1550670" y="331470"/>
                    </a:lnTo>
                    <a:lnTo>
                      <a:pt x="1542098" y="331470"/>
                    </a:lnTo>
                    <a:cubicBezTo>
                      <a:pt x="1535430" y="338137"/>
                      <a:pt x="1528763" y="343853"/>
                      <a:pt x="1528763" y="343853"/>
                    </a:cubicBezTo>
                    <a:lnTo>
                      <a:pt x="1535430" y="359093"/>
                    </a:lnTo>
                    <a:cubicBezTo>
                      <a:pt x="1535430" y="359093"/>
                      <a:pt x="1530668" y="371475"/>
                      <a:pt x="1537335" y="377190"/>
                    </a:cubicBezTo>
                    <a:cubicBezTo>
                      <a:pt x="1544003" y="382905"/>
                      <a:pt x="1557338" y="379095"/>
                      <a:pt x="1544003" y="382905"/>
                    </a:cubicBezTo>
                    <a:cubicBezTo>
                      <a:pt x="1530668" y="386715"/>
                      <a:pt x="1517333" y="385762"/>
                      <a:pt x="1517333" y="385762"/>
                    </a:cubicBezTo>
                    <a:lnTo>
                      <a:pt x="1510665" y="380048"/>
                    </a:lnTo>
                    <a:lnTo>
                      <a:pt x="1500188" y="369570"/>
                    </a:lnTo>
                    <a:lnTo>
                      <a:pt x="1496378" y="358140"/>
                    </a:lnTo>
                    <a:lnTo>
                      <a:pt x="1492568" y="342900"/>
                    </a:lnTo>
                    <a:lnTo>
                      <a:pt x="1490663" y="328612"/>
                    </a:lnTo>
                    <a:lnTo>
                      <a:pt x="1470660" y="323850"/>
                    </a:lnTo>
                    <a:lnTo>
                      <a:pt x="1450658" y="320993"/>
                    </a:lnTo>
                    <a:lnTo>
                      <a:pt x="1442085" y="316230"/>
                    </a:lnTo>
                    <a:lnTo>
                      <a:pt x="1437323" y="310515"/>
                    </a:lnTo>
                    <a:lnTo>
                      <a:pt x="1410653" y="304800"/>
                    </a:lnTo>
                    <a:lnTo>
                      <a:pt x="1390650" y="303848"/>
                    </a:lnTo>
                    <a:lnTo>
                      <a:pt x="1380173" y="296228"/>
                    </a:lnTo>
                    <a:lnTo>
                      <a:pt x="1366838" y="294323"/>
                    </a:lnTo>
                    <a:cubicBezTo>
                      <a:pt x="1366838" y="294323"/>
                      <a:pt x="1360170" y="291465"/>
                      <a:pt x="1353503" y="292418"/>
                    </a:cubicBezTo>
                    <a:cubicBezTo>
                      <a:pt x="1346835" y="293370"/>
                      <a:pt x="1336358" y="289560"/>
                      <a:pt x="1336358" y="289560"/>
                    </a:cubicBezTo>
                    <a:lnTo>
                      <a:pt x="1323023" y="287655"/>
                    </a:lnTo>
                    <a:lnTo>
                      <a:pt x="1312545" y="279083"/>
                    </a:lnTo>
                    <a:lnTo>
                      <a:pt x="1308735" y="270510"/>
                    </a:lnTo>
                    <a:lnTo>
                      <a:pt x="1291590" y="264795"/>
                    </a:lnTo>
                    <a:lnTo>
                      <a:pt x="1278255" y="260033"/>
                    </a:lnTo>
                    <a:lnTo>
                      <a:pt x="1263015" y="255270"/>
                    </a:lnTo>
                    <a:cubicBezTo>
                      <a:pt x="1263015" y="255270"/>
                      <a:pt x="1259205" y="245745"/>
                      <a:pt x="1267778" y="243840"/>
                    </a:cubicBezTo>
                    <a:cubicBezTo>
                      <a:pt x="1276350" y="242887"/>
                      <a:pt x="1279208" y="234315"/>
                      <a:pt x="1279208" y="234315"/>
                    </a:cubicBezTo>
                    <a:lnTo>
                      <a:pt x="1290638" y="228600"/>
                    </a:lnTo>
                    <a:lnTo>
                      <a:pt x="1292543" y="222885"/>
                    </a:lnTo>
                    <a:lnTo>
                      <a:pt x="1299210" y="216217"/>
                    </a:lnTo>
                    <a:cubicBezTo>
                      <a:pt x="1299210" y="216217"/>
                      <a:pt x="1294448" y="211455"/>
                      <a:pt x="1301115" y="210503"/>
                    </a:cubicBezTo>
                    <a:cubicBezTo>
                      <a:pt x="1307783" y="209550"/>
                      <a:pt x="1301115" y="213360"/>
                      <a:pt x="1307783" y="209550"/>
                    </a:cubicBezTo>
                    <a:cubicBezTo>
                      <a:pt x="1314450" y="205740"/>
                      <a:pt x="1312545" y="200025"/>
                      <a:pt x="1319213" y="200025"/>
                    </a:cubicBezTo>
                    <a:cubicBezTo>
                      <a:pt x="1325880" y="200025"/>
                      <a:pt x="1321118" y="194310"/>
                      <a:pt x="1327785" y="193358"/>
                    </a:cubicBezTo>
                    <a:cubicBezTo>
                      <a:pt x="1334453" y="192405"/>
                      <a:pt x="1325880" y="191453"/>
                      <a:pt x="1334453" y="192405"/>
                    </a:cubicBezTo>
                    <a:cubicBezTo>
                      <a:pt x="1343025" y="192405"/>
                      <a:pt x="1343025" y="192405"/>
                      <a:pt x="1343025" y="192405"/>
                    </a:cubicBezTo>
                    <a:lnTo>
                      <a:pt x="1361123" y="185737"/>
                    </a:lnTo>
                    <a:cubicBezTo>
                      <a:pt x="1361123" y="185737"/>
                      <a:pt x="1361123" y="180023"/>
                      <a:pt x="1369695" y="180023"/>
                    </a:cubicBezTo>
                    <a:cubicBezTo>
                      <a:pt x="1378268" y="180023"/>
                      <a:pt x="1391603" y="162878"/>
                      <a:pt x="1398270" y="164783"/>
                    </a:cubicBezTo>
                    <a:cubicBezTo>
                      <a:pt x="1404938" y="166687"/>
                      <a:pt x="1403033" y="158115"/>
                      <a:pt x="1403033" y="158115"/>
                    </a:cubicBezTo>
                    <a:lnTo>
                      <a:pt x="1405890" y="151448"/>
                    </a:lnTo>
                    <a:lnTo>
                      <a:pt x="1412558" y="142875"/>
                    </a:lnTo>
                    <a:cubicBezTo>
                      <a:pt x="1425893" y="140017"/>
                      <a:pt x="1425893" y="140017"/>
                      <a:pt x="1425893" y="140017"/>
                    </a:cubicBezTo>
                    <a:lnTo>
                      <a:pt x="1434465" y="139065"/>
                    </a:lnTo>
                    <a:lnTo>
                      <a:pt x="1461135" y="139065"/>
                    </a:lnTo>
                    <a:lnTo>
                      <a:pt x="1483043" y="135255"/>
                    </a:lnTo>
                    <a:lnTo>
                      <a:pt x="1487805" y="128587"/>
                    </a:lnTo>
                    <a:lnTo>
                      <a:pt x="1490663" y="120015"/>
                    </a:lnTo>
                    <a:lnTo>
                      <a:pt x="1497330" y="111442"/>
                    </a:lnTo>
                    <a:lnTo>
                      <a:pt x="1500188" y="102870"/>
                    </a:lnTo>
                    <a:lnTo>
                      <a:pt x="1500188" y="91440"/>
                    </a:lnTo>
                    <a:lnTo>
                      <a:pt x="1486853" y="82867"/>
                    </a:lnTo>
                    <a:lnTo>
                      <a:pt x="1478280" y="78105"/>
                    </a:lnTo>
                    <a:cubicBezTo>
                      <a:pt x="1478280" y="78105"/>
                      <a:pt x="1500188" y="74295"/>
                      <a:pt x="1506855" y="75248"/>
                    </a:cubicBezTo>
                    <a:cubicBezTo>
                      <a:pt x="1513523" y="77153"/>
                      <a:pt x="1495425" y="76200"/>
                      <a:pt x="1513523" y="77153"/>
                    </a:cubicBezTo>
                    <a:cubicBezTo>
                      <a:pt x="1531620" y="77153"/>
                      <a:pt x="1518285" y="77153"/>
                      <a:pt x="1531620" y="77153"/>
                    </a:cubicBezTo>
                    <a:cubicBezTo>
                      <a:pt x="1544955" y="77153"/>
                      <a:pt x="1544955" y="77153"/>
                      <a:pt x="1544955" y="77153"/>
                    </a:cubicBezTo>
                    <a:lnTo>
                      <a:pt x="1560195" y="80010"/>
                    </a:lnTo>
                    <a:lnTo>
                      <a:pt x="1584008" y="84773"/>
                    </a:lnTo>
                    <a:lnTo>
                      <a:pt x="1594485" y="87630"/>
                    </a:lnTo>
                    <a:lnTo>
                      <a:pt x="1603058" y="90487"/>
                    </a:lnTo>
                    <a:lnTo>
                      <a:pt x="1633538" y="100965"/>
                    </a:lnTo>
                    <a:lnTo>
                      <a:pt x="1642110" y="105728"/>
                    </a:lnTo>
                    <a:lnTo>
                      <a:pt x="1645920" y="112395"/>
                    </a:lnTo>
                    <a:lnTo>
                      <a:pt x="1647825" y="118110"/>
                    </a:lnTo>
                    <a:cubicBezTo>
                      <a:pt x="1647825" y="118110"/>
                      <a:pt x="1643063" y="121920"/>
                      <a:pt x="1643063" y="126683"/>
                    </a:cubicBezTo>
                    <a:cubicBezTo>
                      <a:pt x="1643063" y="130492"/>
                      <a:pt x="1656398" y="120015"/>
                      <a:pt x="1643063" y="130492"/>
                    </a:cubicBezTo>
                    <a:cubicBezTo>
                      <a:pt x="1629728" y="141923"/>
                      <a:pt x="1629728" y="141923"/>
                      <a:pt x="1629728" y="141923"/>
                    </a:cubicBezTo>
                    <a:cubicBezTo>
                      <a:pt x="1629728" y="141923"/>
                      <a:pt x="1621155" y="147637"/>
                      <a:pt x="1624965" y="151448"/>
                    </a:cubicBezTo>
                    <a:cubicBezTo>
                      <a:pt x="1629728" y="156210"/>
                      <a:pt x="1626870" y="160973"/>
                      <a:pt x="1626870" y="160973"/>
                    </a:cubicBezTo>
                    <a:lnTo>
                      <a:pt x="1637348" y="169545"/>
                    </a:lnTo>
                    <a:cubicBezTo>
                      <a:pt x="1637348" y="169545"/>
                      <a:pt x="1642110" y="171450"/>
                      <a:pt x="1647825" y="177165"/>
                    </a:cubicBezTo>
                    <a:cubicBezTo>
                      <a:pt x="1654493" y="182880"/>
                      <a:pt x="1643063" y="175260"/>
                      <a:pt x="1654493" y="182880"/>
                    </a:cubicBezTo>
                    <a:cubicBezTo>
                      <a:pt x="1664970" y="190500"/>
                      <a:pt x="1664970" y="190500"/>
                      <a:pt x="1664970" y="190500"/>
                    </a:cubicBezTo>
                    <a:lnTo>
                      <a:pt x="1680210" y="196215"/>
                    </a:lnTo>
                    <a:cubicBezTo>
                      <a:pt x="1680210" y="196215"/>
                      <a:pt x="1697355" y="203835"/>
                      <a:pt x="1704023" y="206692"/>
                    </a:cubicBezTo>
                    <a:cubicBezTo>
                      <a:pt x="1710690" y="209550"/>
                      <a:pt x="1710690" y="209550"/>
                      <a:pt x="1710690" y="209550"/>
                    </a:cubicBezTo>
                    <a:cubicBezTo>
                      <a:pt x="1710690" y="209550"/>
                      <a:pt x="1719263" y="212408"/>
                      <a:pt x="1727835" y="215265"/>
                    </a:cubicBezTo>
                    <a:cubicBezTo>
                      <a:pt x="1736408" y="218123"/>
                      <a:pt x="1736408" y="218123"/>
                      <a:pt x="1736408" y="218123"/>
                    </a:cubicBezTo>
                    <a:cubicBezTo>
                      <a:pt x="1736408" y="218123"/>
                      <a:pt x="1743075" y="215265"/>
                      <a:pt x="1751648" y="217170"/>
                    </a:cubicBezTo>
                    <a:cubicBezTo>
                      <a:pt x="1762125" y="218123"/>
                      <a:pt x="1762125" y="218123"/>
                      <a:pt x="1762125" y="218123"/>
                    </a:cubicBezTo>
                    <a:lnTo>
                      <a:pt x="1760220" y="209550"/>
                    </a:lnTo>
                    <a:lnTo>
                      <a:pt x="1771650" y="209550"/>
                    </a:lnTo>
                    <a:lnTo>
                      <a:pt x="1789748" y="207645"/>
                    </a:lnTo>
                    <a:lnTo>
                      <a:pt x="1792605" y="203835"/>
                    </a:lnTo>
                    <a:lnTo>
                      <a:pt x="1794510" y="198120"/>
                    </a:lnTo>
                    <a:lnTo>
                      <a:pt x="1789748" y="192405"/>
                    </a:lnTo>
                    <a:lnTo>
                      <a:pt x="1784985" y="187642"/>
                    </a:lnTo>
                    <a:lnTo>
                      <a:pt x="1778318" y="178117"/>
                    </a:lnTo>
                    <a:lnTo>
                      <a:pt x="1771650" y="169545"/>
                    </a:lnTo>
                    <a:lnTo>
                      <a:pt x="1755458" y="163830"/>
                    </a:lnTo>
                    <a:lnTo>
                      <a:pt x="1749743" y="155258"/>
                    </a:lnTo>
                    <a:lnTo>
                      <a:pt x="1751648" y="148590"/>
                    </a:lnTo>
                    <a:cubicBezTo>
                      <a:pt x="1764983" y="149542"/>
                      <a:pt x="1764983" y="149542"/>
                      <a:pt x="1764983" y="149542"/>
                    </a:cubicBezTo>
                    <a:cubicBezTo>
                      <a:pt x="1772603" y="155258"/>
                      <a:pt x="1763078" y="152400"/>
                      <a:pt x="1772603" y="155258"/>
                    </a:cubicBezTo>
                    <a:cubicBezTo>
                      <a:pt x="1781175" y="158115"/>
                      <a:pt x="1781175" y="158115"/>
                      <a:pt x="1781175" y="158115"/>
                    </a:cubicBezTo>
                    <a:cubicBezTo>
                      <a:pt x="1781175" y="158115"/>
                      <a:pt x="1781175" y="160020"/>
                      <a:pt x="1786890" y="161925"/>
                    </a:cubicBezTo>
                    <a:cubicBezTo>
                      <a:pt x="1792605" y="163830"/>
                      <a:pt x="1798320" y="164783"/>
                      <a:pt x="1798320" y="164783"/>
                    </a:cubicBezTo>
                    <a:cubicBezTo>
                      <a:pt x="1798320" y="164783"/>
                      <a:pt x="1803083" y="165735"/>
                      <a:pt x="1806893" y="165735"/>
                    </a:cubicBezTo>
                    <a:cubicBezTo>
                      <a:pt x="1811655" y="165735"/>
                      <a:pt x="1814513" y="160973"/>
                      <a:pt x="1814513" y="160973"/>
                    </a:cubicBezTo>
                    <a:cubicBezTo>
                      <a:pt x="1814513" y="160973"/>
                      <a:pt x="1816418" y="156210"/>
                      <a:pt x="1820228" y="156210"/>
                    </a:cubicBezTo>
                    <a:cubicBezTo>
                      <a:pt x="1824990" y="156210"/>
                      <a:pt x="1830705" y="156210"/>
                      <a:pt x="1834515" y="156210"/>
                    </a:cubicBezTo>
                    <a:cubicBezTo>
                      <a:pt x="1839278" y="156210"/>
                      <a:pt x="1839278" y="156210"/>
                      <a:pt x="1839278" y="156210"/>
                    </a:cubicBezTo>
                    <a:cubicBezTo>
                      <a:pt x="1839278" y="156210"/>
                      <a:pt x="1841183" y="151448"/>
                      <a:pt x="1846898" y="150495"/>
                    </a:cubicBezTo>
                    <a:cubicBezTo>
                      <a:pt x="1852613" y="149542"/>
                      <a:pt x="1852613" y="145733"/>
                      <a:pt x="1852613" y="145733"/>
                    </a:cubicBezTo>
                    <a:lnTo>
                      <a:pt x="1854518" y="140017"/>
                    </a:lnTo>
                    <a:lnTo>
                      <a:pt x="1856423" y="134303"/>
                    </a:lnTo>
                    <a:lnTo>
                      <a:pt x="1856423" y="130492"/>
                    </a:lnTo>
                    <a:cubicBezTo>
                      <a:pt x="1856423" y="130492"/>
                      <a:pt x="1855470" y="128587"/>
                      <a:pt x="1848803" y="126683"/>
                    </a:cubicBezTo>
                    <a:cubicBezTo>
                      <a:pt x="1843088" y="124778"/>
                      <a:pt x="1837373" y="123825"/>
                      <a:pt x="1837373" y="123825"/>
                    </a:cubicBezTo>
                    <a:lnTo>
                      <a:pt x="1820228" y="119062"/>
                    </a:lnTo>
                    <a:lnTo>
                      <a:pt x="1805940" y="111442"/>
                    </a:lnTo>
                    <a:lnTo>
                      <a:pt x="1800225" y="112395"/>
                    </a:lnTo>
                    <a:lnTo>
                      <a:pt x="1788795" y="111442"/>
                    </a:lnTo>
                    <a:lnTo>
                      <a:pt x="1778318" y="105728"/>
                    </a:lnTo>
                    <a:lnTo>
                      <a:pt x="1772603" y="101917"/>
                    </a:lnTo>
                    <a:lnTo>
                      <a:pt x="1762125" y="100965"/>
                    </a:lnTo>
                    <a:lnTo>
                      <a:pt x="1750695" y="96203"/>
                    </a:lnTo>
                    <a:cubicBezTo>
                      <a:pt x="1752600" y="90487"/>
                      <a:pt x="1752600" y="85725"/>
                      <a:pt x="1752600" y="85725"/>
                    </a:cubicBezTo>
                    <a:lnTo>
                      <a:pt x="1751648" y="79058"/>
                    </a:lnTo>
                    <a:lnTo>
                      <a:pt x="1751648" y="75248"/>
                    </a:lnTo>
                    <a:lnTo>
                      <a:pt x="1745933" y="67628"/>
                    </a:lnTo>
                    <a:lnTo>
                      <a:pt x="1737360" y="63817"/>
                    </a:lnTo>
                    <a:lnTo>
                      <a:pt x="1725930" y="62865"/>
                    </a:lnTo>
                    <a:lnTo>
                      <a:pt x="1708785" y="54292"/>
                    </a:lnTo>
                    <a:lnTo>
                      <a:pt x="1700213" y="51435"/>
                    </a:lnTo>
                    <a:lnTo>
                      <a:pt x="1676400" y="46672"/>
                    </a:lnTo>
                    <a:lnTo>
                      <a:pt x="1664970" y="43815"/>
                    </a:lnTo>
                    <a:lnTo>
                      <a:pt x="1650683" y="42863"/>
                    </a:lnTo>
                    <a:lnTo>
                      <a:pt x="1628775" y="31432"/>
                    </a:lnTo>
                    <a:lnTo>
                      <a:pt x="1612583" y="22860"/>
                    </a:lnTo>
                    <a:lnTo>
                      <a:pt x="1604010" y="14288"/>
                    </a:lnTo>
                    <a:lnTo>
                      <a:pt x="1590675" y="15240"/>
                    </a:lnTo>
                    <a:lnTo>
                      <a:pt x="1583055" y="13335"/>
                    </a:lnTo>
                    <a:lnTo>
                      <a:pt x="1561148" y="17145"/>
                    </a:lnTo>
                    <a:cubicBezTo>
                      <a:pt x="1562100" y="22860"/>
                      <a:pt x="1553528" y="25717"/>
                      <a:pt x="1553528" y="25717"/>
                    </a:cubicBezTo>
                    <a:lnTo>
                      <a:pt x="1544955" y="24765"/>
                    </a:lnTo>
                    <a:lnTo>
                      <a:pt x="1534478" y="18097"/>
                    </a:lnTo>
                    <a:lnTo>
                      <a:pt x="1524000" y="11430"/>
                    </a:lnTo>
                    <a:lnTo>
                      <a:pt x="1503998" y="4763"/>
                    </a:lnTo>
                    <a:lnTo>
                      <a:pt x="1495425" y="1905"/>
                    </a:lnTo>
                    <a:lnTo>
                      <a:pt x="1474470" y="1905"/>
                    </a:lnTo>
                    <a:lnTo>
                      <a:pt x="1468755" y="1905"/>
                    </a:lnTo>
                    <a:lnTo>
                      <a:pt x="1463993" y="5715"/>
                    </a:lnTo>
                    <a:cubicBezTo>
                      <a:pt x="1463993" y="5715"/>
                      <a:pt x="1458278" y="5715"/>
                      <a:pt x="1458278" y="8572"/>
                    </a:cubicBezTo>
                    <a:cubicBezTo>
                      <a:pt x="1458278" y="11430"/>
                      <a:pt x="1449705" y="11430"/>
                      <a:pt x="1449705" y="11430"/>
                    </a:cubicBezTo>
                    <a:cubicBezTo>
                      <a:pt x="1449705" y="11430"/>
                      <a:pt x="1444943" y="13335"/>
                      <a:pt x="1444943" y="17145"/>
                    </a:cubicBezTo>
                    <a:cubicBezTo>
                      <a:pt x="1444943" y="20955"/>
                      <a:pt x="1440180" y="20955"/>
                      <a:pt x="1442085" y="24765"/>
                    </a:cubicBezTo>
                    <a:cubicBezTo>
                      <a:pt x="1443038" y="28575"/>
                      <a:pt x="1446848" y="24765"/>
                      <a:pt x="1443038" y="28575"/>
                    </a:cubicBezTo>
                    <a:cubicBezTo>
                      <a:pt x="1440180" y="32385"/>
                      <a:pt x="1434465" y="33338"/>
                      <a:pt x="1434465" y="33338"/>
                    </a:cubicBezTo>
                    <a:lnTo>
                      <a:pt x="1425893" y="31432"/>
                    </a:lnTo>
                    <a:lnTo>
                      <a:pt x="1423035" y="23813"/>
                    </a:lnTo>
                    <a:cubicBezTo>
                      <a:pt x="1423035" y="23813"/>
                      <a:pt x="1422083" y="20003"/>
                      <a:pt x="1425893" y="19050"/>
                    </a:cubicBezTo>
                    <a:cubicBezTo>
                      <a:pt x="1430655" y="18097"/>
                      <a:pt x="1430655" y="13335"/>
                      <a:pt x="1430655" y="13335"/>
                    </a:cubicBezTo>
                    <a:lnTo>
                      <a:pt x="1432560" y="7620"/>
                    </a:lnTo>
                    <a:lnTo>
                      <a:pt x="1432560" y="3810"/>
                    </a:lnTo>
                    <a:cubicBezTo>
                      <a:pt x="1421130" y="953"/>
                      <a:pt x="1415415" y="953"/>
                      <a:pt x="1415415" y="953"/>
                    </a:cubicBezTo>
                    <a:lnTo>
                      <a:pt x="1402080" y="0"/>
                    </a:lnTo>
                    <a:cubicBezTo>
                      <a:pt x="1399223" y="2857"/>
                      <a:pt x="1380173" y="6667"/>
                      <a:pt x="1380173" y="6667"/>
                    </a:cubicBezTo>
                    <a:cubicBezTo>
                      <a:pt x="1377315" y="10478"/>
                      <a:pt x="1369695" y="12382"/>
                      <a:pt x="1369695" y="15240"/>
                    </a:cubicBezTo>
                    <a:cubicBezTo>
                      <a:pt x="1369695" y="18097"/>
                      <a:pt x="1371600" y="12382"/>
                      <a:pt x="1369695" y="18097"/>
                    </a:cubicBezTo>
                    <a:cubicBezTo>
                      <a:pt x="1367790" y="23813"/>
                      <a:pt x="1364933" y="25717"/>
                      <a:pt x="1366838" y="30480"/>
                    </a:cubicBezTo>
                    <a:cubicBezTo>
                      <a:pt x="1367790" y="35242"/>
                      <a:pt x="1362075" y="37147"/>
                      <a:pt x="1366838" y="40957"/>
                    </a:cubicBezTo>
                    <a:cubicBezTo>
                      <a:pt x="1371600" y="44767"/>
                      <a:pt x="1374458" y="48578"/>
                      <a:pt x="1374458" y="48578"/>
                    </a:cubicBezTo>
                    <a:lnTo>
                      <a:pt x="1382078" y="55245"/>
                    </a:lnTo>
                    <a:cubicBezTo>
                      <a:pt x="1382078" y="55245"/>
                      <a:pt x="1380173" y="57150"/>
                      <a:pt x="1390650" y="60960"/>
                    </a:cubicBezTo>
                    <a:cubicBezTo>
                      <a:pt x="1401128" y="64770"/>
                      <a:pt x="1401128" y="61913"/>
                      <a:pt x="1407795" y="65723"/>
                    </a:cubicBezTo>
                    <a:cubicBezTo>
                      <a:pt x="1415415" y="69533"/>
                      <a:pt x="1412558" y="66675"/>
                      <a:pt x="1415415" y="69533"/>
                    </a:cubicBezTo>
                    <a:cubicBezTo>
                      <a:pt x="1418273" y="72390"/>
                      <a:pt x="1403985" y="68580"/>
                      <a:pt x="1418273" y="72390"/>
                    </a:cubicBezTo>
                    <a:cubicBezTo>
                      <a:pt x="1432560" y="76200"/>
                      <a:pt x="1421130" y="71437"/>
                      <a:pt x="1432560" y="76200"/>
                    </a:cubicBezTo>
                    <a:cubicBezTo>
                      <a:pt x="1443990" y="80962"/>
                      <a:pt x="1441133" y="78105"/>
                      <a:pt x="1443990" y="80962"/>
                    </a:cubicBezTo>
                    <a:cubicBezTo>
                      <a:pt x="1446848" y="83820"/>
                      <a:pt x="1446848" y="81915"/>
                      <a:pt x="1446848" y="87630"/>
                    </a:cubicBezTo>
                    <a:cubicBezTo>
                      <a:pt x="1446848" y="93345"/>
                      <a:pt x="1441133" y="92392"/>
                      <a:pt x="1441133" y="95250"/>
                    </a:cubicBezTo>
                    <a:cubicBezTo>
                      <a:pt x="1441133" y="98108"/>
                      <a:pt x="1441133" y="98108"/>
                      <a:pt x="1441133" y="98108"/>
                    </a:cubicBezTo>
                    <a:lnTo>
                      <a:pt x="1429703" y="104775"/>
                    </a:lnTo>
                    <a:lnTo>
                      <a:pt x="1419225" y="110490"/>
                    </a:lnTo>
                    <a:cubicBezTo>
                      <a:pt x="1417320" y="116205"/>
                      <a:pt x="1417320" y="116205"/>
                      <a:pt x="1417320" y="116205"/>
                    </a:cubicBezTo>
                    <a:lnTo>
                      <a:pt x="1403033" y="120015"/>
                    </a:lnTo>
                    <a:cubicBezTo>
                      <a:pt x="1403033" y="120015"/>
                      <a:pt x="1397318" y="120015"/>
                      <a:pt x="1397318" y="116205"/>
                    </a:cubicBezTo>
                    <a:cubicBezTo>
                      <a:pt x="1397318" y="112395"/>
                      <a:pt x="1397318" y="107633"/>
                      <a:pt x="1397318" y="107633"/>
                    </a:cubicBezTo>
                    <a:lnTo>
                      <a:pt x="1397318" y="101917"/>
                    </a:lnTo>
                    <a:lnTo>
                      <a:pt x="1396365" y="95250"/>
                    </a:lnTo>
                    <a:lnTo>
                      <a:pt x="1393508" y="90487"/>
                    </a:lnTo>
                    <a:lnTo>
                      <a:pt x="1384935" y="88583"/>
                    </a:lnTo>
                    <a:lnTo>
                      <a:pt x="1376363" y="88583"/>
                    </a:lnTo>
                    <a:lnTo>
                      <a:pt x="1364933" y="88583"/>
                    </a:lnTo>
                    <a:cubicBezTo>
                      <a:pt x="1364933" y="88583"/>
                      <a:pt x="1354455" y="87630"/>
                      <a:pt x="1354455" y="84773"/>
                    </a:cubicBezTo>
                    <a:cubicBezTo>
                      <a:pt x="1354455" y="81915"/>
                      <a:pt x="1354455" y="81915"/>
                      <a:pt x="1354455" y="81915"/>
                    </a:cubicBezTo>
                    <a:lnTo>
                      <a:pt x="1341120" y="76200"/>
                    </a:lnTo>
                    <a:lnTo>
                      <a:pt x="1324928" y="74295"/>
                    </a:lnTo>
                    <a:lnTo>
                      <a:pt x="1319213" y="73342"/>
                    </a:lnTo>
                    <a:lnTo>
                      <a:pt x="1318260" y="60960"/>
                    </a:lnTo>
                    <a:lnTo>
                      <a:pt x="1315403" y="53340"/>
                    </a:lnTo>
                    <a:lnTo>
                      <a:pt x="1309688" y="45720"/>
                    </a:lnTo>
                    <a:lnTo>
                      <a:pt x="1304925" y="41910"/>
                    </a:lnTo>
                    <a:lnTo>
                      <a:pt x="1299210" y="40005"/>
                    </a:lnTo>
                    <a:lnTo>
                      <a:pt x="1274445" y="35242"/>
                    </a:lnTo>
                    <a:cubicBezTo>
                      <a:pt x="1274445" y="35242"/>
                      <a:pt x="1266825" y="35242"/>
                      <a:pt x="1266825" y="39053"/>
                    </a:cubicBezTo>
                    <a:cubicBezTo>
                      <a:pt x="1266825" y="42863"/>
                      <a:pt x="1259205" y="44767"/>
                      <a:pt x="1259205" y="44767"/>
                    </a:cubicBezTo>
                    <a:cubicBezTo>
                      <a:pt x="1259205" y="44767"/>
                      <a:pt x="1245870" y="44767"/>
                      <a:pt x="1247775" y="48578"/>
                    </a:cubicBezTo>
                    <a:cubicBezTo>
                      <a:pt x="1248728" y="52388"/>
                      <a:pt x="1243013" y="49530"/>
                      <a:pt x="1247775" y="56197"/>
                    </a:cubicBezTo>
                    <a:cubicBezTo>
                      <a:pt x="1251585" y="62865"/>
                      <a:pt x="1248728" y="60960"/>
                      <a:pt x="1253490" y="66675"/>
                    </a:cubicBezTo>
                    <a:cubicBezTo>
                      <a:pt x="1258253" y="72390"/>
                      <a:pt x="1251585" y="67628"/>
                      <a:pt x="1258253" y="72390"/>
                    </a:cubicBezTo>
                    <a:cubicBezTo>
                      <a:pt x="1263968" y="77153"/>
                      <a:pt x="1255395" y="73342"/>
                      <a:pt x="1263968" y="77153"/>
                    </a:cubicBezTo>
                    <a:cubicBezTo>
                      <a:pt x="1272540" y="80962"/>
                      <a:pt x="1265873" y="78105"/>
                      <a:pt x="1272540" y="80962"/>
                    </a:cubicBezTo>
                    <a:cubicBezTo>
                      <a:pt x="1280160" y="83820"/>
                      <a:pt x="1280160" y="83820"/>
                      <a:pt x="1280160" y="83820"/>
                    </a:cubicBezTo>
                    <a:cubicBezTo>
                      <a:pt x="1280160" y="83820"/>
                      <a:pt x="1284923" y="85725"/>
                      <a:pt x="1287780" y="89535"/>
                    </a:cubicBezTo>
                    <a:cubicBezTo>
                      <a:pt x="1290638" y="93345"/>
                      <a:pt x="1292543" y="93345"/>
                      <a:pt x="1291590" y="97155"/>
                    </a:cubicBezTo>
                    <a:cubicBezTo>
                      <a:pt x="1291590" y="100965"/>
                      <a:pt x="1285875" y="108585"/>
                      <a:pt x="1285875" y="108585"/>
                    </a:cubicBezTo>
                    <a:cubicBezTo>
                      <a:pt x="1285875" y="108585"/>
                      <a:pt x="1278255" y="108585"/>
                      <a:pt x="1271588" y="109537"/>
                    </a:cubicBezTo>
                    <a:cubicBezTo>
                      <a:pt x="1263968" y="110490"/>
                      <a:pt x="1255395" y="109537"/>
                      <a:pt x="1255395" y="109537"/>
                    </a:cubicBezTo>
                    <a:lnTo>
                      <a:pt x="1249680" y="101917"/>
                    </a:lnTo>
                    <a:lnTo>
                      <a:pt x="1251585" y="94298"/>
                    </a:lnTo>
                    <a:lnTo>
                      <a:pt x="1254443" y="89535"/>
                    </a:lnTo>
                    <a:lnTo>
                      <a:pt x="1243965" y="81915"/>
                    </a:lnTo>
                    <a:lnTo>
                      <a:pt x="1230630" y="79058"/>
                    </a:lnTo>
                    <a:lnTo>
                      <a:pt x="1203008" y="78105"/>
                    </a:lnTo>
                    <a:lnTo>
                      <a:pt x="1203008" y="84773"/>
                    </a:lnTo>
                    <a:lnTo>
                      <a:pt x="1214438" y="90487"/>
                    </a:lnTo>
                    <a:cubicBezTo>
                      <a:pt x="1223010" y="96203"/>
                      <a:pt x="1220153" y="97155"/>
                      <a:pt x="1221105" y="100965"/>
                    </a:cubicBezTo>
                    <a:cubicBezTo>
                      <a:pt x="1222058" y="104775"/>
                      <a:pt x="1212533" y="103823"/>
                      <a:pt x="1212533" y="103823"/>
                    </a:cubicBezTo>
                    <a:lnTo>
                      <a:pt x="1190625" y="105728"/>
                    </a:lnTo>
                    <a:lnTo>
                      <a:pt x="1163003" y="107633"/>
                    </a:lnTo>
                    <a:lnTo>
                      <a:pt x="1130618" y="108585"/>
                    </a:lnTo>
                    <a:cubicBezTo>
                      <a:pt x="1130618" y="108585"/>
                      <a:pt x="1119188" y="107633"/>
                      <a:pt x="1111568" y="109537"/>
                    </a:cubicBezTo>
                    <a:cubicBezTo>
                      <a:pt x="1103948" y="111442"/>
                      <a:pt x="1084898" y="110490"/>
                      <a:pt x="1084898" y="110490"/>
                    </a:cubicBezTo>
                    <a:lnTo>
                      <a:pt x="1076325" y="110490"/>
                    </a:lnTo>
                    <a:lnTo>
                      <a:pt x="1054418" y="106680"/>
                    </a:lnTo>
                    <a:lnTo>
                      <a:pt x="1051560" y="112395"/>
                    </a:lnTo>
                    <a:cubicBezTo>
                      <a:pt x="1060133" y="118110"/>
                      <a:pt x="1041083" y="118110"/>
                      <a:pt x="1041083" y="118110"/>
                    </a:cubicBezTo>
                    <a:lnTo>
                      <a:pt x="1032510" y="116205"/>
                    </a:lnTo>
                    <a:lnTo>
                      <a:pt x="1024890" y="116205"/>
                    </a:lnTo>
                    <a:cubicBezTo>
                      <a:pt x="1024890" y="116205"/>
                      <a:pt x="1017270" y="113348"/>
                      <a:pt x="1013460" y="114300"/>
                    </a:cubicBezTo>
                    <a:cubicBezTo>
                      <a:pt x="1008698" y="115253"/>
                      <a:pt x="1008698" y="115253"/>
                      <a:pt x="1008698" y="115253"/>
                    </a:cubicBezTo>
                    <a:lnTo>
                      <a:pt x="975360" y="113348"/>
                    </a:lnTo>
                    <a:lnTo>
                      <a:pt x="942975" y="104775"/>
                    </a:lnTo>
                    <a:lnTo>
                      <a:pt x="935355" y="101917"/>
                    </a:lnTo>
                    <a:lnTo>
                      <a:pt x="929640" y="99060"/>
                    </a:lnTo>
                    <a:lnTo>
                      <a:pt x="921068" y="92392"/>
                    </a:lnTo>
                    <a:lnTo>
                      <a:pt x="918210" y="86678"/>
                    </a:lnTo>
                    <a:lnTo>
                      <a:pt x="910590" y="85725"/>
                    </a:lnTo>
                    <a:lnTo>
                      <a:pt x="896303" y="84773"/>
                    </a:lnTo>
                    <a:cubicBezTo>
                      <a:pt x="896303" y="84773"/>
                      <a:pt x="888683" y="83820"/>
                      <a:pt x="884873" y="84773"/>
                    </a:cubicBezTo>
                    <a:cubicBezTo>
                      <a:pt x="880110" y="85725"/>
                      <a:pt x="873443" y="85725"/>
                      <a:pt x="868680" y="84773"/>
                    </a:cubicBezTo>
                    <a:cubicBezTo>
                      <a:pt x="863918" y="83820"/>
                      <a:pt x="857250" y="81915"/>
                      <a:pt x="857250" y="81915"/>
                    </a:cubicBezTo>
                    <a:lnTo>
                      <a:pt x="849630" y="80010"/>
                    </a:lnTo>
                    <a:lnTo>
                      <a:pt x="836295" y="73342"/>
                    </a:lnTo>
                    <a:lnTo>
                      <a:pt x="825818" y="70485"/>
                    </a:lnTo>
                    <a:lnTo>
                      <a:pt x="815340" y="70485"/>
                    </a:lnTo>
                    <a:lnTo>
                      <a:pt x="803910" y="70485"/>
                    </a:lnTo>
                    <a:lnTo>
                      <a:pt x="792480" y="70485"/>
                    </a:lnTo>
                    <a:cubicBezTo>
                      <a:pt x="792480" y="70485"/>
                      <a:pt x="792480" y="70485"/>
                      <a:pt x="786765" y="71437"/>
                    </a:cubicBezTo>
                    <a:cubicBezTo>
                      <a:pt x="781050" y="72390"/>
                      <a:pt x="770573" y="72390"/>
                      <a:pt x="770573" y="72390"/>
                    </a:cubicBezTo>
                    <a:lnTo>
                      <a:pt x="754380" y="72390"/>
                    </a:lnTo>
                    <a:lnTo>
                      <a:pt x="731520" y="63817"/>
                    </a:lnTo>
                    <a:lnTo>
                      <a:pt x="714375" y="59055"/>
                    </a:lnTo>
                    <a:lnTo>
                      <a:pt x="703898" y="59055"/>
                    </a:lnTo>
                    <a:lnTo>
                      <a:pt x="679133" y="61913"/>
                    </a:lnTo>
                    <a:lnTo>
                      <a:pt x="673418" y="62865"/>
                    </a:lnTo>
                    <a:cubicBezTo>
                      <a:pt x="673418" y="62865"/>
                      <a:pt x="665798" y="61913"/>
                      <a:pt x="665798" y="64770"/>
                    </a:cubicBezTo>
                    <a:cubicBezTo>
                      <a:pt x="665798" y="67628"/>
                      <a:pt x="655320" y="67628"/>
                      <a:pt x="655320" y="67628"/>
                    </a:cubicBezTo>
                    <a:lnTo>
                      <a:pt x="641033" y="68580"/>
                    </a:lnTo>
                    <a:lnTo>
                      <a:pt x="635318" y="67628"/>
                    </a:lnTo>
                    <a:lnTo>
                      <a:pt x="624840" y="67628"/>
                    </a:lnTo>
                    <a:lnTo>
                      <a:pt x="617220" y="70485"/>
                    </a:lnTo>
                    <a:cubicBezTo>
                      <a:pt x="617220" y="70485"/>
                      <a:pt x="608648" y="71437"/>
                      <a:pt x="608648" y="74295"/>
                    </a:cubicBezTo>
                    <a:cubicBezTo>
                      <a:pt x="608648" y="77153"/>
                      <a:pt x="598170" y="77153"/>
                      <a:pt x="598170" y="77153"/>
                    </a:cubicBezTo>
                    <a:lnTo>
                      <a:pt x="583883" y="74295"/>
                    </a:lnTo>
                    <a:lnTo>
                      <a:pt x="567690" y="75248"/>
                    </a:lnTo>
                    <a:lnTo>
                      <a:pt x="554355" y="78105"/>
                    </a:lnTo>
                    <a:lnTo>
                      <a:pt x="535305" y="80962"/>
                    </a:lnTo>
                    <a:lnTo>
                      <a:pt x="524828" y="80010"/>
                    </a:lnTo>
                    <a:lnTo>
                      <a:pt x="513398" y="76200"/>
                    </a:lnTo>
                    <a:lnTo>
                      <a:pt x="502920" y="73342"/>
                    </a:lnTo>
                    <a:lnTo>
                      <a:pt x="495300" y="69533"/>
                    </a:lnTo>
                    <a:lnTo>
                      <a:pt x="481965" y="65723"/>
                    </a:lnTo>
                    <a:lnTo>
                      <a:pt x="451485" y="62865"/>
                    </a:lnTo>
                    <a:lnTo>
                      <a:pt x="437198" y="62865"/>
                    </a:lnTo>
                    <a:lnTo>
                      <a:pt x="406718" y="61913"/>
                    </a:lnTo>
                    <a:lnTo>
                      <a:pt x="385763" y="60960"/>
                    </a:lnTo>
                    <a:lnTo>
                      <a:pt x="364808" y="59055"/>
                    </a:lnTo>
                    <a:lnTo>
                      <a:pt x="352425" y="55245"/>
                    </a:lnTo>
                    <a:lnTo>
                      <a:pt x="339090" y="55245"/>
                    </a:lnTo>
                    <a:lnTo>
                      <a:pt x="317183" y="54292"/>
                    </a:lnTo>
                    <a:lnTo>
                      <a:pt x="290513" y="51435"/>
                    </a:lnTo>
                    <a:lnTo>
                      <a:pt x="279083" y="46672"/>
                    </a:lnTo>
                    <a:lnTo>
                      <a:pt x="261938" y="44767"/>
                    </a:lnTo>
                    <a:lnTo>
                      <a:pt x="251460" y="44767"/>
                    </a:lnTo>
                    <a:lnTo>
                      <a:pt x="237173" y="40005"/>
                    </a:lnTo>
                    <a:cubicBezTo>
                      <a:pt x="237173" y="40005"/>
                      <a:pt x="251460" y="38100"/>
                      <a:pt x="226695" y="36195"/>
                    </a:cubicBezTo>
                    <a:cubicBezTo>
                      <a:pt x="201930" y="34290"/>
                      <a:pt x="207645" y="32385"/>
                      <a:pt x="191453" y="35242"/>
                    </a:cubicBezTo>
                    <a:cubicBezTo>
                      <a:pt x="175260" y="38100"/>
                      <a:pt x="164783" y="35242"/>
                      <a:pt x="166688" y="38100"/>
                    </a:cubicBezTo>
                    <a:cubicBezTo>
                      <a:pt x="167640" y="40957"/>
                      <a:pt x="153353" y="43815"/>
                      <a:pt x="153353" y="43815"/>
                    </a:cubicBezTo>
                    <a:lnTo>
                      <a:pt x="145733" y="46672"/>
                    </a:lnTo>
                    <a:cubicBezTo>
                      <a:pt x="145733" y="46672"/>
                      <a:pt x="121920" y="45720"/>
                      <a:pt x="123825" y="48578"/>
                    </a:cubicBezTo>
                    <a:cubicBezTo>
                      <a:pt x="124778" y="51435"/>
                      <a:pt x="113348" y="53340"/>
                      <a:pt x="113348" y="53340"/>
                    </a:cubicBezTo>
                    <a:lnTo>
                      <a:pt x="104775" y="60960"/>
                    </a:lnTo>
                    <a:cubicBezTo>
                      <a:pt x="104775" y="60960"/>
                      <a:pt x="97155" y="58103"/>
                      <a:pt x="97155" y="61913"/>
                    </a:cubicBezTo>
                    <a:cubicBezTo>
                      <a:pt x="97155" y="65723"/>
                      <a:pt x="107633" y="57150"/>
                      <a:pt x="97155" y="65723"/>
                    </a:cubicBezTo>
                    <a:cubicBezTo>
                      <a:pt x="86678" y="74295"/>
                      <a:pt x="80963" y="76200"/>
                      <a:pt x="80963" y="76200"/>
                    </a:cubicBezTo>
                    <a:lnTo>
                      <a:pt x="64770" y="80962"/>
                    </a:lnTo>
                    <a:cubicBezTo>
                      <a:pt x="64770" y="80962"/>
                      <a:pt x="54293" y="80010"/>
                      <a:pt x="59055" y="84773"/>
                    </a:cubicBezTo>
                    <a:cubicBezTo>
                      <a:pt x="62865" y="89535"/>
                      <a:pt x="61913" y="82867"/>
                      <a:pt x="62865" y="89535"/>
                    </a:cubicBezTo>
                    <a:cubicBezTo>
                      <a:pt x="62865" y="94298"/>
                      <a:pt x="51435" y="88583"/>
                      <a:pt x="62865" y="94298"/>
                    </a:cubicBezTo>
                    <a:cubicBezTo>
                      <a:pt x="74295" y="99060"/>
                      <a:pt x="64770" y="94298"/>
                      <a:pt x="74295" y="99060"/>
                    </a:cubicBezTo>
                    <a:cubicBezTo>
                      <a:pt x="84773" y="103823"/>
                      <a:pt x="87630" y="104775"/>
                      <a:pt x="91440" y="107633"/>
                    </a:cubicBezTo>
                    <a:cubicBezTo>
                      <a:pt x="96203" y="110490"/>
                      <a:pt x="94298" y="104775"/>
                      <a:pt x="96203" y="110490"/>
                    </a:cubicBezTo>
                    <a:cubicBezTo>
                      <a:pt x="97155" y="116205"/>
                      <a:pt x="110490" y="117158"/>
                      <a:pt x="113348" y="120015"/>
                    </a:cubicBezTo>
                    <a:cubicBezTo>
                      <a:pt x="116205" y="122873"/>
                      <a:pt x="116205" y="122873"/>
                      <a:pt x="116205" y="122873"/>
                    </a:cubicBezTo>
                    <a:cubicBezTo>
                      <a:pt x="116205" y="122873"/>
                      <a:pt x="108585" y="123825"/>
                      <a:pt x="104775" y="125730"/>
                    </a:cubicBezTo>
                    <a:cubicBezTo>
                      <a:pt x="100013" y="127635"/>
                      <a:pt x="91440" y="126683"/>
                      <a:pt x="91440" y="126683"/>
                    </a:cubicBezTo>
                    <a:lnTo>
                      <a:pt x="78105" y="125730"/>
                    </a:lnTo>
                    <a:lnTo>
                      <a:pt x="59055" y="125730"/>
                    </a:lnTo>
                    <a:cubicBezTo>
                      <a:pt x="59055" y="125730"/>
                      <a:pt x="53340" y="126683"/>
                      <a:pt x="48578" y="127635"/>
                    </a:cubicBezTo>
                    <a:cubicBezTo>
                      <a:pt x="43815" y="128587"/>
                      <a:pt x="21908" y="129540"/>
                      <a:pt x="21908" y="129540"/>
                    </a:cubicBezTo>
                    <a:cubicBezTo>
                      <a:pt x="20003" y="136208"/>
                      <a:pt x="19050" y="129540"/>
                      <a:pt x="20003" y="136208"/>
                    </a:cubicBezTo>
                    <a:cubicBezTo>
                      <a:pt x="22860" y="141923"/>
                      <a:pt x="14288" y="141923"/>
                      <a:pt x="22860" y="147637"/>
                    </a:cubicBezTo>
                    <a:cubicBezTo>
                      <a:pt x="31433" y="153353"/>
                      <a:pt x="26670" y="155258"/>
                      <a:pt x="33338" y="157162"/>
                    </a:cubicBezTo>
                    <a:cubicBezTo>
                      <a:pt x="38100" y="159067"/>
                      <a:pt x="31433" y="158115"/>
                      <a:pt x="38100" y="159067"/>
                    </a:cubicBezTo>
                    <a:cubicBezTo>
                      <a:pt x="45720" y="160020"/>
                      <a:pt x="51435" y="158115"/>
                      <a:pt x="56198" y="159067"/>
                    </a:cubicBezTo>
                    <a:cubicBezTo>
                      <a:pt x="60960" y="160020"/>
                      <a:pt x="67628" y="159067"/>
                      <a:pt x="67628" y="159067"/>
                    </a:cubicBezTo>
                    <a:lnTo>
                      <a:pt x="81915" y="157162"/>
                    </a:lnTo>
                    <a:lnTo>
                      <a:pt x="90488" y="156210"/>
                    </a:lnTo>
                    <a:cubicBezTo>
                      <a:pt x="90488" y="156210"/>
                      <a:pt x="98108" y="155258"/>
                      <a:pt x="101918" y="156210"/>
                    </a:cubicBezTo>
                    <a:cubicBezTo>
                      <a:pt x="106680" y="157162"/>
                      <a:pt x="106680" y="157162"/>
                      <a:pt x="106680" y="157162"/>
                    </a:cubicBezTo>
                    <a:cubicBezTo>
                      <a:pt x="115253" y="158115"/>
                      <a:pt x="128588" y="160973"/>
                      <a:pt x="128588" y="160973"/>
                    </a:cubicBezTo>
                    <a:lnTo>
                      <a:pt x="131445" y="164783"/>
                    </a:lnTo>
                    <a:cubicBezTo>
                      <a:pt x="131445" y="164783"/>
                      <a:pt x="128588" y="165735"/>
                      <a:pt x="129540" y="170498"/>
                    </a:cubicBezTo>
                    <a:cubicBezTo>
                      <a:pt x="130493" y="175260"/>
                      <a:pt x="130493" y="175260"/>
                      <a:pt x="130493" y="175260"/>
                    </a:cubicBezTo>
                    <a:lnTo>
                      <a:pt x="114300" y="178117"/>
                    </a:lnTo>
                    <a:lnTo>
                      <a:pt x="100965" y="179070"/>
                    </a:lnTo>
                    <a:lnTo>
                      <a:pt x="85725" y="184785"/>
                    </a:lnTo>
                    <a:lnTo>
                      <a:pt x="71438" y="184785"/>
                    </a:lnTo>
                    <a:lnTo>
                      <a:pt x="60960" y="188595"/>
                    </a:lnTo>
                    <a:cubicBezTo>
                      <a:pt x="60960" y="188595"/>
                      <a:pt x="50483" y="191453"/>
                      <a:pt x="52388" y="194310"/>
                    </a:cubicBezTo>
                    <a:cubicBezTo>
                      <a:pt x="53340" y="197167"/>
                      <a:pt x="53340" y="197167"/>
                      <a:pt x="53340" y="197167"/>
                    </a:cubicBezTo>
                    <a:lnTo>
                      <a:pt x="45720" y="203835"/>
                    </a:lnTo>
                    <a:cubicBezTo>
                      <a:pt x="42863" y="208598"/>
                      <a:pt x="42863" y="208598"/>
                      <a:pt x="42863" y="208598"/>
                    </a:cubicBezTo>
                    <a:lnTo>
                      <a:pt x="40958" y="216217"/>
                    </a:lnTo>
                    <a:lnTo>
                      <a:pt x="49530" y="221933"/>
                    </a:lnTo>
                    <a:cubicBezTo>
                      <a:pt x="57150" y="227648"/>
                      <a:pt x="57150" y="227648"/>
                      <a:pt x="57150" y="227648"/>
                    </a:cubicBezTo>
                    <a:lnTo>
                      <a:pt x="70485" y="231458"/>
                    </a:lnTo>
                    <a:lnTo>
                      <a:pt x="83820" y="237173"/>
                    </a:lnTo>
                    <a:lnTo>
                      <a:pt x="90488" y="242887"/>
                    </a:lnTo>
                    <a:cubicBezTo>
                      <a:pt x="100965" y="245745"/>
                      <a:pt x="90488" y="244792"/>
                      <a:pt x="100965" y="245745"/>
                    </a:cubicBezTo>
                    <a:cubicBezTo>
                      <a:pt x="112395" y="247650"/>
                      <a:pt x="112395" y="247650"/>
                      <a:pt x="112395" y="247650"/>
                    </a:cubicBezTo>
                    <a:lnTo>
                      <a:pt x="125730" y="255270"/>
                    </a:lnTo>
                    <a:lnTo>
                      <a:pt x="137160" y="255270"/>
                    </a:lnTo>
                    <a:cubicBezTo>
                      <a:pt x="137160" y="255270"/>
                      <a:pt x="145733" y="254317"/>
                      <a:pt x="152400" y="257175"/>
                    </a:cubicBezTo>
                    <a:cubicBezTo>
                      <a:pt x="159068" y="260033"/>
                      <a:pt x="159068" y="260033"/>
                      <a:pt x="159068" y="260033"/>
                    </a:cubicBezTo>
                    <a:lnTo>
                      <a:pt x="172403" y="261937"/>
                    </a:lnTo>
                    <a:lnTo>
                      <a:pt x="182880" y="264795"/>
                    </a:lnTo>
                    <a:cubicBezTo>
                      <a:pt x="184785" y="270510"/>
                      <a:pt x="184785" y="270510"/>
                      <a:pt x="184785" y="270510"/>
                    </a:cubicBezTo>
                    <a:cubicBezTo>
                      <a:pt x="184785" y="270510"/>
                      <a:pt x="182880" y="273368"/>
                      <a:pt x="180023" y="277178"/>
                    </a:cubicBezTo>
                    <a:cubicBezTo>
                      <a:pt x="177165" y="280987"/>
                      <a:pt x="161925" y="284798"/>
                      <a:pt x="161925" y="284798"/>
                    </a:cubicBezTo>
                    <a:lnTo>
                      <a:pt x="148590" y="290512"/>
                    </a:lnTo>
                    <a:lnTo>
                      <a:pt x="135255" y="296228"/>
                    </a:lnTo>
                    <a:lnTo>
                      <a:pt x="123825" y="300037"/>
                    </a:lnTo>
                    <a:lnTo>
                      <a:pt x="110490" y="303848"/>
                    </a:lnTo>
                    <a:lnTo>
                      <a:pt x="99060" y="307658"/>
                    </a:lnTo>
                    <a:lnTo>
                      <a:pt x="79058" y="310515"/>
                    </a:lnTo>
                    <a:lnTo>
                      <a:pt x="63818" y="314325"/>
                    </a:lnTo>
                    <a:lnTo>
                      <a:pt x="50483" y="315278"/>
                    </a:lnTo>
                    <a:lnTo>
                      <a:pt x="38100" y="320040"/>
                    </a:lnTo>
                    <a:lnTo>
                      <a:pt x="18098" y="322898"/>
                    </a:lnTo>
                    <a:lnTo>
                      <a:pt x="0" y="322898"/>
                    </a:lnTo>
                    <a:lnTo>
                      <a:pt x="0" y="328612"/>
                    </a:lnTo>
                    <a:cubicBezTo>
                      <a:pt x="0" y="328612"/>
                      <a:pt x="8573" y="330518"/>
                      <a:pt x="15240" y="330518"/>
                    </a:cubicBezTo>
                    <a:cubicBezTo>
                      <a:pt x="21908" y="330518"/>
                      <a:pt x="28575" y="327660"/>
                      <a:pt x="37148" y="327660"/>
                    </a:cubicBezTo>
                    <a:cubicBezTo>
                      <a:pt x="45720" y="327660"/>
                      <a:pt x="50483" y="324803"/>
                      <a:pt x="57150" y="324803"/>
                    </a:cubicBezTo>
                    <a:cubicBezTo>
                      <a:pt x="63818" y="324803"/>
                      <a:pt x="72390" y="321945"/>
                      <a:pt x="81915" y="320993"/>
                    </a:cubicBezTo>
                    <a:cubicBezTo>
                      <a:pt x="90488" y="320040"/>
                      <a:pt x="93345" y="318135"/>
                      <a:pt x="100013" y="318135"/>
                    </a:cubicBezTo>
                    <a:cubicBezTo>
                      <a:pt x="106680" y="318135"/>
                      <a:pt x="120015" y="315278"/>
                      <a:pt x="120015" y="315278"/>
                    </a:cubicBezTo>
                    <a:lnTo>
                      <a:pt x="138113" y="312420"/>
                    </a:lnTo>
                    <a:lnTo>
                      <a:pt x="164783" y="306705"/>
                    </a:lnTo>
                    <a:cubicBezTo>
                      <a:pt x="164783" y="306705"/>
                      <a:pt x="169545" y="300037"/>
                      <a:pt x="176213" y="300037"/>
                    </a:cubicBezTo>
                    <a:cubicBezTo>
                      <a:pt x="182880" y="300037"/>
                      <a:pt x="189548" y="294323"/>
                      <a:pt x="189548" y="294323"/>
                    </a:cubicBezTo>
                    <a:lnTo>
                      <a:pt x="200978" y="288608"/>
                    </a:lnTo>
                    <a:lnTo>
                      <a:pt x="212408" y="280035"/>
                    </a:lnTo>
                    <a:lnTo>
                      <a:pt x="227648" y="270510"/>
                    </a:lnTo>
                    <a:lnTo>
                      <a:pt x="236220" y="261937"/>
                    </a:lnTo>
                    <a:lnTo>
                      <a:pt x="249555" y="255270"/>
                    </a:lnTo>
                    <a:lnTo>
                      <a:pt x="258128" y="249555"/>
                    </a:lnTo>
                    <a:lnTo>
                      <a:pt x="269558" y="240983"/>
                    </a:lnTo>
                    <a:lnTo>
                      <a:pt x="276225" y="235267"/>
                    </a:lnTo>
                    <a:lnTo>
                      <a:pt x="278130" y="229553"/>
                    </a:lnTo>
                    <a:lnTo>
                      <a:pt x="291465" y="226695"/>
                    </a:lnTo>
                    <a:cubicBezTo>
                      <a:pt x="298133" y="232410"/>
                      <a:pt x="302895" y="226695"/>
                      <a:pt x="298133" y="232410"/>
                    </a:cubicBezTo>
                    <a:cubicBezTo>
                      <a:pt x="293370" y="238125"/>
                      <a:pt x="293370" y="238125"/>
                      <a:pt x="293370" y="238125"/>
                    </a:cubicBezTo>
                    <a:cubicBezTo>
                      <a:pt x="293370" y="238125"/>
                      <a:pt x="295275" y="243840"/>
                      <a:pt x="303848" y="242887"/>
                    </a:cubicBezTo>
                    <a:cubicBezTo>
                      <a:pt x="312420" y="241935"/>
                      <a:pt x="312420" y="237173"/>
                      <a:pt x="319088" y="234315"/>
                    </a:cubicBezTo>
                    <a:cubicBezTo>
                      <a:pt x="325755" y="231458"/>
                      <a:pt x="325755" y="231458"/>
                      <a:pt x="325755" y="231458"/>
                    </a:cubicBezTo>
                    <a:lnTo>
                      <a:pt x="345758" y="233362"/>
                    </a:lnTo>
                    <a:cubicBezTo>
                      <a:pt x="345758" y="233362"/>
                      <a:pt x="345758" y="226695"/>
                      <a:pt x="357188" y="227648"/>
                    </a:cubicBezTo>
                    <a:cubicBezTo>
                      <a:pt x="367665" y="229553"/>
                      <a:pt x="355283" y="228600"/>
                      <a:pt x="367665" y="229553"/>
                    </a:cubicBezTo>
                    <a:cubicBezTo>
                      <a:pt x="381000" y="229553"/>
                      <a:pt x="381000" y="229553"/>
                      <a:pt x="381000" y="229553"/>
                    </a:cubicBezTo>
                    <a:lnTo>
                      <a:pt x="396240" y="232410"/>
                    </a:lnTo>
                    <a:cubicBezTo>
                      <a:pt x="396240" y="232410"/>
                      <a:pt x="404813" y="237173"/>
                      <a:pt x="416243" y="238125"/>
                    </a:cubicBezTo>
                    <a:cubicBezTo>
                      <a:pt x="427673" y="240030"/>
                      <a:pt x="440055" y="240030"/>
                      <a:pt x="440055" y="240030"/>
                    </a:cubicBezTo>
                    <a:lnTo>
                      <a:pt x="453390" y="240030"/>
                    </a:lnTo>
                    <a:lnTo>
                      <a:pt x="468630" y="244792"/>
                    </a:lnTo>
                    <a:cubicBezTo>
                      <a:pt x="468630" y="244792"/>
                      <a:pt x="468630" y="241935"/>
                      <a:pt x="477203" y="244792"/>
                    </a:cubicBezTo>
                    <a:cubicBezTo>
                      <a:pt x="485775" y="247650"/>
                      <a:pt x="499110" y="247650"/>
                      <a:pt x="499110" y="247650"/>
                    </a:cubicBezTo>
                    <a:cubicBezTo>
                      <a:pt x="499110" y="247650"/>
                      <a:pt x="503873" y="250508"/>
                      <a:pt x="509588" y="252412"/>
                    </a:cubicBezTo>
                    <a:cubicBezTo>
                      <a:pt x="516255" y="254317"/>
                      <a:pt x="520065" y="258128"/>
                      <a:pt x="526733" y="260985"/>
                    </a:cubicBezTo>
                    <a:cubicBezTo>
                      <a:pt x="533400" y="263843"/>
                      <a:pt x="521970" y="259080"/>
                      <a:pt x="533400" y="263843"/>
                    </a:cubicBezTo>
                    <a:cubicBezTo>
                      <a:pt x="543878" y="268605"/>
                      <a:pt x="543878" y="268605"/>
                      <a:pt x="543878" y="268605"/>
                    </a:cubicBezTo>
                    <a:cubicBezTo>
                      <a:pt x="543878" y="268605"/>
                      <a:pt x="552450" y="274320"/>
                      <a:pt x="559118" y="276225"/>
                    </a:cubicBezTo>
                    <a:cubicBezTo>
                      <a:pt x="565785" y="278130"/>
                      <a:pt x="565785" y="278130"/>
                      <a:pt x="565785" y="278130"/>
                    </a:cubicBezTo>
                    <a:lnTo>
                      <a:pt x="579120" y="285750"/>
                    </a:lnTo>
                    <a:lnTo>
                      <a:pt x="592455" y="294323"/>
                    </a:lnTo>
                    <a:lnTo>
                      <a:pt x="599123" y="303848"/>
                    </a:lnTo>
                    <a:lnTo>
                      <a:pt x="612458" y="312420"/>
                    </a:lnTo>
                    <a:lnTo>
                      <a:pt x="629603" y="322898"/>
                    </a:lnTo>
                    <a:cubicBezTo>
                      <a:pt x="629603" y="322898"/>
                      <a:pt x="634365" y="325755"/>
                      <a:pt x="640080" y="328612"/>
                    </a:cubicBezTo>
                    <a:cubicBezTo>
                      <a:pt x="646748" y="331470"/>
                      <a:pt x="655320" y="336233"/>
                      <a:pt x="655320" y="336233"/>
                    </a:cubicBezTo>
                    <a:cubicBezTo>
                      <a:pt x="655320" y="336233"/>
                      <a:pt x="650558" y="337185"/>
                      <a:pt x="659130" y="342900"/>
                    </a:cubicBezTo>
                    <a:cubicBezTo>
                      <a:pt x="667703" y="348615"/>
                      <a:pt x="654368" y="343853"/>
                      <a:pt x="667703" y="348615"/>
                    </a:cubicBezTo>
                    <a:cubicBezTo>
                      <a:pt x="681038" y="353378"/>
                      <a:pt x="672465" y="347662"/>
                      <a:pt x="681038" y="353378"/>
                    </a:cubicBezTo>
                    <a:cubicBezTo>
                      <a:pt x="689610" y="359093"/>
                      <a:pt x="689610" y="359093"/>
                      <a:pt x="689610" y="359093"/>
                    </a:cubicBezTo>
                    <a:cubicBezTo>
                      <a:pt x="689610" y="359093"/>
                      <a:pt x="694373" y="363855"/>
                      <a:pt x="696278" y="367665"/>
                    </a:cubicBezTo>
                    <a:cubicBezTo>
                      <a:pt x="698183" y="371475"/>
                      <a:pt x="685800" y="362903"/>
                      <a:pt x="698183" y="371475"/>
                    </a:cubicBezTo>
                    <a:cubicBezTo>
                      <a:pt x="711518" y="380048"/>
                      <a:pt x="721995" y="380048"/>
                      <a:pt x="721995" y="380048"/>
                    </a:cubicBezTo>
                    <a:lnTo>
                      <a:pt x="730568" y="384810"/>
                    </a:lnTo>
                    <a:cubicBezTo>
                      <a:pt x="730568" y="384810"/>
                      <a:pt x="732473" y="388620"/>
                      <a:pt x="739140" y="389573"/>
                    </a:cubicBezTo>
                    <a:cubicBezTo>
                      <a:pt x="745808" y="389573"/>
                      <a:pt x="761048" y="395287"/>
                      <a:pt x="761048" y="395287"/>
                    </a:cubicBezTo>
                    <a:cubicBezTo>
                      <a:pt x="761048" y="395287"/>
                      <a:pt x="778193" y="398145"/>
                      <a:pt x="778193" y="402908"/>
                    </a:cubicBezTo>
                    <a:cubicBezTo>
                      <a:pt x="778193" y="406718"/>
                      <a:pt x="774383" y="397193"/>
                      <a:pt x="778193" y="406718"/>
                    </a:cubicBezTo>
                    <a:cubicBezTo>
                      <a:pt x="782003" y="416243"/>
                      <a:pt x="782003" y="416243"/>
                      <a:pt x="782003" y="416243"/>
                    </a:cubicBezTo>
                    <a:lnTo>
                      <a:pt x="773430" y="420052"/>
                    </a:lnTo>
                    <a:lnTo>
                      <a:pt x="762000" y="420052"/>
                    </a:lnTo>
                    <a:lnTo>
                      <a:pt x="755333" y="413385"/>
                    </a:lnTo>
                    <a:lnTo>
                      <a:pt x="746760" y="406718"/>
                    </a:lnTo>
                    <a:lnTo>
                      <a:pt x="738188" y="403860"/>
                    </a:lnTo>
                    <a:lnTo>
                      <a:pt x="729615" y="399098"/>
                    </a:lnTo>
                    <a:cubicBezTo>
                      <a:pt x="729615" y="399098"/>
                      <a:pt x="712470" y="390525"/>
                      <a:pt x="705803" y="391477"/>
                    </a:cubicBezTo>
                    <a:cubicBezTo>
                      <a:pt x="699135" y="392430"/>
                      <a:pt x="699135" y="392430"/>
                      <a:pt x="699135" y="392430"/>
                    </a:cubicBezTo>
                    <a:cubicBezTo>
                      <a:pt x="699135" y="401002"/>
                      <a:pt x="707708" y="402908"/>
                      <a:pt x="707708" y="402908"/>
                    </a:cubicBezTo>
                    <a:cubicBezTo>
                      <a:pt x="707708" y="402908"/>
                      <a:pt x="716280" y="409575"/>
                      <a:pt x="722948" y="411480"/>
                    </a:cubicBezTo>
                    <a:cubicBezTo>
                      <a:pt x="729615" y="413385"/>
                      <a:pt x="736283" y="419100"/>
                      <a:pt x="736283" y="419100"/>
                    </a:cubicBezTo>
                    <a:cubicBezTo>
                      <a:pt x="736283" y="419100"/>
                      <a:pt x="742950" y="423862"/>
                      <a:pt x="742950" y="427673"/>
                    </a:cubicBezTo>
                    <a:cubicBezTo>
                      <a:pt x="742950" y="431483"/>
                      <a:pt x="741045" y="423862"/>
                      <a:pt x="742950" y="431483"/>
                    </a:cubicBezTo>
                    <a:cubicBezTo>
                      <a:pt x="744855" y="440055"/>
                      <a:pt x="744855" y="445770"/>
                      <a:pt x="744855" y="445770"/>
                    </a:cubicBezTo>
                    <a:lnTo>
                      <a:pt x="752475" y="456248"/>
                    </a:lnTo>
                    <a:lnTo>
                      <a:pt x="747713" y="487680"/>
                    </a:lnTo>
                    <a:lnTo>
                      <a:pt x="751523" y="500062"/>
                    </a:lnTo>
                    <a:cubicBezTo>
                      <a:pt x="751523" y="500062"/>
                      <a:pt x="746760" y="501015"/>
                      <a:pt x="751523" y="506730"/>
                    </a:cubicBezTo>
                    <a:cubicBezTo>
                      <a:pt x="755333" y="512445"/>
                      <a:pt x="758190" y="521970"/>
                      <a:pt x="758190" y="521970"/>
                    </a:cubicBezTo>
                    <a:cubicBezTo>
                      <a:pt x="758190" y="521970"/>
                      <a:pt x="760095" y="528638"/>
                      <a:pt x="764858" y="536258"/>
                    </a:cubicBezTo>
                    <a:cubicBezTo>
                      <a:pt x="768668" y="542925"/>
                      <a:pt x="762953" y="534352"/>
                      <a:pt x="768668" y="542925"/>
                    </a:cubicBezTo>
                    <a:cubicBezTo>
                      <a:pt x="775335" y="551498"/>
                      <a:pt x="775335" y="551498"/>
                      <a:pt x="775335" y="551498"/>
                    </a:cubicBezTo>
                    <a:cubicBezTo>
                      <a:pt x="775335" y="551498"/>
                      <a:pt x="782003" y="554355"/>
                      <a:pt x="785813" y="559118"/>
                    </a:cubicBezTo>
                    <a:cubicBezTo>
                      <a:pt x="789623" y="562927"/>
                      <a:pt x="792480" y="564833"/>
                      <a:pt x="794385" y="568643"/>
                    </a:cubicBezTo>
                    <a:cubicBezTo>
                      <a:pt x="796290" y="572452"/>
                      <a:pt x="801053" y="580073"/>
                      <a:pt x="801053" y="580073"/>
                    </a:cubicBezTo>
                    <a:cubicBezTo>
                      <a:pt x="801053" y="580073"/>
                      <a:pt x="801053" y="579120"/>
                      <a:pt x="804863" y="585788"/>
                    </a:cubicBezTo>
                    <a:cubicBezTo>
                      <a:pt x="808673" y="592455"/>
                      <a:pt x="802958" y="585788"/>
                      <a:pt x="808673" y="592455"/>
                    </a:cubicBezTo>
                    <a:cubicBezTo>
                      <a:pt x="815340" y="599123"/>
                      <a:pt x="815340" y="599123"/>
                      <a:pt x="815340" y="599123"/>
                    </a:cubicBezTo>
                    <a:cubicBezTo>
                      <a:pt x="815340" y="599123"/>
                      <a:pt x="820103" y="598170"/>
                      <a:pt x="825818" y="601980"/>
                    </a:cubicBezTo>
                    <a:cubicBezTo>
                      <a:pt x="832485" y="606743"/>
                      <a:pt x="832485" y="606743"/>
                      <a:pt x="832485" y="606743"/>
                    </a:cubicBezTo>
                    <a:lnTo>
                      <a:pt x="843915" y="609600"/>
                    </a:lnTo>
                    <a:cubicBezTo>
                      <a:pt x="843915" y="609600"/>
                      <a:pt x="845820" y="606743"/>
                      <a:pt x="852488" y="612458"/>
                    </a:cubicBezTo>
                    <a:cubicBezTo>
                      <a:pt x="859155" y="618173"/>
                      <a:pt x="859155" y="618173"/>
                      <a:pt x="859155" y="618173"/>
                    </a:cubicBezTo>
                    <a:lnTo>
                      <a:pt x="879158" y="631508"/>
                    </a:lnTo>
                    <a:lnTo>
                      <a:pt x="885825" y="643890"/>
                    </a:lnTo>
                    <a:cubicBezTo>
                      <a:pt x="885825" y="643890"/>
                      <a:pt x="881063" y="643890"/>
                      <a:pt x="889635" y="650558"/>
                    </a:cubicBezTo>
                    <a:cubicBezTo>
                      <a:pt x="898208" y="658177"/>
                      <a:pt x="900113" y="661035"/>
                      <a:pt x="902018" y="665798"/>
                    </a:cubicBezTo>
                    <a:cubicBezTo>
                      <a:pt x="903923" y="671513"/>
                      <a:pt x="897255" y="662940"/>
                      <a:pt x="903923" y="671513"/>
                    </a:cubicBezTo>
                    <a:cubicBezTo>
                      <a:pt x="910590" y="680085"/>
                      <a:pt x="917258" y="685800"/>
                      <a:pt x="917258" y="685800"/>
                    </a:cubicBezTo>
                    <a:lnTo>
                      <a:pt x="923925" y="701040"/>
                    </a:lnTo>
                    <a:cubicBezTo>
                      <a:pt x="934403" y="706755"/>
                      <a:pt x="945833" y="711518"/>
                      <a:pt x="945833" y="711518"/>
                    </a:cubicBezTo>
                    <a:cubicBezTo>
                      <a:pt x="945833" y="711518"/>
                      <a:pt x="954405" y="713423"/>
                      <a:pt x="956310" y="717233"/>
                    </a:cubicBezTo>
                    <a:cubicBezTo>
                      <a:pt x="958215" y="721995"/>
                      <a:pt x="969645" y="725805"/>
                      <a:pt x="969645" y="725805"/>
                    </a:cubicBezTo>
                    <a:lnTo>
                      <a:pt x="980123" y="731520"/>
                    </a:lnTo>
                    <a:lnTo>
                      <a:pt x="993458" y="731520"/>
                    </a:lnTo>
                    <a:lnTo>
                      <a:pt x="990600" y="722948"/>
                    </a:lnTo>
                    <a:lnTo>
                      <a:pt x="982028" y="717233"/>
                    </a:lnTo>
                    <a:lnTo>
                      <a:pt x="968693" y="706755"/>
                    </a:lnTo>
                    <a:lnTo>
                      <a:pt x="960120" y="698183"/>
                    </a:lnTo>
                    <a:lnTo>
                      <a:pt x="953453" y="692468"/>
                    </a:lnTo>
                    <a:lnTo>
                      <a:pt x="949643" y="686752"/>
                    </a:lnTo>
                    <a:lnTo>
                      <a:pt x="945833" y="678180"/>
                    </a:lnTo>
                    <a:lnTo>
                      <a:pt x="939165" y="672465"/>
                    </a:lnTo>
                    <a:lnTo>
                      <a:pt x="935355" y="663893"/>
                    </a:lnTo>
                    <a:lnTo>
                      <a:pt x="923925" y="655320"/>
                    </a:lnTo>
                    <a:lnTo>
                      <a:pt x="923925" y="648652"/>
                    </a:lnTo>
                    <a:lnTo>
                      <a:pt x="935355" y="645795"/>
                    </a:lnTo>
                    <a:cubicBezTo>
                      <a:pt x="943928" y="651510"/>
                      <a:pt x="931545" y="633413"/>
                      <a:pt x="943928" y="651510"/>
                    </a:cubicBezTo>
                    <a:cubicBezTo>
                      <a:pt x="956310" y="669608"/>
                      <a:pt x="962978" y="677227"/>
                      <a:pt x="962978" y="677227"/>
                    </a:cubicBezTo>
                    <a:cubicBezTo>
                      <a:pt x="962978" y="677227"/>
                      <a:pt x="978218" y="685800"/>
                      <a:pt x="980123" y="690563"/>
                    </a:cubicBezTo>
                    <a:cubicBezTo>
                      <a:pt x="982028" y="694373"/>
                      <a:pt x="997268" y="701040"/>
                      <a:pt x="997268" y="701040"/>
                    </a:cubicBezTo>
                    <a:lnTo>
                      <a:pt x="1012508" y="712470"/>
                    </a:lnTo>
                    <a:cubicBezTo>
                      <a:pt x="1012508" y="712470"/>
                      <a:pt x="1014413" y="715327"/>
                      <a:pt x="1019175" y="719138"/>
                    </a:cubicBezTo>
                    <a:cubicBezTo>
                      <a:pt x="1023938" y="722948"/>
                      <a:pt x="1034415" y="733425"/>
                      <a:pt x="1034415" y="733425"/>
                    </a:cubicBezTo>
                    <a:cubicBezTo>
                      <a:pt x="1044893" y="739140"/>
                      <a:pt x="1044893" y="739140"/>
                      <a:pt x="1044893" y="739140"/>
                    </a:cubicBezTo>
                    <a:cubicBezTo>
                      <a:pt x="1044893" y="739140"/>
                      <a:pt x="1042988" y="741998"/>
                      <a:pt x="1048703" y="745808"/>
                    </a:cubicBezTo>
                    <a:cubicBezTo>
                      <a:pt x="1055370" y="750570"/>
                      <a:pt x="1048703" y="743902"/>
                      <a:pt x="1055370" y="750570"/>
                    </a:cubicBezTo>
                    <a:cubicBezTo>
                      <a:pt x="1062038" y="756285"/>
                      <a:pt x="1055370" y="751523"/>
                      <a:pt x="1062038" y="756285"/>
                    </a:cubicBezTo>
                    <a:cubicBezTo>
                      <a:pt x="1068705" y="761048"/>
                      <a:pt x="1063943" y="755333"/>
                      <a:pt x="1068705" y="761048"/>
                    </a:cubicBezTo>
                    <a:cubicBezTo>
                      <a:pt x="1072515" y="766763"/>
                      <a:pt x="1075373" y="761048"/>
                      <a:pt x="1072515" y="766763"/>
                    </a:cubicBezTo>
                    <a:cubicBezTo>
                      <a:pt x="1070610" y="772477"/>
                      <a:pt x="1070610" y="772477"/>
                      <a:pt x="1070610" y="772477"/>
                    </a:cubicBezTo>
                    <a:cubicBezTo>
                      <a:pt x="1070610" y="772477"/>
                      <a:pt x="1068705" y="775335"/>
                      <a:pt x="1074420" y="779145"/>
                    </a:cubicBezTo>
                    <a:cubicBezTo>
                      <a:pt x="1081088" y="783908"/>
                      <a:pt x="1081088" y="783908"/>
                      <a:pt x="1081088" y="783908"/>
                    </a:cubicBezTo>
                    <a:cubicBezTo>
                      <a:pt x="1081088" y="783908"/>
                      <a:pt x="1087755" y="786765"/>
                      <a:pt x="1094423" y="789623"/>
                    </a:cubicBezTo>
                    <a:cubicBezTo>
                      <a:pt x="1101090" y="792480"/>
                      <a:pt x="1101090" y="792480"/>
                      <a:pt x="1101090" y="792480"/>
                    </a:cubicBezTo>
                    <a:cubicBezTo>
                      <a:pt x="1101090" y="792480"/>
                      <a:pt x="1112520" y="794385"/>
                      <a:pt x="1116330" y="798195"/>
                    </a:cubicBezTo>
                    <a:cubicBezTo>
                      <a:pt x="1121093" y="802005"/>
                      <a:pt x="1111568" y="795338"/>
                      <a:pt x="1121093" y="802005"/>
                    </a:cubicBezTo>
                    <a:cubicBezTo>
                      <a:pt x="1122998" y="803910"/>
                      <a:pt x="1124903" y="804863"/>
                      <a:pt x="1125855" y="805815"/>
                    </a:cubicBezTo>
                    <a:cubicBezTo>
                      <a:pt x="1129665" y="808673"/>
                      <a:pt x="1129665" y="808673"/>
                      <a:pt x="1129665" y="808673"/>
                    </a:cubicBezTo>
                    <a:cubicBezTo>
                      <a:pt x="1138238" y="816293"/>
                      <a:pt x="1151573" y="820102"/>
                      <a:pt x="1151573" y="820102"/>
                    </a:cubicBezTo>
                    <a:lnTo>
                      <a:pt x="1168718" y="827723"/>
                    </a:lnTo>
                    <a:lnTo>
                      <a:pt x="1180148" y="827723"/>
                    </a:lnTo>
                    <a:lnTo>
                      <a:pt x="1193483" y="827723"/>
                    </a:lnTo>
                    <a:cubicBezTo>
                      <a:pt x="1193483" y="827723"/>
                      <a:pt x="1200150" y="827723"/>
                      <a:pt x="1213485" y="827723"/>
                    </a:cubicBezTo>
                    <a:cubicBezTo>
                      <a:pt x="1226820" y="827723"/>
                      <a:pt x="1235393" y="827723"/>
                      <a:pt x="1235393" y="827723"/>
                    </a:cubicBezTo>
                    <a:lnTo>
                      <a:pt x="1250633" y="826770"/>
                    </a:lnTo>
                    <a:cubicBezTo>
                      <a:pt x="1250633" y="826770"/>
                      <a:pt x="1265873" y="823913"/>
                      <a:pt x="1272540" y="826770"/>
                    </a:cubicBezTo>
                    <a:cubicBezTo>
                      <a:pt x="1279208" y="829627"/>
                      <a:pt x="1279208" y="829627"/>
                      <a:pt x="1279208" y="829627"/>
                    </a:cubicBezTo>
                    <a:cubicBezTo>
                      <a:pt x="1279208" y="829627"/>
                      <a:pt x="1283970" y="828675"/>
                      <a:pt x="1290638" y="829627"/>
                    </a:cubicBezTo>
                    <a:cubicBezTo>
                      <a:pt x="1297305" y="831533"/>
                      <a:pt x="1292543" y="825818"/>
                      <a:pt x="1297305" y="831533"/>
                    </a:cubicBezTo>
                    <a:cubicBezTo>
                      <a:pt x="1302068" y="837248"/>
                      <a:pt x="1288733" y="828675"/>
                      <a:pt x="1302068" y="837248"/>
                    </a:cubicBezTo>
                    <a:cubicBezTo>
                      <a:pt x="1315403" y="845820"/>
                      <a:pt x="1323975" y="853440"/>
                      <a:pt x="1323975" y="853440"/>
                    </a:cubicBezTo>
                    <a:lnTo>
                      <a:pt x="1341120" y="853440"/>
                    </a:lnTo>
                    <a:lnTo>
                      <a:pt x="1354455" y="855345"/>
                    </a:lnTo>
                    <a:lnTo>
                      <a:pt x="1369695" y="863918"/>
                    </a:lnTo>
                    <a:lnTo>
                      <a:pt x="1383030" y="869633"/>
                    </a:lnTo>
                    <a:lnTo>
                      <a:pt x="1391603" y="875348"/>
                    </a:lnTo>
                    <a:lnTo>
                      <a:pt x="1402080" y="885825"/>
                    </a:lnTo>
                    <a:cubicBezTo>
                      <a:pt x="1402080" y="885825"/>
                      <a:pt x="1406843" y="887730"/>
                      <a:pt x="1410653" y="891540"/>
                    </a:cubicBezTo>
                    <a:cubicBezTo>
                      <a:pt x="1415415" y="896302"/>
                      <a:pt x="1423988" y="900113"/>
                      <a:pt x="1423988" y="900113"/>
                    </a:cubicBezTo>
                    <a:lnTo>
                      <a:pt x="1435418" y="902970"/>
                    </a:lnTo>
                    <a:cubicBezTo>
                      <a:pt x="1435418" y="902970"/>
                      <a:pt x="1437323" y="905827"/>
                      <a:pt x="1437323" y="909638"/>
                    </a:cubicBezTo>
                    <a:cubicBezTo>
                      <a:pt x="1437323" y="913448"/>
                      <a:pt x="1423988" y="906780"/>
                      <a:pt x="1437323" y="913448"/>
                    </a:cubicBezTo>
                    <a:cubicBezTo>
                      <a:pt x="1450658" y="921068"/>
                      <a:pt x="1450658" y="921068"/>
                      <a:pt x="1450658" y="921068"/>
                    </a:cubicBezTo>
                    <a:cubicBezTo>
                      <a:pt x="1450658" y="921068"/>
                      <a:pt x="1452563" y="921068"/>
                      <a:pt x="1459230" y="923925"/>
                    </a:cubicBezTo>
                    <a:cubicBezTo>
                      <a:pt x="1465898" y="926783"/>
                      <a:pt x="1481138" y="923925"/>
                      <a:pt x="1481138" y="923925"/>
                    </a:cubicBezTo>
                    <a:lnTo>
                      <a:pt x="1489710" y="923925"/>
                    </a:lnTo>
                    <a:lnTo>
                      <a:pt x="1498283" y="922973"/>
                    </a:lnTo>
                    <a:lnTo>
                      <a:pt x="1506855" y="922973"/>
                    </a:lnTo>
                    <a:lnTo>
                      <a:pt x="1520190" y="922973"/>
                    </a:lnTo>
                    <a:lnTo>
                      <a:pt x="1533525" y="922973"/>
                    </a:lnTo>
                    <a:lnTo>
                      <a:pt x="1550670" y="922973"/>
                    </a:lnTo>
                    <a:lnTo>
                      <a:pt x="1547813" y="938213"/>
                    </a:lnTo>
                    <a:lnTo>
                      <a:pt x="1547813" y="955358"/>
                    </a:lnTo>
                    <a:cubicBezTo>
                      <a:pt x="1547813" y="955358"/>
                      <a:pt x="1543050" y="961073"/>
                      <a:pt x="1544955" y="964883"/>
                    </a:cubicBezTo>
                    <a:cubicBezTo>
                      <a:pt x="1546860" y="968693"/>
                      <a:pt x="1546860" y="968693"/>
                      <a:pt x="1546860" y="968693"/>
                    </a:cubicBezTo>
                    <a:cubicBezTo>
                      <a:pt x="1546860" y="968693"/>
                      <a:pt x="1544955" y="971550"/>
                      <a:pt x="1542098" y="975360"/>
                    </a:cubicBezTo>
                    <a:cubicBezTo>
                      <a:pt x="1540193" y="979170"/>
                      <a:pt x="1533525" y="979170"/>
                      <a:pt x="1528763" y="984885"/>
                    </a:cubicBezTo>
                    <a:cubicBezTo>
                      <a:pt x="1524000" y="990600"/>
                      <a:pt x="1508760" y="990600"/>
                      <a:pt x="1508760" y="994410"/>
                    </a:cubicBezTo>
                    <a:cubicBezTo>
                      <a:pt x="1508760" y="998220"/>
                      <a:pt x="1508760" y="998220"/>
                      <a:pt x="1508760" y="998220"/>
                    </a:cubicBezTo>
                    <a:cubicBezTo>
                      <a:pt x="1508760" y="998220"/>
                      <a:pt x="1495425" y="1003935"/>
                      <a:pt x="1495425" y="1007745"/>
                    </a:cubicBezTo>
                    <a:cubicBezTo>
                      <a:pt x="1495425" y="1011555"/>
                      <a:pt x="1482090" y="1016318"/>
                      <a:pt x="1482090" y="1016318"/>
                    </a:cubicBezTo>
                    <a:lnTo>
                      <a:pt x="1479233" y="1031557"/>
                    </a:lnTo>
                    <a:lnTo>
                      <a:pt x="1485900" y="1043940"/>
                    </a:lnTo>
                    <a:cubicBezTo>
                      <a:pt x="1485900" y="1049655"/>
                      <a:pt x="1483995" y="1049655"/>
                      <a:pt x="1483043" y="1055370"/>
                    </a:cubicBezTo>
                    <a:cubicBezTo>
                      <a:pt x="1483043" y="1061085"/>
                      <a:pt x="1483043" y="1061085"/>
                      <a:pt x="1483043" y="1061085"/>
                    </a:cubicBezTo>
                    <a:cubicBezTo>
                      <a:pt x="1483043" y="1061085"/>
                      <a:pt x="1480185" y="1070610"/>
                      <a:pt x="1483043" y="1075373"/>
                    </a:cubicBezTo>
                    <a:cubicBezTo>
                      <a:pt x="1484948" y="1079183"/>
                      <a:pt x="1474470" y="1075373"/>
                      <a:pt x="1484948" y="1079183"/>
                    </a:cubicBezTo>
                    <a:cubicBezTo>
                      <a:pt x="1495425" y="1083945"/>
                      <a:pt x="1495425" y="1083945"/>
                      <a:pt x="1495425" y="1083945"/>
                    </a:cubicBezTo>
                    <a:cubicBezTo>
                      <a:pt x="1495425" y="1083945"/>
                      <a:pt x="1506855" y="1085850"/>
                      <a:pt x="1508760" y="1091565"/>
                    </a:cubicBezTo>
                    <a:cubicBezTo>
                      <a:pt x="1510665" y="1097280"/>
                      <a:pt x="1508760" y="1095375"/>
                      <a:pt x="1515428" y="1103948"/>
                    </a:cubicBezTo>
                    <a:cubicBezTo>
                      <a:pt x="1522095" y="1112520"/>
                      <a:pt x="1515428" y="1110615"/>
                      <a:pt x="1524000" y="1118235"/>
                    </a:cubicBezTo>
                    <a:cubicBezTo>
                      <a:pt x="1532573" y="1125855"/>
                      <a:pt x="1547813" y="1141095"/>
                      <a:pt x="1547813" y="1141095"/>
                    </a:cubicBezTo>
                    <a:cubicBezTo>
                      <a:pt x="1547813" y="1141095"/>
                      <a:pt x="1552575" y="1143000"/>
                      <a:pt x="1554480" y="1146810"/>
                    </a:cubicBezTo>
                    <a:cubicBezTo>
                      <a:pt x="1556385" y="1150620"/>
                      <a:pt x="1541145" y="1139190"/>
                      <a:pt x="1556385" y="1150620"/>
                    </a:cubicBezTo>
                    <a:cubicBezTo>
                      <a:pt x="1571625" y="1162050"/>
                      <a:pt x="1569720" y="1155383"/>
                      <a:pt x="1571625" y="1162050"/>
                    </a:cubicBezTo>
                    <a:cubicBezTo>
                      <a:pt x="1573530" y="1168718"/>
                      <a:pt x="1582103" y="1169670"/>
                      <a:pt x="1586865" y="1173480"/>
                    </a:cubicBezTo>
                    <a:cubicBezTo>
                      <a:pt x="1591628" y="1178243"/>
                      <a:pt x="1600200" y="1181100"/>
                      <a:pt x="1600200" y="1181100"/>
                    </a:cubicBezTo>
                    <a:lnTo>
                      <a:pt x="1608773" y="1183958"/>
                    </a:lnTo>
                    <a:lnTo>
                      <a:pt x="1624013" y="1191578"/>
                    </a:lnTo>
                    <a:lnTo>
                      <a:pt x="1634490" y="1197293"/>
                    </a:lnTo>
                    <a:lnTo>
                      <a:pt x="1651635" y="1204913"/>
                    </a:lnTo>
                    <a:cubicBezTo>
                      <a:pt x="1651635" y="1204913"/>
                      <a:pt x="1651635" y="1204913"/>
                      <a:pt x="1655445" y="1210628"/>
                    </a:cubicBezTo>
                    <a:cubicBezTo>
                      <a:pt x="1659255" y="1216343"/>
                      <a:pt x="1660208" y="1210628"/>
                      <a:pt x="1659255" y="1216343"/>
                    </a:cubicBezTo>
                    <a:cubicBezTo>
                      <a:pt x="1659255" y="1217295"/>
                      <a:pt x="1659255" y="1218248"/>
                      <a:pt x="1659255" y="1218248"/>
                    </a:cubicBezTo>
                    <a:cubicBezTo>
                      <a:pt x="1659255" y="1218248"/>
                      <a:pt x="1659255" y="1218248"/>
                      <a:pt x="1659255" y="1218248"/>
                    </a:cubicBezTo>
                    <a:cubicBezTo>
                      <a:pt x="1659255" y="1218248"/>
                      <a:pt x="1659255" y="1219200"/>
                      <a:pt x="1659255" y="1221105"/>
                    </a:cubicBezTo>
                    <a:cubicBezTo>
                      <a:pt x="1659255" y="1227773"/>
                      <a:pt x="1663065" y="1259205"/>
                      <a:pt x="1663065" y="1259205"/>
                    </a:cubicBezTo>
                    <a:cubicBezTo>
                      <a:pt x="1663065" y="1259205"/>
                      <a:pt x="1663065" y="1262063"/>
                      <a:pt x="1664970" y="1273493"/>
                    </a:cubicBezTo>
                    <a:cubicBezTo>
                      <a:pt x="1666875" y="1284923"/>
                      <a:pt x="1664970" y="1293495"/>
                      <a:pt x="1664970" y="1293495"/>
                    </a:cubicBezTo>
                    <a:cubicBezTo>
                      <a:pt x="1664970" y="1293495"/>
                      <a:pt x="1663065" y="1291590"/>
                      <a:pt x="1664970" y="1299210"/>
                    </a:cubicBezTo>
                    <a:cubicBezTo>
                      <a:pt x="1666875" y="1305878"/>
                      <a:pt x="1662113" y="1308735"/>
                      <a:pt x="1664970" y="1313498"/>
                    </a:cubicBezTo>
                    <a:cubicBezTo>
                      <a:pt x="1666875" y="1317308"/>
                      <a:pt x="1671638" y="1309688"/>
                      <a:pt x="1666875" y="1317308"/>
                    </a:cubicBezTo>
                    <a:cubicBezTo>
                      <a:pt x="1662113" y="1325880"/>
                      <a:pt x="1660208" y="1328738"/>
                      <a:pt x="1657350" y="1332548"/>
                    </a:cubicBezTo>
                    <a:cubicBezTo>
                      <a:pt x="1655445" y="1336358"/>
                      <a:pt x="1655445" y="1336358"/>
                      <a:pt x="1655445" y="1336358"/>
                    </a:cubicBezTo>
                    <a:lnTo>
                      <a:pt x="1646873" y="1345883"/>
                    </a:lnTo>
                    <a:lnTo>
                      <a:pt x="1642110" y="1351598"/>
                    </a:lnTo>
                    <a:cubicBezTo>
                      <a:pt x="1639253" y="1360170"/>
                      <a:pt x="1639253" y="1360170"/>
                      <a:pt x="1639253" y="1360170"/>
                    </a:cubicBezTo>
                    <a:lnTo>
                      <a:pt x="1637348" y="1365885"/>
                    </a:lnTo>
                    <a:lnTo>
                      <a:pt x="1644015" y="1375410"/>
                    </a:lnTo>
                    <a:cubicBezTo>
                      <a:pt x="1644015" y="1375410"/>
                      <a:pt x="1644015" y="1379220"/>
                      <a:pt x="1644015" y="1383983"/>
                    </a:cubicBezTo>
                    <a:cubicBezTo>
                      <a:pt x="1644015" y="1387793"/>
                      <a:pt x="1644015" y="1387793"/>
                      <a:pt x="1644015" y="1387793"/>
                    </a:cubicBezTo>
                    <a:cubicBezTo>
                      <a:pt x="1644015" y="1387793"/>
                      <a:pt x="1637348" y="1387793"/>
                      <a:pt x="1635443" y="1391603"/>
                    </a:cubicBezTo>
                    <a:cubicBezTo>
                      <a:pt x="1633538" y="1395413"/>
                      <a:pt x="1637348" y="1388745"/>
                      <a:pt x="1633538" y="1395413"/>
                    </a:cubicBezTo>
                    <a:cubicBezTo>
                      <a:pt x="1628775" y="1402080"/>
                      <a:pt x="1628775" y="1402080"/>
                      <a:pt x="1628775" y="1402080"/>
                    </a:cubicBezTo>
                    <a:lnTo>
                      <a:pt x="1622108" y="1407795"/>
                    </a:lnTo>
                    <a:cubicBezTo>
                      <a:pt x="1622108" y="1407795"/>
                      <a:pt x="1612583" y="1423035"/>
                      <a:pt x="1612583" y="1427798"/>
                    </a:cubicBezTo>
                    <a:cubicBezTo>
                      <a:pt x="1612583" y="1431608"/>
                      <a:pt x="1614488" y="1448753"/>
                      <a:pt x="1614488" y="1448753"/>
                    </a:cubicBezTo>
                    <a:cubicBezTo>
                      <a:pt x="1614488" y="1448753"/>
                      <a:pt x="1616393" y="1463040"/>
                      <a:pt x="1616393" y="1468755"/>
                    </a:cubicBezTo>
                    <a:cubicBezTo>
                      <a:pt x="1616393" y="1474470"/>
                      <a:pt x="1613535" y="1480185"/>
                      <a:pt x="1613535" y="1480185"/>
                    </a:cubicBezTo>
                    <a:lnTo>
                      <a:pt x="1602105" y="1486853"/>
                    </a:lnTo>
                    <a:lnTo>
                      <a:pt x="1593533" y="1490663"/>
                    </a:lnTo>
                    <a:lnTo>
                      <a:pt x="1588770" y="1497330"/>
                    </a:lnTo>
                    <a:lnTo>
                      <a:pt x="1597343" y="1503045"/>
                    </a:lnTo>
                    <a:lnTo>
                      <a:pt x="1599248" y="1523048"/>
                    </a:lnTo>
                    <a:lnTo>
                      <a:pt x="1601153" y="1529715"/>
                    </a:lnTo>
                    <a:lnTo>
                      <a:pt x="1601153" y="1535430"/>
                    </a:lnTo>
                    <a:cubicBezTo>
                      <a:pt x="1594485" y="1541145"/>
                      <a:pt x="1585913" y="1542098"/>
                      <a:pt x="1585913" y="1542098"/>
                    </a:cubicBezTo>
                    <a:cubicBezTo>
                      <a:pt x="1585913" y="1547813"/>
                      <a:pt x="1574483" y="1564958"/>
                      <a:pt x="1574483" y="1564958"/>
                    </a:cubicBezTo>
                    <a:cubicBezTo>
                      <a:pt x="1574483" y="1564958"/>
                      <a:pt x="1574483" y="1568768"/>
                      <a:pt x="1578293" y="1573530"/>
                    </a:cubicBezTo>
                    <a:cubicBezTo>
                      <a:pt x="1583055" y="1577340"/>
                      <a:pt x="1584960" y="1579245"/>
                      <a:pt x="1584960" y="1583055"/>
                    </a:cubicBezTo>
                    <a:cubicBezTo>
                      <a:pt x="1584960" y="1586865"/>
                      <a:pt x="1583055" y="1580198"/>
                      <a:pt x="1584960" y="1586865"/>
                    </a:cubicBezTo>
                    <a:cubicBezTo>
                      <a:pt x="1586865" y="1593533"/>
                      <a:pt x="1586865" y="1593533"/>
                      <a:pt x="1586865" y="1593533"/>
                    </a:cubicBezTo>
                    <a:cubicBezTo>
                      <a:pt x="1586865" y="1593533"/>
                      <a:pt x="1582103" y="1597343"/>
                      <a:pt x="1586865" y="1602105"/>
                    </a:cubicBezTo>
                    <a:cubicBezTo>
                      <a:pt x="1590675" y="1605915"/>
                      <a:pt x="1586865" y="1610678"/>
                      <a:pt x="1586865" y="1614488"/>
                    </a:cubicBezTo>
                    <a:cubicBezTo>
                      <a:pt x="1586865" y="1618298"/>
                      <a:pt x="1576388" y="1609725"/>
                      <a:pt x="1586865" y="1618298"/>
                    </a:cubicBezTo>
                    <a:cubicBezTo>
                      <a:pt x="1597343" y="1626870"/>
                      <a:pt x="1600200" y="1632585"/>
                      <a:pt x="1600200" y="1632585"/>
                    </a:cubicBezTo>
                    <a:cubicBezTo>
                      <a:pt x="1600200" y="1632585"/>
                      <a:pt x="1604010" y="1638300"/>
                      <a:pt x="1610678" y="1642110"/>
                    </a:cubicBezTo>
                    <a:cubicBezTo>
                      <a:pt x="1617345" y="1646873"/>
                      <a:pt x="1607820" y="1656398"/>
                      <a:pt x="1607820" y="1656398"/>
                    </a:cubicBezTo>
                    <a:lnTo>
                      <a:pt x="1611630" y="1662113"/>
                    </a:lnTo>
                    <a:cubicBezTo>
                      <a:pt x="1611630" y="1662113"/>
                      <a:pt x="1604963" y="1663065"/>
                      <a:pt x="1615440" y="1668780"/>
                    </a:cubicBezTo>
                    <a:cubicBezTo>
                      <a:pt x="1625918" y="1674495"/>
                      <a:pt x="1637348" y="1679258"/>
                      <a:pt x="1637348" y="1679258"/>
                    </a:cubicBezTo>
                    <a:lnTo>
                      <a:pt x="1652588" y="1682115"/>
                    </a:lnTo>
                    <a:cubicBezTo>
                      <a:pt x="1652588" y="1682115"/>
                      <a:pt x="1645920" y="1678305"/>
                      <a:pt x="1661160" y="1682115"/>
                    </a:cubicBezTo>
                    <a:cubicBezTo>
                      <a:pt x="1676400" y="1686878"/>
                      <a:pt x="1678305" y="1684020"/>
                      <a:pt x="1689735" y="1684973"/>
                    </a:cubicBezTo>
                    <a:cubicBezTo>
                      <a:pt x="1701165" y="1686878"/>
                      <a:pt x="1704975" y="1687830"/>
                      <a:pt x="1711643" y="1684973"/>
                    </a:cubicBezTo>
                    <a:cubicBezTo>
                      <a:pt x="1718310" y="1682115"/>
                      <a:pt x="1718310" y="1682115"/>
                      <a:pt x="1718310" y="1682115"/>
                    </a:cubicBezTo>
                    <a:lnTo>
                      <a:pt x="1726883" y="1676400"/>
                    </a:lnTo>
                    <a:lnTo>
                      <a:pt x="1728788" y="1670685"/>
                    </a:lnTo>
                    <a:lnTo>
                      <a:pt x="1713548" y="1667828"/>
                    </a:lnTo>
                    <a:lnTo>
                      <a:pt x="1700213" y="1662113"/>
                    </a:lnTo>
                    <a:lnTo>
                      <a:pt x="1683068" y="1644968"/>
                    </a:lnTo>
                    <a:lnTo>
                      <a:pt x="1681163" y="1633538"/>
                    </a:lnTo>
                    <a:lnTo>
                      <a:pt x="1684020" y="1619250"/>
                    </a:lnTo>
                    <a:lnTo>
                      <a:pt x="1690688" y="1609725"/>
                    </a:lnTo>
                    <a:lnTo>
                      <a:pt x="1702118" y="1597343"/>
                    </a:lnTo>
                    <a:lnTo>
                      <a:pt x="1710690" y="1591628"/>
                    </a:lnTo>
                    <a:lnTo>
                      <a:pt x="1725930" y="1585913"/>
                    </a:lnTo>
                    <a:lnTo>
                      <a:pt x="1734503" y="1579245"/>
                    </a:lnTo>
                    <a:lnTo>
                      <a:pt x="1734503" y="1573530"/>
                    </a:lnTo>
                    <a:lnTo>
                      <a:pt x="1734503" y="1567815"/>
                    </a:lnTo>
                    <a:lnTo>
                      <a:pt x="1727835" y="1562100"/>
                    </a:lnTo>
                    <a:lnTo>
                      <a:pt x="1725930" y="1552575"/>
                    </a:lnTo>
                    <a:lnTo>
                      <a:pt x="1725930" y="1545908"/>
                    </a:lnTo>
                    <a:lnTo>
                      <a:pt x="1727835" y="1540193"/>
                    </a:lnTo>
                    <a:lnTo>
                      <a:pt x="1745933" y="1528763"/>
                    </a:lnTo>
                    <a:lnTo>
                      <a:pt x="1752600" y="1523048"/>
                    </a:lnTo>
                    <a:lnTo>
                      <a:pt x="1757363" y="1511618"/>
                    </a:lnTo>
                    <a:lnTo>
                      <a:pt x="1759268" y="1504950"/>
                    </a:lnTo>
                    <a:lnTo>
                      <a:pt x="1764030" y="1499235"/>
                    </a:lnTo>
                    <a:lnTo>
                      <a:pt x="1768793" y="1490663"/>
                    </a:lnTo>
                    <a:lnTo>
                      <a:pt x="1770698" y="1484948"/>
                    </a:lnTo>
                    <a:lnTo>
                      <a:pt x="1779270" y="1482090"/>
                    </a:lnTo>
                    <a:lnTo>
                      <a:pt x="1787843" y="1479233"/>
                    </a:lnTo>
                    <a:cubicBezTo>
                      <a:pt x="1787843" y="1479233"/>
                      <a:pt x="1789748" y="1475423"/>
                      <a:pt x="1796415" y="1470660"/>
                    </a:cubicBezTo>
                    <a:cubicBezTo>
                      <a:pt x="1803083" y="1466850"/>
                      <a:pt x="1803083" y="1466850"/>
                      <a:pt x="1803083" y="1466850"/>
                    </a:cubicBezTo>
                    <a:lnTo>
                      <a:pt x="1807845" y="1460183"/>
                    </a:lnTo>
                    <a:lnTo>
                      <a:pt x="1823085" y="1460183"/>
                    </a:lnTo>
                    <a:cubicBezTo>
                      <a:pt x="1823085" y="1460183"/>
                      <a:pt x="1834515" y="1460183"/>
                      <a:pt x="1841183" y="1459230"/>
                    </a:cubicBezTo>
                    <a:cubicBezTo>
                      <a:pt x="1847850" y="1458278"/>
                      <a:pt x="1834515" y="1463040"/>
                      <a:pt x="1847850" y="1458278"/>
                    </a:cubicBezTo>
                    <a:cubicBezTo>
                      <a:pt x="1861185" y="1452563"/>
                      <a:pt x="1861185" y="1452563"/>
                      <a:pt x="1861185" y="1452563"/>
                    </a:cubicBezTo>
                    <a:lnTo>
                      <a:pt x="1883093" y="1445895"/>
                    </a:lnTo>
                    <a:lnTo>
                      <a:pt x="1892618" y="1434465"/>
                    </a:lnTo>
                    <a:lnTo>
                      <a:pt x="1892618" y="1422083"/>
                    </a:lnTo>
                    <a:lnTo>
                      <a:pt x="1901190" y="1413510"/>
                    </a:lnTo>
                    <a:lnTo>
                      <a:pt x="1905953" y="1407795"/>
                    </a:lnTo>
                    <a:lnTo>
                      <a:pt x="1919288" y="1406843"/>
                    </a:lnTo>
                    <a:lnTo>
                      <a:pt x="1927860" y="1408748"/>
                    </a:lnTo>
                    <a:lnTo>
                      <a:pt x="1943100" y="1403033"/>
                    </a:lnTo>
                    <a:lnTo>
                      <a:pt x="1951673" y="1397318"/>
                    </a:lnTo>
                    <a:lnTo>
                      <a:pt x="1965008" y="1387793"/>
                    </a:lnTo>
                    <a:lnTo>
                      <a:pt x="1980248" y="1376363"/>
                    </a:lnTo>
                    <a:lnTo>
                      <a:pt x="1980248" y="1370648"/>
                    </a:lnTo>
                    <a:cubicBezTo>
                      <a:pt x="1980248" y="1370648"/>
                      <a:pt x="1985010" y="1361123"/>
                      <a:pt x="1991678" y="1358265"/>
                    </a:cubicBezTo>
                    <a:cubicBezTo>
                      <a:pt x="1998345" y="1355408"/>
                      <a:pt x="1993583" y="1351598"/>
                      <a:pt x="2003108" y="1349693"/>
                    </a:cubicBezTo>
                    <a:cubicBezTo>
                      <a:pt x="2011680" y="1348740"/>
                      <a:pt x="2021205" y="1343978"/>
                      <a:pt x="2021205" y="1343978"/>
                    </a:cubicBezTo>
                    <a:lnTo>
                      <a:pt x="2032635" y="1334453"/>
                    </a:lnTo>
                    <a:lnTo>
                      <a:pt x="2034540" y="1327785"/>
                    </a:lnTo>
                    <a:lnTo>
                      <a:pt x="2034540" y="1319213"/>
                    </a:lnTo>
                    <a:lnTo>
                      <a:pt x="2045970" y="1306830"/>
                    </a:lnTo>
                    <a:lnTo>
                      <a:pt x="2047875" y="1301115"/>
                    </a:lnTo>
                    <a:cubicBezTo>
                      <a:pt x="2047875" y="1301115"/>
                      <a:pt x="2047875" y="1295400"/>
                      <a:pt x="2054543" y="1294448"/>
                    </a:cubicBezTo>
                    <a:cubicBezTo>
                      <a:pt x="2061210" y="1293495"/>
                      <a:pt x="2061210" y="1293495"/>
                      <a:pt x="2061210" y="1293495"/>
                    </a:cubicBezTo>
                    <a:cubicBezTo>
                      <a:pt x="2061210" y="1293495"/>
                      <a:pt x="2063115" y="1286828"/>
                      <a:pt x="2069783" y="1284923"/>
                    </a:cubicBezTo>
                    <a:cubicBezTo>
                      <a:pt x="2076450" y="1283970"/>
                      <a:pt x="2063115" y="1287780"/>
                      <a:pt x="2076450" y="1283970"/>
                    </a:cubicBezTo>
                    <a:cubicBezTo>
                      <a:pt x="2089785" y="1280160"/>
                      <a:pt x="2083118" y="1275398"/>
                      <a:pt x="2096453" y="1274445"/>
                    </a:cubicBezTo>
                    <a:cubicBezTo>
                      <a:pt x="2109788" y="1273493"/>
                      <a:pt x="2121218" y="1270635"/>
                      <a:pt x="2121218" y="1270635"/>
                    </a:cubicBezTo>
                    <a:lnTo>
                      <a:pt x="2132648" y="1266825"/>
                    </a:lnTo>
                    <a:cubicBezTo>
                      <a:pt x="2132648" y="1266825"/>
                      <a:pt x="2144078" y="1263015"/>
                      <a:pt x="2152650" y="1261110"/>
                    </a:cubicBezTo>
                    <a:cubicBezTo>
                      <a:pt x="2161223" y="1260158"/>
                      <a:pt x="2174558" y="1252538"/>
                      <a:pt x="2174558" y="1252538"/>
                    </a:cubicBezTo>
                    <a:lnTo>
                      <a:pt x="2181225" y="1245870"/>
                    </a:lnTo>
                    <a:lnTo>
                      <a:pt x="2187893" y="1236345"/>
                    </a:lnTo>
                    <a:lnTo>
                      <a:pt x="2201228" y="1224915"/>
                    </a:lnTo>
                    <a:lnTo>
                      <a:pt x="2204085" y="1203960"/>
                    </a:lnTo>
                    <a:lnTo>
                      <a:pt x="2206943" y="1194435"/>
                    </a:lnTo>
                    <a:lnTo>
                      <a:pt x="2216468" y="1182053"/>
                    </a:lnTo>
                    <a:lnTo>
                      <a:pt x="2216468" y="1172528"/>
                    </a:lnTo>
                    <a:lnTo>
                      <a:pt x="2214563" y="1165860"/>
                    </a:lnTo>
                    <a:lnTo>
                      <a:pt x="2214563" y="1160145"/>
                    </a:lnTo>
                    <a:cubicBezTo>
                      <a:pt x="2214563" y="1160145"/>
                      <a:pt x="2221230" y="1156335"/>
                      <a:pt x="2225993" y="1151573"/>
                    </a:cubicBezTo>
                    <a:cubicBezTo>
                      <a:pt x="2230755" y="1147763"/>
                      <a:pt x="2237423" y="1127760"/>
                      <a:pt x="2237423" y="1127760"/>
                    </a:cubicBezTo>
                    <a:lnTo>
                      <a:pt x="2235518" y="1113473"/>
                    </a:lnTo>
                    <a:lnTo>
                      <a:pt x="2242185" y="1098233"/>
                    </a:lnTo>
                    <a:close/>
                    <a:moveTo>
                      <a:pt x="1526858" y="497205"/>
                    </a:moveTo>
                    <a:lnTo>
                      <a:pt x="1528763" y="494348"/>
                    </a:lnTo>
                    <a:lnTo>
                      <a:pt x="1531620" y="491490"/>
                    </a:lnTo>
                    <a:lnTo>
                      <a:pt x="1540193" y="491490"/>
                    </a:lnTo>
                    <a:lnTo>
                      <a:pt x="1545908" y="490537"/>
                    </a:lnTo>
                    <a:lnTo>
                      <a:pt x="1553528" y="490537"/>
                    </a:lnTo>
                    <a:lnTo>
                      <a:pt x="1561148" y="490537"/>
                    </a:lnTo>
                    <a:lnTo>
                      <a:pt x="1576388" y="489585"/>
                    </a:lnTo>
                    <a:lnTo>
                      <a:pt x="1578293" y="493395"/>
                    </a:lnTo>
                    <a:lnTo>
                      <a:pt x="1578293" y="494348"/>
                    </a:lnTo>
                    <a:lnTo>
                      <a:pt x="1576388" y="497205"/>
                    </a:lnTo>
                    <a:cubicBezTo>
                      <a:pt x="1576388" y="497205"/>
                      <a:pt x="1573530" y="498158"/>
                      <a:pt x="1571625" y="498158"/>
                    </a:cubicBezTo>
                    <a:cubicBezTo>
                      <a:pt x="1569720" y="498158"/>
                      <a:pt x="1565910" y="499110"/>
                      <a:pt x="1564005" y="499110"/>
                    </a:cubicBezTo>
                    <a:cubicBezTo>
                      <a:pt x="1562100" y="499110"/>
                      <a:pt x="1558290" y="500062"/>
                      <a:pt x="1557338" y="500062"/>
                    </a:cubicBezTo>
                    <a:cubicBezTo>
                      <a:pt x="1555433" y="500062"/>
                      <a:pt x="1550670" y="501015"/>
                      <a:pt x="1550670" y="501015"/>
                    </a:cubicBezTo>
                    <a:cubicBezTo>
                      <a:pt x="1550670" y="501015"/>
                      <a:pt x="1541145" y="501968"/>
                      <a:pt x="1539240" y="501968"/>
                    </a:cubicBezTo>
                    <a:cubicBezTo>
                      <a:pt x="1537335" y="501968"/>
                      <a:pt x="1534478" y="502920"/>
                      <a:pt x="1534478" y="502920"/>
                    </a:cubicBezTo>
                    <a:lnTo>
                      <a:pt x="1528763" y="503873"/>
                    </a:lnTo>
                    <a:cubicBezTo>
                      <a:pt x="1528763" y="503873"/>
                      <a:pt x="1524000" y="507683"/>
                      <a:pt x="1521143" y="508635"/>
                    </a:cubicBezTo>
                    <a:cubicBezTo>
                      <a:pt x="1519238" y="508635"/>
                      <a:pt x="1515428" y="513398"/>
                      <a:pt x="1510665" y="514350"/>
                    </a:cubicBezTo>
                    <a:cubicBezTo>
                      <a:pt x="1505903" y="515302"/>
                      <a:pt x="1510665" y="514350"/>
                      <a:pt x="1501140" y="515302"/>
                    </a:cubicBezTo>
                    <a:cubicBezTo>
                      <a:pt x="1495425" y="516255"/>
                      <a:pt x="1495425" y="516255"/>
                      <a:pt x="1495425" y="516255"/>
                    </a:cubicBezTo>
                    <a:cubicBezTo>
                      <a:pt x="1495425" y="516255"/>
                      <a:pt x="1495425" y="516255"/>
                      <a:pt x="1495425" y="516255"/>
                    </a:cubicBezTo>
                    <a:cubicBezTo>
                      <a:pt x="1496378" y="516255"/>
                      <a:pt x="1495425" y="516255"/>
                      <a:pt x="1495425" y="516255"/>
                    </a:cubicBezTo>
                    <a:cubicBezTo>
                      <a:pt x="1493520" y="516255"/>
                      <a:pt x="1483995" y="518160"/>
                      <a:pt x="1483995" y="518160"/>
                    </a:cubicBezTo>
                    <a:lnTo>
                      <a:pt x="1474470" y="516255"/>
                    </a:lnTo>
                    <a:lnTo>
                      <a:pt x="1467803" y="514350"/>
                    </a:lnTo>
                    <a:cubicBezTo>
                      <a:pt x="1467803" y="514350"/>
                      <a:pt x="1466850" y="511493"/>
                      <a:pt x="1467803" y="510540"/>
                    </a:cubicBezTo>
                    <a:cubicBezTo>
                      <a:pt x="1468755" y="509587"/>
                      <a:pt x="1470660" y="504825"/>
                      <a:pt x="1471613" y="503873"/>
                    </a:cubicBezTo>
                    <a:cubicBezTo>
                      <a:pt x="1472565" y="502920"/>
                      <a:pt x="1477328" y="502920"/>
                      <a:pt x="1477328" y="502920"/>
                    </a:cubicBezTo>
                    <a:lnTo>
                      <a:pt x="1488758" y="502920"/>
                    </a:lnTo>
                    <a:lnTo>
                      <a:pt x="1491615" y="502920"/>
                    </a:lnTo>
                    <a:lnTo>
                      <a:pt x="1502093" y="502920"/>
                    </a:lnTo>
                    <a:cubicBezTo>
                      <a:pt x="1502093" y="502920"/>
                      <a:pt x="1507808" y="501968"/>
                      <a:pt x="1509713" y="501968"/>
                    </a:cubicBezTo>
                    <a:cubicBezTo>
                      <a:pt x="1511618" y="501968"/>
                      <a:pt x="1516380" y="501968"/>
                      <a:pt x="1518285" y="501015"/>
                    </a:cubicBezTo>
                    <a:cubicBezTo>
                      <a:pt x="1520190" y="500062"/>
                      <a:pt x="1524000" y="498158"/>
                      <a:pt x="1524000" y="498158"/>
                    </a:cubicBezTo>
                    <a:lnTo>
                      <a:pt x="1526858" y="497205"/>
                    </a:lnTo>
                    <a:close/>
                    <a:moveTo>
                      <a:pt x="1446848" y="462915"/>
                    </a:moveTo>
                    <a:cubicBezTo>
                      <a:pt x="1448753" y="462915"/>
                      <a:pt x="1453515" y="462915"/>
                      <a:pt x="1453515" y="462915"/>
                    </a:cubicBezTo>
                    <a:cubicBezTo>
                      <a:pt x="1453515" y="462915"/>
                      <a:pt x="1462088" y="462915"/>
                      <a:pt x="1463993" y="462915"/>
                    </a:cubicBezTo>
                    <a:cubicBezTo>
                      <a:pt x="1465898" y="462915"/>
                      <a:pt x="1468755" y="461962"/>
                      <a:pt x="1468755" y="461962"/>
                    </a:cubicBezTo>
                    <a:lnTo>
                      <a:pt x="1479233" y="461010"/>
                    </a:lnTo>
                    <a:cubicBezTo>
                      <a:pt x="1479233" y="461010"/>
                      <a:pt x="1488758" y="460058"/>
                      <a:pt x="1490663" y="460058"/>
                    </a:cubicBezTo>
                    <a:cubicBezTo>
                      <a:pt x="1492568" y="460058"/>
                      <a:pt x="1502093" y="461010"/>
                      <a:pt x="1502093" y="461010"/>
                    </a:cubicBezTo>
                    <a:lnTo>
                      <a:pt x="1513523" y="461010"/>
                    </a:lnTo>
                    <a:lnTo>
                      <a:pt x="1515428" y="466725"/>
                    </a:lnTo>
                    <a:cubicBezTo>
                      <a:pt x="1515428" y="466725"/>
                      <a:pt x="1515428" y="466725"/>
                      <a:pt x="1518285" y="466725"/>
                    </a:cubicBezTo>
                    <a:lnTo>
                      <a:pt x="1521143" y="467677"/>
                    </a:lnTo>
                    <a:lnTo>
                      <a:pt x="1520190" y="469583"/>
                    </a:lnTo>
                    <a:cubicBezTo>
                      <a:pt x="1520190" y="469583"/>
                      <a:pt x="1518285" y="471487"/>
                      <a:pt x="1515428" y="472440"/>
                    </a:cubicBezTo>
                    <a:cubicBezTo>
                      <a:pt x="1513523" y="472440"/>
                      <a:pt x="1511618" y="473393"/>
                      <a:pt x="1511618" y="473393"/>
                    </a:cubicBezTo>
                    <a:lnTo>
                      <a:pt x="1504950" y="473393"/>
                    </a:lnTo>
                    <a:cubicBezTo>
                      <a:pt x="1504950" y="473393"/>
                      <a:pt x="1502093" y="473393"/>
                      <a:pt x="1498283" y="473393"/>
                    </a:cubicBezTo>
                    <a:cubicBezTo>
                      <a:pt x="1494473" y="473393"/>
                      <a:pt x="1495425" y="474345"/>
                      <a:pt x="1495425" y="474345"/>
                    </a:cubicBezTo>
                    <a:lnTo>
                      <a:pt x="1493520" y="478155"/>
                    </a:lnTo>
                    <a:lnTo>
                      <a:pt x="1492568" y="485775"/>
                    </a:lnTo>
                    <a:cubicBezTo>
                      <a:pt x="1492568" y="485775"/>
                      <a:pt x="1486853" y="488633"/>
                      <a:pt x="1483043" y="488633"/>
                    </a:cubicBezTo>
                    <a:cubicBezTo>
                      <a:pt x="1479233" y="488633"/>
                      <a:pt x="1480185" y="488633"/>
                      <a:pt x="1477328" y="488633"/>
                    </a:cubicBezTo>
                    <a:cubicBezTo>
                      <a:pt x="1474470" y="488633"/>
                      <a:pt x="1474470" y="487680"/>
                      <a:pt x="1471613" y="484823"/>
                    </a:cubicBezTo>
                    <a:cubicBezTo>
                      <a:pt x="1468755" y="481965"/>
                      <a:pt x="1466850" y="483870"/>
                      <a:pt x="1464945" y="482918"/>
                    </a:cubicBezTo>
                    <a:cubicBezTo>
                      <a:pt x="1463040" y="481965"/>
                      <a:pt x="1462088" y="481012"/>
                      <a:pt x="1460183" y="478155"/>
                    </a:cubicBezTo>
                    <a:cubicBezTo>
                      <a:pt x="1458278" y="475298"/>
                      <a:pt x="1460183" y="478155"/>
                      <a:pt x="1460183" y="476250"/>
                    </a:cubicBezTo>
                    <a:cubicBezTo>
                      <a:pt x="1459230" y="474345"/>
                      <a:pt x="1458278" y="474345"/>
                      <a:pt x="1457325" y="473393"/>
                    </a:cubicBezTo>
                    <a:cubicBezTo>
                      <a:pt x="1455420" y="471487"/>
                      <a:pt x="1455420" y="471487"/>
                      <a:pt x="1450658" y="469583"/>
                    </a:cubicBezTo>
                    <a:cubicBezTo>
                      <a:pt x="1445895" y="467677"/>
                      <a:pt x="1444943" y="469583"/>
                      <a:pt x="1444943" y="469583"/>
                    </a:cubicBezTo>
                    <a:cubicBezTo>
                      <a:pt x="1444943" y="469583"/>
                      <a:pt x="1439228" y="469583"/>
                      <a:pt x="1436370" y="469583"/>
                    </a:cubicBezTo>
                    <a:cubicBezTo>
                      <a:pt x="1434465" y="469583"/>
                      <a:pt x="1431608" y="469583"/>
                      <a:pt x="1431608" y="469583"/>
                    </a:cubicBezTo>
                    <a:cubicBezTo>
                      <a:pt x="1431608" y="469583"/>
                      <a:pt x="1429703" y="470535"/>
                      <a:pt x="1425893" y="472440"/>
                    </a:cubicBezTo>
                    <a:cubicBezTo>
                      <a:pt x="1422083" y="473393"/>
                      <a:pt x="1421130" y="474345"/>
                      <a:pt x="1421130" y="474345"/>
                    </a:cubicBezTo>
                    <a:cubicBezTo>
                      <a:pt x="1421130" y="474345"/>
                      <a:pt x="1417320" y="477202"/>
                      <a:pt x="1416368" y="478155"/>
                    </a:cubicBezTo>
                    <a:cubicBezTo>
                      <a:pt x="1414463" y="479108"/>
                      <a:pt x="1415415" y="480060"/>
                      <a:pt x="1415415" y="480060"/>
                    </a:cubicBezTo>
                    <a:lnTo>
                      <a:pt x="1414463" y="484823"/>
                    </a:lnTo>
                    <a:cubicBezTo>
                      <a:pt x="1414463" y="484823"/>
                      <a:pt x="1412558" y="486727"/>
                      <a:pt x="1410653" y="486727"/>
                    </a:cubicBezTo>
                    <a:cubicBezTo>
                      <a:pt x="1408748" y="486727"/>
                      <a:pt x="1409700" y="492443"/>
                      <a:pt x="1409700" y="492443"/>
                    </a:cubicBezTo>
                    <a:cubicBezTo>
                      <a:pt x="1409700" y="492443"/>
                      <a:pt x="1407795" y="498158"/>
                      <a:pt x="1407795" y="499110"/>
                    </a:cubicBezTo>
                    <a:cubicBezTo>
                      <a:pt x="1406843" y="500062"/>
                      <a:pt x="1407795" y="501968"/>
                      <a:pt x="1406843" y="502920"/>
                    </a:cubicBezTo>
                    <a:cubicBezTo>
                      <a:pt x="1405890" y="503873"/>
                      <a:pt x="1405890" y="504825"/>
                      <a:pt x="1405890" y="504825"/>
                    </a:cubicBezTo>
                    <a:cubicBezTo>
                      <a:pt x="1405890" y="504825"/>
                      <a:pt x="1403033" y="504825"/>
                      <a:pt x="1400175" y="504825"/>
                    </a:cubicBezTo>
                    <a:cubicBezTo>
                      <a:pt x="1397318" y="504825"/>
                      <a:pt x="1396365" y="504825"/>
                      <a:pt x="1396365" y="504825"/>
                    </a:cubicBezTo>
                    <a:cubicBezTo>
                      <a:pt x="1396365" y="504825"/>
                      <a:pt x="1393508" y="503873"/>
                      <a:pt x="1391603" y="502920"/>
                    </a:cubicBezTo>
                    <a:cubicBezTo>
                      <a:pt x="1389698" y="502920"/>
                      <a:pt x="1389698" y="501015"/>
                      <a:pt x="1388745" y="500062"/>
                    </a:cubicBezTo>
                    <a:cubicBezTo>
                      <a:pt x="1387793" y="498158"/>
                      <a:pt x="1389698" y="495300"/>
                      <a:pt x="1389698" y="493395"/>
                    </a:cubicBezTo>
                    <a:cubicBezTo>
                      <a:pt x="1389698" y="491490"/>
                      <a:pt x="1387793" y="487680"/>
                      <a:pt x="1387793" y="486727"/>
                    </a:cubicBezTo>
                    <a:cubicBezTo>
                      <a:pt x="1387793" y="485775"/>
                      <a:pt x="1387793" y="483870"/>
                      <a:pt x="1387793" y="483870"/>
                    </a:cubicBezTo>
                    <a:cubicBezTo>
                      <a:pt x="1387793" y="483870"/>
                      <a:pt x="1388745" y="478155"/>
                      <a:pt x="1387793" y="477202"/>
                    </a:cubicBezTo>
                    <a:cubicBezTo>
                      <a:pt x="1386840" y="476250"/>
                      <a:pt x="1390650" y="475298"/>
                      <a:pt x="1391603" y="473393"/>
                    </a:cubicBezTo>
                    <a:cubicBezTo>
                      <a:pt x="1392555" y="471487"/>
                      <a:pt x="1393508" y="470535"/>
                      <a:pt x="1395413" y="469583"/>
                    </a:cubicBezTo>
                    <a:cubicBezTo>
                      <a:pt x="1395413" y="469583"/>
                      <a:pt x="1402080" y="468630"/>
                      <a:pt x="1403985" y="467677"/>
                    </a:cubicBezTo>
                    <a:cubicBezTo>
                      <a:pt x="1405890" y="466725"/>
                      <a:pt x="1409700" y="465773"/>
                      <a:pt x="1413510" y="464820"/>
                    </a:cubicBezTo>
                    <a:cubicBezTo>
                      <a:pt x="1417320" y="463868"/>
                      <a:pt x="1413510" y="464820"/>
                      <a:pt x="1414463" y="462915"/>
                    </a:cubicBezTo>
                    <a:cubicBezTo>
                      <a:pt x="1415415" y="461010"/>
                      <a:pt x="1422083" y="460058"/>
                      <a:pt x="1422083" y="460058"/>
                    </a:cubicBezTo>
                    <a:cubicBezTo>
                      <a:pt x="1422083" y="460058"/>
                      <a:pt x="1422083" y="460058"/>
                      <a:pt x="1423988" y="460058"/>
                    </a:cubicBezTo>
                    <a:cubicBezTo>
                      <a:pt x="1425893" y="460058"/>
                      <a:pt x="1429703" y="460058"/>
                      <a:pt x="1429703" y="460058"/>
                    </a:cubicBezTo>
                    <a:lnTo>
                      <a:pt x="1434465" y="460058"/>
                    </a:lnTo>
                    <a:cubicBezTo>
                      <a:pt x="1434465" y="461010"/>
                      <a:pt x="1444943" y="462915"/>
                      <a:pt x="1446848" y="462915"/>
                    </a:cubicBezTo>
                    <a:close/>
                    <a:moveTo>
                      <a:pt x="1322070" y="445770"/>
                    </a:moveTo>
                    <a:cubicBezTo>
                      <a:pt x="1323975" y="445770"/>
                      <a:pt x="1322070" y="444818"/>
                      <a:pt x="1324928" y="443865"/>
                    </a:cubicBezTo>
                    <a:cubicBezTo>
                      <a:pt x="1327785" y="442912"/>
                      <a:pt x="1327785" y="441960"/>
                      <a:pt x="1329690" y="441960"/>
                    </a:cubicBezTo>
                    <a:cubicBezTo>
                      <a:pt x="1331595" y="441960"/>
                      <a:pt x="1333500" y="439102"/>
                      <a:pt x="1333500" y="439102"/>
                    </a:cubicBezTo>
                    <a:lnTo>
                      <a:pt x="1334453" y="437198"/>
                    </a:lnTo>
                    <a:cubicBezTo>
                      <a:pt x="1338263" y="436245"/>
                      <a:pt x="1331595" y="437198"/>
                      <a:pt x="1338263" y="436245"/>
                    </a:cubicBezTo>
                    <a:cubicBezTo>
                      <a:pt x="1343978" y="434340"/>
                      <a:pt x="1346835" y="432435"/>
                      <a:pt x="1348740" y="432435"/>
                    </a:cubicBezTo>
                    <a:cubicBezTo>
                      <a:pt x="1350645" y="432435"/>
                      <a:pt x="1350645" y="430530"/>
                      <a:pt x="1353503" y="429577"/>
                    </a:cubicBezTo>
                    <a:cubicBezTo>
                      <a:pt x="1355408" y="428625"/>
                      <a:pt x="1355408" y="428625"/>
                      <a:pt x="1355408" y="428625"/>
                    </a:cubicBezTo>
                    <a:cubicBezTo>
                      <a:pt x="1355408" y="428625"/>
                      <a:pt x="1355408" y="428625"/>
                      <a:pt x="1357313" y="428625"/>
                    </a:cubicBezTo>
                    <a:cubicBezTo>
                      <a:pt x="1359218" y="428625"/>
                      <a:pt x="1363980" y="428625"/>
                      <a:pt x="1363980" y="428625"/>
                    </a:cubicBezTo>
                    <a:cubicBezTo>
                      <a:pt x="1363980" y="428625"/>
                      <a:pt x="1361123" y="428625"/>
                      <a:pt x="1366838" y="428625"/>
                    </a:cubicBezTo>
                    <a:cubicBezTo>
                      <a:pt x="1372553" y="428625"/>
                      <a:pt x="1374458" y="427673"/>
                      <a:pt x="1376363" y="427673"/>
                    </a:cubicBezTo>
                    <a:cubicBezTo>
                      <a:pt x="1378268" y="427673"/>
                      <a:pt x="1381125" y="425768"/>
                      <a:pt x="1381125" y="425768"/>
                    </a:cubicBezTo>
                    <a:lnTo>
                      <a:pt x="1384935" y="424815"/>
                    </a:lnTo>
                    <a:lnTo>
                      <a:pt x="1387793" y="423862"/>
                    </a:lnTo>
                    <a:lnTo>
                      <a:pt x="1392555" y="424815"/>
                    </a:lnTo>
                    <a:cubicBezTo>
                      <a:pt x="1392555" y="424815"/>
                      <a:pt x="1395413" y="424815"/>
                      <a:pt x="1397318" y="425768"/>
                    </a:cubicBezTo>
                    <a:cubicBezTo>
                      <a:pt x="1399223" y="426720"/>
                      <a:pt x="1402080" y="427673"/>
                      <a:pt x="1403033" y="428625"/>
                    </a:cubicBezTo>
                    <a:cubicBezTo>
                      <a:pt x="1403985" y="429577"/>
                      <a:pt x="1408748" y="431483"/>
                      <a:pt x="1408748" y="431483"/>
                    </a:cubicBezTo>
                    <a:cubicBezTo>
                      <a:pt x="1408748" y="431483"/>
                      <a:pt x="1409700" y="432435"/>
                      <a:pt x="1411605" y="433387"/>
                    </a:cubicBezTo>
                    <a:cubicBezTo>
                      <a:pt x="1413510" y="434340"/>
                      <a:pt x="1418273" y="435293"/>
                      <a:pt x="1418273" y="435293"/>
                    </a:cubicBezTo>
                    <a:cubicBezTo>
                      <a:pt x="1418273" y="435293"/>
                      <a:pt x="1419225" y="435293"/>
                      <a:pt x="1421130" y="436245"/>
                    </a:cubicBezTo>
                    <a:cubicBezTo>
                      <a:pt x="1423035" y="437198"/>
                      <a:pt x="1423035" y="437198"/>
                      <a:pt x="1423035" y="437198"/>
                    </a:cubicBezTo>
                    <a:cubicBezTo>
                      <a:pt x="1423035" y="437198"/>
                      <a:pt x="1423988" y="437198"/>
                      <a:pt x="1424940" y="439102"/>
                    </a:cubicBezTo>
                    <a:cubicBezTo>
                      <a:pt x="1425893" y="440055"/>
                      <a:pt x="1423988" y="440055"/>
                      <a:pt x="1425893" y="440055"/>
                    </a:cubicBezTo>
                    <a:cubicBezTo>
                      <a:pt x="1427798" y="441008"/>
                      <a:pt x="1432560" y="446723"/>
                      <a:pt x="1432560" y="446723"/>
                    </a:cubicBezTo>
                    <a:cubicBezTo>
                      <a:pt x="1432560" y="446723"/>
                      <a:pt x="1430655" y="445770"/>
                      <a:pt x="1429703" y="446723"/>
                    </a:cubicBezTo>
                    <a:cubicBezTo>
                      <a:pt x="1427798" y="447675"/>
                      <a:pt x="1411605" y="447675"/>
                      <a:pt x="1411605" y="447675"/>
                    </a:cubicBezTo>
                    <a:lnTo>
                      <a:pt x="1404938" y="447675"/>
                    </a:lnTo>
                    <a:lnTo>
                      <a:pt x="1399223" y="447675"/>
                    </a:lnTo>
                    <a:lnTo>
                      <a:pt x="1393508" y="447675"/>
                    </a:lnTo>
                    <a:cubicBezTo>
                      <a:pt x="1393508" y="447675"/>
                      <a:pt x="1390650" y="447675"/>
                      <a:pt x="1388745" y="447675"/>
                    </a:cubicBezTo>
                    <a:cubicBezTo>
                      <a:pt x="1386840" y="447675"/>
                      <a:pt x="1381125" y="447675"/>
                      <a:pt x="1381125" y="447675"/>
                    </a:cubicBezTo>
                    <a:lnTo>
                      <a:pt x="1373505" y="449580"/>
                    </a:lnTo>
                    <a:lnTo>
                      <a:pt x="1360170" y="449580"/>
                    </a:lnTo>
                    <a:cubicBezTo>
                      <a:pt x="1360170" y="449580"/>
                      <a:pt x="1360170" y="447675"/>
                      <a:pt x="1354455" y="449580"/>
                    </a:cubicBezTo>
                    <a:cubicBezTo>
                      <a:pt x="1348740" y="451485"/>
                      <a:pt x="1342073" y="452437"/>
                      <a:pt x="1342073" y="452437"/>
                    </a:cubicBezTo>
                    <a:cubicBezTo>
                      <a:pt x="1342073" y="452437"/>
                      <a:pt x="1340168" y="452437"/>
                      <a:pt x="1339215" y="453390"/>
                    </a:cubicBezTo>
                    <a:cubicBezTo>
                      <a:pt x="1338263" y="454343"/>
                      <a:pt x="1331595" y="455295"/>
                      <a:pt x="1331595" y="455295"/>
                    </a:cubicBezTo>
                    <a:lnTo>
                      <a:pt x="1325880" y="455295"/>
                    </a:lnTo>
                    <a:lnTo>
                      <a:pt x="1322070" y="455295"/>
                    </a:lnTo>
                    <a:lnTo>
                      <a:pt x="1320165" y="452437"/>
                    </a:lnTo>
                    <a:lnTo>
                      <a:pt x="1320165" y="449580"/>
                    </a:lnTo>
                    <a:cubicBezTo>
                      <a:pt x="1321118" y="448627"/>
                      <a:pt x="1320165" y="446723"/>
                      <a:pt x="1322070" y="445770"/>
                    </a:cubicBezTo>
                    <a:close/>
                    <a:moveTo>
                      <a:pt x="1762125" y="147637"/>
                    </a:moveTo>
                    <a:cubicBezTo>
                      <a:pt x="1762125" y="147637"/>
                      <a:pt x="1762125" y="147637"/>
                      <a:pt x="1762125" y="147637"/>
                    </a:cubicBezTo>
                    <a:cubicBezTo>
                      <a:pt x="1762125" y="147637"/>
                      <a:pt x="1762125" y="147637"/>
                      <a:pt x="1762125" y="147637"/>
                    </a:cubicBezTo>
                    <a:close/>
                    <a:moveTo>
                      <a:pt x="870585" y="141923"/>
                    </a:moveTo>
                    <a:cubicBezTo>
                      <a:pt x="870585" y="141923"/>
                      <a:pt x="865823" y="145733"/>
                      <a:pt x="862965" y="145733"/>
                    </a:cubicBezTo>
                    <a:cubicBezTo>
                      <a:pt x="861060" y="145733"/>
                      <a:pt x="854393" y="146685"/>
                      <a:pt x="854393" y="146685"/>
                    </a:cubicBezTo>
                    <a:lnTo>
                      <a:pt x="851535" y="146685"/>
                    </a:lnTo>
                    <a:lnTo>
                      <a:pt x="844868" y="146685"/>
                    </a:lnTo>
                    <a:lnTo>
                      <a:pt x="840105" y="147637"/>
                    </a:lnTo>
                    <a:lnTo>
                      <a:pt x="834390" y="149542"/>
                    </a:lnTo>
                    <a:lnTo>
                      <a:pt x="829628" y="147637"/>
                    </a:lnTo>
                    <a:lnTo>
                      <a:pt x="826770" y="145733"/>
                    </a:lnTo>
                    <a:lnTo>
                      <a:pt x="819150" y="144780"/>
                    </a:lnTo>
                    <a:cubicBezTo>
                      <a:pt x="819150" y="144780"/>
                      <a:pt x="814388" y="143828"/>
                      <a:pt x="811530" y="144780"/>
                    </a:cubicBezTo>
                    <a:cubicBezTo>
                      <a:pt x="809625" y="145733"/>
                      <a:pt x="804863" y="144780"/>
                      <a:pt x="804863" y="144780"/>
                    </a:cubicBezTo>
                    <a:cubicBezTo>
                      <a:pt x="804863" y="144780"/>
                      <a:pt x="805815" y="142875"/>
                      <a:pt x="800100" y="142875"/>
                    </a:cubicBezTo>
                    <a:cubicBezTo>
                      <a:pt x="795338" y="142875"/>
                      <a:pt x="792480" y="141923"/>
                      <a:pt x="788670" y="142875"/>
                    </a:cubicBezTo>
                    <a:cubicBezTo>
                      <a:pt x="784860" y="142875"/>
                      <a:pt x="789623" y="142875"/>
                      <a:pt x="784860" y="142875"/>
                    </a:cubicBezTo>
                    <a:cubicBezTo>
                      <a:pt x="780098" y="142875"/>
                      <a:pt x="780098" y="141923"/>
                      <a:pt x="776288" y="141923"/>
                    </a:cubicBezTo>
                    <a:cubicBezTo>
                      <a:pt x="771525" y="141923"/>
                      <a:pt x="768668" y="140970"/>
                      <a:pt x="764858" y="140970"/>
                    </a:cubicBezTo>
                    <a:cubicBezTo>
                      <a:pt x="761048" y="140970"/>
                      <a:pt x="756285" y="140017"/>
                      <a:pt x="756285" y="140017"/>
                    </a:cubicBezTo>
                    <a:lnTo>
                      <a:pt x="750570" y="135255"/>
                    </a:lnTo>
                    <a:lnTo>
                      <a:pt x="751523" y="133350"/>
                    </a:lnTo>
                    <a:cubicBezTo>
                      <a:pt x="751523" y="133350"/>
                      <a:pt x="748665" y="132398"/>
                      <a:pt x="754380" y="131445"/>
                    </a:cubicBezTo>
                    <a:cubicBezTo>
                      <a:pt x="760095" y="131445"/>
                      <a:pt x="749618" y="130492"/>
                      <a:pt x="760095" y="131445"/>
                    </a:cubicBezTo>
                    <a:cubicBezTo>
                      <a:pt x="771525" y="131445"/>
                      <a:pt x="771525" y="131445"/>
                      <a:pt x="771525" y="131445"/>
                    </a:cubicBezTo>
                    <a:cubicBezTo>
                      <a:pt x="771525" y="131445"/>
                      <a:pt x="774383" y="130492"/>
                      <a:pt x="776288" y="131445"/>
                    </a:cubicBezTo>
                    <a:cubicBezTo>
                      <a:pt x="778193" y="132398"/>
                      <a:pt x="781050" y="131445"/>
                      <a:pt x="783908" y="131445"/>
                    </a:cubicBezTo>
                    <a:cubicBezTo>
                      <a:pt x="786765" y="131445"/>
                      <a:pt x="789623" y="129540"/>
                      <a:pt x="792480" y="129540"/>
                    </a:cubicBezTo>
                    <a:cubicBezTo>
                      <a:pt x="794385" y="129540"/>
                      <a:pt x="794385" y="129540"/>
                      <a:pt x="794385" y="129540"/>
                    </a:cubicBezTo>
                    <a:cubicBezTo>
                      <a:pt x="794385" y="129540"/>
                      <a:pt x="794385" y="129540"/>
                      <a:pt x="793433" y="129540"/>
                    </a:cubicBezTo>
                    <a:cubicBezTo>
                      <a:pt x="793433" y="129540"/>
                      <a:pt x="793433" y="129540"/>
                      <a:pt x="793433" y="129540"/>
                    </a:cubicBezTo>
                    <a:cubicBezTo>
                      <a:pt x="793433" y="129540"/>
                      <a:pt x="792480" y="129540"/>
                      <a:pt x="792480" y="129540"/>
                    </a:cubicBezTo>
                    <a:cubicBezTo>
                      <a:pt x="792480" y="129540"/>
                      <a:pt x="793433" y="129540"/>
                      <a:pt x="793433" y="129540"/>
                    </a:cubicBezTo>
                    <a:cubicBezTo>
                      <a:pt x="793433" y="129540"/>
                      <a:pt x="793433" y="129540"/>
                      <a:pt x="793433" y="129540"/>
                    </a:cubicBezTo>
                    <a:cubicBezTo>
                      <a:pt x="793433" y="129540"/>
                      <a:pt x="793433" y="129540"/>
                      <a:pt x="794385" y="129540"/>
                    </a:cubicBezTo>
                    <a:cubicBezTo>
                      <a:pt x="799148" y="129540"/>
                      <a:pt x="802958" y="128587"/>
                      <a:pt x="802958" y="128587"/>
                    </a:cubicBezTo>
                    <a:cubicBezTo>
                      <a:pt x="802958" y="128587"/>
                      <a:pt x="801053" y="127635"/>
                      <a:pt x="805815" y="128587"/>
                    </a:cubicBezTo>
                    <a:cubicBezTo>
                      <a:pt x="810578" y="129540"/>
                      <a:pt x="813435" y="127635"/>
                      <a:pt x="815340" y="128587"/>
                    </a:cubicBezTo>
                    <a:cubicBezTo>
                      <a:pt x="817245" y="129540"/>
                      <a:pt x="822008" y="128587"/>
                      <a:pt x="822008" y="128587"/>
                    </a:cubicBezTo>
                    <a:lnTo>
                      <a:pt x="827723" y="129540"/>
                    </a:lnTo>
                    <a:cubicBezTo>
                      <a:pt x="827723" y="129540"/>
                      <a:pt x="832485" y="129540"/>
                      <a:pt x="832485" y="130492"/>
                    </a:cubicBezTo>
                    <a:cubicBezTo>
                      <a:pt x="832485" y="131445"/>
                      <a:pt x="830580" y="128587"/>
                      <a:pt x="832485" y="131445"/>
                    </a:cubicBezTo>
                    <a:cubicBezTo>
                      <a:pt x="834390" y="134303"/>
                      <a:pt x="837248" y="134303"/>
                      <a:pt x="840105" y="135255"/>
                    </a:cubicBezTo>
                    <a:cubicBezTo>
                      <a:pt x="842963" y="136208"/>
                      <a:pt x="838200" y="137160"/>
                      <a:pt x="842963" y="136208"/>
                    </a:cubicBezTo>
                    <a:cubicBezTo>
                      <a:pt x="847725" y="135255"/>
                      <a:pt x="850583" y="131445"/>
                      <a:pt x="852488" y="131445"/>
                    </a:cubicBezTo>
                    <a:cubicBezTo>
                      <a:pt x="854393" y="132398"/>
                      <a:pt x="857250" y="132398"/>
                      <a:pt x="857250" y="132398"/>
                    </a:cubicBezTo>
                    <a:lnTo>
                      <a:pt x="862013" y="131445"/>
                    </a:lnTo>
                    <a:lnTo>
                      <a:pt x="869633" y="132398"/>
                    </a:lnTo>
                    <a:cubicBezTo>
                      <a:pt x="869633" y="132398"/>
                      <a:pt x="871538" y="132398"/>
                      <a:pt x="872490" y="134303"/>
                    </a:cubicBezTo>
                    <a:cubicBezTo>
                      <a:pt x="873443" y="136208"/>
                      <a:pt x="873443" y="136208"/>
                      <a:pt x="873443" y="136208"/>
                    </a:cubicBezTo>
                    <a:lnTo>
                      <a:pt x="870585" y="141923"/>
                    </a:lnTo>
                    <a:close/>
                    <a:moveTo>
                      <a:pt x="1010603" y="202883"/>
                    </a:moveTo>
                    <a:cubicBezTo>
                      <a:pt x="1004888" y="205740"/>
                      <a:pt x="1008698" y="204787"/>
                      <a:pt x="1005840" y="204787"/>
                    </a:cubicBezTo>
                    <a:cubicBezTo>
                      <a:pt x="1003935" y="204787"/>
                      <a:pt x="1002983" y="206692"/>
                      <a:pt x="1000125" y="206692"/>
                    </a:cubicBezTo>
                    <a:cubicBezTo>
                      <a:pt x="997268" y="206692"/>
                      <a:pt x="992505" y="206692"/>
                      <a:pt x="992505" y="206692"/>
                    </a:cubicBezTo>
                    <a:cubicBezTo>
                      <a:pt x="992505" y="206692"/>
                      <a:pt x="987743" y="207645"/>
                      <a:pt x="984885" y="207645"/>
                    </a:cubicBezTo>
                    <a:cubicBezTo>
                      <a:pt x="982028" y="207645"/>
                      <a:pt x="980123" y="209550"/>
                      <a:pt x="977265" y="209550"/>
                    </a:cubicBezTo>
                    <a:cubicBezTo>
                      <a:pt x="975360" y="209550"/>
                      <a:pt x="972503" y="211455"/>
                      <a:pt x="969645" y="212408"/>
                    </a:cubicBezTo>
                    <a:cubicBezTo>
                      <a:pt x="966788" y="212408"/>
                      <a:pt x="965835" y="213360"/>
                      <a:pt x="963930" y="213360"/>
                    </a:cubicBezTo>
                    <a:cubicBezTo>
                      <a:pt x="962025" y="213360"/>
                      <a:pt x="961073" y="217170"/>
                      <a:pt x="961073" y="217170"/>
                    </a:cubicBezTo>
                    <a:cubicBezTo>
                      <a:pt x="961073" y="217170"/>
                      <a:pt x="956310" y="219075"/>
                      <a:pt x="953453" y="219075"/>
                    </a:cubicBezTo>
                    <a:cubicBezTo>
                      <a:pt x="950595" y="219075"/>
                      <a:pt x="948690" y="220028"/>
                      <a:pt x="943928" y="220980"/>
                    </a:cubicBezTo>
                    <a:cubicBezTo>
                      <a:pt x="939165" y="220980"/>
                      <a:pt x="938213" y="220980"/>
                      <a:pt x="935355" y="220980"/>
                    </a:cubicBezTo>
                    <a:cubicBezTo>
                      <a:pt x="933450" y="220980"/>
                      <a:pt x="929640" y="220980"/>
                      <a:pt x="925830" y="220980"/>
                    </a:cubicBezTo>
                    <a:cubicBezTo>
                      <a:pt x="922020" y="220980"/>
                      <a:pt x="917258" y="220980"/>
                      <a:pt x="917258" y="220980"/>
                    </a:cubicBezTo>
                    <a:lnTo>
                      <a:pt x="910590" y="221933"/>
                    </a:lnTo>
                    <a:cubicBezTo>
                      <a:pt x="910590" y="221933"/>
                      <a:pt x="906780" y="223837"/>
                      <a:pt x="903923" y="224790"/>
                    </a:cubicBezTo>
                    <a:cubicBezTo>
                      <a:pt x="901065" y="225742"/>
                      <a:pt x="899160" y="225742"/>
                      <a:pt x="895350" y="226695"/>
                    </a:cubicBezTo>
                    <a:cubicBezTo>
                      <a:pt x="890588" y="227648"/>
                      <a:pt x="890588" y="227648"/>
                      <a:pt x="887730" y="227648"/>
                    </a:cubicBezTo>
                    <a:cubicBezTo>
                      <a:pt x="883920" y="226695"/>
                      <a:pt x="887730" y="227648"/>
                      <a:pt x="886778" y="221933"/>
                    </a:cubicBezTo>
                    <a:cubicBezTo>
                      <a:pt x="885825" y="216217"/>
                      <a:pt x="886778" y="221933"/>
                      <a:pt x="887730" y="220980"/>
                    </a:cubicBezTo>
                    <a:cubicBezTo>
                      <a:pt x="888683" y="220028"/>
                      <a:pt x="890588" y="220980"/>
                      <a:pt x="892493" y="220028"/>
                    </a:cubicBezTo>
                    <a:cubicBezTo>
                      <a:pt x="894398" y="219075"/>
                      <a:pt x="895350" y="219075"/>
                      <a:pt x="895350" y="219075"/>
                    </a:cubicBezTo>
                    <a:cubicBezTo>
                      <a:pt x="895350" y="219075"/>
                      <a:pt x="900113" y="218123"/>
                      <a:pt x="902018" y="216217"/>
                    </a:cubicBezTo>
                    <a:cubicBezTo>
                      <a:pt x="903923" y="215265"/>
                      <a:pt x="910590" y="214312"/>
                      <a:pt x="910590" y="214312"/>
                    </a:cubicBezTo>
                    <a:lnTo>
                      <a:pt x="918210" y="211455"/>
                    </a:lnTo>
                    <a:cubicBezTo>
                      <a:pt x="918210" y="211455"/>
                      <a:pt x="922973" y="208598"/>
                      <a:pt x="922020" y="206692"/>
                    </a:cubicBezTo>
                    <a:cubicBezTo>
                      <a:pt x="921068" y="205740"/>
                      <a:pt x="928688" y="206692"/>
                      <a:pt x="928688" y="206692"/>
                    </a:cubicBezTo>
                    <a:lnTo>
                      <a:pt x="931545" y="206692"/>
                    </a:lnTo>
                    <a:lnTo>
                      <a:pt x="942975" y="205740"/>
                    </a:lnTo>
                    <a:lnTo>
                      <a:pt x="949643" y="206692"/>
                    </a:lnTo>
                    <a:lnTo>
                      <a:pt x="956310" y="206692"/>
                    </a:lnTo>
                    <a:cubicBezTo>
                      <a:pt x="956310" y="206692"/>
                      <a:pt x="963930" y="206692"/>
                      <a:pt x="965835" y="204787"/>
                    </a:cubicBezTo>
                    <a:cubicBezTo>
                      <a:pt x="967740" y="202883"/>
                      <a:pt x="969645" y="203835"/>
                      <a:pt x="971550" y="201930"/>
                    </a:cubicBezTo>
                    <a:cubicBezTo>
                      <a:pt x="973455" y="200025"/>
                      <a:pt x="975360" y="201930"/>
                      <a:pt x="977265" y="199073"/>
                    </a:cubicBezTo>
                    <a:cubicBezTo>
                      <a:pt x="979170" y="197167"/>
                      <a:pt x="982028" y="197167"/>
                      <a:pt x="982028" y="197167"/>
                    </a:cubicBezTo>
                    <a:lnTo>
                      <a:pt x="986790" y="196215"/>
                    </a:lnTo>
                    <a:cubicBezTo>
                      <a:pt x="986790" y="196215"/>
                      <a:pt x="994410" y="196215"/>
                      <a:pt x="997268" y="195262"/>
                    </a:cubicBezTo>
                    <a:cubicBezTo>
                      <a:pt x="999173" y="194310"/>
                      <a:pt x="1002030" y="193358"/>
                      <a:pt x="1002030" y="193358"/>
                    </a:cubicBezTo>
                    <a:cubicBezTo>
                      <a:pt x="1002030" y="193358"/>
                      <a:pt x="1011555" y="192405"/>
                      <a:pt x="1013460" y="192405"/>
                    </a:cubicBezTo>
                    <a:cubicBezTo>
                      <a:pt x="1015365" y="192405"/>
                      <a:pt x="1015365" y="194310"/>
                      <a:pt x="1015365" y="194310"/>
                    </a:cubicBezTo>
                    <a:cubicBezTo>
                      <a:pt x="1015365" y="194310"/>
                      <a:pt x="1016318" y="200025"/>
                      <a:pt x="1010603" y="202883"/>
                    </a:cubicBezTo>
                    <a:close/>
                    <a:moveTo>
                      <a:pt x="1220153" y="380048"/>
                    </a:moveTo>
                    <a:cubicBezTo>
                      <a:pt x="1220153" y="377190"/>
                      <a:pt x="1220153" y="379095"/>
                      <a:pt x="1218248" y="374333"/>
                    </a:cubicBezTo>
                    <a:cubicBezTo>
                      <a:pt x="1216343" y="370523"/>
                      <a:pt x="1216343" y="372427"/>
                      <a:pt x="1212533" y="371475"/>
                    </a:cubicBezTo>
                    <a:cubicBezTo>
                      <a:pt x="1209675" y="369570"/>
                      <a:pt x="1212533" y="371475"/>
                      <a:pt x="1210628" y="369570"/>
                    </a:cubicBezTo>
                    <a:cubicBezTo>
                      <a:pt x="1208723" y="367665"/>
                      <a:pt x="1210628" y="367665"/>
                      <a:pt x="1210628" y="367665"/>
                    </a:cubicBezTo>
                    <a:lnTo>
                      <a:pt x="1208723" y="364808"/>
                    </a:lnTo>
                    <a:lnTo>
                      <a:pt x="1203960" y="362903"/>
                    </a:lnTo>
                    <a:lnTo>
                      <a:pt x="1200150" y="362903"/>
                    </a:lnTo>
                    <a:cubicBezTo>
                      <a:pt x="1200150" y="362903"/>
                      <a:pt x="1195388" y="361950"/>
                      <a:pt x="1193483" y="360998"/>
                    </a:cubicBezTo>
                    <a:cubicBezTo>
                      <a:pt x="1190625" y="360045"/>
                      <a:pt x="1188720" y="358140"/>
                      <a:pt x="1188720" y="358140"/>
                    </a:cubicBezTo>
                    <a:lnTo>
                      <a:pt x="1185863" y="355283"/>
                    </a:lnTo>
                    <a:lnTo>
                      <a:pt x="1184910" y="353378"/>
                    </a:lnTo>
                    <a:lnTo>
                      <a:pt x="1185863" y="351473"/>
                    </a:lnTo>
                    <a:lnTo>
                      <a:pt x="1187768" y="347662"/>
                    </a:lnTo>
                    <a:lnTo>
                      <a:pt x="1190625" y="346710"/>
                    </a:lnTo>
                    <a:lnTo>
                      <a:pt x="1196340" y="345758"/>
                    </a:lnTo>
                    <a:lnTo>
                      <a:pt x="1200150" y="345758"/>
                    </a:lnTo>
                    <a:lnTo>
                      <a:pt x="1203960" y="345758"/>
                    </a:lnTo>
                    <a:cubicBezTo>
                      <a:pt x="1203960" y="345758"/>
                      <a:pt x="1207770" y="344805"/>
                      <a:pt x="1207770" y="343853"/>
                    </a:cubicBezTo>
                    <a:cubicBezTo>
                      <a:pt x="1207770" y="342900"/>
                      <a:pt x="1213485" y="343853"/>
                      <a:pt x="1213485" y="343853"/>
                    </a:cubicBezTo>
                    <a:lnTo>
                      <a:pt x="1218248" y="343853"/>
                    </a:lnTo>
                    <a:lnTo>
                      <a:pt x="1221105" y="344805"/>
                    </a:lnTo>
                    <a:lnTo>
                      <a:pt x="1225868" y="348615"/>
                    </a:lnTo>
                    <a:lnTo>
                      <a:pt x="1226820" y="350520"/>
                    </a:lnTo>
                    <a:lnTo>
                      <a:pt x="1227773" y="352425"/>
                    </a:lnTo>
                    <a:cubicBezTo>
                      <a:pt x="1227773" y="352425"/>
                      <a:pt x="1227773" y="352425"/>
                      <a:pt x="1226820" y="356235"/>
                    </a:cubicBezTo>
                    <a:cubicBezTo>
                      <a:pt x="1225868" y="360045"/>
                      <a:pt x="1226820" y="359093"/>
                      <a:pt x="1226820" y="359093"/>
                    </a:cubicBezTo>
                    <a:lnTo>
                      <a:pt x="1232535" y="362903"/>
                    </a:lnTo>
                    <a:cubicBezTo>
                      <a:pt x="1232535" y="362903"/>
                      <a:pt x="1237298" y="364808"/>
                      <a:pt x="1239203" y="364808"/>
                    </a:cubicBezTo>
                    <a:cubicBezTo>
                      <a:pt x="1241108" y="365760"/>
                      <a:pt x="1244918" y="368618"/>
                      <a:pt x="1244918" y="368618"/>
                    </a:cubicBezTo>
                    <a:lnTo>
                      <a:pt x="1245870" y="372427"/>
                    </a:lnTo>
                    <a:lnTo>
                      <a:pt x="1246823" y="375285"/>
                    </a:lnTo>
                    <a:lnTo>
                      <a:pt x="1249680" y="378143"/>
                    </a:lnTo>
                    <a:lnTo>
                      <a:pt x="1250633" y="380048"/>
                    </a:lnTo>
                    <a:lnTo>
                      <a:pt x="1249680" y="384810"/>
                    </a:lnTo>
                    <a:lnTo>
                      <a:pt x="1247775" y="389573"/>
                    </a:lnTo>
                    <a:lnTo>
                      <a:pt x="1244918" y="392430"/>
                    </a:lnTo>
                    <a:cubicBezTo>
                      <a:pt x="1244918" y="392430"/>
                      <a:pt x="1240155" y="392430"/>
                      <a:pt x="1237298" y="392430"/>
                    </a:cubicBezTo>
                    <a:cubicBezTo>
                      <a:pt x="1234440" y="392430"/>
                      <a:pt x="1231583" y="392430"/>
                      <a:pt x="1231583" y="392430"/>
                    </a:cubicBezTo>
                    <a:lnTo>
                      <a:pt x="1225868" y="390525"/>
                    </a:lnTo>
                    <a:cubicBezTo>
                      <a:pt x="1224915" y="391477"/>
                      <a:pt x="1220153" y="382905"/>
                      <a:pt x="1220153" y="380048"/>
                    </a:cubicBezTo>
                    <a:close/>
                  </a:path>
                </a:pathLst>
              </a:custGeom>
              <a:grpFill/>
              <a:ln w="9525" cap="flat">
                <a:noFill/>
                <a:prstDash val="solid"/>
                <a:miter/>
              </a:ln>
            </p:spPr>
            <p:txBody>
              <a:bodyPr rtlCol="0" anchor="ctr"/>
              <a:lstStyle/>
              <a:p>
                <a:endParaRPr lang="en-US" sz="1765"/>
              </a:p>
            </p:txBody>
          </p:sp>
          <p:sp>
            <p:nvSpPr>
              <p:cNvPr id="47" name="Freeform: Shape 46">
                <a:extLst>
                  <a:ext uri="{FF2B5EF4-FFF2-40B4-BE49-F238E27FC236}">
                    <a16:creationId xmlns:a16="http://schemas.microsoft.com/office/drawing/2014/main" id="{0BB2D98E-66D2-47D1-ADE2-E2654AB72323}"/>
                  </a:ext>
                </a:extLst>
              </p:cNvPr>
              <p:cNvSpPr/>
              <p:nvPr/>
            </p:nvSpPr>
            <p:spPr>
              <a:xfrm>
                <a:off x="5442614" y="3186793"/>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cubicBezTo>
                      <a:pt x="0" y="0"/>
                      <a:pt x="0" y="0"/>
                      <a:pt x="0" y="0"/>
                    </a:cubicBezTo>
                    <a:cubicBezTo>
                      <a:pt x="0" y="0"/>
                      <a:pt x="0" y="0"/>
                      <a:pt x="0" y="0"/>
                    </a:cubicBezTo>
                    <a:close/>
                  </a:path>
                </a:pathLst>
              </a:custGeom>
              <a:grpFill/>
              <a:ln w="9525" cap="flat">
                <a:noFill/>
                <a:prstDash val="solid"/>
                <a:miter/>
              </a:ln>
            </p:spPr>
            <p:txBody>
              <a:bodyPr rtlCol="0" anchor="ctr"/>
              <a:lstStyle/>
              <a:p>
                <a:endParaRPr lang="en-US" sz="1765"/>
              </a:p>
            </p:txBody>
          </p:sp>
          <p:sp>
            <p:nvSpPr>
              <p:cNvPr id="48" name="Freeform: Shape 47">
                <a:extLst>
                  <a:ext uri="{FF2B5EF4-FFF2-40B4-BE49-F238E27FC236}">
                    <a16:creationId xmlns:a16="http://schemas.microsoft.com/office/drawing/2014/main" id="{60ABB08D-5385-46EE-B6E9-3B5395844564}"/>
                  </a:ext>
                </a:extLst>
              </p:cNvPr>
              <p:cNvSpPr/>
              <p:nvPr/>
            </p:nvSpPr>
            <p:spPr>
              <a:xfrm>
                <a:off x="9863258" y="4006744"/>
                <a:ext cx="178025" cy="117584"/>
              </a:xfrm>
              <a:custGeom>
                <a:avLst/>
                <a:gdLst>
                  <a:gd name="connsiteX0" fmla="*/ 38008 w 178025"/>
                  <a:gd name="connsiteY0" fmla="*/ 1105 h 117584"/>
                  <a:gd name="connsiteX1" fmla="*/ 28483 w 178025"/>
                  <a:gd name="connsiteY1" fmla="*/ 1105 h 117584"/>
                  <a:gd name="connsiteX2" fmla="*/ 20863 w 178025"/>
                  <a:gd name="connsiteY2" fmla="*/ 1105 h 117584"/>
                  <a:gd name="connsiteX3" fmla="*/ 8480 w 178025"/>
                  <a:gd name="connsiteY3" fmla="*/ 152 h 117584"/>
                  <a:gd name="connsiteX4" fmla="*/ 2765 w 178025"/>
                  <a:gd name="connsiteY4" fmla="*/ 2057 h 117584"/>
                  <a:gd name="connsiteX5" fmla="*/ 2765 w 178025"/>
                  <a:gd name="connsiteY5" fmla="*/ 10630 h 117584"/>
                  <a:gd name="connsiteX6" fmla="*/ 12290 w 178025"/>
                  <a:gd name="connsiteY6" fmla="*/ 15392 h 117584"/>
                  <a:gd name="connsiteX7" fmla="*/ 14195 w 178025"/>
                  <a:gd name="connsiteY7" fmla="*/ 17297 h 117584"/>
                  <a:gd name="connsiteX8" fmla="*/ 29435 w 178025"/>
                  <a:gd name="connsiteY8" fmla="*/ 32537 h 117584"/>
                  <a:gd name="connsiteX9" fmla="*/ 42770 w 178025"/>
                  <a:gd name="connsiteY9" fmla="*/ 38252 h 117584"/>
                  <a:gd name="connsiteX10" fmla="*/ 52295 w 178025"/>
                  <a:gd name="connsiteY10" fmla="*/ 43015 h 117584"/>
                  <a:gd name="connsiteX11" fmla="*/ 58963 w 178025"/>
                  <a:gd name="connsiteY11" fmla="*/ 50635 h 117584"/>
                  <a:gd name="connsiteX12" fmla="*/ 65630 w 178025"/>
                  <a:gd name="connsiteY12" fmla="*/ 61112 h 117584"/>
                  <a:gd name="connsiteX13" fmla="*/ 74203 w 178025"/>
                  <a:gd name="connsiteY13" fmla="*/ 70637 h 117584"/>
                  <a:gd name="connsiteX14" fmla="*/ 84680 w 178025"/>
                  <a:gd name="connsiteY14" fmla="*/ 79210 h 117584"/>
                  <a:gd name="connsiteX15" fmla="*/ 95158 w 178025"/>
                  <a:gd name="connsiteY15" fmla="*/ 84925 h 117584"/>
                  <a:gd name="connsiteX16" fmla="*/ 105635 w 178025"/>
                  <a:gd name="connsiteY16" fmla="*/ 93497 h 117584"/>
                  <a:gd name="connsiteX17" fmla="*/ 119923 w 178025"/>
                  <a:gd name="connsiteY17" fmla="*/ 105880 h 117584"/>
                  <a:gd name="connsiteX18" fmla="*/ 125638 w 178025"/>
                  <a:gd name="connsiteY18" fmla="*/ 109690 h 117584"/>
                  <a:gd name="connsiteX19" fmla="*/ 138020 w 178025"/>
                  <a:gd name="connsiteY19" fmla="*/ 112547 h 117584"/>
                  <a:gd name="connsiteX20" fmla="*/ 145640 w 178025"/>
                  <a:gd name="connsiteY20" fmla="*/ 114452 h 117584"/>
                  <a:gd name="connsiteX21" fmla="*/ 153260 w 178025"/>
                  <a:gd name="connsiteY21" fmla="*/ 116357 h 117584"/>
                  <a:gd name="connsiteX22" fmla="*/ 156118 w 178025"/>
                  <a:gd name="connsiteY22" fmla="*/ 117310 h 117584"/>
                  <a:gd name="connsiteX23" fmla="*/ 167548 w 178025"/>
                  <a:gd name="connsiteY23" fmla="*/ 117310 h 117584"/>
                  <a:gd name="connsiteX24" fmla="*/ 175168 w 178025"/>
                  <a:gd name="connsiteY24" fmla="*/ 116357 h 117584"/>
                  <a:gd name="connsiteX25" fmla="*/ 178025 w 178025"/>
                  <a:gd name="connsiteY25" fmla="*/ 106832 h 117584"/>
                  <a:gd name="connsiteX26" fmla="*/ 175168 w 178025"/>
                  <a:gd name="connsiteY26" fmla="*/ 95402 h 117584"/>
                  <a:gd name="connsiteX27" fmla="*/ 175168 w 178025"/>
                  <a:gd name="connsiteY27" fmla="*/ 90640 h 117584"/>
                  <a:gd name="connsiteX28" fmla="*/ 167548 w 178025"/>
                  <a:gd name="connsiteY28" fmla="*/ 80162 h 117584"/>
                  <a:gd name="connsiteX29" fmla="*/ 155165 w 178025"/>
                  <a:gd name="connsiteY29" fmla="*/ 73495 h 117584"/>
                  <a:gd name="connsiteX30" fmla="*/ 147545 w 178025"/>
                  <a:gd name="connsiteY30" fmla="*/ 68732 h 117584"/>
                  <a:gd name="connsiteX31" fmla="*/ 135163 w 178025"/>
                  <a:gd name="connsiteY31" fmla="*/ 63017 h 117584"/>
                  <a:gd name="connsiteX32" fmla="*/ 125638 w 178025"/>
                  <a:gd name="connsiteY32" fmla="*/ 58255 h 117584"/>
                  <a:gd name="connsiteX33" fmla="*/ 115160 w 178025"/>
                  <a:gd name="connsiteY33" fmla="*/ 51587 h 117584"/>
                  <a:gd name="connsiteX34" fmla="*/ 108493 w 178025"/>
                  <a:gd name="connsiteY34" fmla="*/ 44920 h 117584"/>
                  <a:gd name="connsiteX35" fmla="*/ 98015 w 178025"/>
                  <a:gd name="connsiteY35" fmla="*/ 38252 h 117584"/>
                  <a:gd name="connsiteX36" fmla="*/ 88490 w 178025"/>
                  <a:gd name="connsiteY36" fmla="*/ 32537 h 117584"/>
                  <a:gd name="connsiteX37" fmla="*/ 81823 w 178025"/>
                  <a:gd name="connsiteY37" fmla="*/ 26822 h 117584"/>
                  <a:gd name="connsiteX38" fmla="*/ 69440 w 178025"/>
                  <a:gd name="connsiteY38" fmla="*/ 19202 h 117584"/>
                  <a:gd name="connsiteX39" fmla="*/ 63725 w 178025"/>
                  <a:gd name="connsiteY39" fmla="*/ 17297 h 117584"/>
                  <a:gd name="connsiteX40" fmla="*/ 53248 w 178025"/>
                  <a:gd name="connsiteY40" fmla="*/ 11582 h 117584"/>
                  <a:gd name="connsiteX41" fmla="*/ 50390 w 178025"/>
                  <a:gd name="connsiteY41" fmla="*/ 8725 h 117584"/>
                  <a:gd name="connsiteX42" fmla="*/ 47533 w 178025"/>
                  <a:gd name="connsiteY42" fmla="*/ 4915 h 117584"/>
                  <a:gd name="connsiteX43" fmla="*/ 38008 w 178025"/>
                  <a:gd name="connsiteY43" fmla="*/ 1105 h 11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8025" h="117584">
                    <a:moveTo>
                      <a:pt x="38008" y="1105"/>
                    </a:moveTo>
                    <a:lnTo>
                      <a:pt x="28483" y="1105"/>
                    </a:lnTo>
                    <a:cubicBezTo>
                      <a:pt x="28483" y="1105"/>
                      <a:pt x="25625" y="1105"/>
                      <a:pt x="20863" y="1105"/>
                    </a:cubicBezTo>
                    <a:cubicBezTo>
                      <a:pt x="16100" y="1105"/>
                      <a:pt x="8480" y="152"/>
                      <a:pt x="8480" y="152"/>
                    </a:cubicBezTo>
                    <a:cubicBezTo>
                      <a:pt x="8480" y="152"/>
                      <a:pt x="3718" y="-800"/>
                      <a:pt x="2765" y="2057"/>
                    </a:cubicBezTo>
                    <a:cubicBezTo>
                      <a:pt x="1813" y="4915"/>
                      <a:pt x="-2950" y="6820"/>
                      <a:pt x="2765" y="10630"/>
                    </a:cubicBezTo>
                    <a:cubicBezTo>
                      <a:pt x="8480" y="14440"/>
                      <a:pt x="10385" y="12535"/>
                      <a:pt x="12290" y="15392"/>
                    </a:cubicBezTo>
                    <a:cubicBezTo>
                      <a:pt x="14195" y="17297"/>
                      <a:pt x="9433" y="12535"/>
                      <a:pt x="14195" y="17297"/>
                    </a:cubicBezTo>
                    <a:cubicBezTo>
                      <a:pt x="19910" y="22060"/>
                      <a:pt x="29435" y="32537"/>
                      <a:pt x="29435" y="32537"/>
                    </a:cubicBezTo>
                    <a:cubicBezTo>
                      <a:pt x="29435" y="32537"/>
                      <a:pt x="38960" y="35395"/>
                      <a:pt x="42770" y="38252"/>
                    </a:cubicBezTo>
                    <a:cubicBezTo>
                      <a:pt x="45628" y="41110"/>
                      <a:pt x="50390" y="40157"/>
                      <a:pt x="52295" y="43015"/>
                    </a:cubicBezTo>
                    <a:cubicBezTo>
                      <a:pt x="54200" y="46825"/>
                      <a:pt x="57058" y="45872"/>
                      <a:pt x="58963" y="50635"/>
                    </a:cubicBezTo>
                    <a:cubicBezTo>
                      <a:pt x="60868" y="54445"/>
                      <a:pt x="64678" y="59207"/>
                      <a:pt x="65630" y="61112"/>
                    </a:cubicBezTo>
                    <a:cubicBezTo>
                      <a:pt x="66583" y="63017"/>
                      <a:pt x="72298" y="66827"/>
                      <a:pt x="74203" y="70637"/>
                    </a:cubicBezTo>
                    <a:cubicBezTo>
                      <a:pt x="76108" y="74447"/>
                      <a:pt x="84680" y="79210"/>
                      <a:pt x="84680" y="79210"/>
                    </a:cubicBezTo>
                    <a:cubicBezTo>
                      <a:pt x="84680" y="79210"/>
                      <a:pt x="92300" y="83020"/>
                      <a:pt x="95158" y="84925"/>
                    </a:cubicBezTo>
                    <a:cubicBezTo>
                      <a:pt x="98015" y="86830"/>
                      <a:pt x="100873" y="86830"/>
                      <a:pt x="105635" y="93497"/>
                    </a:cubicBezTo>
                    <a:cubicBezTo>
                      <a:pt x="111350" y="100165"/>
                      <a:pt x="119923" y="105880"/>
                      <a:pt x="119923" y="105880"/>
                    </a:cubicBezTo>
                    <a:cubicBezTo>
                      <a:pt x="119923" y="105880"/>
                      <a:pt x="121828" y="107785"/>
                      <a:pt x="125638" y="109690"/>
                    </a:cubicBezTo>
                    <a:cubicBezTo>
                      <a:pt x="128495" y="111595"/>
                      <a:pt x="138020" y="112547"/>
                      <a:pt x="138020" y="112547"/>
                    </a:cubicBezTo>
                    <a:cubicBezTo>
                      <a:pt x="138020" y="112547"/>
                      <a:pt x="142783" y="113500"/>
                      <a:pt x="145640" y="114452"/>
                    </a:cubicBezTo>
                    <a:cubicBezTo>
                      <a:pt x="148498" y="115405"/>
                      <a:pt x="150403" y="114452"/>
                      <a:pt x="153260" y="116357"/>
                    </a:cubicBezTo>
                    <a:cubicBezTo>
                      <a:pt x="156118" y="117310"/>
                      <a:pt x="151355" y="117310"/>
                      <a:pt x="156118" y="117310"/>
                    </a:cubicBezTo>
                    <a:cubicBezTo>
                      <a:pt x="161833" y="118262"/>
                      <a:pt x="163738" y="116357"/>
                      <a:pt x="167548" y="117310"/>
                    </a:cubicBezTo>
                    <a:cubicBezTo>
                      <a:pt x="170405" y="118262"/>
                      <a:pt x="175168" y="116357"/>
                      <a:pt x="175168" y="116357"/>
                    </a:cubicBezTo>
                    <a:cubicBezTo>
                      <a:pt x="175168" y="116357"/>
                      <a:pt x="178025" y="108737"/>
                      <a:pt x="178025" y="106832"/>
                    </a:cubicBezTo>
                    <a:cubicBezTo>
                      <a:pt x="178025" y="104927"/>
                      <a:pt x="175168" y="95402"/>
                      <a:pt x="175168" y="95402"/>
                    </a:cubicBezTo>
                    <a:cubicBezTo>
                      <a:pt x="175168" y="95402"/>
                      <a:pt x="177073" y="94450"/>
                      <a:pt x="175168" y="90640"/>
                    </a:cubicBezTo>
                    <a:cubicBezTo>
                      <a:pt x="173263" y="86830"/>
                      <a:pt x="167548" y="80162"/>
                      <a:pt x="167548" y="80162"/>
                    </a:cubicBezTo>
                    <a:lnTo>
                      <a:pt x="155165" y="73495"/>
                    </a:lnTo>
                    <a:cubicBezTo>
                      <a:pt x="155165" y="73495"/>
                      <a:pt x="152308" y="71590"/>
                      <a:pt x="147545" y="68732"/>
                    </a:cubicBezTo>
                    <a:cubicBezTo>
                      <a:pt x="142783" y="66827"/>
                      <a:pt x="140878" y="65875"/>
                      <a:pt x="135163" y="63017"/>
                    </a:cubicBezTo>
                    <a:cubicBezTo>
                      <a:pt x="129448" y="60160"/>
                      <a:pt x="125638" y="58255"/>
                      <a:pt x="125638" y="58255"/>
                    </a:cubicBezTo>
                    <a:lnTo>
                      <a:pt x="115160" y="51587"/>
                    </a:lnTo>
                    <a:lnTo>
                      <a:pt x="108493" y="44920"/>
                    </a:lnTo>
                    <a:lnTo>
                      <a:pt x="98015" y="38252"/>
                    </a:lnTo>
                    <a:cubicBezTo>
                      <a:pt x="98015" y="38252"/>
                      <a:pt x="88490" y="34442"/>
                      <a:pt x="88490" y="32537"/>
                    </a:cubicBezTo>
                    <a:cubicBezTo>
                      <a:pt x="88490" y="30632"/>
                      <a:pt x="81823" y="28727"/>
                      <a:pt x="81823" y="26822"/>
                    </a:cubicBezTo>
                    <a:cubicBezTo>
                      <a:pt x="81823" y="24917"/>
                      <a:pt x="69440" y="19202"/>
                      <a:pt x="69440" y="19202"/>
                    </a:cubicBezTo>
                    <a:lnTo>
                      <a:pt x="63725" y="17297"/>
                    </a:lnTo>
                    <a:lnTo>
                      <a:pt x="53248" y="11582"/>
                    </a:lnTo>
                    <a:lnTo>
                      <a:pt x="50390" y="8725"/>
                    </a:lnTo>
                    <a:lnTo>
                      <a:pt x="47533" y="4915"/>
                    </a:lnTo>
                    <a:lnTo>
                      <a:pt x="38008" y="1105"/>
                    </a:lnTo>
                    <a:close/>
                  </a:path>
                </a:pathLst>
              </a:custGeom>
              <a:grpFill/>
              <a:ln w="9525" cap="flat">
                <a:noFill/>
                <a:prstDash val="solid"/>
                <a:miter/>
              </a:ln>
            </p:spPr>
            <p:txBody>
              <a:bodyPr rtlCol="0" anchor="ctr"/>
              <a:lstStyle/>
              <a:p>
                <a:endParaRPr lang="en-US" sz="1765"/>
              </a:p>
            </p:txBody>
          </p:sp>
          <p:sp>
            <p:nvSpPr>
              <p:cNvPr id="49" name="Freeform: Shape 48">
                <a:extLst>
                  <a:ext uri="{FF2B5EF4-FFF2-40B4-BE49-F238E27FC236}">
                    <a16:creationId xmlns:a16="http://schemas.microsoft.com/office/drawing/2014/main" id="{59A09222-CA80-46E1-849B-D707EF15F173}"/>
                  </a:ext>
                </a:extLst>
              </p:cNvPr>
              <p:cNvSpPr/>
              <p:nvPr/>
            </p:nvSpPr>
            <p:spPr>
              <a:xfrm>
                <a:off x="10029642" y="4134861"/>
                <a:ext cx="180234" cy="32329"/>
              </a:xfrm>
              <a:custGeom>
                <a:avLst/>
                <a:gdLst>
                  <a:gd name="connsiteX0" fmla="*/ 68792 w 180234"/>
                  <a:gd name="connsiteY0" fmla="*/ 6337 h 32329"/>
                  <a:gd name="connsiteX1" fmla="*/ 62124 w 180234"/>
                  <a:gd name="connsiteY1" fmla="*/ 4432 h 32329"/>
                  <a:gd name="connsiteX2" fmla="*/ 34502 w 180234"/>
                  <a:gd name="connsiteY2" fmla="*/ 1575 h 32329"/>
                  <a:gd name="connsiteX3" fmla="*/ 24977 w 180234"/>
                  <a:gd name="connsiteY3" fmla="*/ 622 h 32329"/>
                  <a:gd name="connsiteX4" fmla="*/ 17357 w 180234"/>
                  <a:gd name="connsiteY4" fmla="*/ 622 h 32329"/>
                  <a:gd name="connsiteX5" fmla="*/ 5927 w 180234"/>
                  <a:gd name="connsiteY5" fmla="*/ 1575 h 32329"/>
                  <a:gd name="connsiteX6" fmla="*/ 2117 w 180234"/>
                  <a:gd name="connsiteY6" fmla="*/ 8242 h 32329"/>
                  <a:gd name="connsiteX7" fmla="*/ 2117 w 180234"/>
                  <a:gd name="connsiteY7" fmla="*/ 12052 h 32329"/>
                  <a:gd name="connsiteX8" fmla="*/ 2117 w 180234"/>
                  <a:gd name="connsiteY8" fmla="*/ 12052 h 32329"/>
                  <a:gd name="connsiteX9" fmla="*/ 10689 w 180234"/>
                  <a:gd name="connsiteY9" fmla="*/ 13957 h 32329"/>
                  <a:gd name="connsiteX10" fmla="*/ 13547 w 180234"/>
                  <a:gd name="connsiteY10" fmla="*/ 14910 h 32329"/>
                  <a:gd name="connsiteX11" fmla="*/ 26882 w 180234"/>
                  <a:gd name="connsiteY11" fmla="*/ 17767 h 32329"/>
                  <a:gd name="connsiteX12" fmla="*/ 39264 w 180234"/>
                  <a:gd name="connsiteY12" fmla="*/ 19672 h 32329"/>
                  <a:gd name="connsiteX13" fmla="*/ 60219 w 180234"/>
                  <a:gd name="connsiteY13" fmla="*/ 19672 h 32329"/>
                  <a:gd name="connsiteX14" fmla="*/ 70697 w 180234"/>
                  <a:gd name="connsiteY14" fmla="*/ 22530 h 32329"/>
                  <a:gd name="connsiteX15" fmla="*/ 86889 w 180234"/>
                  <a:gd name="connsiteY15" fmla="*/ 28245 h 32329"/>
                  <a:gd name="connsiteX16" fmla="*/ 115464 w 180234"/>
                  <a:gd name="connsiteY16" fmla="*/ 30150 h 32329"/>
                  <a:gd name="connsiteX17" fmla="*/ 127847 w 180234"/>
                  <a:gd name="connsiteY17" fmla="*/ 30150 h 32329"/>
                  <a:gd name="connsiteX18" fmla="*/ 150707 w 180234"/>
                  <a:gd name="connsiteY18" fmla="*/ 32055 h 32329"/>
                  <a:gd name="connsiteX19" fmla="*/ 164042 w 180234"/>
                  <a:gd name="connsiteY19" fmla="*/ 32055 h 32329"/>
                  <a:gd name="connsiteX20" fmla="*/ 176424 w 180234"/>
                  <a:gd name="connsiteY20" fmla="*/ 30150 h 32329"/>
                  <a:gd name="connsiteX21" fmla="*/ 179282 w 180234"/>
                  <a:gd name="connsiteY21" fmla="*/ 29197 h 32329"/>
                  <a:gd name="connsiteX22" fmla="*/ 180234 w 180234"/>
                  <a:gd name="connsiteY22" fmla="*/ 25387 h 32329"/>
                  <a:gd name="connsiteX23" fmla="*/ 180234 w 180234"/>
                  <a:gd name="connsiteY23" fmla="*/ 21577 h 32329"/>
                  <a:gd name="connsiteX24" fmla="*/ 163089 w 180234"/>
                  <a:gd name="connsiteY24" fmla="*/ 17767 h 32329"/>
                  <a:gd name="connsiteX25" fmla="*/ 151659 w 180234"/>
                  <a:gd name="connsiteY25" fmla="*/ 16814 h 32329"/>
                  <a:gd name="connsiteX26" fmla="*/ 128799 w 180234"/>
                  <a:gd name="connsiteY26" fmla="*/ 12052 h 32329"/>
                  <a:gd name="connsiteX27" fmla="*/ 117369 w 180234"/>
                  <a:gd name="connsiteY27" fmla="*/ 11100 h 32329"/>
                  <a:gd name="connsiteX28" fmla="*/ 103082 w 180234"/>
                  <a:gd name="connsiteY28" fmla="*/ 12052 h 32329"/>
                  <a:gd name="connsiteX29" fmla="*/ 68792 w 180234"/>
                  <a:gd name="connsiteY29" fmla="*/ 6337 h 3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234" h="32329">
                    <a:moveTo>
                      <a:pt x="68792" y="6337"/>
                    </a:moveTo>
                    <a:lnTo>
                      <a:pt x="62124" y="4432"/>
                    </a:lnTo>
                    <a:lnTo>
                      <a:pt x="34502" y="1575"/>
                    </a:lnTo>
                    <a:cubicBezTo>
                      <a:pt x="34502" y="1575"/>
                      <a:pt x="27834" y="-330"/>
                      <a:pt x="24977" y="622"/>
                    </a:cubicBezTo>
                    <a:cubicBezTo>
                      <a:pt x="22119" y="1575"/>
                      <a:pt x="17357" y="622"/>
                      <a:pt x="17357" y="622"/>
                    </a:cubicBezTo>
                    <a:cubicBezTo>
                      <a:pt x="17357" y="622"/>
                      <a:pt x="5927" y="-1283"/>
                      <a:pt x="5927" y="1575"/>
                    </a:cubicBezTo>
                    <a:cubicBezTo>
                      <a:pt x="5927" y="3480"/>
                      <a:pt x="2117" y="4432"/>
                      <a:pt x="2117" y="8242"/>
                    </a:cubicBezTo>
                    <a:cubicBezTo>
                      <a:pt x="2117" y="12052"/>
                      <a:pt x="2117" y="12052"/>
                      <a:pt x="2117" y="12052"/>
                    </a:cubicBezTo>
                    <a:cubicBezTo>
                      <a:pt x="2117" y="12052"/>
                      <a:pt x="-2646" y="10147"/>
                      <a:pt x="2117" y="12052"/>
                    </a:cubicBezTo>
                    <a:cubicBezTo>
                      <a:pt x="6879" y="13957"/>
                      <a:pt x="7832" y="13005"/>
                      <a:pt x="10689" y="13957"/>
                    </a:cubicBezTo>
                    <a:cubicBezTo>
                      <a:pt x="13547" y="14910"/>
                      <a:pt x="8784" y="14910"/>
                      <a:pt x="13547" y="14910"/>
                    </a:cubicBezTo>
                    <a:cubicBezTo>
                      <a:pt x="19262" y="14910"/>
                      <a:pt x="22119" y="15862"/>
                      <a:pt x="26882" y="17767"/>
                    </a:cubicBezTo>
                    <a:cubicBezTo>
                      <a:pt x="31644" y="19672"/>
                      <a:pt x="35454" y="19672"/>
                      <a:pt x="39264" y="19672"/>
                    </a:cubicBezTo>
                    <a:cubicBezTo>
                      <a:pt x="42122" y="20625"/>
                      <a:pt x="58314" y="17767"/>
                      <a:pt x="60219" y="19672"/>
                    </a:cubicBezTo>
                    <a:cubicBezTo>
                      <a:pt x="62124" y="21577"/>
                      <a:pt x="67839" y="20625"/>
                      <a:pt x="70697" y="22530"/>
                    </a:cubicBezTo>
                    <a:cubicBezTo>
                      <a:pt x="73554" y="24435"/>
                      <a:pt x="81174" y="27292"/>
                      <a:pt x="86889" y="28245"/>
                    </a:cubicBezTo>
                    <a:cubicBezTo>
                      <a:pt x="92604" y="29197"/>
                      <a:pt x="115464" y="30150"/>
                      <a:pt x="115464" y="30150"/>
                    </a:cubicBezTo>
                    <a:cubicBezTo>
                      <a:pt x="115464" y="30150"/>
                      <a:pt x="110702" y="28245"/>
                      <a:pt x="127847" y="30150"/>
                    </a:cubicBezTo>
                    <a:cubicBezTo>
                      <a:pt x="144039" y="32055"/>
                      <a:pt x="146897" y="32055"/>
                      <a:pt x="150707" y="32055"/>
                    </a:cubicBezTo>
                    <a:cubicBezTo>
                      <a:pt x="155469" y="33007"/>
                      <a:pt x="160232" y="31102"/>
                      <a:pt x="164042" y="32055"/>
                    </a:cubicBezTo>
                    <a:cubicBezTo>
                      <a:pt x="166899" y="33007"/>
                      <a:pt x="172614" y="31102"/>
                      <a:pt x="176424" y="30150"/>
                    </a:cubicBezTo>
                    <a:cubicBezTo>
                      <a:pt x="179282" y="29197"/>
                      <a:pt x="179282" y="29197"/>
                      <a:pt x="179282" y="29197"/>
                    </a:cubicBezTo>
                    <a:lnTo>
                      <a:pt x="180234" y="25387"/>
                    </a:lnTo>
                    <a:lnTo>
                      <a:pt x="180234" y="21577"/>
                    </a:lnTo>
                    <a:lnTo>
                      <a:pt x="163089" y="17767"/>
                    </a:lnTo>
                    <a:lnTo>
                      <a:pt x="151659" y="16814"/>
                    </a:lnTo>
                    <a:cubicBezTo>
                      <a:pt x="151659" y="16814"/>
                      <a:pt x="134514" y="12052"/>
                      <a:pt x="128799" y="12052"/>
                    </a:cubicBezTo>
                    <a:cubicBezTo>
                      <a:pt x="123084" y="12052"/>
                      <a:pt x="123084" y="11100"/>
                      <a:pt x="117369" y="11100"/>
                    </a:cubicBezTo>
                    <a:cubicBezTo>
                      <a:pt x="111654" y="11100"/>
                      <a:pt x="103082" y="12052"/>
                      <a:pt x="103082" y="12052"/>
                    </a:cubicBezTo>
                    <a:lnTo>
                      <a:pt x="68792" y="6337"/>
                    </a:lnTo>
                    <a:close/>
                  </a:path>
                </a:pathLst>
              </a:custGeom>
              <a:grpFill/>
              <a:ln w="9525" cap="flat">
                <a:noFill/>
                <a:prstDash val="solid"/>
                <a:miter/>
              </a:ln>
            </p:spPr>
            <p:txBody>
              <a:bodyPr rtlCol="0" anchor="ctr"/>
              <a:lstStyle/>
              <a:p>
                <a:endParaRPr lang="en-US" sz="1765"/>
              </a:p>
            </p:txBody>
          </p:sp>
          <p:sp>
            <p:nvSpPr>
              <p:cNvPr id="50" name="Freeform: Shape 49">
                <a:extLst>
                  <a:ext uri="{FF2B5EF4-FFF2-40B4-BE49-F238E27FC236}">
                    <a16:creationId xmlns:a16="http://schemas.microsoft.com/office/drawing/2014/main" id="{8A957847-AA8C-4E29-97A8-D91C6CB637F9}"/>
                  </a:ext>
                </a:extLst>
              </p:cNvPr>
              <p:cNvSpPr/>
              <p:nvPr/>
            </p:nvSpPr>
            <p:spPr>
              <a:xfrm>
                <a:off x="10098539" y="3994514"/>
                <a:ext cx="184679" cy="121708"/>
              </a:xfrm>
              <a:custGeom>
                <a:avLst/>
                <a:gdLst>
                  <a:gd name="connsiteX0" fmla="*/ 36089 w 184679"/>
                  <a:gd name="connsiteY0" fmla="*/ 51435 h 121708"/>
                  <a:gd name="connsiteX1" fmla="*/ 20849 w 184679"/>
                  <a:gd name="connsiteY1" fmla="*/ 56198 h 121708"/>
                  <a:gd name="connsiteX2" fmla="*/ 11324 w 184679"/>
                  <a:gd name="connsiteY2" fmla="*/ 56198 h 121708"/>
                  <a:gd name="connsiteX3" fmla="*/ 8467 w 184679"/>
                  <a:gd name="connsiteY3" fmla="*/ 57150 h 121708"/>
                  <a:gd name="connsiteX4" fmla="*/ 847 w 184679"/>
                  <a:gd name="connsiteY4" fmla="*/ 67627 h 121708"/>
                  <a:gd name="connsiteX5" fmla="*/ 847 w 184679"/>
                  <a:gd name="connsiteY5" fmla="*/ 74295 h 121708"/>
                  <a:gd name="connsiteX6" fmla="*/ 2752 w 184679"/>
                  <a:gd name="connsiteY6" fmla="*/ 77152 h 121708"/>
                  <a:gd name="connsiteX7" fmla="*/ 9419 w 184679"/>
                  <a:gd name="connsiteY7" fmla="*/ 83820 h 121708"/>
                  <a:gd name="connsiteX8" fmla="*/ 12277 w 184679"/>
                  <a:gd name="connsiteY8" fmla="*/ 91440 h 121708"/>
                  <a:gd name="connsiteX9" fmla="*/ 11324 w 184679"/>
                  <a:gd name="connsiteY9" fmla="*/ 100965 h 121708"/>
                  <a:gd name="connsiteX10" fmla="*/ 17039 w 184679"/>
                  <a:gd name="connsiteY10" fmla="*/ 106680 h 121708"/>
                  <a:gd name="connsiteX11" fmla="*/ 33232 w 184679"/>
                  <a:gd name="connsiteY11" fmla="*/ 112395 h 121708"/>
                  <a:gd name="connsiteX12" fmla="*/ 38947 w 184679"/>
                  <a:gd name="connsiteY12" fmla="*/ 114300 h 121708"/>
                  <a:gd name="connsiteX13" fmla="*/ 54187 w 184679"/>
                  <a:gd name="connsiteY13" fmla="*/ 113348 h 121708"/>
                  <a:gd name="connsiteX14" fmla="*/ 57997 w 184679"/>
                  <a:gd name="connsiteY14" fmla="*/ 113348 h 121708"/>
                  <a:gd name="connsiteX15" fmla="*/ 67522 w 184679"/>
                  <a:gd name="connsiteY15" fmla="*/ 112395 h 121708"/>
                  <a:gd name="connsiteX16" fmla="*/ 80857 w 184679"/>
                  <a:gd name="connsiteY16" fmla="*/ 114300 h 121708"/>
                  <a:gd name="connsiteX17" fmla="*/ 89429 w 184679"/>
                  <a:gd name="connsiteY17" fmla="*/ 119062 h 121708"/>
                  <a:gd name="connsiteX18" fmla="*/ 95144 w 184679"/>
                  <a:gd name="connsiteY18" fmla="*/ 120015 h 121708"/>
                  <a:gd name="connsiteX19" fmla="*/ 110384 w 184679"/>
                  <a:gd name="connsiteY19" fmla="*/ 120015 h 121708"/>
                  <a:gd name="connsiteX20" fmla="*/ 116099 w 184679"/>
                  <a:gd name="connsiteY20" fmla="*/ 120015 h 121708"/>
                  <a:gd name="connsiteX21" fmla="*/ 120862 w 184679"/>
                  <a:gd name="connsiteY21" fmla="*/ 108585 h 121708"/>
                  <a:gd name="connsiteX22" fmla="*/ 120862 w 184679"/>
                  <a:gd name="connsiteY22" fmla="*/ 100965 h 121708"/>
                  <a:gd name="connsiteX23" fmla="*/ 127529 w 184679"/>
                  <a:gd name="connsiteY23" fmla="*/ 97155 h 121708"/>
                  <a:gd name="connsiteX24" fmla="*/ 141817 w 184679"/>
                  <a:gd name="connsiteY24" fmla="*/ 89535 h 121708"/>
                  <a:gd name="connsiteX25" fmla="*/ 147532 w 184679"/>
                  <a:gd name="connsiteY25" fmla="*/ 80962 h 121708"/>
                  <a:gd name="connsiteX26" fmla="*/ 148484 w 184679"/>
                  <a:gd name="connsiteY26" fmla="*/ 77152 h 121708"/>
                  <a:gd name="connsiteX27" fmla="*/ 153247 w 184679"/>
                  <a:gd name="connsiteY27" fmla="*/ 75248 h 121708"/>
                  <a:gd name="connsiteX28" fmla="*/ 159914 w 184679"/>
                  <a:gd name="connsiteY28" fmla="*/ 68580 h 121708"/>
                  <a:gd name="connsiteX29" fmla="*/ 161819 w 184679"/>
                  <a:gd name="connsiteY29" fmla="*/ 61912 h 121708"/>
                  <a:gd name="connsiteX30" fmla="*/ 160867 w 184679"/>
                  <a:gd name="connsiteY30" fmla="*/ 53340 h 121708"/>
                  <a:gd name="connsiteX31" fmla="*/ 157057 w 184679"/>
                  <a:gd name="connsiteY31" fmla="*/ 44768 h 121708"/>
                  <a:gd name="connsiteX32" fmla="*/ 155151 w 184679"/>
                  <a:gd name="connsiteY32" fmla="*/ 40005 h 121708"/>
                  <a:gd name="connsiteX33" fmla="*/ 157057 w 184679"/>
                  <a:gd name="connsiteY33" fmla="*/ 35243 h 121708"/>
                  <a:gd name="connsiteX34" fmla="*/ 162772 w 184679"/>
                  <a:gd name="connsiteY34" fmla="*/ 31432 h 121708"/>
                  <a:gd name="connsiteX35" fmla="*/ 167534 w 184679"/>
                  <a:gd name="connsiteY35" fmla="*/ 29527 h 121708"/>
                  <a:gd name="connsiteX36" fmla="*/ 175154 w 184679"/>
                  <a:gd name="connsiteY36" fmla="*/ 26670 h 121708"/>
                  <a:gd name="connsiteX37" fmla="*/ 183726 w 184679"/>
                  <a:gd name="connsiteY37" fmla="*/ 22860 h 121708"/>
                  <a:gd name="connsiteX38" fmla="*/ 184679 w 184679"/>
                  <a:gd name="connsiteY38" fmla="*/ 16193 h 121708"/>
                  <a:gd name="connsiteX39" fmla="*/ 177059 w 184679"/>
                  <a:gd name="connsiteY39" fmla="*/ 12382 h 121708"/>
                  <a:gd name="connsiteX40" fmla="*/ 169439 w 184679"/>
                  <a:gd name="connsiteY40" fmla="*/ 12382 h 121708"/>
                  <a:gd name="connsiteX41" fmla="*/ 156104 w 184679"/>
                  <a:gd name="connsiteY41" fmla="*/ 5715 h 121708"/>
                  <a:gd name="connsiteX42" fmla="*/ 154199 w 184679"/>
                  <a:gd name="connsiteY42" fmla="*/ 1905 h 121708"/>
                  <a:gd name="connsiteX43" fmla="*/ 141817 w 184679"/>
                  <a:gd name="connsiteY43" fmla="*/ 0 h 121708"/>
                  <a:gd name="connsiteX44" fmla="*/ 131339 w 184679"/>
                  <a:gd name="connsiteY44" fmla="*/ 4763 h 121708"/>
                  <a:gd name="connsiteX45" fmla="*/ 126576 w 184679"/>
                  <a:gd name="connsiteY45" fmla="*/ 8573 h 121708"/>
                  <a:gd name="connsiteX46" fmla="*/ 118957 w 184679"/>
                  <a:gd name="connsiteY46" fmla="*/ 19050 h 121708"/>
                  <a:gd name="connsiteX47" fmla="*/ 98954 w 184679"/>
                  <a:gd name="connsiteY47" fmla="*/ 27623 h 121708"/>
                  <a:gd name="connsiteX48" fmla="*/ 90382 w 184679"/>
                  <a:gd name="connsiteY48" fmla="*/ 33337 h 121708"/>
                  <a:gd name="connsiteX49" fmla="*/ 85619 w 184679"/>
                  <a:gd name="connsiteY49" fmla="*/ 36195 h 121708"/>
                  <a:gd name="connsiteX50" fmla="*/ 63712 w 184679"/>
                  <a:gd name="connsiteY50" fmla="*/ 39052 h 121708"/>
                  <a:gd name="connsiteX51" fmla="*/ 58949 w 184679"/>
                  <a:gd name="connsiteY51" fmla="*/ 42862 h 121708"/>
                  <a:gd name="connsiteX52" fmla="*/ 57997 w 184679"/>
                  <a:gd name="connsiteY52" fmla="*/ 45720 h 121708"/>
                  <a:gd name="connsiteX53" fmla="*/ 50377 w 184679"/>
                  <a:gd name="connsiteY53" fmla="*/ 52387 h 121708"/>
                  <a:gd name="connsiteX54" fmla="*/ 36089 w 184679"/>
                  <a:gd name="connsiteY54" fmla="*/ 51435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79" h="121708">
                    <a:moveTo>
                      <a:pt x="36089" y="51435"/>
                    </a:moveTo>
                    <a:lnTo>
                      <a:pt x="20849" y="56198"/>
                    </a:lnTo>
                    <a:cubicBezTo>
                      <a:pt x="20849" y="56198"/>
                      <a:pt x="14182" y="55245"/>
                      <a:pt x="11324" y="56198"/>
                    </a:cubicBezTo>
                    <a:cubicBezTo>
                      <a:pt x="8467" y="57150"/>
                      <a:pt x="10372" y="54293"/>
                      <a:pt x="8467" y="57150"/>
                    </a:cubicBezTo>
                    <a:cubicBezTo>
                      <a:pt x="6562" y="60007"/>
                      <a:pt x="847" y="65723"/>
                      <a:pt x="847" y="67627"/>
                    </a:cubicBezTo>
                    <a:cubicBezTo>
                      <a:pt x="847" y="69532"/>
                      <a:pt x="-1058" y="71437"/>
                      <a:pt x="847" y="74295"/>
                    </a:cubicBezTo>
                    <a:cubicBezTo>
                      <a:pt x="2752" y="77152"/>
                      <a:pt x="-1058" y="72390"/>
                      <a:pt x="2752" y="77152"/>
                    </a:cubicBezTo>
                    <a:cubicBezTo>
                      <a:pt x="6562" y="80962"/>
                      <a:pt x="8467" y="80010"/>
                      <a:pt x="9419" y="83820"/>
                    </a:cubicBezTo>
                    <a:cubicBezTo>
                      <a:pt x="10372" y="87630"/>
                      <a:pt x="12277" y="86677"/>
                      <a:pt x="12277" y="91440"/>
                    </a:cubicBezTo>
                    <a:cubicBezTo>
                      <a:pt x="12277" y="96202"/>
                      <a:pt x="11324" y="100965"/>
                      <a:pt x="11324" y="100965"/>
                    </a:cubicBezTo>
                    <a:lnTo>
                      <a:pt x="17039" y="106680"/>
                    </a:lnTo>
                    <a:cubicBezTo>
                      <a:pt x="17039" y="106680"/>
                      <a:pt x="27517" y="111443"/>
                      <a:pt x="33232" y="112395"/>
                    </a:cubicBezTo>
                    <a:cubicBezTo>
                      <a:pt x="38947" y="114300"/>
                      <a:pt x="38947" y="114300"/>
                      <a:pt x="38947" y="114300"/>
                    </a:cubicBezTo>
                    <a:cubicBezTo>
                      <a:pt x="38947" y="114300"/>
                      <a:pt x="51329" y="113348"/>
                      <a:pt x="54187" y="113348"/>
                    </a:cubicBezTo>
                    <a:cubicBezTo>
                      <a:pt x="57997" y="113348"/>
                      <a:pt x="52282" y="114300"/>
                      <a:pt x="57997" y="113348"/>
                    </a:cubicBezTo>
                    <a:cubicBezTo>
                      <a:pt x="63712" y="112395"/>
                      <a:pt x="67522" y="112395"/>
                      <a:pt x="67522" y="112395"/>
                    </a:cubicBezTo>
                    <a:lnTo>
                      <a:pt x="80857" y="114300"/>
                    </a:lnTo>
                    <a:lnTo>
                      <a:pt x="89429" y="119062"/>
                    </a:lnTo>
                    <a:cubicBezTo>
                      <a:pt x="89429" y="119062"/>
                      <a:pt x="91334" y="119062"/>
                      <a:pt x="95144" y="120015"/>
                    </a:cubicBezTo>
                    <a:cubicBezTo>
                      <a:pt x="98002" y="120968"/>
                      <a:pt x="104669" y="120015"/>
                      <a:pt x="110384" y="120015"/>
                    </a:cubicBezTo>
                    <a:cubicBezTo>
                      <a:pt x="116099" y="120015"/>
                      <a:pt x="112289" y="123825"/>
                      <a:pt x="116099" y="120015"/>
                    </a:cubicBezTo>
                    <a:cubicBezTo>
                      <a:pt x="119909" y="116205"/>
                      <a:pt x="120862" y="108585"/>
                      <a:pt x="120862" y="108585"/>
                    </a:cubicBezTo>
                    <a:lnTo>
                      <a:pt x="120862" y="100965"/>
                    </a:lnTo>
                    <a:lnTo>
                      <a:pt x="127529" y="97155"/>
                    </a:lnTo>
                    <a:cubicBezTo>
                      <a:pt x="134197" y="93345"/>
                      <a:pt x="138959" y="91440"/>
                      <a:pt x="141817" y="89535"/>
                    </a:cubicBezTo>
                    <a:cubicBezTo>
                      <a:pt x="145626" y="87630"/>
                      <a:pt x="147532" y="80962"/>
                      <a:pt x="147532" y="80962"/>
                    </a:cubicBezTo>
                    <a:lnTo>
                      <a:pt x="148484" y="77152"/>
                    </a:lnTo>
                    <a:cubicBezTo>
                      <a:pt x="148484" y="77152"/>
                      <a:pt x="148484" y="76200"/>
                      <a:pt x="153247" y="75248"/>
                    </a:cubicBezTo>
                    <a:cubicBezTo>
                      <a:pt x="158009" y="74295"/>
                      <a:pt x="158962" y="70485"/>
                      <a:pt x="159914" y="68580"/>
                    </a:cubicBezTo>
                    <a:cubicBezTo>
                      <a:pt x="160867" y="66675"/>
                      <a:pt x="161819" y="64770"/>
                      <a:pt x="161819" y="61912"/>
                    </a:cubicBezTo>
                    <a:cubicBezTo>
                      <a:pt x="161819" y="59055"/>
                      <a:pt x="160867" y="53340"/>
                      <a:pt x="160867" y="53340"/>
                    </a:cubicBezTo>
                    <a:lnTo>
                      <a:pt x="157057" y="44768"/>
                    </a:lnTo>
                    <a:lnTo>
                      <a:pt x="155151" y="40005"/>
                    </a:lnTo>
                    <a:cubicBezTo>
                      <a:pt x="155151" y="40005"/>
                      <a:pt x="152294" y="38100"/>
                      <a:pt x="157057" y="35243"/>
                    </a:cubicBezTo>
                    <a:cubicBezTo>
                      <a:pt x="162772" y="31432"/>
                      <a:pt x="162772" y="31432"/>
                      <a:pt x="162772" y="31432"/>
                    </a:cubicBezTo>
                    <a:cubicBezTo>
                      <a:pt x="162772" y="31432"/>
                      <a:pt x="163724" y="30480"/>
                      <a:pt x="167534" y="29527"/>
                    </a:cubicBezTo>
                    <a:cubicBezTo>
                      <a:pt x="170392" y="28575"/>
                      <a:pt x="172297" y="26670"/>
                      <a:pt x="175154" y="26670"/>
                    </a:cubicBezTo>
                    <a:cubicBezTo>
                      <a:pt x="178012" y="26670"/>
                      <a:pt x="182774" y="26670"/>
                      <a:pt x="183726" y="22860"/>
                    </a:cubicBezTo>
                    <a:cubicBezTo>
                      <a:pt x="184679" y="19050"/>
                      <a:pt x="184679" y="16193"/>
                      <a:pt x="184679" y="16193"/>
                    </a:cubicBezTo>
                    <a:cubicBezTo>
                      <a:pt x="181822" y="13335"/>
                      <a:pt x="177059" y="12382"/>
                      <a:pt x="177059" y="12382"/>
                    </a:cubicBezTo>
                    <a:cubicBezTo>
                      <a:pt x="177059" y="12382"/>
                      <a:pt x="172297" y="12382"/>
                      <a:pt x="169439" y="12382"/>
                    </a:cubicBezTo>
                    <a:cubicBezTo>
                      <a:pt x="166582" y="12382"/>
                      <a:pt x="156104" y="5715"/>
                      <a:pt x="156104" y="5715"/>
                    </a:cubicBezTo>
                    <a:lnTo>
                      <a:pt x="154199" y="1905"/>
                    </a:lnTo>
                    <a:lnTo>
                      <a:pt x="141817" y="0"/>
                    </a:lnTo>
                    <a:lnTo>
                      <a:pt x="131339" y="4763"/>
                    </a:lnTo>
                    <a:cubicBezTo>
                      <a:pt x="131339" y="4763"/>
                      <a:pt x="126576" y="4763"/>
                      <a:pt x="126576" y="8573"/>
                    </a:cubicBezTo>
                    <a:cubicBezTo>
                      <a:pt x="126576" y="12382"/>
                      <a:pt x="125624" y="15240"/>
                      <a:pt x="118957" y="19050"/>
                    </a:cubicBezTo>
                    <a:cubicBezTo>
                      <a:pt x="112289" y="22860"/>
                      <a:pt x="98954" y="27623"/>
                      <a:pt x="98954" y="27623"/>
                    </a:cubicBezTo>
                    <a:cubicBezTo>
                      <a:pt x="97049" y="31432"/>
                      <a:pt x="94192" y="30480"/>
                      <a:pt x="90382" y="33337"/>
                    </a:cubicBezTo>
                    <a:cubicBezTo>
                      <a:pt x="85619" y="36195"/>
                      <a:pt x="98002" y="34290"/>
                      <a:pt x="85619" y="36195"/>
                    </a:cubicBezTo>
                    <a:cubicBezTo>
                      <a:pt x="73237" y="38100"/>
                      <a:pt x="63712" y="37148"/>
                      <a:pt x="63712" y="39052"/>
                    </a:cubicBezTo>
                    <a:cubicBezTo>
                      <a:pt x="63712" y="40957"/>
                      <a:pt x="60854" y="40005"/>
                      <a:pt x="58949" y="42862"/>
                    </a:cubicBezTo>
                    <a:cubicBezTo>
                      <a:pt x="57997" y="45720"/>
                      <a:pt x="65617" y="39052"/>
                      <a:pt x="57997" y="45720"/>
                    </a:cubicBezTo>
                    <a:cubicBezTo>
                      <a:pt x="50377" y="52387"/>
                      <a:pt x="50377" y="52387"/>
                      <a:pt x="50377" y="52387"/>
                    </a:cubicBezTo>
                    <a:lnTo>
                      <a:pt x="36089" y="51435"/>
                    </a:lnTo>
                    <a:close/>
                  </a:path>
                </a:pathLst>
              </a:custGeom>
              <a:grpFill/>
              <a:ln w="9525" cap="flat">
                <a:noFill/>
                <a:prstDash val="solid"/>
                <a:miter/>
              </a:ln>
            </p:spPr>
            <p:txBody>
              <a:bodyPr rtlCol="0" anchor="ctr"/>
              <a:lstStyle/>
              <a:p>
                <a:endParaRPr lang="en-US" sz="1765"/>
              </a:p>
            </p:txBody>
          </p:sp>
          <p:sp>
            <p:nvSpPr>
              <p:cNvPr id="51" name="Freeform: Shape 50">
                <a:extLst>
                  <a:ext uri="{FF2B5EF4-FFF2-40B4-BE49-F238E27FC236}">
                    <a16:creationId xmlns:a16="http://schemas.microsoft.com/office/drawing/2014/main" id="{378A2351-D210-4DEF-9292-E194A4C09812}"/>
                  </a:ext>
                </a:extLst>
              </p:cNvPr>
              <p:cNvSpPr/>
              <p:nvPr/>
            </p:nvSpPr>
            <p:spPr>
              <a:xfrm>
                <a:off x="10261229" y="4082144"/>
                <a:ext cx="82949" cy="53339"/>
              </a:xfrm>
              <a:custGeom>
                <a:avLst/>
                <a:gdLst>
                  <a:gd name="connsiteX0" fmla="*/ 76282 w 82949"/>
                  <a:gd name="connsiteY0" fmla="*/ 0 h 53339"/>
                  <a:gd name="connsiteX1" fmla="*/ 53422 w 82949"/>
                  <a:gd name="connsiteY1" fmla="*/ 2857 h 53339"/>
                  <a:gd name="connsiteX2" fmla="*/ 41992 w 82949"/>
                  <a:gd name="connsiteY2" fmla="*/ 3810 h 53339"/>
                  <a:gd name="connsiteX3" fmla="*/ 16274 w 82949"/>
                  <a:gd name="connsiteY3" fmla="*/ 3810 h 53339"/>
                  <a:gd name="connsiteX4" fmla="*/ 7702 w 82949"/>
                  <a:gd name="connsiteY4" fmla="*/ 8572 h 53339"/>
                  <a:gd name="connsiteX5" fmla="*/ 82 w 82949"/>
                  <a:gd name="connsiteY5" fmla="*/ 18097 h 53339"/>
                  <a:gd name="connsiteX6" fmla="*/ 1035 w 82949"/>
                  <a:gd name="connsiteY6" fmla="*/ 20002 h 53339"/>
                  <a:gd name="connsiteX7" fmla="*/ 8654 w 82949"/>
                  <a:gd name="connsiteY7" fmla="*/ 26670 h 53339"/>
                  <a:gd name="connsiteX8" fmla="*/ 10560 w 82949"/>
                  <a:gd name="connsiteY8" fmla="*/ 31432 h 53339"/>
                  <a:gd name="connsiteX9" fmla="*/ 8654 w 82949"/>
                  <a:gd name="connsiteY9" fmla="*/ 38100 h 53339"/>
                  <a:gd name="connsiteX10" fmla="*/ 4845 w 82949"/>
                  <a:gd name="connsiteY10" fmla="*/ 45720 h 53339"/>
                  <a:gd name="connsiteX11" fmla="*/ 3892 w 82949"/>
                  <a:gd name="connsiteY11" fmla="*/ 50482 h 53339"/>
                  <a:gd name="connsiteX12" fmla="*/ 10560 w 82949"/>
                  <a:gd name="connsiteY12" fmla="*/ 53340 h 53339"/>
                  <a:gd name="connsiteX13" fmla="*/ 19132 w 82949"/>
                  <a:gd name="connsiteY13" fmla="*/ 53340 h 53339"/>
                  <a:gd name="connsiteX14" fmla="*/ 23895 w 82949"/>
                  <a:gd name="connsiteY14" fmla="*/ 52388 h 53339"/>
                  <a:gd name="connsiteX15" fmla="*/ 21990 w 82949"/>
                  <a:gd name="connsiteY15" fmla="*/ 44767 h 53339"/>
                  <a:gd name="connsiteX16" fmla="*/ 24847 w 82949"/>
                  <a:gd name="connsiteY16" fmla="*/ 36195 h 53339"/>
                  <a:gd name="connsiteX17" fmla="*/ 28657 w 82949"/>
                  <a:gd name="connsiteY17" fmla="*/ 32385 h 53339"/>
                  <a:gd name="connsiteX18" fmla="*/ 37229 w 82949"/>
                  <a:gd name="connsiteY18" fmla="*/ 32385 h 53339"/>
                  <a:gd name="connsiteX19" fmla="*/ 42945 w 82949"/>
                  <a:gd name="connsiteY19" fmla="*/ 31432 h 53339"/>
                  <a:gd name="connsiteX20" fmla="*/ 45802 w 82949"/>
                  <a:gd name="connsiteY20" fmla="*/ 35242 h 53339"/>
                  <a:gd name="connsiteX21" fmla="*/ 49612 w 82949"/>
                  <a:gd name="connsiteY21" fmla="*/ 41910 h 53339"/>
                  <a:gd name="connsiteX22" fmla="*/ 57232 w 82949"/>
                  <a:gd name="connsiteY22" fmla="*/ 48577 h 53339"/>
                  <a:gd name="connsiteX23" fmla="*/ 62947 w 82949"/>
                  <a:gd name="connsiteY23" fmla="*/ 50482 h 53339"/>
                  <a:gd name="connsiteX24" fmla="*/ 67710 w 82949"/>
                  <a:gd name="connsiteY24" fmla="*/ 50482 h 53339"/>
                  <a:gd name="connsiteX25" fmla="*/ 69615 w 82949"/>
                  <a:gd name="connsiteY25" fmla="*/ 43815 h 53339"/>
                  <a:gd name="connsiteX26" fmla="*/ 75329 w 82949"/>
                  <a:gd name="connsiteY26" fmla="*/ 42863 h 53339"/>
                  <a:gd name="connsiteX27" fmla="*/ 81045 w 82949"/>
                  <a:gd name="connsiteY27" fmla="*/ 41910 h 53339"/>
                  <a:gd name="connsiteX28" fmla="*/ 81997 w 82949"/>
                  <a:gd name="connsiteY28" fmla="*/ 32385 h 53339"/>
                  <a:gd name="connsiteX29" fmla="*/ 82949 w 82949"/>
                  <a:gd name="connsiteY29" fmla="*/ 28575 h 53339"/>
                  <a:gd name="connsiteX30" fmla="*/ 81045 w 82949"/>
                  <a:gd name="connsiteY30" fmla="*/ 24765 h 53339"/>
                  <a:gd name="connsiteX31" fmla="*/ 70567 w 82949"/>
                  <a:gd name="connsiteY31" fmla="*/ 20002 h 53339"/>
                  <a:gd name="connsiteX32" fmla="*/ 64852 w 82949"/>
                  <a:gd name="connsiteY32" fmla="*/ 14288 h 53339"/>
                  <a:gd name="connsiteX33" fmla="*/ 71520 w 82949"/>
                  <a:gd name="connsiteY33" fmla="*/ 8572 h 53339"/>
                  <a:gd name="connsiteX34" fmla="*/ 76282 w 82949"/>
                  <a:gd name="connsiteY34" fmla="*/ 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949" h="53339">
                    <a:moveTo>
                      <a:pt x="76282" y="0"/>
                    </a:moveTo>
                    <a:cubicBezTo>
                      <a:pt x="76282" y="0"/>
                      <a:pt x="56279" y="1905"/>
                      <a:pt x="53422" y="2857"/>
                    </a:cubicBezTo>
                    <a:cubicBezTo>
                      <a:pt x="49612" y="3810"/>
                      <a:pt x="41992" y="3810"/>
                      <a:pt x="41992" y="3810"/>
                    </a:cubicBezTo>
                    <a:lnTo>
                      <a:pt x="16274" y="3810"/>
                    </a:lnTo>
                    <a:cubicBezTo>
                      <a:pt x="10560" y="4763"/>
                      <a:pt x="8654" y="5715"/>
                      <a:pt x="7702" y="8572"/>
                    </a:cubicBezTo>
                    <a:cubicBezTo>
                      <a:pt x="6749" y="11430"/>
                      <a:pt x="-871" y="15240"/>
                      <a:pt x="82" y="18097"/>
                    </a:cubicBezTo>
                    <a:cubicBezTo>
                      <a:pt x="1035" y="20002"/>
                      <a:pt x="1035" y="20002"/>
                      <a:pt x="1035" y="20002"/>
                    </a:cubicBezTo>
                    <a:lnTo>
                      <a:pt x="8654" y="26670"/>
                    </a:lnTo>
                    <a:lnTo>
                      <a:pt x="10560" y="31432"/>
                    </a:lnTo>
                    <a:cubicBezTo>
                      <a:pt x="10560" y="31432"/>
                      <a:pt x="10560" y="34290"/>
                      <a:pt x="8654" y="38100"/>
                    </a:cubicBezTo>
                    <a:cubicBezTo>
                      <a:pt x="6749" y="41910"/>
                      <a:pt x="6749" y="43815"/>
                      <a:pt x="4845" y="45720"/>
                    </a:cubicBezTo>
                    <a:cubicBezTo>
                      <a:pt x="3892" y="47625"/>
                      <a:pt x="3892" y="50482"/>
                      <a:pt x="3892" y="50482"/>
                    </a:cubicBezTo>
                    <a:lnTo>
                      <a:pt x="10560" y="53340"/>
                    </a:lnTo>
                    <a:lnTo>
                      <a:pt x="19132" y="53340"/>
                    </a:lnTo>
                    <a:lnTo>
                      <a:pt x="23895" y="52388"/>
                    </a:lnTo>
                    <a:lnTo>
                      <a:pt x="21990" y="44767"/>
                    </a:lnTo>
                    <a:lnTo>
                      <a:pt x="24847" y="36195"/>
                    </a:lnTo>
                    <a:lnTo>
                      <a:pt x="28657" y="32385"/>
                    </a:lnTo>
                    <a:lnTo>
                      <a:pt x="37229" y="32385"/>
                    </a:lnTo>
                    <a:lnTo>
                      <a:pt x="42945" y="31432"/>
                    </a:lnTo>
                    <a:cubicBezTo>
                      <a:pt x="42945" y="31432"/>
                      <a:pt x="44849" y="33338"/>
                      <a:pt x="45802" y="35242"/>
                    </a:cubicBezTo>
                    <a:cubicBezTo>
                      <a:pt x="46754" y="37147"/>
                      <a:pt x="47707" y="39052"/>
                      <a:pt x="49612" y="41910"/>
                    </a:cubicBezTo>
                    <a:cubicBezTo>
                      <a:pt x="51517" y="45720"/>
                      <a:pt x="57232" y="48577"/>
                      <a:pt x="57232" y="48577"/>
                    </a:cubicBezTo>
                    <a:lnTo>
                      <a:pt x="62947" y="50482"/>
                    </a:lnTo>
                    <a:lnTo>
                      <a:pt x="67710" y="50482"/>
                    </a:lnTo>
                    <a:cubicBezTo>
                      <a:pt x="67710" y="50482"/>
                      <a:pt x="64852" y="45720"/>
                      <a:pt x="69615" y="43815"/>
                    </a:cubicBezTo>
                    <a:cubicBezTo>
                      <a:pt x="75329" y="42863"/>
                      <a:pt x="75329" y="42863"/>
                      <a:pt x="75329" y="42863"/>
                    </a:cubicBezTo>
                    <a:lnTo>
                      <a:pt x="81045" y="41910"/>
                    </a:lnTo>
                    <a:lnTo>
                      <a:pt x="81997" y="32385"/>
                    </a:lnTo>
                    <a:lnTo>
                      <a:pt x="82949" y="28575"/>
                    </a:lnTo>
                    <a:lnTo>
                      <a:pt x="81045" y="24765"/>
                    </a:lnTo>
                    <a:lnTo>
                      <a:pt x="70567" y="20002"/>
                    </a:lnTo>
                    <a:lnTo>
                      <a:pt x="64852" y="14288"/>
                    </a:lnTo>
                    <a:cubicBezTo>
                      <a:pt x="64852" y="14288"/>
                      <a:pt x="68662" y="10477"/>
                      <a:pt x="71520" y="8572"/>
                    </a:cubicBezTo>
                    <a:cubicBezTo>
                      <a:pt x="73424" y="6667"/>
                      <a:pt x="76282" y="0"/>
                      <a:pt x="76282" y="0"/>
                    </a:cubicBezTo>
                    <a:close/>
                  </a:path>
                </a:pathLst>
              </a:custGeom>
              <a:grpFill/>
              <a:ln w="9525" cap="flat">
                <a:noFill/>
                <a:prstDash val="solid"/>
                <a:miter/>
              </a:ln>
            </p:spPr>
            <p:txBody>
              <a:bodyPr rtlCol="0" anchor="ctr"/>
              <a:lstStyle/>
              <a:p>
                <a:endParaRPr lang="en-US" sz="1765"/>
              </a:p>
            </p:txBody>
          </p:sp>
          <p:sp>
            <p:nvSpPr>
              <p:cNvPr id="52" name="Freeform: Shape 51">
                <a:extLst>
                  <a:ext uri="{FF2B5EF4-FFF2-40B4-BE49-F238E27FC236}">
                    <a16:creationId xmlns:a16="http://schemas.microsoft.com/office/drawing/2014/main" id="{B5340F61-72D8-4376-A3F3-63B049750B87}"/>
                  </a:ext>
                </a:extLst>
              </p:cNvPr>
              <p:cNvSpPr/>
              <p:nvPr/>
            </p:nvSpPr>
            <p:spPr>
              <a:xfrm>
                <a:off x="10282596" y="4057140"/>
                <a:ext cx="88252" cy="16430"/>
              </a:xfrm>
              <a:custGeom>
                <a:avLst/>
                <a:gdLst>
                  <a:gd name="connsiteX0" fmla="*/ 83490 w 88252"/>
                  <a:gd name="connsiteY0" fmla="*/ 7858 h 16430"/>
                  <a:gd name="connsiteX1" fmla="*/ 69202 w 88252"/>
                  <a:gd name="connsiteY1" fmla="*/ 12621 h 16430"/>
                  <a:gd name="connsiteX2" fmla="*/ 51105 w 88252"/>
                  <a:gd name="connsiteY2" fmla="*/ 13573 h 16430"/>
                  <a:gd name="connsiteX3" fmla="*/ 34912 w 88252"/>
                  <a:gd name="connsiteY3" fmla="*/ 13573 h 16430"/>
                  <a:gd name="connsiteX4" fmla="*/ 16815 w 88252"/>
                  <a:gd name="connsiteY4" fmla="*/ 16431 h 16430"/>
                  <a:gd name="connsiteX5" fmla="*/ 4432 w 88252"/>
                  <a:gd name="connsiteY5" fmla="*/ 16431 h 16430"/>
                  <a:gd name="connsiteX6" fmla="*/ 622 w 88252"/>
                  <a:gd name="connsiteY6" fmla="*/ 10716 h 16430"/>
                  <a:gd name="connsiteX7" fmla="*/ 1574 w 88252"/>
                  <a:gd name="connsiteY7" fmla="*/ 7858 h 16430"/>
                  <a:gd name="connsiteX8" fmla="*/ 4432 w 88252"/>
                  <a:gd name="connsiteY8" fmla="*/ 7858 h 16430"/>
                  <a:gd name="connsiteX9" fmla="*/ 15862 w 88252"/>
                  <a:gd name="connsiteY9" fmla="*/ 5953 h 16430"/>
                  <a:gd name="connsiteX10" fmla="*/ 32055 w 88252"/>
                  <a:gd name="connsiteY10" fmla="*/ 4048 h 16430"/>
                  <a:gd name="connsiteX11" fmla="*/ 45390 w 88252"/>
                  <a:gd name="connsiteY11" fmla="*/ 238 h 16430"/>
                  <a:gd name="connsiteX12" fmla="*/ 53962 w 88252"/>
                  <a:gd name="connsiteY12" fmla="*/ 1191 h 16430"/>
                  <a:gd name="connsiteX13" fmla="*/ 68249 w 88252"/>
                  <a:gd name="connsiteY13" fmla="*/ 2143 h 16430"/>
                  <a:gd name="connsiteX14" fmla="*/ 80632 w 88252"/>
                  <a:gd name="connsiteY14" fmla="*/ 238 h 16430"/>
                  <a:gd name="connsiteX15" fmla="*/ 88252 w 88252"/>
                  <a:gd name="connsiteY15" fmla="*/ 238 h 16430"/>
                  <a:gd name="connsiteX16" fmla="*/ 83490 w 88252"/>
                  <a:gd name="connsiteY16" fmla="*/ 7858 h 1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252" h="16430">
                    <a:moveTo>
                      <a:pt x="83490" y="7858"/>
                    </a:moveTo>
                    <a:cubicBezTo>
                      <a:pt x="83490" y="7858"/>
                      <a:pt x="74917" y="11668"/>
                      <a:pt x="69202" y="12621"/>
                    </a:cubicBezTo>
                    <a:cubicBezTo>
                      <a:pt x="63487" y="13573"/>
                      <a:pt x="56819" y="13573"/>
                      <a:pt x="51105" y="13573"/>
                    </a:cubicBezTo>
                    <a:cubicBezTo>
                      <a:pt x="45390" y="13573"/>
                      <a:pt x="38722" y="12621"/>
                      <a:pt x="34912" y="13573"/>
                    </a:cubicBezTo>
                    <a:cubicBezTo>
                      <a:pt x="30149" y="14526"/>
                      <a:pt x="16815" y="16431"/>
                      <a:pt x="16815" y="16431"/>
                    </a:cubicBezTo>
                    <a:lnTo>
                      <a:pt x="4432" y="16431"/>
                    </a:lnTo>
                    <a:lnTo>
                      <a:pt x="622" y="10716"/>
                    </a:lnTo>
                    <a:cubicBezTo>
                      <a:pt x="622" y="10716"/>
                      <a:pt x="-1283" y="7858"/>
                      <a:pt x="1574" y="7858"/>
                    </a:cubicBezTo>
                    <a:cubicBezTo>
                      <a:pt x="4432" y="7858"/>
                      <a:pt x="622" y="8811"/>
                      <a:pt x="4432" y="7858"/>
                    </a:cubicBezTo>
                    <a:cubicBezTo>
                      <a:pt x="9194" y="6906"/>
                      <a:pt x="15862" y="5953"/>
                      <a:pt x="15862" y="5953"/>
                    </a:cubicBezTo>
                    <a:lnTo>
                      <a:pt x="32055" y="4048"/>
                    </a:lnTo>
                    <a:lnTo>
                      <a:pt x="45390" y="238"/>
                    </a:lnTo>
                    <a:cubicBezTo>
                      <a:pt x="45390" y="238"/>
                      <a:pt x="47294" y="-714"/>
                      <a:pt x="53962" y="1191"/>
                    </a:cubicBezTo>
                    <a:cubicBezTo>
                      <a:pt x="60630" y="3096"/>
                      <a:pt x="62535" y="2143"/>
                      <a:pt x="68249" y="2143"/>
                    </a:cubicBezTo>
                    <a:cubicBezTo>
                      <a:pt x="73965" y="2143"/>
                      <a:pt x="80632" y="238"/>
                      <a:pt x="80632" y="238"/>
                    </a:cubicBezTo>
                    <a:lnTo>
                      <a:pt x="88252" y="238"/>
                    </a:lnTo>
                    <a:lnTo>
                      <a:pt x="83490" y="7858"/>
                    </a:lnTo>
                    <a:close/>
                  </a:path>
                </a:pathLst>
              </a:custGeom>
              <a:grpFill/>
              <a:ln w="9525" cap="flat">
                <a:noFill/>
                <a:prstDash val="solid"/>
                <a:miter/>
              </a:ln>
            </p:spPr>
            <p:txBody>
              <a:bodyPr rtlCol="0" anchor="ctr"/>
              <a:lstStyle/>
              <a:p>
                <a:endParaRPr lang="en-US" sz="1765"/>
              </a:p>
            </p:txBody>
          </p:sp>
          <p:sp>
            <p:nvSpPr>
              <p:cNvPr id="53" name="Freeform: Shape 52">
                <a:extLst>
                  <a:ext uri="{FF2B5EF4-FFF2-40B4-BE49-F238E27FC236}">
                    <a16:creationId xmlns:a16="http://schemas.microsoft.com/office/drawing/2014/main" id="{AA3248A0-B972-415B-8966-403B2868E56A}"/>
                  </a:ext>
                </a:extLst>
              </p:cNvPr>
              <p:cNvSpPr/>
              <p:nvPr/>
            </p:nvSpPr>
            <p:spPr>
              <a:xfrm>
                <a:off x="10345817" y="4157391"/>
                <a:ext cx="73609" cy="38100"/>
              </a:xfrm>
              <a:custGeom>
                <a:avLst/>
                <a:gdLst>
                  <a:gd name="connsiteX0" fmla="*/ 54559 w 73609"/>
                  <a:gd name="connsiteY0" fmla="*/ 4763 h 38100"/>
                  <a:gd name="connsiteX1" fmla="*/ 45986 w 73609"/>
                  <a:gd name="connsiteY1" fmla="*/ 8572 h 38100"/>
                  <a:gd name="connsiteX2" fmla="*/ 37414 w 73609"/>
                  <a:gd name="connsiteY2" fmla="*/ 10478 h 38100"/>
                  <a:gd name="connsiteX3" fmla="*/ 34557 w 73609"/>
                  <a:gd name="connsiteY3" fmla="*/ 10478 h 38100"/>
                  <a:gd name="connsiteX4" fmla="*/ 29794 w 73609"/>
                  <a:gd name="connsiteY4" fmla="*/ 14288 h 38100"/>
                  <a:gd name="connsiteX5" fmla="*/ 9792 w 73609"/>
                  <a:gd name="connsiteY5" fmla="*/ 20003 h 38100"/>
                  <a:gd name="connsiteX6" fmla="*/ 8839 w 73609"/>
                  <a:gd name="connsiteY6" fmla="*/ 21908 h 38100"/>
                  <a:gd name="connsiteX7" fmla="*/ 1219 w 73609"/>
                  <a:gd name="connsiteY7" fmla="*/ 28575 h 38100"/>
                  <a:gd name="connsiteX8" fmla="*/ 267 w 73609"/>
                  <a:gd name="connsiteY8" fmla="*/ 32385 h 38100"/>
                  <a:gd name="connsiteX9" fmla="*/ 8839 w 73609"/>
                  <a:gd name="connsiteY9" fmla="*/ 38100 h 38100"/>
                  <a:gd name="connsiteX10" fmla="*/ 17411 w 73609"/>
                  <a:gd name="connsiteY10" fmla="*/ 35242 h 38100"/>
                  <a:gd name="connsiteX11" fmla="*/ 23127 w 73609"/>
                  <a:gd name="connsiteY11" fmla="*/ 25717 h 38100"/>
                  <a:gd name="connsiteX12" fmla="*/ 29794 w 73609"/>
                  <a:gd name="connsiteY12" fmla="*/ 19050 h 38100"/>
                  <a:gd name="connsiteX13" fmla="*/ 36461 w 73609"/>
                  <a:gd name="connsiteY13" fmla="*/ 19050 h 38100"/>
                  <a:gd name="connsiteX14" fmla="*/ 55511 w 73609"/>
                  <a:gd name="connsiteY14" fmla="*/ 15240 h 38100"/>
                  <a:gd name="connsiteX15" fmla="*/ 59322 w 73609"/>
                  <a:gd name="connsiteY15" fmla="*/ 12383 h 38100"/>
                  <a:gd name="connsiteX16" fmla="*/ 72657 w 73609"/>
                  <a:gd name="connsiteY16" fmla="*/ 8572 h 38100"/>
                  <a:gd name="connsiteX17" fmla="*/ 73609 w 73609"/>
                  <a:gd name="connsiteY17" fmla="*/ 4763 h 38100"/>
                  <a:gd name="connsiteX18" fmla="*/ 66942 w 73609"/>
                  <a:gd name="connsiteY18" fmla="*/ 0 h 38100"/>
                  <a:gd name="connsiteX19" fmla="*/ 54559 w 73609"/>
                  <a:gd name="connsiteY19" fmla="*/ 47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09" h="38100">
                    <a:moveTo>
                      <a:pt x="54559" y="4763"/>
                    </a:moveTo>
                    <a:cubicBezTo>
                      <a:pt x="54559" y="4763"/>
                      <a:pt x="47892" y="5715"/>
                      <a:pt x="45986" y="8572"/>
                    </a:cubicBezTo>
                    <a:cubicBezTo>
                      <a:pt x="44082" y="10478"/>
                      <a:pt x="40272" y="10478"/>
                      <a:pt x="37414" y="10478"/>
                    </a:cubicBezTo>
                    <a:cubicBezTo>
                      <a:pt x="34557" y="10478"/>
                      <a:pt x="38367" y="6667"/>
                      <a:pt x="34557" y="10478"/>
                    </a:cubicBezTo>
                    <a:cubicBezTo>
                      <a:pt x="29794" y="14288"/>
                      <a:pt x="41224" y="12383"/>
                      <a:pt x="29794" y="14288"/>
                    </a:cubicBezTo>
                    <a:cubicBezTo>
                      <a:pt x="18364" y="17145"/>
                      <a:pt x="10744" y="18097"/>
                      <a:pt x="9792" y="20003"/>
                    </a:cubicBezTo>
                    <a:cubicBezTo>
                      <a:pt x="8839" y="21908"/>
                      <a:pt x="12649" y="19050"/>
                      <a:pt x="8839" y="21908"/>
                    </a:cubicBezTo>
                    <a:cubicBezTo>
                      <a:pt x="4077" y="24765"/>
                      <a:pt x="1219" y="28575"/>
                      <a:pt x="1219" y="28575"/>
                    </a:cubicBezTo>
                    <a:cubicBezTo>
                      <a:pt x="1219" y="28575"/>
                      <a:pt x="-686" y="28575"/>
                      <a:pt x="267" y="32385"/>
                    </a:cubicBezTo>
                    <a:cubicBezTo>
                      <a:pt x="1219" y="36195"/>
                      <a:pt x="8839" y="38100"/>
                      <a:pt x="8839" y="38100"/>
                    </a:cubicBezTo>
                    <a:cubicBezTo>
                      <a:pt x="8839" y="38100"/>
                      <a:pt x="15507" y="38100"/>
                      <a:pt x="17411" y="35242"/>
                    </a:cubicBezTo>
                    <a:cubicBezTo>
                      <a:pt x="19317" y="32385"/>
                      <a:pt x="21222" y="29528"/>
                      <a:pt x="23127" y="25717"/>
                    </a:cubicBezTo>
                    <a:cubicBezTo>
                      <a:pt x="25032" y="21908"/>
                      <a:pt x="29794" y="19050"/>
                      <a:pt x="29794" y="19050"/>
                    </a:cubicBezTo>
                    <a:lnTo>
                      <a:pt x="36461" y="19050"/>
                    </a:lnTo>
                    <a:lnTo>
                      <a:pt x="55511" y="15240"/>
                    </a:lnTo>
                    <a:lnTo>
                      <a:pt x="59322" y="12383"/>
                    </a:lnTo>
                    <a:lnTo>
                      <a:pt x="72657" y="8572"/>
                    </a:lnTo>
                    <a:lnTo>
                      <a:pt x="73609" y="4763"/>
                    </a:lnTo>
                    <a:lnTo>
                      <a:pt x="66942" y="0"/>
                    </a:lnTo>
                    <a:lnTo>
                      <a:pt x="54559" y="4763"/>
                    </a:lnTo>
                    <a:close/>
                  </a:path>
                </a:pathLst>
              </a:custGeom>
              <a:grpFill/>
              <a:ln w="9525" cap="flat">
                <a:noFill/>
                <a:prstDash val="solid"/>
                <a:miter/>
              </a:ln>
            </p:spPr>
            <p:txBody>
              <a:bodyPr rtlCol="0" anchor="ctr"/>
              <a:lstStyle/>
              <a:p>
                <a:endParaRPr lang="en-US" sz="1765"/>
              </a:p>
            </p:txBody>
          </p:sp>
          <p:sp>
            <p:nvSpPr>
              <p:cNvPr id="54" name="Freeform: Shape 53">
                <a:extLst>
                  <a:ext uri="{FF2B5EF4-FFF2-40B4-BE49-F238E27FC236}">
                    <a16:creationId xmlns:a16="http://schemas.microsoft.com/office/drawing/2014/main" id="{1AD2861C-29EE-46FF-8F52-E2EF9A3033A2}"/>
                  </a:ext>
                </a:extLst>
              </p:cNvPr>
              <p:cNvSpPr/>
              <p:nvPr/>
            </p:nvSpPr>
            <p:spPr>
              <a:xfrm>
                <a:off x="10318778" y="3951228"/>
                <a:ext cx="81597" cy="61383"/>
              </a:xfrm>
              <a:custGeom>
                <a:avLst/>
                <a:gdLst>
                  <a:gd name="connsiteX0" fmla="*/ 79692 w 81597"/>
                  <a:gd name="connsiteY0" fmla="*/ 49001 h 61383"/>
                  <a:gd name="connsiteX1" fmla="*/ 74930 w 81597"/>
                  <a:gd name="connsiteY1" fmla="*/ 53763 h 61383"/>
                  <a:gd name="connsiteX2" fmla="*/ 70167 w 81597"/>
                  <a:gd name="connsiteY2" fmla="*/ 59478 h 61383"/>
                  <a:gd name="connsiteX3" fmla="*/ 56833 w 81597"/>
                  <a:gd name="connsiteY3" fmla="*/ 61383 h 61383"/>
                  <a:gd name="connsiteX4" fmla="*/ 50165 w 81597"/>
                  <a:gd name="connsiteY4" fmla="*/ 58526 h 61383"/>
                  <a:gd name="connsiteX5" fmla="*/ 49212 w 81597"/>
                  <a:gd name="connsiteY5" fmla="*/ 54716 h 61383"/>
                  <a:gd name="connsiteX6" fmla="*/ 45403 w 81597"/>
                  <a:gd name="connsiteY6" fmla="*/ 49001 h 61383"/>
                  <a:gd name="connsiteX7" fmla="*/ 42545 w 81597"/>
                  <a:gd name="connsiteY7" fmla="*/ 43286 h 61383"/>
                  <a:gd name="connsiteX8" fmla="*/ 37783 w 81597"/>
                  <a:gd name="connsiteY8" fmla="*/ 41381 h 61383"/>
                  <a:gd name="connsiteX9" fmla="*/ 31115 w 81597"/>
                  <a:gd name="connsiteY9" fmla="*/ 41381 h 61383"/>
                  <a:gd name="connsiteX10" fmla="*/ 23495 w 81597"/>
                  <a:gd name="connsiteY10" fmla="*/ 44238 h 61383"/>
                  <a:gd name="connsiteX11" fmla="*/ 12065 w 81597"/>
                  <a:gd name="connsiteY11" fmla="*/ 44238 h 61383"/>
                  <a:gd name="connsiteX12" fmla="*/ 2540 w 81597"/>
                  <a:gd name="connsiteY12" fmla="*/ 40428 h 61383"/>
                  <a:gd name="connsiteX13" fmla="*/ 2540 w 81597"/>
                  <a:gd name="connsiteY13" fmla="*/ 30903 h 61383"/>
                  <a:gd name="connsiteX14" fmla="*/ 14923 w 81597"/>
                  <a:gd name="connsiteY14" fmla="*/ 28998 h 61383"/>
                  <a:gd name="connsiteX15" fmla="*/ 20637 w 81597"/>
                  <a:gd name="connsiteY15" fmla="*/ 28998 h 61383"/>
                  <a:gd name="connsiteX16" fmla="*/ 19685 w 81597"/>
                  <a:gd name="connsiteY16" fmla="*/ 19473 h 61383"/>
                  <a:gd name="connsiteX17" fmla="*/ 13017 w 81597"/>
                  <a:gd name="connsiteY17" fmla="*/ 12806 h 61383"/>
                  <a:gd name="connsiteX18" fmla="*/ 2540 w 81597"/>
                  <a:gd name="connsiteY18" fmla="*/ 6138 h 61383"/>
                  <a:gd name="connsiteX19" fmla="*/ 1587 w 81597"/>
                  <a:gd name="connsiteY19" fmla="*/ 2328 h 61383"/>
                  <a:gd name="connsiteX20" fmla="*/ 9208 w 81597"/>
                  <a:gd name="connsiteY20" fmla="*/ 423 h 61383"/>
                  <a:gd name="connsiteX21" fmla="*/ 13970 w 81597"/>
                  <a:gd name="connsiteY21" fmla="*/ 423 h 61383"/>
                  <a:gd name="connsiteX22" fmla="*/ 29210 w 81597"/>
                  <a:gd name="connsiteY22" fmla="*/ 1376 h 61383"/>
                  <a:gd name="connsiteX23" fmla="*/ 31115 w 81597"/>
                  <a:gd name="connsiteY23" fmla="*/ 5186 h 61383"/>
                  <a:gd name="connsiteX24" fmla="*/ 40640 w 81597"/>
                  <a:gd name="connsiteY24" fmla="*/ 13758 h 61383"/>
                  <a:gd name="connsiteX25" fmla="*/ 54928 w 81597"/>
                  <a:gd name="connsiteY25" fmla="*/ 15663 h 61383"/>
                  <a:gd name="connsiteX26" fmla="*/ 64453 w 81597"/>
                  <a:gd name="connsiteY26" fmla="*/ 15663 h 61383"/>
                  <a:gd name="connsiteX27" fmla="*/ 72073 w 81597"/>
                  <a:gd name="connsiteY27" fmla="*/ 16616 h 61383"/>
                  <a:gd name="connsiteX28" fmla="*/ 81598 w 81597"/>
                  <a:gd name="connsiteY28" fmla="*/ 24236 h 61383"/>
                  <a:gd name="connsiteX29" fmla="*/ 81598 w 81597"/>
                  <a:gd name="connsiteY29" fmla="*/ 29951 h 61383"/>
                  <a:gd name="connsiteX30" fmla="*/ 81598 w 81597"/>
                  <a:gd name="connsiteY30" fmla="*/ 33761 h 61383"/>
                  <a:gd name="connsiteX31" fmla="*/ 79692 w 81597"/>
                  <a:gd name="connsiteY31" fmla="*/ 39476 h 61383"/>
                  <a:gd name="connsiteX32" fmla="*/ 79692 w 81597"/>
                  <a:gd name="connsiteY32" fmla="*/ 49001 h 6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597" h="61383">
                    <a:moveTo>
                      <a:pt x="79692" y="49001"/>
                    </a:moveTo>
                    <a:cubicBezTo>
                      <a:pt x="79692" y="49001"/>
                      <a:pt x="74930" y="50906"/>
                      <a:pt x="74930" y="53763"/>
                    </a:cubicBezTo>
                    <a:cubicBezTo>
                      <a:pt x="74930" y="56621"/>
                      <a:pt x="76835" y="57573"/>
                      <a:pt x="70167" y="59478"/>
                    </a:cubicBezTo>
                    <a:cubicBezTo>
                      <a:pt x="63500" y="61383"/>
                      <a:pt x="56833" y="61383"/>
                      <a:pt x="56833" y="61383"/>
                    </a:cubicBezTo>
                    <a:lnTo>
                      <a:pt x="50165" y="58526"/>
                    </a:lnTo>
                    <a:lnTo>
                      <a:pt x="49212" y="54716"/>
                    </a:lnTo>
                    <a:lnTo>
                      <a:pt x="45403" y="49001"/>
                    </a:lnTo>
                    <a:lnTo>
                      <a:pt x="42545" y="43286"/>
                    </a:lnTo>
                    <a:lnTo>
                      <a:pt x="37783" y="41381"/>
                    </a:lnTo>
                    <a:lnTo>
                      <a:pt x="31115" y="41381"/>
                    </a:lnTo>
                    <a:lnTo>
                      <a:pt x="23495" y="44238"/>
                    </a:lnTo>
                    <a:lnTo>
                      <a:pt x="12065" y="44238"/>
                    </a:lnTo>
                    <a:cubicBezTo>
                      <a:pt x="12065" y="44238"/>
                      <a:pt x="2540" y="42333"/>
                      <a:pt x="2540" y="40428"/>
                    </a:cubicBezTo>
                    <a:cubicBezTo>
                      <a:pt x="2540" y="38523"/>
                      <a:pt x="-3175" y="30903"/>
                      <a:pt x="2540" y="30903"/>
                    </a:cubicBezTo>
                    <a:cubicBezTo>
                      <a:pt x="8255" y="30903"/>
                      <a:pt x="9208" y="28998"/>
                      <a:pt x="14923" y="28998"/>
                    </a:cubicBezTo>
                    <a:cubicBezTo>
                      <a:pt x="20637" y="28998"/>
                      <a:pt x="20637" y="28998"/>
                      <a:pt x="20637" y="28998"/>
                    </a:cubicBezTo>
                    <a:lnTo>
                      <a:pt x="19685" y="19473"/>
                    </a:lnTo>
                    <a:lnTo>
                      <a:pt x="13017" y="12806"/>
                    </a:lnTo>
                    <a:lnTo>
                      <a:pt x="2540" y="6138"/>
                    </a:lnTo>
                    <a:lnTo>
                      <a:pt x="1587" y="2328"/>
                    </a:lnTo>
                    <a:lnTo>
                      <a:pt x="9208" y="423"/>
                    </a:lnTo>
                    <a:cubicBezTo>
                      <a:pt x="9208" y="423"/>
                      <a:pt x="8255" y="-529"/>
                      <a:pt x="13970" y="423"/>
                    </a:cubicBezTo>
                    <a:cubicBezTo>
                      <a:pt x="19685" y="1376"/>
                      <a:pt x="29210" y="1376"/>
                      <a:pt x="29210" y="1376"/>
                    </a:cubicBezTo>
                    <a:cubicBezTo>
                      <a:pt x="29210" y="1376"/>
                      <a:pt x="28258" y="2328"/>
                      <a:pt x="31115" y="5186"/>
                    </a:cubicBezTo>
                    <a:cubicBezTo>
                      <a:pt x="33973" y="8043"/>
                      <a:pt x="36830" y="12806"/>
                      <a:pt x="40640" y="13758"/>
                    </a:cubicBezTo>
                    <a:cubicBezTo>
                      <a:pt x="45403" y="14711"/>
                      <a:pt x="54928" y="15663"/>
                      <a:pt x="54928" y="15663"/>
                    </a:cubicBezTo>
                    <a:lnTo>
                      <a:pt x="64453" y="15663"/>
                    </a:lnTo>
                    <a:cubicBezTo>
                      <a:pt x="64453" y="15663"/>
                      <a:pt x="65405" y="13758"/>
                      <a:pt x="72073" y="16616"/>
                    </a:cubicBezTo>
                    <a:cubicBezTo>
                      <a:pt x="78740" y="19473"/>
                      <a:pt x="81598" y="21378"/>
                      <a:pt x="81598" y="24236"/>
                    </a:cubicBezTo>
                    <a:cubicBezTo>
                      <a:pt x="81598" y="27093"/>
                      <a:pt x="81598" y="25188"/>
                      <a:pt x="81598" y="29951"/>
                    </a:cubicBezTo>
                    <a:cubicBezTo>
                      <a:pt x="81598" y="33761"/>
                      <a:pt x="81598" y="33761"/>
                      <a:pt x="81598" y="33761"/>
                    </a:cubicBezTo>
                    <a:cubicBezTo>
                      <a:pt x="81598" y="33761"/>
                      <a:pt x="79692" y="37571"/>
                      <a:pt x="79692" y="39476"/>
                    </a:cubicBezTo>
                    <a:cubicBezTo>
                      <a:pt x="79692" y="40428"/>
                      <a:pt x="79692" y="49001"/>
                      <a:pt x="79692" y="49001"/>
                    </a:cubicBezTo>
                    <a:close/>
                  </a:path>
                </a:pathLst>
              </a:custGeom>
              <a:grpFill/>
              <a:ln w="9525" cap="flat">
                <a:noFill/>
                <a:prstDash val="solid"/>
                <a:miter/>
              </a:ln>
            </p:spPr>
            <p:txBody>
              <a:bodyPr rtlCol="0" anchor="ctr"/>
              <a:lstStyle/>
              <a:p>
                <a:endParaRPr lang="en-US" sz="1765"/>
              </a:p>
            </p:txBody>
          </p:sp>
          <p:sp>
            <p:nvSpPr>
              <p:cNvPr id="55" name="Freeform: Shape 54">
                <a:extLst>
                  <a:ext uri="{FF2B5EF4-FFF2-40B4-BE49-F238E27FC236}">
                    <a16:creationId xmlns:a16="http://schemas.microsoft.com/office/drawing/2014/main" id="{CB3DC2D7-29C4-434F-B98F-84BFF27C8CF3}"/>
                  </a:ext>
                </a:extLst>
              </p:cNvPr>
              <p:cNvSpPr/>
              <p:nvPr/>
            </p:nvSpPr>
            <p:spPr>
              <a:xfrm>
                <a:off x="10338390" y="3909741"/>
                <a:ext cx="57223" cy="41910"/>
              </a:xfrm>
              <a:custGeom>
                <a:avLst/>
                <a:gdLst>
                  <a:gd name="connsiteX0" fmla="*/ 57224 w 57223"/>
                  <a:gd name="connsiteY0" fmla="*/ 40958 h 41910"/>
                  <a:gd name="connsiteX1" fmla="*/ 57224 w 57223"/>
                  <a:gd name="connsiteY1" fmla="*/ 34290 h 41910"/>
                  <a:gd name="connsiteX2" fmla="*/ 57224 w 57223"/>
                  <a:gd name="connsiteY2" fmla="*/ 27623 h 41910"/>
                  <a:gd name="connsiteX3" fmla="*/ 52461 w 57223"/>
                  <a:gd name="connsiteY3" fmla="*/ 22860 h 41910"/>
                  <a:gd name="connsiteX4" fmla="*/ 41984 w 57223"/>
                  <a:gd name="connsiteY4" fmla="*/ 18098 h 41910"/>
                  <a:gd name="connsiteX5" fmla="*/ 38174 w 57223"/>
                  <a:gd name="connsiteY5" fmla="*/ 11430 h 41910"/>
                  <a:gd name="connsiteX6" fmla="*/ 38174 w 57223"/>
                  <a:gd name="connsiteY6" fmla="*/ 8573 h 41910"/>
                  <a:gd name="connsiteX7" fmla="*/ 29601 w 57223"/>
                  <a:gd name="connsiteY7" fmla="*/ 1905 h 41910"/>
                  <a:gd name="connsiteX8" fmla="*/ 21981 w 57223"/>
                  <a:gd name="connsiteY8" fmla="*/ 0 h 41910"/>
                  <a:gd name="connsiteX9" fmla="*/ 12456 w 57223"/>
                  <a:gd name="connsiteY9" fmla="*/ 952 h 41910"/>
                  <a:gd name="connsiteX10" fmla="*/ 7694 w 57223"/>
                  <a:gd name="connsiteY10" fmla="*/ 3810 h 41910"/>
                  <a:gd name="connsiteX11" fmla="*/ 74 w 57223"/>
                  <a:gd name="connsiteY11" fmla="*/ 4763 h 41910"/>
                  <a:gd name="connsiteX12" fmla="*/ 10551 w 57223"/>
                  <a:gd name="connsiteY12" fmla="*/ 15240 h 41910"/>
                  <a:gd name="connsiteX13" fmla="*/ 11504 w 57223"/>
                  <a:gd name="connsiteY13" fmla="*/ 19050 h 41910"/>
                  <a:gd name="connsiteX14" fmla="*/ 11504 w 57223"/>
                  <a:gd name="connsiteY14" fmla="*/ 25717 h 41910"/>
                  <a:gd name="connsiteX15" fmla="*/ 18172 w 57223"/>
                  <a:gd name="connsiteY15" fmla="*/ 27623 h 41910"/>
                  <a:gd name="connsiteX16" fmla="*/ 21029 w 57223"/>
                  <a:gd name="connsiteY16" fmla="*/ 31433 h 41910"/>
                  <a:gd name="connsiteX17" fmla="*/ 24839 w 57223"/>
                  <a:gd name="connsiteY17" fmla="*/ 39052 h 41910"/>
                  <a:gd name="connsiteX18" fmla="*/ 29601 w 57223"/>
                  <a:gd name="connsiteY18" fmla="*/ 40958 h 41910"/>
                  <a:gd name="connsiteX19" fmla="*/ 38174 w 57223"/>
                  <a:gd name="connsiteY19" fmla="*/ 41910 h 41910"/>
                  <a:gd name="connsiteX20" fmla="*/ 44841 w 57223"/>
                  <a:gd name="connsiteY20" fmla="*/ 41910 h 41910"/>
                  <a:gd name="connsiteX21" fmla="*/ 57224 w 57223"/>
                  <a:gd name="connsiteY21" fmla="*/ 40958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23" h="41910">
                    <a:moveTo>
                      <a:pt x="57224" y="40958"/>
                    </a:moveTo>
                    <a:lnTo>
                      <a:pt x="57224" y="34290"/>
                    </a:lnTo>
                    <a:lnTo>
                      <a:pt x="57224" y="27623"/>
                    </a:lnTo>
                    <a:lnTo>
                      <a:pt x="52461" y="22860"/>
                    </a:lnTo>
                    <a:lnTo>
                      <a:pt x="41984" y="18098"/>
                    </a:lnTo>
                    <a:lnTo>
                      <a:pt x="38174" y="11430"/>
                    </a:lnTo>
                    <a:lnTo>
                      <a:pt x="38174" y="8573"/>
                    </a:lnTo>
                    <a:lnTo>
                      <a:pt x="29601" y="1905"/>
                    </a:lnTo>
                    <a:lnTo>
                      <a:pt x="21981" y="0"/>
                    </a:lnTo>
                    <a:lnTo>
                      <a:pt x="12456" y="952"/>
                    </a:lnTo>
                    <a:lnTo>
                      <a:pt x="7694" y="3810"/>
                    </a:lnTo>
                    <a:cubicBezTo>
                      <a:pt x="7694" y="3810"/>
                      <a:pt x="-878" y="-952"/>
                      <a:pt x="74" y="4763"/>
                    </a:cubicBezTo>
                    <a:cubicBezTo>
                      <a:pt x="1026" y="10477"/>
                      <a:pt x="10551" y="15240"/>
                      <a:pt x="10551" y="15240"/>
                    </a:cubicBezTo>
                    <a:cubicBezTo>
                      <a:pt x="10551" y="15240"/>
                      <a:pt x="11504" y="16192"/>
                      <a:pt x="11504" y="19050"/>
                    </a:cubicBezTo>
                    <a:cubicBezTo>
                      <a:pt x="11504" y="21908"/>
                      <a:pt x="4836" y="22860"/>
                      <a:pt x="11504" y="25717"/>
                    </a:cubicBezTo>
                    <a:cubicBezTo>
                      <a:pt x="18172" y="27623"/>
                      <a:pt x="18172" y="27623"/>
                      <a:pt x="18172" y="27623"/>
                    </a:cubicBezTo>
                    <a:cubicBezTo>
                      <a:pt x="18172" y="27623"/>
                      <a:pt x="20076" y="29527"/>
                      <a:pt x="21029" y="31433"/>
                    </a:cubicBezTo>
                    <a:cubicBezTo>
                      <a:pt x="21981" y="33338"/>
                      <a:pt x="24839" y="39052"/>
                      <a:pt x="24839" y="39052"/>
                    </a:cubicBezTo>
                    <a:lnTo>
                      <a:pt x="29601" y="40958"/>
                    </a:lnTo>
                    <a:lnTo>
                      <a:pt x="38174" y="41910"/>
                    </a:lnTo>
                    <a:lnTo>
                      <a:pt x="44841" y="41910"/>
                    </a:lnTo>
                    <a:lnTo>
                      <a:pt x="57224" y="40958"/>
                    </a:lnTo>
                    <a:close/>
                  </a:path>
                </a:pathLst>
              </a:custGeom>
              <a:grpFill/>
              <a:ln w="9525" cap="flat">
                <a:noFill/>
                <a:prstDash val="solid"/>
                <a:miter/>
              </a:ln>
            </p:spPr>
            <p:txBody>
              <a:bodyPr rtlCol="0" anchor="ctr"/>
              <a:lstStyle/>
              <a:p>
                <a:endParaRPr lang="en-US" sz="1765"/>
              </a:p>
            </p:txBody>
          </p:sp>
          <p:sp>
            <p:nvSpPr>
              <p:cNvPr id="56" name="Freeform: Shape 55">
                <a:extLst>
                  <a:ext uri="{FF2B5EF4-FFF2-40B4-BE49-F238E27FC236}">
                    <a16:creationId xmlns:a16="http://schemas.microsoft.com/office/drawing/2014/main" id="{E308B6DB-FCE6-4EF7-B8D5-42AF6ADE8A0D}"/>
                  </a:ext>
                </a:extLst>
              </p:cNvPr>
              <p:cNvSpPr/>
              <p:nvPr/>
            </p:nvSpPr>
            <p:spPr>
              <a:xfrm>
                <a:off x="10279408" y="3862116"/>
                <a:ext cx="55244" cy="53339"/>
              </a:xfrm>
              <a:custGeom>
                <a:avLst/>
                <a:gdLst>
                  <a:gd name="connsiteX0" fmla="*/ 34290 w 55244"/>
                  <a:gd name="connsiteY0" fmla="*/ 53340 h 53339"/>
                  <a:gd name="connsiteX1" fmla="*/ 40005 w 55244"/>
                  <a:gd name="connsiteY1" fmla="*/ 50483 h 53339"/>
                  <a:gd name="connsiteX2" fmla="*/ 40957 w 55244"/>
                  <a:gd name="connsiteY2" fmla="*/ 44767 h 53339"/>
                  <a:gd name="connsiteX3" fmla="*/ 48578 w 55244"/>
                  <a:gd name="connsiteY3" fmla="*/ 35242 h 53339"/>
                  <a:gd name="connsiteX4" fmla="*/ 51435 w 55244"/>
                  <a:gd name="connsiteY4" fmla="*/ 24765 h 53339"/>
                  <a:gd name="connsiteX5" fmla="*/ 51435 w 55244"/>
                  <a:gd name="connsiteY5" fmla="*/ 19050 h 53339"/>
                  <a:gd name="connsiteX6" fmla="*/ 55245 w 55244"/>
                  <a:gd name="connsiteY6" fmla="*/ 7620 h 53339"/>
                  <a:gd name="connsiteX7" fmla="*/ 54293 w 55244"/>
                  <a:gd name="connsiteY7" fmla="*/ 3810 h 53339"/>
                  <a:gd name="connsiteX8" fmla="*/ 44768 w 55244"/>
                  <a:gd name="connsiteY8" fmla="*/ 0 h 53339"/>
                  <a:gd name="connsiteX9" fmla="*/ 36195 w 55244"/>
                  <a:gd name="connsiteY9" fmla="*/ 0 h 53339"/>
                  <a:gd name="connsiteX10" fmla="*/ 19050 w 55244"/>
                  <a:gd name="connsiteY10" fmla="*/ 13335 h 53339"/>
                  <a:gd name="connsiteX11" fmla="*/ 14288 w 55244"/>
                  <a:gd name="connsiteY11" fmla="*/ 20002 h 53339"/>
                  <a:gd name="connsiteX12" fmla="*/ 5715 w 55244"/>
                  <a:gd name="connsiteY12" fmla="*/ 23813 h 53339"/>
                  <a:gd name="connsiteX13" fmla="*/ 3810 w 55244"/>
                  <a:gd name="connsiteY13" fmla="*/ 27623 h 53339"/>
                  <a:gd name="connsiteX14" fmla="*/ 0 w 55244"/>
                  <a:gd name="connsiteY14" fmla="*/ 34290 h 53339"/>
                  <a:gd name="connsiteX15" fmla="*/ 2857 w 55244"/>
                  <a:gd name="connsiteY15" fmla="*/ 40005 h 53339"/>
                  <a:gd name="connsiteX16" fmla="*/ 10478 w 55244"/>
                  <a:gd name="connsiteY16" fmla="*/ 41910 h 53339"/>
                  <a:gd name="connsiteX17" fmla="*/ 19050 w 55244"/>
                  <a:gd name="connsiteY17" fmla="*/ 43815 h 53339"/>
                  <a:gd name="connsiteX18" fmla="*/ 21907 w 55244"/>
                  <a:gd name="connsiteY18" fmla="*/ 47625 h 53339"/>
                  <a:gd name="connsiteX19" fmla="*/ 34290 w 55244"/>
                  <a:gd name="connsiteY19" fmla="*/ 5334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244" h="53339">
                    <a:moveTo>
                      <a:pt x="34290" y="53340"/>
                    </a:moveTo>
                    <a:lnTo>
                      <a:pt x="40005" y="50483"/>
                    </a:lnTo>
                    <a:cubicBezTo>
                      <a:pt x="40005" y="50483"/>
                      <a:pt x="38100" y="46673"/>
                      <a:pt x="40957" y="44767"/>
                    </a:cubicBezTo>
                    <a:cubicBezTo>
                      <a:pt x="43815" y="43815"/>
                      <a:pt x="48578" y="35242"/>
                      <a:pt x="48578" y="35242"/>
                    </a:cubicBezTo>
                    <a:cubicBezTo>
                      <a:pt x="48578" y="35242"/>
                      <a:pt x="48578" y="26670"/>
                      <a:pt x="51435" y="24765"/>
                    </a:cubicBezTo>
                    <a:cubicBezTo>
                      <a:pt x="53340" y="22860"/>
                      <a:pt x="49530" y="20955"/>
                      <a:pt x="51435" y="19050"/>
                    </a:cubicBezTo>
                    <a:cubicBezTo>
                      <a:pt x="53340" y="17145"/>
                      <a:pt x="55245" y="7620"/>
                      <a:pt x="55245" y="7620"/>
                    </a:cubicBezTo>
                    <a:lnTo>
                      <a:pt x="54293" y="3810"/>
                    </a:lnTo>
                    <a:lnTo>
                      <a:pt x="44768" y="0"/>
                    </a:lnTo>
                    <a:lnTo>
                      <a:pt x="36195" y="0"/>
                    </a:lnTo>
                    <a:cubicBezTo>
                      <a:pt x="27623" y="9525"/>
                      <a:pt x="19050" y="9525"/>
                      <a:pt x="19050" y="13335"/>
                    </a:cubicBezTo>
                    <a:cubicBezTo>
                      <a:pt x="19050" y="17145"/>
                      <a:pt x="14288" y="17145"/>
                      <a:pt x="14288" y="20002"/>
                    </a:cubicBezTo>
                    <a:cubicBezTo>
                      <a:pt x="14288" y="22860"/>
                      <a:pt x="5715" y="23813"/>
                      <a:pt x="5715" y="23813"/>
                    </a:cubicBezTo>
                    <a:cubicBezTo>
                      <a:pt x="3810" y="27623"/>
                      <a:pt x="6668" y="22860"/>
                      <a:pt x="3810" y="27623"/>
                    </a:cubicBezTo>
                    <a:cubicBezTo>
                      <a:pt x="0" y="31433"/>
                      <a:pt x="0" y="31433"/>
                      <a:pt x="0" y="34290"/>
                    </a:cubicBezTo>
                    <a:cubicBezTo>
                      <a:pt x="0" y="37148"/>
                      <a:pt x="2857" y="40005"/>
                      <a:pt x="2857" y="40005"/>
                    </a:cubicBezTo>
                    <a:lnTo>
                      <a:pt x="10478" y="41910"/>
                    </a:lnTo>
                    <a:lnTo>
                      <a:pt x="19050" y="43815"/>
                    </a:lnTo>
                    <a:cubicBezTo>
                      <a:pt x="21907" y="47625"/>
                      <a:pt x="21907" y="43815"/>
                      <a:pt x="21907" y="47625"/>
                    </a:cubicBezTo>
                    <a:cubicBezTo>
                      <a:pt x="21907" y="49530"/>
                      <a:pt x="34290" y="53340"/>
                      <a:pt x="34290" y="53340"/>
                    </a:cubicBezTo>
                    <a:close/>
                  </a:path>
                </a:pathLst>
              </a:custGeom>
              <a:grpFill/>
              <a:ln w="9525" cap="flat">
                <a:noFill/>
                <a:prstDash val="solid"/>
                <a:miter/>
              </a:ln>
            </p:spPr>
            <p:txBody>
              <a:bodyPr rtlCol="0" anchor="ctr"/>
              <a:lstStyle/>
              <a:p>
                <a:endParaRPr lang="en-US" sz="1765"/>
              </a:p>
            </p:txBody>
          </p:sp>
          <p:sp>
            <p:nvSpPr>
              <p:cNvPr id="57" name="Freeform: Shape 56">
                <a:extLst>
                  <a:ext uri="{FF2B5EF4-FFF2-40B4-BE49-F238E27FC236}">
                    <a16:creationId xmlns:a16="http://schemas.microsoft.com/office/drawing/2014/main" id="{3CA5F1C7-5AA6-4C42-BD76-C78CB7FE2F82}"/>
                  </a:ext>
                </a:extLst>
              </p:cNvPr>
              <p:cNvSpPr/>
              <p:nvPr/>
            </p:nvSpPr>
            <p:spPr>
              <a:xfrm>
                <a:off x="10294158" y="3778011"/>
                <a:ext cx="34890" cy="41242"/>
              </a:xfrm>
              <a:custGeom>
                <a:avLst/>
                <a:gdLst>
                  <a:gd name="connsiteX0" fmla="*/ 32875 w 34890"/>
                  <a:gd name="connsiteY0" fmla="*/ 16477 h 41242"/>
                  <a:gd name="connsiteX1" fmla="*/ 29066 w 34890"/>
                  <a:gd name="connsiteY1" fmla="*/ 24097 h 41242"/>
                  <a:gd name="connsiteX2" fmla="*/ 25255 w 34890"/>
                  <a:gd name="connsiteY2" fmla="*/ 29812 h 41242"/>
                  <a:gd name="connsiteX3" fmla="*/ 23350 w 34890"/>
                  <a:gd name="connsiteY3" fmla="*/ 31717 h 41242"/>
                  <a:gd name="connsiteX4" fmla="*/ 16683 w 34890"/>
                  <a:gd name="connsiteY4" fmla="*/ 41242 h 41242"/>
                  <a:gd name="connsiteX5" fmla="*/ 7158 w 34890"/>
                  <a:gd name="connsiteY5" fmla="*/ 40290 h 41242"/>
                  <a:gd name="connsiteX6" fmla="*/ 491 w 34890"/>
                  <a:gd name="connsiteY6" fmla="*/ 27907 h 41242"/>
                  <a:gd name="connsiteX7" fmla="*/ 1443 w 34890"/>
                  <a:gd name="connsiteY7" fmla="*/ 20287 h 41242"/>
                  <a:gd name="connsiteX8" fmla="*/ 2395 w 34890"/>
                  <a:gd name="connsiteY8" fmla="*/ 11715 h 41242"/>
                  <a:gd name="connsiteX9" fmla="*/ 11920 w 34890"/>
                  <a:gd name="connsiteY9" fmla="*/ 8857 h 41242"/>
                  <a:gd name="connsiteX10" fmla="*/ 23350 w 34890"/>
                  <a:gd name="connsiteY10" fmla="*/ 2190 h 41242"/>
                  <a:gd name="connsiteX11" fmla="*/ 30970 w 34890"/>
                  <a:gd name="connsiteY11" fmla="*/ 1237 h 41242"/>
                  <a:gd name="connsiteX12" fmla="*/ 33828 w 34890"/>
                  <a:gd name="connsiteY12" fmla="*/ 9810 h 41242"/>
                  <a:gd name="connsiteX13" fmla="*/ 32875 w 34890"/>
                  <a:gd name="connsiteY13" fmla="*/ 16477 h 4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90" h="41242">
                    <a:moveTo>
                      <a:pt x="32875" y="16477"/>
                    </a:moveTo>
                    <a:cubicBezTo>
                      <a:pt x="32875" y="16477"/>
                      <a:pt x="29066" y="22192"/>
                      <a:pt x="29066" y="24097"/>
                    </a:cubicBezTo>
                    <a:cubicBezTo>
                      <a:pt x="29066" y="26002"/>
                      <a:pt x="28113" y="27907"/>
                      <a:pt x="25255" y="29812"/>
                    </a:cubicBezTo>
                    <a:cubicBezTo>
                      <a:pt x="23350" y="31717"/>
                      <a:pt x="25255" y="26002"/>
                      <a:pt x="23350" y="31717"/>
                    </a:cubicBezTo>
                    <a:cubicBezTo>
                      <a:pt x="21445" y="38385"/>
                      <a:pt x="16683" y="41242"/>
                      <a:pt x="16683" y="41242"/>
                    </a:cubicBezTo>
                    <a:lnTo>
                      <a:pt x="7158" y="40290"/>
                    </a:lnTo>
                    <a:cubicBezTo>
                      <a:pt x="4300" y="37432"/>
                      <a:pt x="491" y="27907"/>
                      <a:pt x="491" y="27907"/>
                    </a:cubicBezTo>
                    <a:lnTo>
                      <a:pt x="1443" y="20287"/>
                    </a:lnTo>
                    <a:cubicBezTo>
                      <a:pt x="1443" y="20287"/>
                      <a:pt x="-2367" y="13620"/>
                      <a:pt x="2395" y="11715"/>
                    </a:cubicBezTo>
                    <a:cubicBezTo>
                      <a:pt x="8111" y="10762"/>
                      <a:pt x="11920" y="8857"/>
                      <a:pt x="11920" y="8857"/>
                    </a:cubicBezTo>
                    <a:cubicBezTo>
                      <a:pt x="11920" y="8857"/>
                      <a:pt x="15730" y="4095"/>
                      <a:pt x="23350" y="2190"/>
                    </a:cubicBezTo>
                    <a:cubicBezTo>
                      <a:pt x="30970" y="1237"/>
                      <a:pt x="28113" y="-1620"/>
                      <a:pt x="30970" y="1237"/>
                    </a:cubicBezTo>
                    <a:cubicBezTo>
                      <a:pt x="33828" y="4095"/>
                      <a:pt x="32875" y="5047"/>
                      <a:pt x="33828" y="9810"/>
                    </a:cubicBezTo>
                    <a:cubicBezTo>
                      <a:pt x="36686" y="13620"/>
                      <a:pt x="32875" y="16477"/>
                      <a:pt x="32875" y="16477"/>
                    </a:cubicBezTo>
                    <a:close/>
                  </a:path>
                </a:pathLst>
              </a:custGeom>
              <a:grpFill/>
              <a:ln w="9525" cap="flat">
                <a:noFill/>
                <a:prstDash val="solid"/>
                <a:miter/>
              </a:ln>
            </p:spPr>
            <p:txBody>
              <a:bodyPr rtlCol="0" anchor="ctr"/>
              <a:lstStyle/>
              <a:p>
                <a:endParaRPr lang="en-US" sz="1765"/>
              </a:p>
            </p:txBody>
          </p:sp>
          <p:sp>
            <p:nvSpPr>
              <p:cNvPr id="58" name="Freeform: Shape 57">
                <a:extLst>
                  <a:ext uri="{FF2B5EF4-FFF2-40B4-BE49-F238E27FC236}">
                    <a16:creationId xmlns:a16="http://schemas.microsoft.com/office/drawing/2014/main" id="{ECDF5058-A188-4B30-B036-97C4E35C8ED0}"/>
                  </a:ext>
                </a:extLst>
              </p:cNvPr>
              <p:cNvSpPr/>
              <p:nvPr/>
            </p:nvSpPr>
            <p:spPr>
              <a:xfrm>
                <a:off x="10418474" y="4045949"/>
                <a:ext cx="23134" cy="26670"/>
              </a:xfrm>
              <a:custGeom>
                <a:avLst/>
                <a:gdLst>
                  <a:gd name="connsiteX0" fmla="*/ 22860 w 23134"/>
                  <a:gd name="connsiteY0" fmla="*/ 26670 h 26670"/>
                  <a:gd name="connsiteX1" fmla="*/ 8572 w 23134"/>
                  <a:gd name="connsiteY1" fmla="*/ 26670 h 26670"/>
                  <a:gd name="connsiteX2" fmla="*/ 0 w 23134"/>
                  <a:gd name="connsiteY2" fmla="*/ 21908 h 26670"/>
                  <a:gd name="connsiteX3" fmla="*/ 952 w 23134"/>
                  <a:gd name="connsiteY3" fmla="*/ 16192 h 26670"/>
                  <a:gd name="connsiteX4" fmla="*/ 1905 w 23134"/>
                  <a:gd name="connsiteY4" fmla="*/ 7620 h 26670"/>
                  <a:gd name="connsiteX5" fmla="*/ 1905 w 23134"/>
                  <a:gd name="connsiteY5" fmla="*/ 1905 h 26670"/>
                  <a:gd name="connsiteX6" fmla="*/ 14288 w 23134"/>
                  <a:gd name="connsiteY6" fmla="*/ 0 h 26670"/>
                  <a:gd name="connsiteX7" fmla="*/ 20002 w 23134"/>
                  <a:gd name="connsiteY7" fmla="*/ 2858 h 26670"/>
                  <a:gd name="connsiteX8" fmla="*/ 22860 w 23134"/>
                  <a:gd name="connsiteY8" fmla="*/ 6667 h 26670"/>
                  <a:gd name="connsiteX9" fmla="*/ 22860 w 23134"/>
                  <a:gd name="connsiteY9" fmla="*/ 12383 h 26670"/>
                  <a:gd name="connsiteX10" fmla="*/ 21907 w 23134"/>
                  <a:gd name="connsiteY10" fmla="*/ 18097 h 26670"/>
                  <a:gd name="connsiteX11" fmla="*/ 22860 w 23134"/>
                  <a:gd name="connsiteY11" fmla="*/ 26670 h 2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4" h="26670">
                    <a:moveTo>
                      <a:pt x="22860" y="26670"/>
                    </a:moveTo>
                    <a:lnTo>
                      <a:pt x="8572" y="26670"/>
                    </a:lnTo>
                    <a:lnTo>
                      <a:pt x="0" y="21908"/>
                    </a:lnTo>
                    <a:lnTo>
                      <a:pt x="952" y="16192"/>
                    </a:lnTo>
                    <a:lnTo>
                      <a:pt x="1905" y="7620"/>
                    </a:lnTo>
                    <a:lnTo>
                      <a:pt x="1905" y="1905"/>
                    </a:lnTo>
                    <a:lnTo>
                      <a:pt x="14288" y="0"/>
                    </a:lnTo>
                    <a:lnTo>
                      <a:pt x="20002" y="2858"/>
                    </a:lnTo>
                    <a:cubicBezTo>
                      <a:pt x="20002" y="2858"/>
                      <a:pt x="21907" y="3810"/>
                      <a:pt x="22860" y="6667"/>
                    </a:cubicBezTo>
                    <a:cubicBezTo>
                      <a:pt x="23813" y="9525"/>
                      <a:pt x="21907" y="9525"/>
                      <a:pt x="22860" y="12383"/>
                    </a:cubicBezTo>
                    <a:cubicBezTo>
                      <a:pt x="23813" y="15240"/>
                      <a:pt x="21907" y="18097"/>
                      <a:pt x="21907" y="18097"/>
                    </a:cubicBezTo>
                    <a:lnTo>
                      <a:pt x="22860" y="26670"/>
                    </a:lnTo>
                    <a:close/>
                  </a:path>
                </a:pathLst>
              </a:custGeom>
              <a:grpFill/>
              <a:ln w="9525" cap="flat">
                <a:noFill/>
                <a:prstDash val="solid"/>
                <a:miter/>
              </a:ln>
            </p:spPr>
            <p:txBody>
              <a:bodyPr rtlCol="0" anchor="ctr"/>
              <a:lstStyle/>
              <a:p>
                <a:endParaRPr lang="en-US" sz="1765"/>
              </a:p>
            </p:txBody>
          </p:sp>
          <p:sp>
            <p:nvSpPr>
              <p:cNvPr id="59" name="Freeform: Shape 58">
                <a:extLst>
                  <a:ext uri="{FF2B5EF4-FFF2-40B4-BE49-F238E27FC236}">
                    <a16:creationId xmlns:a16="http://schemas.microsoft.com/office/drawing/2014/main" id="{84EC997F-8488-4562-90CB-D9C50657CDCE}"/>
                  </a:ext>
                </a:extLst>
              </p:cNvPr>
              <p:cNvSpPr/>
              <p:nvPr/>
            </p:nvSpPr>
            <p:spPr>
              <a:xfrm>
                <a:off x="10452340" y="3586843"/>
                <a:ext cx="219608" cy="131445"/>
              </a:xfrm>
              <a:custGeom>
                <a:avLst/>
                <a:gdLst>
                  <a:gd name="connsiteX0" fmla="*/ 39475 w 219608"/>
                  <a:gd name="connsiteY0" fmla="*/ 98108 h 131445"/>
                  <a:gd name="connsiteX1" fmla="*/ 28046 w 219608"/>
                  <a:gd name="connsiteY1" fmla="*/ 99060 h 131445"/>
                  <a:gd name="connsiteX2" fmla="*/ 20425 w 219608"/>
                  <a:gd name="connsiteY2" fmla="*/ 99060 h 131445"/>
                  <a:gd name="connsiteX3" fmla="*/ 15663 w 219608"/>
                  <a:gd name="connsiteY3" fmla="*/ 100013 h 131445"/>
                  <a:gd name="connsiteX4" fmla="*/ 4233 w 219608"/>
                  <a:gd name="connsiteY4" fmla="*/ 103823 h 131445"/>
                  <a:gd name="connsiteX5" fmla="*/ 423 w 219608"/>
                  <a:gd name="connsiteY5" fmla="*/ 108585 h 131445"/>
                  <a:gd name="connsiteX6" fmla="*/ 423 w 219608"/>
                  <a:gd name="connsiteY6" fmla="*/ 111443 h 131445"/>
                  <a:gd name="connsiteX7" fmla="*/ 8996 w 219608"/>
                  <a:gd name="connsiteY7" fmla="*/ 118110 h 131445"/>
                  <a:gd name="connsiteX8" fmla="*/ 13758 w 219608"/>
                  <a:gd name="connsiteY8" fmla="*/ 120015 h 131445"/>
                  <a:gd name="connsiteX9" fmla="*/ 20425 w 219608"/>
                  <a:gd name="connsiteY9" fmla="*/ 130493 h 131445"/>
                  <a:gd name="connsiteX10" fmla="*/ 28046 w 219608"/>
                  <a:gd name="connsiteY10" fmla="*/ 131445 h 131445"/>
                  <a:gd name="connsiteX11" fmla="*/ 37571 w 219608"/>
                  <a:gd name="connsiteY11" fmla="*/ 130493 h 131445"/>
                  <a:gd name="connsiteX12" fmla="*/ 43286 w 219608"/>
                  <a:gd name="connsiteY12" fmla="*/ 127635 h 131445"/>
                  <a:gd name="connsiteX13" fmla="*/ 45191 w 219608"/>
                  <a:gd name="connsiteY13" fmla="*/ 120968 h 131445"/>
                  <a:gd name="connsiteX14" fmla="*/ 46143 w 219608"/>
                  <a:gd name="connsiteY14" fmla="*/ 114300 h 131445"/>
                  <a:gd name="connsiteX15" fmla="*/ 49953 w 219608"/>
                  <a:gd name="connsiteY15" fmla="*/ 109538 h 131445"/>
                  <a:gd name="connsiteX16" fmla="*/ 50906 w 219608"/>
                  <a:gd name="connsiteY16" fmla="*/ 105727 h 131445"/>
                  <a:gd name="connsiteX17" fmla="*/ 54716 w 219608"/>
                  <a:gd name="connsiteY17" fmla="*/ 104775 h 131445"/>
                  <a:gd name="connsiteX18" fmla="*/ 60431 w 219608"/>
                  <a:gd name="connsiteY18" fmla="*/ 103823 h 131445"/>
                  <a:gd name="connsiteX19" fmla="*/ 73766 w 219608"/>
                  <a:gd name="connsiteY19" fmla="*/ 104775 h 131445"/>
                  <a:gd name="connsiteX20" fmla="*/ 87101 w 219608"/>
                  <a:gd name="connsiteY20" fmla="*/ 104775 h 131445"/>
                  <a:gd name="connsiteX21" fmla="*/ 94721 w 219608"/>
                  <a:gd name="connsiteY21" fmla="*/ 103823 h 131445"/>
                  <a:gd name="connsiteX22" fmla="*/ 96626 w 219608"/>
                  <a:gd name="connsiteY22" fmla="*/ 100013 h 131445"/>
                  <a:gd name="connsiteX23" fmla="*/ 100436 w 219608"/>
                  <a:gd name="connsiteY23" fmla="*/ 96202 h 131445"/>
                  <a:gd name="connsiteX24" fmla="*/ 108056 w 219608"/>
                  <a:gd name="connsiteY24" fmla="*/ 96202 h 131445"/>
                  <a:gd name="connsiteX25" fmla="*/ 109008 w 219608"/>
                  <a:gd name="connsiteY25" fmla="*/ 100013 h 131445"/>
                  <a:gd name="connsiteX26" fmla="*/ 123296 w 219608"/>
                  <a:gd name="connsiteY26" fmla="*/ 101918 h 131445"/>
                  <a:gd name="connsiteX27" fmla="*/ 130916 w 219608"/>
                  <a:gd name="connsiteY27" fmla="*/ 98108 h 131445"/>
                  <a:gd name="connsiteX28" fmla="*/ 134726 w 219608"/>
                  <a:gd name="connsiteY28" fmla="*/ 89535 h 131445"/>
                  <a:gd name="connsiteX29" fmla="*/ 140441 w 219608"/>
                  <a:gd name="connsiteY29" fmla="*/ 87630 h 131445"/>
                  <a:gd name="connsiteX30" fmla="*/ 144251 w 219608"/>
                  <a:gd name="connsiteY30" fmla="*/ 87630 h 131445"/>
                  <a:gd name="connsiteX31" fmla="*/ 180446 w 219608"/>
                  <a:gd name="connsiteY31" fmla="*/ 89535 h 131445"/>
                  <a:gd name="connsiteX32" fmla="*/ 189971 w 219608"/>
                  <a:gd name="connsiteY32" fmla="*/ 89535 h 131445"/>
                  <a:gd name="connsiteX33" fmla="*/ 201401 w 219608"/>
                  <a:gd name="connsiteY33" fmla="*/ 86677 h 131445"/>
                  <a:gd name="connsiteX34" fmla="*/ 207116 w 219608"/>
                  <a:gd name="connsiteY34" fmla="*/ 84773 h 131445"/>
                  <a:gd name="connsiteX35" fmla="*/ 208068 w 219608"/>
                  <a:gd name="connsiteY35" fmla="*/ 72390 h 131445"/>
                  <a:gd name="connsiteX36" fmla="*/ 209021 w 219608"/>
                  <a:gd name="connsiteY36" fmla="*/ 65723 h 131445"/>
                  <a:gd name="connsiteX37" fmla="*/ 211878 w 219608"/>
                  <a:gd name="connsiteY37" fmla="*/ 59055 h 131445"/>
                  <a:gd name="connsiteX38" fmla="*/ 213783 w 219608"/>
                  <a:gd name="connsiteY38" fmla="*/ 54293 h 131445"/>
                  <a:gd name="connsiteX39" fmla="*/ 218546 w 219608"/>
                  <a:gd name="connsiteY39" fmla="*/ 38100 h 131445"/>
                  <a:gd name="connsiteX40" fmla="*/ 217593 w 219608"/>
                  <a:gd name="connsiteY40" fmla="*/ 19050 h 131445"/>
                  <a:gd name="connsiteX41" fmla="*/ 216641 w 219608"/>
                  <a:gd name="connsiteY41" fmla="*/ 15240 h 131445"/>
                  <a:gd name="connsiteX42" fmla="*/ 212831 w 219608"/>
                  <a:gd name="connsiteY42" fmla="*/ 952 h 131445"/>
                  <a:gd name="connsiteX43" fmla="*/ 207116 w 219608"/>
                  <a:gd name="connsiteY43" fmla="*/ 0 h 131445"/>
                  <a:gd name="connsiteX44" fmla="*/ 198543 w 219608"/>
                  <a:gd name="connsiteY44" fmla="*/ 6668 h 131445"/>
                  <a:gd name="connsiteX45" fmla="*/ 189971 w 219608"/>
                  <a:gd name="connsiteY45" fmla="*/ 13335 h 131445"/>
                  <a:gd name="connsiteX46" fmla="*/ 189018 w 219608"/>
                  <a:gd name="connsiteY46" fmla="*/ 16193 h 131445"/>
                  <a:gd name="connsiteX47" fmla="*/ 185208 w 219608"/>
                  <a:gd name="connsiteY47" fmla="*/ 20955 h 131445"/>
                  <a:gd name="connsiteX48" fmla="*/ 174731 w 219608"/>
                  <a:gd name="connsiteY48" fmla="*/ 30480 h 131445"/>
                  <a:gd name="connsiteX49" fmla="*/ 172826 w 219608"/>
                  <a:gd name="connsiteY49" fmla="*/ 34290 h 131445"/>
                  <a:gd name="connsiteX50" fmla="*/ 170921 w 219608"/>
                  <a:gd name="connsiteY50" fmla="*/ 36195 h 131445"/>
                  <a:gd name="connsiteX51" fmla="*/ 170921 w 219608"/>
                  <a:gd name="connsiteY51" fmla="*/ 36195 h 131445"/>
                  <a:gd name="connsiteX52" fmla="*/ 169016 w 219608"/>
                  <a:gd name="connsiteY52" fmla="*/ 41910 h 131445"/>
                  <a:gd name="connsiteX53" fmla="*/ 165206 w 219608"/>
                  <a:gd name="connsiteY53" fmla="*/ 48577 h 131445"/>
                  <a:gd name="connsiteX54" fmla="*/ 153776 w 219608"/>
                  <a:gd name="connsiteY54" fmla="*/ 50483 h 131445"/>
                  <a:gd name="connsiteX55" fmla="*/ 135678 w 219608"/>
                  <a:gd name="connsiteY55" fmla="*/ 54293 h 131445"/>
                  <a:gd name="connsiteX56" fmla="*/ 130916 w 219608"/>
                  <a:gd name="connsiteY56" fmla="*/ 55245 h 131445"/>
                  <a:gd name="connsiteX57" fmla="*/ 123296 w 219608"/>
                  <a:gd name="connsiteY57" fmla="*/ 60008 h 131445"/>
                  <a:gd name="connsiteX58" fmla="*/ 123296 w 219608"/>
                  <a:gd name="connsiteY58" fmla="*/ 63818 h 131445"/>
                  <a:gd name="connsiteX59" fmla="*/ 116628 w 219608"/>
                  <a:gd name="connsiteY59" fmla="*/ 67627 h 131445"/>
                  <a:gd name="connsiteX60" fmla="*/ 106151 w 219608"/>
                  <a:gd name="connsiteY60" fmla="*/ 73343 h 131445"/>
                  <a:gd name="connsiteX61" fmla="*/ 97578 w 219608"/>
                  <a:gd name="connsiteY61" fmla="*/ 74295 h 131445"/>
                  <a:gd name="connsiteX62" fmla="*/ 84243 w 219608"/>
                  <a:gd name="connsiteY62" fmla="*/ 74295 h 131445"/>
                  <a:gd name="connsiteX63" fmla="*/ 71861 w 219608"/>
                  <a:gd name="connsiteY63" fmla="*/ 75248 h 131445"/>
                  <a:gd name="connsiteX64" fmla="*/ 63288 w 219608"/>
                  <a:gd name="connsiteY64" fmla="*/ 75248 h 131445"/>
                  <a:gd name="connsiteX65" fmla="*/ 59478 w 219608"/>
                  <a:gd name="connsiteY65" fmla="*/ 77152 h 131445"/>
                  <a:gd name="connsiteX66" fmla="*/ 50906 w 219608"/>
                  <a:gd name="connsiteY66" fmla="*/ 78105 h 131445"/>
                  <a:gd name="connsiteX67" fmla="*/ 49000 w 219608"/>
                  <a:gd name="connsiteY67" fmla="*/ 80963 h 131445"/>
                  <a:gd name="connsiteX68" fmla="*/ 49000 w 219608"/>
                  <a:gd name="connsiteY68" fmla="*/ 83820 h 131445"/>
                  <a:gd name="connsiteX69" fmla="*/ 49000 w 219608"/>
                  <a:gd name="connsiteY69" fmla="*/ 87630 h 131445"/>
                  <a:gd name="connsiteX70" fmla="*/ 45191 w 219608"/>
                  <a:gd name="connsiteY70" fmla="*/ 94298 h 131445"/>
                  <a:gd name="connsiteX71" fmla="*/ 39475 w 219608"/>
                  <a:gd name="connsiteY71" fmla="*/ 98108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9608" h="131445">
                    <a:moveTo>
                      <a:pt x="39475" y="98108"/>
                    </a:moveTo>
                    <a:lnTo>
                      <a:pt x="28046" y="99060"/>
                    </a:lnTo>
                    <a:lnTo>
                      <a:pt x="20425" y="99060"/>
                    </a:lnTo>
                    <a:cubicBezTo>
                      <a:pt x="20425" y="99060"/>
                      <a:pt x="18521" y="97155"/>
                      <a:pt x="15663" y="100013"/>
                    </a:cubicBezTo>
                    <a:cubicBezTo>
                      <a:pt x="13758" y="102870"/>
                      <a:pt x="8996" y="98108"/>
                      <a:pt x="4233" y="103823"/>
                    </a:cubicBezTo>
                    <a:cubicBezTo>
                      <a:pt x="423" y="108585"/>
                      <a:pt x="423" y="105727"/>
                      <a:pt x="423" y="108585"/>
                    </a:cubicBezTo>
                    <a:cubicBezTo>
                      <a:pt x="423" y="111443"/>
                      <a:pt x="-529" y="108585"/>
                      <a:pt x="423" y="111443"/>
                    </a:cubicBezTo>
                    <a:cubicBezTo>
                      <a:pt x="1375" y="114300"/>
                      <a:pt x="8996" y="118110"/>
                      <a:pt x="8996" y="118110"/>
                    </a:cubicBezTo>
                    <a:cubicBezTo>
                      <a:pt x="8996" y="118110"/>
                      <a:pt x="10900" y="117158"/>
                      <a:pt x="13758" y="120015"/>
                    </a:cubicBezTo>
                    <a:cubicBezTo>
                      <a:pt x="15663" y="122873"/>
                      <a:pt x="20425" y="130493"/>
                      <a:pt x="20425" y="130493"/>
                    </a:cubicBezTo>
                    <a:cubicBezTo>
                      <a:pt x="20425" y="130493"/>
                      <a:pt x="22331" y="131445"/>
                      <a:pt x="28046" y="131445"/>
                    </a:cubicBezTo>
                    <a:cubicBezTo>
                      <a:pt x="33761" y="131445"/>
                      <a:pt x="37571" y="130493"/>
                      <a:pt x="37571" y="130493"/>
                    </a:cubicBezTo>
                    <a:lnTo>
                      <a:pt x="43286" y="127635"/>
                    </a:lnTo>
                    <a:lnTo>
                      <a:pt x="45191" y="120968"/>
                    </a:lnTo>
                    <a:lnTo>
                      <a:pt x="46143" y="114300"/>
                    </a:lnTo>
                    <a:lnTo>
                      <a:pt x="49953" y="109538"/>
                    </a:lnTo>
                    <a:cubicBezTo>
                      <a:pt x="49953" y="109538"/>
                      <a:pt x="48048" y="105727"/>
                      <a:pt x="50906" y="105727"/>
                    </a:cubicBezTo>
                    <a:cubicBezTo>
                      <a:pt x="54716" y="104775"/>
                      <a:pt x="54716" y="104775"/>
                      <a:pt x="54716" y="104775"/>
                    </a:cubicBezTo>
                    <a:cubicBezTo>
                      <a:pt x="54716" y="104775"/>
                      <a:pt x="56621" y="103823"/>
                      <a:pt x="60431" y="103823"/>
                    </a:cubicBezTo>
                    <a:cubicBezTo>
                      <a:pt x="63288" y="103823"/>
                      <a:pt x="73766" y="104775"/>
                      <a:pt x="73766" y="104775"/>
                    </a:cubicBezTo>
                    <a:lnTo>
                      <a:pt x="87101" y="104775"/>
                    </a:lnTo>
                    <a:lnTo>
                      <a:pt x="94721" y="103823"/>
                    </a:lnTo>
                    <a:lnTo>
                      <a:pt x="96626" y="100013"/>
                    </a:lnTo>
                    <a:lnTo>
                      <a:pt x="100436" y="96202"/>
                    </a:lnTo>
                    <a:cubicBezTo>
                      <a:pt x="100436" y="96202"/>
                      <a:pt x="107103" y="92393"/>
                      <a:pt x="108056" y="96202"/>
                    </a:cubicBezTo>
                    <a:cubicBezTo>
                      <a:pt x="109008" y="100013"/>
                      <a:pt x="109008" y="100013"/>
                      <a:pt x="109008" y="100013"/>
                    </a:cubicBezTo>
                    <a:lnTo>
                      <a:pt x="123296" y="101918"/>
                    </a:lnTo>
                    <a:lnTo>
                      <a:pt x="130916" y="98108"/>
                    </a:lnTo>
                    <a:lnTo>
                      <a:pt x="134726" y="89535"/>
                    </a:lnTo>
                    <a:cubicBezTo>
                      <a:pt x="134726" y="89535"/>
                      <a:pt x="136631" y="87630"/>
                      <a:pt x="140441" y="87630"/>
                    </a:cubicBezTo>
                    <a:cubicBezTo>
                      <a:pt x="144251" y="87630"/>
                      <a:pt x="135678" y="87630"/>
                      <a:pt x="144251" y="87630"/>
                    </a:cubicBezTo>
                    <a:cubicBezTo>
                      <a:pt x="151871" y="87630"/>
                      <a:pt x="175683" y="89535"/>
                      <a:pt x="180446" y="89535"/>
                    </a:cubicBezTo>
                    <a:cubicBezTo>
                      <a:pt x="185208" y="89535"/>
                      <a:pt x="186161" y="89535"/>
                      <a:pt x="189971" y="89535"/>
                    </a:cubicBezTo>
                    <a:cubicBezTo>
                      <a:pt x="194733" y="89535"/>
                      <a:pt x="201401" y="86677"/>
                      <a:pt x="201401" y="86677"/>
                    </a:cubicBezTo>
                    <a:lnTo>
                      <a:pt x="207116" y="84773"/>
                    </a:lnTo>
                    <a:lnTo>
                      <a:pt x="208068" y="72390"/>
                    </a:lnTo>
                    <a:cubicBezTo>
                      <a:pt x="208068" y="72390"/>
                      <a:pt x="208068" y="67627"/>
                      <a:pt x="209021" y="65723"/>
                    </a:cubicBezTo>
                    <a:cubicBezTo>
                      <a:pt x="209973" y="63818"/>
                      <a:pt x="211878" y="59055"/>
                      <a:pt x="211878" y="59055"/>
                    </a:cubicBezTo>
                    <a:lnTo>
                      <a:pt x="213783" y="54293"/>
                    </a:lnTo>
                    <a:cubicBezTo>
                      <a:pt x="213783" y="54293"/>
                      <a:pt x="215688" y="49530"/>
                      <a:pt x="218546" y="38100"/>
                    </a:cubicBezTo>
                    <a:cubicBezTo>
                      <a:pt x="221403" y="26670"/>
                      <a:pt x="217593" y="19050"/>
                      <a:pt x="217593" y="19050"/>
                    </a:cubicBezTo>
                    <a:cubicBezTo>
                      <a:pt x="217593" y="19050"/>
                      <a:pt x="216641" y="17145"/>
                      <a:pt x="216641" y="15240"/>
                    </a:cubicBezTo>
                    <a:cubicBezTo>
                      <a:pt x="216641" y="13335"/>
                      <a:pt x="212831" y="952"/>
                      <a:pt x="212831" y="952"/>
                    </a:cubicBezTo>
                    <a:lnTo>
                      <a:pt x="207116" y="0"/>
                    </a:lnTo>
                    <a:cubicBezTo>
                      <a:pt x="207116" y="0"/>
                      <a:pt x="198543" y="3810"/>
                      <a:pt x="198543" y="6668"/>
                    </a:cubicBezTo>
                    <a:cubicBezTo>
                      <a:pt x="198543" y="8573"/>
                      <a:pt x="190923" y="10477"/>
                      <a:pt x="189971" y="13335"/>
                    </a:cubicBezTo>
                    <a:cubicBezTo>
                      <a:pt x="189018" y="16193"/>
                      <a:pt x="191876" y="11430"/>
                      <a:pt x="189018" y="16193"/>
                    </a:cubicBezTo>
                    <a:cubicBezTo>
                      <a:pt x="185208" y="20955"/>
                      <a:pt x="188066" y="14288"/>
                      <a:pt x="185208" y="20955"/>
                    </a:cubicBezTo>
                    <a:cubicBezTo>
                      <a:pt x="183303" y="27623"/>
                      <a:pt x="177588" y="26670"/>
                      <a:pt x="174731" y="30480"/>
                    </a:cubicBezTo>
                    <a:cubicBezTo>
                      <a:pt x="172826" y="34290"/>
                      <a:pt x="174731" y="32385"/>
                      <a:pt x="172826" y="34290"/>
                    </a:cubicBezTo>
                    <a:cubicBezTo>
                      <a:pt x="170921" y="36195"/>
                      <a:pt x="170921" y="36195"/>
                      <a:pt x="170921" y="36195"/>
                    </a:cubicBezTo>
                    <a:cubicBezTo>
                      <a:pt x="170921" y="36195"/>
                      <a:pt x="172826" y="30480"/>
                      <a:pt x="170921" y="36195"/>
                    </a:cubicBezTo>
                    <a:cubicBezTo>
                      <a:pt x="169016" y="41910"/>
                      <a:pt x="171873" y="35243"/>
                      <a:pt x="169016" y="41910"/>
                    </a:cubicBezTo>
                    <a:cubicBezTo>
                      <a:pt x="165206" y="48577"/>
                      <a:pt x="165206" y="48577"/>
                      <a:pt x="165206" y="48577"/>
                    </a:cubicBezTo>
                    <a:cubicBezTo>
                      <a:pt x="165206" y="48577"/>
                      <a:pt x="171873" y="46673"/>
                      <a:pt x="153776" y="50483"/>
                    </a:cubicBezTo>
                    <a:cubicBezTo>
                      <a:pt x="135678" y="54293"/>
                      <a:pt x="135678" y="54293"/>
                      <a:pt x="135678" y="54293"/>
                    </a:cubicBezTo>
                    <a:lnTo>
                      <a:pt x="130916" y="55245"/>
                    </a:lnTo>
                    <a:cubicBezTo>
                      <a:pt x="130916" y="55245"/>
                      <a:pt x="123296" y="56198"/>
                      <a:pt x="123296" y="60008"/>
                    </a:cubicBezTo>
                    <a:cubicBezTo>
                      <a:pt x="123296" y="63818"/>
                      <a:pt x="123296" y="63818"/>
                      <a:pt x="123296" y="63818"/>
                    </a:cubicBezTo>
                    <a:lnTo>
                      <a:pt x="116628" y="67627"/>
                    </a:lnTo>
                    <a:cubicBezTo>
                      <a:pt x="116628" y="67627"/>
                      <a:pt x="109961" y="71438"/>
                      <a:pt x="106151" y="73343"/>
                    </a:cubicBezTo>
                    <a:cubicBezTo>
                      <a:pt x="103293" y="74295"/>
                      <a:pt x="103293" y="73343"/>
                      <a:pt x="97578" y="74295"/>
                    </a:cubicBezTo>
                    <a:cubicBezTo>
                      <a:pt x="91863" y="75248"/>
                      <a:pt x="84243" y="74295"/>
                      <a:pt x="84243" y="74295"/>
                    </a:cubicBezTo>
                    <a:lnTo>
                      <a:pt x="71861" y="75248"/>
                    </a:lnTo>
                    <a:cubicBezTo>
                      <a:pt x="71861" y="75248"/>
                      <a:pt x="66146" y="73343"/>
                      <a:pt x="63288" y="75248"/>
                    </a:cubicBezTo>
                    <a:cubicBezTo>
                      <a:pt x="59478" y="77152"/>
                      <a:pt x="59478" y="77152"/>
                      <a:pt x="59478" y="77152"/>
                    </a:cubicBezTo>
                    <a:lnTo>
                      <a:pt x="50906" y="78105"/>
                    </a:lnTo>
                    <a:cubicBezTo>
                      <a:pt x="50906" y="78105"/>
                      <a:pt x="49000" y="78105"/>
                      <a:pt x="49000" y="80963"/>
                    </a:cubicBezTo>
                    <a:cubicBezTo>
                      <a:pt x="49000" y="83820"/>
                      <a:pt x="49000" y="80010"/>
                      <a:pt x="49000" y="83820"/>
                    </a:cubicBezTo>
                    <a:cubicBezTo>
                      <a:pt x="49000" y="87630"/>
                      <a:pt x="52811" y="81915"/>
                      <a:pt x="49000" y="87630"/>
                    </a:cubicBezTo>
                    <a:cubicBezTo>
                      <a:pt x="45191" y="94298"/>
                      <a:pt x="45191" y="94298"/>
                      <a:pt x="45191" y="94298"/>
                    </a:cubicBezTo>
                    <a:lnTo>
                      <a:pt x="39475" y="98108"/>
                    </a:lnTo>
                    <a:close/>
                  </a:path>
                </a:pathLst>
              </a:custGeom>
              <a:grpFill/>
              <a:ln w="9525" cap="flat">
                <a:noFill/>
                <a:prstDash val="solid"/>
                <a:miter/>
              </a:ln>
            </p:spPr>
            <p:txBody>
              <a:bodyPr rtlCol="0" anchor="ctr"/>
              <a:lstStyle/>
              <a:p>
                <a:endParaRPr lang="en-US" sz="1765"/>
              </a:p>
            </p:txBody>
          </p:sp>
          <p:sp>
            <p:nvSpPr>
              <p:cNvPr id="60" name="Freeform: Shape 59">
                <a:extLst>
                  <a:ext uri="{FF2B5EF4-FFF2-40B4-BE49-F238E27FC236}">
                    <a16:creationId xmlns:a16="http://schemas.microsoft.com/office/drawing/2014/main" id="{E86CA6B9-039B-4B1A-A7A2-990A1E660847}"/>
                  </a:ext>
                </a:extLst>
              </p:cNvPr>
              <p:cNvSpPr/>
              <p:nvPr/>
            </p:nvSpPr>
            <p:spPr>
              <a:xfrm>
                <a:off x="10638501" y="3539007"/>
                <a:ext cx="108254" cy="38311"/>
              </a:xfrm>
              <a:custGeom>
                <a:avLst/>
                <a:gdLst>
                  <a:gd name="connsiteX0" fmla="*/ 54293 w 108254"/>
                  <a:gd name="connsiteY0" fmla="*/ 7832 h 38311"/>
                  <a:gd name="connsiteX1" fmla="*/ 49530 w 108254"/>
                  <a:gd name="connsiteY1" fmla="*/ 4022 h 38311"/>
                  <a:gd name="connsiteX2" fmla="*/ 44768 w 108254"/>
                  <a:gd name="connsiteY2" fmla="*/ 2117 h 38311"/>
                  <a:gd name="connsiteX3" fmla="*/ 32385 w 108254"/>
                  <a:gd name="connsiteY3" fmla="*/ 2117 h 38311"/>
                  <a:gd name="connsiteX4" fmla="*/ 28575 w 108254"/>
                  <a:gd name="connsiteY4" fmla="*/ 6879 h 38311"/>
                  <a:gd name="connsiteX5" fmla="*/ 23813 w 108254"/>
                  <a:gd name="connsiteY5" fmla="*/ 16404 h 38311"/>
                  <a:gd name="connsiteX6" fmla="*/ 19050 w 108254"/>
                  <a:gd name="connsiteY6" fmla="*/ 18309 h 38311"/>
                  <a:gd name="connsiteX7" fmla="*/ 11430 w 108254"/>
                  <a:gd name="connsiteY7" fmla="*/ 20214 h 38311"/>
                  <a:gd name="connsiteX8" fmla="*/ 6668 w 108254"/>
                  <a:gd name="connsiteY8" fmla="*/ 21167 h 38311"/>
                  <a:gd name="connsiteX9" fmla="*/ 1905 w 108254"/>
                  <a:gd name="connsiteY9" fmla="*/ 22119 h 38311"/>
                  <a:gd name="connsiteX10" fmla="*/ 0 w 108254"/>
                  <a:gd name="connsiteY10" fmla="*/ 28787 h 38311"/>
                  <a:gd name="connsiteX11" fmla="*/ 0 w 108254"/>
                  <a:gd name="connsiteY11" fmla="*/ 31644 h 38311"/>
                  <a:gd name="connsiteX12" fmla="*/ 4763 w 108254"/>
                  <a:gd name="connsiteY12" fmla="*/ 35454 h 38311"/>
                  <a:gd name="connsiteX13" fmla="*/ 9525 w 108254"/>
                  <a:gd name="connsiteY13" fmla="*/ 36407 h 38311"/>
                  <a:gd name="connsiteX14" fmla="*/ 22860 w 108254"/>
                  <a:gd name="connsiteY14" fmla="*/ 33549 h 38311"/>
                  <a:gd name="connsiteX15" fmla="*/ 34290 w 108254"/>
                  <a:gd name="connsiteY15" fmla="*/ 32597 h 38311"/>
                  <a:gd name="connsiteX16" fmla="*/ 40005 w 108254"/>
                  <a:gd name="connsiteY16" fmla="*/ 34502 h 38311"/>
                  <a:gd name="connsiteX17" fmla="*/ 44768 w 108254"/>
                  <a:gd name="connsiteY17" fmla="*/ 36407 h 38311"/>
                  <a:gd name="connsiteX18" fmla="*/ 60960 w 108254"/>
                  <a:gd name="connsiteY18" fmla="*/ 38312 h 38311"/>
                  <a:gd name="connsiteX19" fmla="*/ 68580 w 108254"/>
                  <a:gd name="connsiteY19" fmla="*/ 35454 h 38311"/>
                  <a:gd name="connsiteX20" fmla="*/ 72390 w 108254"/>
                  <a:gd name="connsiteY20" fmla="*/ 32597 h 38311"/>
                  <a:gd name="connsiteX21" fmla="*/ 78105 w 108254"/>
                  <a:gd name="connsiteY21" fmla="*/ 28787 h 38311"/>
                  <a:gd name="connsiteX22" fmla="*/ 90488 w 108254"/>
                  <a:gd name="connsiteY22" fmla="*/ 25929 h 38311"/>
                  <a:gd name="connsiteX23" fmla="*/ 99060 w 108254"/>
                  <a:gd name="connsiteY23" fmla="*/ 25929 h 38311"/>
                  <a:gd name="connsiteX24" fmla="*/ 105727 w 108254"/>
                  <a:gd name="connsiteY24" fmla="*/ 24024 h 38311"/>
                  <a:gd name="connsiteX25" fmla="*/ 107632 w 108254"/>
                  <a:gd name="connsiteY25" fmla="*/ 20214 h 38311"/>
                  <a:gd name="connsiteX26" fmla="*/ 107632 w 108254"/>
                  <a:gd name="connsiteY26" fmla="*/ 15452 h 38311"/>
                  <a:gd name="connsiteX27" fmla="*/ 107632 w 108254"/>
                  <a:gd name="connsiteY27" fmla="*/ 11642 h 38311"/>
                  <a:gd name="connsiteX28" fmla="*/ 106680 w 108254"/>
                  <a:gd name="connsiteY28" fmla="*/ 7832 h 38311"/>
                  <a:gd name="connsiteX29" fmla="*/ 91440 w 108254"/>
                  <a:gd name="connsiteY29" fmla="*/ 6879 h 38311"/>
                  <a:gd name="connsiteX30" fmla="*/ 83820 w 108254"/>
                  <a:gd name="connsiteY30" fmla="*/ 7832 h 38311"/>
                  <a:gd name="connsiteX31" fmla="*/ 69532 w 108254"/>
                  <a:gd name="connsiteY31" fmla="*/ 8784 h 38311"/>
                  <a:gd name="connsiteX32" fmla="*/ 63818 w 108254"/>
                  <a:gd name="connsiteY32" fmla="*/ 8784 h 38311"/>
                  <a:gd name="connsiteX33" fmla="*/ 54293 w 108254"/>
                  <a:gd name="connsiteY33" fmla="*/ 7832 h 3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8254" h="38311">
                    <a:moveTo>
                      <a:pt x="54293" y="7832"/>
                    </a:moveTo>
                    <a:lnTo>
                      <a:pt x="49530" y="4022"/>
                    </a:lnTo>
                    <a:lnTo>
                      <a:pt x="44768" y="2117"/>
                    </a:lnTo>
                    <a:cubicBezTo>
                      <a:pt x="44768" y="2117"/>
                      <a:pt x="36195" y="-2646"/>
                      <a:pt x="32385" y="2117"/>
                    </a:cubicBezTo>
                    <a:cubicBezTo>
                      <a:pt x="28575" y="6879"/>
                      <a:pt x="31432" y="2117"/>
                      <a:pt x="28575" y="6879"/>
                    </a:cubicBezTo>
                    <a:cubicBezTo>
                      <a:pt x="26670" y="11642"/>
                      <a:pt x="23813" y="16404"/>
                      <a:pt x="23813" y="16404"/>
                    </a:cubicBezTo>
                    <a:lnTo>
                      <a:pt x="19050" y="18309"/>
                    </a:lnTo>
                    <a:lnTo>
                      <a:pt x="11430" y="20214"/>
                    </a:lnTo>
                    <a:lnTo>
                      <a:pt x="6668" y="21167"/>
                    </a:lnTo>
                    <a:cubicBezTo>
                      <a:pt x="6668" y="21167"/>
                      <a:pt x="1905" y="20214"/>
                      <a:pt x="1905" y="22119"/>
                    </a:cubicBezTo>
                    <a:cubicBezTo>
                      <a:pt x="1905" y="24024"/>
                      <a:pt x="0" y="28787"/>
                      <a:pt x="0" y="28787"/>
                    </a:cubicBezTo>
                    <a:lnTo>
                      <a:pt x="0" y="31644"/>
                    </a:lnTo>
                    <a:lnTo>
                      <a:pt x="4763" y="35454"/>
                    </a:lnTo>
                    <a:cubicBezTo>
                      <a:pt x="4763" y="35454"/>
                      <a:pt x="5715" y="36407"/>
                      <a:pt x="9525" y="36407"/>
                    </a:cubicBezTo>
                    <a:cubicBezTo>
                      <a:pt x="12382" y="36407"/>
                      <a:pt x="22860" y="33549"/>
                      <a:pt x="22860" y="33549"/>
                    </a:cubicBezTo>
                    <a:lnTo>
                      <a:pt x="34290" y="32597"/>
                    </a:lnTo>
                    <a:lnTo>
                      <a:pt x="40005" y="34502"/>
                    </a:lnTo>
                    <a:lnTo>
                      <a:pt x="44768" y="36407"/>
                    </a:lnTo>
                    <a:cubicBezTo>
                      <a:pt x="52388" y="37359"/>
                      <a:pt x="60960" y="38312"/>
                      <a:pt x="60960" y="38312"/>
                    </a:cubicBezTo>
                    <a:lnTo>
                      <a:pt x="68580" y="35454"/>
                    </a:lnTo>
                    <a:lnTo>
                      <a:pt x="72390" y="32597"/>
                    </a:lnTo>
                    <a:cubicBezTo>
                      <a:pt x="72390" y="32597"/>
                      <a:pt x="73343" y="28787"/>
                      <a:pt x="78105" y="28787"/>
                    </a:cubicBezTo>
                    <a:cubicBezTo>
                      <a:pt x="82868" y="28787"/>
                      <a:pt x="85725" y="25929"/>
                      <a:pt x="90488" y="25929"/>
                    </a:cubicBezTo>
                    <a:cubicBezTo>
                      <a:pt x="95250" y="25929"/>
                      <a:pt x="99060" y="25929"/>
                      <a:pt x="99060" y="25929"/>
                    </a:cubicBezTo>
                    <a:lnTo>
                      <a:pt x="105727" y="24024"/>
                    </a:lnTo>
                    <a:lnTo>
                      <a:pt x="107632" y="20214"/>
                    </a:lnTo>
                    <a:lnTo>
                      <a:pt x="107632" y="15452"/>
                    </a:lnTo>
                    <a:lnTo>
                      <a:pt x="107632" y="11642"/>
                    </a:lnTo>
                    <a:cubicBezTo>
                      <a:pt x="107632" y="11642"/>
                      <a:pt x="109538" y="7832"/>
                      <a:pt x="106680" y="7832"/>
                    </a:cubicBezTo>
                    <a:cubicBezTo>
                      <a:pt x="103823" y="8784"/>
                      <a:pt x="91440" y="6879"/>
                      <a:pt x="91440" y="6879"/>
                    </a:cubicBezTo>
                    <a:lnTo>
                      <a:pt x="83820" y="7832"/>
                    </a:lnTo>
                    <a:lnTo>
                      <a:pt x="69532" y="8784"/>
                    </a:lnTo>
                    <a:lnTo>
                      <a:pt x="63818" y="8784"/>
                    </a:lnTo>
                    <a:lnTo>
                      <a:pt x="54293" y="7832"/>
                    </a:lnTo>
                    <a:close/>
                  </a:path>
                </a:pathLst>
              </a:custGeom>
              <a:grpFill/>
              <a:ln w="9525" cap="flat">
                <a:noFill/>
                <a:prstDash val="solid"/>
                <a:miter/>
              </a:ln>
            </p:spPr>
            <p:txBody>
              <a:bodyPr rtlCol="0" anchor="ctr"/>
              <a:lstStyle/>
              <a:p>
                <a:endParaRPr lang="en-US" sz="1765"/>
              </a:p>
            </p:txBody>
          </p:sp>
          <p:sp>
            <p:nvSpPr>
              <p:cNvPr id="61" name="Freeform: Shape 60">
                <a:extLst>
                  <a:ext uri="{FF2B5EF4-FFF2-40B4-BE49-F238E27FC236}">
                    <a16:creationId xmlns:a16="http://schemas.microsoft.com/office/drawing/2014/main" id="{9FD30008-A65A-43D1-8A52-F0A511A80EF0}"/>
                  </a:ext>
                </a:extLst>
              </p:cNvPr>
              <p:cNvSpPr/>
              <p:nvPr/>
            </p:nvSpPr>
            <p:spPr>
              <a:xfrm>
                <a:off x="10664219" y="3419204"/>
                <a:ext cx="51434" cy="105727"/>
              </a:xfrm>
              <a:custGeom>
                <a:avLst/>
                <a:gdLst>
                  <a:gd name="connsiteX0" fmla="*/ 0 w 51434"/>
                  <a:gd name="connsiteY0" fmla="*/ 20002 h 105727"/>
                  <a:gd name="connsiteX1" fmla="*/ 7620 w 51434"/>
                  <a:gd name="connsiteY1" fmla="*/ 29527 h 105727"/>
                  <a:gd name="connsiteX2" fmla="*/ 7620 w 51434"/>
                  <a:gd name="connsiteY2" fmla="*/ 39052 h 105727"/>
                  <a:gd name="connsiteX3" fmla="*/ 7620 w 51434"/>
                  <a:gd name="connsiteY3" fmla="*/ 45720 h 105727"/>
                  <a:gd name="connsiteX4" fmla="*/ 6668 w 51434"/>
                  <a:gd name="connsiteY4" fmla="*/ 53340 h 105727"/>
                  <a:gd name="connsiteX5" fmla="*/ 13335 w 51434"/>
                  <a:gd name="connsiteY5" fmla="*/ 65723 h 105727"/>
                  <a:gd name="connsiteX6" fmla="*/ 13335 w 51434"/>
                  <a:gd name="connsiteY6" fmla="*/ 72390 h 105727"/>
                  <a:gd name="connsiteX7" fmla="*/ 10477 w 51434"/>
                  <a:gd name="connsiteY7" fmla="*/ 81915 h 105727"/>
                  <a:gd name="connsiteX8" fmla="*/ 13335 w 51434"/>
                  <a:gd name="connsiteY8" fmla="*/ 96202 h 105727"/>
                  <a:gd name="connsiteX9" fmla="*/ 18097 w 51434"/>
                  <a:gd name="connsiteY9" fmla="*/ 100965 h 105727"/>
                  <a:gd name="connsiteX10" fmla="*/ 35243 w 51434"/>
                  <a:gd name="connsiteY10" fmla="*/ 105727 h 105727"/>
                  <a:gd name="connsiteX11" fmla="*/ 44768 w 51434"/>
                  <a:gd name="connsiteY11" fmla="*/ 104775 h 105727"/>
                  <a:gd name="connsiteX12" fmla="*/ 48577 w 51434"/>
                  <a:gd name="connsiteY12" fmla="*/ 98108 h 105727"/>
                  <a:gd name="connsiteX13" fmla="*/ 44768 w 51434"/>
                  <a:gd name="connsiteY13" fmla="*/ 85725 h 105727"/>
                  <a:gd name="connsiteX14" fmla="*/ 40005 w 51434"/>
                  <a:gd name="connsiteY14" fmla="*/ 80963 h 105727"/>
                  <a:gd name="connsiteX15" fmla="*/ 37147 w 51434"/>
                  <a:gd name="connsiteY15" fmla="*/ 71438 h 105727"/>
                  <a:gd name="connsiteX16" fmla="*/ 42863 w 51434"/>
                  <a:gd name="connsiteY16" fmla="*/ 66675 h 105727"/>
                  <a:gd name="connsiteX17" fmla="*/ 47625 w 51434"/>
                  <a:gd name="connsiteY17" fmla="*/ 62865 h 105727"/>
                  <a:gd name="connsiteX18" fmla="*/ 51435 w 51434"/>
                  <a:gd name="connsiteY18" fmla="*/ 58102 h 105727"/>
                  <a:gd name="connsiteX19" fmla="*/ 51435 w 51434"/>
                  <a:gd name="connsiteY19" fmla="*/ 48577 h 105727"/>
                  <a:gd name="connsiteX20" fmla="*/ 45720 w 51434"/>
                  <a:gd name="connsiteY20" fmla="*/ 38100 h 105727"/>
                  <a:gd name="connsiteX21" fmla="*/ 39052 w 51434"/>
                  <a:gd name="connsiteY21" fmla="*/ 27623 h 105727"/>
                  <a:gd name="connsiteX22" fmla="*/ 35243 w 51434"/>
                  <a:gd name="connsiteY22" fmla="*/ 13335 h 105727"/>
                  <a:gd name="connsiteX23" fmla="*/ 33338 w 51434"/>
                  <a:gd name="connsiteY23" fmla="*/ 6667 h 105727"/>
                  <a:gd name="connsiteX24" fmla="*/ 34290 w 51434"/>
                  <a:gd name="connsiteY24" fmla="*/ 4763 h 105727"/>
                  <a:gd name="connsiteX25" fmla="*/ 25718 w 51434"/>
                  <a:gd name="connsiteY25" fmla="*/ 0 h 105727"/>
                  <a:gd name="connsiteX26" fmla="*/ 19050 w 51434"/>
                  <a:gd name="connsiteY26" fmla="*/ 0 h 105727"/>
                  <a:gd name="connsiteX27" fmla="*/ 12382 w 51434"/>
                  <a:gd name="connsiteY27" fmla="*/ 0 h 105727"/>
                  <a:gd name="connsiteX28" fmla="*/ 5715 w 51434"/>
                  <a:gd name="connsiteY28" fmla="*/ 3810 h 105727"/>
                  <a:gd name="connsiteX29" fmla="*/ 2857 w 51434"/>
                  <a:gd name="connsiteY29" fmla="*/ 9525 h 105727"/>
                  <a:gd name="connsiteX30" fmla="*/ 0 w 51434"/>
                  <a:gd name="connsiteY30" fmla="*/ 20002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434" h="105727">
                    <a:moveTo>
                      <a:pt x="0" y="20002"/>
                    </a:moveTo>
                    <a:cubicBezTo>
                      <a:pt x="0" y="20002"/>
                      <a:pt x="6668" y="26670"/>
                      <a:pt x="7620" y="29527"/>
                    </a:cubicBezTo>
                    <a:cubicBezTo>
                      <a:pt x="8572" y="33338"/>
                      <a:pt x="6668" y="35242"/>
                      <a:pt x="7620" y="39052"/>
                    </a:cubicBezTo>
                    <a:cubicBezTo>
                      <a:pt x="8572" y="42863"/>
                      <a:pt x="8572" y="42863"/>
                      <a:pt x="7620" y="45720"/>
                    </a:cubicBezTo>
                    <a:cubicBezTo>
                      <a:pt x="6668" y="48577"/>
                      <a:pt x="6668" y="51435"/>
                      <a:pt x="6668" y="53340"/>
                    </a:cubicBezTo>
                    <a:cubicBezTo>
                      <a:pt x="6668" y="55245"/>
                      <a:pt x="12382" y="62865"/>
                      <a:pt x="13335" y="65723"/>
                    </a:cubicBezTo>
                    <a:cubicBezTo>
                      <a:pt x="14288" y="68580"/>
                      <a:pt x="12382" y="69533"/>
                      <a:pt x="13335" y="72390"/>
                    </a:cubicBezTo>
                    <a:cubicBezTo>
                      <a:pt x="14288" y="75248"/>
                      <a:pt x="11430" y="79058"/>
                      <a:pt x="10477" y="81915"/>
                    </a:cubicBezTo>
                    <a:cubicBezTo>
                      <a:pt x="10477" y="84773"/>
                      <a:pt x="9525" y="91440"/>
                      <a:pt x="13335" y="96202"/>
                    </a:cubicBezTo>
                    <a:cubicBezTo>
                      <a:pt x="18097" y="100965"/>
                      <a:pt x="18097" y="100965"/>
                      <a:pt x="18097" y="100965"/>
                    </a:cubicBezTo>
                    <a:lnTo>
                      <a:pt x="35243" y="105727"/>
                    </a:lnTo>
                    <a:lnTo>
                      <a:pt x="44768" y="104775"/>
                    </a:lnTo>
                    <a:cubicBezTo>
                      <a:pt x="44768" y="104775"/>
                      <a:pt x="46672" y="100965"/>
                      <a:pt x="48577" y="98108"/>
                    </a:cubicBezTo>
                    <a:cubicBezTo>
                      <a:pt x="49530" y="95250"/>
                      <a:pt x="44768" y="85725"/>
                      <a:pt x="44768" y="85725"/>
                    </a:cubicBezTo>
                    <a:cubicBezTo>
                      <a:pt x="44768" y="85725"/>
                      <a:pt x="39052" y="83820"/>
                      <a:pt x="40005" y="80963"/>
                    </a:cubicBezTo>
                    <a:cubicBezTo>
                      <a:pt x="40957" y="78105"/>
                      <a:pt x="37147" y="71438"/>
                      <a:pt x="37147" y="71438"/>
                    </a:cubicBezTo>
                    <a:lnTo>
                      <a:pt x="42863" y="66675"/>
                    </a:lnTo>
                    <a:lnTo>
                      <a:pt x="47625" y="62865"/>
                    </a:lnTo>
                    <a:cubicBezTo>
                      <a:pt x="47625" y="62865"/>
                      <a:pt x="50482" y="66675"/>
                      <a:pt x="51435" y="58102"/>
                    </a:cubicBezTo>
                    <a:cubicBezTo>
                      <a:pt x="51435" y="48577"/>
                      <a:pt x="51435" y="53340"/>
                      <a:pt x="51435" y="48577"/>
                    </a:cubicBezTo>
                    <a:cubicBezTo>
                      <a:pt x="51435" y="44767"/>
                      <a:pt x="47625" y="40005"/>
                      <a:pt x="45720" y="38100"/>
                    </a:cubicBezTo>
                    <a:cubicBezTo>
                      <a:pt x="44768" y="36195"/>
                      <a:pt x="38100" y="29527"/>
                      <a:pt x="39052" y="27623"/>
                    </a:cubicBezTo>
                    <a:cubicBezTo>
                      <a:pt x="40005" y="25717"/>
                      <a:pt x="34290" y="15240"/>
                      <a:pt x="35243" y="13335"/>
                    </a:cubicBezTo>
                    <a:cubicBezTo>
                      <a:pt x="36195" y="11430"/>
                      <a:pt x="32385" y="8573"/>
                      <a:pt x="33338" y="6667"/>
                    </a:cubicBezTo>
                    <a:cubicBezTo>
                      <a:pt x="34290" y="4763"/>
                      <a:pt x="34290" y="4763"/>
                      <a:pt x="34290" y="4763"/>
                    </a:cubicBezTo>
                    <a:lnTo>
                      <a:pt x="25718" y="0"/>
                    </a:lnTo>
                    <a:lnTo>
                      <a:pt x="19050" y="0"/>
                    </a:lnTo>
                    <a:lnTo>
                      <a:pt x="12382" y="0"/>
                    </a:lnTo>
                    <a:cubicBezTo>
                      <a:pt x="12382" y="0"/>
                      <a:pt x="6668" y="1905"/>
                      <a:pt x="5715" y="3810"/>
                    </a:cubicBezTo>
                    <a:cubicBezTo>
                      <a:pt x="4763" y="5715"/>
                      <a:pt x="5715" y="7620"/>
                      <a:pt x="2857" y="9525"/>
                    </a:cubicBezTo>
                    <a:cubicBezTo>
                      <a:pt x="952" y="10477"/>
                      <a:pt x="0" y="20002"/>
                      <a:pt x="0" y="20002"/>
                    </a:cubicBezTo>
                    <a:close/>
                  </a:path>
                </a:pathLst>
              </a:custGeom>
              <a:grpFill/>
              <a:ln w="9525" cap="flat">
                <a:noFill/>
                <a:prstDash val="solid"/>
                <a:miter/>
              </a:ln>
            </p:spPr>
            <p:txBody>
              <a:bodyPr rtlCol="0" anchor="ctr"/>
              <a:lstStyle/>
              <a:p>
                <a:endParaRPr lang="en-US" sz="1765"/>
              </a:p>
            </p:txBody>
          </p:sp>
          <p:sp>
            <p:nvSpPr>
              <p:cNvPr id="62" name="Freeform: Shape 61">
                <a:extLst>
                  <a:ext uri="{FF2B5EF4-FFF2-40B4-BE49-F238E27FC236}">
                    <a16:creationId xmlns:a16="http://schemas.microsoft.com/office/drawing/2014/main" id="{CF742A34-EECF-46AC-B2EF-52FCF9FE5A82}"/>
                  </a:ext>
                </a:extLst>
              </p:cNvPr>
              <p:cNvSpPr/>
              <p:nvPr/>
            </p:nvSpPr>
            <p:spPr>
              <a:xfrm>
                <a:off x="10452354" y="4072619"/>
                <a:ext cx="355903" cy="121919"/>
              </a:xfrm>
              <a:custGeom>
                <a:avLst/>
                <a:gdLst>
                  <a:gd name="connsiteX0" fmla="*/ 101374 w 355903"/>
                  <a:gd name="connsiteY0" fmla="*/ 29527 h 121919"/>
                  <a:gd name="connsiteX1" fmla="*/ 96612 w 355903"/>
                  <a:gd name="connsiteY1" fmla="*/ 30480 h 121919"/>
                  <a:gd name="connsiteX2" fmla="*/ 83277 w 355903"/>
                  <a:gd name="connsiteY2" fmla="*/ 29527 h 121919"/>
                  <a:gd name="connsiteX3" fmla="*/ 78515 w 355903"/>
                  <a:gd name="connsiteY3" fmla="*/ 26670 h 121919"/>
                  <a:gd name="connsiteX4" fmla="*/ 73752 w 355903"/>
                  <a:gd name="connsiteY4" fmla="*/ 22860 h 121919"/>
                  <a:gd name="connsiteX5" fmla="*/ 72799 w 355903"/>
                  <a:gd name="connsiteY5" fmla="*/ 14288 h 121919"/>
                  <a:gd name="connsiteX6" fmla="*/ 72799 w 355903"/>
                  <a:gd name="connsiteY6" fmla="*/ 10477 h 121919"/>
                  <a:gd name="connsiteX7" fmla="*/ 72799 w 355903"/>
                  <a:gd name="connsiteY7" fmla="*/ 2857 h 121919"/>
                  <a:gd name="connsiteX8" fmla="*/ 67085 w 355903"/>
                  <a:gd name="connsiteY8" fmla="*/ 0 h 121919"/>
                  <a:gd name="connsiteX9" fmla="*/ 54702 w 355903"/>
                  <a:gd name="connsiteY9" fmla="*/ 952 h 121919"/>
                  <a:gd name="connsiteX10" fmla="*/ 48035 w 355903"/>
                  <a:gd name="connsiteY10" fmla="*/ 1905 h 121919"/>
                  <a:gd name="connsiteX11" fmla="*/ 35652 w 355903"/>
                  <a:gd name="connsiteY11" fmla="*/ 4763 h 121919"/>
                  <a:gd name="connsiteX12" fmla="*/ 24222 w 355903"/>
                  <a:gd name="connsiteY12" fmla="*/ 3810 h 121919"/>
                  <a:gd name="connsiteX13" fmla="*/ 17555 w 355903"/>
                  <a:gd name="connsiteY13" fmla="*/ 5715 h 121919"/>
                  <a:gd name="connsiteX14" fmla="*/ 5172 w 355903"/>
                  <a:gd name="connsiteY14" fmla="*/ 9525 h 121919"/>
                  <a:gd name="connsiteX15" fmla="*/ 3267 w 355903"/>
                  <a:gd name="connsiteY15" fmla="*/ 12382 h 121919"/>
                  <a:gd name="connsiteX16" fmla="*/ 2315 w 355903"/>
                  <a:gd name="connsiteY16" fmla="*/ 15240 h 121919"/>
                  <a:gd name="connsiteX17" fmla="*/ 13745 w 355903"/>
                  <a:gd name="connsiteY17" fmla="*/ 17145 h 121919"/>
                  <a:gd name="connsiteX18" fmla="*/ 22317 w 355903"/>
                  <a:gd name="connsiteY18" fmla="*/ 14288 h 121919"/>
                  <a:gd name="connsiteX19" fmla="*/ 38510 w 355903"/>
                  <a:gd name="connsiteY19" fmla="*/ 20002 h 121919"/>
                  <a:gd name="connsiteX20" fmla="*/ 39462 w 355903"/>
                  <a:gd name="connsiteY20" fmla="*/ 31432 h 121919"/>
                  <a:gd name="connsiteX21" fmla="*/ 37557 w 355903"/>
                  <a:gd name="connsiteY21" fmla="*/ 38100 h 121919"/>
                  <a:gd name="connsiteX22" fmla="*/ 50892 w 355903"/>
                  <a:gd name="connsiteY22" fmla="*/ 45720 h 121919"/>
                  <a:gd name="connsiteX23" fmla="*/ 57560 w 355903"/>
                  <a:gd name="connsiteY23" fmla="*/ 45720 h 121919"/>
                  <a:gd name="connsiteX24" fmla="*/ 58512 w 355903"/>
                  <a:gd name="connsiteY24" fmla="*/ 47625 h 121919"/>
                  <a:gd name="connsiteX25" fmla="*/ 79467 w 355903"/>
                  <a:gd name="connsiteY25" fmla="*/ 49530 h 121919"/>
                  <a:gd name="connsiteX26" fmla="*/ 93755 w 355903"/>
                  <a:gd name="connsiteY26" fmla="*/ 48577 h 121919"/>
                  <a:gd name="connsiteX27" fmla="*/ 108995 w 355903"/>
                  <a:gd name="connsiteY27" fmla="*/ 50482 h 121919"/>
                  <a:gd name="connsiteX28" fmla="*/ 115662 w 355903"/>
                  <a:gd name="connsiteY28" fmla="*/ 49530 h 121919"/>
                  <a:gd name="connsiteX29" fmla="*/ 118520 w 355903"/>
                  <a:gd name="connsiteY29" fmla="*/ 51435 h 121919"/>
                  <a:gd name="connsiteX30" fmla="*/ 128045 w 355903"/>
                  <a:gd name="connsiteY30" fmla="*/ 57150 h 121919"/>
                  <a:gd name="connsiteX31" fmla="*/ 137570 w 355903"/>
                  <a:gd name="connsiteY31" fmla="*/ 61913 h 121919"/>
                  <a:gd name="connsiteX32" fmla="*/ 147095 w 355903"/>
                  <a:gd name="connsiteY32" fmla="*/ 70485 h 121919"/>
                  <a:gd name="connsiteX33" fmla="*/ 147095 w 355903"/>
                  <a:gd name="connsiteY33" fmla="*/ 77152 h 121919"/>
                  <a:gd name="connsiteX34" fmla="*/ 142332 w 355903"/>
                  <a:gd name="connsiteY34" fmla="*/ 81915 h 121919"/>
                  <a:gd name="connsiteX35" fmla="*/ 141380 w 355903"/>
                  <a:gd name="connsiteY35" fmla="*/ 84772 h 121919"/>
                  <a:gd name="connsiteX36" fmla="*/ 135665 w 355903"/>
                  <a:gd name="connsiteY36" fmla="*/ 85725 h 121919"/>
                  <a:gd name="connsiteX37" fmla="*/ 134712 w 355903"/>
                  <a:gd name="connsiteY37" fmla="*/ 87630 h 121919"/>
                  <a:gd name="connsiteX38" fmla="*/ 128997 w 355903"/>
                  <a:gd name="connsiteY38" fmla="*/ 94297 h 121919"/>
                  <a:gd name="connsiteX39" fmla="*/ 148047 w 355903"/>
                  <a:gd name="connsiteY39" fmla="*/ 99060 h 121919"/>
                  <a:gd name="connsiteX40" fmla="*/ 150905 w 355903"/>
                  <a:gd name="connsiteY40" fmla="*/ 99060 h 121919"/>
                  <a:gd name="connsiteX41" fmla="*/ 159477 w 355903"/>
                  <a:gd name="connsiteY41" fmla="*/ 93345 h 121919"/>
                  <a:gd name="connsiteX42" fmla="*/ 175670 w 355903"/>
                  <a:gd name="connsiteY42" fmla="*/ 95250 h 121919"/>
                  <a:gd name="connsiteX43" fmla="*/ 183290 w 355903"/>
                  <a:gd name="connsiteY43" fmla="*/ 99060 h 121919"/>
                  <a:gd name="connsiteX44" fmla="*/ 186147 w 355903"/>
                  <a:gd name="connsiteY44" fmla="*/ 104775 h 121919"/>
                  <a:gd name="connsiteX45" fmla="*/ 189005 w 355903"/>
                  <a:gd name="connsiteY45" fmla="*/ 109538 h 121919"/>
                  <a:gd name="connsiteX46" fmla="*/ 209007 w 355903"/>
                  <a:gd name="connsiteY46" fmla="*/ 112395 h 121919"/>
                  <a:gd name="connsiteX47" fmla="*/ 217580 w 355903"/>
                  <a:gd name="connsiteY47" fmla="*/ 110490 h 121919"/>
                  <a:gd name="connsiteX48" fmla="*/ 226152 w 355903"/>
                  <a:gd name="connsiteY48" fmla="*/ 109538 h 121919"/>
                  <a:gd name="connsiteX49" fmla="*/ 233772 w 355903"/>
                  <a:gd name="connsiteY49" fmla="*/ 105727 h 121919"/>
                  <a:gd name="connsiteX50" fmla="*/ 237582 w 355903"/>
                  <a:gd name="connsiteY50" fmla="*/ 97155 h 121919"/>
                  <a:gd name="connsiteX51" fmla="*/ 239487 w 355903"/>
                  <a:gd name="connsiteY51" fmla="*/ 93345 h 121919"/>
                  <a:gd name="connsiteX52" fmla="*/ 259490 w 355903"/>
                  <a:gd name="connsiteY52" fmla="*/ 90488 h 121919"/>
                  <a:gd name="connsiteX53" fmla="*/ 270920 w 355903"/>
                  <a:gd name="connsiteY53" fmla="*/ 90488 h 121919"/>
                  <a:gd name="connsiteX54" fmla="*/ 275682 w 355903"/>
                  <a:gd name="connsiteY54" fmla="*/ 93345 h 121919"/>
                  <a:gd name="connsiteX55" fmla="*/ 283302 w 355903"/>
                  <a:gd name="connsiteY55" fmla="*/ 100013 h 121919"/>
                  <a:gd name="connsiteX56" fmla="*/ 289017 w 355903"/>
                  <a:gd name="connsiteY56" fmla="*/ 105727 h 121919"/>
                  <a:gd name="connsiteX57" fmla="*/ 295685 w 355903"/>
                  <a:gd name="connsiteY57" fmla="*/ 109538 h 121919"/>
                  <a:gd name="connsiteX58" fmla="*/ 297590 w 355903"/>
                  <a:gd name="connsiteY58" fmla="*/ 112395 h 121919"/>
                  <a:gd name="connsiteX59" fmla="*/ 313782 w 355903"/>
                  <a:gd name="connsiteY59" fmla="*/ 120015 h 121919"/>
                  <a:gd name="connsiteX60" fmla="*/ 319497 w 355903"/>
                  <a:gd name="connsiteY60" fmla="*/ 121920 h 121919"/>
                  <a:gd name="connsiteX61" fmla="*/ 324260 w 355903"/>
                  <a:gd name="connsiteY61" fmla="*/ 121920 h 121919"/>
                  <a:gd name="connsiteX62" fmla="*/ 340452 w 355903"/>
                  <a:gd name="connsiteY62" fmla="*/ 121920 h 121919"/>
                  <a:gd name="connsiteX63" fmla="*/ 346167 w 355903"/>
                  <a:gd name="connsiteY63" fmla="*/ 119063 h 121919"/>
                  <a:gd name="connsiteX64" fmla="*/ 349977 w 355903"/>
                  <a:gd name="connsiteY64" fmla="*/ 119063 h 121919"/>
                  <a:gd name="connsiteX65" fmla="*/ 353787 w 355903"/>
                  <a:gd name="connsiteY65" fmla="*/ 115252 h 121919"/>
                  <a:gd name="connsiteX66" fmla="*/ 353787 w 355903"/>
                  <a:gd name="connsiteY66" fmla="*/ 111442 h 121919"/>
                  <a:gd name="connsiteX67" fmla="*/ 349024 w 355903"/>
                  <a:gd name="connsiteY67" fmla="*/ 109538 h 121919"/>
                  <a:gd name="connsiteX68" fmla="*/ 338547 w 355903"/>
                  <a:gd name="connsiteY68" fmla="*/ 101917 h 121919"/>
                  <a:gd name="connsiteX69" fmla="*/ 332832 w 355903"/>
                  <a:gd name="connsiteY69" fmla="*/ 94297 h 121919"/>
                  <a:gd name="connsiteX70" fmla="*/ 329022 w 355903"/>
                  <a:gd name="connsiteY70" fmla="*/ 89535 h 121919"/>
                  <a:gd name="connsiteX71" fmla="*/ 317592 w 355903"/>
                  <a:gd name="connsiteY71" fmla="*/ 84772 h 121919"/>
                  <a:gd name="connsiteX72" fmla="*/ 301399 w 355903"/>
                  <a:gd name="connsiteY72" fmla="*/ 76200 h 121919"/>
                  <a:gd name="connsiteX73" fmla="*/ 293780 w 355903"/>
                  <a:gd name="connsiteY73" fmla="*/ 68580 h 121919"/>
                  <a:gd name="connsiteX74" fmla="*/ 284255 w 355903"/>
                  <a:gd name="connsiteY74" fmla="*/ 60960 h 121919"/>
                  <a:gd name="connsiteX75" fmla="*/ 273777 w 355903"/>
                  <a:gd name="connsiteY75" fmla="*/ 56197 h 121919"/>
                  <a:gd name="connsiteX76" fmla="*/ 251870 w 355903"/>
                  <a:gd name="connsiteY76" fmla="*/ 49530 h 121919"/>
                  <a:gd name="connsiteX77" fmla="*/ 242345 w 355903"/>
                  <a:gd name="connsiteY77" fmla="*/ 44767 h 121919"/>
                  <a:gd name="connsiteX78" fmla="*/ 229962 w 355903"/>
                  <a:gd name="connsiteY78" fmla="*/ 37147 h 121919"/>
                  <a:gd name="connsiteX79" fmla="*/ 220437 w 355903"/>
                  <a:gd name="connsiteY79" fmla="*/ 32385 h 121919"/>
                  <a:gd name="connsiteX80" fmla="*/ 203292 w 355903"/>
                  <a:gd name="connsiteY80" fmla="*/ 26670 h 121919"/>
                  <a:gd name="connsiteX81" fmla="*/ 187099 w 355903"/>
                  <a:gd name="connsiteY81" fmla="*/ 22860 h 121919"/>
                  <a:gd name="connsiteX82" fmla="*/ 168049 w 355903"/>
                  <a:gd name="connsiteY82" fmla="*/ 19050 h 121919"/>
                  <a:gd name="connsiteX83" fmla="*/ 153762 w 355903"/>
                  <a:gd name="connsiteY83" fmla="*/ 19050 h 121919"/>
                  <a:gd name="connsiteX84" fmla="*/ 142332 w 355903"/>
                  <a:gd name="connsiteY84" fmla="*/ 17145 h 121919"/>
                  <a:gd name="connsiteX85" fmla="*/ 128045 w 355903"/>
                  <a:gd name="connsiteY85" fmla="*/ 18097 h 121919"/>
                  <a:gd name="connsiteX86" fmla="*/ 118520 w 355903"/>
                  <a:gd name="connsiteY86" fmla="*/ 20002 h 121919"/>
                  <a:gd name="connsiteX87" fmla="*/ 116615 w 355903"/>
                  <a:gd name="connsiteY87" fmla="*/ 21907 h 121919"/>
                  <a:gd name="connsiteX88" fmla="*/ 101374 w 355903"/>
                  <a:gd name="connsiteY88" fmla="*/ 29527 h 1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55903" h="121919">
                    <a:moveTo>
                      <a:pt x="101374" y="29527"/>
                    </a:moveTo>
                    <a:cubicBezTo>
                      <a:pt x="101374" y="29527"/>
                      <a:pt x="100422" y="30480"/>
                      <a:pt x="96612" y="30480"/>
                    </a:cubicBezTo>
                    <a:cubicBezTo>
                      <a:pt x="93755" y="30480"/>
                      <a:pt x="83277" y="29527"/>
                      <a:pt x="83277" y="29527"/>
                    </a:cubicBezTo>
                    <a:lnTo>
                      <a:pt x="78515" y="26670"/>
                    </a:lnTo>
                    <a:lnTo>
                      <a:pt x="73752" y="22860"/>
                    </a:lnTo>
                    <a:lnTo>
                      <a:pt x="72799" y="14288"/>
                    </a:lnTo>
                    <a:lnTo>
                      <a:pt x="72799" y="10477"/>
                    </a:lnTo>
                    <a:lnTo>
                      <a:pt x="72799" y="2857"/>
                    </a:lnTo>
                    <a:lnTo>
                      <a:pt x="67085" y="0"/>
                    </a:lnTo>
                    <a:lnTo>
                      <a:pt x="54702" y="952"/>
                    </a:lnTo>
                    <a:cubicBezTo>
                      <a:pt x="54702" y="952"/>
                      <a:pt x="51845" y="-953"/>
                      <a:pt x="48035" y="1905"/>
                    </a:cubicBezTo>
                    <a:cubicBezTo>
                      <a:pt x="44224" y="4763"/>
                      <a:pt x="40415" y="3810"/>
                      <a:pt x="35652" y="4763"/>
                    </a:cubicBezTo>
                    <a:cubicBezTo>
                      <a:pt x="30890" y="5715"/>
                      <a:pt x="24222" y="3810"/>
                      <a:pt x="24222" y="3810"/>
                    </a:cubicBezTo>
                    <a:lnTo>
                      <a:pt x="17555" y="5715"/>
                    </a:lnTo>
                    <a:lnTo>
                      <a:pt x="5172" y="9525"/>
                    </a:lnTo>
                    <a:lnTo>
                      <a:pt x="3267" y="12382"/>
                    </a:lnTo>
                    <a:cubicBezTo>
                      <a:pt x="3267" y="12382"/>
                      <a:pt x="-3401" y="13335"/>
                      <a:pt x="2315" y="15240"/>
                    </a:cubicBezTo>
                    <a:cubicBezTo>
                      <a:pt x="8030" y="17145"/>
                      <a:pt x="13745" y="17145"/>
                      <a:pt x="13745" y="17145"/>
                    </a:cubicBezTo>
                    <a:lnTo>
                      <a:pt x="22317" y="14288"/>
                    </a:lnTo>
                    <a:cubicBezTo>
                      <a:pt x="28985" y="19050"/>
                      <a:pt x="37557" y="8572"/>
                      <a:pt x="38510" y="20002"/>
                    </a:cubicBezTo>
                    <a:cubicBezTo>
                      <a:pt x="39462" y="31432"/>
                      <a:pt x="40415" y="27622"/>
                      <a:pt x="39462" y="31432"/>
                    </a:cubicBezTo>
                    <a:cubicBezTo>
                      <a:pt x="38510" y="35242"/>
                      <a:pt x="37557" y="38100"/>
                      <a:pt x="37557" y="38100"/>
                    </a:cubicBezTo>
                    <a:lnTo>
                      <a:pt x="50892" y="45720"/>
                    </a:lnTo>
                    <a:cubicBezTo>
                      <a:pt x="50892" y="45720"/>
                      <a:pt x="56607" y="43815"/>
                      <a:pt x="57560" y="45720"/>
                    </a:cubicBezTo>
                    <a:cubicBezTo>
                      <a:pt x="58512" y="47625"/>
                      <a:pt x="58512" y="47625"/>
                      <a:pt x="58512" y="47625"/>
                    </a:cubicBezTo>
                    <a:lnTo>
                      <a:pt x="79467" y="49530"/>
                    </a:lnTo>
                    <a:lnTo>
                      <a:pt x="93755" y="48577"/>
                    </a:lnTo>
                    <a:lnTo>
                      <a:pt x="108995" y="50482"/>
                    </a:lnTo>
                    <a:cubicBezTo>
                      <a:pt x="108995" y="50482"/>
                      <a:pt x="111852" y="48577"/>
                      <a:pt x="115662" y="49530"/>
                    </a:cubicBezTo>
                    <a:cubicBezTo>
                      <a:pt x="118520" y="51435"/>
                      <a:pt x="115662" y="48577"/>
                      <a:pt x="118520" y="51435"/>
                    </a:cubicBezTo>
                    <a:cubicBezTo>
                      <a:pt x="121377" y="54292"/>
                      <a:pt x="127092" y="53340"/>
                      <a:pt x="128045" y="57150"/>
                    </a:cubicBezTo>
                    <a:cubicBezTo>
                      <a:pt x="128997" y="60960"/>
                      <a:pt x="128045" y="53340"/>
                      <a:pt x="137570" y="61913"/>
                    </a:cubicBezTo>
                    <a:cubicBezTo>
                      <a:pt x="147095" y="70485"/>
                      <a:pt x="147095" y="66675"/>
                      <a:pt x="147095" y="70485"/>
                    </a:cubicBezTo>
                    <a:cubicBezTo>
                      <a:pt x="147095" y="74295"/>
                      <a:pt x="147095" y="77152"/>
                      <a:pt x="147095" y="77152"/>
                    </a:cubicBezTo>
                    <a:cubicBezTo>
                      <a:pt x="147095" y="77152"/>
                      <a:pt x="143285" y="79057"/>
                      <a:pt x="142332" y="81915"/>
                    </a:cubicBezTo>
                    <a:cubicBezTo>
                      <a:pt x="141380" y="84772"/>
                      <a:pt x="141380" y="84772"/>
                      <a:pt x="141380" y="84772"/>
                    </a:cubicBezTo>
                    <a:cubicBezTo>
                      <a:pt x="141380" y="84772"/>
                      <a:pt x="136617" y="83820"/>
                      <a:pt x="135665" y="85725"/>
                    </a:cubicBezTo>
                    <a:cubicBezTo>
                      <a:pt x="134712" y="87630"/>
                      <a:pt x="140427" y="80963"/>
                      <a:pt x="134712" y="87630"/>
                    </a:cubicBezTo>
                    <a:cubicBezTo>
                      <a:pt x="128997" y="94297"/>
                      <a:pt x="128997" y="94297"/>
                      <a:pt x="128997" y="94297"/>
                    </a:cubicBezTo>
                    <a:cubicBezTo>
                      <a:pt x="128997" y="94297"/>
                      <a:pt x="144237" y="99060"/>
                      <a:pt x="148047" y="99060"/>
                    </a:cubicBezTo>
                    <a:cubicBezTo>
                      <a:pt x="150905" y="99060"/>
                      <a:pt x="150905" y="99060"/>
                      <a:pt x="150905" y="99060"/>
                    </a:cubicBezTo>
                    <a:cubicBezTo>
                      <a:pt x="150905" y="99060"/>
                      <a:pt x="143285" y="91440"/>
                      <a:pt x="159477" y="93345"/>
                    </a:cubicBezTo>
                    <a:cubicBezTo>
                      <a:pt x="175670" y="95250"/>
                      <a:pt x="175670" y="95250"/>
                      <a:pt x="175670" y="95250"/>
                    </a:cubicBezTo>
                    <a:lnTo>
                      <a:pt x="183290" y="99060"/>
                    </a:lnTo>
                    <a:cubicBezTo>
                      <a:pt x="183290" y="99060"/>
                      <a:pt x="183290" y="100013"/>
                      <a:pt x="186147" y="104775"/>
                    </a:cubicBezTo>
                    <a:cubicBezTo>
                      <a:pt x="189005" y="109538"/>
                      <a:pt x="177574" y="104775"/>
                      <a:pt x="189005" y="109538"/>
                    </a:cubicBezTo>
                    <a:cubicBezTo>
                      <a:pt x="201387" y="114300"/>
                      <a:pt x="205197" y="112395"/>
                      <a:pt x="209007" y="112395"/>
                    </a:cubicBezTo>
                    <a:cubicBezTo>
                      <a:pt x="211865" y="112395"/>
                      <a:pt x="217580" y="110490"/>
                      <a:pt x="217580" y="110490"/>
                    </a:cubicBezTo>
                    <a:cubicBezTo>
                      <a:pt x="217580" y="110490"/>
                      <a:pt x="219485" y="108585"/>
                      <a:pt x="226152" y="109538"/>
                    </a:cubicBezTo>
                    <a:cubicBezTo>
                      <a:pt x="232820" y="110490"/>
                      <a:pt x="233772" y="105727"/>
                      <a:pt x="233772" y="105727"/>
                    </a:cubicBezTo>
                    <a:lnTo>
                      <a:pt x="237582" y="97155"/>
                    </a:lnTo>
                    <a:lnTo>
                      <a:pt x="239487" y="93345"/>
                    </a:lnTo>
                    <a:cubicBezTo>
                      <a:pt x="254727" y="91440"/>
                      <a:pt x="259490" y="90488"/>
                      <a:pt x="259490" y="90488"/>
                    </a:cubicBezTo>
                    <a:lnTo>
                      <a:pt x="270920" y="90488"/>
                    </a:lnTo>
                    <a:cubicBezTo>
                      <a:pt x="270920" y="90488"/>
                      <a:pt x="273777" y="91440"/>
                      <a:pt x="275682" y="93345"/>
                    </a:cubicBezTo>
                    <a:cubicBezTo>
                      <a:pt x="276635" y="95250"/>
                      <a:pt x="282349" y="98107"/>
                      <a:pt x="283302" y="100013"/>
                    </a:cubicBezTo>
                    <a:cubicBezTo>
                      <a:pt x="284255" y="101917"/>
                      <a:pt x="289017" y="105727"/>
                      <a:pt x="289017" y="105727"/>
                    </a:cubicBezTo>
                    <a:cubicBezTo>
                      <a:pt x="289017" y="105727"/>
                      <a:pt x="293780" y="106680"/>
                      <a:pt x="295685" y="109538"/>
                    </a:cubicBezTo>
                    <a:cubicBezTo>
                      <a:pt x="297590" y="112395"/>
                      <a:pt x="290922" y="109538"/>
                      <a:pt x="297590" y="112395"/>
                    </a:cubicBezTo>
                    <a:cubicBezTo>
                      <a:pt x="304257" y="115252"/>
                      <a:pt x="308067" y="117157"/>
                      <a:pt x="313782" y="120015"/>
                    </a:cubicBezTo>
                    <a:cubicBezTo>
                      <a:pt x="319497" y="121920"/>
                      <a:pt x="314735" y="121920"/>
                      <a:pt x="319497" y="121920"/>
                    </a:cubicBezTo>
                    <a:cubicBezTo>
                      <a:pt x="324260" y="121920"/>
                      <a:pt x="317592" y="121920"/>
                      <a:pt x="324260" y="121920"/>
                    </a:cubicBezTo>
                    <a:cubicBezTo>
                      <a:pt x="330927" y="121920"/>
                      <a:pt x="340452" y="121920"/>
                      <a:pt x="340452" y="121920"/>
                    </a:cubicBezTo>
                    <a:cubicBezTo>
                      <a:pt x="340452" y="121920"/>
                      <a:pt x="342357" y="119063"/>
                      <a:pt x="346167" y="119063"/>
                    </a:cubicBezTo>
                    <a:cubicBezTo>
                      <a:pt x="349977" y="119063"/>
                      <a:pt x="349977" y="119063"/>
                      <a:pt x="349977" y="119063"/>
                    </a:cubicBezTo>
                    <a:lnTo>
                      <a:pt x="353787" y="115252"/>
                    </a:lnTo>
                    <a:cubicBezTo>
                      <a:pt x="353787" y="115252"/>
                      <a:pt x="358549" y="112395"/>
                      <a:pt x="353787" y="111442"/>
                    </a:cubicBezTo>
                    <a:cubicBezTo>
                      <a:pt x="349024" y="109538"/>
                      <a:pt x="354740" y="112395"/>
                      <a:pt x="349024" y="109538"/>
                    </a:cubicBezTo>
                    <a:cubicBezTo>
                      <a:pt x="343310" y="106680"/>
                      <a:pt x="338547" y="104775"/>
                      <a:pt x="338547" y="101917"/>
                    </a:cubicBezTo>
                    <a:cubicBezTo>
                      <a:pt x="338547" y="100013"/>
                      <a:pt x="335690" y="96202"/>
                      <a:pt x="332832" y="94297"/>
                    </a:cubicBezTo>
                    <a:cubicBezTo>
                      <a:pt x="330927" y="92392"/>
                      <a:pt x="333785" y="90488"/>
                      <a:pt x="329022" y="89535"/>
                    </a:cubicBezTo>
                    <a:cubicBezTo>
                      <a:pt x="323307" y="87630"/>
                      <a:pt x="321402" y="85725"/>
                      <a:pt x="317592" y="84772"/>
                    </a:cubicBezTo>
                    <a:cubicBezTo>
                      <a:pt x="314735" y="83820"/>
                      <a:pt x="301399" y="76200"/>
                      <a:pt x="301399" y="76200"/>
                    </a:cubicBezTo>
                    <a:lnTo>
                      <a:pt x="293780" y="68580"/>
                    </a:lnTo>
                    <a:lnTo>
                      <a:pt x="284255" y="60960"/>
                    </a:lnTo>
                    <a:cubicBezTo>
                      <a:pt x="284255" y="60960"/>
                      <a:pt x="276635" y="56197"/>
                      <a:pt x="273777" y="56197"/>
                    </a:cubicBezTo>
                    <a:cubicBezTo>
                      <a:pt x="270920" y="56197"/>
                      <a:pt x="256632" y="50482"/>
                      <a:pt x="251870" y="49530"/>
                    </a:cubicBezTo>
                    <a:cubicBezTo>
                      <a:pt x="247107" y="48577"/>
                      <a:pt x="242345" y="44767"/>
                      <a:pt x="242345" y="44767"/>
                    </a:cubicBezTo>
                    <a:lnTo>
                      <a:pt x="229962" y="37147"/>
                    </a:lnTo>
                    <a:lnTo>
                      <a:pt x="220437" y="32385"/>
                    </a:lnTo>
                    <a:cubicBezTo>
                      <a:pt x="220437" y="32385"/>
                      <a:pt x="207102" y="27622"/>
                      <a:pt x="203292" y="26670"/>
                    </a:cubicBezTo>
                    <a:cubicBezTo>
                      <a:pt x="198530" y="25717"/>
                      <a:pt x="187099" y="22860"/>
                      <a:pt x="187099" y="22860"/>
                    </a:cubicBezTo>
                    <a:lnTo>
                      <a:pt x="168049" y="19050"/>
                    </a:lnTo>
                    <a:lnTo>
                      <a:pt x="153762" y="19050"/>
                    </a:lnTo>
                    <a:cubicBezTo>
                      <a:pt x="153762" y="19050"/>
                      <a:pt x="151857" y="17145"/>
                      <a:pt x="142332" y="17145"/>
                    </a:cubicBezTo>
                    <a:cubicBezTo>
                      <a:pt x="133760" y="18097"/>
                      <a:pt x="128045" y="18097"/>
                      <a:pt x="128045" y="18097"/>
                    </a:cubicBezTo>
                    <a:cubicBezTo>
                      <a:pt x="128045" y="18097"/>
                      <a:pt x="120424" y="18097"/>
                      <a:pt x="118520" y="20002"/>
                    </a:cubicBezTo>
                    <a:cubicBezTo>
                      <a:pt x="116615" y="21907"/>
                      <a:pt x="116615" y="21907"/>
                      <a:pt x="116615" y="21907"/>
                    </a:cubicBezTo>
                    <a:lnTo>
                      <a:pt x="101374" y="29527"/>
                    </a:lnTo>
                    <a:close/>
                  </a:path>
                </a:pathLst>
              </a:custGeom>
              <a:grpFill/>
              <a:ln w="9525" cap="flat">
                <a:noFill/>
                <a:prstDash val="solid"/>
                <a:miter/>
              </a:ln>
            </p:spPr>
            <p:txBody>
              <a:bodyPr rtlCol="0" anchor="ctr"/>
              <a:lstStyle/>
              <a:p>
                <a:endParaRPr lang="en-US" sz="1765"/>
              </a:p>
            </p:txBody>
          </p:sp>
          <p:sp>
            <p:nvSpPr>
              <p:cNvPr id="63" name="Freeform: Shape 62">
                <a:extLst>
                  <a:ext uri="{FF2B5EF4-FFF2-40B4-BE49-F238E27FC236}">
                    <a16:creationId xmlns:a16="http://schemas.microsoft.com/office/drawing/2014/main" id="{3D200AD2-E196-4C7C-B5D2-6F85DE2A52DD}"/>
                  </a:ext>
                </a:extLst>
              </p:cNvPr>
              <p:cNvSpPr/>
              <p:nvPr/>
            </p:nvSpPr>
            <p:spPr>
              <a:xfrm>
                <a:off x="10779471" y="4121196"/>
                <a:ext cx="65722" cy="27622"/>
              </a:xfrm>
              <a:custGeom>
                <a:avLst/>
                <a:gdLst>
                  <a:gd name="connsiteX0" fmla="*/ 65723 w 65722"/>
                  <a:gd name="connsiteY0" fmla="*/ 4763 h 27622"/>
                  <a:gd name="connsiteX1" fmla="*/ 58103 w 65722"/>
                  <a:gd name="connsiteY1" fmla="*/ 16192 h 27622"/>
                  <a:gd name="connsiteX2" fmla="*/ 56198 w 65722"/>
                  <a:gd name="connsiteY2" fmla="*/ 20003 h 27622"/>
                  <a:gd name="connsiteX3" fmla="*/ 44768 w 65722"/>
                  <a:gd name="connsiteY3" fmla="*/ 27623 h 27622"/>
                  <a:gd name="connsiteX4" fmla="*/ 36195 w 65722"/>
                  <a:gd name="connsiteY4" fmla="*/ 26670 h 27622"/>
                  <a:gd name="connsiteX5" fmla="*/ 31432 w 65722"/>
                  <a:gd name="connsiteY5" fmla="*/ 24765 h 27622"/>
                  <a:gd name="connsiteX6" fmla="*/ 24765 w 65722"/>
                  <a:gd name="connsiteY6" fmla="*/ 24765 h 27622"/>
                  <a:gd name="connsiteX7" fmla="*/ 15240 w 65722"/>
                  <a:gd name="connsiteY7" fmla="*/ 25717 h 27622"/>
                  <a:gd name="connsiteX8" fmla="*/ 8573 w 65722"/>
                  <a:gd name="connsiteY8" fmla="*/ 26670 h 27622"/>
                  <a:gd name="connsiteX9" fmla="*/ 0 w 65722"/>
                  <a:gd name="connsiteY9" fmla="*/ 18098 h 27622"/>
                  <a:gd name="connsiteX10" fmla="*/ 5715 w 65722"/>
                  <a:gd name="connsiteY10" fmla="*/ 16192 h 27622"/>
                  <a:gd name="connsiteX11" fmla="*/ 18098 w 65722"/>
                  <a:gd name="connsiteY11" fmla="*/ 16192 h 27622"/>
                  <a:gd name="connsiteX12" fmla="*/ 29528 w 65722"/>
                  <a:gd name="connsiteY12" fmla="*/ 16192 h 27622"/>
                  <a:gd name="connsiteX13" fmla="*/ 38100 w 65722"/>
                  <a:gd name="connsiteY13" fmla="*/ 13335 h 27622"/>
                  <a:gd name="connsiteX14" fmla="*/ 48578 w 65722"/>
                  <a:gd name="connsiteY14" fmla="*/ 7620 h 27622"/>
                  <a:gd name="connsiteX15" fmla="*/ 49530 w 65722"/>
                  <a:gd name="connsiteY15" fmla="*/ 3810 h 27622"/>
                  <a:gd name="connsiteX16" fmla="*/ 53340 w 65722"/>
                  <a:gd name="connsiteY16" fmla="*/ 0 h 27622"/>
                  <a:gd name="connsiteX17" fmla="*/ 65723 w 65722"/>
                  <a:gd name="connsiteY17" fmla="*/ 4763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722" h="27622">
                    <a:moveTo>
                      <a:pt x="65723" y="4763"/>
                    </a:moveTo>
                    <a:lnTo>
                      <a:pt x="58103" y="16192"/>
                    </a:lnTo>
                    <a:cubicBezTo>
                      <a:pt x="58103" y="16192"/>
                      <a:pt x="56198" y="12383"/>
                      <a:pt x="56198" y="20003"/>
                    </a:cubicBezTo>
                    <a:cubicBezTo>
                      <a:pt x="56198" y="27623"/>
                      <a:pt x="44768" y="27623"/>
                      <a:pt x="44768" y="27623"/>
                    </a:cubicBezTo>
                    <a:lnTo>
                      <a:pt x="36195" y="26670"/>
                    </a:lnTo>
                    <a:lnTo>
                      <a:pt x="31432" y="24765"/>
                    </a:lnTo>
                    <a:lnTo>
                      <a:pt x="24765" y="24765"/>
                    </a:lnTo>
                    <a:lnTo>
                      <a:pt x="15240" y="25717"/>
                    </a:lnTo>
                    <a:lnTo>
                      <a:pt x="8573" y="26670"/>
                    </a:lnTo>
                    <a:lnTo>
                      <a:pt x="0" y="18098"/>
                    </a:lnTo>
                    <a:lnTo>
                      <a:pt x="5715" y="16192"/>
                    </a:lnTo>
                    <a:lnTo>
                      <a:pt x="18098" y="16192"/>
                    </a:lnTo>
                    <a:cubicBezTo>
                      <a:pt x="18098" y="16192"/>
                      <a:pt x="23813" y="16192"/>
                      <a:pt x="29528" y="16192"/>
                    </a:cubicBezTo>
                    <a:cubicBezTo>
                      <a:pt x="35243" y="16192"/>
                      <a:pt x="34290" y="13335"/>
                      <a:pt x="38100" y="13335"/>
                    </a:cubicBezTo>
                    <a:cubicBezTo>
                      <a:pt x="42863" y="13335"/>
                      <a:pt x="48578" y="7620"/>
                      <a:pt x="48578" y="7620"/>
                    </a:cubicBezTo>
                    <a:lnTo>
                      <a:pt x="49530" y="3810"/>
                    </a:lnTo>
                    <a:lnTo>
                      <a:pt x="53340" y="0"/>
                    </a:lnTo>
                    <a:lnTo>
                      <a:pt x="65723" y="4763"/>
                    </a:lnTo>
                    <a:close/>
                  </a:path>
                </a:pathLst>
              </a:custGeom>
              <a:grpFill/>
              <a:ln w="9525" cap="flat">
                <a:noFill/>
                <a:prstDash val="solid"/>
                <a:miter/>
              </a:ln>
            </p:spPr>
            <p:txBody>
              <a:bodyPr rtlCol="0" anchor="ctr"/>
              <a:lstStyle/>
              <a:p>
                <a:endParaRPr lang="en-US" sz="1765"/>
              </a:p>
            </p:txBody>
          </p:sp>
          <p:sp>
            <p:nvSpPr>
              <p:cNvPr id="128" name="Freeform: Shape 127">
                <a:extLst>
                  <a:ext uri="{FF2B5EF4-FFF2-40B4-BE49-F238E27FC236}">
                    <a16:creationId xmlns:a16="http://schemas.microsoft.com/office/drawing/2014/main" id="{CDF0A690-F4E3-4DCE-8B68-EE26AAF83E0F}"/>
                  </a:ext>
                </a:extLst>
              </p:cNvPr>
              <p:cNvSpPr/>
              <p:nvPr/>
            </p:nvSpPr>
            <p:spPr>
              <a:xfrm>
                <a:off x="10158723" y="4197694"/>
                <a:ext cx="696948" cy="329267"/>
              </a:xfrm>
              <a:custGeom>
                <a:avLst/>
                <a:gdLst>
                  <a:gd name="connsiteX0" fmla="*/ 495018 w 696948"/>
                  <a:gd name="connsiteY0" fmla="*/ 18752 h 329267"/>
                  <a:gd name="connsiteX1" fmla="*/ 494066 w 696948"/>
                  <a:gd name="connsiteY1" fmla="*/ 30182 h 329267"/>
                  <a:gd name="connsiteX2" fmla="*/ 493113 w 696948"/>
                  <a:gd name="connsiteY2" fmla="*/ 38755 h 329267"/>
                  <a:gd name="connsiteX3" fmla="*/ 488351 w 696948"/>
                  <a:gd name="connsiteY3" fmla="*/ 53995 h 329267"/>
                  <a:gd name="connsiteX4" fmla="*/ 476921 w 696948"/>
                  <a:gd name="connsiteY4" fmla="*/ 61615 h 329267"/>
                  <a:gd name="connsiteX5" fmla="*/ 471206 w 696948"/>
                  <a:gd name="connsiteY5" fmla="*/ 65425 h 329267"/>
                  <a:gd name="connsiteX6" fmla="*/ 456918 w 696948"/>
                  <a:gd name="connsiteY6" fmla="*/ 66377 h 329267"/>
                  <a:gd name="connsiteX7" fmla="*/ 447393 w 696948"/>
                  <a:gd name="connsiteY7" fmla="*/ 66377 h 329267"/>
                  <a:gd name="connsiteX8" fmla="*/ 444536 w 696948"/>
                  <a:gd name="connsiteY8" fmla="*/ 59710 h 329267"/>
                  <a:gd name="connsiteX9" fmla="*/ 439773 w 696948"/>
                  <a:gd name="connsiteY9" fmla="*/ 57805 h 329267"/>
                  <a:gd name="connsiteX10" fmla="*/ 435011 w 696948"/>
                  <a:gd name="connsiteY10" fmla="*/ 54947 h 329267"/>
                  <a:gd name="connsiteX11" fmla="*/ 428343 w 696948"/>
                  <a:gd name="connsiteY11" fmla="*/ 52090 h 329267"/>
                  <a:gd name="connsiteX12" fmla="*/ 415008 w 696948"/>
                  <a:gd name="connsiteY12" fmla="*/ 49232 h 329267"/>
                  <a:gd name="connsiteX13" fmla="*/ 401673 w 696948"/>
                  <a:gd name="connsiteY13" fmla="*/ 44470 h 329267"/>
                  <a:gd name="connsiteX14" fmla="*/ 396911 w 696948"/>
                  <a:gd name="connsiteY14" fmla="*/ 40660 h 329267"/>
                  <a:gd name="connsiteX15" fmla="*/ 395006 w 696948"/>
                  <a:gd name="connsiteY15" fmla="*/ 33992 h 329267"/>
                  <a:gd name="connsiteX16" fmla="*/ 402626 w 696948"/>
                  <a:gd name="connsiteY16" fmla="*/ 29230 h 329267"/>
                  <a:gd name="connsiteX17" fmla="*/ 413103 w 696948"/>
                  <a:gd name="connsiteY17" fmla="*/ 25420 h 329267"/>
                  <a:gd name="connsiteX18" fmla="*/ 421676 w 696948"/>
                  <a:gd name="connsiteY18" fmla="*/ 21610 h 329267"/>
                  <a:gd name="connsiteX19" fmla="*/ 427391 w 696948"/>
                  <a:gd name="connsiteY19" fmla="*/ 12085 h 329267"/>
                  <a:gd name="connsiteX20" fmla="*/ 425486 w 696948"/>
                  <a:gd name="connsiteY20" fmla="*/ 8275 h 329267"/>
                  <a:gd name="connsiteX21" fmla="*/ 416913 w 696948"/>
                  <a:gd name="connsiteY21" fmla="*/ 5417 h 329267"/>
                  <a:gd name="connsiteX22" fmla="*/ 398816 w 696948"/>
                  <a:gd name="connsiteY22" fmla="*/ 6370 h 329267"/>
                  <a:gd name="connsiteX23" fmla="*/ 389291 w 696948"/>
                  <a:gd name="connsiteY23" fmla="*/ 5417 h 329267"/>
                  <a:gd name="connsiteX24" fmla="*/ 379766 w 696948"/>
                  <a:gd name="connsiteY24" fmla="*/ 3512 h 329267"/>
                  <a:gd name="connsiteX25" fmla="*/ 367383 w 696948"/>
                  <a:gd name="connsiteY25" fmla="*/ 1607 h 329267"/>
                  <a:gd name="connsiteX26" fmla="*/ 339761 w 696948"/>
                  <a:gd name="connsiteY26" fmla="*/ 655 h 329267"/>
                  <a:gd name="connsiteX27" fmla="*/ 328331 w 696948"/>
                  <a:gd name="connsiteY27" fmla="*/ 4465 h 329267"/>
                  <a:gd name="connsiteX28" fmla="*/ 322616 w 696948"/>
                  <a:gd name="connsiteY28" fmla="*/ 8275 h 329267"/>
                  <a:gd name="connsiteX29" fmla="*/ 314996 w 696948"/>
                  <a:gd name="connsiteY29" fmla="*/ 12085 h 329267"/>
                  <a:gd name="connsiteX30" fmla="*/ 306423 w 696948"/>
                  <a:gd name="connsiteY30" fmla="*/ 15895 h 329267"/>
                  <a:gd name="connsiteX31" fmla="*/ 299756 w 696948"/>
                  <a:gd name="connsiteY31" fmla="*/ 20657 h 329267"/>
                  <a:gd name="connsiteX32" fmla="*/ 294041 w 696948"/>
                  <a:gd name="connsiteY32" fmla="*/ 24467 h 329267"/>
                  <a:gd name="connsiteX33" fmla="*/ 293088 w 696948"/>
                  <a:gd name="connsiteY33" fmla="*/ 31135 h 329267"/>
                  <a:gd name="connsiteX34" fmla="*/ 287373 w 696948"/>
                  <a:gd name="connsiteY34" fmla="*/ 37802 h 329267"/>
                  <a:gd name="connsiteX35" fmla="*/ 284516 w 696948"/>
                  <a:gd name="connsiteY35" fmla="*/ 38755 h 329267"/>
                  <a:gd name="connsiteX36" fmla="*/ 268323 w 696948"/>
                  <a:gd name="connsiteY36" fmla="*/ 38755 h 329267"/>
                  <a:gd name="connsiteX37" fmla="*/ 265466 w 696948"/>
                  <a:gd name="connsiteY37" fmla="*/ 29230 h 329267"/>
                  <a:gd name="connsiteX38" fmla="*/ 250226 w 696948"/>
                  <a:gd name="connsiteY38" fmla="*/ 27325 h 329267"/>
                  <a:gd name="connsiteX39" fmla="*/ 242605 w 696948"/>
                  <a:gd name="connsiteY39" fmla="*/ 28277 h 329267"/>
                  <a:gd name="connsiteX40" fmla="*/ 227366 w 696948"/>
                  <a:gd name="connsiteY40" fmla="*/ 29230 h 329267"/>
                  <a:gd name="connsiteX41" fmla="*/ 218793 w 696948"/>
                  <a:gd name="connsiteY41" fmla="*/ 33040 h 329267"/>
                  <a:gd name="connsiteX42" fmla="*/ 208316 w 696948"/>
                  <a:gd name="connsiteY42" fmla="*/ 42565 h 329267"/>
                  <a:gd name="connsiteX43" fmla="*/ 208316 w 696948"/>
                  <a:gd name="connsiteY43" fmla="*/ 46375 h 329267"/>
                  <a:gd name="connsiteX44" fmla="*/ 202601 w 696948"/>
                  <a:gd name="connsiteY44" fmla="*/ 53995 h 329267"/>
                  <a:gd name="connsiteX45" fmla="*/ 190218 w 696948"/>
                  <a:gd name="connsiteY45" fmla="*/ 57805 h 329267"/>
                  <a:gd name="connsiteX46" fmla="*/ 169263 w 696948"/>
                  <a:gd name="connsiteY46" fmla="*/ 58757 h 329267"/>
                  <a:gd name="connsiteX47" fmla="*/ 157833 w 696948"/>
                  <a:gd name="connsiteY47" fmla="*/ 63520 h 329267"/>
                  <a:gd name="connsiteX48" fmla="*/ 155928 w 696948"/>
                  <a:gd name="connsiteY48" fmla="*/ 68282 h 329267"/>
                  <a:gd name="connsiteX49" fmla="*/ 142593 w 696948"/>
                  <a:gd name="connsiteY49" fmla="*/ 85427 h 329267"/>
                  <a:gd name="connsiteX50" fmla="*/ 137830 w 696948"/>
                  <a:gd name="connsiteY50" fmla="*/ 86380 h 329267"/>
                  <a:gd name="connsiteX51" fmla="*/ 128305 w 696948"/>
                  <a:gd name="connsiteY51" fmla="*/ 89237 h 329267"/>
                  <a:gd name="connsiteX52" fmla="*/ 122591 w 696948"/>
                  <a:gd name="connsiteY52" fmla="*/ 90190 h 329267"/>
                  <a:gd name="connsiteX53" fmla="*/ 107351 w 696948"/>
                  <a:gd name="connsiteY53" fmla="*/ 96857 h 329267"/>
                  <a:gd name="connsiteX54" fmla="*/ 100683 w 696948"/>
                  <a:gd name="connsiteY54" fmla="*/ 100667 h 329267"/>
                  <a:gd name="connsiteX55" fmla="*/ 89253 w 696948"/>
                  <a:gd name="connsiteY55" fmla="*/ 101620 h 329267"/>
                  <a:gd name="connsiteX56" fmla="*/ 73061 w 696948"/>
                  <a:gd name="connsiteY56" fmla="*/ 101620 h 329267"/>
                  <a:gd name="connsiteX57" fmla="*/ 63536 w 696948"/>
                  <a:gd name="connsiteY57" fmla="*/ 101620 h 329267"/>
                  <a:gd name="connsiteX58" fmla="*/ 52106 w 696948"/>
                  <a:gd name="connsiteY58" fmla="*/ 105430 h 329267"/>
                  <a:gd name="connsiteX59" fmla="*/ 39723 w 696948"/>
                  <a:gd name="connsiteY59" fmla="*/ 116860 h 329267"/>
                  <a:gd name="connsiteX60" fmla="*/ 16863 w 696948"/>
                  <a:gd name="connsiteY60" fmla="*/ 120670 h 329267"/>
                  <a:gd name="connsiteX61" fmla="*/ 9243 w 696948"/>
                  <a:gd name="connsiteY61" fmla="*/ 121622 h 329267"/>
                  <a:gd name="connsiteX62" fmla="*/ 1623 w 696948"/>
                  <a:gd name="connsiteY62" fmla="*/ 128290 h 329267"/>
                  <a:gd name="connsiteX63" fmla="*/ 671 w 696948"/>
                  <a:gd name="connsiteY63" fmla="*/ 134957 h 329267"/>
                  <a:gd name="connsiteX64" fmla="*/ 671 w 696948"/>
                  <a:gd name="connsiteY64" fmla="*/ 140672 h 329267"/>
                  <a:gd name="connsiteX65" fmla="*/ 3528 w 696948"/>
                  <a:gd name="connsiteY65" fmla="*/ 145435 h 329267"/>
                  <a:gd name="connsiteX66" fmla="*/ 10196 w 696948"/>
                  <a:gd name="connsiteY66" fmla="*/ 156865 h 329267"/>
                  <a:gd name="connsiteX67" fmla="*/ 10196 w 696948"/>
                  <a:gd name="connsiteY67" fmla="*/ 156865 h 329267"/>
                  <a:gd name="connsiteX68" fmla="*/ 14006 w 696948"/>
                  <a:gd name="connsiteY68" fmla="*/ 165437 h 329267"/>
                  <a:gd name="connsiteX69" fmla="*/ 10196 w 696948"/>
                  <a:gd name="connsiteY69" fmla="*/ 174962 h 329267"/>
                  <a:gd name="connsiteX70" fmla="*/ 7338 w 696948"/>
                  <a:gd name="connsiteY70" fmla="*/ 183535 h 329267"/>
                  <a:gd name="connsiteX71" fmla="*/ 17816 w 696948"/>
                  <a:gd name="connsiteY71" fmla="*/ 189250 h 329267"/>
                  <a:gd name="connsiteX72" fmla="*/ 23531 w 696948"/>
                  <a:gd name="connsiteY72" fmla="*/ 196870 h 329267"/>
                  <a:gd name="connsiteX73" fmla="*/ 25436 w 696948"/>
                  <a:gd name="connsiteY73" fmla="*/ 199727 h 329267"/>
                  <a:gd name="connsiteX74" fmla="*/ 34961 w 696948"/>
                  <a:gd name="connsiteY74" fmla="*/ 210205 h 329267"/>
                  <a:gd name="connsiteX75" fmla="*/ 34008 w 696948"/>
                  <a:gd name="connsiteY75" fmla="*/ 219730 h 329267"/>
                  <a:gd name="connsiteX76" fmla="*/ 34008 w 696948"/>
                  <a:gd name="connsiteY76" fmla="*/ 229255 h 329267"/>
                  <a:gd name="connsiteX77" fmla="*/ 34008 w 696948"/>
                  <a:gd name="connsiteY77" fmla="*/ 235922 h 329267"/>
                  <a:gd name="connsiteX78" fmla="*/ 35913 w 696948"/>
                  <a:gd name="connsiteY78" fmla="*/ 244495 h 329267"/>
                  <a:gd name="connsiteX79" fmla="*/ 35913 w 696948"/>
                  <a:gd name="connsiteY79" fmla="*/ 250210 h 329267"/>
                  <a:gd name="connsiteX80" fmla="*/ 30198 w 696948"/>
                  <a:gd name="connsiteY80" fmla="*/ 257830 h 329267"/>
                  <a:gd name="connsiteX81" fmla="*/ 40676 w 696948"/>
                  <a:gd name="connsiteY81" fmla="*/ 268307 h 329267"/>
                  <a:gd name="connsiteX82" fmla="*/ 54011 w 696948"/>
                  <a:gd name="connsiteY82" fmla="*/ 273070 h 329267"/>
                  <a:gd name="connsiteX83" fmla="*/ 63536 w 696948"/>
                  <a:gd name="connsiteY83" fmla="*/ 273070 h 329267"/>
                  <a:gd name="connsiteX84" fmla="*/ 72108 w 696948"/>
                  <a:gd name="connsiteY84" fmla="*/ 271165 h 329267"/>
                  <a:gd name="connsiteX85" fmla="*/ 94016 w 696948"/>
                  <a:gd name="connsiteY85" fmla="*/ 270212 h 329267"/>
                  <a:gd name="connsiteX86" fmla="*/ 113066 w 696948"/>
                  <a:gd name="connsiteY86" fmla="*/ 274975 h 329267"/>
                  <a:gd name="connsiteX87" fmla="*/ 129258 w 696948"/>
                  <a:gd name="connsiteY87" fmla="*/ 269260 h 329267"/>
                  <a:gd name="connsiteX88" fmla="*/ 136878 w 696948"/>
                  <a:gd name="connsiteY88" fmla="*/ 265450 h 329267"/>
                  <a:gd name="connsiteX89" fmla="*/ 151166 w 696948"/>
                  <a:gd name="connsiteY89" fmla="*/ 264497 h 329267"/>
                  <a:gd name="connsiteX90" fmla="*/ 160691 w 696948"/>
                  <a:gd name="connsiteY90" fmla="*/ 266402 h 329267"/>
                  <a:gd name="connsiteX91" fmla="*/ 167358 w 696948"/>
                  <a:gd name="connsiteY91" fmla="*/ 269260 h 329267"/>
                  <a:gd name="connsiteX92" fmla="*/ 176883 w 696948"/>
                  <a:gd name="connsiteY92" fmla="*/ 269260 h 329267"/>
                  <a:gd name="connsiteX93" fmla="*/ 192123 w 696948"/>
                  <a:gd name="connsiteY93" fmla="*/ 267355 h 329267"/>
                  <a:gd name="connsiteX94" fmla="*/ 198791 w 696948"/>
                  <a:gd name="connsiteY94" fmla="*/ 263545 h 329267"/>
                  <a:gd name="connsiteX95" fmla="*/ 200696 w 696948"/>
                  <a:gd name="connsiteY95" fmla="*/ 256877 h 329267"/>
                  <a:gd name="connsiteX96" fmla="*/ 213078 w 696948"/>
                  <a:gd name="connsiteY96" fmla="*/ 248305 h 329267"/>
                  <a:gd name="connsiteX97" fmla="*/ 226413 w 696948"/>
                  <a:gd name="connsiteY97" fmla="*/ 244495 h 329267"/>
                  <a:gd name="connsiteX98" fmla="*/ 239748 w 696948"/>
                  <a:gd name="connsiteY98" fmla="*/ 243542 h 329267"/>
                  <a:gd name="connsiteX99" fmla="*/ 254988 w 696948"/>
                  <a:gd name="connsiteY99" fmla="*/ 238780 h 329267"/>
                  <a:gd name="connsiteX100" fmla="*/ 271181 w 696948"/>
                  <a:gd name="connsiteY100" fmla="*/ 238780 h 329267"/>
                  <a:gd name="connsiteX101" fmla="*/ 283563 w 696948"/>
                  <a:gd name="connsiteY101" fmla="*/ 241637 h 329267"/>
                  <a:gd name="connsiteX102" fmla="*/ 312138 w 696948"/>
                  <a:gd name="connsiteY102" fmla="*/ 245447 h 329267"/>
                  <a:gd name="connsiteX103" fmla="*/ 330236 w 696948"/>
                  <a:gd name="connsiteY103" fmla="*/ 244495 h 329267"/>
                  <a:gd name="connsiteX104" fmla="*/ 344523 w 696948"/>
                  <a:gd name="connsiteY104" fmla="*/ 243542 h 329267"/>
                  <a:gd name="connsiteX105" fmla="*/ 365478 w 696948"/>
                  <a:gd name="connsiteY105" fmla="*/ 248305 h 329267"/>
                  <a:gd name="connsiteX106" fmla="*/ 373098 w 696948"/>
                  <a:gd name="connsiteY106" fmla="*/ 254972 h 329267"/>
                  <a:gd name="connsiteX107" fmla="*/ 373098 w 696948"/>
                  <a:gd name="connsiteY107" fmla="*/ 261640 h 329267"/>
                  <a:gd name="connsiteX108" fmla="*/ 374051 w 696948"/>
                  <a:gd name="connsiteY108" fmla="*/ 268307 h 329267"/>
                  <a:gd name="connsiteX109" fmla="*/ 387386 w 696948"/>
                  <a:gd name="connsiteY109" fmla="*/ 273070 h 329267"/>
                  <a:gd name="connsiteX110" fmla="*/ 395958 w 696948"/>
                  <a:gd name="connsiteY110" fmla="*/ 273070 h 329267"/>
                  <a:gd name="connsiteX111" fmla="*/ 400721 w 696948"/>
                  <a:gd name="connsiteY111" fmla="*/ 269260 h 329267"/>
                  <a:gd name="connsiteX112" fmla="*/ 404531 w 696948"/>
                  <a:gd name="connsiteY112" fmla="*/ 265450 h 329267"/>
                  <a:gd name="connsiteX113" fmla="*/ 412151 w 696948"/>
                  <a:gd name="connsiteY113" fmla="*/ 264497 h 329267"/>
                  <a:gd name="connsiteX114" fmla="*/ 415008 w 696948"/>
                  <a:gd name="connsiteY114" fmla="*/ 265450 h 329267"/>
                  <a:gd name="connsiteX115" fmla="*/ 415961 w 696948"/>
                  <a:gd name="connsiteY115" fmla="*/ 273070 h 329267"/>
                  <a:gd name="connsiteX116" fmla="*/ 419771 w 696948"/>
                  <a:gd name="connsiteY116" fmla="*/ 281642 h 329267"/>
                  <a:gd name="connsiteX117" fmla="*/ 430248 w 696948"/>
                  <a:gd name="connsiteY117" fmla="*/ 288310 h 329267"/>
                  <a:gd name="connsiteX118" fmla="*/ 442631 w 696948"/>
                  <a:gd name="connsiteY118" fmla="*/ 290215 h 329267"/>
                  <a:gd name="connsiteX119" fmla="*/ 451203 w 696948"/>
                  <a:gd name="connsiteY119" fmla="*/ 290215 h 329267"/>
                  <a:gd name="connsiteX120" fmla="*/ 456918 w 696948"/>
                  <a:gd name="connsiteY120" fmla="*/ 294025 h 329267"/>
                  <a:gd name="connsiteX121" fmla="*/ 458823 w 696948"/>
                  <a:gd name="connsiteY121" fmla="*/ 299740 h 329267"/>
                  <a:gd name="connsiteX122" fmla="*/ 458823 w 696948"/>
                  <a:gd name="connsiteY122" fmla="*/ 310217 h 329267"/>
                  <a:gd name="connsiteX123" fmla="*/ 458823 w 696948"/>
                  <a:gd name="connsiteY123" fmla="*/ 314027 h 329267"/>
                  <a:gd name="connsiteX124" fmla="*/ 470253 w 696948"/>
                  <a:gd name="connsiteY124" fmla="*/ 324505 h 329267"/>
                  <a:gd name="connsiteX125" fmla="*/ 478826 w 696948"/>
                  <a:gd name="connsiteY125" fmla="*/ 326410 h 329267"/>
                  <a:gd name="connsiteX126" fmla="*/ 490256 w 696948"/>
                  <a:gd name="connsiteY126" fmla="*/ 325457 h 329267"/>
                  <a:gd name="connsiteX127" fmla="*/ 505496 w 696948"/>
                  <a:gd name="connsiteY127" fmla="*/ 324505 h 329267"/>
                  <a:gd name="connsiteX128" fmla="*/ 514068 w 696948"/>
                  <a:gd name="connsiteY128" fmla="*/ 326410 h 329267"/>
                  <a:gd name="connsiteX129" fmla="*/ 536928 w 696948"/>
                  <a:gd name="connsiteY129" fmla="*/ 328315 h 329267"/>
                  <a:gd name="connsiteX130" fmla="*/ 549311 w 696948"/>
                  <a:gd name="connsiteY130" fmla="*/ 321647 h 329267"/>
                  <a:gd name="connsiteX131" fmla="*/ 555978 w 696948"/>
                  <a:gd name="connsiteY131" fmla="*/ 321647 h 329267"/>
                  <a:gd name="connsiteX132" fmla="*/ 564551 w 696948"/>
                  <a:gd name="connsiteY132" fmla="*/ 326410 h 329267"/>
                  <a:gd name="connsiteX133" fmla="*/ 572171 w 696948"/>
                  <a:gd name="connsiteY133" fmla="*/ 329267 h 329267"/>
                  <a:gd name="connsiteX134" fmla="*/ 583601 w 696948"/>
                  <a:gd name="connsiteY134" fmla="*/ 329267 h 329267"/>
                  <a:gd name="connsiteX135" fmla="*/ 596936 w 696948"/>
                  <a:gd name="connsiteY135" fmla="*/ 321647 h 329267"/>
                  <a:gd name="connsiteX136" fmla="*/ 601698 w 696948"/>
                  <a:gd name="connsiteY136" fmla="*/ 320695 h 329267"/>
                  <a:gd name="connsiteX137" fmla="*/ 615033 w 696948"/>
                  <a:gd name="connsiteY137" fmla="*/ 317837 h 329267"/>
                  <a:gd name="connsiteX138" fmla="*/ 630273 w 696948"/>
                  <a:gd name="connsiteY138" fmla="*/ 311170 h 329267"/>
                  <a:gd name="connsiteX139" fmla="*/ 637893 w 696948"/>
                  <a:gd name="connsiteY139" fmla="*/ 304502 h 329267"/>
                  <a:gd name="connsiteX140" fmla="*/ 639798 w 696948"/>
                  <a:gd name="connsiteY140" fmla="*/ 295930 h 329267"/>
                  <a:gd name="connsiteX141" fmla="*/ 644561 w 696948"/>
                  <a:gd name="connsiteY141" fmla="*/ 289262 h 329267"/>
                  <a:gd name="connsiteX142" fmla="*/ 652181 w 696948"/>
                  <a:gd name="connsiteY142" fmla="*/ 285452 h 329267"/>
                  <a:gd name="connsiteX143" fmla="*/ 655991 w 696948"/>
                  <a:gd name="connsiteY143" fmla="*/ 280690 h 329267"/>
                  <a:gd name="connsiteX144" fmla="*/ 656943 w 696948"/>
                  <a:gd name="connsiteY144" fmla="*/ 269260 h 329267"/>
                  <a:gd name="connsiteX145" fmla="*/ 657896 w 696948"/>
                  <a:gd name="connsiteY145" fmla="*/ 267355 h 329267"/>
                  <a:gd name="connsiteX146" fmla="*/ 664563 w 696948"/>
                  <a:gd name="connsiteY146" fmla="*/ 259735 h 329267"/>
                  <a:gd name="connsiteX147" fmla="*/ 673136 w 696948"/>
                  <a:gd name="connsiteY147" fmla="*/ 255925 h 329267"/>
                  <a:gd name="connsiteX148" fmla="*/ 683613 w 696948"/>
                  <a:gd name="connsiteY148" fmla="*/ 243542 h 329267"/>
                  <a:gd name="connsiteX149" fmla="*/ 687423 w 696948"/>
                  <a:gd name="connsiteY149" fmla="*/ 230207 h 329267"/>
                  <a:gd name="connsiteX150" fmla="*/ 691233 w 696948"/>
                  <a:gd name="connsiteY150" fmla="*/ 223540 h 329267"/>
                  <a:gd name="connsiteX151" fmla="*/ 695043 w 696948"/>
                  <a:gd name="connsiteY151" fmla="*/ 207347 h 329267"/>
                  <a:gd name="connsiteX152" fmla="*/ 695043 w 696948"/>
                  <a:gd name="connsiteY152" fmla="*/ 197822 h 329267"/>
                  <a:gd name="connsiteX153" fmla="*/ 696948 w 696948"/>
                  <a:gd name="connsiteY153" fmla="*/ 182582 h 329267"/>
                  <a:gd name="connsiteX154" fmla="*/ 696948 w 696948"/>
                  <a:gd name="connsiteY154" fmla="*/ 176867 h 329267"/>
                  <a:gd name="connsiteX155" fmla="*/ 694091 w 696948"/>
                  <a:gd name="connsiteY155" fmla="*/ 169247 h 329267"/>
                  <a:gd name="connsiteX156" fmla="*/ 691233 w 696948"/>
                  <a:gd name="connsiteY156" fmla="*/ 162580 h 329267"/>
                  <a:gd name="connsiteX157" fmla="*/ 683613 w 696948"/>
                  <a:gd name="connsiteY157" fmla="*/ 154960 h 329267"/>
                  <a:gd name="connsiteX158" fmla="*/ 675041 w 696948"/>
                  <a:gd name="connsiteY158" fmla="*/ 147340 h 329267"/>
                  <a:gd name="connsiteX159" fmla="*/ 667421 w 696948"/>
                  <a:gd name="connsiteY159" fmla="*/ 142577 h 329267"/>
                  <a:gd name="connsiteX160" fmla="*/ 650276 w 696948"/>
                  <a:gd name="connsiteY160" fmla="*/ 130195 h 329267"/>
                  <a:gd name="connsiteX161" fmla="*/ 637893 w 696948"/>
                  <a:gd name="connsiteY161" fmla="*/ 120670 h 329267"/>
                  <a:gd name="connsiteX162" fmla="*/ 628368 w 696948"/>
                  <a:gd name="connsiteY162" fmla="*/ 105430 h 329267"/>
                  <a:gd name="connsiteX163" fmla="*/ 612176 w 696948"/>
                  <a:gd name="connsiteY163" fmla="*/ 96857 h 329267"/>
                  <a:gd name="connsiteX164" fmla="*/ 597888 w 696948"/>
                  <a:gd name="connsiteY164" fmla="*/ 94952 h 329267"/>
                  <a:gd name="connsiteX165" fmla="*/ 580743 w 696948"/>
                  <a:gd name="connsiteY165" fmla="*/ 79712 h 329267"/>
                  <a:gd name="connsiteX166" fmla="*/ 573123 w 696948"/>
                  <a:gd name="connsiteY166" fmla="*/ 74950 h 329267"/>
                  <a:gd name="connsiteX167" fmla="*/ 565503 w 696948"/>
                  <a:gd name="connsiteY167" fmla="*/ 68282 h 329267"/>
                  <a:gd name="connsiteX168" fmla="*/ 563598 w 696948"/>
                  <a:gd name="connsiteY168" fmla="*/ 58757 h 329267"/>
                  <a:gd name="connsiteX169" fmla="*/ 557883 w 696948"/>
                  <a:gd name="connsiteY169" fmla="*/ 53042 h 329267"/>
                  <a:gd name="connsiteX170" fmla="*/ 555026 w 696948"/>
                  <a:gd name="connsiteY170" fmla="*/ 42565 h 329267"/>
                  <a:gd name="connsiteX171" fmla="*/ 552168 w 696948"/>
                  <a:gd name="connsiteY171" fmla="*/ 35897 h 329267"/>
                  <a:gd name="connsiteX172" fmla="*/ 546453 w 696948"/>
                  <a:gd name="connsiteY172" fmla="*/ 31135 h 329267"/>
                  <a:gd name="connsiteX173" fmla="*/ 541691 w 696948"/>
                  <a:gd name="connsiteY173" fmla="*/ 28277 h 329267"/>
                  <a:gd name="connsiteX174" fmla="*/ 535976 w 696948"/>
                  <a:gd name="connsiteY174" fmla="*/ 22562 h 329267"/>
                  <a:gd name="connsiteX175" fmla="*/ 532166 w 696948"/>
                  <a:gd name="connsiteY175" fmla="*/ 16847 h 329267"/>
                  <a:gd name="connsiteX176" fmla="*/ 523593 w 696948"/>
                  <a:gd name="connsiteY176" fmla="*/ 13990 h 329267"/>
                  <a:gd name="connsiteX177" fmla="*/ 517878 w 696948"/>
                  <a:gd name="connsiteY177" fmla="*/ 13990 h 329267"/>
                  <a:gd name="connsiteX178" fmla="*/ 504543 w 696948"/>
                  <a:gd name="connsiteY178" fmla="*/ 16847 h 329267"/>
                  <a:gd name="connsiteX179" fmla="*/ 499781 w 696948"/>
                  <a:gd name="connsiteY179" fmla="*/ 16847 h 329267"/>
                  <a:gd name="connsiteX180" fmla="*/ 495018 w 696948"/>
                  <a:gd name="connsiteY180" fmla="*/ 18752 h 32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696948" h="329267">
                    <a:moveTo>
                      <a:pt x="495018" y="18752"/>
                    </a:moveTo>
                    <a:cubicBezTo>
                      <a:pt x="495018" y="18752"/>
                      <a:pt x="494066" y="26372"/>
                      <a:pt x="494066" y="30182"/>
                    </a:cubicBezTo>
                    <a:cubicBezTo>
                      <a:pt x="494066" y="33992"/>
                      <a:pt x="494066" y="33992"/>
                      <a:pt x="493113" y="38755"/>
                    </a:cubicBezTo>
                    <a:cubicBezTo>
                      <a:pt x="492161" y="43517"/>
                      <a:pt x="490256" y="51137"/>
                      <a:pt x="488351" y="53995"/>
                    </a:cubicBezTo>
                    <a:cubicBezTo>
                      <a:pt x="486446" y="56852"/>
                      <a:pt x="476921" y="59710"/>
                      <a:pt x="476921" y="61615"/>
                    </a:cubicBezTo>
                    <a:cubicBezTo>
                      <a:pt x="476921" y="63520"/>
                      <a:pt x="477873" y="64472"/>
                      <a:pt x="471206" y="65425"/>
                    </a:cubicBezTo>
                    <a:cubicBezTo>
                      <a:pt x="464538" y="66377"/>
                      <a:pt x="456918" y="66377"/>
                      <a:pt x="456918" y="66377"/>
                    </a:cubicBezTo>
                    <a:lnTo>
                      <a:pt x="447393" y="66377"/>
                    </a:lnTo>
                    <a:lnTo>
                      <a:pt x="444536" y="59710"/>
                    </a:lnTo>
                    <a:lnTo>
                      <a:pt x="439773" y="57805"/>
                    </a:lnTo>
                    <a:lnTo>
                      <a:pt x="435011" y="54947"/>
                    </a:lnTo>
                    <a:cubicBezTo>
                      <a:pt x="435011" y="54947"/>
                      <a:pt x="432153" y="53042"/>
                      <a:pt x="428343" y="52090"/>
                    </a:cubicBezTo>
                    <a:cubicBezTo>
                      <a:pt x="425486" y="51137"/>
                      <a:pt x="415008" y="49232"/>
                      <a:pt x="415008" y="49232"/>
                    </a:cubicBezTo>
                    <a:lnTo>
                      <a:pt x="401673" y="44470"/>
                    </a:lnTo>
                    <a:lnTo>
                      <a:pt x="396911" y="40660"/>
                    </a:lnTo>
                    <a:cubicBezTo>
                      <a:pt x="396911" y="40660"/>
                      <a:pt x="390243" y="35897"/>
                      <a:pt x="395006" y="33992"/>
                    </a:cubicBezTo>
                    <a:cubicBezTo>
                      <a:pt x="399768" y="32087"/>
                      <a:pt x="402626" y="29230"/>
                      <a:pt x="402626" y="29230"/>
                    </a:cubicBezTo>
                    <a:cubicBezTo>
                      <a:pt x="402626" y="29230"/>
                      <a:pt x="409293" y="25420"/>
                      <a:pt x="413103" y="25420"/>
                    </a:cubicBezTo>
                    <a:cubicBezTo>
                      <a:pt x="415961" y="24467"/>
                      <a:pt x="415961" y="31135"/>
                      <a:pt x="421676" y="21610"/>
                    </a:cubicBezTo>
                    <a:cubicBezTo>
                      <a:pt x="427391" y="12085"/>
                      <a:pt x="427391" y="12085"/>
                      <a:pt x="427391" y="12085"/>
                    </a:cubicBezTo>
                    <a:lnTo>
                      <a:pt x="425486" y="8275"/>
                    </a:lnTo>
                    <a:cubicBezTo>
                      <a:pt x="425486" y="8275"/>
                      <a:pt x="419771" y="4465"/>
                      <a:pt x="416913" y="5417"/>
                    </a:cubicBezTo>
                    <a:cubicBezTo>
                      <a:pt x="413103" y="6370"/>
                      <a:pt x="398816" y="6370"/>
                      <a:pt x="398816" y="6370"/>
                    </a:cubicBezTo>
                    <a:lnTo>
                      <a:pt x="389291" y="5417"/>
                    </a:lnTo>
                    <a:lnTo>
                      <a:pt x="379766" y="3512"/>
                    </a:lnTo>
                    <a:cubicBezTo>
                      <a:pt x="379766" y="3512"/>
                      <a:pt x="388338" y="1607"/>
                      <a:pt x="367383" y="1607"/>
                    </a:cubicBezTo>
                    <a:cubicBezTo>
                      <a:pt x="346428" y="1607"/>
                      <a:pt x="339761" y="-1250"/>
                      <a:pt x="339761" y="655"/>
                    </a:cubicBezTo>
                    <a:cubicBezTo>
                      <a:pt x="339761" y="2560"/>
                      <a:pt x="328331" y="4465"/>
                      <a:pt x="328331" y="4465"/>
                    </a:cubicBezTo>
                    <a:cubicBezTo>
                      <a:pt x="328331" y="4465"/>
                      <a:pt x="323568" y="5417"/>
                      <a:pt x="322616" y="8275"/>
                    </a:cubicBezTo>
                    <a:cubicBezTo>
                      <a:pt x="321663" y="10180"/>
                      <a:pt x="317853" y="8275"/>
                      <a:pt x="314996" y="12085"/>
                    </a:cubicBezTo>
                    <a:cubicBezTo>
                      <a:pt x="311186" y="15895"/>
                      <a:pt x="308328" y="13037"/>
                      <a:pt x="306423" y="15895"/>
                    </a:cubicBezTo>
                    <a:cubicBezTo>
                      <a:pt x="304518" y="19705"/>
                      <a:pt x="299756" y="20657"/>
                      <a:pt x="299756" y="20657"/>
                    </a:cubicBezTo>
                    <a:lnTo>
                      <a:pt x="294041" y="24467"/>
                    </a:lnTo>
                    <a:cubicBezTo>
                      <a:pt x="294041" y="24467"/>
                      <a:pt x="294041" y="28277"/>
                      <a:pt x="293088" y="31135"/>
                    </a:cubicBezTo>
                    <a:cubicBezTo>
                      <a:pt x="292136" y="33992"/>
                      <a:pt x="291183" y="36850"/>
                      <a:pt x="287373" y="37802"/>
                    </a:cubicBezTo>
                    <a:cubicBezTo>
                      <a:pt x="284516" y="38755"/>
                      <a:pt x="284516" y="38755"/>
                      <a:pt x="284516" y="38755"/>
                    </a:cubicBezTo>
                    <a:lnTo>
                      <a:pt x="268323" y="38755"/>
                    </a:lnTo>
                    <a:cubicBezTo>
                      <a:pt x="268323" y="38755"/>
                      <a:pt x="273086" y="30182"/>
                      <a:pt x="265466" y="29230"/>
                    </a:cubicBezTo>
                    <a:cubicBezTo>
                      <a:pt x="257846" y="28277"/>
                      <a:pt x="250226" y="27325"/>
                      <a:pt x="250226" y="27325"/>
                    </a:cubicBezTo>
                    <a:lnTo>
                      <a:pt x="242605" y="28277"/>
                    </a:lnTo>
                    <a:lnTo>
                      <a:pt x="227366" y="29230"/>
                    </a:lnTo>
                    <a:cubicBezTo>
                      <a:pt x="227366" y="29230"/>
                      <a:pt x="219746" y="30182"/>
                      <a:pt x="218793" y="33040"/>
                    </a:cubicBezTo>
                    <a:cubicBezTo>
                      <a:pt x="217841" y="34945"/>
                      <a:pt x="208316" y="38755"/>
                      <a:pt x="208316" y="42565"/>
                    </a:cubicBezTo>
                    <a:cubicBezTo>
                      <a:pt x="208316" y="46375"/>
                      <a:pt x="209268" y="43517"/>
                      <a:pt x="208316" y="46375"/>
                    </a:cubicBezTo>
                    <a:cubicBezTo>
                      <a:pt x="207363" y="50185"/>
                      <a:pt x="210221" y="50185"/>
                      <a:pt x="202601" y="53995"/>
                    </a:cubicBezTo>
                    <a:cubicBezTo>
                      <a:pt x="194980" y="57805"/>
                      <a:pt x="199743" y="54947"/>
                      <a:pt x="190218" y="57805"/>
                    </a:cubicBezTo>
                    <a:cubicBezTo>
                      <a:pt x="181646" y="59710"/>
                      <a:pt x="169263" y="58757"/>
                      <a:pt x="169263" y="58757"/>
                    </a:cubicBezTo>
                    <a:lnTo>
                      <a:pt x="157833" y="63520"/>
                    </a:lnTo>
                    <a:lnTo>
                      <a:pt x="155928" y="68282"/>
                    </a:lnTo>
                    <a:lnTo>
                      <a:pt x="142593" y="85427"/>
                    </a:lnTo>
                    <a:lnTo>
                      <a:pt x="137830" y="86380"/>
                    </a:lnTo>
                    <a:lnTo>
                      <a:pt x="128305" y="89237"/>
                    </a:lnTo>
                    <a:lnTo>
                      <a:pt x="122591" y="90190"/>
                    </a:lnTo>
                    <a:cubicBezTo>
                      <a:pt x="122591" y="90190"/>
                      <a:pt x="106398" y="94000"/>
                      <a:pt x="107351" y="96857"/>
                    </a:cubicBezTo>
                    <a:cubicBezTo>
                      <a:pt x="108303" y="99715"/>
                      <a:pt x="100683" y="100667"/>
                      <a:pt x="100683" y="100667"/>
                    </a:cubicBezTo>
                    <a:lnTo>
                      <a:pt x="89253" y="101620"/>
                    </a:lnTo>
                    <a:lnTo>
                      <a:pt x="73061" y="101620"/>
                    </a:lnTo>
                    <a:lnTo>
                      <a:pt x="63536" y="101620"/>
                    </a:lnTo>
                    <a:cubicBezTo>
                      <a:pt x="63536" y="101620"/>
                      <a:pt x="56868" y="102572"/>
                      <a:pt x="52106" y="105430"/>
                    </a:cubicBezTo>
                    <a:cubicBezTo>
                      <a:pt x="47343" y="108287"/>
                      <a:pt x="39723" y="116860"/>
                      <a:pt x="39723" y="116860"/>
                    </a:cubicBezTo>
                    <a:lnTo>
                      <a:pt x="16863" y="120670"/>
                    </a:lnTo>
                    <a:lnTo>
                      <a:pt x="9243" y="121622"/>
                    </a:lnTo>
                    <a:lnTo>
                      <a:pt x="1623" y="128290"/>
                    </a:lnTo>
                    <a:cubicBezTo>
                      <a:pt x="1623" y="128290"/>
                      <a:pt x="-282" y="132100"/>
                      <a:pt x="671" y="134957"/>
                    </a:cubicBezTo>
                    <a:cubicBezTo>
                      <a:pt x="1623" y="137815"/>
                      <a:pt x="-1234" y="138767"/>
                      <a:pt x="671" y="140672"/>
                    </a:cubicBezTo>
                    <a:cubicBezTo>
                      <a:pt x="2576" y="142577"/>
                      <a:pt x="-2187" y="134005"/>
                      <a:pt x="3528" y="145435"/>
                    </a:cubicBezTo>
                    <a:cubicBezTo>
                      <a:pt x="10196" y="156865"/>
                      <a:pt x="10196" y="156865"/>
                      <a:pt x="10196" y="156865"/>
                    </a:cubicBezTo>
                    <a:cubicBezTo>
                      <a:pt x="10196" y="156865"/>
                      <a:pt x="5433" y="152102"/>
                      <a:pt x="10196" y="156865"/>
                    </a:cubicBezTo>
                    <a:cubicBezTo>
                      <a:pt x="14958" y="161627"/>
                      <a:pt x="13053" y="162580"/>
                      <a:pt x="14006" y="165437"/>
                    </a:cubicBezTo>
                    <a:cubicBezTo>
                      <a:pt x="14958" y="168295"/>
                      <a:pt x="10196" y="172105"/>
                      <a:pt x="10196" y="174962"/>
                    </a:cubicBezTo>
                    <a:cubicBezTo>
                      <a:pt x="10196" y="176867"/>
                      <a:pt x="4481" y="180677"/>
                      <a:pt x="7338" y="183535"/>
                    </a:cubicBezTo>
                    <a:cubicBezTo>
                      <a:pt x="10196" y="186392"/>
                      <a:pt x="14958" y="185440"/>
                      <a:pt x="17816" y="189250"/>
                    </a:cubicBezTo>
                    <a:cubicBezTo>
                      <a:pt x="20673" y="193060"/>
                      <a:pt x="23531" y="196870"/>
                      <a:pt x="23531" y="196870"/>
                    </a:cubicBezTo>
                    <a:cubicBezTo>
                      <a:pt x="23531" y="196870"/>
                      <a:pt x="25436" y="197822"/>
                      <a:pt x="25436" y="199727"/>
                    </a:cubicBezTo>
                    <a:cubicBezTo>
                      <a:pt x="25436" y="201632"/>
                      <a:pt x="34961" y="210205"/>
                      <a:pt x="34961" y="210205"/>
                    </a:cubicBezTo>
                    <a:cubicBezTo>
                      <a:pt x="34961" y="210205"/>
                      <a:pt x="34008" y="215920"/>
                      <a:pt x="34008" y="219730"/>
                    </a:cubicBezTo>
                    <a:cubicBezTo>
                      <a:pt x="34008" y="223540"/>
                      <a:pt x="34008" y="229255"/>
                      <a:pt x="34008" y="229255"/>
                    </a:cubicBezTo>
                    <a:cubicBezTo>
                      <a:pt x="34008" y="229255"/>
                      <a:pt x="29246" y="231160"/>
                      <a:pt x="34008" y="235922"/>
                    </a:cubicBezTo>
                    <a:cubicBezTo>
                      <a:pt x="38771" y="240685"/>
                      <a:pt x="35913" y="244495"/>
                      <a:pt x="35913" y="244495"/>
                    </a:cubicBezTo>
                    <a:cubicBezTo>
                      <a:pt x="35913" y="244495"/>
                      <a:pt x="37818" y="247352"/>
                      <a:pt x="35913" y="250210"/>
                    </a:cubicBezTo>
                    <a:cubicBezTo>
                      <a:pt x="34008" y="253067"/>
                      <a:pt x="30198" y="254020"/>
                      <a:pt x="30198" y="257830"/>
                    </a:cubicBezTo>
                    <a:cubicBezTo>
                      <a:pt x="30198" y="261640"/>
                      <a:pt x="36866" y="266402"/>
                      <a:pt x="40676" y="268307"/>
                    </a:cubicBezTo>
                    <a:cubicBezTo>
                      <a:pt x="45438" y="270212"/>
                      <a:pt x="54011" y="273070"/>
                      <a:pt x="54011" y="273070"/>
                    </a:cubicBezTo>
                    <a:cubicBezTo>
                      <a:pt x="54011" y="273070"/>
                      <a:pt x="60678" y="272117"/>
                      <a:pt x="63536" y="273070"/>
                    </a:cubicBezTo>
                    <a:cubicBezTo>
                      <a:pt x="66393" y="274022"/>
                      <a:pt x="69251" y="270212"/>
                      <a:pt x="72108" y="271165"/>
                    </a:cubicBezTo>
                    <a:cubicBezTo>
                      <a:pt x="74966" y="272117"/>
                      <a:pt x="91158" y="267355"/>
                      <a:pt x="94016" y="270212"/>
                    </a:cubicBezTo>
                    <a:cubicBezTo>
                      <a:pt x="96873" y="272117"/>
                      <a:pt x="113066" y="274975"/>
                      <a:pt x="113066" y="274975"/>
                    </a:cubicBezTo>
                    <a:lnTo>
                      <a:pt x="129258" y="269260"/>
                    </a:lnTo>
                    <a:lnTo>
                      <a:pt x="136878" y="265450"/>
                    </a:lnTo>
                    <a:cubicBezTo>
                      <a:pt x="136878" y="265450"/>
                      <a:pt x="146403" y="264497"/>
                      <a:pt x="151166" y="264497"/>
                    </a:cubicBezTo>
                    <a:cubicBezTo>
                      <a:pt x="155928" y="264497"/>
                      <a:pt x="160691" y="266402"/>
                      <a:pt x="160691" y="266402"/>
                    </a:cubicBezTo>
                    <a:cubicBezTo>
                      <a:pt x="160691" y="266402"/>
                      <a:pt x="163548" y="269260"/>
                      <a:pt x="167358" y="269260"/>
                    </a:cubicBezTo>
                    <a:cubicBezTo>
                      <a:pt x="170216" y="269260"/>
                      <a:pt x="172121" y="270212"/>
                      <a:pt x="176883" y="269260"/>
                    </a:cubicBezTo>
                    <a:cubicBezTo>
                      <a:pt x="182598" y="268307"/>
                      <a:pt x="192123" y="267355"/>
                      <a:pt x="192123" y="267355"/>
                    </a:cubicBezTo>
                    <a:lnTo>
                      <a:pt x="198791" y="263545"/>
                    </a:lnTo>
                    <a:lnTo>
                      <a:pt x="200696" y="256877"/>
                    </a:lnTo>
                    <a:cubicBezTo>
                      <a:pt x="200696" y="256877"/>
                      <a:pt x="207363" y="250210"/>
                      <a:pt x="213078" y="248305"/>
                    </a:cubicBezTo>
                    <a:cubicBezTo>
                      <a:pt x="218793" y="247352"/>
                      <a:pt x="226413" y="244495"/>
                      <a:pt x="226413" y="244495"/>
                    </a:cubicBezTo>
                    <a:cubicBezTo>
                      <a:pt x="226413" y="244495"/>
                      <a:pt x="235938" y="244495"/>
                      <a:pt x="239748" y="243542"/>
                    </a:cubicBezTo>
                    <a:cubicBezTo>
                      <a:pt x="242605" y="242590"/>
                      <a:pt x="248321" y="238780"/>
                      <a:pt x="254988" y="238780"/>
                    </a:cubicBezTo>
                    <a:cubicBezTo>
                      <a:pt x="261655" y="238780"/>
                      <a:pt x="268323" y="237827"/>
                      <a:pt x="271181" y="238780"/>
                    </a:cubicBezTo>
                    <a:cubicBezTo>
                      <a:pt x="274038" y="239732"/>
                      <a:pt x="277848" y="240685"/>
                      <a:pt x="283563" y="241637"/>
                    </a:cubicBezTo>
                    <a:cubicBezTo>
                      <a:pt x="289278" y="243542"/>
                      <a:pt x="305471" y="245447"/>
                      <a:pt x="312138" y="245447"/>
                    </a:cubicBezTo>
                    <a:cubicBezTo>
                      <a:pt x="318806" y="245447"/>
                      <a:pt x="323568" y="243542"/>
                      <a:pt x="330236" y="244495"/>
                    </a:cubicBezTo>
                    <a:cubicBezTo>
                      <a:pt x="336903" y="245447"/>
                      <a:pt x="329283" y="240685"/>
                      <a:pt x="344523" y="243542"/>
                    </a:cubicBezTo>
                    <a:cubicBezTo>
                      <a:pt x="359763" y="247352"/>
                      <a:pt x="365478" y="248305"/>
                      <a:pt x="365478" y="248305"/>
                    </a:cubicBezTo>
                    <a:cubicBezTo>
                      <a:pt x="365478" y="248305"/>
                      <a:pt x="373098" y="253067"/>
                      <a:pt x="373098" y="254972"/>
                    </a:cubicBezTo>
                    <a:cubicBezTo>
                      <a:pt x="373098" y="257830"/>
                      <a:pt x="373098" y="259735"/>
                      <a:pt x="373098" y="261640"/>
                    </a:cubicBezTo>
                    <a:cubicBezTo>
                      <a:pt x="373098" y="263545"/>
                      <a:pt x="371193" y="267355"/>
                      <a:pt x="374051" y="268307"/>
                    </a:cubicBezTo>
                    <a:cubicBezTo>
                      <a:pt x="376908" y="269260"/>
                      <a:pt x="383576" y="273070"/>
                      <a:pt x="387386" y="273070"/>
                    </a:cubicBezTo>
                    <a:cubicBezTo>
                      <a:pt x="390243" y="273070"/>
                      <a:pt x="395958" y="273070"/>
                      <a:pt x="395958" y="273070"/>
                    </a:cubicBezTo>
                    <a:lnTo>
                      <a:pt x="400721" y="269260"/>
                    </a:lnTo>
                    <a:lnTo>
                      <a:pt x="404531" y="265450"/>
                    </a:lnTo>
                    <a:cubicBezTo>
                      <a:pt x="404531" y="265450"/>
                      <a:pt x="409293" y="264497"/>
                      <a:pt x="412151" y="264497"/>
                    </a:cubicBezTo>
                    <a:cubicBezTo>
                      <a:pt x="415008" y="265450"/>
                      <a:pt x="413103" y="260687"/>
                      <a:pt x="415008" y="265450"/>
                    </a:cubicBezTo>
                    <a:cubicBezTo>
                      <a:pt x="416913" y="270212"/>
                      <a:pt x="415961" y="273070"/>
                      <a:pt x="415961" y="273070"/>
                    </a:cubicBezTo>
                    <a:cubicBezTo>
                      <a:pt x="415961" y="273070"/>
                      <a:pt x="418818" y="278785"/>
                      <a:pt x="419771" y="281642"/>
                    </a:cubicBezTo>
                    <a:cubicBezTo>
                      <a:pt x="420723" y="284500"/>
                      <a:pt x="430248" y="288310"/>
                      <a:pt x="430248" y="288310"/>
                    </a:cubicBezTo>
                    <a:lnTo>
                      <a:pt x="442631" y="290215"/>
                    </a:lnTo>
                    <a:lnTo>
                      <a:pt x="451203" y="290215"/>
                    </a:lnTo>
                    <a:cubicBezTo>
                      <a:pt x="451203" y="290215"/>
                      <a:pt x="455966" y="292120"/>
                      <a:pt x="456918" y="294025"/>
                    </a:cubicBezTo>
                    <a:cubicBezTo>
                      <a:pt x="457871" y="295930"/>
                      <a:pt x="457871" y="295930"/>
                      <a:pt x="458823" y="299740"/>
                    </a:cubicBezTo>
                    <a:cubicBezTo>
                      <a:pt x="459776" y="303550"/>
                      <a:pt x="458823" y="306407"/>
                      <a:pt x="458823" y="310217"/>
                    </a:cubicBezTo>
                    <a:cubicBezTo>
                      <a:pt x="458823" y="314027"/>
                      <a:pt x="457871" y="309265"/>
                      <a:pt x="458823" y="314027"/>
                    </a:cubicBezTo>
                    <a:cubicBezTo>
                      <a:pt x="459776" y="317837"/>
                      <a:pt x="470253" y="324505"/>
                      <a:pt x="470253" y="324505"/>
                    </a:cubicBezTo>
                    <a:lnTo>
                      <a:pt x="478826" y="326410"/>
                    </a:lnTo>
                    <a:lnTo>
                      <a:pt x="490256" y="325457"/>
                    </a:lnTo>
                    <a:lnTo>
                      <a:pt x="505496" y="324505"/>
                    </a:lnTo>
                    <a:cubicBezTo>
                      <a:pt x="505496" y="324505"/>
                      <a:pt x="502638" y="323552"/>
                      <a:pt x="514068" y="326410"/>
                    </a:cubicBezTo>
                    <a:cubicBezTo>
                      <a:pt x="526451" y="329267"/>
                      <a:pt x="536928" y="328315"/>
                      <a:pt x="536928" y="328315"/>
                    </a:cubicBezTo>
                    <a:lnTo>
                      <a:pt x="549311" y="321647"/>
                    </a:lnTo>
                    <a:lnTo>
                      <a:pt x="555978" y="321647"/>
                    </a:lnTo>
                    <a:lnTo>
                      <a:pt x="564551" y="326410"/>
                    </a:lnTo>
                    <a:lnTo>
                      <a:pt x="572171" y="329267"/>
                    </a:lnTo>
                    <a:lnTo>
                      <a:pt x="583601" y="329267"/>
                    </a:lnTo>
                    <a:cubicBezTo>
                      <a:pt x="583601" y="329267"/>
                      <a:pt x="592173" y="322600"/>
                      <a:pt x="596936" y="321647"/>
                    </a:cubicBezTo>
                    <a:cubicBezTo>
                      <a:pt x="601698" y="320695"/>
                      <a:pt x="588363" y="323552"/>
                      <a:pt x="601698" y="320695"/>
                    </a:cubicBezTo>
                    <a:cubicBezTo>
                      <a:pt x="615033" y="317837"/>
                      <a:pt x="608366" y="319742"/>
                      <a:pt x="615033" y="317837"/>
                    </a:cubicBezTo>
                    <a:cubicBezTo>
                      <a:pt x="621701" y="316885"/>
                      <a:pt x="626463" y="312122"/>
                      <a:pt x="630273" y="311170"/>
                    </a:cubicBezTo>
                    <a:cubicBezTo>
                      <a:pt x="635036" y="310217"/>
                      <a:pt x="637893" y="304502"/>
                      <a:pt x="637893" y="304502"/>
                    </a:cubicBezTo>
                    <a:lnTo>
                      <a:pt x="639798" y="295930"/>
                    </a:lnTo>
                    <a:lnTo>
                      <a:pt x="644561" y="289262"/>
                    </a:lnTo>
                    <a:lnTo>
                      <a:pt x="652181" y="285452"/>
                    </a:lnTo>
                    <a:lnTo>
                      <a:pt x="655991" y="280690"/>
                    </a:lnTo>
                    <a:cubicBezTo>
                      <a:pt x="655991" y="280690"/>
                      <a:pt x="655991" y="271165"/>
                      <a:pt x="656943" y="269260"/>
                    </a:cubicBezTo>
                    <a:cubicBezTo>
                      <a:pt x="657896" y="267355"/>
                      <a:pt x="657896" y="267355"/>
                      <a:pt x="657896" y="267355"/>
                    </a:cubicBezTo>
                    <a:cubicBezTo>
                      <a:pt x="657896" y="267355"/>
                      <a:pt x="661706" y="260687"/>
                      <a:pt x="664563" y="259735"/>
                    </a:cubicBezTo>
                    <a:cubicBezTo>
                      <a:pt x="668373" y="258782"/>
                      <a:pt x="667421" y="263545"/>
                      <a:pt x="673136" y="255925"/>
                    </a:cubicBezTo>
                    <a:cubicBezTo>
                      <a:pt x="678851" y="249257"/>
                      <a:pt x="683613" y="243542"/>
                      <a:pt x="683613" y="243542"/>
                    </a:cubicBezTo>
                    <a:lnTo>
                      <a:pt x="687423" y="230207"/>
                    </a:lnTo>
                    <a:lnTo>
                      <a:pt x="691233" y="223540"/>
                    </a:lnTo>
                    <a:lnTo>
                      <a:pt x="695043" y="207347"/>
                    </a:lnTo>
                    <a:cubicBezTo>
                      <a:pt x="695043" y="207347"/>
                      <a:pt x="693138" y="202585"/>
                      <a:pt x="695043" y="197822"/>
                    </a:cubicBezTo>
                    <a:cubicBezTo>
                      <a:pt x="696948" y="194012"/>
                      <a:pt x="696948" y="182582"/>
                      <a:pt x="696948" y="182582"/>
                    </a:cubicBezTo>
                    <a:lnTo>
                      <a:pt x="696948" y="176867"/>
                    </a:lnTo>
                    <a:lnTo>
                      <a:pt x="694091" y="169247"/>
                    </a:lnTo>
                    <a:lnTo>
                      <a:pt x="691233" y="162580"/>
                    </a:lnTo>
                    <a:cubicBezTo>
                      <a:pt x="691233" y="162580"/>
                      <a:pt x="684566" y="157817"/>
                      <a:pt x="683613" y="154960"/>
                    </a:cubicBezTo>
                    <a:cubicBezTo>
                      <a:pt x="682661" y="152102"/>
                      <a:pt x="675041" y="147340"/>
                      <a:pt x="675041" y="147340"/>
                    </a:cubicBezTo>
                    <a:lnTo>
                      <a:pt x="667421" y="142577"/>
                    </a:lnTo>
                    <a:lnTo>
                      <a:pt x="650276" y="130195"/>
                    </a:lnTo>
                    <a:cubicBezTo>
                      <a:pt x="650276" y="130195"/>
                      <a:pt x="637893" y="122575"/>
                      <a:pt x="637893" y="120670"/>
                    </a:cubicBezTo>
                    <a:cubicBezTo>
                      <a:pt x="637893" y="118765"/>
                      <a:pt x="628368" y="105430"/>
                      <a:pt x="628368" y="105430"/>
                    </a:cubicBezTo>
                    <a:lnTo>
                      <a:pt x="612176" y="96857"/>
                    </a:lnTo>
                    <a:lnTo>
                      <a:pt x="597888" y="94952"/>
                    </a:lnTo>
                    <a:lnTo>
                      <a:pt x="580743" y="79712"/>
                    </a:lnTo>
                    <a:cubicBezTo>
                      <a:pt x="580743" y="79712"/>
                      <a:pt x="575981" y="75902"/>
                      <a:pt x="573123" y="74950"/>
                    </a:cubicBezTo>
                    <a:cubicBezTo>
                      <a:pt x="570266" y="73045"/>
                      <a:pt x="566456" y="71140"/>
                      <a:pt x="565503" y="68282"/>
                    </a:cubicBezTo>
                    <a:cubicBezTo>
                      <a:pt x="564551" y="65425"/>
                      <a:pt x="563598" y="58757"/>
                      <a:pt x="563598" y="58757"/>
                    </a:cubicBezTo>
                    <a:lnTo>
                      <a:pt x="557883" y="53042"/>
                    </a:lnTo>
                    <a:lnTo>
                      <a:pt x="555026" y="42565"/>
                    </a:lnTo>
                    <a:lnTo>
                      <a:pt x="552168" y="35897"/>
                    </a:lnTo>
                    <a:lnTo>
                      <a:pt x="546453" y="31135"/>
                    </a:lnTo>
                    <a:lnTo>
                      <a:pt x="541691" y="28277"/>
                    </a:lnTo>
                    <a:lnTo>
                      <a:pt x="535976" y="22562"/>
                    </a:lnTo>
                    <a:lnTo>
                      <a:pt x="532166" y="16847"/>
                    </a:lnTo>
                    <a:lnTo>
                      <a:pt x="523593" y="13990"/>
                    </a:lnTo>
                    <a:lnTo>
                      <a:pt x="517878" y="13990"/>
                    </a:lnTo>
                    <a:lnTo>
                      <a:pt x="504543" y="16847"/>
                    </a:lnTo>
                    <a:lnTo>
                      <a:pt x="499781" y="16847"/>
                    </a:lnTo>
                    <a:lnTo>
                      <a:pt x="495018" y="18752"/>
                    </a:lnTo>
                    <a:close/>
                  </a:path>
                </a:pathLst>
              </a:custGeom>
              <a:grpFill/>
              <a:ln w="9525" cap="flat">
                <a:noFill/>
                <a:prstDash val="solid"/>
                <a:miter/>
              </a:ln>
            </p:spPr>
            <p:txBody>
              <a:bodyPr rtlCol="0" anchor="ctr"/>
              <a:lstStyle/>
              <a:p>
                <a:endParaRPr lang="en-US" sz="1765"/>
              </a:p>
            </p:txBody>
          </p:sp>
          <p:sp>
            <p:nvSpPr>
              <p:cNvPr id="129" name="Freeform: Shape 128">
                <a:extLst>
                  <a:ext uri="{FF2B5EF4-FFF2-40B4-BE49-F238E27FC236}">
                    <a16:creationId xmlns:a16="http://schemas.microsoft.com/office/drawing/2014/main" id="{B774ADF8-2098-4343-B4E1-0347024F5813}"/>
                  </a:ext>
                </a:extLst>
              </p:cNvPr>
              <p:cNvSpPr/>
              <p:nvPr/>
            </p:nvSpPr>
            <p:spPr>
              <a:xfrm>
                <a:off x="10716339" y="4552679"/>
                <a:ext cx="49796" cy="30856"/>
              </a:xfrm>
              <a:custGeom>
                <a:avLst/>
                <a:gdLst>
                  <a:gd name="connsiteX0" fmla="*/ 43129 w 49796"/>
                  <a:gd name="connsiteY0" fmla="*/ 0 h 30856"/>
                  <a:gd name="connsiteX1" fmla="*/ 34557 w 49796"/>
                  <a:gd name="connsiteY1" fmla="*/ 953 h 30856"/>
                  <a:gd name="connsiteX2" fmla="*/ 16459 w 49796"/>
                  <a:gd name="connsiteY2" fmla="*/ 953 h 30856"/>
                  <a:gd name="connsiteX3" fmla="*/ 8839 w 49796"/>
                  <a:gd name="connsiteY3" fmla="*/ 953 h 30856"/>
                  <a:gd name="connsiteX4" fmla="*/ 2172 w 49796"/>
                  <a:gd name="connsiteY4" fmla="*/ 3810 h 30856"/>
                  <a:gd name="connsiteX5" fmla="*/ 1219 w 49796"/>
                  <a:gd name="connsiteY5" fmla="*/ 7620 h 30856"/>
                  <a:gd name="connsiteX6" fmla="*/ 267 w 49796"/>
                  <a:gd name="connsiteY6" fmla="*/ 17145 h 30856"/>
                  <a:gd name="connsiteX7" fmla="*/ 1219 w 49796"/>
                  <a:gd name="connsiteY7" fmla="*/ 20955 h 30856"/>
                  <a:gd name="connsiteX8" fmla="*/ 2172 w 49796"/>
                  <a:gd name="connsiteY8" fmla="*/ 27622 h 30856"/>
                  <a:gd name="connsiteX9" fmla="*/ 18364 w 49796"/>
                  <a:gd name="connsiteY9" fmla="*/ 30480 h 30856"/>
                  <a:gd name="connsiteX10" fmla="*/ 23127 w 49796"/>
                  <a:gd name="connsiteY10" fmla="*/ 26670 h 30856"/>
                  <a:gd name="connsiteX11" fmla="*/ 26937 w 49796"/>
                  <a:gd name="connsiteY11" fmla="*/ 26670 h 30856"/>
                  <a:gd name="connsiteX12" fmla="*/ 39319 w 49796"/>
                  <a:gd name="connsiteY12" fmla="*/ 22860 h 30856"/>
                  <a:gd name="connsiteX13" fmla="*/ 44082 w 49796"/>
                  <a:gd name="connsiteY13" fmla="*/ 21908 h 30856"/>
                  <a:gd name="connsiteX14" fmla="*/ 48844 w 49796"/>
                  <a:gd name="connsiteY14" fmla="*/ 19050 h 30856"/>
                  <a:gd name="connsiteX15" fmla="*/ 49797 w 49796"/>
                  <a:gd name="connsiteY15" fmla="*/ 12383 h 30856"/>
                  <a:gd name="connsiteX16" fmla="*/ 46939 w 49796"/>
                  <a:gd name="connsiteY16" fmla="*/ 4763 h 30856"/>
                  <a:gd name="connsiteX17" fmla="*/ 43129 w 49796"/>
                  <a:gd name="connsiteY17" fmla="*/ 0 h 3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796" h="30856">
                    <a:moveTo>
                      <a:pt x="43129" y="0"/>
                    </a:moveTo>
                    <a:lnTo>
                      <a:pt x="34557" y="953"/>
                    </a:lnTo>
                    <a:lnTo>
                      <a:pt x="16459" y="953"/>
                    </a:lnTo>
                    <a:lnTo>
                      <a:pt x="8839" y="953"/>
                    </a:lnTo>
                    <a:cubicBezTo>
                      <a:pt x="8839" y="953"/>
                      <a:pt x="3124" y="0"/>
                      <a:pt x="2172" y="3810"/>
                    </a:cubicBezTo>
                    <a:cubicBezTo>
                      <a:pt x="1219" y="7620"/>
                      <a:pt x="1219" y="2858"/>
                      <a:pt x="1219" y="7620"/>
                    </a:cubicBezTo>
                    <a:cubicBezTo>
                      <a:pt x="1219" y="12383"/>
                      <a:pt x="-686" y="14288"/>
                      <a:pt x="267" y="17145"/>
                    </a:cubicBezTo>
                    <a:cubicBezTo>
                      <a:pt x="1219" y="20955"/>
                      <a:pt x="267" y="14288"/>
                      <a:pt x="1219" y="20955"/>
                    </a:cubicBezTo>
                    <a:cubicBezTo>
                      <a:pt x="2172" y="27622"/>
                      <a:pt x="-1638" y="21908"/>
                      <a:pt x="2172" y="27622"/>
                    </a:cubicBezTo>
                    <a:cubicBezTo>
                      <a:pt x="5982" y="32385"/>
                      <a:pt x="18364" y="30480"/>
                      <a:pt x="18364" y="30480"/>
                    </a:cubicBezTo>
                    <a:cubicBezTo>
                      <a:pt x="18364" y="30480"/>
                      <a:pt x="19317" y="26670"/>
                      <a:pt x="23127" y="26670"/>
                    </a:cubicBezTo>
                    <a:cubicBezTo>
                      <a:pt x="26937" y="26670"/>
                      <a:pt x="21222" y="24765"/>
                      <a:pt x="26937" y="26670"/>
                    </a:cubicBezTo>
                    <a:cubicBezTo>
                      <a:pt x="32652" y="28575"/>
                      <a:pt x="39319" y="22860"/>
                      <a:pt x="39319" y="22860"/>
                    </a:cubicBezTo>
                    <a:lnTo>
                      <a:pt x="44082" y="21908"/>
                    </a:lnTo>
                    <a:cubicBezTo>
                      <a:pt x="44082" y="21908"/>
                      <a:pt x="47892" y="20955"/>
                      <a:pt x="48844" y="19050"/>
                    </a:cubicBezTo>
                    <a:cubicBezTo>
                      <a:pt x="49797" y="17145"/>
                      <a:pt x="49797" y="12383"/>
                      <a:pt x="49797" y="12383"/>
                    </a:cubicBezTo>
                    <a:lnTo>
                      <a:pt x="46939" y="4763"/>
                    </a:lnTo>
                    <a:lnTo>
                      <a:pt x="43129" y="0"/>
                    </a:lnTo>
                    <a:close/>
                  </a:path>
                </a:pathLst>
              </a:custGeom>
              <a:grpFill/>
              <a:ln w="9525" cap="flat">
                <a:noFill/>
                <a:prstDash val="solid"/>
                <a:miter/>
              </a:ln>
            </p:spPr>
            <p:txBody>
              <a:bodyPr rtlCol="0" anchor="ctr"/>
              <a:lstStyle/>
              <a:p>
                <a:endParaRPr lang="en-US" sz="1765"/>
              </a:p>
            </p:txBody>
          </p:sp>
          <p:sp>
            <p:nvSpPr>
              <p:cNvPr id="130" name="Freeform: Shape 129">
                <a:extLst>
                  <a:ext uri="{FF2B5EF4-FFF2-40B4-BE49-F238E27FC236}">
                    <a16:creationId xmlns:a16="http://schemas.microsoft.com/office/drawing/2014/main" id="{878589A0-5A81-43E2-9DD2-0647B00B0DF3}"/>
                  </a:ext>
                </a:extLst>
              </p:cNvPr>
              <p:cNvSpPr/>
              <p:nvPr/>
            </p:nvSpPr>
            <p:spPr>
              <a:xfrm>
                <a:off x="11071889" y="4560299"/>
                <a:ext cx="126682" cy="72389"/>
              </a:xfrm>
              <a:custGeom>
                <a:avLst/>
                <a:gdLst>
                  <a:gd name="connsiteX0" fmla="*/ 126682 w 126682"/>
                  <a:gd name="connsiteY0" fmla="*/ 1905 h 72389"/>
                  <a:gd name="connsiteX1" fmla="*/ 123825 w 126682"/>
                  <a:gd name="connsiteY1" fmla="*/ 10477 h 72389"/>
                  <a:gd name="connsiteX2" fmla="*/ 120968 w 126682"/>
                  <a:gd name="connsiteY2" fmla="*/ 20002 h 72389"/>
                  <a:gd name="connsiteX3" fmla="*/ 114300 w 126682"/>
                  <a:gd name="connsiteY3" fmla="*/ 29527 h 72389"/>
                  <a:gd name="connsiteX4" fmla="*/ 96202 w 126682"/>
                  <a:gd name="connsiteY4" fmla="*/ 37147 h 72389"/>
                  <a:gd name="connsiteX5" fmla="*/ 90488 w 126682"/>
                  <a:gd name="connsiteY5" fmla="*/ 40005 h 72389"/>
                  <a:gd name="connsiteX6" fmla="*/ 83820 w 126682"/>
                  <a:gd name="connsiteY6" fmla="*/ 43815 h 72389"/>
                  <a:gd name="connsiteX7" fmla="*/ 83820 w 126682"/>
                  <a:gd name="connsiteY7" fmla="*/ 47625 h 72389"/>
                  <a:gd name="connsiteX8" fmla="*/ 80010 w 126682"/>
                  <a:gd name="connsiteY8" fmla="*/ 57150 h 72389"/>
                  <a:gd name="connsiteX9" fmla="*/ 75248 w 126682"/>
                  <a:gd name="connsiteY9" fmla="*/ 61913 h 72389"/>
                  <a:gd name="connsiteX10" fmla="*/ 64770 w 126682"/>
                  <a:gd name="connsiteY10" fmla="*/ 67627 h 72389"/>
                  <a:gd name="connsiteX11" fmla="*/ 57150 w 126682"/>
                  <a:gd name="connsiteY11" fmla="*/ 69533 h 72389"/>
                  <a:gd name="connsiteX12" fmla="*/ 40957 w 126682"/>
                  <a:gd name="connsiteY12" fmla="*/ 71438 h 72389"/>
                  <a:gd name="connsiteX13" fmla="*/ 25718 w 126682"/>
                  <a:gd name="connsiteY13" fmla="*/ 72390 h 72389"/>
                  <a:gd name="connsiteX14" fmla="*/ 14288 w 126682"/>
                  <a:gd name="connsiteY14" fmla="*/ 72390 h 72389"/>
                  <a:gd name="connsiteX15" fmla="*/ 1905 w 126682"/>
                  <a:gd name="connsiteY15" fmla="*/ 70485 h 72389"/>
                  <a:gd name="connsiteX16" fmla="*/ 0 w 126682"/>
                  <a:gd name="connsiteY16" fmla="*/ 61913 h 72389"/>
                  <a:gd name="connsiteX17" fmla="*/ 0 w 126682"/>
                  <a:gd name="connsiteY17" fmla="*/ 55245 h 72389"/>
                  <a:gd name="connsiteX18" fmla="*/ 5715 w 126682"/>
                  <a:gd name="connsiteY18" fmla="*/ 48577 h 72389"/>
                  <a:gd name="connsiteX19" fmla="*/ 16193 w 126682"/>
                  <a:gd name="connsiteY19" fmla="*/ 43815 h 72389"/>
                  <a:gd name="connsiteX20" fmla="*/ 24765 w 126682"/>
                  <a:gd name="connsiteY20" fmla="*/ 42863 h 72389"/>
                  <a:gd name="connsiteX21" fmla="*/ 40957 w 126682"/>
                  <a:gd name="connsiteY21" fmla="*/ 39052 h 72389"/>
                  <a:gd name="connsiteX22" fmla="*/ 60007 w 126682"/>
                  <a:gd name="connsiteY22" fmla="*/ 32385 h 72389"/>
                  <a:gd name="connsiteX23" fmla="*/ 73343 w 126682"/>
                  <a:gd name="connsiteY23" fmla="*/ 22860 h 72389"/>
                  <a:gd name="connsiteX24" fmla="*/ 84773 w 126682"/>
                  <a:gd name="connsiteY24" fmla="*/ 9525 h 72389"/>
                  <a:gd name="connsiteX25" fmla="*/ 91440 w 126682"/>
                  <a:gd name="connsiteY25" fmla="*/ 6667 h 72389"/>
                  <a:gd name="connsiteX26" fmla="*/ 97155 w 126682"/>
                  <a:gd name="connsiteY26" fmla="*/ 2858 h 72389"/>
                  <a:gd name="connsiteX27" fmla="*/ 108585 w 126682"/>
                  <a:gd name="connsiteY27" fmla="*/ 0 h 72389"/>
                  <a:gd name="connsiteX28" fmla="*/ 116205 w 126682"/>
                  <a:gd name="connsiteY28" fmla="*/ 0 h 72389"/>
                  <a:gd name="connsiteX29" fmla="*/ 126682 w 126682"/>
                  <a:gd name="connsiteY29" fmla="*/ 1905 h 7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6682" h="72389">
                    <a:moveTo>
                      <a:pt x="126682" y="1905"/>
                    </a:moveTo>
                    <a:cubicBezTo>
                      <a:pt x="126682" y="1905"/>
                      <a:pt x="124777" y="7620"/>
                      <a:pt x="123825" y="10477"/>
                    </a:cubicBezTo>
                    <a:cubicBezTo>
                      <a:pt x="123825" y="13335"/>
                      <a:pt x="122873" y="15240"/>
                      <a:pt x="120968" y="20002"/>
                    </a:cubicBezTo>
                    <a:cubicBezTo>
                      <a:pt x="120015" y="23813"/>
                      <a:pt x="122873" y="23813"/>
                      <a:pt x="114300" y="29527"/>
                    </a:cubicBezTo>
                    <a:cubicBezTo>
                      <a:pt x="105727" y="35242"/>
                      <a:pt x="96202" y="37147"/>
                      <a:pt x="96202" y="37147"/>
                    </a:cubicBezTo>
                    <a:cubicBezTo>
                      <a:pt x="96202" y="37147"/>
                      <a:pt x="91440" y="38100"/>
                      <a:pt x="90488" y="40005"/>
                    </a:cubicBezTo>
                    <a:cubicBezTo>
                      <a:pt x="89535" y="41910"/>
                      <a:pt x="83820" y="40005"/>
                      <a:pt x="83820" y="43815"/>
                    </a:cubicBezTo>
                    <a:cubicBezTo>
                      <a:pt x="83820" y="47625"/>
                      <a:pt x="84773" y="42863"/>
                      <a:pt x="83820" y="47625"/>
                    </a:cubicBezTo>
                    <a:cubicBezTo>
                      <a:pt x="82868" y="51435"/>
                      <a:pt x="80010" y="57150"/>
                      <a:pt x="80010" y="57150"/>
                    </a:cubicBezTo>
                    <a:cubicBezTo>
                      <a:pt x="80010" y="57150"/>
                      <a:pt x="80963" y="58102"/>
                      <a:pt x="75248" y="61913"/>
                    </a:cubicBezTo>
                    <a:cubicBezTo>
                      <a:pt x="69532" y="65722"/>
                      <a:pt x="73343" y="65722"/>
                      <a:pt x="64770" y="67627"/>
                    </a:cubicBezTo>
                    <a:cubicBezTo>
                      <a:pt x="57150" y="69533"/>
                      <a:pt x="63818" y="68580"/>
                      <a:pt x="57150" y="69533"/>
                    </a:cubicBezTo>
                    <a:cubicBezTo>
                      <a:pt x="50482" y="70485"/>
                      <a:pt x="40957" y="71438"/>
                      <a:pt x="40957" y="71438"/>
                    </a:cubicBezTo>
                    <a:lnTo>
                      <a:pt x="25718" y="72390"/>
                    </a:lnTo>
                    <a:lnTo>
                      <a:pt x="14288" y="72390"/>
                    </a:lnTo>
                    <a:lnTo>
                      <a:pt x="1905" y="70485"/>
                    </a:lnTo>
                    <a:cubicBezTo>
                      <a:pt x="1905" y="70485"/>
                      <a:pt x="0" y="63817"/>
                      <a:pt x="0" y="61913"/>
                    </a:cubicBezTo>
                    <a:cubicBezTo>
                      <a:pt x="0" y="60008"/>
                      <a:pt x="0" y="55245"/>
                      <a:pt x="0" y="55245"/>
                    </a:cubicBezTo>
                    <a:lnTo>
                      <a:pt x="5715" y="48577"/>
                    </a:lnTo>
                    <a:lnTo>
                      <a:pt x="16193" y="43815"/>
                    </a:lnTo>
                    <a:cubicBezTo>
                      <a:pt x="16193" y="43815"/>
                      <a:pt x="20955" y="42863"/>
                      <a:pt x="24765" y="42863"/>
                    </a:cubicBezTo>
                    <a:cubicBezTo>
                      <a:pt x="29527" y="42863"/>
                      <a:pt x="36195" y="40005"/>
                      <a:pt x="40957" y="39052"/>
                    </a:cubicBezTo>
                    <a:cubicBezTo>
                      <a:pt x="46673" y="38100"/>
                      <a:pt x="56198" y="32385"/>
                      <a:pt x="60007" y="32385"/>
                    </a:cubicBezTo>
                    <a:cubicBezTo>
                      <a:pt x="62865" y="31433"/>
                      <a:pt x="71438" y="25717"/>
                      <a:pt x="73343" y="22860"/>
                    </a:cubicBezTo>
                    <a:cubicBezTo>
                      <a:pt x="75248" y="20002"/>
                      <a:pt x="84773" y="9525"/>
                      <a:pt x="84773" y="9525"/>
                    </a:cubicBezTo>
                    <a:lnTo>
                      <a:pt x="91440" y="6667"/>
                    </a:lnTo>
                    <a:cubicBezTo>
                      <a:pt x="91440" y="6667"/>
                      <a:pt x="85725" y="4763"/>
                      <a:pt x="97155" y="2858"/>
                    </a:cubicBezTo>
                    <a:cubicBezTo>
                      <a:pt x="108585" y="0"/>
                      <a:pt x="108585" y="0"/>
                      <a:pt x="108585" y="0"/>
                    </a:cubicBezTo>
                    <a:lnTo>
                      <a:pt x="116205" y="0"/>
                    </a:lnTo>
                    <a:lnTo>
                      <a:pt x="126682" y="1905"/>
                    </a:lnTo>
                    <a:close/>
                  </a:path>
                </a:pathLst>
              </a:custGeom>
              <a:grpFill/>
              <a:ln w="9525" cap="flat">
                <a:noFill/>
                <a:prstDash val="solid"/>
                <a:miter/>
              </a:ln>
            </p:spPr>
            <p:txBody>
              <a:bodyPr rtlCol="0" anchor="ctr"/>
              <a:lstStyle/>
              <a:p>
                <a:endParaRPr lang="en-US" sz="1765"/>
              </a:p>
            </p:txBody>
          </p:sp>
          <p:sp>
            <p:nvSpPr>
              <p:cNvPr id="189" name="Freeform: Shape 188">
                <a:extLst>
                  <a:ext uri="{FF2B5EF4-FFF2-40B4-BE49-F238E27FC236}">
                    <a16:creationId xmlns:a16="http://schemas.microsoft.com/office/drawing/2014/main" id="{39B57D15-43BA-4FD4-B80D-1294AB741531}"/>
                  </a:ext>
                </a:extLst>
              </p:cNvPr>
              <p:cNvSpPr/>
              <p:nvPr/>
            </p:nvSpPr>
            <p:spPr>
              <a:xfrm>
                <a:off x="11193808" y="4475526"/>
                <a:ext cx="84894" cy="90381"/>
              </a:xfrm>
              <a:custGeom>
                <a:avLst/>
                <a:gdLst>
                  <a:gd name="connsiteX0" fmla="*/ 4763 w 84894"/>
                  <a:gd name="connsiteY0" fmla="*/ 953 h 90381"/>
                  <a:gd name="connsiteX1" fmla="*/ 3810 w 84894"/>
                  <a:gd name="connsiteY1" fmla="*/ 4763 h 90381"/>
                  <a:gd name="connsiteX2" fmla="*/ 6668 w 84894"/>
                  <a:gd name="connsiteY2" fmla="*/ 12383 h 90381"/>
                  <a:gd name="connsiteX3" fmla="*/ 953 w 84894"/>
                  <a:gd name="connsiteY3" fmla="*/ 20003 h 90381"/>
                  <a:gd name="connsiteX4" fmla="*/ 6668 w 84894"/>
                  <a:gd name="connsiteY4" fmla="*/ 27623 h 90381"/>
                  <a:gd name="connsiteX5" fmla="*/ 14288 w 84894"/>
                  <a:gd name="connsiteY5" fmla="*/ 30480 h 90381"/>
                  <a:gd name="connsiteX6" fmla="*/ 19050 w 84894"/>
                  <a:gd name="connsiteY6" fmla="*/ 34290 h 90381"/>
                  <a:gd name="connsiteX7" fmla="*/ 19050 w 84894"/>
                  <a:gd name="connsiteY7" fmla="*/ 45720 h 90381"/>
                  <a:gd name="connsiteX8" fmla="*/ 18098 w 84894"/>
                  <a:gd name="connsiteY8" fmla="*/ 50483 h 90381"/>
                  <a:gd name="connsiteX9" fmla="*/ 12382 w 84894"/>
                  <a:gd name="connsiteY9" fmla="*/ 53340 h 90381"/>
                  <a:gd name="connsiteX10" fmla="*/ 9525 w 84894"/>
                  <a:gd name="connsiteY10" fmla="*/ 60008 h 90381"/>
                  <a:gd name="connsiteX11" fmla="*/ 23813 w 84894"/>
                  <a:gd name="connsiteY11" fmla="*/ 68580 h 90381"/>
                  <a:gd name="connsiteX12" fmla="*/ 24765 w 84894"/>
                  <a:gd name="connsiteY12" fmla="*/ 72390 h 90381"/>
                  <a:gd name="connsiteX13" fmla="*/ 24765 w 84894"/>
                  <a:gd name="connsiteY13" fmla="*/ 79058 h 90381"/>
                  <a:gd name="connsiteX14" fmla="*/ 27623 w 84894"/>
                  <a:gd name="connsiteY14" fmla="*/ 85725 h 90381"/>
                  <a:gd name="connsiteX15" fmla="*/ 35243 w 84894"/>
                  <a:gd name="connsiteY15" fmla="*/ 87630 h 90381"/>
                  <a:gd name="connsiteX16" fmla="*/ 47625 w 84894"/>
                  <a:gd name="connsiteY16" fmla="*/ 89535 h 90381"/>
                  <a:gd name="connsiteX17" fmla="*/ 55245 w 84894"/>
                  <a:gd name="connsiteY17" fmla="*/ 89535 h 90381"/>
                  <a:gd name="connsiteX18" fmla="*/ 60007 w 84894"/>
                  <a:gd name="connsiteY18" fmla="*/ 82868 h 90381"/>
                  <a:gd name="connsiteX19" fmla="*/ 62865 w 84894"/>
                  <a:gd name="connsiteY19" fmla="*/ 73343 h 90381"/>
                  <a:gd name="connsiteX20" fmla="*/ 69532 w 84894"/>
                  <a:gd name="connsiteY20" fmla="*/ 69533 h 90381"/>
                  <a:gd name="connsiteX21" fmla="*/ 78105 w 84894"/>
                  <a:gd name="connsiteY21" fmla="*/ 61913 h 90381"/>
                  <a:gd name="connsiteX22" fmla="*/ 79057 w 84894"/>
                  <a:gd name="connsiteY22" fmla="*/ 50483 h 90381"/>
                  <a:gd name="connsiteX23" fmla="*/ 84773 w 84894"/>
                  <a:gd name="connsiteY23" fmla="*/ 38100 h 90381"/>
                  <a:gd name="connsiteX24" fmla="*/ 75248 w 84894"/>
                  <a:gd name="connsiteY24" fmla="*/ 30480 h 90381"/>
                  <a:gd name="connsiteX25" fmla="*/ 60960 w 84894"/>
                  <a:gd name="connsiteY25" fmla="*/ 30480 h 90381"/>
                  <a:gd name="connsiteX26" fmla="*/ 44768 w 84894"/>
                  <a:gd name="connsiteY26" fmla="*/ 19050 h 90381"/>
                  <a:gd name="connsiteX27" fmla="*/ 33338 w 84894"/>
                  <a:gd name="connsiteY27" fmla="*/ 17145 h 90381"/>
                  <a:gd name="connsiteX28" fmla="*/ 26670 w 84894"/>
                  <a:gd name="connsiteY28" fmla="*/ 14288 h 90381"/>
                  <a:gd name="connsiteX29" fmla="*/ 20955 w 84894"/>
                  <a:gd name="connsiteY29" fmla="*/ 6668 h 90381"/>
                  <a:gd name="connsiteX30" fmla="*/ 16193 w 84894"/>
                  <a:gd name="connsiteY30" fmla="*/ 4763 h 90381"/>
                  <a:gd name="connsiteX31" fmla="*/ 0 w 84894"/>
                  <a:gd name="connsiteY31" fmla="*/ 0 h 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894" h="90381">
                    <a:moveTo>
                      <a:pt x="4763" y="953"/>
                    </a:moveTo>
                    <a:cubicBezTo>
                      <a:pt x="4763" y="953"/>
                      <a:pt x="1905" y="0"/>
                      <a:pt x="3810" y="4763"/>
                    </a:cubicBezTo>
                    <a:cubicBezTo>
                      <a:pt x="5715" y="9525"/>
                      <a:pt x="6668" y="9525"/>
                      <a:pt x="6668" y="12383"/>
                    </a:cubicBezTo>
                    <a:cubicBezTo>
                      <a:pt x="6668" y="15240"/>
                      <a:pt x="0" y="16193"/>
                      <a:pt x="953" y="20003"/>
                    </a:cubicBezTo>
                    <a:cubicBezTo>
                      <a:pt x="1905" y="23813"/>
                      <a:pt x="6668" y="27623"/>
                      <a:pt x="6668" y="27623"/>
                    </a:cubicBezTo>
                    <a:lnTo>
                      <a:pt x="14288" y="30480"/>
                    </a:lnTo>
                    <a:lnTo>
                      <a:pt x="19050" y="34290"/>
                    </a:lnTo>
                    <a:cubicBezTo>
                      <a:pt x="19050" y="34290"/>
                      <a:pt x="19050" y="43815"/>
                      <a:pt x="19050" y="45720"/>
                    </a:cubicBezTo>
                    <a:cubicBezTo>
                      <a:pt x="19050" y="47625"/>
                      <a:pt x="18098" y="50483"/>
                      <a:pt x="18098" y="50483"/>
                    </a:cubicBezTo>
                    <a:cubicBezTo>
                      <a:pt x="18098" y="50483"/>
                      <a:pt x="12382" y="50483"/>
                      <a:pt x="12382" y="53340"/>
                    </a:cubicBezTo>
                    <a:cubicBezTo>
                      <a:pt x="12382" y="56198"/>
                      <a:pt x="8573" y="57150"/>
                      <a:pt x="9525" y="60008"/>
                    </a:cubicBezTo>
                    <a:cubicBezTo>
                      <a:pt x="10478" y="61913"/>
                      <a:pt x="23813" y="68580"/>
                      <a:pt x="23813" y="68580"/>
                    </a:cubicBezTo>
                    <a:cubicBezTo>
                      <a:pt x="23813" y="68580"/>
                      <a:pt x="24765" y="67628"/>
                      <a:pt x="24765" y="72390"/>
                    </a:cubicBezTo>
                    <a:cubicBezTo>
                      <a:pt x="24765" y="76200"/>
                      <a:pt x="20955" y="73343"/>
                      <a:pt x="24765" y="79058"/>
                    </a:cubicBezTo>
                    <a:cubicBezTo>
                      <a:pt x="27623" y="85725"/>
                      <a:pt x="27623" y="85725"/>
                      <a:pt x="27623" y="85725"/>
                    </a:cubicBezTo>
                    <a:cubicBezTo>
                      <a:pt x="27623" y="85725"/>
                      <a:pt x="32385" y="85725"/>
                      <a:pt x="35243" y="87630"/>
                    </a:cubicBezTo>
                    <a:cubicBezTo>
                      <a:pt x="38100" y="89535"/>
                      <a:pt x="47625" y="89535"/>
                      <a:pt x="47625" y="89535"/>
                    </a:cubicBezTo>
                    <a:cubicBezTo>
                      <a:pt x="47625" y="89535"/>
                      <a:pt x="52388" y="91440"/>
                      <a:pt x="55245" y="89535"/>
                    </a:cubicBezTo>
                    <a:cubicBezTo>
                      <a:pt x="58103" y="87630"/>
                      <a:pt x="60007" y="82868"/>
                      <a:pt x="60007" y="82868"/>
                    </a:cubicBezTo>
                    <a:lnTo>
                      <a:pt x="62865" y="73343"/>
                    </a:lnTo>
                    <a:cubicBezTo>
                      <a:pt x="62865" y="73343"/>
                      <a:pt x="66675" y="70485"/>
                      <a:pt x="69532" y="69533"/>
                    </a:cubicBezTo>
                    <a:cubicBezTo>
                      <a:pt x="72390" y="68580"/>
                      <a:pt x="77153" y="63818"/>
                      <a:pt x="78105" y="61913"/>
                    </a:cubicBezTo>
                    <a:cubicBezTo>
                      <a:pt x="79057" y="60008"/>
                      <a:pt x="79057" y="50483"/>
                      <a:pt x="79057" y="50483"/>
                    </a:cubicBezTo>
                    <a:cubicBezTo>
                      <a:pt x="82868" y="45720"/>
                      <a:pt x="83820" y="40958"/>
                      <a:pt x="84773" y="38100"/>
                    </a:cubicBezTo>
                    <a:cubicBezTo>
                      <a:pt x="85725" y="36195"/>
                      <a:pt x="80963" y="29528"/>
                      <a:pt x="75248" y="30480"/>
                    </a:cubicBezTo>
                    <a:cubicBezTo>
                      <a:pt x="69532" y="31433"/>
                      <a:pt x="60960" y="30480"/>
                      <a:pt x="60960" y="30480"/>
                    </a:cubicBezTo>
                    <a:lnTo>
                      <a:pt x="44768" y="19050"/>
                    </a:lnTo>
                    <a:lnTo>
                      <a:pt x="33338" y="17145"/>
                    </a:lnTo>
                    <a:lnTo>
                      <a:pt x="26670" y="14288"/>
                    </a:lnTo>
                    <a:lnTo>
                      <a:pt x="20955" y="6668"/>
                    </a:lnTo>
                    <a:lnTo>
                      <a:pt x="16193" y="4763"/>
                    </a:lnTo>
                    <a:lnTo>
                      <a:pt x="0" y="0"/>
                    </a:lnTo>
                  </a:path>
                </a:pathLst>
              </a:custGeom>
              <a:grpFill/>
              <a:ln w="9525" cap="flat">
                <a:noFill/>
                <a:prstDash val="solid"/>
                <a:miter/>
              </a:ln>
            </p:spPr>
            <p:txBody>
              <a:bodyPr rtlCol="0" anchor="ctr"/>
              <a:lstStyle/>
              <a:p>
                <a:endParaRPr lang="en-US" sz="1765"/>
              </a:p>
            </p:txBody>
          </p:sp>
          <p:sp>
            <p:nvSpPr>
              <p:cNvPr id="192" name="Freeform: Shape 191">
                <a:extLst>
                  <a:ext uri="{FF2B5EF4-FFF2-40B4-BE49-F238E27FC236}">
                    <a16:creationId xmlns:a16="http://schemas.microsoft.com/office/drawing/2014/main" id="{B4E39D2C-30F8-4EFB-94B1-84DFE7064DDC}"/>
                  </a:ext>
                </a:extLst>
              </p:cNvPr>
              <p:cNvSpPr/>
              <p:nvPr/>
            </p:nvSpPr>
            <p:spPr>
              <a:xfrm>
                <a:off x="10425141" y="4101908"/>
                <a:ext cx="44767" cy="14525"/>
              </a:xfrm>
              <a:custGeom>
                <a:avLst/>
                <a:gdLst>
                  <a:gd name="connsiteX0" fmla="*/ 3810 w 44767"/>
                  <a:gd name="connsiteY0" fmla="*/ 6906 h 14525"/>
                  <a:gd name="connsiteX1" fmla="*/ 5715 w 44767"/>
                  <a:gd name="connsiteY1" fmla="*/ 4048 h 14525"/>
                  <a:gd name="connsiteX2" fmla="*/ 10478 w 44767"/>
                  <a:gd name="connsiteY2" fmla="*/ 1191 h 14525"/>
                  <a:gd name="connsiteX3" fmla="*/ 24765 w 44767"/>
                  <a:gd name="connsiteY3" fmla="*/ 238 h 14525"/>
                  <a:gd name="connsiteX4" fmla="*/ 37148 w 44767"/>
                  <a:gd name="connsiteY4" fmla="*/ 2143 h 14525"/>
                  <a:gd name="connsiteX5" fmla="*/ 43815 w 44767"/>
                  <a:gd name="connsiteY5" fmla="*/ 3096 h 14525"/>
                  <a:gd name="connsiteX6" fmla="*/ 44768 w 44767"/>
                  <a:gd name="connsiteY6" fmla="*/ 10716 h 14525"/>
                  <a:gd name="connsiteX7" fmla="*/ 37148 w 44767"/>
                  <a:gd name="connsiteY7" fmla="*/ 11668 h 14525"/>
                  <a:gd name="connsiteX8" fmla="*/ 29528 w 44767"/>
                  <a:gd name="connsiteY8" fmla="*/ 11668 h 14525"/>
                  <a:gd name="connsiteX9" fmla="*/ 18098 w 44767"/>
                  <a:gd name="connsiteY9" fmla="*/ 13573 h 14525"/>
                  <a:gd name="connsiteX10" fmla="*/ 6668 w 44767"/>
                  <a:gd name="connsiteY10" fmla="*/ 14526 h 14525"/>
                  <a:gd name="connsiteX11" fmla="*/ 0 w 44767"/>
                  <a:gd name="connsiteY11" fmla="*/ 10716 h 14525"/>
                  <a:gd name="connsiteX12" fmla="*/ 3810 w 44767"/>
                  <a:gd name="connsiteY12" fmla="*/ 6906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 h="14525">
                    <a:moveTo>
                      <a:pt x="3810" y="6906"/>
                    </a:moveTo>
                    <a:cubicBezTo>
                      <a:pt x="3810" y="6906"/>
                      <a:pt x="3810" y="6906"/>
                      <a:pt x="5715" y="4048"/>
                    </a:cubicBezTo>
                    <a:cubicBezTo>
                      <a:pt x="7620" y="1191"/>
                      <a:pt x="10478" y="3096"/>
                      <a:pt x="10478" y="1191"/>
                    </a:cubicBezTo>
                    <a:cubicBezTo>
                      <a:pt x="10478" y="-714"/>
                      <a:pt x="20003" y="238"/>
                      <a:pt x="24765" y="238"/>
                    </a:cubicBezTo>
                    <a:cubicBezTo>
                      <a:pt x="29528" y="238"/>
                      <a:pt x="37148" y="2143"/>
                      <a:pt x="37148" y="2143"/>
                    </a:cubicBezTo>
                    <a:lnTo>
                      <a:pt x="43815" y="3096"/>
                    </a:lnTo>
                    <a:lnTo>
                      <a:pt x="44768" y="10716"/>
                    </a:lnTo>
                    <a:lnTo>
                      <a:pt x="37148" y="11668"/>
                    </a:lnTo>
                    <a:cubicBezTo>
                      <a:pt x="37148" y="11668"/>
                      <a:pt x="32385" y="11668"/>
                      <a:pt x="29528" y="11668"/>
                    </a:cubicBezTo>
                    <a:cubicBezTo>
                      <a:pt x="26670" y="11668"/>
                      <a:pt x="18098" y="13573"/>
                      <a:pt x="18098" y="13573"/>
                    </a:cubicBezTo>
                    <a:lnTo>
                      <a:pt x="6668" y="14526"/>
                    </a:lnTo>
                    <a:lnTo>
                      <a:pt x="0" y="10716"/>
                    </a:lnTo>
                    <a:lnTo>
                      <a:pt x="3810" y="6906"/>
                    </a:lnTo>
                    <a:close/>
                  </a:path>
                </a:pathLst>
              </a:custGeom>
              <a:grpFill/>
              <a:ln w="9525" cap="flat">
                <a:noFill/>
                <a:prstDash val="solid"/>
                <a:miter/>
              </a:ln>
            </p:spPr>
            <p:txBody>
              <a:bodyPr rtlCol="0" anchor="ctr"/>
              <a:lstStyle/>
              <a:p>
                <a:endParaRPr lang="en-US" sz="1765"/>
              </a:p>
            </p:txBody>
          </p:sp>
          <p:sp>
            <p:nvSpPr>
              <p:cNvPr id="193" name="Freeform: Shape 192">
                <a:extLst>
                  <a:ext uri="{FF2B5EF4-FFF2-40B4-BE49-F238E27FC236}">
                    <a16:creationId xmlns:a16="http://schemas.microsoft.com/office/drawing/2014/main" id="{1644271D-EA1E-44CD-80C2-B5EEEC74BB30}"/>
                  </a:ext>
                </a:extLst>
              </p:cNvPr>
              <p:cNvSpPr/>
              <p:nvPr/>
            </p:nvSpPr>
            <p:spPr>
              <a:xfrm>
                <a:off x="10377374" y="4105004"/>
                <a:ext cx="31575" cy="9525"/>
              </a:xfrm>
              <a:custGeom>
                <a:avLst/>
                <a:gdLst>
                  <a:gd name="connsiteX0" fmla="*/ 21097 w 31575"/>
                  <a:gd name="connsiteY0" fmla="*/ 0 h 9525"/>
                  <a:gd name="connsiteX1" fmla="*/ 14430 w 31575"/>
                  <a:gd name="connsiteY1" fmla="*/ 0 h 9525"/>
                  <a:gd name="connsiteX2" fmla="*/ 2047 w 31575"/>
                  <a:gd name="connsiteY2" fmla="*/ 3810 h 9525"/>
                  <a:gd name="connsiteX3" fmla="*/ 3000 w 31575"/>
                  <a:gd name="connsiteY3" fmla="*/ 5715 h 9525"/>
                  <a:gd name="connsiteX4" fmla="*/ 9667 w 31575"/>
                  <a:gd name="connsiteY4" fmla="*/ 9525 h 9525"/>
                  <a:gd name="connsiteX5" fmla="*/ 18240 w 31575"/>
                  <a:gd name="connsiteY5" fmla="*/ 9525 h 9525"/>
                  <a:gd name="connsiteX6" fmla="*/ 25860 w 31575"/>
                  <a:gd name="connsiteY6" fmla="*/ 9525 h 9525"/>
                  <a:gd name="connsiteX7" fmla="*/ 31575 w 31575"/>
                  <a:gd name="connsiteY7" fmla="*/ 4763 h 9525"/>
                  <a:gd name="connsiteX8" fmla="*/ 24907 w 31575"/>
                  <a:gd name="connsiteY8" fmla="*/ 0 h 9525"/>
                  <a:gd name="connsiteX9" fmla="*/ 21097 w 31575"/>
                  <a:gd name="connsiteY9"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5" h="9525">
                    <a:moveTo>
                      <a:pt x="21097" y="0"/>
                    </a:moveTo>
                    <a:lnTo>
                      <a:pt x="14430" y="0"/>
                    </a:lnTo>
                    <a:cubicBezTo>
                      <a:pt x="14430" y="0"/>
                      <a:pt x="1095" y="1905"/>
                      <a:pt x="2047" y="3810"/>
                    </a:cubicBezTo>
                    <a:cubicBezTo>
                      <a:pt x="3000" y="5715"/>
                      <a:pt x="-3668" y="1905"/>
                      <a:pt x="3000" y="5715"/>
                    </a:cubicBezTo>
                    <a:cubicBezTo>
                      <a:pt x="9667" y="9525"/>
                      <a:pt x="9667" y="9525"/>
                      <a:pt x="9667" y="9525"/>
                    </a:cubicBezTo>
                    <a:lnTo>
                      <a:pt x="18240" y="9525"/>
                    </a:lnTo>
                    <a:lnTo>
                      <a:pt x="25860" y="9525"/>
                    </a:lnTo>
                    <a:lnTo>
                      <a:pt x="31575" y="4763"/>
                    </a:lnTo>
                    <a:lnTo>
                      <a:pt x="24907" y="0"/>
                    </a:lnTo>
                    <a:lnTo>
                      <a:pt x="21097" y="0"/>
                    </a:lnTo>
                    <a:close/>
                  </a:path>
                </a:pathLst>
              </a:custGeom>
              <a:grpFill/>
              <a:ln w="9525" cap="flat">
                <a:noFill/>
                <a:prstDash val="solid"/>
                <a:miter/>
              </a:ln>
            </p:spPr>
            <p:txBody>
              <a:bodyPr rtlCol="0" anchor="ctr"/>
              <a:lstStyle/>
              <a:p>
                <a:endParaRPr lang="en-US" sz="1765"/>
              </a:p>
            </p:txBody>
          </p:sp>
          <p:sp>
            <p:nvSpPr>
              <p:cNvPr id="194" name="Freeform: Shape 193">
                <a:extLst>
                  <a:ext uri="{FF2B5EF4-FFF2-40B4-BE49-F238E27FC236}">
                    <a16:creationId xmlns:a16="http://schemas.microsoft.com/office/drawing/2014/main" id="{3A5DD63C-2F38-4F4E-8EF8-25C6E073F7CD}"/>
                  </a:ext>
                </a:extLst>
              </p:cNvPr>
              <p:cNvSpPr/>
              <p:nvPr/>
            </p:nvSpPr>
            <p:spPr>
              <a:xfrm>
                <a:off x="10232211" y="4156996"/>
                <a:ext cx="22559" cy="13729"/>
              </a:xfrm>
              <a:custGeom>
                <a:avLst/>
                <a:gdLst>
                  <a:gd name="connsiteX0" fmla="*/ 21480 w 22559"/>
                  <a:gd name="connsiteY0" fmla="*/ 6110 h 13729"/>
                  <a:gd name="connsiteX1" fmla="*/ 14813 w 22559"/>
                  <a:gd name="connsiteY1" fmla="*/ 13730 h 13729"/>
                  <a:gd name="connsiteX2" fmla="*/ 2430 w 22559"/>
                  <a:gd name="connsiteY2" fmla="*/ 13730 h 13729"/>
                  <a:gd name="connsiteX3" fmla="*/ 1477 w 22559"/>
                  <a:gd name="connsiteY3" fmla="*/ 2300 h 13729"/>
                  <a:gd name="connsiteX4" fmla="*/ 6240 w 22559"/>
                  <a:gd name="connsiteY4" fmla="*/ 1347 h 13729"/>
                  <a:gd name="connsiteX5" fmla="*/ 15765 w 22559"/>
                  <a:gd name="connsiteY5" fmla="*/ 395 h 13729"/>
                  <a:gd name="connsiteX6" fmla="*/ 21480 w 22559"/>
                  <a:gd name="connsiteY6" fmla="*/ 6110 h 1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9" h="13729">
                    <a:moveTo>
                      <a:pt x="21480" y="6110"/>
                    </a:moveTo>
                    <a:lnTo>
                      <a:pt x="14813" y="13730"/>
                    </a:lnTo>
                    <a:lnTo>
                      <a:pt x="2430" y="13730"/>
                    </a:lnTo>
                    <a:cubicBezTo>
                      <a:pt x="2430" y="13730"/>
                      <a:pt x="-2333" y="3252"/>
                      <a:pt x="1477" y="2300"/>
                    </a:cubicBezTo>
                    <a:cubicBezTo>
                      <a:pt x="6240" y="1347"/>
                      <a:pt x="-4237" y="3252"/>
                      <a:pt x="6240" y="1347"/>
                    </a:cubicBezTo>
                    <a:cubicBezTo>
                      <a:pt x="15765" y="395"/>
                      <a:pt x="6240" y="-558"/>
                      <a:pt x="15765" y="395"/>
                    </a:cubicBezTo>
                    <a:cubicBezTo>
                      <a:pt x="26242" y="395"/>
                      <a:pt x="21480" y="6110"/>
                      <a:pt x="21480" y="6110"/>
                    </a:cubicBezTo>
                    <a:close/>
                  </a:path>
                </a:pathLst>
              </a:custGeom>
              <a:grpFill/>
              <a:ln w="9525" cap="flat">
                <a:noFill/>
                <a:prstDash val="solid"/>
                <a:miter/>
              </a:ln>
            </p:spPr>
            <p:txBody>
              <a:bodyPr rtlCol="0" anchor="ctr"/>
              <a:lstStyle/>
              <a:p>
                <a:endParaRPr lang="en-US" sz="1765"/>
              </a:p>
            </p:txBody>
          </p:sp>
          <p:sp>
            <p:nvSpPr>
              <p:cNvPr id="195" name="Freeform: Shape 194">
                <a:extLst>
                  <a:ext uri="{FF2B5EF4-FFF2-40B4-BE49-F238E27FC236}">
                    <a16:creationId xmlns:a16="http://schemas.microsoft.com/office/drawing/2014/main" id="{FA2635D5-66D3-4A61-A8C0-86B9D2B8C8E0}"/>
                  </a:ext>
                </a:extLst>
              </p:cNvPr>
              <p:cNvSpPr/>
              <p:nvPr/>
            </p:nvSpPr>
            <p:spPr>
              <a:xfrm>
                <a:off x="10269928" y="4156438"/>
                <a:ext cx="60915" cy="25479"/>
              </a:xfrm>
              <a:custGeom>
                <a:avLst/>
                <a:gdLst>
                  <a:gd name="connsiteX0" fmla="*/ 35198 w 60915"/>
                  <a:gd name="connsiteY0" fmla="*/ 0 h 25479"/>
                  <a:gd name="connsiteX1" fmla="*/ 28530 w 60915"/>
                  <a:gd name="connsiteY1" fmla="*/ 953 h 25479"/>
                  <a:gd name="connsiteX2" fmla="*/ 16148 w 60915"/>
                  <a:gd name="connsiteY2" fmla="*/ 4763 h 25479"/>
                  <a:gd name="connsiteX3" fmla="*/ 10433 w 60915"/>
                  <a:gd name="connsiteY3" fmla="*/ 13335 h 25479"/>
                  <a:gd name="connsiteX4" fmla="*/ 1860 w 60915"/>
                  <a:gd name="connsiteY4" fmla="*/ 20003 h 25479"/>
                  <a:gd name="connsiteX5" fmla="*/ 2813 w 60915"/>
                  <a:gd name="connsiteY5" fmla="*/ 24765 h 25479"/>
                  <a:gd name="connsiteX6" fmla="*/ 15196 w 60915"/>
                  <a:gd name="connsiteY6" fmla="*/ 24765 h 25479"/>
                  <a:gd name="connsiteX7" fmla="*/ 27578 w 60915"/>
                  <a:gd name="connsiteY7" fmla="*/ 20003 h 25479"/>
                  <a:gd name="connsiteX8" fmla="*/ 35198 w 60915"/>
                  <a:gd name="connsiteY8" fmla="*/ 14288 h 25479"/>
                  <a:gd name="connsiteX9" fmla="*/ 45675 w 60915"/>
                  <a:gd name="connsiteY9" fmla="*/ 10478 h 25479"/>
                  <a:gd name="connsiteX10" fmla="*/ 48533 w 60915"/>
                  <a:gd name="connsiteY10" fmla="*/ 10478 h 25479"/>
                  <a:gd name="connsiteX11" fmla="*/ 59010 w 60915"/>
                  <a:gd name="connsiteY11" fmla="*/ 5715 h 25479"/>
                  <a:gd name="connsiteX12" fmla="*/ 60916 w 60915"/>
                  <a:gd name="connsiteY12" fmla="*/ 1905 h 25479"/>
                  <a:gd name="connsiteX13" fmla="*/ 52343 w 60915"/>
                  <a:gd name="connsiteY13" fmla="*/ 0 h 25479"/>
                  <a:gd name="connsiteX14" fmla="*/ 35198 w 60915"/>
                  <a:gd name="connsiteY14" fmla="*/ 0 h 2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15" h="25479">
                    <a:moveTo>
                      <a:pt x="35198" y="0"/>
                    </a:moveTo>
                    <a:lnTo>
                      <a:pt x="28530" y="953"/>
                    </a:lnTo>
                    <a:cubicBezTo>
                      <a:pt x="21863" y="4763"/>
                      <a:pt x="16148" y="4763"/>
                      <a:pt x="16148" y="4763"/>
                    </a:cubicBezTo>
                    <a:lnTo>
                      <a:pt x="10433" y="13335"/>
                    </a:lnTo>
                    <a:lnTo>
                      <a:pt x="1860" y="20003"/>
                    </a:lnTo>
                    <a:cubicBezTo>
                      <a:pt x="1860" y="20003"/>
                      <a:pt x="-2902" y="23813"/>
                      <a:pt x="2813" y="24765"/>
                    </a:cubicBezTo>
                    <a:cubicBezTo>
                      <a:pt x="8528" y="25718"/>
                      <a:pt x="10433" y="25718"/>
                      <a:pt x="15196" y="24765"/>
                    </a:cubicBezTo>
                    <a:cubicBezTo>
                      <a:pt x="19958" y="23813"/>
                      <a:pt x="27578" y="20003"/>
                      <a:pt x="27578" y="20003"/>
                    </a:cubicBezTo>
                    <a:lnTo>
                      <a:pt x="35198" y="14288"/>
                    </a:lnTo>
                    <a:cubicBezTo>
                      <a:pt x="35198" y="14288"/>
                      <a:pt x="41866" y="10478"/>
                      <a:pt x="45675" y="10478"/>
                    </a:cubicBezTo>
                    <a:cubicBezTo>
                      <a:pt x="48533" y="10478"/>
                      <a:pt x="48533" y="10478"/>
                      <a:pt x="48533" y="10478"/>
                    </a:cubicBezTo>
                    <a:lnTo>
                      <a:pt x="59010" y="5715"/>
                    </a:lnTo>
                    <a:lnTo>
                      <a:pt x="60916" y="1905"/>
                    </a:lnTo>
                    <a:lnTo>
                      <a:pt x="52343" y="0"/>
                    </a:lnTo>
                    <a:lnTo>
                      <a:pt x="35198" y="0"/>
                    </a:lnTo>
                    <a:close/>
                  </a:path>
                </a:pathLst>
              </a:custGeom>
              <a:grpFill/>
              <a:ln w="9525" cap="flat">
                <a:noFill/>
                <a:prstDash val="solid"/>
                <a:miter/>
              </a:ln>
            </p:spPr>
            <p:txBody>
              <a:bodyPr rtlCol="0" anchor="ctr"/>
              <a:lstStyle/>
              <a:p>
                <a:endParaRPr lang="en-US" sz="1765"/>
              </a:p>
            </p:txBody>
          </p:sp>
          <p:sp>
            <p:nvSpPr>
              <p:cNvPr id="196" name="Freeform: Shape 195">
                <a:extLst>
                  <a:ext uri="{FF2B5EF4-FFF2-40B4-BE49-F238E27FC236}">
                    <a16:creationId xmlns:a16="http://schemas.microsoft.com/office/drawing/2014/main" id="{7814C8D1-1E24-4136-9F58-FE7DF6D45673}"/>
                  </a:ext>
                </a:extLst>
              </p:cNvPr>
              <p:cNvSpPr/>
              <p:nvPr/>
            </p:nvSpPr>
            <p:spPr>
              <a:xfrm>
                <a:off x="8451561" y="3612561"/>
                <a:ext cx="49530" cy="14525"/>
              </a:xfrm>
              <a:custGeom>
                <a:avLst/>
                <a:gdLst>
                  <a:gd name="connsiteX0" fmla="*/ 49530 w 49530"/>
                  <a:gd name="connsiteY0" fmla="*/ 2857 h 14525"/>
                  <a:gd name="connsiteX1" fmla="*/ 39053 w 49530"/>
                  <a:gd name="connsiteY1" fmla="*/ 13335 h 14525"/>
                  <a:gd name="connsiteX2" fmla="*/ 17145 w 49530"/>
                  <a:gd name="connsiteY2" fmla="*/ 14288 h 14525"/>
                  <a:gd name="connsiteX3" fmla="*/ 7620 w 49530"/>
                  <a:gd name="connsiteY3" fmla="*/ 13335 h 14525"/>
                  <a:gd name="connsiteX4" fmla="*/ 1905 w 49530"/>
                  <a:gd name="connsiteY4" fmla="*/ 11430 h 14525"/>
                  <a:gd name="connsiteX5" fmla="*/ 0 w 49530"/>
                  <a:gd name="connsiteY5" fmla="*/ 5715 h 14525"/>
                  <a:gd name="connsiteX6" fmla="*/ 3810 w 49530"/>
                  <a:gd name="connsiteY6" fmla="*/ 1905 h 14525"/>
                  <a:gd name="connsiteX7" fmla="*/ 11430 w 49530"/>
                  <a:gd name="connsiteY7" fmla="*/ 952 h 14525"/>
                  <a:gd name="connsiteX8" fmla="*/ 17145 w 49530"/>
                  <a:gd name="connsiteY8" fmla="*/ 952 h 14525"/>
                  <a:gd name="connsiteX9" fmla="*/ 31433 w 49530"/>
                  <a:gd name="connsiteY9" fmla="*/ 952 h 14525"/>
                  <a:gd name="connsiteX10" fmla="*/ 38100 w 49530"/>
                  <a:gd name="connsiteY10" fmla="*/ 0 h 14525"/>
                  <a:gd name="connsiteX11" fmla="*/ 45720 w 49530"/>
                  <a:gd name="connsiteY11" fmla="*/ 952 h 14525"/>
                  <a:gd name="connsiteX12" fmla="*/ 49530 w 49530"/>
                  <a:gd name="connsiteY12" fmla="*/ 2857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 h="14525">
                    <a:moveTo>
                      <a:pt x="49530" y="2857"/>
                    </a:moveTo>
                    <a:lnTo>
                      <a:pt x="39053" y="13335"/>
                    </a:lnTo>
                    <a:cubicBezTo>
                      <a:pt x="31433" y="15240"/>
                      <a:pt x="17145" y="14288"/>
                      <a:pt x="17145" y="14288"/>
                    </a:cubicBezTo>
                    <a:lnTo>
                      <a:pt x="7620" y="13335"/>
                    </a:lnTo>
                    <a:lnTo>
                      <a:pt x="1905" y="11430"/>
                    </a:lnTo>
                    <a:lnTo>
                      <a:pt x="0" y="5715"/>
                    </a:lnTo>
                    <a:lnTo>
                      <a:pt x="3810" y="1905"/>
                    </a:lnTo>
                    <a:lnTo>
                      <a:pt x="11430" y="952"/>
                    </a:lnTo>
                    <a:lnTo>
                      <a:pt x="17145" y="952"/>
                    </a:lnTo>
                    <a:lnTo>
                      <a:pt x="31433" y="952"/>
                    </a:lnTo>
                    <a:lnTo>
                      <a:pt x="38100" y="0"/>
                    </a:lnTo>
                    <a:lnTo>
                      <a:pt x="45720" y="952"/>
                    </a:lnTo>
                    <a:lnTo>
                      <a:pt x="49530" y="2857"/>
                    </a:lnTo>
                    <a:close/>
                  </a:path>
                </a:pathLst>
              </a:custGeom>
              <a:grpFill/>
              <a:ln w="9525" cap="flat">
                <a:noFill/>
                <a:prstDash val="solid"/>
                <a:miter/>
              </a:ln>
            </p:spPr>
            <p:txBody>
              <a:bodyPr rtlCol="0" anchor="ctr"/>
              <a:lstStyle/>
              <a:p>
                <a:endParaRPr lang="en-US" sz="1765"/>
              </a:p>
            </p:txBody>
          </p:sp>
          <p:sp>
            <p:nvSpPr>
              <p:cNvPr id="197" name="Freeform: Shape 196">
                <a:extLst>
                  <a:ext uri="{FF2B5EF4-FFF2-40B4-BE49-F238E27FC236}">
                    <a16:creationId xmlns:a16="http://schemas.microsoft.com/office/drawing/2014/main" id="{62CE89B2-9D7D-498F-8824-50F66A6E49B1}"/>
                  </a:ext>
                </a:extLst>
              </p:cNvPr>
              <p:cNvSpPr/>
              <p:nvPr/>
            </p:nvSpPr>
            <p:spPr>
              <a:xfrm>
                <a:off x="8375130" y="3570651"/>
                <a:ext cx="29758" cy="24129"/>
              </a:xfrm>
              <a:custGeom>
                <a:avLst/>
                <a:gdLst>
                  <a:gd name="connsiteX0" fmla="*/ 18328 w 29758"/>
                  <a:gd name="connsiteY0" fmla="*/ 20955 h 24129"/>
                  <a:gd name="connsiteX1" fmla="*/ 6899 w 29758"/>
                  <a:gd name="connsiteY1" fmla="*/ 22860 h 24129"/>
                  <a:gd name="connsiteX2" fmla="*/ 4041 w 29758"/>
                  <a:gd name="connsiteY2" fmla="*/ 22860 h 24129"/>
                  <a:gd name="connsiteX3" fmla="*/ 1184 w 29758"/>
                  <a:gd name="connsiteY3" fmla="*/ 11430 h 24129"/>
                  <a:gd name="connsiteX4" fmla="*/ 4041 w 29758"/>
                  <a:gd name="connsiteY4" fmla="*/ 3810 h 24129"/>
                  <a:gd name="connsiteX5" fmla="*/ 22139 w 29758"/>
                  <a:gd name="connsiteY5" fmla="*/ 0 h 24129"/>
                  <a:gd name="connsiteX6" fmla="*/ 27853 w 29758"/>
                  <a:gd name="connsiteY6" fmla="*/ 1905 h 24129"/>
                  <a:gd name="connsiteX7" fmla="*/ 28806 w 29758"/>
                  <a:gd name="connsiteY7" fmla="*/ 7620 h 24129"/>
                  <a:gd name="connsiteX8" fmla="*/ 29759 w 29758"/>
                  <a:gd name="connsiteY8" fmla="*/ 12382 h 24129"/>
                  <a:gd name="connsiteX9" fmla="*/ 18328 w 29758"/>
                  <a:gd name="connsiteY9" fmla="*/ 20955 h 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58" h="24129">
                    <a:moveTo>
                      <a:pt x="18328" y="20955"/>
                    </a:moveTo>
                    <a:cubicBezTo>
                      <a:pt x="18328" y="20955"/>
                      <a:pt x="10709" y="22860"/>
                      <a:pt x="6899" y="22860"/>
                    </a:cubicBezTo>
                    <a:cubicBezTo>
                      <a:pt x="4041" y="22860"/>
                      <a:pt x="6899" y="25717"/>
                      <a:pt x="4041" y="22860"/>
                    </a:cubicBezTo>
                    <a:cubicBezTo>
                      <a:pt x="1184" y="20002"/>
                      <a:pt x="-1674" y="13335"/>
                      <a:pt x="1184" y="11430"/>
                    </a:cubicBezTo>
                    <a:cubicBezTo>
                      <a:pt x="3089" y="9525"/>
                      <a:pt x="4041" y="3810"/>
                      <a:pt x="4041" y="3810"/>
                    </a:cubicBezTo>
                    <a:lnTo>
                      <a:pt x="22139" y="0"/>
                    </a:lnTo>
                    <a:lnTo>
                      <a:pt x="27853" y="1905"/>
                    </a:lnTo>
                    <a:lnTo>
                      <a:pt x="28806" y="7620"/>
                    </a:lnTo>
                    <a:cubicBezTo>
                      <a:pt x="28806" y="7620"/>
                      <a:pt x="28806" y="9525"/>
                      <a:pt x="29759" y="12382"/>
                    </a:cubicBezTo>
                    <a:cubicBezTo>
                      <a:pt x="29759" y="15240"/>
                      <a:pt x="18328" y="20955"/>
                      <a:pt x="18328" y="20955"/>
                    </a:cubicBezTo>
                    <a:close/>
                  </a:path>
                </a:pathLst>
              </a:custGeom>
              <a:grpFill/>
              <a:ln w="9525" cap="flat">
                <a:noFill/>
                <a:prstDash val="solid"/>
                <a:miter/>
              </a:ln>
            </p:spPr>
            <p:txBody>
              <a:bodyPr rtlCol="0" anchor="ctr"/>
              <a:lstStyle/>
              <a:p>
                <a:endParaRPr lang="en-US" sz="1765"/>
              </a:p>
            </p:txBody>
          </p:sp>
          <p:sp>
            <p:nvSpPr>
              <p:cNvPr id="198" name="Freeform: Shape 197">
                <a:extLst>
                  <a:ext uri="{FF2B5EF4-FFF2-40B4-BE49-F238E27FC236}">
                    <a16:creationId xmlns:a16="http://schemas.microsoft.com/office/drawing/2014/main" id="{9667391B-BFE5-40A0-80E7-413652ED9341}"/>
                  </a:ext>
                </a:extLst>
              </p:cNvPr>
              <p:cNvSpPr/>
              <p:nvPr/>
            </p:nvSpPr>
            <p:spPr>
              <a:xfrm>
                <a:off x="8062028" y="3367509"/>
                <a:ext cx="76199" cy="55504"/>
              </a:xfrm>
              <a:custGeom>
                <a:avLst/>
                <a:gdLst>
                  <a:gd name="connsiteX0" fmla="*/ 43776 w 76199"/>
                  <a:gd name="connsiteY0" fmla="*/ 48837 h 55504"/>
                  <a:gd name="connsiteX1" fmla="*/ 39013 w 76199"/>
                  <a:gd name="connsiteY1" fmla="*/ 49790 h 55504"/>
                  <a:gd name="connsiteX2" fmla="*/ 32346 w 76199"/>
                  <a:gd name="connsiteY2" fmla="*/ 53600 h 55504"/>
                  <a:gd name="connsiteX3" fmla="*/ 25678 w 76199"/>
                  <a:gd name="connsiteY3" fmla="*/ 55505 h 55504"/>
                  <a:gd name="connsiteX4" fmla="*/ 17105 w 76199"/>
                  <a:gd name="connsiteY4" fmla="*/ 55505 h 55504"/>
                  <a:gd name="connsiteX5" fmla="*/ 10438 w 76199"/>
                  <a:gd name="connsiteY5" fmla="*/ 55505 h 55504"/>
                  <a:gd name="connsiteX6" fmla="*/ 2818 w 76199"/>
                  <a:gd name="connsiteY6" fmla="*/ 54552 h 55504"/>
                  <a:gd name="connsiteX7" fmla="*/ 913 w 76199"/>
                  <a:gd name="connsiteY7" fmla="*/ 40265 h 55504"/>
                  <a:gd name="connsiteX8" fmla="*/ 3771 w 76199"/>
                  <a:gd name="connsiteY8" fmla="*/ 39312 h 55504"/>
                  <a:gd name="connsiteX9" fmla="*/ 11391 w 76199"/>
                  <a:gd name="connsiteY9" fmla="*/ 37407 h 55504"/>
                  <a:gd name="connsiteX10" fmla="*/ 16153 w 76199"/>
                  <a:gd name="connsiteY10" fmla="*/ 29787 h 55504"/>
                  <a:gd name="connsiteX11" fmla="*/ 16153 w 76199"/>
                  <a:gd name="connsiteY11" fmla="*/ 25977 h 55504"/>
                  <a:gd name="connsiteX12" fmla="*/ 10438 w 76199"/>
                  <a:gd name="connsiteY12" fmla="*/ 23120 h 55504"/>
                  <a:gd name="connsiteX13" fmla="*/ 6628 w 76199"/>
                  <a:gd name="connsiteY13" fmla="*/ 16452 h 55504"/>
                  <a:gd name="connsiteX14" fmla="*/ 18058 w 76199"/>
                  <a:gd name="connsiteY14" fmla="*/ 14547 h 55504"/>
                  <a:gd name="connsiteX15" fmla="*/ 23773 w 76199"/>
                  <a:gd name="connsiteY15" fmla="*/ 14547 h 55504"/>
                  <a:gd name="connsiteX16" fmla="*/ 30441 w 76199"/>
                  <a:gd name="connsiteY16" fmla="*/ 5022 h 55504"/>
                  <a:gd name="connsiteX17" fmla="*/ 32346 w 76199"/>
                  <a:gd name="connsiteY17" fmla="*/ 2165 h 55504"/>
                  <a:gd name="connsiteX18" fmla="*/ 47586 w 76199"/>
                  <a:gd name="connsiteY18" fmla="*/ 260 h 55504"/>
                  <a:gd name="connsiteX19" fmla="*/ 53301 w 76199"/>
                  <a:gd name="connsiteY19" fmla="*/ 1212 h 55504"/>
                  <a:gd name="connsiteX20" fmla="*/ 60921 w 76199"/>
                  <a:gd name="connsiteY20" fmla="*/ 260 h 55504"/>
                  <a:gd name="connsiteX21" fmla="*/ 65683 w 76199"/>
                  <a:gd name="connsiteY21" fmla="*/ 1212 h 55504"/>
                  <a:gd name="connsiteX22" fmla="*/ 73303 w 76199"/>
                  <a:gd name="connsiteY22" fmla="*/ 3117 h 55504"/>
                  <a:gd name="connsiteX23" fmla="*/ 75208 w 76199"/>
                  <a:gd name="connsiteY23" fmla="*/ 17405 h 55504"/>
                  <a:gd name="connsiteX24" fmla="*/ 73303 w 76199"/>
                  <a:gd name="connsiteY24" fmla="*/ 23120 h 55504"/>
                  <a:gd name="connsiteX25" fmla="*/ 68541 w 76199"/>
                  <a:gd name="connsiteY25" fmla="*/ 27882 h 55504"/>
                  <a:gd name="connsiteX26" fmla="*/ 64730 w 76199"/>
                  <a:gd name="connsiteY26" fmla="*/ 30740 h 55504"/>
                  <a:gd name="connsiteX27" fmla="*/ 64730 w 76199"/>
                  <a:gd name="connsiteY27" fmla="*/ 40265 h 55504"/>
                  <a:gd name="connsiteX28" fmla="*/ 58063 w 76199"/>
                  <a:gd name="connsiteY28" fmla="*/ 44075 h 55504"/>
                  <a:gd name="connsiteX29" fmla="*/ 43776 w 76199"/>
                  <a:gd name="connsiteY29" fmla="*/ 48837 h 5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199" h="55504">
                    <a:moveTo>
                      <a:pt x="43776" y="48837"/>
                    </a:moveTo>
                    <a:lnTo>
                      <a:pt x="39013" y="49790"/>
                    </a:lnTo>
                    <a:lnTo>
                      <a:pt x="32346" y="53600"/>
                    </a:lnTo>
                    <a:lnTo>
                      <a:pt x="25678" y="55505"/>
                    </a:lnTo>
                    <a:lnTo>
                      <a:pt x="17105" y="55505"/>
                    </a:lnTo>
                    <a:lnTo>
                      <a:pt x="10438" y="55505"/>
                    </a:lnTo>
                    <a:cubicBezTo>
                      <a:pt x="2818" y="54552"/>
                      <a:pt x="2818" y="54552"/>
                      <a:pt x="2818" y="54552"/>
                    </a:cubicBezTo>
                    <a:cubicBezTo>
                      <a:pt x="2818" y="54552"/>
                      <a:pt x="-1945" y="41217"/>
                      <a:pt x="913" y="40265"/>
                    </a:cubicBezTo>
                    <a:cubicBezTo>
                      <a:pt x="3771" y="39312"/>
                      <a:pt x="-3849" y="41217"/>
                      <a:pt x="3771" y="39312"/>
                    </a:cubicBezTo>
                    <a:cubicBezTo>
                      <a:pt x="11391" y="37407"/>
                      <a:pt x="11391" y="37407"/>
                      <a:pt x="11391" y="37407"/>
                    </a:cubicBezTo>
                    <a:lnTo>
                      <a:pt x="16153" y="29787"/>
                    </a:lnTo>
                    <a:lnTo>
                      <a:pt x="16153" y="25977"/>
                    </a:lnTo>
                    <a:lnTo>
                      <a:pt x="10438" y="23120"/>
                    </a:lnTo>
                    <a:cubicBezTo>
                      <a:pt x="10438" y="23120"/>
                      <a:pt x="-4802" y="18357"/>
                      <a:pt x="6628" y="16452"/>
                    </a:cubicBezTo>
                    <a:cubicBezTo>
                      <a:pt x="18058" y="14547"/>
                      <a:pt x="12343" y="14547"/>
                      <a:pt x="18058" y="14547"/>
                    </a:cubicBezTo>
                    <a:cubicBezTo>
                      <a:pt x="23773" y="14547"/>
                      <a:pt x="18058" y="17405"/>
                      <a:pt x="23773" y="14547"/>
                    </a:cubicBezTo>
                    <a:cubicBezTo>
                      <a:pt x="29488" y="11690"/>
                      <a:pt x="30441" y="5022"/>
                      <a:pt x="30441" y="5022"/>
                    </a:cubicBezTo>
                    <a:cubicBezTo>
                      <a:pt x="30441" y="5022"/>
                      <a:pt x="27583" y="3117"/>
                      <a:pt x="32346" y="2165"/>
                    </a:cubicBezTo>
                    <a:cubicBezTo>
                      <a:pt x="38061" y="1212"/>
                      <a:pt x="41871" y="-693"/>
                      <a:pt x="47586" y="260"/>
                    </a:cubicBezTo>
                    <a:cubicBezTo>
                      <a:pt x="53301" y="1212"/>
                      <a:pt x="53301" y="1212"/>
                      <a:pt x="53301" y="1212"/>
                    </a:cubicBezTo>
                    <a:cubicBezTo>
                      <a:pt x="53301" y="1212"/>
                      <a:pt x="56158" y="260"/>
                      <a:pt x="60921" y="260"/>
                    </a:cubicBezTo>
                    <a:cubicBezTo>
                      <a:pt x="65683" y="1212"/>
                      <a:pt x="58063" y="-693"/>
                      <a:pt x="65683" y="1212"/>
                    </a:cubicBezTo>
                    <a:cubicBezTo>
                      <a:pt x="73303" y="3117"/>
                      <a:pt x="70446" y="-3550"/>
                      <a:pt x="73303" y="3117"/>
                    </a:cubicBezTo>
                    <a:cubicBezTo>
                      <a:pt x="76161" y="9785"/>
                      <a:pt x="77113" y="11690"/>
                      <a:pt x="75208" y="17405"/>
                    </a:cubicBezTo>
                    <a:cubicBezTo>
                      <a:pt x="73303" y="23120"/>
                      <a:pt x="77113" y="18357"/>
                      <a:pt x="73303" y="23120"/>
                    </a:cubicBezTo>
                    <a:cubicBezTo>
                      <a:pt x="68541" y="27882"/>
                      <a:pt x="72351" y="25025"/>
                      <a:pt x="68541" y="27882"/>
                    </a:cubicBezTo>
                    <a:cubicBezTo>
                      <a:pt x="64730" y="30740"/>
                      <a:pt x="65683" y="21215"/>
                      <a:pt x="64730" y="30740"/>
                    </a:cubicBezTo>
                    <a:cubicBezTo>
                      <a:pt x="64730" y="40265"/>
                      <a:pt x="65683" y="37407"/>
                      <a:pt x="64730" y="40265"/>
                    </a:cubicBezTo>
                    <a:cubicBezTo>
                      <a:pt x="63778" y="43122"/>
                      <a:pt x="58063" y="44075"/>
                      <a:pt x="58063" y="44075"/>
                    </a:cubicBezTo>
                    <a:lnTo>
                      <a:pt x="43776" y="48837"/>
                    </a:lnTo>
                    <a:close/>
                  </a:path>
                </a:pathLst>
              </a:custGeom>
              <a:grpFill/>
              <a:ln w="9525" cap="flat">
                <a:noFill/>
                <a:prstDash val="solid"/>
                <a:miter/>
              </a:ln>
            </p:spPr>
            <p:txBody>
              <a:bodyPr rtlCol="0" anchor="ctr"/>
              <a:lstStyle/>
              <a:p>
                <a:endParaRPr lang="en-US" sz="1765"/>
              </a:p>
            </p:txBody>
          </p:sp>
          <p:sp>
            <p:nvSpPr>
              <p:cNvPr id="199" name="Freeform: Shape 198">
                <a:extLst>
                  <a:ext uri="{FF2B5EF4-FFF2-40B4-BE49-F238E27FC236}">
                    <a16:creationId xmlns:a16="http://schemas.microsoft.com/office/drawing/2014/main" id="{1430523E-4362-44DC-A3D5-DF4DF3BF818B}"/>
                  </a:ext>
                </a:extLst>
              </p:cNvPr>
              <p:cNvSpPr/>
              <p:nvPr/>
            </p:nvSpPr>
            <p:spPr>
              <a:xfrm>
                <a:off x="8121996" y="3315381"/>
                <a:ext cx="139254" cy="131445"/>
              </a:xfrm>
              <a:custGeom>
                <a:avLst/>
                <a:gdLst>
                  <a:gd name="connsiteX0" fmla="*/ 51435 w 139254"/>
                  <a:gd name="connsiteY0" fmla="*/ 81915 h 131445"/>
                  <a:gd name="connsiteX1" fmla="*/ 52388 w 139254"/>
                  <a:gd name="connsiteY1" fmla="*/ 72390 h 131445"/>
                  <a:gd name="connsiteX2" fmla="*/ 52388 w 139254"/>
                  <a:gd name="connsiteY2" fmla="*/ 68580 h 131445"/>
                  <a:gd name="connsiteX3" fmla="*/ 47625 w 139254"/>
                  <a:gd name="connsiteY3" fmla="*/ 63818 h 131445"/>
                  <a:gd name="connsiteX4" fmla="*/ 41910 w 139254"/>
                  <a:gd name="connsiteY4" fmla="*/ 60008 h 131445"/>
                  <a:gd name="connsiteX5" fmla="*/ 35243 w 139254"/>
                  <a:gd name="connsiteY5" fmla="*/ 56198 h 131445"/>
                  <a:gd name="connsiteX6" fmla="*/ 34290 w 139254"/>
                  <a:gd name="connsiteY6" fmla="*/ 52388 h 131445"/>
                  <a:gd name="connsiteX7" fmla="*/ 21908 w 139254"/>
                  <a:gd name="connsiteY7" fmla="*/ 46673 h 131445"/>
                  <a:gd name="connsiteX8" fmla="*/ 17145 w 139254"/>
                  <a:gd name="connsiteY8" fmla="*/ 33338 h 131445"/>
                  <a:gd name="connsiteX9" fmla="*/ 17145 w 139254"/>
                  <a:gd name="connsiteY9" fmla="*/ 25718 h 131445"/>
                  <a:gd name="connsiteX10" fmla="*/ 16193 w 139254"/>
                  <a:gd name="connsiteY10" fmla="*/ 22860 h 131445"/>
                  <a:gd name="connsiteX11" fmla="*/ 10478 w 139254"/>
                  <a:gd name="connsiteY11" fmla="*/ 19050 h 131445"/>
                  <a:gd name="connsiteX12" fmla="*/ 0 w 139254"/>
                  <a:gd name="connsiteY12" fmla="*/ 12383 h 131445"/>
                  <a:gd name="connsiteX13" fmla="*/ 0 w 139254"/>
                  <a:gd name="connsiteY13" fmla="*/ 9525 h 131445"/>
                  <a:gd name="connsiteX14" fmla="*/ 1905 w 139254"/>
                  <a:gd name="connsiteY14" fmla="*/ 6668 h 131445"/>
                  <a:gd name="connsiteX15" fmla="*/ 15240 w 139254"/>
                  <a:gd name="connsiteY15" fmla="*/ 6668 h 131445"/>
                  <a:gd name="connsiteX16" fmla="*/ 18098 w 139254"/>
                  <a:gd name="connsiteY16" fmla="*/ 6668 h 131445"/>
                  <a:gd name="connsiteX17" fmla="*/ 25718 w 139254"/>
                  <a:gd name="connsiteY17" fmla="*/ 1905 h 131445"/>
                  <a:gd name="connsiteX18" fmla="*/ 40958 w 139254"/>
                  <a:gd name="connsiteY18" fmla="*/ 0 h 131445"/>
                  <a:gd name="connsiteX19" fmla="*/ 46673 w 139254"/>
                  <a:gd name="connsiteY19" fmla="*/ 0 h 131445"/>
                  <a:gd name="connsiteX20" fmla="*/ 51435 w 139254"/>
                  <a:gd name="connsiteY20" fmla="*/ 4763 h 131445"/>
                  <a:gd name="connsiteX21" fmla="*/ 62865 w 139254"/>
                  <a:gd name="connsiteY21" fmla="*/ 4763 h 131445"/>
                  <a:gd name="connsiteX22" fmla="*/ 65723 w 139254"/>
                  <a:gd name="connsiteY22" fmla="*/ 9525 h 131445"/>
                  <a:gd name="connsiteX23" fmla="*/ 65723 w 139254"/>
                  <a:gd name="connsiteY23" fmla="*/ 13335 h 131445"/>
                  <a:gd name="connsiteX24" fmla="*/ 72390 w 139254"/>
                  <a:gd name="connsiteY24" fmla="*/ 18098 h 131445"/>
                  <a:gd name="connsiteX25" fmla="*/ 78105 w 139254"/>
                  <a:gd name="connsiteY25" fmla="*/ 20003 h 131445"/>
                  <a:gd name="connsiteX26" fmla="*/ 84773 w 139254"/>
                  <a:gd name="connsiteY26" fmla="*/ 24765 h 131445"/>
                  <a:gd name="connsiteX27" fmla="*/ 73343 w 139254"/>
                  <a:gd name="connsiteY27" fmla="*/ 34290 h 131445"/>
                  <a:gd name="connsiteX28" fmla="*/ 61913 w 139254"/>
                  <a:gd name="connsiteY28" fmla="*/ 35243 h 131445"/>
                  <a:gd name="connsiteX29" fmla="*/ 62865 w 139254"/>
                  <a:gd name="connsiteY29" fmla="*/ 39053 h 131445"/>
                  <a:gd name="connsiteX30" fmla="*/ 76200 w 139254"/>
                  <a:gd name="connsiteY30" fmla="*/ 43815 h 131445"/>
                  <a:gd name="connsiteX31" fmla="*/ 86678 w 139254"/>
                  <a:gd name="connsiteY31" fmla="*/ 54293 h 131445"/>
                  <a:gd name="connsiteX32" fmla="*/ 92393 w 139254"/>
                  <a:gd name="connsiteY32" fmla="*/ 58103 h 131445"/>
                  <a:gd name="connsiteX33" fmla="*/ 101918 w 139254"/>
                  <a:gd name="connsiteY33" fmla="*/ 63818 h 131445"/>
                  <a:gd name="connsiteX34" fmla="*/ 104775 w 139254"/>
                  <a:gd name="connsiteY34" fmla="*/ 71438 h 131445"/>
                  <a:gd name="connsiteX35" fmla="*/ 113348 w 139254"/>
                  <a:gd name="connsiteY35" fmla="*/ 79058 h 131445"/>
                  <a:gd name="connsiteX36" fmla="*/ 135255 w 139254"/>
                  <a:gd name="connsiteY36" fmla="*/ 85725 h 131445"/>
                  <a:gd name="connsiteX37" fmla="*/ 136208 w 139254"/>
                  <a:gd name="connsiteY37" fmla="*/ 88583 h 131445"/>
                  <a:gd name="connsiteX38" fmla="*/ 138113 w 139254"/>
                  <a:gd name="connsiteY38" fmla="*/ 95250 h 131445"/>
                  <a:gd name="connsiteX39" fmla="*/ 139065 w 139254"/>
                  <a:gd name="connsiteY39" fmla="*/ 103823 h 131445"/>
                  <a:gd name="connsiteX40" fmla="*/ 135255 w 139254"/>
                  <a:gd name="connsiteY40" fmla="*/ 111443 h 131445"/>
                  <a:gd name="connsiteX41" fmla="*/ 128588 w 139254"/>
                  <a:gd name="connsiteY41" fmla="*/ 115252 h 131445"/>
                  <a:gd name="connsiteX42" fmla="*/ 121920 w 139254"/>
                  <a:gd name="connsiteY42" fmla="*/ 118110 h 131445"/>
                  <a:gd name="connsiteX43" fmla="*/ 86678 w 139254"/>
                  <a:gd name="connsiteY43" fmla="*/ 121920 h 131445"/>
                  <a:gd name="connsiteX44" fmla="*/ 65723 w 139254"/>
                  <a:gd name="connsiteY44" fmla="*/ 121920 h 131445"/>
                  <a:gd name="connsiteX45" fmla="*/ 60960 w 139254"/>
                  <a:gd name="connsiteY45" fmla="*/ 122873 h 131445"/>
                  <a:gd name="connsiteX46" fmla="*/ 52388 w 139254"/>
                  <a:gd name="connsiteY46" fmla="*/ 125730 h 131445"/>
                  <a:gd name="connsiteX47" fmla="*/ 43815 w 139254"/>
                  <a:gd name="connsiteY47" fmla="*/ 129540 h 131445"/>
                  <a:gd name="connsiteX48" fmla="*/ 29528 w 139254"/>
                  <a:gd name="connsiteY48" fmla="*/ 130493 h 131445"/>
                  <a:gd name="connsiteX49" fmla="*/ 25718 w 139254"/>
                  <a:gd name="connsiteY49" fmla="*/ 131445 h 131445"/>
                  <a:gd name="connsiteX50" fmla="*/ 20003 w 139254"/>
                  <a:gd name="connsiteY50" fmla="*/ 128588 h 131445"/>
                  <a:gd name="connsiteX51" fmla="*/ 20955 w 139254"/>
                  <a:gd name="connsiteY51" fmla="*/ 121920 h 131445"/>
                  <a:gd name="connsiteX52" fmla="*/ 23813 w 139254"/>
                  <a:gd name="connsiteY52" fmla="*/ 121920 h 131445"/>
                  <a:gd name="connsiteX53" fmla="*/ 31433 w 139254"/>
                  <a:gd name="connsiteY53" fmla="*/ 120015 h 131445"/>
                  <a:gd name="connsiteX54" fmla="*/ 37148 w 139254"/>
                  <a:gd name="connsiteY54" fmla="*/ 116205 h 131445"/>
                  <a:gd name="connsiteX55" fmla="*/ 37148 w 139254"/>
                  <a:gd name="connsiteY55" fmla="*/ 112395 h 131445"/>
                  <a:gd name="connsiteX56" fmla="*/ 32385 w 139254"/>
                  <a:gd name="connsiteY56" fmla="*/ 110490 h 131445"/>
                  <a:gd name="connsiteX57" fmla="*/ 27623 w 139254"/>
                  <a:gd name="connsiteY57" fmla="*/ 105727 h 131445"/>
                  <a:gd name="connsiteX58" fmla="*/ 26670 w 139254"/>
                  <a:gd name="connsiteY58" fmla="*/ 101918 h 131445"/>
                  <a:gd name="connsiteX59" fmla="*/ 31433 w 139254"/>
                  <a:gd name="connsiteY59" fmla="*/ 97155 h 131445"/>
                  <a:gd name="connsiteX60" fmla="*/ 35243 w 139254"/>
                  <a:gd name="connsiteY60" fmla="*/ 90488 h 131445"/>
                  <a:gd name="connsiteX61" fmla="*/ 35243 w 139254"/>
                  <a:gd name="connsiteY61" fmla="*/ 88583 h 131445"/>
                  <a:gd name="connsiteX62" fmla="*/ 35243 w 139254"/>
                  <a:gd name="connsiteY62" fmla="*/ 84773 h 131445"/>
                  <a:gd name="connsiteX63" fmla="*/ 51435 w 139254"/>
                  <a:gd name="connsiteY63" fmla="*/ 8191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9254" h="131445">
                    <a:moveTo>
                      <a:pt x="51435" y="81915"/>
                    </a:moveTo>
                    <a:lnTo>
                      <a:pt x="52388" y="72390"/>
                    </a:lnTo>
                    <a:lnTo>
                      <a:pt x="52388" y="68580"/>
                    </a:lnTo>
                    <a:lnTo>
                      <a:pt x="47625" y="63818"/>
                    </a:lnTo>
                    <a:lnTo>
                      <a:pt x="41910" y="60008"/>
                    </a:lnTo>
                    <a:lnTo>
                      <a:pt x="35243" y="56198"/>
                    </a:lnTo>
                    <a:lnTo>
                      <a:pt x="34290" y="52388"/>
                    </a:lnTo>
                    <a:cubicBezTo>
                      <a:pt x="34290" y="52388"/>
                      <a:pt x="25718" y="53340"/>
                      <a:pt x="21908" y="46673"/>
                    </a:cubicBezTo>
                    <a:cubicBezTo>
                      <a:pt x="19050" y="40005"/>
                      <a:pt x="17145" y="33338"/>
                      <a:pt x="17145" y="33338"/>
                    </a:cubicBezTo>
                    <a:lnTo>
                      <a:pt x="17145" y="25718"/>
                    </a:lnTo>
                    <a:lnTo>
                      <a:pt x="16193" y="22860"/>
                    </a:lnTo>
                    <a:lnTo>
                      <a:pt x="10478" y="19050"/>
                    </a:lnTo>
                    <a:lnTo>
                      <a:pt x="0" y="12383"/>
                    </a:lnTo>
                    <a:lnTo>
                      <a:pt x="0" y="9525"/>
                    </a:lnTo>
                    <a:lnTo>
                      <a:pt x="1905" y="6668"/>
                    </a:lnTo>
                    <a:cubicBezTo>
                      <a:pt x="7620" y="6668"/>
                      <a:pt x="11430" y="6668"/>
                      <a:pt x="15240" y="6668"/>
                    </a:cubicBezTo>
                    <a:cubicBezTo>
                      <a:pt x="18098" y="6668"/>
                      <a:pt x="14288" y="8573"/>
                      <a:pt x="18098" y="6668"/>
                    </a:cubicBezTo>
                    <a:cubicBezTo>
                      <a:pt x="22860" y="4763"/>
                      <a:pt x="22860" y="2858"/>
                      <a:pt x="25718" y="1905"/>
                    </a:cubicBezTo>
                    <a:cubicBezTo>
                      <a:pt x="28575" y="953"/>
                      <a:pt x="40958" y="0"/>
                      <a:pt x="40958" y="0"/>
                    </a:cubicBezTo>
                    <a:lnTo>
                      <a:pt x="46673" y="0"/>
                    </a:lnTo>
                    <a:cubicBezTo>
                      <a:pt x="46673" y="0"/>
                      <a:pt x="46673" y="3810"/>
                      <a:pt x="51435" y="4763"/>
                    </a:cubicBezTo>
                    <a:cubicBezTo>
                      <a:pt x="56198" y="5715"/>
                      <a:pt x="60960" y="2858"/>
                      <a:pt x="62865" y="4763"/>
                    </a:cubicBezTo>
                    <a:cubicBezTo>
                      <a:pt x="63818" y="6668"/>
                      <a:pt x="65723" y="6668"/>
                      <a:pt x="65723" y="9525"/>
                    </a:cubicBezTo>
                    <a:cubicBezTo>
                      <a:pt x="65723" y="13335"/>
                      <a:pt x="65723" y="8573"/>
                      <a:pt x="65723" y="13335"/>
                    </a:cubicBezTo>
                    <a:cubicBezTo>
                      <a:pt x="65723" y="17145"/>
                      <a:pt x="66675" y="17145"/>
                      <a:pt x="72390" y="18098"/>
                    </a:cubicBezTo>
                    <a:cubicBezTo>
                      <a:pt x="78105" y="20003"/>
                      <a:pt x="78105" y="20003"/>
                      <a:pt x="78105" y="20003"/>
                    </a:cubicBezTo>
                    <a:cubicBezTo>
                      <a:pt x="78105" y="20003"/>
                      <a:pt x="84773" y="21908"/>
                      <a:pt x="84773" y="24765"/>
                    </a:cubicBezTo>
                    <a:cubicBezTo>
                      <a:pt x="84773" y="26670"/>
                      <a:pt x="73343" y="34290"/>
                      <a:pt x="73343" y="34290"/>
                    </a:cubicBezTo>
                    <a:lnTo>
                      <a:pt x="61913" y="35243"/>
                    </a:lnTo>
                    <a:cubicBezTo>
                      <a:pt x="61913" y="35243"/>
                      <a:pt x="60960" y="36195"/>
                      <a:pt x="62865" y="39053"/>
                    </a:cubicBezTo>
                    <a:cubicBezTo>
                      <a:pt x="64770" y="41910"/>
                      <a:pt x="76200" y="43815"/>
                      <a:pt x="76200" y="43815"/>
                    </a:cubicBezTo>
                    <a:cubicBezTo>
                      <a:pt x="80963" y="48578"/>
                      <a:pt x="85725" y="51435"/>
                      <a:pt x="86678" y="54293"/>
                    </a:cubicBezTo>
                    <a:cubicBezTo>
                      <a:pt x="87630" y="56198"/>
                      <a:pt x="88583" y="55245"/>
                      <a:pt x="92393" y="58103"/>
                    </a:cubicBezTo>
                    <a:cubicBezTo>
                      <a:pt x="95250" y="60960"/>
                      <a:pt x="100013" y="60960"/>
                      <a:pt x="101918" y="63818"/>
                    </a:cubicBezTo>
                    <a:cubicBezTo>
                      <a:pt x="103823" y="66675"/>
                      <a:pt x="96203" y="63818"/>
                      <a:pt x="104775" y="71438"/>
                    </a:cubicBezTo>
                    <a:cubicBezTo>
                      <a:pt x="113348" y="79058"/>
                      <a:pt x="106680" y="77153"/>
                      <a:pt x="113348" y="79058"/>
                    </a:cubicBezTo>
                    <a:cubicBezTo>
                      <a:pt x="120015" y="80963"/>
                      <a:pt x="134303" y="82868"/>
                      <a:pt x="135255" y="85725"/>
                    </a:cubicBezTo>
                    <a:cubicBezTo>
                      <a:pt x="136208" y="88583"/>
                      <a:pt x="136208" y="88583"/>
                      <a:pt x="136208" y="88583"/>
                    </a:cubicBezTo>
                    <a:cubicBezTo>
                      <a:pt x="136208" y="88583"/>
                      <a:pt x="137160" y="92393"/>
                      <a:pt x="138113" y="95250"/>
                    </a:cubicBezTo>
                    <a:cubicBezTo>
                      <a:pt x="139065" y="98108"/>
                      <a:pt x="138113" y="101918"/>
                      <a:pt x="139065" y="103823"/>
                    </a:cubicBezTo>
                    <a:cubicBezTo>
                      <a:pt x="140018" y="105727"/>
                      <a:pt x="137160" y="109538"/>
                      <a:pt x="135255" y="111443"/>
                    </a:cubicBezTo>
                    <a:cubicBezTo>
                      <a:pt x="134303" y="113348"/>
                      <a:pt x="128588" y="115252"/>
                      <a:pt x="128588" y="115252"/>
                    </a:cubicBezTo>
                    <a:cubicBezTo>
                      <a:pt x="128588" y="115252"/>
                      <a:pt x="128588" y="116205"/>
                      <a:pt x="121920" y="118110"/>
                    </a:cubicBezTo>
                    <a:cubicBezTo>
                      <a:pt x="115253" y="120015"/>
                      <a:pt x="100013" y="122873"/>
                      <a:pt x="86678" y="121920"/>
                    </a:cubicBezTo>
                    <a:cubicBezTo>
                      <a:pt x="73343" y="120968"/>
                      <a:pt x="65723" y="121920"/>
                      <a:pt x="65723" y="121920"/>
                    </a:cubicBezTo>
                    <a:lnTo>
                      <a:pt x="60960" y="122873"/>
                    </a:lnTo>
                    <a:lnTo>
                      <a:pt x="52388" y="125730"/>
                    </a:lnTo>
                    <a:lnTo>
                      <a:pt x="43815" y="129540"/>
                    </a:lnTo>
                    <a:cubicBezTo>
                      <a:pt x="43815" y="129540"/>
                      <a:pt x="32385" y="128588"/>
                      <a:pt x="29528" y="130493"/>
                    </a:cubicBezTo>
                    <a:cubicBezTo>
                      <a:pt x="25718" y="131445"/>
                      <a:pt x="25718" y="131445"/>
                      <a:pt x="25718" y="131445"/>
                    </a:cubicBezTo>
                    <a:lnTo>
                      <a:pt x="20003" y="128588"/>
                    </a:lnTo>
                    <a:cubicBezTo>
                      <a:pt x="20003" y="128588"/>
                      <a:pt x="18098" y="121920"/>
                      <a:pt x="20955" y="121920"/>
                    </a:cubicBezTo>
                    <a:cubicBezTo>
                      <a:pt x="23813" y="121920"/>
                      <a:pt x="23813" y="121920"/>
                      <a:pt x="23813" y="121920"/>
                    </a:cubicBezTo>
                    <a:lnTo>
                      <a:pt x="31433" y="120015"/>
                    </a:lnTo>
                    <a:lnTo>
                      <a:pt x="37148" y="116205"/>
                    </a:lnTo>
                    <a:lnTo>
                      <a:pt x="37148" y="112395"/>
                    </a:lnTo>
                    <a:lnTo>
                      <a:pt x="32385" y="110490"/>
                    </a:lnTo>
                    <a:lnTo>
                      <a:pt x="27623" y="105727"/>
                    </a:lnTo>
                    <a:lnTo>
                      <a:pt x="26670" y="101918"/>
                    </a:lnTo>
                    <a:lnTo>
                      <a:pt x="31433" y="97155"/>
                    </a:lnTo>
                    <a:cubicBezTo>
                      <a:pt x="31433" y="97155"/>
                      <a:pt x="35243" y="93345"/>
                      <a:pt x="35243" y="90488"/>
                    </a:cubicBezTo>
                    <a:cubicBezTo>
                      <a:pt x="35243" y="88583"/>
                      <a:pt x="35243" y="91440"/>
                      <a:pt x="35243" y="88583"/>
                    </a:cubicBezTo>
                    <a:cubicBezTo>
                      <a:pt x="35243" y="84773"/>
                      <a:pt x="35243" y="84773"/>
                      <a:pt x="35243" y="84773"/>
                    </a:cubicBezTo>
                    <a:lnTo>
                      <a:pt x="51435" y="81915"/>
                    </a:lnTo>
                    <a:close/>
                  </a:path>
                </a:pathLst>
              </a:custGeom>
              <a:grpFill/>
              <a:ln w="9525" cap="flat">
                <a:noFill/>
                <a:prstDash val="solid"/>
                <a:miter/>
              </a:ln>
            </p:spPr>
            <p:txBody>
              <a:bodyPr rtlCol="0" anchor="ctr"/>
              <a:lstStyle/>
              <a:p>
                <a:endParaRPr lang="en-US" sz="1765"/>
              </a:p>
            </p:txBody>
          </p:sp>
          <p:sp>
            <p:nvSpPr>
              <p:cNvPr id="200" name="Freeform: Shape 199">
                <a:extLst>
                  <a:ext uri="{FF2B5EF4-FFF2-40B4-BE49-F238E27FC236}">
                    <a16:creationId xmlns:a16="http://schemas.microsoft.com/office/drawing/2014/main" id="{813EE300-D60A-41A3-B76A-BAFA17065737}"/>
                  </a:ext>
                </a:extLst>
              </p:cNvPr>
              <p:cNvSpPr/>
              <p:nvPr/>
            </p:nvSpPr>
            <p:spPr>
              <a:xfrm>
                <a:off x="8785412" y="3643993"/>
                <a:ext cx="34766" cy="12382"/>
              </a:xfrm>
              <a:custGeom>
                <a:avLst/>
                <a:gdLst>
                  <a:gd name="connsiteX0" fmla="*/ 25241 w 34766"/>
                  <a:gd name="connsiteY0" fmla="*/ 11430 h 12382"/>
                  <a:gd name="connsiteX1" fmla="*/ 13811 w 34766"/>
                  <a:gd name="connsiteY1" fmla="*/ 12383 h 12382"/>
                  <a:gd name="connsiteX2" fmla="*/ 7144 w 34766"/>
                  <a:gd name="connsiteY2" fmla="*/ 12383 h 12382"/>
                  <a:gd name="connsiteX3" fmla="*/ 476 w 34766"/>
                  <a:gd name="connsiteY3" fmla="*/ 9525 h 12382"/>
                  <a:gd name="connsiteX4" fmla="*/ 2381 w 34766"/>
                  <a:gd name="connsiteY4" fmla="*/ 4763 h 12382"/>
                  <a:gd name="connsiteX5" fmla="*/ 7144 w 34766"/>
                  <a:gd name="connsiteY5" fmla="*/ 5715 h 12382"/>
                  <a:gd name="connsiteX6" fmla="*/ 14764 w 34766"/>
                  <a:gd name="connsiteY6" fmla="*/ 1905 h 12382"/>
                  <a:gd name="connsiteX7" fmla="*/ 22384 w 34766"/>
                  <a:gd name="connsiteY7" fmla="*/ 952 h 12382"/>
                  <a:gd name="connsiteX8" fmla="*/ 28099 w 34766"/>
                  <a:gd name="connsiteY8" fmla="*/ 0 h 12382"/>
                  <a:gd name="connsiteX9" fmla="*/ 33814 w 34766"/>
                  <a:gd name="connsiteY9" fmla="*/ 1905 h 12382"/>
                  <a:gd name="connsiteX10" fmla="*/ 34766 w 34766"/>
                  <a:gd name="connsiteY10" fmla="*/ 6668 h 12382"/>
                  <a:gd name="connsiteX11" fmla="*/ 30004 w 34766"/>
                  <a:gd name="connsiteY11" fmla="*/ 9525 h 12382"/>
                  <a:gd name="connsiteX12" fmla="*/ 25241 w 34766"/>
                  <a:gd name="connsiteY12" fmla="*/ 11430 h 1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6" h="12382">
                    <a:moveTo>
                      <a:pt x="25241" y="11430"/>
                    </a:moveTo>
                    <a:lnTo>
                      <a:pt x="13811" y="12383"/>
                    </a:lnTo>
                    <a:lnTo>
                      <a:pt x="7144" y="12383"/>
                    </a:lnTo>
                    <a:lnTo>
                      <a:pt x="476" y="9525"/>
                    </a:lnTo>
                    <a:cubicBezTo>
                      <a:pt x="476" y="9525"/>
                      <a:pt x="-1429" y="3810"/>
                      <a:pt x="2381" y="4763"/>
                    </a:cubicBezTo>
                    <a:cubicBezTo>
                      <a:pt x="7144" y="5715"/>
                      <a:pt x="7144" y="5715"/>
                      <a:pt x="7144" y="5715"/>
                    </a:cubicBezTo>
                    <a:cubicBezTo>
                      <a:pt x="7144" y="5715"/>
                      <a:pt x="11906" y="952"/>
                      <a:pt x="14764" y="1905"/>
                    </a:cubicBezTo>
                    <a:cubicBezTo>
                      <a:pt x="17621" y="2858"/>
                      <a:pt x="22384" y="952"/>
                      <a:pt x="22384" y="952"/>
                    </a:cubicBezTo>
                    <a:lnTo>
                      <a:pt x="28099" y="0"/>
                    </a:lnTo>
                    <a:cubicBezTo>
                      <a:pt x="28099" y="0"/>
                      <a:pt x="33814" y="0"/>
                      <a:pt x="33814" y="1905"/>
                    </a:cubicBezTo>
                    <a:cubicBezTo>
                      <a:pt x="33814" y="3810"/>
                      <a:pt x="34766" y="4763"/>
                      <a:pt x="34766" y="6668"/>
                    </a:cubicBezTo>
                    <a:cubicBezTo>
                      <a:pt x="34766" y="8573"/>
                      <a:pt x="30004" y="9525"/>
                      <a:pt x="30004" y="9525"/>
                    </a:cubicBezTo>
                    <a:lnTo>
                      <a:pt x="25241" y="11430"/>
                    </a:lnTo>
                    <a:close/>
                  </a:path>
                </a:pathLst>
              </a:custGeom>
              <a:grpFill/>
              <a:ln w="9525" cap="flat">
                <a:noFill/>
                <a:prstDash val="solid"/>
                <a:miter/>
              </a:ln>
            </p:spPr>
            <p:txBody>
              <a:bodyPr rtlCol="0" anchor="ctr"/>
              <a:lstStyle/>
              <a:p>
                <a:endParaRPr lang="en-US" sz="1765"/>
              </a:p>
            </p:txBody>
          </p:sp>
          <p:sp>
            <p:nvSpPr>
              <p:cNvPr id="201" name="Freeform: Shape 200">
                <a:extLst>
                  <a:ext uri="{FF2B5EF4-FFF2-40B4-BE49-F238E27FC236}">
                    <a16:creationId xmlns:a16="http://schemas.microsoft.com/office/drawing/2014/main" id="{52D1DBF3-F58B-4BCC-8328-A4084587917E}"/>
                  </a:ext>
                </a:extLst>
              </p:cNvPr>
              <p:cNvSpPr/>
              <p:nvPr/>
            </p:nvSpPr>
            <p:spPr>
              <a:xfrm>
                <a:off x="8447641" y="2877241"/>
                <a:ext cx="251759" cy="93335"/>
              </a:xfrm>
              <a:custGeom>
                <a:avLst/>
                <a:gdLst>
                  <a:gd name="connsiteX0" fmla="*/ 176323 w 251759"/>
                  <a:gd name="connsiteY0" fmla="*/ 76190 h 93335"/>
                  <a:gd name="connsiteX1" fmla="*/ 163940 w 251759"/>
                  <a:gd name="connsiteY1" fmla="*/ 74285 h 93335"/>
                  <a:gd name="connsiteX2" fmla="*/ 156320 w 251759"/>
                  <a:gd name="connsiteY2" fmla="*/ 71428 h 93335"/>
                  <a:gd name="connsiteX3" fmla="*/ 156320 w 251759"/>
                  <a:gd name="connsiteY3" fmla="*/ 64760 h 93335"/>
                  <a:gd name="connsiteX4" fmla="*/ 156320 w 251759"/>
                  <a:gd name="connsiteY4" fmla="*/ 61903 h 93335"/>
                  <a:gd name="connsiteX5" fmla="*/ 142033 w 251759"/>
                  <a:gd name="connsiteY5" fmla="*/ 59998 h 93335"/>
                  <a:gd name="connsiteX6" fmla="*/ 132508 w 251759"/>
                  <a:gd name="connsiteY6" fmla="*/ 60950 h 93335"/>
                  <a:gd name="connsiteX7" fmla="*/ 125840 w 251759"/>
                  <a:gd name="connsiteY7" fmla="*/ 63808 h 93335"/>
                  <a:gd name="connsiteX8" fmla="*/ 121078 w 251759"/>
                  <a:gd name="connsiteY8" fmla="*/ 68570 h 93335"/>
                  <a:gd name="connsiteX9" fmla="*/ 104885 w 251759"/>
                  <a:gd name="connsiteY9" fmla="*/ 73333 h 93335"/>
                  <a:gd name="connsiteX10" fmla="*/ 95360 w 251759"/>
                  <a:gd name="connsiteY10" fmla="*/ 82858 h 93335"/>
                  <a:gd name="connsiteX11" fmla="*/ 95360 w 251759"/>
                  <a:gd name="connsiteY11" fmla="*/ 88573 h 93335"/>
                  <a:gd name="connsiteX12" fmla="*/ 86788 w 251759"/>
                  <a:gd name="connsiteY12" fmla="*/ 92383 h 93335"/>
                  <a:gd name="connsiteX13" fmla="*/ 74405 w 251759"/>
                  <a:gd name="connsiteY13" fmla="*/ 93335 h 93335"/>
                  <a:gd name="connsiteX14" fmla="*/ 62975 w 251759"/>
                  <a:gd name="connsiteY14" fmla="*/ 93335 h 93335"/>
                  <a:gd name="connsiteX15" fmla="*/ 53450 w 251759"/>
                  <a:gd name="connsiteY15" fmla="*/ 91430 h 93335"/>
                  <a:gd name="connsiteX16" fmla="*/ 52498 w 251759"/>
                  <a:gd name="connsiteY16" fmla="*/ 88573 h 93335"/>
                  <a:gd name="connsiteX17" fmla="*/ 51545 w 251759"/>
                  <a:gd name="connsiteY17" fmla="*/ 83810 h 93335"/>
                  <a:gd name="connsiteX18" fmla="*/ 49640 w 251759"/>
                  <a:gd name="connsiteY18" fmla="*/ 77143 h 93335"/>
                  <a:gd name="connsiteX19" fmla="*/ 48688 w 251759"/>
                  <a:gd name="connsiteY19" fmla="*/ 73333 h 93335"/>
                  <a:gd name="connsiteX20" fmla="*/ 49640 w 251759"/>
                  <a:gd name="connsiteY20" fmla="*/ 66665 h 93335"/>
                  <a:gd name="connsiteX21" fmla="*/ 51545 w 251759"/>
                  <a:gd name="connsiteY21" fmla="*/ 62855 h 93335"/>
                  <a:gd name="connsiteX22" fmla="*/ 54403 w 251759"/>
                  <a:gd name="connsiteY22" fmla="*/ 62855 h 93335"/>
                  <a:gd name="connsiteX23" fmla="*/ 58213 w 251759"/>
                  <a:gd name="connsiteY23" fmla="*/ 56188 h 93335"/>
                  <a:gd name="connsiteX24" fmla="*/ 58213 w 251759"/>
                  <a:gd name="connsiteY24" fmla="*/ 52378 h 93335"/>
                  <a:gd name="connsiteX25" fmla="*/ 58213 w 251759"/>
                  <a:gd name="connsiteY25" fmla="*/ 48568 h 93335"/>
                  <a:gd name="connsiteX26" fmla="*/ 44878 w 251759"/>
                  <a:gd name="connsiteY26" fmla="*/ 52378 h 93335"/>
                  <a:gd name="connsiteX27" fmla="*/ 43925 w 251759"/>
                  <a:gd name="connsiteY27" fmla="*/ 55235 h 93335"/>
                  <a:gd name="connsiteX28" fmla="*/ 19160 w 251759"/>
                  <a:gd name="connsiteY28" fmla="*/ 59045 h 93335"/>
                  <a:gd name="connsiteX29" fmla="*/ 11540 w 251759"/>
                  <a:gd name="connsiteY29" fmla="*/ 59045 h 93335"/>
                  <a:gd name="connsiteX30" fmla="*/ 2015 w 251759"/>
                  <a:gd name="connsiteY30" fmla="*/ 57140 h 93335"/>
                  <a:gd name="connsiteX31" fmla="*/ 1063 w 251759"/>
                  <a:gd name="connsiteY31" fmla="*/ 46663 h 93335"/>
                  <a:gd name="connsiteX32" fmla="*/ 5825 w 251759"/>
                  <a:gd name="connsiteY32" fmla="*/ 38090 h 93335"/>
                  <a:gd name="connsiteX33" fmla="*/ 5825 w 251759"/>
                  <a:gd name="connsiteY33" fmla="*/ 30470 h 93335"/>
                  <a:gd name="connsiteX34" fmla="*/ 4873 w 251759"/>
                  <a:gd name="connsiteY34" fmla="*/ 27613 h 93335"/>
                  <a:gd name="connsiteX35" fmla="*/ 12493 w 251759"/>
                  <a:gd name="connsiteY35" fmla="*/ 22850 h 93335"/>
                  <a:gd name="connsiteX36" fmla="*/ 26780 w 251759"/>
                  <a:gd name="connsiteY36" fmla="*/ 20945 h 93335"/>
                  <a:gd name="connsiteX37" fmla="*/ 42973 w 251759"/>
                  <a:gd name="connsiteY37" fmla="*/ 19993 h 93335"/>
                  <a:gd name="connsiteX38" fmla="*/ 64880 w 251759"/>
                  <a:gd name="connsiteY38" fmla="*/ 19040 h 93335"/>
                  <a:gd name="connsiteX39" fmla="*/ 87740 w 251759"/>
                  <a:gd name="connsiteY39" fmla="*/ 14278 h 93335"/>
                  <a:gd name="connsiteX40" fmla="*/ 115363 w 251759"/>
                  <a:gd name="connsiteY40" fmla="*/ 14278 h 93335"/>
                  <a:gd name="connsiteX41" fmla="*/ 129650 w 251759"/>
                  <a:gd name="connsiteY41" fmla="*/ 7610 h 93335"/>
                  <a:gd name="connsiteX42" fmla="*/ 138223 w 251759"/>
                  <a:gd name="connsiteY42" fmla="*/ 2848 h 93335"/>
                  <a:gd name="connsiteX43" fmla="*/ 149653 w 251759"/>
                  <a:gd name="connsiteY43" fmla="*/ 1895 h 93335"/>
                  <a:gd name="connsiteX44" fmla="*/ 165845 w 251759"/>
                  <a:gd name="connsiteY44" fmla="*/ 6658 h 93335"/>
                  <a:gd name="connsiteX45" fmla="*/ 182038 w 251759"/>
                  <a:gd name="connsiteY45" fmla="*/ 9515 h 93335"/>
                  <a:gd name="connsiteX46" fmla="*/ 203945 w 251759"/>
                  <a:gd name="connsiteY46" fmla="*/ 8563 h 93335"/>
                  <a:gd name="connsiteX47" fmla="*/ 215375 w 251759"/>
                  <a:gd name="connsiteY47" fmla="*/ 8563 h 93335"/>
                  <a:gd name="connsiteX48" fmla="*/ 241093 w 251759"/>
                  <a:gd name="connsiteY48" fmla="*/ 8563 h 93335"/>
                  <a:gd name="connsiteX49" fmla="*/ 249665 w 251759"/>
                  <a:gd name="connsiteY49" fmla="*/ 10468 h 93335"/>
                  <a:gd name="connsiteX50" fmla="*/ 251570 w 251759"/>
                  <a:gd name="connsiteY50" fmla="*/ 17135 h 93335"/>
                  <a:gd name="connsiteX51" fmla="*/ 247760 w 251759"/>
                  <a:gd name="connsiteY51" fmla="*/ 23803 h 93335"/>
                  <a:gd name="connsiteX52" fmla="*/ 239188 w 251759"/>
                  <a:gd name="connsiteY52" fmla="*/ 26660 h 93335"/>
                  <a:gd name="connsiteX53" fmla="*/ 216328 w 251759"/>
                  <a:gd name="connsiteY53" fmla="*/ 27613 h 93335"/>
                  <a:gd name="connsiteX54" fmla="*/ 203945 w 251759"/>
                  <a:gd name="connsiteY54" fmla="*/ 30470 h 93335"/>
                  <a:gd name="connsiteX55" fmla="*/ 175370 w 251759"/>
                  <a:gd name="connsiteY55" fmla="*/ 30470 h 93335"/>
                  <a:gd name="connsiteX56" fmla="*/ 162035 w 251759"/>
                  <a:gd name="connsiteY56" fmla="*/ 28565 h 93335"/>
                  <a:gd name="connsiteX57" fmla="*/ 148700 w 251759"/>
                  <a:gd name="connsiteY57" fmla="*/ 21898 h 93335"/>
                  <a:gd name="connsiteX58" fmla="*/ 134413 w 251759"/>
                  <a:gd name="connsiteY58" fmla="*/ 22850 h 93335"/>
                  <a:gd name="connsiteX59" fmla="*/ 134413 w 251759"/>
                  <a:gd name="connsiteY59" fmla="*/ 24755 h 93335"/>
                  <a:gd name="connsiteX60" fmla="*/ 134413 w 251759"/>
                  <a:gd name="connsiteY60" fmla="*/ 27613 h 93335"/>
                  <a:gd name="connsiteX61" fmla="*/ 147748 w 251759"/>
                  <a:gd name="connsiteY61" fmla="*/ 29518 h 93335"/>
                  <a:gd name="connsiteX62" fmla="*/ 157273 w 251759"/>
                  <a:gd name="connsiteY62" fmla="*/ 34280 h 93335"/>
                  <a:gd name="connsiteX63" fmla="*/ 165845 w 251759"/>
                  <a:gd name="connsiteY63" fmla="*/ 39043 h 93335"/>
                  <a:gd name="connsiteX64" fmla="*/ 179180 w 251759"/>
                  <a:gd name="connsiteY64" fmla="*/ 39995 h 93335"/>
                  <a:gd name="connsiteX65" fmla="*/ 183943 w 251759"/>
                  <a:gd name="connsiteY65" fmla="*/ 43805 h 93335"/>
                  <a:gd name="connsiteX66" fmla="*/ 187753 w 251759"/>
                  <a:gd name="connsiteY66" fmla="*/ 52378 h 93335"/>
                  <a:gd name="connsiteX67" fmla="*/ 201088 w 251759"/>
                  <a:gd name="connsiteY67" fmla="*/ 58093 h 93335"/>
                  <a:gd name="connsiteX68" fmla="*/ 220138 w 251759"/>
                  <a:gd name="connsiteY68" fmla="*/ 59998 h 93335"/>
                  <a:gd name="connsiteX69" fmla="*/ 227758 w 251759"/>
                  <a:gd name="connsiteY69" fmla="*/ 61903 h 93335"/>
                  <a:gd name="connsiteX70" fmla="*/ 229663 w 251759"/>
                  <a:gd name="connsiteY70" fmla="*/ 64760 h 93335"/>
                  <a:gd name="connsiteX71" fmla="*/ 232520 w 251759"/>
                  <a:gd name="connsiteY71" fmla="*/ 68570 h 93335"/>
                  <a:gd name="connsiteX72" fmla="*/ 222995 w 251759"/>
                  <a:gd name="connsiteY72" fmla="*/ 72380 h 93335"/>
                  <a:gd name="connsiteX73" fmla="*/ 211565 w 251759"/>
                  <a:gd name="connsiteY73" fmla="*/ 73333 h 93335"/>
                  <a:gd name="connsiteX74" fmla="*/ 202993 w 251759"/>
                  <a:gd name="connsiteY74" fmla="*/ 72380 h 93335"/>
                  <a:gd name="connsiteX75" fmla="*/ 182038 w 251759"/>
                  <a:gd name="connsiteY75" fmla="*/ 76190 h 93335"/>
                  <a:gd name="connsiteX76" fmla="*/ 176323 w 251759"/>
                  <a:gd name="connsiteY76" fmla="*/ 76190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1759" h="93335">
                    <a:moveTo>
                      <a:pt x="176323" y="76190"/>
                    </a:moveTo>
                    <a:cubicBezTo>
                      <a:pt x="176323" y="76190"/>
                      <a:pt x="167750" y="74285"/>
                      <a:pt x="163940" y="74285"/>
                    </a:cubicBezTo>
                    <a:cubicBezTo>
                      <a:pt x="161083" y="73333"/>
                      <a:pt x="156320" y="71428"/>
                      <a:pt x="156320" y="71428"/>
                    </a:cubicBezTo>
                    <a:lnTo>
                      <a:pt x="156320" y="64760"/>
                    </a:lnTo>
                    <a:lnTo>
                      <a:pt x="156320" y="61903"/>
                    </a:lnTo>
                    <a:cubicBezTo>
                      <a:pt x="148700" y="59998"/>
                      <a:pt x="145843" y="58093"/>
                      <a:pt x="142033" y="59998"/>
                    </a:cubicBezTo>
                    <a:cubicBezTo>
                      <a:pt x="139175" y="60950"/>
                      <a:pt x="132508" y="60950"/>
                      <a:pt x="132508" y="60950"/>
                    </a:cubicBezTo>
                    <a:lnTo>
                      <a:pt x="125840" y="63808"/>
                    </a:lnTo>
                    <a:cubicBezTo>
                      <a:pt x="125840" y="63808"/>
                      <a:pt x="124888" y="65713"/>
                      <a:pt x="121078" y="68570"/>
                    </a:cubicBezTo>
                    <a:cubicBezTo>
                      <a:pt x="117268" y="71428"/>
                      <a:pt x="108695" y="66665"/>
                      <a:pt x="104885" y="73333"/>
                    </a:cubicBezTo>
                    <a:cubicBezTo>
                      <a:pt x="100123" y="80000"/>
                      <a:pt x="95360" y="82858"/>
                      <a:pt x="95360" y="82858"/>
                    </a:cubicBezTo>
                    <a:lnTo>
                      <a:pt x="95360" y="88573"/>
                    </a:lnTo>
                    <a:lnTo>
                      <a:pt x="86788" y="92383"/>
                    </a:lnTo>
                    <a:lnTo>
                      <a:pt x="74405" y="93335"/>
                    </a:lnTo>
                    <a:lnTo>
                      <a:pt x="62975" y="93335"/>
                    </a:lnTo>
                    <a:lnTo>
                      <a:pt x="53450" y="91430"/>
                    </a:lnTo>
                    <a:lnTo>
                      <a:pt x="52498" y="88573"/>
                    </a:lnTo>
                    <a:lnTo>
                      <a:pt x="51545" y="83810"/>
                    </a:lnTo>
                    <a:lnTo>
                      <a:pt x="49640" y="77143"/>
                    </a:lnTo>
                    <a:lnTo>
                      <a:pt x="48688" y="73333"/>
                    </a:lnTo>
                    <a:lnTo>
                      <a:pt x="49640" y="66665"/>
                    </a:lnTo>
                    <a:cubicBezTo>
                      <a:pt x="49640" y="66665"/>
                      <a:pt x="48688" y="62855"/>
                      <a:pt x="51545" y="62855"/>
                    </a:cubicBezTo>
                    <a:cubicBezTo>
                      <a:pt x="54403" y="62855"/>
                      <a:pt x="54403" y="62855"/>
                      <a:pt x="54403" y="62855"/>
                    </a:cubicBezTo>
                    <a:lnTo>
                      <a:pt x="58213" y="56188"/>
                    </a:lnTo>
                    <a:lnTo>
                      <a:pt x="58213" y="52378"/>
                    </a:lnTo>
                    <a:lnTo>
                      <a:pt x="58213" y="48568"/>
                    </a:lnTo>
                    <a:cubicBezTo>
                      <a:pt x="50593" y="49520"/>
                      <a:pt x="45830" y="49520"/>
                      <a:pt x="44878" y="52378"/>
                    </a:cubicBezTo>
                    <a:cubicBezTo>
                      <a:pt x="43925" y="55235"/>
                      <a:pt x="43925" y="55235"/>
                      <a:pt x="43925" y="55235"/>
                    </a:cubicBezTo>
                    <a:lnTo>
                      <a:pt x="19160" y="59045"/>
                    </a:lnTo>
                    <a:cubicBezTo>
                      <a:pt x="19160" y="59045"/>
                      <a:pt x="14398" y="59045"/>
                      <a:pt x="11540" y="59045"/>
                    </a:cubicBezTo>
                    <a:cubicBezTo>
                      <a:pt x="8683" y="59045"/>
                      <a:pt x="2015" y="57140"/>
                      <a:pt x="2015" y="57140"/>
                    </a:cubicBezTo>
                    <a:cubicBezTo>
                      <a:pt x="2015" y="57140"/>
                      <a:pt x="-1795" y="49520"/>
                      <a:pt x="1063" y="46663"/>
                    </a:cubicBezTo>
                    <a:cubicBezTo>
                      <a:pt x="4873" y="43805"/>
                      <a:pt x="4873" y="39995"/>
                      <a:pt x="5825" y="38090"/>
                    </a:cubicBezTo>
                    <a:cubicBezTo>
                      <a:pt x="6778" y="36185"/>
                      <a:pt x="5825" y="30470"/>
                      <a:pt x="5825" y="30470"/>
                    </a:cubicBezTo>
                    <a:lnTo>
                      <a:pt x="4873" y="27613"/>
                    </a:lnTo>
                    <a:cubicBezTo>
                      <a:pt x="4873" y="27613"/>
                      <a:pt x="6778" y="22850"/>
                      <a:pt x="12493" y="22850"/>
                    </a:cubicBezTo>
                    <a:cubicBezTo>
                      <a:pt x="18208" y="22850"/>
                      <a:pt x="22018" y="20945"/>
                      <a:pt x="26780" y="20945"/>
                    </a:cubicBezTo>
                    <a:cubicBezTo>
                      <a:pt x="31543" y="20945"/>
                      <a:pt x="35353" y="19993"/>
                      <a:pt x="42973" y="19993"/>
                    </a:cubicBezTo>
                    <a:cubicBezTo>
                      <a:pt x="50593" y="20945"/>
                      <a:pt x="58213" y="19040"/>
                      <a:pt x="64880" y="19040"/>
                    </a:cubicBezTo>
                    <a:cubicBezTo>
                      <a:pt x="71548" y="19993"/>
                      <a:pt x="80120" y="14278"/>
                      <a:pt x="87740" y="14278"/>
                    </a:cubicBezTo>
                    <a:cubicBezTo>
                      <a:pt x="95360" y="14278"/>
                      <a:pt x="107743" y="13325"/>
                      <a:pt x="115363" y="14278"/>
                    </a:cubicBezTo>
                    <a:cubicBezTo>
                      <a:pt x="122983" y="15230"/>
                      <a:pt x="129650" y="7610"/>
                      <a:pt x="129650" y="7610"/>
                    </a:cubicBezTo>
                    <a:cubicBezTo>
                      <a:pt x="129650" y="7610"/>
                      <a:pt x="133460" y="2848"/>
                      <a:pt x="138223" y="2848"/>
                    </a:cubicBezTo>
                    <a:cubicBezTo>
                      <a:pt x="143938" y="2848"/>
                      <a:pt x="132508" y="-2867"/>
                      <a:pt x="149653" y="1895"/>
                    </a:cubicBezTo>
                    <a:cubicBezTo>
                      <a:pt x="165845" y="6658"/>
                      <a:pt x="165845" y="6658"/>
                      <a:pt x="165845" y="6658"/>
                    </a:cubicBezTo>
                    <a:cubicBezTo>
                      <a:pt x="165845" y="6658"/>
                      <a:pt x="176323" y="9515"/>
                      <a:pt x="182038" y="9515"/>
                    </a:cubicBezTo>
                    <a:cubicBezTo>
                      <a:pt x="187753" y="9515"/>
                      <a:pt x="203945" y="8563"/>
                      <a:pt x="203945" y="8563"/>
                    </a:cubicBezTo>
                    <a:cubicBezTo>
                      <a:pt x="203945" y="8563"/>
                      <a:pt x="209660" y="7610"/>
                      <a:pt x="215375" y="8563"/>
                    </a:cubicBezTo>
                    <a:cubicBezTo>
                      <a:pt x="221090" y="9515"/>
                      <a:pt x="236330" y="7610"/>
                      <a:pt x="241093" y="8563"/>
                    </a:cubicBezTo>
                    <a:cubicBezTo>
                      <a:pt x="245855" y="9515"/>
                      <a:pt x="249665" y="10468"/>
                      <a:pt x="249665" y="10468"/>
                    </a:cubicBezTo>
                    <a:cubicBezTo>
                      <a:pt x="249665" y="10468"/>
                      <a:pt x="250618" y="14278"/>
                      <a:pt x="251570" y="17135"/>
                    </a:cubicBezTo>
                    <a:cubicBezTo>
                      <a:pt x="252523" y="20945"/>
                      <a:pt x="249665" y="21898"/>
                      <a:pt x="247760" y="23803"/>
                    </a:cubicBezTo>
                    <a:cubicBezTo>
                      <a:pt x="246808" y="25708"/>
                      <a:pt x="239188" y="26660"/>
                      <a:pt x="239188" y="26660"/>
                    </a:cubicBezTo>
                    <a:lnTo>
                      <a:pt x="216328" y="27613"/>
                    </a:lnTo>
                    <a:lnTo>
                      <a:pt x="203945" y="30470"/>
                    </a:lnTo>
                    <a:lnTo>
                      <a:pt x="175370" y="30470"/>
                    </a:lnTo>
                    <a:lnTo>
                      <a:pt x="162035" y="28565"/>
                    </a:lnTo>
                    <a:lnTo>
                      <a:pt x="148700" y="21898"/>
                    </a:lnTo>
                    <a:cubicBezTo>
                      <a:pt x="148700" y="21898"/>
                      <a:pt x="134413" y="19993"/>
                      <a:pt x="134413" y="22850"/>
                    </a:cubicBezTo>
                    <a:cubicBezTo>
                      <a:pt x="134413" y="24755"/>
                      <a:pt x="134413" y="24755"/>
                      <a:pt x="134413" y="24755"/>
                    </a:cubicBezTo>
                    <a:cubicBezTo>
                      <a:pt x="134413" y="24755"/>
                      <a:pt x="129650" y="25708"/>
                      <a:pt x="134413" y="27613"/>
                    </a:cubicBezTo>
                    <a:cubicBezTo>
                      <a:pt x="139175" y="29518"/>
                      <a:pt x="143938" y="27613"/>
                      <a:pt x="147748" y="29518"/>
                    </a:cubicBezTo>
                    <a:cubicBezTo>
                      <a:pt x="150605" y="31423"/>
                      <a:pt x="153463" y="31423"/>
                      <a:pt x="157273" y="34280"/>
                    </a:cubicBezTo>
                    <a:cubicBezTo>
                      <a:pt x="162035" y="36185"/>
                      <a:pt x="159178" y="38090"/>
                      <a:pt x="165845" y="39043"/>
                    </a:cubicBezTo>
                    <a:cubicBezTo>
                      <a:pt x="172513" y="39995"/>
                      <a:pt x="174418" y="35233"/>
                      <a:pt x="179180" y="39995"/>
                    </a:cubicBezTo>
                    <a:cubicBezTo>
                      <a:pt x="183943" y="43805"/>
                      <a:pt x="182990" y="39043"/>
                      <a:pt x="183943" y="43805"/>
                    </a:cubicBezTo>
                    <a:cubicBezTo>
                      <a:pt x="184895" y="49520"/>
                      <a:pt x="184895" y="50473"/>
                      <a:pt x="187753" y="52378"/>
                    </a:cubicBezTo>
                    <a:cubicBezTo>
                      <a:pt x="190610" y="54283"/>
                      <a:pt x="201088" y="58093"/>
                      <a:pt x="201088" y="58093"/>
                    </a:cubicBezTo>
                    <a:lnTo>
                      <a:pt x="220138" y="59998"/>
                    </a:lnTo>
                    <a:cubicBezTo>
                      <a:pt x="220138" y="59998"/>
                      <a:pt x="225853" y="59045"/>
                      <a:pt x="227758" y="61903"/>
                    </a:cubicBezTo>
                    <a:cubicBezTo>
                      <a:pt x="229663" y="64760"/>
                      <a:pt x="226805" y="60950"/>
                      <a:pt x="229663" y="64760"/>
                    </a:cubicBezTo>
                    <a:cubicBezTo>
                      <a:pt x="232520" y="68570"/>
                      <a:pt x="232520" y="65713"/>
                      <a:pt x="232520" y="68570"/>
                    </a:cubicBezTo>
                    <a:cubicBezTo>
                      <a:pt x="232520" y="71428"/>
                      <a:pt x="226805" y="71428"/>
                      <a:pt x="222995" y="72380"/>
                    </a:cubicBezTo>
                    <a:cubicBezTo>
                      <a:pt x="218233" y="73333"/>
                      <a:pt x="211565" y="73333"/>
                      <a:pt x="211565" y="73333"/>
                    </a:cubicBezTo>
                    <a:lnTo>
                      <a:pt x="202993" y="72380"/>
                    </a:lnTo>
                    <a:lnTo>
                      <a:pt x="182038" y="76190"/>
                    </a:lnTo>
                    <a:lnTo>
                      <a:pt x="176323" y="76190"/>
                    </a:lnTo>
                    <a:close/>
                  </a:path>
                </a:pathLst>
              </a:custGeom>
              <a:grpFill/>
              <a:ln w="9525" cap="flat">
                <a:noFill/>
                <a:prstDash val="solid"/>
                <a:miter/>
              </a:ln>
            </p:spPr>
            <p:txBody>
              <a:bodyPr rtlCol="0" anchor="ctr"/>
              <a:lstStyle/>
              <a:p>
                <a:endParaRPr lang="en-US" sz="1765"/>
              </a:p>
            </p:txBody>
          </p:sp>
          <p:sp>
            <p:nvSpPr>
              <p:cNvPr id="202" name="Freeform: Shape 201">
                <a:extLst>
                  <a:ext uri="{FF2B5EF4-FFF2-40B4-BE49-F238E27FC236}">
                    <a16:creationId xmlns:a16="http://schemas.microsoft.com/office/drawing/2014/main" id="{7AAE21AF-84B8-4AF7-A4F5-89E0795AD8D6}"/>
                  </a:ext>
                </a:extLst>
              </p:cNvPr>
              <p:cNvSpPr/>
              <p:nvPr/>
            </p:nvSpPr>
            <p:spPr>
              <a:xfrm>
                <a:off x="9058304" y="2871622"/>
                <a:ext cx="56780" cy="22754"/>
              </a:xfrm>
              <a:custGeom>
                <a:avLst/>
                <a:gdLst>
                  <a:gd name="connsiteX0" fmla="*/ 50482 w 56780"/>
                  <a:gd name="connsiteY0" fmla="*/ 17039 h 22754"/>
                  <a:gd name="connsiteX1" fmla="*/ 45720 w 56780"/>
                  <a:gd name="connsiteY1" fmla="*/ 21802 h 22754"/>
                  <a:gd name="connsiteX2" fmla="*/ 33338 w 56780"/>
                  <a:gd name="connsiteY2" fmla="*/ 22754 h 22754"/>
                  <a:gd name="connsiteX3" fmla="*/ 24765 w 56780"/>
                  <a:gd name="connsiteY3" fmla="*/ 21802 h 22754"/>
                  <a:gd name="connsiteX4" fmla="*/ 11430 w 56780"/>
                  <a:gd name="connsiteY4" fmla="*/ 19897 h 22754"/>
                  <a:gd name="connsiteX5" fmla="*/ 5715 w 56780"/>
                  <a:gd name="connsiteY5" fmla="*/ 16087 h 22754"/>
                  <a:gd name="connsiteX6" fmla="*/ 5715 w 56780"/>
                  <a:gd name="connsiteY6" fmla="*/ 9419 h 22754"/>
                  <a:gd name="connsiteX7" fmla="*/ 0 w 56780"/>
                  <a:gd name="connsiteY7" fmla="*/ 6562 h 22754"/>
                  <a:gd name="connsiteX8" fmla="*/ 12382 w 56780"/>
                  <a:gd name="connsiteY8" fmla="*/ 2752 h 22754"/>
                  <a:gd name="connsiteX9" fmla="*/ 32385 w 56780"/>
                  <a:gd name="connsiteY9" fmla="*/ 847 h 22754"/>
                  <a:gd name="connsiteX10" fmla="*/ 55245 w 56780"/>
                  <a:gd name="connsiteY10" fmla="*/ 847 h 22754"/>
                  <a:gd name="connsiteX11" fmla="*/ 56197 w 56780"/>
                  <a:gd name="connsiteY11" fmla="*/ 5609 h 22754"/>
                  <a:gd name="connsiteX12" fmla="*/ 50482 w 56780"/>
                  <a:gd name="connsiteY12" fmla="*/ 17039 h 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80" h="22754">
                    <a:moveTo>
                      <a:pt x="50482" y="17039"/>
                    </a:moveTo>
                    <a:cubicBezTo>
                      <a:pt x="50482" y="17039"/>
                      <a:pt x="51435" y="20849"/>
                      <a:pt x="45720" y="21802"/>
                    </a:cubicBezTo>
                    <a:cubicBezTo>
                      <a:pt x="40005" y="22754"/>
                      <a:pt x="33338" y="22754"/>
                      <a:pt x="33338" y="22754"/>
                    </a:cubicBezTo>
                    <a:lnTo>
                      <a:pt x="24765" y="21802"/>
                    </a:lnTo>
                    <a:lnTo>
                      <a:pt x="11430" y="19897"/>
                    </a:lnTo>
                    <a:lnTo>
                      <a:pt x="5715" y="16087"/>
                    </a:lnTo>
                    <a:lnTo>
                      <a:pt x="5715" y="9419"/>
                    </a:lnTo>
                    <a:lnTo>
                      <a:pt x="0" y="6562"/>
                    </a:lnTo>
                    <a:cubicBezTo>
                      <a:pt x="0" y="6562"/>
                      <a:pt x="5715" y="3704"/>
                      <a:pt x="12382" y="2752"/>
                    </a:cubicBezTo>
                    <a:cubicBezTo>
                      <a:pt x="19050" y="1799"/>
                      <a:pt x="32385" y="847"/>
                      <a:pt x="32385" y="847"/>
                    </a:cubicBezTo>
                    <a:cubicBezTo>
                      <a:pt x="32385" y="847"/>
                      <a:pt x="53340" y="-1058"/>
                      <a:pt x="55245" y="847"/>
                    </a:cubicBezTo>
                    <a:cubicBezTo>
                      <a:pt x="57150" y="2752"/>
                      <a:pt x="55245" y="3704"/>
                      <a:pt x="56197" y="5609"/>
                    </a:cubicBezTo>
                    <a:cubicBezTo>
                      <a:pt x="59055" y="8467"/>
                      <a:pt x="50482" y="17039"/>
                      <a:pt x="50482" y="17039"/>
                    </a:cubicBezTo>
                    <a:close/>
                  </a:path>
                </a:pathLst>
              </a:custGeom>
              <a:grpFill/>
              <a:ln w="9525" cap="flat">
                <a:noFill/>
                <a:prstDash val="solid"/>
                <a:miter/>
              </a:ln>
            </p:spPr>
            <p:txBody>
              <a:bodyPr rtlCol="0" anchor="ctr"/>
              <a:lstStyle/>
              <a:p>
                <a:endParaRPr lang="en-US" sz="1765"/>
              </a:p>
            </p:txBody>
          </p:sp>
          <p:sp>
            <p:nvSpPr>
              <p:cNvPr id="203" name="Freeform: Shape 202">
                <a:extLst>
                  <a:ext uri="{FF2B5EF4-FFF2-40B4-BE49-F238E27FC236}">
                    <a16:creationId xmlns:a16="http://schemas.microsoft.com/office/drawing/2014/main" id="{56300A4E-E75B-46F5-8AB5-9C15BC3ABD89}"/>
                  </a:ext>
                </a:extLst>
              </p:cNvPr>
              <p:cNvSpPr/>
              <p:nvPr/>
            </p:nvSpPr>
            <p:spPr>
              <a:xfrm>
                <a:off x="9201686" y="2869293"/>
                <a:ext cx="54949" cy="34309"/>
              </a:xfrm>
              <a:custGeom>
                <a:avLst/>
                <a:gdLst>
                  <a:gd name="connsiteX0" fmla="*/ 26163 w 54949"/>
                  <a:gd name="connsiteY0" fmla="*/ 6985 h 34309"/>
                  <a:gd name="connsiteX1" fmla="*/ 9971 w 54949"/>
                  <a:gd name="connsiteY1" fmla="*/ 1270 h 34309"/>
                  <a:gd name="connsiteX2" fmla="*/ 4255 w 54949"/>
                  <a:gd name="connsiteY2" fmla="*/ 1270 h 34309"/>
                  <a:gd name="connsiteX3" fmla="*/ 446 w 54949"/>
                  <a:gd name="connsiteY3" fmla="*/ 7938 h 34309"/>
                  <a:gd name="connsiteX4" fmla="*/ 2350 w 54949"/>
                  <a:gd name="connsiteY4" fmla="*/ 10795 h 34309"/>
                  <a:gd name="connsiteX5" fmla="*/ 7113 w 54949"/>
                  <a:gd name="connsiteY5" fmla="*/ 13652 h 34309"/>
                  <a:gd name="connsiteX6" fmla="*/ 8065 w 54949"/>
                  <a:gd name="connsiteY6" fmla="*/ 20320 h 34309"/>
                  <a:gd name="connsiteX7" fmla="*/ 3303 w 54949"/>
                  <a:gd name="connsiteY7" fmla="*/ 33655 h 34309"/>
                  <a:gd name="connsiteX8" fmla="*/ 15685 w 54949"/>
                  <a:gd name="connsiteY8" fmla="*/ 32702 h 34309"/>
                  <a:gd name="connsiteX9" fmla="*/ 29973 w 54949"/>
                  <a:gd name="connsiteY9" fmla="*/ 31750 h 34309"/>
                  <a:gd name="connsiteX10" fmla="*/ 35688 w 54949"/>
                  <a:gd name="connsiteY10" fmla="*/ 29845 h 34309"/>
                  <a:gd name="connsiteX11" fmla="*/ 43308 w 54949"/>
                  <a:gd name="connsiteY11" fmla="*/ 31750 h 34309"/>
                  <a:gd name="connsiteX12" fmla="*/ 48071 w 54949"/>
                  <a:gd name="connsiteY12" fmla="*/ 31750 h 34309"/>
                  <a:gd name="connsiteX13" fmla="*/ 52833 w 54949"/>
                  <a:gd name="connsiteY13" fmla="*/ 24130 h 34309"/>
                  <a:gd name="connsiteX14" fmla="*/ 52833 w 54949"/>
                  <a:gd name="connsiteY14" fmla="*/ 16510 h 34309"/>
                  <a:gd name="connsiteX15" fmla="*/ 44260 w 54949"/>
                  <a:gd name="connsiteY15" fmla="*/ 13652 h 34309"/>
                  <a:gd name="connsiteX16" fmla="*/ 30925 w 54949"/>
                  <a:gd name="connsiteY16" fmla="*/ 14605 h 34309"/>
                  <a:gd name="connsiteX17" fmla="*/ 26163 w 54949"/>
                  <a:gd name="connsiteY17" fmla="*/ 6985 h 3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949" h="34309">
                    <a:moveTo>
                      <a:pt x="26163" y="6985"/>
                    </a:moveTo>
                    <a:lnTo>
                      <a:pt x="9971" y="1270"/>
                    </a:lnTo>
                    <a:cubicBezTo>
                      <a:pt x="9971" y="1270"/>
                      <a:pt x="5208" y="-1587"/>
                      <a:pt x="4255" y="1270"/>
                    </a:cubicBezTo>
                    <a:cubicBezTo>
                      <a:pt x="3303" y="4127"/>
                      <a:pt x="-1460" y="5080"/>
                      <a:pt x="446" y="7938"/>
                    </a:cubicBezTo>
                    <a:cubicBezTo>
                      <a:pt x="2350" y="10795"/>
                      <a:pt x="-1460" y="7938"/>
                      <a:pt x="2350" y="10795"/>
                    </a:cubicBezTo>
                    <a:cubicBezTo>
                      <a:pt x="7113" y="13652"/>
                      <a:pt x="7113" y="13652"/>
                      <a:pt x="7113" y="13652"/>
                    </a:cubicBezTo>
                    <a:cubicBezTo>
                      <a:pt x="7113" y="13652"/>
                      <a:pt x="9971" y="16510"/>
                      <a:pt x="8065" y="20320"/>
                    </a:cubicBezTo>
                    <a:cubicBezTo>
                      <a:pt x="6160" y="24130"/>
                      <a:pt x="-2412" y="32702"/>
                      <a:pt x="3303" y="33655"/>
                    </a:cubicBezTo>
                    <a:cubicBezTo>
                      <a:pt x="9018" y="35560"/>
                      <a:pt x="9018" y="32702"/>
                      <a:pt x="15685" y="32702"/>
                    </a:cubicBezTo>
                    <a:cubicBezTo>
                      <a:pt x="22353" y="33655"/>
                      <a:pt x="29973" y="31750"/>
                      <a:pt x="29973" y="31750"/>
                    </a:cubicBezTo>
                    <a:cubicBezTo>
                      <a:pt x="29973" y="31750"/>
                      <a:pt x="31878" y="27940"/>
                      <a:pt x="35688" y="29845"/>
                    </a:cubicBezTo>
                    <a:cubicBezTo>
                      <a:pt x="38546" y="31750"/>
                      <a:pt x="43308" y="31750"/>
                      <a:pt x="43308" y="31750"/>
                    </a:cubicBezTo>
                    <a:cubicBezTo>
                      <a:pt x="43308" y="31750"/>
                      <a:pt x="43308" y="34607"/>
                      <a:pt x="48071" y="31750"/>
                    </a:cubicBezTo>
                    <a:cubicBezTo>
                      <a:pt x="52833" y="28893"/>
                      <a:pt x="52833" y="24130"/>
                      <a:pt x="52833" y="24130"/>
                    </a:cubicBezTo>
                    <a:cubicBezTo>
                      <a:pt x="52833" y="24130"/>
                      <a:pt x="57596" y="18415"/>
                      <a:pt x="52833" y="16510"/>
                    </a:cubicBezTo>
                    <a:cubicBezTo>
                      <a:pt x="48071" y="14605"/>
                      <a:pt x="52833" y="13652"/>
                      <a:pt x="44260" y="13652"/>
                    </a:cubicBezTo>
                    <a:cubicBezTo>
                      <a:pt x="35688" y="13652"/>
                      <a:pt x="30925" y="14605"/>
                      <a:pt x="30925" y="14605"/>
                    </a:cubicBezTo>
                    <a:lnTo>
                      <a:pt x="26163" y="6985"/>
                    </a:lnTo>
                    <a:close/>
                  </a:path>
                </a:pathLst>
              </a:custGeom>
              <a:grpFill/>
              <a:ln w="9525" cap="flat">
                <a:noFill/>
                <a:prstDash val="solid"/>
                <a:miter/>
              </a:ln>
            </p:spPr>
            <p:txBody>
              <a:bodyPr rtlCol="0" anchor="ctr"/>
              <a:lstStyle/>
              <a:p>
                <a:endParaRPr lang="en-US" sz="1765"/>
              </a:p>
            </p:txBody>
          </p:sp>
          <p:sp>
            <p:nvSpPr>
              <p:cNvPr id="204" name="Freeform: Shape 203">
                <a:extLst>
                  <a:ext uri="{FF2B5EF4-FFF2-40B4-BE49-F238E27FC236}">
                    <a16:creationId xmlns:a16="http://schemas.microsoft.com/office/drawing/2014/main" id="{C72EFB9C-044F-4C34-8C83-C3E9FDD70D6F}"/>
                  </a:ext>
                </a:extLst>
              </p:cNvPr>
              <p:cNvSpPr/>
              <p:nvPr/>
            </p:nvSpPr>
            <p:spPr>
              <a:xfrm>
                <a:off x="9276426" y="2869611"/>
                <a:ext cx="103883" cy="23812"/>
              </a:xfrm>
              <a:custGeom>
                <a:avLst/>
                <a:gdLst>
                  <a:gd name="connsiteX0" fmla="*/ 94297 w 103883"/>
                  <a:gd name="connsiteY0" fmla="*/ 17145 h 23812"/>
                  <a:gd name="connsiteX1" fmla="*/ 82868 w 103883"/>
                  <a:gd name="connsiteY1" fmla="*/ 20955 h 23812"/>
                  <a:gd name="connsiteX2" fmla="*/ 61913 w 103883"/>
                  <a:gd name="connsiteY2" fmla="*/ 20955 h 23812"/>
                  <a:gd name="connsiteX3" fmla="*/ 53340 w 103883"/>
                  <a:gd name="connsiteY3" fmla="*/ 20955 h 23812"/>
                  <a:gd name="connsiteX4" fmla="*/ 44768 w 103883"/>
                  <a:gd name="connsiteY4" fmla="*/ 21908 h 23812"/>
                  <a:gd name="connsiteX5" fmla="*/ 32385 w 103883"/>
                  <a:gd name="connsiteY5" fmla="*/ 22860 h 23812"/>
                  <a:gd name="connsiteX6" fmla="*/ 22860 w 103883"/>
                  <a:gd name="connsiteY6" fmla="*/ 23813 h 23812"/>
                  <a:gd name="connsiteX7" fmla="*/ 10478 w 103883"/>
                  <a:gd name="connsiteY7" fmla="*/ 21908 h 23812"/>
                  <a:gd name="connsiteX8" fmla="*/ 4763 w 103883"/>
                  <a:gd name="connsiteY8" fmla="*/ 20002 h 23812"/>
                  <a:gd name="connsiteX9" fmla="*/ 0 w 103883"/>
                  <a:gd name="connsiteY9" fmla="*/ 18097 h 23812"/>
                  <a:gd name="connsiteX10" fmla="*/ 1905 w 103883"/>
                  <a:gd name="connsiteY10" fmla="*/ 13335 h 23812"/>
                  <a:gd name="connsiteX11" fmla="*/ 7620 w 103883"/>
                  <a:gd name="connsiteY11" fmla="*/ 11430 h 23812"/>
                  <a:gd name="connsiteX12" fmla="*/ 12382 w 103883"/>
                  <a:gd name="connsiteY12" fmla="*/ 6667 h 23812"/>
                  <a:gd name="connsiteX13" fmla="*/ 30480 w 103883"/>
                  <a:gd name="connsiteY13" fmla="*/ 3810 h 23812"/>
                  <a:gd name="connsiteX14" fmla="*/ 46672 w 103883"/>
                  <a:gd name="connsiteY14" fmla="*/ 2858 h 23812"/>
                  <a:gd name="connsiteX15" fmla="*/ 66675 w 103883"/>
                  <a:gd name="connsiteY15" fmla="*/ 1905 h 23812"/>
                  <a:gd name="connsiteX16" fmla="*/ 80010 w 103883"/>
                  <a:gd name="connsiteY16" fmla="*/ 952 h 23812"/>
                  <a:gd name="connsiteX17" fmla="*/ 89535 w 103883"/>
                  <a:gd name="connsiteY17" fmla="*/ 0 h 23812"/>
                  <a:gd name="connsiteX18" fmla="*/ 101918 w 103883"/>
                  <a:gd name="connsiteY18" fmla="*/ 1905 h 23812"/>
                  <a:gd name="connsiteX19" fmla="*/ 103822 w 103883"/>
                  <a:gd name="connsiteY19" fmla="*/ 8572 h 23812"/>
                  <a:gd name="connsiteX20" fmla="*/ 94297 w 103883"/>
                  <a:gd name="connsiteY20" fmla="*/ 17145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883" h="23812">
                    <a:moveTo>
                      <a:pt x="94297" y="17145"/>
                    </a:moveTo>
                    <a:cubicBezTo>
                      <a:pt x="82868" y="20955"/>
                      <a:pt x="89535" y="20002"/>
                      <a:pt x="82868" y="20955"/>
                    </a:cubicBezTo>
                    <a:cubicBezTo>
                      <a:pt x="76200" y="21908"/>
                      <a:pt x="61913" y="20955"/>
                      <a:pt x="61913" y="20955"/>
                    </a:cubicBezTo>
                    <a:lnTo>
                      <a:pt x="53340" y="20955"/>
                    </a:lnTo>
                    <a:lnTo>
                      <a:pt x="44768" y="21908"/>
                    </a:lnTo>
                    <a:lnTo>
                      <a:pt x="32385" y="22860"/>
                    </a:lnTo>
                    <a:lnTo>
                      <a:pt x="22860" y="23813"/>
                    </a:lnTo>
                    <a:lnTo>
                      <a:pt x="10478" y="21908"/>
                    </a:lnTo>
                    <a:lnTo>
                      <a:pt x="4763" y="20002"/>
                    </a:lnTo>
                    <a:lnTo>
                      <a:pt x="0" y="18097"/>
                    </a:lnTo>
                    <a:lnTo>
                      <a:pt x="1905" y="13335"/>
                    </a:lnTo>
                    <a:cubicBezTo>
                      <a:pt x="7620" y="11430"/>
                      <a:pt x="7620" y="11430"/>
                      <a:pt x="7620" y="11430"/>
                    </a:cubicBezTo>
                    <a:cubicBezTo>
                      <a:pt x="7620" y="11430"/>
                      <a:pt x="-953" y="8572"/>
                      <a:pt x="12382" y="6667"/>
                    </a:cubicBezTo>
                    <a:cubicBezTo>
                      <a:pt x="25718" y="4763"/>
                      <a:pt x="26670" y="3810"/>
                      <a:pt x="30480" y="3810"/>
                    </a:cubicBezTo>
                    <a:cubicBezTo>
                      <a:pt x="33338" y="3810"/>
                      <a:pt x="42863" y="1905"/>
                      <a:pt x="46672" y="2858"/>
                    </a:cubicBezTo>
                    <a:cubicBezTo>
                      <a:pt x="51435" y="3810"/>
                      <a:pt x="66675" y="1905"/>
                      <a:pt x="66675" y="1905"/>
                    </a:cubicBezTo>
                    <a:lnTo>
                      <a:pt x="80010" y="952"/>
                    </a:lnTo>
                    <a:cubicBezTo>
                      <a:pt x="80010" y="952"/>
                      <a:pt x="86678" y="0"/>
                      <a:pt x="89535" y="0"/>
                    </a:cubicBezTo>
                    <a:cubicBezTo>
                      <a:pt x="92393" y="0"/>
                      <a:pt x="101918" y="1905"/>
                      <a:pt x="101918" y="1905"/>
                    </a:cubicBezTo>
                    <a:cubicBezTo>
                      <a:pt x="101918" y="1905"/>
                      <a:pt x="103822" y="3810"/>
                      <a:pt x="103822" y="8572"/>
                    </a:cubicBezTo>
                    <a:cubicBezTo>
                      <a:pt x="104775" y="12383"/>
                      <a:pt x="94297" y="17145"/>
                      <a:pt x="94297" y="17145"/>
                    </a:cubicBezTo>
                    <a:close/>
                  </a:path>
                </a:pathLst>
              </a:custGeom>
              <a:grpFill/>
              <a:ln w="9525" cap="flat">
                <a:noFill/>
                <a:prstDash val="solid"/>
                <a:miter/>
              </a:ln>
            </p:spPr>
            <p:txBody>
              <a:bodyPr rtlCol="0" anchor="ctr"/>
              <a:lstStyle/>
              <a:p>
                <a:endParaRPr lang="en-US" sz="1765"/>
              </a:p>
            </p:txBody>
          </p:sp>
          <p:sp>
            <p:nvSpPr>
              <p:cNvPr id="205" name="Freeform: Shape 204">
                <a:extLst>
                  <a:ext uri="{FF2B5EF4-FFF2-40B4-BE49-F238E27FC236}">
                    <a16:creationId xmlns:a16="http://schemas.microsoft.com/office/drawing/2014/main" id="{B590F886-41C8-4949-813B-21C89DB20578}"/>
                  </a:ext>
                </a:extLst>
              </p:cNvPr>
              <p:cNvSpPr/>
              <p:nvPr/>
            </p:nvSpPr>
            <p:spPr>
              <a:xfrm>
                <a:off x="9131646" y="2973963"/>
                <a:ext cx="307657" cy="137583"/>
              </a:xfrm>
              <a:custGeom>
                <a:avLst/>
                <a:gdLst>
                  <a:gd name="connsiteX0" fmla="*/ 307658 w 307657"/>
                  <a:gd name="connsiteY0" fmla="*/ 7091 h 137583"/>
                  <a:gd name="connsiteX1" fmla="*/ 303848 w 307657"/>
                  <a:gd name="connsiteY1" fmla="*/ 12806 h 137583"/>
                  <a:gd name="connsiteX2" fmla="*/ 296228 w 307657"/>
                  <a:gd name="connsiteY2" fmla="*/ 16616 h 137583"/>
                  <a:gd name="connsiteX3" fmla="*/ 269558 w 307657"/>
                  <a:gd name="connsiteY3" fmla="*/ 18521 h 137583"/>
                  <a:gd name="connsiteX4" fmla="*/ 261938 w 307657"/>
                  <a:gd name="connsiteY4" fmla="*/ 18521 h 137583"/>
                  <a:gd name="connsiteX5" fmla="*/ 252413 w 307657"/>
                  <a:gd name="connsiteY5" fmla="*/ 19473 h 137583"/>
                  <a:gd name="connsiteX6" fmla="*/ 243840 w 307657"/>
                  <a:gd name="connsiteY6" fmla="*/ 21378 h 137583"/>
                  <a:gd name="connsiteX7" fmla="*/ 239078 w 307657"/>
                  <a:gd name="connsiteY7" fmla="*/ 25188 h 137583"/>
                  <a:gd name="connsiteX8" fmla="*/ 232410 w 307657"/>
                  <a:gd name="connsiteY8" fmla="*/ 28998 h 137583"/>
                  <a:gd name="connsiteX9" fmla="*/ 210503 w 307657"/>
                  <a:gd name="connsiteY9" fmla="*/ 29951 h 137583"/>
                  <a:gd name="connsiteX10" fmla="*/ 182880 w 307657"/>
                  <a:gd name="connsiteY10" fmla="*/ 30903 h 137583"/>
                  <a:gd name="connsiteX11" fmla="*/ 171450 w 307657"/>
                  <a:gd name="connsiteY11" fmla="*/ 34713 h 137583"/>
                  <a:gd name="connsiteX12" fmla="*/ 159068 w 307657"/>
                  <a:gd name="connsiteY12" fmla="*/ 41381 h 137583"/>
                  <a:gd name="connsiteX13" fmla="*/ 141923 w 307657"/>
                  <a:gd name="connsiteY13" fmla="*/ 55668 h 137583"/>
                  <a:gd name="connsiteX14" fmla="*/ 135255 w 307657"/>
                  <a:gd name="connsiteY14" fmla="*/ 58526 h 137583"/>
                  <a:gd name="connsiteX15" fmla="*/ 125730 w 307657"/>
                  <a:gd name="connsiteY15" fmla="*/ 62336 h 137583"/>
                  <a:gd name="connsiteX16" fmla="*/ 110490 w 307657"/>
                  <a:gd name="connsiteY16" fmla="*/ 69956 h 137583"/>
                  <a:gd name="connsiteX17" fmla="*/ 100013 w 307657"/>
                  <a:gd name="connsiteY17" fmla="*/ 74718 h 137583"/>
                  <a:gd name="connsiteX18" fmla="*/ 93345 w 307657"/>
                  <a:gd name="connsiteY18" fmla="*/ 76623 h 137583"/>
                  <a:gd name="connsiteX19" fmla="*/ 86678 w 307657"/>
                  <a:gd name="connsiteY19" fmla="*/ 78528 h 137583"/>
                  <a:gd name="connsiteX20" fmla="*/ 80010 w 307657"/>
                  <a:gd name="connsiteY20" fmla="*/ 83291 h 137583"/>
                  <a:gd name="connsiteX21" fmla="*/ 74295 w 307657"/>
                  <a:gd name="connsiteY21" fmla="*/ 87101 h 137583"/>
                  <a:gd name="connsiteX22" fmla="*/ 69533 w 307657"/>
                  <a:gd name="connsiteY22" fmla="*/ 91863 h 137583"/>
                  <a:gd name="connsiteX23" fmla="*/ 68580 w 307657"/>
                  <a:gd name="connsiteY23" fmla="*/ 104246 h 137583"/>
                  <a:gd name="connsiteX24" fmla="*/ 70485 w 307657"/>
                  <a:gd name="connsiteY24" fmla="*/ 110913 h 137583"/>
                  <a:gd name="connsiteX25" fmla="*/ 83820 w 307657"/>
                  <a:gd name="connsiteY25" fmla="*/ 118533 h 137583"/>
                  <a:gd name="connsiteX26" fmla="*/ 87630 w 307657"/>
                  <a:gd name="connsiteY26" fmla="*/ 128058 h 137583"/>
                  <a:gd name="connsiteX27" fmla="*/ 90488 w 307657"/>
                  <a:gd name="connsiteY27" fmla="*/ 129963 h 137583"/>
                  <a:gd name="connsiteX28" fmla="*/ 89535 w 307657"/>
                  <a:gd name="connsiteY28" fmla="*/ 134726 h 137583"/>
                  <a:gd name="connsiteX29" fmla="*/ 80010 w 307657"/>
                  <a:gd name="connsiteY29" fmla="*/ 136631 h 137583"/>
                  <a:gd name="connsiteX30" fmla="*/ 71438 w 307657"/>
                  <a:gd name="connsiteY30" fmla="*/ 137583 h 137583"/>
                  <a:gd name="connsiteX31" fmla="*/ 56198 w 307657"/>
                  <a:gd name="connsiteY31" fmla="*/ 135678 h 137583"/>
                  <a:gd name="connsiteX32" fmla="*/ 36195 w 307657"/>
                  <a:gd name="connsiteY32" fmla="*/ 128058 h 137583"/>
                  <a:gd name="connsiteX33" fmla="*/ 20955 w 307657"/>
                  <a:gd name="connsiteY33" fmla="*/ 125201 h 137583"/>
                  <a:gd name="connsiteX34" fmla="*/ 11430 w 307657"/>
                  <a:gd name="connsiteY34" fmla="*/ 125201 h 137583"/>
                  <a:gd name="connsiteX35" fmla="*/ 4763 w 307657"/>
                  <a:gd name="connsiteY35" fmla="*/ 123296 h 137583"/>
                  <a:gd name="connsiteX36" fmla="*/ 3810 w 307657"/>
                  <a:gd name="connsiteY36" fmla="*/ 120438 h 137583"/>
                  <a:gd name="connsiteX37" fmla="*/ 0 w 307657"/>
                  <a:gd name="connsiteY37" fmla="*/ 105198 h 137583"/>
                  <a:gd name="connsiteX38" fmla="*/ 4763 w 307657"/>
                  <a:gd name="connsiteY38" fmla="*/ 98531 h 137583"/>
                  <a:gd name="connsiteX39" fmla="*/ 11430 w 307657"/>
                  <a:gd name="connsiteY39" fmla="*/ 92816 h 137583"/>
                  <a:gd name="connsiteX40" fmla="*/ 19050 w 307657"/>
                  <a:gd name="connsiteY40" fmla="*/ 89006 h 137583"/>
                  <a:gd name="connsiteX41" fmla="*/ 23813 w 307657"/>
                  <a:gd name="connsiteY41" fmla="*/ 88053 h 137583"/>
                  <a:gd name="connsiteX42" fmla="*/ 47625 w 307657"/>
                  <a:gd name="connsiteY42" fmla="*/ 75671 h 137583"/>
                  <a:gd name="connsiteX43" fmla="*/ 60008 w 307657"/>
                  <a:gd name="connsiteY43" fmla="*/ 67098 h 137583"/>
                  <a:gd name="connsiteX44" fmla="*/ 71438 w 307657"/>
                  <a:gd name="connsiteY44" fmla="*/ 50906 h 137583"/>
                  <a:gd name="connsiteX45" fmla="*/ 80010 w 307657"/>
                  <a:gd name="connsiteY45" fmla="*/ 45191 h 137583"/>
                  <a:gd name="connsiteX46" fmla="*/ 90488 w 307657"/>
                  <a:gd name="connsiteY46" fmla="*/ 40428 h 137583"/>
                  <a:gd name="connsiteX47" fmla="*/ 98108 w 307657"/>
                  <a:gd name="connsiteY47" fmla="*/ 40428 h 137583"/>
                  <a:gd name="connsiteX48" fmla="*/ 112395 w 307657"/>
                  <a:gd name="connsiteY48" fmla="*/ 35666 h 137583"/>
                  <a:gd name="connsiteX49" fmla="*/ 121920 w 307657"/>
                  <a:gd name="connsiteY49" fmla="*/ 32808 h 137583"/>
                  <a:gd name="connsiteX50" fmla="*/ 137160 w 307657"/>
                  <a:gd name="connsiteY50" fmla="*/ 26141 h 137583"/>
                  <a:gd name="connsiteX51" fmla="*/ 148590 w 307657"/>
                  <a:gd name="connsiteY51" fmla="*/ 22331 h 137583"/>
                  <a:gd name="connsiteX52" fmla="*/ 157163 w 307657"/>
                  <a:gd name="connsiteY52" fmla="*/ 20426 h 137583"/>
                  <a:gd name="connsiteX53" fmla="*/ 171450 w 307657"/>
                  <a:gd name="connsiteY53" fmla="*/ 18521 h 137583"/>
                  <a:gd name="connsiteX54" fmla="*/ 183833 w 307657"/>
                  <a:gd name="connsiteY54" fmla="*/ 18521 h 137583"/>
                  <a:gd name="connsiteX55" fmla="*/ 208598 w 307657"/>
                  <a:gd name="connsiteY55" fmla="*/ 15663 h 137583"/>
                  <a:gd name="connsiteX56" fmla="*/ 220980 w 307657"/>
                  <a:gd name="connsiteY56" fmla="*/ 11853 h 137583"/>
                  <a:gd name="connsiteX57" fmla="*/ 234315 w 307657"/>
                  <a:gd name="connsiteY57" fmla="*/ 8043 h 137583"/>
                  <a:gd name="connsiteX58" fmla="*/ 237173 w 307657"/>
                  <a:gd name="connsiteY58" fmla="*/ 7091 h 137583"/>
                  <a:gd name="connsiteX59" fmla="*/ 241935 w 307657"/>
                  <a:gd name="connsiteY59" fmla="*/ 3281 h 137583"/>
                  <a:gd name="connsiteX60" fmla="*/ 262890 w 307657"/>
                  <a:gd name="connsiteY60" fmla="*/ 3281 h 137583"/>
                  <a:gd name="connsiteX61" fmla="*/ 268605 w 307657"/>
                  <a:gd name="connsiteY61" fmla="*/ 2328 h 137583"/>
                  <a:gd name="connsiteX62" fmla="*/ 293370 w 307657"/>
                  <a:gd name="connsiteY62" fmla="*/ 423 h 137583"/>
                  <a:gd name="connsiteX63" fmla="*/ 300990 w 307657"/>
                  <a:gd name="connsiteY63" fmla="*/ 423 h 137583"/>
                  <a:gd name="connsiteX64" fmla="*/ 307658 w 307657"/>
                  <a:gd name="connsiteY64" fmla="*/ 7091 h 13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07657" h="137583">
                    <a:moveTo>
                      <a:pt x="307658" y="7091"/>
                    </a:moveTo>
                    <a:cubicBezTo>
                      <a:pt x="307658" y="8996"/>
                      <a:pt x="303848" y="12806"/>
                      <a:pt x="303848" y="12806"/>
                    </a:cubicBezTo>
                    <a:cubicBezTo>
                      <a:pt x="303848" y="12806"/>
                      <a:pt x="302895" y="14711"/>
                      <a:pt x="296228" y="16616"/>
                    </a:cubicBezTo>
                    <a:cubicBezTo>
                      <a:pt x="289560" y="18521"/>
                      <a:pt x="269558" y="18521"/>
                      <a:pt x="269558" y="18521"/>
                    </a:cubicBezTo>
                    <a:lnTo>
                      <a:pt x="261938" y="18521"/>
                    </a:lnTo>
                    <a:lnTo>
                      <a:pt x="252413" y="19473"/>
                    </a:lnTo>
                    <a:cubicBezTo>
                      <a:pt x="252413" y="19473"/>
                      <a:pt x="247650" y="17568"/>
                      <a:pt x="243840" y="21378"/>
                    </a:cubicBezTo>
                    <a:cubicBezTo>
                      <a:pt x="239078" y="25188"/>
                      <a:pt x="239078" y="25188"/>
                      <a:pt x="239078" y="25188"/>
                    </a:cubicBezTo>
                    <a:lnTo>
                      <a:pt x="232410" y="28998"/>
                    </a:lnTo>
                    <a:cubicBezTo>
                      <a:pt x="232410" y="28998"/>
                      <a:pt x="213360" y="29951"/>
                      <a:pt x="210503" y="29951"/>
                    </a:cubicBezTo>
                    <a:cubicBezTo>
                      <a:pt x="207645" y="29951"/>
                      <a:pt x="182880" y="30903"/>
                      <a:pt x="182880" y="30903"/>
                    </a:cubicBezTo>
                    <a:lnTo>
                      <a:pt x="171450" y="34713"/>
                    </a:lnTo>
                    <a:lnTo>
                      <a:pt x="159068" y="41381"/>
                    </a:lnTo>
                    <a:cubicBezTo>
                      <a:pt x="159068" y="41381"/>
                      <a:pt x="144780" y="53763"/>
                      <a:pt x="141923" y="55668"/>
                    </a:cubicBezTo>
                    <a:cubicBezTo>
                      <a:pt x="140018" y="57573"/>
                      <a:pt x="137160" y="56621"/>
                      <a:pt x="135255" y="58526"/>
                    </a:cubicBezTo>
                    <a:cubicBezTo>
                      <a:pt x="133350" y="60431"/>
                      <a:pt x="126683" y="59478"/>
                      <a:pt x="125730" y="62336"/>
                    </a:cubicBezTo>
                    <a:cubicBezTo>
                      <a:pt x="124778" y="65193"/>
                      <a:pt x="111443" y="68051"/>
                      <a:pt x="110490" y="69956"/>
                    </a:cubicBezTo>
                    <a:cubicBezTo>
                      <a:pt x="109538" y="71861"/>
                      <a:pt x="100013" y="74718"/>
                      <a:pt x="100013" y="74718"/>
                    </a:cubicBezTo>
                    <a:lnTo>
                      <a:pt x="93345" y="76623"/>
                    </a:lnTo>
                    <a:cubicBezTo>
                      <a:pt x="93345" y="76623"/>
                      <a:pt x="88583" y="75671"/>
                      <a:pt x="86678" y="78528"/>
                    </a:cubicBezTo>
                    <a:cubicBezTo>
                      <a:pt x="84773" y="81386"/>
                      <a:pt x="85725" y="79481"/>
                      <a:pt x="80010" y="83291"/>
                    </a:cubicBezTo>
                    <a:cubicBezTo>
                      <a:pt x="74295" y="87101"/>
                      <a:pt x="79058" y="82338"/>
                      <a:pt x="74295" y="87101"/>
                    </a:cubicBezTo>
                    <a:cubicBezTo>
                      <a:pt x="69533" y="91863"/>
                      <a:pt x="73343" y="86148"/>
                      <a:pt x="69533" y="91863"/>
                    </a:cubicBezTo>
                    <a:cubicBezTo>
                      <a:pt x="65723" y="98531"/>
                      <a:pt x="65723" y="97578"/>
                      <a:pt x="68580" y="104246"/>
                    </a:cubicBezTo>
                    <a:cubicBezTo>
                      <a:pt x="70485" y="110913"/>
                      <a:pt x="70485" y="110913"/>
                      <a:pt x="70485" y="110913"/>
                    </a:cubicBezTo>
                    <a:lnTo>
                      <a:pt x="83820" y="118533"/>
                    </a:lnTo>
                    <a:cubicBezTo>
                      <a:pt x="83820" y="118533"/>
                      <a:pt x="84773" y="126153"/>
                      <a:pt x="87630" y="128058"/>
                    </a:cubicBezTo>
                    <a:cubicBezTo>
                      <a:pt x="90488" y="129963"/>
                      <a:pt x="89535" y="128058"/>
                      <a:pt x="90488" y="129963"/>
                    </a:cubicBezTo>
                    <a:cubicBezTo>
                      <a:pt x="91440" y="130916"/>
                      <a:pt x="89535" y="134726"/>
                      <a:pt x="89535" y="134726"/>
                    </a:cubicBezTo>
                    <a:lnTo>
                      <a:pt x="80010" y="136631"/>
                    </a:lnTo>
                    <a:lnTo>
                      <a:pt x="71438" y="137583"/>
                    </a:lnTo>
                    <a:lnTo>
                      <a:pt x="56198" y="135678"/>
                    </a:lnTo>
                    <a:lnTo>
                      <a:pt x="36195" y="128058"/>
                    </a:lnTo>
                    <a:cubicBezTo>
                      <a:pt x="30480" y="125201"/>
                      <a:pt x="26670" y="125201"/>
                      <a:pt x="20955" y="125201"/>
                    </a:cubicBezTo>
                    <a:cubicBezTo>
                      <a:pt x="15240" y="125201"/>
                      <a:pt x="11430" y="125201"/>
                      <a:pt x="11430" y="125201"/>
                    </a:cubicBezTo>
                    <a:lnTo>
                      <a:pt x="4763" y="123296"/>
                    </a:lnTo>
                    <a:cubicBezTo>
                      <a:pt x="4763" y="123296"/>
                      <a:pt x="6668" y="129963"/>
                      <a:pt x="3810" y="120438"/>
                    </a:cubicBezTo>
                    <a:cubicBezTo>
                      <a:pt x="953" y="110913"/>
                      <a:pt x="0" y="105198"/>
                      <a:pt x="0" y="105198"/>
                    </a:cubicBezTo>
                    <a:cubicBezTo>
                      <a:pt x="0" y="105198"/>
                      <a:pt x="953" y="98531"/>
                      <a:pt x="4763" y="98531"/>
                    </a:cubicBezTo>
                    <a:cubicBezTo>
                      <a:pt x="7620" y="98531"/>
                      <a:pt x="8573" y="92816"/>
                      <a:pt x="11430" y="92816"/>
                    </a:cubicBezTo>
                    <a:cubicBezTo>
                      <a:pt x="14288" y="92816"/>
                      <a:pt x="14288" y="90911"/>
                      <a:pt x="19050" y="89006"/>
                    </a:cubicBezTo>
                    <a:cubicBezTo>
                      <a:pt x="23813" y="88053"/>
                      <a:pt x="14288" y="89958"/>
                      <a:pt x="23813" y="88053"/>
                    </a:cubicBezTo>
                    <a:cubicBezTo>
                      <a:pt x="32385" y="85196"/>
                      <a:pt x="40958" y="78528"/>
                      <a:pt x="47625" y="75671"/>
                    </a:cubicBezTo>
                    <a:cubicBezTo>
                      <a:pt x="54293" y="72813"/>
                      <a:pt x="55245" y="69003"/>
                      <a:pt x="60008" y="67098"/>
                    </a:cubicBezTo>
                    <a:cubicBezTo>
                      <a:pt x="64770" y="65193"/>
                      <a:pt x="71438" y="50906"/>
                      <a:pt x="71438" y="50906"/>
                    </a:cubicBezTo>
                    <a:cubicBezTo>
                      <a:pt x="71438" y="50906"/>
                      <a:pt x="76200" y="47096"/>
                      <a:pt x="80010" y="45191"/>
                    </a:cubicBezTo>
                    <a:cubicBezTo>
                      <a:pt x="84773" y="43286"/>
                      <a:pt x="81915" y="40428"/>
                      <a:pt x="90488" y="40428"/>
                    </a:cubicBezTo>
                    <a:cubicBezTo>
                      <a:pt x="98108" y="40428"/>
                      <a:pt x="90488" y="43286"/>
                      <a:pt x="98108" y="40428"/>
                    </a:cubicBezTo>
                    <a:cubicBezTo>
                      <a:pt x="105728" y="37571"/>
                      <a:pt x="112395" y="35666"/>
                      <a:pt x="112395" y="35666"/>
                    </a:cubicBezTo>
                    <a:lnTo>
                      <a:pt x="121920" y="32808"/>
                    </a:lnTo>
                    <a:cubicBezTo>
                      <a:pt x="121920" y="32808"/>
                      <a:pt x="132398" y="26141"/>
                      <a:pt x="137160" y="26141"/>
                    </a:cubicBezTo>
                    <a:cubicBezTo>
                      <a:pt x="142875" y="25188"/>
                      <a:pt x="144780" y="24236"/>
                      <a:pt x="148590" y="22331"/>
                    </a:cubicBezTo>
                    <a:cubicBezTo>
                      <a:pt x="151448" y="21378"/>
                      <a:pt x="154305" y="20426"/>
                      <a:pt x="157163" y="20426"/>
                    </a:cubicBezTo>
                    <a:cubicBezTo>
                      <a:pt x="160020" y="20426"/>
                      <a:pt x="168593" y="17568"/>
                      <a:pt x="171450" y="18521"/>
                    </a:cubicBezTo>
                    <a:cubicBezTo>
                      <a:pt x="174308" y="19473"/>
                      <a:pt x="183833" y="18521"/>
                      <a:pt x="183833" y="18521"/>
                    </a:cubicBezTo>
                    <a:cubicBezTo>
                      <a:pt x="183833" y="18521"/>
                      <a:pt x="203835" y="14711"/>
                      <a:pt x="208598" y="15663"/>
                    </a:cubicBezTo>
                    <a:cubicBezTo>
                      <a:pt x="213360" y="15663"/>
                      <a:pt x="215265" y="11853"/>
                      <a:pt x="220980" y="11853"/>
                    </a:cubicBezTo>
                    <a:cubicBezTo>
                      <a:pt x="226695" y="11853"/>
                      <a:pt x="230505" y="8043"/>
                      <a:pt x="234315" y="8043"/>
                    </a:cubicBezTo>
                    <a:cubicBezTo>
                      <a:pt x="237173" y="7091"/>
                      <a:pt x="237173" y="7091"/>
                      <a:pt x="237173" y="7091"/>
                    </a:cubicBezTo>
                    <a:lnTo>
                      <a:pt x="241935" y="3281"/>
                    </a:lnTo>
                    <a:lnTo>
                      <a:pt x="262890" y="3281"/>
                    </a:lnTo>
                    <a:lnTo>
                      <a:pt x="268605" y="2328"/>
                    </a:lnTo>
                    <a:lnTo>
                      <a:pt x="293370" y="423"/>
                    </a:lnTo>
                    <a:cubicBezTo>
                      <a:pt x="293370" y="423"/>
                      <a:pt x="296228" y="-529"/>
                      <a:pt x="300990" y="423"/>
                    </a:cubicBezTo>
                    <a:cubicBezTo>
                      <a:pt x="303848" y="423"/>
                      <a:pt x="307658" y="7091"/>
                      <a:pt x="307658" y="7091"/>
                    </a:cubicBezTo>
                    <a:close/>
                  </a:path>
                </a:pathLst>
              </a:custGeom>
              <a:grpFill/>
              <a:ln w="9525" cap="flat">
                <a:noFill/>
                <a:prstDash val="solid"/>
                <a:miter/>
              </a:ln>
            </p:spPr>
            <p:txBody>
              <a:bodyPr rtlCol="0" anchor="ctr"/>
              <a:lstStyle/>
              <a:p>
                <a:endParaRPr lang="en-US" sz="1765"/>
              </a:p>
            </p:txBody>
          </p:sp>
          <p:sp>
            <p:nvSpPr>
              <p:cNvPr id="206" name="Freeform: Shape 205">
                <a:extLst>
                  <a:ext uri="{FF2B5EF4-FFF2-40B4-BE49-F238E27FC236}">
                    <a16:creationId xmlns:a16="http://schemas.microsoft.com/office/drawing/2014/main" id="{26A1FBA5-D3FB-46BE-82C9-3ABAB179CDFE}"/>
                  </a:ext>
                </a:extLst>
              </p:cNvPr>
              <p:cNvSpPr/>
              <p:nvPr/>
            </p:nvSpPr>
            <p:spPr>
              <a:xfrm>
                <a:off x="9073544" y="3125834"/>
                <a:ext cx="28769" cy="20002"/>
              </a:xfrm>
              <a:custGeom>
                <a:avLst/>
                <a:gdLst>
                  <a:gd name="connsiteX0" fmla="*/ 26670 w 28769"/>
                  <a:gd name="connsiteY0" fmla="*/ 16193 h 20002"/>
                  <a:gd name="connsiteX1" fmla="*/ 18097 w 28769"/>
                  <a:gd name="connsiteY1" fmla="*/ 17145 h 20002"/>
                  <a:gd name="connsiteX2" fmla="*/ 9525 w 28769"/>
                  <a:gd name="connsiteY2" fmla="*/ 20002 h 20002"/>
                  <a:gd name="connsiteX3" fmla="*/ 952 w 28769"/>
                  <a:gd name="connsiteY3" fmla="*/ 18097 h 20002"/>
                  <a:gd name="connsiteX4" fmla="*/ 0 w 28769"/>
                  <a:gd name="connsiteY4" fmla="*/ 12382 h 20002"/>
                  <a:gd name="connsiteX5" fmla="*/ 1905 w 28769"/>
                  <a:gd name="connsiteY5" fmla="*/ 8572 h 20002"/>
                  <a:gd name="connsiteX6" fmla="*/ 5715 w 28769"/>
                  <a:gd name="connsiteY6" fmla="*/ 5715 h 20002"/>
                  <a:gd name="connsiteX7" fmla="*/ 6667 w 28769"/>
                  <a:gd name="connsiteY7" fmla="*/ 1905 h 20002"/>
                  <a:gd name="connsiteX8" fmla="*/ 16192 w 28769"/>
                  <a:gd name="connsiteY8" fmla="*/ 0 h 20002"/>
                  <a:gd name="connsiteX9" fmla="*/ 28575 w 28769"/>
                  <a:gd name="connsiteY9" fmla="*/ 3810 h 20002"/>
                  <a:gd name="connsiteX10" fmla="*/ 26670 w 28769"/>
                  <a:gd name="connsiteY10" fmla="*/ 16193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69" h="20002">
                    <a:moveTo>
                      <a:pt x="26670" y="16193"/>
                    </a:moveTo>
                    <a:cubicBezTo>
                      <a:pt x="26670" y="16193"/>
                      <a:pt x="26670" y="15240"/>
                      <a:pt x="18097" y="17145"/>
                    </a:cubicBezTo>
                    <a:cubicBezTo>
                      <a:pt x="9525" y="20002"/>
                      <a:pt x="9525" y="20002"/>
                      <a:pt x="9525" y="20002"/>
                    </a:cubicBezTo>
                    <a:lnTo>
                      <a:pt x="952" y="18097"/>
                    </a:lnTo>
                    <a:lnTo>
                      <a:pt x="0" y="12382"/>
                    </a:lnTo>
                    <a:lnTo>
                      <a:pt x="1905" y="8572"/>
                    </a:lnTo>
                    <a:lnTo>
                      <a:pt x="5715" y="5715"/>
                    </a:lnTo>
                    <a:cubicBezTo>
                      <a:pt x="5715" y="5715"/>
                      <a:pt x="2857" y="1905"/>
                      <a:pt x="6667" y="1905"/>
                    </a:cubicBezTo>
                    <a:cubicBezTo>
                      <a:pt x="11430" y="952"/>
                      <a:pt x="16192" y="0"/>
                      <a:pt x="16192" y="0"/>
                    </a:cubicBezTo>
                    <a:lnTo>
                      <a:pt x="28575" y="3810"/>
                    </a:lnTo>
                    <a:cubicBezTo>
                      <a:pt x="29527" y="6668"/>
                      <a:pt x="26670" y="16193"/>
                      <a:pt x="26670" y="16193"/>
                    </a:cubicBezTo>
                    <a:close/>
                  </a:path>
                </a:pathLst>
              </a:custGeom>
              <a:grpFill/>
              <a:ln w="9525" cap="flat">
                <a:noFill/>
                <a:prstDash val="solid"/>
                <a:miter/>
              </a:ln>
            </p:spPr>
            <p:txBody>
              <a:bodyPr rtlCol="0" anchor="ctr"/>
              <a:lstStyle/>
              <a:p>
                <a:endParaRPr lang="en-US" sz="1765"/>
              </a:p>
            </p:txBody>
          </p:sp>
          <p:sp>
            <p:nvSpPr>
              <p:cNvPr id="207" name="Freeform: Shape 206">
                <a:extLst>
                  <a:ext uri="{FF2B5EF4-FFF2-40B4-BE49-F238E27FC236}">
                    <a16:creationId xmlns:a16="http://schemas.microsoft.com/office/drawing/2014/main" id="{6CFA2EE3-7891-423C-AA32-7EEAA79C7300}"/>
                  </a:ext>
                </a:extLst>
              </p:cNvPr>
              <p:cNvSpPr/>
              <p:nvPr/>
            </p:nvSpPr>
            <p:spPr>
              <a:xfrm>
                <a:off x="9956437" y="2920199"/>
                <a:ext cx="107142" cy="38946"/>
              </a:xfrm>
              <a:custGeom>
                <a:avLst/>
                <a:gdLst>
                  <a:gd name="connsiteX0" fmla="*/ 102944 w 107142"/>
                  <a:gd name="connsiteY0" fmla="*/ 29422 h 38946"/>
                  <a:gd name="connsiteX1" fmla="*/ 86751 w 107142"/>
                  <a:gd name="connsiteY1" fmla="*/ 32279 h 38946"/>
                  <a:gd name="connsiteX2" fmla="*/ 68654 w 107142"/>
                  <a:gd name="connsiteY2" fmla="*/ 32279 h 38946"/>
                  <a:gd name="connsiteX3" fmla="*/ 53414 w 107142"/>
                  <a:gd name="connsiteY3" fmla="*/ 33232 h 38946"/>
                  <a:gd name="connsiteX4" fmla="*/ 38174 w 107142"/>
                  <a:gd name="connsiteY4" fmla="*/ 33232 h 38946"/>
                  <a:gd name="connsiteX5" fmla="*/ 24839 w 107142"/>
                  <a:gd name="connsiteY5" fmla="*/ 36089 h 38946"/>
                  <a:gd name="connsiteX6" fmla="*/ 16267 w 107142"/>
                  <a:gd name="connsiteY6" fmla="*/ 37042 h 38946"/>
                  <a:gd name="connsiteX7" fmla="*/ 7694 w 107142"/>
                  <a:gd name="connsiteY7" fmla="*/ 38947 h 38946"/>
                  <a:gd name="connsiteX8" fmla="*/ 74 w 107142"/>
                  <a:gd name="connsiteY8" fmla="*/ 35137 h 38946"/>
                  <a:gd name="connsiteX9" fmla="*/ 5789 w 107142"/>
                  <a:gd name="connsiteY9" fmla="*/ 27517 h 38946"/>
                  <a:gd name="connsiteX10" fmla="*/ 19124 w 107142"/>
                  <a:gd name="connsiteY10" fmla="*/ 22754 h 38946"/>
                  <a:gd name="connsiteX11" fmla="*/ 22934 w 107142"/>
                  <a:gd name="connsiteY11" fmla="*/ 14182 h 38946"/>
                  <a:gd name="connsiteX12" fmla="*/ 29601 w 107142"/>
                  <a:gd name="connsiteY12" fmla="*/ 10372 h 38946"/>
                  <a:gd name="connsiteX13" fmla="*/ 35317 w 107142"/>
                  <a:gd name="connsiteY13" fmla="*/ 8467 h 38946"/>
                  <a:gd name="connsiteX14" fmla="*/ 43889 w 107142"/>
                  <a:gd name="connsiteY14" fmla="*/ 2752 h 38946"/>
                  <a:gd name="connsiteX15" fmla="*/ 66749 w 107142"/>
                  <a:gd name="connsiteY15" fmla="*/ 847 h 38946"/>
                  <a:gd name="connsiteX16" fmla="*/ 73417 w 107142"/>
                  <a:gd name="connsiteY16" fmla="*/ 847 h 38946"/>
                  <a:gd name="connsiteX17" fmla="*/ 79132 w 107142"/>
                  <a:gd name="connsiteY17" fmla="*/ 2752 h 38946"/>
                  <a:gd name="connsiteX18" fmla="*/ 83894 w 107142"/>
                  <a:gd name="connsiteY18" fmla="*/ 7514 h 38946"/>
                  <a:gd name="connsiteX19" fmla="*/ 92467 w 107142"/>
                  <a:gd name="connsiteY19" fmla="*/ 12277 h 38946"/>
                  <a:gd name="connsiteX20" fmla="*/ 100086 w 107142"/>
                  <a:gd name="connsiteY20" fmla="*/ 14182 h 38946"/>
                  <a:gd name="connsiteX21" fmla="*/ 104849 w 107142"/>
                  <a:gd name="connsiteY21" fmla="*/ 17039 h 38946"/>
                  <a:gd name="connsiteX22" fmla="*/ 106754 w 107142"/>
                  <a:gd name="connsiteY22" fmla="*/ 20849 h 38946"/>
                  <a:gd name="connsiteX23" fmla="*/ 102944 w 107142"/>
                  <a:gd name="connsiteY23" fmla="*/ 29422 h 3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142" h="38946">
                    <a:moveTo>
                      <a:pt x="102944" y="29422"/>
                    </a:moveTo>
                    <a:lnTo>
                      <a:pt x="86751" y="32279"/>
                    </a:lnTo>
                    <a:lnTo>
                      <a:pt x="68654" y="32279"/>
                    </a:lnTo>
                    <a:lnTo>
                      <a:pt x="53414" y="33232"/>
                    </a:lnTo>
                    <a:cubicBezTo>
                      <a:pt x="53414" y="33232"/>
                      <a:pt x="38174" y="31327"/>
                      <a:pt x="38174" y="33232"/>
                    </a:cubicBezTo>
                    <a:cubicBezTo>
                      <a:pt x="38174" y="35137"/>
                      <a:pt x="29601" y="34184"/>
                      <a:pt x="24839" y="36089"/>
                    </a:cubicBezTo>
                    <a:cubicBezTo>
                      <a:pt x="20076" y="37994"/>
                      <a:pt x="18171" y="35137"/>
                      <a:pt x="16267" y="37042"/>
                    </a:cubicBezTo>
                    <a:cubicBezTo>
                      <a:pt x="14361" y="38947"/>
                      <a:pt x="7694" y="38947"/>
                      <a:pt x="7694" y="38947"/>
                    </a:cubicBezTo>
                    <a:cubicBezTo>
                      <a:pt x="7694" y="38947"/>
                      <a:pt x="-879" y="37994"/>
                      <a:pt x="74" y="35137"/>
                    </a:cubicBezTo>
                    <a:cubicBezTo>
                      <a:pt x="1026" y="32279"/>
                      <a:pt x="1979" y="29422"/>
                      <a:pt x="5789" y="27517"/>
                    </a:cubicBezTo>
                    <a:cubicBezTo>
                      <a:pt x="9599" y="25612"/>
                      <a:pt x="19124" y="22754"/>
                      <a:pt x="19124" y="22754"/>
                    </a:cubicBezTo>
                    <a:lnTo>
                      <a:pt x="22934" y="14182"/>
                    </a:lnTo>
                    <a:lnTo>
                      <a:pt x="29601" y="10372"/>
                    </a:lnTo>
                    <a:lnTo>
                      <a:pt x="35317" y="8467"/>
                    </a:lnTo>
                    <a:cubicBezTo>
                      <a:pt x="35317" y="8467"/>
                      <a:pt x="34364" y="4657"/>
                      <a:pt x="43889" y="2752"/>
                    </a:cubicBezTo>
                    <a:cubicBezTo>
                      <a:pt x="53414" y="1799"/>
                      <a:pt x="66749" y="847"/>
                      <a:pt x="66749" y="847"/>
                    </a:cubicBezTo>
                    <a:cubicBezTo>
                      <a:pt x="66749" y="847"/>
                      <a:pt x="67701" y="-1058"/>
                      <a:pt x="73417" y="847"/>
                    </a:cubicBezTo>
                    <a:cubicBezTo>
                      <a:pt x="79132" y="2752"/>
                      <a:pt x="74369" y="-1058"/>
                      <a:pt x="79132" y="2752"/>
                    </a:cubicBezTo>
                    <a:cubicBezTo>
                      <a:pt x="83894" y="7514"/>
                      <a:pt x="83894" y="7514"/>
                      <a:pt x="83894" y="7514"/>
                    </a:cubicBezTo>
                    <a:lnTo>
                      <a:pt x="92467" y="12277"/>
                    </a:lnTo>
                    <a:lnTo>
                      <a:pt x="100086" y="14182"/>
                    </a:lnTo>
                    <a:lnTo>
                      <a:pt x="104849" y="17039"/>
                    </a:lnTo>
                    <a:cubicBezTo>
                      <a:pt x="104849" y="17039"/>
                      <a:pt x="103896" y="13229"/>
                      <a:pt x="106754" y="20849"/>
                    </a:cubicBezTo>
                    <a:cubicBezTo>
                      <a:pt x="108659" y="27517"/>
                      <a:pt x="102944" y="29422"/>
                      <a:pt x="102944" y="29422"/>
                    </a:cubicBezTo>
                    <a:close/>
                  </a:path>
                </a:pathLst>
              </a:custGeom>
              <a:grpFill/>
              <a:ln w="9525" cap="flat">
                <a:noFill/>
                <a:prstDash val="solid"/>
                <a:miter/>
              </a:ln>
            </p:spPr>
            <p:txBody>
              <a:bodyPr rtlCol="0" anchor="ctr"/>
              <a:lstStyle/>
              <a:p>
                <a:endParaRPr lang="en-US" sz="1765"/>
              </a:p>
            </p:txBody>
          </p:sp>
          <p:sp>
            <p:nvSpPr>
              <p:cNvPr id="208" name="Freeform: Shape 207">
                <a:extLst>
                  <a:ext uri="{FF2B5EF4-FFF2-40B4-BE49-F238E27FC236}">
                    <a16:creationId xmlns:a16="http://schemas.microsoft.com/office/drawing/2014/main" id="{27CA3436-B0B0-4725-956C-40D344FF2468}"/>
                  </a:ext>
                </a:extLst>
              </p:cNvPr>
              <p:cNvSpPr/>
              <p:nvPr/>
            </p:nvSpPr>
            <p:spPr>
              <a:xfrm>
                <a:off x="9831581" y="2868658"/>
                <a:ext cx="121119" cy="65193"/>
              </a:xfrm>
              <a:custGeom>
                <a:avLst/>
                <a:gdLst>
                  <a:gd name="connsiteX0" fmla="*/ 114452 w 121119"/>
                  <a:gd name="connsiteY0" fmla="*/ 63818 h 65193"/>
                  <a:gd name="connsiteX1" fmla="*/ 94450 w 121119"/>
                  <a:gd name="connsiteY1" fmla="*/ 64770 h 65193"/>
                  <a:gd name="connsiteX2" fmla="*/ 79210 w 121119"/>
                  <a:gd name="connsiteY2" fmla="*/ 64770 h 65193"/>
                  <a:gd name="connsiteX3" fmla="*/ 65875 w 121119"/>
                  <a:gd name="connsiteY3" fmla="*/ 64770 h 65193"/>
                  <a:gd name="connsiteX4" fmla="*/ 58255 w 121119"/>
                  <a:gd name="connsiteY4" fmla="*/ 63818 h 65193"/>
                  <a:gd name="connsiteX5" fmla="*/ 44920 w 121119"/>
                  <a:gd name="connsiteY5" fmla="*/ 63818 h 65193"/>
                  <a:gd name="connsiteX6" fmla="*/ 39205 w 121119"/>
                  <a:gd name="connsiteY6" fmla="*/ 63818 h 65193"/>
                  <a:gd name="connsiteX7" fmla="*/ 36348 w 121119"/>
                  <a:gd name="connsiteY7" fmla="*/ 60960 h 65193"/>
                  <a:gd name="connsiteX8" fmla="*/ 33490 w 121119"/>
                  <a:gd name="connsiteY8" fmla="*/ 55245 h 65193"/>
                  <a:gd name="connsiteX9" fmla="*/ 33490 w 121119"/>
                  <a:gd name="connsiteY9" fmla="*/ 51435 h 65193"/>
                  <a:gd name="connsiteX10" fmla="*/ 37300 w 121119"/>
                  <a:gd name="connsiteY10" fmla="*/ 45720 h 65193"/>
                  <a:gd name="connsiteX11" fmla="*/ 41110 w 121119"/>
                  <a:gd name="connsiteY11" fmla="*/ 40958 h 65193"/>
                  <a:gd name="connsiteX12" fmla="*/ 41110 w 121119"/>
                  <a:gd name="connsiteY12" fmla="*/ 37148 h 65193"/>
                  <a:gd name="connsiteX13" fmla="*/ 33490 w 121119"/>
                  <a:gd name="connsiteY13" fmla="*/ 35243 h 65193"/>
                  <a:gd name="connsiteX14" fmla="*/ 24917 w 121119"/>
                  <a:gd name="connsiteY14" fmla="*/ 40005 h 65193"/>
                  <a:gd name="connsiteX15" fmla="*/ 24917 w 121119"/>
                  <a:gd name="connsiteY15" fmla="*/ 41910 h 65193"/>
                  <a:gd name="connsiteX16" fmla="*/ 20155 w 121119"/>
                  <a:gd name="connsiteY16" fmla="*/ 44768 h 65193"/>
                  <a:gd name="connsiteX17" fmla="*/ 9677 w 121119"/>
                  <a:gd name="connsiteY17" fmla="*/ 48578 h 65193"/>
                  <a:gd name="connsiteX18" fmla="*/ 1105 w 121119"/>
                  <a:gd name="connsiteY18" fmla="*/ 46673 h 65193"/>
                  <a:gd name="connsiteX19" fmla="*/ 152 w 121119"/>
                  <a:gd name="connsiteY19" fmla="*/ 41910 h 65193"/>
                  <a:gd name="connsiteX20" fmla="*/ 152 w 121119"/>
                  <a:gd name="connsiteY20" fmla="*/ 36195 h 65193"/>
                  <a:gd name="connsiteX21" fmla="*/ 152 w 121119"/>
                  <a:gd name="connsiteY21" fmla="*/ 29528 h 65193"/>
                  <a:gd name="connsiteX22" fmla="*/ 2057 w 121119"/>
                  <a:gd name="connsiteY22" fmla="*/ 25717 h 65193"/>
                  <a:gd name="connsiteX23" fmla="*/ 9677 w 121119"/>
                  <a:gd name="connsiteY23" fmla="*/ 14288 h 65193"/>
                  <a:gd name="connsiteX24" fmla="*/ 17298 w 121119"/>
                  <a:gd name="connsiteY24" fmla="*/ 4763 h 65193"/>
                  <a:gd name="connsiteX25" fmla="*/ 44920 w 121119"/>
                  <a:gd name="connsiteY25" fmla="*/ 2858 h 65193"/>
                  <a:gd name="connsiteX26" fmla="*/ 56350 w 121119"/>
                  <a:gd name="connsiteY26" fmla="*/ 0 h 65193"/>
                  <a:gd name="connsiteX27" fmla="*/ 72542 w 121119"/>
                  <a:gd name="connsiteY27" fmla="*/ 953 h 65193"/>
                  <a:gd name="connsiteX28" fmla="*/ 81115 w 121119"/>
                  <a:gd name="connsiteY28" fmla="*/ 6667 h 65193"/>
                  <a:gd name="connsiteX29" fmla="*/ 83020 w 121119"/>
                  <a:gd name="connsiteY29" fmla="*/ 12383 h 65193"/>
                  <a:gd name="connsiteX30" fmla="*/ 80163 w 121119"/>
                  <a:gd name="connsiteY30" fmla="*/ 22860 h 65193"/>
                  <a:gd name="connsiteX31" fmla="*/ 73495 w 121119"/>
                  <a:gd name="connsiteY31" fmla="*/ 26670 h 65193"/>
                  <a:gd name="connsiteX32" fmla="*/ 85877 w 121119"/>
                  <a:gd name="connsiteY32" fmla="*/ 31433 h 65193"/>
                  <a:gd name="connsiteX33" fmla="*/ 94450 w 121119"/>
                  <a:gd name="connsiteY33" fmla="*/ 32385 h 65193"/>
                  <a:gd name="connsiteX34" fmla="*/ 108738 w 121119"/>
                  <a:gd name="connsiteY34" fmla="*/ 34290 h 65193"/>
                  <a:gd name="connsiteX35" fmla="*/ 118263 w 121119"/>
                  <a:gd name="connsiteY35" fmla="*/ 37148 h 65193"/>
                  <a:gd name="connsiteX36" fmla="*/ 119215 w 121119"/>
                  <a:gd name="connsiteY36" fmla="*/ 40958 h 65193"/>
                  <a:gd name="connsiteX37" fmla="*/ 121120 w 121119"/>
                  <a:gd name="connsiteY37" fmla="*/ 45720 h 65193"/>
                  <a:gd name="connsiteX38" fmla="*/ 120167 w 121119"/>
                  <a:gd name="connsiteY38" fmla="*/ 52388 h 65193"/>
                  <a:gd name="connsiteX39" fmla="*/ 114452 w 121119"/>
                  <a:gd name="connsiteY39" fmla="*/ 63818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119" h="65193">
                    <a:moveTo>
                      <a:pt x="114452" y="63818"/>
                    </a:moveTo>
                    <a:cubicBezTo>
                      <a:pt x="104927" y="64770"/>
                      <a:pt x="102070" y="64770"/>
                      <a:pt x="94450" y="64770"/>
                    </a:cubicBezTo>
                    <a:cubicBezTo>
                      <a:pt x="86830" y="65723"/>
                      <a:pt x="79210" y="64770"/>
                      <a:pt x="79210" y="64770"/>
                    </a:cubicBezTo>
                    <a:cubicBezTo>
                      <a:pt x="79210" y="64770"/>
                      <a:pt x="69685" y="63818"/>
                      <a:pt x="65875" y="64770"/>
                    </a:cubicBezTo>
                    <a:cubicBezTo>
                      <a:pt x="62065" y="65723"/>
                      <a:pt x="58255" y="63818"/>
                      <a:pt x="58255" y="63818"/>
                    </a:cubicBezTo>
                    <a:lnTo>
                      <a:pt x="44920" y="63818"/>
                    </a:lnTo>
                    <a:lnTo>
                      <a:pt x="39205" y="63818"/>
                    </a:lnTo>
                    <a:lnTo>
                      <a:pt x="36348" y="60960"/>
                    </a:lnTo>
                    <a:lnTo>
                      <a:pt x="33490" y="55245"/>
                    </a:lnTo>
                    <a:lnTo>
                      <a:pt x="33490" y="51435"/>
                    </a:lnTo>
                    <a:lnTo>
                      <a:pt x="37300" y="45720"/>
                    </a:lnTo>
                    <a:lnTo>
                      <a:pt x="41110" y="40958"/>
                    </a:lnTo>
                    <a:lnTo>
                      <a:pt x="41110" y="37148"/>
                    </a:lnTo>
                    <a:lnTo>
                      <a:pt x="33490" y="35243"/>
                    </a:lnTo>
                    <a:cubicBezTo>
                      <a:pt x="33490" y="35243"/>
                      <a:pt x="24917" y="38100"/>
                      <a:pt x="24917" y="40005"/>
                    </a:cubicBezTo>
                    <a:cubicBezTo>
                      <a:pt x="24917" y="41910"/>
                      <a:pt x="29680" y="39053"/>
                      <a:pt x="24917" y="41910"/>
                    </a:cubicBezTo>
                    <a:cubicBezTo>
                      <a:pt x="20155" y="44768"/>
                      <a:pt x="25870" y="40958"/>
                      <a:pt x="20155" y="44768"/>
                    </a:cubicBezTo>
                    <a:cubicBezTo>
                      <a:pt x="14440" y="48578"/>
                      <a:pt x="9677" y="48578"/>
                      <a:pt x="9677" y="48578"/>
                    </a:cubicBezTo>
                    <a:lnTo>
                      <a:pt x="1105" y="46673"/>
                    </a:lnTo>
                    <a:lnTo>
                      <a:pt x="152" y="41910"/>
                    </a:lnTo>
                    <a:lnTo>
                      <a:pt x="152" y="36195"/>
                    </a:lnTo>
                    <a:lnTo>
                      <a:pt x="152" y="29528"/>
                    </a:lnTo>
                    <a:cubicBezTo>
                      <a:pt x="152" y="29528"/>
                      <a:pt x="-800" y="26670"/>
                      <a:pt x="2057" y="25717"/>
                    </a:cubicBezTo>
                    <a:cubicBezTo>
                      <a:pt x="4915" y="24765"/>
                      <a:pt x="9677" y="14288"/>
                      <a:pt x="9677" y="14288"/>
                    </a:cubicBezTo>
                    <a:lnTo>
                      <a:pt x="17298" y="4763"/>
                    </a:lnTo>
                    <a:cubicBezTo>
                      <a:pt x="26823" y="4763"/>
                      <a:pt x="40157" y="2858"/>
                      <a:pt x="44920" y="2858"/>
                    </a:cubicBezTo>
                    <a:cubicBezTo>
                      <a:pt x="49682" y="2858"/>
                      <a:pt x="51588" y="0"/>
                      <a:pt x="56350" y="0"/>
                    </a:cubicBezTo>
                    <a:cubicBezTo>
                      <a:pt x="61113" y="0"/>
                      <a:pt x="72542" y="953"/>
                      <a:pt x="72542" y="953"/>
                    </a:cubicBezTo>
                    <a:lnTo>
                      <a:pt x="81115" y="6667"/>
                    </a:lnTo>
                    <a:cubicBezTo>
                      <a:pt x="81115" y="6667"/>
                      <a:pt x="82067" y="8573"/>
                      <a:pt x="83020" y="12383"/>
                    </a:cubicBezTo>
                    <a:cubicBezTo>
                      <a:pt x="83973" y="16192"/>
                      <a:pt x="80163" y="22860"/>
                      <a:pt x="80163" y="22860"/>
                    </a:cubicBezTo>
                    <a:lnTo>
                      <a:pt x="73495" y="26670"/>
                    </a:lnTo>
                    <a:lnTo>
                      <a:pt x="85877" y="31433"/>
                    </a:lnTo>
                    <a:cubicBezTo>
                      <a:pt x="85877" y="31433"/>
                      <a:pt x="90640" y="31433"/>
                      <a:pt x="94450" y="32385"/>
                    </a:cubicBezTo>
                    <a:cubicBezTo>
                      <a:pt x="99213" y="33338"/>
                      <a:pt x="108738" y="34290"/>
                      <a:pt x="108738" y="34290"/>
                    </a:cubicBezTo>
                    <a:cubicBezTo>
                      <a:pt x="108738" y="34290"/>
                      <a:pt x="117310" y="33338"/>
                      <a:pt x="118263" y="37148"/>
                    </a:cubicBezTo>
                    <a:cubicBezTo>
                      <a:pt x="119215" y="40958"/>
                      <a:pt x="117310" y="36195"/>
                      <a:pt x="119215" y="40958"/>
                    </a:cubicBezTo>
                    <a:cubicBezTo>
                      <a:pt x="121120" y="45720"/>
                      <a:pt x="121120" y="45720"/>
                      <a:pt x="121120" y="45720"/>
                    </a:cubicBezTo>
                    <a:cubicBezTo>
                      <a:pt x="121120" y="45720"/>
                      <a:pt x="121120" y="45720"/>
                      <a:pt x="120167" y="52388"/>
                    </a:cubicBezTo>
                    <a:cubicBezTo>
                      <a:pt x="120167" y="60960"/>
                      <a:pt x="114452" y="63818"/>
                      <a:pt x="114452" y="63818"/>
                    </a:cubicBezTo>
                    <a:close/>
                  </a:path>
                </a:pathLst>
              </a:custGeom>
              <a:grpFill/>
              <a:ln w="9525" cap="flat">
                <a:noFill/>
                <a:prstDash val="solid"/>
                <a:miter/>
              </a:ln>
            </p:spPr>
            <p:txBody>
              <a:bodyPr rtlCol="0" anchor="ctr"/>
              <a:lstStyle/>
              <a:p>
                <a:endParaRPr lang="en-US" sz="1765"/>
              </a:p>
            </p:txBody>
          </p:sp>
          <p:sp>
            <p:nvSpPr>
              <p:cNvPr id="209" name="Freeform: Shape 208">
                <a:extLst>
                  <a:ext uri="{FF2B5EF4-FFF2-40B4-BE49-F238E27FC236}">
                    <a16:creationId xmlns:a16="http://schemas.microsoft.com/office/drawing/2014/main" id="{7CAB08F4-9D58-4902-BF11-F3FE71017EC4}"/>
                  </a:ext>
                </a:extLst>
              </p:cNvPr>
              <p:cNvSpPr/>
              <p:nvPr/>
            </p:nvSpPr>
            <p:spPr>
              <a:xfrm>
                <a:off x="10608974" y="3005430"/>
                <a:ext cx="90212" cy="42298"/>
              </a:xfrm>
              <a:custGeom>
                <a:avLst/>
                <a:gdLst>
                  <a:gd name="connsiteX0" fmla="*/ 64770 w 90212"/>
                  <a:gd name="connsiteY0" fmla="*/ 27059 h 42298"/>
                  <a:gd name="connsiteX1" fmla="*/ 52388 w 90212"/>
                  <a:gd name="connsiteY1" fmla="*/ 27059 h 42298"/>
                  <a:gd name="connsiteX2" fmla="*/ 45720 w 90212"/>
                  <a:gd name="connsiteY2" fmla="*/ 30869 h 42298"/>
                  <a:gd name="connsiteX3" fmla="*/ 43815 w 90212"/>
                  <a:gd name="connsiteY3" fmla="*/ 37536 h 42298"/>
                  <a:gd name="connsiteX4" fmla="*/ 37147 w 90212"/>
                  <a:gd name="connsiteY4" fmla="*/ 41346 h 42298"/>
                  <a:gd name="connsiteX5" fmla="*/ 29527 w 90212"/>
                  <a:gd name="connsiteY5" fmla="*/ 42299 h 42298"/>
                  <a:gd name="connsiteX6" fmla="*/ 21907 w 90212"/>
                  <a:gd name="connsiteY6" fmla="*/ 38489 h 42298"/>
                  <a:gd name="connsiteX7" fmla="*/ 20002 w 90212"/>
                  <a:gd name="connsiteY7" fmla="*/ 31821 h 42298"/>
                  <a:gd name="connsiteX8" fmla="*/ 6667 w 90212"/>
                  <a:gd name="connsiteY8" fmla="*/ 27059 h 42298"/>
                  <a:gd name="connsiteX9" fmla="*/ 0 w 90212"/>
                  <a:gd name="connsiteY9" fmla="*/ 20391 h 42298"/>
                  <a:gd name="connsiteX10" fmla="*/ 0 w 90212"/>
                  <a:gd name="connsiteY10" fmla="*/ 16581 h 42298"/>
                  <a:gd name="connsiteX11" fmla="*/ 0 w 90212"/>
                  <a:gd name="connsiteY11" fmla="*/ 6104 h 42298"/>
                  <a:gd name="connsiteX12" fmla="*/ 3810 w 90212"/>
                  <a:gd name="connsiteY12" fmla="*/ 2294 h 42298"/>
                  <a:gd name="connsiteX13" fmla="*/ 20002 w 90212"/>
                  <a:gd name="connsiteY13" fmla="*/ 1341 h 42298"/>
                  <a:gd name="connsiteX14" fmla="*/ 37147 w 90212"/>
                  <a:gd name="connsiteY14" fmla="*/ 3246 h 42298"/>
                  <a:gd name="connsiteX15" fmla="*/ 49530 w 90212"/>
                  <a:gd name="connsiteY15" fmla="*/ 4199 h 42298"/>
                  <a:gd name="connsiteX16" fmla="*/ 68580 w 90212"/>
                  <a:gd name="connsiteY16" fmla="*/ 389 h 42298"/>
                  <a:gd name="connsiteX17" fmla="*/ 80963 w 90212"/>
                  <a:gd name="connsiteY17" fmla="*/ 2294 h 42298"/>
                  <a:gd name="connsiteX18" fmla="*/ 86677 w 90212"/>
                  <a:gd name="connsiteY18" fmla="*/ 11819 h 42298"/>
                  <a:gd name="connsiteX19" fmla="*/ 88582 w 90212"/>
                  <a:gd name="connsiteY19" fmla="*/ 18486 h 42298"/>
                  <a:gd name="connsiteX20" fmla="*/ 84772 w 90212"/>
                  <a:gd name="connsiteY20" fmla="*/ 24201 h 42298"/>
                  <a:gd name="connsiteX21" fmla="*/ 64770 w 90212"/>
                  <a:gd name="connsiteY21" fmla="*/ 27059 h 4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12" h="42298">
                    <a:moveTo>
                      <a:pt x="64770" y="27059"/>
                    </a:moveTo>
                    <a:lnTo>
                      <a:pt x="52388" y="27059"/>
                    </a:lnTo>
                    <a:cubicBezTo>
                      <a:pt x="52388" y="27059"/>
                      <a:pt x="46672" y="28011"/>
                      <a:pt x="45720" y="30869"/>
                    </a:cubicBezTo>
                    <a:cubicBezTo>
                      <a:pt x="44767" y="32774"/>
                      <a:pt x="44767" y="34679"/>
                      <a:pt x="43815" y="37536"/>
                    </a:cubicBezTo>
                    <a:cubicBezTo>
                      <a:pt x="42863" y="40394"/>
                      <a:pt x="37147" y="41346"/>
                      <a:pt x="37147" y="41346"/>
                    </a:cubicBezTo>
                    <a:lnTo>
                      <a:pt x="29527" y="42299"/>
                    </a:lnTo>
                    <a:lnTo>
                      <a:pt x="21907" y="38489"/>
                    </a:lnTo>
                    <a:lnTo>
                      <a:pt x="20002" y="31821"/>
                    </a:lnTo>
                    <a:lnTo>
                      <a:pt x="6667" y="27059"/>
                    </a:lnTo>
                    <a:lnTo>
                      <a:pt x="0" y="20391"/>
                    </a:lnTo>
                    <a:lnTo>
                      <a:pt x="0" y="16581"/>
                    </a:lnTo>
                    <a:lnTo>
                      <a:pt x="0" y="6104"/>
                    </a:lnTo>
                    <a:lnTo>
                      <a:pt x="3810" y="2294"/>
                    </a:lnTo>
                    <a:lnTo>
                      <a:pt x="20002" y="1341"/>
                    </a:lnTo>
                    <a:lnTo>
                      <a:pt x="37147" y="3246"/>
                    </a:lnTo>
                    <a:cubicBezTo>
                      <a:pt x="37147" y="3246"/>
                      <a:pt x="44767" y="4199"/>
                      <a:pt x="49530" y="4199"/>
                    </a:cubicBezTo>
                    <a:cubicBezTo>
                      <a:pt x="54292" y="4199"/>
                      <a:pt x="56197" y="-1516"/>
                      <a:pt x="68580" y="389"/>
                    </a:cubicBezTo>
                    <a:cubicBezTo>
                      <a:pt x="80963" y="2294"/>
                      <a:pt x="77152" y="-2469"/>
                      <a:pt x="80963" y="2294"/>
                    </a:cubicBezTo>
                    <a:cubicBezTo>
                      <a:pt x="83820" y="7056"/>
                      <a:pt x="83820" y="6104"/>
                      <a:pt x="86677" y="11819"/>
                    </a:cubicBezTo>
                    <a:cubicBezTo>
                      <a:pt x="88582" y="18486"/>
                      <a:pt x="92392" y="12771"/>
                      <a:pt x="88582" y="18486"/>
                    </a:cubicBezTo>
                    <a:cubicBezTo>
                      <a:pt x="84772" y="24201"/>
                      <a:pt x="84772" y="24201"/>
                      <a:pt x="84772" y="24201"/>
                    </a:cubicBezTo>
                    <a:lnTo>
                      <a:pt x="64770" y="27059"/>
                    </a:lnTo>
                    <a:close/>
                  </a:path>
                </a:pathLst>
              </a:custGeom>
              <a:grpFill/>
              <a:ln w="9525" cap="flat">
                <a:noFill/>
                <a:prstDash val="solid"/>
                <a:miter/>
              </a:ln>
            </p:spPr>
            <p:txBody>
              <a:bodyPr rtlCol="0" anchor="ctr"/>
              <a:lstStyle/>
              <a:p>
                <a:endParaRPr lang="en-US" sz="1765"/>
              </a:p>
            </p:txBody>
          </p:sp>
          <p:sp>
            <p:nvSpPr>
              <p:cNvPr id="210" name="Freeform: Shape 209">
                <a:extLst>
                  <a:ext uri="{FF2B5EF4-FFF2-40B4-BE49-F238E27FC236}">
                    <a16:creationId xmlns:a16="http://schemas.microsoft.com/office/drawing/2014/main" id="{FCC465EF-3469-497A-893D-0C004FC0D05C}"/>
                  </a:ext>
                </a:extLst>
              </p:cNvPr>
              <p:cNvSpPr/>
              <p:nvPr/>
            </p:nvSpPr>
            <p:spPr>
              <a:xfrm>
                <a:off x="10709582" y="3014391"/>
                <a:ext cx="41313" cy="23107"/>
              </a:xfrm>
              <a:custGeom>
                <a:avLst/>
                <a:gdLst>
                  <a:gd name="connsiteX0" fmla="*/ 10834 w 41313"/>
                  <a:gd name="connsiteY0" fmla="*/ 0 h 23107"/>
                  <a:gd name="connsiteX1" fmla="*/ 356 w 41313"/>
                  <a:gd name="connsiteY1" fmla="*/ 3810 h 23107"/>
                  <a:gd name="connsiteX2" fmla="*/ 1309 w 41313"/>
                  <a:gd name="connsiteY2" fmla="*/ 11430 h 23107"/>
                  <a:gd name="connsiteX3" fmla="*/ 4167 w 41313"/>
                  <a:gd name="connsiteY3" fmla="*/ 19050 h 23107"/>
                  <a:gd name="connsiteX4" fmla="*/ 17501 w 41313"/>
                  <a:gd name="connsiteY4" fmla="*/ 22860 h 23107"/>
                  <a:gd name="connsiteX5" fmla="*/ 23217 w 41313"/>
                  <a:gd name="connsiteY5" fmla="*/ 21907 h 23107"/>
                  <a:gd name="connsiteX6" fmla="*/ 34646 w 41313"/>
                  <a:gd name="connsiteY6" fmla="*/ 20955 h 23107"/>
                  <a:gd name="connsiteX7" fmla="*/ 41314 w 41313"/>
                  <a:gd name="connsiteY7" fmla="*/ 17145 h 23107"/>
                  <a:gd name="connsiteX8" fmla="*/ 41314 w 41313"/>
                  <a:gd name="connsiteY8" fmla="*/ 12382 h 23107"/>
                  <a:gd name="connsiteX9" fmla="*/ 41314 w 41313"/>
                  <a:gd name="connsiteY9" fmla="*/ 8572 h 23107"/>
                  <a:gd name="connsiteX10" fmla="*/ 41314 w 41313"/>
                  <a:gd name="connsiteY10" fmla="*/ 4763 h 23107"/>
                  <a:gd name="connsiteX11" fmla="*/ 33694 w 41313"/>
                  <a:gd name="connsiteY11" fmla="*/ 2857 h 23107"/>
                  <a:gd name="connsiteX12" fmla="*/ 30836 w 41313"/>
                  <a:gd name="connsiteY12" fmla="*/ 2857 h 23107"/>
                  <a:gd name="connsiteX13" fmla="*/ 22264 w 41313"/>
                  <a:gd name="connsiteY13" fmla="*/ 2857 h 23107"/>
                  <a:gd name="connsiteX14" fmla="*/ 10834 w 41313"/>
                  <a:gd name="connsiteY14" fmla="*/ 0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13" h="23107">
                    <a:moveTo>
                      <a:pt x="10834" y="0"/>
                    </a:moveTo>
                    <a:cubicBezTo>
                      <a:pt x="7976" y="953"/>
                      <a:pt x="-596" y="953"/>
                      <a:pt x="356" y="3810"/>
                    </a:cubicBezTo>
                    <a:cubicBezTo>
                      <a:pt x="1309" y="6668"/>
                      <a:pt x="-1549" y="6668"/>
                      <a:pt x="1309" y="11430"/>
                    </a:cubicBezTo>
                    <a:cubicBezTo>
                      <a:pt x="4167" y="16193"/>
                      <a:pt x="1309" y="16193"/>
                      <a:pt x="4167" y="19050"/>
                    </a:cubicBezTo>
                    <a:cubicBezTo>
                      <a:pt x="7024" y="21907"/>
                      <a:pt x="11786" y="23813"/>
                      <a:pt x="17501" y="22860"/>
                    </a:cubicBezTo>
                    <a:cubicBezTo>
                      <a:pt x="23217" y="21907"/>
                      <a:pt x="23217" y="21907"/>
                      <a:pt x="23217" y="21907"/>
                    </a:cubicBezTo>
                    <a:cubicBezTo>
                      <a:pt x="23217" y="21907"/>
                      <a:pt x="29884" y="20955"/>
                      <a:pt x="34646" y="20955"/>
                    </a:cubicBezTo>
                    <a:cubicBezTo>
                      <a:pt x="39409" y="20955"/>
                      <a:pt x="41314" y="17145"/>
                      <a:pt x="41314" y="17145"/>
                    </a:cubicBezTo>
                    <a:lnTo>
                      <a:pt x="41314" y="12382"/>
                    </a:lnTo>
                    <a:lnTo>
                      <a:pt x="41314" y="8572"/>
                    </a:lnTo>
                    <a:lnTo>
                      <a:pt x="41314" y="4763"/>
                    </a:lnTo>
                    <a:cubicBezTo>
                      <a:pt x="41314" y="4763"/>
                      <a:pt x="37504" y="2857"/>
                      <a:pt x="33694" y="2857"/>
                    </a:cubicBezTo>
                    <a:cubicBezTo>
                      <a:pt x="30836" y="2857"/>
                      <a:pt x="34646" y="2857"/>
                      <a:pt x="30836" y="2857"/>
                    </a:cubicBezTo>
                    <a:cubicBezTo>
                      <a:pt x="26074" y="2857"/>
                      <a:pt x="22264" y="2857"/>
                      <a:pt x="22264" y="2857"/>
                    </a:cubicBezTo>
                    <a:lnTo>
                      <a:pt x="10834" y="0"/>
                    </a:lnTo>
                    <a:close/>
                  </a:path>
                </a:pathLst>
              </a:custGeom>
              <a:grpFill/>
              <a:ln w="9525" cap="flat">
                <a:noFill/>
                <a:prstDash val="solid"/>
                <a:miter/>
              </a:ln>
            </p:spPr>
            <p:txBody>
              <a:bodyPr rtlCol="0" anchor="ctr"/>
              <a:lstStyle/>
              <a:p>
                <a:endParaRPr lang="en-US" sz="1765"/>
              </a:p>
            </p:txBody>
          </p:sp>
          <p:sp>
            <p:nvSpPr>
              <p:cNvPr id="211" name="Freeform: Shape 210">
                <a:extLst>
                  <a:ext uri="{FF2B5EF4-FFF2-40B4-BE49-F238E27FC236}">
                    <a16:creationId xmlns:a16="http://schemas.microsoft.com/office/drawing/2014/main" id="{7C3032A1-3477-4E4C-B6EC-A4753759F3F2}"/>
                  </a:ext>
                </a:extLst>
              </p:cNvPr>
              <p:cNvSpPr/>
              <p:nvPr/>
            </p:nvSpPr>
            <p:spPr>
              <a:xfrm>
                <a:off x="10768021" y="3017422"/>
                <a:ext cx="59075" cy="29190"/>
              </a:xfrm>
              <a:custGeom>
                <a:avLst/>
                <a:gdLst>
                  <a:gd name="connsiteX0" fmla="*/ 24786 w 59075"/>
                  <a:gd name="connsiteY0" fmla="*/ 779 h 29190"/>
                  <a:gd name="connsiteX1" fmla="*/ 6688 w 59075"/>
                  <a:gd name="connsiteY1" fmla="*/ 779 h 29190"/>
                  <a:gd name="connsiteX2" fmla="*/ 3830 w 59075"/>
                  <a:gd name="connsiteY2" fmla="*/ 1731 h 29190"/>
                  <a:gd name="connsiteX3" fmla="*/ 1925 w 59075"/>
                  <a:gd name="connsiteY3" fmla="*/ 5541 h 29190"/>
                  <a:gd name="connsiteX4" fmla="*/ 1925 w 59075"/>
                  <a:gd name="connsiteY4" fmla="*/ 14114 h 29190"/>
                  <a:gd name="connsiteX5" fmla="*/ 10498 w 59075"/>
                  <a:gd name="connsiteY5" fmla="*/ 18876 h 29190"/>
                  <a:gd name="connsiteX6" fmla="*/ 12403 w 59075"/>
                  <a:gd name="connsiteY6" fmla="*/ 21734 h 29190"/>
                  <a:gd name="connsiteX7" fmla="*/ 29548 w 59075"/>
                  <a:gd name="connsiteY7" fmla="*/ 26496 h 29190"/>
                  <a:gd name="connsiteX8" fmla="*/ 42883 w 59075"/>
                  <a:gd name="connsiteY8" fmla="*/ 26496 h 29190"/>
                  <a:gd name="connsiteX9" fmla="*/ 45741 w 59075"/>
                  <a:gd name="connsiteY9" fmla="*/ 28401 h 29190"/>
                  <a:gd name="connsiteX10" fmla="*/ 58123 w 59075"/>
                  <a:gd name="connsiteY10" fmla="*/ 19829 h 29190"/>
                  <a:gd name="connsiteX11" fmla="*/ 59075 w 59075"/>
                  <a:gd name="connsiteY11" fmla="*/ 13161 h 29190"/>
                  <a:gd name="connsiteX12" fmla="*/ 52408 w 59075"/>
                  <a:gd name="connsiteY12" fmla="*/ 8399 h 29190"/>
                  <a:gd name="connsiteX13" fmla="*/ 39073 w 59075"/>
                  <a:gd name="connsiteY13" fmla="*/ 9351 h 29190"/>
                  <a:gd name="connsiteX14" fmla="*/ 26691 w 59075"/>
                  <a:gd name="connsiteY14" fmla="*/ 9351 h 29190"/>
                  <a:gd name="connsiteX15" fmla="*/ 24786 w 59075"/>
                  <a:gd name="connsiteY15" fmla="*/ 779 h 2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075" h="29190">
                    <a:moveTo>
                      <a:pt x="24786" y="779"/>
                    </a:moveTo>
                    <a:cubicBezTo>
                      <a:pt x="24786" y="779"/>
                      <a:pt x="10498" y="-174"/>
                      <a:pt x="6688" y="779"/>
                    </a:cubicBezTo>
                    <a:cubicBezTo>
                      <a:pt x="3830" y="1731"/>
                      <a:pt x="5736" y="-2079"/>
                      <a:pt x="3830" y="1731"/>
                    </a:cubicBezTo>
                    <a:cubicBezTo>
                      <a:pt x="1925" y="5541"/>
                      <a:pt x="2878" y="-174"/>
                      <a:pt x="1925" y="5541"/>
                    </a:cubicBezTo>
                    <a:cubicBezTo>
                      <a:pt x="973" y="11256"/>
                      <a:pt x="-1884" y="11256"/>
                      <a:pt x="1925" y="14114"/>
                    </a:cubicBezTo>
                    <a:cubicBezTo>
                      <a:pt x="4783" y="16971"/>
                      <a:pt x="8593" y="16019"/>
                      <a:pt x="10498" y="18876"/>
                    </a:cubicBezTo>
                    <a:cubicBezTo>
                      <a:pt x="12403" y="21734"/>
                      <a:pt x="5736" y="16019"/>
                      <a:pt x="12403" y="21734"/>
                    </a:cubicBezTo>
                    <a:cubicBezTo>
                      <a:pt x="19070" y="27449"/>
                      <a:pt x="29548" y="26496"/>
                      <a:pt x="29548" y="26496"/>
                    </a:cubicBezTo>
                    <a:cubicBezTo>
                      <a:pt x="29548" y="26496"/>
                      <a:pt x="39073" y="25544"/>
                      <a:pt x="42883" y="26496"/>
                    </a:cubicBezTo>
                    <a:cubicBezTo>
                      <a:pt x="45741" y="28401"/>
                      <a:pt x="34311" y="30306"/>
                      <a:pt x="45741" y="28401"/>
                    </a:cubicBezTo>
                    <a:cubicBezTo>
                      <a:pt x="58123" y="25544"/>
                      <a:pt x="58123" y="19829"/>
                      <a:pt x="58123" y="19829"/>
                    </a:cubicBezTo>
                    <a:lnTo>
                      <a:pt x="59075" y="13161"/>
                    </a:lnTo>
                    <a:cubicBezTo>
                      <a:pt x="59075" y="13161"/>
                      <a:pt x="59075" y="7446"/>
                      <a:pt x="52408" y="8399"/>
                    </a:cubicBezTo>
                    <a:cubicBezTo>
                      <a:pt x="45741" y="9351"/>
                      <a:pt x="39073" y="9351"/>
                      <a:pt x="39073" y="9351"/>
                    </a:cubicBezTo>
                    <a:cubicBezTo>
                      <a:pt x="39073" y="9351"/>
                      <a:pt x="27643" y="11256"/>
                      <a:pt x="26691" y="9351"/>
                    </a:cubicBezTo>
                    <a:cubicBezTo>
                      <a:pt x="26691" y="5541"/>
                      <a:pt x="24786" y="779"/>
                      <a:pt x="24786" y="779"/>
                    </a:cubicBezTo>
                    <a:close/>
                  </a:path>
                </a:pathLst>
              </a:custGeom>
              <a:grpFill/>
              <a:ln w="9525" cap="flat">
                <a:noFill/>
                <a:prstDash val="solid"/>
                <a:miter/>
              </a:ln>
            </p:spPr>
            <p:txBody>
              <a:bodyPr rtlCol="0" anchor="ctr"/>
              <a:lstStyle/>
              <a:p>
                <a:endParaRPr lang="en-US" sz="1765"/>
              </a:p>
            </p:txBody>
          </p:sp>
          <p:sp>
            <p:nvSpPr>
              <p:cNvPr id="212" name="Freeform: Shape 211">
                <a:extLst>
                  <a:ext uri="{FF2B5EF4-FFF2-40B4-BE49-F238E27FC236}">
                    <a16:creationId xmlns:a16="http://schemas.microsoft.com/office/drawing/2014/main" id="{E974C2E7-72AB-4D35-A0BA-6908130CC25A}"/>
                  </a:ext>
                </a:extLst>
              </p:cNvPr>
              <p:cNvSpPr/>
              <p:nvPr/>
            </p:nvSpPr>
            <p:spPr>
              <a:xfrm>
                <a:off x="10663113" y="3054396"/>
                <a:ext cx="47167" cy="18097"/>
              </a:xfrm>
              <a:custGeom>
                <a:avLst/>
                <a:gdLst>
                  <a:gd name="connsiteX0" fmla="*/ 42063 w 47167"/>
                  <a:gd name="connsiteY0" fmla="*/ 14288 h 18097"/>
                  <a:gd name="connsiteX1" fmla="*/ 37300 w 47167"/>
                  <a:gd name="connsiteY1" fmla="*/ 16192 h 18097"/>
                  <a:gd name="connsiteX2" fmla="*/ 25870 w 47167"/>
                  <a:gd name="connsiteY2" fmla="*/ 18097 h 18097"/>
                  <a:gd name="connsiteX3" fmla="*/ 19202 w 47167"/>
                  <a:gd name="connsiteY3" fmla="*/ 17145 h 18097"/>
                  <a:gd name="connsiteX4" fmla="*/ 11582 w 47167"/>
                  <a:gd name="connsiteY4" fmla="*/ 16192 h 18097"/>
                  <a:gd name="connsiteX5" fmla="*/ 6820 w 47167"/>
                  <a:gd name="connsiteY5" fmla="*/ 14288 h 18097"/>
                  <a:gd name="connsiteX6" fmla="*/ 2057 w 47167"/>
                  <a:gd name="connsiteY6" fmla="*/ 10477 h 18097"/>
                  <a:gd name="connsiteX7" fmla="*/ 152 w 47167"/>
                  <a:gd name="connsiteY7" fmla="*/ 6667 h 18097"/>
                  <a:gd name="connsiteX8" fmla="*/ 2057 w 47167"/>
                  <a:gd name="connsiteY8" fmla="*/ 2857 h 18097"/>
                  <a:gd name="connsiteX9" fmla="*/ 9677 w 47167"/>
                  <a:gd name="connsiteY9" fmla="*/ 952 h 18097"/>
                  <a:gd name="connsiteX10" fmla="*/ 16345 w 47167"/>
                  <a:gd name="connsiteY10" fmla="*/ 0 h 18097"/>
                  <a:gd name="connsiteX11" fmla="*/ 25870 w 47167"/>
                  <a:gd name="connsiteY11" fmla="*/ 1905 h 18097"/>
                  <a:gd name="connsiteX12" fmla="*/ 33490 w 47167"/>
                  <a:gd name="connsiteY12" fmla="*/ 1905 h 18097"/>
                  <a:gd name="connsiteX13" fmla="*/ 44920 w 47167"/>
                  <a:gd name="connsiteY13" fmla="*/ 1905 h 18097"/>
                  <a:gd name="connsiteX14" fmla="*/ 46825 w 47167"/>
                  <a:gd name="connsiteY14" fmla="*/ 3810 h 18097"/>
                  <a:gd name="connsiteX15" fmla="*/ 42063 w 47167"/>
                  <a:gd name="connsiteY15" fmla="*/ 14288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67" h="18097">
                    <a:moveTo>
                      <a:pt x="42063" y="14288"/>
                    </a:moveTo>
                    <a:lnTo>
                      <a:pt x="37300" y="16192"/>
                    </a:lnTo>
                    <a:lnTo>
                      <a:pt x="25870" y="18097"/>
                    </a:lnTo>
                    <a:lnTo>
                      <a:pt x="19202" y="17145"/>
                    </a:lnTo>
                    <a:lnTo>
                      <a:pt x="11582" y="16192"/>
                    </a:lnTo>
                    <a:lnTo>
                      <a:pt x="6820" y="14288"/>
                    </a:lnTo>
                    <a:lnTo>
                      <a:pt x="2057" y="10477"/>
                    </a:lnTo>
                    <a:lnTo>
                      <a:pt x="152" y="6667"/>
                    </a:lnTo>
                    <a:cubicBezTo>
                      <a:pt x="152" y="6667"/>
                      <a:pt x="-800" y="2857"/>
                      <a:pt x="2057" y="2857"/>
                    </a:cubicBezTo>
                    <a:cubicBezTo>
                      <a:pt x="4915" y="2857"/>
                      <a:pt x="9677" y="952"/>
                      <a:pt x="9677" y="952"/>
                    </a:cubicBezTo>
                    <a:lnTo>
                      <a:pt x="16345" y="0"/>
                    </a:lnTo>
                    <a:lnTo>
                      <a:pt x="25870" y="1905"/>
                    </a:lnTo>
                    <a:cubicBezTo>
                      <a:pt x="25870" y="1905"/>
                      <a:pt x="28727" y="952"/>
                      <a:pt x="33490" y="1905"/>
                    </a:cubicBezTo>
                    <a:cubicBezTo>
                      <a:pt x="38252" y="2857"/>
                      <a:pt x="42063" y="0"/>
                      <a:pt x="44920" y="1905"/>
                    </a:cubicBezTo>
                    <a:cubicBezTo>
                      <a:pt x="46825" y="3810"/>
                      <a:pt x="46825" y="0"/>
                      <a:pt x="46825" y="3810"/>
                    </a:cubicBezTo>
                    <a:cubicBezTo>
                      <a:pt x="48730" y="7620"/>
                      <a:pt x="42063" y="14288"/>
                      <a:pt x="42063" y="14288"/>
                    </a:cubicBezTo>
                    <a:close/>
                  </a:path>
                </a:pathLst>
              </a:custGeom>
              <a:grpFill/>
              <a:ln w="9525" cap="flat">
                <a:noFill/>
                <a:prstDash val="solid"/>
                <a:miter/>
              </a:ln>
            </p:spPr>
            <p:txBody>
              <a:bodyPr rtlCol="0" anchor="ctr"/>
              <a:lstStyle/>
              <a:p>
                <a:endParaRPr lang="en-US" sz="1765"/>
              </a:p>
            </p:txBody>
          </p:sp>
          <p:sp>
            <p:nvSpPr>
              <p:cNvPr id="213" name="Freeform: Shape 212">
                <a:extLst>
                  <a:ext uri="{FF2B5EF4-FFF2-40B4-BE49-F238E27FC236}">
                    <a16:creationId xmlns:a16="http://schemas.microsoft.com/office/drawing/2014/main" id="{2AA644FB-2D59-4903-84D6-09B5600A7206}"/>
                  </a:ext>
                </a:extLst>
              </p:cNvPr>
              <p:cNvSpPr/>
              <p:nvPr/>
            </p:nvSpPr>
            <p:spPr>
              <a:xfrm>
                <a:off x="9559319" y="3084876"/>
                <a:ext cx="2857" cy="952"/>
              </a:xfrm>
              <a:custGeom>
                <a:avLst/>
                <a:gdLst>
                  <a:gd name="connsiteX0" fmla="*/ 2857 w 2857"/>
                  <a:gd name="connsiteY0" fmla="*/ 0 h 952"/>
                  <a:gd name="connsiteX1" fmla="*/ 0 w 2857"/>
                  <a:gd name="connsiteY1" fmla="*/ 953 h 952"/>
                  <a:gd name="connsiteX2" fmla="*/ 2857 w 2857"/>
                  <a:gd name="connsiteY2" fmla="*/ 0 h 952"/>
                </a:gdLst>
                <a:ahLst/>
                <a:cxnLst>
                  <a:cxn ang="0">
                    <a:pos x="connsiteX0" y="connsiteY0"/>
                  </a:cxn>
                  <a:cxn ang="0">
                    <a:pos x="connsiteX1" y="connsiteY1"/>
                  </a:cxn>
                  <a:cxn ang="0">
                    <a:pos x="connsiteX2" y="connsiteY2"/>
                  </a:cxn>
                </a:cxnLst>
                <a:rect l="l" t="t" r="r" b="b"/>
                <a:pathLst>
                  <a:path w="2857" h="952">
                    <a:moveTo>
                      <a:pt x="2857" y="0"/>
                    </a:moveTo>
                    <a:cubicBezTo>
                      <a:pt x="1905" y="0"/>
                      <a:pt x="952" y="953"/>
                      <a:pt x="0" y="953"/>
                    </a:cubicBezTo>
                    <a:cubicBezTo>
                      <a:pt x="952" y="953"/>
                      <a:pt x="1905" y="953"/>
                      <a:pt x="2857" y="0"/>
                    </a:cubicBezTo>
                    <a:close/>
                  </a:path>
                </a:pathLst>
              </a:custGeom>
              <a:grpFill/>
              <a:ln w="9525" cap="flat">
                <a:noFill/>
                <a:prstDash val="solid"/>
                <a:miter/>
              </a:ln>
            </p:spPr>
            <p:txBody>
              <a:bodyPr rtlCol="0" anchor="ctr"/>
              <a:lstStyle/>
              <a:p>
                <a:endParaRPr lang="en-US" sz="1765"/>
              </a:p>
            </p:txBody>
          </p:sp>
          <p:sp>
            <p:nvSpPr>
              <p:cNvPr id="214" name="Freeform: Shape 213">
                <a:extLst>
                  <a:ext uri="{FF2B5EF4-FFF2-40B4-BE49-F238E27FC236}">
                    <a16:creationId xmlns:a16="http://schemas.microsoft.com/office/drawing/2014/main" id="{35191CCD-671E-444E-BDB4-4D1B7CFDDFDE}"/>
                  </a:ext>
                </a:extLst>
              </p:cNvPr>
              <p:cNvSpPr/>
              <p:nvPr/>
            </p:nvSpPr>
            <p:spPr>
              <a:xfrm>
                <a:off x="9562705" y="3084876"/>
                <a:ext cx="423" cy="9525"/>
              </a:xfrm>
              <a:custGeom>
                <a:avLst/>
                <a:gdLst>
                  <a:gd name="connsiteX0" fmla="*/ 423 w 423"/>
                  <a:gd name="connsiteY0" fmla="*/ 0 h 9525"/>
                  <a:gd name="connsiteX1" fmla="*/ 423 w 423"/>
                  <a:gd name="connsiteY1" fmla="*/ 0 h 9525"/>
                  <a:gd name="connsiteX2" fmla="*/ 423 w 423"/>
                  <a:gd name="connsiteY2" fmla="*/ 0 h 9525"/>
                </a:gdLst>
                <a:ahLst/>
                <a:cxnLst>
                  <a:cxn ang="0">
                    <a:pos x="connsiteX0" y="connsiteY0"/>
                  </a:cxn>
                  <a:cxn ang="0">
                    <a:pos x="connsiteX1" y="connsiteY1"/>
                  </a:cxn>
                  <a:cxn ang="0">
                    <a:pos x="connsiteX2" y="connsiteY2"/>
                  </a:cxn>
                </a:cxnLst>
                <a:rect l="l" t="t" r="r" b="b"/>
                <a:pathLst>
                  <a:path w="423" h="9525">
                    <a:moveTo>
                      <a:pt x="423" y="0"/>
                    </a:moveTo>
                    <a:cubicBezTo>
                      <a:pt x="423" y="0"/>
                      <a:pt x="-529" y="0"/>
                      <a:pt x="423" y="0"/>
                    </a:cubicBezTo>
                    <a:cubicBezTo>
                      <a:pt x="-529" y="0"/>
                      <a:pt x="423" y="0"/>
                      <a:pt x="423" y="0"/>
                    </a:cubicBezTo>
                    <a:close/>
                  </a:path>
                </a:pathLst>
              </a:custGeom>
              <a:grpFill/>
              <a:ln w="9525" cap="flat">
                <a:noFill/>
                <a:prstDash val="solid"/>
                <a:miter/>
              </a:ln>
            </p:spPr>
            <p:txBody>
              <a:bodyPr rtlCol="0" anchor="ctr"/>
              <a:lstStyle/>
              <a:p>
                <a:endParaRPr lang="en-US" sz="1765"/>
              </a:p>
            </p:txBody>
          </p:sp>
          <p:sp>
            <p:nvSpPr>
              <p:cNvPr id="215" name="Freeform: Shape 214">
                <a:extLst>
                  <a:ext uri="{FF2B5EF4-FFF2-40B4-BE49-F238E27FC236}">
                    <a16:creationId xmlns:a16="http://schemas.microsoft.com/office/drawing/2014/main" id="{720F6453-B439-4E35-9769-57B549B4867E}"/>
                  </a:ext>
                </a:extLst>
              </p:cNvPr>
              <p:cNvSpPr/>
              <p:nvPr/>
            </p:nvSpPr>
            <p:spPr>
              <a:xfrm>
                <a:off x="9558219" y="3085829"/>
                <a:ext cx="1099" cy="423"/>
              </a:xfrm>
              <a:custGeom>
                <a:avLst/>
                <a:gdLst>
                  <a:gd name="connsiteX0" fmla="*/ 1100 w 1099"/>
                  <a:gd name="connsiteY0" fmla="*/ 0 h 423"/>
                  <a:gd name="connsiteX1" fmla="*/ 1100 w 1099"/>
                  <a:gd name="connsiteY1" fmla="*/ 0 h 423"/>
                  <a:gd name="connsiteX2" fmla="*/ 1100 w 1099"/>
                  <a:gd name="connsiteY2" fmla="*/ 0 h 423"/>
                </a:gdLst>
                <a:ahLst/>
                <a:cxnLst>
                  <a:cxn ang="0">
                    <a:pos x="connsiteX0" y="connsiteY0"/>
                  </a:cxn>
                  <a:cxn ang="0">
                    <a:pos x="connsiteX1" y="connsiteY1"/>
                  </a:cxn>
                  <a:cxn ang="0">
                    <a:pos x="connsiteX2" y="connsiteY2"/>
                  </a:cxn>
                </a:cxnLst>
                <a:rect l="l" t="t" r="r" b="b"/>
                <a:pathLst>
                  <a:path w="1099" h="423">
                    <a:moveTo>
                      <a:pt x="1100" y="0"/>
                    </a:moveTo>
                    <a:cubicBezTo>
                      <a:pt x="147" y="0"/>
                      <a:pt x="-805" y="953"/>
                      <a:pt x="1100" y="0"/>
                    </a:cubicBezTo>
                    <a:lnTo>
                      <a:pt x="1100" y="0"/>
                    </a:lnTo>
                    <a:close/>
                  </a:path>
                </a:pathLst>
              </a:custGeom>
              <a:grpFill/>
              <a:ln w="9525" cap="flat">
                <a:noFill/>
                <a:prstDash val="solid"/>
                <a:miter/>
              </a:ln>
            </p:spPr>
            <p:txBody>
              <a:bodyPr rtlCol="0" anchor="ctr"/>
              <a:lstStyle/>
              <a:p>
                <a:endParaRPr lang="en-US" sz="1765"/>
              </a:p>
            </p:txBody>
          </p:sp>
          <p:sp>
            <p:nvSpPr>
              <p:cNvPr id="216" name="Freeform: Shape 215">
                <a:extLst>
                  <a:ext uri="{FF2B5EF4-FFF2-40B4-BE49-F238E27FC236}">
                    <a16:creationId xmlns:a16="http://schemas.microsoft.com/office/drawing/2014/main" id="{BB04C641-6589-422A-9F4E-85AFECC08433}"/>
                  </a:ext>
                </a:extLst>
              </p:cNvPr>
              <p:cNvSpPr/>
              <p:nvPr/>
            </p:nvSpPr>
            <p:spPr>
              <a:xfrm>
                <a:off x="7936258" y="2977201"/>
                <a:ext cx="3574732" cy="1473560"/>
              </a:xfrm>
              <a:custGeom>
                <a:avLst/>
                <a:gdLst>
                  <a:gd name="connsiteX0" fmla="*/ 3568065 w 3574732"/>
                  <a:gd name="connsiteY0" fmla="*/ 231500 h 1473560"/>
                  <a:gd name="connsiteX1" fmla="*/ 3562350 w 3574732"/>
                  <a:gd name="connsiteY1" fmla="*/ 230548 h 1473560"/>
                  <a:gd name="connsiteX2" fmla="*/ 3549015 w 3574732"/>
                  <a:gd name="connsiteY2" fmla="*/ 230548 h 1473560"/>
                  <a:gd name="connsiteX3" fmla="*/ 3529965 w 3574732"/>
                  <a:gd name="connsiteY3" fmla="*/ 230548 h 1473560"/>
                  <a:gd name="connsiteX4" fmla="*/ 3511868 w 3574732"/>
                  <a:gd name="connsiteY4" fmla="*/ 233405 h 1473560"/>
                  <a:gd name="connsiteX5" fmla="*/ 3504248 w 3574732"/>
                  <a:gd name="connsiteY5" fmla="*/ 231500 h 1473560"/>
                  <a:gd name="connsiteX6" fmla="*/ 3489960 w 3574732"/>
                  <a:gd name="connsiteY6" fmla="*/ 225785 h 1473560"/>
                  <a:gd name="connsiteX7" fmla="*/ 3489008 w 3574732"/>
                  <a:gd name="connsiteY7" fmla="*/ 222928 h 1473560"/>
                  <a:gd name="connsiteX8" fmla="*/ 3480435 w 3574732"/>
                  <a:gd name="connsiteY8" fmla="*/ 214355 h 1473560"/>
                  <a:gd name="connsiteX9" fmla="*/ 3476625 w 3574732"/>
                  <a:gd name="connsiteY9" fmla="*/ 206735 h 1473560"/>
                  <a:gd name="connsiteX10" fmla="*/ 3462338 w 3574732"/>
                  <a:gd name="connsiteY10" fmla="*/ 201973 h 1473560"/>
                  <a:gd name="connsiteX11" fmla="*/ 3456623 w 3574732"/>
                  <a:gd name="connsiteY11" fmla="*/ 198163 h 1473560"/>
                  <a:gd name="connsiteX12" fmla="*/ 3442335 w 3574732"/>
                  <a:gd name="connsiteY12" fmla="*/ 194353 h 1473560"/>
                  <a:gd name="connsiteX13" fmla="*/ 3441383 w 3574732"/>
                  <a:gd name="connsiteY13" fmla="*/ 191495 h 1473560"/>
                  <a:gd name="connsiteX14" fmla="*/ 3419475 w 3574732"/>
                  <a:gd name="connsiteY14" fmla="*/ 185780 h 1473560"/>
                  <a:gd name="connsiteX15" fmla="*/ 3406140 w 3574732"/>
                  <a:gd name="connsiteY15" fmla="*/ 180065 h 1473560"/>
                  <a:gd name="connsiteX16" fmla="*/ 3389948 w 3574732"/>
                  <a:gd name="connsiteY16" fmla="*/ 177208 h 1473560"/>
                  <a:gd name="connsiteX17" fmla="*/ 3362325 w 3574732"/>
                  <a:gd name="connsiteY17" fmla="*/ 172445 h 1473560"/>
                  <a:gd name="connsiteX18" fmla="*/ 3348990 w 3574732"/>
                  <a:gd name="connsiteY18" fmla="*/ 172445 h 1473560"/>
                  <a:gd name="connsiteX19" fmla="*/ 3334703 w 3574732"/>
                  <a:gd name="connsiteY19" fmla="*/ 172445 h 1473560"/>
                  <a:gd name="connsiteX20" fmla="*/ 3318510 w 3574732"/>
                  <a:gd name="connsiteY20" fmla="*/ 172445 h 1473560"/>
                  <a:gd name="connsiteX21" fmla="*/ 3301365 w 3574732"/>
                  <a:gd name="connsiteY21" fmla="*/ 170540 h 1473560"/>
                  <a:gd name="connsiteX22" fmla="*/ 3277553 w 3574732"/>
                  <a:gd name="connsiteY22" fmla="*/ 166730 h 1473560"/>
                  <a:gd name="connsiteX23" fmla="*/ 3255645 w 3574732"/>
                  <a:gd name="connsiteY23" fmla="*/ 168635 h 1473560"/>
                  <a:gd name="connsiteX24" fmla="*/ 3247073 w 3574732"/>
                  <a:gd name="connsiteY24" fmla="*/ 170540 h 1473560"/>
                  <a:gd name="connsiteX25" fmla="*/ 3244215 w 3574732"/>
                  <a:gd name="connsiteY25" fmla="*/ 184828 h 1473560"/>
                  <a:gd name="connsiteX26" fmla="*/ 3238500 w 3574732"/>
                  <a:gd name="connsiteY26" fmla="*/ 185780 h 1473560"/>
                  <a:gd name="connsiteX27" fmla="*/ 3219450 w 3574732"/>
                  <a:gd name="connsiteY27" fmla="*/ 180065 h 1473560"/>
                  <a:gd name="connsiteX28" fmla="*/ 3221355 w 3574732"/>
                  <a:gd name="connsiteY28" fmla="*/ 172445 h 1473560"/>
                  <a:gd name="connsiteX29" fmla="*/ 3218498 w 3574732"/>
                  <a:gd name="connsiteY29" fmla="*/ 162920 h 1473560"/>
                  <a:gd name="connsiteX30" fmla="*/ 3197543 w 3574732"/>
                  <a:gd name="connsiteY30" fmla="*/ 162920 h 1473560"/>
                  <a:gd name="connsiteX31" fmla="*/ 3176588 w 3574732"/>
                  <a:gd name="connsiteY31" fmla="*/ 166730 h 1473560"/>
                  <a:gd name="connsiteX32" fmla="*/ 3168015 w 3574732"/>
                  <a:gd name="connsiteY32" fmla="*/ 168635 h 1473560"/>
                  <a:gd name="connsiteX33" fmla="*/ 3148965 w 3574732"/>
                  <a:gd name="connsiteY33" fmla="*/ 169588 h 1473560"/>
                  <a:gd name="connsiteX34" fmla="*/ 3138488 w 3574732"/>
                  <a:gd name="connsiteY34" fmla="*/ 169588 h 1473560"/>
                  <a:gd name="connsiteX35" fmla="*/ 3098483 w 3574732"/>
                  <a:gd name="connsiteY35" fmla="*/ 168635 h 1473560"/>
                  <a:gd name="connsiteX36" fmla="*/ 3076575 w 3574732"/>
                  <a:gd name="connsiteY36" fmla="*/ 165778 h 1473560"/>
                  <a:gd name="connsiteX37" fmla="*/ 3063240 w 3574732"/>
                  <a:gd name="connsiteY37" fmla="*/ 157205 h 1473560"/>
                  <a:gd name="connsiteX38" fmla="*/ 3055620 w 3574732"/>
                  <a:gd name="connsiteY38" fmla="*/ 150538 h 1473560"/>
                  <a:gd name="connsiteX39" fmla="*/ 3049905 w 3574732"/>
                  <a:gd name="connsiteY39" fmla="*/ 147680 h 1473560"/>
                  <a:gd name="connsiteX40" fmla="*/ 3016568 w 3574732"/>
                  <a:gd name="connsiteY40" fmla="*/ 147680 h 1473560"/>
                  <a:gd name="connsiteX41" fmla="*/ 3002280 w 3574732"/>
                  <a:gd name="connsiteY41" fmla="*/ 147680 h 1473560"/>
                  <a:gd name="connsiteX42" fmla="*/ 2980373 w 3574732"/>
                  <a:gd name="connsiteY42" fmla="*/ 144823 h 1473560"/>
                  <a:gd name="connsiteX43" fmla="*/ 2952750 w 3574732"/>
                  <a:gd name="connsiteY43" fmla="*/ 141965 h 1473560"/>
                  <a:gd name="connsiteX44" fmla="*/ 2938463 w 3574732"/>
                  <a:gd name="connsiteY44" fmla="*/ 137203 h 1473560"/>
                  <a:gd name="connsiteX45" fmla="*/ 2919413 w 3574732"/>
                  <a:gd name="connsiteY45" fmla="*/ 131488 h 1473560"/>
                  <a:gd name="connsiteX46" fmla="*/ 2913698 w 3574732"/>
                  <a:gd name="connsiteY46" fmla="*/ 129583 h 1473560"/>
                  <a:gd name="connsiteX47" fmla="*/ 2892743 w 3574732"/>
                  <a:gd name="connsiteY47" fmla="*/ 128630 h 1473560"/>
                  <a:gd name="connsiteX48" fmla="*/ 2873693 w 3574732"/>
                  <a:gd name="connsiteY48" fmla="*/ 126725 h 1473560"/>
                  <a:gd name="connsiteX49" fmla="*/ 2868930 w 3574732"/>
                  <a:gd name="connsiteY49" fmla="*/ 124820 h 1473560"/>
                  <a:gd name="connsiteX50" fmla="*/ 2851785 w 3574732"/>
                  <a:gd name="connsiteY50" fmla="*/ 120058 h 1473560"/>
                  <a:gd name="connsiteX51" fmla="*/ 2834640 w 3574732"/>
                  <a:gd name="connsiteY51" fmla="*/ 115295 h 1473560"/>
                  <a:gd name="connsiteX52" fmla="*/ 2817495 w 3574732"/>
                  <a:gd name="connsiteY52" fmla="*/ 113390 h 1473560"/>
                  <a:gd name="connsiteX53" fmla="*/ 2800350 w 3574732"/>
                  <a:gd name="connsiteY53" fmla="*/ 112438 h 1473560"/>
                  <a:gd name="connsiteX54" fmla="*/ 2785110 w 3574732"/>
                  <a:gd name="connsiteY54" fmla="*/ 114343 h 1473560"/>
                  <a:gd name="connsiteX55" fmla="*/ 2761298 w 3574732"/>
                  <a:gd name="connsiteY55" fmla="*/ 113390 h 1473560"/>
                  <a:gd name="connsiteX56" fmla="*/ 2740343 w 3574732"/>
                  <a:gd name="connsiteY56" fmla="*/ 113390 h 1473560"/>
                  <a:gd name="connsiteX57" fmla="*/ 2718435 w 3574732"/>
                  <a:gd name="connsiteY57" fmla="*/ 121963 h 1473560"/>
                  <a:gd name="connsiteX58" fmla="*/ 2713673 w 3574732"/>
                  <a:gd name="connsiteY58" fmla="*/ 121963 h 1473560"/>
                  <a:gd name="connsiteX59" fmla="*/ 2708910 w 3574732"/>
                  <a:gd name="connsiteY59" fmla="*/ 126725 h 1473560"/>
                  <a:gd name="connsiteX60" fmla="*/ 2704148 w 3574732"/>
                  <a:gd name="connsiteY60" fmla="*/ 133393 h 1473560"/>
                  <a:gd name="connsiteX61" fmla="*/ 2692718 w 3574732"/>
                  <a:gd name="connsiteY61" fmla="*/ 133393 h 1473560"/>
                  <a:gd name="connsiteX62" fmla="*/ 2676525 w 3574732"/>
                  <a:gd name="connsiteY62" fmla="*/ 133393 h 1473560"/>
                  <a:gd name="connsiteX63" fmla="*/ 2654618 w 3574732"/>
                  <a:gd name="connsiteY63" fmla="*/ 133393 h 1473560"/>
                  <a:gd name="connsiteX64" fmla="*/ 2646998 w 3574732"/>
                  <a:gd name="connsiteY64" fmla="*/ 139108 h 1473560"/>
                  <a:gd name="connsiteX65" fmla="*/ 2635568 w 3574732"/>
                  <a:gd name="connsiteY65" fmla="*/ 140060 h 1473560"/>
                  <a:gd name="connsiteX66" fmla="*/ 2616518 w 3574732"/>
                  <a:gd name="connsiteY66" fmla="*/ 140060 h 1473560"/>
                  <a:gd name="connsiteX67" fmla="*/ 2606040 w 3574732"/>
                  <a:gd name="connsiteY67" fmla="*/ 133393 h 1473560"/>
                  <a:gd name="connsiteX68" fmla="*/ 2606040 w 3574732"/>
                  <a:gd name="connsiteY68" fmla="*/ 130535 h 1473560"/>
                  <a:gd name="connsiteX69" fmla="*/ 2597468 w 3574732"/>
                  <a:gd name="connsiteY69" fmla="*/ 128630 h 1473560"/>
                  <a:gd name="connsiteX70" fmla="*/ 2586038 w 3574732"/>
                  <a:gd name="connsiteY70" fmla="*/ 128630 h 1473560"/>
                  <a:gd name="connsiteX71" fmla="*/ 2578418 w 3574732"/>
                  <a:gd name="connsiteY71" fmla="*/ 132440 h 1473560"/>
                  <a:gd name="connsiteX72" fmla="*/ 2572703 w 3574732"/>
                  <a:gd name="connsiteY72" fmla="*/ 141965 h 1473560"/>
                  <a:gd name="connsiteX73" fmla="*/ 2562225 w 3574732"/>
                  <a:gd name="connsiteY73" fmla="*/ 141965 h 1473560"/>
                  <a:gd name="connsiteX74" fmla="*/ 2545080 w 3574732"/>
                  <a:gd name="connsiteY74" fmla="*/ 139108 h 1473560"/>
                  <a:gd name="connsiteX75" fmla="*/ 2530793 w 3574732"/>
                  <a:gd name="connsiteY75" fmla="*/ 130535 h 1473560"/>
                  <a:gd name="connsiteX76" fmla="*/ 2527935 w 3574732"/>
                  <a:gd name="connsiteY76" fmla="*/ 117200 h 1473560"/>
                  <a:gd name="connsiteX77" fmla="*/ 2526983 w 3574732"/>
                  <a:gd name="connsiteY77" fmla="*/ 109580 h 1473560"/>
                  <a:gd name="connsiteX78" fmla="*/ 2521268 w 3574732"/>
                  <a:gd name="connsiteY78" fmla="*/ 104818 h 1473560"/>
                  <a:gd name="connsiteX79" fmla="*/ 2506980 w 3574732"/>
                  <a:gd name="connsiteY79" fmla="*/ 100055 h 1473560"/>
                  <a:gd name="connsiteX80" fmla="*/ 2499360 w 3574732"/>
                  <a:gd name="connsiteY80" fmla="*/ 98150 h 1473560"/>
                  <a:gd name="connsiteX81" fmla="*/ 2480310 w 3574732"/>
                  <a:gd name="connsiteY81" fmla="*/ 95293 h 1473560"/>
                  <a:gd name="connsiteX82" fmla="*/ 2450783 w 3574732"/>
                  <a:gd name="connsiteY82" fmla="*/ 94340 h 1473560"/>
                  <a:gd name="connsiteX83" fmla="*/ 2443163 w 3574732"/>
                  <a:gd name="connsiteY83" fmla="*/ 97198 h 1473560"/>
                  <a:gd name="connsiteX84" fmla="*/ 2430780 w 3574732"/>
                  <a:gd name="connsiteY84" fmla="*/ 104818 h 1473560"/>
                  <a:gd name="connsiteX85" fmla="*/ 2426018 w 3574732"/>
                  <a:gd name="connsiteY85" fmla="*/ 103865 h 1473560"/>
                  <a:gd name="connsiteX86" fmla="*/ 2407920 w 3574732"/>
                  <a:gd name="connsiteY86" fmla="*/ 103865 h 1473560"/>
                  <a:gd name="connsiteX87" fmla="*/ 2391728 w 3574732"/>
                  <a:gd name="connsiteY87" fmla="*/ 101008 h 1473560"/>
                  <a:gd name="connsiteX88" fmla="*/ 2375535 w 3574732"/>
                  <a:gd name="connsiteY88" fmla="*/ 96245 h 1473560"/>
                  <a:gd name="connsiteX89" fmla="*/ 2370773 w 3574732"/>
                  <a:gd name="connsiteY89" fmla="*/ 93388 h 1473560"/>
                  <a:gd name="connsiteX90" fmla="*/ 2359343 w 3574732"/>
                  <a:gd name="connsiteY90" fmla="*/ 90530 h 1473560"/>
                  <a:gd name="connsiteX91" fmla="*/ 2347913 w 3574732"/>
                  <a:gd name="connsiteY91" fmla="*/ 90530 h 1473560"/>
                  <a:gd name="connsiteX92" fmla="*/ 2339340 w 3574732"/>
                  <a:gd name="connsiteY92" fmla="*/ 90530 h 1473560"/>
                  <a:gd name="connsiteX93" fmla="*/ 2328863 w 3574732"/>
                  <a:gd name="connsiteY93" fmla="*/ 90530 h 1473560"/>
                  <a:gd name="connsiteX94" fmla="*/ 2314575 w 3574732"/>
                  <a:gd name="connsiteY94" fmla="*/ 91483 h 1473560"/>
                  <a:gd name="connsiteX95" fmla="*/ 2304098 w 3574732"/>
                  <a:gd name="connsiteY95" fmla="*/ 91483 h 1473560"/>
                  <a:gd name="connsiteX96" fmla="*/ 2292668 w 3574732"/>
                  <a:gd name="connsiteY96" fmla="*/ 91483 h 1473560"/>
                  <a:gd name="connsiteX97" fmla="*/ 2279333 w 3574732"/>
                  <a:gd name="connsiteY97" fmla="*/ 88625 h 1473560"/>
                  <a:gd name="connsiteX98" fmla="*/ 2262188 w 3574732"/>
                  <a:gd name="connsiteY98" fmla="*/ 85768 h 1473560"/>
                  <a:gd name="connsiteX99" fmla="*/ 2237423 w 3574732"/>
                  <a:gd name="connsiteY99" fmla="*/ 84815 h 1473560"/>
                  <a:gd name="connsiteX100" fmla="*/ 2232660 w 3574732"/>
                  <a:gd name="connsiteY100" fmla="*/ 82910 h 1473560"/>
                  <a:gd name="connsiteX101" fmla="*/ 2225040 w 3574732"/>
                  <a:gd name="connsiteY101" fmla="*/ 82910 h 1473560"/>
                  <a:gd name="connsiteX102" fmla="*/ 2213610 w 3574732"/>
                  <a:gd name="connsiteY102" fmla="*/ 85768 h 1473560"/>
                  <a:gd name="connsiteX103" fmla="*/ 2189798 w 3574732"/>
                  <a:gd name="connsiteY103" fmla="*/ 94340 h 1473560"/>
                  <a:gd name="connsiteX104" fmla="*/ 2170748 w 3574732"/>
                  <a:gd name="connsiteY104" fmla="*/ 95293 h 1473560"/>
                  <a:gd name="connsiteX105" fmla="*/ 2159318 w 3574732"/>
                  <a:gd name="connsiteY105" fmla="*/ 99103 h 1473560"/>
                  <a:gd name="connsiteX106" fmla="*/ 2141220 w 3574732"/>
                  <a:gd name="connsiteY106" fmla="*/ 104818 h 1473560"/>
                  <a:gd name="connsiteX107" fmla="*/ 2127885 w 3574732"/>
                  <a:gd name="connsiteY107" fmla="*/ 103865 h 1473560"/>
                  <a:gd name="connsiteX108" fmla="*/ 2117408 w 3574732"/>
                  <a:gd name="connsiteY108" fmla="*/ 101008 h 1473560"/>
                  <a:gd name="connsiteX109" fmla="*/ 2123123 w 3574732"/>
                  <a:gd name="connsiteY109" fmla="*/ 96245 h 1473560"/>
                  <a:gd name="connsiteX110" fmla="*/ 2146935 w 3574732"/>
                  <a:gd name="connsiteY110" fmla="*/ 90530 h 1473560"/>
                  <a:gd name="connsiteX111" fmla="*/ 2162175 w 3574732"/>
                  <a:gd name="connsiteY111" fmla="*/ 84815 h 1473560"/>
                  <a:gd name="connsiteX112" fmla="*/ 2170748 w 3574732"/>
                  <a:gd name="connsiteY112" fmla="*/ 81958 h 1473560"/>
                  <a:gd name="connsiteX113" fmla="*/ 2194560 w 3574732"/>
                  <a:gd name="connsiteY113" fmla="*/ 67670 h 1473560"/>
                  <a:gd name="connsiteX114" fmla="*/ 2205038 w 3574732"/>
                  <a:gd name="connsiteY114" fmla="*/ 67670 h 1473560"/>
                  <a:gd name="connsiteX115" fmla="*/ 2222183 w 3574732"/>
                  <a:gd name="connsiteY115" fmla="*/ 67670 h 1473560"/>
                  <a:gd name="connsiteX116" fmla="*/ 2241233 w 3574732"/>
                  <a:gd name="connsiteY116" fmla="*/ 67670 h 1473560"/>
                  <a:gd name="connsiteX117" fmla="*/ 2265045 w 3574732"/>
                  <a:gd name="connsiteY117" fmla="*/ 61955 h 1473560"/>
                  <a:gd name="connsiteX118" fmla="*/ 2266950 w 3574732"/>
                  <a:gd name="connsiteY118" fmla="*/ 55288 h 1473560"/>
                  <a:gd name="connsiteX119" fmla="*/ 2265998 w 3574732"/>
                  <a:gd name="connsiteY119" fmla="*/ 45763 h 1473560"/>
                  <a:gd name="connsiteX120" fmla="*/ 2263140 w 3574732"/>
                  <a:gd name="connsiteY120" fmla="*/ 38143 h 1473560"/>
                  <a:gd name="connsiteX121" fmla="*/ 2257425 w 3574732"/>
                  <a:gd name="connsiteY121" fmla="*/ 25760 h 1473560"/>
                  <a:gd name="connsiteX122" fmla="*/ 2241233 w 3574732"/>
                  <a:gd name="connsiteY122" fmla="*/ 22903 h 1473560"/>
                  <a:gd name="connsiteX123" fmla="*/ 2225040 w 3574732"/>
                  <a:gd name="connsiteY123" fmla="*/ 19093 h 1473560"/>
                  <a:gd name="connsiteX124" fmla="*/ 2216468 w 3574732"/>
                  <a:gd name="connsiteY124" fmla="*/ 19093 h 1473560"/>
                  <a:gd name="connsiteX125" fmla="*/ 2211705 w 3574732"/>
                  <a:gd name="connsiteY125" fmla="*/ 18140 h 1473560"/>
                  <a:gd name="connsiteX126" fmla="*/ 2195513 w 3574732"/>
                  <a:gd name="connsiteY126" fmla="*/ 19093 h 1473560"/>
                  <a:gd name="connsiteX127" fmla="*/ 2182178 w 3574732"/>
                  <a:gd name="connsiteY127" fmla="*/ 17188 h 1473560"/>
                  <a:gd name="connsiteX128" fmla="*/ 2161223 w 3574732"/>
                  <a:gd name="connsiteY128" fmla="*/ 16235 h 1473560"/>
                  <a:gd name="connsiteX129" fmla="*/ 2142173 w 3574732"/>
                  <a:gd name="connsiteY129" fmla="*/ 16235 h 1473560"/>
                  <a:gd name="connsiteX130" fmla="*/ 2131695 w 3574732"/>
                  <a:gd name="connsiteY130" fmla="*/ 13378 h 1473560"/>
                  <a:gd name="connsiteX131" fmla="*/ 2130743 w 3574732"/>
                  <a:gd name="connsiteY131" fmla="*/ 1948 h 1473560"/>
                  <a:gd name="connsiteX132" fmla="*/ 2120265 w 3574732"/>
                  <a:gd name="connsiteY132" fmla="*/ 995 h 1473560"/>
                  <a:gd name="connsiteX133" fmla="*/ 2093595 w 3574732"/>
                  <a:gd name="connsiteY133" fmla="*/ 1948 h 1473560"/>
                  <a:gd name="connsiteX134" fmla="*/ 2074545 w 3574732"/>
                  <a:gd name="connsiteY134" fmla="*/ 995 h 1473560"/>
                  <a:gd name="connsiteX135" fmla="*/ 2057400 w 3574732"/>
                  <a:gd name="connsiteY135" fmla="*/ 43 h 1473560"/>
                  <a:gd name="connsiteX136" fmla="*/ 2052638 w 3574732"/>
                  <a:gd name="connsiteY136" fmla="*/ 14330 h 1473560"/>
                  <a:gd name="connsiteX137" fmla="*/ 2052638 w 3574732"/>
                  <a:gd name="connsiteY137" fmla="*/ 19093 h 1473560"/>
                  <a:gd name="connsiteX138" fmla="*/ 2049780 w 3574732"/>
                  <a:gd name="connsiteY138" fmla="*/ 22903 h 1473560"/>
                  <a:gd name="connsiteX139" fmla="*/ 2038350 w 3574732"/>
                  <a:gd name="connsiteY139" fmla="*/ 27665 h 1473560"/>
                  <a:gd name="connsiteX140" fmla="*/ 2026920 w 3574732"/>
                  <a:gd name="connsiteY140" fmla="*/ 31475 h 1473560"/>
                  <a:gd name="connsiteX141" fmla="*/ 2010728 w 3574732"/>
                  <a:gd name="connsiteY141" fmla="*/ 33380 h 1473560"/>
                  <a:gd name="connsiteX142" fmla="*/ 1985963 w 3574732"/>
                  <a:gd name="connsiteY142" fmla="*/ 36238 h 1473560"/>
                  <a:gd name="connsiteX143" fmla="*/ 1981200 w 3574732"/>
                  <a:gd name="connsiteY143" fmla="*/ 35285 h 1473560"/>
                  <a:gd name="connsiteX144" fmla="*/ 1960245 w 3574732"/>
                  <a:gd name="connsiteY144" fmla="*/ 34333 h 1473560"/>
                  <a:gd name="connsiteX145" fmla="*/ 1949768 w 3574732"/>
                  <a:gd name="connsiteY145" fmla="*/ 34333 h 1473560"/>
                  <a:gd name="connsiteX146" fmla="*/ 1939290 w 3574732"/>
                  <a:gd name="connsiteY146" fmla="*/ 35285 h 1473560"/>
                  <a:gd name="connsiteX147" fmla="*/ 1918335 w 3574732"/>
                  <a:gd name="connsiteY147" fmla="*/ 39095 h 1473560"/>
                  <a:gd name="connsiteX148" fmla="*/ 1897380 w 3574732"/>
                  <a:gd name="connsiteY148" fmla="*/ 42905 h 1473560"/>
                  <a:gd name="connsiteX149" fmla="*/ 1873568 w 3574732"/>
                  <a:gd name="connsiteY149" fmla="*/ 46715 h 1473560"/>
                  <a:gd name="connsiteX150" fmla="*/ 1855470 w 3574732"/>
                  <a:gd name="connsiteY150" fmla="*/ 47668 h 1473560"/>
                  <a:gd name="connsiteX151" fmla="*/ 1850708 w 3574732"/>
                  <a:gd name="connsiteY151" fmla="*/ 47668 h 1473560"/>
                  <a:gd name="connsiteX152" fmla="*/ 1825943 w 3574732"/>
                  <a:gd name="connsiteY152" fmla="*/ 54335 h 1473560"/>
                  <a:gd name="connsiteX153" fmla="*/ 1812608 w 3574732"/>
                  <a:gd name="connsiteY153" fmla="*/ 58145 h 1473560"/>
                  <a:gd name="connsiteX154" fmla="*/ 1804035 w 3574732"/>
                  <a:gd name="connsiteY154" fmla="*/ 65765 h 1473560"/>
                  <a:gd name="connsiteX155" fmla="*/ 1795463 w 3574732"/>
                  <a:gd name="connsiteY155" fmla="*/ 74338 h 1473560"/>
                  <a:gd name="connsiteX156" fmla="*/ 1786890 w 3574732"/>
                  <a:gd name="connsiteY156" fmla="*/ 76243 h 1473560"/>
                  <a:gd name="connsiteX157" fmla="*/ 1770698 w 3574732"/>
                  <a:gd name="connsiteY157" fmla="*/ 80053 h 1473560"/>
                  <a:gd name="connsiteX158" fmla="*/ 1755458 w 3574732"/>
                  <a:gd name="connsiteY158" fmla="*/ 86720 h 1473560"/>
                  <a:gd name="connsiteX159" fmla="*/ 1728788 w 3574732"/>
                  <a:gd name="connsiteY159" fmla="*/ 87673 h 1473560"/>
                  <a:gd name="connsiteX160" fmla="*/ 1721168 w 3574732"/>
                  <a:gd name="connsiteY160" fmla="*/ 87673 h 1473560"/>
                  <a:gd name="connsiteX161" fmla="*/ 1712595 w 3574732"/>
                  <a:gd name="connsiteY161" fmla="*/ 88625 h 1473560"/>
                  <a:gd name="connsiteX162" fmla="*/ 1709738 w 3574732"/>
                  <a:gd name="connsiteY162" fmla="*/ 93388 h 1473560"/>
                  <a:gd name="connsiteX163" fmla="*/ 1704975 w 3574732"/>
                  <a:gd name="connsiteY163" fmla="*/ 102913 h 1473560"/>
                  <a:gd name="connsiteX164" fmla="*/ 1704975 w 3574732"/>
                  <a:gd name="connsiteY164" fmla="*/ 108628 h 1473560"/>
                  <a:gd name="connsiteX165" fmla="*/ 1703070 w 3574732"/>
                  <a:gd name="connsiteY165" fmla="*/ 115295 h 1473560"/>
                  <a:gd name="connsiteX166" fmla="*/ 1701165 w 3574732"/>
                  <a:gd name="connsiteY166" fmla="*/ 123868 h 1473560"/>
                  <a:gd name="connsiteX167" fmla="*/ 1698308 w 3574732"/>
                  <a:gd name="connsiteY167" fmla="*/ 127678 h 1473560"/>
                  <a:gd name="connsiteX168" fmla="*/ 1675448 w 3574732"/>
                  <a:gd name="connsiteY168" fmla="*/ 121010 h 1473560"/>
                  <a:gd name="connsiteX169" fmla="*/ 1674495 w 3574732"/>
                  <a:gd name="connsiteY169" fmla="*/ 114343 h 1473560"/>
                  <a:gd name="connsiteX170" fmla="*/ 1666875 w 3574732"/>
                  <a:gd name="connsiteY170" fmla="*/ 111485 h 1473560"/>
                  <a:gd name="connsiteX171" fmla="*/ 1652588 w 3574732"/>
                  <a:gd name="connsiteY171" fmla="*/ 111485 h 1473560"/>
                  <a:gd name="connsiteX172" fmla="*/ 1644968 w 3574732"/>
                  <a:gd name="connsiteY172" fmla="*/ 111485 h 1473560"/>
                  <a:gd name="connsiteX173" fmla="*/ 1637348 w 3574732"/>
                  <a:gd name="connsiteY173" fmla="*/ 121963 h 1473560"/>
                  <a:gd name="connsiteX174" fmla="*/ 1626870 w 3574732"/>
                  <a:gd name="connsiteY174" fmla="*/ 124820 h 1473560"/>
                  <a:gd name="connsiteX175" fmla="*/ 1626870 w 3574732"/>
                  <a:gd name="connsiteY175" fmla="*/ 127678 h 1473560"/>
                  <a:gd name="connsiteX176" fmla="*/ 1624013 w 3574732"/>
                  <a:gd name="connsiteY176" fmla="*/ 133393 h 1473560"/>
                  <a:gd name="connsiteX177" fmla="*/ 1609725 w 3574732"/>
                  <a:gd name="connsiteY177" fmla="*/ 130535 h 1473560"/>
                  <a:gd name="connsiteX178" fmla="*/ 1605915 w 3574732"/>
                  <a:gd name="connsiteY178" fmla="*/ 120058 h 1473560"/>
                  <a:gd name="connsiteX179" fmla="*/ 1607820 w 3574732"/>
                  <a:gd name="connsiteY179" fmla="*/ 109580 h 1473560"/>
                  <a:gd name="connsiteX180" fmla="*/ 1606868 w 3574732"/>
                  <a:gd name="connsiteY180" fmla="*/ 103865 h 1473560"/>
                  <a:gd name="connsiteX181" fmla="*/ 1599248 w 3574732"/>
                  <a:gd name="connsiteY181" fmla="*/ 111485 h 1473560"/>
                  <a:gd name="connsiteX182" fmla="*/ 1584008 w 3574732"/>
                  <a:gd name="connsiteY182" fmla="*/ 119105 h 1473560"/>
                  <a:gd name="connsiteX183" fmla="*/ 1575435 w 3574732"/>
                  <a:gd name="connsiteY183" fmla="*/ 128630 h 1473560"/>
                  <a:gd name="connsiteX184" fmla="*/ 1572578 w 3574732"/>
                  <a:gd name="connsiteY184" fmla="*/ 133393 h 1473560"/>
                  <a:gd name="connsiteX185" fmla="*/ 1572578 w 3574732"/>
                  <a:gd name="connsiteY185" fmla="*/ 146728 h 1473560"/>
                  <a:gd name="connsiteX186" fmla="*/ 1585913 w 3574732"/>
                  <a:gd name="connsiteY186" fmla="*/ 154348 h 1473560"/>
                  <a:gd name="connsiteX187" fmla="*/ 1591628 w 3574732"/>
                  <a:gd name="connsiteY187" fmla="*/ 157205 h 1473560"/>
                  <a:gd name="connsiteX188" fmla="*/ 1592580 w 3574732"/>
                  <a:gd name="connsiteY188" fmla="*/ 162920 h 1473560"/>
                  <a:gd name="connsiteX189" fmla="*/ 1589723 w 3574732"/>
                  <a:gd name="connsiteY189" fmla="*/ 168635 h 1473560"/>
                  <a:gd name="connsiteX190" fmla="*/ 1587818 w 3574732"/>
                  <a:gd name="connsiteY190" fmla="*/ 177208 h 1473560"/>
                  <a:gd name="connsiteX191" fmla="*/ 1593533 w 3574732"/>
                  <a:gd name="connsiteY191" fmla="*/ 177208 h 1473560"/>
                  <a:gd name="connsiteX192" fmla="*/ 1604010 w 3574732"/>
                  <a:gd name="connsiteY192" fmla="*/ 180065 h 1473560"/>
                  <a:gd name="connsiteX193" fmla="*/ 1602105 w 3574732"/>
                  <a:gd name="connsiteY193" fmla="*/ 184828 h 1473560"/>
                  <a:gd name="connsiteX194" fmla="*/ 1599248 w 3574732"/>
                  <a:gd name="connsiteY194" fmla="*/ 191495 h 1473560"/>
                  <a:gd name="connsiteX195" fmla="*/ 1589723 w 3574732"/>
                  <a:gd name="connsiteY195" fmla="*/ 202925 h 1473560"/>
                  <a:gd name="connsiteX196" fmla="*/ 1584008 w 3574732"/>
                  <a:gd name="connsiteY196" fmla="*/ 208640 h 1473560"/>
                  <a:gd name="connsiteX197" fmla="*/ 1579245 w 3574732"/>
                  <a:gd name="connsiteY197" fmla="*/ 213403 h 1473560"/>
                  <a:gd name="connsiteX198" fmla="*/ 1574483 w 3574732"/>
                  <a:gd name="connsiteY198" fmla="*/ 215308 h 1473560"/>
                  <a:gd name="connsiteX199" fmla="*/ 1564005 w 3574732"/>
                  <a:gd name="connsiteY199" fmla="*/ 225785 h 1473560"/>
                  <a:gd name="connsiteX200" fmla="*/ 1555433 w 3574732"/>
                  <a:gd name="connsiteY200" fmla="*/ 229595 h 1473560"/>
                  <a:gd name="connsiteX201" fmla="*/ 1542098 w 3574732"/>
                  <a:gd name="connsiteY201" fmla="*/ 234358 h 1473560"/>
                  <a:gd name="connsiteX202" fmla="*/ 1537335 w 3574732"/>
                  <a:gd name="connsiteY202" fmla="*/ 239120 h 1473560"/>
                  <a:gd name="connsiteX203" fmla="*/ 1526858 w 3574732"/>
                  <a:gd name="connsiteY203" fmla="*/ 241025 h 1473560"/>
                  <a:gd name="connsiteX204" fmla="*/ 1521143 w 3574732"/>
                  <a:gd name="connsiteY204" fmla="*/ 237215 h 1473560"/>
                  <a:gd name="connsiteX205" fmla="*/ 1525905 w 3574732"/>
                  <a:gd name="connsiteY205" fmla="*/ 232453 h 1473560"/>
                  <a:gd name="connsiteX206" fmla="*/ 1539240 w 3574732"/>
                  <a:gd name="connsiteY206" fmla="*/ 225785 h 1473560"/>
                  <a:gd name="connsiteX207" fmla="*/ 1552575 w 3574732"/>
                  <a:gd name="connsiteY207" fmla="*/ 218165 h 1473560"/>
                  <a:gd name="connsiteX208" fmla="*/ 1560195 w 3574732"/>
                  <a:gd name="connsiteY208" fmla="*/ 206735 h 1473560"/>
                  <a:gd name="connsiteX209" fmla="*/ 1563053 w 3574732"/>
                  <a:gd name="connsiteY209" fmla="*/ 198163 h 1473560"/>
                  <a:gd name="connsiteX210" fmla="*/ 1562100 w 3574732"/>
                  <a:gd name="connsiteY210" fmla="*/ 193400 h 1473560"/>
                  <a:gd name="connsiteX211" fmla="*/ 1561148 w 3574732"/>
                  <a:gd name="connsiteY211" fmla="*/ 186733 h 1473560"/>
                  <a:gd name="connsiteX212" fmla="*/ 1558290 w 3574732"/>
                  <a:gd name="connsiteY212" fmla="*/ 176255 h 1473560"/>
                  <a:gd name="connsiteX213" fmla="*/ 1561148 w 3574732"/>
                  <a:gd name="connsiteY213" fmla="*/ 166730 h 1473560"/>
                  <a:gd name="connsiteX214" fmla="*/ 1554480 w 3574732"/>
                  <a:gd name="connsiteY214" fmla="*/ 156253 h 1473560"/>
                  <a:gd name="connsiteX215" fmla="*/ 1557338 w 3574732"/>
                  <a:gd name="connsiteY215" fmla="*/ 144823 h 1473560"/>
                  <a:gd name="connsiteX216" fmla="*/ 1550670 w 3574732"/>
                  <a:gd name="connsiteY216" fmla="*/ 130535 h 1473560"/>
                  <a:gd name="connsiteX217" fmla="*/ 1553528 w 3574732"/>
                  <a:gd name="connsiteY217" fmla="*/ 122915 h 1473560"/>
                  <a:gd name="connsiteX218" fmla="*/ 1558290 w 3574732"/>
                  <a:gd name="connsiteY218" fmla="*/ 116248 h 1473560"/>
                  <a:gd name="connsiteX219" fmla="*/ 1557338 w 3574732"/>
                  <a:gd name="connsiteY219" fmla="*/ 107675 h 1473560"/>
                  <a:gd name="connsiteX220" fmla="*/ 1549718 w 3574732"/>
                  <a:gd name="connsiteY220" fmla="*/ 104818 h 1473560"/>
                  <a:gd name="connsiteX221" fmla="*/ 1525905 w 3574732"/>
                  <a:gd name="connsiteY221" fmla="*/ 104818 h 1473560"/>
                  <a:gd name="connsiteX222" fmla="*/ 1517333 w 3574732"/>
                  <a:gd name="connsiteY222" fmla="*/ 107675 h 1473560"/>
                  <a:gd name="connsiteX223" fmla="*/ 1505903 w 3574732"/>
                  <a:gd name="connsiteY223" fmla="*/ 110533 h 1473560"/>
                  <a:gd name="connsiteX224" fmla="*/ 1501140 w 3574732"/>
                  <a:gd name="connsiteY224" fmla="*/ 116248 h 1473560"/>
                  <a:gd name="connsiteX225" fmla="*/ 1485900 w 3574732"/>
                  <a:gd name="connsiteY225" fmla="*/ 128630 h 1473560"/>
                  <a:gd name="connsiteX226" fmla="*/ 1477328 w 3574732"/>
                  <a:gd name="connsiteY226" fmla="*/ 130535 h 1473560"/>
                  <a:gd name="connsiteX227" fmla="*/ 1469708 w 3574732"/>
                  <a:gd name="connsiteY227" fmla="*/ 141013 h 1473560"/>
                  <a:gd name="connsiteX228" fmla="*/ 1462088 w 3574732"/>
                  <a:gd name="connsiteY228" fmla="*/ 150538 h 1473560"/>
                  <a:gd name="connsiteX229" fmla="*/ 1463040 w 3574732"/>
                  <a:gd name="connsiteY229" fmla="*/ 162920 h 1473560"/>
                  <a:gd name="connsiteX230" fmla="*/ 1471613 w 3574732"/>
                  <a:gd name="connsiteY230" fmla="*/ 165778 h 1473560"/>
                  <a:gd name="connsiteX231" fmla="*/ 1474470 w 3574732"/>
                  <a:gd name="connsiteY231" fmla="*/ 174350 h 1473560"/>
                  <a:gd name="connsiteX232" fmla="*/ 1478280 w 3574732"/>
                  <a:gd name="connsiteY232" fmla="*/ 181018 h 1473560"/>
                  <a:gd name="connsiteX233" fmla="*/ 1483043 w 3574732"/>
                  <a:gd name="connsiteY233" fmla="*/ 184828 h 1473560"/>
                  <a:gd name="connsiteX234" fmla="*/ 1497330 w 3574732"/>
                  <a:gd name="connsiteY234" fmla="*/ 188638 h 1473560"/>
                  <a:gd name="connsiteX235" fmla="*/ 1497330 w 3574732"/>
                  <a:gd name="connsiteY235" fmla="*/ 175303 h 1473560"/>
                  <a:gd name="connsiteX236" fmla="*/ 1495425 w 3574732"/>
                  <a:gd name="connsiteY236" fmla="*/ 179113 h 1473560"/>
                  <a:gd name="connsiteX237" fmla="*/ 1479233 w 3574732"/>
                  <a:gd name="connsiteY237" fmla="*/ 177208 h 1473560"/>
                  <a:gd name="connsiteX238" fmla="*/ 1465898 w 3574732"/>
                  <a:gd name="connsiteY238" fmla="*/ 175303 h 1473560"/>
                  <a:gd name="connsiteX239" fmla="*/ 1455420 w 3574732"/>
                  <a:gd name="connsiteY239" fmla="*/ 169588 h 1473560"/>
                  <a:gd name="connsiteX240" fmla="*/ 1449705 w 3574732"/>
                  <a:gd name="connsiteY240" fmla="*/ 164825 h 1473560"/>
                  <a:gd name="connsiteX241" fmla="*/ 1441133 w 3574732"/>
                  <a:gd name="connsiteY241" fmla="*/ 159110 h 1473560"/>
                  <a:gd name="connsiteX242" fmla="*/ 1427798 w 3574732"/>
                  <a:gd name="connsiteY242" fmla="*/ 155300 h 1473560"/>
                  <a:gd name="connsiteX243" fmla="*/ 1403033 w 3574732"/>
                  <a:gd name="connsiteY243" fmla="*/ 150538 h 1473560"/>
                  <a:gd name="connsiteX244" fmla="*/ 1394460 w 3574732"/>
                  <a:gd name="connsiteY244" fmla="*/ 150538 h 1473560"/>
                  <a:gd name="connsiteX245" fmla="*/ 1383983 w 3574732"/>
                  <a:gd name="connsiteY245" fmla="*/ 149585 h 1473560"/>
                  <a:gd name="connsiteX246" fmla="*/ 1369695 w 3574732"/>
                  <a:gd name="connsiteY246" fmla="*/ 148633 h 1473560"/>
                  <a:gd name="connsiteX247" fmla="*/ 1348740 w 3574732"/>
                  <a:gd name="connsiteY247" fmla="*/ 144823 h 1473560"/>
                  <a:gd name="connsiteX248" fmla="*/ 1341120 w 3574732"/>
                  <a:gd name="connsiteY248" fmla="*/ 141013 h 1473560"/>
                  <a:gd name="connsiteX249" fmla="*/ 1330643 w 3574732"/>
                  <a:gd name="connsiteY249" fmla="*/ 141013 h 1473560"/>
                  <a:gd name="connsiteX250" fmla="*/ 1327785 w 3574732"/>
                  <a:gd name="connsiteY250" fmla="*/ 147680 h 1473560"/>
                  <a:gd name="connsiteX251" fmla="*/ 1338263 w 3574732"/>
                  <a:gd name="connsiteY251" fmla="*/ 152443 h 1473560"/>
                  <a:gd name="connsiteX252" fmla="*/ 1346835 w 3574732"/>
                  <a:gd name="connsiteY252" fmla="*/ 158158 h 1473560"/>
                  <a:gd name="connsiteX253" fmla="*/ 1346835 w 3574732"/>
                  <a:gd name="connsiteY253" fmla="*/ 163873 h 1473560"/>
                  <a:gd name="connsiteX254" fmla="*/ 1342073 w 3574732"/>
                  <a:gd name="connsiteY254" fmla="*/ 167683 h 1473560"/>
                  <a:gd name="connsiteX255" fmla="*/ 1331595 w 3574732"/>
                  <a:gd name="connsiteY255" fmla="*/ 168635 h 1473560"/>
                  <a:gd name="connsiteX256" fmla="*/ 1320165 w 3574732"/>
                  <a:gd name="connsiteY256" fmla="*/ 170540 h 1473560"/>
                  <a:gd name="connsiteX257" fmla="*/ 1308735 w 3574732"/>
                  <a:gd name="connsiteY257" fmla="*/ 170540 h 1473560"/>
                  <a:gd name="connsiteX258" fmla="*/ 1292543 w 3574732"/>
                  <a:gd name="connsiteY258" fmla="*/ 171493 h 1473560"/>
                  <a:gd name="connsiteX259" fmla="*/ 1274445 w 3574732"/>
                  <a:gd name="connsiteY259" fmla="*/ 174350 h 1473560"/>
                  <a:gd name="connsiteX260" fmla="*/ 1265873 w 3574732"/>
                  <a:gd name="connsiteY260" fmla="*/ 175303 h 1473560"/>
                  <a:gd name="connsiteX261" fmla="*/ 1255395 w 3574732"/>
                  <a:gd name="connsiteY261" fmla="*/ 176255 h 1473560"/>
                  <a:gd name="connsiteX262" fmla="*/ 1244918 w 3574732"/>
                  <a:gd name="connsiteY262" fmla="*/ 175303 h 1473560"/>
                  <a:gd name="connsiteX263" fmla="*/ 1231583 w 3574732"/>
                  <a:gd name="connsiteY263" fmla="*/ 171493 h 1473560"/>
                  <a:gd name="connsiteX264" fmla="*/ 1226820 w 3574732"/>
                  <a:gd name="connsiteY264" fmla="*/ 168635 h 1473560"/>
                  <a:gd name="connsiteX265" fmla="*/ 1221105 w 3574732"/>
                  <a:gd name="connsiteY265" fmla="*/ 168635 h 1473560"/>
                  <a:gd name="connsiteX266" fmla="*/ 1194435 w 3574732"/>
                  <a:gd name="connsiteY266" fmla="*/ 171493 h 1473560"/>
                  <a:gd name="connsiteX267" fmla="*/ 1185863 w 3574732"/>
                  <a:gd name="connsiteY267" fmla="*/ 177208 h 1473560"/>
                  <a:gd name="connsiteX268" fmla="*/ 1161098 w 3574732"/>
                  <a:gd name="connsiteY268" fmla="*/ 184828 h 1473560"/>
                  <a:gd name="connsiteX269" fmla="*/ 1153478 w 3574732"/>
                  <a:gd name="connsiteY269" fmla="*/ 187685 h 1473560"/>
                  <a:gd name="connsiteX270" fmla="*/ 1134428 w 3574732"/>
                  <a:gd name="connsiteY270" fmla="*/ 196258 h 1473560"/>
                  <a:gd name="connsiteX271" fmla="*/ 1121093 w 3574732"/>
                  <a:gd name="connsiteY271" fmla="*/ 196258 h 1473560"/>
                  <a:gd name="connsiteX272" fmla="*/ 1113473 w 3574732"/>
                  <a:gd name="connsiteY272" fmla="*/ 201973 h 1473560"/>
                  <a:gd name="connsiteX273" fmla="*/ 1097280 w 3574732"/>
                  <a:gd name="connsiteY273" fmla="*/ 199115 h 1473560"/>
                  <a:gd name="connsiteX274" fmla="*/ 1088708 w 3574732"/>
                  <a:gd name="connsiteY274" fmla="*/ 191495 h 1473560"/>
                  <a:gd name="connsiteX275" fmla="*/ 1087755 w 3574732"/>
                  <a:gd name="connsiteY275" fmla="*/ 188638 h 1473560"/>
                  <a:gd name="connsiteX276" fmla="*/ 1099185 w 3574732"/>
                  <a:gd name="connsiteY276" fmla="*/ 188638 h 1473560"/>
                  <a:gd name="connsiteX277" fmla="*/ 1121093 w 3574732"/>
                  <a:gd name="connsiteY277" fmla="*/ 181018 h 1473560"/>
                  <a:gd name="connsiteX278" fmla="*/ 1087755 w 3574732"/>
                  <a:gd name="connsiteY278" fmla="*/ 179113 h 1473560"/>
                  <a:gd name="connsiteX279" fmla="*/ 1071563 w 3574732"/>
                  <a:gd name="connsiteY279" fmla="*/ 179113 h 1473560"/>
                  <a:gd name="connsiteX280" fmla="*/ 1062990 w 3574732"/>
                  <a:gd name="connsiteY280" fmla="*/ 182923 h 1473560"/>
                  <a:gd name="connsiteX281" fmla="*/ 1058228 w 3574732"/>
                  <a:gd name="connsiteY281" fmla="*/ 190543 h 1473560"/>
                  <a:gd name="connsiteX282" fmla="*/ 1055370 w 3574732"/>
                  <a:gd name="connsiteY282" fmla="*/ 203878 h 1473560"/>
                  <a:gd name="connsiteX283" fmla="*/ 1048703 w 3574732"/>
                  <a:gd name="connsiteY283" fmla="*/ 218165 h 1473560"/>
                  <a:gd name="connsiteX284" fmla="*/ 1034415 w 3574732"/>
                  <a:gd name="connsiteY284" fmla="*/ 214355 h 1473560"/>
                  <a:gd name="connsiteX285" fmla="*/ 1025843 w 3574732"/>
                  <a:gd name="connsiteY285" fmla="*/ 216260 h 1473560"/>
                  <a:gd name="connsiteX286" fmla="*/ 1021080 w 3574732"/>
                  <a:gd name="connsiteY286" fmla="*/ 219118 h 1473560"/>
                  <a:gd name="connsiteX287" fmla="*/ 1010603 w 3574732"/>
                  <a:gd name="connsiteY287" fmla="*/ 224833 h 1473560"/>
                  <a:gd name="connsiteX288" fmla="*/ 1002983 w 3574732"/>
                  <a:gd name="connsiteY288" fmla="*/ 225785 h 1473560"/>
                  <a:gd name="connsiteX289" fmla="*/ 997268 w 3574732"/>
                  <a:gd name="connsiteY289" fmla="*/ 227690 h 1473560"/>
                  <a:gd name="connsiteX290" fmla="*/ 995363 w 3574732"/>
                  <a:gd name="connsiteY290" fmla="*/ 233405 h 1473560"/>
                  <a:gd name="connsiteX291" fmla="*/ 990600 w 3574732"/>
                  <a:gd name="connsiteY291" fmla="*/ 240073 h 1473560"/>
                  <a:gd name="connsiteX292" fmla="*/ 980123 w 3574732"/>
                  <a:gd name="connsiteY292" fmla="*/ 246740 h 1473560"/>
                  <a:gd name="connsiteX293" fmla="*/ 969645 w 3574732"/>
                  <a:gd name="connsiteY293" fmla="*/ 245788 h 1473560"/>
                  <a:gd name="connsiteX294" fmla="*/ 958215 w 3574732"/>
                  <a:gd name="connsiteY294" fmla="*/ 241978 h 1473560"/>
                  <a:gd name="connsiteX295" fmla="*/ 950595 w 3574732"/>
                  <a:gd name="connsiteY295" fmla="*/ 239120 h 1473560"/>
                  <a:gd name="connsiteX296" fmla="*/ 940118 w 3574732"/>
                  <a:gd name="connsiteY296" fmla="*/ 238168 h 1473560"/>
                  <a:gd name="connsiteX297" fmla="*/ 932498 w 3574732"/>
                  <a:gd name="connsiteY297" fmla="*/ 241978 h 1473560"/>
                  <a:gd name="connsiteX298" fmla="*/ 933450 w 3574732"/>
                  <a:gd name="connsiteY298" fmla="*/ 250550 h 1473560"/>
                  <a:gd name="connsiteX299" fmla="*/ 949643 w 3574732"/>
                  <a:gd name="connsiteY299" fmla="*/ 258170 h 1473560"/>
                  <a:gd name="connsiteX300" fmla="*/ 925830 w 3574732"/>
                  <a:gd name="connsiteY300" fmla="*/ 257218 h 1473560"/>
                  <a:gd name="connsiteX301" fmla="*/ 908685 w 3574732"/>
                  <a:gd name="connsiteY301" fmla="*/ 248645 h 1473560"/>
                  <a:gd name="connsiteX302" fmla="*/ 908685 w 3574732"/>
                  <a:gd name="connsiteY302" fmla="*/ 245788 h 1473560"/>
                  <a:gd name="connsiteX303" fmla="*/ 907733 w 3574732"/>
                  <a:gd name="connsiteY303" fmla="*/ 238168 h 1473560"/>
                  <a:gd name="connsiteX304" fmla="*/ 907733 w 3574732"/>
                  <a:gd name="connsiteY304" fmla="*/ 231500 h 1473560"/>
                  <a:gd name="connsiteX305" fmla="*/ 907733 w 3574732"/>
                  <a:gd name="connsiteY305" fmla="*/ 225785 h 1473560"/>
                  <a:gd name="connsiteX306" fmla="*/ 887730 w 3574732"/>
                  <a:gd name="connsiteY306" fmla="*/ 215308 h 1473560"/>
                  <a:gd name="connsiteX307" fmla="*/ 892493 w 3574732"/>
                  <a:gd name="connsiteY307" fmla="*/ 215308 h 1473560"/>
                  <a:gd name="connsiteX308" fmla="*/ 895350 w 3574732"/>
                  <a:gd name="connsiteY308" fmla="*/ 215308 h 1473560"/>
                  <a:gd name="connsiteX309" fmla="*/ 902970 w 3574732"/>
                  <a:gd name="connsiteY309" fmla="*/ 216260 h 1473560"/>
                  <a:gd name="connsiteX310" fmla="*/ 923925 w 3574732"/>
                  <a:gd name="connsiteY310" fmla="*/ 218165 h 1473560"/>
                  <a:gd name="connsiteX311" fmla="*/ 942975 w 3574732"/>
                  <a:gd name="connsiteY311" fmla="*/ 215308 h 1473560"/>
                  <a:gd name="connsiteX312" fmla="*/ 951548 w 3574732"/>
                  <a:gd name="connsiteY312" fmla="*/ 215308 h 1473560"/>
                  <a:gd name="connsiteX313" fmla="*/ 962025 w 3574732"/>
                  <a:gd name="connsiteY313" fmla="*/ 217213 h 1473560"/>
                  <a:gd name="connsiteX314" fmla="*/ 983933 w 3574732"/>
                  <a:gd name="connsiteY314" fmla="*/ 219118 h 1473560"/>
                  <a:gd name="connsiteX315" fmla="*/ 1002030 w 3574732"/>
                  <a:gd name="connsiteY315" fmla="*/ 213403 h 1473560"/>
                  <a:gd name="connsiteX316" fmla="*/ 1007745 w 3574732"/>
                  <a:gd name="connsiteY316" fmla="*/ 201973 h 1473560"/>
                  <a:gd name="connsiteX317" fmla="*/ 1001078 w 3574732"/>
                  <a:gd name="connsiteY317" fmla="*/ 189590 h 1473560"/>
                  <a:gd name="connsiteX318" fmla="*/ 984885 w 3574732"/>
                  <a:gd name="connsiteY318" fmla="*/ 185780 h 1473560"/>
                  <a:gd name="connsiteX319" fmla="*/ 968693 w 3574732"/>
                  <a:gd name="connsiteY319" fmla="*/ 179113 h 1473560"/>
                  <a:gd name="connsiteX320" fmla="*/ 952500 w 3574732"/>
                  <a:gd name="connsiteY320" fmla="*/ 173398 h 1473560"/>
                  <a:gd name="connsiteX321" fmla="*/ 942023 w 3574732"/>
                  <a:gd name="connsiteY321" fmla="*/ 169588 h 1473560"/>
                  <a:gd name="connsiteX322" fmla="*/ 927735 w 3574732"/>
                  <a:gd name="connsiteY322" fmla="*/ 166730 h 1473560"/>
                  <a:gd name="connsiteX323" fmla="*/ 916305 w 3574732"/>
                  <a:gd name="connsiteY323" fmla="*/ 163873 h 1473560"/>
                  <a:gd name="connsiteX324" fmla="*/ 896303 w 3574732"/>
                  <a:gd name="connsiteY324" fmla="*/ 159110 h 1473560"/>
                  <a:gd name="connsiteX325" fmla="*/ 887730 w 3574732"/>
                  <a:gd name="connsiteY325" fmla="*/ 155300 h 1473560"/>
                  <a:gd name="connsiteX326" fmla="*/ 868680 w 3574732"/>
                  <a:gd name="connsiteY326" fmla="*/ 151490 h 1473560"/>
                  <a:gd name="connsiteX327" fmla="*/ 851535 w 3574732"/>
                  <a:gd name="connsiteY327" fmla="*/ 146728 h 1473560"/>
                  <a:gd name="connsiteX328" fmla="*/ 834390 w 3574732"/>
                  <a:gd name="connsiteY328" fmla="*/ 139108 h 1473560"/>
                  <a:gd name="connsiteX329" fmla="*/ 818198 w 3574732"/>
                  <a:gd name="connsiteY329" fmla="*/ 137203 h 1473560"/>
                  <a:gd name="connsiteX330" fmla="*/ 787718 w 3574732"/>
                  <a:gd name="connsiteY330" fmla="*/ 136250 h 1473560"/>
                  <a:gd name="connsiteX331" fmla="*/ 760095 w 3574732"/>
                  <a:gd name="connsiteY331" fmla="*/ 133393 h 1473560"/>
                  <a:gd name="connsiteX332" fmla="*/ 754380 w 3574732"/>
                  <a:gd name="connsiteY332" fmla="*/ 133393 h 1473560"/>
                  <a:gd name="connsiteX333" fmla="*/ 736283 w 3574732"/>
                  <a:gd name="connsiteY333" fmla="*/ 134345 h 1473560"/>
                  <a:gd name="connsiteX334" fmla="*/ 715328 w 3574732"/>
                  <a:gd name="connsiteY334" fmla="*/ 135298 h 1473560"/>
                  <a:gd name="connsiteX335" fmla="*/ 701993 w 3574732"/>
                  <a:gd name="connsiteY335" fmla="*/ 140060 h 1473560"/>
                  <a:gd name="connsiteX336" fmla="*/ 690563 w 3574732"/>
                  <a:gd name="connsiteY336" fmla="*/ 140060 h 1473560"/>
                  <a:gd name="connsiteX337" fmla="*/ 684848 w 3574732"/>
                  <a:gd name="connsiteY337" fmla="*/ 140060 h 1473560"/>
                  <a:gd name="connsiteX338" fmla="*/ 670560 w 3574732"/>
                  <a:gd name="connsiteY338" fmla="*/ 141965 h 1473560"/>
                  <a:gd name="connsiteX339" fmla="*/ 662940 w 3574732"/>
                  <a:gd name="connsiteY339" fmla="*/ 142918 h 1473560"/>
                  <a:gd name="connsiteX340" fmla="*/ 652463 w 3574732"/>
                  <a:gd name="connsiteY340" fmla="*/ 147680 h 1473560"/>
                  <a:gd name="connsiteX341" fmla="*/ 637223 w 3574732"/>
                  <a:gd name="connsiteY341" fmla="*/ 153395 h 1473560"/>
                  <a:gd name="connsiteX342" fmla="*/ 619125 w 3574732"/>
                  <a:gd name="connsiteY342" fmla="*/ 158158 h 1473560"/>
                  <a:gd name="connsiteX343" fmla="*/ 605790 w 3574732"/>
                  <a:gd name="connsiteY343" fmla="*/ 161968 h 1473560"/>
                  <a:gd name="connsiteX344" fmla="*/ 598170 w 3574732"/>
                  <a:gd name="connsiteY344" fmla="*/ 165778 h 1473560"/>
                  <a:gd name="connsiteX345" fmla="*/ 587693 w 3574732"/>
                  <a:gd name="connsiteY345" fmla="*/ 170540 h 1473560"/>
                  <a:gd name="connsiteX346" fmla="*/ 579120 w 3574732"/>
                  <a:gd name="connsiteY346" fmla="*/ 180065 h 1473560"/>
                  <a:gd name="connsiteX347" fmla="*/ 576263 w 3574732"/>
                  <a:gd name="connsiteY347" fmla="*/ 183875 h 1473560"/>
                  <a:gd name="connsiteX348" fmla="*/ 560070 w 3574732"/>
                  <a:gd name="connsiteY348" fmla="*/ 195305 h 1473560"/>
                  <a:gd name="connsiteX349" fmla="*/ 551498 w 3574732"/>
                  <a:gd name="connsiteY349" fmla="*/ 200068 h 1473560"/>
                  <a:gd name="connsiteX350" fmla="*/ 535305 w 3574732"/>
                  <a:gd name="connsiteY350" fmla="*/ 208640 h 1473560"/>
                  <a:gd name="connsiteX351" fmla="*/ 524828 w 3574732"/>
                  <a:gd name="connsiteY351" fmla="*/ 220070 h 1473560"/>
                  <a:gd name="connsiteX352" fmla="*/ 520065 w 3574732"/>
                  <a:gd name="connsiteY352" fmla="*/ 227690 h 1473560"/>
                  <a:gd name="connsiteX353" fmla="*/ 512445 w 3574732"/>
                  <a:gd name="connsiteY353" fmla="*/ 237215 h 1473560"/>
                  <a:gd name="connsiteX354" fmla="*/ 494348 w 3574732"/>
                  <a:gd name="connsiteY354" fmla="*/ 245788 h 1473560"/>
                  <a:gd name="connsiteX355" fmla="*/ 478155 w 3574732"/>
                  <a:gd name="connsiteY355" fmla="*/ 257218 h 1473560"/>
                  <a:gd name="connsiteX356" fmla="*/ 467678 w 3574732"/>
                  <a:gd name="connsiteY356" fmla="*/ 259123 h 1473560"/>
                  <a:gd name="connsiteX357" fmla="*/ 457200 w 3574732"/>
                  <a:gd name="connsiteY357" fmla="*/ 265790 h 1473560"/>
                  <a:gd name="connsiteX358" fmla="*/ 439103 w 3574732"/>
                  <a:gd name="connsiteY358" fmla="*/ 268648 h 1473560"/>
                  <a:gd name="connsiteX359" fmla="*/ 428625 w 3574732"/>
                  <a:gd name="connsiteY359" fmla="*/ 274363 h 1473560"/>
                  <a:gd name="connsiteX360" fmla="*/ 422910 w 3574732"/>
                  <a:gd name="connsiteY360" fmla="*/ 278173 h 1473560"/>
                  <a:gd name="connsiteX361" fmla="*/ 415290 w 3574732"/>
                  <a:gd name="connsiteY361" fmla="*/ 283888 h 1473560"/>
                  <a:gd name="connsiteX362" fmla="*/ 409575 w 3574732"/>
                  <a:gd name="connsiteY362" fmla="*/ 286745 h 1473560"/>
                  <a:gd name="connsiteX363" fmla="*/ 401003 w 3574732"/>
                  <a:gd name="connsiteY363" fmla="*/ 295318 h 1473560"/>
                  <a:gd name="connsiteX364" fmla="*/ 395288 w 3574732"/>
                  <a:gd name="connsiteY364" fmla="*/ 304843 h 1473560"/>
                  <a:gd name="connsiteX365" fmla="*/ 398145 w 3574732"/>
                  <a:gd name="connsiteY365" fmla="*/ 317225 h 1473560"/>
                  <a:gd name="connsiteX366" fmla="*/ 401003 w 3574732"/>
                  <a:gd name="connsiteY366" fmla="*/ 329608 h 1473560"/>
                  <a:gd name="connsiteX367" fmla="*/ 401003 w 3574732"/>
                  <a:gd name="connsiteY367" fmla="*/ 334370 h 1473560"/>
                  <a:gd name="connsiteX368" fmla="*/ 405765 w 3574732"/>
                  <a:gd name="connsiteY368" fmla="*/ 338180 h 1473560"/>
                  <a:gd name="connsiteX369" fmla="*/ 411480 w 3574732"/>
                  <a:gd name="connsiteY369" fmla="*/ 342943 h 1473560"/>
                  <a:gd name="connsiteX370" fmla="*/ 414338 w 3574732"/>
                  <a:gd name="connsiteY370" fmla="*/ 351515 h 1473560"/>
                  <a:gd name="connsiteX371" fmla="*/ 420053 w 3574732"/>
                  <a:gd name="connsiteY371" fmla="*/ 361993 h 1473560"/>
                  <a:gd name="connsiteX372" fmla="*/ 427673 w 3574732"/>
                  <a:gd name="connsiteY372" fmla="*/ 361993 h 1473560"/>
                  <a:gd name="connsiteX373" fmla="*/ 443865 w 3574732"/>
                  <a:gd name="connsiteY373" fmla="*/ 360088 h 1473560"/>
                  <a:gd name="connsiteX374" fmla="*/ 452438 w 3574732"/>
                  <a:gd name="connsiteY374" fmla="*/ 355325 h 1473560"/>
                  <a:gd name="connsiteX375" fmla="*/ 460058 w 3574732"/>
                  <a:gd name="connsiteY375" fmla="*/ 352468 h 1473560"/>
                  <a:gd name="connsiteX376" fmla="*/ 462915 w 3574732"/>
                  <a:gd name="connsiteY376" fmla="*/ 348658 h 1473560"/>
                  <a:gd name="connsiteX377" fmla="*/ 467678 w 3574732"/>
                  <a:gd name="connsiteY377" fmla="*/ 343895 h 1473560"/>
                  <a:gd name="connsiteX378" fmla="*/ 478155 w 3574732"/>
                  <a:gd name="connsiteY378" fmla="*/ 341990 h 1473560"/>
                  <a:gd name="connsiteX379" fmla="*/ 483870 w 3574732"/>
                  <a:gd name="connsiteY379" fmla="*/ 341038 h 1473560"/>
                  <a:gd name="connsiteX380" fmla="*/ 492443 w 3574732"/>
                  <a:gd name="connsiteY380" fmla="*/ 341990 h 1473560"/>
                  <a:gd name="connsiteX381" fmla="*/ 493395 w 3574732"/>
                  <a:gd name="connsiteY381" fmla="*/ 351515 h 1473560"/>
                  <a:gd name="connsiteX382" fmla="*/ 499110 w 3574732"/>
                  <a:gd name="connsiteY382" fmla="*/ 358183 h 1473560"/>
                  <a:gd name="connsiteX383" fmla="*/ 504825 w 3574732"/>
                  <a:gd name="connsiteY383" fmla="*/ 363898 h 1473560"/>
                  <a:gd name="connsiteX384" fmla="*/ 512445 w 3574732"/>
                  <a:gd name="connsiteY384" fmla="*/ 367708 h 1473560"/>
                  <a:gd name="connsiteX385" fmla="*/ 522923 w 3574732"/>
                  <a:gd name="connsiteY385" fmla="*/ 377233 h 1473560"/>
                  <a:gd name="connsiteX386" fmla="*/ 521018 w 3574732"/>
                  <a:gd name="connsiteY386" fmla="*/ 384853 h 1473560"/>
                  <a:gd name="connsiteX387" fmla="*/ 523875 w 3574732"/>
                  <a:gd name="connsiteY387" fmla="*/ 395330 h 1473560"/>
                  <a:gd name="connsiteX388" fmla="*/ 538163 w 3574732"/>
                  <a:gd name="connsiteY388" fmla="*/ 399140 h 1473560"/>
                  <a:gd name="connsiteX389" fmla="*/ 549593 w 3574732"/>
                  <a:gd name="connsiteY389" fmla="*/ 398188 h 1473560"/>
                  <a:gd name="connsiteX390" fmla="*/ 558165 w 3574732"/>
                  <a:gd name="connsiteY390" fmla="*/ 393425 h 1473560"/>
                  <a:gd name="connsiteX391" fmla="*/ 569595 w 3574732"/>
                  <a:gd name="connsiteY391" fmla="*/ 389615 h 1473560"/>
                  <a:gd name="connsiteX392" fmla="*/ 580073 w 3574732"/>
                  <a:gd name="connsiteY392" fmla="*/ 382948 h 1473560"/>
                  <a:gd name="connsiteX393" fmla="*/ 585788 w 3574732"/>
                  <a:gd name="connsiteY393" fmla="*/ 379138 h 1473560"/>
                  <a:gd name="connsiteX394" fmla="*/ 585788 w 3574732"/>
                  <a:gd name="connsiteY394" fmla="*/ 373423 h 1473560"/>
                  <a:gd name="connsiteX395" fmla="*/ 596265 w 3574732"/>
                  <a:gd name="connsiteY395" fmla="*/ 361993 h 1473560"/>
                  <a:gd name="connsiteX396" fmla="*/ 601028 w 3574732"/>
                  <a:gd name="connsiteY396" fmla="*/ 355325 h 1473560"/>
                  <a:gd name="connsiteX397" fmla="*/ 606743 w 3574732"/>
                  <a:gd name="connsiteY397" fmla="*/ 348658 h 1473560"/>
                  <a:gd name="connsiteX398" fmla="*/ 614363 w 3574732"/>
                  <a:gd name="connsiteY398" fmla="*/ 341990 h 1473560"/>
                  <a:gd name="connsiteX399" fmla="*/ 620078 w 3574732"/>
                  <a:gd name="connsiteY399" fmla="*/ 337228 h 1473560"/>
                  <a:gd name="connsiteX400" fmla="*/ 621983 w 3574732"/>
                  <a:gd name="connsiteY400" fmla="*/ 323893 h 1473560"/>
                  <a:gd name="connsiteX401" fmla="*/ 621983 w 3574732"/>
                  <a:gd name="connsiteY401" fmla="*/ 319130 h 1473560"/>
                  <a:gd name="connsiteX402" fmla="*/ 616268 w 3574732"/>
                  <a:gd name="connsiteY402" fmla="*/ 318178 h 1473560"/>
                  <a:gd name="connsiteX403" fmla="*/ 604838 w 3574732"/>
                  <a:gd name="connsiteY403" fmla="*/ 317225 h 1473560"/>
                  <a:gd name="connsiteX404" fmla="*/ 599123 w 3574732"/>
                  <a:gd name="connsiteY404" fmla="*/ 314368 h 1473560"/>
                  <a:gd name="connsiteX405" fmla="*/ 599123 w 3574732"/>
                  <a:gd name="connsiteY405" fmla="*/ 307700 h 1473560"/>
                  <a:gd name="connsiteX406" fmla="*/ 601028 w 3574732"/>
                  <a:gd name="connsiteY406" fmla="*/ 301033 h 1473560"/>
                  <a:gd name="connsiteX407" fmla="*/ 614363 w 3574732"/>
                  <a:gd name="connsiteY407" fmla="*/ 291508 h 1473560"/>
                  <a:gd name="connsiteX408" fmla="*/ 622935 w 3574732"/>
                  <a:gd name="connsiteY408" fmla="*/ 287698 h 1473560"/>
                  <a:gd name="connsiteX409" fmla="*/ 636270 w 3574732"/>
                  <a:gd name="connsiteY409" fmla="*/ 277220 h 1473560"/>
                  <a:gd name="connsiteX410" fmla="*/ 641033 w 3574732"/>
                  <a:gd name="connsiteY410" fmla="*/ 273410 h 1473560"/>
                  <a:gd name="connsiteX411" fmla="*/ 649605 w 3574732"/>
                  <a:gd name="connsiteY411" fmla="*/ 265790 h 1473560"/>
                  <a:gd name="connsiteX412" fmla="*/ 658178 w 3574732"/>
                  <a:gd name="connsiteY412" fmla="*/ 260075 h 1473560"/>
                  <a:gd name="connsiteX413" fmla="*/ 661035 w 3574732"/>
                  <a:gd name="connsiteY413" fmla="*/ 250550 h 1473560"/>
                  <a:gd name="connsiteX414" fmla="*/ 662940 w 3574732"/>
                  <a:gd name="connsiteY414" fmla="*/ 245788 h 1473560"/>
                  <a:gd name="connsiteX415" fmla="*/ 668655 w 3574732"/>
                  <a:gd name="connsiteY415" fmla="*/ 240073 h 1473560"/>
                  <a:gd name="connsiteX416" fmla="*/ 680085 w 3574732"/>
                  <a:gd name="connsiteY416" fmla="*/ 233405 h 1473560"/>
                  <a:gd name="connsiteX417" fmla="*/ 688658 w 3574732"/>
                  <a:gd name="connsiteY417" fmla="*/ 231500 h 1473560"/>
                  <a:gd name="connsiteX418" fmla="*/ 696278 w 3574732"/>
                  <a:gd name="connsiteY418" fmla="*/ 228643 h 1473560"/>
                  <a:gd name="connsiteX419" fmla="*/ 707708 w 3574732"/>
                  <a:gd name="connsiteY419" fmla="*/ 227690 h 1473560"/>
                  <a:gd name="connsiteX420" fmla="*/ 719138 w 3574732"/>
                  <a:gd name="connsiteY420" fmla="*/ 228643 h 1473560"/>
                  <a:gd name="connsiteX421" fmla="*/ 733425 w 3574732"/>
                  <a:gd name="connsiteY421" fmla="*/ 231500 h 1473560"/>
                  <a:gd name="connsiteX422" fmla="*/ 733425 w 3574732"/>
                  <a:gd name="connsiteY422" fmla="*/ 237215 h 1473560"/>
                  <a:gd name="connsiteX423" fmla="*/ 730568 w 3574732"/>
                  <a:gd name="connsiteY423" fmla="*/ 244835 h 1473560"/>
                  <a:gd name="connsiteX424" fmla="*/ 727710 w 3574732"/>
                  <a:gd name="connsiteY424" fmla="*/ 251503 h 1473560"/>
                  <a:gd name="connsiteX425" fmla="*/ 724853 w 3574732"/>
                  <a:gd name="connsiteY425" fmla="*/ 256265 h 1473560"/>
                  <a:gd name="connsiteX426" fmla="*/ 720090 w 3574732"/>
                  <a:gd name="connsiteY426" fmla="*/ 261028 h 1473560"/>
                  <a:gd name="connsiteX427" fmla="*/ 701993 w 3574732"/>
                  <a:gd name="connsiteY427" fmla="*/ 266743 h 1473560"/>
                  <a:gd name="connsiteX428" fmla="*/ 685800 w 3574732"/>
                  <a:gd name="connsiteY428" fmla="*/ 271505 h 1473560"/>
                  <a:gd name="connsiteX429" fmla="*/ 678180 w 3574732"/>
                  <a:gd name="connsiteY429" fmla="*/ 275315 h 1473560"/>
                  <a:gd name="connsiteX430" fmla="*/ 678180 w 3574732"/>
                  <a:gd name="connsiteY430" fmla="*/ 281030 h 1473560"/>
                  <a:gd name="connsiteX431" fmla="*/ 676275 w 3574732"/>
                  <a:gd name="connsiteY431" fmla="*/ 291508 h 1473560"/>
                  <a:gd name="connsiteX432" fmla="*/ 677228 w 3574732"/>
                  <a:gd name="connsiteY432" fmla="*/ 301033 h 1473560"/>
                  <a:gd name="connsiteX433" fmla="*/ 672465 w 3574732"/>
                  <a:gd name="connsiteY433" fmla="*/ 311510 h 1473560"/>
                  <a:gd name="connsiteX434" fmla="*/ 678180 w 3574732"/>
                  <a:gd name="connsiteY434" fmla="*/ 321988 h 1473560"/>
                  <a:gd name="connsiteX435" fmla="*/ 683895 w 3574732"/>
                  <a:gd name="connsiteY435" fmla="*/ 324845 h 1473560"/>
                  <a:gd name="connsiteX436" fmla="*/ 695325 w 3574732"/>
                  <a:gd name="connsiteY436" fmla="*/ 324845 h 1473560"/>
                  <a:gd name="connsiteX437" fmla="*/ 705803 w 3574732"/>
                  <a:gd name="connsiteY437" fmla="*/ 328655 h 1473560"/>
                  <a:gd name="connsiteX438" fmla="*/ 720090 w 3574732"/>
                  <a:gd name="connsiteY438" fmla="*/ 329608 h 1473560"/>
                  <a:gd name="connsiteX439" fmla="*/ 733425 w 3574732"/>
                  <a:gd name="connsiteY439" fmla="*/ 328655 h 1473560"/>
                  <a:gd name="connsiteX440" fmla="*/ 743903 w 3574732"/>
                  <a:gd name="connsiteY440" fmla="*/ 326750 h 1473560"/>
                  <a:gd name="connsiteX441" fmla="*/ 752475 w 3574732"/>
                  <a:gd name="connsiteY441" fmla="*/ 323893 h 1473560"/>
                  <a:gd name="connsiteX442" fmla="*/ 760095 w 3574732"/>
                  <a:gd name="connsiteY442" fmla="*/ 323893 h 1473560"/>
                  <a:gd name="connsiteX443" fmla="*/ 779145 w 3574732"/>
                  <a:gd name="connsiteY443" fmla="*/ 323893 h 1473560"/>
                  <a:gd name="connsiteX444" fmla="*/ 793433 w 3574732"/>
                  <a:gd name="connsiteY444" fmla="*/ 324845 h 1473560"/>
                  <a:gd name="connsiteX445" fmla="*/ 796290 w 3574732"/>
                  <a:gd name="connsiteY445" fmla="*/ 328655 h 1473560"/>
                  <a:gd name="connsiteX446" fmla="*/ 790575 w 3574732"/>
                  <a:gd name="connsiteY446" fmla="*/ 337228 h 1473560"/>
                  <a:gd name="connsiteX447" fmla="*/ 782003 w 3574732"/>
                  <a:gd name="connsiteY447" fmla="*/ 337228 h 1473560"/>
                  <a:gd name="connsiteX448" fmla="*/ 776288 w 3574732"/>
                  <a:gd name="connsiteY448" fmla="*/ 339133 h 1473560"/>
                  <a:gd name="connsiteX449" fmla="*/ 758190 w 3574732"/>
                  <a:gd name="connsiteY449" fmla="*/ 340085 h 1473560"/>
                  <a:gd name="connsiteX450" fmla="*/ 740093 w 3574732"/>
                  <a:gd name="connsiteY450" fmla="*/ 341990 h 1473560"/>
                  <a:gd name="connsiteX451" fmla="*/ 725805 w 3574732"/>
                  <a:gd name="connsiteY451" fmla="*/ 343895 h 1473560"/>
                  <a:gd name="connsiteX452" fmla="*/ 721043 w 3574732"/>
                  <a:gd name="connsiteY452" fmla="*/ 347705 h 1473560"/>
                  <a:gd name="connsiteX453" fmla="*/ 719138 w 3574732"/>
                  <a:gd name="connsiteY453" fmla="*/ 353420 h 1473560"/>
                  <a:gd name="connsiteX454" fmla="*/ 713423 w 3574732"/>
                  <a:gd name="connsiteY454" fmla="*/ 360088 h 1473560"/>
                  <a:gd name="connsiteX455" fmla="*/ 705803 w 3574732"/>
                  <a:gd name="connsiteY455" fmla="*/ 368660 h 1473560"/>
                  <a:gd name="connsiteX456" fmla="*/ 695325 w 3574732"/>
                  <a:gd name="connsiteY456" fmla="*/ 370565 h 1473560"/>
                  <a:gd name="connsiteX457" fmla="*/ 687705 w 3574732"/>
                  <a:gd name="connsiteY457" fmla="*/ 370565 h 1473560"/>
                  <a:gd name="connsiteX458" fmla="*/ 674370 w 3574732"/>
                  <a:gd name="connsiteY458" fmla="*/ 372470 h 1473560"/>
                  <a:gd name="connsiteX459" fmla="*/ 669608 w 3574732"/>
                  <a:gd name="connsiteY459" fmla="*/ 378185 h 1473560"/>
                  <a:gd name="connsiteX460" fmla="*/ 664845 w 3574732"/>
                  <a:gd name="connsiteY460" fmla="*/ 382948 h 1473560"/>
                  <a:gd name="connsiteX461" fmla="*/ 662940 w 3574732"/>
                  <a:gd name="connsiteY461" fmla="*/ 388663 h 1473560"/>
                  <a:gd name="connsiteX462" fmla="*/ 657225 w 3574732"/>
                  <a:gd name="connsiteY462" fmla="*/ 398188 h 1473560"/>
                  <a:gd name="connsiteX463" fmla="*/ 649605 w 3574732"/>
                  <a:gd name="connsiteY463" fmla="*/ 404855 h 1473560"/>
                  <a:gd name="connsiteX464" fmla="*/ 627698 w 3574732"/>
                  <a:gd name="connsiteY464" fmla="*/ 409618 h 1473560"/>
                  <a:gd name="connsiteX465" fmla="*/ 600075 w 3574732"/>
                  <a:gd name="connsiteY465" fmla="*/ 414380 h 1473560"/>
                  <a:gd name="connsiteX466" fmla="*/ 594360 w 3574732"/>
                  <a:gd name="connsiteY466" fmla="*/ 414380 h 1473560"/>
                  <a:gd name="connsiteX467" fmla="*/ 578168 w 3574732"/>
                  <a:gd name="connsiteY467" fmla="*/ 415333 h 1473560"/>
                  <a:gd name="connsiteX468" fmla="*/ 560070 w 3574732"/>
                  <a:gd name="connsiteY468" fmla="*/ 417238 h 1473560"/>
                  <a:gd name="connsiteX469" fmla="*/ 551498 w 3574732"/>
                  <a:gd name="connsiteY469" fmla="*/ 418190 h 1473560"/>
                  <a:gd name="connsiteX470" fmla="*/ 540068 w 3574732"/>
                  <a:gd name="connsiteY470" fmla="*/ 417238 h 1473560"/>
                  <a:gd name="connsiteX471" fmla="*/ 523875 w 3574732"/>
                  <a:gd name="connsiteY471" fmla="*/ 414380 h 1473560"/>
                  <a:gd name="connsiteX472" fmla="*/ 506730 w 3574732"/>
                  <a:gd name="connsiteY472" fmla="*/ 413428 h 1473560"/>
                  <a:gd name="connsiteX473" fmla="*/ 498158 w 3574732"/>
                  <a:gd name="connsiteY473" fmla="*/ 413428 h 1473560"/>
                  <a:gd name="connsiteX474" fmla="*/ 486728 w 3574732"/>
                  <a:gd name="connsiteY474" fmla="*/ 413428 h 1473560"/>
                  <a:gd name="connsiteX475" fmla="*/ 481965 w 3574732"/>
                  <a:gd name="connsiteY475" fmla="*/ 407713 h 1473560"/>
                  <a:gd name="connsiteX476" fmla="*/ 498158 w 3574732"/>
                  <a:gd name="connsiteY476" fmla="*/ 401045 h 1473560"/>
                  <a:gd name="connsiteX477" fmla="*/ 493395 w 3574732"/>
                  <a:gd name="connsiteY477" fmla="*/ 395330 h 1473560"/>
                  <a:gd name="connsiteX478" fmla="*/ 484823 w 3574732"/>
                  <a:gd name="connsiteY478" fmla="*/ 391520 h 1473560"/>
                  <a:gd name="connsiteX479" fmla="*/ 484823 w 3574732"/>
                  <a:gd name="connsiteY479" fmla="*/ 386758 h 1473560"/>
                  <a:gd name="connsiteX480" fmla="*/ 477203 w 3574732"/>
                  <a:gd name="connsiteY480" fmla="*/ 376280 h 1473560"/>
                  <a:gd name="connsiteX481" fmla="*/ 474345 w 3574732"/>
                  <a:gd name="connsiteY481" fmla="*/ 369613 h 1473560"/>
                  <a:gd name="connsiteX482" fmla="*/ 466725 w 3574732"/>
                  <a:gd name="connsiteY482" fmla="*/ 368660 h 1473560"/>
                  <a:gd name="connsiteX483" fmla="*/ 461010 w 3574732"/>
                  <a:gd name="connsiteY483" fmla="*/ 374375 h 1473560"/>
                  <a:gd name="connsiteX484" fmla="*/ 450533 w 3574732"/>
                  <a:gd name="connsiteY484" fmla="*/ 377233 h 1473560"/>
                  <a:gd name="connsiteX485" fmla="*/ 445770 w 3574732"/>
                  <a:gd name="connsiteY485" fmla="*/ 381995 h 1473560"/>
                  <a:gd name="connsiteX486" fmla="*/ 443865 w 3574732"/>
                  <a:gd name="connsiteY486" fmla="*/ 390568 h 1473560"/>
                  <a:gd name="connsiteX487" fmla="*/ 443865 w 3574732"/>
                  <a:gd name="connsiteY487" fmla="*/ 399140 h 1473560"/>
                  <a:gd name="connsiteX488" fmla="*/ 446723 w 3574732"/>
                  <a:gd name="connsiteY488" fmla="*/ 408665 h 1473560"/>
                  <a:gd name="connsiteX489" fmla="*/ 449580 w 3574732"/>
                  <a:gd name="connsiteY489" fmla="*/ 403903 h 1473560"/>
                  <a:gd name="connsiteX490" fmla="*/ 446723 w 3574732"/>
                  <a:gd name="connsiteY490" fmla="*/ 414380 h 1473560"/>
                  <a:gd name="connsiteX491" fmla="*/ 435293 w 3574732"/>
                  <a:gd name="connsiteY491" fmla="*/ 416285 h 1473560"/>
                  <a:gd name="connsiteX492" fmla="*/ 430530 w 3574732"/>
                  <a:gd name="connsiteY492" fmla="*/ 416285 h 1473560"/>
                  <a:gd name="connsiteX493" fmla="*/ 420053 w 3574732"/>
                  <a:gd name="connsiteY493" fmla="*/ 417238 h 1473560"/>
                  <a:gd name="connsiteX494" fmla="*/ 411480 w 3574732"/>
                  <a:gd name="connsiteY494" fmla="*/ 417238 h 1473560"/>
                  <a:gd name="connsiteX495" fmla="*/ 389573 w 3574732"/>
                  <a:gd name="connsiteY495" fmla="*/ 421048 h 1473560"/>
                  <a:gd name="connsiteX496" fmla="*/ 383858 w 3574732"/>
                  <a:gd name="connsiteY496" fmla="*/ 427715 h 1473560"/>
                  <a:gd name="connsiteX497" fmla="*/ 379095 w 3574732"/>
                  <a:gd name="connsiteY497" fmla="*/ 433430 h 1473560"/>
                  <a:gd name="connsiteX498" fmla="*/ 376238 w 3574732"/>
                  <a:gd name="connsiteY498" fmla="*/ 440098 h 1473560"/>
                  <a:gd name="connsiteX499" fmla="*/ 362903 w 3574732"/>
                  <a:gd name="connsiteY499" fmla="*/ 447718 h 1473560"/>
                  <a:gd name="connsiteX500" fmla="*/ 348615 w 3574732"/>
                  <a:gd name="connsiteY500" fmla="*/ 451528 h 1473560"/>
                  <a:gd name="connsiteX501" fmla="*/ 340043 w 3574732"/>
                  <a:gd name="connsiteY501" fmla="*/ 457243 h 1473560"/>
                  <a:gd name="connsiteX502" fmla="*/ 334328 w 3574732"/>
                  <a:gd name="connsiteY502" fmla="*/ 464863 h 1473560"/>
                  <a:gd name="connsiteX503" fmla="*/ 328613 w 3574732"/>
                  <a:gd name="connsiteY503" fmla="*/ 468673 h 1473560"/>
                  <a:gd name="connsiteX504" fmla="*/ 312420 w 3574732"/>
                  <a:gd name="connsiteY504" fmla="*/ 472483 h 1473560"/>
                  <a:gd name="connsiteX505" fmla="*/ 299085 w 3574732"/>
                  <a:gd name="connsiteY505" fmla="*/ 477245 h 1473560"/>
                  <a:gd name="connsiteX506" fmla="*/ 293370 w 3574732"/>
                  <a:gd name="connsiteY506" fmla="*/ 480103 h 1473560"/>
                  <a:gd name="connsiteX507" fmla="*/ 282893 w 3574732"/>
                  <a:gd name="connsiteY507" fmla="*/ 481055 h 1473560"/>
                  <a:gd name="connsiteX508" fmla="*/ 275273 w 3574732"/>
                  <a:gd name="connsiteY508" fmla="*/ 484865 h 1473560"/>
                  <a:gd name="connsiteX509" fmla="*/ 260033 w 3574732"/>
                  <a:gd name="connsiteY509" fmla="*/ 489628 h 1473560"/>
                  <a:gd name="connsiteX510" fmla="*/ 248603 w 3574732"/>
                  <a:gd name="connsiteY510" fmla="*/ 489628 h 1473560"/>
                  <a:gd name="connsiteX511" fmla="*/ 224790 w 3574732"/>
                  <a:gd name="connsiteY511" fmla="*/ 490580 h 1473560"/>
                  <a:gd name="connsiteX512" fmla="*/ 214313 w 3574732"/>
                  <a:gd name="connsiteY512" fmla="*/ 496295 h 1473560"/>
                  <a:gd name="connsiteX513" fmla="*/ 217170 w 3574732"/>
                  <a:gd name="connsiteY513" fmla="*/ 500105 h 1473560"/>
                  <a:gd name="connsiteX514" fmla="*/ 222885 w 3574732"/>
                  <a:gd name="connsiteY514" fmla="*/ 502963 h 1473560"/>
                  <a:gd name="connsiteX515" fmla="*/ 228600 w 3574732"/>
                  <a:gd name="connsiteY515" fmla="*/ 505820 h 1473560"/>
                  <a:gd name="connsiteX516" fmla="*/ 234315 w 3574732"/>
                  <a:gd name="connsiteY516" fmla="*/ 506773 h 1473560"/>
                  <a:gd name="connsiteX517" fmla="*/ 245745 w 3574732"/>
                  <a:gd name="connsiteY517" fmla="*/ 508678 h 1473560"/>
                  <a:gd name="connsiteX518" fmla="*/ 254318 w 3574732"/>
                  <a:gd name="connsiteY518" fmla="*/ 509630 h 1473560"/>
                  <a:gd name="connsiteX519" fmla="*/ 273368 w 3574732"/>
                  <a:gd name="connsiteY519" fmla="*/ 520108 h 1473560"/>
                  <a:gd name="connsiteX520" fmla="*/ 276225 w 3574732"/>
                  <a:gd name="connsiteY520" fmla="*/ 524870 h 1473560"/>
                  <a:gd name="connsiteX521" fmla="*/ 276225 w 3574732"/>
                  <a:gd name="connsiteY521" fmla="*/ 532490 h 1473560"/>
                  <a:gd name="connsiteX522" fmla="*/ 276225 w 3574732"/>
                  <a:gd name="connsiteY522" fmla="*/ 538205 h 1473560"/>
                  <a:gd name="connsiteX523" fmla="*/ 273368 w 3574732"/>
                  <a:gd name="connsiteY523" fmla="*/ 550588 h 1473560"/>
                  <a:gd name="connsiteX524" fmla="*/ 268605 w 3574732"/>
                  <a:gd name="connsiteY524" fmla="*/ 561065 h 1473560"/>
                  <a:gd name="connsiteX525" fmla="*/ 262890 w 3574732"/>
                  <a:gd name="connsiteY525" fmla="*/ 562018 h 1473560"/>
                  <a:gd name="connsiteX526" fmla="*/ 257175 w 3574732"/>
                  <a:gd name="connsiteY526" fmla="*/ 562018 h 1473560"/>
                  <a:gd name="connsiteX527" fmla="*/ 246698 w 3574732"/>
                  <a:gd name="connsiteY527" fmla="*/ 564875 h 1473560"/>
                  <a:gd name="connsiteX528" fmla="*/ 236220 w 3574732"/>
                  <a:gd name="connsiteY528" fmla="*/ 564875 h 1473560"/>
                  <a:gd name="connsiteX529" fmla="*/ 225743 w 3574732"/>
                  <a:gd name="connsiteY529" fmla="*/ 564875 h 1473560"/>
                  <a:gd name="connsiteX530" fmla="*/ 206693 w 3574732"/>
                  <a:gd name="connsiteY530" fmla="*/ 564875 h 1473560"/>
                  <a:gd name="connsiteX531" fmla="*/ 192405 w 3574732"/>
                  <a:gd name="connsiteY531" fmla="*/ 563923 h 1473560"/>
                  <a:gd name="connsiteX532" fmla="*/ 186690 w 3574732"/>
                  <a:gd name="connsiteY532" fmla="*/ 561065 h 1473560"/>
                  <a:gd name="connsiteX533" fmla="*/ 178118 w 3574732"/>
                  <a:gd name="connsiteY533" fmla="*/ 560113 h 1473560"/>
                  <a:gd name="connsiteX534" fmla="*/ 170498 w 3574732"/>
                  <a:gd name="connsiteY534" fmla="*/ 560113 h 1473560"/>
                  <a:gd name="connsiteX535" fmla="*/ 161925 w 3574732"/>
                  <a:gd name="connsiteY535" fmla="*/ 562018 h 1473560"/>
                  <a:gd name="connsiteX536" fmla="*/ 153353 w 3574732"/>
                  <a:gd name="connsiteY536" fmla="*/ 564875 h 1473560"/>
                  <a:gd name="connsiteX537" fmla="*/ 151448 w 3574732"/>
                  <a:gd name="connsiteY537" fmla="*/ 570590 h 1473560"/>
                  <a:gd name="connsiteX538" fmla="*/ 149543 w 3574732"/>
                  <a:gd name="connsiteY538" fmla="*/ 581068 h 1473560"/>
                  <a:gd name="connsiteX539" fmla="*/ 144780 w 3574732"/>
                  <a:gd name="connsiteY539" fmla="*/ 586783 h 1473560"/>
                  <a:gd name="connsiteX540" fmla="*/ 141923 w 3574732"/>
                  <a:gd name="connsiteY540" fmla="*/ 592498 h 1473560"/>
                  <a:gd name="connsiteX541" fmla="*/ 144780 w 3574732"/>
                  <a:gd name="connsiteY541" fmla="*/ 602975 h 1473560"/>
                  <a:gd name="connsiteX542" fmla="*/ 145733 w 3574732"/>
                  <a:gd name="connsiteY542" fmla="*/ 611548 h 1473560"/>
                  <a:gd name="connsiteX543" fmla="*/ 143828 w 3574732"/>
                  <a:gd name="connsiteY543" fmla="*/ 624883 h 1473560"/>
                  <a:gd name="connsiteX544" fmla="*/ 144780 w 3574732"/>
                  <a:gd name="connsiteY544" fmla="*/ 631550 h 1473560"/>
                  <a:gd name="connsiteX545" fmla="*/ 145733 w 3574732"/>
                  <a:gd name="connsiteY545" fmla="*/ 642028 h 1473560"/>
                  <a:gd name="connsiteX546" fmla="*/ 167640 w 3574732"/>
                  <a:gd name="connsiteY546" fmla="*/ 647743 h 1473560"/>
                  <a:gd name="connsiteX547" fmla="*/ 188595 w 3574732"/>
                  <a:gd name="connsiteY547" fmla="*/ 649648 h 1473560"/>
                  <a:gd name="connsiteX548" fmla="*/ 204788 w 3574732"/>
                  <a:gd name="connsiteY548" fmla="*/ 648695 h 1473560"/>
                  <a:gd name="connsiteX549" fmla="*/ 223838 w 3574732"/>
                  <a:gd name="connsiteY549" fmla="*/ 646790 h 1473560"/>
                  <a:gd name="connsiteX550" fmla="*/ 237173 w 3574732"/>
                  <a:gd name="connsiteY550" fmla="*/ 647743 h 1473560"/>
                  <a:gd name="connsiteX551" fmla="*/ 251460 w 3574732"/>
                  <a:gd name="connsiteY551" fmla="*/ 644885 h 1473560"/>
                  <a:gd name="connsiteX552" fmla="*/ 260033 w 3574732"/>
                  <a:gd name="connsiteY552" fmla="*/ 642980 h 1473560"/>
                  <a:gd name="connsiteX553" fmla="*/ 265748 w 3574732"/>
                  <a:gd name="connsiteY553" fmla="*/ 642028 h 1473560"/>
                  <a:gd name="connsiteX554" fmla="*/ 280988 w 3574732"/>
                  <a:gd name="connsiteY554" fmla="*/ 635360 h 1473560"/>
                  <a:gd name="connsiteX555" fmla="*/ 286703 w 3574732"/>
                  <a:gd name="connsiteY555" fmla="*/ 633455 h 1473560"/>
                  <a:gd name="connsiteX556" fmla="*/ 292418 w 3574732"/>
                  <a:gd name="connsiteY556" fmla="*/ 629645 h 1473560"/>
                  <a:gd name="connsiteX557" fmla="*/ 302895 w 3574732"/>
                  <a:gd name="connsiteY557" fmla="*/ 622978 h 1473560"/>
                  <a:gd name="connsiteX558" fmla="*/ 302895 w 3574732"/>
                  <a:gd name="connsiteY558" fmla="*/ 617263 h 1473560"/>
                  <a:gd name="connsiteX559" fmla="*/ 305753 w 3574732"/>
                  <a:gd name="connsiteY559" fmla="*/ 608690 h 1473560"/>
                  <a:gd name="connsiteX560" fmla="*/ 313373 w 3574732"/>
                  <a:gd name="connsiteY560" fmla="*/ 607738 h 1473560"/>
                  <a:gd name="connsiteX561" fmla="*/ 319088 w 3574732"/>
                  <a:gd name="connsiteY561" fmla="*/ 602975 h 1473560"/>
                  <a:gd name="connsiteX562" fmla="*/ 320993 w 3574732"/>
                  <a:gd name="connsiteY562" fmla="*/ 597260 h 1473560"/>
                  <a:gd name="connsiteX563" fmla="*/ 326708 w 3574732"/>
                  <a:gd name="connsiteY563" fmla="*/ 593450 h 1473560"/>
                  <a:gd name="connsiteX564" fmla="*/ 344805 w 3574732"/>
                  <a:gd name="connsiteY564" fmla="*/ 589640 h 1473560"/>
                  <a:gd name="connsiteX565" fmla="*/ 353378 w 3574732"/>
                  <a:gd name="connsiteY565" fmla="*/ 582020 h 1473560"/>
                  <a:gd name="connsiteX566" fmla="*/ 359093 w 3574732"/>
                  <a:gd name="connsiteY566" fmla="*/ 579163 h 1473560"/>
                  <a:gd name="connsiteX567" fmla="*/ 361950 w 3574732"/>
                  <a:gd name="connsiteY567" fmla="*/ 574400 h 1473560"/>
                  <a:gd name="connsiteX568" fmla="*/ 366713 w 3574732"/>
                  <a:gd name="connsiteY568" fmla="*/ 570590 h 1473560"/>
                  <a:gd name="connsiteX569" fmla="*/ 368618 w 3574732"/>
                  <a:gd name="connsiteY569" fmla="*/ 566780 h 1473560"/>
                  <a:gd name="connsiteX570" fmla="*/ 374333 w 3574732"/>
                  <a:gd name="connsiteY570" fmla="*/ 562018 h 1473560"/>
                  <a:gd name="connsiteX571" fmla="*/ 382905 w 3574732"/>
                  <a:gd name="connsiteY571" fmla="*/ 563923 h 1473560"/>
                  <a:gd name="connsiteX572" fmla="*/ 388620 w 3574732"/>
                  <a:gd name="connsiteY572" fmla="*/ 563923 h 1473560"/>
                  <a:gd name="connsiteX573" fmla="*/ 391478 w 3574732"/>
                  <a:gd name="connsiteY573" fmla="*/ 568685 h 1473560"/>
                  <a:gd name="connsiteX574" fmla="*/ 397193 w 3574732"/>
                  <a:gd name="connsiteY574" fmla="*/ 571543 h 1473560"/>
                  <a:gd name="connsiteX575" fmla="*/ 404813 w 3574732"/>
                  <a:gd name="connsiteY575" fmla="*/ 573448 h 1473560"/>
                  <a:gd name="connsiteX576" fmla="*/ 410528 w 3574732"/>
                  <a:gd name="connsiteY576" fmla="*/ 572495 h 1473560"/>
                  <a:gd name="connsiteX577" fmla="*/ 416243 w 3574732"/>
                  <a:gd name="connsiteY577" fmla="*/ 571543 h 1473560"/>
                  <a:gd name="connsiteX578" fmla="*/ 426720 w 3574732"/>
                  <a:gd name="connsiteY578" fmla="*/ 565828 h 1473560"/>
                  <a:gd name="connsiteX579" fmla="*/ 434340 w 3574732"/>
                  <a:gd name="connsiteY579" fmla="*/ 560113 h 1473560"/>
                  <a:gd name="connsiteX580" fmla="*/ 440055 w 3574732"/>
                  <a:gd name="connsiteY580" fmla="*/ 557255 h 1473560"/>
                  <a:gd name="connsiteX581" fmla="*/ 447675 w 3574732"/>
                  <a:gd name="connsiteY581" fmla="*/ 553445 h 1473560"/>
                  <a:gd name="connsiteX582" fmla="*/ 455295 w 3574732"/>
                  <a:gd name="connsiteY582" fmla="*/ 554398 h 1473560"/>
                  <a:gd name="connsiteX583" fmla="*/ 462915 w 3574732"/>
                  <a:gd name="connsiteY583" fmla="*/ 554398 h 1473560"/>
                  <a:gd name="connsiteX584" fmla="*/ 468630 w 3574732"/>
                  <a:gd name="connsiteY584" fmla="*/ 556303 h 1473560"/>
                  <a:gd name="connsiteX585" fmla="*/ 474345 w 3574732"/>
                  <a:gd name="connsiteY585" fmla="*/ 558208 h 1473560"/>
                  <a:gd name="connsiteX586" fmla="*/ 482918 w 3574732"/>
                  <a:gd name="connsiteY586" fmla="*/ 562018 h 1473560"/>
                  <a:gd name="connsiteX587" fmla="*/ 493395 w 3574732"/>
                  <a:gd name="connsiteY587" fmla="*/ 568685 h 1473560"/>
                  <a:gd name="connsiteX588" fmla="*/ 496253 w 3574732"/>
                  <a:gd name="connsiteY588" fmla="*/ 574400 h 1473560"/>
                  <a:gd name="connsiteX589" fmla="*/ 504825 w 3574732"/>
                  <a:gd name="connsiteY589" fmla="*/ 580115 h 1473560"/>
                  <a:gd name="connsiteX590" fmla="*/ 512445 w 3574732"/>
                  <a:gd name="connsiteY590" fmla="*/ 585830 h 1473560"/>
                  <a:gd name="connsiteX591" fmla="*/ 521018 w 3574732"/>
                  <a:gd name="connsiteY591" fmla="*/ 592498 h 1473560"/>
                  <a:gd name="connsiteX592" fmla="*/ 526733 w 3574732"/>
                  <a:gd name="connsiteY592" fmla="*/ 594403 h 1473560"/>
                  <a:gd name="connsiteX593" fmla="*/ 537210 w 3574732"/>
                  <a:gd name="connsiteY593" fmla="*/ 598213 h 1473560"/>
                  <a:gd name="connsiteX594" fmla="*/ 551498 w 3574732"/>
                  <a:gd name="connsiteY594" fmla="*/ 603928 h 1473560"/>
                  <a:gd name="connsiteX595" fmla="*/ 560070 w 3574732"/>
                  <a:gd name="connsiteY595" fmla="*/ 605833 h 1473560"/>
                  <a:gd name="connsiteX596" fmla="*/ 561023 w 3574732"/>
                  <a:gd name="connsiteY596" fmla="*/ 610595 h 1473560"/>
                  <a:gd name="connsiteX597" fmla="*/ 563880 w 3574732"/>
                  <a:gd name="connsiteY597" fmla="*/ 615358 h 1473560"/>
                  <a:gd name="connsiteX598" fmla="*/ 566738 w 3574732"/>
                  <a:gd name="connsiteY598" fmla="*/ 620120 h 1473560"/>
                  <a:gd name="connsiteX599" fmla="*/ 567690 w 3574732"/>
                  <a:gd name="connsiteY599" fmla="*/ 626788 h 1473560"/>
                  <a:gd name="connsiteX600" fmla="*/ 575310 w 3574732"/>
                  <a:gd name="connsiteY600" fmla="*/ 629645 h 1473560"/>
                  <a:gd name="connsiteX601" fmla="*/ 581025 w 3574732"/>
                  <a:gd name="connsiteY601" fmla="*/ 630598 h 1473560"/>
                  <a:gd name="connsiteX602" fmla="*/ 589598 w 3574732"/>
                  <a:gd name="connsiteY602" fmla="*/ 627740 h 1473560"/>
                  <a:gd name="connsiteX603" fmla="*/ 589598 w 3574732"/>
                  <a:gd name="connsiteY603" fmla="*/ 620120 h 1473560"/>
                  <a:gd name="connsiteX604" fmla="*/ 589598 w 3574732"/>
                  <a:gd name="connsiteY604" fmla="*/ 612500 h 1473560"/>
                  <a:gd name="connsiteX605" fmla="*/ 589598 w 3574732"/>
                  <a:gd name="connsiteY605" fmla="*/ 609643 h 1473560"/>
                  <a:gd name="connsiteX606" fmla="*/ 589598 w 3574732"/>
                  <a:gd name="connsiteY606" fmla="*/ 608690 h 1473560"/>
                  <a:gd name="connsiteX607" fmla="*/ 589598 w 3574732"/>
                  <a:gd name="connsiteY607" fmla="*/ 608690 h 1473560"/>
                  <a:gd name="connsiteX608" fmla="*/ 588645 w 3574732"/>
                  <a:gd name="connsiteY608" fmla="*/ 604880 h 1473560"/>
                  <a:gd name="connsiteX609" fmla="*/ 594360 w 3574732"/>
                  <a:gd name="connsiteY609" fmla="*/ 602023 h 1473560"/>
                  <a:gd name="connsiteX610" fmla="*/ 601980 w 3574732"/>
                  <a:gd name="connsiteY610" fmla="*/ 597260 h 1473560"/>
                  <a:gd name="connsiteX611" fmla="*/ 598170 w 3574732"/>
                  <a:gd name="connsiteY611" fmla="*/ 590593 h 1473560"/>
                  <a:gd name="connsiteX612" fmla="*/ 592455 w 3574732"/>
                  <a:gd name="connsiteY612" fmla="*/ 589640 h 1473560"/>
                  <a:gd name="connsiteX613" fmla="*/ 584835 w 3574732"/>
                  <a:gd name="connsiteY613" fmla="*/ 587735 h 1473560"/>
                  <a:gd name="connsiteX614" fmla="*/ 579120 w 3574732"/>
                  <a:gd name="connsiteY614" fmla="*/ 586783 h 1473560"/>
                  <a:gd name="connsiteX615" fmla="*/ 573405 w 3574732"/>
                  <a:gd name="connsiteY615" fmla="*/ 584878 h 1473560"/>
                  <a:gd name="connsiteX616" fmla="*/ 561975 w 3574732"/>
                  <a:gd name="connsiteY616" fmla="*/ 578210 h 1473560"/>
                  <a:gd name="connsiteX617" fmla="*/ 557213 w 3574732"/>
                  <a:gd name="connsiteY617" fmla="*/ 576305 h 1473560"/>
                  <a:gd name="connsiteX618" fmla="*/ 549593 w 3574732"/>
                  <a:gd name="connsiteY618" fmla="*/ 571543 h 1473560"/>
                  <a:gd name="connsiteX619" fmla="*/ 532448 w 3574732"/>
                  <a:gd name="connsiteY619" fmla="*/ 562018 h 1473560"/>
                  <a:gd name="connsiteX620" fmla="*/ 521018 w 3574732"/>
                  <a:gd name="connsiteY620" fmla="*/ 556303 h 1473560"/>
                  <a:gd name="connsiteX621" fmla="*/ 514350 w 3574732"/>
                  <a:gd name="connsiteY621" fmla="*/ 545825 h 1473560"/>
                  <a:gd name="connsiteX622" fmla="*/ 514350 w 3574732"/>
                  <a:gd name="connsiteY622" fmla="*/ 541063 h 1473560"/>
                  <a:gd name="connsiteX623" fmla="*/ 519113 w 3574732"/>
                  <a:gd name="connsiteY623" fmla="*/ 536300 h 1473560"/>
                  <a:gd name="connsiteX624" fmla="*/ 541020 w 3574732"/>
                  <a:gd name="connsiteY624" fmla="*/ 540110 h 1473560"/>
                  <a:gd name="connsiteX625" fmla="*/ 546735 w 3574732"/>
                  <a:gd name="connsiteY625" fmla="*/ 542015 h 1473560"/>
                  <a:gd name="connsiteX626" fmla="*/ 554355 w 3574732"/>
                  <a:gd name="connsiteY626" fmla="*/ 545825 h 1473560"/>
                  <a:gd name="connsiteX627" fmla="*/ 560070 w 3574732"/>
                  <a:gd name="connsiteY627" fmla="*/ 549635 h 1473560"/>
                  <a:gd name="connsiteX628" fmla="*/ 574358 w 3574732"/>
                  <a:gd name="connsiteY628" fmla="*/ 554398 h 1473560"/>
                  <a:gd name="connsiteX629" fmla="*/ 584835 w 3574732"/>
                  <a:gd name="connsiteY629" fmla="*/ 559160 h 1473560"/>
                  <a:gd name="connsiteX630" fmla="*/ 592455 w 3574732"/>
                  <a:gd name="connsiteY630" fmla="*/ 563923 h 1473560"/>
                  <a:gd name="connsiteX631" fmla="*/ 608648 w 3574732"/>
                  <a:gd name="connsiteY631" fmla="*/ 569638 h 1473560"/>
                  <a:gd name="connsiteX632" fmla="*/ 617220 w 3574732"/>
                  <a:gd name="connsiteY632" fmla="*/ 578210 h 1473560"/>
                  <a:gd name="connsiteX633" fmla="*/ 621030 w 3574732"/>
                  <a:gd name="connsiteY633" fmla="*/ 584878 h 1473560"/>
                  <a:gd name="connsiteX634" fmla="*/ 628650 w 3574732"/>
                  <a:gd name="connsiteY634" fmla="*/ 591545 h 1473560"/>
                  <a:gd name="connsiteX635" fmla="*/ 632460 w 3574732"/>
                  <a:gd name="connsiteY635" fmla="*/ 597260 h 1473560"/>
                  <a:gd name="connsiteX636" fmla="*/ 637223 w 3574732"/>
                  <a:gd name="connsiteY636" fmla="*/ 603928 h 1473560"/>
                  <a:gd name="connsiteX637" fmla="*/ 638175 w 3574732"/>
                  <a:gd name="connsiteY637" fmla="*/ 611548 h 1473560"/>
                  <a:gd name="connsiteX638" fmla="*/ 641033 w 3574732"/>
                  <a:gd name="connsiteY638" fmla="*/ 616310 h 1473560"/>
                  <a:gd name="connsiteX639" fmla="*/ 649605 w 3574732"/>
                  <a:gd name="connsiteY639" fmla="*/ 622025 h 1473560"/>
                  <a:gd name="connsiteX640" fmla="*/ 653415 w 3574732"/>
                  <a:gd name="connsiteY640" fmla="*/ 626788 h 1473560"/>
                  <a:gd name="connsiteX641" fmla="*/ 661988 w 3574732"/>
                  <a:gd name="connsiteY641" fmla="*/ 631550 h 1473560"/>
                  <a:gd name="connsiteX642" fmla="*/ 667703 w 3574732"/>
                  <a:gd name="connsiteY642" fmla="*/ 636313 h 1473560"/>
                  <a:gd name="connsiteX643" fmla="*/ 667703 w 3574732"/>
                  <a:gd name="connsiteY643" fmla="*/ 642028 h 1473560"/>
                  <a:gd name="connsiteX644" fmla="*/ 670560 w 3574732"/>
                  <a:gd name="connsiteY644" fmla="*/ 650600 h 1473560"/>
                  <a:gd name="connsiteX645" fmla="*/ 678180 w 3574732"/>
                  <a:gd name="connsiteY645" fmla="*/ 652505 h 1473560"/>
                  <a:gd name="connsiteX646" fmla="*/ 688658 w 3574732"/>
                  <a:gd name="connsiteY646" fmla="*/ 652505 h 1473560"/>
                  <a:gd name="connsiteX647" fmla="*/ 701993 w 3574732"/>
                  <a:gd name="connsiteY647" fmla="*/ 648695 h 1473560"/>
                  <a:gd name="connsiteX648" fmla="*/ 704850 w 3574732"/>
                  <a:gd name="connsiteY648" fmla="*/ 645838 h 1473560"/>
                  <a:gd name="connsiteX649" fmla="*/ 710565 w 3574732"/>
                  <a:gd name="connsiteY649" fmla="*/ 642980 h 1473560"/>
                  <a:gd name="connsiteX650" fmla="*/ 715328 w 3574732"/>
                  <a:gd name="connsiteY650" fmla="*/ 638218 h 1473560"/>
                  <a:gd name="connsiteX651" fmla="*/ 715328 w 3574732"/>
                  <a:gd name="connsiteY651" fmla="*/ 632503 h 1473560"/>
                  <a:gd name="connsiteX652" fmla="*/ 715328 w 3574732"/>
                  <a:gd name="connsiteY652" fmla="*/ 625835 h 1473560"/>
                  <a:gd name="connsiteX653" fmla="*/ 712470 w 3574732"/>
                  <a:gd name="connsiteY653" fmla="*/ 621073 h 1473560"/>
                  <a:gd name="connsiteX654" fmla="*/ 712470 w 3574732"/>
                  <a:gd name="connsiteY654" fmla="*/ 616310 h 1473560"/>
                  <a:gd name="connsiteX655" fmla="*/ 711518 w 3574732"/>
                  <a:gd name="connsiteY655" fmla="*/ 611548 h 1473560"/>
                  <a:gd name="connsiteX656" fmla="*/ 713423 w 3574732"/>
                  <a:gd name="connsiteY656" fmla="*/ 604880 h 1473560"/>
                  <a:gd name="connsiteX657" fmla="*/ 719138 w 3574732"/>
                  <a:gd name="connsiteY657" fmla="*/ 601070 h 1473560"/>
                  <a:gd name="connsiteX658" fmla="*/ 741045 w 3574732"/>
                  <a:gd name="connsiteY658" fmla="*/ 602975 h 1473560"/>
                  <a:gd name="connsiteX659" fmla="*/ 748665 w 3574732"/>
                  <a:gd name="connsiteY659" fmla="*/ 607738 h 1473560"/>
                  <a:gd name="connsiteX660" fmla="*/ 749618 w 3574732"/>
                  <a:gd name="connsiteY660" fmla="*/ 612500 h 1473560"/>
                  <a:gd name="connsiteX661" fmla="*/ 753428 w 3574732"/>
                  <a:gd name="connsiteY661" fmla="*/ 623930 h 1473560"/>
                  <a:gd name="connsiteX662" fmla="*/ 756285 w 3574732"/>
                  <a:gd name="connsiteY662" fmla="*/ 630598 h 1473560"/>
                  <a:gd name="connsiteX663" fmla="*/ 763905 w 3574732"/>
                  <a:gd name="connsiteY663" fmla="*/ 637265 h 1473560"/>
                  <a:gd name="connsiteX664" fmla="*/ 772478 w 3574732"/>
                  <a:gd name="connsiteY664" fmla="*/ 641075 h 1473560"/>
                  <a:gd name="connsiteX665" fmla="*/ 773430 w 3574732"/>
                  <a:gd name="connsiteY665" fmla="*/ 644885 h 1473560"/>
                  <a:gd name="connsiteX666" fmla="*/ 783908 w 3574732"/>
                  <a:gd name="connsiteY666" fmla="*/ 646790 h 1473560"/>
                  <a:gd name="connsiteX667" fmla="*/ 801053 w 3574732"/>
                  <a:gd name="connsiteY667" fmla="*/ 650600 h 1473560"/>
                  <a:gd name="connsiteX668" fmla="*/ 812483 w 3574732"/>
                  <a:gd name="connsiteY668" fmla="*/ 651553 h 1473560"/>
                  <a:gd name="connsiteX669" fmla="*/ 826770 w 3574732"/>
                  <a:gd name="connsiteY669" fmla="*/ 651553 h 1473560"/>
                  <a:gd name="connsiteX670" fmla="*/ 840105 w 3574732"/>
                  <a:gd name="connsiteY670" fmla="*/ 651553 h 1473560"/>
                  <a:gd name="connsiteX671" fmla="*/ 848678 w 3574732"/>
                  <a:gd name="connsiteY671" fmla="*/ 651553 h 1473560"/>
                  <a:gd name="connsiteX672" fmla="*/ 862965 w 3574732"/>
                  <a:gd name="connsiteY672" fmla="*/ 650600 h 1473560"/>
                  <a:gd name="connsiteX673" fmla="*/ 874395 w 3574732"/>
                  <a:gd name="connsiteY673" fmla="*/ 650600 h 1473560"/>
                  <a:gd name="connsiteX674" fmla="*/ 887730 w 3574732"/>
                  <a:gd name="connsiteY674" fmla="*/ 650600 h 1473560"/>
                  <a:gd name="connsiteX675" fmla="*/ 896303 w 3574732"/>
                  <a:gd name="connsiteY675" fmla="*/ 653458 h 1473560"/>
                  <a:gd name="connsiteX676" fmla="*/ 904875 w 3574732"/>
                  <a:gd name="connsiteY676" fmla="*/ 660125 h 1473560"/>
                  <a:gd name="connsiteX677" fmla="*/ 918210 w 3574732"/>
                  <a:gd name="connsiteY677" fmla="*/ 662983 h 1473560"/>
                  <a:gd name="connsiteX678" fmla="*/ 918210 w 3574732"/>
                  <a:gd name="connsiteY678" fmla="*/ 666793 h 1473560"/>
                  <a:gd name="connsiteX679" fmla="*/ 918210 w 3574732"/>
                  <a:gd name="connsiteY679" fmla="*/ 673460 h 1473560"/>
                  <a:gd name="connsiteX680" fmla="*/ 912495 w 3574732"/>
                  <a:gd name="connsiteY680" fmla="*/ 677270 h 1473560"/>
                  <a:gd name="connsiteX681" fmla="*/ 904875 w 3574732"/>
                  <a:gd name="connsiteY681" fmla="*/ 681080 h 1473560"/>
                  <a:gd name="connsiteX682" fmla="*/ 902018 w 3574732"/>
                  <a:gd name="connsiteY682" fmla="*/ 684890 h 1473560"/>
                  <a:gd name="connsiteX683" fmla="*/ 896303 w 3574732"/>
                  <a:gd name="connsiteY683" fmla="*/ 691558 h 1473560"/>
                  <a:gd name="connsiteX684" fmla="*/ 894398 w 3574732"/>
                  <a:gd name="connsiteY684" fmla="*/ 702035 h 1473560"/>
                  <a:gd name="connsiteX685" fmla="*/ 894398 w 3574732"/>
                  <a:gd name="connsiteY685" fmla="*/ 711560 h 1473560"/>
                  <a:gd name="connsiteX686" fmla="*/ 889635 w 3574732"/>
                  <a:gd name="connsiteY686" fmla="*/ 717275 h 1473560"/>
                  <a:gd name="connsiteX687" fmla="*/ 881063 w 3574732"/>
                  <a:gd name="connsiteY687" fmla="*/ 720133 h 1473560"/>
                  <a:gd name="connsiteX688" fmla="*/ 862013 w 3574732"/>
                  <a:gd name="connsiteY688" fmla="*/ 722038 h 1473560"/>
                  <a:gd name="connsiteX689" fmla="*/ 850583 w 3574732"/>
                  <a:gd name="connsiteY689" fmla="*/ 722038 h 1473560"/>
                  <a:gd name="connsiteX690" fmla="*/ 842963 w 3574732"/>
                  <a:gd name="connsiteY690" fmla="*/ 721085 h 1473560"/>
                  <a:gd name="connsiteX691" fmla="*/ 834390 w 3574732"/>
                  <a:gd name="connsiteY691" fmla="*/ 724895 h 1473560"/>
                  <a:gd name="connsiteX692" fmla="*/ 807720 w 3574732"/>
                  <a:gd name="connsiteY692" fmla="*/ 727753 h 1473560"/>
                  <a:gd name="connsiteX693" fmla="*/ 793433 w 3574732"/>
                  <a:gd name="connsiteY693" fmla="*/ 727753 h 1473560"/>
                  <a:gd name="connsiteX694" fmla="*/ 771525 w 3574732"/>
                  <a:gd name="connsiteY694" fmla="*/ 725848 h 1473560"/>
                  <a:gd name="connsiteX695" fmla="*/ 758190 w 3574732"/>
                  <a:gd name="connsiteY695" fmla="*/ 723943 h 1473560"/>
                  <a:gd name="connsiteX696" fmla="*/ 750570 w 3574732"/>
                  <a:gd name="connsiteY696" fmla="*/ 722038 h 1473560"/>
                  <a:gd name="connsiteX697" fmla="*/ 734378 w 3574732"/>
                  <a:gd name="connsiteY697" fmla="*/ 720133 h 1473560"/>
                  <a:gd name="connsiteX698" fmla="*/ 718185 w 3574732"/>
                  <a:gd name="connsiteY698" fmla="*/ 715370 h 1473560"/>
                  <a:gd name="connsiteX699" fmla="*/ 706755 w 3574732"/>
                  <a:gd name="connsiteY699" fmla="*/ 714418 h 1473560"/>
                  <a:gd name="connsiteX700" fmla="*/ 684848 w 3574732"/>
                  <a:gd name="connsiteY700" fmla="*/ 711560 h 1473560"/>
                  <a:gd name="connsiteX701" fmla="*/ 667703 w 3574732"/>
                  <a:gd name="connsiteY701" fmla="*/ 711560 h 1473560"/>
                  <a:gd name="connsiteX702" fmla="*/ 651510 w 3574732"/>
                  <a:gd name="connsiteY702" fmla="*/ 713465 h 1473560"/>
                  <a:gd name="connsiteX703" fmla="*/ 648653 w 3574732"/>
                  <a:gd name="connsiteY703" fmla="*/ 719180 h 1473560"/>
                  <a:gd name="connsiteX704" fmla="*/ 632460 w 3574732"/>
                  <a:gd name="connsiteY704" fmla="*/ 728705 h 1473560"/>
                  <a:gd name="connsiteX705" fmla="*/ 607695 w 3574732"/>
                  <a:gd name="connsiteY705" fmla="*/ 726800 h 1473560"/>
                  <a:gd name="connsiteX706" fmla="*/ 596265 w 3574732"/>
                  <a:gd name="connsiteY706" fmla="*/ 723943 h 1473560"/>
                  <a:gd name="connsiteX707" fmla="*/ 585788 w 3574732"/>
                  <a:gd name="connsiteY707" fmla="*/ 721085 h 1473560"/>
                  <a:gd name="connsiteX708" fmla="*/ 571500 w 3574732"/>
                  <a:gd name="connsiteY708" fmla="*/ 717275 h 1473560"/>
                  <a:gd name="connsiteX709" fmla="*/ 560070 w 3574732"/>
                  <a:gd name="connsiteY709" fmla="*/ 714418 h 1473560"/>
                  <a:gd name="connsiteX710" fmla="*/ 548640 w 3574732"/>
                  <a:gd name="connsiteY710" fmla="*/ 710608 h 1473560"/>
                  <a:gd name="connsiteX711" fmla="*/ 537210 w 3574732"/>
                  <a:gd name="connsiteY711" fmla="*/ 707750 h 1473560"/>
                  <a:gd name="connsiteX712" fmla="*/ 521018 w 3574732"/>
                  <a:gd name="connsiteY712" fmla="*/ 704893 h 1473560"/>
                  <a:gd name="connsiteX713" fmla="*/ 515303 w 3574732"/>
                  <a:gd name="connsiteY713" fmla="*/ 701083 h 1473560"/>
                  <a:gd name="connsiteX714" fmla="*/ 507683 w 3574732"/>
                  <a:gd name="connsiteY714" fmla="*/ 697273 h 1473560"/>
                  <a:gd name="connsiteX715" fmla="*/ 501968 w 3574732"/>
                  <a:gd name="connsiteY715" fmla="*/ 697273 h 1473560"/>
                  <a:gd name="connsiteX716" fmla="*/ 494348 w 3574732"/>
                  <a:gd name="connsiteY716" fmla="*/ 694415 h 1473560"/>
                  <a:gd name="connsiteX717" fmla="*/ 488633 w 3574732"/>
                  <a:gd name="connsiteY717" fmla="*/ 689653 h 1473560"/>
                  <a:gd name="connsiteX718" fmla="*/ 482918 w 3574732"/>
                  <a:gd name="connsiteY718" fmla="*/ 681080 h 1473560"/>
                  <a:gd name="connsiteX719" fmla="*/ 482918 w 3574732"/>
                  <a:gd name="connsiteY719" fmla="*/ 675365 h 1473560"/>
                  <a:gd name="connsiteX720" fmla="*/ 485775 w 3574732"/>
                  <a:gd name="connsiteY720" fmla="*/ 662983 h 1473560"/>
                  <a:gd name="connsiteX721" fmla="*/ 484823 w 3574732"/>
                  <a:gd name="connsiteY721" fmla="*/ 655363 h 1473560"/>
                  <a:gd name="connsiteX722" fmla="*/ 480060 w 3574732"/>
                  <a:gd name="connsiteY722" fmla="*/ 651553 h 1473560"/>
                  <a:gd name="connsiteX723" fmla="*/ 461010 w 3574732"/>
                  <a:gd name="connsiteY723" fmla="*/ 652505 h 1473560"/>
                  <a:gd name="connsiteX724" fmla="*/ 450533 w 3574732"/>
                  <a:gd name="connsiteY724" fmla="*/ 652505 h 1473560"/>
                  <a:gd name="connsiteX725" fmla="*/ 440055 w 3574732"/>
                  <a:gd name="connsiteY725" fmla="*/ 652505 h 1473560"/>
                  <a:gd name="connsiteX726" fmla="*/ 421005 w 3574732"/>
                  <a:gd name="connsiteY726" fmla="*/ 651553 h 1473560"/>
                  <a:gd name="connsiteX727" fmla="*/ 410528 w 3574732"/>
                  <a:gd name="connsiteY727" fmla="*/ 651553 h 1473560"/>
                  <a:gd name="connsiteX728" fmla="*/ 402908 w 3574732"/>
                  <a:gd name="connsiteY728" fmla="*/ 650600 h 1473560"/>
                  <a:gd name="connsiteX729" fmla="*/ 392430 w 3574732"/>
                  <a:gd name="connsiteY729" fmla="*/ 650600 h 1473560"/>
                  <a:gd name="connsiteX730" fmla="*/ 373380 w 3574732"/>
                  <a:gd name="connsiteY730" fmla="*/ 650600 h 1473560"/>
                  <a:gd name="connsiteX731" fmla="*/ 365760 w 3574732"/>
                  <a:gd name="connsiteY731" fmla="*/ 650600 h 1473560"/>
                  <a:gd name="connsiteX732" fmla="*/ 352425 w 3574732"/>
                  <a:gd name="connsiteY732" fmla="*/ 650600 h 1473560"/>
                  <a:gd name="connsiteX733" fmla="*/ 339090 w 3574732"/>
                  <a:gd name="connsiteY733" fmla="*/ 650600 h 1473560"/>
                  <a:gd name="connsiteX734" fmla="*/ 330518 w 3574732"/>
                  <a:gd name="connsiteY734" fmla="*/ 653458 h 1473560"/>
                  <a:gd name="connsiteX735" fmla="*/ 324803 w 3574732"/>
                  <a:gd name="connsiteY735" fmla="*/ 658220 h 1473560"/>
                  <a:gd name="connsiteX736" fmla="*/ 316230 w 3574732"/>
                  <a:gd name="connsiteY736" fmla="*/ 659173 h 1473560"/>
                  <a:gd name="connsiteX737" fmla="*/ 304800 w 3574732"/>
                  <a:gd name="connsiteY737" fmla="*/ 662030 h 1473560"/>
                  <a:gd name="connsiteX738" fmla="*/ 294323 w 3574732"/>
                  <a:gd name="connsiteY738" fmla="*/ 662983 h 1473560"/>
                  <a:gd name="connsiteX739" fmla="*/ 288608 w 3574732"/>
                  <a:gd name="connsiteY739" fmla="*/ 663935 h 1473560"/>
                  <a:gd name="connsiteX740" fmla="*/ 280988 w 3574732"/>
                  <a:gd name="connsiteY740" fmla="*/ 667745 h 1473560"/>
                  <a:gd name="connsiteX741" fmla="*/ 261938 w 3574732"/>
                  <a:gd name="connsiteY741" fmla="*/ 670603 h 1473560"/>
                  <a:gd name="connsiteX742" fmla="*/ 254318 w 3574732"/>
                  <a:gd name="connsiteY742" fmla="*/ 671555 h 1473560"/>
                  <a:gd name="connsiteX743" fmla="*/ 238125 w 3574732"/>
                  <a:gd name="connsiteY743" fmla="*/ 679175 h 1473560"/>
                  <a:gd name="connsiteX744" fmla="*/ 219075 w 3574732"/>
                  <a:gd name="connsiteY744" fmla="*/ 674413 h 1473560"/>
                  <a:gd name="connsiteX745" fmla="*/ 205740 w 3574732"/>
                  <a:gd name="connsiteY745" fmla="*/ 674413 h 1473560"/>
                  <a:gd name="connsiteX746" fmla="*/ 200025 w 3574732"/>
                  <a:gd name="connsiteY746" fmla="*/ 678223 h 1473560"/>
                  <a:gd name="connsiteX747" fmla="*/ 188595 w 3574732"/>
                  <a:gd name="connsiteY747" fmla="*/ 681080 h 1473560"/>
                  <a:gd name="connsiteX748" fmla="*/ 177165 w 3574732"/>
                  <a:gd name="connsiteY748" fmla="*/ 684890 h 1473560"/>
                  <a:gd name="connsiteX749" fmla="*/ 168593 w 3574732"/>
                  <a:gd name="connsiteY749" fmla="*/ 691558 h 1473560"/>
                  <a:gd name="connsiteX750" fmla="*/ 160020 w 3574732"/>
                  <a:gd name="connsiteY750" fmla="*/ 692510 h 1473560"/>
                  <a:gd name="connsiteX751" fmla="*/ 155258 w 3574732"/>
                  <a:gd name="connsiteY751" fmla="*/ 693463 h 1473560"/>
                  <a:gd name="connsiteX752" fmla="*/ 149543 w 3574732"/>
                  <a:gd name="connsiteY752" fmla="*/ 695368 h 1473560"/>
                  <a:gd name="connsiteX753" fmla="*/ 146685 w 3574732"/>
                  <a:gd name="connsiteY753" fmla="*/ 701083 h 1473560"/>
                  <a:gd name="connsiteX754" fmla="*/ 141923 w 3574732"/>
                  <a:gd name="connsiteY754" fmla="*/ 706798 h 1473560"/>
                  <a:gd name="connsiteX755" fmla="*/ 136208 w 3574732"/>
                  <a:gd name="connsiteY755" fmla="*/ 711560 h 1473560"/>
                  <a:gd name="connsiteX756" fmla="*/ 131445 w 3574732"/>
                  <a:gd name="connsiteY756" fmla="*/ 721085 h 1473560"/>
                  <a:gd name="connsiteX757" fmla="*/ 128588 w 3574732"/>
                  <a:gd name="connsiteY757" fmla="*/ 729658 h 1473560"/>
                  <a:gd name="connsiteX758" fmla="*/ 122873 w 3574732"/>
                  <a:gd name="connsiteY758" fmla="*/ 740135 h 1473560"/>
                  <a:gd name="connsiteX759" fmla="*/ 115253 w 3574732"/>
                  <a:gd name="connsiteY759" fmla="*/ 744898 h 1473560"/>
                  <a:gd name="connsiteX760" fmla="*/ 104775 w 3574732"/>
                  <a:gd name="connsiteY760" fmla="*/ 749660 h 1473560"/>
                  <a:gd name="connsiteX761" fmla="*/ 97155 w 3574732"/>
                  <a:gd name="connsiteY761" fmla="*/ 746803 h 1473560"/>
                  <a:gd name="connsiteX762" fmla="*/ 81915 w 3574732"/>
                  <a:gd name="connsiteY762" fmla="*/ 754423 h 1473560"/>
                  <a:gd name="connsiteX763" fmla="*/ 76200 w 3574732"/>
                  <a:gd name="connsiteY763" fmla="*/ 756328 h 1473560"/>
                  <a:gd name="connsiteX764" fmla="*/ 68580 w 3574732"/>
                  <a:gd name="connsiteY764" fmla="*/ 762995 h 1473560"/>
                  <a:gd name="connsiteX765" fmla="*/ 63818 w 3574732"/>
                  <a:gd name="connsiteY765" fmla="*/ 767758 h 1473560"/>
                  <a:gd name="connsiteX766" fmla="*/ 56198 w 3574732"/>
                  <a:gd name="connsiteY766" fmla="*/ 781093 h 1473560"/>
                  <a:gd name="connsiteX767" fmla="*/ 51435 w 3574732"/>
                  <a:gd name="connsiteY767" fmla="*/ 782045 h 1473560"/>
                  <a:gd name="connsiteX768" fmla="*/ 40958 w 3574732"/>
                  <a:gd name="connsiteY768" fmla="*/ 787760 h 1473560"/>
                  <a:gd name="connsiteX769" fmla="*/ 25718 w 3574732"/>
                  <a:gd name="connsiteY769" fmla="*/ 794428 h 1473560"/>
                  <a:gd name="connsiteX770" fmla="*/ 18098 w 3574732"/>
                  <a:gd name="connsiteY770" fmla="*/ 802048 h 1473560"/>
                  <a:gd name="connsiteX771" fmla="*/ 12383 w 3574732"/>
                  <a:gd name="connsiteY771" fmla="*/ 815383 h 1473560"/>
                  <a:gd name="connsiteX772" fmla="*/ 6668 w 3574732"/>
                  <a:gd name="connsiteY772" fmla="*/ 823955 h 1473560"/>
                  <a:gd name="connsiteX773" fmla="*/ 6668 w 3574732"/>
                  <a:gd name="connsiteY773" fmla="*/ 834433 h 1473560"/>
                  <a:gd name="connsiteX774" fmla="*/ 6668 w 3574732"/>
                  <a:gd name="connsiteY774" fmla="*/ 839195 h 1473560"/>
                  <a:gd name="connsiteX775" fmla="*/ 6668 w 3574732"/>
                  <a:gd name="connsiteY775" fmla="*/ 850625 h 1473560"/>
                  <a:gd name="connsiteX776" fmla="*/ 9525 w 3574732"/>
                  <a:gd name="connsiteY776" fmla="*/ 864913 h 1473560"/>
                  <a:gd name="connsiteX777" fmla="*/ 9525 w 3574732"/>
                  <a:gd name="connsiteY777" fmla="*/ 874438 h 1473560"/>
                  <a:gd name="connsiteX778" fmla="*/ 7620 w 3574732"/>
                  <a:gd name="connsiteY778" fmla="*/ 888725 h 1473560"/>
                  <a:gd name="connsiteX779" fmla="*/ 5715 w 3574732"/>
                  <a:gd name="connsiteY779" fmla="*/ 894440 h 1473560"/>
                  <a:gd name="connsiteX780" fmla="*/ 2858 w 3574732"/>
                  <a:gd name="connsiteY780" fmla="*/ 908728 h 1473560"/>
                  <a:gd name="connsiteX781" fmla="*/ 0 w 3574732"/>
                  <a:gd name="connsiteY781" fmla="*/ 919205 h 1473560"/>
                  <a:gd name="connsiteX782" fmla="*/ 5715 w 3574732"/>
                  <a:gd name="connsiteY782" fmla="*/ 929683 h 1473560"/>
                  <a:gd name="connsiteX783" fmla="*/ 8573 w 3574732"/>
                  <a:gd name="connsiteY783" fmla="*/ 938255 h 1473560"/>
                  <a:gd name="connsiteX784" fmla="*/ 24765 w 3574732"/>
                  <a:gd name="connsiteY784" fmla="*/ 944923 h 1473560"/>
                  <a:gd name="connsiteX785" fmla="*/ 32385 w 3574732"/>
                  <a:gd name="connsiteY785" fmla="*/ 949685 h 1473560"/>
                  <a:gd name="connsiteX786" fmla="*/ 42863 w 3574732"/>
                  <a:gd name="connsiteY786" fmla="*/ 961115 h 1473560"/>
                  <a:gd name="connsiteX787" fmla="*/ 56198 w 3574732"/>
                  <a:gd name="connsiteY787" fmla="*/ 968735 h 1473560"/>
                  <a:gd name="connsiteX788" fmla="*/ 61913 w 3574732"/>
                  <a:gd name="connsiteY788" fmla="*/ 973498 h 1473560"/>
                  <a:gd name="connsiteX789" fmla="*/ 75248 w 3574732"/>
                  <a:gd name="connsiteY789" fmla="*/ 980165 h 1473560"/>
                  <a:gd name="connsiteX790" fmla="*/ 86678 w 3574732"/>
                  <a:gd name="connsiteY790" fmla="*/ 985880 h 1473560"/>
                  <a:gd name="connsiteX791" fmla="*/ 95250 w 3574732"/>
                  <a:gd name="connsiteY791" fmla="*/ 993500 h 1473560"/>
                  <a:gd name="connsiteX792" fmla="*/ 114300 w 3574732"/>
                  <a:gd name="connsiteY792" fmla="*/ 1001120 h 1473560"/>
                  <a:gd name="connsiteX793" fmla="*/ 120015 w 3574732"/>
                  <a:gd name="connsiteY793" fmla="*/ 1009693 h 1473560"/>
                  <a:gd name="connsiteX794" fmla="*/ 137160 w 3574732"/>
                  <a:gd name="connsiteY794" fmla="*/ 1020170 h 1473560"/>
                  <a:gd name="connsiteX795" fmla="*/ 147638 w 3574732"/>
                  <a:gd name="connsiteY795" fmla="*/ 1026838 h 1473560"/>
                  <a:gd name="connsiteX796" fmla="*/ 165735 w 3574732"/>
                  <a:gd name="connsiteY796" fmla="*/ 1026838 h 1473560"/>
                  <a:gd name="connsiteX797" fmla="*/ 184785 w 3574732"/>
                  <a:gd name="connsiteY797" fmla="*/ 1023028 h 1473560"/>
                  <a:gd name="connsiteX798" fmla="*/ 190500 w 3574732"/>
                  <a:gd name="connsiteY798" fmla="*/ 1021123 h 1473560"/>
                  <a:gd name="connsiteX799" fmla="*/ 201930 w 3574732"/>
                  <a:gd name="connsiteY799" fmla="*/ 1019218 h 1473560"/>
                  <a:gd name="connsiteX800" fmla="*/ 207645 w 3574732"/>
                  <a:gd name="connsiteY800" fmla="*/ 1019218 h 1473560"/>
                  <a:gd name="connsiteX801" fmla="*/ 216218 w 3574732"/>
                  <a:gd name="connsiteY801" fmla="*/ 1019218 h 1473560"/>
                  <a:gd name="connsiteX802" fmla="*/ 224790 w 3574732"/>
                  <a:gd name="connsiteY802" fmla="*/ 1019218 h 1473560"/>
                  <a:gd name="connsiteX803" fmla="*/ 233363 w 3574732"/>
                  <a:gd name="connsiteY803" fmla="*/ 1021123 h 1473560"/>
                  <a:gd name="connsiteX804" fmla="*/ 249555 w 3574732"/>
                  <a:gd name="connsiteY804" fmla="*/ 1021123 h 1473560"/>
                  <a:gd name="connsiteX805" fmla="*/ 258128 w 3574732"/>
                  <a:gd name="connsiteY805" fmla="*/ 1020170 h 1473560"/>
                  <a:gd name="connsiteX806" fmla="*/ 279083 w 3574732"/>
                  <a:gd name="connsiteY806" fmla="*/ 1018265 h 1473560"/>
                  <a:gd name="connsiteX807" fmla="*/ 295275 w 3574732"/>
                  <a:gd name="connsiteY807" fmla="*/ 1013503 h 1473560"/>
                  <a:gd name="connsiteX808" fmla="*/ 306705 w 3574732"/>
                  <a:gd name="connsiteY808" fmla="*/ 1006835 h 1473560"/>
                  <a:gd name="connsiteX809" fmla="*/ 314325 w 3574732"/>
                  <a:gd name="connsiteY809" fmla="*/ 1003025 h 1473560"/>
                  <a:gd name="connsiteX810" fmla="*/ 320040 w 3574732"/>
                  <a:gd name="connsiteY810" fmla="*/ 1002073 h 1473560"/>
                  <a:gd name="connsiteX811" fmla="*/ 334328 w 3574732"/>
                  <a:gd name="connsiteY811" fmla="*/ 1002073 h 1473560"/>
                  <a:gd name="connsiteX812" fmla="*/ 347663 w 3574732"/>
                  <a:gd name="connsiteY812" fmla="*/ 1003978 h 1473560"/>
                  <a:gd name="connsiteX813" fmla="*/ 358140 w 3574732"/>
                  <a:gd name="connsiteY813" fmla="*/ 1005883 h 1473560"/>
                  <a:gd name="connsiteX814" fmla="*/ 366713 w 3574732"/>
                  <a:gd name="connsiteY814" fmla="*/ 1006835 h 1473560"/>
                  <a:gd name="connsiteX815" fmla="*/ 377190 w 3574732"/>
                  <a:gd name="connsiteY815" fmla="*/ 1008740 h 1473560"/>
                  <a:gd name="connsiteX816" fmla="*/ 385763 w 3574732"/>
                  <a:gd name="connsiteY816" fmla="*/ 1014455 h 1473560"/>
                  <a:gd name="connsiteX817" fmla="*/ 394335 w 3574732"/>
                  <a:gd name="connsiteY817" fmla="*/ 1021123 h 1473560"/>
                  <a:gd name="connsiteX818" fmla="*/ 404813 w 3574732"/>
                  <a:gd name="connsiteY818" fmla="*/ 1023980 h 1473560"/>
                  <a:gd name="connsiteX819" fmla="*/ 412433 w 3574732"/>
                  <a:gd name="connsiteY819" fmla="*/ 1025885 h 1473560"/>
                  <a:gd name="connsiteX820" fmla="*/ 429578 w 3574732"/>
                  <a:gd name="connsiteY820" fmla="*/ 1027790 h 1473560"/>
                  <a:gd name="connsiteX821" fmla="*/ 437198 w 3574732"/>
                  <a:gd name="connsiteY821" fmla="*/ 1027790 h 1473560"/>
                  <a:gd name="connsiteX822" fmla="*/ 450533 w 3574732"/>
                  <a:gd name="connsiteY822" fmla="*/ 1030648 h 1473560"/>
                  <a:gd name="connsiteX823" fmla="*/ 451485 w 3574732"/>
                  <a:gd name="connsiteY823" fmla="*/ 1036363 h 1473560"/>
                  <a:gd name="connsiteX824" fmla="*/ 451485 w 3574732"/>
                  <a:gd name="connsiteY824" fmla="*/ 1045888 h 1473560"/>
                  <a:gd name="connsiteX825" fmla="*/ 451485 w 3574732"/>
                  <a:gd name="connsiteY825" fmla="*/ 1055413 h 1473560"/>
                  <a:gd name="connsiteX826" fmla="*/ 451485 w 3574732"/>
                  <a:gd name="connsiteY826" fmla="*/ 1066843 h 1473560"/>
                  <a:gd name="connsiteX827" fmla="*/ 449580 w 3574732"/>
                  <a:gd name="connsiteY827" fmla="*/ 1076368 h 1473560"/>
                  <a:gd name="connsiteX828" fmla="*/ 447675 w 3574732"/>
                  <a:gd name="connsiteY828" fmla="*/ 1087798 h 1473560"/>
                  <a:gd name="connsiteX829" fmla="*/ 447675 w 3574732"/>
                  <a:gd name="connsiteY829" fmla="*/ 1095418 h 1473560"/>
                  <a:gd name="connsiteX830" fmla="*/ 450533 w 3574732"/>
                  <a:gd name="connsiteY830" fmla="*/ 1102085 h 1473560"/>
                  <a:gd name="connsiteX831" fmla="*/ 458153 w 3574732"/>
                  <a:gd name="connsiteY831" fmla="*/ 1108753 h 1473560"/>
                  <a:gd name="connsiteX832" fmla="*/ 465773 w 3574732"/>
                  <a:gd name="connsiteY832" fmla="*/ 1112563 h 1473560"/>
                  <a:gd name="connsiteX833" fmla="*/ 474345 w 3574732"/>
                  <a:gd name="connsiteY833" fmla="*/ 1113515 h 1473560"/>
                  <a:gd name="connsiteX834" fmla="*/ 487680 w 3574732"/>
                  <a:gd name="connsiteY834" fmla="*/ 1123040 h 1473560"/>
                  <a:gd name="connsiteX835" fmla="*/ 493395 w 3574732"/>
                  <a:gd name="connsiteY835" fmla="*/ 1129708 h 1473560"/>
                  <a:gd name="connsiteX836" fmla="*/ 499110 w 3574732"/>
                  <a:gd name="connsiteY836" fmla="*/ 1134470 h 1473560"/>
                  <a:gd name="connsiteX837" fmla="*/ 507683 w 3574732"/>
                  <a:gd name="connsiteY837" fmla="*/ 1150663 h 1473560"/>
                  <a:gd name="connsiteX838" fmla="*/ 510540 w 3574732"/>
                  <a:gd name="connsiteY838" fmla="*/ 1157330 h 1473560"/>
                  <a:gd name="connsiteX839" fmla="*/ 507683 w 3574732"/>
                  <a:gd name="connsiteY839" fmla="*/ 1165903 h 1473560"/>
                  <a:gd name="connsiteX840" fmla="*/ 507683 w 3574732"/>
                  <a:gd name="connsiteY840" fmla="*/ 1173523 h 1473560"/>
                  <a:gd name="connsiteX841" fmla="*/ 518160 w 3574732"/>
                  <a:gd name="connsiteY841" fmla="*/ 1182095 h 1473560"/>
                  <a:gd name="connsiteX842" fmla="*/ 525780 w 3574732"/>
                  <a:gd name="connsiteY842" fmla="*/ 1185905 h 1473560"/>
                  <a:gd name="connsiteX843" fmla="*/ 526733 w 3574732"/>
                  <a:gd name="connsiteY843" fmla="*/ 1192573 h 1473560"/>
                  <a:gd name="connsiteX844" fmla="*/ 523875 w 3574732"/>
                  <a:gd name="connsiteY844" fmla="*/ 1198288 h 1473560"/>
                  <a:gd name="connsiteX845" fmla="*/ 519113 w 3574732"/>
                  <a:gd name="connsiteY845" fmla="*/ 1203050 h 1473560"/>
                  <a:gd name="connsiteX846" fmla="*/ 511493 w 3574732"/>
                  <a:gd name="connsiteY846" fmla="*/ 1214480 h 1473560"/>
                  <a:gd name="connsiteX847" fmla="*/ 506730 w 3574732"/>
                  <a:gd name="connsiteY847" fmla="*/ 1219243 h 1473560"/>
                  <a:gd name="connsiteX848" fmla="*/ 506730 w 3574732"/>
                  <a:gd name="connsiteY848" fmla="*/ 1227815 h 1473560"/>
                  <a:gd name="connsiteX849" fmla="*/ 499110 w 3574732"/>
                  <a:gd name="connsiteY849" fmla="*/ 1233530 h 1473560"/>
                  <a:gd name="connsiteX850" fmla="*/ 491490 w 3574732"/>
                  <a:gd name="connsiteY850" fmla="*/ 1245913 h 1473560"/>
                  <a:gd name="connsiteX851" fmla="*/ 491490 w 3574732"/>
                  <a:gd name="connsiteY851" fmla="*/ 1250675 h 1473560"/>
                  <a:gd name="connsiteX852" fmla="*/ 494348 w 3574732"/>
                  <a:gd name="connsiteY852" fmla="*/ 1260200 h 1473560"/>
                  <a:gd name="connsiteX853" fmla="*/ 495300 w 3574732"/>
                  <a:gd name="connsiteY853" fmla="*/ 1280203 h 1473560"/>
                  <a:gd name="connsiteX854" fmla="*/ 501968 w 3574732"/>
                  <a:gd name="connsiteY854" fmla="*/ 1290680 h 1473560"/>
                  <a:gd name="connsiteX855" fmla="*/ 500063 w 3574732"/>
                  <a:gd name="connsiteY855" fmla="*/ 1304015 h 1473560"/>
                  <a:gd name="connsiteX856" fmla="*/ 502920 w 3574732"/>
                  <a:gd name="connsiteY856" fmla="*/ 1310683 h 1473560"/>
                  <a:gd name="connsiteX857" fmla="*/ 514350 w 3574732"/>
                  <a:gd name="connsiteY857" fmla="*/ 1320208 h 1473560"/>
                  <a:gd name="connsiteX858" fmla="*/ 525780 w 3574732"/>
                  <a:gd name="connsiteY858" fmla="*/ 1326875 h 1473560"/>
                  <a:gd name="connsiteX859" fmla="*/ 534353 w 3574732"/>
                  <a:gd name="connsiteY859" fmla="*/ 1337353 h 1473560"/>
                  <a:gd name="connsiteX860" fmla="*/ 535305 w 3574732"/>
                  <a:gd name="connsiteY860" fmla="*/ 1342115 h 1473560"/>
                  <a:gd name="connsiteX861" fmla="*/ 533400 w 3574732"/>
                  <a:gd name="connsiteY861" fmla="*/ 1349735 h 1473560"/>
                  <a:gd name="connsiteX862" fmla="*/ 533400 w 3574732"/>
                  <a:gd name="connsiteY862" fmla="*/ 1360213 h 1473560"/>
                  <a:gd name="connsiteX863" fmla="*/ 534353 w 3574732"/>
                  <a:gd name="connsiteY863" fmla="*/ 1369738 h 1473560"/>
                  <a:gd name="connsiteX864" fmla="*/ 547688 w 3574732"/>
                  <a:gd name="connsiteY864" fmla="*/ 1380215 h 1473560"/>
                  <a:gd name="connsiteX865" fmla="*/ 553403 w 3574732"/>
                  <a:gd name="connsiteY865" fmla="*/ 1388788 h 1473560"/>
                  <a:gd name="connsiteX866" fmla="*/ 559118 w 3574732"/>
                  <a:gd name="connsiteY866" fmla="*/ 1393550 h 1473560"/>
                  <a:gd name="connsiteX867" fmla="*/ 563880 w 3574732"/>
                  <a:gd name="connsiteY867" fmla="*/ 1398313 h 1473560"/>
                  <a:gd name="connsiteX868" fmla="*/ 573405 w 3574732"/>
                  <a:gd name="connsiteY868" fmla="*/ 1410695 h 1473560"/>
                  <a:gd name="connsiteX869" fmla="*/ 576263 w 3574732"/>
                  <a:gd name="connsiteY869" fmla="*/ 1419268 h 1473560"/>
                  <a:gd name="connsiteX870" fmla="*/ 580073 w 3574732"/>
                  <a:gd name="connsiteY870" fmla="*/ 1425935 h 1473560"/>
                  <a:gd name="connsiteX871" fmla="*/ 588645 w 3574732"/>
                  <a:gd name="connsiteY871" fmla="*/ 1436413 h 1473560"/>
                  <a:gd name="connsiteX872" fmla="*/ 594360 w 3574732"/>
                  <a:gd name="connsiteY872" fmla="*/ 1442128 h 1473560"/>
                  <a:gd name="connsiteX873" fmla="*/ 597218 w 3574732"/>
                  <a:gd name="connsiteY873" fmla="*/ 1451653 h 1473560"/>
                  <a:gd name="connsiteX874" fmla="*/ 597218 w 3574732"/>
                  <a:gd name="connsiteY874" fmla="*/ 1458320 h 1473560"/>
                  <a:gd name="connsiteX875" fmla="*/ 598170 w 3574732"/>
                  <a:gd name="connsiteY875" fmla="*/ 1464035 h 1473560"/>
                  <a:gd name="connsiteX876" fmla="*/ 601980 w 3574732"/>
                  <a:gd name="connsiteY876" fmla="*/ 1473560 h 1473560"/>
                  <a:gd name="connsiteX877" fmla="*/ 612458 w 3574732"/>
                  <a:gd name="connsiteY877" fmla="*/ 1473560 h 1473560"/>
                  <a:gd name="connsiteX878" fmla="*/ 618173 w 3574732"/>
                  <a:gd name="connsiteY878" fmla="*/ 1473560 h 1473560"/>
                  <a:gd name="connsiteX879" fmla="*/ 628650 w 3574732"/>
                  <a:gd name="connsiteY879" fmla="*/ 1473560 h 1473560"/>
                  <a:gd name="connsiteX880" fmla="*/ 639128 w 3574732"/>
                  <a:gd name="connsiteY880" fmla="*/ 1473560 h 1473560"/>
                  <a:gd name="connsiteX881" fmla="*/ 650558 w 3574732"/>
                  <a:gd name="connsiteY881" fmla="*/ 1472608 h 1473560"/>
                  <a:gd name="connsiteX882" fmla="*/ 656273 w 3574732"/>
                  <a:gd name="connsiteY882" fmla="*/ 1470703 h 1473560"/>
                  <a:gd name="connsiteX883" fmla="*/ 667703 w 3574732"/>
                  <a:gd name="connsiteY883" fmla="*/ 1469750 h 1473560"/>
                  <a:gd name="connsiteX884" fmla="*/ 681038 w 3574732"/>
                  <a:gd name="connsiteY884" fmla="*/ 1468798 h 1473560"/>
                  <a:gd name="connsiteX885" fmla="*/ 698183 w 3574732"/>
                  <a:gd name="connsiteY885" fmla="*/ 1468798 h 1473560"/>
                  <a:gd name="connsiteX886" fmla="*/ 719138 w 3574732"/>
                  <a:gd name="connsiteY886" fmla="*/ 1466893 h 1473560"/>
                  <a:gd name="connsiteX887" fmla="*/ 746760 w 3574732"/>
                  <a:gd name="connsiteY887" fmla="*/ 1462130 h 1473560"/>
                  <a:gd name="connsiteX888" fmla="*/ 764858 w 3574732"/>
                  <a:gd name="connsiteY888" fmla="*/ 1456415 h 1473560"/>
                  <a:gd name="connsiteX889" fmla="*/ 775335 w 3574732"/>
                  <a:gd name="connsiteY889" fmla="*/ 1447843 h 1473560"/>
                  <a:gd name="connsiteX890" fmla="*/ 781050 w 3574732"/>
                  <a:gd name="connsiteY890" fmla="*/ 1444033 h 1473560"/>
                  <a:gd name="connsiteX891" fmla="*/ 786765 w 3574732"/>
                  <a:gd name="connsiteY891" fmla="*/ 1440223 h 1473560"/>
                  <a:gd name="connsiteX892" fmla="*/ 802005 w 3574732"/>
                  <a:gd name="connsiteY892" fmla="*/ 1434508 h 1473560"/>
                  <a:gd name="connsiteX893" fmla="*/ 810578 w 3574732"/>
                  <a:gd name="connsiteY893" fmla="*/ 1427840 h 1473560"/>
                  <a:gd name="connsiteX894" fmla="*/ 815340 w 3574732"/>
                  <a:gd name="connsiteY894" fmla="*/ 1424030 h 1473560"/>
                  <a:gd name="connsiteX895" fmla="*/ 821055 w 3574732"/>
                  <a:gd name="connsiteY895" fmla="*/ 1415458 h 1473560"/>
                  <a:gd name="connsiteX896" fmla="*/ 826770 w 3574732"/>
                  <a:gd name="connsiteY896" fmla="*/ 1412600 h 1473560"/>
                  <a:gd name="connsiteX897" fmla="*/ 834390 w 3574732"/>
                  <a:gd name="connsiteY897" fmla="*/ 1406885 h 1473560"/>
                  <a:gd name="connsiteX898" fmla="*/ 836295 w 3574732"/>
                  <a:gd name="connsiteY898" fmla="*/ 1404028 h 1473560"/>
                  <a:gd name="connsiteX899" fmla="*/ 839153 w 3574732"/>
                  <a:gd name="connsiteY899" fmla="*/ 1389740 h 1473560"/>
                  <a:gd name="connsiteX900" fmla="*/ 839153 w 3574732"/>
                  <a:gd name="connsiteY900" fmla="*/ 1381168 h 1473560"/>
                  <a:gd name="connsiteX901" fmla="*/ 843915 w 3574732"/>
                  <a:gd name="connsiteY901" fmla="*/ 1370690 h 1473560"/>
                  <a:gd name="connsiteX902" fmla="*/ 859155 w 3574732"/>
                  <a:gd name="connsiteY902" fmla="*/ 1365928 h 1473560"/>
                  <a:gd name="connsiteX903" fmla="*/ 864870 w 3574732"/>
                  <a:gd name="connsiteY903" fmla="*/ 1364975 h 1473560"/>
                  <a:gd name="connsiteX904" fmla="*/ 870585 w 3574732"/>
                  <a:gd name="connsiteY904" fmla="*/ 1364023 h 1473560"/>
                  <a:gd name="connsiteX905" fmla="*/ 881063 w 3574732"/>
                  <a:gd name="connsiteY905" fmla="*/ 1357355 h 1473560"/>
                  <a:gd name="connsiteX906" fmla="*/ 880110 w 3574732"/>
                  <a:gd name="connsiteY906" fmla="*/ 1354498 h 1473560"/>
                  <a:gd name="connsiteX907" fmla="*/ 880110 w 3574732"/>
                  <a:gd name="connsiteY907" fmla="*/ 1347830 h 1473560"/>
                  <a:gd name="connsiteX908" fmla="*/ 880110 w 3574732"/>
                  <a:gd name="connsiteY908" fmla="*/ 1338305 h 1473560"/>
                  <a:gd name="connsiteX909" fmla="*/ 880110 w 3574732"/>
                  <a:gd name="connsiteY909" fmla="*/ 1329733 h 1473560"/>
                  <a:gd name="connsiteX910" fmla="*/ 880110 w 3574732"/>
                  <a:gd name="connsiteY910" fmla="*/ 1317350 h 1473560"/>
                  <a:gd name="connsiteX911" fmla="*/ 884873 w 3574732"/>
                  <a:gd name="connsiteY911" fmla="*/ 1302110 h 1473560"/>
                  <a:gd name="connsiteX912" fmla="*/ 884873 w 3574732"/>
                  <a:gd name="connsiteY912" fmla="*/ 1298300 h 1473560"/>
                  <a:gd name="connsiteX913" fmla="*/ 902970 w 3574732"/>
                  <a:gd name="connsiteY913" fmla="*/ 1287823 h 1473560"/>
                  <a:gd name="connsiteX914" fmla="*/ 921068 w 3574732"/>
                  <a:gd name="connsiteY914" fmla="*/ 1278298 h 1473560"/>
                  <a:gd name="connsiteX915" fmla="*/ 929640 w 3574732"/>
                  <a:gd name="connsiteY915" fmla="*/ 1275440 h 1473560"/>
                  <a:gd name="connsiteX916" fmla="*/ 935355 w 3574732"/>
                  <a:gd name="connsiteY916" fmla="*/ 1272583 h 1473560"/>
                  <a:gd name="connsiteX917" fmla="*/ 945833 w 3574732"/>
                  <a:gd name="connsiteY917" fmla="*/ 1270678 h 1473560"/>
                  <a:gd name="connsiteX918" fmla="*/ 954405 w 3574732"/>
                  <a:gd name="connsiteY918" fmla="*/ 1267820 h 1473560"/>
                  <a:gd name="connsiteX919" fmla="*/ 962978 w 3574732"/>
                  <a:gd name="connsiteY919" fmla="*/ 1264963 h 1473560"/>
                  <a:gd name="connsiteX920" fmla="*/ 970598 w 3574732"/>
                  <a:gd name="connsiteY920" fmla="*/ 1257343 h 1473560"/>
                  <a:gd name="connsiteX921" fmla="*/ 975360 w 3574732"/>
                  <a:gd name="connsiteY921" fmla="*/ 1243055 h 1473560"/>
                  <a:gd name="connsiteX922" fmla="*/ 975360 w 3574732"/>
                  <a:gd name="connsiteY922" fmla="*/ 1227815 h 1473560"/>
                  <a:gd name="connsiteX923" fmla="*/ 975360 w 3574732"/>
                  <a:gd name="connsiteY923" fmla="*/ 1219243 h 1473560"/>
                  <a:gd name="connsiteX924" fmla="*/ 975360 w 3574732"/>
                  <a:gd name="connsiteY924" fmla="*/ 1204955 h 1473560"/>
                  <a:gd name="connsiteX925" fmla="*/ 975360 w 3574732"/>
                  <a:gd name="connsiteY925" fmla="*/ 1193525 h 1473560"/>
                  <a:gd name="connsiteX926" fmla="*/ 963930 w 3574732"/>
                  <a:gd name="connsiteY926" fmla="*/ 1181143 h 1473560"/>
                  <a:gd name="connsiteX927" fmla="*/ 961073 w 3574732"/>
                  <a:gd name="connsiteY927" fmla="*/ 1170665 h 1473560"/>
                  <a:gd name="connsiteX928" fmla="*/ 960120 w 3574732"/>
                  <a:gd name="connsiteY928" fmla="*/ 1159235 h 1473560"/>
                  <a:gd name="connsiteX929" fmla="*/ 960120 w 3574732"/>
                  <a:gd name="connsiteY929" fmla="*/ 1145900 h 1473560"/>
                  <a:gd name="connsiteX930" fmla="*/ 960120 w 3574732"/>
                  <a:gd name="connsiteY930" fmla="*/ 1132565 h 1473560"/>
                  <a:gd name="connsiteX931" fmla="*/ 965835 w 3574732"/>
                  <a:gd name="connsiteY931" fmla="*/ 1121135 h 1473560"/>
                  <a:gd name="connsiteX932" fmla="*/ 970598 w 3574732"/>
                  <a:gd name="connsiteY932" fmla="*/ 1111610 h 1473560"/>
                  <a:gd name="connsiteX933" fmla="*/ 985838 w 3574732"/>
                  <a:gd name="connsiteY933" fmla="*/ 1100180 h 1473560"/>
                  <a:gd name="connsiteX934" fmla="*/ 1001078 w 3574732"/>
                  <a:gd name="connsiteY934" fmla="*/ 1089703 h 1473560"/>
                  <a:gd name="connsiteX935" fmla="*/ 1011555 w 3574732"/>
                  <a:gd name="connsiteY935" fmla="*/ 1083988 h 1473560"/>
                  <a:gd name="connsiteX936" fmla="*/ 1022985 w 3574732"/>
                  <a:gd name="connsiteY936" fmla="*/ 1077320 h 1473560"/>
                  <a:gd name="connsiteX937" fmla="*/ 1033463 w 3574732"/>
                  <a:gd name="connsiteY937" fmla="*/ 1072558 h 1473560"/>
                  <a:gd name="connsiteX938" fmla="*/ 1051560 w 3574732"/>
                  <a:gd name="connsiteY938" fmla="*/ 1063033 h 1473560"/>
                  <a:gd name="connsiteX939" fmla="*/ 1063943 w 3574732"/>
                  <a:gd name="connsiteY939" fmla="*/ 1055413 h 1473560"/>
                  <a:gd name="connsiteX940" fmla="*/ 1072515 w 3574732"/>
                  <a:gd name="connsiteY940" fmla="*/ 1049698 h 1473560"/>
                  <a:gd name="connsiteX941" fmla="*/ 1094423 w 3574732"/>
                  <a:gd name="connsiteY941" fmla="*/ 1042078 h 1473560"/>
                  <a:gd name="connsiteX942" fmla="*/ 1115378 w 3574732"/>
                  <a:gd name="connsiteY942" fmla="*/ 1027790 h 1473560"/>
                  <a:gd name="connsiteX943" fmla="*/ 1123950 w 3574732"/>
                  <a:gd name="connsiteY943" fmla="*/ 1018265 h 1473560"/>
                  <a:gd name="connsiteX944" fmla="*/ 1125855 w 3574732"/>
                  <a:gd name="connsiteY944" fmla="*/ 1011598 h 1473560"/>
                  <a:gd name="connsiteX945" fmla="*/ 1136333 w 3574732"/>
                  <a:gd name="connsiteY945" fmla="*/ 1002073 h 1473560"/>
                  <a:gd name="connsiteX946" fmla="*/ 1139190 w 3574732"/>
                  <a:gd name="connsiteY946" fmla="*/ 997310 h 1473560"/>
                  <a:gd name="connsiteX947" fmla="*/ 1154430 w 3574732"/>
                  <a:gd name="connsiteY947" fmla="*/ 975403 h 1473560"/>
                  <a:gd name="connsiteX948" fmla="*/ 1156335 w 3574732"/>
                  <a:gd name="connsiteY948" fmla="*/ 963973 h 1473560"/>
                  <a:gd name="connsiteX949" fmla="*/ 1158240 w 3574732"/>
                  <a:gd name="connsiteY949" fmla="*/ 958258 h 1473560"/>
                  <a:gd name="connsiteX950" fmla="*/ 1160145 w 3574732"/>
                  <a:gd name="connsiteY950" fmla="*/ 951590 h 1473560"/>
                  <a:gd name="connsiteX951" fmla="*/ 1141095 w 3574732"/>
                  <a:gd name="connsiteY951" fmla="*/ 955400 h 1473560"/>
                  <a:gd name="connsiteX952" fmla="*/ 1127760 w 3574732"/>
                  <a:gd name="connsiteY952" fmla="*/ 955400 h 1473560"/>
                  <a:gd name="connsiteX953" fmla="*/ 1116330 w 3574732"/>
                  <a:gd name="connsiteY953" fmla="*/ 956353 h 1473560"/>
                  <a:gd name="connsiteX954" fmla="*/ 1095375 w 3574732"/>
                  <a:gd name="connsiteY954" fmla="*/ 955400 h 1473560"/>
                  <a:gd name="connsiteX955" fmla="*/ 1089660 w 3574732"/>
                  <a:gd name="connsiteY955" fmla="*/ 955400 h 1473560"/>
                  <a:gd name="connsiteX956" fmla="*/ 1073468 w 3574732"/>
                  <a:gd name="connsiteY956" fmla="*/ 956353 h 1473560"/>
                  <a:gd name="connsiteX957" fmla="*/ 1067753 w 3574732"/>
                  <a:gd name="connsiteY957" fmla="*/ 957305 h 1473560"/>
                  <a:gd name="connsiteX958" fmla="*/ 1053465 w 3574732"/>
                  <a:gd name="connsiteY958" fmla="*/ 957305 h 1473560"/>
                  <a:gd name="connsiteX959" fmla="*/ 1042035 w 3574732"/>
                  <a:gd name="connsiteY959" fmla="*/ 953495 h 1473560"/>
                  <a:gd name="connsiteX960" fmla="*/ 1030605 w 3574732"/>
                  <a:gd name="connsiteY960" fmla="*/ 946828 h 1473560"/>
                  <a:gd name="connsiteX961" fmla="*/ 1027748 w 3574732"/>
                  <a:gd name="connsiteY961" fmla="*/ 943018 h 1473560"/>
                  <a:gd name="connsiteX962" fmla="*/ 1021080 w 3574732"/>
                  <a:gd name="connsiteY962" fmla="*/ 933493 h 1473560"/>
                  <a:gd name="connsiteX963" fmla="*/ 1004888 w 3574732"/>
                  <a:gd name="connsiteY963" fmla="*/ 923968 h 1473560"/>
                  <a:gd name="connsiteX964" fmla="*/ 993458 w 3574732"/>
                  <a:gd name="connsiteY964" fmla="*/ 921110 h 1473560"/>
                  <a:gd name="connsiteX965" fmla="*/ 984885 w 3574732"/>
                  <a:gd name="connsiteY965" fmla="*/ 912538 h 1473560"/>
                  <a:gd name="connsiteX966" fmla="*/ 976313 w 3574732"/>
                  <a:gd name="connsiteY966" fmla="*/ 908728 h 1473560"/>
                  <a:gd name="connsiteX967" fmla="*/ 963930 w 3574732"/>
                  <a:gd name="connsiteY967" fmla="*/ 908728 h 1473560"/>
                  <a:gd name="connsiteX968" fmla="*/ 953453 w 3574732"/>
                  <a:gd name="connsiteY968" fmla="*/ 896345 h 1473560"/>
                  <a:gd name="connsiteX969" fmla="*/ 949643 w 3574732"/>
                  <a:gd name="connsiteY969" fmla="*/ 885868 h 1473560"/>
                  <a:gd name="connsiteX970" fmla="*/ 942975 w 3574732"/>
                  <a:gd name="connsiteY970" fmla="*/ 872533 h 1473560"/>
                  <a:gd name="connsiteX971" fmla="*/ 934403 w 3574732"/>
                  <a:gd name="connsiteY971" fmla="*/ 862055 h 1473560"/>
                  <a:gd name="connsiteX972" fmla="*/ 930593 w 3574732"/>
                  <a:gd name="connsiteY972" fmla="*/ 847768 h 1473560"/>
                  <a:gd name="connsiteX973" fmla="*/ 924878 w 3574732"/>
                  <a:gd name="connsiteY973" fmla="*/ 838243 h 1473560"/>
                  <a:gd name="connsiteX974" fmla="*/ 917258 w 3574732"/>
                  <a:gd name="connsiteY974" fmla="*/ 833480 h 1473560"/>
                  <a:gd name="connsiteX975" fmla="*/ 901065 w 3574732"/>
                  <a:gd name="connsiteY975" fmla="*/ 820145 h 1473560"/>
                  <a:gd name="connsiteX976" fmla="*/ 893445 w 3574732"/>
                  <a:gd name="connsiteY976" fmla="*/ 815383 h 1473560"/>
                  <a:gd name="connsiteX977" fmla="*/ 884873 w 3574732"/>
                  <a:gd name="connsiteY977" fmla="*/ 812525 h 1473560"/>
                  <a:gd name="connsiteX978" fmla="*/ 881063 w 3574732"/>
                  <a:gd name="connsiteY978" fmla="*/ 799190 h 1473560"/>
                  <a:gd name="connsiteX979" fmla="*/ 882968 w 3574732"/>
                  <a:gd name="connsiteY979" fmla="*/ 790618 h 1473560"/>
                  <a:gd name="connsiteX980" fmla="*/ 880110 w 3574732"/>
                  <a:gd name="connsiteY980" fmla="*/ 778235 h 1473560"/>
                  <a:gd name="connsiteX981" fmla="*/ 880110 w 3574732"/>
                  <a:gd name="connsiteY981" fmla="*/ 774425 h 1473560"/>
                  <a:gd name="connsiteX982" fmla="*/ 880110 w 3574732"/>
                  <a:gd name="connsiteY982" fmla="*/ 766805 h 1473560"/>
                  <a:gd name="connsiteX983" fmla="*/ 884873 w 3574732"/>
                  <a:gd name="connsiteY983" fmla="*/ 761090 h 1473560"/>
                  <a:gd name="connsiteX984" fmla="*/ 895350 w 3574732"/>
                  <a:gd name="connsiteY984" fmla="*/ 761090 h 1473560"/>
                  <a:gd name="connsiteX985" fmla="*/ 905828 w 3574732"/>
                  <a:gd name="connsiteY985" fmla="*/ 762043 h 1473560"/>
                  <a:gd name="connsiteX986" fmla="*/ 916305 w 3574732"/>
                  <a:gd name="connsiteY986" fmla="*/ 767758 h 1473560"/>
                  <a:gd name="connsiteX987" fmla="*/ 921068 w 3574732"/>
                  <a:gd name="connsiteY987" fmla="*/ 773473 h 1473560"/>
                  <a:gd name="connsiteX988" fmla="*/ 924878 w 3574732"/>
                  <a:gd name="connsiteY988" fmla="*/ 779188 h 1473560"/>
                  <a:gd name="connsiteX989" fmla="*/ 930593 w 3574732"/>
                  <a:gd name="connsiteY989" fmla="*/ 783950 h 1473560"/>
                  <a:gd name="connsiteX990" fmla="*/ 930593 w 3574732"/>
                  <a:gd name="connsiteY990" fmla="*/ 790618 h 1473560"/>
                  <a:gd name="connsiteX991" fmla="*/ 930593 w 3574732"/>
                  <a:gd name="connsiteY991" fmla="*/ 798238 h 1473560"/>
                  <a:gd name="connsiteX992" fmla="*/ 944880 w 3574732"/>
                  <a:gd name="connsiteY992" fmla="*/ 814430 h 1473560"/>
                  <a:gd name="connsiteX993" fmla="*/ 956310 w 3574732"/>
                  <a:gd name="connsiteY993" fmla="*/ 831575 h 1473560"/>
                  <a:gd name="connsiteX994" fmla="*/ 973455 w 3574732"/>
                  <a:gd name="connsiteY994" fmla="*/ 843958 h 1473560"/>
                  <a:gd name="connsiteX995" fmla="*/ 990600 w 3574732"/>
                  <a:gd name="connsiteY995" fmla="*/ 853483 h 1473560"/>
                  <a:gd name="connsiteX996" fmla="*/ 993458 w 3574732"/>
                  <a:gd name="connsiteY996" fmla="*/ 864913 h 1473560"/>
                  <a:gd name="connsiteX997" fmla="*/ 1000125 w 3574732"/>
                  <a:gd name="connsiteY997" fmla="*/ 875390 h 1473560"/>
                  <a:gd name="connsiteX998" fmla="*/ 1011555 w 3574732"/>
                  <a:gd name="connsiteY998" fmla="*/ 883963 h 1473560"/>
                  <a:gd name="connsiteX999" fmla="*/ 1027748 w 3574732"/>
                  <a:gd name="connsiteY999" fmla="*/ 893488 h 1473560"/>
                  <a:gd name="connsiteX1000" fmla="*/ 1031558 w 3574732"/>
                  <a:gd name="connsiteY1000" fmla="*/ 901108 h 1473560"/>
                  <a:gd name="connsiteX1001" fmla="*/ 1032510 w 3574732"/>
                  <a:gd name="connsiteY1001" fmla="*/ 913490 h 1473560"/>
                  <a:gd name="connsiteX1002" fmla="*/ 1033463 w 3574732"/>
                  <a:gd name="connsiteY1002" fmla="*/ 921110 h 1473560"/>
                  <a:gd name="connsiteX1003" fmla="*/ 1037273 w 3574732"/>
                  <a:gd name="connsiteY1003" fmla="*/ 927778 h 1473560"/>
                  <a:gd name="connsiteX1004" fmla="*/ 1042035 w 3574732"/>
                  <a:gd name="connsiteY1004" fmla="*/ 931588 h 1473560"/>
                  <a:gd name="connsiteX1005" fmla="*/ 1053465 w 3574732"/>
                  <a:gd name="connsiteY1005" fmla="*/ 935398 h 1473560"/>
                  <a:gd name="connsiteX1006" fmla="*/ 1061085 w 3574732"/>
                  <a:gd name="connsiteY1006" fmla="*/ 936350 h 1473560"/>
                  <a:gd name="connsiteX1007" fmla="*/ 1075373 w 3574732"/>
                  <a:gd name="connsiteY1007" fmla="*/ 936350 h 1473560"/>
                  <a:gd name="connsiteX1008" fmla="*/ 1086803 w 3574732"/>
                  <a:gd name="connsiteY1008" fmla="*/ 935398 h 1473560"/>
                  <a:gd name="connsiteX1009" fmla="*/ 1101090 w 3574732"/>
                  <a:gd name="connsiteY1009" fmla="*/ 934445 h 1473560"/>
                  <a:gd name="connsiteX1010" fmla="*/ 1115378 w 3574732"/>
                  <a:gd name="connsiteY1010" fmla="*/ 930635 h 1473560"/>
                  <a:gd name="connsiteX1011" fmla="*/ 1131570 w 3574732"/>
                  <a:gd name="connsiteY1011" fmla="*/ 926825 h 1473560"/>
                  <a:gd name="connsiteX1012" fmla="*/ 1140143 w 3574732"/>
                  <a:gd name="connsiteY1012" fmla="*/ 925873 h 1473560"/>
                  <a:gd name="connsiteX1013" fmla="*/ 1150620 w 3574732"/>
                  <a:gd name="connsiteY1013" fmla="*/ 923015 h 1473560"/>
                  <a:gd name="connsiteX1014" fmla="*/ 1163955 w 3574732"/>
                  <a:gd name="connsiteY1014" fmla="*/ 915395 h 1473560"/>
                  <a:gd name="connsiteX1015" fmla="*/ 1180148 w 3574732"/>
                  <a:gd name="connsiteY1015" fmla="*/ 906823 h 1473560"/>
                  <a:gd name="connsiteX1016" fmla="*/ 1188720 w 3574732"/>
                  <a:gd name="connsiteY1016" fmla="*/ 903965 h 1473560"/>
                  <a:gd name="connsiteX1017" fmla="*/ 1212533 w 3574732"/>
                  <a:gd name="connsiteY1017" fmla="*/ 900155 h 1473560"/>
                  <a:gd name="connsiteX1018" fmla="*/ 1228725 w 3574732"/>
                  <a:gd name="connsiteY1018" fmla="*/ 895393 h 1473560"/>
                  <a:gd name="connsiteX1019" fmla="*/ 1246823 w 3574732"/>
                  <a:gd name="connsiteY1019" fmla="*/ 882058 h 1473560"/>
                  <a:gd name="connsiteX1020" fmla="*/ 1249680 w 3574732"/>
                  <a:gd name="connsiteY1020" fmla="*/ 879200 h 1473560"/>
                  <a:gd name="connsiteX1021" fmla="*/ 1263015 w 3574732"/>
                  <a:gd name="connsiteY1021" fmla="*/ 877295 h 1473560"/>
                  <a:gd name="connsiteX1022" fmla="*/ 1274445 w 3574732"/>
                  <a:gd name="connsiteY1022" fmla="*/ 872533 h 1473560"/>
                  <a:gd name="connsiteX1023" fmla="*/ 1280160 w 3574732"/>
                  <a:gd name="connsiteY1023" fmla="*/ 869675 h 1473560"/>
                  <a:gd name="connsiteX1024" fmla="*/ 1299210 w 3574732"/>
                  <a:gd name="connsiteY1024" fmla="*/ 861103 h 1473560"/>
                  <a:gd name="connsiteX1025" fmla="*/ 1306830 w 3574732"/>
                  <a:gd name="connsiteY1025" fmla="*/ 852530 h 1473560"/>
                  <a:gd name="connsiteX1026" fmla="*/ 1315403 w 3574732"/>
                  <a:gd name="connsiteY1026" fmla="*/ 843005 h 1473560"/>
                  <a:gd name="connsiteX1027" fmla="*/ 1314450 w 3574732"/>
                  <a:gd name="connsiteY1027" fmla="*/ 829670 h 1473560"/>
                  <a:gd name="connsiteX1028" fmla="*/ 1313498 w 3574732"/>
                  <a:gd name="connsiteY1028" fmla="*/ 824908 h 1473560"/>
                  <a:gd name="connsiteX1029" fmla="*/ 1310640 w 3574732"/>
                  <a:gd name="connsiteY1029" fmla="*/ 822050 h 1473560"/>
                  <a:gd name="connsiteX1030" fmla="*/ 1304925 w 3574732"/>
                  <a:gd name="connsiteY1030" fmla="*/ 817288 h 1473560"/>
                  <a:gd name="connsiteX1031" fmla="*/ 1290638 w 3574732"/>
                  <a:gd name="connsiteY1031" fmla="*/ 813478 h 1473560"/>
                  <a:gd name="connsiteX1032" fmla="*/ 1271588 w 3574732"/>
                  <a:gd name="connsiteY1032" fmla="*/ 804905 h 1473560"/>
                  <a:gd name="connsiteX1033" fmla="*/ 1270635 w 3574732"/>
                  <a:gd name="connsiteY1033" fmla="*/ 800143 h 1473560"/>
                  <a:gd name="connsiteX1034" fmla="*/ 1259205 w 3574732"/>
                  <a:gd name="connsiteY1034" fmla="*/ 795380 h 1473560"/>
                  <a:gd name="connsiteX1035" fmla="*/ 1245870 w 3574732"/>
                  <a:gd name="connsiteY1035" fmla="*/ 793475 h 1473560"/>
                  <a:gd name="connsiteX1036" fmla="*/ 1238250 w 3574732"/>
                  <a:gd name="connsiteY1036" fmla="*/ 793475 h 1473560"/>
                  <a:gd name="connsiteX1037" fmla="*/ 1232535 w 3574732"/>
                  <a:gd name="connsiteY1037" fmla="*/ 793475 h 1473560"/>
                  <a:gd name="connsiteX1038" fmla="*/ 1224915 w 3574732"/>
                  <a:gd name="connsiteY1038" fmla="*/ 793475 h 1473560"/>
                  <a:gd name="connsiteX1039" fmla="*/ 1217295 w 3574732"/>
                  <a:gd name="connsiteY1039" fmla="*/ 797285 h 1473560"/>
                  <a:gd name="connsiteX1040" fmla="*/ 1211580 w 3574732"/>
                  <a:gd name="connsiteY1040" fmla="*/ 801095 h 1473560"/>
                  <a:gd name="connsiteX1041" fmla="*/ 1203960 w 3574732"/>
                  <a:gd name="connsiteY1041" fmla="*/ 802048 h 1473560"/>
                  <a:gd name="connsiteX1042" fmla="*/ 1192530 w 3574732"/>
                  <a:gd name="connsiteY1042" fmla="*/ 798238 h 1473560"/>
                  <a:gd name="connsiteX1043" fmla="*/ 1183958 w 3574732"/>
                  <a:gd name="connsiteY1043" fmla="*/ 793475 h 1473560"/>
                  <a:gd name="connsiteX1044" fmla="*/ 1162050 w 3574732"/>
                  <a:gd name="connsiteY1044" fmla="*/ 777283 h 1473560"/>
                  <a:gd name="connsiteX1045" fmla="*/ 1157288 w 3574732"/>
                  <a:gd name="connsiteY1045" fmla="*/ 776330 h 1473560"/>
                  <a:gd name="connsiteX1046" fmla="*/ 1148715 w 3574732"/>
                  <a:gd name="connsiteY1046" fmla="*/ 769663 h 1473560"/>
                  <a:gd name="connsiteX1047" fmla="*/ 1140143 w 3574732"/>
                  <a:gd name="connsiteY1047" fmla="*/ 759185 h 1473560"/>
                  <a:gd name="connsiteX1048" fmla="*/ 1132523 w 3574732"/>
                  <a:gd name="connsiteY1048" fmla="*/ 751565 h 1473560"/>
                  <a:gd name="connsiteX1049" fmla="*/ 1126808 w 3574732"/>
                  <a:gd name="connsiteY1049" fmla="*/ 741088 h 1473560"/>
                  <a:gd name="connsiteX1050" fmla="*/ 1129665 w 3574732"/>
                  <a:gd name="connsiteY1050" fmla="*/ 733468 h 1473560"/>
                  <a:gd name="connsiteX1051" fmla="*/ 1138238 w 3574732"/>
                  <a:gd name="connsiteY1051" fmla="*/ 733468 h 1473560"/>
                  <a:gd name="connsiteX1052" fmla="*/ 1159193 w 3574732"/>
                  <a:gd name="connsiteY1052" fmla="*/ 736325 h 1473560"/>
                  <a:gd name="connsiteX1053" fmla="*/ 1167765 w 3574732"/>
                  <a:gd name="connsiteY1053" fmla="*/ 743945 h 1473560"/>
                  <a:gd name="connsiteX1054" fmla="*/ 1173480 w 3574732"/>
                  <a:gd name="connsiteY1054" fmla="*/ 748708 h 1473560"/>
                  <a:gd name="connsiteX1055" fmla="*/ 1179195 w 3574732"/>
                  <a:gd name="connsiteY1055" fmla="*/ 755375 h 1473560"/>
                  <a:gd name="connsiteX1056" fmla="*/ 1187768 w 3574732"/>
                  <a:gd name="connsiteY1056" fmla="*/ 765853 h 1473560"/>
                  <a:gd name="connsiteX1057" fmla="*/ 1193483 w 3574732"/>
                  <a:gd name="connsiteY1057" fmla="*/ 768710 h 1473560"/>
                  <a:gd name="connsiteX1058" fmla="*/ 1206818 w 3574732"/>
                  <a:gd name="connsiteY1058" fmla="*/ 774425 h 1473560"/>
                  <a:gd name="connsiteX1059" fmla="*/ 1231583 w 3574732"/>
                  <a:gd name="connsiteY1059" fmla="*/ 775378 h 1473560"/>
                  <a:gd name="connsiteX1060" fmla="*/ 1245870 w 3574732"/>
                  <a:gd name="connsiteY1060" fmla="*/ 776330 h 1473560"/>
                  <a:gd name="connsiteX1061" fmla="*/ 1259205 w 3574732"/>
                  <a:gd name="connsiteY1061" fmla="*/ 777283 h 1473560"/>
                  <a:gd name="connsiteX1062" fmla="*/ 1267778 w 3574732"/>
                  <a:gd name="connsiteY1062" fmla="*/ 781093 h 1473560"/>
                  <a:gd name="connsiteX1063" fmla="*/ 1276350 w 3574732"/>
                  <a:gd name="connsiteY1063" fmla="*/ 784903 h 1473560"/>
                  <a:gd name="connsiteX1064" fmla="*/ 1287780 w 3574732"/>
                  <a:gd name="connsiteY1064" fmla="*/ 789665 h 1473560"/>
                  <a:gd name="connsiteX1065" fmla="*/ 1298258 w 3574732"/>
                  <a:gd name="connsiteY1065" fmla="*/ 791570 h 1473560"/>
                  <a:gd name="connsiteX1066" fmla="*/ 1308735 w 3574732"/>
                  <a:gd name="connsiteY1066" fmla="*/ 793475 h 1473560"/>
                  <a:gd name="connsiteX1067" fmla="*/ 1322070 w 3574732"/>
                  <a:gd name="connsiteY1067" fmla="*/ 796333 h 1473560"/>
                  <a:gd name="connsiteX1068" fmla="*/ 1335405 w 3574732"/>
                  <a:gd name="connsiteY1068" fmla="*/ 798238 h 1473560"/>
                  <a:gd name="connsiteX1069" fmla="*/ 1357313 w 3574732"/>
                  <a:gd name="connsiteY1069" fmla="*/ 798238 h 1473560"/>
                  <a:gd name="connsiteX1070" fmla="*/ 1390650 w 3574732"/>
                  <a:gd name="connsiteY1070" fmla="*/ 798238 h 1473560"/>
                  <a:gd name="connsiteX1071" fmla="*/ 1402080 w 3574732"/>
                  <a:gd name="connsiteY1071" fmla="*/ 797285 h 1473560"/>
                  <a:gd name="connsiteX1072" fmla="*/ 1415415 w 3574732"/>
                  <a:gd name="connsiteY1072" fmla="*/ 797285 h 1473560"/>
                  <a:gd name="connsiteX1073" fmla="*/ 1434465 w 3574732"/>
                  <a:gd name="connsiteY1073" fmla="*/ 798238 h 1473560"/>
                  <a:gd name="connsiteX1074" fmla="*/ 1447800 w 3574732"/>
                  <a:gd name="connsiteY1074" fmla="*/ 803000 h 1473560"/>
                  <a:gd name="connsiteX1075" fmla="*/ 1459230 w 3574732"/>
                  <a:gd name="connsiteY1075" fmla="*/ 814430 h 1473560"/>
                  <a:gd name="connsiteX1076" fmla="*/ 1467803 w 3574732"/>
                  <a:gd name="connsiteY1076" fmla="*/ 821098 h 1473560"/>
                  <a:gd name="connsiteX1077" fmla="*/ 1482090 w 3574732"/>
                  <a:gd name="connsiteY1077" fmla="*/ 828718 h 1473560"/>
                  <a:gd name="connsiteX1078" fmla="*/ 1495425 w 3574732"/>
                  <a:gd name="connsiteY1078" fmla="*/ 842053 h 1473560"/>
                  <a:gd name="connsiteX1079" fmla="*/ 1503998 w 3574732"/>
                  <a:gd name="connsiteY1079" fmla="*/ 845863 h 1473560"/>
                  <a:gd name="connsiteX1080" fmla="*/ 1518285 w 3574732"/>
                  <a:gd name="connsiteY1080" fmla="*/ 843958 h 1473560"/>
                  <a:gd name="connsiteX1081" fmla="*/ 1524000 w 3574732"/>
                  <a:gd name="connsiteY1081" fmla="*/ 838243 h 1473560"/>
                  <a:gd name="connsiteX1082" fmla="*/ 1534478 w 3574732"/>
                  <a:gd name="connsiteY1082" fmla="*/ 837290 h 1473560"/>
                  <a:gd name="connsiteX1083" fmla="*/ 1534478 w 3574732"/>
                  <a:gd name="connsiteY1083" fmla="*/ 841100 h 1473560"/>
                  <a:gd name="connsiteX1084" fmla="*/ 1540193 w 3574732"/>
                  <a:gd name="connsiteY1084" fmla="*/ 856340 h 1473560"/>
                  <a:gd name="connsiteX1085" fmla="*/ 1546860 w 3574732"/>
                  <a:gd name="connsiteY1085" fmla="*/ 871580 h 1473560"/>
                  <a:gd name="connsiteX1086" fmla="*/ 1544955 w 3574732"/>
                  <a:gd name="connsiteY1086" fmla="*/ 887773 h 1473560"/>
                  <a:gd name="connsiteX1087" fmla="*/ 1548765 w 3574732"/>
                  <a:gd name="connsiteY1087" fmla="*/ 895393 h 1473560"/>
                  <a:gd name="connsiteX1088" fmla="*/ 1551623 w 3574732"/>
                  <a:gd name="connsiteY1088" fmla="*/ 900155 h 1473560"/>
                  <a:gd name="connsiteX1089" fmla="*/ 1564005 w 3574732"/>
                  <a:gd name="connsiteY1089" fmla="*/ 919205 h 1473560"/>
                  <a:gd name="connsiteX1090" fmla="*/ 1571625 w 3574732"/>
                  <a:gd name="connsiteY1090" fmla="*/ 923968 h 1473560"/>
                  <a:gd name="connsiteX1091" fmla="*/ 1569720 w 3574732"/>
                  <a:gd name="connsiteY1091" fmla="*/ 933493 h 1473560"/>
                  <a:gd name="connsiteX1092" fmla="*/ 1572578 w 3574732"/>
                  <a:gd name="connsiteY1092" fmla="*/ 940160 h 1473560"/>
                  <a:gd name="connsiteX1093" fmla="*/ 1578293 w 3574732"/>
                  <a:gd name="connsiteY1093" fmla="*/ 946828 h 1473560"/>
                  <a:gd name="connsiteX1094" fmla="*/ 1584960 w 3574732"/>
                  <a:gd name="connsiteY1094" fmla="*/ 958258 h 1473560"/>
                  <a:gd name="connsiteX1095" fmla="*/ 1587818 w 3574732"/>
                  <a:gd name="connsiteY1095" fmla="*/ 970640 h 1473560"/>
                  <a:gd name="connsiteX1096" fmla="*/ 1604963 w 3574732"/>
                  <a:gd name="connsiteY1096" fmla="*/ 980165 h 1473560"/>
                  <a:gd name="connsiteX1097" fmla="*/ 1615440 w 3574732"/>
                  <a:gd name="connsiteY1097" fmla="*/ 982070 h 1473560"/>
                  <a:gd name="connsiteX1098" fmla="*/ 1628775 w 3574732"/>
                  <a:gd name="connsiteY1098" fmla="*/ 982070 h 1473560"/>
                  <a:gd name="connsiteX1099" fmla="*/ 1634490 w 3574732"/>
                  <a:gd name="connsiteY1099" fmla="*/ 981118 h 1473560"/>
                  <a:gd name="connsiteX1100" fmla="*/ 1644968 w 3574732"/>
                  <a:gd name="connsiteY1100" fmla="*/ 974450 h 1473560"/>
                  <a:gd name="connsiteX1101" fmla="*/ 1657350 w 3574732"/>
                  <a:gd name="connsiteY1101" fmla="*/ 961115 h 1473560"/>
                  <a:gd name="connsiteX1102" fmla="*/ 1660208 w 3574732"/>
                  <a:gd name="connsiteY1102" fmla="*/ 954448 h 1473560"/>
                  <a:gd name="connsiteX1103" fmla="*/ 1660208 w 3574732"/>
                  <a:gd name="connsiteY1103" fmla="*/ 943970 h 1473560"/>
                  <a:gd name="connsiteX1104" fmla="*/ 1663065 w 3574732"/>
                  <a:gd name="connsiteY1104" fmla="*/ 940160 h 1473560"/>
                  <a:gd name="connsiteX1105" fmla="*/ 1670685 w 3574732"/>
                  <a:gd name="connsiteY1105" fmla="*/ 932540 h 1473560"/>
                  <a:gd name="connsiteX1106" fmla="*/ 1676400 w 3574732"/>
                  <a:gd name="connsiteY1106" fmla="*/ 922063 h 1473560"/>
                  <a:gd name="connsiteX1107" fmla="*/ 1676400 w 3574732"/>
                  <a:gd name="connsiteY1107" fmla="*/ 914443 h 1473560"/>
                  <a:gd name="connsiteX1108" fmla="*/ 1676400 w 3574732"/>
                  <a:gd name="connsiteY1108" fmla="*/ 904918 h 1473560"/>
                  <a:gd name="connsiteX1109" fmla="*/ 1686878 w 3574732"/>
                  <a:gd name="connsiteY1109" fmla="*/ 903013 h 1473560"/>
                  <a:gd name="connsiteX1110" fmla="*/ 1710690 w 3574732"/>
                  <a:gd name="connsiteY1110" fmla="*/ 890630 h 1473560"/>
                  <a:gd name="connsiteX1111" fmla="*/ 1712595 w 3574732"/>
                  <a:gd name="connsiteY1111" fmla="*/ 886820 h 1473560"/>
                  <a:gd name="connsiteX1112" fmla="*/ 1727835 w 3574732"/>
                  <a:gd name="connsiteY1112" fmla="*/ 872533 h 1473560"/>
                  <a:gd name="connsiteX1113" fmla="*/ 1744028 w 3574732"/>
                  <a:gd name="connsiteY1113" fmla="*/ 866818 h 1473560"/>
                  <a:gd name="connsiteX1114" fmla="*/ 1751648 w 3574732"/>
                  <a:gd name="connsiteY1114" fmla="*/ 862055 h 1473560"/>
                  <a:gd name="connsiteX1115" fmla="*/ 1778318 w 3574732"/>
                  <a:gd name="connsiteY1115" fmla="*/ 847768 h 1473560"/>
                  <a:gd name="connsiteX1116" fmla="*/ 1804988 w 3574732"/>
                  <a:gd name="connsiteY1116" fmla="*/ 838243 h 1473560"/>
                  <a:gd name="connsiteX1117" fmla="*/ 1817370 w 3574732"/>
                  <a:gd name="connsiteY1117" fmla="*/ 833480 h 1473560"/>
                  <a:gd name="connsiteX1118" fmla="*/ 1838325 w 3574732"/>
                  <a:gd name="connsiteY1118" fmla="*/ 829670 h 1473560"/>
                  <a:gd name="connsiteX1119" fmla="*/ 1855470 w 3574732"/>
                  <a:gd name="connsiteY1119" fmla="*/ 830623 h 1473560"/>
                  <a:gd name="connsiteX1120" fmla="*/ 1865948 w 3574732"/>
                  <a:gd name="connsiteY1120" fmla="*/ 833480 h 1473560"/>
                  <a:gd name="connsiteX1121" fmla="*/ 1877378 w 3574732"/>
                  <a:gd name="connsiteY1121" fmla="*/ 836338 h 1473560"/>
                  <a:gd name="connsiteX1122" fmla="*/ 1888808 w 3574732"/>
                  <a:gd name="connsiteY1122" fmla="*/ 848720 h 1473560"/>
                  <a:gd name="connsiteX1123" fmla="*/ 1898333 w 3574732"/>
                  <a:gd name="connsiteY1123" fmla="*/ 869675 h 1473560"/>
                  <a:gd name="connsiteX1124" fmla="*/ 1899285 w 3574732"/>
                  <a:gd name="connsiteY1124" fmla="*/ 883963 h 1473560"/>
                  <a:gd name="connsiteX1125" fmla="*/ 1899285 w 3574732"/>
                  <a:gd name="connsiteY1125" fmla="*/ 895393 h 1473560"/>
                  <a:gd name="connsiteX1126" fmla="*/ 1913573 w 3574732"/>
                  <a:gd name="connsiteY1126" fmla="*/ 908728 h 1473560"/>
                  <a:gd name="connsiteX1127" fmla="*/ 1929765 w 3574732"/>
                  <a:gd name="connsiteY1127" fmla="*/ 905870 h 1473560"/>
                  <a:gd name="connsiteX1128" fmla="*/ 1932623 w 3574732"/>
                  <a:gd name="connsiteY1128" fmla="*/ 901108 h 1473560"/>
                  <a:gd name="connsiteX1129" fmla="*/ 1943100 w 3574732"/>
                  <a:gd name="connsiteY1129" fmla="*/ 896345 h 1473560"/>
                  <a:gd name="connsiteX1130" fmla="*/ 1957388 w 3574732"/>
                  <a:gd name="connsiteY1130" fmla="*/ 895393 h 1473560"/>
                  <a:gd name="connsiteX1131" fmla="*/ 1965008 w 3574732"/>
                  <a:gd name="connsiteY1131" fmla="*/ 903965 h 1473560"/>
                  <a:gd name="connsiteX1132" fmla="*/ 1979295 w 3574732"/>
                  <a:gd name="connsiteY1132" fmla="*/ 913490 h 1473560"/>
                  <a:gd name="connsiteX1133" fmla="*/ 1979295 w 3574732"/>
                  <a:gd name="connsiteY1133" fmla="*/ 919205 h 1473560"/>
                  <a:gd name="connsiteX1134" fmla="*/ 1976438 w 3574732"/>
                  <a:gd name="connsiteY1134" fmla="*/ 925873 h 1473560"/>
                  <a:gd name="connsiteX1135" fmla="*/ 1976438 w 3574732"/>
                  <a:gd name="connsiteY1135" fmla="*/ 938255 h 1473560"/>
                  <a:gd name="connsiteX1136" fmla="*/ 1980248 w 3574732"/>
                  <a:gd name="connsiteY1136" fmla="*/ 947780 h 1473560"/>
                  <a:gd name="connsiteX1137" fmla="*/ 1980248 w 3574732"/>
                  <a:gd name="connsiteY1137" fmla="*/ 957305 h 1473560"/>
                  <a:gd name="connsiteX1138" fmla="*/ 1980248 w 3574732"/>
                  <a:gd name="connsiteY1138" fmla="*/ 973498 h 1473560"/>
                  <a:gd name="connsiteX1139" fmla="*/ 1973580 w 3574732"/>
                  <a:gd name="connsiteY1139" fmla="*/ 989690 h 1473560"/>
                  <a:gd name="connsiteX1140" fmla="*/ 1982153 w 3574732"/>
                  <a:gd name="connsiteY1140" fmla="*/ 1002073 h 1473560"/>
                  <a:gd name="connsiteX1141" fmla="*/ 1983105 w 3574732"/>
                  <a:gd name="connsiteY1141" fmla="*/ 1005883 h 1473560"/>
                  <a:gd name="connsiteX1142" fmla="*/ 1994535 w 3574732"/>
                  <a:gd name="connsiteY1142" fmla="*/ 1011598 h 1473560"/>
                  <a:gd name="connsiteX1143" fmla="*/ 1994535 w 3574732"/>
                  <a:gd name="connsiteY1143" fmla="*/ 1015408 h 1473560"/>
                  <a:gd name="connsiteX1144" fmla="*/ 1998345 w 3574732"/>
                  <a:gd name="connsiteY1144" fmla="*/ 1022075 h 1473560"/>
                  <a:gd name="connsiteX1145" fmla="*/ 2002155 w 3574732"/>
                  <a:gd name="connsiteY1145" fmla="*/ 1029695 h 1473560"/>
                  <a:gd name="connsiteX1146" fmla="*/ 2008823 w 3574732"/>
                  <a:gd name="connsiteY1146" fmla="*/ 1039220 h 1473560"/>
                  <a:gd name="connsiteX1147" fmla="*/ 2013585 w 3574732"/>
                  <a:gd name="connsiteY1147" fmla="*/ 1044935 h 1473560"/>
                  <a:gd name="connsiteX1148" fmla="*/ 2033588 w 3574732"/>
                  <a:gd name="connsiteY1148" fmla="*/ 1048745 h 1473560"/>
                  <a:gd name="connsiteX1149" fmla="*/ 2038350 w 3574732"/>
                  <a:gd name="connsiteY1149" fmla="*/ 1052555 h 1473560"/>
                  <a:gd name="connsiteX1150" fmla="*/ 2049780 w 3574732"/>
                  <a:gd name="connsiteY1150" fmla="*/ 1057318 h 1473560"/>
                  <a:gd name="connsiteX1151" fmla="*/ 2060258 w 3574732"/>
                  <a:gd name="connsiteY1151" fmla="*/ 1059223 h 1473560"/>
                  <a:gd name="connsiteX1152" fmla="*/ 2068830 w 3574732"/>
                  <a:gd name="connsiteY1152" fmla="*/ 1053508 h 1473560"/>
                  <a:gd name="connsiteX1153" fmla="*/ 2067878 w 3574732"/>
                  <a:gd name="connsiteY1153" fmla="*/ 1048745 h 1473560"/>
                  <a:gd name="connsiteX1154" fmla="*/ 2067878 w 3574732"/>
                  <a:gd name="connsiteY1154" fmla="*/ 1039220 h 1473560"/>
                  <a:gd name="connsiteX1155" fmla="*/ 2064068 w 3574732"/>
                  <a:gd name="connsiteY1155" fmla="*/ 1033505 h 1473560"/>
                  <a:gd name="connsiteX1156" fmla="*/ 2056448 w 3574732"/>
                  <a:gd name="connsiteY1156" fmla="*/ 1028743 h 1473560"/>
                  <a:gd name="connsiteX1157" fmla="*/ 2045018 w 3574732"/>
                  <a:gd name="connsiteY1157" fmla="*/ 1022075 h 1473560"/>
                  <a:gd name="connsiteX1158" fmla="*/ 2027873 w 3574732"/>
                  <a:gd name="connsiteY1158" fmla="*/ 1011598 h 1473560"/>
                  <a:gd name="connsiteX1159" fmla="*/ 2017395 w 3574732"/>
                  <a:gd name="connsiteY1159" fmla="*/ 1003025 h 1473560"/>
                  <a:gd name="connsiteX1160" fmla="*/ 2008823 w 3574732"/>
                  <a:gd name="connsiteY1160" fmla="*/ 990643 h 1473560"/>
                  <a:gd name="connsiteX1161" fmla="*/ 2005013 w 3574732"/>
                  <a:gd name="connsiteY1161" fmla="*/ 982070 h 1473560"/>
                  <a:gd name="connsiteX1162" fmla="*/ 2004060 w 3574732"/>
                  <a:gd name="connsiteY1162" fmla="*/ 970640 h 1473560"/>
                  <a:gd name="connsiteX1163" fmla="*/ 2003108 w 3574732"/>
                  <a:gd name="connsiteY1163" fmla="*/ 962068 h 1473560"/>
                  <a:gd name="connsiteX1164" fmla="*/ 2003108 w 3574732"/>
                  <a:gd name="connsiteY1164" fmla="*/ 950638 h 1473560"/>
                  <a:gd name="connsiteX1165" fmla="*/ 2008823 w 3574732"/>
                  <a:gd name="connsiteY1165" fmla="*/ 941113 h 1473560"/>
                  <a:gd name="connsiteX1166" fmla="*/ 2019300 w 3574732"/>
                  <a:gd name="connsiteY1166" fmla="*/ 941113 h 1473560"/>
                  <a:gd name="connsiteX1167" fmla="*/ 2025015 w 3574732"/>
                  <a:gd name="connsiteY1167" fmla="*/ 943018 h 1473560"/>
                  <a:gd name="connsiteX1168" fmla="*/ 2033588 w 3574732"/>
                  <a:gd name="connsiteY1168" fmla="*/ 949685 h 1473560"/>
                  <a:gd name="connsiteX1169" fmla="*/ 2042160 w 3574732"/>
                  <a:gd name="connsiteY1169" fmla="*/ 950638 h 1473560"/>
                  <a:gd name="connsiteX1170" fmla="*/ 2045970 w 3574732"/>
                  <a:gd name="connsiteY1170" fmla="*/ 954448 h 1473560"/>
                  <a:gd name="connsiteX1171" fmla="*/ 2051685 w 3574732"/>
                  <a:gd name="connsiteY1171" fmla="*/ 960163 h 1473560"/>
                  <a:gd name="connsiteX1172" fmla="*/ 2073593 w 3574732"/>
                  <a:gd name="connsiteY1172" fmla="*/ 968735 h 1473560"/>
                  <a:gd name="connsiteX1173" fmla="*/ 2081213 w 3574732"/>
                  <a:gd name="connsiteY1173" fmla="*/ 973498 h 1473560"/>
                  <a:gd name="connsiteX1174" fmla="*/ 2081213 w 3574732"/>
                  <a:gd name="connsiteY1174" fmla="*/ 980165 h 1473560"/>
                  <a:gd name="connsiteX1175" fmla="*/ 2097405 w 3574732"/>
                  <a:gd name="connsiteY1175" fmla="*/ 985880 h 1473560"/>
                  <a:gd name="connsiteX1176" fmla="*/ 2123123 w 3574732"/>
                  <a:gd name="connsiteY1176" fmla="*/ 968735 h 1473560"/>
                  <a:gd name="connsiteX1177" fmla="*/ 2139315 w 3574732"/>
                  <a:gd name="connsiteY1177" fmla="*/ 960163 h 1473560"/>
                  <a:gd name="connsiteX1178" fmla="*/ 2154555 w 3574732"/>
                  <a:gd name="connsiteY1178" fmla="*/ 956353 h 1473560"/>
                  <a:gd name="connsiteX1179" fmla="*/ 2156460 w 3574732"/>
                  <a:gd name="connsiteY1179" fmla="*/ 948733 h 1473560"/>
                  <a:gd name="connsiteX1180" fmla="*/ 2159318 w 3574732"/>
                  <a:gd name="connsiteY1180" fmla="*/ 939208 h 1473560"/>
                  <a:gd name="connsiteX1181" fmla="*/ 2161223 w 3574732"/>
                  <a:gd name="connsiteY1181" fmla="*/ 935398 h 1473560"/>
                  <a:gd name="connsiteX1182" fmla="*/ 2161223 w 3574732"/>
                  <a:gd name="connsiteY1182" fmla="*/ 921110 h 1473560"/>
                  <a:gd name="connsiteX1183" fmla="*/ 2161223 w 3574732"/>
                  <a:gd name="connsiteY1183" fmla="*/ 912538 h 1473560"/>
                  <a:gd name="connsiteX1184" fmla="*/ 2149793 w 3574732"/>
                  <a:gd name="connsiteY1184" fmla="*/ 905870 h 1473560"/>
                  <a:gd name="connsiteX1185" fmla="*/ 2149793 w 3574732"/>
                  <a:gd name="connsiteY1185" fmla="*/ 899203 h 1473560"/>
                  <a:gd name="connsiteX1186" fmla="*/ 2144078 w 3574732"/>
                  <a:gd name="connsiteY1186" fmla="*/ 893488 h 1473560"/>
                  <a:gd name="connsiteX1187" fmla="*/ 2138363 w 3574732"/>
                  <a:gd name="connsiteY1187" fmla="*/ 889678 h 1473560"/>
                  <a:gd name="connsiteX1188" fmla="*/ 2127885 w 3574732"/>
                  <a:gd name="connsiteY1188" fmla="*/ 881105 h 1473560"/>
                  <a:gd name="connsiteX1189" fmla="*/ 2111693 w 3574732"/>
                  <a:gd name="connsiteY1189" fmla="*/ 868723 h 1473560"/>
                  <a:gd name="connsiteX1190" fmla="*/ 2122170 w 3574732"/>
                  <a:gd name="connsiteY1190" fmla="*/ 853483 h 1473560"/>
                  <a:gd name="connsiteX1191" fmla="*/ 2130743 w 3574732"/>
                  <a:gd name="connsiteY1191" fmla="*/ 852530 h 1473560"/>
                  <a:gd name="connsiteX1192" fmla="*/ 2145030 w 3574732"/>
                  <a:gd name="connsiteY1192" fmla="*/ 850625 h 1473560"/>
                  <a:gd name="connsiteX1193" fmla="*/ 2152650 w 3574732"/>
                  <a:gd name="connsiteY1193" fmla="*/ 844910 h 1473560"/>
                  <a:gd name="connsiteX1194" fmla="*/ 2158365 w 3574732"/>
                  <a:gd name="connsiteY1194" fmla="*/ 843005 h 1473560"/>
                  <a:gd name="connsiteX1195" fmla="*/ 2165985 w 3574732"/>
                  <a:gd name="connsiteY1195" fmla="*/ 841100 h 1473560"/>
                  <a:gd name="connsiteX1196" fmla="*/ 2171700 w 3574732"/>
                  <a:gd name="connsiteY1196" fmla="*/ 844910 h 1473560"/>
                  <a:gd name="connsiteX1197" fmla="*/ 2180273 w 3574732"/>
                  <a:gd name="connsiteY1197" fmla="*/ 851578 h 1473560"/>
                  <a:gd name="connsiteX1198" fmla="*/ 2190750 w 3574732"/>
                  <a:gd name="connsiteY1198" fmla="*/ 850625 h 1473560"/>
                  <a:gd name="connsiteX1199" fmla="*/ 2199323 w 3574732"/>
                  <a:gd name="connsiteY1199" fmla="*/ 845863 h 1473560"/>
                  <a:gd name="connsiteX1200" fmla="*/ 2206943 w 3574732"/>
                  <a:gd name="connsiteY1200" fmla="*/ 839195 h 1473560"/>
                  <a:gd name="connsiteX1201" fmla="*/ 2223135 w 3574732"/>
                  <a:gd name="connsiteY1201" fmla="*/ 834433 h 1473560"/>
                  <a:gd name="connsiteX1202" fmla="*/ 2228850 w 3574732"/>
                  <a:gd name="connsiteY1202" fmla="*/ 833480 h 1473560"/>
                  <a:gd name="connsiteX1203" fmla="*/ 2236470 w 3574732"/>
                  <a:gd name="connsiteY1203" fmla="*/ 830623 h 1473560"/>
                  <a:gd name="connsiteX1204" fmla="*/ 2247900 w 3574732"/>
                  <a:gd name="connsiteY1204" fmla="*/ 825860 h 1473560"/>
                  <a:gd name="connsiteX1205" fmla="*/ 2255520 w 3574732"/>
                  <a:gd name="connsiteY1205" fmla="*/ 824908 h 1473560"/>
                  <a:gd name="connsiteX1206" fmla="*/ 2274570 w 3574732"/>
                  <a:gd name="connsiteY1206" fmla="*/ 823955 h 1473560"/>
                  <a:gd name="connsiteX1207" fmla="*/ 2286000 w 3574732"/>
                  <a:gd name="connsiteY1207" fmla="*/ 821098 h 1473560"/>
                  <a:gd name="connsiteX1208" fmla="*/ 2293620 w 3574732"/>
                  <a:gd name="connsiteY1208" fmla="*/ 815383 h 1473560"/>
                  <a:gd name="connsiteX1209" fmla="*/ 2293620 w 3574732"/>
                  <a:gd name="connsiteY1209" fmla="*/ 812525 h 1473560"/>
                  <a:gd name="connsiteX1210" fmla="*/ 2309813 w 3574732"/>
                  <a:gd name="connsiteY1210" fmla="*/ 802048 h 1473560"/>
                  <a:gd name="connsiteX1211" fmla="*/ 2318385 w 3574732"/>
                  <a:gd name="connsiteY1211" fmla="*/ 796333 h 1473560"/>
                  <a:gd name="connsiteX1212" fmla="*/ 2333625 w 3574732"/>
                  <a:gd name="connsiteY1212" fmla="*/ 785855 h 1473560"/>
                  <a:gd name="connsiteX1213" fmla="*/ 2348865 w 3574732"/>
                  <a:gd name="connsiteY1213" fmla="*/ 773473 h 1473560"/>
                  <a:gd name="connsiteX1214" fmla="*/ 2362200 w 3574732"/>
                  <a:gd name="connsiteY1214" fmla="*/ 766805 h 1473560"/>
                  <a:gd name="connsiteX1215" fmla="*/ 2366963 w 3574732"/>
                  <a:gd name="connsiteY1215" fmla="*/ 758233 h 1473560"/>
                  <a:gd name="connsiteX1216" fmla="*/ 2366963 w 3574732"/>
                  <a:gd name="connsiteY1216" fmla="*/ 751565 h 1473560"/>
                  <a:gd name="connsiteX1217" fmla="*/ 2368868 w 3574732"/>
                  <a:gd name="connsiteY1217" fmla="*/ 728705 h 1473560"/>
                  <a:gd name="connsiteX1218" fmla="*/ 2374583 w 3574732"/>
                  <a:gd name="connsiteY1218" fmla="*/ 718228 h 1473560"/>
                  <a:gd name="connsiteX1219" fmla="*/ 2374583 w 3574732"/>
                  <a:gd name="connsiteY1219" fmla="*/ 712513 h 1473560"/>
                  <a:gd name="connsiteX1220" fmla="*/ 2367915 w 3574732"/>
                  <a:gd name="connsiteY1220" fmla="*/ 697273 h 1473560"/>
                  <a:gd name="connsiteX1221" fmla="*/ 2366963 w 3574732"/>
                  <a:gd name="connsiteY1221" fmla="*/ 690605 h 1473560"/>
                  <a:gd name="connsiteX1222" fmla="*/ 2366010 w 3574732"/>
                  <a:gd name="connsiteY1222" fmla="*/ 684890 h 1473560"/>
                  <a:gd name="connsiteX1223" fmla="*/ 2358390 w 3574732"/>
                  <a:gd name="connsiteY1223" fmla="*/ 682985 h 1473560"/>
                  <a:gd name="connsiteX1224" fmla="*/ 2353628 w 3574732"/>
                  <a:gd name="connsiteY1224" fmla="*/ 682033 h 1473560"/>
                  <a:gd name="connsiteX1225" fmla="*/ 2336483 w 3574732"/>
                  <a:gd name="connsiteY1225" fmla="*/ 673460 h 1473560"/>
                  <a:gd name="connsiteX1226" fmla="*/ 2355533 w 3574732"/>
                  <a:gd name="connsiteY1226" fmla="*/ 669650 h 1473560"/>
                  <a:gd name="connsiteX1227" fmla="*/ 2357438 w 3574732"/>
                  <a:gd name="connsiteY1227" fmla="*/ 662983 h 1473560"/>
                  <a:gd name="connsiteX1228" fmla="*/ 2367915 w 3574732"/>
                  <a:gd name="connsiteY1228" fmla="*/ 661078 h 1473560"/>
                  <a:gd name="connsiteX1229" fmla="*/ 2391728 w 3574732"/>
                  <a:gd name="connsiteY1229" fmla="*/ 658220 h 1473560"/>
                  <a:gd name="connsiteX1230" fmla="*/ 2391728 w 3574732"/>
                  <a:gd name="connsiteY1230" fmla="*/ 655363 h 1473560"/>
                  <a:gd name="connsiteX1231" fmla="*/ 2390775 w 3574732"/>
                  <a:gd name="connsiteY1231" fmla="*/ 642028 h 1473560"/>
                  <a:gd name="connsiteX1232" fmla="*/ 2387918 w 3574732"/>
                  <a:gd name="connsiteY1232" fmla="*/ 638218 h 1473560"/>
                  <a:gd name="connsiteX1233" fmla="*/ 2374583 w 3574732"/>
                  <a:gd name="connsiteY1233" fmla="*/ 636313 h 1473560"/>
                  <a:gd name="connsiteX1234" fmla="*/ 2361248 w 3574732"/>
                  <a:gd name="connsiteY1234" fmla="*/ 635360 h 1473560"/>
                  <a:gd name="connsiteX1235" fmla="*/ 2350770 w 3574732"/>
                  <a:gd name="connsiteY1235" fmla="*/ 635360 h 1473560"/>
                  <a:gd name="connsiteX1236" fmla="*/ 2328863 w 3574732"/>
                  <a:gd name="connsiteY1236" fmla="*/ 635360 h 1473560"/>
                  <a:gd name="connsiteX1237" fmla="*/ 2315528 w 3574732"/>
                  <a:gd name="connsiteY1237" fmla="*/ 632503 h 1473560"/>
                  <a:gd name="connsiteX1238" fmla="*/ 2314575 w 3574732"/>
                  <a:gd name="connsiteY1238" fmla="*/ 630598 h 1473560"/>
                  <a:gd name="connsiteX1239" fmla="*/ 2311718 w 3574732"/>
                  <a:gd name="connsiteY1239" fmla="*/ 622025 h 1473560"/>
                  <a:gd name="connsiteX1240" fmla="*/ 2330768 w 3574732"/>
                  <a:gd name="connsiteY1240" fmla="*/ 621073 h 1473560"/>
                  <a:gd name="connsiteX1241" fmla="*/ 2338388 w 3574732"/>
                  <a:gd name="connsiteY1241" fmla="*/ 620120 h 1473560"/>
                  <a:gd name="connsiteX1242" fmla="*/ 2351723 w 3574732"/>
                  <a:gd name="connsiteY1242" fmla="*/ 617263 h 1473560"/>
                  <a:gd name="connsiteX1243" fmla="*/ 2354580 w 3574732"/>
                  <a:gd name="connsiteY1243" fmla="*/ 613453 h 1473560"/>
                  <a:gd name="connsiteX1244" fmla="*/ 2366010 w 3574732"/>
                  <a:gd name="connsiteY1244" fmla="*/ 608690 h 1473560"/>
                  <a:gd name="connsiteX1245" fmla="*/ 2376488 w 3574732"/>
                  <a:gd name="connsiteY1245" fmla="*/ 611548 h 1473560"/>
                  <a:gd name="connsiteX1246" fmla="*/ 2380298 w 3574732"/>
                  <a:gd name="connsiteY1246" fmla="*/ 617263 h 1473560"/>
                  <a:gd name="connsiteX1247" fmla="*/ 2391728 w 3574732"/>
                  <a:gd name="connsiteY1247" fmla="*/ 617263 h 1473560"/>
                  <a:gd name="connsiteX1248" fmla="*/ 2406968 w 3574732"/>
                  <a:gd name="connsiteY1248" fmla="*/ 613453 h 1473560"/>
                  <a:gd name="connsiteX1249" fmla="*/ 2427923 w 3574732"/>
                  <a:gd name="connsiteY1249" fmla="*/ 616310 h 1473560"/>
                  <a:gd name="connsiteX1250" fmla="*/ 2436495 w 3574732"/>
                  <a:gd name="connsiteY1250" fmla="*/ 624883 h 1473560"/>
                  <a:gd name="connsiteX1251" fmla="*/ 2445068 w 3574732"/>
                  <a:gd name="connsiteY1251" fmla="*/ 632503 h 1473560"/>
                  <a:gd name="connsiteX1252" fmla="*/ 2448878 w 3574732"/>
                  <a:gd name="connsiteY1252" fmla="*/ 640123 h 1473560"/>
                  <a:gd name="connsiteX1253" fmla="*/ 2457450 w 3574732"/>
                  <a:gd name="connsiteY1253" fmla="*/ 643933 h 1473560"/>
                  <a:gd name="connsiteX1254" fmla="*/ 2457450 w 3574732"/>
                  <a:gd name="connsiteY1254" fmla="*/ 651553 h 1473560"/>
                  <a:gd name="connsiteX1255" fmla="*/ 2455545 w 3574732"/>
                  <a:gd name="connsiteY1255" fmla="*/ 662030 h 1473560"/>
                  <a:gd name="connsiteX1256" fmla="*/ 2458403 w 3574732"/>
                  <a:gd name="connsiteY1256" fmla="*/ 669650 h 1473560"/>
                  <a:gd name="connsiteX1257" fmla="*/ 2459355 w 3574732"/>
                  <a:gd name="connsiteY1257" fmla="*/ 673460 h 1473560"/>
                  <a:gd name="connsiteX1258" fmla="*/ 2472690 w 3574732"/>
                  <a:gd name="connsiteY1258" fmla="*/ 676318 h 1473560"/>
                  <a:gd name="connsiteX1259" fmla="*/ 2486978 w 3574732"/>
                  <a:gd name="connsiteY1259" fmla="*/ 677270 h 1473560"/>
                  <a:gd name="connsiteX1260" fmla="*/ 2497455 w 3574732"/>
                  <a:gd name="connsiteY1260" fmla="*/ 677270 h 1473560"/>
                  <a:gd name="connsiteX1261" fmla="*/ 2507933 w 3574732"/>
                  <a:gd name="connsiteY1261" fmla="*/ 675365 h 1473560"/>
                  <a:gd name="connsiteX1262" fmla="*/ 2518410 w 3574732"/>
                  <a:gd name="connsiteY1262" fmla="*/ 670603 h 1473560"/>
                  <a:gd name="connsiteX1263" fmla="*/ 2521268 w 3574732"/>
                  <a:gd name="connsiteY1263" fmla="*/ 656315 h 1473560"/>
                  <a:gd name="connsiteX1264" fmla="*/ 2517458 w 3574732"/>
                  <a:gd name="connsiteY1264" fmla="*/ 649648 h 1473560"/>
                  <a:gd name="connsiteX1265" fmla="*/ 2508885 w 3574732"/>
                  <a:gd name="connsiteY1265" fmla="*/ 642028 h 1473560"/>
                  <a:gd name="connsiteX1266" fmla="*/ 2505075 w 3574732"/>
                  <a:gd name="connsiteY1266" fmla="*/ 630598 h 1473560"/>
                  <a:gd name="connsiteX1267" fmla="*/ 2502218 w 3574732"/>
                  <a:gd name="connsiteY1267" fmla="*/ 619168 h 1473560"/>
                  <a:gd name="connsiteX1268" fmla="*/ 2515553 w 3574732"/>
                  <a:gd name="connsiteY1268" fmla="*/ 603928 h 1473560"/>
                  <a:gd name="connsiteX1269" fmla="*/ 2517458 w 3574732"/>
                  <a:gd name="connsiteY1269" fmla="*/ 601070 h 1473560"/>
                  <a:gd name="connsiteX1270" fmla="*/ 2525078 w 3574732"/>
                  <a:gd name="connsiteY1270" fmla="*/ 587735 h 1473560"/>
                  <a:gd name="connsiteX1271" fmla="*/ 2527935 w 3574732"/>
                  <a:gd name="connsiteY1271" fmla="*/ 582973 h 1473560"/>
                  <a:gd name="connsiteX1272" fmla="*/ 2549843 w 3574732"/>
                  <a:gd name="connsiteY1272" fmla="*/ 581068 h 1473560"/>
                  <a:gd name="connsiteX1273" fmla="*/ 2579370 w 3574732"/>
                  <a:gd name="connsiteY1273" fmla="*/ 571543 h 1473560"/>
                  <a:gd name="connsiteX1274" fmla="*/ 2589848 w 3574732"/>
                  <a:gd name="connsiteY1274" fmla="*/ 568685 h 1473560"/>
                  <a:gd name="connsiteX1275" fmla="*/ 2611755 w 3574732"/>
                  <a:gd name="connsiteY1275" fmla="*/ 558208 h 1473560"/>
                  <a:gd name="connsiteX1276" fmla="*/ 2624138 w 3574732"/>
                  <a:gd name="connsiteY1276" fmla="*/ 547730 h 1473560"/>
                  <a:gd name="connsiteX1277" fmla="*/ 2648903 w 3574732"/>
                  <a:gd name="connsiteY1277" fmla="*/ 539158 h 1473560"/>
                  <a:gd name="connsiteX1278" fmla="*/ 2653665 w 3574732"/>
                  <a:gd name="connsiteY1278" fmla="*/ 528680 h 1473560"/>
                  <a:gd name="connsiteX1279" fmla="*/ 2662238 w 3574732"/>
                  <a:gd name="connsiteY1279" fmla="*/ 521060 h 1473560"/>
                  <a:gd name="connsiteX1280" fmla="*/ 2684145 w 3574732"/>
                  <a:gd name="connsiteY1280" fmla="*/ 512488 h 1473560"/>
                  <a:gd name="connsiteX1281" fmla="*/ 2694623 w 3574732"/>
                  <a:gd name="connsiteY1281" fmla="*/ 502010 h 1473560"/>
                  <a:gd name="connsiteX1282" fmla="*/ 2696528 w 3574732"/>
                  <a:gd name="connsiteY1282" fmla="*/ 487723 h 1473560"/>
                  <a:gd name="connsiteX1283" fmla="*/ 2695575 w 3574732"/>
                  <a:gd name="connsiteY1283" fmla="*/ 478198 h 1473560"/>
                  <a:gd name="connsiteX1284" fmla="*/ 2694623 w 3574732"/>
                  <a:gd name="connsiteY1284" fmla="*/ 472483 h 1473560"/>
                  <a:gd name="connsiteX1285" fmla="*/ 2707005 w 3574732"/>
                  <a:gd name="connsiteY1285" fmla="*/ 460100 h 1473560"/>
                  <a:gd name="connsiteX1286" fmla="*/ 2707005 w 3574732"/>
                  <a:gd name="connsiteY1286" fmla="*/ 453433 h 1473560"/>
                  <a:gd name="connsiteX1287" fmla="*/ 2707005 w 3574732"/>
                  <a:gd name="connsiteY1287" fmla="*/ 439145 h 1473560"/>
                  <a:gd name="connsiteX1288" fmla="*/ 2711768 w 3574732"/>
                  <a:gd name="connsiteY1288" fmla="*/ 428668 h 1473560"/>
                  <a:gd name="connsiteX1289" fmla="*/ 2711768 w 3574732"/>
                  <a:gd name="connsiteY1289" fmla="*/ 416285 h 1473560"/>
                  <a:gd name="connsiteX1290" fmla="*/ 2701290 w 3574732"/>
                  <a:gd name="connsiteY1290" fmla="*/ 412475 h 1473560"/>
                  <a:gd name="connsiteX1291" fmla="*/ 2689860 w 3574732"/>
                  <a:gd name="connsiteY1291" fmla="*/ 413428 h 1473560"/>
                  <a:gd name="connsiteX1292" fmla="*/ 2673668 w 3574732"/>
                  <a:gd name="connsiteY1292" fmla="*/ 416285 h 1473560"/>
                  <a:gd name="connsiteX1293" fmla="*/ 2660333 w 3574732"/>
                  <a:gd name="connsiteY1293" fmla="*/ 412475 h 1473560"/>
                  <a:gd name="connsiteX1294" fmla="*/ 2653665 w 3574732"/>
                  <a:gd name="connsiteY1294" fmla="*/ 401998 h 1473560"/>
                  <a:gd name="connsiteX1295" fmla="*/ 2647950 w 3574732"/>
                  <a:gd name="connsiteY1295" fmla="*/ 401998 h 1473560"/>
                  <a:gd name="connsiteX1296" fmla="*/ 2634615 w 3574732"/>
                  <a:gd name="connsiteY1296" fmla="*/ 400093 h 1473560"/>
                  <a:gd name="connsiteX1297" fmla="*/ 2629853 w 3574732"/>
                  <a:gd name="connsiteY1297" fmla="*/ 396283 h 1473560"/>
                  <a:gd name="connsiteX1298" fmla="*/ 2629853 w 3574732"/>
                  <a:gd name="connsiteY1298" fmla="*/ 393425 h 1473560"/>
                  <a:gd name="connsiteX1299" fmla="*/ 2632710 w 3574732"/>
                  <a:gd name="connsiteY1299" fmla="*/ 383900 h 1473560"/>
                  <a:gd name="connsiteX1300" fmla="*/ 2676525 w 3574732"/>
                  <a:gd name="connsiteY1300" fmla="*/ 375328 h 1473560"/>
                  <a:gd name="connsiteX1301" fmla="*/ 2681288 w 3574732"/>
                  <a:gd name="connsiteY1301" fmla="*/ 368660 h 1473560"/>
                  <a:gd name="connsiteX1302" fmla="*/ 2697480 w 3574732"/>
                  <a:gd name="connsiteY1302" fmla="*/ 356278 h 1473560"/>
                  <a:gd name="connsiteX1303" fmla="*/ 2716530 w 3574732"/>
                  <a:gd name="connsiteY1303" fmla="*/ 344848 h 1473560"/>
                  <a:gd name="connsiteX1304" fmla="*/ 2734628 w 3574732"/>
                  <a:gd name="connsiteY1304" fmla="*/ 334370 h 1473560"/>
                  <a:gd name="connsiteX1305" fmla="*/ 2745105 w 3574732"/>
                  <a:gd name="connsiteY1305" fmla="*/ 330560 h 1473560"/>
                  <a:gd name="connsiteX1306" fmla="*/ 2777490 w 3574732"/>
                  <a:gd name="connsiteY1306" fmla="*/ 328655 h 1473560"/>
                  <a:gd name="connsiteX1307" fmla="*/ 2785110 w 3574732"/>
                  <a:gd name="connsiteY1307" fmla="*/ 327703 h 1473560"/>
                  <a:gd name="connsiteX1308" fmla="*/ 2798445 w 3574732"/>
                  <a:gd name="connsiteY1308" fmla="*/ 327703 h 1473560"/>
                  <a:gd name="connsiteX1309" fmla="*/ 2814638 w 3574732"/>
                  <a:gd name="connsiteY1309" fmla="*/ 330560 h 1473560"/>
                  <a:gd name="connsiteX1310" fmla="*/ 2841308 w 3574732"/>
                  <a:gd name="connsiteY1310" fmla="*/ 331513 h 1473560"/>
                  <a:gd name="connsiteX1311" fmla="*/ 2855595 w 3574732"/>
                  <a:gd name="connsiteY1311" fmla="*/ 328655 h 1473560"/>
                  <a:gd name="connsiteX1312" fmla="*/ 2869883 w 3574732"/>
                  <a:gd name="connsiteY1312" fmla="*/ 324845 h 1473560"/>
                  <a:gd name="connsiteX1313" fmla="*/ 2877503 w 3574732"/>
                  <a:gd name="connsiteY1313" fmla="*/ 324845 h 1473560"/>
                  <a:gd name="connsiteX1314" fmla="*/ 2909888 w 3574732"/>
                  <a:gd name="connsiteY1314" fmla="*/ 331513 h 1473560"/>
                  <a:gd name="connsiteX1315" fmla="*/ 2924175 w 3574732"/>
                  <a:gd name="connsiteY1315" fmla="*/ 339133 h 1473560"/>
                  <a:gd name="connsiteX1316" fmla="*/ 2934653 w 3574732"/>
                  <a:gd name="connsiteY1316" fmla="*/ 341038 h 1473560"/>
                  <a:gd name="connsiteX1317" fmla="*/ 2943225 w 3574732"/>
                  <a:gd name="connsiteY1317" fmla="*/ 339133 h 1473560"/>
                  <a:gd name="connsiteX1318" fmla="*/ 2956560 w 3574732"/>
                  <a:gd name="connsiteY1318" fmla="*/ 324845 h 1473560"/>
                  <a:gd name="connsiteX1319" fmla="*/ 2958465 w 3574732"/>
                  <a:gd name="connsiteY1319" fmla="*/ 320083 h 1473560"/>
                  <a:gd name="connsiteX1320" fmla="*/ 2966085 w 3574732"/>
                  <a:gd name="connsiteY1320" fmla="*/ 311510 h 1473560"/>
                  <a:gd name="connsiteX1321" fmla="*/ 2971800 w 3574732"/>
                  <a:gd name="connsiteY1321" fmla="*/ 306748 h 1473560"/>
                  <a:gd name="connsiteX1322" fmla="*/ 2979420 w 3574732"/>
                  <a:gd name="connsiteY1322" fmla="*/ 303890 h 1473560"/>
                  <a:gd name="connsiteX1323" fmla="*/ 2987040 w 3574732"/>
                  <a:gd name="connsiteY1323" fmla="*/ 300080 h 1473560"/>
                  <a:gd name="connsiteX1324" fmla="*/ 2995613 w 3574732"/>
                  <a:gd name="connsiteY1324" fmla="*/ 295318 h 1473560"/>
                  <a:gd name="connsiteX1325" fmla="*/ 3006090 w 3574732"/>
                  <a:gd name="connsiteY1325" fmla="*/ 291508 h 1473560"/>
                  <a:gd name="connsiteX1326" fmla="*/ 3036570 w 3574732"/>
                  <a:gd name="connsiteY1326" fmla="*/ 291508 h 1473560"/>
                  <a:gd name="connsiteX1327" fmla="*/ 3044190 w 3574732"/>
                  <a:gd name="connsiteY1327" fmla="*/ 299128 h 1473560"/>
                  <a:gd name="connsiteX1328" fmla="*/ 3051810 w 3574732"/>
                  <a:gd name="connsiteY1328" fmla="*/ 301985 h 1473560"/>
                  <a:gd name="connsiteX1329" fmla="*/ 3062288 w 3574732"/>
                  <a:gd name="connsiteY1329" fmla="*/ 300080 h 1473560"/>
                  <a:gd name="connsiteX1330" fmla="*/ 3075623 w 3574732"/>
                  <a:gd name="connsiteY1330" fmla="*/ 293413 h 1473560"/>
                  <a:gd name="connsiteX1331" fmla="*/ 3087053 w 3574732"/>
                  <a:gd name="connsiteY1331" fmla="*/ 289603 h 1473560"/>
                  <a:gd name="connsiteX1332" fmla="*/ 3097530 w 3574732"/>
                  <a:gd name="connsiteY1332" fmla="*/ 284840 h 1473560"/>
                  <a:gd name="connsiteX1333" fmla="*/ 3105150 w 3574732"/>
                  <a:gd name="connsiteY1333" fmla="*/ 283888 h 1473560"/>
                  <a:gd name="connsiteX1334" fmla="*/ 3113723 w 3574732"/>
                  <a:gd name="connsiteY1334" fmla="*/ 287698 h 1473560"/>
                  <a:gd name="connsiteX1335" fmla="*/ 3100388 w 3574732"/>
                  <a:gd name="connsiteY1335" fmla="*/ 297223 h 1473560"/>
                  <a:gd name="connsiteX1336" fmla="*/ 3089910 w 3574732"/>
                  <a:gd name="connsiteY1336" fmla="*/ 302938 h 1473560"/>
                  <a:gd name="connsiteX1337" fmla="*/ 3071813 w 3574732"/>
                  <a:gd name="connsiteY1337" fmla="*/ 311510 h 1473560"/>
                  <a:gd name="connsiteX1338" fmla="*/ 3061335 w 3574732"/>
                  <a:gd name="connsiteY1338" fmla="*/ 317225 h 1473560"/>
                  <a:gd name="connsiteX1339" fmla="*/ 3052763 w 3574732"/>
                  <a:gd name="connsiteY1339" fmla="*/ 321988 h 1473560"/>
                  <a:gd name="connsiteX1340" fmla="*/ 3044190 w 3574732"/>
                  <a:gd name="connsiteY1340" fmla="*/ 328655 h 1473560"/>
                  <a:gd name="connsiteX1341" fmla="*/ 3030855 w 3574732"/>
                  <a:gd name="connsiteY1341" fmla="*/ 337228 h 1473560"/>
                  <a:gd name="connsiteX1342" fmla="*/ 3015615 w 3574732"/>
                  <a:gd name="connsiteY1342" fmla="*/ 341990 h 1473560"/>
                  <a:gd name="connsiteX1343" fmla="*/ 2994660 w 3574732"/>
                  <a:gd name="connsiteY1343" fmla="*/ 351515 h 1473560"/>
                  <a:gd name="connsiteX1344" fmla="*/ 2982278 w 3574732"/>
                  <a:gd name="connsiteY1344" fmla="*/ 364850 h 1473560"/>
                  <a:gd name="connsiteX1345" fmla="*/ 2979420 w 3574732"/>
                  <a:gd name="connsiteY1345" fmla="*/ 368660 h 1473560"/>
                  <a:gd name="connsiteX1346" fmla="*/ 2967038 w 3574732"/>
                  <a:gd name="connsiteY1346" fmla="*/ 379138 h 1473560"/>
                  <a:gd name="connsiteX1347" fmla="*/ 2972753 w 3574732"/>
                  <a:gd name="connsiteY1347" fmla="*/ 387710 h 1473560"/>
                  <a:gd name="connsiteX1348" fmla="*/ 2968943 w 3574732"/>
                  <a:gd name="connsiteY1348" fmla="*/ 408665 h 1473560"/>
                  <a:gd name="connsiteX1349" fmla="*/ 2968943 w 3574732"/>
                  <a:gd name="connsiteY1349" fmla="*/ 418190 h 1473560"/>
                  <a:gd name="connsiteX1350" fmla="*/ 2968943 w 3574732"/>
                  <a:gd name="connsiteY1350" fmla="*/ 427715 h 1473560"/>
                  <a:gd name="connsiteX1351" fmla="*/ 2968943 w 3574732"/>
                  <a:gd name="connsiteY1351" fmla="*/ 434383 h 1473560"/>
                  <a:gd name="connsiteX1352" fmla="*/ 2979420 w 3574732"/>
                  <a:gd name="connsiteY1352" fmla="*/ 440098 h 1473560"/>
                  <a:gd name="connsiteX1353" fmla="*/ 2989898 w 3574732"/>
                  <a:gd name="connsiteY1353" fmla="*/ 449623 h 1473560"/>
                  <a:gd name="connsiteX1354" fmla="*/ 2990850 w 3574732"/>
                  <a:gd name="connsiteY1354" fmla="*/ 455338 h 1473560"/>
                  <a:gd name="connsiteX1355" fmla="*/ 3007043 w 3574732"/>
                  <a:gd name="connsiteY1355" fmla="*/ 457243 h 1473560"/>
                  <a:gd name="connsiteX1356" fmla="*/ 3017520 w 3574732"/>
                  <a:gd name="connsiteY1356" fmla="*/ 448670 h 1473560"/>
                  <a:gd name="connsiteX1357" fmla="*/ 3020378 w 3574732"/>
                  <a:gd name="connsiteY1357" fmla="*/ 441050 h 1473560"/>
                  <a:gd name="connsiteX1358" fmla="*/ 3027998 w 3574732"/>
                  <a:gd name="connsiteY1358" fmla="*/ 435335 h 1473560"/>
                  <a:gd name="connsiteX1359" fmla="*/ 3038475 w 3574732"/>
                  <a:gd name="connsiteY1359" fmla="*/ 428668 h 1473560"/>
                  <a:gd name="connsiteX1360" fmla="*/ 3037523 w 3574732"/>
                  <a:gd name="connsiteY1360" fmla="*/ 425810 h 1473560"/>
                  <a:gd name="connsiteX1361" fmla="*/ 3047048 w 3574732"/>
                  <a:gd name="connsiteY1361" fmla="*/ 416285 h 1473560"/>
                  <a:gd name="connsiteX1362" fmla="*/ 3054668 w 3574732"/>
                  <a:gd name="connsiteY1362" fmla="*/ 413428 h 1473560"/>
                  <a:gd name="connsiteX1363" fmla="*/ 3072765 w 3574732"/>
                  <a:gd name="connsiteY1363" fmla="*/ 403903 h 1473560"/>
                  <a:gd name="connsiteX1364" fmla="*/ 3083243 w 3574732"/>
                  <a:gd name="connsiteY1364" fmla="*/ 397235 h 1473560"/>
                  <a:gd name="connsiteX1365" fmla="*/ 3077528 w 3574732"/>
                  <a:gd name="connsiteY1365" fmla="*/ 386758 h 1473560"/>
                  <a:gd name="connsiteX1366" fmla="*/ 3080385 w 3574732"/>
                  <a:gd name="connsiteY1366" fmla="*/ 383900 h 1473560"/>
                  <a:gd name="connsiteX1367" fmla="*/ 3080385 w 3574732"/>
                  <a:gd name="connsiteY1367" fmla="*/ 381043 h 1473560"/>
                  <a:gd name="connsiteX1368" fmla="*/ 3085148 w 3574732"/>
                  <a:gd name="connsiteY1368" fmla="*/ 377233 h 1473560"/>
                  <a:gd name="connsiteX1369" fmla="*/ 3092768 w 3574732"/>
                  <a:gd name="connsiteY1369" fmla="*/ 370565 h 1473560"/>
                  <a:gd name="connsiteX1370" fmla="*/ 3089910 w 3574732"/>
                  <a:gd name="connsiteY1370" fmla="*/ 357230 h 1473560"/>
                  <a:gd name="connsiteX1371" fmla="*/ 3097530 w 3574732"/>
                  <a:gd name="connsiteY1371" fmla="*/ 375328 h 1473560"/>
                  <a:gd name="connsiteX1372" fmla="*/ 3097530 w 3574732"/>
                  <a:gd name="connsiteY1372" fmla="*/ 371518 h 1473560"/>
                  <a:gd name="connsiteX1373" fmla="*/ 3110865 w 3574732"/>
                  <a:gd name="connsiteY1373" fmla="*/ 366755 h 1473560"/>
                  <a:gd name="connsiteX1374" fmla="*/ 3116580 w 3574732"/>
                  <a:gd name="connsiteY1374" fmla="*/ 351515 h 1473560"/>
                  <a:gd name="connsiteX1375" fmla="*/ 3148013 w 3574732"/>
                  <a:gd name="connsiteY1375" fmla="*/ 343895 h 1473560"/>
                  <a:gd name="connsiteX1376" fmla="*/ 3166110 w 3574732"/>
                  <a:gd name="connsiteY1376" fmla="*/ 342943 h 1473560"/>
                  <a:gd name="connsiteX1377" fmla="*/ 3183255 w 3574732"/>
                  <a:gd name="connsiteY1377" fmla="*/ 343895 h 1473560"/>
                  <a:gd name="connsiteX1378" fmla="*/ 3253740 w 3574732"/>
                  <a:gd name="connsiteY1378" fmla="*/ 336275 h 1473560"/>
                  <a:gd name="connsiteX1379" fmla="*/ 3258503 w 3574732"/>
                  <a:gd name="connsiteY1379" fmla="*/ 332465 h 1473560"/>
                  <a:gd name="connsiteX1380" fmla="*/ 3274695 w 3574732"/>
                  <a:gd name="connsiteY1380" fmla="*/ 321988 h 1473560"/>
                  <a:gd name="connsiteX1381" fmla="*/ 3301365 w 3574732"/>
                  <a:gd name="connsiteY1381" fmla="*/ 315320 h 1473560"/>
                  <a:gd name="connsiteX1382" fmla="*/ 3317558 w 3574732"/>
                  <a:gd name="connsiteY1382" fmla="*/ 304843 h 1473560"/>
                  <a:gd name="connsiteX1383" fmla="*/ 3336608 w 3574732"/>
                  <a:gd name="connsiteY1383" fmla="*/ 306748 h 1473560"/>
                  <a:gd name="connsiteX1384" fmla="*/ 3358515 w 3574732"/>
                  <a:gd name="connsiteY1384" fmla="*/ 309605 h 1473560"/>
                  <a:gd name="connsiteX1385" fmla="*/ 3407093 w 3574732"/>
                  <a:gd name="connsiteY1385" fmla="*/ 300080 h 1473560"/>
                  <a:gd name="connsiteX1386" fmla="*/ 3403283 w 3574732"/>
                  <a:gd name="connsiteY1386" fmla="*/ 291508 h 1473560"/>
                  <a:gd name="connsiteX1387" fmla="*/ 3380423 w 3574732"/>
                  <a:gd name="connsiteY1387" fmla="*/ 282935 h 1473560"/>
                  <a:gd name="connsiteX1388" fmla="*/ 3364230 w 3574732"/>
                  <a:gd name="connsiteY1388" fmla="*/ 270553 h 1473560"/>
                  <a:gd name="connsiteX1389" fmla="*/ 3358515 w 3574732"/>
                  <a:gd name="connsiteY1389" fmla="*/ 260075 h 1473560"/>
                  <a:gd name="connsiteX1390" fmla="*/ 3369945 w 3574732"/>
                  <a:gd name="connsiteY1390" fmla="*/ 260075 h 1473560"/>
                  <a:gd name="connsiteX1391" fmla="*/ 3397568 w 3574732"/>
                  <a:gd name="connsiteY1391" fmla="*/ 257218 h 1473560"/>
                  <a:gd name="connsiteX1392" fmla="*/ 3405188 w 3574732"/>
                  <a:gd name="connsiteY1392" fmla="*/ 249598 h 1473560"/>
                  <a:gd name="connsiteX1393" fmla="*/ 3408045 w 3574732"/>
                  <a:gd name="connsiteY1393" fmla="*/ 244835 h 1473560"/>
                  <a:gd name="connsiteX1394" fmla="*/ 3415665 w 3574732"/>
                  <a:gd name="connsiteY1394" fmla="*/ 241025 h 1473560"/>
                  <a:gd name="connsiteX1395" fmla="*/ 3424238 w 3574732"/>
                  <a:gd name="connsiteY1395" fmla="*/ 241025 h 1473560"/>
                  <a:gd name="connsiteX1396" fmla="*/ 3432810 w 3574732"/>
                  <a:gd name="connsiteY1396" fmla="*/ 242930 h 1473560"/>
                  <a:gd name="connsiteX1397" fmla="*/ 3449003 w 3574732"/>
                  <a:gd name="connsiteY1397" fmla="*/ 250550 h 1473560"/>
                  <a:gd name="connsiteX1398" fmla="*/ 3456623 w 3574732"/>
                  <a:gd name="connsiteY1398" fmla="*/ 253408 h 1473560"/>
                  <a:gd name="connsiteX1399" fmla="*/ 3472815 w 3574732"/>
                  <a:gd name="connsiteY1399" fmla="*/ 257218 h 1473560"/>
                  <a:gd name="connsiteX1400" fmla="*/ 3494723 w 3574732"/>
                  <a:gd name="connsiteY1400" fmla="*/ 260075 h 1473560"/>
                  <a:gd name="connsiteX1401" fmla="*/ 3519488 w 3574732"/>
                  <a:gd name="connsiteY1401" fmla="*/ 266743 h 1473560"/>
                  <a:gd name="connsiteX1402" fmla="*/ 3535680 w 3574732"/>
                  <a:gd name="connsiteY1402" fmla="*/ 265790 h 1473560"/>
                  <a:gd name="connsiteX1403" fmla="*/ 3549015 w 3574732"/>
                  <a:gd name="connsiteY1403" fmla="*/ 255313 h 1473560"/>
                  <a:gd name="connsiteX1404" fmla="*/ 3551873 w 3574732"/>
                  <a:gd name="connsiteY1404" fmla="*/ 243883 h 1473560"/>
                  <a:gd name="connsiteX1405" fmla="*/ 3560445 w 3574732"/>
                  <a:gd name="connsiteY1405" fmla="*/ 241025 h 1473560"/>
                  <a:gd name="connsiteX1406" fmla="*/ 3569018 w 3574732"/>
                  <a:gd name="connsiteY1406" fmla="*/ 237215 h 1473560"/>
                  <a:gd name="connsiteX1407" fmla="*/ 3574733 w 3574732"/>
                  <a:gd name="connsiteY1407" fmla="*/ 230548 h 1473560"/>
                  <a:gd name="connsiteX1408" fmla="*/ 3568065 w 3574732"/>
                  <a:gd name="connsiteY1408" fmla="*/ 231500 h 1473560"/>
                  <a:gd name="connsiteX1409" fmla="*/ 601028 w 3574732"/>
                  <a:gd name="connsiteY1409" fmla="*/ 290555 h 1473560"/>
                  <a:gd name="connsiteX1410" fmla="*/ 601028 w 3574732"/>
                  <a:gd name="connsiteY1410" fmla="*/ 290555 h 1473560"/>
                  <a:gd name="connsiteX1411" fmla="*/ 601028 w 3574732"/>
                  <a:gd name="connsiteY1411" fmla="*/ 290555 h 1473560"/>
                  <a:gd name="connsiteX1412" fmla="*/ 874395 w 3574732"/>
                  <a:gd name="connsiteY1412" fmla="*/ 1083035 h 1473560"/>
                  <a:gd name="connsiteX1413" fmla="*/ 867728 w 3574732"/>
                  <a:gd name="connsiteY1413" fmla="*/ 1091608 h 1473560"/>
                  <a:gd name="connsiteX1414" fmla="*/ 861060 w 3574732"/>
                  <a:gd name="connsiteY1414" fmla="*/ 1097323 h 1473560"/>
                  <a:gd name="connsiteX1415" fmla="*/ 849630 w 3574732"/>
                  <a:gd name="connsiteY1415" fmla="*/ 1106848 h 1473560"/>
                  <a:gd name="connsiteX1416" fmla="*/ 838200 w 3574732"/>
                  <a:gd name="connsiteY1416" fmla="*/ 1104943 h 1473560"/>
                  <a:gd name="connsiteX1417" fmla="*/ 841058 w 3574732"/>
                  <a:gd name="connsiteY1417" fmla="*/ 1096370 h 1473560"/>
                  <a:gd name="connsiteX1418" fmla="*/ 839153 w 3574732"/>
                  <a:gd name="connsiteY1418" fmla="*/ 1091608 h 1473560"/>
                  <a:gd name="connsiteX1419" fmla="*/ 845820 w 3574732"/>
                  <a:gd name="connsiteY1419" fmla="*/ 1085893 h 1473560"/>
                  <a:gd name="connsiteX1420" fmla="*/ 859155 w 3574732"/>
                  <a:gd name="connsiteY1420" fmla="*/ 1084940 h 1473560"/>
                  <a:gd name="connsiteX1421" fmla="*/ 874395 w 3574732"/>
                  <a:gd name="connsiteY1421" fmla="*/ 1083035 h 1473560"/>
                  <a:gd name="connsiteX1422" fmla="*/ 1003935 w 3574732"/>
                  <a:gd name="connsiteY1422" fmla="*/ 591545 h 1473560"/>
                  <a:gd name="connsiteX1423" fmla="*/ 995363 w 3574732"/>
                  <a:gd name="connsiteY1423" fmla="*/ 595355 h 1473560"/>
                  <a:gd name="connsiteX1424" fmla="*/ 986790 w 3574732"/>
                  <a:gd name="connsiteY1424" fmla="*/ 595355 h 1473560"/>
                  <a:gd name="connsiteX1425" fmla="*/ 978218 w 3574732"/>
                  <a:gd name="connsiteY1425" fmla="*/ 595355 h 1473560"/>
                  <a:gd name="connsiteX1426" fmla="*/ 958215 w 3574732"/>
                  <a:gd name="connsiteY1426" fmla="*/ 593450 h 1473560"/>
                  <a:gd name="connsiteX1427" fmla="*/ 918210 w 3574732"/>
                  <a:gd name="connsiteY1427" fmla="*/ 588688 h 1473560"/>
                  <a:gd name="connsiteX1428" fmla="*/ 901065 w 3574732"/>
                  <a:gd name="connsiteY1428" fmla="*/ 588688 h 1473560"/>
                  <a:gd name="connsiteX1429" fmla="*/ 885825 w 3574732"/>
                  <a:gd name="connsiteY1429" fmla="*/ 588688 h 1473560"/>
                  <a:gd name="connsiteX1430" fmla="*/ 868680 w 3574732"/>
                  <a:gd name="connsiteY1430" fmla="*/ 585830 h 1473560"/>
                  <a:gd name="connsiteX1431" fmla="*/ 846773 w 3574732"/>
                  <a:gd name="connsiteY1431" fmla="*/ 586783 h 1473560"/>
                  <a:gd name="connsiteX1432" fmla="*/ 824865 w 3574732"/>
                  <a:gd name="connsiteY1432" fmla="*/ 589640 h 1473560"/>
                  <a:gd name="connsiteX1433" fmla="*/ 813435 w 3574732"/>
                  <a:gd name="connsiteY1433" fmla="*/ 589640 h 1473560"/>
                  <a:gd name="connsiteX1434" fmla="*/ 802005 w 3574732"/>
                  <a:gd name="connsiteY1434" fmla="*/ 589640 h 1473560"/>
                  <a:gd name="connsiteX1435" fmla="*/ 791528 w 3574732"/>
                  <a:gd name="connsiteY1435" fmla="*/ 586783 h 1473560"/>
                  <a:gd name="connsiteX1436" fmla="*/ 791528 w 3574732"/>
                  <a:gd name="connsiteY1436" fmla="*/ 577258 h 1473560"/>
                  <a:gd name="connsiteX1437" fmla="*/ 802958 w 3574732"/>
                  <a:gd name="connsiteY1437" fmla="*/ 565828 h 1473560"/>
                  <a:gd name="connsiteX1438" fmla="*/ 807720 w 3574732"/>
                  <a:gd name="connsiteY1438" fmla="*/ 560113 h 1473560"/>
                  <a:gd name="connsiteX1439" fmla="*/ 809625 w 3574732"/>
                  <a:gd name="connsiteY1439" fmla="*/ 553445 h 1473560"/>
                  <a:gd name="connsiteX1440" fmla="*/ 821055 w 3574732"/>
                  <a:gd name="connsiteY1440" fmla="*/ 544873 h 1473560"/>
                  <a:gd name="connsiteX1441" fmla="*/ 827723 w 3574732"/>
                  <a:gd name="connsiteY1441" fmla="*/ 538205 h 1473560"/>
                  <a:gd name="connsiteX1442" fmla="*/ 845820 w 3574732"/>
                  <a:gd name="connsiteY1442" fmla="*/ 529633 h 1473560"/>
                  <a:gd name="connsiteX1443" fmla="*/ 854393 w 3574732"/>
                  <a:gd name="connsiteY1443" fmla="*/ 529633 h 1473560"/>
                  <a:gd name="connsiteX1444" fmla="*/ 867728 w 3574732"/>
                  <a:gd name="connsiteY1444" fmla="*/ 529633 h 1473560"/>
                  <a:gd name="connsiteX1445" fmla="*/ 881063 w 3574732"/>
                  <a:gd name="connsiteY1445" fmla="*/ 537253 h 1473560"/>
                  <a:gd name="connsiteX1446" fmla="*/ 884873 w 3574732"/>
                  <a:gd name="connsiteY1446" fmla="*/ 545825 h 1473560"/>
                  <a:gd name="connsiteX1447" fmla="*/ 906780 w 3574732"/>
                  <a:gd name="connsiteY1447" fmla="*/ 550588 h 1473560"/>
                  <a:gd name="connsiteX1448" fmla="*/ 928688 w 3574732"/>
                  <a:gd name="connsiteY1448" fmla="*/ 546778 h 1473560"/>
                  <a:gd name="connsiteX1449" fmla="*/ 926783 w 3574732"/>
                  <a:gd name="connsiteY1449" fmla="*/ 541063 h 1473560"/>
                  <a:gd name="connsiteX1450" fmla="*/ 926783 w 3574732"/>
                  <a:gd name="connsiteY1450" fmla="*/ 531538 h 1473560"/>
                  <a:gd name="connsiteX1451" fmla="*/ 942023 w 3574732"/>
                  <a:gd name="connsiteY1451" fmla="*/ 519155 h 1473560"/>
                  <a:gd name="connsiteX1452" fmla="*/ 948690 w 3574732"/>
                  <a:gd name="connsiteY1452" fmla="*/ 527728 h 1473560"/>
                  <a:gd name="connsiteX1453" fmla="*/ 948690 w 3574732"/>
                  <a:gd name="connsiteY1453" fmla="*/ 534395 h 1473560"/>
                  <a:gd name="connsiteX1454" fmla="*/ 946785 w 3574732"/>
                  <a:gd name="connsiteY1454" fmla="*/ 538205 h 1473560"/>
                  <a:gd name="connsiteX1455" fmla="*/ 953453 w 3574732"/>
                  <a:gd name="connsiteY1455" fmla="*/ 546778 h 1473560"/>
                  <a:gd name="connsiteX1456" fmla="*/ 972503 w 3574732"/>
                  <a:gd name="connsiteY1456" fmla="*/ 561065 h 1473560"/>
                  <a:gd name="connsiteX1457" fmla="*/ 987743 w 3574732"/>
                  <a:gd name="connsiteY1457" fmla="*/ 571543 h 1473560"/>
                  <a:gd name="connsiteX1458" fmla="*/ 998220 w 3574732"/>
                  <a:gd name="connsiteY1458" fmla="*/ 579163 h 1473560"/>
                  <a:gd name="connsiteX1459" fmla="*/ 1004888 w 3574732"/>
                  <a:gd name="connsiteY1459" fmla="*/ 584878 h 1473560"/>
                  <a:gd name="connsiteX1460" fmla="*/ 1003935 w 3574732"/>
                  <a:gd name="connsiteY1460" fmla="*/ 591545 h 1473560"/>
                  <a:gd name="connsiteX1461" fmla="*/ 1239203 w 3574732"/>
                  <a:gd name="connsiteY1461" fmla="*/ 609643 h 1473560"/>
                  <a:gd name="connsiteX1462" fmla="*/ 1230630 w 3574732"/>
                  <a:gd name="connsiteY1462" fmla="*/ 612500 h 1473560"/>
                  <a:gd name="connsiteX1463" fmla="*/ 1212533 w 3574732"/>
                  <a:gd name="connsiteY1463" fmla="*/ 622025 h 1473560"/>
                  <a:gd name="connsiteX1464" fmla="*/ 1212533 w 3574732"/>
                  <a:gd name="connsiteY1464" fmla="*/ 627740 h 1473560"/>
                  <a:gd name="connsiteX1465" fmla="*/ 1212533 w 3574732"/>
                  <a:gd name="connsiteY1465" fmla="*/ 633455 h 1473560"/>
                  <a:gd name="connsiteX1466" fmla="*/ 1214438 w 3574732"/>
                  <a:gd name="connsiteY1466" fmla="*/ 637265 h 1473560"/>
                  <a:gd name="connsiteX1467" fmla="*/ 1196340 w 3574732"/>
                  <a:gd name="connsiteY1467" fmla="*/ 645838 h 1473560"/>
                  <a:gd name="connsiteX1468" fmla="*/ 1183005 w 3574732"/>
                  <a:gd name="connsiteY1468" fmla="*/ 645838 h 1473560"/>
                  <a:gd name="connsiteX1469" fmla="*/ 1169670 w 3574732"/>
                  <a:gd name="connsiteY1469" fmla="*/ 642980 h 1473560"/>
                  <a:gd name="connsiteX1470" fmla="*/ 1157288 w 3574732"/>
                  <a:gd name="connsiteY1470" fmla="*/ 625835 h 1473560"/>
                  <a:gd name="connsiteX1471" fmla="*/ 1150620 w 3574732"/>
                  <a:gd name="connsiteY1471" fmla="*/ 614405 h 1473560"/>
                  <a:gd name="connsiteX1472" fmla="*/ 1143953 w 3574732"/>
                  <a:gd name="connsiteY1472" fmla="*/ 600118 h 1473560"/>
                  <a:gd name="connsiteX1473" fmla="*/ 1123950 w 3574732"/>
                  <a:gd name="connsiteY1473" fmla="*/ 586783 h 1473560"/>
                  <a:gd name="connsiteX1474" fmla="*/ 1115378 w 3574732"/>
                  <a:gd name="connsiteY1474" fmla="*/ 571543 h 1473560"/>
                  <a:gd name="connsiteX1475" fmla="*/ 1113473 w 3574732"/>
                  <a:gd name="connsiteY1475" fmla="*/ 559160 h 1473560"/>
                  <a:gd name="connsiteX1476" fmla="*/ 1113473 w 3574732"/>
                  <a:gd name="connsiteY1476" fmla="*/ 550588 h 1473560"/>
                  <a:gd name="connsiteX1477" fmla="*/ 1116330 w 3574732"/>
                  <a:gd name="connsiteY1477" fmla="*/ 539158 h 1473560"/>
                  <a:gd name="connsiteX1478" fmla="*/ 1129665 w 3574732"/>
                  <a:gd name="connsiteY1478" fmla="*/ 535348 h 1473560"/>
                  <a:gd name="connsiteX1479" fmla="*/ 1163003 w 3574732"/>
                  <a:gd name="connsiteY1479" fmla="*/ 531538 h 1473560"/>
                  <a:gd name="connsiteX1480" fmla="*/ 1196340 w 3574732"/>
                  <a:gd name="connsiteY1480" fmla="*/ 527728 h 1473560"/>
                  <a:gd name="connsiteX1481" fmla="*/ 1201103 w 3574732"/>
                  <a:gd name="connsiteY1481" fmla="*/ 531538 h 1473560"/>
                  <a:gd name="connsiteX1482" fmla="*/ 1187768 w 3574732"/>
                  <a:gd name="connsiteY1482" fmla="*/ 540110 h 1473560"/>
                  <a:gd name="connsiteX1483" fmla="*/ 1176338 w 3574732"/>
                  <a:gd name="connsiteY1483" fmla="*/ 545825 h 1473560"/>
                  <a:gd name="connsiteX1484" fmla="*/ 1176338 w 3574732"/>
                  <a:gd name="connsiteY1484" fmla="*/ 557255 h 1473560"/>
                  <a:gd name="connsiteX1485" fmla="*/ 1176338 w 3574732"/>
                  <a:gd name="connsiteY1485" fmla="*/ 568685 h 1473560"/>
                  <a:gd name="connsiteX1486" fmla="*/ 1206818 w 3574732"/>
                  <a:gd name="connsiteY1486" fmla="*/ 584878 h 1473560"/>
                  <a:gd name="connsiteX1487" fmla="*/ 1222058 w 3574732"/>
                  <a:gd name="connsiteY1487" fmla="*/ 587735 h 1473560"/>
                  <a:gd name="connsiteX1488" fmla="*/ 1237298 w 3574732"/>
                  <a:gd name="connsiteY1488" fmla="*/ 593450 h 1473560"/>
                  <a:gd name="connsiteX1489" fmla="*/ 1243965 w 3574732"/>
                  <a:gd name="connsiteY1489" fmla="*/ 599165 h 1473560"/>
                  <a:gd name="connsiteX1490" fmla="*/ 1239203 w 3574732"/>
                  <a:gd name="connsiteY1490" fmla="*/ 609643 h 1473560"/>
                  <a:gd name="connsiteX1491" fmla="*/ 1342073 w 3574732"/>
                  <a:gd name="connsiteY1491" fmla="*/ 556303 h 1473560"/>
                  <a:gd name="connsiteX1492" fmla="*/ 1335405 w 3574732"/>
                  <a:gd name="connsiteY1492" fmla="*/ 562970 h 1473560"/>
                  <a:gd name="connsiteX1493" fmla="*/ 1322070 w 3574732"/>
                  <a:gd name="connsiteY1493" fmla="*/ 562970 h 1473560"/>
                  <a:gd name="connsiteX1494" fmla="*/ 1308735 w 3574732"/>
                  <a:gd name="connsiteY1494" fmla="*/ 554398 h 1473560"/>
                  <a:gd name="connsiteX1495" fmla="*/ 1311593 w 3574732"/>
                  <a:gd name="connsiteY1495" fmla="*/ 542015 h 1473560"/>
                  <a:gd name="connsiteX1496" fmla="*/ 1316355 w 3574732"/>
                  <a:gd name="connsiteY1496" fmla="*/ 536300 h 1473560"/>
                  <a:gd name="connsiteX1497" fmla="*/ 1333500 w 3574732"/>
                  <a:gd name="connsiteY1497" fmla="*/ 536300 h 1473560"/>
                  <a:gd name="connsiteX1498" fmla="*/ 1342073 w 3574732"/>
                  <a:gd name="connsiteY1498" fmla="*/ 548683 h 1473560"/>
                  <a:gd name="connsiteX1499" fmla="*/ 1342073 w 3574732"/>
                  <a:gd name="connsiteY1499" fmla="*/ 556303 h 147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Lst>
                <a:rect l="l" t="t" r="r" b="b"/>
                <a:pathLst>
                  <a:path w="3574732" h="1473560">
                    <a:moveTo>
                      <a:pt x="3568065" y="231500"/>
                    </a:moveTo>
                    <a:cubicBezTo>
                      <a:pt x="3568065" y="231500"/>
                      <a:pt x="3568065" y="231500"/>
                      <a:pt x="3562350" y="230548"/>
                    </a:cubicBezTo>
                    <a:cubicBezTo>
                      <a:pt x="3556635" y="229595"/>
                      <a:pt x="3549015" y="230548"/>
                      <a:pt x="3549015" y="230548"/>
                    </a:cubicBezTo>
                    <a:cubicBezTo>
                      <a:pt x="3549015" y="230548"/>
                      <a:pt x="3534728" y="230548"/>
                      <a:pt x="3529965" y="230548"/>
                    </a:cubicBezTo>
                    <a:cubicBezTo>
                      <a:pt x="3525203" y="230548"/>
                      <a:pt x="3516630" y="234358"/>
                      <a:pt x="3511868" y="233405"/>
                    </a:cubicBezTo>
                    <a:cubicBezTo>
                      <a:pt x="3507105" y="232453"/>
                      <a:pt x="3504248" y="231500"/>
                      <a:pt x="3504248" y="231500"/>
                    </a:cubicBezTo>
                    <a:cubicBezTo>
                      <a:pt x="3504248" y="231500"/>
                      <a:pt x="3498533" y="230548"/>
                      <a:pt x="3489960" y="225785"/>
                    </a:cubicBezTo>
                    <a:cubicBezTo>
                      <a:pt x="3481388" y="221023"/>
                      <a:pt x="3489960" y="225785"/>
                      <a:pt x="3489008" y="222928"/>
                    </a:cubicBezTo>
                    <a:cubicBezTo>
                      <a:pt x="3487103" y="220070"/>
                      <a:pt x="3480435" y="214355"/>
                      <a:pt x="3480435" y="214355"/>
                    </a:cubicBezTo>
                    <a:lnTo>
                      <a:pt x="3476625" y="206735"/>
                    </a:lnTo>
                    <a:lnTo>
                      <a:pt x="3462338" y="201973"/>
                    </a:lnTo>
                    <a:lnTo>
                      <a:pt x="3456623" y="198163"/>
                    </a:lnTo>
                    <a:lnTo>
                      <a:pt x="3442335" y="194353"/>
                    </a:lnTo>
                    <a:cubicBezTo>
                      <a:pt x="3442335" y="194353"/>
                      <a:pt x="3442335" y="194353"/>
                      <a:pt x="3441383" y="191495"/>
                    </a:cubicBezTo>
                    <a:cubicBezTo>
                      <a:pt x="3440430" y="188638"/>
                      <a:pt x="3419475" y="185780"/>
                      <a:pt x="3419475" y="185780"/>
                    </a:cubicBezTo>
                    <a:cubicBezTo>
                      <a:pt x="3419475" y="185780"/>
                      <a:pt x="3408998" y="182923"/>
                      <a:pt x="3406140" y="180065"/>
                    </a:cubicBezTo>
                    <a:cubicBezTo>
                      <a:pt x="3403283" y="177208"/>
                      <a:pt x="3389948" y="177208"/>
                      <a:pt x="3389948" y="177208"/>
                    </a:cubicBezTo>
                    <a:cubicBezTo>
                      <a:pt x="3389948" y="177208"/>
                      <a:pt x="3368040" y="175303"/>
                      <a:pt x="3362325" y="172445"/>
                    </a:cubicBezTo>
                    <a:cubicBezTo>
                      <a:pt x="3356610" y="169588"/>
                      <a:pt x="3354705" y="172445"/>
                      <a:pt x="3348990" y="172445"/>
                    </a:cubicBezTo>
                    <a:cubicBezTo>
                      <a:pt x="3343275" y="172445"/>
                      <a:pt x="3340418" y="172445"/>
                      <a:pt x="3334703" y="172445"/>
                    </a:cubicBezTo>
                    <a:cubicBezTo>
                      <a:pt x="3328988" y="172445"/>
                      <a:pt x="3323273" y="172445"/>
                      <a:pt x="3318510" y="172445"/>
                    </a:cubicBezTo>
                    <a:cubicBezTo>
                      <a:pt x="3313748" y="172445"/>
                      <a:pt x="3301365" y="170540"/>
                      <a:pt x="3301365" y="170540"/>
                    </a:cubicBezTo>
                    <a:lnTo>
                      <a:pt x="3277553" y="166730"/>
                    </a:lnTo>
                    <a:lnTo>
                      <a:pt x="3255645" y="168635"/>
                    </a:lnTo>
                    <a:lnTo>
                      <a:pt x="3247073" y="170540"/>
                    </a:lnTo>
                    <a:lnTo>
                      <a:pt x="3244215" y="184828"/>
                    </a:lnTo>
                    <a:lnTo>
                      <a:pt x="3238500" y="185780"/>
                    </a:lnTo>
                    <a:cubicBezTo>
                      <a:pt x="3238500" y="185780"/>
                      <a:pt x="3222308" y="184828"/>
                      <a:pt x="3219450" y="180065"/>
                    </a:cubicBezTo>
                    <a:cubicBezTo>
                      <a:pt x="3216593" y="175303"/>
                      <a:pt x="3219450" y="180065"/>
                      <a:pt x="3221355" y="172445"/>
                    </a:cubicBezTo>
                    <a:lnTo>
                      <a:pt x="3218498" y="162920"/>
                    </a:lnTo>
                    <a:lnTo>
                      <a:pt x="3197543" y="162920"/>
                    </a:lnTo>
                    <a:cubicBezTo>
                      <a:pt x="3197543" y="162920"/>
                      <a:pt x="3189923" y="164825"/>
                      <a:pt x="3176588" y="166730"/>
                    </a:cubicBezTo>
                    <a:cubicBezTo>
                      <a:pt x="3163253" y="168635"/>
                      <a:pt x="3176588" y="166730"/>
                      <a:pt x="3168015" y="168635"/>
                    </a:cubicBezTo>
                    <a:cubicBezTo>
                      <a:pt x="3159443" y="170540"/>
                      <a:pt x="3157538" y="169588"/>
                      <a:pt x="3148965" y="169588"/>
                    </a:cubicBezTo>
                    <a:cubicBezTo>
                      <a:pt x="3140393" y="169588"/>
                      <a:pt x="3138488" y="169588"/>
                      <a:pt x="3138488" y="169588"/>
                    </a:cubicBezTo>
                    <a:cubicBezTo>
                      <a:pt x="3138488" y="169588"/>
                      <a:pt x="3125153" y="169588"/>
                      <a:pt x="3098483" y="168635"/>
                    </a:cubicBezTo>
                    <a:cubicBezTo>
                      <a:pt x="3071813" y="167683"/>
                      <a:pt x="3082290" y="167683"/>
                      <a:pt x="3076575" y="165778"/>
                    </a:cubicBezTo>
                    <a:cubicBezTo>
                      <a:pt x="3070860" y="163873"/>
                      <a:pt x="3070860" y="161968"/>
                      <a:pt x="3063240" y="157205"/>
                    </a:cubicBezTo>
                    <a:cubicBezTo>
                      <a:pt x="3055620" y="152443"/>
                      <a:pt x="3055620" y="150538"/>
                      <a:pt x="3055620" y="150538"/>
                    </a:cubicBezTo>
                    <a:lnTo>
                      <a:pt x="3049905" y="147680"/>
                    </a:lnTo>
                    <a:lnTo>
                      <a:pt x="3016568" y="147680"/>
                    </a:lnTo>
                    <a:lnTo>
                      <a:pt x="3002280" y="147680"/>
                    </a:lnTo>
                    <a:cubicBezTo>
                      <a:pt x="3002280" y="147680"/>
                      <a:pt x="2986088" y="147680"/>
                      <a:pt x="2980373" y="144823"/>
                    </a:cubicBezTo>
                    <a:cubicBezTo>
                      <a:pt x="2974658" y="141965"/>
                      <a:pt x="2963228" y="144823"/>
                      <a:pt x="2952750" y="141965"/>
                    </a:cubicBezTo>
                    <a:cubicBezTo>
                      <a:pt x="2942273" y="139108"/>
                      <a:pt x="2942273" y="139108"/>
                      <a:pt x="2938463" y="137203"/>
                    </a:cubicBezTo>
                    <a:cubicBezTo>
                      <a:pt x="2933700" y="135298"/>
                      <a:pt x="2929890" y="136250"/>
                      <a:pt x="2919413" y="131488"/>
                    </a:cubicBezTo>
                    <a:cubicBezTo>
                      <a:pt x="2908935" y="126725"/>
                      <a:pt x="2919413" y="131488"/>
                      <a:pt x="2913698" y="129583"/>
                    </a:cubicBezTo>
                    <a:cubicBezTo>
                      <a:pt x="2907983" y="127678"/>
                      <a:pt x="2892743" y="128630"/>
                      <a:pt x="2892743" y="128630"/>
                    </a:cubicBezTo>
                    <a:cubicBezTo>
                      <a:pt x="2892743" y="128630"/>
                      <a:pt x="2878455" y="128630"/>
                      <a:pt x="2873693" y="126725"/>
                    </a:cubicBezTo>
                    <a:cubicBezTo>
                      <a:pt x="2868930" y="124820"/>
                      <a:pt x="2873693" y="126725"/>
                      <a:pt x="2868930" y="124820"/>
                    </a:cubicBezTo>
                    <a:cubicBezTo>
                      <a:pt x="2864168" y="122915"/>
                      <a:pt x="2861310" y="123868"/>
                      <a:pt x="2851785" y="120058"/>
                    </a:cubicBezTo>
                    <a:cubicBezTo>
                      <a:pt x="2841308" y="116248"/>
                      <a:pt x="2840355" y="120058"/>
                      <a:pt x="2834640" y="115295"/>
                    </a:cubicBezTo>
                    <a:cubicBezTo>
                      <a:pt x="2828925" y="110533"/>
                      <a:pt x="2821305" y="114343"/>
                      <a:pt x="2817495" y="113390"/>
                    </a:cubicBezTo>
                    <a:cubicBezTo>
                      <a:pt x="2812733" y="112438"/>
                      <a:pt x="2806065" y="112438"/>
                      <a:pt x="2800350" y="112438"/>
                    </a:cubicBezTo>
                    <a:cubicBezTo>
                      <a:pt x="2794635" y="112438"/>
                      <a:pt x="2789873" y="114343"/>
                      <a:pt x="2785110" y="114343"/>
                    </a:cubicBezTo>
                    <a:cubicBezTo>
                      <a:pt x="2780348" y="114343"/>
                      <a:pt x="2767965" y="113390"/>
                      <a:pt x="2761298" y="113390"/>
                    </a:cubicBezTo>
                    <a:cubicBezTo>
                      <a:pt x="2755583" y="113390"/>
                      <a:pt x="2749868" y="113390"/>
                      <a:pt x="2740343" y="113390"/>
                    </a:cubicBezTo>
                    <a:cubicBezTo>
                      <a:pt x="2731770" y="113390"/>
                      <a:pt x="2718435" y="121963"/>
                      <a:pt x="2718435" y="121963"/>
                    </a:cubicBezTo>
                    <a:cubicBezTo>
                      <a:pt x="2718435" y="121963"/>
                      <a:pt x="2718435" y="121963"/>
                      <a:pt x="2713673" y="121963"/>
                    </a:cubicBezTo>
                    <a:cubicBezTo>
                      <a:pt x="2708910" y="121963"/>
                      <a:pt x="2708910" y="126725"/>
                      <a:pt x="2708910" y="126725"/>
                    </a:cubicBezTo>
                    <a:lnTo>
                      <a:pt x="2704148" y="133393"/>
                    </a:lnTo>
                    <a:lnTo>
                      <a:pt x="2692718" y="133393"/>
                    </a:lnTo>
                    <a:lnTo>
                      <a:pt x="2676525" y="133393"/>
                    </a:lnTo>
                    <a:lnTo>
                      <a:pt x="2654618" y="133393"/>
                    </a:lnTo>
                    <a:lnTo>
                      <a:pt x="2646998" y="139108"/>
                    </a:lnTo>
                    <a:cubicBezTo>
                      <a:pt x="2646998" y="139108"/>
                      <a:pt x="2639378" y="140060"/>
                      <a:pt x="2635568" y="140060"/>
                    </a:cubicBezTo>
                    <a:cubicBezTo>
                      <a:pt x="2630805" y="140060"/>
                      <a:pt x="2616518" y="140060"/>
                      <a:pt x="2616518" y="140060"/>
                    </a:cubicBezTo>
                    <a:cubicBezTo>
                      <a:pt x="2616518" y="140060"/>
                      <a:pt x="2610803" y="139108"/>
                      <a:pt x="2606040" y="133393"/>
                    </a:cubicBezTo>
                    <a:cubicBezTo>
                      <a:pt x="2602230" y="127678"/>
                      <a:pt x="2606040" y="133393"/>
                      <a:pt x="2606040" y="130535"/>
                    </a:cubicBezTo>
                    <a:cubicBezTo>
                      <a:pt x="2606040" y="127678"/>
                      <a:pt x="2597468" y="128630"/>
                      <a:pt x="2597468" y="128630"/>
                    </a:cubicBezTo>
                    <a:lnTo>
                      <a:pt x="2586038" y="128630"/>
                    </a:lnTo>
                    <a:lnTo>
                      <a:pt x="2578418" y="132440"/>
                    </a:lnTo>
                    <a:lnTo>
                      <a:pt x="2572703" y="141965"/>
                    </a:lnTo>
                    <a:lnTo>
                      <a:pt x="2562225" y="141965"/>
                    </a:lnTo>
                    <a:cubicBezTo>
                      <a:pt x="2562225" y="141965"/>
                      <a:pt x="2548890" y="140060"/>
                      <a:pt x="2545080" y="139108"/>
                    </a:cubicBezTo>
                    <a:cubicBezTo>
                      <a:pt x="2540318" y="138155"/>
                      <a:pt x="2533650" y="135298"/>
                      <a:pt x="2530793" y="130535"/>
                    </a:cubicBezTo>
                    <a:cubicBezTo>
                      <a:pt x="2527935" y="125773"/>
                      <a:pt x="2527935" y="124820"/>
                      <a:pt x="2527935" y="117200"/>
                    </a:cubicBezTo>
                    <a:cubicBezTo>
                      <a:pt x="2527935" y="109580"/>
                      <a:pt x="2526983" y="109580"/>
                      <a:pt x="2526983" y="109580"/>
                    </a:cubicBezTo>
                    <a:lnTo>
                      <a:pt x="2521268" y="104818"/>
                    </a:lnTo>
                    <a:lnTo>
                      <a:pt x="2506980" y="100055"/>
                    </a:lnTo>
                    <a:lnTo>
                      <a:pt x="2499360" y="98150"/>
                    </a:lnTo>
                    <a:lnTo>
                      <a:pt x="2480310" y="95293"/>
                    </a:lnTo>
                    <a:lnTo>
                      <a:pt x="2450783" y="94340"/>
                    </a:lnTo>
                    <a:lnTo>
                      <a:pt x="2443163" y="97198"/>
                    </a:lnTo>
                    <a:lnTo>
                      <a:pt x="2430780" y="104818"/>
                    </a:lnTo>
                    <a:cubicBezTo>
                      <a:pt x="2430780" y="104818"/>
                      <a:pt x="2430780" y="104818"/>
                      <a:pt x="2426018" y="103865"/>
                    </a:cubicBezTo>
                    <a:cubicBezTo>
                      <a:pt x="2421255" y="102913"/>
                      <a:pt x="2412683" y="104818"/>
                      <a:pt x="2407920" y="103865"/>
                    </a:cubicBezTo>
                    <a:cubicBezTo>
                      <a:pt x="2403158" y="102913"/>
                      <a:pt x="2396490" y="102913"/>
                      <a:pt x="2391728" y="101008"/>
                    </a:cubicBezTo>
                    <a:cubicBezTo>
                      <a:pt x="2386965" y="99103"/>
                      <a:pt x="2375535" y="96245"/>
                      <a:pt x="2375535" y="96245"/>
                    </a:cubicBezTo>
                    <a:cubicBezTo>
                      <a:pt x="2375535" y="96245"/>
                      <a:pt x="2375535" y="96245"/>
                      <a:pt x="2370773" y="93388"/>
                    </a:cubicBezTo>
                    <a:cubicBezTo>
                      <a:pt x="2366010" y="90530"/>
                      <a:pt x="2365058" y="91483"/>
                      <a:pt x="2359343" y="90530"/>
                    </a:cubicBezTo>
                    <a:cubicBezTo>
                      <a:pt x="2353628" y="89578"/>
                      <a:pt x="2351723" y="91483"/>
                      <a:pt x="2347913" y="90530"/>
                    </a:cubicBezTo>
                    <a:cubicBezTo>
                      <a:pt x="2343150" y="89578"/>
                      <a:pt x="2339340" y="90530"/>
                      <a:pt x="2339340" y="90530"/>
                    </a:cubicBezTo>
                    <a:lnTo>
                      <a:pt x="2328863" y="90530"/>
                    </a:lnTo>
                    <a:lnTo>
                      <a:pt x="2314575" y="91483"/>
                    </a:lnTo>
                    <a:cubicBezTo>
                      <a:pt x="2314575" y="91483"/>
                      <a:pt x="2308860" y="91483"/>
                      <a:pt x="2304098" y="91483"/>
                    </a:cubicBezTo>
                    <a:cubicBezTo>
                      <a:pt x="2299335" y="91483"/>
                      <a:pt x="2298383" y="91483"/>
                      <a:pt x="2292668" y="91483"/>
                    </a:cubicBezTo>
                    <a:cubicBezTo>
                      <a:pt x="2286953" y="91483"/>
                      <a:pt x="2279333" y="88625"/>
                      <a:pt x="2279333" y="88625"/>
                    </a:cubicBezTo>
                    <a:cubicBezTo>
                      <a:pt x="2279333" y="88625"/>
                      <a:pt x="2267903" y="88625"/>
                      <a:pt x="2262188" y="85768"/>
                    </a:cubicBezTo>
                    <a:cubicBezTo>
                      <a:pt x="2256473" y="82910"/>
                      <a:pt x="2237423" y="84815"/>
                      <a:pt x="2237423" y="84815"/>
                    </a:cubicBezTo>
                    <a:cubicBezTo>
                      <a:pt x="2237423" y="84815"/>
                      <a:pt x="2237423" y="84815"/>
                      <a:pt x="2232660" y="82910"/>
                    </a:cubicBezTo>
                    <a:cubicBezTo>
                      <a:pt x="2227898" y="81005"/>
                      <a:pt x="2225040" y="82910"/>
                      <a:pt x="2225040" y="82910"/>
                    </a:cubicBezTo>
                    <a:lnTo>
                      <a:pt x="2213610" y="85768"/>
                    </a:lnTo>
                    <a:cubicBezTo>
                      <a:pt x="2213610" y="85768"/>
                      <a:pt x="2197418" y="91483"/>
                      <a:pt x="2189798" y="94340"/>
                    </a:cubicBezTo>
                    <a:cubicBezTo>
                      <a:pt x="2189798" y="94340"/>
                      <a:pt x="2176463" y="94340"/>
                      <a:pt x="2170748" y="95293"/>
                    </a:cubicBezTo>
                    <a:cubicBezTo>
                      <a:pt x="2165033" y="96245"/>
                      <a:pt x="2163128" y="97198"/>
                      <a:pt x="2159318" y="99103"/>
                    </a:cubicBezTo>
                    <a:cubicBezTo>
                      <a:pt x="2154555" y="101008"/>
                      <a:pt x="2148840" y="104818"/>
                      <a:pt x="2141220" y="104818"/>
                    </a:cubicBezTo>
                    <a:cubicBezTo>
                      <a:pt x="2133600" y="104818"/>
                      <a:pt x="2141220" y="104818"/>
                      <a:pt x="2127885" y="103865"/>
                    </a:cubicBezTo>
                    <a:cubicBezTo>
                      <a:pt x="2114550" y="102913"/>
                      <a:pt x="2117408" y="101008"/>
                      <a:pt x="2117408" y="101008"/>
                    </a:cubicBezTo>
                    <a:lnTo>
                      <a:pt x="2123123" y="96245"/>
                    </a:lnTo>
                    <a:cubicBezTo>
                      <a:pt x="2123123" y="96245"/>
                      <a:pt x="2144078" y="93388"/>
                      <a:pt x="2146935" y="90530"/>
                    </a:cubicBezTo>
                    <a:cubicBezTo>
                      <a:pt x="2149793" y="87673"/>
                      <a:pt x="2157413" y="86720"/>
                      <a:pt x="2162175" y="84815"/>
                    </a:cubicBezTo>
                    <a:cubicBezTo>
                      <a:pt x="2166938" y="82910"/>
                      <a:pt x="2167890" y="84815"/>
                      <a:pt x="2170748" y="81958"/>
                    </a:cubicBezTo>
                    <a:cubicBezTo>
                      <a:pt x="2173605" y="79100"/>
                      <a:pt x="2192655" y="75290"/>
                      <a:pt x="2194560" y="67670"/>
                    </a:cubicBezTo>
                    <a:cubicBezTo>
                      <a:pt x="2194560" y="67670"/>
                      <a:pt x="2200275" y="67670"/>
                      <a:pt x="2205038" y="67670"/>
                    </a:cubicBezTo>
                    <a:cubicBezTo>
                      <a:pt x="2209800" y="67670"/>
                      <a:pt x="2216468" y="67670"/>
                      <a:pt x="2222183" y="67670"/>
                    </a:cubicBezTo>
                    <a:cubicBezTo>
                      <a:pt x="2227898" y="67670"/>
                      <a:pt x="2241233" y="67670"/>
                      <a:pt x="2241233" y="67670"/>
                    </a:cubicBezTo>
                    <a:lnTo>
                      <a:pt x="2265045" y="61955"/>
                    </a:lnTo>
                    <a:lnTo>
                      <a:pt x="2266950" y="55288"/>
                    </a:lnTo>
                    <a:cubicBezTo>
                      <a:pt x="2266950" y="55288"/>
                      <a:pt x="2268855" y="51478"/>
                      <a:pt x="2265998" y="45763"/>
                    </a:cubicBezTo>
                    <a:cubicBezTo>
                      <a:pt x="2263140" y="40048"/>
                      <a:pt x="2263140" y="38143"/>
                      <a:pt x="2263140" y="38143"/>
                    </a:cubicBezTo>
                    <a:lnTo>
                      <a:pt x="2257425" y="25760"/>
                    </a:lnTo>
                    <a:lnTo>
                      <a:pt x="2241233" y="22903"/>
                    </a:lnTo>
                    <a:lnTo>
                      <a:pt x="2225040" y="19093"/>
                    </a:lnTo>
                    <a:cubicBezTo>
                      <a:pt x="2225040" y="19093"/>
                      <a:pt x="2225040" y="19093"/>
                      <a:pt x="2216468" y="19093"/>
                    </a:cubicBezTo>
                    <a:cubicBezTo>
                      <a:pt x="2207895" y="19093"/>
                      <a:pt x="2216468" y="19093"/>
                      <a:pt x="2211705" y="18140"/>
                    </a:cubicBezTo>
                    <a:cubicBezTo>
                      <a:pt x="2206943" y="17188"/>
                      <a:pt x="2201228" y="20045"/>
                      <a:pt x="2195513" y="19093"/>
                    </a:cubicBezTo>
                    <a:cubicBezTo>
                      <a:pt x="2189798" y="18140"/>
                      <a:pt x="2182178" y="17188"/>
                      <a:pt x="2182178" y="17188"/>
                    </a:cubicBezTo>
                    <a:cubicBezTo>
                      <a:pt x="2182178" y="17188"/>
                      <a:pt x="2170748" y="17188"/>
                      <a:pt x="2161223" y="16235"/>
                    </a:cubicBezTo>
                    <a:cubicBezTo>
                      <a:pt x="2161223" y="16235"/>
                      <a:pt x="2146935" y="17188"/>
                      <a:pt x="2142173" y="16235"/>
                    </a:cubicBezTo>
                    <a:cubicBezTo>
                      <a:pt x="2137410" y="15283"/>
                      <a:pt x="2134553" y="16235"/>
                      <a:pt x="2131695" y="13378"/>
                    </a:cubicBezTo>
                    <a:cubicBezTo>
                      <a:pt x="2128838" y="10520"/>
                      <a:pt x="2130743" y="1948"/>
                      <a:pt x="2130743" y="1948"/>
                    </a:cubicBezTo>
                    <a:lnTo>
                      <a:pt x="2120265" y="995"/>
                    </a:lnTo>
                    <a:lnTo>
                      <a:pt x="2093595" y="1948"/>
                    </a:lnTo>
                    <a:lnTo>
                      <a:pt x="2074545" y="995"/>
                    </a:lnTo>
                    <a:cubicBezTo>
                      <a:pt x="2074545" y="995"/>
                      <a:pt x="2061210" y="995"/>
                      <a:pt x="2057400" y="43"/>
                    </a:cubicBezTo>
                    <a:cubicBezTo>
                      <a:pt x="2052638" y="-910"/>
                      <a:pt x="2052638" y="14330"/>
                      <a:pt x="2052638" y="14330"/>
                    </a:cubicBezTo>
                    <a:lnTo>
                      <a:pt x="2052638" y="19093"/>
                    </a:lnTo>
                    <a:lnTo>
                      <a:pt x="2049780" y="22903"/>
                    </a:lnTo>
                    <a:cubicBezTo>
                      <a:pt x="2049780" y="22903"/>
                      <a:pt x="2042160" y="25760"/>
                      <a:pt x="2038350" y="27665"/>
                    </a:cubicBezTo>
                    <a:cubicBezTo>
                      <a:pt x="2033588" y="29570"/>
                      <a:pt x="2026920" y="31475"/>
                      <a:pt x="2026920" y="31475"/>
                    </a:cubicBezTo>
                    <a:lnTo>
                      <a:pt x="2010728" y="33380"/>
                    </a:lnTo>
                    <a:lnTo>
                      <a:pt x="1985963" y="36238"/>
                    </a:lnTo>
                    <a:cubicBezTo>
                      <a:pt x="1985963" y="36238"/>
                      <a:pt x="1985963" y="36238"/>
                      <a:pt x="1981200" y="35285"/>
                    </a:cubicBezTo>
                    <a:cubicBezTo>
                      <a:pt x="1976438" y="34333"/>
                      <a:pt x="1960245" y="34333"/>
                      <a:pt x="1960245" y="34333"/>
                    </a:cubicBezTo>
                    <a:lnTo>
                      <a:pt x="1949768" y="34333"/>
                    </a:lnTo>
                    <a:lnTo>
                      <a:pt x="1939290" y="35285"/>
                    </a:lnTo>
                    <a:lnTo>
                      <a:pt x="1918335" y="39095"/>
                    </a:lnTo>
                    <a:lnTo>
                      <a:pt x="1897380" y="42905"/>
                    </a:lnTo>
                    <a:lnTo>
                      <a:pt x="1873568" y="46715"/>
                    </a:lnTo>
                    <a:lnTo>
                      <a:pt x="1855470" y="47668"/>
                    </a:lnTo>
                    <a:cubicBezTo>
                      <a:pt x="1855470" y="47668"/>
                      <a:pt x="1855470" y="47668"/>
                      <a:pt x="1850708" y="47668"/>
                    </a:cubicBezTo>
                    <a:cubicBezTo>
                      <a:pt x="1845945" y="47668"/>
                      <a:pt x="1825943" y="54335"/>
                      <a:pt x="1825943" y="54335"/>
                    </a:cubicBezTo>
                    <a:lnTo>
                      <a:pt x="1812608" y="58145"/>
                    </a:lnTo>
                    <a:cubicBezTo>
                      <a:pt x="1812608" y="58145"/>
                      <a:pt x="1807845" y="65765"/>
                      <a:pt x="1804035" y="65765"/>
                    </a:cubicBezTo>
                    <a:cubicBezTo>
                      <a:pt x="1799273" y="65765"/>
                      <a:pt x="1795463" y="74338"/>
                      <a:pt x="1795463" y="74338"/>
                    </a:cubicBezTo>
                    <a:lnTo>
                      <a:pt x="1786890" y="76243"/>
                    </a:lnTo>
                    <a:cubicBezTo>
                      <a:pt x="1786890" y="76243"/>
                      <a:pt x="1775460" y="80053"/>
                      <a:pt x="1770698" y="80053"/>
                    </a:cubicBezTo>
                    <a:cubicBezTo>
                      <a:pt x="1765935" y="80053"/>
                      <a:pt x="1763078" y="85768"/>
                      <a:pt x="1755458" y="86720"/>
                    </a:cubicBezTo>
                    <a:cubicBezTo>
                      <a:pt x="1747838" y="87673"/>
                      <a:pt x="1733550" y="87673"/>
                      <a:pt x="1728788" y="87673"/>
                    </a:cubicBezTo>
                    <a:cubicBezTo>
                      <a:pt x="1724025" y="87673"/>
                      <a:pt x="1721168" y="87673"/>
                      <a:pt x="1721168" y="87673"/>
                    </a:cubicBezTo>
                    <a:lnTo>
                      <a:pt x="1712595" y="88625"/>
                    </a:lnTo>
                    <a:lnTo>
                      <a:pt x="1709738" y="93388"/>
                    </a:lnTo>
                    <a:lnTo>
                      <a:pt x="1704975" y="102913"/>
                    </a:lnTo>
                    <a:lnTo>
                      <a:pt x="1704975" y="108628"/>
                    </a:lnTo>
                    <a:lnTo>
                      <a:pt x="1703070" y="115295"/>
                    </a:lnTo>
                    <a:lnTo>
                      <a:pt x="1701165" y="123868"/>
                    </a:lnTo>
                    <a:lnTo>
                      <a:pt x="1698308" y="127678"/>
                    </a:lnTo>
                    <a:lnTo>
                      <a:pt x="1675448" y="121010"/>
                    </a:lnTo>
                    <a:lnTo>
                      <a:pt x="1674495" y="114343"/>
                    </a:lnTo>
                    <a:lnTo>
                      <a:pt x="1666875" y="111485"/>
                    </a:lnTo>
                    <a:cubicBezTo>
                      <a:pt x="1666875" y="111485"/>
                      <a:pt x="1658303" y="111485"/>
                      <a:pt x="1652588" y="111485"/>
                    </a:cubicBezTo>
                    <a:cubicBezTo>
                      <a:pt x="1646873" y="111485"/>
                      <a:pt x="1644968" y="111485"/>
                      <a:pt x="1644968" y="111485"/>
                    </a:cubicBezTo>
                    <a:lnTo>
                      <a:pt x="1637348" y="121963"/>
                    </a:lnTo>
                    <a:cubicBezTo>
                      <a:pt x="1637348" y="121963"/>
                      <a:pt x="1637348" y="121963"/>
                      <a:pt x="1626870" y="124820"/>
                    </a:cubicBezTo>
                    <a:cubicBezTo>
                      <a:pt x="1626870" y="124820"/>
                      <a:pt x="1626870" y="124820"/>
                      <a:pt x="1626870" y="127678"/>
                    </a:cubicBezTo>
                    <a:cubicBezTo>
                      <a:pt x="1626870" y="130535"/>
                      <a:pt x="1624013" y="133393"/>
                      <a:pt x="1624013" y="133393"/>
                    </a:cubicBezTo>
                    <a:lnTo>
                      <a:pt x="1609725" y="130535"/>
                    </a:lnTo>
                    <a:cubicBezTo>
                      <a:pt x="1609725" y="130535"/>
                      <a:pt x="1606868" y="125773"/>
                      <a:pt x="1605915" y="120058"/>
                    </a:cubicBezTo>
                    <a:cubicBezTo>
                      <a:pt x="1604963" y="114343"/>
                      <a:pt x="1607820" y="113390"/>
                      <a:pt x="1607820" y="109580"/>
                    </a:cubicBezTo>
                    <a:cubicBezTo>
                      <a:pt x="1607820" y="105770"/>
                      <a:pt x="1606868" y="103865"/>
                      <a:pt x="1606868" y="103865"/>
                    </a:cubicBezTo>
                    <a:lnTo>
                      <a:pt x="1599248" y="111485"/>
                    </a:lnTo>
                    <a:cubicBezTo>
                      <a:pt x="1599248" y="111485"/>
                      <a:pt x="1590675" y="118153"/>
                      <a:pt x="1584008" y="119105"/>
                    </a:cubicBezTo>
                    <a:cubicBezTo>
                      <a:pt x="1578293" y="120058"/>
                      <a:pt x="1575435" y="128630"/>
                      <a:pt x="1575435" y="128630"/>
                    </a:cubicBezTo>
                    <a:lnTo>
                      <a:pt x="1572578" y="133393"/>
                    </a:lnTo>
                    <a:lnTo>
                      <a:pt x="1572578" y="146728"/>
                    </a:lnTo>
                    <a:lnTo>
                      <a:pt x="1585913" y="154348"/>
                    </a:lnTo>
                    <a:lnTo>
                      <a:pt x="1591628" y="157205"/>
                    </a:lnTo>
                    <a:lnTo>
                      <a:pt x="1592580" y="162920"/>
                    </a:lnTo>
                    <a:lnTo>
                      <a:pt x="1589723" y="168635"/>
                    </a:lnTo>
                    <a:lnTo>
                      <a:pt x="1587818" y="177208"/>
                    </a:lnTo>
                    <a:lnTo>
                      <a:pt x="1593533" y="177208"/>
                    </a:lnTo>
                    <a:lnTo>
                      <a:pt x="1604010" y="180065"/>
                    </a:lnTo>
                    <a:lnTo>
                      <a:pt x="1602105" y="184828"/>
                    </a:lnTo>
                    <a:lnTo>
                      <a:pt x="1599248" y="191495"/>
                    </a:lnTo>
                    <a:lnTo>
                      <a:pt x="1589723" y="202925"/>
                    </a:lnTo>
                    <a:lnTo>
                      <a:pt x="1584008" y="208640"/>
                    </a:lnTo>
                    <a:lnTo>
                      <a:pt x="1579245" y="213403"/>
                    </a:lnTo>
                    <a:cubicBezTo>
                      <a:pt x="1579245" y="213403"/>
                      <a:pt x="1579245" y="213403"/>
                      <a:pt x="1574483" y="215308"/>
                    </a:cubicBezTo>
                    <a:cubicBezTo>
                      <a:pt x="1569720" y="217213"/>
                      <a:pt x="1564005" y="225785"/>
                      <a:pt x="1564005" y="225785"/>
                    </a:cubicBezTo>
                    <a:lnTo>
                      <a:pt x="1555433" y="229595"/>
                    </a:lnTo>
                    <a:lnTo>
                      <a:pt x="1542098" y="234358"/>
                    </a:lnTo>
                    <a:lnTo>
                      <a:pt x="1537335" y="239120"/>
                    </a:lnTo>
                    <a:cubicBezTo>
                      <a:pt x="1537335" y="239120"/>
                      <a:pt x="1531620" y="241978"/>
                      <a:pt x="1526858" y="241025"/>
                    </a:cubicBezTo>
                    <a:cubicBezTo>
                      <a:pt x="1522095" y="240073"/>
                      <a:pt x="1521143" y="237215"/>
                      <a:pt x="1521143" y="237215"/>
                    </a:cubicBezTo>
                    <a:lnTo>
                      <a:pt x="1525905" y="232453"/>
                    </a:lnTo>
                    <a:lnTo>
                      <a:pt x="1539240" y="225785"/>
                    </a:lnTo>
                    <a:cubicBezTo>
                      <a:pt x="1539240" y="225785"/>
                      <a:pt x="1546860" y="223880"/>
                      <a:pt x="1552575" y="218165"/>
                    </a:cubicBezTo>
                    <a:cubicBezTo>
                      <a:pt x="1552575" y="218165"/>
                      <a:pt x="1560195" y="209593"/>
                      <a:pt x="1560195" y="206735"/>
                    </a:cubicBezTo>
                    <a:cubicBezTo>
                      <a:pt x="1560195" y="203878"/>
                      <a:pt x="1563053" y="198163"/>
                      <a:pt x="1563053" y="198163"/>
                    </a:cubicBezTo>
                    <a:lnTo>
                      <a:pt x="1562100" y="193400"/>
                    </a:lnTo>
                    <a:lnTo>
                      <a:pt x="1561148" y="186733"/>
                    </a:lnTo>
                    <a:lnTo>
                      <a:pt x="1558290" y="176255"/>
                    </a:lnTo>
                    <a:lnTo>
                      <a:pt x="1561148" y="166730"/>
                    </a:lnTo>
                    <a:cubicBezTo>
                      <a:pt x="1561148" y="166730"/>
                      <a:pt x="1561148" y="166730"/>
                      <a:pt x="1554480" y="156253"/>
                    </a:cubicBezTo>
                    <a:cubicBezTo>
                      <a:pt x="1547813" y="145775"/>
                      <a:pt x="1557338" y="147680"/>
                      <a:pt x="1557338" y="144823"/>
                    </a:cubicBezTo>
                    <a:cubicBezTo>
                      <a:pt x="1557338" y="141965"/>
                      <a:pt x="1550670" y="133393"/>
                      <a:pt x="1550670" y="130535"/>
                    </a:cubicBezTo>
                    <a:cubicBezTo>
                      <a:pt x="1550670" y="127678"/>
                      <a:pt x="1553528" y="122915"/>
                      <a:pt x="1553528" y="122915"/>
                    </a:cubicBezTo>
                    <a:cubicBezTo>
                      <a:pt x="1553528" y="122915"/>
                      <a:pt x="1559243" y="119105"/>
                      <a:pt x="1558290" y="116248"/>
                    </a:cubicBezTo>
                    <a:cubicBezTo>
                      <a:pt x="1557338" y="113390"/>
                      <a:pt x="1560195" y="110533"/>
                      <a:pt x="1557338" y="107675"/>
                    </a:cubicBezTo>
                    <a:cubicBezTo>
                      <a:pt x="1554480" y="104818"/>
                      <a:pt x="1549718" y="104818"/>
                      <a:pt x="1549718" y="104818"/>
                    </a:cubicBezTo>
                    <a:cubicBezTo>
                      <a:pt x="1549718" y="104818"/>
                      <a:pt x="1536383" y="104818"/>
                      <a:pt x="1525905" y="104818"/>
                    </a:cubicBezTo>
                    <a:lnTo>
                      <a:pt x="1517333" y="107675"/>
                    </a:lnTo>
                    <a:cubicBezTo>
                      <a:pt x="1517333" y="107675"/>
                      <a:pt x="1511618" y="109580"/>
                      <a:pt x="1505903" y="110533"/>
                    </a:cubicBezTo>
                    <a:cubicBezTo>
                      <a:pt x="1500188" y="111485"/>
                      <a:pt x="1501140" y="116248"/>
                      <a:pt x="1501140" y="116248"/>
                    </a:cubicBezTo>
                    <a:cubicBezTo>
                      <a:pt x="1501140" y="116248"/>
                      <a:pt x="1493520" y="122915"/>
                      <a:pt x="1485900" y="128630"/>
                    </a:cubicBezTo>
                    <a:cubicBezTo>
                      <a:pt x="1478280" y="134345"/>
                      <a:pt x="1485900" y="128630"/>
                      <a:pt x="1477328" y="130535"/>
                    </a:cubicBezTo>
                    <a:lnTo>
                      <a:pt x="1469708" y="141013"/>
                    </a:lnTo>
                    <a:lnTo>
                      <a:pt x="1462088" y="150538"/>
                    </a:lnTo>
                    <a:lnTo>
                      <a:pt x="1463040" y="162920"/>
                    </a:lnTo>
                    <a:lnTo>
                      <a:pt x="1471613" y="165778"/>
                    </a:lnTo>
                    <a:lnTo>
                      <a:pt x="1474470" y="174350"/>
                    </a:lnTo>
                    <a:lnTo>
                      <a:pt x="1478280" y="181018"/>
                    </a:lnTo>
                    <a:lnTo>
                      <a:pt x="1483043" y="184828"/>
                    </a:lnTo>
                    <a:lnTo>
                      <a:pt x="1497330" y="188638"/>
                    </a:lnTo>
                    <a:lnTo>
                      <a:pt x="1497330" y="175303"/>
                    </a:lnTo>
                    <a:lnTo>
                      <a:pt x="1495425" y="179113"/>
                    </a:lnTo>
                    <a:lnTo>
                      <a:pt x="1479233" y="177208"/>
                    </a:lnTo>
                    <a:cubicBezTo>
                      <a:pt x="1479233" y="177208"/>
                      <a:pt x="1470660" y="177208"/>
                      <a:pt x="1465898" y="175303"/>
                    </a:cubicBezTo>
                    <a:cubicBezTo>
                      <a:pt x="1461135" y="173398"/>
                      <a:pt x="1458278" y="172445"/>
                      <a:pt x="1455420" y="169588"/>
                    </a:cubicBezTo>
                    <a:cubicBezTo>
                      <a:pt x="1452563" y="166730"/>
                      <a:pt x="1449705" y="164825"/>
                      <a:pt x="1449705" y="164825"/>
                    </a:cubicBezTo>
                    <a:lnTo>
                      <a:pt x="1441133" y="159110"/>
                    </a:lnTo>
                    <a:cubicBezTo>
                      <a:pt x="1441133" y="159110"/>
                      <a:pt x="1432560" y="157205"/>
                      <a:pt x="1427798" y="155300"/>
                    </a:cubicBezTo>
                    <a:cubicBezTo>
                      <a:pt x="1423035" y="153395"/>
                      <a:pt x="1411605" y="154348"/>
                      <a:pt x="1403033" y="150538"/>
                    </a:cubicBezTo>
                    <a:lnTo>
                      <a:pt x="1394460" y="150538"/>
                    </a:lnTo>
                    <a:lnTo>
                      <a:pt x="1383983" y="149585"/>
                    </a:lnTo>
                    <a:lnTo>
                      <a:pt x="1369695" y="148633"/>
                    </a:lnTo>
                    <a:cubicBezTo>
                      <a:pt x="1369695" y="148633"/>
                      <a:pt x="1355408" y="145775"/>
                      <a:pt x="1348740" y="144823"/>
                    </a:cubicBezTo>
                    <a:cubicBezTo>
                      <a:pt x="1343025" y="143870"/>
                      <a:pt x="1341120" y="141013"/>
                      <a:pt x="1341120" y="141013"/>
                    </a:cubicBezTo>
                    <a:lnTo>
                      <a:pt x="1330643" y="141013"/>
                    </a:lnTo>
                    <a:lnTo>
                      <a:pt x="1327785" y="147680"/>
                    </a:lnTo>
                    <a:lnTo>
                      <a:pt x="1338263" y="152443"/>
                    </a:lnTo>
                    <a:lnTo>
                      <a:pt x="1346835" y="158158"/>
                    </a:lnTo>
                    <a:lnTo>
                      <a:pt x="1346835" y="163873"/>
                    </a:lnTo>
                    <a:lnTo>
                      <a:pt x="1342073" y="167683"/>
                    </a:lnTo>
                    <a:lnTo>
                      <a:pt x="1331595" y="168635"/>
                    </a:lnTo>
                    <a:lnTo>
                      <a:pt x="1320165" y="170540"/>
                    </a:lnTo>
                    <a:lnTo>
                      <a:pt x="1308735" y="170540"/>
                    </a:lnTo>
                    <a:lnTo>
                      <a:pt x="1292543" y="171493"/>
                    </a:lnTo>
                    <a:lnTo>
                      <a:pt x="1274445" y="174350"/>
                    </a:lnTo>
                    <a:lnTo>
                      <a:pt x="1265873" y="175303"/>
                    </a:lnTo>
                    <a:lnTo>
                      <a:pt x="1255395" y="176255"/>
                    </a:lnTo>
                    <a:lnTo>
                      <a:pt x="1244918" y="175303"/>
                    </a:lnTo>
                    <a:lnTo>
                      <a:pt x="1231583" y="171493"/>
                    </a:lnTo>
                    <a:cubicBezTo>
                      <a:pt x="1231583" y="171493"/>
                      <a:pt x="1231583" y="171493"/>
                      <a:pt x="1226820" y="168635"/>
                    </a:cubicBezTo>
                    <a:cubicBezTo>
                      <a:pt x="1222058" y="165778"/>
                      <a:pt x="1221105" y="168635"/>
                      <a:pt x="1221105" y="168635"/>
                    </a:cubicBezTo>
                    <a:cubicBezTo>
                      <a:pt x="1221105" y="168635"/>
                      <a:pt x="1207770" y="169588"/>
                      <a:pt x="1194435" y="171493"/>
                    </a:cubicBezTo>
                    <a:cubicBezTo>
                      <a:pt x="1181100" y="173398"/>
                      <a:pt x="1185863" y="177208"/>
                      <a:pt x="1185863" y="177208"/>
                    </a:cubicBezTo>
                    <a:lnTo>
                      <a:pt x="1161098" y="184828"/>
                    </a:lnTo>
                    <a:lnTo>
                      <a:pt x="1153478" y="187685"/>
                    </a:lnTo>
                    <a:cubicBezTo>
                      <a:pt x="1153478" y="187685"/>
                      <a:pt x="1140143" y="193400"/>
                      <a:pt x="1134428" y="196258"/>
                    </a:cubicBezTo>
                    <a:cubicBezTo>
                      <a:pt x="1128713" y="199115"/>
                      <a:pt x="1121093" y="196258"/>
                      <a:pt x="1121093" y="196258"/>
                    </a:cubicBezTo>
                    <a:lnTo>
                      <a:pt x="1113473" y="201973"/>
                    </a:lnTo>
                    <a:cubicBezTo>
                      <a:pt x="1113473" y="201973"/>
                      <a:pt x="1102043" y="200068"/>
                      <a:pt x="1097280" y="199115"/>
                    </a:cubicBezTo>
                    <a:cubicBezTo>
                      <a:pt x="1092518" y="198163"/>
                      <a:pt x="1088708" y="191495"/>
                      <a:pt x="1088708" y="191495"/>
                    </a:cubicBezTo>
                    <a:cubicBezTo>
                      <a:pt x="1088708" y="191495"/>
                      <a:pt x="1088708" y="191495"/>
                      <a:pt x="1087755" y="188638"/>
                    </a:cubicBezTo>
                    <a:cubicBezTo>
                      <a:pt x="1085850" y="185780"/>
                      <a:pt x="1099185" y="188638"/>
                      <a:pt x="1099185" y="188638"/>
                    </a:cubicBezTo>
                    <a:lnTo>
                      <a:pt x="1121093" y="181018"/>
                    </a:lnTo>
                    <a:cubicBezTo>
                      <a:pt x="1121093" y="181018"/>
                      <a:pt x="1091565" y="180065"/>
                      <a:pt x="1087755" y="179113"/>
                    </a:cubicBezTo>
                    <a:cubicBezTo>
                      <a:pt x="1082993" y="178160"/>
                      <a:pt x="1077278" y="180065"/>
                      <a:pt x="1071563" y="179113"/>
                    </a:cubicBezTo>
                    <a:cubicBezTo>
                      <a:pt x="1065848" y="178160"/>
                      <a:pt x="1062990" y="182923"/>
                      <a:pt x="1062990" y="182923"/>
                    </a:cubicBezTo>
                    <a:lnTo>
                      <a:pt x="1058228" y="190543"/>
                    </a:lnTo>
                    <a:cubicBezTo>
                      <a:pt x="1058228" y="190543"/>
                      <a:pt x="1056323" y="198163"/>
                      <a:pt x="1055370" y="203878"/>
                    </a:cubicBezTo>
                    <a:cubicBezTo>
                      <a:pt x="1053465" y="209593"/>
                      <a:pt x="1048703" y="218165"/>
                      <a:pt x="1048703" y="218165"/>
                    </a:cubicBezTo>
                    <a:cubicBezTo>
                      <a:pt x="1048703" y="218165"/>
                      <a:pt x="1038225" y="216260"/>
                      <a:pt x="1034415" y="214355"/>
                    </a:cubicBezTo>
                    <a:cubicBezTo>
                      <a:pt x="1029653" y="212450"/>
                      <a:pt x="1025843" y="216260"/>
                      <a:pt x="1025843" y="216260"/>
                    </a:cubicBezTo>
                    <a:cubicBezTo>
                      <a:pt x="1025843" y="216260"/>
                      <a:pt x="1025843" y="216260"/>
                      <a:pt x="1021080" y="219118"/>
                    </a:cubicBezTo>
                    <a:cubicBezTo>
                      <a:pt x="1016318" y="221975"/>
                      <a:pt x="1010603" y="224833"/>
                      <a:pt x="1010603" y="224833"/>
                    </a:cubicBezTo>
                    <a:lnTo>
                      <a:pt x="1002983" y="225785"/>
                    </a:lnTo>
                    <a:lnTo>
                      <a:pt x="997268" y="227690"/>
                    </a:lnTo>
                    <a:lnTo>
                      <a:pt x="995363" y="233405"/>
                    </a:lnTo>
                    <a:lnTo>
                      <a:pt x="990600" y="240073"/>
                    </a:lnTo>
                    <a:lnTo>
                      <a:pt x="980123" y="246740"/>
                    </a:lnTo>
                    <a:lnTo>
                      <a:pt x="969645" y="245788"/>
                    </a:lnTo>
                    <a:lnTo>
                      <a:pt x="958215" y="241978"/>
                    </a:lnTo>
                    <a:lnTo>
                      <a:pt x="950595" y="239120"/>
                    </a:lnTo>
                    <a:cubicBezTo>
                      <a:pt x="950595" y="239120"/>
                      <a:pt x="950595" y="239120"/>
                      <a:pt x="940118" y="238168"/>
                    </a:cubicBezTo>
                    <a:cubicBezTo>
                      <a:pt x="929640" y="237215"/>
                      <a:pt x="932498" y="241978"/>
                      <a:pt x="932498" y="241978"/>
                    </a:cubicBezTo>
                    <a:lnTo>
                      <a:pt x="933450" y="250550"/>
                    </a:lnTo>
                    <a:lnTo>
                      <a:pt x="949643" y="258170"/>
                    </a:lnTo>
                    <a:lnTo>
                      <a:pt x="925830" y="257218"/>
                    </a:lnTo>
                    <a:cubicBezTo>
                      <a:pt x="925830" y="257218"/>
                      <a:pt x="915353" y="254360"/>
                      <a:pt x="908685" y="248645"/>
                    </a:cubicBezTo>
                    <a:cubicBezTo>
                      <a:pt x="901065" y="242930"/>
                      <a:pt x="908685" y="248645"/>
                      <a:pt x="908685" y="245788"/>
                    </a:cubicBezTo>
                    <a:cubicBezTo>
                      <a:pt x="908685" y="242930"/>
                      <a:pt x="907733" y="238168"/>
                      <a:pt x="907733" y="238168"/>
                    </a:cubicBezTo>
                    <a:lnTo>
                      <a:pt x="907733" y="231500"/>
                    </a:lnTo>
                    <a:lnTo>
                      <a:pt x="907733" y="225785"/>
                    </a:lnTo>
                    <a:lnTo>
                      <a:pt x="887730" y="215308"/>
                    </a:lnTo>
                    <a:cubicBezTo>
                      <a:pt x="887730" y="215308"/>
                      <a:pt x="887730" y="215308"/>
                      <a:pt x="892493" y="215308"/>
                    </a:cubicBezTo>
                    <a:cubicBezTo>
                      <a:pt x="893445" y="215308"/>
                      <a:pt x="894398" y="215308"/>
                      <a:pt x="895350" y="215308"/>
                    </a:cubicBezTo>
                    <a:cubicBezTo>
                      <a:pt x="898208" y="216260"/>
                      <a:pt x="899160" y="217213"/>
                      <a:pt x="902970" y="216260"/>
                    </a:cubicBezTo>
                    <a:cubicBezTo>
                      <a:pt x="907733" y="215308"/>
                      <a:pt x="923925" y="218165"/>
                      <a:pt x="923925" y="218165"/>
                    </a:cubicBezTo>
                    <a:cubicBezTo>
                      <a:pt x="923925" y="218165"/>
                      <a:pt x="938213" y="217213"/>
                      <a:pt x="942975" y="215308"/>
                    </a:cubicBezTo>
                    <a:cubicBezTo>
                      <a:pt x="947738" y="213403"/>
                      <a:pt x="951548" y="215308"/>
                      <a:pt x="951548" y="215308"/>
                    </a:cubicBezTo>
                    <a:lnTo>
                      <a:pt x="962025" y="217213"/>
                    </a:lnTo>
                    <a:lnTo>
                      <a:pt x="983933" y="219118"/>
                    </a:lnTo>
                    <a:lnTo>
                      <a:pt x="1002030" y="213403"/>
                    </a:lnTo>
                    <a:lnTo>
                      <a:pt x="1007745" y="201973"/>
                    </a:lnTo>
                    <a:cubicBezTo>
                      <a:pt x="1007745" y="201973"/>
                      <a:pt x="1004888" y="193400"/>
                      <a:pt x="1001078" y="189590"/>
                    </a:cubicBezTo>
                    <a:cubicBezTo>
                      <a:pt x="996315" y="185780"/>
                      <a:pt x="989648" y="186733"/>
                      <a:pt x="984885" y="185780"/>
                    </a:cubicBezTo>
                    <a:cubicBezTo>
                      <a:pt x="980123" y="184828"/>
                      <a:pt x="968693" y="179113"/>
                      <a:pt x="968693" y="179113"/>
                    </a:cubicBezTo>
                    <a:lnTo>
                      <a:pt x="952500" y="173398"/>
                    </a:lnTo>
                    <a:lnTo>
                      <a:pt x="942023" y="169588"/>
                    </a:lnTo>
                    <a:lnTo>
                      <a:pt x="927735" y="166730"/>
                    </a:lnTo>
                    <a:lnTo>
                      <a:pt x="916305" y="163873"/>
                    </a:lnTo>
                    <a:lnTo>
                      <a:pt x="896303" y="159110"/>
                    </a:lnTo>
                    <a:lnTo>
                      <a:pt x="887730" y="155300"/>
                    </a:lnTo>
                    <a:cubicBezTo>
                      <a:pt x="887730" y="155300"/>
                      <a:pt x="873443" y="151490"/>
                      <a:pt x="868680" y="151490"/>
                    </a:cubicBezTo>
                    <a:cubicBezTo>
                      <a:pt x="863918" y="151490"/>
                      <a:pt x="855345" y="147680"/>
                      <a:pt x="851535" y="146728"/>
                    </a:cubicBezTo>
                    <a:cubicBezTo>
                      <a:pt x="846773" y="145775"/>
                      <a:pt x="840105" y="142918"/>
                      <a:pt x="834390" y="139108"/>
                    </a:cubicBezTo>
                    <a:lnTo>
                      <a:pt x="818198" y="137203"/>
                    </a:lnTo>
                    <a:lnTo>
                      <a:pt x="787718" y="136250"/>
                    </a:lnTo>
                    <a:lnTo>
                      <a:pt x="760095" y="133393"/>
                    </a:lnTo>
                    <a:lnTo>
                      <a:pt x="754380" y="133393"/>
                    </a:lnTo>
                    <a:lnTo>
                      <a:pt x="736283" y="134345"/>
                    </a:lnTo>
                    <a:cubicBezTo>
                      <a:pt x="736283" y="134345"/>
                      <a:pt x="720090" y="135298"/>
                      <a:pt x="715328" y="135298"/>
                    </a:cubicBezTo>
                    <a:cubicBezTo>
                      <a:pt x="710565" y="135298"/>
                      <a:pt x="701993" y="140060"/>
                      <a:pt x="701993" y="140060"/>
                    </a:cubicBezTo>
                    <a:lnTo>
                      <a:pt x="690563" y="140060"/>
                    </a:lnTo>
                    <a:lnTo>
                      <a:pt x="684848" y="140060"/>
                    </a:lnTo>
                    <a:lnTo>
                      <a:pt x="670560" y="141965"/>
                    </a:lnTo>
                    <a:lnTo>
                      <a:pt x="662940" y="142918"/>
                    </a:lnTo>
                    <a:lnTo>
                      <a:pt x="652463" y="147680"/>
                    </a:lnTo>
                    <a:cubicBezTo>
                      <a:pt x="652463" y="147680"/>
                      <a:pt x="641985" y="153395"/>
                      <a:pt x="637223" y="153395"/>
                    </a:cubicBezTo>
                    <a:cubicBezTo>
                      <a:pt x="632460" y="153395"/>
                      <a:pt x="619125" y="158158"/>
                      <a:pt x="619125" y="158158"/>
                    </a:cubicBezTo>
                    <a:lnTo>
                      <a:pt x="605790" y="161968"/>
                    </a:lnTo>
                    <a:lnTo>
                      <a:pt x="598170" y="165778"/>
                    </a:lnTo>
                    <a:lnTo>
                      <a:pt x="587693" y="170540"/>
                    </a:lnTo>
                    <a:lnTo>
                      <a:pt x="579120" y="180065"/>
                    </a:lnTo>
                    <a:lnTo>
                      <a:pt x="576263" y="183875"/>
                    </a:lnTo>
                    <a:lnTo>
                      <a:pt x="560070" y="195305"/>
                    </a:lnTo>
                    <a:lnTo>
                      <a:pt x="551498" y="200068"/>
                    </a:lnTo>
                    <a:cubicBezTo>
                      <a:pt x="551498" y="200068"/>
                      <a:pt x="541020" y="206735"/>
                      <a:pt x="535305" y="208640"/>
                    </a:cubicBezTo>
                    <a:cubicBezTo>
                      <a:pt x="529590" y="210545"/>
                      <a:pt x="529590" y="218165"/>
                      <a:pt x="524828" y="220070"/>
                    </a:cubicBezTo>
                    <a:cubicBezTo>
                      <a:pt x="520065" y="221975"/>
                      <a:pt x="520065" y="227690"/>
                      <a:pt x="520065" y="227690"/>
                    </a:cubicBezTo>
                    <a:lnTo>
                      <a:pt x="512445" y="237215"/>
                    </a:lnTo>
                    <a:cubicBezTo>
                      <a:pt x="512445" y="237215"/>
                      <a:pt x="499110" y="244835"/>
                      <a:pt x="494348" y="245788"/>
                    </a:cubicBezTo>
                    <a:cubicBezTo>
                      <a:pt x="489585" y="246740"/>
                      <a:pt x="485775" y="255313"/>
                      <a:pt x="478155" y="257218"/>
                    </a:cubicBezTo>
                    <a:cubicBezTo>
                      <a:pt x="470535" y="259123"/>
                      <a:pt x="478155" y="257218"/>
                      <a:pt x="467678" y="259123"/>
                    </a:cubicBezTo>
                    <a:cubicBezTo>
                      <a:pt x="457200" y="261028"/>
                      <a:pt x="461963" y="263885"/>
                      <a:pt x="457200" y="265790"/>
                    </a:cubicBezTo>
                    <a:cubicBezTo>
                      <a:pt x="452438" y="267695"/>
                      <a:pt x="439103" y="268648"/>
                      <a:pt x="439103" y="268648"/>
                    </a:cubicBezTo>
                    <a:lnTo>
                      <a:pt x="428625" y="274363"/>
                    </a:lnTo>
                    <a:lnTo>
                      <a:pt x="422910" y="278173"/>
                    </a:lnTo>
                    <a:lnTo>
                      <a:pt x="415290" y="283888"/>
                    </a:lnTo>
                    <a:lnTo>
                      <a:pt x="409575" y="286745"/>
                    </a:lnTo>
                    <a:lnTo>
                      <a:pt x="401003" y="295318"/>
                    </a:lnTo>
                    <a:lnTo>
                      <a:pt x="395288" y="304843"/>
                    </a:lnTo>
                    <a:cubicBezTo>
                      <a:pt x="395288" y="304843"/>
                      <a:pt x="399098" y="314368"/>
                      <a:pt x="398145" y="317225"/>
                    </a:cubicBezTo>
                    <a:cubicBezTo>
                      <a:pt x="396240" y="320083"/>
                      <a:pt x="401003" y="329608"/>
                      <a:pt x="401003" y="329608"/>
                    </a:cubicBezTo>
                    <a:lnTo>
                      <a:pt x="401003" y="334370"/>
                    </a:lnTo>
                    <a:lnTo>
                      <a:pt x="405765" y="338180"/>
                    </a:lnTo>
                    <a:lnTo>
                      <a:pt x="411480" y="342943"/>
                    </a:lnTo>
                    <a:lnTo>
                      <a:pt x="414338" y="351515"/>
                    </a:lnTo>
                    <a:lnTo>
                      <a:pt x="420053" y="361993"/>
                    </a:lnTo>
                    <a:lnTo>
                      <a:pt x="427673" y="361993"/>
                    </a:lnTo>
                    <a:lnTo>
                      <a:pt x="443865" y="360088"/>
                    </a:lnTo>
                    <a:lnTo>
                      <a:pt x="452438" y="355325"/>
                    </a:lnTo>
                    <a:lnTo>
                      <a:pt x="460058" y="352468"/>
                    </a:lnTo>
                    <a:lnTo>
                      <a:pt x="462915" y="348658"/>
                    </a:lnTo>
                    <a:lnTo>
                      <a:pt x="467678" y="343895"/>
                    </a:lnTo>
                    <a:lnTo>
                      <a:pt x="478155" y="341990"/>
                    </a:lnTo>
                    <a:lnTo>
                      <a:pt x="483870" y="341038"/>
                    </a:lnTo>
                    <a:lnTo>
                      <a:pt x="492443" y="341990"/>
                    </a:lnTo>
                    <a:lnTo>
                      <a:pt x="493395" y="351515"/>
                    </a:lnTo>
                    <a:lnTo>
                      <a:pt x="499110" y="358183"/>
                    </a:lnTo>
                    <a:lnTo>
                      <a:pt x="504825" y="363898"/>
                    </a:lnTo>
                    <a:lnTo>
                      <a:pt x="512445" y="367708"/>
                    </a:lnTo>
                    <a:lnTo>
                      <a:pt x="522923" y="377233"/>
                    </a:lnTo>
                    <a:lnTo>
                      <a:pt x="521018" y="384853"/>
                    </a:lnTo>
                    <a:lnTo>
                      <a:pt x="523875" y="395330"/>
                    </a:lnTo>
                    <a:lnTo>
                      <a:pt x="538163" y="399140"/>
                    </a:lnTo>
                    <a:lnTo>
                      <a:pt x="549593" y="398188"/>
                    </a:lnTo>
                    <a:lnTo>
                      <a:pt x="558165" y="393425"/>
                    </a:lnTo>
                    <a:lnTo>
                      <a:pt x="569595" y="389615"/>
                    </a:lnTo>
                    <a:cubicBezTo>
                      <a:pt x="569595" y="389615"/>
                      <a:pt x="578168" y="385805"/>
                      <a:pt x="580073" y="382948"/>
                    </a:cubicBezTo>
                    <a:cubicBezTo>
                      <a:pt x="581978" y="380090"/>
                      <a:pt x="585788" y="381995"/>
                      <a:pt x="585788" y="379138"/>
                    </a:cubicBezTo>
                    <a:cubicBezTo>
                      <a:pt x="585788" y="376280"/>
                      <a:pt x="585788" y="373423"/>
                      <a:pt x="585788" y="373423"/>
                    </a:cubicBezTo>
                    <a:lnTo>
                      <a:pt x="596265" y="361993"/>
                    </a:lnTo>
                    <a:lnTo>
                      <a:pt x="601028" y="355325"/>
                    </a:lnTo>
                    <a:cubicBezTo>
                      <a:pt x="601028" y="355325"/>
                      <a:pt x="606743" y="351515"/>
                      <a:pt x="606743" y="348658"/>
                    </a:cubicBezTo>
                    <a:cubicBezTo>
                      <a:pt x="606743" y="345800"/>
                      <a:pt x="614363" y="344848"/>
                      <a:pt x="614363" y="341990"/>
                    </a:cubicBezTo>
                    <a:cubicBezTo>
                      <a:pt x="614363" y="339133"/>
                      <a:pt x="620078" y="337228"/>
                      <a:pt x="620078" y="337228"/>
                    </a:cubicBezTo>
                    <a:lnTo>
                      <a:pt x="621983" y="323893"/>
                    </a:lnTo>
                    <a:lnTo>
                      <a:pt x="621983" y="319130"/>
                    </a:lnTo>
                    <a:lnTo>
                      <a:pt x="616268" y="318178"/>
                    </a:lnTo>
                    <a:lnTo>
                      <a:pt x="604838" y="317225"/>
                    </a:lnTo>
                    <a:lnTo>
                      <a:pt x="599123" y="314368"/>
                    </a:lnTo>
                    <a:lnTo>
                      <a:pt x="599123" y="307700"/>
                    </a:lnTo>
                    <a:cubicBezTo>
                      <a:pt x="599123" y="307700"/>
                      <a:pt x="599123" y="307700"/>
                      <a:pt x="601028" y="301033"/>
                    </a:cubicBezTo>
                    <a:cubicBezTo>
                      <a:pt x="601028" y="301033"/>
                      <a:pt x="601028" y="301033"/>
                      <a:pt x="614363" y="291508"/>
                    </a:cubicBezTo>
                    <a:cubicBezTo>
                      <a:pt x="614363" y="291508"/>
                      <a:pt x="621983" y="290555"/>
                      <a:pt x="622935" y="287698"/>
                    </a:cubicBezTo>
                    <a:cubicBezTo>
                      <a:pt x="624840" y="284840"/>
                      <a:pt x="631508" y="283888"/>
                      <a:pt x="636270" y="277220"/>
                    </a:cubicBezTo>
                    <a:cubicBezTo>
                      <a:pt x="641033" y="270553"/>
                      <a:pt x="636270" y="277220"/>
                      <a:pt x="641033" y="273410"/>
                    </a:cubicBezTo>
                    <a:cubicBezTo>
                      <a:pt x="645795" y="269600"/>
                      <a:pt x="649605" y="269600"/>
                      <a:pt x="649605" y="265790"/>
                    </a:cubicBezTo>
                    <a:cubicBezTo>
                      <a:pt x="649605" y="261980"/>
                      <a:pt x="658178" y="260075"/>
                      <a:pt x="658178" y="260075"/>
                    </a:cubicBezTo>
                    <a:lnTo>
                      <a:pt x="661035" y="250550"/>
                    </a:lnTo>
                    <a:cubicBezTo>
                      <a:pt x="661035" y="250550"/>
                      <a:pt x="661035" y="250550"/>
                      <a:pt x="662940" y="245788"/>
                    </a:cubicBezTo>
                    <a:cubicBezTo>
                      <a:pt x="664845" y="241025"/>
                      <a:pt x="668655" y="240073"/>
                      <a:pt x="668655" y="240073"/>
                    </a:cubicBezTo>
                    <a:lnTo>
                      <a:pt x="680085" y="233405"/>
                    </a:lnTo>
                    <a:lnTo>
                      <a:pt x="688658" y="231500"/>
                    </a:lnTo>
                    <a:lnTo>
                      <a:pt x="696278" y="228643"/>
                    </a:lnTo>
                    <a:lnTo>
                      <a:pt x="707708" y="227690"/>
                    </a:lnTo>
                    <a:cubicBezTo>
                      <a:pt x="707708" y="227690"/>
                      <a:pt x="713423" y="229595"/>
                      <a:pt x="719138" y="228643"/>
                    </a:cubicBezTo>
                    <a:cubicBezTo>
                      <a:pt x="724853" y="227690"/>
                      <a:pt x="733425" y="231500"/>
                      <a:pt x="733425" y="231500"/>
                    </a:cubicBezTo>
                    <a:lnTo>
                      <a:pt x="733425" y="237215"/>
                    </a:lnTo>
                    <a:lnTo>
                      <a:pt x="730568" y="244835"/>
                    </a:lnTo>
                    <a:lnTo>
                      <a:pt x="727710" y="251503"/>
                    </a:lnTo>
                    <a:lnTo>
                      <a:pt x="724853" y="256265"/>
                    </a:lnTo>
                    <a:lnTo>
                      <a:pt x="720090" y="261028"/>
                    </a:lnTo>
                    <a:cubicBezTo>
                      <a:pt x="720090" y="261028"/>
                      <a:pt x="706755" y="266743"/>
                      <a:pt x="701993" y="266743"/>
                    </a:cubicBezTo>
                    <a:cubicBezTo>
                      <a:pt x="697230" y="266743"/>
                      <a:pt x="685800" y="271505"/>
                      <a:pt x="685800" y="271505"/>
                    </a:cubicBezTo>
                    <a:cubicBezTo>
                      <a:pt x="685800" y="271505"/>
                      <a:pt x="682943" y="275315"/>
                      <a:pt x="678180" y="275315"/>
                    </a:cubicBezTo>
                    <a:cubicBezTo>
                      <a:pt x="673418" y="275315"/>
                      <a:pt x="678180" y="281030"/>
                      <a:pt x="678180" y="281030"/>
                    </a:cubicBezTo>
                    <a:lnTo>
                      <a:pt x="676275" y="291508"/>
                    </a:lnTo>
                    <a:lnTo>
                      <a:pt x="677228" y="301033"/>
                    </a:lnTo>
                    <a:lnTo>
                      <a:pt x="672465" y="311510"/>
                    </a:lnTo>
                    <a:lnTo>
                      <a:pt x="678180" y="321988"/>
                    </a:lnTo>
                    <a:lnTo>
                      <a:pt x="683895" y="324845"/>
                    </a:lnTo>
                    <a:lnTo>
                      <a:pt x="695325" y="324845"/>
                    </a:lnTo>
                    <a:lnTo>
                      <a:pt x="705803" y="328655"/>
                    </a:lnTo>
                    <a:lnTo>
                      <a:pt x="720090" y="329608"/>
                    </a:lnTo>
                    <a:lnTo>
                      <a:pt x="733425" y="328655"/>
                    </a:lnTo>
                    <a:lnTo>
                      <a:pt x="743903" y="326750"/>
                    </a:lnTo>
                    <a:lnTo>
                      <a:pt x="752475" y="323893"/>
                    </a:lnTo>
                    <a:lnTo>
                      <a:pt x="760095" y="323893"/>
                    </a:lnTo>
                    <a:lnTo>
                      <a:pt x="779145" y="323893"/>
                    </a:lnTo>
                    <a:lnTo>
                      <a:pt x="793433" y="324845"/>
                    </a:lnTo>
                    <a:lnTo>
                      <a:pt x="796290" y="328655"/>
                    </a:lnTo>
                    <a:lnTo>
                      <a:pt x="790575" y="337228"/>
                    </a:lnTo>
                    <a:lnTo>
                      <a:pt x="782003" y="337228"/>
                    </a:lnTo>
                    <a:lnTo>
                      <a:pt x="776288" y="339133"/>
                    </a:lnTo>
                    <a:lnTo>
                      <a:pt x="758190" y="340085"/>
                    </a:lnTo>
                    <a:lnTo>
                      <a:pt x="740093" y="341990"/>
                    </a:lnTo>
                    <a:lnTo>
                      <a:pt x="725805" y="343895"/>
                    </a:lnTo>
                    <a:lnTo>
                      <a:pt x="721043" y="347705"/>
                    </a:lnTo>
                    <a:lnTo>
                      <a:pt x="719138" y="353420"/>
                    </a:lnTo>
                    <a:lnTo>
                      <a:pt x="713423" y="360088"/>
                    </a:lnTo>
                    <a:lnTo>
                      <a:pt x="705803" y="368660"/>
                    </a:lnTo>
                    <a:lnTo>
                      <a:pt x="695325" y="370565"/>
                    </a:lnTo>
                    <a:lnTo>
                      <a:pt x="687705" y="370565"/>
                    </a:lnTo>
                    <a:lnTo>
                      <a:pt x="674370" y="372470"/>
                    </a:lnTo>
                    <a:lnTo>
                      <a:pt x="669608" y="378185"/>
                    </a:lnTo>
                    <a:lnTo>
                      <a:pt x="664845" y="382948"/>
                    </a:lnTo>
                    <a:lnTo>
                      <a:pt x="662940" y="388663"/>
                    </a:lnTo>
                    <a:lnTo>
                      <a:pt x="657225" y="398188"/>
                    </a:lnTo>
                    <a:lnTo>
                      <a:pt x="649605" y="404855"/>
                    </a:lnTo>
                    <a:lnTo>
                      <a:pt x="627698" y="409618"/>
                    </a:lnTo>
                    <a:lnTo>
                      <a:pt x="600075" y="414380"/>
                    </a:lnTo>
                    <a:lnTo>
                      <a:pt x="594360" y="414380"/>
                    </a:lnTo>
                    <a:cubicBezTo>
                      <a:pt x="594360" y="414380"/>
                      <a:pt x="583883" y="416285"/>
                      <a:pt x="578168" y="415333"/>
                    </a:cubicBezTo>
                    <a:cubicBezTo>
                      <a:pt x="572453" y="414380"/>
                      <a:pt x="564833" y="418190"/>
                      <a:pt x="560070" y="417238"/>
                    </a:cubicBezTo>
                    <a:cubicBezTo>
                      <a:pt x="555308" y="416285"/>
                      <a:pt x="551498" y="418190"/>
                      <a:pt x="551498" y="418190"/>
                    </a:cubicBezTo>
                    <a:lnTo>
                      <a:pt x="540068" y="417238"/>
                    </a:lnTo>
                    <a:lnTo>
                      <a:pt x="523875" y="414380"/>
                    </a:lnTo>
                    <a:cubicBezTo>
                      <a:pt x="523875" y="414380"/>
                      <a:pt x="510540" y="414380"/>
                      <a:pt x="506730" y="413428"/>
                    </a:cubicBezTo>
                    <a:cubicBezTo>
                      <a:pt x="501968" y="412475"/>
                      <a:pt x="498158" y="413428"/>
                      <a:pt x="498158" y="413428"/>
                    </a:cubicBezTo>
                    <a:lnTo>
                      <a:pt x="486728" y="413428"/>
                    </a:lnTo>
                    <a:cubicBezTo>
                      <a:pt x="486728" y="413428"/>
                      <a:pt x="486728" y="413428"/>
                      <a:pt x="481965" y="407713"/>
                    </a:cubicBezTo>
                    <a:lnTo>
                      <a:pt x="498158" y="401045"/>
                    </a:lnTo>
                    <a:lnTo>
                      <a:pt x="493395" y="395330"/>
                    </a:lnTo>
                    <a:lnTo>
                      <a:pt x="484823" y="391520"/>
                    </a:lnTo>
                    <a:lnTo>
                      <a:pt x="484823" y="386758"/>
                    </a:lnTo>
                    <a:lnTo>
                      <a:pt x="477203" y="376280"/>
                    </a:lnTo>
                    <a:lnTo>
                      <a:pt x="474345" y="369613"/>
                    </a:lnTo>
                    <a:lnTo>
                      <a:pt x="466725" y="368660"/>
                    </a:lnTo>
                    <a:lnTo>
                      <a:pt x="461010" y="374375"/>
                    </a:lnTo>
                    <a:lnTo>
                      <a:pt x="450533" y="377233"/>
                    </a:lnTo>
                    <a:lnTo>
                      <a:pt x="445770" y="381995"/>
                    </a:lnTo>
                    <a:lnTo>
                      <a:pt x="443865" y="390568"/>
                    </a:lnTo>
                    <a:lnTo>
                      <a:pt x="443865" y="399140"/>
                    </a:lnTo>
                    <a:lnTo>
                      <a:pt x="446723" y="408665"/>
                    </a:lnTo>
                    <a:lnTo>
                      <a:pt x="449580" y="403903"/>
                    </a:lnTo>
                    <a:lnTo>
                      <a:pt x="446723" y="414380"/>
                    </a:lnTo>
                    <a:lnTo>
                      <a:pt x="435293" y="416285"/>
                    </a:lnTo>
                    <a:cubicBezTo>
                      <a:pt x="435293" y="416285"/>
                      <a:pt x="435293" y="416285"/>
                      <a:pt x="430530" y="416285"/>
                    </a:cubicBezTo>
                    <a:cubicBezTo>
                      <a:pt x="425768" y="416285"/>
                      <a:pt x="424815" y="418190"/>
                      <a:pt x="420053" y="417238"/>
                    </a:cubicBezTo>
                    <a:cubicBezTo>
                      <a:pt x="415290" y="416285"/>
                      <a:pt x="411480" y="417238"/>
                      <a:pt x="411480" y="417238"/>
                    </a:cubicBezTo>
                    <a:lnTo>
                      <a:pt x="389573" y="421048"/>
                    </a:lnTo>
                    <a:cubicBezTo>
                      <a:pt x="389573" y="421048"/>
                      <a:pt x="387668" y="425810"/>
                      <a:pt x="383858" y="427715"/>
                    </a:cubicBezTo>
                    <a:cubicBezTo>
                      <a:pt x="379095" y="429620"/>
                      <a:pt x="379095" y="433430"/>
                      <a:pt x="379095" y="433430"/>
                    </a:cubicBezTo>
                    <a:lnTo>
                      <a:pt x="376238" y="440098"/>
                    </a:lnTo>
                    <a:cubicBezTo>
                      <a:pt x="376238" y="440098"/>
                      <a:pt x="367665" y="446765"/>
                      <a:pt x="362903" y="447718"/>
                    </a:cubicBezTo>
                    <a:cubicBezTo>
                      <a:pt x="358140" y="448670"/>
                      <a:pt x="352425" y="450575"/>
                      <a:pt x="348615" y="451528"/>
                    </a:cubicBezTo>
                    <a:cubicBezTo>
                      <a:pt x="343853" y="452480"/>
                      <a:pt x="340043" y="457243"/>
                      <a:pt x="340043" y="457243"/>
                    </a:cubicBezTo>
                    <a:lnTo>
                      <a:pt x="334328" y="464863"/>
                    </a:lnTo>
                    <a:lnTo>
                      <a:pt x="328613" y="468673"/>
                    </a:lnTo>
                    <a:cubicBezTo>
                      <a:pt x="328613" y="468673"/>
                      <a:pt x="320040" y="471530"/>
                      <a:pt x="312420" y="472483"/>
                    </a:cubicBezTo>
                    <a:cubicBezTo>
                      <a:pt x="304800" y="473435"/>
                      <a:pt x="299085" y="477245"/>
                      <a:pt x="299085" y="477245"/>
                    </a:cubicBezTo>
                    <a:lnTo>
                      <a:pt x="293370" y="480103"/>
                    </a:lnTo>
                    <a:lnTo>
                      <a:pt x="282893" y="481055"/>
                    </a:lnTo>
                    <a:lnTo>
                      <a:pt x="275273" y="484865"/>
                    </a:lnTo>
                    <a:lnTo>
                      <a:pt x="260033" y="489628"/>
                    </a:lnTo>
                    <a:lnTo>
                      <a:pt x="248603" y="489628"/>
                    </a:lnTo>
                    <a:lnTo>
                      <a:pt x="224790" y="490580"/>
                    </a:lnTo>
                    <a:lnTo>
                      <a:pt x="214313" y="496295"/>
                    </a:lnTo>
                    <a:lnTo>
                      <a:pt x="217170" y="500105"/>
                    </a:lnTo>
                    <a:lnTo>
                      <a:pt x="222885" y="502963"/>
                    </a:lnTo>
                    <a:lnTo>
                      <a:pt x="228600" y="505820"/>
                    </a:lnTo>
                    <a:lnTo>
                      <a:pt x="234315" y="506773"/>
                    </a:lnTo>
                    <a:lnTo>
                      <a:pt x="245745" y="508678"/>
                    </a:lnTo>
                    <a:lnTo>
                      <a:pt x="254318" y="509630"/>
                    </a:lnTo>
                    <a:cubicBezTo>
                      <a:pt x="254318" y="509630"/>
                      <a:pt x="260033" y="513440"/>
                      <a:pt x="273368" y="520108"/>
                    </a:cubicBezTo>
                    <a:cubicBezTo>
                      <a:pt x="286703" y="526775"/>
                      <a:pt x="276225" y="524870"/>
                      <a:pt x="276225" y="524870"/>
                    </a:cubicBezTo>
                    <a:cubicBezTo>
                      <a:pt x="276225" y="524870"/>
                      <a:pt x="277178" y="529633"/>
                      <a:pt x="276225" y="532490"/>
                    </a:cubicBezTo>
                    <a:cubicBezTo>
                      <a:pt x="274320" y="535348"/>
                      <a:pt x="276225" y="538205"/>
                      <a:pt x="276225" y="538205"/>
                    </a:cubicBezTo>
                    <a:cubicBezTo>
                      <a:pt x="276225" y="538205"/>
                      <a:pt x="274320" y="547730"/>
                      <a:pt x="273368" y="550588"/>
                    </a:cubicBezTo>
                    <a:cubicBezTo>
                      <a:pt x="271463" y="553445"/>
                      <a:pt x="268605" y="561065"/>
                      <a:pt x="268605" y="561065"/>
                    </a:cubicBezTo>
                    <a:cubicBezTo>
                      <a:pt x="268605" y="561065"/>
                      <a:pt x="268605" y="561065"/>
                      <a:pt x="262890" y="562018"/>
                    </a:cubicBezTo>
                    <a:cubicBezTo>
                      <a:pt x="257175" y="562970"/>
                      <a:pt x="257175" y="562018"/>
                      <a:pt x="257175" y="562018"/>
                    </a:cubicBezTo>
                    <a:cubicBezTo>
                      <a:pt x="257175" y="562018"/>
                      <a:pt x="251460" y="564875"/>
                      <a:pt x="246698" y="564875"/>
                    </a:cubicBezTo>
                    <a:cubicBezTo>
                      <a:pt x="241935" y="564875"/>
                      <a:pt x="236220" y="564875"/>
                      <a:pt x="236220" y="564875"/>
                    </a:cubicBezTo>
                    <a:lnTo>
                      <a:pt x="225743" y="564875"/>
                    </a:lnTo>
                    <a:cubicBezTo>
                      <a:pt x="225743" y="564875"/>
                      <a:pt x="212408" y="564875"/>
                      <a:pt x="206693" y="564875"/>
                    </a:cubicBezTo>
                    <a:cubicBezTo>
                      <a:pt x="200978" y="564875"/>
                      <a:pt x="196215" y="563923"/>
                      <a:pt x="192405" y="563923"/>
                    </a:cubicBezTo>
                    <a:cubicBezTo>
                      <a:pt x="187643" y="563923"/>
                      <a:pt x="186690" y="561065"/>
                      <a:pt x="186690" y="561065"/>
                    </a:cubicBezTo>
                    <a:lnTo>
                      <a:pt x="178118" y="560113"/>
                    </a:lnTo>
                    <a:lnTo>
                      <a:pt x="170498" y="560113"/>
                    </a:lnTo>
                    <a:lnTo>
                      <a:pt x="161925" y="562018"/>
                    </a:lnTo>
                    <a:cubicBezTo>
                      <a:pt x="161925" y="562018"/>
                      <a:pt x="161925" y="562018"/>
                      <a:pt x="153353" y="564875"/>
                    </a:cubicBezTo>
                    <a:lnTo>
                      <a:pt x="151448" y="570590"/>
                    </a:lnTo>
                    <a:lnTo>
                      <a:pt x="149543" y="581068"/>
                    </a:lnTo>
                    <a:lnTo>
                      <a:pt x="144780" y="586783"/>
                    </a:lnTo>
                    <a:lnTo>
                      <a:pt x="141923" y="592498"/>
                    </a:lnTo>
                    <a:lnTo>
                      <a:pt x="144780" y="602975"/>
                    </a:lnTo>
                    <a:lnTo>
                      <a:pt x="145733" y="611548"/>
                    </a:lnTo>
                    <a:cubicBezTo>
                      <a:pt x="145733" y="611548"/>
                      <a:pt x="143828" y="622025"/>
                      <a:pt x="143828" y="624883"/>
                    </a:cubicBezTo>
                    <a:cubicBezTo>
                      <a:pt x="143828" y="627740"/>
                      <a:pt x="144780" y="631550"/>
                      <a:pt x="144780" y="631550"/>
                    </a:cubicBezTo>
                    <a:lnTo>
                      <a:pt x="145733" y="642028"/>
                    </a:lnTo>
                    <a:lnTo>
                      <a:pt x="167640" y="647743"/>
                    </a:lnTo>
                    <a:lnTo>
                      <a:pt x="188595" y="649648"/>
                    </a:lnTo>
                    <a:lnTo>
                      <a:pt x="204788" y="648695"/>
                    </a:lnTo>
                    <a:lnTo>
                      <a:pt x="223838" y="646790"/>
                    </a:lnTo>
                    <a:lnTo>
                      <a:pt x="237173" y="647743"/>
                    </a:lnTo>
                    <a:cubicBezTo>
                      <a:pt x="237173" y="647743"/>
                      <a:pt x="245745" y="646790"/>
                      <a:pt x="251460" y="644885"/>
                    </a:cubicBezTo>
                    <a:cubicBezTo>
                      <a:pt x="257175" y="642980"/>
                      <a:pt x="260033" y="642980"/>
                      <a:pt x="260033" y="642980"/>
                    </a:cubicBezTo>
                    <a:lnTo>
                      <a:pt x="265748" y="642028"/>
                    </a:lnTo>
                    <a:lnTo>
                      <a:pt x="280988" y="635360"/>
                    </a:lnTo>
                    <a:lnTo>
                      <a:pt x="286703" y="633455"/>
                    </a:lnTo>
                    <a:lnTo>
                      <a:pt x="292418" y="629645"/>
                    </a:lnTo>
                    <a:lnTo>
                      <a:pt x="302895" y="622978"/>
                    </a:lnTo>
                    <a:lnTo>
                      <a:pt x="302895" y="617263"/>
                    </a:lnTo>
                    <a:cubicBezTo>
                      <a:pt x="302895" y="617263"/>
                      <a:pt x="302895" y="613453"/>
                      <a:pt x="305753" y="608690"/>
                    </a:cubicBezTo>
                    <a:lnTo>
                      <a:pt x="313373" y="607738"/>
                    </a:lnTo>
                    <a:lnTo>
                      <a:pt x="319088" y="602975"/>
                    </a:lnTo>
                    <a:lnTo>
                      <a:pt x="320993" y="597260"/>
                    </a:lnTo>
                    <a:cubicBezTo>
                      <a:pt x="320993" y="597260"/>
                      <a:pt x="320993" y="597260"/>
                      <a:pt x="326708" y="593450"/>
                    </a:cubicBezTo>
                    <a:lnTo>
                      <a:pt x="344805" y="589640"/>
                    </a:lnTo>
                    <a:lnTo>
                      <a:pt x="353378" y="582020"/>
                    </a:lnTo>
                    <a:lnTo>
                      <a:pt x="359093" y="579163"/>
                    </a:lnTo>
                    <a:lnTo>
                      <a:pt x="361950" y="574400"/>
                    </a:lnTo>
                    <a:lnTo>
                      <a:pt x="366713" y="570590"/>
                    </a:lnTo>
                    <a:lnTo>
                      <a:pt x="368618" y="566780"/>
                    </a:lnTo>
                    <a:lnTo>
                      <a:pt x="374333" y="562018"/>
                    </a:lnTo>
                    <a:lnTo>
                      <a:pt x="382905" y="563923"/>
                    </a:lnTo>
                    <a:lnTo>
                      <a:pt x="388620" y="563923"/>
                    </a:lnTo>
                    <a:lnTo>
                      <a:pt x="391478" y="568685"/>
                    </a:lnTo>
                    <a:lnTo>
                      <a:pt x="397193" y="571543"/>
                    </a:lnTo>
                    <a:lnTo>
                      <a:pt x="404813" y="573448"/>
                    </a:lnTo>
                    <a:lnTo>
                      <a:pt x="410528" y="572495"/>
                    </a:lnTo>
                    <a:lnTo>
                      <a:pt x="416243" y="571543"/>
                    </a:lnTo>
                    <a:lnTo>
                      <a:pt x="426720" y="565828"/>
                    </a:lnTo>
                    <a:lnTo>
                      <a:pt x="434340" y="560113"/>
                    </a:lnTo>
                    <a:lnTo>
                      <a:pt x="440055" y="557255"/>
                    </a:lnTo>
                    <a:lnTo>
                      <a:pt x="447675" y="553445"/>
                    </a:lnTo>
                    <a:lnTo>
                      <a:pt x="455295" y="554398"/>
                    </a:lnTo>
                    <a:lnTo>
                      <a:pt x="462915" y="554398"/>
                    </a:lnTo>
                    <a:lnTo>
                      <a:pt x="468630" y="556303"/>
                    </a:lnTo>
                    <a:lnTo>
                      <a:pt x="474345" y="558208"/>
                    </a:lnTo>
                    <a:lnTo>
                      <a:pt x="482918" y="562018"/>
                    </a:lnTo>
                    <a:lnTo>
                      <a:pt x="493395" y="568685"/>
                    </a:lnTo>
                    <a:lnTo>
                      <a:pt x="496253" y="574400"/>
                    </a:lnTo>
                    <a:lnTo>
                      <a:pt x="504825" y="580115"/>
                    </a:lnTo>
                    <a:lnTo>
                      <a:pt x="512445" y="585830"/>
                    </a:lnTo>
                    <a:lnTo>
                      <a:pt x="521018" y="592498"/>
                    </a:lnTo>
                    <a:lnTo>
                      <a:pt x="526733" y="594403"/>
                    </a:lnTo>
                    <a:lnTo>
                      <a:pt x="537210" y="598213"/>
                    </a:lnTo>
                    <a:lnTo>
                      <a:pt x="551498" y="603928"/>
                    </a:lnTo>
                    <a:lnTo>
                      <a:pt x="560070" y="605833"/>
                    </a:lnTo>
                    <a:lnTo>
                      <a:pt x="561023" y="610595"/>
                    </a:lnTo>
                    <a:lnTo>
                      <a:pt x="563880" y="615358"/>
                    </a:lnTo>
                    <a:lnTo>
                      <a:pt x="566738" y="620120"/>
                    </a:lnTo>
                    <a:lnTo>
                      <a:pt x="567690" y="626788"/>
                    </a:lnTo>
                    <a:lnTo>
                      <a:pt x="575310" y="629645"/>
                    </a:lnTo>
                    <a:lnTo>
                      <a:pt x="581025" y="630598"/>
                    </a:lnTo>
                    <a:lnTo>
                      <a:pt x="589598" y="627740"/>
                    </a:lnTo>
                    <a:cubicBezTo>
                      <a:pt x="589598" y="627740"/>
                      <a:pt x="589598" y="627740"/>
                      <a:pt x="589598" y="620120"/>
                    </a:cubicBezTo>
                    <a:cubicBezTo>
                      <a:pt x="589598" y="612500"/>
                      <a:pt x="589598" y="620120"/>
                      <a:pt x="589598" y="612500"/>
                    </a:cubicBezTo>
                    <a:cubicBezTo>
                      <a:pt x="589598" y="611548"/>
                      <a:pt x="589598" y="610595"/>
                      <a:pt x="589598" y="609643"/>
                    </a:cubicBezTo>
                    <a:cubicBezTo>
                      <a:pt x="589598" y="609643"/>
                      <a:pt x="589598" y="609643"/>
                      <a:pt x="589598" y="608690"/>
                    </a:cubicBezTo>
                    <a:cubicBezTo>
                      <a:pt x="589598" y="608690"/>
                      <a:pt x="589598" y="608690"/>
                      <a:pt x="589598" y="608690"/>
                    </a:cubicBezTo>
                    <a:cubicBezTo>
                      <a:pt x="589598" y="604880"/>
                      <a:pt x="589598" y="608690"/>
                      <a:pt x="588645" y="604880"/>
                    </a:cubicBezTo>
                    <a:cubicBezTo>
                      <a:pt x="587693" y="601070"/>
                      <a:pt x="594360" y="602023"/>
                      <a:pt x="594360" y="602023"/>
                    </a:cubicBezTo>
                    <a:lnTo>
                      <a:pt x="601980" y="597260"/>
                    </a:lnTo>
                    <a:lnTo>
                      <a:pt x="598170" y="590593"/>
                    </a:lnTo>
                    <a:lnTo>
                      <a:pt x="592455" y="589640"/>
                    </a:lnTo>
                    <a:lnTo>
                      <a:pt x="584835" y="587735"/>
                    </a:lnTo>
                    <a:lnTo>
                      <a:pt x="579120" y="586783"/>
                    </a:lnTo>
                    <a:lnTo>
                      <a:pt x="573405" y="584878"/>
                    </a:lnTo>
                    <a:lnTo>
                      <a:pt x="561975" y="578210"/>
                    </a:lnTo>
                    <a:cubicBezTo>
                      <a:pt x="561975" y="578210"/>
                      <a:pt x="561975" y="578210"/>
                      <a:pt x="557213" y="576305"/>
                    </a:cubicBezTo>
                    <a:cubicBezTo>
                      <a:pt x="552450" y="574400"/>
                      <a:pt x="549593" y="571543"/>
                      <a:pt x="549593" y="571543"/>
                    </a:cubicBezTo>
                    <a:lnTo>
                      <a:pt x="532448" y="562018"/>
                    </a:lnTo>
                    <a:lnTo>
                      <a:pt x="521018" y="556303"/>
                    </a:lnTo>
                    <a:cubicBezTo>
                      <a:pt x="521018" y="556303"/>
                      <a:pt x="513398" y="548683"/>
                      <a:pt x="514350" y="545825"/>
                    </a:cubicBezTo>
                    <a:cubicBezTo>
                      <a:pt x="514350" y="542968"/>
                      <a:pt x="514350" y="541063"/>
                      <a:pt x="514350" y="541063"/>
                    </a:cubicBezTo>
                    <a:lnTo>
                      <a:pt x="519113" y="536300"/>
                    </a:lnTo>
                    <a:cubicBezTo>
                      <a:pt x="519113" y="536300"/>
                      <a:pt x="536258" y="539158"/>
                      <a:pt x="541020" y="540110"/>
                    </a:cubicBezTo>
                    <a:cubicBezTo>
                      <a:pt x="545783" y="541063"/>
                      <a:pt x="546735" y="542015"/>
                      <a:pt x="546735" y="542015"/>
                    </a:cubicBezTo>
                    <a:lnTo>
                      <a:pt x="554355" y="545825"/>
                    </a:lnTo>
                    <a:lnTo>
                      <a:pt x="560070" y="549635"/>
                    </a:lnTo>
                    <a:lnTo>
                      <a:pt x="574358" y="554398"/>
                    </a:lnTo>
                    <a:lnTo>
                      <a:pt x="584835" y="559160"/>
                    </a:lnTo>
                    <a:lnTo>
                      <a:pt x="592455" y="563923"/>
                    </a:lnTo>
                    <a:lnTo>
                      <a:pt x="608648" y="569638"/>
                    </a:lnTo>
                    <a:lnTo>
                      <a:pt x="617220" y="578210"/>
                    </a:lnTo>
                    <a:lnTo>
                      <a:pt x="621030" y="584878"/>
                    </a:lnTo>
                    <a:lnTo>
                      <a:pt x="628650" y="591545"/>
                    </a:lnTo>
                    <a:lnTo>
                      <a:pt x="632460" y="597260"/>
                    </a:lnTo>
                    <a:lnTo>
                      <a:pt x="637223" y="603928"/>
                    </a:lnTo>
                    <a:lnTo>
                      <a:pt x="638175" y="611548"/>
                    </a:lnTo>
                    <a:lnTo>
                      <a:pt x="641033" y="616310"/>
                    </a:lnTo>
                    <a:lnTo>
                      <a:pt x="649605" y="622025"/>
                    </a:lnTo>
                    <a:lnTo>
                      <a:pt x="653415" y="626788"/>
                    </a:lnTo>
                    <a:lnTo>
                      <a:pt x="661988" y="631550"/>
                    </a:lnTo>
                    <a:lnTo>
                      <a:pt x="667703" y="636313"/>
                    </a:lnTo>
                    <a:lnTo>
                      <a:pt x="667703" y="642028"/>
                    </a:lnTo>
                    <a:lnTo>
                      <a:pt x="670560" y="650600"/>
                    </a:lnTo>
                    <a:lnTo>
                      <a:pt x="678180" y="652505"/>
                    </a:lnTo>
                    <a:lnTo>
                      <a:pt x="688658" y="652505"/>
                    </a:lnTo>
                    <a:lnTo>
                      <a:pt x="701993" y="648695"/>
                    </a:lnTo>
                    <a:cubicBezTo>
                      <a:pt x="701993" y="648695"/>
                      <a:pt x="701993" y="648695"/>
                      <a:pt x="704850" y="645838"/>
                    </a:cubicBezTo>
                    <a:cubicBezTo>
                      <a:pt x="707708" y="642980"/>
                      <a:pt x="704850" y="645838"/>
                      <a:pt x="710565" y="642980"/>
                    </a:cubicBezTo>
                    <a:lnTo>
                      <a:pt x="715328" y="638218"/>
                    </a:lnTo>
                    <a:lnTo>
                      <a:pt x="715328" y="632503"/>
                    </a:lnTo>
                    <a:lnTo>
                      <a:pt x="715328" y="625835"/>
                    </a:lnTo>
                    <a:lnTo>
                      <a:pt x="712470" y="621073"/>
                    </a:lnTo>
                    <a:cubicBezTo>
                      <a:pt x="712470" y="621073"/>
                      <a:pt x="712470" y="621073"/>
                      <a:pt x="712470" y="616310"/>
                    </a:cubicBezTo>
                    <a:cubicBezTo>
                      <a:pt x="712470" y="611548"/>
                      <a:pt x="712470" y="616310"/>
                      <a:pt x="711518" y="611548"/>
                    </a:cubicBezTo>
                    <a:lnTo>
                      <a:pt x="713423" y="604880"/>
                    </a:lnTo>
                    <a:lnTo>
                      <a:pt x="719138" y="601070"/>
                    </a:lnTo>
                    <a:lnTo>
                      <a:pt x="741045" y="602975"/>
                    </a:lnTo>
                    <a:lnTo>
                      <a:pt x="748665" y="607738"/>
                    </a:lnTo>
                    <a:lnTo>
                      <a:pt x="749618" y="612500"/>
                    </a:lnTo>
                    <a:lnTo>
                      <a:pt x="753428" y="623930"/>
                    </a:lnTo>
                    <a:lnTo>
                      <a:pt x="756285" y="630598"/>
                    </a:lnTo>
                    <a:lnTo>
                      <a:pt x="763905" y="637265"/>
                    </a:lnTo>
                    <a:lnTo>
                      <a:pt x="772478" y="641075"/>
                    </a:lnTo>
                    <a:lnTo>
                      <a:pt x="773430" y="644885"/>
                    </a:lnTo>
                    <a:lnTo>
                      <a:pt x="783908" y="646790"/>
                    </a:lnTo>
                    <a:cubicBezTo>
                      <a:pt x="783908" y="646790"/>
                      <a:pt x="789623" y="648695"/>
                      <a:pt x="801053" y="650600"/>
                    </a:cubicBezTo>
                    <a:cubicBezTo>
                      <a:pt x="812483" y="652505"/>
                      <a:pt x="812483" y="651553"/>
                      <a:pt x="812483" y="651553"/>
                    </a:cubicBezTo>
                    <a:lnTo>
                      <a:pt x="826770" y="651553"/>
                    </a:lnTo>
                    <a:cubicBezTo>
                      <a:pt x="826770" y="651553"/>
                      <a:pt x="835343" y="652505"/>
                      <a:pt x="840105" y="651553"/>
                    </a:cubicBezTo>
                    <a:cubicBezTo>
                      <a:pt x="844868" y="650600"/>
                      <a:pt x="848678" y="651553"/>
                      <a:pt x="848678" y="651553"/>
                    </a:cubicBezTo>
                    <a:lnTo>
                      <a:pt x="862965" y="650600"/>
                    </a:lnTo>
                    <a:lnTo>
                      <a:pt x="874395" y="650600"/>
                    </a:lnTo>
                    <a:cubicBezTo>
                      <a:pt x="874395" y="650600"/>
                      <a:pt x="882015" y="651553"/>
                      <a:pt x="887730" y="650600"/>
                    </a:cubicBezTo>
                    <a:cubicBezTo>
                      <a:pt x="893445" y="649648"/>
                      <a:pt x="896303" y="653458"/>
                      <a:pt x="896303" y="653458"/>
                    </a:cubicBezTo>
                    <a:lnTo>
                      <a:pt x="904875" y="660125"/>
                    </a:lnTo>
                    <a:lnTo>
                      <a:pt x="918210" y="662983"/>
                    </a:lnTo>
                    <a:lnTo>
                      <a:pt x="918210" y="666793"/>
                    </a:lnTo>
                    <a:lnTo>
                      <a:pt x="918210" y="673460"/>
                    </a:lnTo>
                    <a:lnTo>
                      <a:pt x="912495" y="677270"/>
                    </a:lnTo>
                    <a:cubicBezTo>
                      <a:pt x="912495" y="677270"/>
                      <a:pt x="912495" y="677270"/>
                      <a:pt x="904875" y="681080"/>
                    </a:cubicBezTo>
                    <a:lnTo>
                      <a:pt x="902018" y="684890"/>
                    </a:lnTo>
                    <a:cubicBezTo>
                      <a:pt x="902018" y="684890"/>
                      <a:pt x="897255" y="688700"/>
                      <a:pt x="896303" y="691558"/>
                    </a:cubicBezTo>
                    <a:cubicBezTo>
                      <a:pt x="894398" y="694415"/>
                      <a:pt x="896303" y="699178"/>
                      <a:pt x="894398" y="702035"/>
                    </a:cubicBezTo>
                    <a:cubicBezTo>
                      <a:pt x="892493" y="704893"/>
                      <a:pt x="894398" y="711560"/>
                      <a:pt x="894398" y="711560"/>
                    </a:cubicBezTo>
                    <a:lnTo>
                      <a:pt x="889635" y="717275"/>
                    </a:lnTo>
                    <a:lnTo>
                      <a:pt x="881063" y="720133"/>
                    </a:lnTo>
                    <a:lnTo>
                      <a:pt x="862013" y="722038"/>
                    </a:lnTo>
                    <a:cubicBezTo>
                      <a:pt x="862013" y="722038"/>
                      <a:pt x="862013" y="722038"/>
                      <a:pt x="850583" y="722038"/>
                    </a:cubicBezTo>
                    <a:cubicBezTo>
                      <a:pt x="839153" y="722038"/>
                      <a:pt x="850583" y="722038"/>
                      <a:pt x="842963" y="721085"/>
                    </a:cubicBezTo>
                    <a:cubicBezTo>
                      <a:pt x="835343" y="720133"/>
                      <a:pt x="834390" y="724895"/>
                      <a:pt x="834390" y="724895"/>
                    </a:cubicBezTo>
                    <a:cubicBezTo>
                      <a:pt x="834390" y="724895"/>
                      <a:pt x="815340" y="726800"/>
                      <a:pt x="807720" y="727753"/>
                    </a:cubicBezTo>
                    <a:cubicBezTo>
                      <a:pt x="800100" y="728705"/>
                      <a:pt x="793433" y="727753"/>
                      <a:pt x="793433" y="727753"/>
                    </a:cubicBezTo>
                    <a:cubicBezTo>
                      <a:pt x="793433" y="727753"/>
                      <a:pt x="777240" y="725848"/>
                      <a:pt x="771525" y="725848"/>
                    </a:cubicBezTo>
                    <a:cubicBezTo>
                      <a:pt x="765810" y="725848"/>
                      <a:pt x="758190" y="723943"/>
                      <a:pt x="758190" y="723943"/>
                    </a:cubicBezTo>
                    <a:lnTo>
                      <a:pt x="750570" y="722038"/>
                    </a:lnTo>
                    <a:lnTo>
                      <a:pt x="734378" y="720133"/>
                    </a:lnTo>
                    <a:lnTo>
                      <a:pt x="718185" y="715370"/>
                    </a:lnTo>
                    <a:lnTo>
                      <a:pt x="706755" y="714418"/>
                    </a:lnTo>
                    <a:cubicBezTo>
                      <a:pt x="706755" y="714418"/>
                      <a:pt x="688658" y="713465"/>
                      <a:pt x="684848" y="711560"/>
                    </a:cubicBezTo>
                    <a:cubicBezTo>
                      <a:pt x="680085" y="709655"/>
                      <a:pt x="667703" y="711560"/>
                      <a:pt x="667703" y="711560"/>
                    </a:cubicBezTo>
                    <a:cubicBezTo>
                      <a:pt x="667703" y="711560"/>
                      <a:pt x="656273" y="713465"/>
                      <a:pt x="651510" y="713465"/>
                    </a:cubicBezTo>
                    <a:cubicBezTo>
                      <a:pt x="646748" y="713465"/>
                      <a:pt x="648653" y="719180"/>
                      <a:pt x="648653" y="719180"/>
                    </a:cubicBezTo>
                    <a:cubicBezTo>
                      <a:pt x="648653" y="719180"/>
                      <a:pt x="641033" y="727753"/>
                      <a:pt x="632460" y="728705"/>
                    </a:cubicBezTo>
                    <a:cubicBezTo>
                      <a:pt x="623888" y="729658"/>
                      <a:pt x="611505" y="726800"/>
                      <a:pt x="607695" y="726800"/>
                    </a:cubicBezTo>
                    <a:cubicBezTo>
                      <a:pt x="602933" y="726800"/>
                      <a:pt x="601980" y="725848"/>
                      <a:pt x="596265" y="723943"/>
                    </a:cubicBezTo>
                    <a:cubicBezTo>
                      <a:pt x="590550" y="722038"/>
                      <a:pt x="585788" y="721085"/>
                      <a:pt x="585788" y="721085"/>
                    </a:cubicBezTo>
                    <a:lnTo>
                      <a:pt x="571500" y="717275"/>
                    </a:lnTo>
                    <a:cubicBezTo>
                      <a:pt x="571500" y="717275"/>
                      <a:pt x="565785" y="717275"/>
                      <a:pt x="560070" y="714418"/>
                    </a:cubicBezTo>
                    <a:cubicBezTo>
                      <a:pt x="554355" y="711560"/>
                      <a:pt x="548640" y="710608"/>
                      <a:pt x="548640" y="710608"/>
                    </a:cubicBezTo>
                    <a:lnTo>
                      <a:pt x="537210" y="707750"/>
                    </a:lnTo>
                    <a:cubicBezTo>
                      <a:pt x="537210" y="707750"/>
                      <a:pt x="525780" y="705845"/>
                      <a:pt x="521018" y="704893"/>
                    </a:cubicBezTo>
                    <a:cubicBezTo>
                      <a:pt x="516255" y="703940"/>
                      <a:pt x="515303" y="701083"/>
                      <a:pt x="515303" y="701083"/>
                    </a:cubicBezTo>
                    <a:lnTo>
                      <a:pt x="507683" y="697273"/>
                    </a:lnTo>
                    <a:lnTo>
                      <a:pt x="501968" y="697273"/>
                    </a:lnTo>
                    <a:lnTo>
                      <a:pt x="494348" y="694415"/>
                    </a:lnTo>
                    <a:lnTo>
                      <a:pt x="488633" y="689653"/>
                    </a:lnTo>
                    <a:cubicBezTo>
                      <a:pt x="488633" y="689653"/>
                      <a:pt x="484823" y="683938"/>
                      <a:pt x="482918" y="681080"/>
                    </a:cubicBezTo>
                    <a:cubicBezTo>
                      <a:pt x="481965" y="678223"/>
                      <a:pt x="482918" y="675365"/>
                      <a:pt x="482918" y="675365"/>
                    </a:cubicBezTo>
                    <a:lnTo>
                      <a:pt x="485775" y="662983"/>
                    </a:lnTo>
                    <a:cubicBezTo>
                      <a:pt x="485775" y="662983"/>
                      <a:pt x="485775" y="662983"/>
                      <a:pt x="484823" y="655363"/>
                    </a:cubicBezTo>
                    <a:cubicBezTo>
                      <a:pt x="483870" y="647743"/>
                      <a:pt x="484823" y="655363"/>
                      <a:pt x="480060" y="651553"/>
                    </a:cubicBezTo>
                    <a:lnTo>
                      <a:pt x="461010" y="652505"/>
                    </a:lnTo>
                    <a:lnTo>
                      <a:pt x="450533" y="652505"/>
                    </a:lnTo>
                    <a:lnTo>
                      <a:pt x="440055" y="652505"/>
                    </a:lnTo>
                    <a:lnTo>
                      <a:pt x="421005" y="651553"/>
                    </a:lnTo>
                    <a:lnTo>
                      <a:pt x="410528" y="651553"/>
                    </a:lnTo>
                    <a:lnTo>
                      <a:pt x="402908" y="650600"/>
                    </a:lnTo>
                    <a:lnTo>
                      <a:pt x="392430" y="650600"/>
                    </a:lnTo>
                    <a:lnTo>
                      <a:pt x="373380" y="650600"/>
                    </a:lnTo>
                    <a:lnTo>
                      <a:pt x="365760" y="650600"/>
                    </a:lnTo>
                    <a:lnTo>
                      <a:pt x="352425" y="650600"/>
                    </a:lnTo>
                    <a:lnTo>
                      <a:pt x="339090" y="650600"/>
                    </a:lnTo>
                    <a:lnTo>
                      <a:pt x="330518" y="653458"/>
                    </a:lnTo>
                    <a:lnTo>
                      <a:pt x="324803" y="658220"/>
                    </a:lnTo>
                    <a:lnTo>
                      <a:pt x="316230" y="659173"/>
                    </a:lnTo>
                    <a:lnTo>
                      <a:pt x="304800" y="662030"/>
                    </a:lnTo>
                    <a:lnTo>
                      <a:pt x="294323" y="662983"/>
                    </a:lnTo>
                    <a:lnTo>
                      <a:pt x="288608" y="663935"/>
                    </a:lnTo>
                    <a:lnTo>
                      <a:pt x="280988" y="667745"/>
                    </a:lnTo>
                    <a:lnTo>
                      <a:pt x="261938" y="670603"/>
                    </a:lnTo>
                    <a:lnTo>
                      <a:pt x="254318" y="671555"/>
                    </a:lnTo>
                    <a:lnTo>
                      <a:pt x="238125" y="679175"/>
                    </a:lnTo>
                    <a:lnTo>
                      <a:pt x="219075" y="674413"/>
                    </a:lnTo>
                    <a:lnTo>
                      <a:pt x="205740" y="674413"/>
                    </a:lnTo>
                    <a:lnTo>
                      <a:pt x="200025" y="678223"/>
                    </a:lnTo>
                    <a:lnTo>
                      <a:pt x="188595" y="681080"/>
                    </a:lnTo>
                    <a:cubicBezTo>
                      <a:pt x="188595" y="681080"/>
                      <a:pt x="180975" y="684890"/>
                      <a:pt x="177165" y="684890"/>
                    </a:cubicBezTo>
                    <a:cubicBezTo>
                      <a:pt x="172403" y="684890"/>
                      <a:pt x="168593" y="691558"/>
                      <a:pt x="168593" y="691558"/>
                    </a:cubicBezTo>
                    <a:cubicBezTo>
                      <a:pt x="168593" y="691558"/>
                      <a:pt x="168593" y="691558"/>
                      <a:pt x="160020" y="692510"/>
                    </a:cubicBezTo>
                    <a:cubicBezTo>
                      <a:pt x="151448" y="693463"/>
                      <a:pt x="160020" y="692510"/>
                      <a:pt x="155258" y="693463"/>
                    </a:cubicBezTo>
                    <a:cubicBezTo>
                      <a:pt x="150495" y="694415"/>
                      <a:pt x="149543" y="695368"/>
                      <a:pt x="149543" y="695368"/>
                    </a:cubicBezTo>
                    <a:lnTo>
                      <a:pt x="146685" y="701083"/>
                    </a:lnTo>
                    <a:lnTo>
                      <a:pt x="141923" y="706798"/>
                    </a:lnTo>
                    <a:lnTo>
                      <a:pt x="136208" y="711560"/>
                    </a:lnTo>
                    <a:lnTo>
                      <a:pt x="131445" y="721085"/>
                    </a:lnTo>
                    <a:lnTo>
                      <a:pt x="128588" y="729658"/>
                    </a:lnTo>
                    <a:lnTo>
                      <a:pt x="122873" y="740135"/>
                    </a:lnTo>
                    <a:lnTo>
                      <a:pt x="115253" y="744898"/>
                    </a:lnTo>
                    <a:lnTo>
                      <a:pt x="104775" y="749660"/>
                    </a:lnTo>
                    <a:lnTo>
                      <a:pt x="97155" y="746803"/>
                    </a:lnTo>
                    <a:lnTo>
                      <a:pt x="81915" y="754423"/>
                    </a:lnTo>
                    <a:lnTo>
                      <a:pt x="76200" y="756328"/>
                    </a:lnTo>
                    <a:cubicBezTo>
                      <a:pt x="76200" y="756328"/>
                      <a:pt x="71438" y="760138"/>
                      <a:pt x="68580" y="762995"/>
                    </a:cubicBezTo>
                    <a:cubicBezTo>
                      <a:pt x="65723" y="765853"/>
                      <a:pt x="63818" y="767758"/>
                      <a:pt x="63818" y="767758"/>
                    </a:cubicBezTo>
                    <a:cubicBezTo>
                      <a:pt x="63818" y="767758"/>
                      <a:pt x="60960" y="774425"/>
                      <a:pt x="56198" y="781093"/>
                    </a:cubicBezTo>
                    <a:cubicBezTo>
                      <a:pt x="51435" y="787760"/>
                      <a:pt x="56198" y="781093"/>
                      <a:pt x="51435" y="782045"/>
                    </a:cubicBezTo>
                    <a:cubicBezTo>
                      <a:pt x="46673" y="782998"/>
                      <a:pt x="45720" y="786808"/>
                      <a:pt x="40958" y="787760"/>
                    </a:cubicBezTo>
                    <a:cubicBezTo>
                      <a:pt x="36195" y="788713"/>
                      <a:pt x="35243" y="789665"/>
                      <a:pt x="25718" y="794428"/>
                    </a:cubicBezTo>
                    <a:lnTo>
                      <a:pt x="18098" y="802048"/>
                    </a:lnTo>
                    <a:lnTo>
                      <a:pt x="12383" y="815383"/>
                    </a:lnTo>
                    <a:lnTo>
                      <a:pt x="6668" y="823955"/>
                    </a:lnTo>
                    <a:lnTo>
                      <a:pt x="6668" y="834433"/>
                    </a:lnTo>
                    <a:lnTo>
                      <a:pt x="6668" y="839195"/>
                    </a:lnTo>
                    <a:lnTo>
                      <a:pt x="6668" y="850625"/>
                    </a:lnTo>
                    <a:lnTo>
                      <a:pt x="9525" y="864913"/>
                    </a:lnTo>
                    <a:lnTo>
                      <a:pt x="9525" y="874438"/>
                    </a:lnTo>
                    <a:cubicBezTo>
                      <a:pt x="9525" y="874438"/>
                      <a:pt x="10478" y="885868"/>
                      <a:pt x="7620" y="888725"/>
                    </a:cubicBezTo>
                    <a:cubicBezTo>
                      <a:pt x="4763" y="891583"/>
                      <a:pt x="5715" y="894440"/>
                      <a:pt x="5715" y="894440"/>
                    </a:cubicBezTo>
                    <a:lnTo>
                      <a:pt x="2858" y="908728"/>
                    </a:lnTo>
                    <a:lnTo>
                      <a:pt x="0" y="919205"/>
                    </a:lnTo>
                    <a:lnTo>
                      <a:pt x="5715" y="929683"/>
                    </a:lnTo>
                    <a:lnTo>
                      <a:pt x="8573" y="938255"/>
                    </a:lnTo>
                    <a:lnTo>
                      <a:pt x="24765" y="944923"/>
                    </a:lnTo>
                    <a:lnTo>
                      <a:pt x="32385" y="949685"/>
                    </a:lnTo>
                    <a:lnTo>
                      <a:pt x="42863" y="961115"/>
                    </a:lnTo>
                    <a:lnTo>
                      <a:pt x="56198" y="968735"/>
                    </a:lnTo>
                    <a:lnTo>
                      <a:pt x="61913" y="973498"/>
                    </a:lnTo>
                    <a:lnTo>
                      <a:pt x="75248" y="980165"/>
                    </a:lnTo>
                    <a:lnTo>
                      <a:pt x="86678" y="985880"/>
                    </a:lnTo>
                    <a:lnTo>
                      <a:pt x="95250" y="993500"/>
                    </a:lnTo>
                    <a:lnTo>
                      <a:pt x="114300" y="1001120"/>
                    </a:lnTo>
                    <a:lnTo>
                      <a:pt x="120015" y="1009693"/>
                    </a:lnTo>
                    <a:lnTo>
                      <a:pt x="137160" y="1020170"/>
                    </a:lnTo>
                    <a:lnTo>
                      <a:pt x="147638" y="1026838"/>
                    </a:lnTo>
                    <a:cubicBezTo>
                      <a:pt x="147638" y="1026838"/>
                      <a:pt x="153353" y="1026838"/>
                      <a:pt x="165735" y="1026838"/>
                    </a:cubicBezTo>
                    <a:cubicBezTo>
                      <a:pt x="177165" y="1026838"/>
                      <a:pt x="176213" y="1025885"/>
                      <a:pt x="184785" y="1023028"/>
                    </a:cubicBezTo>
                    <a:lnTo>
                      <a:pt x="190500" y="1021123"/>
                    </a:lnTo>
                    <a:lnTo>
                      <a:pt x="201930" y="1019218"/>
                    </a:lnTo>
                    <a:lnTo>
                      <a:pt x="207645" y="1019218"/>
                    </a:lnTo>
                    <a:lnTo>
                      <a:pt x="216218" y="1019218"/>
                    </a:lnTo>
                    <a:lnTo>
                      <a:pt x="224790" y="1019218"/>
                    </a:lnTo>
                    <a:lnTo>
                      <a:pt x="233363" y="1021123"/>
                    </a:lnTo>
                    <a:lnTo>
                      <a:pt x="249555" y="1021123"/>
                    </a:lnTo>
                    <a:lnTo>
                      <a:pt x="258128" y="1020170"/>
                    </a:lnTo>
                    <a:cubicBezTo>
                      <a:pt x="258128" y="1020170"/>
                      <a:pt x="263843" y="1020170"/>
                      <a:pt x="279083" y="1018265"/>
                    </a:cubicBezTo>
                    <a:cubicBezTo>
                      <a:pt x="293370" y="1016360"/>
                      <a:pt x="289560" y="1016360"/>
                      <a:pt x="295275" y="1013503"/>
                    </a:cubicBezTo>
                    <a:cubicBezTo>
                      <a:pt x="295275" y="1013503"/>
                      <a:pt x="303848" y="1009693"/>
                      <a:pt x="306705" y="1006835"/>
                    </a:cubicBezTo>
                    <a:cubicBezTo>
                      <a:pt x="309563" y="1003978"/>
                      <a:pt x="314325" y="1003025"/>
                      <a:pt x="314325" y="1003025"/>
                    </a:cubicBezTo>
                    <a:lnTo>
                      <a:pt x="320040" y="1002073"/>
                    </a:lnTo>
                    <a:lnTo>
                      <a:pt x="334328" y="1002073"/>
                    </a:lnTo>
                    <a:lnTo>
                      <a:pt x="347663" y="1003978"/>
                    </a:lnTo>
                    <a:lnTo>
                      <a:pt x="358140" y="1005883"/>
                    </a:lnTo>
                    <a:lnTo>
                      <a:pt x="366713" y="1006835"/>
                    </a:lnTo>
                    <a:lnTo>
                      <a:pt x="377190" y="1008740"/>
                    </a:lnTo>
                    <a:lnTo>
                      <a:pt x="385763" y="1014455"/>
                    </a:lnTo>
                    <a:lnTo>
                      <a:pt x="394335" y="1021123"/>
                    </a:lnTo>
                    <a:lnTo>
                      <a:pt x="404813" y="1023980"/>
                    </a:lnTo>
                    <a:lnTo>
                      <a:pt x="412433" y="1025885"/>
                    </a:lnTo>
                    <a:lnTo>
                      <a:pt x="429578" y="1027790"/>
                    </a:lnTo>
                    <a:lnTo>
                      <a:pt x="437198" y="1027790"/>
                    </a:lnTo>
                    <a:lnTo>
                      <a:pt x="450533" y="1030648"/>
                    </a:lnTo>
                    <a:lnTo>
                      <a:pt x="451485" y="1036363"/>
                    </a:lnTo>
                    <a:cubicBezTo>
                      <a:pt x="451485" y="1036363"/>
                      <a:pt x="452438" y="1043030"/>
                      <a:pt x="451485" y="1045888"/>
                    </a:cubicBezTo>
                    <a:cubicBezTo>
                      <a:pt x="449580" y="1048745"/>
                      <a:pt x="452438" y="1050650"/>
                      <a:pt x="451485" y="1055413"/>
                    </a:cubicBezTo>
                    <a:cubicBezTo>
                      <a:pt x="449580" y="1060175"/>
                      <a:pt x="451485" y="1066843"/>
                      <a:pt x="451485" y="1066843"/>
                    </a:cubicBezTo>
                    <a:lnTo>
                      <a:pt x="449580" y="1076368"/>
                    </a:lnTo>
                    <a:lnTo>
                      <a:pt x="447675" y="1087798"/>
                    </a:lnTo>
                    <a:lnTo>
                      <a:pt x="447675" y="1095418"/>
                    </a:lnTo>
                    <a:lnTo>
                      <a:pt x="450533" y="1102085"/>
                    </a:lnTo>
                    <a:lnTo>
                      <a:pt x="458153" y="1108753"/>
                    </a:lnTo>
                    <a:lnTo>
                      <a:pt x="465773" y="1112563"/>
                    </a:lnTo>
                    <a:lnTo>
                      <a:pt x="474345" y="1113515"/>
                    </a:lnTo>
                    <a:lnTo>
                      <a:pt x="487680" y="1123040"/>
                    </a:lnTo>
                    <a:lnTo>
                      <a:pt x="493395" y="1129708"/>
                    </a:lnTo>
                    <a:lnTo>
                      <a:pt x="499110" y="1134470"/>
                    </a:lnTo>
                    <a:cubicBezTo>
                      <a:pt x="499110" y="1134470"/>
                      <a:pt x="504825" y="1138280"/>
                      <a:pt x="507683" y="1150663"/>
                    </a:cubicBezTo>
                    <a:cubicBezTo>
                      <a:pt x="510540" y="1163045"/>
                      <a:pt x="507683" y="1150663"/>
                      <a:pt x="510540" y="1157330"/>
                    </a:cubicBezTo>
                    <a:cubicBezTo>
                      <a:pt x="513398" y="1163998"/>
                      <a:pt x="507683" y="1165903"/>
                      <a:pt x="507683" y="1165903"/>
                    </a:cubicBezTo>
                    <a:cubicBezTo>
                      <a:pt x="507683" y="1165903"/>
                      <a:pt x="507683" y="1170665"/>
                      <a:pt x="507683" y="1173523"/>
                    </a:cubicBezTo>
                    <a:cubicBezTo>
                      <a:pt x="507683" y="1176380"/>
                      <a:pt x="518160" y="1182095"/>
                      <a:pt x="518160" y="1182095"/>
                    </a:cubicBezTo>
                    <a:lnTo>
                      <a:pt x="525780" y="1185905"/>
                    </a:lnTo>
                    <a:lnTo>
                      <a:pt x="526733" y="1192573"/>
                    </a:lnTo>
                    <a:lnTo>
                      <a:pt x="523875" y="1198288"/>
                    </a:lnTo>
                    <a:lnTo>
                      <a:pt x="519113" y="1203050"/>
                    </a:lnTo>
                    <a:cubicBezTo>
                      <a:pt x="519113" y="1203050"/>
                      <a:pt x="517208" y="1210670"/>
                      <a:pt x="511493" y="1214480"/>
                    </a:cubicBezTo>
                    <a:cubicBezTo>
                      <a:pt x="505778" y="1218290"/>
                      <a:pt x="511493" y="1214480"/>
                      <a:pt x="506730" y="1219243"/>
                    </a:cubicBezTo>
                    <a:cubicBezTo>
                      <a:pt x="506730" y="1219243"/>
                      <a:pt x="506730" y="1224958"/>
                      <a:pt x="506730" y="1227815"/>
                    </a:cubicBezTo>
                    <a:cubicBezTo>
                      <a:pt x="506730" y="1230673"/>
                      <a:pt x="499110" y="1233530"/>
                      <a:pt x="499110" y="1233530"/>
                    </a:cubicBezTo>
                    <a:cubicBezTo>
                      <a:pt x="499110" y="1233530"/>
                      <a:pt x="496253" y="1243055"/>
                      <a:pt x="491490" y="1245913"/>
                    </a:cubicBezTo>
                    <a:cubicBezTo>
                      <a:pt x="486728" y="1248770"/>
                      <a:pt x="491490" y="1250675"/>
                      <a:pt x="491490" y="1250675"/>
                    </a:cubicBezTo>
                    <a:lnTo>
                      <a:pt x="494348" y="1260200"/>
                    </a:lnTo>
                    <a:cubicBezTo>
                      <a:pt x="494348" y="1260200"/>
                      <a:pt x="497205" y="1273535"/>
                      <a:pt x="495300" y="1280203"/>
                    </a:cubicBezTo>
                    <a:lnTo>
                      <a:pt x="501968" y="1290680"/>
                    </a:lnTo>
                    <a:lnTo>
                      <a:pt x="500063" y="1304015"/>
                    </a:lnTo>
                    <a:lnTo>
                      <a:pt x="502920" y="1310683"/>
                    </a:lnTo>
                    <a:lnTo>
                      <a:pt x="514350" y="1320208"/>
                    </a:lnTo>
                    <a:lnTo>
                      <a:pt x="525780" y="1326875"/>
                    </a:lnTo>
                    <a:cubicBezTo>
                      <a:pt x="525780" y="1326875"/>
                      <a:pt x="531495" y="1333543"/>
                      <a:pt x="534353" y="1337353"/>
                    </a:cubicBezTo>
                    <a:cubicBezTo>
                      <a:pt x="537210" y="1341163"/>
                      <a:pt x="535305" y="1342115"/>
                      <a:pt x="535305" y="1342115"/>
                    </a:cubicBezTo>
                    <a:lnTo>
                      <a:pt x="533400" y="1349735"/>
                    </a:lnTo>
                    <a:lnTo>
                      <a:pt x="533400" y="1360213"/>
                    </a:lnTo>
                    <a:lnTo>
                      <a:pt x="534353" y="1369738"/>
                    </a:lnTo>
                    <a:lnTo>
                      <a:pt x="547688" y="1380215"/>
                    </a:lnTo>
                    <a:lnTo>
                      <a:pt x="553403" y="1388788"/>
                    </a:lnTo>
                    <a:lnTo>
                      <a:pt x="559118" y="1393550"/>
                    </a:lnTo>
                    <a:lnTo>
                      <a:pt x="563880" y="1398313"/>
                    </a:lnTo>
                    <a:lnTo>
                      <a:pt x="573405" y="1410695"/>
                    </a:lnTo>
                    <a:lnTo>
                      <a:pt x="576263" y="1419268"/>
                    </a:lnTo>
                    <a:lnTo>
                      <a:pt x="580073" y="1425935"/>
                    </a:lnTo>
                    <a:lnTo>
                      <a:pt x="588645" y="1436413"/>
                    </a:lnTo>
                    <a:lnTo>
                      <a:pt x="594360" y="1442128"/>
                    </a:lnTo>
                    <a:lnTo>
                      <a:pt x="597218" y="1451653"/>
                    </a:lnTo>
                    <a:lnTo>
                      <a:pt x="597218" y="1458320"/>
                    </a:lnTo>
                    <a:lnTo>
                      <a:pt x="598170" y="1464035"/>
                    </a:lnTo>
                    <a:lnTo>
                      <a:pt x="601980" y="1473560"/>
                    </a:lnTo>
                    <a:lnTo>
                      <a:pt x="612458" y="1473560"/>
                    </a:lnTo>
                    <a:lnTo>
                      <a:pt x="618173" y="1473560"/>
                    </a:lnTo>
                    <a:lnTo>
                      <a:pt x="628650" y="1473560"/>
                    </a:lnTo>
                    <a:lnTo>
                      <a:pt x="639128" y="1473560"/>
                    </a:lnTo>
                    <a:lnTo>
                      <a:pt x="650558" y="1472608"/>
                    </a:lnTo>
                    <a:cubicBezTo>
                      <a:pt x="650558" y="1472608"/>
                      <a:pt x="650558" y="1472608"/>
                      <a:pt x="656273" y="1470703"/>
                    </a:cubicBezTo>
                    <a:cubicBezTo>
                      <a:pt x="661988" y="1468798"/>
                      <a:pt x="667703" y="1469750"/>
                      <a:pt x="667703" y="1469750"/>
                    </a:cubicBezTo>
                    <a:lnTo>
                      <a:pt x="681038" y="1468798"/>
                    </a:lnTo>
                    <a:lnTo>
                      <a:pt x="698183" y="1468798"/>
                    </a:lnTo>
                    <a:lnTo>
                      <a:pt x="719138" y="1466893"/>
                    </a:lnTo>
                    <a:lnTo>
                      <a:pt x="746760" y="1462130"/>
                    </a:lnTo>
                    <a:lnTo>
                      <a:pt x="764858" y="1456415"/>
                    </a:lnTo>
                    <a:cubicBezTo>
                      <a:pt x="764858" y="1456415"/>
                      <a:pt x="773430" y="1452605"/>
                      <a:pt x="775335" y="1447843"/>
                    </a:cubicBezTo>
                    <a:cubicBezTo>
                      <a:pt x="777240" y="1443080"/>
                      <a:pt x="781050" y="1444033"/>
                      <a:pt x="781050" y="1444033"/>
                    </a:cubicBezTo>
                    <a:lnTo>
                      <a:pt x="786765" y="1440223"/>
                    </a:lnTo>
                    <a:cubicBezTo>
                      <a:pt x="786765" y="1440223"/>
                      <a:pt x="795338" y="1438318"/>
                      <a:pt x="802005" y="1434508"/>
                    </a:cubicBezTo>
                    <a:cubicBezTo>
                      <a:pt x="807720" y="1430698"/>
                      <a:pt x="810578" y="1430698"/>
                      <a:pt x="810578" y="1427840"/>
                    </a:cubicBezTo>
                    <a:cubicBezTo>
                      <a:pt x="810578" y="1424983"/>
                      <a:pt x="815340" y="1424030"/>
                      <a:pt x="815340" y="1424030"/>
                    </a:cubicBezTo>
                    <a:cubicBezTo>
                      <a:pt x="815340" y="1424030"/>
                      <a:pt x="820103" y="1418315"/>
                      <a:pt x="821055" y="1415458"/>
                    </a:cubicBezTo>
                    <a:cubicBezTo>
                      <a:pt x="822960" y="1412600"/>
                      <a:pt x="826770" y="1412600"/>
                      <a:pt x="826770" y="1412600"/>
                    </a:cubicBezTo>
                    <a:cubicBezTo>
                      <a:pt x="826770" y="1412600"/>
                      <a:pt x="826770" y="1412600"/>
                      <a:pt x="834390" y="1406885"/>
                    </a:cubicBezTo>
                    <a:cubicBezTo>
                      <a:pt x="842010" y="1401170"/>
                      <a:pt x="834390" y="1406885"/>
                      <a:pt x="836295" y="1404028"/>
                    </a:cubicBezTo>
                    <a:cubicBezTo>
                      <a:pt x="838200" y="1401170"/>
                      <a:pt x="838200" y="1395455"/>
                      <a:pt x="839153" y="1389740"/>
                    </a:cubicBezTo>
                    <a:cubicBezTo>
                      <a:pt x="841058" y="1384025"/>
                      <a:pt x="839153" y="1384978"/>
                      <a:pt x="839153" y="1381168"/>
                    </a:cubicBezTo>
                    <a:cubicBezTo>
                      <a:pt x="839153" y="1377358"/>
                      <a:pt x="843915" y="1373548"/>
                      <a:pt x="843915" y="1370690"/>
                    </a:cubicBezTo>
                    <a:cubicBezTo>
                      <a:pt x="843915" y="1367833"/>
                      <a:pt x="859155" y="1365928"/>
                      <a:pt x="859155" y="1365928"/>
                    </a:cubicBezTo>
                    <a:lnTo>
                      <a:pt x="864870" y="1364975"/>
                    </a:lnTo>
                    <a:lnTo>
                      <a:pt x="870585" y="1364023"/>
                    </a:lnTo>
                    <a:lnTo>
                      <a:pt x="881063" y="1357355"/>
                    </a:lnTo>
                    <a:cubicBezTo>
                      <a:pt x="881063" y="1357355"/>
                      <a:pt x="881063" y="1357355"/>
                      <a:pt x="880110" y="1354498"/>
                    </a:cubicBezTo>
                    <a:cubicBezTo>
                      <a:pt x="879158" y="1351640"/>
                      <a:pt x="882015" y="1350688"/>
                      <a:pt x="880110" y="1347830"/>
                    </a:cubicBezTo>
                    <a:cubicBezTo>
                      <a:pt x="879158" y="1344973"/>
                      <a:pt x="882015" y="1344020"/>
                      <a:pt x="880110" y="1338305"/>
                    </a:cubicBezTo>
                    <a:cubicBezTo>
                      <a:pt x="879158" y="1332590"/>
                      <a:pt x="882015" y="1334495"/>
                      <a:pt x="880110" y="1329733"/>
                    </a:cubicBezTo>
                    <a:cubicBezTo>
                      <a:pt x="879158" y="1324970"/>
                      <a:pt x="882015" y="1325923"/>
                      <a:pt x="880110" y="1317350"/>
                    </a:cubicBezTo>
                    <a:cubicBezTo>
                      <a:pt x="879158" y="1308778"/>
                      <a:pt x="884873" y="1302110"/>
                      <a:pt x="884873" y="1302110"/>
                    </a:cubicBezTo>
                    <a:lnTo>
                      <a:pt x="884873" y="1298300"/>
                    </a:lnTo>
                    <a:cubicBezTo>
                      <a:pt x="884873" y="1298300"/>
                      <a:pt x="897255" y="1290680"/>
                      <a:pt x="902970" y="1287823"/>
                    </a:cubicBezTo>
                    <a:lnTo>
                      <a:pt x="921068" y="1278298"/>
                    </a:lnTo>
                    <a:lnTo>
                      <a:pt x="929640" y="1275440"/>
                    </a:lnTo>
                    <a:lnTo>
                      <a:pt x="935355" y="1272583"/>
                    </a:lnTo>
                    <a:lnTo>
                      <a:pt x="945833" y="1270678"/>
                    </a:lnTo>
                    <a:lnTo>
                      <a:pt x="954405" y="1267820"/>
                    </a:lnTo>
                    <a:lnTo>
                      <a:pt x="962978" y="1264963"/>
                    </a:lnTo>
                    <a:lnTo>
                      <a:pt x="970598" y="1257343"/>
                    </a:lnTo>
                    <a:cubicBezTo>
                      <a:pt x="970598" y="1257343"/>
                      <a:pt x="975360" y="1247818"/>
                      <a:pt x="975360" y="1243055"/>
                    </a:cubicBezTo>
                    <a:cubicBezTo>
                      <a:pt x="975360" y="1238293"/>
                      <a:pt x="977265" y="1231625"/>
                      <a:pt x="975360" y="1227815"/>
                    </a:cubicBezTo>
                    <a:cubicBezTo>
                      <a:pt x="974408" y="1224005"/>
                      <a:pt x="977265" y="1223053"/>
                      <a:pt x="975360" y="1219243"/>
                    </a:cubicBezTo>
                    <a:cubicBezTo>
                      <a:pt x="974408" y="1215433"/>
                      <a:pt x="977265" y="1207813"/>
                      <a:pt x="975360" y="1204955"/>
                    </a:cubicBezTo>
                    <a:cubicBezTo>
                      <a:pt x="974408" y="1202098"/>
                      <a:pt x="975360" y="1193525"/>
                      <a:pt x="975360" y="1193525"/>
                    </a:cubicBezTo>
                    <a:cubicBezTo>
                      <a:pt x="975360" y="1193525"/>
                      <a:pt x="966788" y="1184000"/>
                      <a:pt x="963930" y="1181143"/>
                    </a:cubicBezTo>
                    <a:cubicBezTo>
                      <a:pt x="961073" y="1178285"/>
                      <a:pt x="963930" y="1174475"/>
                      <a:pt x="961073" y="1170665"/>
                    </a:cubicBezTo>
                    <a:cubicBezTo>
                      <a:pt x="958215" y="1166855"/>
                      <a:pt x="962978" y="1165903"/>
                      <a:pt x="960120" y="1159235"/>
                    </a:cubicBezTo>
                    <a:cubicBezTo>
                      <a:pt x="957263" y="1152568"/>
                      <a:pt x="962025" y="1154473"/>
                      <a:pt x="960120" y="1145900"/>
                    </a:cubicBezTo>
                    <a:cubicBezTo>
                      <a:pt x="959168" y="1137328"/>
                      <a:pt x="960120" y="1132565"/>
                      <a:pt x="960120" y="1132565"/>
                    </a:cubicBezTo>
                    <a:lnTo>
                      <a:pt x="965835" y="1121135"/>
                    </a:lnTo>
                    <a:lnTo>
                      <a:pt x="970598" y="1111610"/>
                    </a:lnTo>
                    <a:lnTo>
                      <a:pt x="985838" y="1100180"/>
                    </a:lnTo>
                    <a:lnTo>
                      <a:pt x="1001078" y="1089703"/>
                    </a:lnTo>
                    <a:cubicBezTo>
                      <a:pt x="1001078" y="1089703"/>
                      <a:pt x="1009650" y="1086845"/>
                      <a:pt x="1011555" y="1083988"/>
                    </a:cubicBezTo>
                    <a:cubicBezTo>
                      <a:pt x="1013460" y="1081130"/>
                      <a:pt x="1020128" y="1080178"/>
                      <a:pt x="1022985" y="1077320"/>
                    </a:cubicBezTo>
                    <a:cubicBezTo>
                      <a:pt x="1025843" y="1074463"/>
                      <a:pt x="1033463" y="1072558"/>
                      <a:pt x="1033463" y="1072558"/>
                    </a:cubicBezTo>
                    <a:lnTo>
                      <a:pt x="1051560" y="1063033"/>
                    </a:lnTo>
                    <a:lnTo>
                      <a:pt x="1063943" y="1055413"/>
                    </a:lnTo>
                    <a:lnTo>
                      <a:pt x="1072515" y="1049698"/>
                    </a:lnTo>
                    <a:lnTo>
                      <a:pt x="1094423" y="1042078"/>
                    </a:lnTo>
                    <a:lnTo>
                      <a:pt x="1115378" y="1027790"/>
                    </a:lnTo>
                    <a:lnTo>
                      <a:pt x="1123950" y="1018265"/>
                    </a:lnTo>
                    <a:lnTo>
                      <a:pt x="1125855" y="1011598"/>
                    </a:lnTo>
                    <a:lnTo>
                      <a:pt x="1136333" y="1002073"/>
                    </a:lnTo>
                    <a:lnTo>
                      <a:pt x="1139190" y="997310"/>
                    </a:lnTo>
                    <a:lnTo>
                      <a:pt x="1154430" y="975403"/>
                    </a:lnTo>
                    <a:cubicBezTo>
                      <a:pt x="1154430" y="975403"/>
                      <a:pt x="1157288" y="966830"/>
                      <a:pt x="1156335" y="963973"/>
                    </a:cubicBezTo>
                    <a:cubicBezTo>
                      <a:pt x="1155383" y="961115"/>
                      <a:pt x="1158240" y="958258"/>
                      <a:pt x="1158240" y="958258"/>
                    </a:cubicBezTo>
                    <a:lnTo>
                      <a:pt x="1160145" y="951590"/>
                    </a:lnTo>
                    <a:lnTo>
                      <a:pt x="1141095" y="955400"/>
                    </a:lnTo>
                    <a:lnTo>
                      <a:pt x="1127760" y="955400"/>
                    </a:lnTo>
                    <a:lnTo>
                      <a:pt x="1116330" y="956353"/>
                    </a:lnTo>
                    <a:cubicBezTo>
                      <a:pt x="1116330" y="956353"/>
                      <a:pt x="1102995" y="956353"/>
                      <a:pt x="1095375" y="955400"/>
                    </a:cubicBezTo>
                    <a:cubicBezTo>
                      <a:pt x="1087755" y="954448"/>
                      <a:pt x="1089660" y="955400"/>
                      <a:pt x="1089660" y="955400"/>
                    </a:cubicBezTo>
                    <a:lnTo>
                      <a:pt x="1073468" y="956353"/>
                    </a:lnTo>
                    <a:lnTo>
                      <a:pt x="1067753" y="957305"/>
                    </a:lnTo>
                    <a:lnTo>
                      <a:pt x="1053465" y="957305"/>
                    </a:lnTo>
                    <a:cubicBezTo>
                      <a:pt x="1053465" y="957305"/>
                      <a:pt x="1047750" y="957305"/>
                      <a:pt x="1042035" y="953495"/>
                    </a:cubicBezTo>
                    <a:cubicBezTo>
                      <a:pt x="1042035" y="953495"/>
                      <a:pt x="1036320" y="951590"/>
                      <a:pt x="1030605" y="946828"/>
                    </a:cubicBezTo>
                    <a:cubicBezTo>
                      <a:pt x="1024890" y="942065"/>
                      <a:pt x="1030605" y="946828"/>
                      <a:pt x="1027748" y="943018"/>
                    </a:cubicBezTo>
                    <a:cubicBezTo>
                      <a:pt x="1024890" y="939208"/>
                      <a:pt x="1022033" y="936350"/>
                      <a:pt x="1021080" y="933493"/>
                    </a:cubicBezTo>
                    <a:cubicBezTo>
                      <a:pt x="1020128" y="930635"/>
                      <a:pt x="1004888" y="923968"/>
                      <a:pt x="1004888" y="923968"/>
                    </a:cubicBezTo>
                    <a:lnTo>
                      <a:pt x="993458" y="921110"/>
                    </a:lnTo>
                    <a:lnTo>
                      <a:pt x="984885" y="912538"/>
                    </a:lnTo>
                    <a:lnTo>
                      <a:pt x="976313" y="908728"/>
                    </a:lnTo>
                    <a:lnTo>
                      <a:pt x="963930" y="908728"/>
                    </a:lnTo>
                    <a:cubicBezTo>
                      <a:pt x="963930" y="908728"/>
                      <a:pt x="956310" y="900155"/>
                      <a:pt x="953453" y="896345"/>
                    </a:cubicBezTo>
                    <a:cubicBezTo>
                      <a:pt x="950595" y="892535"/>
                      <a:pt x="949643" y="885868"/>
                      <a:pt x="949643" y="885868"/>
                    </a:cubicBezTo>
                    <a:lnTo>
                      <a:pt x="942975" y="872533"/>
                    </a:lnTo>
                    <a:lnTo>
                      <a:pt x="934403" y="862055"/>
                    </a:lnTo>
                    <a:lnTo>
                      <a:pt x="930593" y="847768"/>
                    </a:lnTo>
                    <a:lnTo>
                      <a:pt x="924878" y="838243"/>
                    </a:lnTo>
                    <a:lnTo>
                      <a:pt x="917258" y="833480"/>
                    </a:lnTo>
                    <a:lnTo>
                      <a:pt x="901065" y="820145"/>
                    </a:lnTo>
                    <a:lnTo>
                      <a:pt x="893445" y="815383"/>
                    </a:lnTo>
                    <a:lnTo>
                      <a:pt x="884873" y="812525"/>
                    </a:lnTo>
                    <a:cubicBezTo>
                      <a:pt x="884873" y="812525"/>
                      <a:pt x="882015" y="802048"/>
                      <a:pt x="881063" y="799190"/>
                    </a:cubicBezTo>
                    <a:cubicBezTo>
                      <a:pt x="880110" y="796333"/>
                      <a:pt x="882968" y="790618"/>
                      <a:pt x="882968" y="790618"/>
                    </a:cubicBezTo>
                    <a:cubicBezTo>
                      <a:pt x="882968" y="790618"/>
                      <a:pt x="882968" y="781093"/>
                      <a:pt x="880110" y="778235"/>
                    </a:cubicBezTo>
                    <a:cubicBezTo>
                      <a:pt x="877253" y="775378"/>
                      <a:pt x="880110" y="774425"/>
                      <a:pt x="880110" y="774425"/>
                    </a:cubicBezTo>
                    <a:cubicBezTo>
                      <a:pt x="880110" y="774425"/>
                      <a:pt x="882015" y="769663"/>
                      <a:pt x="880110" y="766805"/>
                    </a:cubicBezTo>
                    <a:cubicBezTo>
                      <a:pt x="879158" y="763948"/>
                      <a:pt x="884873" y="761090"/>
                      <a:pt x="884873" y="761090"/>
                    </a:cubicBezTo>
                    <a:lnTo>
                      <a:pt x="895350" y="761090"/>
                    </a:lnTo>
                    <a:lnTo>
                      <a:pt x="905828" y="762043"/>
                    </a:lnTo>
                    <a:lnTo>
                      <a:pt x="916305" y="767758"/>
                    </a:lnTo>
                    <a:lnTo>
                      <a:pt x="921068" y="773473"/>
                    </a:lnTo>
                    <a:lnTo>
                      <a:pt x="924878" y="779188"/>
                    </a:lnTo>
                    <a:lnTo>
                      <a:pt x="930593" y="783950"/>
                    </a:lnTo>
                    <a:lnTo>
                      <a:pt x="930593" y="790618"/>
                    </a:lnTo>
                    <a:lnTo>
                      <a:pt x="930593" y="798238"/>
                    </a:lnTo>
                    <a:lnTo>
                      <a:pt x="944880" y="814430"/>
                    </a:lnTo>
                    <a:lnTo>
                      <a:pt x="956310" y="831575"/>
                    </a:lnTo>
                    <a:lnTo>
                      <a:pt x="973455" y="843958"/>
                    </a:lnTo>
                    <a:lnTo>
                      <a:pt x="990600" y="853483"/>
                    </a:lnTo>
                    <a:lnTo>
                      <a:pt x="993458" y="864913"/>
                    </a:lnTo>
                    <a:lnTo>
                      <a:pt x="1000125" y="875390"/>
                    </a:lnTo>
                    <a:lnTo>
                      <a:pt x="1011555" y="883963"/>
                    </a:lnTo>
                    <a:lnTo>
                      <a:pt x="1027748" y="893488"/>
                    </a:lnTo>
                    <a:lnTo>
                      <a:pt x="1031558" y="901108"/>
                    </a:lnTo>
                    <a:lnTo>
                      <a:pt x="1032510" y="913490"/>
                    </a:lnTo>
                    <a:lnTo>
                      <a:pt x="1033463" y="921110"/>
                    </a:lnTo>
                    <a:lnTo>
                      <a:pt x="1037273" y="927778"/>
                    </a:lnTo>
                    <a:lnTo>
                      <a:pt x="1042035" y="931588"/>
                    </a:lnTo>
                    <a:lnTo>
                      <a:pt x="1053465" y="935398"/>
                    </a:lnTo>
                    <a:lnTo>
                      <a:pt x="1061085" y="936350"/>
                    </a:lnTo>
                    <a:lnTo>
                      <a:pt x="1075373" y="936350"/>
                    </a:lnTo>
                    <a:lnTo>
                      <a:pt x="1086803" y="935398"/>
                    </a:lnTo>
                    <a:lnTo>
                      <a:pt x="1101090" y="934445"/>
                    </a:lnTo>
                    <a:cubicBezTo>
                      <a:pt x="1101090" y="934445"/>
                      <a:pt x="1109663" y="934445"/>
                      <a:pt x="1115378" y="930635"/>
                    </a:cubicBezTo>
                    <a:cubicBezTo>
                      <a:pt x="1121093" y="926825"/>
                      <a:pt x="1131570" y="926825"/>
                      <a:pt x="1131570" y="926825"/>
                    </a:cubicBezTo>
                    <a:lnTo>
                      <a:pt x="1140143" y="925873"/>
                    </a:lnTo>
                    <a:cubicBezTo>
                      <a:pt x="1140143" y="925873"/>
                      <a:pt x="1145858" y="925873"/>
                      <a:pt x="1150620" y="923015"/>
                    </a:cubicBezTo>
                    <a:cubicBezTo>
                      <a:pt x="1155383" y="920158"/>
                      <a:pt x="1159193" y="920158"/>
                      <a:pt x="1163955" y="915395"/>
                    </a:cubicBezTo>
                    <a:cubicBezTo>
                      <a:pt x="1168718" y="910633"/>
                      <a:pt x="1180148" y="906823"/>
                      <a:pt x="1180148" y="906823"/>
                    </a:cubicBezTo>
                    <a:lnTo>
                      <a:pt x="1188720" y="903965"/>
                    </a:lnTo>
                    <a:lnTo>
                      <a:pt x="1212533" y="900155"/>
                    </a:lnTo>
                    <a:lnTo>
                      <a:pt x="1228725" y="895393"/>
                    </a:lnTo>
                    <a:cubicBezTo>
                      <a:pt x="1228725" y="895393"/>
                      <a:pt x="1242060" y="887773"/>
                      <a:pt x="1246823" y="882058"/>
                    </a:cubicBezTo>
                    <a:cubicBezTo>
                      <a:pt x="1251585" y="876343"/>
                      <a:pt x="1246823" y="882058"/>
                      <a:pt x="1249680" y="879200"/>
                    </a:cubicBezTo>
                    <a:cubicBezTo>
                      <a:pt x="1252538" y="876343"/>
                      <a:pt x="1263015" y="877295"/>
                      <a:pt x="1263015" y="877295"/>
                    </a:cubicBezTo>
                    <a:lnTo>
                      <a:pt x="1274445" y="872533"/>
                    </a:lnTo>
                    <a:lnTo>
                      <a:pt x="1280160" y="869675"/>
                    </a:lnTo>
                    <a:cubicBezTo>
                      <a:pt x="1280160" y="869675"/>
                      <a:pt x="1298258" y="863960"/>
                      <a:pt x="1299210" y="861103"/>
                    </a:cubicBezTo>
                    <a:cubicBezTo>
                      <a:pt x="1301115" y="858245"/>
                      <a:pt x="1303973" y="857293"/>
                      <a:pt x="1306830" y="852530"/>
                    </a:cubicBezTo>
                    <a:cubicBezTo>
                      <a:pt x="1309688" y="847768"/>
                      <a:pt x="1314450" y="846815"/>
                      <a:pt x="1315403" y="843005"/>
                    </a:cubicBezTo>
                    <a:cubicBezTo>
                      <a:pt x="1317308" y="839195"/>
                      <a:pt x="1314450" y="829670"/>
                      <a:pt x="1314450" y="829670"/>
                    </a:cubicBezTo>
                    <a:cubicBezTo>
                      <a:pt x="1314450" y="829670"/>
                      <a:pt x="1314450" y="829670"/>
                      <a:pt x="1313498" y="824908"/>
                    </a:cubicBezTo>
                    <a:cubicBezTo>
                      <a:pt x="1312545" y="820145"/>
                      <a:pt x="1313498" y="824908"/>
                      <a:pt x="1310640" y="822050"/>
                    </a:cubicBezTo>
                    <a:cubicBezTo>
                      <a:pt x="1307783" y="819193"/>
                      <a:pt x="1304925" y="817288"/>
                      <a:pt x="1304925" y="817288"/>
                    </a:cubicBezTo>
                    <a:cubicBezTo>
                      <a:pt x="1304925" y="817288"/>
                      <a:pt x="1294448" y="813478"/>
                      <a:pt x="1290638" y="813478"/>
                    </a:cubicBezTo>
                    <a:cubicBezTo>
                      <a:pt x="1285875" y="813478"/>
                      <a:pt x="1276350" y="807763"/>
                      <a:pt x="1271588" y="804905"/>
                    </a:cubicBezTo>
                    <a:cubicBezTo>
                      <a:pt x="1266825" y="802048"/>
                      <a:pt x="1271588" y="804905"/>
                      <a:pt x="1270635" y="800143"/>
                    </a:cubicBezTo>
                    <a:cubicBezTo>
                      <a:pt x="1269683" y="795380"/>
                      <a:pt x="1259205" y="795380"/>
                      <a:pt x="1259205" y="795380"/>
                    </a:cubicBezTo>
                    <a:lnTo>
                      <a:pt x="1245870" y="793475"/>
                    </a:lnTo>
                    <a:lnTo>
                      <a:pt x="1238250" y="793475"/>
                    </a:lnTo>
                    <a:lnTo>
                      <a:pt x="1232535" y="793475"/>
                    </a:lnTo>
                    <a:lnTo>
                      <a:pt x="1224915" y="793475"/>
                    </a:lnTo>
                    <a:lnTo>
                      <a:pt x="1217295" y="797285"/>
                    </a:lnTo>
                    <a:lnTo>
                      <a:pt x="1211580" y="801095"/>
                    </a:lnTo>
                    <a:lnTo>
                      <a:pt x="1203960" y="802048"/>
                    </a:lnTo>
                    <a:lnTo>
                      <a:pt x="1192530" y="798238"/>
                    </a:lnTo>
                    <a:cubicBezTo>
                      <a:pt x="1192530" y="798238"/>
                      <a:pt x="1187768" y="794428"/>
                      <a:pt x="1183958" y="793475"/>
                    </a:cubicBezTo>
                    <a:cubicBezTo>
                      <a:pt x="1179195" y="792523"/>
                      <a:pt x="1172528" y="789665"/>
                      <a:pt x="1162050" y="777283"/>
                    </a:cubicBezTo>
                    <a:cubicBezTo>
                      <a:pt x="1152525" y="764900"/>
                      <a:pt x="1162050" y="777283"/>
                      <a:pt x="1157288" y="776330"/>
                    </a:cubicBezTo>
                    <a:cubicBezTo>
                      <a:pt x="1152525" y="775378"/>
                      <a:pt x="1151573" y="772520"/>
                      <a:pt x="1148715" y="769663"/>
                    </a:cubicBezTo>
                    <a:cubicBezTo>
                      <a:pt x="1145858" y="766805"/>
                      <a:pt x="1140143" y="759185"/>
                      <a:pt x="1140143" y="759185"/>
                    </a:cubicBezTo>
                    <a:cubicBezTo>
                      <a:pt x="1140143" y="759185"/>
                      <a:pt x="1136333" y="754423"/>
                      <a:pt x="1132523" y="751565"/>
                    </a:cubicBezTo>
                    <a:cubicBezTo>
                      <a:pt x="1129665" y="748708"/>
                      <a:pt x="1126808" y="741088"/>
                      <a:pt x="1126808" y="741088"/>
                    </a:cubicBezTo>
                    <a:lnTo>
                      <a:pt x="1129665" y="733468"/>
                    </a:lnTo>
                    <a:lnTo>
                      <a:pt x="1138238" y="733468"/>
                    </a:lnTo>
                    <a:lnTo>
                      <a:pt x="1159193" y="736325"/>
                    </a:lnTo>
                    <a:lnTo>
                      <a:pt x="1167765" y="743945"/>
                    </a:lnTo>
                    <a:lnTo>
                      <a:pt x="1173480" y="748708"/>
                    </a:lnTo>
                    <a:lnTo>
                      <a:pt x="1179195" y="755375"/>
                    </a:lnTo>
                    <a:lnTo>
                      <a:pt x="1187768" y="765853"/>
                    </a:lnTo>
                    <a:lnTo>
                      <a:pt x="1193483" y="768710"/>
                    </a:lnTo>
                    <a:lnTo>
                      <a:pt x="1206818" y="774425"/>
                    </a:lnTo>
                    <a:lnTo>
                      <a:pt x="1231583" y="775378"/>
                    </a:lnTo>
                    <a:lnTo>
                      <a:pt x="1245870" y="776330"/>
                    </a:lnTo>
                    <a:lnTo>
                      <a:pt x="1259205" y="777283"/>
                    </a:lnTo>
                    <a:lnTo>
                      <a:pt x="1267778" y="781093"/>
                    </a:lnTo>
                    <a:lnTo>
                      <a:pt x="1276350" y="784903"/>
                    </a:lnTo>
                    <a:lnTo>
                      <a:pt x="1287780" y="789665"/>
                    </a:lnTo>
                    <a:lnTo>
                      <a:pt x="1298258" y="791570"/>
                    </a:lnTo>
                    <a:lnTo>
                      <a:pt x="1308735" y="793475"/>
                    </a:lnTo>
                    <a:lnTo>
                      <a:pt x="1322070" y="796333"/>
                    </a:lnTo>
                    <a:lnTo>
                      <a:pt x="1335405" y="798238"/>
                    </a:lnTo>
                    <a:lnTo>
                      <a:pt x="1357313" y="798238"/>
                    </a:lnTo>
                    <a:lnTo>
                      <a:pt x="1390650" y="798238"/>
                    </a:lnTo>
                    <a:lnTo>
                      <a:pt x="1402080" y="797285"/>
                    </a:lnTo>
                    <a:lnTo>
                      <a:pt x="1415415" y="797285"/>
                    </a:lnTo>
                    <a:lnTo>
                      <a:pt x="1434465" y="798238"/>
                    </a:lnTo>
                    <a:lnTo>
                      <a:pt x="1447800" y="803000"/>
                    </a:lnTo>
                    <a:lnTo>
                      <a:pt x="1459230" y="814430"/>
                    </a:lnTo>
                    <a:lnTo>
                      <a:pt x="1467803" y="821098"/>
                    </a:lnTo>
                    <a:lnTo>
                      <a:pt x="1482090" y="828718"/>
                    </a:lnTo>
                    <a:cubicBezTo>
                      <a:pt x="1482090" y="828718"/>
                      <a:pt x="1489710" y="833480"/>
                      <a:pt x="1495425" y="842053"/>
                    </a:cubicBezTo>
                    <a:cubicBezTo>
                      <a:pt x="1501140" y="850625"/>
                      <a:pt x="1503998" y="845863"/>
                      <a:pt x="1503998" y="845863"/>
                    </a:cubicBezTo>
                    <a:lnTo>
                      <a:pt x="1518285" y="843958"/>
                    </a:lnTo>
                    <a:lnTo>
                      <a:pt x="1524000" y="838243"/>
                    </a:lnTo>
                    <a:lnTo>
                      <a:pt x="1534478" y="837290"/>
                    </a:lnTo>
                    <a:lnTo>
                      <a:pt x="1534478" y="841100"/>
                    </a:lnTo>
                    <a:lnTo>
                      <a:pt x="1540193" y="856340"/>
                    </a:lnTo>
                    <a:cubicBezTo>
                      <a:pt x="1540193" y="856340"/>
                      <a:pt x="1546860" y="868723"/>
                      <a:pt x="1546860" y="871580"/>
                    </a:cubicBezTo>
                    <a:cubicBezTo>
                      <a:pt x="1546860" y="874438"/>
                      <a:pt x="1544955" y="884915"/>
                      <a:pt x="1544955" y="887773"/>
                    </a:cubicBezTo>
                    <a:cubicBezTo>
                      <a:pt x="1544955" y="890630"/>
                      <a:pt x="1548765" y="895393"/>
                      <a:pt x="1548765" y="895393"/>
                    </a:cubicBezTo>
                    <a:lnTo>
                      <a:pt x="1551623" y="900155"/>
                    </a:lnTo>
                    <a:lnTo>
                      <a:pt x="1564005" y="919205"/>
                    </a:lnTo>
                    <a:lnTo>
                      <a:pt x="1571625" y="923968"/>
                    </a:lnTo>
                    <a:cubicBezTo>
                      <a:pt x="1571625" y="923968"/>
                      <a:pt x="1571625" y="930635"/>
                      <a:pt x="1569720" y="933493"/>
                    </a:cubicBezTo>
                    <a:cubicBezTo>
                      <a:pt x="1567815" y="936350"/>
                      <a:pt x="1572578" y="940160"/>
                      <a:pt x="1572578" y="940160"/>
                    </a:cubicBezTo>
                    <a:lnTo>
                      <a:pt x="1578293" y="946828"/>
                    </a:lnTo>
                    <a:lnTo>
                      <a:pt x="1584960" y="958258"/>
                    </a:lnTo>
                    <a:cubicBezTo>
                      <a:pt x="1584960" y="958258"/>
                      <a:pt x="1588770" y="965878"/>
                      <a:pt x="1587818" y="970640"/>
                    </a:cubicBezTo>
                    <a:cubicBezTo>
                      <a:pt x="1585913" y="975403"/>
                      <a:pt x="1604963" y="980165"/>
                      <a:pt x="1604963" y="980165"/>
                    </a:cubicBezTo>
                    <a:cubicBezTo>
                      <a:pt x="1604963" y="980165"/>
                      <a:pt x="1610678" y="982070"/>
                      <a:pt x="1615440" y="982070"/>
                    </a:cubicBezTo>
                    <a:cubicBezTo>
                      <a:pt x="1620203" y="982070"/>
                      <a:pt x="1628775" y="982070"/>
                      <a:pt x="1628775" y="982070"/>
                    </a:cubicBezTo>
                    <a:lnTo>
                      <a:pt x="1634490" y="981118"/>
                    </a:lnTo>
                    <a:lnTo>
                      <a:pt x="1644968" y="974450"/>
                    </a:lnTo>
                    <a:cubicBezTo>
                      <a:pt x="1644968" y="974450"/>
                      <a:pt x="1657350" y="964925"/>
                      <a:pt x="1657350" y="961115"/>
                    </a:cubicBezTo>
                    <a:cubicBezTo>
                      <a:pt x="1657350" y="957305"/>
                      <a:pt x="1660208" y="957305"/>
                      <a:pt x="1660208" y="954448"/>
                    </a:cubicBezTo>
                    <a:cubicBezTo>
                      <a:pt x="1660208" y="951590"/>
                      <a:pt x="1660208" y="947780"/>
                      <a:pt x="1660208" y="943970"/>
                    </a:cubicBezTo>
                    <a:cubicBezTo>
                      <a:pt x="1660208" y="940160"/>
                      <a:pt x="1663065" y="940160"/>
                      <a:pt x="1663065" y="940160"/>
                    </a:cubicBezTo>
                    <a:cubicBezTo>
                      <a:pt x="1663065" y="940160"/>
                      <a:pt x="1667828" y="936350"/>
                      <a:pt x="1670685" y="932540"/>
                    </a:cubicBezTo>
                    <a:cubicBezTo>
                      <a:pt x="1673543" y="928730"/>
                      <a:pt x="1676400" y="922063"/>
                      <a:pt x="1676400" y="922063"/>
                    </a:cubicBezTo>
                    <a:lnTo>
                      <a:pt x="1676400" y="914443"/>
                    </a:lnTo>
                    <a:lnTo>
                      <a:pt x="1676400" y="904918"/>
                    </a:lnTo>
                    <a:lnTo>
                      <a:pt x="1686878" y="903013"/>
                    </a:lnTo>
                    <a:cubicBezTo>
                      <a:pt x="1686878" y="903013"/>
                      <a:pt x="1703070" y="895393"/>
                      <a:pt x="1710690" y="890630"/>
                    </a:cubicBezTo>
                    <a:cubicBezTo>
                      <a:pt x="1718310" y="885868"/>
                      <a:pt x="1710690" y="890630"/>
                      <a:pt x="1712595" y="886820"/>
                    </a:cubicBezTo>
                    <a:cubicBezTo>
                      <a:pt x="1714500" y="883010"/>
                      <a:pt x="1727835" y="875390"/>
                      <a:pt x="1727835" y="872533"/>
                    </a:cubicBezTo>
                    <a:cubicBezTo>
                      <a:pt x="1727835" y="869675"/>
                      <a:pt x="1744028" y="866818"/>
                      <a:pt x="1744028" y="866818"/>
                    </a:cubicBezTo>
                    <a:lnTo>
                      <a:pt x="1751648" y="862055"/>
                    </a:lnTo>
                    <a:lnTo>
                      <a:pt x="1778318" y="847768"/>
                    </a:lnTo>
                    <a:cubicBezTo>
                      <a:pt x="1778318" y="847768"/>
                      <a:pt x="1786890" y="844910"/>
                      <a:pt x="1804988" y="838243"/>
                    </a:cubicBezTo>
                    <a:cubicBezTo>
                      <a:pt x="1813560" y="835385"/>
                      <a:pt x="1816418" y="833480"/>
                      <a:pt x="1817370" y="833480"/>
                    </a:cubicBezTo>
                    <a:lnTo>
                      <a:pt x="1838325" y="829670"/>
                    </a:lnTo>
                    <a:lnTo>
                      <a:pt x="1855470" y="830623"/>
                    </a:lnTo>
                    <a:lnTo>
                      <a:pt x="1865948" y="833480"/>
                    </a:lnTo>
                    <a:lnTo>
                      <a:pt x="1877378" y="836338"/>
                    </a:lnTo>
                    <a:lnTo>
                      <a:pt x="1888808" y="848720"/>
                    </a:lnTo>
                    <a:lnTo>
                      <a:pt x="1898333" y="869675"/>
                    </a:lnTo>
                    <a:lnTo>
                      <a:pt x="1899285" y="883963"/>
                    </a:lnTo>
                    <a:lnTo>
                      <a:pt x="1899285" y="895393"/>
                    </a:lnTo>
                    <a:lnTo>
                      <a:pt x="1913573" y="908728"/>
                    </a:lnTo>
                    <a:lnTo>
                      <a:pt x="1929765" y="905870"/>
                    </a:lnTo>
                    <a:lnTo>
                      <a:pt x="1932623" y="901108"/>
                    </a:lnTo>
                    <a:lnTo>
                      <a:pt x="1943100" y="896345"/>
                    </a:lnTo>
                    <a:lnTo>
                      <a:pt x="1957388" y="895393"/>
                    </a:lnTo>
                    <a:lnTo>
                      <a:pt x="1965008" y="903965"/>
                    </a:lnTo>
                    <a:lnTo>
                      <a:pt x="1979295" y="913490"/>
                    </a:lnTo>
                    <a:lnTo>
                      <a:pt x="1979295" y="919205"/>
                    </a:lnTo>
                    <a:lnTo>
                      <a:pt x="1976438" y="925873"/>
                    </a:lnTo>
                    <a:lnTo>
                      <a:pt x="1976438" y="938255"/>
                    </a:lnTo>
                    <a:lnTo>
                      <a:pt x="1980248" y="947780"/>
                    </a:lnTo>
                    <a:lnTo>
                      <a:pt x="1980248" y="957305"/>
                    </a:lnTo>
                    <a:lnTo>
                      <a:pt x="1980248" y="973498"/>
                    </a:lnTo>
                    <a:cubicBezTo>
                      <a:pt x="1980248" y="973498"/>
                      <a:pt x="1980248" y="980165"/>
                      <a:pt x="1973580" y="989690"/>
                    </a:cubicBezTo>
                    <a:cubicBezTo>
                      <a:pt x="1967865" y="999215"/>
                      <a:pt x="1982153" y="1002073"/>
                      <a:pt x="1982153" y="1002073"/>
                    </a:cubicBezTo>
                    <a:lnTo>
                      <a:pt x="1983105" y="1005883"/>
                    </a:lnTo>
                    <a:lnTo>
                      <a:pt x="1994535" y="1011598"/>
                    </a:lnTo>
                    <a:lnTo>
                      <a:pt x="1994535" y="1015408"/>
                    </a:lnTo>
                    <a:lnTo>
                      <a:pt x="1998345" y="1022075"/>
                    </a:lnTo>
                    <a:lnTo>
                      <a:pt x="2002155" y="1029695"/>
                    </a:lnTo>
                    <a:lnTo>
                      <a:pt x="2008823" y="1039220"/>
                    </a:lnTo>
                    <a:lnTo>
                      <a:pt x="2013585" y="1044935"/>
                    </a:lnTo>
                    <a:cubicBezTo>
                      <a:pt x="2013585" y="1044935"/>
                      <a:pt x="2021205" y="1046840"/>
                      <a:pt x="2033588" y="1048745"/>
                    </a:cubicBezTo>
                    <a:cubicBezTo>
                      <a:pt x="2046923" y="1050650"/>
                      <a:pt x="2038350" y="1052555"/>
                      <a:pt x="2038350" y="1052555"/>
                    </a:cubicBezTo>
                    <a:lnTo>
                      <a:pt x="2049780" y="1057318"/>
                    </a:lnTo>
                    <a:cubicBezTo>
                      <a:pt x="2049780" y="1057318"/>
                      <a:pt x="2055495" y="1059223"/>
                      <a:pt x="2060258" y="1059223"/>
                    </a:cubicBezTo>
                    <a:cubicBezTo>
                      <a:pt x="2065020" y="1059223"/>
                      <a:pt x="2068830" y="1053508"/>
                      <a:pt x="2068830" y="1053508"/>
                    </a:cubicBezTo>
                    <a:cubicBezTo>
                      <a:pt x="2068830" y="1053508"/>
                      <a:pt x="2068830" y="1053508"/>
                      <a:pt x="2067878" y="1048745"/>
                    </a:cubicBezTo>
                    <a:cubicBezTo>
                      <a:pt x="2066925" y="1043983"/>
                      <a:pt x="2069783" y="1043983"/>
                      <a:pt x="2067878" y="1039220"/>
                    </a:cubicBezTo>
                    <a:cubicBezTo>
                      <a:pt x="2066925" y="1034458"/>
                      <a:pt x="2064068" y="1033505"/>
                      <a:pt x="2064068" y="1033505"/>
                    </a:cubicBezTo>
                    <a:lnTo>
                      <a:pt x="2056448" y="1028743"/>
                    </a:lnTo>
                    <a:lnTo>
                      <a:pt x="2045018" y="1022075"/>
                    </a:lnTo>
                    <a:cubicBezTo>
                      <a:pt x="2045018" y="1022075"/>
                      <a:pt x="2045018" y="1022075"/>
                      <a:pt x="2027873" y="1011598"/>
                    </a:cubicBezTo>
                    <a:cubicBezTo>
                      <a:pt x="2027873" y="1011598"/>
                      <a:pt x="2019300" y="1006835"/>
                      <a:pt x="2017395" y="1003025"/>
                    </a:cubicBezTo>
                    <a:cubicBezTo>
                      <a:pt x="2016443" y="999215"/>
                      <a:pt x="2013585" y="993500"/>
                      <a:pt x="2008823" y="990643"/>
                    </a:cubicBezTo>
                    <a:cubicBezTo>
                      <a:pt x="2004060" y="987785"/>
                      <a:pt x="2005013" y="982070"/>
                      <a:pt x="2005013" y="982070"/>
                    </a:cubicBezTo>
                    <a:cubicBezTo>
                      <a:pt x="2005013" y="982070"/>
                      <a:pt x="2006918" y="976355"/>
                      <a:pt x="2004060" y="970640"/>
                    </a:cubicBezTo>
                    <a:cubicBezTo>
                      <a:pt x="2001203" y="964925"/>
                      <a:pt x="2005965" y="964925"/>
                      <a:pt x="2003108" y="962068"/>
                    </a:cubicBezTo>
                    <a:cubicBezTo>
                      <a:pt x="2000250" y="959210"/>
                      <a:pt x="2003108" y="950638"/>
                      <a:pt x="2003108" y="950638"/>
                    </a:cubicBezTo>
                    <a:lnTo>
                      <a:pt x="2008823" y="941113"/>
                    </a:lnTo>
                    <a:lnTo>
                      <a:pt x="2019300" y="941113"/>
                    </a:lnTo>
                    <a:lnTo>
                      <a:pt x="2025015" y="943018"/>
                    </a:lnTo>
                    <a:lnTo>
                      <a:pt x="2033588" y="949685"/>
                    </a:lnTo>
                    <a:lnTo>
                      <a:pt x="2042160" y="950638"/>
                    </a:lnTo>
                    <a:lnTo>
                      <a:pt x="2045970" y="954448"/>
                    </a:lnTo>
                    <a:lnTo>
                      <a:pt x="2051685" y="960163"/>
                    </a:lnTo>
                    <a:lnTo>
                      <a:pt x="2073593" y="968735"/>
                    </a:lnTo>
                    <a:lnTo>
                      <a:pt x="2081213" y="973498"/>
                    </a:lnTo>
                    <a:lnTo>
                      <a:pt x="2081213" y="980165"/>
                    </a:lnTo>
                    <a:lnTo>
                      <a:pt x="2097405" y="985880"/>
                    </a:lnTo>
                    <a:cubicBezTo>
                      <a:pt x="2097405" y="985880"/>
                      <a:pt x="2121218" y="975403"/>
                      <a:pt x="2123123" y="968735"/>
                    </a:cubicBezTo>
                    <a:lnTo>
                      <a:pt x="2139315" y="960163"/>
                    </a:lnTo>
                    <a:lnTo>
                      <a:pt x="2154555" y="956353"/>
                    </a:lnTo>
                    <a:lnTo>
                      <a:pt x="2156460" y="948733"/>
                    </a:lnTo>
                    <a:cubicBezTo>
                      <a:pt x="2156460" y="948733"/>
                      <a:pt x="2158365" y="943970"/>
                      <a:pt x="2159318" y="939208"/>
                    </a:cubicBezTo>
                    <a:cubicBezTo>
                      <a:pt x="2161223" y="934445"/>
                      <a:pt x="2159318" y="939208"/>
                      <a:pt x="2161223" y="935398"/>
                    </a:cubicBezTo>
                    <a:cubicBezTo>
                      <a:pt x="2163128" y="931588"/>
                      <a:pt x="2163128" y="926825"/>
                      <a:pt x="2161223" y="921110"/>
                    </a:cubicBezTo>
                    <a:cubicBezTo>
                      <a:pt x="2160270" y="915395"/>
                      <a:pt x="2163128" y="915395"/>
                      <a:pt x="2161223" y="912538"/>
                    </a:cubicBezTo>
                    <a:cubicBezTo>
                      <a:pt x="2159318" y="909680"/>
                      <a:pt x="2153603" y="908728"/>
                      <a:pt x="2149793" y="905870"/>
                    </a:cubicBezTo>
                    <a:cubicBezTo>
                      <a:pt x="2145030" y="903013"/>
                      <a:pt x="2151698" y="902060"/>
                      <a:pt x="2149793" y="899203"/>
                    </a:cubicBezTo>
                    <a:cubicBezTo>
                      <a:pt x="2148840" y="896345"/>
                      <a:pt x="2144078" y="893488"/>
                      <a:pt x="2144078" y="893488"/>
                    </a:cubicBezTo>
                    <a:lnTo>
                      <a:pt x="2138363" y="889678"/>
                    </a:lnTo>
                    <a:lnTo>
                      <a:pt x="2127885" y="881105"/>
                    </a:lnTo>
                    <a:lnTo>
                      <a:pt x="2111693" y="868723"/>
                    </a:lnTo>
                    <a:cubicBezTo>
                      <a:pt x="2111693" y="868723"/>
                      <a:pt x="2117408" y="860150"/>
                      <a:pt x="2122170" y="853483"/>
                    </a:cubicBezTo>
                    <a:lnTo>
                      <a:pt x="2130743" y="852530"/>
                    </a:lnTo>
                    <a:cubicBezTo>
                      <a:pt x="2130743" y="852530"/>
                      <a:pt x="2136458" y="852530"/>
                      <a:pt x="2145030" y="850625"/>
                    </a:cubicBezTo>
                    <a:cubicBezTo>
                      <a:pt x="2153603" y="848720"/>
                      <a:pt x="2152650" y="849673"/>
                      <a:pt x="2152650" y="844910"/>
                    </a:cubicBezTo>
                    <a:cubicBezTo>
                      <a:pt x="2152650" y="840148"/>
                      <a:pt x="2158365" y="843005"/>
                      <a:pt x="2158365" y="843005"/>
                    </a:cubicBezTo>
                    <a:lnTo>
                      <a:pt x="2165985" y="841100"/>
                    </a:lnTo>
                    <a:lnTo>
                      <a:pt x="2171700" y="844910"/>
                    </a:lnTo>
                    <a:lnTo>
                      <a:pt x="2180273" y="851578"/>
                    </a:lnTo>
                    <a:lnTo>
                      <a:pt x="2190750" y="850625"/>
                    </a:lnTo>
                    <a:lnTo>
                      <a:pt x="2199323" y="845863"/>
                    </a:lnTo>
                    <a:lnTo>
                      <a:pt x="2206943" y="839195"/>
                    </a:lnTo>
                    <a:cubicBezTo>
                      <a:pt x="2206943" y="839195"/>
                      <a:pt x="2214563" y="834433"/>
                      <a:pt x="2223135" y="834433"/>
                    </a:cubicBezTo>
                    <a:cubicBezTo>
                      <a:pt x="2231708" y="834433"/>
                      <a:pt x="2228850" y="833480"/>
                      <a:pt x="2228850" y="833480"/>
                    </a:cubicBezTo>
                    <a:lnTo>
                      <a:pt x="2236470" y="830623"/>
                    </a:lnTo>
                    <a:lnTo>
                      <a:pt x="2247900" y="825860"/>
                    </a:lnTo>
                    <a:lnTo>
                      <a:pt x="2255520" y="824908"/>
                    </a:lnTo>
                    <a:lnTo>
                      <a:pt x="2274570" y="823955"/>
                    </a:lnTo>
                    <a:lnTo>
                      <a:pt x="2286000" y="821098"/>
                    </a:lnTo>
                    <a:lnTo>
                      <a:pt x="2293620" y="815383"/>
                    </a:lnTo>
                    <a:cubicBezTo>
                      <a:pt x="2293620" y="815383"/>
                      <a:pt x="2293620" y="815383"/>
                      <a:pt x="2293620" y="812525"/>
                    </a:cubicBezTo>
                    <a:cubicBezTo>
                      <a:pt x="2293620" y="809668"/>
                      <a:pt x="2308860" y="805858"/>
                      <a:pt x="2309813" y="802048"/>
                    </a:cubicBezTo>
                    <a:cubicBezTo>
                      <a:pt x="2311718" y="798238"/>
                      <a:pt x="2318385" y="796333"/>
                      <a:pt x="2318385" y="796333"/>
                    </a:cubicBezTo>
                    <a:cubicBezTo>
                      <a:pt x="2318385" y="796333"/>
                      <a:pt x="2324100" y="791570"/>
                      <a:pt x="2333625" y="785855"/>
                    </a:cubicBezTo>
                    <a:cubicBezTo>
                      <a:pt x="2342198" y="780140"/>
                      <a:pt x="2348865" y="773473"/>
                      <a:pt x="2348865" y="773473"/>
                    </a:cubicBezTo>
                    <a:lnTo>
                      <a:pt x="2362200" y="766805"/>
                    </a:lnTo>
                    <a:cubicBezTo>
                      <a:pt x="2362200" y="766805"/>
                      <a:pt x="2365058" y="762995"/>
                      <a:pt x="2366963" y="758233"/>
                    </a:cubicBezTo>
                    <a:cubicBezTo>
                      <a:pt x="2368868" y="753470"/>
                      <a:pt x="2366963" y="751565"/>
                      <a:pt x="2366963" y="751565"/>
                    </a:cubicBezTo>
                    <a:cubicBezTo>
                      <a:pt x="2366963" y="751565"/>
                      <a:pt x="2372678" y="742993"/>
                      <a:pt x="2368868" y="728705"/>
                    </a:cubicBezTo>
                    <a:cubicBezTo>
                      <a:pt x="2365058" y="714418"/>
                      <a:pt x="2373630" y="721085"/>
                      <a:pt x="2374583" y="718228"/>
                    </a:cubicBezTo>
                    <a:cubicBezTo>
                      <a:pt x="2376488" y="715370"/>
                      <a:pt x="2374583" y="712513"/>
                      <a:pt x="2374583" y="712513"/>
                    </a:cubicBezTo>
                    <a:cubicBezTo>
                      <a:pt x="2374583" y="712513"/>
                      <a:pt x="2368868" y="700130"/>
                      <a:pt x="2367915" y="697273"/>
                    </a:cubicBezTo>
                    <a:cubicBezTo>
                      <a:pt x="2366963" y="694415"/>
                      <a:pt x="2367915" y="693463"/>
                      <a:pt x="2366963" y="690605"/>
                    </a:cubicBezTo>
                    <a:cubicBezTo>
                      <a:pt x="2365058" y="687748"/>
                      <a:pt x="2366010" y="684890"/>
                      <a:pt x="2366010" y="684890"/>
                    </a:cubicBezTo>
                    <a:cubicBezTo>
                      <a:pt x="2366010" y="684890"/>
                      <a:pt x="2366010" y="684890"/>
                      <a:pt x="2358390" y="682985"/>
                    </a:cubicBezTo>
                    <a:cubicBezTo>
                      <a:pt x="2350770" y="681080"/>
                      <a:pt x="2358390" y="682985"/>
                      <a:pt x="2353628" y="682033"/>
                    </a:cubicBezTo>
                    <a:cubicBezTo>
                      <a:pt x="2348865" y="681080"/>
                      <a:pt x="2337435" y="676318"/>
                      <a:pt x="2336483" y="673460"/>
                    </a:cubicBezTo>
                    <a:cubicBezTo>
                      <a:pt x="2335530" y="670603"/>
                      <a:pt x="2355533" y="669650"/>
                      <a:pt x="2355533" y="669650"/>
                    </a:cubicBezTo>
                    <a:cubicBezTo>
                      <a:pt x="2355533" y="669650"/>
                      <a:pt x="2355533" y="669650"/>
                      <a:pt x="2357438" y="662983"/>
                    </a:cubicBezTo>
                    <a:lnTo>
                      <a:pt x="2367915" y="661078"/>
                    </a:lnTo>
                    <a:cubicBezTo>
                      <a:pt x="2367915" y="661078"/>
                      <a:pt x="2382203" y="662030"/>
                      <a:pt x="2391728" y="658220"/>
                    </a:cubicBezTo>
                    <a:cubicBezTo>
                      <a:pt x="2400300" y="654410"/>
                      <a:pt x="2391728" y="658220"/>
                      <a:pt x="2391728" y="655363"/>
                    </a:cubicBezTo>
                    <a:cubicBezTo>
                      <a:pt x="2391728" y="652505"/>
                      <a:pt x="2393633" y="647743"/>
                      <a:pt x="2390775" y="642028"/>
                    </a:cubicBezTo>
                    <a:cubicBezTo>
                      <a:pt x="2387918" y="636313"/>
                      <a:pt x="2390775" y="642028"/>
                      <a:pt x="2387918" y="638218"/>
                    </a:cubicBezTo>
                    <a:cubicBezTo>
                      <a:pt x="2385060" y="634408"/>
                      <a:pt x="2379345" y="636313"/>
                      <a:pt x="2374583" y="636313"/>
                    </a:cubicBezTo>
                    <a:cubicBezTo>
                      <a:pt x="2369820" y="636313"/>
                      <a:pt x="2361248" y="635360"/>
                      <a:pt x="2361248" y="635360"/>
                    </a:cubicBezTo>
                    <a:lnTo>
                      <a:pt x="2350770" y="635360"/>
                    </a:lnTo>
                    <a:cubicBezTo>
                      <a:pt x="2350770" y="635360"/>
                      <a:pt x="2340293" y="635360"/>
                      <a:pt x="2328863" y="635360"/>
                    </a:cubicBezTo>
                    <a:cubicBezTo>
                      <a:pt x="2317433" y="635360"/>
                      <a:pt x="2328863" y="635360"/>
                      <a:pt x="2315528" y="632503"/>
                    </a:cubicBezTo>
                    <a:cubicBezTo>
                      <a:pt x="2302193" y="629645"/>
                      <a:pt x="2315528" y="632503"/>
                      <a:pt x="2314575" y="630598"/>
                    </a:cubicBezTo>
                    <a:cubicBezTo>
                      <a:pt x="2313623" y="628693"/>
                      <a:pt x="2314575" y="630598"/>
                      <a:pt x="2311718" y="622025"/>
                    </a:cubicBezTo>
                    <a:cubicBezTo>
                      <a:pt x="2308860" y="613453"/>
                      <a:pt x="2330768" y="621073"/>
                      <a:pt x="2330768" y="621073"/>
                    </a:cubicBezTo>
                    <a:lnTo>
                      <a:pt x="2338388" y="620120"/>
                    </a:lnTo>
                    <a:lnTo>
                      <a:pt x="2351723" y="617263"/>
                    </a:lnTo>
                    <a:lnTo>
                      <a:pt x="2354580" y="613453"/>
                    </a:lnTo>
                    <a:lnTo>
                      <a:pt x="2366010" y="608690"/>
                    </a:lnTo>
                    <a:lnTo>
                      <a:pt x="2376488" y="611548"/>
                    </a:lnTo>
                    <a:lnTo>
                      <a:pt x="2380298" y="617263"/>
                    </a:lnTo>
                    <a:lnTo>
                      <a:pt x="2391728" y="617263"/>
                    </a:lnTo>
                    <a:lnTo>
                      <a:pt x="2406968" y="613453"/>
                    </a:lnTo>
                    <a:cubicBezTo>
                      <a:pt x="2406968" y="613453"/>
                      <a:pt x="2412683" y="614405"/>
                      <a:pt x="2427923" y="616310"/>
                    </a:cubicBezTo>
                    <a:cubicBezTo>
                      <a:pt x="2442210" y="618215"/>
                      <a:pt x="2436495" y="624883"/>
                      <a:pt x="2436495" y="624883"/>
                    </a:cubicBezTo>
                    <a:lnTo>
                      <a:pt x="2445068" y="632503"/>
                    </a:lnTo>
                    <a:lnTo>
                      <a:pt x="2448878" y="640123"/>
                    </a:lnTo>
                    <a:lnTo>
                      <a:pt x="2457450" y="643933"/>
                    </a:lnTo>
                    <a:lnTo>
                      <a:pt x="2457450" y="651553"/>
                    </a:lnTo>
                    <a:lnTo>
                      <a:pt x="2455545" y="662030"/>
                    </a:lnTo>
                    <a:lnTo>
                      <a:pt x="2458403" y="669650"/>
                    </a:lnTo>
                    <a:lnTo>
                      <a:pt x="2459355" y="673460"/>
                    </a:lnTo>
                    <a:cubicBezTo>
                      <a:pt x="2459355" y="673460"/>
                      <a:pt x="2467928" y="674413"/>
                      <a:pt x="2472690" y="676318"/>
                    </a:cubicBezTo>
                    <a:cubicBezTo>
                      <a:pt x="2477453" y="678223"/>
                      <a:pt x="2486978" y="677270"/>
                      <a:pt x="2486978" y="677270"/>
                    </a:cubicBezTo>
                    <a:lnTo>
                      <a:pt x="2497455" y="677270"/>
                    </a:lnTo>
                    <a:lnTo>
                      <a:pt x="2507933" y="675365"/>
                    </a:lnTo>
                    <a:lnTo>
                      <a:pt x="2518410" y="670603"/>
                    </a:lnTo>
                    <a:cubicBezTo>
                      <a:pt x="2518410" y="670603"/>
                      <a:pt x="2518410" y="670603"/>
                      <a:pt x="2521268" y="656315"/>
                    </a:cubicBezTo>
                    <a:cubicBezTo>
                      <a:pt x="2521268" y="656315"/>
                      <a:pt x="2516505" y="652505"/>
                      <a:pt x="2517458" y="649648"/>
                    </a:cubicBezTo>
                    <a:cubicBezTo>
                      <a:pt x="2517458" y="646790"/>
                      <a:pt x="2508885" y="642028"/>
                      <a:pt x="2508885" y="642028"/>
                    </a:cubicBezTo>
                    <a:cubicBezTo>
                      <a:pt x="2508885" y="642028"/>
                      <a:pt x="2506028" y="634408"/>
                      <a:pt x="2505075" y="630598"/>
                    </a:cubicBezTo>
                    <a:cubicBezTo>
                      <a:pt x="2504123" y="626788"/>
                      <a:pt x="2504123" y="623930"/>
                      <a:pt x="2502218" y="619168"/>
                    </a:cubicBezTo>
                    <a:cubicBezTo>
                      <a:pt x="2501265" y="614405"/>
                      <a:pt x="2506980" y="612500"/>
                      <a:pt x="2515553" y="603928"/>
                    </a:cubicBezTo>
                    <a:cubicBezTo>
                      <a:pt x="2524125" y="595355"/>
                      <a:pt x="2515553" y="603928"/>
                      <a:pt x="2517458" y="601070"/>
                    </a:cubicBezTo>
                    <a:cubicBezTo>
                      <a:pt x="2519363" y="598213"/>
                      <a:pt x="2522220" y="593450"/>
                      <a:pt x="2525078" y="587735"/>
                    </a:cubicBezTo>
                    <a:cubicBezTo>
                      <a:pt x="2527935" y="582020"/>
                      <a:pt x="2525078" y="587735"/>
                      <a:pt x="2527935" y="582973"/>
                    </a:cubicBezTo>
                    <a:cubicBezTo>
                      <a:pt x="2530793" y="578210"/>
                      <a:pt x="2549843" y="581068"/>
                      <a:pt x="2549843" y="581068"/>
                    </a:cubicBezTo>
                    <a:cubicBezTo>
                      <a:pt x="2549843" y="581068"/>
                      <a:pt x="2566035" y="577258"/>
                      <a:pt x="2579370" y="571543"/>
                    </a:cubicBezTo>
                    <a:cubicBezTo>
                      <a:pt x="2592705" y="565828"/>
                      <a:pt x="2589848" y="568685"/>
                      <a:pt x="2589848" y="568685"/>
                    </a:cubicBezTo>
                    <a:cubicBezTo>
                      <a:pt x="2589848" y="568685"/>
                      <a:pt x="2608898" y="562018"/>
                      <a:pt x="2611755" y="558208"/>
                    </a:cubicBezTo>
                    <a:cubicBezTo>
                      <a:pt x="2614613" y="554398"/>
                      <a:pt x="2620328" y="553445"/>
                      <a:pt x="2624138" y="547730"/>
                    </a:cubicBezTo>
                    <a:cubicBezTo>
                      <a:pt x="2626995" y="542015"/>
                      <a:pt x="2646045" y="542968"/>
                      <a:pt x="2648903" y="539158"/>
                    </a:cubicBezTo>
                    <a:cubicBezTo>
                      <a:pt x="2651760" y="535348"/>
                      <a:pt x="2651760" y="534395"/>
                      <a:pt x="2653665" y="528680"/>
                    </a:cubicBezTo>
                    <a:cubicBezTo>
                      <a:pt x="2655570" y="522965"/>
                      <a:pt x="2662238" y="521060"/>
                      <a:pt x="2662238" y="521060"/>
                    </a:cubicBezTo>
                    <a:lnTo>
                      <a:pt x="2684145" y="512488"/>
                    </a:lnTo>
                    <a:lnTo>
                      <a:pt x="2694623" y="502010"/>
                    </a:lnTo>
                    <a:cubicBezTo>
                      <a:pt x="2694623" y="502010"/>
                      <a:pt x="2696528" y="493438"/>
                      <a:pt x="2696528" y="487723"/>
                    </a:cubicBezTo>
                    <a:cubicBezTo>
                      <a:pt x="2696528" y="482008"/>
                      <a:pt x="2696528" y="481055"/>
                      <a:pt x="2695575" y="478198"/>
                    </a:cubicBezTo>
                    <a:cubicBezTo>
                      <a:pt x="2693670" y="475340"/>
                      <a:pt x="2694623" y="472483"/>
                      <a:pt x="2694623" y="472483"/>
                    </a:cubicBezTo>
                    <a:cubicBezTo>
                      <a:pt x="2694623" y="472483"/>
                      <a:pt x="2702243" y="466768"/>
                      <a:pt x="2707005" y="460100"/>
                    </a:cubicBezTo>
                    <a:cubicBezTo>
                      <a:pt x="2711768" y="453433"/>
                      <a:pt x="2707005" y="460100"/>
                      <a:pt x="2707005" y="453433"/>
                    </a:cubicBezTo>
                    <a:cubicBezTo>
                      <a:pt x="2707005" y="446765"/>
                      <a:pt x="2706053" y="446765"/>
                      <a:pt x="2707005" y="439145"/>
                    </a:cubicBezTo>
                    <a:cubicBezTo>
                      <a:pt x="2708910" y="431525"/>
                      <a:pt x="2712720" y="431525"/>
                      <a:pt x="2711768" y="428668"/>
                    </a:cubicBezTo>
                    <a:cubicBezTo>
                      <a:pt x="2710815" y="425810"/>
                      <a:pt x="2713673" y="422000"/>
                      <a:pt x="2711768" y="416285"/>
                    </a:cubicBezTo>
                    <a:lnTo>
                      <a:pt x="2701290" y="412475"/>
                    </a:lnTo>
                    <a:lnTo>
                      <a:pt x="2689860" y="413428"/>
                    </a:lnTo>
                    <a:cubicBezTo>
                      <a:pt x="2689860" y="413428"/>
                      <a:pt x="2684145" y="414380"/>
                      <a:pt x="2673668" y="416285"/>
                    </a:cubicBezTo>
                    <a:cubicBezTo>
                      <a:pt x="2663190" y="418190"/>
                      <a:pt x="2673668" y="416285"/>
                      <a:pt x="2660333" y="412475"/>
                    </a:cubicBezTo>
                    <a:cubicBezTo>
                      <a:pt x="2646998" y="408665"/>
                      <a:pt x="2657475" y="406760"/>
                      <a:pt x="2653665" y="401998"/>
                    </a:cubicBezTo>
                    <a:cubicBezTo>
                      <a:pt x="2648903" y="397235"/>
                      <a:pt x="2647950" y="401998"/>
                      <a:pt x="2647950" y="401998"/>
                    </a:cubicBezTo>
                    <a:cubicBezTo>
                      <a:pt x="2647950" y="401998"/>
                      <a:pt x="2642235" y="402950"/>
                      <a:pt x="2634615" y="400093"/>
                    </a:cubicBezTo>
                    <a:cubicBezTo>
                      <a:pt x="2626995" y="397235"/>
                      <a:pt x="2634615" y="400093"/>
                      <a:pt x="2629853" y="396283"/>
                    </a:cubicBezTo>
                    <a:cubicBezTo>
                      <a:pt x="2625090" y="392473"/>
                      <a:pt x="2629853" y="396283"/>
                      <a:pt x="2629853" y="393425"/>
                    </a:cubicBezTo>
                    <a:cubicBezTo>
                      <a:pt x="2629853" y="390568"/>
                      <a:pt x="2632710" y="383900"/>
                      <a:pt x="2632710" y="383900"/>
                    </a:cubicBezTo>
                    <a:cubicBezTo>
                      <a:pt x="2632710" y="383900"/>
                      <a:pt x="2653665" y="382948"/>
                      <a:pt x="2676525" y="375328"/>
                    </a:cubicBezTo>
                    <a:cubicBezTo>
                      <a:pt x="2700338" y="366755"/>
                      <a:pt x="2681288" y="368660"/>
                      <a:pt x="2681288" y="368660"/>
                    </a:cubicBezTo>
                    <a:lnTo>
                      <a:pt x="2697480" y="356278"/>
                    </a:lnTo>
                    <a:cubicBezTo>
                      <a:pt x="2697480" y="356278"/>
                      <a:pt x="2716530" y="349610"/>
                      <a:pt x="2716530" y="344848"/>
                    </a:cubicBezTo>
                    <a:cubicBezTo>
                      <a:pt x="2716530" y="340085"/>
                      <a:pt x="2732723" y="338180"/>
                      <a:pt x="2734628" y="334370"/>
                    </a:cubicBezTo>
                    <a:cubicBezTo>
                      <a:pt x="2736533" y="330560"/>
                      <a:pt x="2745105" y="330560"/>
                      <a:pt x="2745105" y="330560"/>
                    </a:cubicBezTo>
                    <a:lnTo>
                      <a:pt x="2777490" y="328655"/>
                    </a:lnTo>
                    <a:lnTo>
                      <a:pt x="2785110" y="327703"/>
                    </a:lnTo>
                    <a:lnTo>
                      <a:pt x="2798445" y="327703"/>
                    </a:lnTo>
                    <a:lnTo>
                      <a:pt x="2814638" y="330560"/>
                    </a:lnTo>
                    <a:lnTo>
                      <a:pt x="2841308" y="331513"/>
                    </a:lnTo>
                    <a:lnTo>
                      <a:pt x="2855595" y="328655"/>
                    </a:lnTo>
                    <a:cubicBezTo>
                      <a:pt x="2855595" y="328655"/>
                      <a:pt x="2867025" y="327703"/>
                      <a:pt x="2869883" y="324845"/>
                    </a:cubicBezTo>
                    <a:cubicBezTo>
                      <a:pt x="2872740" y="321988"/>
                      <a:pt x="2877503" y="324845"/>
                      <a:pt x="2877503" y="324845"/>
                    </a:cubicBezTo>
                    <a:lnTo>
                      <a:pt x="2909888" y="331513"/>
                    </a:lnTo>
                    <a:lnTo>
                      <a:pt x="2924175" y="339133"/>
                    </a:lnTo>
                    <a:lnTo>
                      <a:pt x="2934653" y="341038"/>
                    </a:lnTo>
                    <a:lnTo>
                      <a:pt x="2943225" y="339133"/>
                    </a:lnTo>
                    <a:cubicBezTo>
                      <a:pt x="2943225" y="339133"/>
                      <a:pt x="2956560" y="334370"/>
                      <a:pt x="2956560" y="324845"/>
                    </a:cubicBezTo>
                    <a:cubicBezTo>
                      <a:pt x="2956560" y="315320"/>
                      <a:pt x="2956560" y="324845"/>
                      <a:pt x="2958465" y="320083"/>
                    </a:cubicBezTo>
                    <a:cubicBezTo>
                      <a:pt x="2960370" y="315320"/>
                      <a:pt x="2958465" y="320083"/>
                      <a:pt x="2966085" y="311510"/>
                    </a:cubicBezTo>
                    <a:cubicBezTo>
                      <a:pt x="2973705" y="302938"/>
                      <a:pt x="2971800" y="306748"/>
                      <a:pt x="2971800" y="306748"/>
                    </a:cubicBezTo>
                    <a:lnTo>
                      <a:pt x="2979420" y="303890"/>
                    </a:lnTo>
                    <a:lnTo>
                      <a:pt x="2987040" y="300080"/>
                    </a:lnTo>
                    <a:cubicBezTo>
                      <a:pt x="2987040" y="300080"/>
                      <a:pt x="2992755" y="299128"/>
                      <a:pt x="2995613" y="295318"/>
                    </a:cubicBezTo>
                    <a:cubicBezTo>
                      <a:pt x="2998470" y="291508"/>
                      <a:pt x="3006090" y="291508"/>
                      <a:pt x="3006090" y="291508"/>
                    </a:cubicBezTo>
                    <a:cubicBezTo>
                      <a:pt x="3006090" y="291508"/>
                      <a:pt x="3011805" y="291508"/>
                      <a:pt x="3036570" y="291508"/>
                    </a:cubicBezTo>
                    <a:cubicBezTo>
                      <a:pt x="3061335" y="291508"/>
                      <a:pt x="3044190" y="299128"/>
                      <a:pt x="3044190" y="299128"/>
                    </a:cubicBezTo>
                    <a:cubicBezTo>
                      <a:pt x="3044190" y="299128"/>
                      <a:pt x="3044190" y="299128"/>
                      <a:pt x="3051810" y="301985"/>
                    </a:cubicBezTo>
                    <a:lnTo>
                      <a:pt x="3062288" y="300080"/>
                    </a:lnTo>
                    <a:lnTo>
                      <a:pt x="3075623" y="293413"/>
                    </a:lnTo>
                    <a:lnTo>
                      <a:pt x="3087053" y="289603"/>
                    </a:lnTo>
                    <a:cubicBezTo>
                      <a:pt x="3087053" y="289603"/>
                      <a:pt x="3092768" y="288650"/>
                      <a:pt x="3097530" y="284840"/>
                    </a:cubicBezTo>
                    <a:cubicBezTo>
                      <a:pt x="3102293" y="281030"/>
                      <a:pt x="3105150" y="283888"/>
                      <a:pt x="3105150" y="283888"/>
                    </a:cubicBezTo>
                    <a:cubicBezTo>
                      <a:pt x="3105150" y="283888"/>
                      <a:pt x="3105150" y="283888"/>
                      <a:pt x="3113723" y="287698"/>
                    </a:cubicBezTo>
                    <a:cubicBezTo>
                      <a:pt x="3113723" y="287698"/>
                      <a:pt x="3106103" y="294365"/>
                      <a:pt x="3100388" y="297223"/>
                    </a:cubicBezTo>
                    <a:cubicBezTo>
                      <a:pt x="3094673" y="300080"/>
                      <a:pt x="3089910" y="302938"/>
                      <a:pt x="3089910" y="302938"/>
                    </a:cubicBezTo>
                    <a:lnTo>
                      <a:pt x="3071813" y="311510"/>
                    </a:lnTo>
                    <a:lnTo>
                      <a:pt x="3061335" y="317225"/>
                    </a:lnTo>
                    <a:cubicBezTo>
                      <a:pt x="3061335" y="317225"/>
                      <a:pt x="3058478" y="321035"/>
                      <a:pt x="3052763" y="321988"/>
                    </a:cubicBezTo>
                    <a:cubicBezTo>
                      <a:pt x="3047048" y="322940"/>
                      <a:pt x="3050858" y="325798"/>
                      <a:pt x="3044190" y="328655"/>
                    </a:cubicBezTo>
                    <a:cubicBezTo>
                      <a:pt x="3036570" y="331513"/>
                      <a:pt x="3030855" y="337228"/>
                      <a:pt x="3030855" y="337228"/>
                    </a:cubicBezTo>
                    <a:lnTo>
                      <a:pt x="3015615" y="341990"/>
                    </a:lnTo>
                    <a:cubicBezTo>
                      <a:pt x="3015615" y="341990"/>
                      <a:pt x="3002280" y="349610"/>
                      <a:pt x="2994660" y="351515"/>
                    </a:cubicBezTo>
                    <a:cubicBezTo>
                      <a:pt x="2987040" y="353420"/>
                      <a:pt x="2989898" y="361040"/>
                      <a:pt x="2982278" y="364850"/>
                    </a:cubicBezTo>
                    <a:cubicBezTo>
                      <a:pt x="2974658" y="368660"/>
                      <a:pt x="2979420" y="368660"/>
                      <a:pt x="2979420" y="368660"/>
                    </a:cubicBezTo>
                    <a:cubicBezTo>
                      <a:pt x="2979420" y="368660"/>
                      <a:pt x="2971800" y="375328"/>
                      <a:pt x="2967038" y="379138"/>
                    </a:cubicBezTo>
                    <a:cubicBezTo>
                      <a:pt x="2962275" y="382948"/>
                      <a:pt x="2972753" y="387710"/>
                      <a:pt x="2972753" y="387710"/>
                    </a:cubicBezTo>
                    <a:lnTo>
                      <a:pt x="2968943" y="408665"/>
                    </a:lnTo>
                    <a:lnTo>
                      <a:pt x="2968943" y="418190"/>
                    </a:lnTo>
                    <a:lnTo>
                      <a:pt x="2968943" y="427715"/>
                    </a:lnTo>
                    <a:lnTo>
                      <a:pt x="2968943" y="434383"/>
                    </a:lnTo>
                    <a:lnTo>
                      <a:pt x="2979420" y="440098"/>
                    </a:lnTo>
                    <a:lnTo>
                      <a:pt x="2989898" y="449623"/>
                    </a:lnTo>
                    <a:lnTo>
                      <a:pt x="2990850" y="455338"/>
                    </a:lnTo>
                    <a:cubicBezTo>
                      <a:pt x="2990850" y="455338"/>
                      <a:pt x="2998470" y="458195"/>
                      <a:pt x="3007043" y="457243"/>
                    </a:cubicBezTo>
                    <a:lnTo>
                      <a:pt x="3017520" y="448670"/>
                    </a:lnTo>
                    <a:lnTo>
                      <a:pt x="3020378" y="441050"/>
                    </a:lnTo>
                    <a:lnTo>
                      <a:pt x="3027998" y="435335"/>
                    </a:lnTo>
                    <a:lnTo>
                      <a:pt x="3038475" y="428668"/>
                    </a:lnTo>
                    <a:cubicBezTo>
                      <a:pt x="3038475" y="428668"/>
                      <a:pt x="3038475" y="428668"/>
                      <a:pt x="3037523" y="425810"/>
                    </a:cubicBezTo>
                    <a:cubicBezTo>
                      <a:pt x="3036570" y="422953"/>
                      <a:pt x="3047048" y="416285"/>
                      <a:pt x="3047048" y="416285"/>
                    </a:cubicBezTo>
                    <a:lnTo>
                      <a:pt x="3054668" y="413428"/>
                    </a:lnTo>
                    <a:lnTo>
                      <a:pt x="3072765" y="403903"/>
                    </a:lnTo>
                    <a:cubicBezTo>
                      <a:pt x="3072765" y="403903"/>
                      <a:pt x="3072765" y="403903"/>
                      <a:pt x="3083243" y="397235"/>
                    </a:cubicBezTo>
                    <a:cubicBezTo>
                      <a:pt x="3083243" y="397235"/>
                      <a:pt x="3077528" y="392473"/>
                      <a:pt x="3077528" y="386758"/>
                    </a:cubicBezTo>
                    <a:cubicBezTo>
                      <a:pt x="3077528" y="381043"/>
                      <a:pt x="3077528" y="386758"/>
                      <a:pt x="3080385" y="383900"/>
                    </a:cubicBezTo>
                    <a:cubicBezTo>
                      <a:pt x="3083243" y="381043"/>
                      <a:pt x="3080385" y="383900"/>
                      <a:pt x="3080385" y="381043"/>
                    </a:cubicBezTo>
                    <a:cubicBezTo>
                      <a:pt x="3080385" y="378185"/>
                      <a:pt x="3085148" y="377233"/>
                      <a:pt x="3085148" y="377233"/>
                    </a:cubicBezTo>
                    <a:lnTo>
                      <a:pt x="3092768" y="370565"/>
                    </a:lnTo>
                    <a:cubicBezTo>
                      <a:pt x="3092768" y="370565"/>
                      <a:pt x="3092768" y="370565"/>
                      <a:pt x="3089910" y="357230"/>
                    </a:cubicBezTo>
                    <a:lnTo>
                      <a:pt x="3097530" y="375328"/>
                    </a:lnTo>
                    <a:cubicBezTo>
                      <a:pt x="3097530" y="375328"/>
                      <a:pt x="3097530" y="375328"/>
                      <a:pt x="3097530" y="371518"/>
                    </a:cubicBezTo>
                    <a:cubicBezTo>
                      <a:pt x="3097530" y="367708"/>
                      <a:pt x="3110865" y="366755"/>
                      <a:pt x="3110865" y="366755"/>
                    </a:cubicBezTo>
                    <a:lnTo>
                      <a:pt x="3116580" y="351515"/>
                    </a:lnTo>
                    <a:cubicBezTo>
                      <a:pt x="3116580" y="351515"/>
                      <a:pt x="3124200" y="349610"/>
                      <a:pt x="3148013" y="343895"/>
                    </a:cubicBezTo>
                    <a:cubicBezTo>
                      <a:pt x="3171825" y="338180"/>
                      <a:pt x="3161348" y="342943"/>
                      <a:pt x="3166110" y="342943"/>
                    </a:cubicBezTo>
                    <a:cubicBezTo>
                      <a:pt x="3170873" y="342943"/>
                      <a:pt x="3183255" y="343895"/>
                      <a:pt x="3183255" y="343895"/>
                    </a:cubicBezTo>
                    <a:cubicBezTo>
                      <a:pt x="3183255" y="343895"/>
                      <a:pt x="3243263" y="340085"/>
                      <a:pt x="3253740" y="336275"/>
                    </a:cubicBezTo>
                    <a:cubicBezTo>
                      <a:pt x="3264218" y="332465"/>
                      <a:pt x="3258503" y="332465"/>
                      <a:pt x="3258503" y="332465"/>
                    </a:cubicBezTo>
                    <a:cubicBezTo>
                      <a:pt x="3258503" y="332465"/>
                      <a:pt x="3271838" y="325798"/>
                      <a:pt x="3274695" y="321988"/>
                    </a:cubicBezTo>
                    <a:cubicBezTo>
                      <a:pt x="3277553" y="318178"/>
                      <a:pt x="3288983" y="319130"/>
                      <a:pt x="3301365" y="315320"/>
                    </a:cubicBezTo>
                    <a:cubicBezTo>
                      <a:pt x="3312795" y="311510"/>
                      <a:pt x="3317558" y="304843"/>
                      <a:pt x="3317558" y="304843"/>
                    </a:cubicBezTo>
                    <a:cubicBezTo>
                      <a:pt x="3317558" y="304843"/>
                      <a:pt x="3331845" y="307700"/>
                      <a:pt x="3336608" y="306748"/>
                    </a:cubicBezTo>
                    <a:cubicBezTo>
                      <a:pt x="3341370" y="305795"/>
                      <a:pt x="3358515" y="309605"/>
                      <a:pt x="3358515" y="309605"/>
                    </a:cubicBezTo>
                    <a:cubicBezTo>
                      <a:pt x="3358515" y="309605"/>
                      <a:pt x="3388995" y="306748"/>
                      <a:pt x="3407093" y="300080"/>
                    </a:cubicBezTo>
                    <a:cubicBezTo>
                      <a:pt x="3425190" y="292460"/>
                      <a:pt x="3407093" y="300080"/>
                      <a:pt x="3403283" y="291508"/>
                    </a:cubicBezTo>
                    <a:cubicBezTo>
                      <a:pt x="3399473" y="282935"/>
                      <a:pt x="3383280" y="286745"/>
                      <a:pt x="3380423" y="282935"/>
                    </a:cubicBezTo>
                    <a:cubicBezTo>
                      <a:pt x="3377565" y="279125"/>
                      <a:pt x="3379470" y="279125"/>
                      <a:pt x="3364230" y="270553"/>
                    </a:cubicBezTo>
                    <a:cubicBezTo>
                      <a:pt x="3364230" y="270553"/>
                      <a:pt x="3353753" y="263885"/>
                      <a:pt x="3358515" y="260075"/>
                    </a:cubicBezTo>
                    <a:lnTo>
                      <a:pt x="3369945" y="260075"/>
                    </a:lnTo>
                    <a:cubicBezTo>
                      <a:pt x="3369945" y="260075"/>
                      <a:pt x="3388043" y="259123"/>
                      <a:pt x="3397568" y="257218"/>
                    </a:cubicBezTo>
                    <a:cubicBezTo>
                      <a:pt x="3408045" y="255313"/>
                      <a:pt x="3403283" y="253408"/>
                      <a:pt x="3405188" y="249598"/>
                    </a:cubicBezTo>
                    <a:cubicBezTo>
                      <a:pt x="3407093" y="245788"/>
                      <a:pt x="3408045" y="244835"/>
                      <a:pt x="3408045" y="244835"/>
                    </a:cubicBezTo>
                    <a:lnTo>
                      <a:pt x="3415665" y="241025"/>
                    </a:lnTo>
                    <a:lnTo>
                      <a:pt x="3424238" y="241025"/>
                    </a:lnTo>
                    <a:lnTo>
                      <a:pt x="3432810" y="242930"/>
                    </a:lnTo>
                    <a:lnTo>
                      <a:pt x="3449003" y="250550"/>
                    </a:lnTo>
                    <a:lnTo>
                      <a:pt x="3456623" y="253408"/>
                    </a:lnTo>
                    <a:cubicBezTo>
                      <a:pt x="3456623" y="253408"/>
                      <a:pt x="3465195" y="257218"/>
                      <a:pt x="3472815" y="257218"/>
                    </a:cubicBezTo>
                    <a:cubicBezTo>
                      <a:pt x="3480435" y="257218"/>
                      <a:pt x="3489960" y="260075"/>
                      <a:pt x="3494723" y="260075"/>
                    </a:cubicBezTo>
                    <a:cubicBezTo>
                      <a:pt x="3499485" y="260075"/>
                      <a:pt x="3514725" y="267695"/>
                      <a:pt x="3519488" y="266743"/>
                    </a:cubicBezTo>
                    <a:cubicBezTo>
                      <a:pt x="3524250" y="265790"/>
                      <a:pt x="3529965" y="267695"/>
                      <a:pt x="3535680" y="265790"/>
                    </a:cubicBezTo>
                    <a:cubicBezTo>
                      <a:pt x="3541395" y="263885"/>
                      <a:pt x="3543300" y="261980"/>
                      <a:pt x="3549015" y="255313"/>
                    </a:cubicBezTo>
                    <a:cubicBezTo>
                      <a:pt x="3554730" y="248645"/>
                      <a:pt x="3549015" y="255313"/>
                      <a:pt x="3551873" y="243883"/>
                    </a:cubicBezTo>
                    <a:cubicBezTo>
                      <a:pt x="3554730" y="232453"/>
                      <a:pt x="3560445" y="241025"/>
                      <a:pt x="3560445" y="241025"/>
                    </a:cubicBezTo>
                    <a:lnTo>
                      <a:pt x="3569018" y="237215"/>
                    </a:lnTo>
                    <a:lnTo>
                      <a:pt x="3574733" y="230548"/>
                    </a:lnTo>
                    <a:lnTo>
                      <a:pt x="3568065" y="231500"/>
                    </a:lnTo>
                    <a:close/>
                    <a:moveTo>
                      <a:pt x="601028" y="290555"/>
                    </a:moveTo>
                    <a:cubicBezTo>
                      <a:pt x="601028" y="290555"/>
                      <a:pt x="601028" y="290555"/>
                      <a:pt x="601028" y="290555"/>
                    </a:cubicBezTo>
                    <a:cubicBezTo>
                      <a:pt x="601028" y="290555"/>
                      <a:pt x="601028" y="290555"/>
                      <a:pt x="601028" y="290555"/>
                    </a:cubicBezTo>
                    <a:close/>
                    <a:moveTo>
                      <a:pt x="874395" y="1083035"/>
                    </a:moveTo>
                    <a:lnTo>
                      <a:pt x="867728" y="1091608"/>
                    </a:lnTo>
                    <a:lnTo>
                      <a:pt x="861060" y="1097323"/>
                    </a:lnTo>
                    <a:lnTo>
                      <a:pt x="849630" y="1106848"/>
                    </a:lnTo>
                    <a:lnTo>
                      <a:pt x="838200" y="1104943"/>
                    </a:lnTo>
                    <a:lnTo>
                      <a:pt x="841058" y="1096370"/>
                    </a:lnTo>
                    <a:cubicBezTo>
                      <a:pt x="841058" y="1096370"/>
                      <a:pt x="841058" y="1096370"/>
                      <a:pt x="839153" y="1091608"/>
                    </a:cubicBezTo>
                    <a:cubicBezTo>
                      <a:pt x="837248" y="1087798"/>
                      <a:pt x="845820" y="1085893"/>
                      <a:pt x="845820" y="1085893"/>
                    </a:cubicBezTo>
                    <a:lnTo>
                      <a:pt x="859155" y="1084940"/>
                    </a:lnTo>
                    <a:lnTo>
                      <a:pt x="874395" y="1083035"/>
                    </a:lnTo>
                    <a:close/>
                    <a:moveTo>
                      <a:pt x="1003935" y="591545"/>
                    </a:moveTo>
                    <a:cubicBezTo>
                      <a:pt x="1003935" y="591545"/>
                      <a:pt x="1003935" y="591545"/>
                      <a:pt x="995363" y="595355"/>
                    </a:cubicBezTo>
                    <a:cubicBezTo>
                      <a:pt x="986790" y="599165"/>
                      <a:pt x="995363" y="595355"/>
                      <a:pt x="986790" y="595355"/>
                    </a:cubicBezTo>
                    <a:cubicBezTo>
                      <a:pt x="978218" y="595355"/>
                      <a:pt x="978218" y="595355"/>
                      <a:pt x="978218" y="595355"/>
                    </a:cubicBezTo>
                    <a:lnTo>
                      <a:pt x="958215" y="593450"/>
                    </a:lnTo>
                    <a:lnTo>
                      <a:pt x="918210" y="588688"/>
                    </a:lnTo>
                    <a:cubicBezTo>
                      <a:pt x="918210" y="588688"/>
                      <a:pt x="906780" y="588688"/>
                      <a:pt x="901065" y="588688"/>
                    </a:cubicBezTo>
                    <a:cubicBezTo>
                      <a:pt x="894398" y="588688"/>
                      <a:pt x="885825" y="588688"/>
                      <a:pt x="885825" y="588688"/>
                    </a:cubicBezTo>
                    <a:lnTo>
                      <a:pt x="868680" y="585830"/>
                    </a:lnTo>
                    <a:cubicBezTo>
                      <a:pt x="868680" y="585830"/>
                      <a:pt x="853440" y="586783"/>
                      <a:pt x="846773" y="586783"/>
                    </a:cubicBezTo>
                    <a:cubicBezTo>
                      <a:pt x="840105" y="586783"/>
                      <a:pt x="838200" y="586783"/>
                      <a:pt x="824865" y="589640"/>
                    </a:cubicBezTo>
                    <a:cubicBezTo>
                      <a:pt x="811530" y="592498"/>
                      <a:pt x="824865" y="589640"/>
                      <a:pt x="813435" y="589640"/>
                    </a:cubicBezTo>
                    <a:cubicBezTo>
                      <a:pt x="802005" y="589640"/>
                      <a:pt x="813435" y="589640"/>
                      <a:pt x="802005" y="589640"/>
                    </a:cubicBezTo>
                    <a:cubicBezTo>
                      <a:pt x="790575" y="589640"/>
                      <a:pt x="791528" y="586783"/>
                      <a:pt x="791528" y="586783"/>
                    </a:cubicBezTo>
                    <a:cubicBezTo>
                      <a:pt x="791528" y="586783"/>
                      <a:pt x="791528" y="581068"/>
                      <a:pt x="791528" y="577258"/>
                    </a:cubicBezTo>
                    <a:cubicBezTo>
                      <a:pt x="791528" y="573448"/>
                      <a:pt x="798195" y="571543"/>
                      <a:pt x="802958" y="565828"/>
                    </a:cubicBezTo>
                    <a:cubicBezTo>
                      <a:pt x="807720" y="560113"/>
                      <a:pt x="802958" y="565828"/>
                      <a:pt x="807720" y="560113"/>
                    </a:cubicBezTo>
                    <a:cubicBezTo>
                      <a:pt x="812483" y="554398"/>
                      <a:pt x="809625" y="553445"/>
                      <a:pt x="809625" y="553445"/>
                    </a:cubicBezTo>
                    <a:lnTo>
                      <a:pt x="821055" y="544873"/>
                    </a:lnTo>
                    <a:lnTo>
                      <a:pt x="827723" y="538205"/>
                    </a:lnTo>
                    <a:lnTo>
                      <a:pt x="845820" y="529633"/>
                    </a:lnTo>
                    <a:lnTo>
                      <a:pt x="854393" y="529633"/>
                    </a:lnTo>
                    <a:lnTo>
                      <a:pt x="867728" y="529633"/>
                    </a:lnTo>
                    <a:lnTo>
                      <a:pt x="881063" y="537253"/>
                    </a:lnTo>
                    <a:lnTo>
                      <a:pt x="884873" y="545825"/>
                    </a:lnTo>
                    <a:lnTo>
                      <a:pt x="906780" y="550588"/>
                    </a:lnTo>
                    <a:lnTo>
                      <a:pt x="928688" y="546778"/>
                    </a:lnTo>
                    <a:cubicBezTo>
                      <a:pt x="928688" y="546778"/>
                      <a:pt x="928688" y="546778"/>
                      <a:pt x="926783" y="541063"/>
                    </a:cubicBezTo>
                    <a:cubicBezTo>
                      <a:pt x="924878" y="535348"/>
                      <a:pt x="926783" y="531538"/>
                      <a:pt x="926783" y="531538"/>
                    </a:cubicBezTo>
                    <a:cubicBezTo>
                      <a:pt x="926783" y="531538"/>
                      <a:pt x="933450" y="525823"/>
                      <a:pt x="942023" y="519155"/>
                    </a:cubicBezTo>
                    <a:lnTo>
                      <a:pt x="948690" y="527728"/>
                    </a:lnTo>
                    <a:lnTo>
                      <a:pt x="948690" y="534395"/>
                    </a:lnTo>
                    <a:cubicBezTo>
                      <a:pt x="948690" y="534395"/>
                      <a:pt x="948690" y="534395"/>
                      <a:pt x="946785" y="538205"/>
                    </a:cubicBezTo>
                    <a:cubicBezTo>
                      <a:pt x="944880" y="542015"/>
                      <a:pt x="953453" y="546778"/>
                      <a:pt x="953453" y="546778"/>
                    </a:cubicBezTo>
                    <a:lnTo>
                      <a:pt x="972503" y="561065"/>
                    </a:lnTo>
                    <a:lnTo>
                      <a:pt x="987743" y="571543"/>
                    </a:lnTo>
                    <a:lnTo>
                      <a:pt x="998220" y="579163"/>
                    </a:lnTo>
                    <a:lnTo>
                      <a:pt x="1004888" y="584878"/>
                    </a:lnTo>
                    <a:lnTo>
                      <a:pt x="1003935" y="591545"/>
                    </a:lnTo>
                    <a:close/>
                    <a:moveTo>
                      <a:pt x="1239203" y="609643"/>
                    </a:moveTo>
                    <a:lnTo>
                      <a:pt x="1230630" y="612500"/>
                    </a:lnTo>
                    <a:lnTo>
                      <a:pt x="1212533" y="622025"/>
                    </a:lnTo>
                    <a:lnTo>
                      <a:pt x="1212533" y="627740"/>
                    </a:lnTo>
                    <a:cubicBezTo>
                      <a:pt x="1212533" y="627740"/>
                      <a:pt x="1210628" y="628693"/>
                      <a:pt x="1212533" y="633455"/>
                    </a:cubicBezTo>
                    <a:cubicBezTo>
                      <a:pt x="1214438" y="637265"/>
                      <a:pt x="1219200" y="629645"/>
                      <a:pt x="1214438" y="637265"/>
                    </a:cubicBezTo>
                    <a:cubicBezTo>
                      <a:pt x="1209675" y="645838"/>
                      <a:pt x="1196340" y="645838"/>
                      <a:pt x="1196340" y="645838"/>
                    </a:cubicBezTo>
                    <a:lnTo>
                      <a:pt x="1183005" y="645838"/>
                    </a:lnTo>
                    <a:lnTo>
                      <a:pt x="1169670" y="642980"/>
                    </a:lnTo>
                    <a:lnTo>
                      <a:pt x="1157288" y="625835"/>
                    </a:lnTo>
                    <a:lnTo>
                      <a:pt x="1150620" y="614405"/>
                    </a:lnTo>
                    <a:cubicBezTo>
                      <a:pt x="1150620" y="614405"/>
                      <a:pt x="1143953" y="604880"/>
                      <a:pt x="1143953" y="600118"/>
                    </a:cubicBezTo>
                    <a:cubicBezTo>
                      <a:pt x="1143953" y="596308"/>
                      <a:pt x="1123950" y="586783"/>
                      <a:pt x="1123950" y="586783"/>
                    </a:cubicBezTo>
                    <a:lnTo>
                      <a:pt x="1115378" y="571543"/>
                    </a:lnTo>
                    <a:lnTo>
                      <a:pt x="1113473" y="559160"/>
                    </a:lnTo>
                    <a:cubicBezTo>
                      <a:pt x="1113473" y="559160"/>
                      <a:pt x="1108710" y="555350"/>
                      <a:pt x="1113473" y="550588"/>
                    </a:cubicBezTo>
                    <a:cubicBezTo>
                      <a:pt x="1118235" y="546778"/>
                      <a:pt x="1109663" y="538205"/>
                      <a:pt x="1116330" y="539158"/>
                    </a:cubicBezTo>
                    <a:cubicBezTo>
                      <a:pt x="1122998" y="541063"/>
                      <a:pt x="1129665" y="535348"/>
                      <a:pt x="1129665" y="535348"/>
                    </a:cubicBezTo>
                    <a:cubicBezTo>
                      <a:pt x="1149668" y="534395"/>
                      <a:pt x="1163003" y="531538"/>
                      <a:pt x="1163003" y="531538"/>
                    </a:cubicBezTo>
                    <a:cubicBezTo>
                      <a:pt x="1196340" y="527728"/>
                      <a:pt x="1196340" y="527728"/>
                      <a:pt x="1196340" y="527728"/>
                    </a:cubicBezTo>
                    <a:lnTo>
                      <a:pt x="1201103" y="531538"/>
                    </a:lnTo>
                    <a:cubicBezTo>
                      <a:pt x="1201103" y="535348"/>
                      <a:pt x="1187768" y="540110"/>
                      <a:pt x="1187768" y="540110"/>
                    </a:cubicBezTo>
                    <a:lnTo>
                      <a:pt x="1176338" y="545825"/>
                    </a:lnTo>
                    <a:lnTo>
                      <a:pt x="1176338" y="557255"/>
                    </a:lnTo>
                    <a:cubicBezTo>
                      <a:pt x="1176338" y="557255"/>
                      <a:pt x="1169670" y="565828"/>
                      <a:pt x="1176338" y="568685"/>
                    </a:cubicBezTo>
                    <a:cubicBezTo>
                      <a:pt x="1183005" y="571543"/>
                      <a:pt x="1206818" y="584878"/>
                      <a:pt x="1206818" y="584878"/>
                    </a:cubicBezTo>
                    <a:lnTo>
                      <a:pt x="1222058" y="587735"/>
                    </a:lnTo>
                    <a:lnTo>
                      <a:pt x="1237298" y="593450"/>
                    </a:lnTo>
                    <a:lnTo>
                      <a:pt x="1243965" y="599165"/>
                    </a:lnTo>
                    <a:lnTo>
                      <a:pt x="1239203" y="609643"/>
                    </a:lnTo>
                    <a:close/>
                    <a:moveTo>
                      <a:pt x="1342073" y="556303"/>
                    </a:moveTo>
                    <a:lnTo>
                      <a:pt x="1335405" y="562970"/>
                    </a:lnTo>
                    <a:lnTo>
                      <a:pt x="1322070" y="562970"/>
                    </a:lnTo>
                    <a:cubicBezTo>
                      <a:pt x="1322070" y="562970"/>
                      <a:pt x="1313498" y="558208"/>
                      <a:pt x="1308735" y="554398"/>
                    </a:cubicBezTo>
                    <a:cubicBezTo>
                      <a:pt x="1303973" y="550588"/>
                      <a:pt x="1310640" y="548683"/>
                      <a:pt x="1311593" y="542015"/>
                    </a:cubicBezTo>
                    <a:cubicBezTo>
                      <a:pt x="1311593" y="535348"/>
                      <a:pt x="1311593" y="542015"/>
                      <a:pt x="1316355" y="536300"/>
                    </a:cubicBezTo>
                    <a:lnTo>
                      <a:pt x="1333500" y="536300"/>
                    </a:lnTo>
                    <a:lnTo>
                      <a:pt x="1342073" y="548683"/>
                    </a:lnTo>
                    <a:lnTo>
                      <a:pt x="1342073" y="556303"/>
                    </a:lnTo>
                    <a:close/>
                  </a:path>
                </a:pathLst>
              </a:custGeom>
              <a:grpFill/>
              <a:ln w="9525" cap="flat">
                <a:noFill/>
                <a:prstDash val="solid"/>
                <a:miter/>
              </a:ln>
            </p:spPr>
            <p:txBody>
              <a:bodyPr rtlCol="0" anchor="ctr"/>
              <a:lstStyle/>
              <a:p>
                <a:endParaRPr lang="en-US" sz="1765"/>
              </a:p>
            </p:txBody>
          </p:sp>
          <p:sp>
            <p:nvSpPr>
              <p:cNvPr id="217" name="Freeform: Shape 216">
                <a:extLst>
                  <a:ext uri="{FF2B5EF4-FFF2-40B4-BE49-F238E27FC236}">
                    <a16:creationId xmlns:a16="http://schemas.microsoft.com/office/drawing/2014/main" id="{150D4418-B352-49FE-B652-2F96B7804123}"/>
                  </a:ext>
                </a:extLst>
              </p:cNvPr>
              <p:cNvSpPr/>
              <p:nvPr/>
            </p:nvSpPr>
            <p:spPr>
              <a:xfrm>
                <a:off x="8953529" y="4190729"/>
                <a:ext cx="130567" cy="157171"/>
              </a:xfrm>
              <a:custGeom>
                <a:avLst/>
                <a:gdLst>
                  <a:gd name="connsiteX0" fmla="*/ 126682 w 130567"/>
                  <a:gd name="connsiteY0" fmla="*/ 4763 h 157171"/>
                  <a:gd name="connsiteX1" fmla="*/ 126682 w 130567"/>
                  <a:gd name="connsiteY1" fmla="*/ 10478 h 157171"/>
                  <a:gd name="connsiteX2" fmla="*/ 126682 w 130567"/>
                  <a:gd name="connsiteY2" fmla="*/ 25717 h 157171"/>
                  <a:gd name="connsiteX3" fmla="*/ 126682 w 130567"/>
                  <a:gd name="connsiteY3" fmla="*/ 34290 h 157171"/>
                  <a:gd name="connsiteX4" fmla="*/ 129540 w 130567"/>
                  <a:gd name="connsiteY4" fmla="*/ 45720 h 157171"/>
                  <a:gd name="connsiteX5" fmla="*/ 122872 w 130567"/>
                  <a:gd name="connsiteY5" fmla="*/ 57150 h 157171"/>
                  <a:gd name="connsiteX6" fmla="*/ 117157 w 130567"/>
                  <a:gd name="connsiteY6" fmla="*/ 69533 h 157171"/>
                  <a:gd name="connsiteX7" fmla="*/ 115253 w 130567"/>
                  <a:gd name="connsiteY7" fmla="*/ 75247 h 157171"/>
                  <a:gd name="connsiteX8" fmla="*/ 110490 w 130567"/>
                  <a:gd name="connsiteY8" fmla="*/ 88583 h 157171"/>
                  <a:gd name="connsiteX9" fmla="*/ 107632 w 130567"/>
                  <a:gd name="connsiteY9" fmla="*/ 98108 h 157171"/>
                  <a:gd name="connsiteX10" fmla="*/ 97155 w 130567"/>
                  <a:gd name="connsiteY10" fmla="*/ 112395 h 157171"/>
                  <a:gd name="connsiteX11" fmla="*/ 91440 w 130567"/>
                  <a:gd name="connsiteY11" fmla="*/ 118110 h 157171"/>
                  <a:gd name="connsiteX12" fmla="*/ 79057 w 130567"/>
                  <a:gd name="connsiteY12" fmla="*/ 126683 h 157171"/>
                  <a:gd name="connsiteX13" fmla="*/ 78105 w 130567"/>
                  <a:gd name="connsiteY13" fmla="*/ 133350 h 157171"/>
                  <a:gd name="connsiteX14" fmla="*/ 74295 w 130567"/>
                  <a:gd name="connsiteY14" fmla="*/ 145733 h 157171"/>
                  <a:gd name="connsiteX15" fmla="*/ 69532 w 130567"/>
                  <a:gd name="connsiteY15" fmla="*/ 152400 h 157171"/>
                  <a:gd name="connsiteX16" fmla="*/ 54292 w 130567"/>
                  <a:gd name="connsiteY16" fmla="*/ 155258 h 157171"/>
                  <a:gd name="connsiteX17" fmla="*/ 46672 w 130567"/>
                  <a:gd name="connsiteY17" fmla="*/ 156210 h 157171"/>
                  <a:gd name="connsiteX18" fmla="*/ 35242 w 130567"/>
                  <a:gd name="connsiteY18" fmla="*/ 154305 h 157171"/>
                  <a:gd name="connsiteX19" fmla="*/ 20955 w 130567"/>
                  <a:gd name="connsiteY19" fmla="*/ 144780 h 157171"/>
                  <a:gd name="connsiteX20" fmla="*/ 18097 w 130567"/>
                  <a:gd name="connsiteY20" fmla="*/ 139065 h 157171"/>
                  <a:gd name="connsiteX21" fmla="*/ 12382 w 130567"/>
                  <a:gd name="connsiteY21" fmla="*/ 133350 h 157171"/>
                  <a:gd name="connsiteX22" fmla="*/ 2857 w 130567"/>
                  <a:gd name="connsiteY22" fmla="*/ 129540 h 157171"/>
                  <a:gd name="connsiteX23" fmla="*/ 953 w 130567"/>
                  <a:gd name="connsiteY23" fmla="*/ 120015 h 157171"/>
                  <a:gd name="connsiteX24" fmla="*/ 0 w 130567"/>
                  <a:gd name="connsiteY24" fmla="*/ 113347 h 157171"/>
                  <a:gd name="connsiteX25" fmla="*/ 2857 w 130567"/>
                  <a:gd name="connsiteY25" fmla="*/ 104775 h 157171"/>
                  <a:gd name="connsiteX26" fmla="*/ 10478 w 130567"/>
                  <a:gd name="connsiteY26" fmla="*/ 101917 h 157171"/>
                  <a:gd name="connsiteX27" fmla="*/ 18097 w 130567"/>
                  <a:gd name="connsiteY27" fmla="*/ 98108 h 157171"/>
                  <a:gd name="connsiteX28" fmla="*/ 26670 w 130567"/>
                  <a:gd name="connsiteY28" fmla="*/ 93345 h 157171"/>
                  <a:gd name="connsiteX29" fmla="*/ 31432 w 130567"/>
                  <a:gd name="connsiteY29" fmla="*/ 84772 h 157171"/>
                  <a:gd name="connsiteX30" fmla="*/ 31432 w 130567"/>
                  <a:gd name="connsiteY30" fmla="*/ 74295 h 157171"/>
                  <a:gd name="connsiteX31" fmla="*/ 31432 w 130567"/>
                  <a:gd name="connsiteY31" fmla="*/ 64770 h 157171"/>
                  <a:gd name="connsiteX32" fmla="*/ 32385 w 130567"/>
                  <a:gd name="connsiteY32" fmla="*/ 55245 h 157171"/>
                  <a:gd name="connsiteX33" fmla="*/ 44767 w 130567"/>
                  <a:gd name="connsiteY33" fmla="*/ 48578 h 157171"/>
                  <a:gd name="connsiteX34" fmla="*/ 53340 w 130567"/>
                  <a:gd name="connsiteY34" fmla="*/ 44767 h 157171"/>
                  <a:gd name="connsiteX35" fmla="*/ 63817 w 130567"/>
                  <a:gd name="connsiteY35" fmla="*/ 40958 h 157171"/>
                  <a:gd name="connsiteX36" fmla="*/ 76200 w 130567"/>
                  <a:gd name="connsiteY36" fmla="*/ 34290 h 157171"/>
                  <a:gd name="connsiteX37" fmla="*/ 81915 w 130567"/>
                  <a:gd name="connsiteY37" fmla="*/ 31433 h 157171"/>
                  <a:gd name="connsiteX38" fmla="*/ 93345 w 130567"/>
                  <a:gd name="connsiteY38" fmla="*/ 27622 h 157171"/>
                  <a:gd name="connsiteX39" fmla="*/ 102870 w 130567"/>
                  <a:gd name="connsiteY39" fmla="*/ 18097 h 157171"/>
                  <a:gd name="connsiteX40" fmla="*/ 107632 w 130567"/>
                  <a:gd name="connsiteY40" fmla="*/ 6667 h 157171"/>
                  <a:gd name="connsiteX41" fmla="*/ 115253 w 130567"/>
                  <a:gd name="connsiteY41" fmla="*/ 0 h 157171"/>
                  <a:gd name="connsiteX42" fmla="*/ 126682 w 130567"/>
                  <a:gd name="connsiteY42" fmla="*/ 4763 h 15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567" h="157171">
                    <a:moveTo>
                      <a:pt x="126682" y="4763"/>
                    </a:moveTo>
                    <a:cubicBezTo>
                      <a:pt x="126682" y="4763"/>
                      <a:pt x="125730" y="6667"/>
                      <a:pt x="126682" y="10478"/>
                    </a:cubicBezTo>
                    <a:cubicBezTo>
                      <a:pt x="127635" y="14288"/>
                      <a:pt x="125730" y="22860"/>
                      <a:pt x="126682" y="25717"/>
                    </a:cubicBezTo>
                    <a:cubicBezTo>
                      <a:pt x="127635" y="28575"/>
                      <a:pt x="124778" y="28575"/>
                      <a:pt x="126682" y="34290"/>
                    </a:cubicBezTo>
                    <a:cubicBezTo>
                      <a:pt x="128588" y="40005"/>
                      <a:pt x="132397" y="40958"/>
                      <a:pt x="129540" y="45720"/>
                    </a:cubicBezTo>
                    <a:cubicBezTo>
                      <a:pt x="127635" y="49530"/>
                      <a:pt x="128588" y="44767"/>
                      <a:pt x="122872" y="57150"/>
                    </a:cubicBezTo>
                    <a:cubicBezTo>
                      <a:pt x="117157" y="69533"/>
                      <a:pt x="119063" y="63817"/>
                      <a:pt x="117157" y="69533"/>
                    </a:cubicBezTo>
                    <a:cubicBezTo>
                      <a:pt x="115253" y="75247"/>
                      <a:pt x="116205" y="67628"/>
                      <a:pt x="115253" y="75247"/>
                    </a:cubicBezTo>
                    <a:cubicBezTo>
                      <a:pt x="114300" y="82867"/>
                      <a:pt x="111442" y="83820"/>
                      <a:pt x="110490" y="88583"/>
                    </a:cubicBezTo>
                    <a:cubicBezTo>
                      <a:pt x="109538" y="93345"/>
                      <a:pt x="111442" y="95250"/>
                      <a:pt x="107632" y="98108"/>
                    </a:cubicBezTo>
                    <a:cubicBezTo>
                      <a:pt x="103822" y="101917"/>
                      <a:pt x="97155" y="112395"/>
                      <a:pt x="97155" y="112395"/>
                    </a:cubicBezTo>
                    <a:cubicBezTo>
                      <a:pt x="97155" y="112395"/>
                      <a:pt x="93345" y="113347"/>
                      <a:pt x="91440" y="118110"/>
                    </a:cubicBezTo>
                    <a:cubicBezTo>
                      <a:pt x="89535" y="121920"/>
                      <a:pt x="78105" y="123825"/>
                      <a:pt x="79057" y="126683"/>
                    </a:cubicBezTo>
                    <a:cubicBezTo>
                      <a:pt x="80010" y="129540"/>
                      <a:pt x="78105" y="129540"/>
                      <a:pt x="78105" y="133350"/>
                    </a:cubicBezTo>
                    <a:cubicBezTo>
                      <a:pt x="78105" y="137160"/>
                      <a:pt x="76200" y="141922"/>
                      <a:pt x="74295" y="145733"/>
                    </a:cubicBezTo>
                    <a:cubicBezTo>
                      <a:pt x="73342" y="149542"/>
                      <a:pt x="69532" y="152400"/>
                      <a:pt x="69532" y="152400"/>
                    </a:cubicBezTo>
                    <a:lnTo>
                      <a:pt x="54292" y="155258"/>
                    </a:lnTo>
                    <a:cubicBezTo>
                      <a:pt x="54292" y="155258"/>
                      <a:pt x="53340" y="156210"/>
                      <a:pt x="46672" y="156210"/>
                    </a:cubicBezTo>
                    <a:cubicBezTo>
                      <a:pt x="40005" y="155258"/>
                      <a:pt x="45720" y="160020"/>
                      <a:pt x="35242" y="154305"/>
                    </a:cubicBezTo>
                    <a:cubicBezTo>
                      <a:pt x="25717" y="148590"/>
                      <a:pt x="20955" y="144780"/>
                      <a:pt x="20955" y="144780"/>
                    </a:cubicBezTo>
                    <a:lnTo>
                      <a:pt x="18097" y="139065"/>
                    </a:lnTo>
                    <a:cubicBezTo>
                      <a:pt x="18097" y="139065"/>
                      <a:pt x="16192" y="135255"/>
                      <a:pt x="12382" y="133350"/>
                    </a:cubicBezTo>
                    <a:cubicBezTo>
                      <a:pt x="9525" y="131445"/>
                      <a:pt x="2857" y="129540"/>
                      <a:pt x="2857" y="129540"/>
                    </a:cubicBezTo>
                    <a:lnTo>
                      <a:pt x="953" y="120015"/>
                    </a:lnTo>
                    <a:lnTo>
                      <a:pt x="0" y="113347"/>
                    </a:lnTo>
                    <a:lnTo>
                      <a:pt x="2857" y="104775"/>
                    </a:lnTo>
                    <a:cubicBezTo>
                      <a:pt x="2857" y="104775"/>
                      <a:pt x="7620" y="102870"/>
                      <a:pt x="10478" y="101917"/>
                    </a:cubicBezTo>
                    <a:cubicBezTo>
                      <a:pt x="13335" y="100965"/>
                      <a:pt x="18097" y="98108"/>
                      <a:pt x="18097" y="98108"/>
                    </a:cubicBezTo>
                    <a:lnTo>
                      <a:pt x="26670" y="93345"/>
                    </a:lnTo>
                    <a:lnTo>
                      <a:pt x="31432" y="84772"/>
                    </a:lnTo>
                    <a:lnTo>
                      <a:pt x="31432" y="74295"/>
                    </a:lnTo>
                    <a:lnTo>
                      <a:pt x="31432" y="64770"/>
                    </a:lnTo>
                    <a:lnTo>
                      <a:pt x="32385" y="55245"/>
                    </a:lnTo>
                    <a:lnTo>
                      <a:pt x="44767" y="48578"/>
                    </a:lnTo>
                    <a:lnTo>
                      <a:pt x="53340" y="44767"/>
                    </a:lnTo>
                    <a:cubicBezTo>
                      <a:pt x="53340" y="44767"/>
                      <a:pt x="60007" y="41910"/>
                      <a:pt x="63817" y="40958"/>
                    </a:cubicBezTo>
                    <a:cubicBezTo>
                      <a:pt x="66675" y="40005"/>
                      <a:pt x="76200" y="34290"/>
                      <a:pt x="76200" y="34290"/>
                    </a:cubicBezTo>
                    <a:lnTo>
                      <a:pt x="81915" y="31433"/>
                    </a:lnTo>
                    <a:cubicBezTo>
                      <a:pt x="81915" y="31433"/>
                      <a:pt x="87630" y="31433"/>
                      <a:pt x="93345" y="27622"/>
                    </a:cubicBezTo>
                    <a:cubicBezTo>
                      <a:pt x="99060" y="23813"/>
                      <a:pt x="98107" y="25717"/>
                      <a:pt x="102870" y="18097"/>
                    </a:cubicBezTo>
                    <a:cubicBezTo>
                      <a:pt x="107632" y="10478"/>
                      <a:pt x="107632" y="6667"/>
                      <a:pt x="107632" y="6667"/>
                    </a:cubicBezTo>
                    <a:lnTo>
                      <a:pt x="115253" y="0"/>
                    </a:lnTo>
                    <a:lnTo>
                      <a:pt x="126682" y="4763"/>
                    </a:lnTo>
                    <a:close/>
                  </a:path>
                </a:pathLst>
              </a:custGeom>
              <a:grpFill/>
              <a:ln w="9525" cap="flat">
                <a:noFill/>
                <a:prstDash val="solid"/>
                <a:miter/>
              </a:ln>
            </p:spPr>
            <p:txBody>
              <a:bodyPr rtlCol="0" anchor="ctr"/>
              <a:lstStyle/>
              <a:p>
                <a:endParaRPr lang="en-US" sz="1765"/>
              </a:p>
            </p:txBody>
          </p:sp>
        </p:grpSp>
        <p:sp>
          <p:nvSpPr>
            <p:cNvPr id="416" name="Graphic 69">
              <a:extLst>
                <a:ext uri="{FF2B5EF4-FFF2-40B4-BE49-F238E27FC236}">
                  <a16:creationId xmlns:a16="http://schemas.microsoft.com/office/drawing/2014/main" id="{54863EE4-9BF8-4CF4-9171-B7812E20D057}"/>
                </a:ext>
                <a:ext uri="{C183D7F6-B498-43B3-948B-1728B52AA6E4}">
                  <adec:decorative xmlns:adec="http://schemas.microsoft.com/office/drawing/2017/decorative" val="1"/>
                </a:ext>
              </a:extLst>
            </p:cNvPr>
            <p:cNvSpPr/>
            <p:nvPr/>
          </p:nvSpPr>
          <p:spPr>
            <a:xfrm rot="1954878" flipH="1">
              <a:off x="6247795" y="1699122"/>
              <a:ext cx="3941648" cy="258705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Lst>
              <a:ahLst/>
              <a:cxnLst>
                <a:cxn ang="0">
                  <a:pos x="connsiteX0" y="connsiteY0"/>
                </a:cxn>
                <a:cxn ang="0">
                  <a:pos x="connsiteX1" y="connsiteY1"/>
                </a:cxn>
              </a:cxnLst>
              <a:rect l="l" t="t" r="r" b="b"/>
              <a:pathLst>
                <a:path w="2407349" h="3259011">
                  <a:moveTo>
                    <a:pt x="0" y="291883"/>
                  </a:moveTo>
                  <a:cubicBezTo>
                    <a:pt x="0" y="291883"/>
                    <a:pt x="1953536" y="-1375235"/>
                    <a:pt x="2407349" y="3259011"/>
                  </a:cubicBezTo>
                </a:path>
              </a:pathLst>
            </a:custGeom>
            <a:noFill/>
            <a:ln w="9525" cap="flat">
              <a:solidFill>
                <a:schemeClr val="bg1">
                  <a:alpha val="46000"/>
                </a:schemeClr>
              </a:solidFill>
              <a:prstDash val="solid"/>
              <a:miter/>
            </a:ln>
          </p:spPr>
          <p:txBody>
            <a:bodyPr rtlCol="0" anchor="ctr"/>
            <a:lstStyle/>
            <a:p>
              <a:endParaRPr lang="en-US" sz="1765"/>
            </a:p>
          </p:txBody>
        </p:sp>
        <p:sp>
          <p:nvSpPr>
            <p:cNvPr id="146" name="Graphic 69">
              <a:extLst>
                <a:ext uri="{FF2B5EF4-FFF2-40B4-BE49-F238E27FC236}">
                  <a16:creationId xmlns:a16="http://schemas.microsoft.com/office/drawing/2014/main" id="{FDC1AD8D-174D-4EE9-9626-9E3180B822E1}"/>
                </a:ext>
                <a:ext uri="{C183D7F6-B498-43B3-948B-1728B52AA6E4}">
                  <adec:decorative xmlns:adec="http://schemas.microsoft.com/office/drawing/2017/decorative" val="1"/>
                </a:ext>
              </a:extLst>
            </p:cNvPr>
            <p:cNvSpPr/>
            <p:nvPr/>
          </p:nvSpPr>
          <p:spPr>
            <a:xfrm rot="1041518" flipH="1" flipV="1">
              <a:off x="5737576" y="3229390"/>
              <a:ext cx="1439411" cy="57029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Lst>
              <a:ahLst/>
              <a:cxnLst>
                <a:cxn ang="0">
                  <a:pos x="connsiteX0" y="connsiteY0"/>
                </a:cxn>
                <a:cxn ang="0">
                  <a:pos x="connsiteX1" y="connsiteY1"/>
                </a:cxn>
              </a:cxnLst>
              <a:rect l="l" t="t" r="r" b="b"/>
              <a:pathLst>
                <a:path w="2412439" h="3028514">
                  <a:moveTo>
                    <a:pt x="0" y="12006"/>
                  </a:moveTo>
                  <a:cubicBezTo>
                    <a:pt x="0" y="12006"/>
                    <a:pt x="1892249" y="-359348"/>
                    <a:pt x="2412439" y="3028515"/>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2" name="Graphic 69">
              <a:extLst>
                <a:ext uri="{FF2B5EF4-FFF2-40B4-BE49-F238E27FC236}">
                  <a16:creationId xmlns:a16="http://schemas.microsoft.com/office/drawing/2014/main" id="{AD8762D0-4F1D-46EE-9B8C-2E2F7A480189}"/>
                </a:ext>
                <a:ext uri="{C183D7F6-B498-43B3-948B-1728B52AA6E4}">
                  <adec:decorative xmlns:adec="http://schemas.microsoft.com/office/drawing/2017/decorative" val="1"/>
                </a:ext>
              </a:extLst>
            </p:cNvPr>
            <p:cNvSpPr/>
            <p:nvPr/>
          </p:nvSpPr>
          <p:spPr>
            <a:xfrm rot="1041518" flipH="1" flipV="1">
              <a:off x="6291607" y="3478279"/>
              <a:ext cx="846272" cy="39483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Lst>
              <a:ahLst/>
              <a:cxnLst>
                <a:cxn ang="0">
                  <a:pos x="connsiteX0" y="connsiteY0"/>
                </a:cxn>
                <a:cxn ang="0">
                  <a:pos x="connsiteX1" y="connsiteY1"/>
                </a:cxn>
              </a:cxnLst>
              <a:rect l="l" t="t" r="r" b="b"/>
              <a:pathLst>
                <a:path w="2412439" h="3028514">
                  <a:moveTo>
                    <a:pt x="0" y="12006"/>
                  </a:moveTo>
                  <a:cubicBezTo>
                    <a:pt x="0" y="12006"/>
                    <a:pt x="1892249" y="-359348"/>
                    <a:pt x="2412439" y="3028515"/>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3" name="Graphic 69">
              <a:extLst>
                <a:ext uri="{FF2B5EF4-FFF2-40B4-BE49-F238E27FC236}">
                  <a16:creationId xmlns:a16="http://schemas.microsoft.com/office/drawing/2014/main" id="{9203F50D-3751-49EC-9C6D-CD5A37144DB1}"/>
                </a:ext>
                <a:ext uri="{C183D7F6-B498-43B3-948B-1728B52AA6E4}">
                  <adec:decorative xmlns:adec="http://schemas.microsoft.com/office/drawing/2017/decorative" val="1"/>
                </a:ext>
              </a:extLst>
            </p:cNvPr>
            <p:cNvSpPr/>
            <p:nvPr/>
          </p:nvSpPr>
          <p:spPr>
            <a:xfrm rot="17695877" flipH="1" flipV="1">
              <a:off x="6449358" y="2768651"/>
              <a:ext cx="892341" cy="71934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Lst>
              <a:ahLst/>
              <a:cxnLst>
                <a:cxn ang="0">
                  <a:pos x="connsiteX0" y="connsiteY0"/>
                </a:cxn>
                <a:cxn ang="0">
                  <a:pos x="connsiteX1" y="connsiteY1"/>
                </a:cxn>
              </a:cxnLst>
              <a:rect l="l" t="t" r="r" b="b"/>
              <a:pathLst>
                <a:path w="2412439" h="3016508">
                  <a:moveTo>
                    <a:pt x="0" y="0"/>
                  </a:moveTo>
                  <a:cubicBezTo>
                    <a:pt x="0" y="0"/>
                    <a:pt x="1445793" y="413045"/>
                    <a:pt x="2412439" y="301650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4" name="Graphic 69">
              <a:extLst>
                <a:ext uri="{FF2B5EF4-FFF2-40B4-BE49-F238E27FC236}">
                  <a16:creationId xmlns:a16="http://schemas.microsoft.com/office/drawing/2014/main" id="{02A2EF04-BE3C-440B-96C8-9F684B5221FA}"/>
                </a:ext>
                <a:ext uri="{C183D7F6-B498-43B3-948B-1728B52AA6E4}">
                  <adec:decorative xmlns:adec="http://schemas.microsoft.com/office/drawing/2017/decorative" val="1"/>
                </a:ext>
              </a:extLst>
            </p:cNvPr>
            <p:cNvSpPr/>
            <p:nvPr/>
          </p:nvSpPr>
          <p:spPr>
            <a:xfrm rot="17695877" flipH="1" flipV="1">
              <a:off x="7051164" y="3158055"/>
              <a:ext cx="1334386" cy="837093"/>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5" name="Graphic 69">
              <a:extLst>
                <a:ext uri="{FF2B5EF4-FFF2-40B4-BE49-F238E27FC236}">
                  <a16:creationId xmlns:a16="http://schemas.microsoft.com/office/drawing/2014/main" id="{35F611FA-2342-4034-9781-EE9FDDFB87A2}"/>
                </a:ext>
                <a:ext uri="{C183D7F6-B498-43B3-948B-1728B52AA6E4}">
                  <adec:decorative xmlns:adec="http://schemas.microsoft.com/office/drawing/2017/decorative" val="1"/>
                </a:ext>
              </a:extLst>
            </p:cNvPr>
            <p:cNvSpPr/>
            <p:nvPr/>
          </p:nvSpPr>
          <p:spPr>
            <a:xfrm rot="256138" flipH="1" flipV="1">
              <a:off x="7342255" y="2917951"/>
              <a:ext cx="1617026" cy="1147846"/>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89"/>
                <a:gd name="connsiteX1" fmla="*/ 2409437 w 2409437"/>
                <a:gd name="connsiteY1" fmla="*/ 2960388 h 2960389"/>
              </a:gdLst>
              <a:ahLst/>
              <a:cxnLst>
                <a:cxn ang="0">
                  <a:pos x="connsiteX0" y="connsiteY0"/>
                </a:cxn>
                <a:cxn ang="0">
                  <a:pos x="connsiteX1" y="connsiteY1"/>
                </a:cxn>
              </a:cxnLst>
              <a:rect l="l" t="t" r="r" b="b"/>
              <a:pathLst>
                <a:path w="2409437" h="2960389">
                  <a:moveTo>
                    <a:pt x="0" y="-1"/>
                  </a:moveTo>
                  <a:cubicBezTo>
                    <a:pt x="0" y="-1"/>
                    <a:pt x="1763122" y="87298"/>
                    <a:pt x="2409437" y="2960388"/>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6" name="Graphic 69">
              <a:extLst>
                <a:ext uri="{FF2B5EF4-FFF2-40B4-BE49-F238E27FC236}">
                  <a16:creationId xmlns:a16="http://schemas.microsoft.com/office/drawing/2014/main" id="{D52E2760-B3DB-41E6-AF87-EFAD11BC6731}"/>
                </a:ext>
                <a:ext uri="{C183D7F6-B498-43B3-948B-1728B52AA6E4}">
                  <adec:decorative xmlns:adec="http://schemas.microsoft.com/office/drawing/2017/decorative" val="1"/>
                </a:ext>
              </a:extLst>
            </p:cNvPr>
            <p:cNvSpPr/>
            <p:nvPr/>
          </p:nvSpPr>
          <p:spPr>
            <a:xfrm rot="1703027" flipH="1" flipV="1">
              <a:off x="8159483" y="3323751"/>
              <a:ext cx="938875" cy="62447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7" name="Graphic 69">
              <a:extLst>
                <a:ext uri="{FF2B5EF4-FFF2-40B4-BE49-F238E27FC236}">
                  <a16:creationId xmlns:a16="http://schemas.microsoft.com/office/drawing/2014/main" id="{04D8598A-9032-44A5-8743-6A00ADCF39DC}"/>
                </a:ext>
                <a:ext uri="{C183D7F6-B498-43B3-948B-1728B52AA6E4}">
                  <adec:decorative xmlns:adec="http://schemas.microsoft.com/office/drawing/2017/decorative" val="1"/>
                </a:ext>
              </a:extLst>
            </p:cNvPr>
            <p:cNvSpPr/>
            <p:nvPr/>
          </p:nvSpPr>
          <p:spPr>
            <a:xfrm rot="1703027" flipH="1">
              <a:off x="8333214" y="3270163"/>
              <a:ext cx="1582012" cy="269090"/>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8" name="Graphic 69">
              <a:extLst>
                <a:ext uri="{FF2B5EF4-FFF2-40B4-BE49-F238E27FC236}">
                  <a16:creationId xmlns:a16="http://schemas.microsoft.com/office/drawing/2014/main" id="{5909B384-B899-40AF-AF1A-BF1BB098D2ED}"/>
                </a:ext>
                <a:ext uri="{C183D7F6-B498-43B3-948B-1728B52AA6E4}">
                  <adec:decorative xmlns:adec="http://schemas.microsoft.com/office/drawing/2017/decorative" val="1"/>
                </a:ext>
              </a:extLst>
            </p:cNvPr>
            <p:cNvSpPr/>
            <p:nvPr/>
          </p:nvSpPr>
          <p:spPr>
            <a:xfrm rot="17555955" flipH="1" flipV="1">
              <a:off x="9827721" y="3225126"/>
              <a:ext cx="691999" cy="36386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endParaRPr lang="en-US" sz="1765"/>
            </a:p>
          </p:txBody>
        </p:sp>
        <p:sp>
          <p:nvSpPr>
            <p:cNvPr id="239" name="Graphic 69">
              <a:extLst>
                <a:ext uri="{FF2B5EF4-FFF2-40B4-BE49-F238E27FC236}">
                  <a16:creationId xmlns:a16="http://schemas.microsoft.com/office/drawing/2014/main" id="{47C06CE3-92E6-49B0-8212-67865F9F8457}"/>
                </a:ext>
                <a:ext uri="{C183D7F6-B498-43B3-948B-1728B52AA6E4}">
                  <adec:decorative xmlns:adec="http://schemas.microsoft.com/office/drawing/2017/decorative" val="1"/>
                </a:ext>
              </a:extLst>
            </p:cNvPr>
            <p:cNvSpPr/>
            <p:nvPr/>
          </p:nvSpPr>
          <p:spPr>
            <a:xfrm rot="17555955" flipH="1" flipV="1">
              <a:off x="10035386" y="2904944"/>
              <a:ext cx="973079" cy="98876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Lst>
              <a:ahLst/>
              <a:cxnLst>
                <a:cxn ang="0">
                  <a:pos x="connsiteX0" y="connsiteY0"/>
                </a:cxn>
                <a:cxn ang="0">
                  <a:pos x="connsiteX1" y="connsiteY1"/>
                </a:cxn>
              </a:cxnLst>
              <a:rect l="l" t="t" r="r" b="b"/>
              <a:pathLst>
                <a:path w="2409437" h="2960391">
                  <a:moveTo>
                    <a:pt x="0" y="1"/>
                  </a:moveTo>
                  <a:cubicBezTo>
                    <a:pt x="0" y="1"/>
                    <a:pt x="2001820" y="656220"/>
                    <a:pt x="2409437" y="2960390"/>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0" name="Graphic 69">
              <a:extLst>
                <a:ext uri="{FF2B5EF4-FFF2-40B4-BE49-F238E27FC236}">
                  <a16:creationId xmlns:a16="http://schemas.microsoft.com/office/drawing/2014/main" id="{F83FA9DB-D813-4E7B-BCCB-36E2E6CCFCE3}"/>
                </a:ext>
                <a:ext uri="{C183D7F6-B498-43B3-948B-1728B52AA6E4}">
                  <adec:decorative xmlns:adec="http://schemas.microsoft.com/office/drawing/2017/decorative" val="1"/>
                </a:ext>
              </a:extLst>
            </p:cNvPr>
            <p:cNvSpPr/>
            <p:nvPr/>
          </p:nvSpPr>
          <p:spPr>
            <a:xfrm flipH="1" flipV="1">
              <a:off x="9878532" y="3639465"/>
              <a:ext cx="1133169" cy="581291"/>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409437"/>
                <a:gd name="connsiteY0" fmla="*/ 4193 h 2964583"/>
                <a:gd name="connsiteX1" fmla="*/ 2409437 w 2409437"/>
                <a:gd name="connsiteY1" fmla="*/ 2964582 h 2964583"/>
              </a:gdLst>
              <a:ahLst/>
              <a:cxnLst>
                <a:cxn ang="0">
                  <a:pos x="connsiteX0" y="connsiteY0"/>
                </a:cxn>
                <a:cxn ang="0">
                  <a:pos x="connsiteX1" y="connsiteY1"/>
                </a:cxn>
              </a:cxnLst>
              <a:rect l="l" t="t" r="r" b="b"/>
              <a:pathLst>
                <a:path w="2409437" h="2964583">
                  <a:moveTo>
                    <a:pt x="0" y="4193"/>
                  </a:moveTo>
                  <a:cubicBezTo>
                    <a:pt x="0" y="4193"/>
                    <a:pt x="1677775" y="-238267"/>
                    <a:pt x="2409437" y="2964582"/>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1" name="Graphic 69">
              <a:extLst>
                <a:ext uri="{FF2B5EF4-FFF2-40B4-BE49-F238E27FC236}">
                  <a16:creationId xmlns:a16="http://schemas.microsoft.com/office/drawing/2014/main" id="{ADEA9E15-B4B0-4AB2-951E-DECDAE7D4880}"/>
                </a:ext>
                <a:ext uri="{C183D7F6-B498-43B3-948B-1728B52AA6E4}">
                  <adec:decorative xmlns:adec="http://schemas.microsoft.com/office/drawing/2017/decorative" val="1"/>
                </a:ext>
              </a:extLst>
            </p:cNvPr>
            <p:cNvSpPr/>
            <p:nvPr/>
          </p:nvSpPr>
          <p:spPr>
            <a:xfrm rot="17555955" flipH="1" flipV="1">
              <a:off x="10666737" y="2840061"/>
              <a:ext cx="276500" cy="62575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23619"/>
                <a:gd name="connsiteY0" fmla="*/ 0 h 2960390"/>
                <a:gd name="connsiteX1" fmla="*/ 2409437 w 2423619"/>
                <a:gd name="connsiteY1" fmla="*/ 2960389 h 2960390"/>
              </a:gdLst>
              <a:ahLst/>
              <a:cxnLst>
                <a:cxn ang="0">
                  <a:pos x="connsiteX0" y="connsiteY0"/>
                </a:cxn>
                <a:cxn ang="0">
                  <a:pos x="connsiteX1" y="connsiteY1"/>
                </a:cxn>
              </a:cxnLst>
              <a:rect l="l" t="t" r="r" b="b"/>
              <a:pathLst>
                <a:path w="2423619" h="2960390">
                  <a:moveTo>
                    <a:pt x="0" y="0"/>
                  </a:moveTo>
                  <a:cubicBezTo>
                    <a:pt x="0" y="0"/>
                    <a:pt x="2639238" y="864545"/>
                    <a:pt x="2409437" y="296038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2" name="Graphic 69">
              <a:extLst>
                <a:ext uri="{FF2B5EF4-FFF2-40B4-BE49-F238E27FC236}">
                  <a16:creationId xmlns:a16="http://schemas.microsoft.com/office/drawing/2014/main" id="{E600F944-55A1-4956-A5AA-4C567E9DC1EB}"/>
                </a:ext>
                <a:ext uri="{C183D7F6-B498-43B3-948B-1728B52AA6E4}">
                  <adec:decorative xmlns:adec="http://schemas.microsoft.com/office/drawing/2017/decorative" val="1"/>
                </a:ext>
              </a:extLst>
            </p:cNvPr>
            <p:cNvSpPr/>
            <p:nvPr/>
          </p:nvSpPr>
          <p:spPr>
            <a:xfrm rot="12576264" flipH="1" flipV="1">
              <a:off x="10874312" y="3201281"/>
              <a:ext cx="523760" cy="102000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23619"/>
                <a:gd name="connsiteY0" fmla="*/ 0 h 2960390"/>
                <a:gd name="connsiteX1" fmla="*/ 2409437 w 2423619"/>
                <a:gd name="connsiteY1" fmla="*/ 2960389 h 2960390"/>
                <a:gd name="connsiteX0" fmla="*/ 0 w 3124456"/>
                <a:gd name="connsiteY0" fmla="*/ 0 h 2960390"/>
                <a:gd name="connsiteX1" fmla="*/ 2409437 w 3124456"/>
                <a:gd name="connsiteY1" fmla="*/ 2960389 h 2960390"/>
              </a:gdLst>
              <a:ahLst/>
              <a:cxnLst>
                <a:cxn ang="0">
                  <a:pos x="connsiteX0" y="connsiteY0"/>
                </a:cxn>
                <a:cxn ang="0">
                  <a:pos x="connsiteX1" y="connsiteY1"/>
                </a:cxn>
              </a:cxnLst>
              <a:rect l="l" t="t" r="r" b="b"/>
              <a:pathLst>
                <a:path w="3124456" h="2960390">
                  <a:moveTo>
                    <a:pt x="0" y="0"/>
                  </a:moveTo>
                  <a:cubicBezTo>
                    <a:pt x="0" y="0"/>
                    <a:pt x="4923576" y="694108"/>
                    <a:pt x="2409437" y="296038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3" name="Graphic 69">
              <a:extLst>
                <a:ext uri="{FF2B5EF4-FFF2-40B4-BE49-F238E27FC236}">
                  <a16:creationId xmlns:a16="http://schemas.microsoft.com/office/drawing/2014/main" id="{6A710367-0939-458F-911E-E6FEA607D672}"/>
                </a:ext>
                <a:ext uri="{C183D7F6-B498-43B3-948B-1728B52AA6E4}">
                  <adec:decorative xmlns:adec="http://schemas.microsoft.com/office/drawing/2017/decorative" val="1"/>
                </a:ext>
              </a:extLst>
            </p:cNvPr>
            <p:cNvSpPr/>
            <p:nvPr/>
          </p:nvSpPr>
          <p:spPr>
            <a:xfrm rot="17555955" flipH="1" flipV="1">
              <a:off x="9571970" y="3183944"/>
              <a:ext cx="761089" cy="199478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512662"/>
                <a:gd name="connsiteY0" fmla="*/ 0 h 2960388"/>
                <a:gd name="connsiteX1" fmla="*/ 2409437 w 2512662"/>
                <a:gd name="connsiteY1" fmla="*/ 2960389 h 2960388"/>
              </a:gdLst>
              <a:ahLst/>
              <a:cxnLst>
                <a:cxn ang="0">
                  <a:pos x="connsiteX0" y="connsiteY0"/>
                </a:cxn>
                <a:cxn ang="0">
                  <a:pos x="connsiteX1" y="connsiteY1"/>
                </a:cxn>
              </a:cxnLst>
              <a:rect l="l" t="t" r="r" b="b"/>
              <a:pathLst>
                <a:path w="2512662" h="2960388">
                  <a:moveTo>
                    <a:pt x="0" y="0"/>
                  </a:moveTo>
                  <a:cubicBezTo>
                    <a:pt x="0" y="0"/>
                    <a:pt x="3111788" y="1045674"/>
                    <a:pt x="2409437" y="296038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4" name="Graphic 69">
              <a:extLst>
                <a:ext uri="{FF2B5EF4-FFF2-40B4-BE49-F238E27FC236}">
                  <a16:creationId xmlns:a16="http://schemas.microsoft.com/office/drawing/2014/main" id="{261FE16C-6610-4E69-B8A8-E2E14A17166E}"/>
                </a:ext>
                <a:ext uri="{C183D7F6-B498-43B3-948B-1728B52AA6E4}">
                  <adec:decorative xmlns:adec="http://schemas.microsoft.com/office/drawing/2017/decorative" val="1"/>
                </a:ext>
              </a:extLst>
            </p:cNvPr>
            <p:cNvSpPr/>
            <p:nvPr/>
          </p:nvSpPr>
          <p:spPr>
            <a:xfrm rot="17555955" flipH="1" flipV="1">
              <a:off x="7662984" y="3198543"/>
              <a:ext cx="619429" cy="1757556"/>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512662"/>
                <a:gd name="connsiteY0" fmla="*/ 0 h 2960388"/>
                <a:gd name="connsiteX1" fmla="*/ 2409437 w 2512662"/>
                <a:gd name="connsiteY1" fmla="*/ 2960389 h 2960388"/>
              </a:gdLst>
              <a:ahLst/>
              <a:cxnLst>
                <a:cxn ang="0">
                  <a:pos x="connsiteX0" y="connsiteY0"/>
                </a:cxn>
                <a:cxn ang="0">
                  <a:pos x="connsiteX1" y="connsiteY1"/>
                </a:cxn>
              </a:cxnLst>
              <a:rect l="l" t="t" r="r" b="b"/>
              <a:pathLst>
                <a:path w="2512662" h="2960388">
                  <a:moveTo>
                    <a:pt x="0" y="0"/>
                  </a:moveTo>
                  <a:cubicBezTo>
                    <a:pt x="0" y="0"/>
                    <a:pt x="3111788" y="1045674"/>
                    <a:pt x="2409437" y="2960389"/>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5" name="Graphic 69">
              <a:extLst>
                <a:ext uri="{FF2B5EF4-FFF2-40B4-BE49-F238E27FC236}">
                  <a16:creationId xmlns:a16="http://schemas.microsoft.com/office/drawing/2014/main" id="{4D8B0C85-280D-425A-9530-60FDC77A3811}"/>
                </a:ext>
                <a:ext uri="{C183D7F6-B498-43B3-948B-1728B52AA6E4}">
                  <adec:decorative xmlns:adec="http://schemas.microsoft.com/office/drawing/2017/decorative" val="1"/>
                </a:ext>
              </a:extLst>
            </p:cNvPr>
            <p:cNvSpPr/>
            <p:nvPr/>
          </p:nvSpPr>
          <p:spPr>
            <a:xfrm rot="1703027" flipH="1">
              <a:off x="8503595" y="2626033"/>
              <a:ext cx="1850220" cy="102412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390274"/>
                <a:gd name="connsiteY0" fmla="*/ 62987 h 3015565"/>
                <a:gd name="connsiteX1" fmla="*/ 2390274 w 2390274"/>
                <a:gd name="connsiteY1" fmla="*/ 3015565 h 3015565"/>
                <a:gd name="connsiteX0" fmla="*/ 0 w 2390274"/>
                <a:gd name="connsiteY0" fmla="*/ 120862 h 3073440"/>
                <a:gd name="connsiteX1" fmla="*/ 2390274 w 2390274"/>
                <a:gd name="connsiteY1" fmla="*/ 3073440 h 3073440"/>
              </a:gdLst>
              <a:ahLst/>
              <a:cxnLst>
                <a:cxn ang="0">
                  <a:pos x="connsiteX0" y="connsiteY0"/>
                </a:cxn>
                <a:cxn ang="0">
                  <a:pos x="connsiteX1" y="connsiteY1"/>
                </a:cxn>
              </a:cxnLst>
              <a:rect l="l" t="t" r="r" b="b"/>
              <a:pathLst>
                <a:path w="2390274" h="3073440">
                  <a:moveTo>
                    <a:pt x="0" y="120862"/>
                  </a:moveTo>
                  <a:cubicBezTo>
                    <a:pt x="0" y="120862"/>
                    <a:pt x="1509821" y="-914144"/>
                    <a:pt x="2390274" y="3073440"/>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6" name="Graphic 69">
              <a:extLst>
                <a:ext uri="{FF2B5EF4-FFF2-40B4-BE49-F238E27FC236}">
                  <a16:creationId xmlns:a16="http://schemas.microsoft.com/office/drawing/2014/main" id="{F1A58106-14A0-4450-9DB6-ED792AD27044}"/>
                </a:ext>
                <a:ext uri="{C183D7F6-B498-43B3-948B-1728B52AA6E4}">
                  <adec:decorative xmlns:adec="http://schemas.microsoft.com/office/drawing/2017/decorative" val="1"/>
                </a:ext>
              </a:extLst>
            </p:cNvPr>
            <p:cNvSpPr/>
            <p:nvPr/>
          </p:nvSpPr>
          <p:spPr>
            <a:xfrm rot="1703027" flipH="1">
              <a:off x="7394630" y="2897289"/>
              <a:ext cx="976043" cy="23236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390274"/>
                <a:gd name="connsiteY0" fmla="*/ 62987 h 3015565"/>
                <a:gd name="connsiteX1" fmla="*/ 2390274 w 2390274"/>
                <a:gd name="connsiteY1" fmla="*/ 3015565 h 3015565"/>
                <a:gd name="connsiteX0" fmla="*/ 0 w 2390274"/>
                <a:gd name="connsiteY0" fmla="*/ 120862 h 3073440"/>
                <a:gd name="connsiteX1" fmla="*/ 2390274 w 2390274"/>
                <a:gd name="connsiteY1" fmla="*/ 3073440 h 3073440"/>
              </a:gdLst>
              <a:ahLst/>
              <a:cxnLst>
                <a:cxn ang="0">
                  <a:pos x="connsiteX0" y="connsiteY0"/>
                </a:cxn>
                <a:cxn ang="0">
                  <a:pos x="connsiteX1" y="connsiteY1"/>
                </a:cxn>
              </a:cxnLst>
              <a:rect l="l" t="t" r="r" b="b"/>
              <a:pathLst>
                <a:path w="2390274" h="3073440">
                  <a:moveTo>
                    <a:pt x="0" y="120862"/>
                  </a:moveTo>
                  <a:cubicBezTo>
                    <a:pt x="0" y="120862"/>
                    <a:pt x="1509821" y="-914144"/>
                    <a:pt x="2390274" y="3073440"/>
                  </a:cubicBezTo>
                </a:path>
              </a:pathLst>
            </a:custGeom>
            <a:noFill/>
            <a:ln w="9525" cap="flat">
              <a:solidFill>
                <a:schemeClr val="bg1">
                  <a:alpha val="46000"/>
                </a:schemeClr>
              </a:solidFill>
              <a:prstDash val="solid"/>
              <a:miter/>
            </a:ln>
          </p:spPr>
          <p:txBody>
            <a:bodyPr rtlCol="0" anchor="ctr"/>
            <a:lstStyle/>
            <a:p>
              <a:endParaRPr lang="en-US" sz="1765"/>
            </a:p>
          </p:txBody>
        </p:sp>
        <p:sp>
          <p:nvSpPr>
            <p:cNvPr id="247" name="Oval 246">
              <a:extLst>
                <a:ext uri="{FF2B5EF4-FFF2-40B4-BE49-F238E27FC236}">
                  <a16:creationId xmlns:a16="http://schemas.microsoft.com/office/drawing/2014/main" id="{DDAE4FC2-441F-48BB-9716-25DBA5A91897}"/>
                </a:ext>
                <a:ext uri="{C183D7F6-B498-43B3-948B-1728B52AA6E4}">
                  <adec:decorative xmlns:adec="http://schemas.microsoft.com/office/drawing/2017/decorative" val="1"/>
                </a:ext>
              </a:extLst>
            </p:cNvPr>
            <p:cNvSpPr/>
            <p:nvPr/>
          </p:nvSpPr>
          <p:spPr bwMode="auto">
            <a:xfrm>
              <a:off x="8355194" y="4243659"/>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48" name="Oval 247">
              <a:extLst>
                <a:ext uri="{FF2B5EF4-FFF2-40B4-BE49-F238E27FC236}">
                  <a16:creationId xmlns:a16="http://schemas.microsoft.com/office/drawing/2014/main" id="{545C0550-FE89-4208-B97B-9B51D459C4E2}"/>
                </a:ext>
                <a:ext uri="{C183D7F6-B498-43B3-948B-1728B52AA6E4}">
                  <adec:decorative xmlns:adec="http://schemas.microsoft.com/office/drawing/2017/decorative" val="1"/>
                </a:ext>
              </a:extLst>
            </p:cNvPr>
            <p:cNvSpPr/>
            <p:nvPr/>
          </p:nvSpPr>
          <p:spPr bwMode="auto">
            <a:xfrm>
              <a:off x="7001886" y="31530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49" name="Oval 248">
              <a:extLst>
                <a:ext uri="{FF2B5EF4-FFF2-40B4-BE49-F238E27FC236}">
                  <a16:creationId xmlns:a16="http://schemas.microsoft.com/office/drawing/2014/main" id="{BD101562-7FAC-4F1F-9D90-8F1AD46A61C2}"/>
                </a:ext>
                <a:ext uri="{C183D7F6-B498-43B3-948B-1728B52AA6E4}">
                  <adec:decorative xmlns:adec="http://schemas.microsoft.com/office/drawing/2017/decorative" val="1"/>
                </a:ext>
              </a:extLst>
            </p:cNvPr>
            <p:cNvSpPr/>
            <p:nvPr/>
          </p:nvSpPr>
          <p:spPr bwMode="auto">
            <a:xfrm>
              <a:off x="8521882" y="3124472"/>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0" name="Oval 249">
              <a:extLst>
                <a:ext uri="{FF2B5EF4-FFF2-40B4-BE49-F238E27FC236}">
                  <a16:creationId xmlns:a16="http://schemas.microsoft.com/office/drawing/2014/main" id="{842E0E39-ADEB-4C7E-B7DC-A8D8CCB29620}"/>
                </a:ext>
                <a:ext uri="{C183D7F6-B498-43B3-948B-1728B52AA6E4}">
                  <adec:decorative xmlns:adec="http://schemas.microsoft.com/office/drawing/2017/decorative" val="1"/>
                </a:ext>
              </a:extLst>
            </p:cNvPr>
            <p:cNvSpPr/>
            <p:nvPr/>
          </p:nvSpPr>
          <p:spPr bwMode="auto">
            <a:xfrm>
              <a:off x="10136369" y="29244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1" name="Oval 250">
              <a:extLst>
                <a:ext uri="{FF2B5EF4-FFF2-40B4-BE49-F238E27FC236}">
                  <a16:creationId xmlns:a16="http://schemas.microsoft.com/office/drawing/2014/main" id="{B6FACEF4-5C68-4D95-8DF6-A7AB7E4A1EC4}"/>
                </a:ext>
                <a:ext uri="{C183D7F6-B498-43B3-948B-1728B52AA6E4}">
                  <adec:decorative xmlns:adec="http://schemas.microsoft.com/office/drawing/2017/decorative" val="1"/>
                </a:ext>
              </a:extLst>
            </p:cNvPr>
            <p:cNvSpPr/>
            <p:nvPr/>
          </p:nvSpPr>
          <p:spPr bwMode="auto">
            <a:xfrm>
              <a:off x="10201976" y="36388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2" name="Oval 251">
              <a:extLst>
                <a:ext uri="{FF2B5EF4-FFF2-40B4-BE49-F238E27FC236}">
                  <a16:creationId xmlns:a16="http://schemas.microsoft.com/office/drawing/2014/main" id="{7864D2C5-38B0-443F-8E4F-44971AC3ED5A}"/>
                </a:ext>
                <a:ext uri="{C183D7F6-B498-43B3-948B-1728B52AA6E4}">
                  <adec:decorative xmlns:adec="http://schemas.microsoft.com/office/drawing/2017/decorative" val="1"/>
                </a:ext>
              </a:extLst>
            </p:cNvPr>
            <p:cNvSpPr/>
            <p:nvPr/>
          </p:nvSpPr>
          <p:spPr bwMode="auto">
            <a:xfrm>
              <a:off x="11303182" y="340069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3" name="Oval 252">
              <a:extLst>
                <a:ext uri="{FF2B5EF4-FFF2-40B4-BE49-F238E27FC236}">
                  <a16:creationId xmlns:a16="http://schemas.microsoft.com/office/drawing/2014/main" id="{0EA5B4EB-C698-4B2A-8CA0-F52E3626355A}"/>
                </a:ext>
                <a:ext uri="{C183D7F6-B498-43B3-948B-1728B52AA6E4}">
                  <adec:decorative xmlns:adec="http://schemas.microsoft.com/office/drawing/2017/decorative" val="1"/>
                </a:ext>
              </a:extLst>
            </p:cNvPr>
            <p:cNvSpPr/>
            <p:nvPr/>
          </p:nvSpPr>
          <p:spPr bwMode="auto">
            <a:xfrm>
              <a:off x="10401094" y="4081780"/>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4" name="Oval 253">
              <a:extLst>
                <a:ext uri="{FF2B5EF4-FFF2-40B4-BE49-F238E27FC236}">
                  <a16:creationId xmlns:a16="http://schemas.microsoft.com/office/drawing/2014/main" id="{FC5EA6B9-7F7E-4A67-A777-ADAE241C012C}"/>
                </a:ext>
                <a:ext uri="{C183D7F6-B498-43B3-948B-1728B52AA6E4}">
                  <adec:decorative xmlns:adec="http://schemas.microsoft.com/office/drawing/2017/decorative" val="1"/>
                </a:ext>
              </a:extLst>
            </p:cNvPr>
            <p:cNvSpPr/>
            <p:nvPr/>
          </p:nvSpPr>
          <p:spPr bwMode="auto">
            <a:xfrm>
              <a:off x="5859644" y="31530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5" name="Oval 254">
              <a:extLst>
                <a:ext uri="{FF2B5EF4-FFF2-40B4-BE49-F238E27FC236}">
                  <a16:creationId xmlns:a16="http://schemas.microsoft.com/office/drawing/2014/main" id="{60C781F1-488F-4ACB-9A83-CFF6C2BB2357}"/>
                </a:ext>
                <a:ext uri="{C183D7F6-B498-43B3-948B-1728B52AA6E4}">
                  <adec:decorative xmlns:adec="http://schemas.microsoft.com/office/drawing/2017/decorative" val="1"/>
                </a:ext>
              </a:extLst>
            </p:cNvPr>
            <p:cNvSpPr/>
            <p:nvPr/>
          </p:nvSpPr>
          <p:spPr bwMode="auto">
            <a:xfrm>
              <a:off x="7931332" y="3681685"/>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6" name="Oval 255">
              <a:extLst>
                <a:ext uri="{FF2B5EF4-FFF2-40B4-BE49-F238E27FC236}">
                  <a16:creationId xmlns:a16="http://schemas.microsoft.com/office/drawing/2014/main" id="{8F653F12-DFAA-461C-9607-6C0EBCF7284D}"/>
                </a:ext>
                <a:ext uri="{C183D7F6-B498-43B3-948B-1728B52AA6E4}">
                  <adec:decorative xmlns:adec="http://schemas.microsoft.com/office/drawing/2017/decorative" val="1"/>
                </a:ext>
              </a:extLst>
            </p:cNvPr>
            <p:cNvSpPr/>
            <p:nvPr/>
          </p:nvSpPr>
          <p:spPr bwMode="auto">
            <a:xfrm>
              <a:off x="7788457" y="2867298"/>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57" name="Oval 256">
              <a:extLst>
                <a:ext uri="{FF2B5EF4-FFF2-40B4-BE49-F238E27FC236}">
                  <a16:creationId xmlns:a16="http://schemas.microsoft.com/office/drawing/2014/main" id="{BD02F44F-C76D-4B85-A70D-70A1535D60DB}"/>
                </a:ext>
                <a:ext uri="{C183D7F6-B498-43B3-948B-1728B52AA6E4}">
                  <adec:decorative xmlns:adec="http://schemas.microsoft.com/office/drawing/2017/decorative" val="1"/>
                </a:ext>
              </a:extLst>
            </p:cNvPr>
            <p:cNvSpPr/>
            <p:nvPr/>
          </p:nvSpPr>
          <p:spPr bwMode="auto">
            <a:xfrm>
              <a:off x="9826807" y="4410348"/>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17" name="Graphic 69">
              <a:extLst>
                <a:ext uri="{FF2B5EF4-FFF2-40B4-BE49-F238E27FC236}">
                  <a16:creationId xmlns:a16="http://schemas.microsoft.com/office/drawing/2014/main" id="{A3212AE5-554C-4CD9-8279-4DBFCB667CD2}"/>
                </a:ext>
                <a:ext uri="{C183D7F6-B498-43B3-948B-1728B52AA6E4}">
                  <adec:decorative xmlns:adec="http://schemas.microsoft.com/office/drawing/2017/decorative" val="1"/>
                </a:ext>
              </a:extLst>
            </p:cNvPr>
            <p:cNvSpPr/>
            <p:nvPr/>
          </p:nvSpPr>
          <p:spPr>
            <a:xfrm rot="1954878" flipH="1">
              <a:off x="7640291" y="2107464"/>
              <a:ext cx="2719514" cy="1629531"/>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 name="connsiteX0" fmla="*/ 0 w 2407349"/>
                <a:gd name="connsiteY0" fmla="*/ 493755 h 3460883"/>
                <a:gd name="connsiteX1" fmla="*/ 2407349 w 2407349"/>
                <a:gd name="connsiteY1" fmla="*/ 3460883 h 3460883"/>
              </a:gdLst>
              <a:ahLst/>
              <a:cxnLst>
                <a:cxn ang="0">
                  <a:pos x="connsiteX0" y="connsiteY0"/>
                </a:cxn>
                <a:cxn ang="0">
                  <a:pos x="connsiteX1" y="connsiteY1"/>
                </a:cxn>
              </a:cxnLst>
              <a:rect l="l" t="t" r="r" b="b"/>
              <a:pathLst>
                <a:path w="2407349" h="3460883">
                  <a:moveTo>
                    <a:pt x="0" y="493755"/>
                  </a:moveTo>
                  <a:cubicBezTo>
                    <a:pt x="0" y="493755"/>
                    <a:pt x="1990673" y="-1788639"/>
                    <a:pt x="2407349" y="3460883"/>
                  </a:cubicBezTo>
                </a:path>
              </a:pathLst>
            </a:custGeom>
            <a:noFill/>
            <a:ln w="9525" cap="flat">
              <a:solidFill>
                <a:schemeClr val="bg1">
                  <a:alpha val="46000"/>
                </a:schemeClr>
              </a:solidFill>
              <a:prstDash val="solid"/>
              <a:miter/>
            </a:ln>
          </p:spPr>
          <p:txBody>
            <a:bodyPr rtlCol="0" anchor="ctr"/>
            <a:lstStyle/>
            <a:p>
              <a:endParaRPr lang="en-US" sz="1765"/>
            </a:p>
          </p:txBody>
        </p:sp>
        <p:sp>
          <p:nvSpPr>
            <p:cNvPr id="418" name="Graphic 69">
              <a:extLst>
                <a:ext uri="{FF2B5EF4-FFF2-40B4-BE49-F238E27FC236}">
                  <a16:creationId xmlns:a16="http://schemas.microsoft.com/office/drawing/2014/main" id="{B7F19760-2AB5-43C2-9A85-7CCCA2FA86C5}"/>
                </a:ext>
                <a:ext uri="{C183D7F6-B498-43B3-948B-1728B52AA6E4}">
                  <adec:decorative xmlns:adec="http://schemas.microsoft.com/office/drawing/2017/decorative" val="1"/>
                </a:ext>
              </a:extLst>
            </p:cNvPr>
            <p:cNvSpPr/>
            <p:nvPr/>
          </p:nvSpPr>
          <p:spPr>
            <a:xfrm rot="1954878" flipH="1">
              <a:off x="8659022" y="2190989"/>
              <a:ext cx="2358449" cy="172283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 name="connsiteX0" fmla="*/ 0 w 2407349"/>
                <a:gd name="connsiteY0" fmla="*/ 493755 h 3460883"/>
                <a:gd name="connsiteX1" fmla="*/ 2407349 w 2407349"/>
                <a:gd name="connsiteY1" fmla="*/ 3460883 h 3460883"/>
              </a:gdLst>
              <a:ahLst/>
              <a:cxnLst>
                <a:cxn ang="0">
                  <a:pos x="connsiteX0" y="connsiteY0"/>
                </a:cxn>
                <a:cxn ang="0">
                  <a:pos x="connsiteX1" y="connsiteY1"/>
                </a:cxn>
              </a:cxnLst>
              <a:rect l="l" t="t" r="r" b="b"/>
              <a:pathLst>
                <a:path w="2407349" h="3460883">
                  <a:moveTo>
                    <a:pt x="0" y="493755"/>
                  </a:moveTo>
                  <a:cubicBezTo>
                    <a:pt x="0" y="493755"/>
                    <a:pt x="1990673" y="-1788639"/>
                    <a:pt x="2407349" y="3460883"/>
                  </a:cubicBezTo>
                </a:path>
              </a:pathLst>
            </a:custGeom>
            <a:noFill/>
            <a:ln w="9525" cap="flat">
              <a:solidFill>
                <a:schemeClr val="bg1">
                  <a:alpha val="46000"/>
                </a:schemeClr>
              </a:solidFill>
              <a:prstDash val="solid"/>
              <a:miter/>
            </a:ln>
          </p:spPr>
          <p:txBody>
            <a:bodyPr rtlCol="0" anchor="ctr"/>
            <a:lstStyle/>
            <a:p>
              <a:endParaRPr lang="en-US" sz="1765"/>
            </a:p>
          </p:txBody>
        </p:sp>
        <p:sp>
          <p:nvSpPr>
            <p:cNvPr id="419" name="Oval 418">
              <a:extLst>
                <a:ext uri="{FF2B5EF4-FFF2-40B4-BE49-F238E27FC236}">
                  <a16:creationId xmlns:a16="http://schemas.microsoft.com/office/drawing/2014/main" id="{FE625CF3-7E9C-494E-A947-E51F533D163D}"/>
                </a:ext>
                <a:ext uri="{C183D7F6-B498-43B3-948B-1728B52AA6E4}">
                  <adec:decorative xmlns:adec="http://schemas.microsoft.com/office/drawing/2017/decorative" val="1"/>
                </a:ext>
              </a:extLst>
            </p:cNvPr>
            <p:cNvSpPr/>
            <p:nvPr/>
          </p:nvSpPr>
          <p:spPr bwMode="auto">
            <a:xfrm>
              <a:off x="9518832" y="2286272"/>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0" name="Oval 419">
              <a:extLst>
                <a:ext uri="{FF2B5EF4-FFF2-40B4-BE49-F238E27FC236}">
                  <a16:creationId xmlns:a16="http://schemas.microsoft.com/office/drawing/2014/main" id="{134BD34D-2920-421B-8196-2722CCD1A0BB}"/>
                </a:ext>
                <a:ext uri="{C183D7F6-B498-43B3-948B-1728B52AA6E4}">
                  <adec:decorative xmlns:adec="http://schemas.microsoft.com/office/drawing/2017/decorative" val="1"/>
                </a:ext>
              </a:extLst>
            </p:cNvPr>
            <p:cNvSpPr/>
            <p:nvPr/>
          </p:nvSpPr>
          <p:spPr bwMode="auto">
            <a:xfrm>
              <a:off x="7056312" y="2057709"/>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4" name="Oval 433">
              <a:extLst>
                <a:ext uri="{FF2B5EF4-FFF2-40B4-BE49-F238E27FC236}">
                  <a16:creationId xmlns:a16="http://schemas.microsoft.com/office/drawing/2014/main" id="{BEE4B5D4-119C-40D0-A40F-119749DDDFE3}"/>
                </a:ext>
                <a:ext uri="{C183D7F6-B498-43B3-948B-1728B52AA6E4}">
                  <adec:decorative xmlns:adec="http://schemas.microsoft.com/office/drawing/2017/decorative" val="1"/>
                </a:ext>
              </a:extLst>
            </p:cNvPr>
            <p:cNvSpPr/>
            <p:nvPr/>
          </p:nvSpPr>
          <p:spPr bwMode="auto">
            <a:xfrm>
              <a:off x="5507701" y="378429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5" name="Oval 434">
              <a:extLst>
                <a:ext uri="{FF2B5EF4-FFF2-40B4-BE49-F238E27FC236}">
                  <a16:creationId xmlns:a16="http://schemas.microsoft.com/office/drawing/2014/main" id="{81140CD0-47E2-4C47-A736-2334CDC17651}"/>
                </a:ext>
                <a:ext uri="{C183D7F6-B498-43B3-948B-1728B52AA6E4}">
                  <adec:decorative xmlns:adec="http://schemas.microsoft.com/office/drawing/2017/decorative" val="1"/>
                </a:ext>
              </a:extLst>
            </p:cNvPr>
            <p:cNvSpPr/>
            <p:nvPr/>
          </p:nvSpPr>
          <p:spPr bwMode="auto">
            <a:xfrm>
              <a:off x="6618951" y="17459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6" name="Oval 435">
              <a:extLst>
                <a:ext uri="{FF2B5EF4-FFF2-40B4-BE49-F238E27FC236}">
                  <a16:creationId xmlns:a16="http://schemas.microsoft.com/office/drawing/2014/main" id="{819CCCE4-9BD1-4220-9CCF-11260C8A5BED}"/>
                </a:ext>
                <a:ext uri="{C183D7F6-B498-43B3-948B-1728B52AA6E4}">
                  <adec:decorative xmlns:adec="http://schemas.microsoft.com/office/drawing/2017/decorative" val="1"/>
                </a:ext>
              </a:extLst>
            </p:cNvPr>
            <p:cNvSpPr/>
            <p:nvPr/>
          </p:nvSpPr>
          <p:spPr bwMode="auto">
            <a:xfrm>
              <a:off x="9235151" y="49971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7" name="Oval 436">
              <a:extLst>
                <a:ext uri="{FF2B5EF4-FFF2-40B4-BE49-F238E27FC236}">
                  <a16:creationId xmlns:a16="http://schemas.microsoft.com/office/drawing/2014/main" id="{FA68F897-AB85-45E5-817D-143513A1BA6C}"/>
                </a:ext>
                <a:ext uri="{C183D7F6-B498-43B3-948B-1728B52AA6E4}">
                  <adec:decorative xmlns:adec="http://schemas.microsoft.com/office/drawing/2017/decorative" val="1"/>
                </a:ext>
              </a:extLst>
            </p:cNvPr>
            <p:cNvSpPr/>
            <p:nvPr/>
          </p:nvSpPr>
          <p:spPr bwMode="auto">
            <a:xfrm>
              <a:off x="9067511" y="8823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8" name="Oval 437">
              <a:extLst>
                <a:ext uri="{FF2B5EF4-FFF2-40B4-BE49-F238E27FC236}">
                  <a16:creationId xmlns:a16="http://schemas.microsoft.com/office/drawing/2014/main" id="{D536BE13-4EF9-406D-98DE-ED5D41070D35}"/>
                </a:ext>
                <a:ext uri="{C183D7F6-B498-43B3-948B-1728B52AA6E4}">
                  <adec:decorative xmlns:adec="http://schemas.microsoft.com/office/drawing/2017/decorative" val="1"/>
                </a:ext>
              </a:extLst>
            </p:cNvPr>
            <p:cNvSpPr/>
            <p:nvPr/>
          </p:nvSpPr>
          <p:spPr bwMode="auto">
            <a:xfrm>
              <a:off x="10530551" y="550768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39" name="Oval 438">
              <a:extLst>
                <a:ext uri="{FF2B5EF4-FFF2-40B4-BE49-F238E27FC236}">
                  <a16:creationId xmlns:a16="http://schemas.microsoft.com/office/drawing/2014/main" id="{2787F28D-BA31-4FC1-82F5-CDFE2CE73DDA}"/>
                </a:ext>
                <a:ext uri="{C183D7F6-B498-43B3-948B-1728B52AA6E4}">
                  <adec:decorative xmlns:adec="http://schemas.microsoft.com/office/drawing/2017/decorative" val="1"/>
                </a:ext>
              </a:extLst>
            </p:cNvPr>
            <p:cNvSpPr/>
            <p:nvPr/>
          </p:nvSpPr>
          <p:spPr bwMode="auto">
            <a:xfrm>
              <a:off x="10073351" y="3108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pic>
          <p:nvPicPr>
            <p:cNvPr id="135" name="Picture 134">
              <a:extLst>
                <a:ext uri="{FF2B5EF4-FFF2-40B4-BE49-F238E27FC236}">
                  <a16:creationId xmlns:a16="http://schemas.microsoft.com/office/drawing/2014/main" id="{F58E05F2-819B-4517-B687-FC81F0131C0A}"/>
                </a:ext>
                <a:ext uri="{C183D7F6-B498-43B3-948B-1728B52AA6E4}">
                  <adec:decorative xmlns:adec="http://schemas.microsoft.com/office/drawing/2017/decorative" val="1"/>
                </a:ext>
              </a:extLst>
            </p:cNvPr>
            <p:cNvPicPr>
              <a:picLocks noChangeAspect="1"/>
            </p:cNvPicPr>
            <p:nvPr userDrawn="1"/>
          </p:nvPicPr>
          <p:blipFill rotWithShape="1">
            <a:blip r:embed="rId3"/>
            <a:srcRect t="1878" r="760"/>
            <a:stretch/>
          </p:blipFill>
          <p:spPr>
            <a:xfrm>
              <a:off x="6808031" y="3509817"/>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36" name="Picture 135">
              <a:extLst>
                <a:ext uri="{FF2B5EF4-FFF2-40B4-BE49-F238E27FC236}">
                  <a16:creationId xmlns:a16="http://schemas.microsoft.com/office/drawing/2014/main" id="{83530AD0-3F71-4D3B-A7C2-4EFBA10D3A7E}"/>
                </a:ext>
                <a:ext uri="{C183D7F6-B498-43B3-948B-1728B52AA6E4}">
                  <adec:decorative xmlns:adec="http://schemas.microsoft.com/office/drawing/2017/decorative" val="1"/>
                </a:ext>
              </a:extLst>
            </p:cNvPr>
            <p:cNvPicPr>
              <a:picLocks noChangeAspect="1"/>
            </p:cNvPicPr>
            <p:nvPr userDrawn="1"/>
          </p:nvPicPr>
          <p:blipFill rotWithShape="1">
            <a:blip r:embed="rId4"/>
            <a:srcRect l="1" t="3181" r="1230" b="10357"/>
            <a:stretch/>
          </p:blipFill>
          <p:spPr>
            <a:xfrm>
              <a:off x="7921796" y="2713842"/>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37" name="Picture 136">
              <a:extLst>
                <a:ext uri="{FF2B5EF4-FFF2-40B4-BE49-F238E27FC236}">
                  <a16:creationId xmlns:a16="http://schemas.microsoft.com/office/drawing/2014/main" id="{700BC02D-9324-4E43-BE64-B5BD6FE6C45E}"/>
                </a:ext>
                <a:ext uri="{C183D7F6-B498-43B3-948B-1728B52AA6E4}">
                  <adec:decorative xmlns:adec="http://schemas.microsoft.com/office/drawing/2017/decorative" val="1"/>
                </a:ext>
              </a:extLst>
            </p:cNvPr>
            <p:cNvPicPr>
              <a:picLocks noChangeAspect="1"/>
            </p:cNvPicPr>
            <p:nvPr userDrawn="1"/>
          </p:nvPicPr>
          <p:blipFill rotWithShape="1">
            <a:blip r:embed="rId5"/>
            <a:srcRect l="9375" r="11059"/>
            <a:stretch/>
          </p:blipFill>
          <p:spPr>
            <a:xfrm>
              <a:off x="10176511" y="2638787"/>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38" name="Picture 137">
              <a:extLst>
                <a:ext uri="{FF2B5EF4-FFF2-40B4-BE49-F238E27FC236}">
                  <a16:creationId xmlns:a16="http://schemas.microsoft.com/office/drawing/2014/main" id="{47BB9DBB-9C91-4BEC-ABA1-5F96341F0B76}"/>
                </a:ext>
                <a:ext uri="{C183D7F6-B498-43B3-948B-1728B52AA6E4}">
                  <adec:decorative xmlns:adec="http://schemas.microsoft.com/office/drawing/2017/decorative" val="1"/>
                </a:ext>
              </a:extLst>
            </p:cNvPr>
            <p:cNvPicPr>
              <a:picLocks noChangeAspect="1"/>
            </p:cNvPicPr>
            <p:nvPr userDrawn="1"/>
          </p:nvPicPr>
          <p:blipFill rotWithShape="1">
            <a:blip r:embed="rId6"/>
            <a:srcRect l="783" t="9835" r="8283"/>
            <a:stretch/>
          </p:blipFill>
          <p:spPr>
            <a:xfrm>
              <a:off x="7086640" y="2414195"/>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39" name="Picture 138">
              <a:extLst>
                <a:ext uri="{FF2B5EF4-FFF2-40B4-BE49-F238E27FC236}">
                  <a16:creationId xmlns:a16="http://schemas.microsoft.com/office/drawing/2014/main" id="{1E0D8C07-4974-4119-9C33-74095AA9E3A5}"/>
                </a:ext>
                <a:ext uri="{C183D7F6-B498-43B3-948B-1728B52AA6E4}">
                  <adec:decorative xmlns:adec="http://schemas.microsoft.com/office/drawing/2017/decorative" val="1"/>
                </a:ext>
              </a:extLst>
            </p:cNvPr>
            <p:cNvPicPr>
              <a:picLocks noChangeAspect="1"/>
            </p:cNvPicPr>
            <p:nvPr userDrawn="1"/>
          </p:nvPicPr>
          <p:blipFill rotWithShape="1">
            <a:blip r:embed="rId7"/>
            <a:srcRect l="7463" r="2802"/>
            <a:stretch/>
          </p:blipFill>
          <p:spPr>
            <a:xfrm>
              <a:off x="9585580" y="3157476"/>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40" name="Picture 139">
              <a:extLst>
                <a:ext uri="{FF2B5EF4-FFF2-40B4-BE49-F238E27FC236}">
                  <a16:creationId xmlns:a16="http://schemas.microsoft.com/office/drawing/2014/main" id="{8FBAC906-B4E2-4E8A-902E-7F8510D244E7}"/>
                </a:ext>
                <a:ext uri="{C183D7F6-B498-43B3-948B-1728B52AA6E4}">
                  <adec:decorative xmlns:adec="http://schemas.microsoft.com/office/drawing/2017/decorative" val="1"/>
                </a:ext>
              </a:extLst>
            </p:cNvPr>
            <p:cNvPicPr>
              <a:picLocks noChangeAspect="1"/>
            </p:cNvPicPr>
            <p:nvPr userDrawn="1"/>
          </p:nvPicPr>
          <p:blipFill rotWithShape="1">
            <a:blip r:embed="rId8"/>
            <a:srcRect l="11999" t="4404" r="21096" b="27947"/>
            <a:stretch/>
          </p:blipFill>
          <p:spPr>
            <a:xfrm>
              <a:off x="6163977" y="2994647"/>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41" name="Picture 140">
              <a:extLst>
                <a:ext uri="{FF2B5EF4-FFF2-40B4-BE49-F238E27FC236}">
                  <a16:creationId xmlns:a16="http://schemas.microsoft.com/office/drawing/2014/main" id="{25A23D1C-6AB3-4364-B29E-50A3D05CEDD8}"/>
                </a:ext>
                <a:ext uri="{C183D7F6-B498-43B3-948B-1728B52AA6E4}">
                  <adec:decorative xmlns:adec="http://schemas.microsoft.com/office/drawing/2017/decorative" val="1"/>
                </a:ext>
              </a:extLst>
            </p:cNvPr>
            <p:cNvPicPr>
              <a:picLocks noChangeAspect="1"/>
            </p:cNvPicPr>
            <p:nvPr userDrawn="1"/>
          </p:nvPicPr>
          <p:blipFill rotWithShape="1">
            <a:blip r:embed="rId9"/>
            <a:srcRect l="8955" t="11023" r="8666" b="1144"/>
            <a:stretch/>
          </p:blipFill>
          <p:spPr>
            <a:xfrm>
              <a:off x="8474468" y="3672425"/>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50" name="Picture 149">
              <a:extLst>
                <a:ext uri="{FF2B5EF4-FFF2-40B4-BE49-F238E27FC236}">
                  <a16:creationId xmlns:a16="http://schemas.microsoft.com/office/drawing/2014/main" id="{7A3F56A3-B63F-49BA-8517-30D8DAF1B087}"/>
                </a:ext>
                <a:ext uri="{C183D7F6-B498-43B3-948B-1728B52AA6E4}">
                  <adec:decorative xmlns:adec="http://schemas.microsoft.com/office/drawing/2017/decorative" val="1"/>
                </a:ext>
              </a:extLst>
            </p:cNvPr>
            <p:cNvPicPr>
              <a:picLocks noChangeAspect="1"/>
            </p:cNvPicPr>
            <p:nvPr userDrawn="1"/>
          </p:nvPicPr>
          <p:blipFill rotWithShape="1">
            <a:blip r:embed="rId10"/>
            <a:srcRect r="3974"/>
            <a:stretch/>
          </p:blipFill>
          <p:spPr>
            <a:xfrm>
              <a:off x="8693867" y="2973446"/>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51" name="Picture 150">
              <a:extLst>
                <a:ext uri="{FF2B5EF4-FFF2-40B4-BE49-F238E27FC236}">
                  <a16:creationId xmlns:a16="http://schemas.microsoft.com/office/drawing/2014/main" id="{680F441D-A5A3-434C-B818-4E7CF80DD3EC}"/>
                </a:ext>
                <a:ext uri="{C183D7F6-B498-43B3-948B-1728B52AA6E4}">
                  <adec:decorative xmlns:adec="http://schemas.microsoft.com/office/drawing/2017/decorative" val="1"/>
                </a:ext>
              </a:extLst>
            </p:cNvPr>
            <p:cNvPicPr>
              <a:picLocks noChangeAspect="1"/>
            </p:cNvPicPr>
            <p:nvPr userDrawn="1"/>
          </p:nvPicPr>
          <p:blipFill rotWithShape="1">
            <a:blip r:embed="rId11"/>
            <a:srcRect t="5271"/>
            <a:stretch/>
          </p:blipFill>
          <p:spPr>
            <a:xfrm>
              <a:off x="10701826" y="3690774"/>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52" name="Picture 151">
              <a:extLst>
                <a:ext uri="{FF2B5EF4-FFF2-40B4-BE49-F238E27FC236}">
                  <a16:creationId xmlns:a16="http://schemas.microsoft.com/office/drawing/2014/main" id="{D26385FE-F73E-4163-A322-AA323481C4EE}"/>
                </a:ext>
                <a:ext uri="{C183D7F6-B498-43B3-948B-1728B52AA6E4}">
                  <adec:decorative xmlns:adec="http://schemas.microsoft.com/office/drawing/2017/decorative" val="1"/>
                </a:ext>
              </a:extLst>
            </p:cNvPr>
            <p:cNvPicPr>
              <a:picLocks noChangeAspect="1"/>
            </p:cNvPicPr>
            <p:nvPr userDrawn="1"/>
          </p:nvPicPr>
          <p:blipFill rotWithShape="1">
            <a:blip r:embed="rId12"/>
            <a:srcRect t="2023" b="5763"/>
            <a:stretch/>
          </p:blipFill>
          <p:spPr>
            <a:xfrm>
              <a:off x="10904250" y="2701344"/>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55" name="Picture 154">
              <a:extLst>
                <a:ext uri="{FF2B5EF4-FFF2-40B4-BE49-F238E27FC236}">
                  <a16:creationId xmlns:a16="http://schemas.microsoft.com/office/drawing/2014/main" id="{D291A526-4DE7-4D30-B52D-53DB8753730D}"/>
                </a:ext>
                <a:ext uri="{C183D7F6-B498-43B3-948B-1728B52AA6E4}">
                  <adec:decorative xmlns:adec="http://schemas.microsoft.com/office/drawing/2017/decorative" val="1"/>
                </a:ext>
              </a:extLst>
            </p:cNvPr>
            <p:cNvPicPr>
              <a:picLocks noChangeAspect="1"/>
            </p:cNvPicPr>
            <p:nvPr userDrawn="1"/>
          </p:nvPicPr>
          <p:blipFill rotWithShape="1">
            <a:blip r:embed="rId13"/>
            <a:srcRect r="675" b="5393"/>
            <a:stretch/>
          </p:blipFill>
          <p:spPr>
            <a:xfrm>
              <a:off x="5563566" y="2516597"/>
              <a:ext cx="548524" cy="548640"/>
            </a:xfrm>
            <a:prstGeom prst="ellipse">
              <a:avLst/>
            </a:prstGeom>
            <a:ln w="22225">
              <a:solidFill>
                <a:schemeClr val="bg1"/>
              </a:solidFill>
            </a:ln>
            <a:effectLst>
              <a:outerShdw blurRad="88900" algn="ctr" rotWithShape="0">
                <a:prstClr val="black">
                  <a:alpha val="70000"/>
                </a:prstClr>
              </a:outerShdw>
            </a:effectLst>
          </p:spPr>
        </p:pic>
      </p:grpSp>
      <p:sp>
        <p:nvSpPr>
          <p:cNvPr id="6" name="Rectangle 5">
            <a:extLst>
              <a:ext uri="{FF2B5EF4-FFF2-40B4-BE49-F238E27FC236}">
                <a16:creationId xmlns:a16="http://schemas.microsoft.com/office/drawing/2014/main" id="{45EEC611-A1FA-6037-9BC4-0A8AC2E36FDF}"/>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bg1"/>
                </a:solidFill>
                <a:latin typeface="+mn-lt"/>
              </a:rPr>
              <a:t>Microsoft Confidential</a:t>
            </a:r>
          </a:p>
        </p:txBody>
      </p:sp>
      <p:sp>
        <p:nvSpPr>
          <p:cNvPr id="7" name="TextBox 6">
            <a:extLst>
              <a:ext uri="{FF2B5EF4-FFF2-40B4-BE49-F238E27FC236}">
                <a16:creationId xmlns:a16="http://schemas.microsoft.com/office/drawing/2014/main" id="{58D75E1D-EE1F-91FB-1EB5-F466D4E4D90D}"/>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bg1"/>
                </a:solidFill>
                <a:latin typeface="+mj-lt"/>
              </a:rPr>
              <a:t>Modern Work Enablement</a:t>
            </a:r>
          </a:p>
        </p:txBody>
      </p:sp>
    </p:spTree>
    <p:extLst>
      <p:ext uri="{BB962C8B-B14F-4D97-AF65-F5344CB8AC3E}">
        <p14:creationId xmlns:p14="http://schemas.microsoft.com/office/powerpoint/2010/main" val="4211754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1652">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1" y="0"/>
            <a:ext cx="6858000" cy="430901"/>
          </a:xfrm>
        </p:spPr>
        <p:txBody>
          <a:bodyPr/>
          <a:lstStyle/>
          <a:p>
            <a:r>
              <a:rPr lang="en-US"/>
              <a:t>Click icon to add picture</a:t>
            </a:r>
          </a:p>
        </p:txBody>
      </p:sp>
      <p:pic>
        <p:nvPicPr>
          <p:cNvPr id="7" name="MS logo gray - EMF" descr="Microsoft logo">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6" name="TextBox 5">
            <a:extLst>
              <a:ext uri="{FF2B5EF4-FFF2-40B4-BE49-F238E27FC236}">
                <a16:creationId xmlns:a16="http://schemas.microsoft.com/office/drawing/2014/main" id="{34C36742-A580-F6CE-F259-8F05AF1208B2}"/>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37117768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2" orient="horz" pos="1872">
          <p15:clr>
            <a:srgbClr val="5ACBF0"/>
          </p15:clr>
        </p15:guide>
        <p15:guide id="3" pos="2520">
          <p15:clr>
            <a:srgbClr val="5ACBF0"/>
          </p15:clr>
        </p15:guide>
        <p15:guide id="5" orient="horz" pos="1620">
          <p15:clr>
            <a:srgbClr val="FBAE40"/>
          </p15:clr>
        </p15:guide>
        <p15:guide id="6" orient="horz" pos="1672">
          <p15:clr>
            <a:srgbClr val="5ACBF0"/>
          </p15:clr>
        </p15:guide>
        <p15:guide id="7" pos="2247">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2" y="585789"/>
            <a:ext cx="1366245" cy="292608"/>
          </a:xfrm>
          <a:prstGeom prst="rect">
            <a:avLst/>
          </a:prstGeom>
        </p:spPr>
      </p:pic>
      <p:sp>
        <p:nvSpPr>
          <p:cNvPr id="4" name="TextBox 3">
            <a:extLst>
              <a:ext uri="{FF2B5EF4-FFF2-40B4-BE49-F238E27FC236}">
                <a16:creationId xmlns:a16="http://schemas.microsoft.com/office/drawing/2014/main" id="{AD171940-E90C-8501-C21F-B280466BFF67}"/>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1045463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71">
          <p15:clr>
            <a:srgbClr val="5ACBF0"/>
          </p15:clr>
        </p15:guide>
        <p15:guide id="2" orient="horz" pos="1872">
          <p15:clr>
            <a:srgbClr val="5ACBF0"/>
          </p15:clr>
        </p15:guide>
        <p15:guide id="3" pos="4599">
          <p15:clr>
            <a:srgbClr val="5ACBF0"/>
          </p15:clr>
        </p15:guide>
        <p15:guide id="4" orient="horz" pos="162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1"/>
            <a:ext cx="5511800" cy="1107996"/>
          </a:xfrm>
          <a:noFill/>
        </p:spPr>
        <p:txBody>
          <a:bodyPr wrap="square"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2" y="585789"/>
            <a:ext cx="1366245" cy="292608"/>
          </a:xfrm>
          <a:prstGeom prst="rect">
            <a:avLst/>
          </a:prstGeom>
        </p:spPr>
      </p:pic>
      <p:sp>
        <p:nvSpPr>
          <p:cNvPr id="2" name="TextBox 1">
            <a:extLst>
              <a:ext uri="{FF2B5EF4-FFF2-40B4-BE49-F238E27FC236}">
                <a16:creationId xmlns:a16="http://schemas.microsoft.com/office/drawing/2014/main" id="{FE385198-92E4-7D07-3685-801224887902}"/>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1476148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71">
          <p15:clr>
            <a:srgbClr val="5ACBF0"/>
          </p15:clr>
        </p15:guide>
        <p15:guide id="2" orient="horz" pos="1872">
          <p15:clr>
            <a:srgbClr val="5ACBF0"/>
          </p15:clr>
        </p15:guide>
        <p15:guide id="3" pos="2880">
          <p15:clr>
            <a:srgbClr val="5ACBF0"/>
          </p15:clr>
        </p15:guide>
        <p15:guide id="4" orient="horz" pos="162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1"/>
            <a:ext cx="5511800" cy="1107996"/>
          </a:xfrm>
          <a:noFill/>
        </p:spPr>
        <p:txBody>
          <a:bodyPr wrap="square"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2" name="TextBox 1">
            <a:extLst>
              <a:ext uri="{FF2B5EF4-FFF2-40B4-BE49-F238E27FC236}">
                <a16:creationId xmlns:a16="http://schemas.microsoft.com/office/drawing/2014/main" id="{8E37D548-2DF5-B24B-9E9A-9D0C81C8385B}"/>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1922357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71">
          <p15:clr>
            <a:srgbClr val="5ACBF0"/>
          </p15:clr>
        </p15:guide>
        <p15:guide id="2" orient="horz" pos="1872">
          <p15:clr>
            <a:srgbClr val="5ACBF0"/>
          </p15:clr>
        </p15:guide>
        <p15:guide id="3" pos="2880">
          <p15:clr>
            <a:srgbClr val="5ACBF0"/>
          </p15:clr>
        </p15:guide>
        <p15:guide id="4" orient="horz" pos="162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_white background">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2" name="TextBox 1">
            <a:extLst>
              <a:ext uri="{FF2B5EF4-FFF2-40B4-BE49-F238E27FC236}">
                <a16:creationId xmlns:a16="http://schemas.microsoft.com/office/drawing/2014/main" id="{CC328EC0-031A-89FA-9E3E-1F72AB5813AA}"/>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2967022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71">
          <p15:clr>
            <a:srgbClr val="5ACBF0"/>
          </p15:clr>
        </p15:guide>
        <p15:guide id="2" orient="horz" pos="1872">
          <p15:clr>
            <a:srgbClr val="5ACBF0"/>
          </p15:clr>
        </p15:guide>
        <p15:guide id="3" pos="4599">
          <p15:clr>
            <a:srgbClr val="5ACBF0"/>
          </p15:clr>
        </p15:guide>
        <p15:guide id="4" orient="horz" pos="162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425781"/>
            <a:ext cx="4756151" cy="1107996"/>
          </a:xfrm>
          <a:noFill/>
        </p:spPr>
        <p:txBody>
          <a:bodyPr wrap="square"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756151"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9" y="292102"/>
            <a:ext cx="6270625" cy="430901"/>
          </a:xfrm>
        </p:spPr>
        <p:txBody>
          <a:bodyPr/>
          <a:lstStyle/>
          <a:p>
            <a:r>
              <a:rPr lang="en-US"/>
              <a:t>Click icon to add picture</a:t>
            </a:r>
          </a:p>
        </p:txBody>
      </p:sp>
      <p:sp>
        <p:nvSpPr>
          <p:cNvPr id="2" name="TextBox 1">
            <a:extLst>
              <a:ext uri="{FF2B5EF4-FFF2-40B4-BE49-F238E27FC236}">
                <a16:creationId xmlns:a16="http://schemas.microsoft.com/office/drawing/2014/main" id="{3E84DA14-5782-6786-A3A9-53B24354804A}"/>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36459694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71">
          <p15:clr>
            <a:srgbClr val="5ACBF0"/>
          </p15:clr>
        </p15:guide>
        <p15:guide id="2" orient="horz" pos="1872">
          <p15:clr>
            <a:srgbClr val="5ACBF0"/>
          </p15:clr>
        </p15:guide>
        <p15:guide id="3" pos="4599">
          <p15:clr>
            <a:srgbClr val="5ACBF0"/>
          </p15:clr>
        </p15:guide>
        <p15:guide id="4" orient="horz" pos="1620">
          <p15:clr>
            <a:srgbClr val="FBAE40"/>
          </p15:clr>
        </p15:guide>
        <p15:guide id="5" pos="2659">
          <p15:clr>
            <a:srgbClr val="FBAE40"/>
          </p15:clr>
        </p15:guide>
        <p15:guide id="6" pos="2523">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1"/>
            <a:ext cx="9144000" cy="553999"/>
          </a:xfrm>
          <a:noFill/>
        </p:spPr>
        <p:txBody>
          <a:bodyPr lIns="0" tIns="0" rIns="0" bIns="0" anchor="b" anchorCtr="0">
            <a:spAutoFit/>
          </a:bodyPr>
          <a:lstStyle>
            <a:lvl1pPr>
              <a:defRPr sz="3600" spc="-51"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2" y="585789"/>
            <a:ext cx="1366245" cy="292608"/>
          </a:xfrm>
          <a:prstGeom prst="rect">
            <a:avLst/>
          </a:prstGeom>
        </p:spPr>
      </p:pic>
      <p:sp>
        <p:nvSpPr>
          <p:cNvPr id="2" name="Rectangle 1">
            <a:extLst>
              <a:ext uri="{FF2B5EF4-FFF2-40B4-BE49-F238E27FC236}">
                <a16:creationId xmlns:a16="http://schemas.microsoft.com/office/drawing/2014/main" id="{018CEEA2-BE08-3860-7932-AE8086D371ED}"/>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spTree>
    <p:extLst>
      <p:ext uri="{BB962C8B-B14F-4D97-AF65-F5344CB8AC3E}">
        <p14:creationId xmlns:p14="http://schemas.microsoft.com/office/powerpoint/2010/main" val="2176082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os="4599">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TT_chart_layout_dark">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1D68AA-CAAF-411B-9CAF-01EC83A9A9D7}"/>
              </a:ext>
            </a:extLst>
          </p:cNvPr>
          <p:cNvGraphicFramePr>
            <a:graphicFrameLocks noChangeAspect="1"/>
          </p:cNvGraphicFramePr>
          <p:nvPr userDrawn="1">
            <p:custDataLst>
              <p:tags r:id="rId1"/>
            </p:custDataLst>
            <p:extLst>
              <p:ext uri="{D42A27DB-BD31-4B8C-83A1-F6EECF244321}">
                <p14:modId xmlns:p14="http://schemas.microsoft.com/office/powerpoint/2010/main" val="112179839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C1D68AA-CAAF-411B-9CAF-01EC83A9A9D7}"/>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Text Placeholder 6"/>
          <p:cNvSpPr>
            <a:spLocks noGrp="1"/>
          </p:cNvSpPr>
          <p:nvPr>
            <p:ph type="body" sz="quarter" idx="12"/>
          </p:nvPr>
        </p:nvSpPr>
        <p:spPr>
          <a:xfrm>
            <a:off x="395819" y="1211425"/>
            <a:ext cx="11377101" cy="392480"/>
          </a:xfrm>
          <a:prstGeom prst="rect">
            <a:avLst/>
          </a:prstGeom>
        </p:spPr>
        <p:txBody>
          <a:bodyPr/>
          <a:lstStyle>
            <a:lvl1pPr algn="ctr" rtl="0">
              <a:defRPr sz="1867" i="0">
                <a:solidFill>
                  <a:schemeClr val="tx1"/>
                </a:solidFill>
                <a:latin typeface="Arial" panose="020B0604020202020204" pitchFamily="34" charset="0"/>
                <a:cs typeface="Arial" panose="020B0604020202020204" pitchFamily="34" charset="0"/>
              </a:defRPr>
            </a:lvl1pPr>
            <a:lvl2pPr marL="120648" indent="0" algn="ctr">
              <a:buNone/>
              <a:defRPr sz="1867"/>
            </a:lvl2pPr>
          </a:lstStyle>
          <a:p>
            <a:pPr lvl="0"/>
            <a:r>
              <a:rPr lang="en-US"/>
              <a:t>Click to edit Master text styles</a:t>
            </a:r>
          </a:p>
        </p:txBody>
      </p:sp>
      <p:sp>
        <p:nvSpPr>
          <p:cNvPr id="6" name="Chart Placeholder 5"/>
          <p:cNvSpPr>
            <a:spLocks noGrp="1"/>
          </p:cNvSpPr>
          <p:nvPr>
            <p:ph type="chart" sz="quarter" idx="11"/>
          </p:nvPr>
        </p:nvSpPr>
        <p:spPr>
          <a:xfrm>
            <a:off x="396694" y="1683603"/>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rtl="0">
              <a:defRPr lang="en-ZA" i="0" dirty="0">
                <a:solidFill>
                  <a:schemeClr val="lt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US"/>
              <a:t>Click icon to add chart</a:t>
            </a:r>
          </a:p>
        </p:txBody>
      </p:sp>
      <p:sp>
        <p:nvSpPr>
          <p:cNvPr id="5" name="Title 1"/>
          <p:cNvSpPr>
            <a:spLocks noGrp="1"/>
          </p:cNvSpPr>
          <p:nvPr>
            <p:ph type="title"/>
          </p:nvPr>
        </p:nvSpPr>
        <p:spPr>
          <a:xfrm>
            <a:off x="396692" y="169334"/>
            <a:ext cx="9941317" cy="793751"/>
          </a:xfrm>
          <a:prstGeom prst="rect">
            <a:avLst/>
          </a:prstGeom>
        </p:spPr>
        <p:txBody>
          <a:bodyPr vert="horz" anchor="ctr"/>
          <a:lstStyle>
            <a:lvl1pPr rtl="0">
              <a:defRPr b="1" i="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18F2AC6C-F5EC-F34F-B80D-FEA6C390CB84}"/>
              </a:ext>
            </a:extLst>
          </p:cNvPr>
          <p:cNvPicPr>
            <a:picLocks noChangeAspect="1"/>
          </p:cNvPicPr>
          <p:nvPr userDrawn="1"/>
        </p:nvPicPr>
        <p:blipFill>
          <a:blip r:embed="rId5"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1150606645"/>
      </p:ext>
    </p:extLst>
  </p:cSld>
  <p:clrMapOvr>
    <a:overrideClrMapping bg1="dk1" tx1="lt1" bg2="dk2" tx2="lt2" accent1="accent1" accent2="accent2" accent3="accent3" accent4="accent4" accent5="accent5" accent6="accent6" hlink="hlink" folHlink="folHlink"/>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1"/>
            <a:ext cx="9144000" cy="553999"/>
          </a:xfrm>
          <a:noFill/>
        </p:spPr>
        <p:txBody>
          <a:bodyPr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2" y="585789"/>
            <a:ext cx="1366245" cy="292608"/>
          </a:xfrm>
          <a:prstGeom prst="rect">
            <a:avLst/>
          </a:prstGeom>
        </p:spPr>
      </p:pic>
    </p:spTree>
    <p:extLst>
      <p:ext uri="{BB962C8B-B14F-4D97-AF65-F5344CB8AC3E}">
        <p14:creationId xmlns:p14="http://schemas.microsoft.com/office/powerpoint/2010/main" val="898432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os="4599">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065" y="1926550"/>
            <a:ext cx="3965648" cy="1108121"/>
          </a:xfrm>
        </p:spPr>
        <p:txBody>
          <a:bodyPr anchor="t"/>
          <a:lstStyle>
            <a:lvl1pPr algn="l">
              <a:defRPr/>
            </a:lvl1pPr>
          </a:lstStyle>
          <a:p>
            <a:r>
              <a:rPr lang="en-US"/>
              <a:t>Click to edit Master title style</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8065" y="3434497"/>
            <a:ext cx="3965648" cy="325858"/>
          </a:xfrm>
        </p:spPr>
        <p:txBody>
          <a:bodyPr/>
          <a:lstStyle>
            <a:lvl1pPr marL="0" indent="0" algn="l">
              <a:spcBef>
                <a:spcPts val="0"/>
              </a:spcBef>
              <a:buNone/>
              <a:defRPr kumimoji="0" lang="en-US" sz="2353" b="0" i="0" u="none" strike="noStrike" kern="1200" cap="none" spc="0" normalizeH="0" baseline="0" dirty="0">
                <a:ln>
                  <a:noFill/>
                </a:ln>
                <a:solidFill>
                  <a:schemeClr val="accent1"/>
                </a:solidFill>
                <a:effectLst/>
                <a:uLnTx/>
                <a:uFillTx/>
                <a:latin typeface="+mj-lt"/>
                <a:ea typeface="+mn-ea"/>
                <a:cs typeface="+mn-cs"/>
              </a:defRPr>
            </a:lvl1pPr>
          </a:lstStyle>
          <a:p>
            <a:pPr marL="0" marR="0" lvl="0" indent="0" algn="l" defTabSz="89633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a:t>Click to edit Master tex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88065" y="3950317"/>
            <a:ext cx="3965648" cy="244426"/>
          </a:xfrm>
        </p:spPr>
        <p:txBody>
          <a:bodyPr/>
          <a:lstStyle>
            <a:lvl1pPr marL="0" indent="0" algn="l">
              <a:spcBef>
                <a:spcPts val="0"/>
              </a:spcBef>
              <a:buNone/>
              <a:defRPr kumimoji="0" lang="en-US" sz="1765"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l" defTabSz="89633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2" name="Rectangle: Rounded Corners 21">
            <a:extLst>
              <a:ext uri="{FF2B5EF4-FFF2-40B4-BE49-F238E27FC236}">
                <a16:creationId xmlns:a16="http://schemas.microsoft.com/office/drawing/2014/main" id="{B40F1EED-FB3C-4A2F-B231-6C9978BF8402}"/>
              </a:ext>
              <a:ext uri="{C183D7F6-B498-43B3-948B-1728B52AA6E4}">
                <adec:decorative xmlns:adec="http://schemas.microsoft.com/office/drawing/2017/decorative" val="1"/>
              </a:ext>
            </a:extLst>
          </p:cNvPr>
          <p:cNvSpPr/>
          <p:nvPr userDrawn="1"/>
        </p:nvSpPr>
        <p:spPr bwMode="auto">
          <a:xfrm>
            <a:off x="588265" y="1736425"/>
            <a:ext cx="896425" cy="94035"/>
          </a:xfrm>
          <a:prstGeom prst="roundRect">
            <a:avLst>
              <a:gd name="adj" fmla="val 50000"/>
            </a:avLst>
          </a:prstGeom>
          <a:gradFill flip="none" rotWithShape="1">
            <a:gsLst>
              <a:gs pos="0">
                <a:srgbClr val="0B79D5"/>
              </a:gs>
              <a:gs pos="100000">
                <a:srgbClr val="4CB1FF"/>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080" fontAlgn="base">
              <a:spcBef>
                <a:spcPct val="0"/>
              </a:spcBef>
              <a:spcAft>
                <a:spcPct val="0"/>
              </a:spcAft>
            </a:pPr>
            <a:endParaRPr lang="en-IN" sz="1961"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C4711C09-7DFD-470A-A8E5-FD812A4863A0}"/>
              </a:ext>
              <a:ext uri="{C183D7F6-B498-43B3-948B-1728B52AA6E4}">
                <adec:decorative xmlns:adec="http://schemas.microsoft.com/office/drawing/2017/decorative" val="1"/>
              </a:ext>
            </a:extLst>
          </p:cNvPr>
          <p:cNvGrpSpPr/>
          <p:nvPr userDrawn="1"/>
        </p:nvGrpSpPr>
        <p:grpSpPr>
          <a:xfrm>
            <a:off x="6187460" y="-203944"/>
            <a:ext cx="6745344" cy="6350247"/>
            <a:chOff x="6311530" y="-208004"/>
            <a:chExt cx="6880602" cy="6476664"/>
          </a:xfrm>
        </p:grpSpPr>
        <p:sp>
          <p:nvSpPr>
            <p:cNvPr id="29" name="Oval 28">
              <a:extLst>
                <a:ext uri="{FF2B5EF4-FFF2-40B4-BE49-F238E27FC236}">
                  <a16:creationId xmlns:a16="http://schemas.microsoft.com/office/drawing/2014/main" id="{8280ED92-CC50-4C9D-B806-26A951E5ABD4}"/>
                </a:ext>
                <a:ext uri="{C183D7F6-B498-43B3-948B-1728B52AA6E4}">
                  <adec:decorative xmlns:adec="http://schemas.microsoft.com/office/drawing/2017/decorative" val="1"/>
                </a:ext>
              </a:extLst>
            </p:cNvPr>
            <p:cNvSpPr/>
            <p:nvPr userDrawn="1"/>
          </p:nvSpPr>
          <p:spPr bwMode="auto">
            <a:xfrm>
              <a:off x="6311530" y="339213"/>
              <a:ext cx="2959470" cy="2959467"/>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30" name="Oval 29">
              <a:extLst>
                <a:ext uri="{FF2B5EF4-FFF2-40B4-BE49-F238E27FC236}">
                  <a16:creationId xmlns:a16="http://schemas.microsoft.com/office/drawing/2014/main" id="{9E06A816-15E2-4C58-BCD9-CCFEDDC99E56}"/>
                </a:ext>
                <a:ext uri="{C183D7F6-B498-43B3-948B-1728B52AA6E4}">
                  <adec:decorative xmlns:adec="http://schemas.microsoft.com/office/drawing/2017/decorative" val="1"/>
                </a:ext>
              </a:extLst>
            </p:cNvPr>
            <p:cNvSpPr/>
            <p:nvPr userDrawn="1"/>
          </p:nvSpPr>
          <p:spPr bwMode="auto">
            <a:xfrm>
              <a:off x="8406660" y="325629"/>
              <a:ext cx="800470" cy="800469"/>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31" name="Oval 30">
              <a:extLst>
                <a:ext uri="{FF2B5EF4-FFF2-40B4-BE49-F238E27FC236}">
                  <a16:creationId xmlns:a16="http://schemas.microsoft.com/office/drawing/2014/main" id="{D690A43B-4828-436A-9A95-D3CE17351253}"/>
                </a:ext>
                <a:ext uri="{C183D7F6-B498-43B3-948B-1728B52AA6E4}">
                  <adec:decorative xmlns:adec="http://schemas.microsoft.com/office/drawing/2017/decorative" val="1"/>
                </a:ext>
              </a:extLst>
            </p:cNvPr>
            <p:cNvSpPr/>
            <p:nvPr userDrawn="1"/>
          </p:nvSpPr>
          <p:spPr bwMode="auto">
            <a:xfrm>
              <a:off x="6963006" y="4866107"/>
              <a:ext cx="1169140" cy="1169139"/>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28" name="Oval 27">
              <a:extLst>
                <a:ext uri="{FF2B5EF4-FFF2-40B4-BE49-F238E27FC236}">
                  <a16:creationId xmlns:a16="http://schemas.microsoft.com/office/drawing/2014/main" id="{80FB9C96-48F1-467E-9620-297B14E049A9}"/>
                </a:ext>
                <a:ext uri="{C183D7F6-B498-43B3-948B-1728B52AA6E4}">
                  <adec:decorative xmlns:adec="http://schemas.microsoft.com/office/drawing/2017/decorative" val="1"/>
                </a:ext>
              </a:extLst>
            </p:cNvPr>
            <p:cNvSpPr/>
            <p:nvPr userDrawn="1"/>
          </p:nvSpPr>
          <p:spPr bwMode="auto">
            <a:xfrm>
              <a:off x="6660961" y="725864"/>
              <a:ext cx="5542802" cy="55427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27" name="Oval 26">
              <a:extLst>
                <a:ext uri="{FF2B5EF4-FFF2-40B4-BE49-F238E27FC236}">
                  <a16:creationId xmlns:a16="http://schemas.microsoft.com/office/drawing/2014/main" id="{207A8A79-9E2B-4114-A74C-AE1B0A4673AB}"/>
                </a:ext>
                <a:ext uri="{C183D7F6-B498-43B3-948B-1728B52AA6E4}">
                  <adec:decorative xmlns:adec="http://schemas.microsoft.com/office/drawing/2017/decorative" val="1"/>
                </a:ext>
              </a:extLst>
            </p:cNvPr>
            <p:cNvSpPr/>
            <p:nvPr userDrawn="1"/>
          </p:nvSpPr>
          <p:spPr bwMode="auto">
            <a:xfrm>
              <a:off x="6963006" y="1027909"/>
              <a:ext cx="4938712" cy="493870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603479" y="-208004"/>
              <a:ext cx="588653" cy="156952"/>
            </a:xfrm>
            <a:prstGeom prst="rect">
              <a:avLst/>
            </a:prstGeom>
            <a:noFill/>
          </p:spPr>
          <p:txBody>
            <a:bodyPr wrap="none" lIns="0" tIns="0" rIns="0" bIns="0" rtlCol="0">
              <a:spAutoFit/>
            </a:bodyPr>
            <a:lstStyle/>
            <a:p>
              <a:pPr algn="l"/>
              <a:r>
                <a:rPr lang="en-US" sz="1000">
                  <a:solidFill>
                    <a:srgbClr val="A3A3A3"/>
                  </a:solidFill>
                </a:rPr>
                <a:t>ELT layout</a:t>
              </a:r>
            </a:p>
          </p:txBody>
        </p:sp>
      </p:gr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114041" y="1296102"/>
            <a:ext cx="4265800" cy="4265799"/>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TextBox 5">
            <a:extLst>
              <a:ext uri="{FF2B5EF4-FFF2-40B4-BE49-F238E27FC236}">
                <a16:creationId xmlns:a16="http://schemas.microsoft.com/office/drawing/2014/main" id="{E683DD27-451E-126C-4840-80EBFEDE267B}"/>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2275845668"/>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1998">
          <p15:clr>
            <a:srgbClr val="5ACBF0"/>
          </p15:clr>
        </p15:guide>
        <p15:guide id="3" pos="4662">
          <p15:clr>
            <a:srgbClr val="5ACBF0"/>
          </p15:clr>
        </p15:guide>
        <p15:guide id="5" pos="4388">
          <p15:clr>
            <a:srgbClr val="5ACBF0"/>
          </p15:clr>
        </p15:guide>
        <p15:guide id="7" pos="3294">
          <p15:clr>
            <a:srgbClr val="5ACBF0"/>
          </p15:clr>
        </p15:guide>
        <p15:guide id="8" pos="2469">
          <p15:clr>
            <a:srgbClr val="5ACBF0"/>
          </p15:clr>
        </p15:guide>
        <p15:guide id="10" pos="2195">
          <p15:clr>
            <a:srgbClr val="5ACBF0"/>
          </p15:clr>
        </p15:guide>
        <p15:guide id="11" pos="3566">
          <p15:clr>
            <a:srgbClr val="5ACBF0"/>
          </p15:clr>
        </p15:guide>
        <p15:guide id="13" pos="1098">
          <p15:clr>
            <a:srgbClr val="5ACBF0"/>
          </p15:clr>
        </p15:guide>
        <p15:guide id="14" orient="horz" pos="1080">
          <p15:clr>
            <a:srgbClr val="5ACBF0"/>
          </p15:clr>
        </p15:guide>
        <p15:guide id="15" pos="1373">
          <p15:clr>
            <a:srgbClr val="5ACBF0"/>
          </p15:clr>
        </p15:guide>
        <p15:guide id="16" orient="horz" pos="190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065" y="1926550"/>
            <a:ext cx="3965648" cy="1108121"/>
          </a:xfrm>
        </p:spPr>
        <p:txBody>
          <a:bodyPr anchor="t"/>
          <a:lstStyle>
            <a:lvl1pPr algn="l">
              <a:defRPr/>
            </a:lvl1pPr>
          </a:lstStyle>
          <a:p>
            <a:r>
              <a:rPr lang="en-US"/>
              <a:t>Click to edit Master title style</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8065" y="3434497"/>
            <a:ext cx="3965648" cy="325858"/>
          </a:xfrm>
        </p:spPr>
        <p:txBody>
          <a:bodyPr/>
          <a:lstStyle>
            <a:lvl1pPr marL="0" indent="0" algn="l">
              <a:spcBef>
                <a:spcPts val="0"/>
              </a:spcBef>
              <a:buNone/>
              <a:defRPr kumimoji="0" lang="en-US" sz="2353" b="0" i="0" u="none" strike="noStrike" kern="1200" cap="none" spc="0" normalizeH="0" baseline="0" dirty="0">
                <a:ln>
                  <a:noFill/>
                </a:ln>
                <a:solidFill>
                  <a:schemeClr val="accent1"/>
                </a:solidFill>
                <a:effectLst/>
                <a:uLnTx/>
                <a:uFillTx/>
                <a:latin typeface="+mj-lt"/>
                <a:ea typeface="+mn-ea"/>
                <a:cs typeface="+mn-cs"/>
              </a:defRPr>
            </a:lvl1pPr>
          </a:lstStyle>
          <a:p>
            <a:pPr marL="0" marR="0" lvl="0" indent="0" algn="l" defTabSz="89633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a:t>Click to edit Master tex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88065" y="3950317"/>
            <a:ext cx="3965648" cy="244426"/>
          </a:xfrm>
        </p:spPr>
        <p:txBody>
          <a:bodyPr/>
          <a:lstStyle>
            <a:lvl1pPr marL="0" indent="0" algn="l">
              <a:spcBef>
                <a:spcPts val="0"/>
              </a:spcBef>
              <a:buNone/>
              <a:defRPr kumimoji="0" lang="en-US" sz="1765"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l" defTabSz="89633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a:t>Click to edit Master text styles</a:t>
            </a:r>
          </a:p>
        </p:txBody>
      </p:sp>
      <p:grpSp>
        <p:nvGrpSpPr>
          <p:cNvPr id="4" name="Group 3">
            <a:extLst>
              <a:ext uri="{FF2B5EF4-FFF2-40B4-BE49-F238E27FC236}">
                <a16:creationId xmlns:a16="http://schemas.microsoft.com/office/drawing/2014/main" id="{EE8C38D4-13AB-4EFD-A9F2-E0178BE20BDB}"/>
              </a:ext>
              <a:ext uri="{C183D7F6-B498-43B3-948B-1728B52AA6E4}">
                <adec:decorative xmlns:adec="http://schemas.microsoft.com/office/drawing/2017/decorative" val="1"/>
              </a:ext>
            </a:extLst>
          </p:cNvPr>
          <p:cNvGrpSpPr/>
          <p:nvPr userDrawn="1"/>
        </p:nvGrpSpPr>
        <p:grpSpPr>
          <a:xfrm>
            <a:off x="5143549" y="-2"/>
            <a:ext cx="7048452" cy="6858001"/>
            <a:chOff x="5246687" y="-3"/>
            <a:chExt cx="7189788" cy="6994526"/>
          </a:xfrm>
        </p:grpSpPr>
        <p:sp>
          <p:nvSpPr>
            <p:cNvPr id="19" name="Oval 18">
              <a:extLst>
                <a:ext uri="{FF2B5EF4-FFF2-40B4-BE49-F238E27FC236}">
                  <a16:creationId xmlns:a16="http://schemas.microsoft.com/office/drawing/2014/main" id="{3A361BF9-0B36-4456-B612-6B0930E6955E}"/>
                </a:ext>
                <a:ext uri="{C183D7F6-B498-43B3-948B-1728B52AA6E4}">
                  <adec:decorative xmlns:adec="http://schemas.microsoft.com/office/drawing/2017/decorative" val="1"/>
                </a:ext>
              </a:extLst>
            </p:cNvPr>
            <p:cNvSpPr/>
            <p:nvPr userDrawn="1"/>
          </p:nvSpPr>
          <p:spPr bwMode="auto">
            <a:xfrm>
              <a:off x="5367012" y="524296"/>
              <a:ext cx="1841870" cy="1841868"/>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20" name="Oval 19">
              <a:extLst>
                <a:ext uri="{FF2B5EF4-FFF2-40B4-BE49-F238E27FC236}">
                  <a16:creationId xmlns:a16="http://schemas.microsoft.com/office/drawing/2014/main" id="{4A9A1B81-7437-447B-9A5F-98C25F00A015}"/>
                </a:ext>
                <a:ext uri="{C183D7F6-B498-43B3-948B-1728B52AA6E4}">
                  <adec:decorative xmlns:adec="http://schemas.microsoft.com/office/drawing/2017/decorative" val="1"/>
                </a:ext>
              </a:extLst>
            </p:cNvPr>
            <p:cNvSpPr/>
            <p:nvPr userDrawn="1"/>
          </p:nvSpPr>
          <p:spPr bwMode="auto">
            <a:xfrm>
              <a:off x="6339687" y="315259"/>
              <a:ext cx="722966" cy="722965"/>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18" name="Freeform: Shape 17">
              <a:extLst>
                <a:ext uri="{FF2B5EF4-FFF2-40B4-BE49-F238E27FC236}">
                  <a16:creationId xmlns:a16="http://schemas.microsoft.com/office/drawing/2014/main" id="{EE098A27-342C-4AF2-B8D3-8F6B869E28EC}"/>
                </a:ext>
                <a:ext uri="{C183D7F6-B498-43B3-948B-1728B52AA6E4}">
                  <adec:decorative xmlns:adec="http://schemas.microsoft.com/office/drawing/2017/decorative" val="1"/>
                </a:ext>
              </a:extLst>
            </p:cNvPr>
            <p:cNvSpPr/>
            <p:nvPr userDrawn="1"/>
          </p:nvSpPr>
          <p:spPr bwMode="auto">
            <a:xfrm rot="16200000">
              <a:off x="5344318" y="-97634"/>
              <a:ext cx="6994526" cy="7189788"/>
            </a:xfrm>
            <a:custGeom>
              <a:avLst/>
              <a:gdLst>
                <a:gd name="connsiteX0" fmla="*/ 6994526 w 6994526"/>
                <a:gd name="connsiteY0" fmla="*/ 4706952 h 7189788"/>
                <a:gd name="connsiteX1" fmla="*/ 6994525 w 6994526"/>
                <a:gd name="connsiteY1" fmla="*/ 7189788 h 7189788"/>
                <a:gd name="connsiteX2" fmla="*/ 0 w 6994526"/>
                <a:gd name="connsiteY2" fmla="*/ 7189786 h 7189788"/>
                <a:gd name="connsiteX3" fmla="*/ 0 w 6994526"/>
                <a:gd name="connsiteY3" fmla="*/ 6651624 h 7189788"/>
                <a:gd name="connsiteX4" fmla="*/ 0 w 6994526"/>
                <a:gd name="connsiteY4" fmla="*/ 6651624 h 7189788"/>
                <a:gd name="connsiteX5" fmla="*/ 0 w 6994526"/>
                <a:gd name="connsiteY5" fmla="*/ 3497262 h 7189788"/>
                <a:gd name="connsiteX6" fmla="*/ 3497263 w 6994526"/>
                <a:gd name="connsiteY6" fmla="*/ 0 h 7189788"/>
                <a:gd name="connsiteX7" fmla="*/ 6994526 w 6994526"/>
                <a:gd name="connsiteY7" fmla="*/ 3497263 h 7189788"/>
                <a:gd name="connsiteX8" fmla="*/ 6994525 w 6994526"/>
                <a:gd name="connsiteY8" fmla="*/ 4706923 h 718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94526" h="7189788">
                  <a:moveTo>
                    <a:pt x="6994526" y="4706952"/>
                  </a:moveTo>
                  <a:lnTo>
                    <a:pt x="6994525" y="7189788"/>
                  </a:lnTo>
                  <a:lnTo>
                    <a:pt x="0" y="7189786"/>
                  </a:lnTo>
                  <a:lnTo>
                    <a:pt x="0" y="6651624"/>
                  </a:lnTo>
                  <a:lnTo>
                    <a:pt x="0" y="6651624"/>
                  </a:lnTo>
                  <a:lnTo>
                    <a:pt x="0" y="3497262"/>
                  </a:lnTo>
                  <a:cubicBezTo>
                    <a:pt x="0" y="1565778"/>
                    <a:pt x="1565778" y="0"/>
                    <a:pt x="3497263" y="0"/>
                  </a:cubicBezTo>
                  <a:cubicBezTo>
                    <a:pt x="5428748" y="0"/>
                    <a:pt x="6994526" y="1565778"/>
                    <a:pt x="6994526" y="3497263"/>
                  </a:cubicBezTo>
                  <a:lnTo>
                    <a:pt x="6994525" y="4706923"/>
                  </a:lnTo>
                  <a:close/>
                </a:path>
              </a:pathLst>
            </a:custGeom>
            <a:gradFill flip="none" rotWithShape="1">
              <a:gsLst>
                <a:gs pos="0">
                  <a:schemeClr val="bg2">
                    <a:alpha val="0"/>
                  </a:schemeClr>
                </a:gs>
                <a:gs pos="23000">
                  <a:schemeClr val="bg2"/>
                </a:gs>
                <a:gs pos="100000">
                  <a:schemeClr val="accent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21" name="Oval 20">
              <a:extLst>
                <a:ext uri="{FF2B5EF4-FFF2-40B4-BE49-F238E27FC236}">
                  <a16:creationId xmlns:a16="http://schemas.microsoft.com/office/drawing/2014/main" id="{A54A8273-0A5A-41D7-A99A-3ADFE55D7C8B}"/>
                </a:ext>
                <a:ext uri="{C183D7F6-B498-43B3-948B-1728B52AA6E4}">
                  <adec:decorative xmlns:adec="http://schemas.microsoft.com/office/drawing/2017/decorative" val="1"/>
                </a:ext>
              </a:extLst>
            </p:cNvPr>
            <p:cNvSpPr/>
            <p:nvPr userDrawn="1"/>
          </p:nvSpPr>
          <p:spPr bwMode="auto">
            <a:xfrm>
              <a:off x="10021197" y="5386624"/>
              <a:ext cx="1010002" cy="1010001"/>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23" name="Oval 22">
              <a:extLst>
                <a:ext uri="{FF2B5EF4-FFF2-40B4-BE49-F238E27FC236}">
                  <a16:creationId xmlns:a16="http://schemas.microsoft.com/office/drawing/2014/main" id="{80271273-E371-4CE1-9398-E8B2141E449A}"/>
                </a:ext>
                <a:ext uri="{C183D7F6-B498-43B3-948B-1728B52AA6E4}">
                  <adec:decorative xmlns:adec="http://schemas.microsoft.com/office/drawing/2017/decorative" val="1"/>
                </a:ext>
              </a:extLst>
            </p:cNvPr>
            <p:cNvSpPr/>
            <p:nvPr userDrawn="1"/>
          </p:nvSpPr>
          <p:spPr bwMode="auto">
            <a:xfrm>
              <a:off x="10648836" y="5334985"/>
              <a:ext cx="427824" cy="427823"/>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27" name="Oval 26">
              <a:extLst>
                <a:ext uri="{FF2B5EF4-FFF2-40B4-BE49-F238E27FC236}">
                  <a16:creationId xmlns:a16="http://schemas.microsoft.com/office/drawing/2014/main" id="{207A8A79-9E2B-4114-A74C-AE1B0A4673AB}"/>
                </a:ext>
                <a:ext uri="{C183D7F6-B498-43B3-948B-1728B52AA6E4}">
                  <adec:decorative xmlns:adec="http://schemas.microsoft.com/office/drawing/2017/decorative" val="1"/>
                </a:ext>
              </a:extLst>
            </p:cNvPr>
            <p:cNvSpPr/>
            <p:nvPr userDrawn="1"/>
          </p:nvSpPr>
          <p:spPr bwMode="auto">
            <a:xfrm>
              <a:off x="5956762" y="597928"/>
              <a:ext cx="5798676" cy="5798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gr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6177713" y="924706"/>
            <a:ext cx="5008591" cy="5008591"/>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Box 4">
            <a:extLst>
              <a:ext uri="{FF2B5EF4-FFF2-40B4-BE49-F238E27FC236}">
                <a16:creationId xmlns:a16="http://schemas.microsoft.com/office/drawing/2014/main" id="{A6FA8CC6-03BF-0967-0823-AA6AC9723CB0}"/>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1012650027"/>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1998">
          <p15:clr>
            <a:srgbClr val="5ACBF0"/>
          </p15:clr>
        </p15:guide>
        <p15:guide id="3" pos="4662">
          <p15:clr>
            <a:srgbClr val="5ACBF0"/>
          </p15:clr>
        </p15:guide>
        <p15:guide id="5" pos="4388">
          <p15:clr>
            <a:srgbClr val="5ACBF0"/>
          </p15:clr>
        </p15:guide>
        <p15:guide id="7" pos="3294">
          <p15:clr>
            <a:srgbClr val="5ACBF0"/>
          </p15:clr>
        </p15:guide>
        <p15:guide id="8" pos="2469">
          <p15:clr>
            <a:srgbClr val="5ACBF0"/>
          </p15:clr>
        </p15:guide>
        <p15:guide id="10" pos="2195">
          <p15:clr>
            <a:srgbClr val="5ACBF0"/>
          </p15:clr>
        </p15:guide>
        <p15:guide id="11" pos="3566">
          <p15:clr>
            <a:srgbClr val="5ACBF0"/>
          </p15:clr>
        </p15:guide>
        <p15:guide id="13" pos="1098">
          <p15:clr>
            <a:srgbClr val="5ACBF0"/>
          </p15:clr>
        </p15:guide>
        <p15:guide id="14" orient="horz" pos="1080">
          <p15:clr>
            <a:srgbClr val="5ACBF0"/>
          </p15:clr>
        </p15:guide>
        <p15:guide id="15" pos="1373">
          <p15:clr>
            <a:srgbClr val="5ACBF0"/>
          </p15:clr>
        </p15:guide>
        <p15:guide id="16" orient="horz" pos="190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612667" y="1926550"/>
            <a:ext cx="3965648" cy="1108121"/>
          </a:xfrm>
        </p:spPr>
        <p:txBody>
          <a:bodyPr anchor="t"/>
          <a:lstStyle>
            <a:lvl1pPr algn="l">
              <a:defRPr/>
            </a:lvl1pPr>
          </a:lstStyle>
          <a:p>
            <a:r>
              <a:rPr lang="en-US"/>
              <a:t>Click to edit Master title style</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6612667" y="3434497"/>
            <a:ext cx="3965648" cy="325858"/>
          </a:xfrm>
        </p:spPr>
        <p:txBody>
          <a:bodyPr/>
          <a:lstStyle>
            <a:lvl1pPr marL="0" indent="0" algn="l">
              <a:spcBef>
                <a:spcPts val="0"/>
              </a:spcBef>
              <a:buNone/>
              <a:defRPr kumimoji="0" lang="en-US" sz="2353" b="0" i="0" u="none" strike="noStrike" kern="1200" cap="none" spc="0" normalizeH="0" baseline="0" dirty="0">
                <a:ln>
                  <a:noFill/>
                </a:ln>
                <a:solidFill>
                  <a:schemeClr val="accent1"/>
                </a:solidFill>
                <a:effectLst/>
                <a:uLnTx/>
                <a:uFillTx/>
                <a:latin typeface="+mj-lt"/>
                <a:ea typeface="+mn-ea"/>
                <a:cs typeface="+mn-cs"/>
              </a:defRPr>
            </a:lvl1pPr>
          </a:lstStyle>
          <a:p>
            <a:pPr marL="0" marR="0" lvl="0" indent="0" algn="l" defTabSz="89633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a:t>Click to edit Master tex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6612667" y="3950317"/>
            <a:ext cx="3965648" cy="244426"/>
          </a:xfrm>
        </p:spPr>
        <p:txBody>
          <a:bodyPr/>
          <a:lstStyle>
            <a:lvl1pPr marL="0" indent="0" algn="l">
              <a:spcBef>
                <a:spcPts val="0"/>
              </a:spcBef>
              <a:buNone/>
              <a:defRPr kumimoji="0" lang="en-US" sz="1765"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l" defTabSz="89633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4" name="Group 3">
            <a:extLst>
              <a:ext uri="{FF2B5EF4-FFF2-40B4-BE49-F238E27FC236}">
                <a16:creationId xmlns:a16="http://schemas.microsoft.com/office/drawing/2014/main" id="{F094724D-E71E-4BF7-BA59-478FDC6F81CA}"/>
              </a:ext>
              <a:ext uri="{C183D7F6-B498-43B3-948B-1728B52AA6E4}">
                <adec:decorative xmlns:adec="http://schemas.microsoft.com/office/drawing/2017/decorative" val="1"/>
              </a:ext>
            </a:extLst>
          </p:cNvPr>
          <p:cNvGrpSpPr/>
          <p:nvPr userDrawn="1"/>
        </p:nvGrpSpPr>
        <p:grpSpPr>
          <a:xfrm>
            <a:off x="331301" y="25567"/>
            <a:ext cx="11079599" cy="6839215"/>
            <a:chOff x="337943" y="26075"/>
            <a:chExt cx="11301767" cy="6975365"/>
          </a:xfrm>
        </p:grpSpPr>
        <p:sp>
          <p:nvSpPr>
            <p:cNvPr id="7" name="Graphic 14">
              <a:extLst>
                <a:ext uri="{FF2B5EF4-FFF2-40B4-BE49-F238E27FC236}">
                  <a16:creationId xmlns:a16="http://schemas.microsoft.com/office/drawing/2014/main" id="{D2CCB7C0-7422-4920-90C9-E7E2889B6601}"/>
                </a:ext>
                <a:ext uri="{C183D7F6-B498-43B3-948B-1728B52AA6E4}">
                  <adec:decorative xmlns:adec="http://schemas.microsoft.com/office/drawing/2017/decorative" val="1"/>
                </a:ext>
              </a:extLst>
            </p:cNvPr>
            <p:cNvSpPr/>
            <p:nvPr/>
          </p:nvSpPr>
          <p:spPr>
            <a:xfrm>
              <a:off x="337943" y="564077"/>
              <a:ext cx="5639524" cy="5639525"/>
            </a:xfrm>
            <a:custGeom>
              <a:avLst/>
              <a:gdLst>
                <a:gd name="connsiteX0" fmla="*/ -39 w 5639524"/>
                <a:gd name="connsiteY0" fmla="*/ 2819763 h 5639525"/>
                <a:gd name="connsiteX1" fmla="*/ 2819724 w 5639524"/>
                <a:gd name="connsiteY1" fmla="*/ 0 h 5639525"/>
                <a:gd name="connsiteX2" fmla="*/ 5639486 w 5639524"/>
                <a:gd name="connsiteY2" fmla="*/ 2819763 h 5639525"/>
                <a:gd name="connsiteX3" fmla="*/ 2819724 w 5639524"/>
                <a:gd name="connsiteY3" fmla="*/ 5639525 h 5639525"/>
                <a:gd name="connsiteX4" fmla="*/ -39 w 5639524"/>
                <a:gd name="connsiteY4" fmla="*/ 2819763 h 563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9524" h="5639525">
                  <a:moveTo>
                    <a:pt x="-39" y="2819763"/>
                  </a:moveTo>
                  <a:cubicBezTo>
                    <a:pt x="-39" y="1262451"/>
                    <a:pt x="1262412" y="0"/>
                    <a:pt x="2819724" y="0"/>
                  </a:cubicBezTo>
                  <a:cubicBezTo>
                    <a:pt x="4377035" y="0"/>
                    <a:pt x="5639486" y="1262451"/>
                    <a:pt x="5639486" y="2819763"/>
                  </a:cubicBezTo>
                  <a:cubicBezTo>
                    <a:pt x="5639486" y="4377074"/>
                    <a:pt x="4377035" y="5639525"/>
                    <a:pt x="2819724" y="5639525"/>
                  </a:cubicBezTo>
                  <a:cubicBezTo>
                    <a:pt x="1262412" y="5639525"/>
                    <a:pt x="-39" y="4377074"/>
                    <a:pt x="-39" y="2819763"/>
                  </a:cubicBezTo>
                  <a:close/>
                </a:path>
              </a:pathLst>
            </a:custGeom>
            <a:noFill/>
            <a:ln w="12614" cap="flat">
              <a:solidFill>
                <a:schemeClr val="bg2"/>
              </a:solidFill>
              <a:prstDash val="solid"/>
              <a:round/>
            </a:ln>
          </p:spPr>
          <p:txBody>
            <a:bodyPr rtlCol="0" anchor="ctr"/>
            <a:lstStyle/>
            <a:p>
              <a:endParaRPr lang="en-US" sz="1765"/>
            </a:p>
          </p:txBody>
        </p:sp>
        <p:sp>
          <p:nvSpPr>
            <p:cNvPr id="5" name="Graphic 14">
              <a:extLst>
                <a:ext uri="{FF2B5EF4-FFF2-40B4-BE49-F238E27FC236}">
                  <a16:creationId xmlns:a16="http://schemas.microsoft.com/office/drawing/2014/main" id="{EC6C93D0-28DF-401F-8C38-445AA9679038}"/>
                </a:ext>
                <a:ext uri="{C183D7F6-B498-43B3-948B-1728B52AA6E4}">
                  <adec:decorative xmlns:adec="http://schemas.microsoft.com/office/drawing/2017/decorative" val="1"/>
                </a:ext>
              </a:extLst>
            </p:cNvPr>
            <p:cNvSpPr/>
            <p:nvPr/>
          </p:nvSpPr>
          <p:spPr>
            <a:xfrm>
              <a:off x="4614898" y="700334"/>
              <a:ext cx="1271731" cy="1264161"/>
            </a:xfrm>
            <a:custGeom>
              <a:avLst/>
              <a:gdLst>
                <a:gd name="connsiteX0" fmla="*/ 556 w 1271731"/>
                <a:gd name="connsiteY0" fmla="*/ 632161 h 1264161"/>
                <a:gd name="connsiteX1" fmla="*/ 636422 w 1271731"/>
                <a:gd name="connsiteY1" fmla="*/ 80 h 1264161"/>
                <a:gd name="connsiteX2" fmla="*/ 1272288 w 1271731"/>
                <a:gd name="connsiteY2" fmla="*/ 632161 h 1264161"/>
                <a:gd name="connsiteX3" fmla="*/ 636422 w 1271731"/>
                <a:gd name="connsiteY3" fmla="*/ 1264242 h 1264161"/>
                <a:gd name="connsiteX4" fmla="*/ 556 w 1271731"/>
                <a:gd name="connsiteY4" fmla="*/ 632161 h 1264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731" h="1264161">
                  <a:moveTo>
                    <a:pt x="556" y="632161"/>
                  </a:moveTo>
                  <a:cubicBezTo>
                    <a:pt x="556" y="283072"/>
                    <a:pt x="285243" y="80"/>
                    <a:pt x="636422" y="80"/>
                  </a:cubicBezTo>
                  <a:cubicBezTo>
                    <a:pt x="987602" y="80"/>
                    <a:pt x="1272288" y="283072"/>
                    <a:pt x="1272288" y="632161"/>
                  </a:cubicBezTo>
                  <a:cubicBezTo>
                    <a:pt x="1272288" y="981251"/>
                    <a:pt x="987602" y="1264242"/>
                    <a:pt x="636422" y="1264242"/>
                  </a:cubicBezTo>
                  <a:cubicBezTo>
                    <a:pt x="285243" y="1264242"/>
                    <a:pt x="556" y="981251"/>
                    <a:pt x="556" y="632161"/>
                  </a:cubicBezTo>
                  <a:close/>
                </a:path>
              </a:pathLst>
            </a:cu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a:solidFill>
                  <a:srgbClr val="FFFFFF"/>
                </a:solidFill>
                <a:cs typeface="Segoe UI" pitchFamily="34" charset="0"/>
              </a:endParaRPr>
            </a:p>
          </p:txBody>
        </p:sp>
        <p:sp>
          <p:nvSpPr>
            <p:cNvPr id="21" name="Oval 20">
              <a:extLst>
                <a:ext uri="{FF2B5EF4-FFF2-40B4-BE49-F238E27FC236}">
                  <a16:creationId xmlns:a16="http://schemas.microsoft.com/office/drawing/2014/main" id="{A54A8273-0A5A-41D7-A99A-3ADFE55D7C8B}"/>
                </a:ext>
                <a:ext uri="{C183D7F6-B498-43B3-948B-1728B52AA6E4}">
                  <adec:decorative xmlns:adec="http://schemas.microsoft.com/office/drawing/2017/decorative" val="1"/>
                </a:ext>
              </a:extLst>
            </p:cNvPr>
            <p:cNvSpPr/>
            <p:nvPr userDrawn="1"/>
          </p:nvSpPr>
          <p:spPr bwMode="auto">
            <a:xfrm>
              <a:off x="3739233" y="5365779"/>
              <a:ext cx="1010002" cy="1010001"/>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23" name="Oval 22">
              <a:extLst>
                <a:ext uri="{FF2B5EF4-FFF2-40B4-BE49-F238E27FC236}">
                  <a16:creationId xmlns:a16="http://schemas.microsoft.com/office/drawing/2014/main" id="{80271273-E371-4CE1-9398-E8B2141E449A}"/>
                </a:ext>
                <a:ext uri="{C183D7F6-B498-43B3-948B-1728B52AA6E4}">
                  <adec:decorative xmlns:adec="http://schemas.microsoft.com/office/drawing/2017/decorative" val="1"/>
                </a:ext>
              </a:extLst>
            </p:cNvPr>
            <p:cNvSpPr/>
            <p:nvPr userDrawn="1"/>
          </p:nvSpPr>
          <p:spPr bwMode="auto">
            <a:xfrm>
              <a:off x="4492130" y="5861437"/>
              <a:ext cx="427824" cy="427823"/>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8" name="Graphic 14">
              <a:extLst>
                <a:ext uri="{FF2B5EF4-FFF2-40B4-BE49-F238E27FC236}">
                  <a16:creationId xmlns:a16="http://schemas.microsoft.com/office/drawing/2014/main" id="{D5D88610-B9EA-47A3-A72A-4A71C0D6F79D}"/>
                </a:ext>
                <a:ext uri="{C183D7F6-B498-43B3-948B-1728B52AA6E4}">
                  <adec:decorative xmlns:adec="http://schemas.microsoft.com/office/drawing/2017/decorative" val="1"/>
                </a:ext>
              </a:extLst>
            </p:cNvPr>
            <p:cNvSpPr/>
            <p:nvPr/>
          </p:nvSpPr>
          <p:spPr>
            <a:xfrm>
              <a:off x="557468" y="776033"/>
              <a:ext cx="5200474" cy="5208044"/>
            </a:xfrm>
            <a:custGeom>
              <a:avLst/>
              <a:gdLst>
                <a:gd name="connsiteX0" fmla="*/ 20 w 5200474"/>
                <a:gd name="connsiteY0" fmla="*/ 2604112 h 5208044"/>
                <a:gd name="connsiteX1" fmla="*/ 2600257 w 5200474"/>
                <a:gd name="connsiteY1" fmla="*/ 90 h 5208044"/>
                <a:gd name="connsiteX2" fmla="*/ 5200495 w 5200474"/>
                <a:gd name="connsiteY2" fmla="*/ 2604112 h 5208044"/>
                <a:gd name="connsiteX3" fmla="*/ 2600257 w 5200474"/>
                <a:gd name="connsiteY3" fmla="*/ 5208135 h 5208044"/>
                <a:gd name="connsiteX4" fmla="*/ 20 w 5200474"/>
                <a:gd name="connsiteY4" fmla="*/ 2604112 h 5208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0474" h="5208044">
                  <a:moveTo>
                    <a:pt x="20" y="2604112"/>
                  </a:moveTo>
                  <a:cubicBezTo>
                    <a:pt x="20" y="1165950"/>
                    <a:pt x="1164184" y="90"/>
                    <a:pt x="2600257" y="90"/>
                  </a:cubicBezTo>
                  <a:cubicBezTo>
                    <a:pt x="4036330" y="90"/>
                    <a:pt x="5200495" y="1165950"/>
                    <a:pt x="5200495" y="2604112"/>
                  </a:cubicBezTo>
                  <a:cubicBezTo>
                    <a:pt x="5200495" y="4042275"/>
                    <a:pt x="4036330" y="5208135"/>
                    <a:pt x="2600257" y="5208135"/>
                  </a:cubicBezTo>
                  <a:cubicBezTo>
                    <a:pt x="1164184" y="5208135"/>
                    <a:pt x="20" y="4042275"/>
                    <a:pt x="20" y="2604112"/>
                  </a:cubicBezTo>
                  <a:close/>
                </a:path>
              </a:pathLst>
            </a:custGeom>
            <a:gradFill>
              <a:gsLst>
                <a:gs pos="0">
                  <a:schemeClr val="accent1">
                    <a:lumMod val="75000"/>
                  </a:schemeClr>
                </a:gs>
                <a:gs pos="100000">
                  <a:schemeClr val="accent1"/>
                </a:gs>
              </a:gsLst>
              <a:lin ang="16200000" scaled="1"/>
            </a:gradFill>
            <a:ln w="7568" cap="flat">
              <a:noFill/>
              <a:prstDash val="solid"/>
              <a:miter/>
            </a:ln>
          </p:spPr>
          <p:txBody>
            <a:bodyPr rtlCol="0" anchor="ctr"/>
            <a:lstStyle/>
            <a:p>
              <a:endParaRPr lang="en-US" sz="1765"/>
            </a:p>
          </p:txBody>
        </p:sp>
        <p:sp>
          <p:nvSpPr>
            <p:cNvPr id="10" name="Graphic 14">
              <a:extLst>
                <a:ext uri="{FF2B5EF4-FFF2-40B4-BE49-F238E27FC236}">
                  <a16:creationId xmlns:a16="http://schemas.microsoft.com/office/drawing/2014/main" id="{37A25706-55A4-4473-8AFD-1DB7081BB86C}"/>
                </a:ext>
                <a:ext uri="{C183D7F6-B498-43B3-948B-1728B52AA6E4}">
                  <adec:decorative xmlns:adec="http://schemas.microsoft.com/office/drawing/2017/decorative" val="1"/>
                </a:ext>
              </a:extLst>
            </p:cNvPr>
            <p:cNvSpPr/>
            <p:nvPr/>
          </p:nvSpPr>
          <p:spPr>
            <a:xfrm>
              <a:off x="10115819" y="26075"/>
              <a:ext cx="1523891" cy="6975365"/>
            </a:xfrm>
            <a:custGeom>
              <a:avLst/>
              <a:gdLst>
                <a:gd name="connsiteX0" fmla="*/ 42579 w 1523891"/>
                <a:gd name="connsiteY0" fmla="*/ 0 h 6975365"/>
                <a:gd name="connsiteX1" fmla="*/ 192083 w 1523891"/>
                <a:gd name="connsiteY1" fmla="*/ 6785552 h 6975365"/>
                <a:gd name="connsiteX2" fmla="*/ -39 w 1523891"/>
                <a:gd name="connsiteY2" fmla="*/ 6975365 h 6975365"/>
              </a:gdLst>
              <a:ahLst/>
              <a:cxnLst>
                <a:cxn ang="0">
                  <a:pos x="connsiteX0" y="connsiteY0"/>
                </a:cxn>
                <a:cxn ang="0">
                  <a:pos x="connsiteX1" y="connsiteY1"/>
                </a:cxn>
                <a:cxn ang="0">
                  <a:pos x="connsiteX2" y="connsiteY2"/>
                </a:cxn>
              </a:cxnLst>
              <a:rect l="l" t="t" r="r" b="b"/>
              <a:pathLst>
                <a:path w="1523891" h="6975365">
                  <a:moveTo>
                    <a:pt x="42579" y="0"/>
                  </a:moveTo>
                  <a:cubicBezTo>
                    <a:pt x="1957672" y="1832497"/>
                    <a:pt x="2024589" y="4870490"/>
                    <a:pt x="192083" y="6785552"/>
                  </a:cubicBezTo>
                  <a:cubicBezTo>
                    <a:pt x="129860" y="6850615"/>
                    <a:pt x="65743" y="6913906"/>
                    <a:pt x="-39" y="6975365"/>
                  </a:cubicBezTo>
                </a:path>
              </a:pathLst>
            </a:custGeom>
            <a:noFill/>
            <a:ln w="12614" cap="flat">
              <a:solidFill>
                <a:schemeClr val="bg1">
                  <a:lumMod val="95000"/>
                </a:schemeClr>
              </a:solidFill>
              <a:prstDash val="solid"/>
              <a:round/>
            </a:ln>
          </p:spPr>
          <p:txBody>
            <a:bodyPr rtlCol="0" anchor="ctr"/>
            <a:lstStyle/>
            <a:p>
              <a:endParaRPr lang="en-US" sz="1765"/>
            </a:p>
          </p:txBody>
        </p:sp>
      </p:gr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446B1E47-DCB0-4799-A2C1-8EA3A7C25068}"/>
              </a:ext>
              <a:ext uri="{C183D7F6-B498-43B3-948B-1728B52AA6E4}">
                <adec:decorative xmlns:adec="http://schemas.microsoft.com/office/drawing/2017/decorative" val="0"/>
              </a:ext>
            </a:extLst>
          </p:cNvPr>
          <p:cNvSpPr>
            <a:spLocks noGrp="1" noChangeAspect="1"/>
          </p:cNvSpPr>
          <p:nvPr>
            <p:ph type="pic" sz="quarter" idx="13" hasCustomPrompt="1"/>
          </p:nvPr>
        </p:nvSpPr>
        <p:spPr bwMode="ltGray">
          <a:xfrm>
            <a:off x="902560" y="1138996"/>
            <a:ext cx="4360283" cy="4360283"/>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TextBox 5">
            <a:extLst>
              <a:ext uri="{FF2B5EF4-FFF2-40B4-BE49-F238E27FC236}">
                <a16:creationId xmlns:a16="http://schemas.microsoft.com/office/drawing/2014/main" id="{083A73D1-6193-2997-F46C-91939585807E}"/>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1805738824"/>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1998">
          <p15:clr>
            <a:srgbClr val="5ACBF0"/>
          </p15:clr>
        </p15:guide>
        <p15:guide id="3" pos="4662">
          <p15:clr>
            <a:srgbClr val="5ACBF0"/>
          </p15:clr>
        </p15:guide>
        <p15:guide id="5" pos="4388">
          <p15:clr>
            <a:srgbClr val="5ACBF0"/>
          </p15:clr>
        </p15:guide>
        <p15:guide id="7" pos="3294">
          <p15:clr>
            <a:srgbClr val="5ACBF0"/>
          </p15:clr>
        </p15:guide>
        <p15:guide id="8" pos="2469">
          <p15:clr>
            <a:srgbClr val="5ACBF0"/>
          </p15:clr>
        </p15:guide>
        <p15:guide id="10" pos="2195">
          <p15:clr>
            <a:srgbClr val="5ACBF0"/>
          </p15:clr>
        </p15:guide>
        <p15:guide id="11" pos="3566">
          <p15:clr>
            <a:srgbClr val="5ACBF0"/>
          </p15:clr>
        </p15:guide>
        <p15:guide id="13" pos="1098">
          <p15:clr>
            <a:srgbClr val="5ACBF0"/>
          </p15:clr>
        </p15:guide>
        <p15:guide id="14" orient="horz" pos="1080">
          <p15:clr>
            <a:srgbClr val="5ACBF0"/>
          </p15:clr>
        </p15:guide>
        <p15:guide id="15" pos="1373">
          <p15:clr>
            <a:srgbClr val="5ACBF0"/>
          </p15:clr>
        </p15:guide>
        <p15:guide id="16" orient="horz" pos="190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8340896"/>
      </p:ext>
    </p:extLst>
  </p:cSld>
  <p:clrMapOvr>
    <a:masterClrMapping/>
  </p:clrMapOvr>
  <p:transition>
    <p:fade/>
  </p:transition>
  <p:hf hdr="0" ftr="0" dt="0"/>
  <p:extLst>
    <p:ext uri="{DCECCB84-F9BA-43D5-87BE-67443E8EF086}">
      <p15:sldGuideLst xmlns:p15="http://schemas.microsoft.com/office/powerpoint/2012/main">
        <p15:guide id="2" orient="horz" pos="954">
          <p15:clr>
            <a:srgbClr val="5ACBF0"/>
          </p15:clr>
        </p15:guide>
        <p15:guide id="3" orient="horz" pos="216">
          <p15:clr>
            <a:srgbClr val="5ACBF0"/>
          </p15:clr>
        </p15:guide>
        <p15:guide id="5" orient="horz" pos="67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69"/>
            <a:ext cx="11018520" cy="1612768"/>
          </a:xfrm>
        </p:spPr>
        <p:txBody>
          <a:bodyPr wrap="square">
            <a:spAutoFit/>
          </a:bodyPr>
          <a:lstStyle>
            <a:lvl1pPr marL="0" indent="0">
              <a:buNone/>
              <a:defRPr/>
            </a:lvl1pPr>
            <a:lvl2pPr marL="228550" indent="0">
              <a:buNone/>
              <a:defRPr/>
            </a:lvl2pPr>
            <a:lvl3pPr marL="457101" indent="0">
              <a:buNone/>
              <a:defRPr/>
            </a:lvl3pPr>
            <a:lvl4pPr marL="685651" indent="0">
              <a:buNone/>
              <a:defRPr/>
            </a:lvl4pPr>
            <a:lvl5pPr marL="9142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5956443"/>
      </p:ext>
    </p:extLst>
  </p:cSld>
  <p:clrMapOvr>
    <a:masterClrMapping/>
  </p:clrMapOvr>
  <p:transition>
    <p:fade/>
  </p:transition>
  <p:hf hdr="0" ftr="0" dt="0"/>
  <p:extLst>
    <p:ext uri="{DCECCB84-F9BA-43D5-87BE-67443E8EF086}">
      <p15:sldGuideLst xmlns:p15="http://schemas.microsoft.com/office/powerpoint/2012/main">
        <p15:guide id="1" orient="horz" pos="216">
          <p15:clr>
            <a:srgbClr val="5ACBF0"/>
          </p15:clr>
        </p15:guide>
        <p15:guide id="2" orient="horz" pos="679">
          <p15:clr>
            <a:srgbClr val="5ACBF0"/>
          </p15:clr>
        </p15:guide>
        <p15:guide id="4" orient="horz" pos="95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6522661"/>
      </p:ext>
    </p:extLst>
  </p:cSld>
  <p:clrMapOvr>
    <a:masterClrMapping/>
  </p:clrMapOvr>
  <p:transition>
    <p:fade/>
  </p:transition>
  <p:extLst>
    <p:ext uri="{DCECCB84-F9BA-43D5-87BE-67443E8EF086}">
      <p15:sldGuideLst xmlns:p15="http://schemas.microsoft.com/office/powerpoint/2012/main">
        <p15:guide id="1" orient="horz" pos="216">
          <p15:clr>
            <a:srgbClr val="5ACBF0"/>
          </p15:clr>
        </p15:guide>
        <p15:guide id="2" orient="horz" pos="957">
          <p15:clr>
            <a:srgbClr val="5ACBF0"/>
          </p15:clr>
        </p15:guide>
        <p15:guide id="3" orient="horz" pos="678">
          <p15:clr>
            <a:srgbClr val="5ACBF0"/>
          </p15:clr>
        </p15:guide>
        <p15:guide id="4" pos="2745">
          <p15:clr>
            <a:srgbClr val="5ACBF0"/>
          </p15:clr>
        </p15:guide>
        <p15:guide id="5" pos="301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9"/>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2" indent="0">
              <a:buFont typeface="Wingdings" panose="05000000000000000000" pitchFamily="2" charset="2"/>
              <a:buNone/>
              <a:defRPr sz="2000" b="0"/>
            </a:lvl2pPr>
            <a:lvl3pPr marL="450753" indent="0">
              <a:buFont typeface="Wingdings" panose="05000000000000000000" pitchFamily="2" charset="2"/>
              <a:buNone/>
              <a:tabLst/>
              <a:defRPr sz="1600" b="0"/>
            </a:lvl3pPr>
            <a:lvl4pPr marL="652321" indent="0">
              <a:buFont typeface="Wingdings" panose="05000000000000000000" pitchFamily="2" charset="2"/>
              <a:buNone/>
              <a:defRPr sz="1400" b="0"/>
            </a:lvl4pPr>
            <a:lvl5pPr marL="85388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2" indent="0">
              <a:buFont typeface="Wingdings" panose="05000000000000000000" pitchFamily="2" charset="2"/>
              <a:buNone/>
              <a:defRPr sz="2000" b="0"/>
            </a:lvl2pPr>
            <a:lvl3pPr marL="450753" indent="0">
              <a:buFont typeface="Wingdings" panose="05000000000000000000" pitchFamily="2" charset="2"/>
              <a:buNone/>
              <a:tabLst/>
              <a:defRPr sz="1600" b="0"/>
            </a:lvl3pPr>
            <a:lvl4pPr marL="652321" indent="0">
              <a:buFont typeface="Wingdings" panose="05000000000000000000" pitchFamily="2" charset="2"/>
              <a:buNone/>
              <a:defRPr sz="1400" b="0"/>
            </a:lvl4pPr>
            <a:lvl5pPr marL="85388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5123527"/>
      </p:ext>
    </p:extLst>
  </p:cSld>
  <p:clrMapOvr>
    <a:masterClrMapping/>
  </p:clrMapOvr>
  <p:transition>
    <p:fade/>
  </p:transition>
  <p:extLst>
    <p:ext uri="{DCECCB84-F9BA-43D5-87BE-67443E8EF086}">
      <p15:sldGuideLst xmlns:p15="http://schemas.microsoft.com/office/powerpoint/2012/main">
        <p15:guide id="1" orient="horz" pos="216">
          <p15:clr>
            <a:srgbClr val="5ACBF0"/>
          </p15:clr>
        </p15:guide>
        <p15:guide id="2" orient="horz" pos="954">
          <p15:clr>
            <a:srgbClr val="5ACBF0"/>
          </p15:clr>
        </p15:guide>
        <p15:guide id="3" orient="horz" pos="678">
          <p15:clr>
            <a:srgbClr val="5ACBF0"/>
          </p15:clr>
        </p15:guide>
        <p15:guide id="4" pos="2742">
          <p15:clr>
            <a:srgbClr val="5ACBF0"/>
          </p15:clr>
        </p15:guide>
        <p15:guide id="5" pos="3018">
          <p15:clr>
            <a:srgbClr val="5ACBF0"/>
          </p15:clr>
        </p15:guide>
        <p15:guide id="6" orient="horz" pos="68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9"/>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612749"/>
          </a:xfrm>
        </p:spPr>
        <p:txBody>
          <a:bodyPr>
            <a:spAutoFit/>
          </a:bodyPr>
          <a:lstStyle>
            <a:lvl1pPr marL="171413" indent="-171413">
              <a:defRPr lang="en-US" sz="2400" dirty="0"/>
            </a:lvl1pPr>
            <a:lvl2pPr marL="342826" indent="-171413">
              <a:defRPr lang="en-US" dirty="0"/>
            </a:lvl2pPr>
            <a:lvl3pPr marL="514239" indent="-171413">
              <a:defRPr lang="en-US" dirty="0"/>
            </a:lvl3pPr>
            <a:lvl4pPr marL="666606" indent="-152367">
              <a:defRPr lang="en-US" dirty="0"/>
            </a:lvl4pPr>
            <a:lvl5pPr marL="793579" indent="-1206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612749"/>
          </a:xfrm>
        </p:spPr>
        <p:txBody>
          <a:bodyPr>
            <a:spAutoFit/>
          </a:bodyPr>
          <a:lstStyle>
            <a:lvl1pPr marL="171413" indent="-171413">
              <a:defRPr lang="en-US" sz="2400" dirty="0"/>
            </a:lvl1pPr>
            <a:lvl2pPr marL="342826" indent="-171413">
              <a:defRPr lang="en-US" dirty="0"/>
            </a:lvl2pPr>
            <a:lvl3pPr marL="514239" indent="-171413">
              <a:defRPr lang="en-US" dirty="0"/>
            </a:lvl3pPr>
            <a:lvl4pPr marL="685651" indent="-136495">
              <a:defRPr lang="en-US" dirty="0"/>
            </a:lvl4pPr>
            <a:lvl5pPr marL="793579" indent="-1206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115057"/>
      </p:ext>
    </p:extLst>
  </p:cSld>
  <p:clrMapOvr>
    <a:masterClrMapping/>
  </p:clrMapOvr>
  <p:transition>
    <p:fade/>
  </p:transition>
  <p:hf hdr="0" ftr="0" dt="0"/>
  <p:extLst>
    <p:ext uri="{DCECCB84-F9BA-43D5-87BE-67443E8EF086}">
      <p15:sldGuideLst xmlns:p15="http://schemas.microsoft.com/office/powerpoint/2012/main">
        <p15:guide id="1" orient="horz" pos="216">
          <p15:clr>
            <a:srgbClr val="5ACBF0"/>
          </p15:clr>
        </p15:guide>
        <p15:guide id="2" orient="horz" pos="983">
          <p15:clr>
            <a:srgbClr val="5ACBF0"/>
          </p15:clr>
        </p15:guide>
        <p15:guide id="4" pos="2742">
          <p15:clr>
            <a:srgbClr val="5ACBF0"/>
          </p15:clr>
        </p15:guide>
        <p15:guide id="5" pos="3018">
          <p15:clr>
            <a:srgbClr val="5ACBF0"/>
          </p15:clr>
        </p15:guide>
        <p15:guide id="7" orient="horz" pos="679">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9"/>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494700"/>
      </p:ext>
    </p:extLst>
  </p:cSld>
  <p:clrMapOvr>
    <a:masterClrMapping/>
  </p:clrMapOvr>
  <p:transition>
    <p:fade/>
  </p:transition>
  <p:hf hdr="0" ftr="0" dt="0"/>
  <p:extLst>
    <p:ext uri="{DCECCB84-F9BA-43D5-87BE-67443E8EF086}">
      <p15:sldGuideLst xmlns:p15="http://schemas.microsoft.com/office/powerpoint/2012/main">
        <p15:guide id="1" orient="horz" pos="216">
          <p15:clr>
            <a:srgbClr val="5ACBF0"/>
          </p15:clr>
        </p15:guide>
        <p15:guide id="2" orient="horz" pos="983">
          <p15:clr>
            <a:srgbClr val="5ACBF0"/>
          </p15:clr>
        </p15:guide>
        <p15:guide id="4" pos="2742">
          <p15:clr>
            <a:srgbClr val="5ACBF0"/>
          </p15:clr>
        </p15:guide>
        <p15:guide id="5" pos="3018">
          <p15:clr>
            <a:srgbClr val="5ACBF0"/>
          </p15:clr>
        </p15:guide>
        <p15:guide id="7" orient="horz" pos="679">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TT_layout_option_3_column_white">
    <p:bg bwMode="lt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E95D31-B69B-4DE9-BB25-9182636BB223}"/>
              </a:ext>
            </a:extLst>
          </p:cNvPr>
          <p:cNvGraphicFramePr>
            <a:graphicFrameLocks noChangeAspect="1"/>
          </p:cNvGraphicFramePr>
          <p:nvPr userDrawn="1">
            <p:custDataLst>
              <p:tags r:id="rId1"/>
            </p:custDataLst>
            <p:extLst>
              <p:ext uri="{D42A27DB-BD31-4B8C-83A1-F6EECF244321}">
                <p14:modId xmlns:p14="http://schemas.microsoft.com/office/powerpoint/2010/main" val="338888095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85E95D31-B69B-4DE9-BB25-9182636BB22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6C46D53-15E4-2C4F-9617-DD90C161B84F}"/>
              </a:ext>
            </a:extLst>
          </p:cNvPr>
          <p:cNvSpPr/>
          <p:nvPr userDrawn="1"/>
        </p:nvSpPr>
        <p:spPr>
          <a:xfrm>
            <a:off x="0" y="2772077"/>
            <a:ext cx="4064000" cy="40859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7" name="Rectangle 6">
            <a:extLst>
              <a:ext uri="{FF2B5EF4-FFF2-40B4-BE49-F238E27FC236}">
                <a16:creationId xmlns:a16="http://schemas.microsoft.com/office/drawing/2014/main" id="{D76A6DF1-0EBD-A441-B4B6-6E5DE055B9AB}"/>
              </a:ext>
            </a:extLst>
          </p:cNvPr>
          <p:cNvSpPr/>
          <p:nvPr userDrawn="1"/>
        </p:nvSpPr>
        <p:spPr>
          <a:xfrm>
            <a:off x="8128000" y="2772077"/>
            <a:ext cx="4064000" cy="40859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3" name="Picture Placeholder 2">
            <a:extLst>
              <a:ext uri="{FF2B5EF4-FFF2-40B4-BE49-F238E27FC236}">
                <a16:creationId xmlns:a16="http://schemas.microsoft.com/office/drawing/2014/main" id="{C00DBA51-2FC2-724F-8D23-DCE9E6E22D76}"/>
              </a:ext>
            </a:extLst>
          </p:cNvPr>
          <p:cNvSpPr>
            <a:spLocks noGrp="1"/>
          </p:cNvSpPr>
          <p:nvPr>
            <p:ph type="pic" sz="quarter" idx="10"/>
          </p:nvPr>
        </p:nvSpPr>
        <p:spPr>
          <a:xfrm>
            <a:off x="4064000" y="2772834"/>
            <a:ext cx="4064000" cy="392480"/>
          </a:xfrm>
          <a:prstGeom prst="rect">
            <a:avLst/>
          </a:prstGeom>
        </p:spPr>
        <p:txBody>
          <a:bodyPr/>
          <a:lstStyle>
            <a:lvl1pPr rtl="0">
              <a:defRPr>
                <a:solidFill>
                  <a:schemeClr val="tx1"/>
                </a:solidFill>
              </a:defRPr>
            </a:lvl1pPr>
          </a:lstStyle>
          <a:p>
            <a:r>
              <a:rPr lang="en-US"/>
              <a:t>Click icon to add picture</a:t>
            </a:r>
          </a:p>
        </p:txBody>
      </p:sp>
      <p:sp>
        <p:nvSpPr>
          <p:cNvPr id="8" name="Triangle 7">
            <a:extLst>
              <a:ext uri="{FF2B5EF4-FFF2-40B4-BE49-F238E27FC236}">
                <a16:creationId xmlns:a16="http://schemas.microsoft.com/office/drawing/2014/main" id="{EAB5410C-0EC5-894D-9939-7D4BDEA3A33B}"/>
              </a:ext>
            </a:extLst>
          </p:cNvPr>
          <p:cNvSpPr/>
          <p:nvPr userDrawn="1"/>
        </p:nvSpPr>
        <p:spPr>
          <a:xfrm rot="10800000">
            <a:off x="5698156" y="2772074"/>
            <a:ext cx="795688" cy="29163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solidFill>
                <a:schemeClr val="accent1"/>
              </a:solidFill>
            </a:endParaRPr>
          </a:p>
        </p:txBody>
      </p:sp>
      <p:sp>
        <p:nvSpPr>
          <p:cNvPr id="9" name="Title 4">
            <a:extLst>
              <a:ext uri="{FF2B5EF4-FFF2-40B4-BE49-F238E27FC236}">
                <a16:creationId xmlns:a16="http://schemas.microsoft.com/office/drawing/2014/main" id="{F2179386-8ECF-2247-89E5-B3685ECA1D57}"/>
              </a:ext>
            </a:extLst>
          </p:cNvPr>
          <p:cNvSpPr>
            <a:spLocks noGrp="1"/>
          </p:cNvSpPr>
          <p:nvPr>
            <p:ph type="title"/>
          </p:nvPr>
        </p:nvSpPr>
        <p:spPr>
          <a:xfrm>
            <a:off x="391599" y="705414"/>
            <a:ext cx="11408804" cy="631775"/>
          </a:xfrm>
          <a:prstGeom prst="rect">
            <a:avLst/>
          </a:prstGeom>
        </p:spPr>
        <p:txBody>
          <a:bodyPr vert="horz" anchor="ctr"/>
          <a:lstStyle>
            <a:lvl1pPr algn="ctr" rtl="0">
              <a:defRPr sz="3200" b="1">
                <a:solidFill>
                  <a:schemeClr val="accent2"/>
                </a:solidFill>
              </a:defRPr>
            </a:lvl1pPr>
          </a:lstStyle>
          <a:p>
            <a:r>
              <a:rPr lang="en-US"/>
              <a:t>Click to edit Master title style</a:t>
            </a:r>
          </a:p>
        </p:txBody>
      </p:sp>
      <p:sp>
        <p:nvSpPr>
          <p:cNvPr id="10" name="Text Placeholder 6">
            <a:extLst>
              <a:ext uri="{FF2B5EF4-FFF2-40B4-BE49-F238E27FC236}">
                <a16:creationId xmlns:a16="http://schemas.microsoft.com/office/drawing/2014/main" id="{DDFBDF62-760F-2942-909D-906703D9C63F}"/>
              </a:ext>
            </a:extLst>
          </p:cNvPr>
          <p:cNvSpPr>
            <a:spLocks noGrp="1"/>
          </p:cNvSpPr>
          <p:nvPr>
            <p:ph type="body" sz="quarter" idx="16" hasCustomPrompt="1"/>
          </p:nvPr>
        </p:nvSpPr>
        <p:spPr>
          <a:xfrm>
            <a:off x="391599" y="1408715"/>
            <a:ext cx="11408804" cy="478144"/>
          </a:xfrm>
          <a:prstGeom prst="rect">
            <a:avLst/>
          </a:prstGeom>
        </p:spPr>
        <p:txBody>
          <a:bodyPr anchor="ctr"/>
          <a:lstStyle>
            <a:lvl1pPr marL="0" indent="0" algn="ctr" rtl="0">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p>
        </p:txBody>
      </p:sp>
      <p:sp>
        <p:nvSpPr>
          <p:cNvPr id="11" name="Text Placeholder 6">
            <a:extLst>
              <a:ext uri="{FF2B5EF4-FFF2-40B4-BE49-F238E27FC236}">
                <a16:creationId xmlns:a16="http://schemas.microsoft.com/office/drawing/2014/main" id="{C3140292-BA2F-5F40-B51A-1F57E8E5304C}"/>
              </a:ext>
            </a:extLst>
          </p:cNvPr>
          <p:cNvSpPr>
            <a:spLocks noGrp="1"/>
          </p:cNvSpPr>
          <p:nvPr>
            <p:ph type="body" sz="quarter" idx="52"/>
          </p:nvPr>
        </p:nvSpPr>
        <p:spPr>
          <a:xfrm>
            <a:off x="539718" y="3598154"/>
            <a:ext cx="2707204" cy="720005"/>
          </a:xfrm>
          <a:prstGeom prst="rect">
            <a:avLst/>
          </a:prstGeom>
        </p:spPr>
        <p:txBody>
          <a:bodyPr/>
          <a:lstStyle>
            <a:lvl1pPr marL="0" indent="0" algn="l" rtl="0">
              <a:buNone/>
              <a:defRPr sz="1867" b="1">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
        <p:nvSpPr>
          <p:cNvPr id="12" name="Text Placeholder 6">
            <a:extLst>
              <a:ext uri="{FF2B5EF4-FFF2-40B4-BE49-F238E27FC236}">
                <a16:creationId xmlns:a16="http://schemas.microsoft.com/office/drawing/2014/main" id="{A1906DE7-FCBA-2C47-BF59-60B682EFAE70}"/>
              </a:ext>
            </a:extLst>
          </p:cNvPr>
          <p:cNvSpPr>
            <a:spLocks noGrp="1"/>
          </p:cNvSpPr>
          <p:nvPr>
            <p:ph type="body" sz="quarter" idx="72"/>
          </p:nvPr>
        </p:nvSpPr>
        <p:spPr>
          <a:xfrm>
            <a:off x="539718" y="4101559"/>
            <a:ext cx="2707188" cy="328231"/>
          </a:xfrm>
          <a:prstGeom prst="rect">
            <a:avLst/>
          </a:prstGeom>
        </p:spPr>
        <p:txBody>
          <a:bodyPr/>
          <a:lstStyle>
            <a:lvl1pPr marL="0" indent="0" algn="l" rtl="0">
              <a:buNone/>
              <a:defRPr sz="1467" b="0">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
        <p:nvSpPr>
          <p:cNvPr id="13" name="Text Placeholder 6">
            <a:extLst>
              <a:ext uri="{FF2B5EF4-FFF2-40B4-BE49-F238E27FC236}">
                <a16:creationId xmlns:a16="http://schemas.microsoft.com/office/drawing/2014/main" id="{703A3ACC-186F-804C-B70E-77B95DB72606}"/>
              </a:ext>
            </a:extLst>
          </p:cNvPr>
          <p:cNvSpPr>
            <a:spLocks noGrp="1"/>
          </p:cNvSpPr>
          <p:nvPr>
            <p:ph type="body" sz="quarter" idx="73"/>
          </p:nvPr>
        </p:nvSpPr>
        <p:spPr>
          <a:xfrm>
            <a:off x="4698887" y="3598154"/>
            <a:ext cx="2707204" cy="720005"/>
          </a:xfrm>
          <a:prstGeom prst="rect">
            <a:avLst/>
          </a:prstGeom>
        </p:spPr>
        <p:txBody>
          <a:bodyPr/>
          <a:lstStyle>
            <a:lvl1pPr marL="0" indent="0" algn="l" rtl="0">
              <a:buNone/>
              <a:defRPr sz="1867" b="1">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14" name="Text Placeholder 6">
            <a:extLst>
              <a:ext uri="{FF2B5EF4-FFF2-40B4-BE49-F238E27FC236}">
                <a16:creationId xmlns:a16="http://schemas.microsoft.com/office/drawing/2014/main" id="{89D664C2-EB15-B941-872E-C42459621D86}"/>
              </a:ext>
            </a:extLst>
          </p:cNvPr>
          <p:cNvSpPr>
            <a:spLocks noGrp="1"/>
          </p:cNvSpPr>
          <p:nvPr>
            <p:ph type="body" sz="quarter" idx="74"/>
          </p:nvPr>
        </p:nvSpPr>
        <p:spPr>
          <a:xfrm>
            <a:off x="4698887" y="4101559"/>
            <a:ext cx="2707188" cy="328231"/>
          </a:xfrm>
          <a:prstGeom prst="rect">
            <a:avLst/>
          </a:prstGeom>
        </p:spPr>
        <p:txBody>
          <a:bodyPr/>
          <a:lstStyle>
            <a:lvl1pPr marL="0" indent="0" algn="l" rtl="0">
              <a:buNone/>
              <a:defRPr sz="1467" b="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15" name="Text Placeholder 6">
            <a:extLst>
              <a:ext uri="{FF2B5EF4-FFF2-40B4-BE49-F238E27FC236}">
                <a16:creationId xmlns:a16="http://schemas.microsoft.com/office/drawing/2014/main" id="{6DE93A4A-D0D5-DC49-87BA-D7EEFBB11F57}"/>
              </a:ext>
            </a:extLst>
          </p:cNvPr>
          <p:cNvSpPr>
            <a:spLocks noGrp="1"/>
          </p:cNvSpPr>
          <p:nvPr>
            <p:ph type="body" sz="quarter" idx="75"/>
          </p:nvPr>
        </p:nvSpPr>
        <p:spPr>
          <a:xfrm>
            <a:off x="8811758" y="3598154"/>
            <a:ext cx="2707204" cy="720005"/>
          </a:xfrm>
          <a:prstGeom prst="rect">
            <a:avLst/>
          </a:prstGeom>
        </p:spPr>
        <p:txBody>
          <a:bodyPr/>
          <a:lstStyle>
            <a:lvl1pPr marL="0" indent="0" algn="l" rtl="0">
              <a:buNone/>
              <a:defRPr sz="1867" b="1">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
        <p:nvSpPr>
          <p:cNvPr id="16" name="Text Placeholder 6">
            <a:extLst>
              <a:ext uri="{FF2B5EF4-FFF2-40B4-BE49-F238E27FC236}">
                <a16:creationId xmlns:a16="http://schemas.microsoft.com/office/drawing/2014/main" id="{6FE70091-2CA3-B04B-AA23-9D30A96917CE}"/>
              </a:ext>
            </a:extLst>
          </p:cNvPr>
          <p:cNvSpPr>
            <a:spLocks noGrp="1"/>
          </p:cNvSpPr>
          <p:nvPr>
            <p:ph type="body" sz="quarter" idx="76"/>
          </p:nvPr>
        </p:nvSpPr>
        <p:spPr>
          <a:xfrm>
            <a:off x="8811758" y="4101559"/>
            <a:ext cx="2707188" cy="328231"/>
          </a:xfrm>
          <a:prstGeom prst="rect">
            <a:avLst/>
          </a:prstGeom>
        </p:spPr>
        <p:txBody>
          <a:bodyPr/>
          <a:lstStyle>
            <a:lvl1pPr marL="0" indent="0" algn="l" rtl="0">
              <a:buNone/>
              <a:defRPr sz="1467" b="0">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Tree>
    <p:extLst>
      <p:ext uri="{BB962C8B-B14F-4D97-AF65-F5344CB8AC3E}">
        <p14:creationId xmlns:p14="http://schemas.microsoft.com/office/powerpoint/2010/main" val="239095388"/>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9"/>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3"/>
          </a:xfrm>
        </p:spPr>
        <p:txBody>
          <a:bodyPr wrap="square">
            <a:spAutoFit/>
          </a:bodyPr>
          <a:lstStyle>
            <a:lvl1pPr marL="176176" indent="-176176">
              <a:defRPr lang="en-US" sz="2000" dirty="0"/>
            </a:lvl1pPr>
            <a:lvl2pPr marL="322193" indent="-150780">
              <a:defRPr lang="en-US" sz="1800" dirty="0"/>
            </a:lvl2pPr>
            <a:lvl3pPr marL="466624" indent="-138083">
              <a:defRPr lang="en-US" dirty="0"/>
            </a:lvl3pPr>
            <a:lvl4pPr marL="595184" indent="-128559">
              <a:defRPr lang="en-US" dirty="0"/>
            </a:lvl4pPr>
            <a:lvl5pPr marL="731680" indent="-12221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3"/>
          </a:xfrm>
        </p:spPr>
        <p:txBody>
          <a:bodyPr wrap="square">
            <a:spAutoFit/>
          </a:bodyPr>
          <a:lstStyle>
            <a:lvl1pPr marL="176176" indent="-176176">
              <a:defRPr lang="en-US" sz="2000" dirty="0"/>
            </a:lvl1pPr>
            <a:lvl2pPr marL="398377" indent="-169826">
              <a:defRPr lang="en-US" sz="1800" dirty="0"/>
            </a:lvl2pPr>
            <a:lvl3pPr marL="555505" indent="-157129">
              <a:defRPr lang="en-US" dirty="0"/>
            </a:lvl3pPr>
            <a:lvl4pPr marL="685651" indent="-136495">
              <a:defRPr lang="en-US" dirty="0"/>
            </a:lvl4pPr>
            <a:lvl5pPr marL="799927" indent="-1111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3"/>
          </a:xfrm>
        </p:spPr>
        <p:txBody>
          <a:bodyPr wrap="square">
            <a:spAutoFit/>
          </a:bodyPr>
          <a:lstStyle>
            <a:lvl1pPr marL="176176" indent="-176176">
              <a:defRPr lang="en-US" sz="2000" dirty="0"/>
            </a:lvl1pPr>
            <a:lvl2pPr marL="398377" indent="-169826">
              <a:defRPr lang="en-US" sz="1800" dirty="0"/>
            </a:lvl2pPr>
            <a:lvl3pPr marL="555505" indent="-157129">
              <a:defRPr lang="en-US" dirty="0"/>
            </a:lvl3pPr>
            <a:lvl4pPr marL="685651" indent="-136495">
              <a:defRPr lang="en-US" dirty="0"/>
            </a:lvl4pPr>
            <a:lvl5pPr marL="799927" indent="-1111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4042026"/>
      </p:ext>
    </p:extLst>
  </p:cSld>
  <p:clrMapOvr>
    <a:masterClrMapping/>
  </p:clrMapOvr>
  <p:transition>
    <p:fade/>
  </p:transition>
  <p:hf hdr="0" ftr="0" dt="0"/>
  <p:extLst>
    <p:ext uri="{DCECCB84-F9BA-43D5-87BE-67443E8EF086}">
      <p15:sldGuideLst xmlns:p15="http://schemas.microsoft.com/office/powerpoint/2012/main">
        <p15:guide id="3" orient="horz" pos="1130">
          <p15:clr>
            <a:srgbClr val="5ACBF0"/>
          </p15:clr>
        </p15:guide>
        <p15:guide id="4" orient="horz" pos="680">
          <p15:clr>
            <a:srgbClr val="5ACBF0"/>
          </p15:clr>
        </p15:guide>
        <p15:guide id="5" orient="horz" pos="216">
          <p15:clr>
            <a:srgbClr val="5ACBF0"/>
          </p15:clr>
        </p15:guide>
        <p15:guide id="6" pos="1823">
          <p15:clr>
            <a:srgbClr val="5ACBF0"/>
          </p15:clr>
        </p15:guide>
        <p15:guide id="7" pos="2108">
          <p15:clr>
            <a:srgbClr val="5ACBF0"/>
          </p15:clr>
        </p15:guide>
        <p15:guide id="8" pos="3653">
          <p15:clr>
            <a:srgbClr val="5ACBF0"/>
          </p15:clr>
        </p15:guide>
        <p15:guide id="9" pos="393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9"/>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8"/>
            <a:ext cx="2532063" cy="1698927"/>
          </a:xfrm>
        </p:spPr>
        <p:txBody>
          <a:bodyPr wrap="square">
            <a:spAutoFit/>
          </a:bodyPr>
          <a:lstStyle>
            <a:lvl1pPr marL="141258" indent="-141258">
              <a:defRPr lang="en-US" sz="1800" dirty="0"/>
            </a:lvl1pPr>
            <a:lvl2pPr marL="285688" indent="-125386">
              <a:defRPr lang="en-US" sz="1600" dirty="0"/>
            </a:lvl2pPr>
            <a:lvl3pPr marL="438056" indent="-133322">
              <a:defRPr lang="en-US" dirty="0"/>
            </a:lvl3pPr>
            <a:lvl4pPr marL="566615" indent="-114276">
              <a:defRPr lang="en-US" dirty="0"/>
            </a:lvl4pPr>
            <a:lvl5pPr marL="685651" indent="-1095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7" y="2276477"/>
            <a:ext cx="2532063" cy="1698927"/>
          </a:xfrm>
        </p:spPr>
        <p:txBody>
          <a:bodyPr wrap="square">
            <a:spAutoFit/>
          </a:bodyPr>
          <a:lstStyle>
            <a:lvl1pPr marL="141258" indent="-141258">
              <a:defRPr lang="en-US" sz="1800" dirty="0"/>
            </a:lvl1pPr>
            <a:lvl2pPr marL="285688" indent="-125386">
              <a:defRPr lang="en-US" sz="1600" dirty="0"/>
            </a:lvl2pPr>
            <a:lvl3pPr marL="438056" indent="-133322">
              <a:defRPr lang="en-US" dirty="0"/>
            </a:lvl3pPr>
            <a:lvl4pPr marL="566615" indent="-114276">
              <a:defRPr lang="en-US" dirty="0"/>
            </a:lvl4pPr>
            <a:lvl5pPr marL="685651" indent="-1095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8"/>
            <a:ext cx="2532063" cy="1698927"/>
          </a:xfrm>
        </p:spPr>
        <p:txBody>
          <a:bodyPr wrap="square">
            <a:spAutoFit/>
          </a:bodyPr>
          <a:lstStyle>
            <a:lvl1pPr marL="141258" indent="-141258">
              <a:defRPr lang="en-US" sz="1800" dirty="0"/>
            </a:lvl1pPr>
            <a:lvl2pPr marL="285688" indent="-125386">
              <a:defRPr lang="en-US" sz="1600" dirty="0"/>
            </a:lvl2pPr>
            <a:lvl3pPr marL="438056" indent="-133322">
              <a:defRPr lang="en-US" dirty="0"/>
            </a:lvl3pPr>
            <a:lvl4pPr marL="566615" indent="-114276">
              <a:defRPr lang="en-US" dirty="0"/>
            </a:lvl4pPr>
            <a:lvl5pPr marL="685651" indent="-1095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7"/>
            <a:ext cx="2532063" cy="1698927"/>
          </a:xfrm>
        </p:spPr>
        <p:txBody>
          <a:bodyPr wrap="square">
            <a:spAutoFit/>
          </a:bodyPr>
          <a:lstStyle>
            <a:lvl1pPr marL="141258" indent="-141258">
              <a:defRPr lang="en-US" sz="1800" dirty="0"/>
            </a:lvl1pPr>
            <a:lvl2pPr marL="285688" indent="-125386">
              <a:defRPr lang="en-US" sz="1600" dirty="0"/>
            </a:lvl2pPr>
            <a:lvl3pPr marL="438056" indent="-133322">
              <a:defRPr lang="en-US" dirty="0"/>
            </a:lvl3pPr>
            <a:lvl4pPr marL="566615" indent="-114276">
              <a:defRPr lang="en-US" dirty="0"/>
            </a:lvl4pPr>
            <a:lvl5pPr marL="685651" indent="-1095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4568"/>
      </p:ext>
    </p:extLst>
  </p:cSld>
  <p:clrMapOvr>
    <a:masterClrMapping/>
  </p:clrMapOvr>
  <p:transition>
    <p:fade/>
  </p:transition>
  <p:hf hdr="0" ftr="0" dt="0"/>
  <p:extLst>
    <p:ext uri="{DCECCB84-F9BA-43D5-87BE-67443E8EF086}">
      <p15:sldGuideLst xmlns:p15="http://schemas.microsoft.com/office/powerpoint/2012/main">
        <p15:guide id="4" orient="horz" pos="680">
          <p15:clr>
            <a:srgbClr val="5ACBF0"/>
          </p15:clr>
        </p15:guide>
        <p15:guide id="5" orient="horz" pos="216">
          <p15:clr>
            <a:srgbClr val="5ACBF0"/>
          </p15:clr>
        </p15:guide>
        <p15:guide id="6" pos="1472">
          <p15:clr>
            <a:srgbClr val="5ACBF0"/>
          </p15:clr>
        </p15:guide>
        <p15:guide id="7" pos="1613">
          <p15:clr>
            <a:srgbClr val="5ACBF0"/>
          </p15:clr>
        </p15:guide>
        <p15:guide id="8" pos="2810">
          <p15:clr>
            <a:srgbClr val="5ACBF0"/>
          </p15:clr>
        </p15:guide>
        <p15:guide id="9" pos="2951">
          <p15:clr>
            <a:srgbClr val="5ACBF0"/>
          </p15:clr>
        </p15:guide>
        <p15:guide id="10" pos="4148">
          <p15:clr>
            <a:srgbClr val="5ACBF0"/>
          </p15:clr>
        </p15:guide>
        <p15:guide id="11" pos="4287">
          <p15:clr>
            <a:srgbClr val="5ACBF0"/>
          </p15:clr>
        </p15:guide>
        <p15:guide id="12" orient="horz" pos="1077">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9"/>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58" indent="-141258">
              <a:defRPr lang="en-US" sz="1500" dirty="0"/>
            </a:lvl1pPr>
            <a:lvl2pPr marL="285688" indent="-125386">
              <a:defRPr lang="en-US" sz="1400" dirty="0"/>
            </a:lvl2pPr>
            <a:lvl3pPr marL="438056" indent="-133322">
              <a:defRPr lang="en-US" sz="1400" dirty="0"/>
            </a:lvl3pPr>
            <a:lvl4pPr marL="566615" indent="-114276">
              <a:defRPr lang="en-US" sz="1200" dirty="0"/>
            </a:lvl4pPr>
            <a:lvl5pPr marL="685651" indent="-10951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58" indent="-141258">
              <a:defRPr lang="en-US" sz="1500" dirty="0"/>
            </a:lvl1pPr>
            <a:lvl2pPr marL="285688" indent="-125386">
              <a:defRPr lang="en-US" sz="1400" dirty="0"/>
            </a:lvl2pPr>
            <a:lvl3pPr marL="438056" indent="-133322">
              <a:defRPr lang="en-US" sz="1400" dirty="0"/>
            </a:lvl3pPr>
            <a:lvl4pPr marL="566615" indent="-114276">
              <a:defRPr lang="en-US" sz="1200" dirty="0"/>
            </a:lvl4pPr>
            <a:lvl5pPr marL="685651" indent="-10951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7"/>
            <a:ext cx="1965960" cy="1452705"/>
          </a:xfrm>
        </p:spPr>
        <p:txBody>
          <a:bodyPr wrap="square">
            <a:spAutoFit/>
          </a:bodyPr>
          <a:lstStyle>
            <a:lvl1pPr marL="141258" indent="-141258">
              <a:defRPr lang="en-US" sz="1500" dirty="0"/>
            </a:lvl1pPr>
            <a:lvl2pPr marL="285688" indent="-125386">
              <a:defRPr lang="en-US" sz="1400" dirty="0"/>
            </a:lvl2pPr>
            <a:lvl3pPr marL="438056" indent="-133322">
              <a:defRPr lang="en-US" sz="1400" dirty="0"/>
            </a:lvl3pPr>
            <a:lvl4pPr marL="566615" indent="-114276">
              <a:defRPr lang="en-US" sz="1200" dirty="0"/>
            </a:lvl4pPr>
            <a:lvl5pPr marL="685651" indent="-10951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58" indent="-141258">
              <a:defRPr lang="en-US" sz="1500" dirty="0"/>
            </a:lvl1pPr>
            <a:lvl2pPr marL="285688" indent="-125386">
              <a:defRPr lang="en-US" sz="1400" dirty="0"/>
            </a:lvl2pPr>
            <a:lvl3pPr marL="438056" indent="-133322">
              <a:defRPr lang="en-US" sz="1400" dirty="0"/>
            </a:lvl3pPr>
            <a:lvl4pPr marL="566615" indent="-114276">
              <a:defRPr lang="en-US" sz="1200" dirty="0"/>
            </a:lvl4pPr>
            <a:lvl5pPr marL="685651" indent="-10951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58" indent="-141258">
              <a:defRPr lang="en-US" sz="1500" dirty="0"/>
            </a:lvl1pPr>
            <a:lvl2pPr marL="285688" indent="-125386">
              <a:defRPr lang="en-US" sz="1400" dirty="0"/>
            </a:lvl2pPr>
            <a:lvl3pPr marL="438056" indent="-133322">
              <a:defRPr lang="en-US" sz="1400" dirty="0"/>
            </a:lvl3pPr>
            <a:lvl4pPr marL="566615" indent="-114276">
              <a:defRPr lang="en-US" sz="1200" dirty="0"/>
            </a:lvl4pPr>
            <a:lvl5pPr marL="685651" indent="-10951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1753498"/>
      </p:ext>
    </p:extLst>
  </p:cSld>
  <p:clrMapOvr>
    <a:masterClrMapping/>
  </p:clrMapOvr>
  <p:transition>
    <p:fade/>
  </p:transition>
  <p:hf hdr="0" ftr="0" dt="0"/>
  <p:extLst>
    <p:ext uri="{DCECCB84-F9BA-43D5-87BE-67443E8EF086}">
      <p15:sldGuideLst xmlns:p15="http://schemas.microsoft.com/office/powerpoint/2012/main">
        <p15:guide id="4" orient="horz" pos="680">
          <p15:clr>
            <a:srgbClr val="5ACBF0"/>
          </p15:clr>
        </p15:guide>
        <p15:guide id="5" orient="horz" pos="216">
          <p15:clr>
            <a:srgbClr val="5ACBF0"/>
          </p15:clr>
        </p15:guide>
        <p15:guide id="6" pos="1208">
          <p15:clr>
            <a:srgbClr val="5ACBF0"/>
          </p15:clr>
        </p15:guide>
        <p15:guide id="7" pos="1346">
          <p15:clr>
            <a:srgbClr val="5ACBF0"/>
          </p15:clr>
        </p15:guide>
        <p15:guide id="8" pos="2276">
          <p15:clr>
            <a:srgbClr val="5ACBF0"/>
          </p15:clr>
        </p15:guide>
        <p15:guide id="9" pos="2416">
          <p15:clr>
            <a:srgbClr val="5ACBF0"/>
          </p15:clr>
        </p15:guide>
        <p15:guide id="10" pos="3346">
          <p15:clr>
            <a:srgbClr val="5ACBF0"/>
          </p15:clr>
        </p15:guide>
        <p15:guide id="11" pos="4418">
          <p15:clr>
            <a:srgbClr val="5ACBF0"/>
          </p15:clr>
        </p15:guide>
        <p15:guide id="12" orient="horz" pos="1077">
          <p15:clr>
            <a:srgbClr val="5ACBF0"/>
          </p15:clr>
        </p15:guide>
        <p15:guide id="13" pos="3485">
          <p15:clr>
            <a:srgbClr val="5ACBF0"/>
          </p15:clr>
        </p15:guide>
        <p15:guide id="14" pos="455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sz="3529">
                <a:solidFill>
                  <a:schemeClr val="tx1"/>
                </a:solidFill>
              </a:defRPr>
            </a:lvl1pPr>
          </a:lstStyle>
          <a:p>
            <a:r>
              <a:rPr lang="en-US"/>
              <a:t>Click to edit Master title style</a:t>
            </a:r>
          </a:p>
        </p:txBody>
      </p:sp>
    </p:spTree>
    <p:extLst>
      <p:ext uri="{BB962C8B-B14F-4D97-AF65-F5344CB8AC3E}">
        <p14:creationId xmlns:p14="http://schemas.microsoft.com/office/powerpoint/2010/main" val="3393855110"/>
      </p:ext>
    </p:extLst>
  </p:cSld>
  <p:clrMapOvr>
    <a:masterClrMapping/>
  </p:clrMapOvr>
  <p:transition>
    <p:fade/>
  </p:transition>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66">
          <p15:clr>
            <a:srgbClr val="A4A3A4"/>
          </p15:clr>
        </p15:guide>
        <p15:guide id="15" pos="2504">
          <p15:clr>
            <a:srgbClr val="A4A3A4"/>
          </p15:clr>
        </p15:guide>
        <p15:guide id="16" pos="2812">
          <p15:clr>
            <a:srgbClr val="A4A3A4"/>
          </p15:clr>
        </p15:guide>
        <p15:guide id="17" pos="2949">
          <p15:clr>
            <a:srgbClr val="A4A3A4"/>
          </p15:clr>
        </p15:guide>
        <p15:guide id="18" pos="3257">
          <p15:clr>
            <a:srgbClr val="A4A3A4"/>
          </p15:clr>
        </p15:guide>
        <p15:guide id="19" pos="3395">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28" orient="horz" pos="679">
          <p15:clr>
            <a:srgbClr val="5ACBF0"/>
          </p15:clr>
        </p15:guide>
        <p15:guide id="29" orient="horz" pos="953">
          <p15:clr>
            <a:srgbClr val="5ACBF0"/>
          </p15:clr>
        </p15:guide>
        <p15:guide id="30" orient="horz" pos="21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787478" y="457201"/>
            <a:ext cx="10785060" cy="553999"/>
          </a:xfrm>
        </p:spPr>
        <p:txBody>
          <a:bodyPr/>
          <a:lstStyle>
            <a:lvl1pPr>
              <a:defRPr sz="3529">
                <a:solidFill>
                  <a:schemeClr val="bg1"/>
                </a:solidFill>
              </a:defRPr>
            </a:lvl1pPr>
          </a:lstStyle>
          <a:p>
            <a:r>
              <a:rPr lang="en-US"/>
              <a:t>Click to edit Master title style</a:t>
            </a:r>
          </a:p>
        </p:txBody>
      </p:sp>
      <p:pic>
        <p:nvPicPr>
          <p:cNvPr id="5"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FE3BE79-0868-4557-A7B2-BB6D9D4636D4}"/>
              </a:ext>
              <a:ext uri="{C183D7F6-B498-43B3-948B-1728B52AA6E4}">
                <adec:decorative xmlns:adec="http://schemas.microsoft.com/office/drawing/2017/decorative" val="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762"/>
          <a:stretch/>
        </p:blipFill>
        <p:spPr>
          <a:xfrm rot="5400000">
            <a:off x="9509761" y="2843775"/>
            <a:ext cx="6858000" cy="1170455"/>
          </a:xfrm>
          <a:prstGeom prst="rect">
            <a:avLst/>
          </a:prstGeom>
        </p:spPr>
      </p:pic>
      <p:sp>
        <p:nvSpPr>
          <p:cNvPr id="6" name="Rectangle 5">
            <a:extLst>
              <a:ext uri="{FF2B5EF4-FFF2-40B4-BE49-F238E27FC236}">
                <a16:creationId xmlns:a16="http://schemas.microsoft.com/office/drawing/2014/main" id="{6BE0B4B9-88BC-4D40-8D9D-7901442D8C1F}"/>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bg1"/>
                </a:solidFill>
                <a:latin typeface="+mn-lt"/>
              </a:rPr>
              <a:t>Microsoft Confidential</a:t>
            </a:r>
          </a:p>
        </p:txBody>
      </p:sp>
      <p:sp>
        <p:nvSpPr>
          <p:cNvPr id="7" name="TextBox 6">
            <a:extLst>
              <a:ext uri="{FF2B5EF4-FFF2-40B4-BE49-F238E27FC236}">
                <a16:creationId xmlns:a16="http://schemas.microsoft.com/office/drawing/2014/main" id="{9EC06F1F-B370-415E-832C-0E42533E0A90}"/>
              </a:ext>
            </a:extLst>
          </p:cNvPr>
          <p:cNvSpPr txBox="1"/>
          <p:nvPr userDrawn="1"/>
        </p:nvSpPr>
        <p:spPr>
          <a:xfrm>
            <a:off x="11150458" y="6566765"/>
            <a:ext cx="692980" cy="199137"/>
          </a:xfrm>
          <a:prstGeom prst="rect">
            <a:avLst/>
          </a:prstGeom>
          <a:noFill/>
        </p:spPr>
        <p:txBody>
          <a:bodyPr wrap="square" lIns="89643" tIns="44821" rIns="89643" bIns="44821" rtlCol="0">
            <a:spAutoFit/>
          </a:bodyPr>
          <a:lstStyle/>
          <a:p>
            <a:pPr algn="r">
              <a:lnSpc>
                <a:spcPct val="90000"/>
              </a:lnSpc>
              <a:spcAft>
                <a:spcPts val="588"/>
              </a:spcAft>
            </a:pPr>
            <a:fld id="{3DA26F53-CA3B-48BD-A137-4C085F1D962F}" type="slidenum">
              <a:rPr lang="en-US" sz="784" smtClean="0">
                <a:solidFill>
                  <a:schemeClr val="bg1"/>
                </a:solidFill>
              </a:rPr>
              <a:pPr algn="r">
                <a:lnSpc>
                  <a:spcPct val="90000"/>
                </a:lnSpc>
                <a:spcAft>
                  <a:spcPts val="588"/>
                </a:spcAft>
              </a:pPr>
              <a:t>‹N°›</a:t>
            </a:fld>
            <a:endParaRPr lang="en-US" sz="784">
              <a:solidFill>
                <a:schemeClr val="bg1"/>
              </a:solidFill>
            </a:endParaRPr>
          </a:p>
        </p:txBody>
      </p:sp>
    </p:spTree>
    <p:extLst>
      <p:ext uri="{BB962C8B-B14F-4D97-AF65-F5344CB8AC3E}">
        <p14:creationId xmlns:p14="http://schemas.microsoft.com/office/powerpoint/2010/main" val="2133741494"/>
      </p:ext>
    </p:extLst>
  </p:cSld>
  <p:clrMapOvr>
    <a:masterClrMapping/>
  </p:clrMapOvr>
  <p:transition>
    <p:fade/>
  </p:transition>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66">
          <p15:clr>
            <a:srgbClr val="A4A3A4"/>
          </p15:clr>
        </p15:guide>
        <p15:guide id="15" pos="2504">
          <p15:clr>
            <a:srgbClr val="A4A3A4"/>
          </p15:clr>
        </p15:guide>
        <p15:guide id="16" pos="2812">
          <p15:clr>
            <a:srgbClr val="A4A3A4"/>
          </p15:clr>
        </p15:guide>
        <p15:guide id="17" pos="2949">
          <p15:clr>
            <a:srgbClr val="A4A3A4"/>
          </p15:clr>
        </p15:guide>
        <p15:guide id="18" pos="3257">
          <p15:clr>
            <a:srgbClr val="A4A3A4"/>
          </p15:clr>
        </p15:guide>
        <p15:guide id="19" pos="3395">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28" orient="horz" pos="679">
          <p15:clr>
            <a:srgbClr val="5ACBF0"/>
          </p15:clr>
        </p15:guide>
        <p15:guide id="29" orient="horz" pos="953">
          <p15:clr>
            <a:srgbClr val="5ACBF0"/>
          </p15:clr>
        </p15:guide>
        <p15:guide id="30" orient="horz" pos="21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6" y="2875003"/>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496837245"/>
      </p:ext>
    </p:extLst>
  </p:cSld>
  <p:clrMapOvr>
    <a:masterClrMapping/>
  </p:clrMapOvr>
  <p:transition>
    <p:fade/>
  </p:transition>
  <p:hf hdr="0" ftr="0" dt="0"/>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66">
          <p15:clr>
            <a:srgbClr val="A4A3A4"/>
          </p15:clr>
        </p15:guide>
        <p15:guide id="16" pos="2812">
          <p15:clr>
            <a:srgbClr val="A4A3A4"/>
          </p15:clr>
        </p15:guide>
        <p15:guide id="17" pos="2949">
          <p15:clr>
            <a:srgbClr val="A4A3A4"/>
          </p15:clr>
        </p15:guide>
        <p15:guide id="18" pos="3257">
          <p15:clr>
            <a:srgbClr val="A4A3A4"/>
          </p15:clr>
        </p15:guide>
        <p15:guide id="19" pos="3395">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30" orient="horz" pos="216">
          <p15:clr>
            <a:srgbClr val="5ACBF0"/>
          </p15:clr>
        </p15:guide>
        <p15:guide id="32" orient="horz" pos="1620">
          <p15:clr>
            <a:srgbClr val="5ACBF0"/>
          </p15:clr>
        </p15:guide>
        <p15:guide id="33" pos="2232">
          <p15:clr>
            <a:srgbClr val="5ACBF0"/>
          </p15:clr>
        </p15:guide>
        <p15:guide id="34" pos="250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68599496"/>
      </p:ext>
    </p:extLst>
  </p:cSld>
  <p:clrMapOvr>
    <a:masterClrMapping/>
  </p:clrMapOvr>
  <p:transition>
    <p:fade/>
  </p:transition>
  <p:hf hdr="0" ftr="0" dt="0"/>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66">
          <p15:clr>
            <a:srgbClr val="A4A3A4"/>
          </p15:clr>
        </p15:guide>
        <p15:guide id="15" pos="2514">
          <p15:clr>
            <a:srgbClr val="A4A3A4"/>
          </p15:clr>
        </p15:guide>
        <p15:guide id="16" pos="2812">
          <p15:clr>
            <a:srgbClr val="A4A3A4"/>
          </p15:clr>
        </p15:guide>
        <p15:guide id="17" pos="2949">
          <p15:clr>
            <a:srgbClr val="A4A3A4"/>
          </p15:clr>
        </p15:guide>
        <p15:guide id="18" pos="3257">
          <p15:clr>
            <a:srgbClr val="A4A3A4"/>
          </p15:clr>
        </p15:guide>
        <p15:guide id="19" pos="3395">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28" orient="horz" pos="679">
          <p15:clr>
            <a:srgbClr val="5ACBF0"/>
          </p15:clr>
        </p15:guide>
        <p15:guide id="29" orient="horz" pos="953">
          <p15:clr>
            <a:srgbClr val="5ACBF0"/>
          </p15:clr>
        </p15:guide>
        <p15:guide id="30" orient="horz" pos="216">
          <p15:clr>
            <a:srgbClr val="5ACBF0"/>
          </p15:clr>
        </p15:guide>
        <p15:guide id="31" pos="288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1"/>
            <a:ext cx="11018520" cy="553999"/>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1" y="1436689"/>
            <a:ext cx="1595439" cy="581025"/>
          </a:xfrm>
          <a:prstGeom prst="rect">
            <a:avLst/>
          </a:prstGeom>
          <a:noFill/>
        </p:spPr>
        <p:txBody>
          <a:bodyPr wrap="square" lIns="89988"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9"/>
            <a:ext cx="1595439" cy="581025"/>
          </a:xfrm>
          <a:prstGeom prst="rect">
            <a:avLst/>
          </a:prstGeom>
          <a:noFill/>
        </p:spPr>
        <p:txBody>
          <a:bodyPr wrap="square" lIns="89988"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9" y="1436689"/>
            <a:ext cx="1595439" cy="581025"/>
          </a:xfrm>
          <a:prstGeom prst="rect">
            <a:avLst/>
          </a:prstGeom>
          <a:noFill/>
        </p:spPr>
        <p:txBody>
          <a:bodyPr wrap="square" lIns="89988"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7" y="1436689"/>
            <a:ext cx="1595439" cy="581025"/>
          </a:xfrm>
          <a:prstGeom prst="rect">
            <a:avLst/>
          </a:prstGeom>
          <a:noFill/>
        </p:spPr>
        <p:txBody>
          <a:bodyPr wrap="square" lIns="89988"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9"/>
            <a:ext cx="1592263" cy="581025"/>
          </a:xfrm>
          <a:prstGeom prst="rect">
            <a:avLst/>
          </a:prstGeom>
          <a:noFill/>
        </p:spPr>
        <p:txBody>
          <a:bodyPr wrap="square" lIns="89988"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9"/>
            <a:ext cx="1595439" cy="581025"/>
          </a:xfrm>
          <a:prstGeom prst="rect">
            <a:avLst/>
          </a:prstGeom>
          <a:noFill/>
        </p:spPr>
        <p:txBody>
          <a:bodyPr wrap="square" lIns="89988"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1" y="3789365"/>
            <a:ext cx="1595439" cy="581025"/>
          </a:xfrm>
          <a:prstGeom prst="rect">
            <a:avLst/>
          </a:prstGeom>
          <a:noFill/>
        </p:spPr>
        <p:txBody>
          <a:bodyPr wrap="square" lIns="89988"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5"/>
            <a:ext cx="1595439" cy="581025"/>
          </a:xfrm>
          <a:prstGeom prst="rect">
            <a:avLst/>
          </a:prstGeom>
          <a:noFill/>
        </p:spPr>
        <p:txBody>
          <a:bodyPr wrap="square" lIns="89988"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9" y="3789365"/>
            <a:ext cx="1595439" cy="581025"/>
          </a:xfrm>
          <a:prstGeom prst="rect">
            <a:avLst/>
          </a:prstGeom>
          <a:noFill/>
        </p:spPr>
        <p:txBody>
          <a:bodyPr wrap="square" lIns="89988"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7" y="3789365"/>
            <a:ext cx="1595439" cy="581025"/>
          </a:xfrm>
          <a:prstGeom prst="rect">
            <a:avLst/>
          </a:prstGeom>
          <a:noFill/>
        </p:spPr>
        <p:txBody>
          <a:bodyPr wrap="square" lIns="89988"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5"/>
            <a:ext cx="1592263" cy="581025"/>
          </a:xfrm>
          <a:prstGeom prst="rect">
            <a:avLst/>
          </a:prstGeom>
          <a:noFill/>
        </p:spPr>
        <p:txBody>
          <a:bodyPr wrap="square" lIns="89988"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5"/>
            <a:ext cx="1595439" cy="581025"/>
          </a:xfrm>
          <a:prstGeom prst="rect">
            <a:avLst/>
          </a:prstGeom>
          <a:noFill/>
        </p:spPr>
        <p:txBody>
          <a:bodyPr wrap="square" lIns="89988"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1"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2" y="2137144"/>
            <a:ext cx="160337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5" y="2137144"/>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2" y="2137144"/>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1"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2" y="4509121"/>
            <a:ext cx="160337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5" y="4509121"/>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2" y="4509121"/>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1"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1"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8" y="2015240"/>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6"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1"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1"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8" y="4362631"/>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6"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143674"/>
      </p:ext>
    </p:extLst>
  </p:cSld>
  <p:clrMapOvr>
    <a:masterClrMapping/>
  </p:clrMapOvr>
  <p:transition>
    <p:fade/>
  </p:transition>
  <p:hf hdr="0" ftr="0" dt="0"/>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71">
          <p15:clr>
            <a:srgbClr val="A4A3A4"/>
          </p15:clr>
        </p15:guide>
        <p15:guide id="15" pos="2511">
          <p15:clr>
            <a:srgbClr val="A4A3A4"/>
          </p15:clr>
        </p15:guide>
        <p15:guide id="16" pos="2816">
          <p15:clr>
            <a:srgbClr val="A4A3A4"/>
          </p15:clr>
        </p15:guide>
        <p15:guide id="17" pos="2948">
          <p15:clr>
            <a:srgbClr val="A4A3A4"/>
          </p15:clr>
        </p15:guide>
        <p15:guide id="18" pos="3257">
          <p15:clr>
            <a:srgbClr val="A4A3A4"/>
          </p15:clr>
        </p15:guide>
        <p15:guide id="19" pos="3398">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28" orient="horz" pos="679">
          <p15:clr>
            <a:srgbClr val="5ACBF0"/>
          </p15:clr>
        </p15:guide>
        <p15:guide id="29" orient="horz" pos="953">
          <p15:clr>
            <a:srgbClr val="5ACBF0"/>
          </p15:clr>
        </p15:guide>
        <p15:guide id="30" orient="horz" pos="216">
          <p15:clr>
            <a:srgbClr val="5ACBF0"/>
          </p15:clr>
        </p15:guide>
        <p15:guide id="31" orient="horz" pos="1790">
          <p15:clr>
            <a:srgbClr val="FBAE40"/>
          </p15:clr>
        </p15:guide>
        <p15:guide id="32" orient="horz" pos="2063">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1"/>
            <a:ext cx="11018520" cy="553999"/>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1" y="1436689"/>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9"/>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9" y="1436689"/>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7" y="1436689"/>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9"/>
            <a:ext cx="1592263" cy="581025"/>
          </a:xfrm>
          <a:prstGeom prst="rect">
            <a:avLst/>
          </a:prstGeom>
          <a:noFill/>
        </p:spPr>
        <p:txBody>
          <a:bodyPr wrap="square" lIns="89988"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9"/>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1" y="3789365"/>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5"/>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9" y="3789365"/>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7" y="3789365"/>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5"/>
            <a:ext cx="1592263" cy="581025"/>
          </a:xfrm>
          <a:prstGeom prst="rect">
            <a:avLst/>
          </a:prstGeom>
          <a:noFill/>
        </p:spPr>
        <p:txBody>
          <a:bodyPr wrap="square" lIns="89988"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5"/>
            <a:ext cx="1595439" cy="581025"/>
          </a:xfrm>
          <a:prstGeom prst="rect">
            <a:avLst/>
          </a:prstGeom>
          <a:noFill/>
        </p:spPr>
        <p:txBody>
          <a:bodyPr wrap="square" lIns="89988"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1"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2" y="2137144"/>
            <a:ext cx="160337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5" y="2137144"/>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2" y="2137144"/>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1"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2" y="4509121"/>
            <a:ext cx="160337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5" y="4509121"/>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2" y="4509121"/>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1"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1"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8" y="2015240"/>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6"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1"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1"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8" y="4362631"/>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6"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485827"/>
      </p:ext>
    </p:extLst>
  </p:cSld>
  <p:clrMapOvr>
    <a:masterClrMapping/>
  </p:clrMapOvr>
  <p:transition>
    <p:fade/>
  </p:transition>
  <p:hf hdr="0" ftr="0" dt="0"/>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71">
          <p15:clr>
            <a:srgbClr val="A4A3A4"/>
          </p15:clr>
        </p15:guide>
        <p15:guide id="15" pos="2511">
          <p15:clr>
            <a:srgbClr val="A4A3A4"/>
          </p15:clr>
        </p15:guide>
        <p15:guide id="16" pos="2816">
          <p15:clr>
            <a:srgbClr val="A4A3A4"/>
          </p15:clr>
        </p15:guide>
        <p15:guide id="17" pos="2948">
          <p15:clr>
            <a:srgbClr val="A4A3A4"/>
          </p15:clr>
        </p15:guide>
        <p15:guide id="18" pos="3257">
          <p15:clr>
            <a:srgbClr val="A4A3A4"/>
          </p15:clr>
        </p15:guide>
        <p15:guide id="19" pos="3398">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28" orient="horz" pos="679">
          <p15:clr>
            <a:srgbClr val="5ACBF0"/>
          </p15:clr>
        </p15:guide>
        <p15:guide id="29" orient="horz" pos="953">
          <p15:clr>
            <a:srgbClr val="5ACBF0"/>
          </p15:clr>
        </p15:guide>
        <p15:guide id="30" orient="horz" pos="216">
          <p15:clr>
            <a:srgbClr val="5ACBF0"/>
          </p15:clr>
        </p15:guide>
        <p15:guide id="31" orient="horz" pos="1790">
          <p15:clr>
            <a:srgbClr val="FBAE40"/>
          </p15:clr>
        </p15:guide>
        <p15:guide id="32" orient="horz" pos="2063">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1"/>
            <a:ext cx="11018520" cy="553999"/>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1" y="1436689"/>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9"/>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9" y="1436689"/>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7" y="1436689"/>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9"/>
            <a:ext cx="1592263" cy="581025"/>
          </a:xfrm>
          <a:prstGeom prst="rect">
            <a:avLst/>
          </a:prstGeom>
          <a:noFill/>
        </p:spPr>
        <p:txBody>
          <a:bodyPr wrap="square" lIns="89988"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9"/>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1" y="3789365"/>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5"/>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9" y="3789365"/>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7" y="3789365"/>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5"/>
            <a:ext cx="1592263" cy="581025"/>
          </a:xfrm>
          <a:prstGeom prst="rect">
            <a:avLst/>
          </a:prstGeom>
          <a:noFill/>
        </p:spPr>
        <p:txBody>
          <a:bodyPr wrap="square" lIns="89988"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5"/>
            <a:ext cx="1595439" cy="581025"/>
          </a:xfrm>
          <a:prstGeom prst="rect">
            <a:avLst/>
          </a:prstGeom>
          <a:noFill/>
        </p:spPr>
        <p:txBody>
          <a:bodyPr wrap="square" lIns="89988"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1"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2" y="2137144"/>
            <a:ext cx="160337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5" y="2137144"/>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2" y="2137144"/>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1"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2" y="4509121"/>
            <a:ext cx="160337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5" y="4509121"/>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2" y="4509121"/>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1"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1"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8" y="2015240"/>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6"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1"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1"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8" y="4362631"/>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6"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647149"/>
      </p:ext>
    </p:extLst>
  </p:cSld>
  <p:clrMapOvr>
    <a:masterClrMapping/>
  </p:clrMapOvr>
  <p:transition>
    <p:fade/>
  </p:transition>
  <p:hf hdr="0" ftr="0" dt="0"/>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71">
          <p15:clr>
            <a:srgbClr val="A4A3A4"/>
          </p15:clr>
        </p15:guide>
        <p15:guide id="15" pos="2511">
          <p15:clr>
            <a:srgbClr val="A4A3A4"/>
          </p15:clr>
        </p15:guide>
        <p15:guide id="16" pos="2816">
          <p15:clr>
            <a:srgbClr val="A4A3A4"/>
          </p15:clr>
        </p15:guide>
        <p15:guide id="17" pos="2948">
          <p15:clr>
            <a:srgbClr val="A4A3A4"/>
          </p15:clr>
        </p15:guide>
        <p15:guide id="18" pos="3257">
          <p15:clr>
            <a:srgbClr val="A4A3A4"/>
          </p15:clr>
        </p15:guide>
        <p15:guide id="19" pos="3398">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28" orient="horz" pos="679">
          <p15:clr>
            <a:srgbClr val="5ACBF0"/>
          </p15:clr>
        </p15:guide>
        <p15:guide id="29" orient="horz" pos="953">
          <p15:clr>
            <a:srgbClr val="5ACBF0"/>
          </p15:clr>
        </p15:guide>
        <p15:guide id="30" orient="horz" pos="216">
          <p15:clr>
            <a:srgbClr val="5ACBF0"/>
          </p15:clr>
        </p15:guide>
        <p15:guide id="31" orient="horz" pos="1790">
          <p15:clr>
            <a:srgbClr val="FBAE40"/>
          </p15:clr>
        </p15:guide>
        <p15:guide id="32" orient="horz" pos="206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NTT_content_page">
    <p:bg bwMode="ltGray">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3625B1-3581-4B89-9A5B-220862E6937B}"/>
              </a:ext>
            </a:extLst>
          </p:cNvPr>
          <p:cNvGraphicFramePr>
            <a:graphicFrameLocks noChangeAspect="1"/>
          </p:cNvGraphicFramePr>
          <p:nvPr userDrawn="1">
            <p:custDataLst>
              <p:tags r:id="rId1"/>
            </p:custDataLst>
            <p:extLst>
              <p:ext uri="{D42A27DB-BD31-4B8C-83A1-F6EECF244321}">
                <p14:modId xmlns:p14="http://schemas.microsoft.com/office/powerpoint/2010/main" val="260523938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F3625B1-3581-4B89-9A5B-220862E6937B}"/>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4439341" y="0"/>
            <a:ext cx="7752659" cy="6858000"/>
          </a:xfrm>
          <a:prstGeom prst="rect">
            <a:avLst/>
          </a:prstGeom>
          <a:solidFill>
            <a:schemeClr val="bg2">
              <a:lumMod val="20000"/>
              <a:lumOff val="80000"/>
            </a:schemeClr>
          </a:solidFill>
          <a:effectLst/>
        </p:spPr>
        <p:txBody>
          <a:bodyPr>
            <a:normAutofit/>
          </a:bodyPr>
          <a:lstStyle>
            <a:lvl1pPr marL="0" indent="0" rtl="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US" noProof="0"/>
              <a:t>Click icon to add picture</a:t>
            </a:r>
          </a:p>
        </p:txBody>
      </p:sp>
      <p:sp>
        <p:nvSpPr>
          <p:cNvPr id="3" name="Picture Placeholder 2">
            <a:extLst>
              <a:ext uri="{FF2B5EF4-FFF2-40B4-BE49-F238E27FC236}">
                <a16:creationId xmlns:a16="http://schemas.microsoft.com/office/drawing/2014/main" id="{7C10F3DA-0062-6342-AECB-F97E69FEAC79}"/>
              </a:ext>
            </a:extLst>
          </p:cNvPr>
          <p:cNvSpPr>
            <a:spLocks noGrp="1"/>
          </p:cNvSpPr>
          <p:nvPr>
            <p:ph type="pic" sz="quarter" idx="14" hasCustomPrompt="1"/>
          </p:nvPr>
        </p:nvSpPr>
        <p:spPr>
          <a:xfrm>
            <a:off x="1539535" y="764405"/>
            <a:ext cx="1333500" cy="392480"/>
          </a:xfrm>
          <a:prstGeom prst="rect">
            <a:avLst/>
          </a:prstGeom>
        </p:spPr>
        <p:txBody>
          <a:bodyPr/>
          <a:lstStyle>
            <a:lvl1pPr marL="0" indent="0" rtl="0">
              <a:buNone/>
              <a:defRPr sz="1867">
                <a:solidFill>
                  <a:schemeClr val="bg1"/>
                </a:solidFill>
              </a:defRPr>
            </a:lvl1pPr>
          </a:lstStyle>
          <a:p>
            <a:r>
              <a:rPr lang="en-US"/>
              <a:t>icon</a:t>
            </a:r>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444644" y="2375655"/>
            <a:ext cx="3523281" cy="439727"/>
          </a:xfrm>
          <a:prstGeom prst="rect">
            <a:avLst/>
          </a:prstGeom>
        </p:spPr>
        <p:txBody>
          <a:bodyPr vert="horz" anchor="ctr"/>
          <a:lstStyle>
            <a:lvl1pPr algn="ctr" rtl="0">
              <a:defRPr sz="1867" b="1">
                <a:solidFill>
                  <a:schemeClr val="bg1"/>
                </a:solidFill>
              </a:defRPr>
            </a:lvl1pPr>
          </a:lstStyle>
          <a:p>
            <a:r>
              <a:rPr lang="en-US"/>
              <a:t>Click to edit Master title style</a:t>
            </a:r>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433918" y="3093133"/>
            <a:ext cx="3543300" cy="306687"/>
          </a:xfrm>
          <a:prstGeom prst="rect">
            <a:avLst/>
          </a:prstGeom>
        </p:spPr>
        <p:txBody>
          <a:bodyPr/>
          <a:lstStyle>
            <a:lvl1pPr marL="0" indent="0" algn="ctr" rtl="0">
              <a:buNone/>
              <a:defRPr sz="1333">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Tree>
    <p:extLst>
      <p:ext uri="{BB962C8B-B14F-4D97-AF65-F5344CB8AC3E}">
        <p14:creationId xmlns:p14="http://schemas.microsoft.com/office/powerpoint/2010/main" val="598513733"/>
      </p:ext>
    </p:extLst>
  </p:cSld>
  <p:clrMapOvr>
    <a:overrideClrMapping bg1="dk1" tx1="lt1" bg2="dk2" tx2="lt2" accent1="accent1" accent2="accent2" accent3="accent3" accent4="accent4" accent5="accent5" accent6="accent6" hlink="hlink" folHlink="folHlink"/>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1"/>
            <a:ext cx="11018520" cy="553999"/>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1"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2" y="2137144"/>
            <a:ext cx="160337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5" y="2137144"/>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2" y="2137144"/>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1"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2" y="4509121"/>
            <a:ext cx="160337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5" y="4509121"/>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2" y="4509121"/>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1"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70150"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8" y="2015240"/>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6"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1"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1"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8" y="4362631"/>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6"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2"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9"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7"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1"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2"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9"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7"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1"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222640889"/>
      </p:ext>
    </p:extLst>
  </p:cSld>
  <p:clrMapOvr>
    <a:masterClrMapping/>
  </p:clrMapOvr>
  <p:transition>
    <p:fade/>
  </p:transition>
  <p:hf hdr="0" ftr="0" dt="0"/>
  <p:extLst>
    <p:ext uri="{DCECCB84-F9BA-43D5-87BE-67443E8EF086}">
      <p15:sldGuideLst xmlns:p15="http://schemas.microsoft.com/office/powerpoint/2012/main">
        <p15:guide id="8" pos="1030">
          <p15:clr>
            <a:srgbClr val="A4A3A4"/>
          </p15:clr>
        </p15:guide>
        <p15:guide id="9" pos="1167">
          <p15:clr>
            <a:srgbClr val="A4A3A4"/>
          </p15:clr>
        </p15:guide>
        <p15:guide id="12" pos="1921">
          <p15:clr>
            <a:srgbClr val="A4A3A4"/>
          </p15:clr>
        </p15:guide>
        <p15:guide id="13" pos="2058">
          <p15:clr>
            <a:srgbClr val="A4A3A4"/>
          </p15:clr>
        </p15:guide>
        <p15:guide id="16" pos="2816">
          <p15:clr>
            <a:srgbClr val="A4A3A4"/>
          </p15:clr>
        </p15:guide>
        <p15:guide id="17" pos="2948">
          <p15:clr>
            <a:srgbClr val="A4A3A4"/>
          </p15:clr>
        </p15:guide>
        <p15:guide id="20" pos="3703">
          <p15:clr>
            <a:srgbClr val="A4A3A4"/>
          </p15:clr>
        </p15:guide>
        <p15:guide id="21" pos="3840">
          <p15:clr>
            <a:srgbClr val="A4A3A4"/>
          </p15:clr>
        </p15:guide>
        <p15:guide id="24" pos="4592">
          <p15:clr>
            <a:srgbClr val="A4A3A4"/>
          </p15:clr>
        </p15:guide>
        <p15:guide id="25" pos="4731">
          <p15:clr>
            <a:srgbClr val="A4A3A4"/>
          </p15:clr>
        </p15:guide>
        <p15:guide id="28" orient="horz" pos="679">
          <p15:clr>
            <a:srgbClr val="5ACBF0"/>
          </p15:clr>
        </p15:guide>
        <p15:guide id="29" orient="horz" pos="953">
          <p15:clr>
            <a:srgbClr val="5ACBF0"/>
          </p15:clr>
        </p15:guide>
        <p15:guide id="30" orient="horz" pos="216">
          <p15:clr>
            <a:srgbClr val="5ACBF0"/>
          </p15:clr>
        </p15:guide>
        <p15:guide id="31" orient="horz" pos="1790">
          <p15:clr>
            <a:srgbClr val="FBAE40"/>
          </p15:clr>
        </p15:guide>
        <p15:guide id="32" orient="horz" pos="2063">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1"/>
            <a:ext cx="11018520" cy="553999"/>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1" y="2137144"/>
            <a:ext cx="1595439"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9"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2" y="2137144"/>
            <a:ext cx="1603375"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5" y="2137144"/>
            <a:ext cx="1597025"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2" y="2137144"/>
            <a:ext cx="1592263"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9"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1" y="4509121"/>
            <a:ext cx="1595439"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9"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2" y="4509121"/>
            <a:ext cx="1603375"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5" y="4509121"/>
            <a:ext cx="1597025"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2" y="4509121"/>
            <a:ext cx="1592263"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9" cy="646331"/>
          </a:xfrm>
        </p:spPr>
        <p:txBody>
          <a:bodyPr lIns="90000" anchor="t"/>
          <a:lstStyle>
            <a:lvl1pPr marL="179350" indent="-179350">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1" y="2017713"/>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70150" y="2017713"/>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8" y="2015240"/>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6" y="2017713"/>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1" y="4365104"/>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1" y="4365104"/>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8" y="4362631"/>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6" y="4365104"/>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9"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2" y="1436689"/>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9"/>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9" y="1436689"/>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7" y="1436689"/>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1" y="1436689"/>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9"/>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2" y="3789041"/>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1"/>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9" y="3789041"/>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7" y="3789041"/>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1" y="3789041"/>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1"/>
            <a:ext cx="1595439" cy="581025"/>
          </a:xfrm>
        </p:spPr>
        <p:txBody>
          <a:bodyPr lIns="90000" tIns="46800" rIns="90000" bIns="46800" anchor="ctr">
            <a:noAutofit/>
          </a:bodyPr>
          <a:lstStyle>
            <a:lvl1pPr marL="0" indent="0">
              <a:buNone/>
              <a:defRPr sz="2000">
                <a:solidFill>
                  <a:schemeClr val="bg1"/>
                </a:solidFill>
                <a:latin typeface="+mj-lt"/>
              </a:defRPr>
            </a:lvl1pPr>
            <a:lvl2pPr marL="22855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665681746"/>
      </p:ext>
    </p:extLst>
  </p:cSld>
  <p:clrMapOvr>
    <a:masterClrMapping/>
  </p:clrMapOvr>
  <p:transition>
    <p:fade/>
  </p:transition>
  <p:hf hdr="0" ftr="0" dt="0"/>
  <p:extLst>
    <p:ext uri="{DCECCB84-F9BA-43D5-87BE-67443E8EF086}">
      <p15:sldGuideLst xmlns:p15="http://schemas.microsoft.com/office/powerpoint/2012/main">
        <p15:guide id="8" pos="1030">
          <p15:clr>
            <a:srgbClr val="A4A3A4"/>
          </p15:clr>
        </p15:guide>
        <p15:guide id="9" pos="1167">
          <p15:clr>
            <a:srgbClr val="A4A3A4"/>
          </p15:clr>
        </p15:guide>
        <p15:guide id="12" pos="1921">
          <p15:clr>
            <a:srgbClr val="A4A3A4"/>
          </p15:clr>
        </p15:guide>
        <p15:guide id="13" pos="2058">
          <p15:clr>
            <a:srgbClr val="A4A3A4"/>
          </p15:clr>
        </p15:guide>
        <p15:guide id="16" pos="2816">
          <p15:clr>
            <a:srgbClr val="A4A3A4"/>
          </p15:clr>
        </p15:guide>
        <p15:guide id="17" pos="2948">
          <p15:clr>
            <a:srgbClr val="A4A3A4"/>
          </p15:clr>
        </p15:guide>
        <p15:guide id="20" pos="3703">
          <p15:clr>
            <a:srgbClr val="A4A3A4"/>
          </p15:clr>
        </p15:guide>
        <p15:guide id="21" pos="3840">
          <p15:clr>
            <a:srgbClr val="A4A3A4"/>
          </p15:clr>
        </p15:guide>
        <p15:guide id="24" pos="4592">
          <p15:clr>
            <a:srgbClr val="A4A3A4"/>
          </p15:clr>
        </p15:guide>
        <p15:guide id="25" pos="4731">
          <p15:clr>
            <a:srgbClr val="A4A3A4"/>
          </p15:clr>
        </p15:guide>
        <p15:guide id="28" orient="horz" pos="679">
          <p15:clr>
            <a:srgbClr val="5ACBF0"/>
          </p15:clr>
        </p15:guide>
        <p15:guide id="29" orient="horz" pos="953">
          <p15:clr>
            <a:srgbClr val="5ACBF0"/>
          </p15:clr>
        </p15:guide>
        <p15:guide id="30" orient="horz" pos="216">
          <p15:clr>
            <a:srgbClr val="5ACBF0"/>
          </p15:clr>
        </p15:guide>
        <p15:guide id="31" orient="horz" pos="1790">
          <p15:clr>
            <a:srgbClr val="FBAE40"/>
          </p15:clr>
        </p15:guide>
        <p15:guide id="32" orient="horz" pos="2063">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 uri="{C183D7F6-B498-43B3-948B-1728B52AA6E4}">
                <adec:decorative xmlns:adec="http://schemas.microsoft.com/office/drawing/2017/decorative" val="1"/>
              </a:ext>
            </a:extLst>
          </p:cNvPr>
          <p:cNvSpPr/>
          <p:nvPr/>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l" defTabSz="93227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4" y="457202"/>
            <a:ext cx="3477325" cy="1107996"/>
          </a:xfrm>
        </p:spPr>
        <p:txBody>
          <a:bodyPr wrap="square">
            <a:spAutoFit/>
          </a:bodyPr>
          <a:lstStyle>
            <a:lvl1pPr>
              <a:defRPr>
                <a:solidFill>
                  <a:schemeClr val="accent3"/>
                </a:solidFill>
              </a:defRPr>
            </a:lvl1pPr>
          </a:lstStyle>
          <a:p>
            <a:r>
              <a:rPr lang="en-US"/>
              <a:t>Click to edit Master title style</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1" y="2017715"/>
            <a:ext cx="3481388" cy="861803"/>
          </a:xfrm>
        </p:spPr>
        <p:txBody>
          <a:bodyPr/>
          <a:lstStyle>
            <a:lvl1pPr marL="0" indent="0">
              <a:buNone/>
              <a:defRPr>
                <a:solidFill>
                  <a:schemeClr val="bg1"/>
                </a:solidFill>
              </a:defRPr>
            </a:lvl1pPr>
          </a:lstStyle>
          <a:p>
            <a:pPr lvl="0"/>
            <a:r>
              <a:rPr lang="en-US"/>
              <a:t>Click to edit Master text styles</a:t>
            </a:r>
          </a:p>
        </p:txBody>
      </p:sp>
      <p:sp>
        <p:nvSpPr>
          <p:cNvPr id="47" name="Text Placeholder 28">
            <a:extLst>
              <a:ext uri="{FF2B5EF4-FFF2-40B4-BE49-F238E27FC236}">
                <a16:creationId xmlns:a16="http://schemas.microsoft.com/office/drawing/2014/main" id="{F835F18F-914C-498A-B711-691AF5285796}"/>
              </a:ext>
            </a:extLst>
          </p:cNvPr>
          <p:cNvSpPr>
            <a:spLocks noGrp="1"/>
          </p:cNvSpPr>
          <p:nvPr>
            <p:ph type="body" sz="quarter" idx="25" hasCustomPrompt="1"/>
          </p:nvPr>
        </p:nvSpPr>
        <p:spPr>
          <a:xfrm>
            <a:off x="6240017"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cxnSp>
        <p:nvCxnSpPr>
          <p:cNvPr id="62" name="Straight Connector 61">
            <a:extLst>
              <a:ext uri="{FF2B5EF4-FFF2-40B4-BE49-F238E27FC236}">
                <a16:creationId xmlns:a16="http://schemas.microsoft.com/office/drawing/2014/main" id="{FEC4BB8E-9CEA-465C-8933-A864D3D616EB}"/>
              </a:ext>
              <a:ext uri="{C183D7F6-B498-43B3-948B-1728B52AA6E4}">
                <adec:decorative xmlns:adec="http://schemas.microsoft.com/office/drawing/2017/decorative" val="1"/>
              </a:ext>
            </a:extLst>
          </p:cNvPr>
          <p:cNvCxnSpPr>
            <a:cxnSpLocks/>
          </p:cNvCxnSpPr>
          <p:nvPr userDrawn="1"/>
        </p:nvCxnSpPr>
        <p:spPr>
          <a:xfrm>
            <a:off x="6240463"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 name="Text Placeholder 16">
            <a:extLst>
              <a:ext uri="{FF2B5EF4-FFF2-40B4-BE49-F238E27FC236}">
                <a16:creationId xmlns:a16="http://schemas.microsoft.com/office/drawing/2014/main" id="{122ADB3E-7453-4C93-97C2-933227C656D3}"/>
              </a:ext>
            </a:extLst>
          </p:cNvPr>
          <p:cNvSpPr>
            <a:spLocks noGrp="1"/>
          </p:cNvSpPr>
          <p:nvPr>
            <p:ph type="body" sz="quarter" idx="13"/>
          </p:nvPr>
        </p:nvSpPr>
        <p:spPr>
          <a:xfrm>
            <a:off x="6240465" y="2137144"/>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99" name="Text Placeholder 28">
            <a:extLst>
              <a:ext uri="{FF2B5EF4-FFF2-40B4-BE49-F238E27FC236}">
                <a16:creationId xmlns:a16="http://schemas.microsoft.com/office/drawing/2014/main" id="{A143389E-79FF-499A-B504-45278733AE94}"/>
              </a:ext>
            </a:extLst>
          </p:cNvPr>
          <p:cNvSpPr>
            <a:spLocks noGrp="1"/>
          </p:cNvSpPr>
          <p:nvPr>
            <p:ph type="body" sz="quarter" idx="26" hasCustomPrompt="1"/>
          </p:nvPr>
        </p:nvSpPr>
        <p:spPr>
          <a:xfrm>
            <a:off x="8128001"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cxnSp>
        <p:nvCxnSpPr>
          <p:cNvPr id="109" name="Straight Connector 108">
            <a:extLst>
              <a:ext uri="{FF2B5EF4-FFF2-40B4-BE49-F238E27FC236}">
                <a16:creationId xmlns:a16="http://schemas.microsoft.com/office/drawing/2014/main" id="{F7150D76-C6B2-4F02-83DA-84128183D8E1}"/>
              </a:ext>
              <a:ext uri="{C183D7F6-B498-43B3-948B-1728B52AA6E4}">
                <adec:decorative xmlns:adec="http://schemas.microsoft.com/office/drawing/2017/decorative" val="1"/>
              </a:ext>
            </a:extLst>
          </p:cNvPr>
          <p:cNvCxnSpPr>
            <a:cxnSpLocks/>
          </p:cNvCxnSpPr>
          <p:nvPr userDrawn="1"/>
        </p:nvCxnSpPr>
        <p:spPr>
          <a:xfrm>
            <a:off x="8124826"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8" name="Text Placeholder 16">
            <a:extLst>
              <a:ext uri="{FF2B5EF4-FFF2-40B4-BE49-F238E27FC236}">
                <a16:creationId xmlns:a16="http://schemas.microsoft.com/office/drawing/2014/main" id="{BAF37CCC-2C64-4C9A-B320-DBB75A9E440B}"/>
              </a:ext>
            </a:extLst>
          </p:cNvPr>
          <p:cNvSpPr>
            <a:spLocks noGrp="1"/>
          </p:cNvSpPr>
          <p:nvPr>
            <p:ph type="body" sz="quarter" idx="14"/>
          </p:nvPr>
        </p:nvSpPr>
        <p:spPr>
          <a:xfrm>
            <a:off x="8128002" y="2137144"/>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39" name="Text Placeholder 28">
            <a:extLst>
              <a:ext uri="{FF2B5EF4-FFF2-40B4-BE49-F238E27FC236}">
                <a16:creationId xmlns:a16="http://schemas.microsoft.com/office/drawing/2014/main" id="{DC07352C-8E8C-4969-9906-4D5751C199FC}"/>
              </a:ext>
            </a:extLst>
          </p:cNvPr>
          <p:cNvSpPr>
            <a:spLocks noGrp="1"/>
          </p:cNvSpPr>
          <p:nvPr>
            <p:ph type="body" sz="quarter" idx="27" hasCustomPrompt="1"/>
          </p:nvPr>
        </p:nvSpPr>
        <p:spPr>
          <a:xfrm>
            <a:off x="10013950"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cxnSp>
        <p:nvCxnSpPr>
          <p:cNvPr id="147" name="Straight Connector 146">
            <a:extLst>
              <a:ext uri="{FF2B5EF4-FFF2-40B4-BE49-F238E27FC236}">
                <a16:creationId xmlns:a16="http://schemas.microsoft.com/office/drawing/2014/main" id="{8A72C258-39A5-4A6F-B63A-A3E9F134D1C5}"/>
              </a:ext>
              <a:ext uri="{C183D7F6-B498-43B3-948B-1728B52AA6E4}">
                <adec:decorative xmlns:adec="http://schemas.microsoft.com/office/drawing/2017/decorative" val="1"/>
              </a:ext>
            </a:extLst>
          </p:cNvPr>
          <p:cNvCxnSpPr>
            <a:cxnSpLocks/>
          </p:cNvCxnSpPr>
          <p:nvPr userDrawn="1"/>
        </p:nvCxnSpPr>
        <p:spPr>
          <a:xfrm>
            <a:off x="10013950" y="2017713"/>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4" name="Text Placeholder 16">
            <a:extLst>
              <a:ext uri="{FF2B5EF4-FFF2-40B4-BE49-F238E27FC236}">
                <a16:creationId xmlns:a16="http://schemas.microsoft.com/office/drawing/2014/main" id="{D81EAA3E-6F89-4A7D-86E8-B4EF3CC5DF7C}"/>
              </a:ext>
            </a:extLst>
          </p:cNvPr>
          <p:cNvSpPr>
            <a:spLocks noGrp="1"/>
          </p:cNvSpPr>
          <p:nvPr>
            <p:ph type="body" sz="quarter" idx="15"/>
          </p:nvPr>
        </p:nvSpPr>
        <p:spPr>
          <a:xfrm>
            <a:off x="10013950" y="2137144"/>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70" name="Text Placeholder 28">
            <a:extLst>
              <a:ext uri="{FF2B5EF4-FFF2-40B4-BE49-F238E27FC236}">
                <a16:creationId xmlns:a16="http://schemas.microsoft.com/office/drawing/2014/main" id="{5DBDF074-9B69-43E4-B097-901AC2BCF74A}"/>
              </a:ext>
            </a:extLst>
          </p:cNvPr>
          <p:cNvSpPr>
            <a:spLocks noGrp="1"/>
          </p:cNvSpPr>
          <p:nvPr>
            <p:ph type="body" sz="quarter" idx="31" hasCustomPrompt="1"/>
          </p:nvPr>
        </p:nvSpPr>
        <p:spPr>
          <a:xfrm>
            <a:off x="6240017"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cxnSp>
        <p:nvCxnSpPr>
          <p:cNvPr id="176" name="Straight Connector 175">
            <a:extLst>
              <a:ext uri="{FF2B5EF4-FFF2-40B4-BE49-F238E27FC236}">
                <a16:creationId xmlns:a16="http://schemas.microsoft.com/office/drawing/2014/main" id="{38EDA8BF-6D9E-441D-8AA9-B318F522D7F4}"/>
              </a:ext>
              <a:ext uri="{C183D7F6-B498-43B3-948B-1728B52AA6E4}">
                <adec:decorative xmlns:adec="http://schemas.microsoft.com/office/drawing/2017/decorative" val="1"/>
              </a:ext>
            </a:extLst>
          </p:cNvPr>
          <p:cNvCxnSpPr>
            <a:cxnSpLocks/>
          </p:cNvCxnSpPr>
          <p:nvPr userDrawn="1"/>
        </p:nvCxnSpPr>
        <p:spPr>
          <a:xfrm>
            <a:off x="6240463"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1" name="Text Placeholder 16">
            <a:extLst>
              <a:ext uri="{FF2B5EF4-FFF2-40B4-BE49-F238E27FC236}">
                <a16:creationId xmlns:a16="http://schemas.microsoft.com/office/drawing/2014/main" id="{1631CEA0-9A29-4155-BB4E-EBD1B220AB54}"/>
              </a:ext>
            </a:extLst>
          </p:cNvPr>
          <p:cNvSpPr>
            <a:spLocks noGrp="1"/>
          </p:cNvSpPr>
          <p:nvPr>
            <p:ph type="body" sz="quarter" idx="19"/>
          </p:nvPr>
        </p:nvSpPr>
        <p:spPr>
          <a:xfrm>
            <a:off x="6240465" y="4509121"/>
            <a:ext cx="1597025"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2" name="Text Placeholder 28">
            <a:extLst>
              <a:ext uri="{FF2B5EF4-FFF2-40B4-BE49-F238E27FC236}">
                <a16:creationId xmlns:a16="http://schemas.microsoft.com/office/drawing/2014/main" id="{D12A89C2-457A-4DEF-90EA-2D782FDBEB41}"/>
              </a:ext>
            </a:extLst>
          </p:cNvPr>
          <p:cNvSpPr>
            <a:spLocks noGrp="1"/>
          </p:cNvSpPr>
          <p:nvPr>
            <p:ph type="body" sz="quarter" idx="32" hasCustomPrompt="1"/>
          </p:nvPr>
        </p:nvSpPr>
        <p:spPr>
          <a:xfrm>
            <a:off x="8128001"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cxnSp>
        <p:nvCxnSpPr>
          <p:cNvPr id="196" name="Straight Connector 195">
            <a:extLst>
              <a:ext uri="{FF2B5EF4-FFF2-40B4-BE49-F238E27FC236}">
                <a16:creationId xmlns:a16="http://schemas.microsoft.com/office/drawing/2014/main" id="{A6CEDD3F-2D7A-4844-B6BA-D45C29F2F9FB}"/>
              </a:ext>
              <a:ext uri="{C183D7F6-B498-43B3-948B-1728B52AA6E4}">
                <adec:decorative xmlns:adec="http://schemas.microsoft.com/office/drawing/2017/decorative" val="1"/>
              </a:ext>
            </a:extLst>
          </p:cNvPr>
          <p:cNvCxnSpPr>
            <a:cxnSpLocks/>
          </p:cNvCxnSpPr>
          <p:nvPr userDrawn="1"/>
        </p:nvCxnSpPr>
        <p:spPr>
          <a:xfrm>
            <a:off x="8124826"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9" name="Text Placeholder 16">
            <a:extLst>
              <a:ext uri="{FF2B5EF4-FFF2-40B4-BE49-F238E27FC236}">
                <a16:creationId xmlns:a16="http://schemas.microsoft.com/office/drawing/2014/main" id="{849B8ABA-9D4E-4251-B814-E44D432E2214}"/>
              </a:ext>
            </a:extLst>
          </p:cNvPr>
          <p:cNvSpPr>
            <a:spLocks noGrp="1"/>
          </p:cNvSpPr>
          <p:nvPr>
            <p:ph type="body" sz="quarter" idx="20"/>
          </p:nvPr>
        </p:nvSpPr>
        <p:spPr>
          <a:xfrm>
            <a:off x="8128002" y="4509121"/>
            <a:ext cx="1592263"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5" name="Text Placeholder 28">
            <a:extLst>
              <a:ext uri="{FF2B5EF4-FFF2-40B4-BE49-F238E27FC236}">
                <a16:creationId xmlns:a16="http://schemas.microsoft.com/office/drawing/2014/main" id="{7135DB4D-3C91-4B06-897D-79555C38E4E2}"/>
              </a:ext>
            </a:extLst>
          </p:cNvPr>
          <p:cNvSpPr>
            <a:spLocks noGrp="1"/>
          </p:cNvSpPr>
          <p:nvPr>
            <p:ph type="body" sz="quarter" idx="33" hasCustomPrompt="1"/>
          </p:nvPr>
        </p:nvSpPr>
        <p:spPr>
          <a:xfrm>
            <a:off x="10013950"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550" indent="0" algn="ctr">
              <a:buNone/>
              <a:defRPr>
                <a:solidFill>
                  <a:schemeClr val="bg1"/>
                </a:solidFill>
                <a:latin typeface="+mj-lt"/>
              </a:defRPr>
            </a:lvl2pPr>
          </a:lstStyle>
          <a:p>
            <a:pPr lvl="0"/>
            <a:r>
              <a:rPr lang="en-US"/>
              <a:t>Label</a:t>
            </a:r>
          </a:p>
        </p:txBody>
      </p:sp>
      <p:cxnSp>
        <p:nvCxnSpPr>
          <p:cNvPr id="207" name="Straight Connector 206">
            <a:extLst>
              <a:ext uri="{FF2B5EF4-FFF2-40B4-BE49-F238E27FC236}">
                <a16:creationId xmlns:a16="http://schemas.microsoft.com/office/drawing/2014/main" id="{5056B007-B709-4D1B-944F-1BCDB4CAD14E}"/>
              </a:ext>
              <a:ext uri="{C183D7F6-B498-43B3-948B-1728B52AA6E4}">
                <adec:decorative xmlns:adec="http://schemas.microsoft.com/office/drawing/2017/decorative" val="1"/>
              </a:ext>
            </a:extLst>
          </p:cNvPr>
          <p:cNvCxnSpPr>
            <a:cxnSpLocks/>
          </p:cNvCxnSpPr>
          <p:nvPr userDrawn="1"/>
        </p:nvCxnSpPr>
        <p:spPr>
          <a:xfrm>
            <a:off x="10013950" y="4365104"/>
            <a:ext cx="1595439"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8" name="Text Placeholder 16">
            <a:extLst>
              <a:ext uri="{FF2B5EF4-FFF2-40B4-BE49-F238E27FC236}">
                <a16:creationId xmlns:a16="http://schemas.microsoft.com/office/drawing/2014/main" id="{315FA086-0425-4B75-A77C-7D189C85EE10}"/>
              </a:ext>
            </a:extLst>
          </p:cNvPr>
          <p:cNvSpPr>
            <a:spLocks noGrp="1"/>
          </p:cNvSpPr>
          <p:nvPr>
            <p:ph type="body" sz="quarter" idx="21"/>
          </p:nvPr>
        </p:nvSpPr>
        <p:spPr>
          <a:xfrm>
            <a:off x="10013950" y="4509121"/>
            <a:ext cx="1595439" cy="646331"/>
          </a:xfrm>
        </p:spPr>
        <p:txBody>
          <a:bodyPr lIns="90000" anchor="t"/>
          <a:lstStyle>
            <a:lvl1pPr marL="179350" indent="-179350">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19609723"/>
      </p:ext>
    </p:extLst>
  </p:cSld>
  <p:clrMapOvr>
    <a:masterClrMapping/>
  </p:clrMapOvr>
  <p:transition>
    <p:fade/>
  </p:transition>
  <p:hf hdr="0" ftr="0" dt="0"/>
  <p:extLst>
    <p:ext uri="{DCECCB84-F9BA-43D5-87BE-67443E8EF086}">
      <p15:sldGuideLst xmlns:p15="http://schemas.microsoft.com/office/powerpoint/2012/main">
        <p15:guide id="8" pos="1030">
          <p15:clr>
            <a:srgbClr val="A4A3A4"/>
          </p15:clr>
        </p15:guide>
        <p15:guide id="9" pos="1167">
          <p15:clr>
            <a:srgbClr val="A4A3A4"/>
          </p15:clr>
        </p15:guide>
        <p15:guide id="12" pos="1921">
          <p15:clr>
            <a:srgbClr val="A4A3A4"/>
          </p15:clr>
        </p15:guide>
        <p15:guide id="13" pos="2058">
          <p15:clr>
            <a:srgbClr val="A4A3A4"/>
          </p15:clr>
        </p15:guide>
        <p15:guide id="16" pos="2816">
          <p15:clr>
            <a:srgbClr val="A4A3A4"/>
          </p15:clr>
        </p15:guide>
        <p15:guide id="17" pos="2948">
          <p15:clr>
            <a:srgbClr val="A4A3A4"/>
          </p15:clr>
        </p15:guide>
        <p15:guide id="20" pos="3703">
          <p15:clr>
            <a:srgbClr val="A4A3A4"/>
          </p15:clr>
        </p15:guide>
        <p15:guide id="21" pos="3840">
          <p15:clr>
            <a:srgbClr val="A4A3A4"/>
          </p15:clr>
        </p15:guide>
        <p15:guide id="24" pos="4592">
          <p15:clr>
            <a:srgbClr val="A4A3A4"/>
          </p15:clr>
        </p15:guide>
        <p15:guide id="25" pos="4731">
          <p15:clr>
            <a:srgbClr val="A4A3A4"/>
          </p15:clr>
        </p15:guide>
        <p15:guide id="28" orient="horz" pos="679">
          <p15:clr>
            <a:srgbClr val="5ACBF0"/>
          </p15:clr>
        </p15:guide>
        <p15:guide id="29" orient="horz" pos="953">
          <p15:clr>
            <a:srgbClr val="5ACBF0"/>
          </p15:clr>
        </p15:guide>
        <p15:guide id="30" orient="horz" pos="216">
          <p15:clr>
            <a:srgbClr val="5ACBF0"/>
          </p15:clr>
        </p15:guide>
        <p15:guide id="31" orient="horz" pos="1790">
          <p15:clr>
            <a:srgbClr val="FBAE40"/>
          </p15:clr>
        </p15:guide>
        <p15:guide id="32" orient="horz" pos="2063">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574357"/>
            <a:ext cx="4069723"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2028835"/>
            <a:ext cx="4073699" cy="301771"/>
          </a:xfrm>
        </p:spPr>
        <p:txBody>
          <a:bodyPr/>
          <a:lstStyle>
            <a:lvl1pPr marL="0" indent="0">
              <a:buNone/>
              <a:defRPr sz="1961">
                <a:latin typeface="+mn-lt"/>
              </a:defRPr>
            </a:lvl1pPr>
            <a:lvl2pPr marL="228550" indent="0">
              <a:buNone/>
              <a:defRPr/>
            </a:lvl2pPr>
            <a:lvl3pPr marL="457101" indent="0">
              <a:buNone/>
              <a:defRPr/>
            </a:lvl3pPr>
            <a:lvl4pPr marL="661845" indent="0">
              <a:buNone/>
              <a:defRPr/>
            </a:lvl4pPr>
            <a:lvl5pPr marL="855477"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4493739"/>
      </p:ext>
    </p:extLst>
  </p:cSld>
  <p:clrMapOvr>
    <a:masterClrMapping/>
  </p:clrMapOvr>
  <p:transition>
    <p:fade/>
  </p:transition>
  <p:hf hdr="0" ftr="0" dt="0"/>
  <p:extLst>
    <p:ext uri="{DCECCB84-F9BA-43D5-87BE-67443E8EF086}">
      <p15:sldGuideLst xmlns:p15="http://schemas.microsoft.com/office/powerpoint/2012/main">
        <p15:guide id="2" pos="2520">
          <p15:clr>
            <a:srgbClr val="5ACBF0"/>
          </p15:clr>
        </p15:guide>
        <p15:guide id="7" orient="horz" pos="1476">
          <p15:clr>
            <a:srgbClr val="5ACBF0"/>
          </p15:clr>
        </p15:guide>
        <p15:guide id="8" orient="horz" pos="1670">
          <p15:clr>
            <a:srgbClr val="5ACBF0"/>
          </p15:clr>
        </p15:guide>
        <p15:guide id="10" pos="2797">
          <p15:clr>
            <a:srgbClr val="C35EA4"/>
          </p15:clr>
        </p15:guide>
        <p15:guide id="11" pos="2245">
          <p15:clr>
            <a:srgbClr val="5ACBF0"/>
          </p15:clr>
        </p15:guide>
        <p15:guide id="12" pos="2657">
          <p15:clr>
            <a:srgbClr val="A4A3A4"/>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1"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502928"/>
      </p:ext>
    </p:extLst>
  </p:cSld>
  <p:clrMapOvr>
    <a:masterClrMapping/>
  </p:clrMapOvr>
  <p:transition>
    <p:fade/>
  </p:transition>
  <p:hf hdr="0" ftr="0" dt="0"/>
  <p:extLst>
    <p:ext uri="{DCECCB84-F9BA-43D5-87BE-67443E8EF086}">
      <p15:sldGuideLst xmlns:p15="http://schemas.microsoft.com/office/powerpoint/2012/main">
        <p15:guide id="2" pos="2520">
          <p15:clr>
            <a:srgbClr val="5ACBF0"/>
          </p15:clr>
        </p15:guide>
        <p15:guide id="5" orient="horz" pos="1620">
          <p15:clr>
            <a:srgbClr val="5ACBF0"/>
          </p15:clr>
        </p15:guide>
        <p15:guide id="6" pos="2243">
          <p15:clr>
            <a:srgbClr val="5ACBF0"/>
          </p15:clr>
        </p15:guide>
        <p15:guide id="7" pos="2796">
          <p15:clr>
            <a:srgbClr val="C35EA4"/>
          </p15:clr>
        </p15:guide>
        <p15:guide id="8" pos="2658">
          <p15:clr>
            <a:srgbClr val="A4A3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40"/>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2095539"/>
      </p:ext>
    </p:extLst>
  </p:cSld>
  <p:clrMapOvr>
    <a:masterClrMapping/>
  </p:clrMapOvr>
  <p:transition>
    <p:fade/>
  </p:transition>
  <p:hf hdr="0" ftr="0" dt="0"/>
  <p:extLst>
    <p:ext uri="{DCECCB84-F9BA-43D5-87BE-67443E8EF086}">
      <p15:sldGuideLst xmlns:p15="http://schemas.microsoft.com/office/powerpoint/2012/main">
        <p15:guide id="2" pos="2520">
          <p15:clr>
            <a:srgbClr val="5ACBF0"/>
          </p15:clr>
        </p15:guide>
        <p15:guide id="3" orient="horz" pos="1408">
          <p15:clr>
            <a:srgbClr val="5ACBF0"/>
          </p15:clr>
        </p15:guide>
        <p15:guide id="4" pos="2798">
          <p15:clr>
            <a:srgbClr val="C35EA4"/>
          </p15:clr>
        </p15:guide>
        <p15:guide id="5" pos="2245">
          <p15:clr>
            <a:srgbClr val="5ACBF0"/>
          </p15:clr>
        </p15:guide>
        <p15:guide id="6" pos="2660">
          <p15:clr>
            <a:srgbClr val="A4A3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6" name="Picture Placeholder" descr="This photo is a 'placeholder' only. Drag or drop your photo here, or click and tap the center to insert a photo.">
            <a:extLst>
              <a:ext uri="{FF2B5EF4-FFF2-40B4-BE49-F238E27FC236}">
                <a16:creationId xmlns:a16="http://schemas.microsoft.com/office/drawing/2014/main" id="{5E401625-979C-4E56-964F-C48F560DF28F}"/>
              </a:ext>
            </a:extLst>
          </p:cNvPr>
          <p:cNvSpPr>
            <a:spLocks noGrp="1"/>
          </p:cNvSpPr>
          <p:nvPr>
            <p:ph type="pic" sz="quarter" idx="11" hasCustomPrompt="1"/>
          </p:nvPr>
        </p:nvSpPr>
        <p:spPr bwMode="ltGray">
          <a:xfrm>
            <a:off x="0" y="0"/>
            <a:ext cx="12192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5757235"/>
            <a:ext cx="7653864" cy="482831"/>
          </a:xfrm>
        </p:spPr>
        <p:txBody>
          <a:bodyPr anchor="b"/>
          <a:lstStyle>
            <a:lvl1pPr>
              <a:defRPr sz="3137">
                <a:solidFill>
                  <a:schemeClr val="accent3"/>
                </a:solidFill>
              </a:defRPr>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511387"/>
      </p:ext>
    </p:extLst>
  </p:cSld>
  <p:clrMapOvr>
    <a:masterClrMapping/>
  </p:clrMapOvr>
  <p:transition>
    <p:fade/>
  </p:transition>
  <p:hf hdr="0" ftr="0" dt="0"/>
  <p:extLst>
    <p:ext uri="{DCECCB84-F9BA-43D5-87BE-67443E8EF086}">
      <p15:sldGuideLst xmlns:p15="http://schemas.microsoft.com/office/powerpoint/2012/main">
        <p15:guide id="2" pos="2520">
          <p15:clr>
            <a:srgbClr val="5ACBF0"/>
          </p15:clr>
        </p15:guide>
        <p15:guide id="3" orient="horz" pos="1408">
          <p15:clr>
            <a:srgbClr val="5ACBF0"/>
          </p15:clr>
        </p15:guide>
        <p15:guide id="4" pos="2798">
          <p15:clr>
            <a:srgbClr val="C35EA4"/>
          </p15:clr>
        </p15:guide>
        <p15:guide id="5" pos="2245">
          <p15:clr>
            <a:srgbClr val="5ACBF0"/>
          </p15:clr>
        </p15:guide>
        <p15:guide id="6" pos="2660">
          <p15:clr>
            <a:srgbClr val="A4A3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2"/>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0" lvl="0" indent="-2285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2"/>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1"/>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0" lvl="0" indent="-22855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6267006"/>
      </p:ext>
    </p:extLst>
  </p:cSld>
  <p:clrMapOvr>
    <a:masterClrMapping/>
  </p:clrMapOvr>
  <p:transition>
    <p:fade/>
  </p:transition>
  <p:hf hdr="0" ftr="0" dt="0"/>
  <p:extLst>
    <p:ext uri="{DCECCB84-F9BA-43D5-87BE-67443E8EF086}">
      <p15:sldGuideLst xmlns:p15="http://schemas.microsoft.com/office/powerpoint/2012/main">
        <p15:guide id="3" orient="horz" pos="2688">
          <p15:clr>
            <a:srgbClr val="5ACBF0"/>
          </p15:clr>
        </p15:guide>
        <p15:guide id="4" orient="horz" pos="957">
          <p15:clr>
            <a:srgbClr val="5ACBF0"/>
          </p15:clr>
        </p15:guide>
        <p15:guide id="5" orient="horz" pos="216">
          <p15:clr>
            <a:srgbClr val="5ACBF0"/>
          </p15:clr>
        </p15:guide>
        <p15:guide id="6" pos="2812">
          <p15:clr>
            <a:srgbClr val="5ACBF0"/>
          </p15:clr>
        </p15:guide>
        <p15:guide id="7" pos="2948">
          <p15:clr>
            <a:srgbClr val="5ACBF0"/>
          </p15:clr>
        </p15:guide>
        <p15:guide id="8" orient="horz" pos="259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2"/>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2"/>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1"/>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2"/>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1"/>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275447"/>
      </p:ext>
    </p:extLst>
  </p:cSld>
  <p:clrMapOvr>
    <a:masterClrMapping/>
  </p:clrMapOvr>
  <p:transition>
    <p:fade/>
  </p:transition>
  <p:hf hdr="0" ftr="0" dt="0"/>
  <p:extLst>
    <p:ext uri="{DCECCB84-F9BA-43D5-87BE-67443E8EF086}">
      <p15:sldGuideLst xmlns:p15="http://schemas.microsoft.com/office/powerpoint/2012/main">
        <p15:guide id="3" orient="horz" pos="2688">
          <p15:clr>
            <a:srgbClr val="5ACBF0"/>
          </p15:clr>
        </p15:guide>
        <p15:guide id="4" orient="horz" pos="957">
          <p15:clr>
            <a:srgbClr val="5ACBF0"/>
          </p15:clr>
        </p15:guide>
        <p15:guide id="5" orient="horz" pos="216">
          <p15:clr>
            <a:srgbClr val="5ACBF0"/>
          </p15:clr>
        </p15:guide>
        <p15:guide id="6" pos="1918">
          <p15:clr>
            <a:srgbClr val="5ACBF0"/>
          </p15:clr>
        </p15:guide>
        <p15:guide id="7" pos="2058">
          <p15:clr>
            <a:srgbClr val="5ACBF0"/>
          </p15:clr>
        </p15:guide>
        <p15:guide id="8" pos="3702">
          <p15:clr>
            <a:srgbClr val="5ACBF0"/>
          </p15:clr>
        </p15:guide>
        <p15:guide id="9" pos="3842">
          <p15:clr>
            <a:srgbClr val="5ACBF0"/>
          </p15:clr>
        </p15:guide>
        <p15:guide id="10" orient="horz" pos="2599">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8383477"/>
      </p:ext>
    </p:extLst>
  </p:cSld>
  <p:clrMapOvr>
    <a:masterClrMapping/>
  </p:clrMapOvr>
  <p:transition>
    <p:fade/>
  </p:transition>
  <p:hf hdr="0" ftr="0" dt="0"/>
  <p:extLst>
    <p:ext uri="{DCECCB84-F9BA-43D5-87BE-67443E8EF086}">
      <p15:sldGuideLst xmlns:p15="http://schemas.microsoft.com/office/powerpoint/2012/main">
        <p15:guide id="3" orient="horz" pos="2245">
          <p15:clr>
            <a:srgbClr val="5ACBF0"/>
          </p15:clr>
        </p15:guide>
        <p15:guide id="4" orient="horz" pos="957">
          <p15:clr>
            <a:srgbClr val="5ACBF0"/>
          </p15:clr>
        </p15:guide>
        <p15:guide id="5" orient="horz" pos="216">
          <p15:clr>
            <a:srgbClr val="5ACBF0"/>
          </p15:clr>
        </p15:guide>
        <p15:guide id="6" pos="1472">
          <p15:clr>
            <a:srgbClr val="5ACBF0"/>
          </p15:clr>
        </p15:guide>
        <p15:guide id="7" pos="1613">
          <p15:clr>
            <a:srgbClr val="5ACBF0"/>
          </p15:clr>
        </p15:guide>
        <p15:guide id="8" pos="2810">
          <p15:clr>
            <a:srgbClr val="5ACBF0"/>
          </p15:clr>
        </p15:guide>
        <p15:guide id="9" pos="2951">
          <p15:clr>
            <a:srgbClr val="5ACBF0"/>
          </p15:clr>
        </p15:guide>
        <p15:guide id="10" pos="4148">
          <p15:clr>
            <a:srgbClr val="5ACBF0"/>
          </p15:clr>
        </p15:guide>
        <p15:guide id="11" pos="4287">
          <p15:clr>
            <a:srgbClr val="5ACBF0"/>
          </p15:clr>
        </p15:guide>
        <p15:guide id="12" orient="horz" pos="215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TT_custom_layout_text_dark">
    <p:bg bwMode="ltGray">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07D84A-0B3D-43A0-9ED8-1F6FF4043B87}"/>
              </a:ext>
            </a:extLst>
          </p:cNvPr>
          <p:cNvGraphicFramePr>
            <a:graphicFrameLocks noChangeAspect="1"/>
          </p:cNvGraphicFramePr>
          <p:nvPr userDrawn="1">
            <p:custDataLst>
              <p:tags r:id="rId1"/>
            </p:custDataLst>
            <p:extLst>
              <p:ext uri="{D42A27DB-BD31-4B8C-83A1-F6EECF244321}">
                <p14:modId xmlns:p14="http://schemas.microsoft.com/office/powerpoint/2010/main" val="105537544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6207D84A-0B3D-43A0-9ED8-1F6FF4043B87}"/>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3" name="Text Placeholder 4"/>
          <p:cNvSpPr>
            <a:spLocks noGrp="1"/>
          </p:cNvSpPr>
          <p:nvPr>
            <p:ph type="body" sz="quarter" idx="12"/>
          </p:nvPr>
        </p:nvSpPr>
        <p:spPr>
          <a:xfrm>
            <a:off x="410413" y="2032207"/>
            <a:ext cx="3805411" cy="1446549"/>
          </a:xfrm>
          <a:prstGeom prst="roundRect">
            <a:avLst>
              <a:gd name="adj" fmla="val 0"/>
            </a:avLst>
          </a:prstGeom>
          <a:noFill/>
          <a:ln w="28575">
            <a:solidFill>
              <a:schemeClr val="bg1"/>
            </a:solidFill>
          </a:ln>
          <a:effectLst/>
        </p:spPr>
        <p:txBody>
          <a:bodyPr anchor="ctr"/>
          <a:lstStyle>
            <a:lvl1pPr algn="l" rtl="0">
              <a:lnSpc>
                <a:spcPct val="100000"/>
              </a:lnSpc>
              <a:defRPr sz="3200">
                <a:solidFill>
                  <a:schemeClr val="bg1"/>
                </a:solidFill>
                <a:latin typeface="Arial"/>
                <a:cs typeface="Arial"/>
              </a:defRPr>
            </a:lvl1pPr>
            <a:lvl2pPr algn="l" rtl="0">
              <a:lnSpc>
                <a:spcPct val="100000"/>
              </a:lnSpc>
              <a:defRPr>
                <a:solidFill>
                  <a:schemeClr val="bg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410413" y="5019972"/>
            <a:ext cx="3165808" cy="943848"/>
          </a:xfrm>
          <a:prstGeom prst="roundRect">
            <a:avLst>
              <a:gd name="adj" fmla="val 0"/>
            </a:avLst>
          </a:prstGeom>
          <a:noFill/>
          <a:ln w="28575">
            <a:solidFill>
              <a:schemeClr val="bg1"/>
            </a:solidFill>
          </a:ln>
          <a:effectLst/>
        </p:spPr>
        <p:txBody>
          <a:bodyPr anchor="ctr"/>
          <a:lstStyle>
            <a:lvl1pPr algn="l" rtl="0">
              <a:lnSpc>
                <a:spcPct val="100000"/>
              </a:lnSpc>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3751383" y="5199510"/>
            <a:ext cx="8149535" cy="584775"/>
          </a:xfrm>
          <a:prstGeom prst="roundRect">
            <a:avLst>
              <a:gd name="adj" fmla="val 0"/>
            </a:avLst>
          </a:prstGeom>
          <a:noFill/>
          <a:ln w="28575">
            <a:solidFill>
              <a:schemeClr val="bg1"/>
            </a:solidFill>
          </a:ln>
          <a:effectLst/>
        </p:spPr>
        <p:txBody>
          <a:bodyPr anchor="ctr"/>
          <a:lstStyle>
            <a:lvl1pPr algn="ctr" rtl="0">
              <a:lnSpc>
                <a:spcPct val="100000"/>
              </a:lnSpc>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4364451" y="2421993"/>
            <a:ext cx="2715011" cy="666977"/>
          </a:xfrm>
          <a:prstGeom prst="roundRect">
            <a:avLst>
              <a:gd name="adj" fmla="val 0"/>
            </a:avLst>
          </a:prstGeom>
          <a:noFill/>
          <a:ln w="28575">
            <a:solidFill>
              <a:schemeClr val="bg1"/>
            </a:solidFill>
          </a:ln>
          <a:effectLst/>
        </p:spPr>
        <p:txBody>
          <a:bodyPr anchor="ctr"/>
          <a:lstStyle>
            <a:lvl1pPr algn="ctr" rtl="0">
              <a:lnSpc>
                <a:spcPct val="100000"/>
              </a:lnSpc>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7235005" y="700271"/>
            <a:ext cx="4665912" cy="1446549"/>
          </a:xfrm>
          <a:prstGeom prst="roundRect">
            <a:avLst>
              <a:gd name="adj" fmla="val 0"/>
            </a:avLst>
          </a:prstGeom>
          <a:noFill/>
          <a:ln w="28575">
            <a:solidFill>
              <a:schemeClr val="bg1"/>
            </a:solidFill>
          </a:ln>
          <a:effectLst/>
        </p:spPr>
        <p:txBody>
          <a:bodyPr anchor="ctr"/>
          <a:lstStyle>
            <a:lvl1pPr algn="l" rtl="0">
              <a:lnSpc>
                <a:spcPct val="100000"/>
              </a:lnSpc>
              <a:defRPr sz="3200">
                <a:solidFill>
                  <a:schemeClr val="bg1"/>
                </a:solidFill>
                <a:effectLst/>
                <a:latin typeface="Arial"/>
                <a:cs typeface="Arial"/>
              </a:defRPr>
            </a:lvl1pPr>
            <a:lvl2pPr algn="l" rtl="0">
              <a:lnSpc>
                <a:spcPct val="100000"/>
              </a:lnSpc>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8" name="Text Placeholder 4"/>
          <p:cNvSpPr>
            <a:spLocks noGrp="1"/>
          </p:cNvSpPr>
          <p:nvPr>
            <p:ph type="body" sz="quarter" idx="17"/>
          </p:nvPr>
        </p:nvSpPr>
        <p:spPr>
          <a:xfrm>
            <a:off x="7235007" y="3401589"/>
            <a:ext cx="4698056" cy="379656"/>
          </a:xfrm>
          <a:prstGeom prst="roundRect">
            <a:avLst>
              <a:gd name="adj" fmla="val 0"/>
            </a:avLst>
          </a:prstGeom>
          <a:noFill/>
          <a:ln w="28575">
            <a:solidFill>
              <a:schemeClr val="bg1"/>
            </a:solidFill>
          </a:ln>
          <a:effectLst/>
        </p:spPr>
        <p:txBody>
          <a:bodyPr anchor="ctr"/>
          <a:lstStyle>
            <a:lvl1pPr algn="r" rtl="0">
              <a:lnSpc>
                <a:spcPct val="100000"/>
              </a:lnSpc>
              <a:defRPr>
                <a:solidFill>
                  <a:schemeClr val="bg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410414" y="190029"/>
            <a:ext cx="6712839" cy="751351"/>
          </a:xfrm>
          <a:prstGeom prst="rect">
            <a:avLst/>
          </a:prstGeom>
        </p:spPr>
        <p:txBody>
          <a:bodyPr vert="horz"/>
          <a:lstStyle>
            <a:lvl1pPr algn="l" rtl="0">
              <a:defRPr sz="2933" b="1">
                <a:latin typeface="Arial"/>
                <a:cs typeface="Arial"/>
              </a:defRPr>
            </a:lvl1pPr>
          </a:lstStyle>
          <a:p>
            <a:r>
              <a:rPr lang="en-US"/>
              <a:t>Click to edit Master title style</a:t>
            </a:r>
          </a:p>
        </p:txBody>
      </p:sp>
    </p:spTree>
    <p:extLst>
      <p:ext uri="{BB962C8B-B14F-4D97-AF65-F5344CB8AC3E}">
        <p14:creationId xmlns:p14="http://schemas.microsoft.com/office/powerpoint/2010/main" val="301753948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1_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1392736"/>
          </a:xfrm>
        </p:spPr>
        <p:txBody>
          <a:bodyPr>
            <a:noAutofit/>
          </a:bodyPr>
          <a:lstStyle>
            <a:lvl1pPr marL="0" indent="0" algn="l">
              <a:spcBef>
                <a:spcPts val="0"/>
              </a:spcBef>
              <a:buNone/>
              <a:defRPr sz="1372">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32251" y="4753939"/>
            <a:ext cx="2532888" cy="1392736"/>
          </a:xfrm>
        </p:spPr>
        <p:txBody>
          <a:bodyPr>
            <a:noAutofit/>
          </a:bodyPr>
          <a:lstStyle>
            <a:lvl1pPr marL="0" indent="0" algn="l">
              <a:spcBef>
                <a:spcPts val="0"/>
              </a:spcBef>
              <a:buNone/>
              <a:defRPr sz="1372">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31383"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81891" y="4753939"/>
            <a:ext cx="2532888" cy="1392736"/>
          </a:xfrm>
        </p:spPr>
        <p:txBody>
          <a:bodyPr>
            <a:noAutofit/>
          </a:bodyPr>
          <a:lstStyle>
            <a:lvl1pPr marL="0" indent="0" algn="l">
              <a:spcBef>
                <a:spcPts val="0"/>
              </a:spcBef>
              <a:buNone/>
              <a:defRPr sz="1372">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80152"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131529" y="4753939"/>
            <a:ext cx="2532888" cy="1392736"/>
          </a:xfrm>
        </p:spPr>
        <p:txBody>
          <a:bodyPr>
            <a:noAutofit/>
          </a:bodyPr>
          <a:lstStyle>
            <a:lvl1pPr marL="0" indent="0" algn="l">
              <a:spcBef>
                <a:spcPts val="0"/>
              </a:spcBef>
              <a:buNone/>
              <a:defRPr sz="1372">
                <a:latin typeface="+mn-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128923"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7" name="Text Placeholder 3">
            <a:extLst>
              <a:ext uri="{FF2B5EF4-FFF2-40B4-BE49-F238E27FC236}">
                <a16:creationId xmlns:a16="http://schemas.microsoft.com/office/drawing/2014/main" id="{A32D536A-97E8-415B-A610-D0245C175BFA}"/>
              </a:ext>
            </a:extLst>
          </p:cNvPr>
          <p:cNvSpPr>
            <a:spLocks noGrp="1"/>
          </p:cNvSpPr>
          <p:nvPr>
            <p:ph type="body" sz="quarter" idx="21"/>
          </p:nvPr>
        </p:nvSpPr>
        <p:spPr>
          <a:xfrm>
            <a:off x="582613" y="1342060"/>
            <a:ext cx="2532888" cy="603539"/>
          </a:xfrm>
        </p:spPr>
        <p:txBody>
          <a:bodyPr anchor="ctr"/>
          <a:lstStyle>
            <a:lvl1pPr marL="0" indent="0" algn="l">
              <a:spcBef>
                <a:spcPts val="0"/>
              </a:spcBef>
              <a:buNone/>
              <a:defRPr sz="1961">
                <a:solidFill>
                  <a:schemeClr val="accent1"/>
                </a:solidFill>
                <a:latin typeface="+mj-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2CEDFBE5-8D26-4427-B634-A152EB2F60CD}"/>
              </a:ext>
            </a:extLst>
          </p:cNvPr>
          <p:cNvSpPr>
            <a:spLocks noGrp="1"/>
          </p:cNvSpPr>
          <p:nvPr>
            <p:ph type="body" sz="quarter" idx="22"/>
          </p:nvPr>
        </p:nvSpPr>
        <p:spPr>
          <a:xfrm>
            <a:off x="3432251" y="1342060"/>
            <a:ext cx="2532888" cy="603539"/>
          </a:xfrm>
        </p:spPr>
        <p:txBody>
          <a:bodyPr anchor="ctr"/>
          <a:lstStyle>
            <a:lvl1pPr marL="0" indent="0" algn="l">
              <a:spcBef>
                <a:spcPts val="0"/>
              </a:spcBef>
              <a:buNone/>
              <a:defRPr sz="1961">
                <a:solidFill>
                  <a:schemeClr val="accent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C644A639-133C-4EEF-B5E4-65B6203BCB1E}"/>
              </a:ext>
            </a:extLst>
          </p:cNvPr>
          <p:cNvSpPr>
            <a:spLocks noGrp="1"/>
          </p:cNvSpPr>
          <p:nvPr>
            <p:ph type="body" sz="quarter" idx="23"/>
          </p:nvPr>
        </p:nvSpPr>
        <p:spPr>
          <a:xfrm>
            <a:off x="6281891" y="1342060"/>
            <a:ext cx="2532888" cy="603539"/>
          </a:xfrm>
        </p:spPr>
        <p:txBody>
          <a:bodyPr anchor="ctr"/>
          <a:lstStyle>
            <a:lvl1pPr marL="0" indent="0" algn="l">
              <a:spcBef>
                <a:spcPts val="0"/>
              </a:spcBef>
              <a:buNone/>
              <a:defRPr sz="1961">
                <a:solidFill>
                  <a:schemeClr val="accent1"/>
                </a:solidFill>
                <a:latin typeface="+mj-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BBB35B69-3D61-474B-BBF7-F5808266BD2B}"/>
              </a:ext>
            </a:extLst>
          </p:cNvPr>
          <p:cNvSpPr>
            <a:spLocks noGrp="1"/>
          </p:cNvSpPr>
          <p:nvPr>
            <p:ph type="body" sz="quarter" idx="24"/>
          </p:nvPr>
        </p:nvSpPr>
        <p:spPr>
          <a:xfrm>
            <a:off x="9131529" y="1342060"/>
            <a:ext cx="2532888" cy="603539"/>
          </a:xfrm>
        </p:spPr>
        <p:txBody>
          <a:bodyPr anchor="ctr"/>
          <a:lstStyle>
            <a:lvl1pPr marL="0" indent="0" algn="l">
              <a:spcBef>
                <a:spcPts val="0"/>
              </a:spcBef>
              <a:buNone/>
              <a:defRPr sz="1961">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1764075846"/>
      </p:ext>
    </p:extLst>
  </p:cSld>
  <p:clrMapOvr>
    <a:masterClrMapping/>
  </p:clrMapOvr>
  <p:transition>
    <p:fade/>
  </p:transition>
  <p:hf hdr="0" ftr="0" dt="0"/>
  <p:extLst>
    <p:ext uri="{DCECCB84-F9BA-43D5-87BE-67443E8EF086}">
      <p15:sldGuideLst xmlns:p15="http://schemas.microsoft.com/office/powerpoint/2012/main">
        <p15:guide id="3" orient="horz" pos="2245">
          <p15:clr>
            <a:srgbClr val="5ACBF0"/>
          </p15:clr>
        </p15:guide>
        <p15:guide id="4" orient="horz" pos="957">
          <p15:clr>
            <a:srgbClr val="5ACBF0"/>
          </p15:clr>
        </p15:guide>
        <p15:guide id="5" orient="horz" pos="216">
          <p15:clr>
            <a:srgbClr val="5ACBF0"/>
          </p15:clr>
        </p15:guide>
        <p15:guide id="6" pos="1472">
          <p15:clr>
            <a:srgbClr val="5ACBF0"/>
          </p15:clr>
        </p15:guide>
        <p15:guide id="7" pos="1613">
          <p15:clr>
            <a:srgbClr val="5ACBF0"/>
          </p15:clr>
        </p15:guide>
        <p15:guide id="8" pos="2810">
          <p15:clr>
            <a:srgbClr val="5ACBF0"/>
          </p15:clr>
        </p15:guide>
        <p15:guide id="9" pos="2951">
          <p15:clr>
            <a:srgbClr val="5ACBF0"/>
          </p15:clr>
        </p15:guide>
        <p15:guide id="10" pos="4148">
          <p15:clr>
            <a:srgbClr val="5ACBF0"/>
          </p15:clr>
        </p15:guide>
        <p15:guide id="11" pos="4287">
          <p15:clr>
            <a:srgbClr val="5ACBF0"/>
          </p15:clr>
        </p15:guide>
        <p15:guide id="12" orient="horz" pos="215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2"/>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2"/>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9213903"/>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1080">
          <p15:clr>
            <a:srgbClr val="5ACBF0"/>
          </p15:clr>
        </p15:guide>
        <p15:guide id="4" orient="horz" pos="2407">
          <p15:clr>
            <a:srgbClr val="5ACBF0"/>
          </p15:clr>
        </p15:guide>
        <p15:guide id="5" pos="2870">
          <p15:clr>
            <a:srgbClr val="5ACBF0"/>
          </p15:clr>
        </p15:guide>
        <p15:guide id="6" pos="2894">
          <p15:clr>
            <a:srgbClr val="5ACBF0"/>
          </p15:clr>
        </p15:guide>
        <p15:guide id="11" pos="1433">
          <p15:clr>
            <a:srgbClr val="5ACBF0"/>
          </p15:clr>
        </p15:guide>
        <p15:guide id="12" pos="4328">
          <p15:clr>
            <a:srgbClr val="5ACBF0"/>
          </p15:clr>
        </p15:guide>
        <p15:guide id="13" orient="horz" pos="2520">
          <p15:clr>
            <a:srgbClr val="5ACBF0"/>
          </p15:clr>
        </p15:guide>
        <p15:guide id="14" orient="horz">
          <p15:clr>
            <a:srgbClr val="5ACBF0"/>
          </p15:clr>
        </p15:guide>
        <p15:guide id="15" pos="2588">
          <p15:clr>
            <a:srgbClr val="5ACBF0"/>
          </p15:clr>
        </p15:guide>
        <p15:guide id="16" pos="3172">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2"/>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7944094"/>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1080">
          <p15:clr>
            <a:srgbClr val="5ACBF0"/>
          </p15:clr>
        </p15:guide>
        <p15:guide id="3" orient="horz" pos="2160">
          <p15:clr>
            <a:srgbClr val="5ACBF0"/>
          </p15:clr>
        </p15:guide>
        <p15:guide id="4" orient="horz" pos="2268">
          <p15:clr>
            <a:srgbClr val="5ACBF0"/>
          </p15:clr>
        </p15:guide>
        <p15:guide id="5" pos="1901">
          <p15:clr>
            <a:srgbClr val="5ACBF0"/>
          </p15:clr>
        </p15:guide>
        <p15:guide id="6" pos="1930">
          <p15:clr>
            <a:srgbClr val="5ACBF0"/>
          </p15:clr>
        </p15:guide>
        <p15:guide id="8" pos="3832">
          <p15:clr>
            <a:srgbClr val="5ACBF0"/>
          </p15:clr>
        </p15:guide>
        <p15:guide id="9" pos="3859">
          <p15:clr>
            <a:srgbClr val="5ACBF0"/>
          </p15:clr>
        </p15:guide>
        <p15:guide id="11" pos="950">
          <p15:clr>
            <a:srgbClr val="5ACBF0"/>
          </p15:clr>
        </p15:guide>
        <p15:guide id="12" pos="2880">
          <p15:clr>
            <a:srgbClr val="5ACBF0"/>
          </p15:clr>
        </p15:guide>
        <p15:guide id="13" pos="4811">
          <p15:clr>
            <a:srgbClr val="5ACBF0"/>
          </p15:clr>
        </p15:guide>
        <p15:guide id="14" orient="horz" pos="806">
          <p15:clr>
            <a:srgbClr val="5ACBF0"/>
          </p15:clr>
        </p15:guide>
        <p15:guide id="15" pos="1626">
          <p15:clr>
            <a:srgbClr val="5ACBF0"/>
          </p15:clr>
        </p15:guide>
        <p15:guide id="16" pos="2208">
          <p15:clr>
            <a:srgbClr val="5ACBF0"/>
          </p15:clr>
        </p15:guide>
        <p15:guide id="17" pos="3554">
          <p15:clr>
            <a:srgbClr val="5ACBF0"/>
          </p15:clr>
        </p15:guide>
        <p15:guide id="18" pos="413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2"/>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3"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5235372"/>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1080">
          <p15:clr>
            <a:srgbClr val="5ACBF0"/>
          </p15:clr>
        </p15:guide>
        <p15:guide id="3" orient="horz" pos="2160">
          <p15:clr>
            <a:srgbClr val="5ACBF0"/>
          </p15:clr>
        </p15:guide>
        <p15:guide id="4" orient="horz" pos="2268">
          <p15:clr>
            <a:srgbClr val="5ACBF0"/>
          </p15:clr>
        </p15:guide>
        <p15:guide id="5" pos="1418">
          <p15:clr>
            <a:srgbClr val="5ACBF0"/>
          </p15:clr>
        </p15:guide>
        <p15:guide id="6" pos="1448">
          <p15:clr>
            <a:srgbClr val="5ACBF0"/>
          </p15:clr>
        </p15:guide>
        <p15:guide id="7" pos="4312">
          <p15:clr>
            <a:srgbClr val="5ACBF0"/>
          </p15:clr>
        </p15:guide>
        <p15:guide id="8" pos="2865">
          <p15:clr>
            <a:srgbClr val="5ACBF0"/>
          </p15:clr>
        </p15:guide>
        <p15:guide id="9" pos="2895">
          <p15:clr>
            <a:srgbClr val="5ACBF0"/>
          </p15:clr>
        </p15:guide>
        <p15:guide id="10" pos="4342">
          <p15:clr>
            <a:srgbClr val="5ACBF0"/>
          </p15:clr>
        </p15:guide>
        <p15:guide id="11" pos="708">
          <p15:clr>
            <a:srgbClr val="5ACBF0"/>
          </p15:clr>
        </p15:guide>
        <p15:guide id="12" pos="2157">
          <p15:clr>
            <a:srgbClr val="5ACBF0"/>
          </p15:clr>
        </p15:guide>
        <p15:guide id="13" pos="3605">
          <p15:clr>
            <a:srgbClr val="5ACBF0"/>
          </p15:clr>
        </p15:guide>
        <p15:guide id="14" pos="5052">
          <p15:clr>
            <a:srgbClr val="5ACBF0"/>
          </p15:clr>
        </p15:guide>
        <p15:guide id="15" orient="horz">
          <p15:clr>
            <a:srgbClr val="5ACBF0"/>
          </p15:clr>
        </p15:guide>
        <p15:guide id="16" pos="1143">
          <p15:clr>
            <a:srgbClr val="5ACBF0"/>
          </p15:clr>
        </p15:guide>
        <p15:guide id="17" pos="1724">
          <p15:clr>
            <a:srgbClr val="5ACBF0"/>
          </p15:clr>
        </p15:guide>
        <p15:guide id="18" pos="2588">
          <p15:clr>
            <a:srgbClr val="5ACBF0"/>
          </p15:clr>
        </p15:guide>
        <p15:guide id="19" pos="3173">
          <p15:clr>
            <a:srgbClr val="5ACBF0"/>
          </p15:clr>
        </p15:guide>
        <p15:guide id="20" pos="4035">
          <p15:clr>
            <a:srgbClr val="5ACBF0"/>
          </p15:clr>
        </p15:guide>
        <p15:guide id="21" pos="4617">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3"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5"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3"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0124038"/>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1080">
          <p15:clr>
            <a:srgbClr val="5ACBF0"/>
          </p15:clr>
        </p15:guide>
        <p15:guide id="3" orient="horz" pos="2160">
          <p15:clr>
            <a:srgbClr val="5ACBF0"/>
          </p15:clr>
        </p15:guide>
        <p15:guide id="4" orient="horz" pos="2268">
          <p15:clr>
            <a:srgbClr val="5ACBF0"/>
          </p15:clr>
        </p15:guide>
        <p15:guide id="8" pos="3473">
          <p15:clr>
            <a:srgbClr val="5ACBF0"/>
          </p15:clr>
        </p15:guide>
        <p15:guide id="9" pos="3445">
          <p15:clr>
            <a:srgbClr val="5ACBF0"/>
          </p15:clr>
        </p15:guide>
        <p15:guide id="10" pos="4601">
          <p15:clr>
            <a:srgbClr val="5ACBF0"/>
          </p15:clr>
        </p15:guide>
        <p15:guide id="11" pos="992">
          <p15:clr>
            <a:srgbClr val="5ACBF0"/>
          </p15:clr>
        </p15:guide>
        <p15:guide id="12" pos="2149">
          <p15:clr>
            <a:srgbClr val="5ACBF0"/>
          </p15:clr>
        </p15:guide>
        <p15:guide id="13" pos="3611">
          <p15:clr>
            <a:srgbClr val="5ACBF0"/>
          </p15:clr>
        </p15:guide>
        <p15:guide id="14" pos="4771">
          <p15:clr>
            <a:srgbClr val="5ACBF0"/>
          </p15:clr>
        </p15:guide>
        <p15:guide id="15" orient="horz">
          <p15:clr>
            <a:srgbClr val="5ACBF0"/>
          </p15:clr>
        </p15:guide>
        <p15:guide id="16" pos="1295">
          <p15:clr>
            <a:srgbClr val="5ACBF0"/>
          </p15:clr>
        </p15:guide>
        <p15:guide id="17" pos="1721">
          <p15:clr>
            <a:srgbClr val="5ACBF0"/>
          </p15:clr>
        </p15:guide>
        <p15:guide id="18" pos="2455">
          <p15:clr>
            <a:srgbClr val="5ACBF0"/>
          </p15:clr>
        </p15:guide>
        <p15:guide id="19" pos="3308">
          <p15:clr>
            <a:srgbClr val="5ACBF0"/>
          </p15:clr>
        </p15:guide>
        <p15:guide id="21" pos="4634">
          <p15:clr>
            <a:srgbClr val="5ACBF0"/>
          </p15:clr>
        </p15:guide>
        <p15:guide id="22" pos="1126">
          <p15:clr>
            <a:srgbClr val="5ACBF0"/>
          </p15:clr>
        </p15:guide>
        <p15:guide id="23" pos="1157">
          <p15:clr>
            <a:srgbClr val="5ACBF0"/>
          </p15:clr>
        </p15:guide>
        <p15:guide id="24" pos="2287">
          <p15:clr>
            <a:srgbClr val="5ACBF0"/>
          </p15:clr>
        </p15:guide>
        <p15:guide id="25" pos="2316">
          <p15:clr>
            <a:srgbClr val="5ACBF0"/>
          </p15:clr>
        </p15:guide>
        <p15:guide id="26" pos="4466">
          <p15:clr>
            <a:srgbClr val="5ACBF0"/>
          </p15:clr>
        </p15:guide>
        <p15:guide id="27" pos="2880">
          <p15:clr>
            <a:srgbClr val="5ACBF0"/>
          </p15:clr>
        </p15:guide>
        <p15:guide id="28" pos="4040">
          <p15:clr>
            <a:srgbClr val="5ACBF0"/>
          </p15:clr>
        </p15:guide>
        <p15:guide id="29" pos="565">
          <p15:clr>
            <a:srgbClr val="5ACBF0"/>
          </p15:clr>
        </p15:guide>
        <p15:guide id="30" pos="519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6"/>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7"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7"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2389775"/>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2268">
          <p15:clr>
            <a:srgbClr val="5ACBF0"/>
          </p15:clr>
        </p15:guide>
        <p15:guide id="3" pos="2880">
          <p15:clr>
            <a:srgbClr val="5ACBF0"/>
          </p15:clr>
        </p15:guide>
        <p15:guide id="4" pos="962">
          <p15:clr>
            <a:srgbClr val="5ACBF0"/>
          </p15:clr>
        </p15:guide>
        <p15:guide id="5" pos="4250">
          <p15:clr>
            <a:srgbClr val="5ACBF0"/>
          </p15:clr>
        </p15:guide>
        <p15:guide id="6" pos="2056">
          <p15:clr>
            <a:srgbClr val="5ACBF0"/>
          </p15:clr>
        </p15:guide>
        <p15:guide id="7" pos="1509">
          <p15:clr>
            <a:srgbClr val="5ACBF0"/>
          </p15:clr>
        </p15:guide>
        <p15:guide id="8" pos="2332">
          <p15:clr>
            <a:srgbClr val="5ACBF0"/>
          </p15:clr>
        </p15:guide>
        <p15:guide id="9" pos="3428">
          <p15:clr>
            <a:srgbClr val="5ACBF0"/>
          </p15:clr>
        </p15:guide>
        <p15:guide id="11" pos="4798">
          <p15:clr>
            <a:srgbClr val="5ACBF0"/>
          </p15:clr>
        </p15:guide>
        <p15:guide id="12" orient="horz" pos="1080">
          <p15:clr>
            <a:srgbClr val="5ACBF0"/>
          </p15:clr>
        </p15:guide>
        <p15:guide id="13" pos="3704">
          <p15:clr>
            <a:srgbClr val="5ACBF0"/>
          </p15:clr>
        </p15:guide>
        <p15:guide id="14" orient="horz" pos="217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itle 3">
            <a:extLst>
              <a:ext uri="{FF2B5EF4-FFF2-40B4-BE49-F238E27FC236}">
                <a16:creationId xmlns:a16="http://schemas.microsoft.com/office/drawing/2014/main" id="{0418BC26-76E4-4CF8-A374-85A456F007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499066"/>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2268">
          <p15:clr>
            <a:srgbClr val="5ACBF0"/>
          </p15:clr>
        </p15:guide>
        <p15:guide id="3" pos="3019">
          <p15:clr>
            <a:srgbClr val="5ACBF0"/>
          </p15:clr>
        </p15:guide>
        <p15:guide id="5" pos="4391">
          <p15:clr>
            <a:srgbClr val="5ACBF0"/>
          </p15:clr>
        </p15:guide>
        <p15:guide id="7" pos="2741">
          <p15:clr>
            <a:srgbClr val="5ACBF0"/>
          </p15:clr>
        </p15:guide>
        <p15:guide id="8" pos="1646">
          <p15:clr>
            <a:srgbClr val="5ACBF0"/>
          </p15:clr>
        </p15:guide>
        <p15:guide id="10" pos="2195">
          <p15:clr>
            <a:srgbClr val="5ACBF0"/>
          </p15:clr>
        </p15:guide>
        <p15:guide id="11" pos="3567">
          <p15:clr>
            <a:srgbClr val="5ACBF0"/>
          </p15:clr>
        </p15:guide>
        <p15:guide id="12" pos="4936">
          <p15:clr>
            <a:srgbClr val="5ACBF0"/>
          </p15:clr>
        </p15:guide>
        <p15:guide id="13" pos="823">
          <p15:clr>
            <a:srgbClr val="5ACBF0"/>
          </p15:clr>
        </p15:guide>
        <p15:guide id="14" orient="horz" pos="1080">
          <p15:clr>
            <a:srgbClr val="5ACBF0"/>
          </p15:clr>
        </p15:guide>
        <p15:guide id="15" pos="1370">
          <p15:clr>
            <a:srgbClr val="5ACBF0"/>
          </p15:clr>
        </p15:guide>
        <p15:guide id="18" pos="4112">
          <p15:clr>
            <a:srgbClr val="5ACBF0"/>
          </p15:clr>
        </p15:guide>
        <p15:guide id="19" orient="horz" pos="217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7"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7"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2"/>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9"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9"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8366424"/>
      </p:ext>
    </p:extLst>
  </p:cSld>
  <p:clrMapOvr>
    <a:masterClrMapping/>
  </p:clrMapOvr>
  <p:transition>
    <p:fade/>
  </p:transition>
  <p:hf hdr="0" ftr="0" dt="0"/>
  <p:extLst>
    <p:ext uri="{DCECCB84-F9BA-43D5-87BE-67443E8EF086}">
      <p15:sldGuideLst xmlns:p15="http://schemas.microsoft.com/office/powerpoint/2012/main">
        <p15:guide id="1" orient="horz" pos="540">
          <p15:clr>
            <a:srgbClr val="5ACBF0"/>
          </p15:clr>
        </p15:guide>
        <p15:guide id="2" orient="horz" pos="1998">
          <p15:clr>
            <a:srgbClr val="5ACBF0"/>
          </p15:clr>
        </p15:guide>
        <p15:guide id="3" pos="4662">
          <p15:clr>
            <a:srgbClr val="5ACBF0"/>
          </p15:clr>
        </p15:guide>
        <p15:guide id="5" pos="4388">
          <p15:clr>
            <a:srgbClr val="5ACBF0"/>
          </p15:clr>
        </p15:guide>
        <p15:guide id="7" pos="3294">
          <p15:clr>
            <a:srgbClr val="5ACBF0"/>
          </p15:clr>
        </p15:guide>
        <p15:guide id="8" pos="2469">
          <p15:clr>
            <a:srgbClr val="5ACBF0"/>
          </p15:clr>
        </p15:guide>
        <p15:guide id="10" pos="2195">
          <p15:clr>
            <a:srgbClr val="5ACBF0"/>
          </p15:clr>
        </p15:guide>
        <p15:guide id="11" pos="3566">
          <p15:clr>
            <a:srgbClr val="5ACBF0"/>
          </p15:clr>
        </p15:guide>
        <p15:guide id="13" pos="1098">
          <p15:clr>
            <a:srgbClr val="5ACBF0"/>
          </p15:clr>
        </p15:guide>
        <p15:guide id="14" orient="horz" pos="1080">
          <p15:clr>
            <a:srgbClr val="5ACBF0"/>
          </p15:clr>
        </p15:guide>
        <p15:guide id="15" pos="1373">
          <p15:clr>
            <a:srgbClr val="5ACBF0"/>
          </p15:clr>
        </p15:guide>
        <p15:guide id="16" orient="horz" pos="1900">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2"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l" defTabSz="93227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90" y="1258021"/>
            <a:ext cx="2605087" cy="1323439"/>
          </a:xfrm>
        </p:spPr>
        <p:txBody>
          <a:bodyPr/>
          <a:lstStyle>
            <a:lvl1pPr marL="0" indent="0">
              <a:buNone/>
              <a:defRPr sz="1400">
                <a:latin typeface="+mj-lt"/>
              </a:defRPr>
            </a:lvl1pPr>
            <a:lvl2pPr marL="9524" indent="0">
              <a:buNone/>
              <a:tabLst/>
              <a:defRPr sz="1200">
                <a:solidFill>
                  <a:schemeClr val="accent6"/>
                </a:solidFill>
                <a:latin typeface="+mn-lt"/>
              </a:defRPr>
            </a:lvl2pPr>
            <a:lvl3pPr marL="457101" indent="0">
              <a:buNone/>
              <a:defRPr sz="1200">
                <a:latin typeface="+mn-lt"/>
              </a:defRPr>
            </a:lvl3pPr>
            <a:lvl4pPr marL="661845" indent="0">
              <a:buNone/>
              <a:defRPr sz="1200">
                <a:latin typeface="+mn-lt"/>
              </a:defRPr>
            </a:lvl4pPr>
            <a:lvl5pPr marL="855477"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90" y="1258021"/>
            <a:ext cx="2605087" cy="1323439"/>
          </a:xfrm>
        </p:spPr>
        <p:txBody>
          <a:bodyPr/>
          <a:lstStyle>
            <a:lvl1pPr marL="0" indent="0">
              <a:buNone/>
              <a:defRPr sz="1400">
                <a:latin typeface="+mj-lt"/>
              </a:defRPr>
            </a:lvl1pPr>
            <a:lvl2pPr marL="9524" indent="0">
              <a:buNone/>
              <a:tabLst/>
              <a:defRPr sz="1200">
                <a:solidFill>
                  <a:schemeClr val="accent6"/>
                </a:solidFill>
                <a:latin typeface="+mn-lt"/>
              </a:defRPr>
            </a:lvl2pPr>
            <a:lvl3pPr marL="457101" indent="0">
              <a:buNone/>
              <a:defRPr sz="1200">
                <a:latin typeface="+mn-lt"/>
              </a:defRPr>
            </a:lvl3pPr>
            <a:lvl4pPr marL="661845" indent="0">
              <a:buNone/>
              <a:defRPr sz="1200">
                <a:latin typeface="+mn-lt"/>
              </a:defRPr>
            </a:lvl4pPr>
            <a:lvl5pPr marL="855477"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90" y="2960690"/>
            <a:ext cx="2605087" cy="1323439"/>
          </a:xfrm>
        </p:spPr>
        <p:txBody>
          <a:bodyPr/>
          <a:lstStyle>
            <a:lvl1pPr marL="0" indent="0">
              <a:buNone/>
              <a:defRPr sz="1400">
                <a:latin typeface="+mj-lt"/>
              </a:defRPr>
            </a:lvl1pPr>
            <a:lvl2pPr marL="9524" indent="0">
              <a:buNone/>
              <a:tabLst/>
              <a:defRPr sz="1200">
                <a:solidFill>
                  <a:schemeClr val="accent6"/>
                </a:solidFill>
                <a:latin typeface="+mn-lt"/>
              </a:defRPr>
            </a:lvl2pPr>
            <a:lvl3pPr marL="457101" indent="0">
              <a:buNone/>
              <a:defRPr sz="1200">
                <a:latin typeface="+mn-lt"/>
              </a:defRPr>
            </a:lvl3pPr>
            <a:lvl4pPr marL="661845" indent="0">
              <a:buNone/>
              <a:defRPr sz="1200">
                <a:latin typeface="+mn-lt"/>
              </a:defRPr>
            </a:lvl4pPr>
            <a:lvl5pPr marL="855477"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90" y="2960690"/>
            <a:ext cx="2605087" cy="1323439"/>
          </a:xfrm>
        </p:spPr>
        <p:txBody>
          <a:bodyPr/>
          <a:lstStyle>
            <a:lvl1pPr marL="0" indent="0">
              <a:buNone/>
              <a:defRPr sz="1400">
                <a:latin typeface="+mj-lt"/>
              </a:defRPr>
            </a:lvl1pPr>
            <a:lvl2pPr marL="9524" indent="0">
              <a:buNone/>
              <a:tabLst/>
              <a:defRPr sz="1200">
                <a:solidFill>
                  <a:schemeClr val="accent6"/>
                </a:solidFill>
                <a:latin typeface="+mn-lt"/>
              </a:defRPr>
            </a:lvl2pPr>
            <a:lvl3pPr marL="457101" indent="0">
              <a:buNone/>
              <a:defRPr sz="1200">
                <a:latin typeface="+mn-lt"/>
              </a:defRPr>
            </a:lvl3pPr>
            <a:lvl4pPr marL="661845" indent="0">
              <a:buNone/>
              <a:defRPr sz="1200">
                <a:latin typeface="+mn-lt"/>
              </a:defRPr>
            </a:lvl4pPr>
            <a:lvl5pPr marL="855477"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90" y="4545015"/>
            <a:ext cx="2605087" cy="1323439"/>
          </a:xfrm>
        </p:spPr>
        <p:txBody>
          <a:bodyPr/>
          <a:lstStyle>
            <a:lvl1pPr marL="0" indent="0">
              <a:buNone/>
              <a:defRPr sz="1400">
                <a:latin typeface="+mj-lt"/>
              </a:defRPr>
            </a:lvl1pPr>
            <a:lvl2pPr marL="9524" indent="0">
              <a:buNone/>
              <a:tabLst/>
              <a:defRPr sz="1200">
                <a:solidFill>
                  <a:schemeClr val="accent6"/>
                </a:solidFill>
                <a:latin typeface="+mn-lt"/>
              </a:defRPr>
            </a:lvl2pPr>
            <a:lvl3pPr marL="457101" indent="0">
              <a:buNone/>
              <a:defRPr sz="1200">
                <a:latin typeface="+mn-lt"/>
              </a:defRPr>
            </a:lvl3pPr>
            <a:lvl4pPr marL="661845" indent="0">
              <a:buNone/>
              <a:defRPr sz="1200">
                <a:latin typeface="+mn-lt"/>
              </a:defRPr>
            </a:lvl4pPr>
            <a:lvl5pPr marL="855477"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90" y="4545015"/>
            <a:ext cx="2605087" cy="1323439"/>
          </a:xfrm>
        </p:spPr>
        <p:txBody>
          <a:bodyPr/>
          <a:lstStyle>
            <a:lvl1pPr marL="0" indent="0">
              <a:buNone/>
              <a:defRPr sz="1400">
                <a:latin typeface="+mj-lt"/>
              </a:defRPr>
            </a:lvl1pPr>
            <a:lvl2pPr marL="9524" indent="0">
              <a:buNone/>
              <a:tabLst/>
              <a:defRPr sz="1200">
                <a:solidFill>
                  <a:schemeClr val="accent6"/>
                </a:solidFill>
                <a:latin typeface="+mn-lt"/>
              </a:defRPr>
            </a:lvl2pPr>
            <a:lvl3pPr marL="457101" indent="0">
              <a:buNone/>
              <a:defRPr sz="1200">
                <a:latin typeface="+mn-lt"/>
              </a:defRPr>
            </a:lvl3pPr>
            <a:lvl4pPr marL="661845" indent="0">
              <a:buNone/>
              <a:defRPr sz="1200">
                <a:latin typeface="+mn-lt"/>
              </a:defRPr>
            </a:lvl4pPr>
            <a:lvl5pPr marL="855477"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2258447019"/>
      </p:ext>
    </p:extLst>
  </p:cSld>
  <p:clrMapOvr>
    <a:masterClrMapping/>
  </p:clrMapOvr>
  <p:transition>
    <p:fade/>
  </p:transition>
  <p:hf hdr="0" ftr="0" dt="0"/>
  <p:extLst>
    <p:ext uri="{DCECCB84-F9BA-43D5-87BE-67443E8EF086}">
      <p15:sldGuideLst xmlns:p15="http://schemas.microsoft.com/office/powerpoint/2012/main">
        <p15:guide id="13" pos="2058">
          <p15:clr>
            <a:srgbClr val="5ACBF0"/>
          </p15:clr>
        </p15:guide>
        <p15:guide id="30" pos="1782">
          <p15:clr>
            <a:srgbClr val="5ACBF0"/>
          </p15:clr>
        </p15:guide>
        <p15:guide id="31" pos="2335">
          <p15:clr>
            <a:srgbClr val="5ACBF0"/>
          </p15:clr>
        </p15:guide>
        <p15:guide id="32" pos="4105">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2"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l" defTabSz="93227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90" y="718473"/>
            <a:ext cx="2921100" cy="369353"/>
          </a:xfrm>
        </p:spPr>
        <p:txBody>
          <a:bodyPr/>
          <a:lstStyle>
            <a:lvl1pPr marL="0" indent="0">
              <a:buNone/>
              <a:defRPr sz="2400">
                <a:latin typeface="+mj-lt"/>
              </a:defRPr>
            </a:lvl1pPr>
            <a:lvl2pPr marL="228550" indent="0">
              <a:buNone/>
              <a:defRPr/>
            </a:lvl2pPr>
            <a:lvl3pPr marL="457101" indent="0">
              <a:buNone/>
              <a:defRPr/>
            </a:lvl3pPr>
            <a:lvl4pPr marL="661845" indent="0">
              <a:buNone/>
              <a:defRPr/>
            </a:lvl4pPr>
            <a:lvl5pPr marL="855477"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90" y="1346405"/>
            <a:ext cx="2921101" cy="473976"/>
          </a:xfrm>
        </p:spPr>
        <p:txBody>
          <a:bodyPr/>
          <a:lstStyle>
            <a:lvl1pPr>
              <a:defRPr sz="1400">
                <a:solidFill>
                  <a:schemeClr val="accent6"/>
                </a:solidFill>
              </a:defRPr>
            </a:lvl1pPr>
            <a:lvl2pPr marL="22855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3" y="718473"/>
            <a:ext cx="2921100" cy="369353"/>
          </a:xfrm>
        </p:spPr>
        <p:txBody>
          <a:bodyPr/>
          <a:lstStyle>
            <a:lvl1pPr marL="0" indent="0">
              <a:buNone/>
              <a:defRPr sz="2400">
                <a:latin typeface="+mj-lt"/>
              </a:defRPr>
            </a:lvl1pPr>
            <a:lvl2pPr marL="228550" indent="0">
              <a:buNone/>
              <a:defRPr/>
            </a:lvl2pPr>
            <a:lvl3pPr marL="457101" indent="0">
              <a:buNone/>
              <a:defRPr/>
            </a:lvl3pPr>
            <a:lvl4pPr marL="661845" indent="0">
              <a:buNone/>
              <a:defRPr/>
            </a:lvl4pPr>
            <a:lvl5pPr marL="855477"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2" y="1346405"/>
            <a:ext cx="2921101" cy="473976"/>
          </a:xfrm>
        </p:spPr>
        <p:txBody>
          <a:bodyPr/>
          <a:lstStyle>
            <a:lvl1pPr>
              <a:defRPr sz="1400">
                <a:solidFill>
                  <a:schemeClr val="accent6"/>
                </a:solidFill>
              </a:defRPr>
            </a:lvl1pPr>
            <a:lvl2pPr marL="22855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9" y="2528889"/>
            <a:ext cx="2921100" cy="369353"/>
          </a:xfrm>
        </p:spPr>
        <p:txBody>
          <a:bodyPr/>
          <a:lstStyle>
            <a:lvl1pPr marL="0" indent="0">
              <a:buNone/>
              <a:defRPr sz="2400">
                <a:latin typeface="+mj-lt"/>
              </a:defRPr>
            </a:lvl1pPr>
            <a:lvl2pPr marL="228550" indent="0">
              <a:buNone/>
              <a:defRPr/>
            </a:lvl2pPr>
            <a:lvl3pPr marL="457101" indent="0">
              <a:buNone/>
              <a:defRPr/>
            </a:lvl3pPr>
            <a:lvl4pPr marL="661845" indent="0">
              <a:buNone/>
              <a:defRPr/>
            </a:lvl4pPr>
            <a:lvl5pPr marL="855477"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8" y="3156821"/>
            <a:ext cx="2921101" cy="473976"/>
          </a:xfrm>
        </p:spPr>
        <p:txBody>
          <a:bodyPr/>
          <a:lstStyle>
            <a:lvl1pPr>
              <a:defRPr sz="1400">
                <a:solidFill>
                  <a:schemeClr val="accent6"/>
                </a:solidFill>
              </a:defRPr>
            </a:lvl1pPr>
            <a:lvl2pPr marL="22855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9"/>
            <a:ext cx="2921100" cy="369353"/>
          </a:xfrm>
        </p:spPr>
        <p:txBody>
          <a:bodyPr/>
          <a:lstStyle>
            <a:lvl1pPr marL="0" indent="0">
              <a:buNone/>
              <a:defRPr sz="2400">
                <a:latin typeface="+mj-lt"/>
              </a:defRPr>
            </a:lvl1pPr>
            <a:lvl2pPr marL="228550" indent="0">
              <a:buNone/>
              <a:defRPr/>
            </a:lvl2pPr>
            <a:lvl3pPr marL="457101" indent="0">
              <a:buNone/>
              <a:defRPr/>
            </a:lvl3pPr>
            <a:lvl4pPr marL="661845" indent="0">
              <a:buNone/>
              <a:defRPr/>
            </a:lvl4pPr>
            <a:lvl5pPr marL="855477"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2" y="3156821"/>
            <a:ext cx="2921101" cy="473976"/>
          </a:xfrm>
        </p:spPr>
        <p:txBody>
          <a:bodyPr/>
          <a:lstStyle>
            <a:lvl1pPr>
              <a:defRPr sz="1400">
                <a:solidFill>
                  <a:schemeClr val="accent6"/>
                </a:solidFill>
              </a:defRPr>
            </a:lvl1pPr>
            <a:lvl2pPr marL="22855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9" y="4508501"/>
            <a:ext cx="2921100" cy="369353"/>
          </a:xfrm>
        </p:spPr>
        <p:txBody>
          <a:bodyPr/>
          <a:lstStyle>
            <a:lvl1pPr marL="0" indent="0">
              <a:buNone/>
              <a:defRPr sz="2400">
                <a:latin typeface="+mj-lt"/>
              </a:defRPr>
            </a:lvl1pPr>
            <a:lvl2pPr marL="228550" indent="0">
              <a:buNone/>
              <a:defRPr/>
            </a:lvl2pPr>
            <a:lvl3pPr marL="457101" indent="0">
              <a:buNone/>
              <a:defRPr/>
            </a:lvl3pPr>
            <a:lvl4pPr marL="661845" indent="0">
              <a:buNone/>
              <a:defRPr/>
            </a:lvl4pPr>
            <a:lvl5pPr marL="855477"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8" y="5136433"/>
            <a:ext cx="2921101" cy="473976"/>
          </a:xfrm>
        </p:spPr>
        <p:txBody>
          <a:bodyPr/>
          <a:lstStyle>
            <a:lvl1pPr>
              <a:defRPr sz="1400">
                <a:solidFill>
                  <a:schemeClr val="accent6"/>
                </a:solidFill>
              </a:defRPr>
            </a:lvl1pPr>
            <a:lvl2pPr marL="22855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1"/>
            <a:ext cx="2921100" cy="369353"/>
          </a:xfrm>
        </p:spPr>
        <p:txBody>
          <a:bodyPr/>
          <a:lstStyle>
            <a:lvl1pPr marL="0" indent="0">
              <a:buNone/>
              <a:defRPr sz="2400">
                <a:latin typeface="+mj-lt"/>
              </a:defRPr>
            </a:lvl1pPr>
            <a:lvl2pPr marL="228550" indent="0">
              <a:buNone/>
              <a:defRPr/>
            </a:lvl2pPr>
            <a:lvl3pPr marL="457101" indent="0">
              <a:buNone/>
              <a:defRPr/>
            </a:lvl3pPr>
            <a:lvl4pPr marL="661845" indent="0">
              <a:buNone/>
              <a:defRPr/>
            </a:lvl4pPr>
            <a:lvl5pPr marL="855477"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2" y="5136433"/>
            <a:ext cx="2921101" cy="473976"/>
          </a:xfrm>
        </p:spPr>
        <p:txBody>
          <a:bodyPr/>
          <a:lstStyle>
            <a:lvl1pPr>
              <a:defRPr sz="1400">
                <a:solidFill>
                  <a:schemeClr val="accent6"/>
                </a:solidFill>
              </a:defRPr>
            </a:lvl1pPr>
            <a:lvl2pPr marL="22855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306144142"/>
      </p:ext>
    </p:extLst>
  </p:cSld>
  <p:clrMapOvr>
    <a:masterClrMapping/>
  </p:clrMapOvr>
  <p:transition>
    <p:fade/>
  </p:transition>
  <p:hf hdr="0" ftr="0" dt="0"/>
  <p:extLst>
    <p:ext uri="{DCECCB84-F9BA-43D5-87BE-67443E8EF086}">
      <p15:sldGuideLst xmlns:p15="http://schemas.microsoft.com/office/powerpoint/2012/main">
        <p15:guide id="13" pos="2058">
          <p15:clr>
            <a:srgbClr val="5ACBF0"/>
          </p15:clr>
        </p15:guide>
        <p15:guide id="30" pos="1782">
          <p15:clr>
            <a:srgbClr val="5ACBF0"/>
          </p15:clr>
        </p15:guide>
        <p15:guide id="31" pos="2335">
          <p15:clr>
            <a:srgbClr val="5ACBF0"/>
          </p15:clr>
        </p15:guide>
        <p15:guide id="32" pos="410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TT_custom_layout">
    <p:bg bwMode="lt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2E1DB0-FCD8-4C57-BF18-7332D117030F}"/>
              </a:ext>
            </a:extLst>
          </p:cNvPr>
          <p:cNvGraphicFramePr>
            <a:graphicFrameLocks noChangeAspect="1"/>
          </p:cNvGraphicFramePr>
          <p:nvPr userDrawn="1">
            <p:custDataLst>
              <p:tags r:id="rId1"/>
            </p:custDataLst>
            <p:extLst>
              <p:ext uri="{D42A27DB-BD31-4B8C-83A1-F6EECF244321}">
                <p14:modId xmlns:p14="http://schemas.microsoft.com/office/powerpoint/2010/main" val="413067169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812E1DB0-FCD8-4C57-BF18-7332D117030F}"/>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3" name="Text Placeholder 4"/>
          <p:cNvSpPr>
            <a:spLocks noGrp="1"/>
          </p:cNvSpPr>
          <p:nvPr>
            <p:ph type="body" sz="quarter" idx="12"/>
          </p:nvPr>
        </p:nvSpPr>
        <p:spPr>
          <a:xfrm>
            <a:off x="410413" y="1956887"/>
            <a:ext cx="3805411" cy="1597189"/>
          </a:xfrm>
          <a:prstGeom prst="roundRect">
            <a:avLst>
              <a:gd name="adj" fmla="val 0"/>
            </a:avLst>
          </a:prstGeom>
          <a:solidFill>
            <a:schemeClr val="accent1"/>
          </a:solidFill>
          <a:ln>
            <a:noFill/>
          </a:ln>
          <a:effectLst/>
        </p:spPr>
        <p:txBody>
          <a:bodyPr anchor="ctr"/>
          <a:lstStyle>
            <a:lvl1pPr marL="239178" indent="0" algn="l" rtl="0">
              <a:defRPr sz="3200">
                <a:solidFill>
                  <a:srgbClr val="FFFFFF"/>
                </a:solidFill>
                <a:latin typeface="Arial"/>
                <a:cs typeface="Arial"/>
              </a:defRPr>
            </a:lvl1pPr>
            <a:lvl2pPr marL="478355" indent="241294" algn="l" rtl="0">
              <a:defRPr>
                <a:solidFill>
                  <a:srgbClr val="FFFFFF"/>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410413" y="4982057"/>
            <a:ext cx="3165808" cy="1019681"/>
          </a:xfrm>
          <a:prstGeom prst="roundRect">
            <a:avLst>
              <a:gd name="adj" fmla="val 0"/>
            </a:avLst>
          </a:prstGeom>
          <a:solidFill>
            <a:schemeClr val="bg1"/>
          </a:solidFill>
          <a:ln>
            <a:noFill/>
          </a:ln>
          <a:effectLst/>
        </p:spPr>
        <p:txBody>
          <a:bodyPr anchor="ctr"/>
          <a:lstStyle>
            <a:lvl1pPr algn="l" rtl="0">
              <a:defRPr sz="2667" b="1">
                <a:solidFill>
                  <a:schemeClr val="tx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3751383" y="5188480"/>
            <a:ext cx="8149535" cy="606833"/>
          </a:xfrm>
          <a:prstGeom prst="roundRect">
            <a:avLst>
              <a:gd name="adj" fmla="val 0"/>
            </a:avLst>
          </a:prstGeom>
          <a:solidFill>
            <a:schemeClr val="accent2"/>
          </a:solidFill>
          <a:ln>
            <a:noFill/>
          </a:ln>
          <a:effectLst/>
        </p:spPr>
        <p:txBody>
          <a:bodyPr anchor="ctr"/>
          <a:lstStyle>
            <a:lvl1pPr algn="ctr" rtl="0">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4364451" y="2395480"/>
            <a:ext cx="2715011" cy="720005"/>
          </a:xfrm>
          <a:prstGeom prst="roundRect">
            <a:avLst>
              <a:gd name="adj" fmla="val 0"/>
            </a:avLst>
          </a:prstGeom>
          <a:solidFill>
            <a:schemeClr val="accent2"/>
          </a:solidFill>
          <a:ln>
            <a:noFill/>
          </a:ln>
          <a:effectLst/>
        </p:spPr>
        <p:txBody>
          <a:bodyPr anchor="ctr"/>
          <a:lstStyle>
            <a:lvl1pPr algn="ctr" rtl="0">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7235005" y="624951"/>
            <a:ext cx="4665912" cy="1597189"/>
          </a:xfrm>
          <a:prstGeom prst="roundRect">
            <a:avLst>
              <a:gd name="adj" fmla="val 0"/>
            </a:avLst>
          </a:prstGeom>
          <a:solidFill>
            <a:schemeClr val="accent1"/>
          </a:solidFill>
          <a:ln>
            <a:noFill/>
          </a:ln>
          <a:effectLst/>
        </p:spPr>
        <p:txBody>
          <a:bodyPr anchor="ctr"/>
          <a:lstStyle>
            <a:lvl1pPr marL="239178" indent="0" algn="l" rtl="0">
              <a:defRPr sz="3200">
                <a:solidFill>
                  <a:srgbClr val="FFFFFF"/>
                </a:solidFill>
                <a:effectLst/>
                <a:latin typeface="Arial"/>
                <a:cs typeface="Arial"/>
              </a:defRPr>
            </a:lvl1pPr>
            <a:lvl2pPr marL="478355" indent="-239178" algn="l" rtl="0">
              <a:defRPr>
                <a:solidFill>
                  <a:srgbClr val="FFFFFF"/>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8" name="Text Placeholder 4"/>
          <p:cNvSpPr>
            <a:spLocks noGrp="1"/>
          </p:cNvSpPr>
          <p:nvPr>
            <p:ph type="body" sz="quarter" idx="17"/>
          </p:nvPr>
        </p:nvSpPr>
        <p:spPr>
          <a:xfrm>
            <a:off x="7235007" y="3395177"/>
            <a:ext cx="4698056" cy="392480"/>
          </a:xfrm>
          <a:prstGeom prst="roundRect">
            <a:avLst>
              <a:gd name="adj" fmla="val 0"/>
            </a:avLst>
          </a:prstGeom>
          <a:solidFill>
            <a:schemeClr val="bg1"/>
          </a:solidFill>
          <a:ln>
            <a:noFill/>
          </a:ln>
          <a:effectLst/>
        </p:spPr>
        <p:txBody>
          <a:bodyPr anchor="ctr"/>
          <a:lstStyle>
            <a:lvl1pPr algn="r" rtl="0">
              <a:defRPr>
                <a:solidFill>
                  <a:schemeClr val="tx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410414" y="190029"/>
            <a:ext cx="6712839" cy="751351"/>
          </a:xfrm>
          <a:prstGeom prst="rect">
            <a:avLst/>
          </a:prstGeom>
        </p:spPr>
        <p:txBody>
          <a:bodyPr vert="horz"/>
          <a:lstStyle>
            <a:lvl1pPr algn="l" rtl="0">
              <a:defRPr sz="2933" b="1">
                <a:solidFill>
                  <a:schemeClr val="accent2"/>
                </a:solidFill>
                <a:latin typeface="Arial"/>
                <a:cs typeface="Arial"/>
              </a:defRPr>
            </a:lvl1pPr>
          </a:lstStyle>
          <a:p>
            <a:r>
              <a:rPr lang="en-US"/>
              <a:t>Click to edit Master title style</a:t>
            </a:r>
          </a:p>
        </p:txBody>
      </p:sp>
    </p:spTree>
    <p:extLst>
      <p:ext uri="{BB962C8B-B14F-4D97-AF65-F5344CB8AC3E}">
        <p14:creationId xmlns:p14="http://schemas.microsoft.com/office/powerpoint/2010/main" val="253213261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l" defTabSz="93227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1"/>
            <a:ext cx="11018520" cy="553999"/>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5" y="4408343"/>
            <a:ext cx="2520951" cy="276999"/>
          </a:xfrm>
        </p:spPr>
        <p:txBody>
          <a:bodyPr/>
          <a:lstStyle>
            <a:lvl1pPr marL="0" indent="0">
              <a:buNone/>
              <a:defRPr sz="1800">
                <a:latin typeface="+mj-lt"/>
              </a:defRPr>
            </a:lvl1pPr>
            <a:lvl2pPr marL="228550" indent="0">
              <a:buNone/>
              <a:defRPr sz="1800">
                <a:latin typeface="+mj-lt"/>
              </a:defRPr>
            </a:lvl2pPr>
            <a:lvl3pPr marL="457101" indent="0">
              <a:buNone/>
              <a:defRPr sz="1800">
                <a:latin typeface="+mj-lt"/>
              </a:defRPr>
            </a:lvl3pPr>
            <a:lvl4pPr marL="661845" indent="0">
              <a:buNone/>
              <a:defRPr sz="1800">
                <a:latin typeface="+mj-lt"/>
              </a:defRPr>
            </a:lvl4pPr>
            <a:lvl5pPr marL="855477"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5" y="4772927"/>
            <a:ext cx="2520951" cy="215444"/>
          </a:xfrm>
        </p:spPr>
        <p:txBody>
          <a:bodyPr/>
          <a:lstStyle>
            <a:lvl1pPr marL="0" indent="0">
              <a:buNone/>
              <a:defRPr sz="1400"/>
            </a:lvl1pPr>
            <a:lvl2pPr marL="228550" indent="0">
              <a:buNone/>
              <a:defRPr sz="1400"/>
            </a:lvl2pPr>
            <a:lvl3pPr marL="457101" indent="0">
              <a:buNone/>
              <a:defRPr sz="1400"/>
            </a:lvl3pPr>
            <a:lvl4pPr marL="661845" indent="0">
              <a:buNone/>
              <a:defRPr sz="1400"/>
            </a:lvl4pPr>
            <a:lvl5pPr marL="855477"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5" y="5171596"/>
            <a:ext cx="2520951" cy="923330"/>
          </a:xfrm>
        </p:spPr>
        <p:txBody>
          <a:bodyPr/>
          <a:lstStyle>
            <a:lvl1pPr marL="0" marR="0" indent="0" algn="l" defTabSz="932539"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550" indent="0">
              <a:buNone/>
              <a:defRPr/>
            </a:lvl2pPr>
            <a:lvl3pPr marL="457101" indent="0">
              <a:buNone/>
              <a:defRPr/>
            </a:lvl3pPr>
            <a:lvl4pPr marL="661845" indent="0">
              <a:buNone/>
              <a:defRPr/>
            </a:lvl4pPr>
            <a:lvl5pPr marL="855477" indent="0">
              <a:buNone/>
              <a:defRPr/>
            </a:lvl5pPr>
          </a:lstStyle>
          <a:p>
            <a:pPr marL="0" marR="0" lvl="0" indent="0" algn="l" defTabSz="93253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6" y="4400553"/>
            <a:ext cx="2520951" cy="276999"/>
          </a:xfrm>
        </p:spPr>
        <p:txBody>
          <a:bodyPr/>
          <a:lstStyle>
            <a:lvl1pPr marL="0" indent="0">
              <a:buNone/>
              <a:defRPr sz="1800">
                <a:latin typeface="+mj-lt"/>
              </a:defRPr>
            </a:lvl1pPr>
            <a:lvl2pPr marL="228550" indent="0">
              <a:buNone/>
              <a:defRPr sz="1800">
                <a:latin typeface="+mj-lt"/>
              </a:defRPr>
            </a:lvl2pPr>
            <a:lvl3pPr marL="457101" indent="0">
              <a:buNone/>
              <a:defRPr sz="1800">
                <a:latin typeface="+mj-lt"/>
              </a:defRPr>
            </a:lvl3pPr>
            <a:lvl4pPr marL="661845" indent="0">
              <a:buNone/>
              <a:defRPr sz="1800">
                <a:latin typeface="+mj-lt"/>
              </a:defRPr>
            </a:lvl4pPr>
            <a:lvl5pPr marL="855477"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6" y="4765135"/>
            <a:ext cx="2520951" cy="215444"/>
          </a:xfrm>
        </p:spPr>
        <p:txBody>
          <a:bodyPr/>
          <a:lstStyle>
            <a:lvl1pPr marL="0" indent="0">
              <a:buNone/>
              <a:defRPr sz="1400"/>
            </a:lvl1pPr>
            <a:lvl2pPr marL="228550" indent="0">
              <a:buNone/>
              <a:defRPr sz="1400"/>
            </a:lvl2pPr>
            <a:lvl3pPr marL="457101" indent="0">
              <a:buNone/>
              <a:defRPr sz="1400"/>
            </a:lvl3pPr>
            <a:lvl4pPr marL="661845" indent="0">
              <a:buNone/>
              <a:defRPr sz="1400"/>
            </a:lvl4pPr>
            <a:lvl5pPr marL="855477"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6" y="5163806"/>
            <a:ext cx="2520951" cy="923330"/>
          </a:xfrm>
        </p:spPr>
        <p:txBody>
          <a:bodyPr/>
          <a:lstStyle>
            <a:lvl1pPr marL="0" marR="0" indent="0" algn="l" defTabSz="932539"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550" indent="0">
              <a:buNone/>
              <a:defRPr/>
            </a:lvl2pPr>
            <a:lvl3pPr marL="457101" indent="0">
              <a:buNone/>
              <a:defRPr/>
            </a:lvl3pPr>
            <a:lvl4pPr marL="661845" indent="0">
              <a:buNone/>
              <a:defRPr/>
            </a:lvl4pPr>
            <a:lvl5pPr marL="855477" indent="0">
              <a:buNone/>
              <a:defRPr/>
            </a:lvl5pPr>
          </a:lstStyle>
          <a:p>
            <a:pPr marL="0" marR="0" lvl="0" indent="0" algn="l" defTabSz="93253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3"/>
            <a:ext cx="2520951" cy="276999"/>
          </a:xfrm>
        </p:spPr>
        <p:txBody>
          <a:bodyPr/>
          <a:lstStyle>
            <a:lvl1pPr marL="0" indent="0">
              <a:buNone/>
              <a:defRPr sz="1800">
                <a:latin typeface="+mj-lt"/>
              </a:defRPr>
            </a:lvl1pPr>
            <a:lvl2pPr marL="228550" indent="0">
              <a:buNone/>
              <a:defRPr sz="1800">
                <a:latin typeface="+mj-lt"/>
              </a:defRPr>
            </a:lvl2pPr>
            <a:lvl3pPr marL="457101" indent="0">
              <a:buNone/>
              <a:defRPr sz="1800">
                <a:latin typeface="+mj-lt"/>
              </a:defRPr>
            </a:lvl3pPr>
            <a:lvl4pPr marL="661845" indent="0">
              <a:buNone/>
              <a:defRPr sz="1800">
                <a:latin typeface="+mj-lt"/>
              </a:defRPr>
            </a:lvl4pPr>
            <a:lvl5pPr marL="855477"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5"/>
            <a:ext cx="2520951" cy="215444"/>
          </a:xfrm>
        </p:spPr>
        <p:txBody>
          <a:bodyPr/>
          <a:lstStyle>
            <a:lvl1pPr marL="0" indent="0">
              <a:buNone/>
              <a:defRPr sz="1400"/>
            </a:lvl1pPr>
            <a:lvl2pPr marL="228550" indent="0">
              <a:buNone/>
              <a:defRPr sz="1400"/>
            </a:lvl2pPr>
            <a:lvl3pPr marL="457101" indent="0">
              <a:buNone/>
              <a:defRPr sz="1400"/>
            </a:lvl3pPr>
            <a:lvl4pPr marL="661845" indent="0">
              <a:buNone/>
              <a:defRPr sz="1400"/>
            </a:lvl4pPr>
            <a:lvl5pPr marL="855477"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6"/>
            <a:ext cx="2520951" cy="923330"/>
          </a:xfrm>
        </p:spPr>
        <p:txBody>
          <a:bodyPr/>
          <a:lstStyle>
            <a:lvl1pPr marL="0" marR="0" indent="0" algn="l" defTabSz="932539"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550" indent="0">
              <a:buNone/>
              <a:defRPr/>
            </a:lvl2pPr>
            <a:lvl3pPr marL="457101" indent="0">
              <a:buNone/>
              <a:defRPr/>
            </a:lvl3pPr>
            <a:lvl4pPr marL="661845" indent="0">
              <a:buNone/>
              <a:defRPr/>
            </a:lvl4pPr>
            <a:lvl5pPr marL="855477" indent="0">
              <a:buNone/>
              <a:defRPr/>
            </a:lvl5pPr>
          </a:lstStyle>
          <a:p>
            <a:pPr marL="0" marR="0" lvl="0" indent="0" algn="l" defTabSz="93253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3"/>
            <a:ext cx="2520951" cy="276999"/>
          </a:xfrm>
        </p:spPr>
        <p:txBody>
          <a:bodyPr/>
          <a:lstStyle>
            <a:lvl1pPr marL="0" indent="0">
              <a:buNone/>
              <a:defRPr sz="1800">
                <a:latin typeface="+mj-lt"/>
              </a:defRPr>
            </a:lvl1pPr>
            <a:lvl2pPr marL="228550" indent="0">
              <a:buNone/>
              <a:defRPr sz="1800">
                <a:latin typeface="+mj-lt"/>
              </a:defRPr>
            </a:lvl2pPr>
            <a:lvl3pPr marL="457101" indent="0">
              <a:buNone/>
              <a:defRPr sz="1800">
                <a:latin typeface="+mj-lt"/>
              </a:defRPr>
            </a:lvl3pPr>
            <a:lvl4pPr marL="661845" indent="0">
              <a:buNone/>
              <a:defRPr sz="1800">
                <a:latin typeface="+mj-lt"/>
              </a:defRPr>
            </a:lvl4pPr>
            <a:lvl5pPr marL="855477"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5"/>
            <a:ext cx="2520951" cy="215444"/>
          </a:xfrm>
        </p:spPr>
        <p:txBody>
          <a:bodyPr/>
          <a:lstStyle>
            <a:lvl1pPr marL="0" indent="0">
              <a:buNone/>
              <a:defRPr sz="1400"/>
            </a:lvl1pPr>
            <a:lvl2pPr marL="228550" indent="0">
              <a:buNone/>
              <a:defRPr sz="1400"/>
            </a:lvl2pPr>
            <a:lvl3pPr marL="457101" indent="0">
              <a:buNone/>
              <a:defRPr sz="1400"/>
            </a:lvl3pPr>
            <a:lvl4pPr marL="661845" indent="0">
              <a:buNone/>
              <a:defRPr sz="1400"/>
            </a:lvl4pPr>
            <a:lvl5pPr marL="855477"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6"/>
            <a:ext cx="2520951" cy="923330"/>
          </a:xfrm>
        </p:spPr>
        <p:txBody>
          <a:bodyPr/>
          <a:lstStyle>
            <a:lvl1pPr marL="0" marR="0" indent="0" algn="l" defTabSz="932539"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550" indent="0">
              <a:buNone/>
              <a:defRPr/>
            </a:lvl2pPr>
            <a:lvl3pPr marL="457101" indent="0">
              <a:buNone/>
              <a:defRPr/>
            </a:lvl3pPr>
            <a:lvl4pPr marL="661845" indent="0">
              <a:buNone/>
              <a:defRPr/>
            </a:lvl4pPr>
            <a:lvl5pPr marL="855477" indent="0">
              <a:buNone/>
              <a:defRPr/>
            </a:lvl5pPr>
          </a:lstStyle>
          <a:p>
            <a:pPr marL="0" marR="0" lvl="0" indent="0" algn="l" defTabSz="93253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11"/>
            <a:ext cx="2160000" cy="2423715"/>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7" y="1785411"/>
            <a:ext cx="2160000" cy="2423715"/>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11"/>
            <a:ext cx="2160000" cy="2423715"/>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6" y="1785411"/>
            <a:ext cx="2160000" cy="2423715"/>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2226759677"/>
      </p:ext>
    </p:extLst>
  </p:cSld>
  <p:clrMapOvr>
    <a:masterClrMapping/>
  </p:clrMapOvr>
  <p:transition>
    <p:fade/>
  </p:transition>
  <p:hf hdr="0" ftr="0" dt="0"/>
  <p:extLst>
    <p:ext uri="{DCECCB84-F9BA-43D5-87BE-67443E8EF086}">
      <p15:sldGuideLst xmlns:p15="http://schemas.microsoft.com/office/powerpoint/2012/main">
        <p15:guide id="2" pos="277">
          <p15:clr>
            <a:srgbClr val="F26B43"/>
          </p15:clr>
        </p15:guide>
        <p15:guide id="3" orient="horz" pos="275">
          <p15:clr>
            <a:srgbClr val="F26B43"/>
          </p15:clr>
        </p15:guide>
        <p15:guide id="4" pos="5483">
          <p15:clr>
            <a:srgbClr val="F26B43"/>
          </p15:clr>
        </p15:guide>
        <p15:guide id="5" orient="horz" pos="2963">
          <p15:clr>
            <a:srgbClr val="F26B43"/>
          </p15:clr>
        </p15:guide>
        <p15:guide id="10" pos="1475">
          <p15:clr>
            <a:srgbClr val="A4A3A4"/>
          </p15:clr>
        </p15:guide>
        <p15:guide id="11" pos="1613">
          <p15:clr>
            <a:srgbClr val="A4A3A4"/>
          </p15:clr>
        </p15:guide>
        <p15:guide id="16" pos="2812">
          <p15:clr>
            <a:srgbClr val="A4A3A4"/>
          </p15:clr>
        </p15:guide>
        <p15:guide id="17" pos="2949">
          <p15:clr>
            <a:srgbClr val="A4A3A4"/>
          </p15:clr>
        </p15:guide>
        <p15:guide id="22" pos="4147">
          <p15:clr>
            <a:srgbClr val="A4A3A4"/>
          </p15:clr>
        </p15:guide>
        <p15:guide id="23" pos="4286">
          <p15:clr>
            <a:srgbClr val="A4A3A4"/>
          </p15:clr>
        </p15:guide>
        <p15:guide id="28" pos="2880">
          <p15:clr>
            <a:srgbClr val="F26B43"/>
          </p15:clr>
        </p15:guide>
        <p15:guide id="29" pos="4182">
          <p15:clr>
            <a:srgbClr val="F26B43"/>
          </p15:clr>
        </p15:guide>
        <p15:guide id="30" pos="1579">
          <p15:clr>
            <a:srgbClr val="F26B43"/>
          </p15:clr>
        </p15:guide>
        <p15:guide id="31" orient="horz" pos="2079">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53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72557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601">
          <p15:clr>
            <a:srgbClr val="5ACBF0"/>
          </p15:clr>
        </p15:guide>
        <p15:guide id="3" orient="horz" pos="1433">
          <p15:clr>
            <a:srgbClr val="5ACBF0"/>
          </p15:clr>
        </p15:guide>
        <p15:guide id="4" orient="horz" pos="1879">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53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58916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601">
          <p15:clr>
            <a:srgbClr val="5ACBF0"/>
          </p15:clr>
        </p15:guide>
        <p15:guide id="3" orient="horz" pos="1433">
          <p15:clr>
            <a:srgbClr val="5ACBF0"/>
          </p15:clr>
        </p15:guide>
        <p15:guide id="4" orient="horz" pos="1879">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539" rtl="0" eaLnBrk="1" latinLnBrk="0" hangingPunct="1">
              <a:lnSpc>
                <a:spcPct val="90000"/>
              </a:lnSpc>
              <a:spcBef>
                <a:spcPct val="0"/>
              </a:spcBef>
              <a:buNone/>
              <a:defRPr lang="en-US" sz="3600" b="0" kern="1200" cap="none" spc="-51"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67718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601">
          <p15:clr>
            <a:srgbClr val="5ACBF0"/>
          </p15:clr>
        </p15:guide>
        <p15:guide id="3" orient="horz" pos="1433">
          <p15:clr>
            <a:srgbClr val="5ACBF0"/>
          </p15:clr>
        </p15:guide>
        <p15:guide id="4" orient="horz" pos="1879">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53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349254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601">
          <p15:clr>
            <a:srgbClr val="5ACBF0"/>
          </p15:clr>
        </p15:guide>
        <p15:guide id="3" orient="horz" pos="1433">
          <p15:clr>
            <a:srgbClr val="5ACBF0"/>
          </p15:clr>
        </p15:guide>
        <p15:guide id="4" orient="horz" pos="1879">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53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60227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601">
          <p15:clr>
            <a:srgbClr val="5ACBF0"/>
          </p15:clr>
        </p15:guide>
        <p15:guide id="3" orient="horz" pos="1433">
          <p15:clr>
            <a:srgbClr val="5ACBF0"/>
          </p15:clr>
        </p15:guide>
        <p15:guide id="4" orient="horz" pos="1879">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9"/>
            <a:ext cx="9144000" cy="498599"/>
          </a:xfrm>
          <a:noFill/>
        </p:spPr>
        <p:txBody>
          <a:bodyPr lIns="0" tIns="0" rIns="0" bIns="0" anchor="b" anchorCtr="0">
            <a:spAutoFit/>
          </a:bodyPr>
          <a:lstStyle>
            <a:lvl1pPr algn="l" defTabSz="93253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617975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601">
          <p15:clr>
            <a:srgbClr val="5ACBF0"/>
          </p15:clr>
        </p15:guide>
        <p15:guide id="3" orient="horz" pos="1433">
          <p15:clr>
            <a:srgbClr val="5ACBF0"/>
          </p15:clr>
        </p15:guide>
        <p15:guide id="4" orient="horz" pos="1879">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Section Title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663"/>
            <a:ext cx="5724808" cy="498675"/>
          </a:xfrm>
          <a:noFill/>
        </p:spPr>
        <p:txBody>
          <a:bodyPr wrap="square" lIns="0" tIns="0" rIns="0" bIns="0" anchor="ctr" anchorCtr="0">
            <a:spAutoFit/>
          </a:bodyPr>
          <a:lstStyle>
            <a:lvl1pPr algn="l" defTabSz="932539" rtl="0" eaLnBrk="1" latinLnBrk="0" hangingPunct="1">
              <a:lnSpc>
                <a:spcPct val="90000"/>
              </a:lnSpc>
              <a:spcBef>
                <a:spcPct val="0"/>
              </a:spcBef>
              <a:buNone/>
              <a:defRPr lang="en-US" sz="3529" b="0" kern="1200" cap="none" spc="-51" baseline="0" dirty="0">
                <a:ln w="3175">
                  <a:noFill/>
                </a:ln>
                <a:solidFill>
                  <a:schemeClr val="accent3"/>
                </a:solidFill>
                <a:effectLst/>
                <a:latin typeface="+mj-lt"/>
                <a:ea typeface="+mn-ea"/>
                <a:cs typeface="Segoe UI" pitchFamily="34" charset="0"/>
              </a:defRPr>
            </a:lvl1pPr>
          </a:lstStyle>
          <a:p>
            <a:r>
              <a:rPr lang="en-US"/>
              <a:t>Section title with no subtitle</a:t>
            </a:r>
          </a:p>
        </p:txBody>
      </p:sp>
      <p:sp>
        <p:nvSpPr>
          <p:cNvPr id="162" name="Rectangle 161">
            <a:extLst>
              <a:ext uri="{FF2B5EF4-FFF2-40B4-BE49-F238E27FC236}">
                <a16:creationId xmlns:a16="http://schemas.microsoft.com/office/drawing/2014/main" id="{0FD9F46C-0C7B-482C-8FBC-4CB29AE623AD}"/>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grpSp>
        <p:nvGrpSpPr>
          <p:cNvPr id="4" name="Group 3">
            <a:extLst>
              <a:ext uri="{FF2B5EF4-FFF2-40B4-BE49-F238E27FC236}">
                <a16:creationId xmlns:a16="http://schemas.microsoft.com/office/drawing/2014/main" id="{06419D10-1243-4336-95AD-A801F112ED4F}"/>
              </a:ext>
              <a:ext uri="{C183D7F6-B498-43B3-948B-1728B52AA6E4}">
                <adec:decorative xmlns:adec="http://schemas.microsoft.com/office/drawing/2017/decorative" val="1"/>
              </a:ext>
            </a:extLst>
          </p:cNvPr>
          <p:cNvGrpSpPr/>
          <p:nvPr userDrawn="1"/>
        </p:nvGrpSpPr>
        <p:grpSpPr>
          <a:xfrm>
            <a:off x="-1" y="1"/>
            <a:ext cx="12192001" cy="6858001"/>
            <a:chOff x="-1" y="0"/>
            <a:chExt cx="12436476" cy="6994526"/>
          </a:xfrm>
        </p:grpSpPr>
        <p:sp>
          <p:nvSpPr>
            <p:cNvPr id="3" name="Oval 2">
              <a:extLst>
                <a:ext uri="{FF2B5EF4-FFF2-40B4-BE49-F238E27FC236}">
                  <a16:creationId xmlns:a16="http://schemas.microsoft.com/office/drawing/2014/main" id="{67A31A60-1F5E-4189-AD7C-60725C4AEA07}"/>
                </a:ext>
                <a:ext uri="{C183D7F6-B498-43B3-948B-1728B52AA6E4}">
                  <adec:decorative xmlns:adec="http://schemas.microsoft.com/office/drawing/2017/decorative" val="1"/>
                </a:ext>
              </a:extLst>
            </p:cNvPr>
            <p:cNvSpPr/>
            <p:nvPr userDrawn="1"/>
          </p:nvSpPr>
          <p:spPr bwMode="auto">
            <a:xfrm>
              <a:off x="6108701" y="629682"/>
              <a:ext cx="3600128" cy="3600129"/>
            </a:xfrm>
            <a:prstGeom prst="ellipse">
              <a:avLst/>
            </a:prstGeom>
            <a:gradFill flip="none" rotWithShape="1">
              <a:gsLst>
                <a:gs pos="0">
                  <a:schemeClr val="accent3">
                    <a:alpha val="15000"/>
                  </a:schemeClr>
                </a:gs>
                <a:gs pos="100000">
                  <a:schemeClr val="bg1">
                    <a:alpha val="9000"/>
                  </a:schemeClr>
                </a:gs>
              </a:gsLst>
              <a:lin ang="1620000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64" name="Oval 163">
              <a:extLst>
                <a:ext uri="{FF2B5EF4-FFF2-40B4-BE49-F238E27FC236}">
                  <a16:creationId xmlns:a16="http://schemas.microsoft.com/office/drawing/2014/main" id="{377F5F5A-04A9-4788-B0E0-F2B94F96B4B8}"/>
                </a:ext>
                <a:ext uri="{C183D7F6-B498-43B3-948B-1728B52AA6E4}">
                  <adec:decorative xmlns:adec="http://schemas.microsoft.com/office/drawing/2017/decorative" val="1"/>
                </a:ext>
              </a:extLst>
            </p:cNvPr>
            <p:cNvSpPr/>
            <p:nvPr userDrawn="1"/>
          </p:nvSpPr>
          <p:spPr bwMode="auto">
            <a:xfrm>
              <a:off x="8133239" y="2764715"/>
              <a:ext cx="3600128" cy="3600129"/>
            </a:xfrm>
            <a:prstGeom prst="ellipse">
              <a:avLst/>
            </a:prstGeom>
            <a:gradFill flip="none" rotWithShape="1">
              <a:gsLst>
                <a:gs pos="0">
                  <a:schemeClr val="accent3">
                    <a:alpha val="15000"/>
                  </a:schemeClr>
                </a:gs>
                <a:gs pos="100000">
                  <a:schemeClr val="bg1">
                    <a:alpha val="9000"/>
                  </a:schemeClr>
                </a:gs>
              </a:gsLst>
              <a:lin ang="270000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65" name="Oval 164">
              <a:extLst>
                <a:ext uri="{FF2B5EF4-FFF2-40B4-BE49-F238E27FC236}">
                  <a16:creationId xmlns:a16="http://schemas.microsoft.com/office/drawing/2014/main" id="{186818B3-0E17-49A7-BA0D-2AA918410C01}"/>
                </a:ext>
                <a:ext uri="{C183D7F6-B498-43B3-948B-1728B52AA6E4}">
                  <adec:decorative xmlns:adec="http://schemas.microsoft.com/office/drawing/2017/decorative" val="1"/>
                </a:ext>
              </a:extLst>
            </p:cNvPr>
            <p:cNvSpPr/>
            <p:nvPr userDrawn="1"/>
          </p:nvSpPr>
          <p:spPr bwMode="auto">
            <a:xfrm>
              <a:off x="8133239" y="629682"/>
              <a:ext cx="3600128" cy="3600129"/>
            </a:xfrm>
            <a:prstGeom prst="ellipse">
              <a:avLst/>
            </a:prstGeom>
            <a:gradFill flip="none" rotWithShape="1">
              <a:gsLst>
                <a:gs pos="0">
                  <a:schemeClr val="accent3">
                    <a:alpha val="15000"/>
                  </a:schemeClr>
                </a:gs>
                <a:gs pos="100000">
                  <a:schemeClr val="bg1">
                    <a:alpha val="9000"/>
                  </a:schemeClr>
                </a:gs>
              </a:gsLst>
              <a:lin ang="1890000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66" name="Oval 165">
              <a:extLst>
                <a:ext uri="{FF2B5EF4-FFF2-40B4-BE49-F238E27FC236}">
                  <a16:creationId xmlns:a16="http://schemas.microsoft.com/office/drawing/2014/main" id="{E5109791-3455-413C-88DD-F4382796F998}"/>
                </a:ext>
                <a:ext uri="{C183D7F6-B498-43B3-948B-1728B52AA6E4}">
                  <adec:decorative xmlns:adec="http://schemas.microsoft.com/office/drawing/2017/decorative" val="1"/>
                </a:ext>
              </a:extLst>
            </p:cNvPr>
            <p:cNvSpPr/>
            <p:nvPr userDrawn="1"/>
          </p:nvSpPr>
          <p:spPr bwMode="auto">
            <a:xfrm>
              <a:off x="6108701" y="2740264"/>
              <a:ext cx="3600128" cy="3600129"/>
            </a:xfrm>
            <a:prstGeom prst="ellipse">
              <a:avLst/>
            </a:prstGeom>
            <a:gradFill flip="none" rotWithShape="1">
              <a:gsLst>
                <a:gs pos="0">
                  <a:schemeClr val="accent3">
                    <a:alpha val="15000"/>
                  </a:schemeClr>
                </a:gs>
                <a:gs pos="100000">
                  <a:schemeClr val="bg1">
                    <a:alpha val="9000"/>
                  </a:schemeClr>
                </a:gs>
              </a:gsLst>
              <a:lin ang="810000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75" name="Freeform: Shape 174">
              <a:extLst>
                <a:ext uri="{FF2B5EF4-FFF2-40B4-BE49-F238E27FC236}">
                  <a16:creationId xmlns:a16="http://schemas.microsoft.com/office/drawing/2014/main" id="{F8E2EA40-663E-486A-ADCF-A75516D7E9D4}"/>
                </a:ext>
                <a:ext uri="{C183D7F6-B498-43B3-948B-1728B52AA6E4}">
                  <adec:decorative xmlns:adec="http://schemas.microsoft.com/office/drawing/2017/decorative" val="1"/>
                </a:ext>
              </a:extLst>
            </p:cNvPr>
            <p:cNvSpPr/>
            <p:nvPr userDrawn="1"/>
          </p:nvSpPr>
          <p:spPr bwMode="auto">
            <a:xfrm>
              <a:off x="8408586" y="172480"/>
              <a:ext cx="4027888" cy="6649564"/>
            </a:xfrm>
            <a:custGeom>
              <a:avLst/>
              <a:gdLst>
                <a:gd name="connsiteX0" fmla="*/ 3324781 w 4027888"/>
                <a:gd name="connsiteY0" fmla="*/ 0 h 6649564"/>
                <a:gd name="connsiteX1" fmla="*/ 3994840 w 4027888"/>
                <a:gd name="connsiteY1" fmla="*/ 67548 h 6649564"/>
                <a:gd name="connsiteX2" fmla="*/ 4027888 w 4027888"/>
                <a:gd name="connsiteY2" fmla="*/ 75175 h 6649564"/>
                <a:gd name="connsiteX3" fmla="*/ 4027888 w 4027888"/>
                <a:gd name="connsiteY3" fmla="*/ 6574389 h 6649564"/>
                <a:gd name="connsiteX4" fmla="*/ 3994840 w 4027888"/>
                <a:gd name="connsiteY4" fmla="*/ 6582016 h 6649564"/>
                <a:gd name="connsiteX5" fmla="*/ 3324781 w 4027888"/>
                <a:gd name="connsiteY5" fmla="*/ 6649564 h 6649564"/>
                <a:gd name="connsiteX6" fmla="*/ 0 w 4027888"/>
                <a:gd name="connsiteY6" fmla="*/ 3324782 h 6649564"/>
                <a:gd name="connsiteX7" fmla="*/ 3324781 w 4027888"/>
                <a:gd name="connsiteY7" fmla="*/ 0 h 6649564"/>
                <a:gd name="connsiteX0" fmla="*/ 3324781 w 4027888"/>
                <a:gd name="connsiteY0" fmla="*/ 0 h 6649564"/>
                <a:gd name="connsiteX1" fmla="*/ 3994840 w 4027888"/>
                <a:gd name="connsiteY1" fmla="*/ 67548 h 6649564"/>
                <a:gd name="connsiteX2" fmla="*/ 4027888 w 4027888"/>
                <a:gd name="connsiteY2" fmla="*/ 75175 h 6649564"/>
                <a:gd name="connsiteX3" fmla="*/ 4012014 w 4027888"/>
                <a:gd name="connsiteY3" fmla="*/ 3142220 h 6649564"/>
                <a:gd name="connsiteX4" fmla="*/ 4027888 w 4027888"/>
                <a:gd name="connsiteY4" fmla="*/ 6574389 h 6649564"/>
                <a:gd name="connsiteX5" fmla="*/ 3994840 w 4027888"/>
                <a:gd name="connsiteY5" fmla="*/ 6582016 h 6649564"/>
                <a:gd name="connsiteX6" fmla="*/ 3324781 w 4027888"/>
                <a:gd name="connsiteY6" fmla="*/ 6649564 h 6649564"/>
                <a:gd name="connsiteX7" fmla="*/ 0 w 4027888"/>
                <a:gd name="connsiteY7" fmla="*/ 3324782 h 6649564"/>
                <a:gd name="connsiteX8" fmla="*/ 3324781 w 4027888"/>
                <a:gd name="connsiteY8" fmla="*/ 0 h 6649564"/>
                <a:gd name="connsiteX0" fmla="*/ 4012014 w 4103454"/>
                <a:gd name="connsiteY0" fmla="*/ 3142220 h 6649564"/>
                <a:gd name="connsiteX1" fmla="*/ 4027888 w 4103454"/>
                <a:gd name="connsiteY1" fmla="*/ 6574389 h 6649564"/>
                <a:gd name="connsiteX2" fmla="*/ 3994840 w 4103454"/>
                <a:gd name="connsiteY2" fmla="*/ 6582016 h 6649564"/>
                <a:gd name="connsiteX3" fmla="*/ 3324781 w 4103454"/>
                <a:gd name="connsiteY3" fmla="*/ 6649564 h 6649564"/>
                <a:gd name="connsiteX4" fmla="*/ 0 w 4103454"/>
                <a:gd name="connsiteY4" fmla="*/ 3324782 h 6649564"/>
                <a:gd name="connsiteX5" fmla="*/ 3324781 w 4103454"/>
                <a:gd name="connsiteY5" fmla="*/ 0 h 6649564"/>
                <a:gd name="connsiteX6" fmla="*/ 3994840 w 4103454"/>
                <a:gd name="connsiteY6" fmla="*/ 67548 h 6649564"/>
                <a:gd name="connsiteX7" fmla="*/ 4027888 w 4103454"/>
                <a:gd name="connsiteY7" fmla="*/ 75175 h 6649564"/>
                <a:gd name="connsiteX8" fmla="*/ 4103454 w 4103454"/>
                <a:gd name="connsiteY8" fmla="*/ 3233660 h 6649564"/>
                <a:gd name="connsiteX0" fmla="*/ 4012014 w 4027888"/>
                <a:gd name="connsiteY0" fmla="*/ 3142220 h 6649564"/>
                <a:gd name="connsiteX1" fmla="*/ 4027888 w 4027888"/>
                <a:gd name="connsiteY1" fmla="*/ 6574389 h 6649564"/>
                <a:gd name="connsiteX2" fmla="*/ 3994840 w 4027888"/>
                <a:gd name="connsiteY2" fmla="*/ 6582016 h 6649564"/>
                <a:gd name="connsiteX3" fmla="*/ 3324781 w 4027888"/>
                <a:gd name="connsiteY3" fmla="*/ 6649564 h 6649564"/>
                <a:gd name="connsiteX4" fmla="*/ 0 w 4027888"/>
                <a:gd name="connsiteY4" fmla="*/ 3324782 h 6649564"/>
                <a:gd name="connsiteX5" fmla="*/ 3324781 w 4027888"/>
                <a:gd name="connsiteY5" fmla="*/ 0 h 6649564"/>
                <a:gd name="connsiteX6" fmla="*/ 3994840 w 4027888"/>
                <a:gd name="connsiteY6" fmla="*/ 67548 h 6649564"/>
                <a:gd name="connsiteX7" fmla="*/ 4027888 w 4027888"/>
                <a:gd name="connsiteY7" fmla="*/ 75175 h 6649564"/>
                <a:gd name="connsiteX0" fmla="*/ 4027888 w 4027888"/>
                <a:gd name="connsiteY0" fmla="*/ 6574389 h 6649564"/>
                <a:gd name="connsiteX1" fmla="*/ 3994840 w 4027888"/>
                <a:gd name="connsiteY1" fmla="*/ 6582016 h 6649564"/>
                <a:gd name="connsiteX2" fmla="*/ 3324781 w 4027888"/>
                <a:gd name="connsiteY2" fmla="*/ 6649564 h 6649564"/>
                <a:gd name="connsiteX3" fmla="*/ 0 w 4027888"/>
                <a:gd name="connsiteY3" fmla="*/ 3324782 h 6649564"/>
                <a:gd name="connsiteX4" fmla="*/ 3324781 w 4027888"/>
                <a:gd name="connsiteY4" fmla="*/ 0 h 6649564"/>
                <a:gd name="connsiteX5" fmla="*/ 3994840 w 4027888"/>
                <a:gd name="connsiteY5" fmla="*/ 67548 h 6649564"/>
                <a:gd name="connsiteX6" fmla="*/ 4027888 w 4027888"/>
                <a:gd name="connsiteY6" fmla="*/ 75175 h 664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7888" h="6649564">
                  <a:moveTo>
                    <a:pt x="4027888" y="6574389"/>
                  </a:moveTo>
                  <a:lnTo>
                    <a:pt x="3994840" y="6582016"/>
                  </a:lnTo>
                  <a:cubicBezTo>
                    <a:pt x="3778405" y="6626306"/>
                    <a:pt x="3554309" y="6649564"/>
                    <a:pt x="3324781" y="6649564"/>
                  </a:cubicBezTo>
                  <a:cubicBezTo>
                    <a:pt x="1488555" y="6649564"/>
                    <a:pt x="0" y="5161008"/>
                    <a:pt x="0" y="3324782"/>
                  </a:cubicBezTo>
                  <a:cubicBezTo>
                    <a:pt x="0" y="1488556"/>
                    <a:pt x="1488555" y="0"/>
                    <a:pt x="3324781" y="0"/>
                  </a:cubicBezTo>
                  <a:cubicBezTo>
                    <a:pt x="3554309" y="0"/>
                    <a:pt x="3778405" y="23259"/>
                    <a:pt x="3994840" y="67548"/>
                  </a:cubicBezTo>
                  <a:lnTo>
                    <a:pt x="4027888" y="75175"/>
                  </a:lnTo>
                </a:path>
              </a:pathLst>
            </a:custGeom>
            <a:noFill/>
            <a:ln w="22225">
              <a:solidFill>
                <a:schemeClr val="tx1">
                  <a:alpha val="12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68" name="Oval 167">
              <a:extLst>
                <a:ext uri="{FF2B5EF4-FFF2-40B4-BE49-F238E27FC236}">
                  <a16:creationId xmlns:a16="http://schemas.microsoft.com/office/drawing/2014/main" id="{020AC4BC-20FF-4E2C-ADDA-6846AD86CFDA}"/>
                </a:ext>
                <a:ext uri="{C183D7F6-B498-43B3-948B-1728B52AA6E4}">
                  <adec:decorative xmlns:adec="http://schemas.microsoft.com/office/drawing/2017/decorative" val="1"/>
                </a:ext>
              </a:extLst>
            </p:cNvPr>
            <p:cNvSpPr/>
            <p:nvPr userDrawn="1"/>
          </p:nvSpPr>
          <p:spPr bwMode="auto">
            <a:xfrm>
              <a:off x="2785391" y="172481"/>
              <a:ext cx="6649561" cy="6649563"/>
            </a:xfrm>
            <a:prstGeom prst="ellipse">
              <a:avLst/>
            </a:prstGeom>
            <a:noFill/>
            <a:ln w="22225">
              <a:solidFill>
                <a:schemeClr val="tx1">
                  <a:alpha val="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72" name="Freeform: Shape 171">
              <a:extLst>
                <a:ext uri="{FF2B5EF4-FFF2-40B4-BE49-F238E27FC236}">
                  <a16:creationId xmlns:a16="http://schemas.microsoft.com/office/drawing/2014/main" id="{9DF37B0B-CD76-415A-AB18-1DC9AD4A124E}"/>
                </a:ext>
                <a:ext uri="{C183D7F6-B498-43B3-948B-1728B52AA6E4}">
                  <adec:decorative xmlns:adec="http://schemas.microsoft.com/office/drawing/2017/decorative" val="1"/>
                </a:ext>
              </a:extLst>
            </p:cNvPr>
            <p:cNvSpPr/>
            <p:nvPr userDrawn="1"/>
          </p:nvSpPr>
          <p:spPr bwMode="auto">
            <a:xfrm>
              <a:off x="0" y="172480"/>
              <a:ext cx="3516753" cy="6649564"/>
            </a:xfrm>
            <a:custGeom>
              <a:avLst/>
              <a:gdLst>
                <a:gd name="connsiteX0" fmla="*/ 191972 w 3516753"/>
                <a:gd name="connsiteY0" fmla="*/ 0 h 6649564"/>
                <a:gd name="connsiteX1" fmla="*/ 3516753 w 3516753"/>
                <a:gd name="connsiteY1" fmla="*/ 3324782 h 6649564"/>
                <a:gd name="connsiteX2" fmla="*/ 191972 w 3516753"/>
                <a:gd name="connsiteY2" fmla="*/ 6649564 h 6649564"/>
                <a:gd name="connsiteX3" fmla="*/ 20879 w 3516753"/>
                <a:gd name="connsiteY3" fmla="*/ 6645238 h 6649564"/>
                <a:gd name="connsiteX4" fmla="*/ 0 w 3516753"/>
                <a:gd name="connsiteY4" fmla="*/ 6643650 h 6649564"/>
                <a:gd name="connsiteX5" fmla="*/ 0 w 3516753"/>
                <a:gd name="connsiteY5" fmla="*/ 5914 h 6649564"/>
                <a:gd name="connsiteX6" fmla="*/ 20879 w 3516753"/>
                <a:gd name="connsiteY6" fmla="*/ 4326 h 6649564"/>
                <a:gd name="connsiteX7" fmla="*/ 191972 w 3516753"/>
                <a:gd name="connsiteY7" fmla="*/ 0 h 6649564"/>
                <a:gd name="connsiteX0" fmla="*/ 211022 w 3535803"/>
                <a:gd name="connsiteY0" fmla="*/ 0 h 6649564"/>
                <a:gd name="connsiteX1" fmla="*/ 3535803 w 3535803"/>
                <a:gd name="connsiteY1" fmla="*/ 3324782 h 6649564"/>
                <a:gd name="connsiteX2" fmla="*/ 211022 w 3535803"/>
                <a:gd name="connsiteY2" fmla="*/ 6649564 h 6649564"/>
                <a:gd name="connsiteX3" fmla="*/ 39929 w 3535803"/>
                <a:gd name="connsiteY3" fmla="*/ 6645238 h 6649564"/>
                <a:gd name="connsiteX4" fmla="*/ 19050 w 3535803"/>
                <a:gd name="connsiteY4" fmla="*/ 6643650 h 6649564"/>
                <a:gd name="connsiteX5" fmla="*/ 0 w 3535803"/>
                <a:gd name="connsiteY5" fmla="*/ 3275570 h 6649564"/>
                <a:gd name="connsiteX6" fmla="*/ 19050 w 3535803"/>
                <a:gd name="connsiteY6" fmla="*/ 5914 h 6649564"/>
                <a:gd name="connsiteX7" fmla="*/ 39929 w 3535803"/>
                <a:gd name="connsiteY7" fmla="*/ 4326 h 6649564"/>
                <a:gd name="connsiteX8" fmla="*/ 211022 w 3535803"/>
                <a:gd name="connsiteY8" fmla="*/ 0 h 6649564"/>
                <a:gd name="connsiteX0" fmla="*/ 0 w 3535803"/>
                <a:gd name="connsiteY0" fmla="*/ 3275570 h 6649564"/>
                <a:gd name="connsiteX1" fmla="*/ 19050 w 3535803"/>
                <a:gd name="connsiteY1" fmla="*/ 5914 h 6649564"/>
                <a:gd name="connsiteX2" fmla="*/ 39929 w 3535803"/>
                <a:gd name="connsiteY2" fmla="*/ 4326 h 6649564"/>
                <a:gd name="connsiteX3" fmla="*/ 211022 w 3535803"/>
                <a:gd name="connsiteY3" fmla="*/ 0 h 6649564"/>
                <a:gd name="connsiteX4" fmla="*/ 3535803 w 3535803"/>
                <a:gd name="connsiteY4" fmla="*/ 3324782 h 6649564"/>
                <a:gd name="connsiteX5" fmla="*/ 211022 w 3535803"/>
                <a:gd name="connsiteY5" fmla="*/ 6649564 h 6649564"/>
                <a:gd name="connsiteX6" fmla="*/ 39929 w 3535803"/>
                <a:gd name="connsiteY6" fmla="*/ 6645238 h 6649564"/>
                <a:gd name="connsiteX7" fmla="*/ 19050 w 3535803"/>
                <a:gd name="connsiteY7" fmla="*/ 6643650 h 6649564"/>
                <a:gd name="connsiteX8" fmla="*/ 91440 w 3535803"/>
                <a:gd name="connsiteY8" fmla="*/ 3367010 h 6649564"/>
                <a:gd name="connsiteX0" fmla="*/ 0 w 3535803"/>
                <a:gd name="connsiteY0" fmla="*/ 3275570 h 6649564"/>
                <a:gd name="connsiteX1" fmla="*/ 19050 w 3535803"/>
                <a:gd name="connsiteY1" fmla="*/ 5914 h 6649564"/>
                <a:gd name="connsiteX2" fmla="*/ 39929 w 3535803"/>
                <a:gd name="connsiteY2" fmla="*/ 4326 h 6649564"/>
                <a:gd name="connsiteX3" fmla="*/ 211022 w 3535803"/>
                <a:gd name="connsiteY3" fmla="*/ 0 h 6649564"/>
                <a:gd name="connsiteX4" fmla="*/ 3535803 w 3535803"/>
                <a:gd name="connsiteY4" fmla="*/ 3324782 h 6649564"/>
                <a:gd name="connsiteX5" fmla="*/ 211022 w 3535803"/>
                <a:gd name="connsiteY5" fmla="*/ 6649564 h 6649564"/>
                <a:gd name="connsiteX6" fmla="*/ 39929 w 3535803"/>
                <a:gd name="connsiteY6" fmla="*/ 6645238 h 6649564"/>
                <a:gd name="connsiteX7" fmla="*/ 19050 w 3535803"/>
                <a:gd name="connsiteY7" fmla="*/ 6643650 h 6649564"/>
                <a:gd name="connsiteX0" fmla="*/ 0 w 3516753"/>
                <a:gd name="connsiteY0" fmla="*/ 5914 h 6649564"/>
                <a:gd name="connsiteX1" fmla="*/ 20879 w 3516753"/>
                <a:gd name="connsiteY1" fmla="*/ 4326 h 6649564"/>
                <a:gd name="connsiteX2" fmla="*/ 191972 w 3516753"/>
                <a:gd name="connsiteY2" fmla="*/ 0 h 6649564"/>
                <a:gd name="connsiteX3" fmla="*/ 3516753 w 3516753"/>
                <a:gd name="connsiteY3" fmla="*/ 3324782 h 6649564"/>
                <a:gd name="connsiteX4" fmla="*/ 191972 w 3516753"/>
                <a:gd name="connsiteY4" fmla="*/ 6649564 h 6649564"/>
                <a:gd name="connsiteX5" fmla="*/ 20879 w 3516753"/>
                <a:gd name="connsiteY5" fmla="*/ 6645238 h 6649564"/>
                <a:gd name="connsiteX6" fmla="*/ 0 w 3516753"/>
                <a:gd name="connsiteY6" fmla="*/ 6643650 h 664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6753" h="6649564">
                  <a:moveTo>
                    <a:pt x="0" y="5914"/>
                  </a:moveTo>
                  <a:lnTo>
                    <a:pt x="20879" y="4326"/>
                  </a:lnTo>
                  <a:cubicBezTo>
                    <a:pt x="77547" y="1454"/>
                    <a:pt x="134590" y="0"/>
                    <a:pt x="191972" y="0"/>
                  </a:cubicBezTo>
                  <a:cubicBezTo>
                    <a:pt x="2028198" y="0"/>
                    <a:pt x="3516753" y="1488556"/>
                    <a:pt x="3516753" y="3324782"/>
                  </a:cubicBezTo>
                  <a:cubicBezTo>
                    <a:pt x="3516753" y="5161008"/>
                    <a:pt x="2028198" y="6649564"/>
                    <a:pt x="191972" y="6649564"/>
                  </a:cubicBezTo>
                  <a:cubicBezTo>
                    <a:pt x="134590" y="6649564"/>
                    <a:pt x="77547" y="6648111"/>
                    <a:pt x="20879" y="6645238"/>
                  </a:cubicBezTo>
                  <a:lnTo>
                    <a:pt x="0" y="6643650"/>
                  </a:lnTo>
                </a:path>
              </a:pathLst>
            </a:custGeom>
            <a:noFill/>
            <a:ln w="22225">
              <a:solidFill>
                <a:schemeClr val="tx1">
                  <a:alpha val="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76" name="Freeform: Shape 175">
              <a:extLst>
                <a:ext uri="{FF2B5EF4-FFF2-40B4-BE49-F238E27FC236}">
                  <a16:creationId xmlns:a16="http://schemas.microsoft.com/office/drawing/2014/main" id="{B72C9D97-5F6B-42BD-B8BB-1A701EA00B4A}"/>
                </a:ext>
                <a:ext uri="{C183D7F6-B498-43B3-948B-1728B52AA6E4}">
                  <adec:decorative xmlns:adec="http://schemas.microsoft.com/office/drawing/2017/decorative" val="1"/>
                </a:ext>
              </a:extLst>
            </p:cNvPr>
            <p:cNvSpPr/>
            <p:nvPr userDrawn="1"/>
          </p:nvSpPr>
          <p:spPr bwMode="auto">
            <a:xfrm>
              <a:off x="8395638" y="816129"/>
              <a:ext cx="4040837" cy="5362268"/>
            </a:xfrm>
            <a:custGeom>
              <a:avLst/>
              <a:gdLst>
                <a:gd name="connsiteX0" fmla="*/ 2681134 w 4040837"/>
                <a:gd name="connsiteY0" fmla="*/ 0 h 5362268"/>
                <a:gd name="connsiteX1" fmla="*/ 3959121 w 4040837"/>
                <a:gd name="connsiteY1" fmla="*/ 323599 h 5362268"/>
                <a:gd name="connsiteX2" fmla="*/ 4040837 w 4040837"/>
                <a:gd name="connsiteY2" fmla="*/ 373242 h 5362268"/>
                <a:gd name="connsiteX3" fmla="*/ 4040837 w 4040837"/>
                <a:gd name="connsiteY3" fmla="*/ 4989026 h 5362268"/>
                <a:gd name="connsiteX4" fmla="*/ 3959121 w 4040837"/>
                <a:gd name="connsiteY4" fmla="*/ 5038670 h 5362268"/>
                <a:gd name="connsiteX5" fmla="*/ 2681134 w 4040837"/>
                <a:gd name="connsiteY5" fmla="*/ 5362268 h 5362268"/>
                <a:gd name="connsiteX6" fmla="*/ 0 w 4040837"/>
                <a:gd name="connsiteY6" fmla="*/ 2681134 h 5362268"/>
                <a:gd name="connsiteX7" fmla="*/ 2681134 w 4040837"/>
                <a:gd name="connsiteY7" fmla="*/ 0 h 5362268"/>
                <a:gd name="connsiteX0" fmla="*/ 2681134 w 4063062"/>
                <a:gd name="connsiteY0" fmla="*/ 0 h 5362268"/>
                <a:gd name="connsiteX1" fmla="*/ 3959121 w 4063062"/>
                <a:gd name="connsiteY1" fmla="*/ 323599 h 5362268"/>
                <a:gd name="connsiteX2" fmla="*/ 4040837 w 4063062"/>
                <a:gd name="connsiteY2" fmla="*/ 373242 h 5362268"/>
                <a:gd name="connsiteX3" fmla="*/ 4063062 w 4063062"/>
                <a:gd name="connsiteY3" fmla="*/ 2670021 h 5362268"/>
                <a:gd name="connsiteX4" fmla="*/ 4040837 w 4063062"/>
                <a:gd name="connsiteY4" fmla="*/ 4989026 h 5362268"/>
                <a:gd name="connsiteX5" fmla="*/ 3959121 w 4063062"/>
                <a:gd name="connsiteY5" fmla="*/ 5038670 h 5362268"/>
                <a:gd name="connsiteX6" fmla="*/ 2681134 w 4063062"/>
                <a:gd name="connsiteY6" fmla="*/ 5362268 h 5362268"/>
                <a:gd name="connsiteX7" fmla="*/ 0 w 4063062"/>
                <a:gd name="connsiteY7" fmla="*/ 2681134 h 5362268"/>
                <a:gd name="connsiteX8" fmla="*/ 2681134 w 4063062"/>
                <a:gd name="connsiteY8" fmla="*/ 0 h 5362268"/>
                <a:gd name="connsiteX0" fmla="*/ 4063062 w 4154502"/>
                <a:gd name="connsiteY0" fmla="*/ 2670021 h 5362268"/>
                <a:gd name="connsiteX1" fmla="*/ 4040837 w 4154502"/>
                <a:gd name="connsiteY1" fmla="*/ 4989026 h 5362268"/>
                <a:gd name="connsiteX2" fmla="*/ 3959121 w 4154502"/>
                <a:gd name="connsiteY2" fmla="*/ 5038670 h 5362268"/>
                <a:gd name="connsiteX3" fmla="*/ 2681134 w 4154502"/>
                <a:gd name="connsiteY3" fmla="*/ 5362268 h 5362268"/>
                <a:gd name="connsiteX4" fmla="*/ 0 w 4154502"/>
                <a:gd name="connsiteY4" fmla="*/ 2681134 h 5362268"/>
                <a:gd name="connsiteX5" fmla="*/ 2681134 w 4154502"/>
                <a:gd name="connsiteY5" fmla="*/ 0 h 5362268"/>
                <a:gd name="connsiteX6" fmla="*/ 3959121 w 4154502"/>
                <a:gd name="connsiteY6" fmla="*/ 323599 h 5362268"/>
                <a:gd name="connsiteX7" fmla="*/ 4040837 w 4154502"/>
                <a:gd name="connsiteY7" fmla="*/ 373242 h 5362268"/>
                <a:gd name="connsiteX8" fmla="*/ 4154502 w 4154502"/>
                <a:gd name="connsiteY8" fmla="*/ 2761461 h 5362268"/>
                <a:gd name="connsiteX0" fmla="*/ 4063062 w 4063062"/>
                <a:gd name="connsiteY0" fmla="*/ 2670021 h 5362268"/>
                <a:gd name="connsiteX1" fmla="*/ 4040837 w 4063062"/>
                <a:gd name="connsiteY1" fmla="*/ 4989026 h 5362268"/>
                <a:gd name="connsiteX2" fmla="*/ 3959121 w 4063062"/>
                <a:gd name="connsiteY2" fmla="*/ 5038670 h 5362268"/>
                <a:gd name="connsiteX3" fmla="*/ 2681134 w 4063062"/>
                <a:gd name="connsiteY3" fmla="*/ 5362268 h 5362268"/>
                <a:gd name="connsiteX4" fmla="*/ 0 w 4063062"/>
                <a:gd name="connsiteY4" fmla="*/ 2681134 h 5362268"/>
                <a:gd name="connsiteX5" fmla="*/ 2681134 w 4063062"/>
                <a:gd name="connsiteY5" fmla="*/ 0 h 5362268"/>
                <a:gd name="connsiteX6" fmla="*/ 3959121 w 4063062"/>
                <a:gd name="connsiteY6" fmla="*/ 323599 h 5362268"/>
                <a:gd name="connsiteX7" fmla="*/ 4040837 w 4063062"/>
                <a:gd name="connsiteY7" fmla="*/ 373242 h 5362268"/>
                <a:gd name="connsiteX0" fmla="*/ 4040837 w 4040837"/>
                <a:gd name="connsiteY0" fmla="*/ 4989026 h 5362268"/>
                <a:gd name="connsiteX1" fmla="*/ 3959121 w 4040837"/>
                <a:gd name="connsiteY1" fmla="*/ 5038670 h 5362268"/>
                <a:gd name="connsiteX2" fmla="*/ 2681134 w 4040837"/>
                <a:gd name="connsiteY2" fmla="*/ 5362268 h 5362268"/>
                <a:gd name="connsiteX3" fmla="*/ 0 w 4040837"/>
                <a:gd name="connsiteY3" fmla="*/ 2681134 h 5362268"/>
                <a:gd name="connsiteX4" fmla="*/ 2681134 w 4040837"/>
                <a:gd name="connsiteY4" fmla="*/ 0 h 5362268"/>
                <a:gd name="connsiteX5" fmla="*/ 3959121 w 4040837"/>
                <a:gd name="connsiteY5" fmla="*/ 323599 h 5362268"/>
                <a:gd name="connsiteX6" fmla="*/ 4040837 w 4040837"/>
                <a:gd name="connsiteY6" fmla="*/ 373242 h 5362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0837" h="5362268">
                  <a:moveTo>
                    <a:pt x="4040837" y="4989026"/>
                  </a:moveTo>
                  <a:lnTo>
                    <a:pt x="3959121" y="5038670"/>
                  </a:lnTo>
                  <a:cubicBezTo>
                    <a:pt x="3579223" y="5245043"/>
                    <a:pt x="3143868" y="5362268"/>
                    <a:pt x="2681134" y="5362268"/>
                  </a:cubicBezTo>
                  <a:cubicBezTo>
                    <a:pt x="1200385" y="5362268"/>
                    <a:pt x="0" y="4161883"/>
                    <a:pt x="0" y="2681134"/>
                  </a:cubicBezTo>
                  <a:cubicBezTo>
                    <a:pt x="0" y="1200385"/>
                    <a:pt x="1200385" y="0"/>
                    <a:pt x="2681134" y="0"/>
                  </a:cubicBezTo>
                  <a:cubicBezTo>
                    <a:pt x="3143868" y="0"/>
                    <a:pt x="3579223" y="117225"/>
                    <a:pt x="3959121" y="323599"/>
                  </a:cubicBezTo>
                  <a:lnTo>
                    <a:pt x="4040837" y="373242"/>
                  </a:lnTo>
                </a:path>
              </a:pathLst>
            </a:custGeom>
            <a:noFill/>
            <a:ln w="22225">
              <a:solidFill>
                <a:schemeClr val="tx1">
                  <a:alpha val="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pic>
          <p:nvPicPr>
            <p:cNvPr id="177" name="Picture 176">
              <a:extLst>
                <a:ext uri="{FF2B5EF4-FFF2-40B4-BE49-F238E27FC236}">
                  <a16:creationId xmlns:a16="http://schemas.microsoft.com/office/drawing/2014/main" id="{D613C290-E443-41D2-9919-887D78720A6B}"/>
                </a:ext>
                <a:ext uri="{C183D7F6-B498-43B3-948B-1728B52AA6E4}">
                  <adec:decorative xmlns:adec="http://schemas.microsoft.com/office/drawing/2017/decorative" val="1"/>
                </a:ext>
              </a:extLst>
            </p:cNvPr>
            <p:cNvPicPr>
              <a:picLocks noChangeAspect="1"/>
            </p:cNvPicPr>
            <p:nvPr userDrawn="1"/>
          </p:nvPicPr>
          <p:blipFill>
            <a:blip r:embed="rId2">
              <a:alphaModFix amt="19000"/>
              <a:extLst>
                <a:ext uri="{BEBA8EAE-BF5A-486C-A8C5-ECC9F3942E4B}">
                  <a14:imgProps xmlns:a14="http://schemas.microsoft.com/office/drawing/2010/main">
                    <a14:imgLayer r:embed="rId3">
                      <a14:imgEffect>
                        <a14:sharpenSoften amount="100000"/>
                      </a14:imgEffect>
                      <a14:imgEffect>
                        <a14:brightnessContrast bright="100000" contrast="100000"/>
                      </a14:imgEffect>
                    </a14:imgLayer>
                  </a14:imgProps>
                </a:ext>
              </a:extLst>
            </a:blip>
            <a:stretch>
              <a:fillRect/>
            </a:stretch>
          </p:blipFill>
          <p:spPr>
            <a:xfrm>
              <a:off x="7155018" y="1733196"/>
              <a:ext cx="3532032" cy="3528134"/>
            </a:xfrm>
            <a:prstGeom prst="rect">
              <a:avLst/>
            </a:prstGeom>
          </p:spPr>
        </p:pic>
        <p:pic>
          <p:nvPicPr>
            <p:cNvPr id="178" name="Picture 177">
              <a:extLst>
                <a:ext uri="{FF2B5EF4-FFF2-40B4-BE49-F238E27FC236}">
                  <a16:creationId xmlns:a16="http://schemas.microsoft.com/office/drawing/2014/main" id="{FC077C51-9C57-41A0-896D-7831CF40C9D8}"/>
                </a:ext>
                <a:ext uri="{C183D7F6-B498-43B3-948B-1728B52AA6E4}">
                  <adec:decorative xmlns:adec="http://schemas.microsoft.com/office/drawing/2017/decorative" val="1"/>
                </a:ext>
              </a:extLst>
            </p:cNvPr>
            <p:cNvPicPr>
              <a:picLocks noChangeAspect="1"/>
            </p:cNvPicPr>
            <p:nvPr userDrawn="1"/>
          </p:nvPicPr>
          <p:blipFill rotWithShape="1">
            <a:blip r:embed="rId4">
              <a:alphaModFix amt="19000"/>
            </a:blip>
            <a:srcRect l="34522" t="11364" b="11364"/>
            <a:stretch/>
          </p:blipFill>
          <p:spPr>
            <a:xfrm>
              <a:off x="-1" y="0"/>
              <a:ext cx="5933597" cy="6994526"/>
            </a:xfrm>
            <a:prstGeom prst="rect">
              <a:avLst/>
            </a:prstGeom>
          </p:spPr>
        </p:pic>
        <p:sp>
          <p:nvSpPr>
            <p:cNvPr id="7" name="Oval 6">
              <a:extLst>
                <a:ext uri="{FF2B5EF4-FFF2-40B4-BE49-F238E27FC236}">
                  <a16:creationId xmlns:a16="http://schemas.microsoft.com/office/drawing/2014/main" id="{2C7CF008-99D9-4F76-9F29-BA1EDE5EE35B}"/>
                </a:ext>
                <a:ext uri="{C183D7F6-B498-43B3-948B-1728B52AA6E4}">
                  <adec:decorative xmlns:adec="http://schemas.microsoft.com/office/drawing/2017/decorative" val="1"/>
                </a:ext>
              </a:extLst>
            </p:cNvPr>
            <p:cNvSpPr/>
            <p:nvPr userDrawn="1"/>
          </p:nvSpPr>
          <p:spPr bwMode="auto">
            <a:xfrm>
              <a:off x="7090250" y="1666481"/>
              <a:ext cx="3661570" cy="3661566"/>
            </a:xfrm>
            <a:prstGeom prst="ellipse">
              <a:avLst/>
            </a:prstGeom>
            <a:solidFill>
              <a:schemeClr val="accent3">
                <a:alpha val="34000"/>
              </a:schemeClr>
            </a:solidFill>
            <a:ln>
              <a:noFill/>
              <a:headEnd type="none" w="med" len="med"/>
              <a:tailEnd type="none" w="med" len="med"/>
            </a:ln>
            <a:effectLst>
              <a:outerShdw blurRad="50800" dist="50800" dir="5400000" algn="ctr" rotWithShape="0">
                <a:srgbClr val="000000"/>
              </a:outerShdw>
              <a:softEdge rad="5842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FB29A735-C8CD-4F50-AC94-3FD4C318D092}"/>
                </a:ext>
                <a:ext uri="{C183D7F6-B498-43B3-948B-1728B52AA6E4}">
                  <adec:decorative xmlns:adec="http://schemas.microsoft.com/office/drawing/2017/decorative" val="1"/>
                </a:ext>
              </a:extLst>
            </p:cNvPr>
            <p:cNvSpPr/>
            <p:nvPr userDrawn="1"/>
          </p:nvSpPr>
          <p:spPr bwMode="auto">
            <a:xfrm>
              <a:off x="7755961" y="2332190"/>
              <a:ext cx="2330148" cy="2330148"/>
            </a:xfrm>
            <a:prstGeom prst="ellipse">
              <a:avLst/>
            </a:prstGeom>
            <a:solidFill>
              <a:schemeClr val="bg1">
                <a:alpha val="10000"/>
              </a:schemeClr>
            </a:solidFill>
            <a:ln w="63500" cap="sq">
              <a:solidFill>
                <a:schemeClr val="tx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sz="1765" err="1">
                <a:solidFill>
                  <a:schemeClr val="tx1"/>
                </a:solidFill>
              </a:endParaRPr>
            </a:p>
          </p:txBody>
        </p:sp>
        <p:sp>
          <p:nvSpPr>
            <p:cNvPr id="20" name="Oval 19">
              <a:extLst>
                <a:ext uri="{FF2B5EF4-FFF2-40B4-BE49-F238E27FC236}">
                  <a16:creationId xmlns:a16="http://schemas.microsoft.com/office/drawing/2014/main" id="{33569E6E-4F8A-4F87-8215-FABB6C06FCC2}"/>
                </a:ext>
                <a:ext uri="{C183D7F6-B498-43B3-948B-1728B52AA6E4}">
                  <adec:decorative xmlns:adec="http://schemas.microsoft.com/office/drawing/2017/decorative" val="1"/>
                </a:ext>
              </a:extLst>
            </p:cNvPr>
            <p:cNvSpPr/>
            <p:nvPr userDrawn="1"/>
          </p:nvSpPr>
          <p:spPr bwMode="auto">
            <a:xfrm>
              <a:off x="7755961" y="2332190"/>
              <a:ext cx="2330148" cy="2330148"/>
            </a:xfrm>
            <a:prstGeom prst="ellipse">
              <a:avLst/>
            </a:prstGeom>
            <a:noFill/>
            <a:ln w="63500" cap="sq">
              <a:solidFill>
                <a:schemeClr val="tx1"/>
              </a:solidFill>
              <a:prstDash val="solid"/>
              <a:miter/>
            </a:ln>
            <a:effectLst>
              <a:glow rad="177800">
                <a:schemeClr val="accent3">
                  <a:satMod val="175000"/>
                  <a:alpha val="16000"/>
                </a:schemeClr>
              </a:glo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sz="1765" err="1">
                <a:solidFill>
                  <a:schemeClr val="tx1"/>
                </a:solidFill>
              </a:endParaRPr>
            </a:p>
          </p:txBody>
        </p:sp>
      </p:grpSp>
      <p:sp>
        <p:nvSpPr>
          <p:cNvPr id="5" name="TextBox 4">
            <a:extLst>
              <a:ext uri="{FF2B5EF4-FFF2-40B4-BE49-F238E27FC236}">
                <a16:creationId xmlns:a16="http://schemas.microsoft.com/office/drawing/2014/main" id="{559759CA-A91B-B13F-C46B-AB0E7D58727B}"/>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1733183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595">
          <p15:clr>
            <a:srgbClr val="5ACBF0"/>
          </p15:clr>
        </p15:guide>
        <p15:guide id="3" orient="horz" pos="1433">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663"/>
            <a:ext cx="5794056" cy="498675"/>
          </a:xfrm>
          <a:noFill/>
        </p:spPr>
        <p:txBody>
          <a:bodyPr wrap="square" lIns="0" tIns="0" rIns="0" bIns="0" anchor="ctr" anchorCtr="0">
            <a:spAutoFit/>
          </a:bodyPr>
          <a:lstStyle>
            <a:lvl1pPr algn="l" defTabSz="932539" rtl="0" eaLnBrk="1" latinLnBrk="0" hangingPunct="1">
              <a:lnSpc>
                <a:spcPct val="90000"/>
              </a:lnSpc>
              <a:spcBef>
                <a:spcPct val="0"/>
              </a:spcBef>
              <a:buNone/>
              <a:defRPr lang="en-US" sz="3529" b="0" kern="1200" cap="none" spc="-51" baseline="0" dirty="0">
                <a:ln w="3175">
                  <a:noFill/>
                </a:ln>
                <a:solidFill>
                  <a:schemeClr val="accent3"/>
                </a:solidFill>
                <a:effectLst/>
                <a:latin typeface="+mj-lt"/>
                <a:ea typeface="+mn-ea"/>
                <a:cs typeface="Segoe UI" pitchFamily="34" charset="0"/>
              </a:defRPr>
            </a:lvl1pPr>
          </a:lstStyle>
          <a:p>
            <a:r>
              <a:rPr lang="en-US"/>
              <a:t>Section title with no subtitle</a:t>
            </a:r>
          </a:p>
        </p:txBody>
      </p:sp>
      <p:sp>
        <p:nvSpPr>
          <p:cNvPr id="162" name="Rectangle 161">
            <a:extLst>
              <a:ext uri="{FF2B5EF4-FFF2-40B4-BE49-F238E27FC236}">
                <a16:creationId xmlns:a16="http://schemas.microsoft.com/office/drawing/2014/main" id="{0FD9F46C-0C7B-482C-8FBC-4CB29AE623AD}"/>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grpSp>
        <p:nvGrpSpPr>
          <p:cNvPr id="3" name="Group 2">
            <a:extLst>
              <a:ext uri="{FF2B5EF4-FFF2-40B4-BE49-F238E27FC236}">
                <a16:creationId xmlns:a16="http://schemas.microsoft.com/office/drawing/2014/main" id="{7CB21D2E-7D5C-49BA-B314-49EFCD2758D3}"/>
              </a:ext>
              <a:ext uri="{C183D7F6-B498-43B3-948B-1728B52AA6E4}">
                <adec:decorative xmlns:adec="http://schemas.microsoft.com/office/drawing/2017/decorative" val="1"/>
              </a:ext>
            </a:extLst>
          </p:cNvPr>
          <p:cNvGrpSpPr/>
          <p:nvPr userDrawn="1"/>
        </p:nvGrpSpPr>
        <p:grpSpPr>
          <a:xfrm>
            <a:off x="7568641" y="-451337"/>
            <a:ext cx="5955347" cy="7336844"/>
            <a:chOff x="7720408" y="-460322"/>
            <a:chExt cx="6074764" cy="7482902"/>
          </a:xfrm>
        </p:grpSpPr>
        <p:pic>
          <p:nvPicPr>
            <p:cNvPr id="161" name="MS Brand colors">
              <a:extLst>
                <a:ext uri="{FF2B5EF4-FFF2-40B4-BE49-F238E27FC236}">
                  <a16:creationId xmlns:a16="http://schemas.microsoft.com/office/drawing/2014/main" id="{BF50B229-C554-4337-9D54-319CEFF5B205}"/>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762"/>
            <a:stretch/>
          </p:blipFill>
          <p:spPr>
            <a:xfrm rot="5400000">
              <a:off x="9700947" y="2900301"/>
              <a:ext cx="6994525" cy="1193925"/>
            </a:xfrm>
            <a:prstGeom prst="rect">
              <a:avLst/>
            </a:prstGeom>
          </p:spPr>
        </p:pic>
        <p:sp>
          <p:nvSpPr>
            <p:cNvPr id="172" name="Oval 171">
              <a:extLst>
                <a:ext uri="{FF2B5EF4-FFF2-40B4-BE49-F238E27FC236}">
                  <a16:creationId xmlns:a16="http://schemas.microsoft.com/office/drawing/2014/main" id="{669CE48F-B787-4E12-A713-DE8FAD3578D7}"/>
                </a:ext>
                <a:ext uri="{C183D7F6-B498-43B3-948B-1728B52AA6E4}">
                  <adec:decorative xmlns:adec="http://schemas.microsoft.com/office/drawing/2017/decorative" val="1"/>
                </a:ext>
              </a:extLst>
            </p:cNvPr>
            <p:cNvSpPr/>
            <p:nvPr userDrawn="1"/>
          </p:nvSpPr>
          <p:spPr bwMode="auto">
            <a:xfrm>
              <a:off x="7720408" y="4508500"/>
              <a:ext cx="2488946" cy="2486026"/>
            </a:xfrm>
            <a:prstGeom prst="ellipse">
              <a:avLst/>
            </a:prstGeom>
            <a:noFill/>
            <a:ln>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27" name="Freeform: Shape 26">
              <a:extLst>
                <a:ext uri="{FF2B5EF4-FFF2-40B4-BE49-F238E27FC236}">
                  <a16:creationId xmlns:a16="http://schemas.microsoft.com/office/drawing/2014/main" id="{6B144DF5-C7E7-4B89-9D52-7499AACF1089}"/>
                </a:ext>
                <a:ext uri="{C183D7F6-B498-43B3-948B-1728B52AA6E4}">
                  <adec:decorative xmlns:adec="http://schemas.microsoft.com/office/drawing/2017/decorative" val="1"/>
                </a:ext>
              </a:extLst>
            </p:cNvPr>
            <p:cNvSpPr/>
            <p:nvPr/>
          </p:nvSpPr>
          <p:spPr>
            <a:xfrm rot="12752332">
              <a:off x="10398355" y="-343777"/>
              <a:ext cx="1077038" cy="7264137"/>
            </a:xfrm>
            <a:custGeom>
              <a:avLst/>
              <a:gdLst>
                <a:gd name="connsiteX0" fmla="*/ 1077038 w 1077038"/>
                <a:gd name="connsiteY0" fmla="*/ 7264137 h 7264137"/>
                <a:gd name="connsiteX1" fmla="*/ 0 w 1077038"/>
                <a:gd name="connsiteY1" fmla="*/ 5576056 h 7264137"/>
                <a:gd name="connsiteX2" fmla="*/ 0 w 1077038"/>
                <a:gd name="connsiteY2" fmla="*/ 538519 h 7264137"/>
                <a:gd name="connsiteX3" fmla="*/ 538519 w 1077038"/>
                <a:gd name="connsiteY3" fmla="*/ 0 h 7264137"/>
                <a:gd name="connsiteX4" fmla="*/ 1077038 w 1077038"/>
                <a:gd name="connsiteY4" fmla="*/ 538519 h 7264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038" h="7264137">
                  <a:moveTo>
                    <a:pt x="1077038" y="7264137"/>
                  </a:moveTo>
                  <a:lnTo>
                    <a:pt x="0" y="5576056"/>
                  </a:lnTo>
                  <a:lnTo>
                    <a:pt x="0" y="538519"/>
                  </a:lnTo>
                  <a:cubicBezTo>
                    <a:pt x="0" y="241103"/>
                    <a:pt x="241103" y="0"/>
                    <a:pt x="538519" y="0"/>
                  </a:cubicBezTo>
                  <a:cubicBezTo>
                    <a:pt x="835935" y="0"/>
                    <a:pt x="1077038" y="241103"/>
                    <a:pt x="1077038" y="538519"/>
                  </a:cubicBezTo>
                  <a:close/>
                </a:path>
              </a:pathLst>
            </a:custGeom>
            <a:gradFill flip="none" rotWithShape="1">
              <a:gsLst>
                <a:gs pos="0">
                  <a:srgbClr val="0B79D5"/>
                </a:gs>
                <a:gs pos="100000">
                  <a:schemeClr val="accent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a:solidFill>
                  <a:srgbClr val="FFFFFF"/>
                </a:solidFill>
                <a:cs typeface="Segoe UI" pitchFamily="34" charset="0"/>
              </a:endParaRPr>
            </a:p>
          </p:txBody>
        </p:sp>
        <p:sp>
          <p:nvSpPr>
            <p:cNvPr id="178" name="Freeform: Shape 177">
              <a:extLst>
                <a:ext uri="{FF2B5EF4-FFF2-40B4-BE49-F238E27FC236}">
                  <a16:creationId xmlns:a16="http://schemas.microsoft.com/office/drawing/2014/main" id="{CEB1285D-C77B-4EAC-92E0-54F9FB9F0823}"/>
                </a:ext>
                <a:ext uri="{C183D7F6-B498-43B3-948B-1728B52AA6E4}">
                  <adec:decorative xmlns:adec="http://schemas.microsoft.com/office/drawing/2017/decorative" val="1"/>
                </a:ext>
              </a:extLst>
            </p:cNvPr>
            <p:cNvSpPr/>
            <p:nvPr userDrawn="1"/>
          </p:nvSpPr>
          <p:spPr bwMode="auto">
            <a:xfrm>
              <a:off x="9283700" y="0"/>
              <a:ext cx="3152775" cy="5397500"/>
            </a:xfrm>
            <a:custGeom>
              <a:avLst/>
              <a:gdLst>
                <a:gd name="connsiteX0" fmla="*/ 1804037 w 3444875"/>
                <a:gd name="connsiteY0" fmla="*/ 0 h 5619768"/>
                <a:gd name="connsiteX1" fmla="*/ 3444875 w 3444875"/>
                <a:gd name="connsiteY1" fmla="*/ 0 h 5619768"/>
                <a:gd name="connsiteX2" fmla="*/ 3444875 w 3444875"/>
                <a:gd name="connsiteY2" fmla="*/ 5570315 h 5619768"/>
                <a:gd name="connsiteX3" fmla="*/ 3219655 w 3444875"/>
                <a:gd name="connsiteY3" fmla="*/ 5604687 h 5619768"/>
                <a:gd name="connsiteX4" fmla="*/ 2921000 w 3444875"/>
                <a:gd name="connsiteY4" fmla="*/ 5619768 h 5619768"/>
                <a:gd name="connsiteX5" fmla="*/ 0 w 3444875"/>
                <a:gd name="connsiteY5" fmla="*/ 2698775 h 5619768"/>
                <a:gd name="connsiteX6" fmla="*/ 1784015 w 3444875"/>
                <a:gd name="connsiteY6" fmla="*/ 7328 h 5619768"/>
                <a:gd name="connsiteX0" fmla="*/ 3444875 w 3536315"/>
                <a:gd name="connsiteY0" fmla="*/ 0 h 5619768"/>
                <a:gd name="connsiteX1" fmla="*/ 3444875 w 3536315"/>
                <a:gd name="connsiteY1" fmla="*/ 5570315 h 5619768"/>
                <a:gd name="connsiteX2" fmla="*/ 3219655 w 3536315"/>
                <a:gd name="connsiteY2" fmla="*/ 5604687 h 5619768"/>
                <a:gd name="connsiteX3" fmla="*/ 2921000 w 3536315"/>
                <a:gd name="connsiteY3" fmla="*/ 5619768 h 5619768"/>
                <a:gd name="connsiteX4" fmla="*/ 0 w 3536315"/>
                <a:gd name="connsiteY4" fmla="*/ 2698775 h 5619768"/>
                <a:gd name="connsiteX5" fmla="*/ 1784015 w 3536315"/>
                <a:gd name="connsiteY5" fmla="*/ 7328 h 5619768"/>
                <a:gd name="connsiteX6" fmla="*/ 1804037 w 3536315"/>
                <a:gd name="connsiteY6" fmla="*/ 0 h 5619768"/>
                <a:gd name="connsiteX7" fmla="*/ 3536315 w 3536315"/>
                <a:gd name="connsiteY7" fmla="*/ 91440 h 5619768"/>
                <a:gd name="connsiteX0" fmla="*/ 3444875 w 3444875"/>
                <a:gd name="connsiteY0" fmla="*/ 0 h 5619768"/>
                <a:gd name="connsiteX1" fmla="*/ 3444875 w 3444875"/>
                <a:gd name="connsiteY1" fmla="*/ 5570315 h 5619768"/>
                <a:gd name="connsiteX2" fmla="*/ 3219655 w 3444875"/>
                <a:gd name="connsiteY2" fmla="*/ 5604687 h 5619768"/>
                <a:gd name="connsiteX3" fmla="*/ 2921000 w 3444875"/>
                <a:gd name="connsiteY3" fmla="*/ 5619768 h 5619768"/>
                <a:gd name="connsiteX4" fmla="*/ 0 w 3444875"/>
                <a:gd name="connsiteY4" fmla="*/ 2698775 h 5619768"/>
                <a:gd name="connsiteX5" fmla="*/ 1784015 w 3444875"/>
                <a:gd name="connsiteY5" fmla="*/ 7328 h 5619768"/>
                <a:gd name="connsiteX6" fmla="*/ 1804037 w 3444875"/>
                <a:gd name="connsiteY6" fmla="*/ 0 h 5619768"/>
                <a:gd name="connsiteX0" fmla="*/ 3444875 w 3444875"/>
                <a:gd name="connsiteY0" fmla="*/ 5570315 h 5619768"/>
                <a:gd name="connsiteX1" fmla="*/ 3219655 w 3444875"/>
                <a:gd name="connsiteY1" fmla="*/ 5604687 h 5619768"/>
                <a:gd name="connsiteX2" fmla="*/ 2921000 w 3444875"/>
                <a:gd name="connsiteY2" fmla="*/ 5619768 h 5619768"/>
                <a:gd name="connsiteX3" fmla="*/ 0 w 3444875"/>
                <a:gd name="connsiteY3" fmla="*/ 2698775 h 5619768"/>
                <a:gd name="connsiteX4" fmla="*/ 1784015 w 3444875"/>
                <a:gd name="connsiteY4" fmla="*/ 7328 h 5619768"/>
                <a:gd name="connsiteX5" fmla="*/ 1804037 w 3444875"/>
                <a:gd name="connsiteY5" fmla="*/ 0 h 561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4875" h="5619768">
                  <a:moveTo>
                    <a:pt x="3444875" y="5570315"/>
                  </a:moveTo>
                  <a:lnTo>
                    <a:pt x="3219655" y="5604687"/>
                  </a:lnTo>
                  <a:cubicBezTo>
                    <a:pt x="3121460" y="5614660"/>
                    <a:pt x="3021827" y="5619768"/>
                    <a:pt x="2921000" y="5619768"/>
                  </a:cubicBezTo>
                  <a:cubicBezTo>
                    <a:pt x="1307776" y="5619768"/>
                    <a:pt x="0" y="4311995"/>
                    <a:pt x="0" y="2698775"/>
                  </a:cubicBezTo>
                  <a:cubicBezTo>
                    <a:pt x="0" y="1488860"/>
                    <a:pt x="735624" y="450759"/>
                    <a:pt x="1784015" y="7328"/>
                  </a:cubicBezTo>
                  <a:lnTo>
                    <a:pt x="1804037" y="0"/>
                  </a:lnTo>
                </a:path>
              </a:pathLst>
            </a:custGeom>
            <a:noFill/>
            <a:ln w="19050">
              <a:gradFill>
                <a:gsLst>
                  <a:gs pos="0">
                    <a:schemeClr val="accent1">
                      <a:lumMod val="5000"/>
                      <a:lumOff val="95000"/>
                      <a:alpha val="23000"/>
                    </a:schemeClr>
                  </a:gs>
                  <a:gs pos="100000">
                    <a:schemeClr val="tx1">
                      <a:alpha val="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err="1">
                <a:solidFill>
                  <a:srgbClr val="FFFFFF"/>
                </a:solidFill>
                <a:cs typeface="Segoe UI" pitchFamily="34" charset="0"/>
              </a:endParaRPr>
            </a:p>
          </p:txBody>
        </p:sp>
        <p:sp>
          <p:nvSpPr>
            <p:cNvPr id="176" name="Oval 175">
              <a:extLst>
                <a:ext uri="{FF2B5EF4-FFF2-40B4-BE49-F238E27FC236}">
                  <a16:creationId xmlns:a16="http://schemas.microsoft.com/office/drawing/2014/main" id="{46201E5D-9784-48D3-9029-A5708CBA83C5}"/>
                </a:ext>
                <a:ext uri="{C183D7F6-B498-43B3-948B-1728B52AA6E4}">
                  <adec:decorative xmlns:adec="http://schemas.microsoft.com/office/drawing/2017/decorative" val="1"/>
                </a:ext>
              </a:extLst>
            </p:cNvPr>
            <p:cNvSpPr/>
            <p:nvPr userDrawn="1"/>
          </p:nvSpPr>
          <p:spPr bwMode="auto">
            <a:xfrm>
              <a:off x="8536729" y="4275442"/>
              <a:ext cx="534867" cy="539039"/>
            </a:xfrm>
            <a:prstGeom prst="ellipse">
              <a:avLst/>
            </a:prstGeom>
            <a:solidFill>
              <a:schemeClr val="bg2"/>
            </a:solidFill>
            <a:ln w="12700">
              <a:solidFill>
                <a:schemeClr val="tx1">
                  <a:lumMod val="65000"/>
                  <a:alpha val="2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cs typeface="Segoe UI" pitchFamily="34" charset="0"/>
              </a:endParaRPr>
            </a:p>
          </p:txBody>
        </p:sp>
        <p:sp>
          <p:nvSpPr>
            <p:cNvPr id="173" name="Oval 172">
              <a:extLst>
                <a:ext uri="{FF2B5EF4-FFF2-40B4-BE49-F238E27FC236}">
                  <a16:creationId xmlns:a16="http://schemas.microsoft.com/office/drawing/2014/main" id="{26B81D70-DF64-4634-87EF-F3FF0BE5B0C4}"/>
                </a:ext>
                <a:ext uri="{C183D7F6-B498-43B3-948B-1728B52AA6E4}">
                  <adec:decorative xmlns:adec="http://schemas.microsoft.com/office/drawing/2017/decorative" val="1"/>
                </a:ext>
              </a:extLst>
            </p:cNvPr>
            <p:cNvSpPr/>
            <p:nvPr userDrawn="1"/>
          </p:nvSpPr>
          <p:spPr bwMode="auto">
            <a:xfrm>
              <a:off x="9797168" y="5954139"/>
              <a:ext cx="789595" cy="788594"/>
            </a:xfrm>
            <a:prstGeom prst="ellipse">
              <a:avLst/>
            </a:prstGeom>
            <a:noFill/>
            <a:ln w="12700">
              <a:solidFill>
                <a:schemeClr val="tx1">
                  <a:lumMod val="65000"/>
                  <a:alpha val="2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cs typeface="Segoe UI" pitchFamily="34" charset="0"/>
              </a:endParaRPr>
            </a:p>
          </p:txBody>
        </p:sp>
        <p:sp>
          <p:nvSpPr>
            <p:cNvPr id="167" name="Freeform: Shape 166">
              <a:extLst>
                <a:ext uri="{FF2B5EF4-FFF2-40B4-BE49-F238E27FC236}">
                  <a16:creationId xmlns:a16="http://schemas.microsoft.com/office/drawing/2014/main" id="{6D70D750-66FA-47F6-B74A-4CE4BF76B27A}"/>
                </a:ext>
                <a:ext uri="{C183D7F6-B498-43B3-948B-1728B52AA6E4}">
                  <adec:decorative xmlns:adec="http://schemas.microsoft.com/office/drawing/2017/decorative" val="1"/>
                </a:ext>
              </a:extLst>
            </p:cNvPr>
            <p:cNvSpPr/>
            <p:nvPr userDrawn="1"/>
          </p:nvSpPr>
          <p:spPr>
            <a:xfrm rot="21307300">
              <a:off x="8392814" y="2529427"/>
              <a:ext cx="4038510" cy="4343993"/>
            </a:xfrm>
            <a:custGeom>
              <a:avLst/>
              <a:gdLst>
                <a:gd name="connsiteX0" fmla="*/ 4083022 w 4601752"/>
                <a:gd name="connsiteY0" fmla="*/ 1990 h 4709117"/>
                <a:gd name="connsiteX1" fmla="*/ 4390157 w 4601752"/>
                <a:gd name="connsiteY1" fmla="*/ 125981 h 4709117"/>
                <a:gd name="connsiteX2" fmla="*/ 4475775 w 4601752"/>
                <a:gd name="connsiteY2" fmla="*/ 922881 h 4709117"/>
                <a:gd name="connsiteX3" fmla="*/ 1450793 w 4601752"/>
                <a:gd name="connsiteY3" fmla="*/ 4709117 h 4709117"/>
                <a:gd name="connsiteX4" fmla="*/ 0 w 4601752"/>
                <a:gd name="connsiteY4" fmla="*/ 4709117 h 4709117"/>
                <a:gd name="connsiteX5" fmla="*/ 3593257 w 4601752"/>
                <a:gd name="connsiteY5" fmla="*/ 211595 h 4709117"/>
                <a:gd name="connsiteX6" fmla="*/ 4083022 w 4601752"/>
                <a:gd name="connsiteY6" fmla="*/ 1990 h 470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1752" h="4709117">
                  <a:moveTo>
                    <a:pt x="4083022" y="1990"/>
                  </a:moveTo>
                  <a:cubicBezTo>
                    <a:pt x="4191651" y="11136"/>
                    <a:pt x="4298776" y="51888"/>
                    <a:pt x="4390157" y="125981"/>
                  </a:cubicBezTo>
                  <a:cubicBezTo>
                    <a:pt x="4633837" y="323558"/>
                    <a:pt x="4673352" y="679199"/>
                    <a:pt x="4475775" y="922881"/>
                  </a:cubicBezTo>
                  <a:lnTo>
                    <a:pt x="1450793" y="4709117"/>
                  </a:lnTo>
                  <a:lnTo>
                    <a:pt x="0" y="4709117"/>
                  </a:lnTo>
                  <a:lnTo>
                    <a:pt x="3593257" y="211595"/>
                  </a:lnTo>
                  <a:cubicBezTo>
                    <a:pt x="3716743" y="59294"/>
                    <a:pt x="3901972" y="-13254"/>
                    <a:pt x="4083022" y="1990"/>
                  </a:cubicBezTo>
                  <a:close/>
                </a:path>
              </a:pathLst>
            </a:custGeom>
            <a:gradFill flip="none" rotWithShape="1">
              <a:gsLst>
                <a:gs pos="0">
                  <a:schemeClr val="accent3">
                    <a:lumMod val="50000"/>
                  </a:schemeClr>
                </a:gs>
                <a:gs pos="86000">
                  <a:schemeClr val="accent3">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a:solidFill>
                  <a:srgbClr val="FFFFFF"/>
                </a:solidFill>
                <a:cs typeface="Segoe UI" pitchFamily="34" charset="0"/>
              </a:endParaRPr>
            </a:p>
          </p:txBody>
        </p:sp>
        <p:sp>
          <p:nvSpPr>
            <p:cNvPr id="171" name="Freeform: Shape 170">
              <a:extLst>
                <a:ext uri="{FF2B5EF4-FFF2-40B4-BE49-F238E27FC236}">
                  <a16:creationId xmlns:a16="http://schemas.microsoft.com/office/drawing/2014/main" id="{99D6D480-352A-45A6-9ACD-A18E11CBF38A}"/>
                </a:ext>
                <a:ext uri="{C183D7F6-B498-43B3-948B-1728B52AA6E4}">
                  <adec:decorative xmlns:adec="http://schemas.microsoft.com/office/drawing/2017/decorative" val="1"/>
                </a:ext>
              </a:extLst>
            </p:cNvPr>
            <p:cNvSpPr/>
            <p:nvPr userDrawn="1"/>
          </p:nvSpPr>
          <p:spPr>
            <a:xfrm rot="21247546" flipH="1" flipV="1">
              <a:off x="9438371" y="6148409"/>
              <a:ext cx="1014271" cy="874171"/>
            </a:xfrm>
            <a:custGeom>
              <a:avLst/>
              <a:gdLst>
                <a:gd name="connsiteX0" fmla="*/ 234492 w 1155729"/>
                <a:gd name="connsiteY0" fmla="*/ 968616 h 969421"/>
                <a:gd name="connsiteX1" fmla="*/ 95652 w 1155729"/>
                <a:gd name="connsiteY1" fmla="*/ 914661 h 969421"/>
                <a:gd name="connsiteX2" fmla="*/ 56950 w 1155729"/>
                <a:gd name="connsiteY2" fmla="*/ 554420 h 969421"/>
                <a:gd name="connsiteX3" fmla="*/ 499899 w 1155729"/>
                <a:gd name="connsiteY3" fmla="*/ 0 h 969421"/>
                <a:gd name="connsiteX4" fmla="*/ 1155729 w 1155729"/>
                <a:gd name="connsiteY4" fmla="*/ 0 h 969421"/>
                <a:gd name="connsiteX5" fmla="*/ 455891 w 1155729"/>
                <a:gd name="connsiteY5" fmla="*/ 875957 h 969421"/>
                <a:gd name="connsiteX6" fmla="*/ 234492 w 1155729"/>
                <a:gd name="connsiteY6" fmla="*/ 968616 h 96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5729" h="969421">
                  <a:moveTo>
                    <a:pt x="234492" y="968616"/>
                  </a:moveTo>
                  <a:cubicBezTo>
                    <a:pt x="185385" y="964761"/>
                    <a:pt x="136960" y="947038"/>
                    <a:pt x="95652" y="914661"/>
                  </a:cubicBezTo>
                  <a:cubicBezTo>
                    <a:pt x="-14503" y="825344"/>
                    <a:pt x="-32366" y="664576"/>
                    <a:pt x="56950" y="554420"/>
                  </a:cubicBezTo>
                  <a:lnTo>
                    <a:pt x="499899" y="0"/>
                  </a:lnTo>
                  <a:lnTo>
                    <a:pt x="1155729" y="0"/>
                  </a:lnTo>
                  <a:lnTo>
                    <a:pt x="455891" y="875957"/>
                  </a:lnTo>
                  <a:cubicBezTo>
                    <a:pt x="400069" y="942943"/>
                    <a:pt x="316335" y="975041"/>
                    <a:pt x="234492" y="968616"/>
                  </a:cubicBezTo>
                  <a:close/>
                </a:path>
              </a:pathLst>
            </a:custGeom>
            <a:gradFill flip="none" rotWithShape="1">
              <a:gsLst>
                <a:gs pos="0">
                  <a:schemeClr val="accent4"/>
                </a:gs>
                <a:gs pos="100000">
                  <a:srgbClr val="4CB1FF">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80" fontAlgn="base">
                <a:spcBef>
                  <a:spcPct val="0"/>
                </a:spcBef>
                <a:spcAft>
                  <a:spcPct val="0"/>
                </a:spcAft>
              </a:pPr>
              <a:endParaRPr lang="en-US" sz="1961">
                <a:solidFill>
                  <a:srgbClr val="FFFFFF"/>
                </a:solidFill>
                <a:cs typeface="Segoe UI" pitchFamily="34" charset="0"/>
              </a:endParaRPr>
            </a:p>
          </p:txBody>
        </p:sp>
        <p:sp>
          <p:nvSpPr>
            <p:cNvPr id="181" name="Freeform: Shape 180">
              <a:extLst>
                <a:ext uri="{FF2B5EF4-FFF2-40B4-BE49-F238E27FC236}">
                  <a16:creationId xmlns:a16="http://schemas.microsoft.com/office/drawing/2014/main" id="{2A201B26-064D-4C70-843D-55EA4B33D487}"/>
                </a:ext>
                <a:ext uri="{C183D7F6-B498-43B3-948B-1728B52AA6E4}">
                  <adec:decorative xmlns:adec="http://schemas.microsoft.com/office/drawing/2017/decorative" val="1"/>
                </a:ext>
              </a:extLst>
            </p:cNvPr>
            <p:cNvSpPr/>
            <p:nvPr userDrawn="1"/>
          </p:nvSpPr>
          <p:spPr bwMode="auto">
            <a:xfrm>
              <a:off x="9034864" y="5171021"/>
              <a:ext cx="2322563" cy="1825396"/>
            </a:xfrm>
            <a:custGeom>
              <a:avLst/>
              <a:gdLst>
                <a:gd name="connsiteX0" fmla="*/ 1418037 w 2836074"/>
                <a:gd name="connsiteY0" fmla="*/ 0 h 2175670"/>
                <a:gd name="connsiteX1" fmla="*/ 2836074 w 2836074"/>
                <a:gd name="connsiteY1" fmla="*/ 1418036 h 2175670"/>
                <a:gd name="connsiteX2" fmla="*/ 2664925 w 2836074"/>
                <a:gd name="connsiteY2" fmla="*/ 2093957 h 2175670"/>
                <a:gd name="connsiteX3" fmla="*/ 2615282 w 2836074"/>
                <a:gd name="connsiteY3" fmla="*/ 2175670 h 2175670"/>
                <a:gd name="connsiteX4" fmla="*/ 220792 w 2836074"/>
                <a:gd name="connsiteY4" fmla="*/ 2175670 h 2175670"/>
                <a:gd name="connsiteX5" fmla="*/ 171149 w 2836074"/>
                <a:gd name="connsiteY5" fmla="*/ 2093957 h 2175670"/>
                <a:gd name="connsiteX6" fmla="*/ 0 w 2836074"/>
                <a:gd name="connsiteY6" fmla="*/ 1418036 h 2175670"/>
                <a:gd name="connsiteX7" fmla="*/ 1418037 w 2836074"/>
                <a:gd name="connsiteY7" fmla="*/ 0 h 2175670"/>
                <a:gd name="connsiteX0" fmla="*/ 1418037 w 2836074"/>
                <a:gd name="connsiteY0" fmla="*/ 0 h 2178846"/>
                <a:gd name="connsiteX1" fmla="*/ 2836074 w 2836074"/>
                <a:gd name="connsiteY1" fmla="*/ 1418036 h 2178846"/>
                <a:gd name="connsiteX2" fmla="*/ 2664925 w 2836074"/>
                <a:gd name="connsiteY2" fmla="*/ 2093957 h 2178846"/>
                <a:gd name="connsiteX3" fmla="*/ 2615282 w 2836074"/>
                <a:gd name="connsiteY3" fmla="*/ 2175670 h 2178846"/>
                <a:gd name="connsiteX4" fmla="*/ 1497131 w 2836074"/>
                <a:gd name="connsiteY4" fmla="*/ 2178846 h 2178846"/>
                <a:gd name="connsiteX5" fmla="*/ 220792 w 2836074"/>
                <a:gd name="connsiteY5" fmla="*/ 2175670 h 2178846"/>
                <a:gd name="connsiteX6" fmla="*/ 171149 w 2836074"/>
                <a:gd name="connsiteY6" fmla="*/ 2093957 h 2178846"/>
                <a:gd name="connsiteX7" fmla="*/ 0 w 2836074"/>
                <a:gd name="connsiteY7" fmla="*/ 1418036 h 2178846"/>
                <a:gd name="connsiteX8" fmla="*/ 1418037 w 2836074"/>
                <a:gd name="connsiteY8" fmla="*/ 0 h 2178846"/>
                <a:gd name="connsiteX0" fmla="*/ 1497131 w 2836074"/>
                <a:gd name="connsiteY0" fmla="*/ 2178846 h 2270286"/>
                <a:gd name="connsiteX1" fmla="*/ 220792 w 2836074"/>
                <a:gd name="connsiteY1" fmla="*/ 2175670 h 2270286"/>
                <a:gd name="connsiteX2" fmla="*/ 171149 w 2836074"/>
                <a:gd name="connsiteY2" fmla="*/ 2093957 h 2270286"/>
                <a:gd name="connsiteX3" fmla="*/ 0 w 2836074"/>
                <a:gd name="connsiteY3" fmla="*/ 1418036 h 2270286"/>
                <a:gd name="connsiteX4" fmla="*/ 1418037 w 2836074"/>
                <a:gd name="connsiteY4" fmla="*/ 0 h 2270286"/>
                <a:gd name="connsiteX5" fmla="*/ 2836074 w 2836074"/>
                <a:gd name="connsiteY5" fmla="*/ 1418036 h 2270286"/>
                <a:gd name="connsiteX6" fmla="*/ 2664925 w 2836074"/>
                <a:gd name="connsiteY6" fmla="*/ 2093957 h 2270286"/>
                <a:gd name="connsiteX7" fmla="*/ 2615282 w 2836074"/>
                <a:gd name="connsiteY7" fmla="*/ 2175670 h 2270286"/>
                <a:gd name="connsiteX8" fmla="*/ 1588571 w 2836074"/>
                <a:gd name="connsiteY8" fmla="*/ 2270286 h 2270286"/>
                <a:gd name="connsiteX0" fmla="*/ 1497131 w 2836074"/>
                <a:gd name="connsiteY0" fmla="*/ 2178846 h 2178846"/>
                <a:gd name="connsiteX1" fmla="*/ 220792 w 2836074"/>
                <a:gd name="connsiteY1" fmla="*/ 2175670 h 2178846"/>
                <a:gd name="connsiteX2" fmla="*/ 171149 w 2836074"/>
                <a:gd name="connsiteY2" fmla="*/ 2093957 h 2178846"/>
                <a:gd name="connsiteX3" fmla="*/ 0 w 2836074"/>
                <a:gd name="connsiteY3" fmla="*/ 1418036 h 2178846"/>
                <a:gd name="connsiteX4" fmla="*/ 1418037 w 2836074"/>
                <a:gd name="connsiteY4" fmla="*/ 0 h 2178846"/>
                <a:gd name="connsiteX5" fmla="*/ 2836074 w 2836074"/>
                <a:gd name="connsiteY5" fmla="*/ 1418036 h 2178846"/>
                <a:gd name="connsiteX6" fmla="*/ 2664925 w 2836074"/>
                <a:gd name="connsiteY6" fmla="*/ 2093957 h 2178846"/>
                <a:gd name="connsiteX7" fmla="*/ 2615282 w 2836074"/>
                <a:gd name="connsiteY7" fmla="*/ 2175670 h 2178846"/>
                <a:gd name="connsiteX0" fmla="*/ 220792 w 2836074"/>
                <a:gd name="connsiteY0" fmla="*/ 2175670 h 2175670"/>
                <a:gd name="connsiteX1" fmla="*/ 171149 w 2836074"/>
                <a:gd name="connsiteY1" fmla="*/ 2093957 h 2175670"/>
                <a:gd name="connsiteX2" fmla="*/ 0 w 2836074"/>
                <a:gd name="connsiteY2" fmla="*/ 1418036 h 2175670"/>
                <a:gd name="connsiteX3" fmla="*/ 1418037 w 2836074"/>
                <a:gd name="connsiteY3" fmla="*/ 0 h 2175670"/>
                <a:gd name="connsiteX4" fmla="*/ 2836074 w 2836074"/>
                <a:gd name="connsiteY4" fmla="*/ 1418036 h 2175670"/>
                <a:gd name="connsiteX5" fmla="*/ 2664925 w 2836074"/>
                <a:gd name="connsiteY5" fmla="*/ 2093957 h 2175670"/>
                <a:gd name="connsiteX6" fmla="*/ 2615282 w 2836074"/>
                <a:gd name="connsiteY6" fmla="*/ 2175670 h 2175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6074" h="2175670">
                  <a:moveTo>
                    <a:pt x="220792" y="2175670"/>
                  </a:moveTo>
                  <a:lnTo>
                    <a:pt x="171149" y="2093957"/>
                  </a:lnTo>
                  <a:cubicBezTo>
                    <a:pt x="62000" y="1893030"/>
                    <a:pt x="0" y="1662774"/>
                    <a:pt x="0" y="1418036"/>
                  </a:cubicBezTo>
                  <a:cubicBezTo>
                    <a:pt x="0" y="634876"/>
                    <a:pt x="634877" y="0"/>
                    <a:pt x="1418037" y="0"/>
                  </a:cubicBezTo>
                  <a:cubicBezTo>
                    <a:pt x="2201197" y="0"/>
                    <a:pt x="2836074" y="634876"/>
                    <a:pt x="2836074" y="1418036"/>
                  </a:cubicBezTo>
                  <a:cubicBezTo>
                    <a:pt x="2836074" y="1662774"/>
                    <a:pt x="2774074" y="1893030"/>
                    <a:pt x="2664925" y="2093957"/>
                  </a:cubicBezTo>
                  <a:lnTo>
                    <a:pt x="2615282" y="2175670"/>
                  </a:lnTo>
                </a:path>
              </a:pathLst>
            </a:custGeom>
            <a:noFill/>
            <a:ln w="12700">
              <a:solidFill>
                <a:schemeClr val="tx1">
                  <a:alpha val="23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err="1">
                <a:solidFill>
                  <a:srgbClr val="FFFFFF"/>
                </a:solidFill>
                <a:cs typeface="Segoe UI" pitchFamily="34" charset="0"/>
              </a:endParaRPr>
            </a:p>
          </p:txBody>
        </p:sp>
        <p:sp>
          <p:nvSpPr>
            <p:cNvPr id="26" name="Freeform: Shape 25">
              <a:extLst>
                <a:ext uri="{FF2B5EF4-FFF2-40B4-BE49-F238E27FC236}">
                  <a16:creationId xmlns:a16="http://schemas.microsoft.com/office/drawing/2014/main" id="{CD623A38-A6CD-483B-9F8B-6AD4559ECAC4}"/>
                </a:ext>
                <a:ext uri="{C183D7F6-B498-43B3-948B-1728B52AA6E4}">
                  <adec:decorative xmlns:adec="http://schemas.microsoft.com/office/drawing/2017/decorative" val="1"/>
                </a:ext>
              </a:extLst>
            </p:cNvPr>
            <p:cNvSpPr/>
            <p:nvPr userDrawn="1"/>
          </p:nvSpPr>
          <p:spPr>
            <a:xfrm rot="12752332">
              <a:off x="10367512" y="-460322"/>
              <a:ext cx="1077038" cy="5543862"/>
            </a:xfrm>
            <a:custGeom>
              <a:avLst/>
              <a:gdLst>
                <a:gd name="connsiteX0" fmla="*/ 1077037 w 1077038"/>
                <a:gd name="connsiteY0" fmla="*/ 5170379 h 5543862"/>
                <a:gd name="connsiteX1" fmla="*/ 491663 w 1077038"/>
                <a:gd name="connsiteY1" fmla="*/ 5543862 h 5543862"/>
                <a:gd name="connsiteX2" fmla="*/ 1 w 1077038"/>
                <a:gd name="connsiteY2" fmla="*/ 4773261 h 5543862"/>
                <a:gd name="connsiteX3" fmla="*/ 0 w 1077038"/>
                <a:gd name="connsiteY3" fmla="*/ 538519 h 5543862"/>
                <a:gd name="connsiteX4" fmla="*/ 538519 w 1077038"/>
                <a:gd name="connsiteY4" fmla="*/ 0 h 5543862"/>
                <a:gd name="connsiteX5" fmla="*/ 1077038 w 1077038"/>
                <a:gd name="connsiteY5" fmla="*/ 538519 h 554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038" h="5543862">
                  <a:moveTo>
                    <a:pt x="1077037" y="5170379"/>
                  </a:moveTo>
                  <a:lnTo>
                    <a:pt x="491663" y="5543862"/>
                  </a:lnTo>
                  <a:lnTo>
                    <a:pt x="1" y="4773261"/>
                  </a:lnTo>
                  <a:lnTo>
                    <a:pt x="0" y="538519"/>
                  </a:lnTo>
                  <a:cubicBezTo>
                    <a:pt x="0" y="241103"/>
                    <a:pt x="241103" y="0"/>
                    <a:pt x="538519" y="0"/>
                  </a:cubicBezTo>
                  <a:cubicBezTo>
                    <a:pt x="835935" y="0"/>
                    <a:pt x="1077038" y="241103"/>
                    <a:pt x="1077038" y="538519"/>
                  </a:cubicBezTo>
                  <a:close/>
                </a:path>
              </a:pathLst>
            </a:custGeom>
            <a:gradFill flip="none" rotWithShape="1">
              <a:gsLst>
                <a:gs pos="0">
                  <a:schemeClr val="accent2">
                    <a:lumMod val="50000"/>
                    <a:alpha val="76000"/>
                  </a:schemeClr>
                </a:gs>
                <a:gs pos="99000">
                  <a:schemeClr val="accent2">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a:solidFill>
                  <a:srgbClr val="FFFFFF"/>
                </a:solidFill>
                <a:cs typeface="Segoe UI" pitchFamily="34" charset="0"/>
              </a:endParaRPr>
            </a:p>
          </p:txBody>
        </p:sp>
        <p:sp>
          <p:nvSpPr>
            <p:cNvPr id="23" name="Freeform: Shape 22">
              <a:extLst>
                <a:ext uri="{FF2B5EF4-FFF2-40B4-BE49-F238E27FC236}">
                  <a16:creationId xmlns:a16="http://schemas.microsoft.com/office/drawing/2014/main" id="{6A342D31-3FE3-4692-915A-07CC70E8636C}"/>
                </a:ext>
                <a:ext uri="{C183D7F6-B498-43B3-948B-1728B52AA6E4}">
                  <adec:decorative xmlns:adec="http://schemas.microsoft.com/office/drawing/2017/decorative" val="1"/>
                </a:ext>
              </a:extLst>
            </p:cNvPr>
            <p:cNvSpPr/>
            <p:nvPr userDrawn="1"/>
          </p:nvSpPr>
          <p:spPr>
            <a:xfrm rot="12752332">
              <a:off x="11097116" y="-325661"/>
              <a:ext cx="472646" cy="2529732"/>
            </a:xfrm>
            <a:custGeom>
              <a:avLst/>
              <a:gdLst>
                <a:gd name="connsiteX0" fmla="*/ 472646 w 472646"/>
                <a:gd name="connsiteY0" fmla="*/ 2228173 h 2529732"/>
                <a:gd name="connsiteX1" fmla="*/ 0 w 472646"/>
                <a:gd name="connsiteY1" fmla="*/ 2529732 h 2529732"/>
                <a:gd name="connsiteX2" fmla="*/ 0 w 472646"/>
                <a:gd name="connsiteY2" fmla="*/ 236323 h 2529732"/>
                <a:gd name="connsiteX3" fmla="*/ 236323 w 472646"/>
                <a:gd name="connsiteY3" fmla="*/ 0 h 2529732"/>
                <a:gd name="connsiteX4" fmla="*/ 472646 w 472646"/>
                <a:gd name="connsiteY4" fmla="*/ 236323 h 2529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646" h="2529732">
                  <a:moveTo>
                    <a:pt x="472646" y="2228173"/>
                  </a:moveTo>
                  <a:lnTo>
                    <a:pt x="0" y="2529732"/>
                  </a:lnTo>
                  <a:lnTo>
                    <a:pt x="0" y="236323"/>
                  </a:lnTo>
                  <a:cubicBezTo>
                    <a:pt x="0" y="105805"/>
                    <a:pt x="105805" y="0"/>
                    <a:pt x="236323" y="0"/>
                  </a:cubicBezTo>
                  <a:cubicBezTo>
                    <a:pt x="366841" y="0"/>
                    <a:pt x="472646" y="105805"/>
                    <a:pt x="472646" y="236323"/>
                  </a:cubicBezTo>
                  <a:close/>
                </a:path>
              </a:pathLst>
            </a:custGeom>
            <a:gradFill flip="none" rotWithShape="1">
              <a:gsLst>
                <a:gs pos="0">
                  <a:srgbClr val="0B79D5"/>
                </a:gs>
                <a:gs pos="100000">
                  <a:srgbClr val="4CB1FF">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80" fontAlgn="base">
                <a:spcBef>
                  <a:spcPct val="0"/>
                </a:spcBef>
                <a:spcAft>
                  <a:spcPct val="0"/>
                </a:spcAft>
              </a:pPr>
              <a:endParaRPr lang="en-US" sz="1961">
                <a:solidFill>
                  <a:srgbClr val="FFFFFF"/>
                </a:solidFill>
                <a:cs typeface="Segoe UI" pitchFamily="34" charset="0"/>
              </a:endParaRPr>
            </a:p>
          </p:txBody>
        </p:sp>
      </p:grpSp>
      <p:sp>
        <p:nvSpPr>
          <p:cNvPr id="4" name="TextBox 3">
            <a:extLst>
              <a:ext uri="{FF2B5EF4-FFF2-40B4-BE49-F238E27FC236}">
                <a16:creationId xmlns:a16="http://schemas.microsoft.com/office/drawing/2014/main" id="{7AB5406A-8B6C-B1B1-5514-407EFAFC0DBA}"/>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19575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595">
          <p15:clr>
            <a:srgbClr val="5ACBF0"/>
          </p15:clr>
        </p15:guide>
        <p15:guide id="3" orient="horz" pos="1433">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p:cSld name="1_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663"/>
            <a:ext cx="5794056" cy="498675"/>
          </a:xfrm>
          <a:noFill/>
        </p:spPr>
        <p:txBody>
          <a:bodyPr wrap="square" lIns="0" tIns="0" rIns="0" bIns="0" anchor="ctr" anchorCtr="0">
            <a:spAutoFit/>
          </a:bodyPr>
          <a:lstStyle>
            <a:lvl1pPr algn="l" defTabSz="932539" rtl="0" eaLnBrk="1" latinLnBrk="0" hangingPunct="1">
              <a:lnSpc>
                <a:spcPct val="90000"/>
              </a:lnSpc>
              <a:spcBef>
                <a:spcPct val="0"/>
              </a:spcBef>
              <a:buNone/>
              <a:defRPr lang="en-US" sz="3529" b="0" kern="1200" cap="none" spc="-51" baseline="0" dirty="0">
                <a:ln w="3175">
                  <a:noFill/>
                </a:ln>
                <a:solidFill>
                  <a:schemeClr val="accent3"/>
                </a:solidFill>
                <a:effectLst/>
                <a:latin typeface="+mj-lt"/>
                <a:ea typeface="+mn-ea"/>
                <a:cs typeface="Segoe UI" pitchFamily="34" charset="0"/>
              </a:defRPr>
            </a:lvl1pPr>
          </a:lstStyle>
          <a:p>
            <a:r>
              <a:rPr lang="en-US"/>
              <a:t>Section title with no subtitle</a:t>
            </a:r>
          </a:p>
        </p:txBody>
      </p:sp>
      <p:sp>
        <p:nvSpPr>
          <p:cNvPr id="162" name="Rectangle 161">
            <a:extLst>
              <a:ext uri="{FF2B5EF4-FFF2-40B4-BE49-F238E27FC236}">
                <a16:creationId xmlns:a16="http://schemas.microsoft.com/office/drawing/2014/main" id="{0FD9F46C-0C7B-482C-8FBC-4CB29AE623AD}"/>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grpSp>
        <p:nvGrpSpPr>
          <p:cNvPr id="16" name="Group 15">
            <a:extLst>
              <a:ext uri="{FF2B5EF4-FFF2-40B4-BE49-F238E27FC236}">
                <a16:creationId xmlns:a16="http://schemas.microsoft.com/office/drawing/2014/main" id="{7FF4DC87-AA9F-421C-AC1E-122CB147C861}"/>
              </a:ext>
              <a:ext uri="{C183D7F6-B498-43B3-948B-1728B52AA6E4}">
                <adec:decorative xmlns:adec="http://schemas.microsoft.com/office/drawing/2017/decorative" val="1"/>
              </a:ext>
            </a:extLst>
          </p:cNvPr>
          <p:cNvGrpSpPr/>
          <p:nvPr userDrawn="1"/>
        </p:nvGrpSpPr>
        <p:grpSpPr>
          <a:xfrm>
            <a:off x="6774583" y="2"/>
            <a:ext cx="5223611" cy="7093675"/>
            <a:chOff x="6910426" y="2"/>
            <a:chExt cx="5328355" cy="7234891"/>
          </a:xfrm>
        </p:grpSpPr>
        <p:sp>
          <p:nvSpPr>
            <p:cNvPr id="17" name="Freeform: Shape 16">
              <a:extLst>
                <a:ext uri="{FF2B5EF4-FFF2-40B4-BE49-F238E27FC236}">
                  <a16:creationId xmlns:a16="http://schemas.microsoft.com/office/drawing/2014/main" id="{273795DB-6AB6-464F-A095-4F940D7CCEA3}"/>
                </a:ext>
              </a:extLst>
            </p:cNvPr>
            <p:cNvSpPr/>
            <p:nvPr/>
          </p:nvSpPr>
          <p:spPr>
            <a:xfrm rot="16200000" flipH="1">
              <a:off x="7498467" y="507905"/>
              <a:ext cx="5248218" cy="4232411"/>
            </a:xfrm>
            <a:custGeom>
              <a:avLst/>
              <a:gdLst>
                <a:gd name="connsiteX0" fmla="*/ 5236026 w 5248218"/>
                <a:gd name="connsiteY0" fmla="*/ 541982 h 4232411"/>
                <a:gd name="connsiteX1" fmla="*/ 5242307 w 5248218"/>
                <a:gd name="connsiteY1" fmla="*/ 543829 h 4232411"/>
                <a:gd name="connsiteX2" fmla="*/ 5248218 w 5248218"/>
                <a:gd name="connsiteY2" fmla="*/ 537918 h 4232411"/>
                <a:gd name="connsiteX3" fmla="*/ 5242307 w 5248218"/>
                <a:gd name="connsiteY3" fmla="*/ 532007 h 4232411"/>
                <a:gd name="connsiteX4" fmla="*/ 5236396 w 5248218"/>
                <a:gd name="connsiteY4" fmla="*/ 537918 h 4232411"/>
                <a:gd name="connsiteX5" fmla="*/ 5236026 w 5248218"/>
                <a:gd name="connsiteY5" fmla="*/ 541982 h 4232411"/>
                <a:gd name="connsiteX6" fmla="*/ 5230482 w 5248218"/>
                <a:gd name="connsiteY6" fmla="*/ 1223616 h 4232411"/>
                <a:gd name="connsiteX7" fmla="*/ 5233439 w 5248218"/>
                <a:gd name="connsiteY7" fmla="*/ 1226573 h 4232411"/>
                <a:gd name="connsiteX8" fmla="*/ 5236393 w 5248218"/>
                <a:gd name="connsiteY8" fmla="*/ 1223616 h 4232411"/>
                <a:gd name="connsiteX9" fmla="*/ 5233439 w 5248218"/>
                <a:gd name="connsiteY9" fmla="*/ 1220662 h 4232411"/>
                <a:gd name="connsiteX10" fmla="*/ 5230482 w 5248218"/>
                <a:gd name="connsiteY10" fmla="*/ 1223616 h 4232411"/>
                <a:gd name="connsiteX11" fmla="*/ 5192060 w 5248218"/>
                <a:gd name="connsiteY11" fmla="*/ 712300 h 4232411"/>
                <a:gd name="connsiteX12" fmla="*/ 5197972 w 5248218"/>
                <a:gd name="connsiteY12" fmla="*/ 718211 h 4232411"/>
                <a:gd name="connsiteX13" fmla="*/ 5203883 w 5248218"/>
                <a:gd name="connsiteY13" fmla="*/ 712300 h 4232411"/>
                <a:gd name="connsiteX14" fmla="*/ 5197972 w 5248218"/>
                <a:gd name="connsiteY14" fmla="*/ 706389 h 4232411"/>
                <a:gd name="connsiteX15" fmla="*/ 5192060 w 5248218"/>
                <a:gd name="connsiteY15" fmla="*/ 712300 h 4232411"/>
                <a:gd name="connsiteX16" fmla="*/ 5153636 w 5248218"/>
                <a:gd name="connsiteY16" fmla="*/ 1383218 h 4232411"/>
                <a:gd name="connsiteX17" fmla="*/ 5159547 w 5248218"/>
                <a:gd name="connsiteY17" fmla="*/ 1389129 h 4232411"/>
                <a:gd name="connsiteX18" fmla="*/ 5165459 w 5248218"/>
                <a:gd name="connsiteY18" fmla="*/ 1383218 h 4232411"/>
                <a:gd name="connsiteX19" fmla="*/ 5159547 w 5248218"/>
                <a:gd name="connsiteY19" fmla="*/ 1377307 h 4232411"/>
                <a:gd name="connsiteX20" fmla="*/ 5153636 w 5248218"/>
                <a:gd name="connsiteY20" fmla="*/ 1383218 h 4232411"/>
                <a:gd name="connsiteX21" fmla="*/ 5144771 w 5248218"/>
                <a:gd name="connsiteY21" fmla="*/ 883721 h 4232411"/>
                <a:gd name="connsiteX22" fmla="*/ 5147728 w 5248218"/>
                <a:gd name="connsiteY22" fmla="*/ 886678 h 4232411"/>
                <a:gd name="connsiteX23" fmla="*/ 5150682 w 5248218"/>
                <a:gd name="connsiteY23" fmla="*/ 883721 h 4232411"/>
                <a:gd name="connsiteX24" fmla="*/ 5147728 w 5248218"/>
                <a:gd name="connsiteY24" fmla="*/ 880767 h 4232411"/>
                <a:gd name="connsiteX25" fmla="*/ 5144771 w 5248218"/>
                <a:gd name="connsiteY25" fmla="*/ 883721 h 4232411"/>
                <a:gd name="connsiteX26" fmla="*/ 5093786 w 5248218"/>
                <a:gd name="connsiteY26" fmla="*/ 187681 h 4232411"/>
                <a:gd name="connsiteX27" fmla="*/ 5097481 w 5248218"/>
                <a:gd name="connsiteY27" fmla="*/ 189158 h 4232411"/>
                <a:gd name="connsiteX28" fmla="*/ 5100435 w 5248218"/>
                <a:gd name="connsiteY28" fmla="*/ 186204 h 4232411"/>
                <a:gd name="connsiteX29" fmla="*/ 5097481 w 5248218"/>
                <a:gd name="connsiteY29" fmla="*/ 183247 h 4232411"/>
                <a:gd name="connsiteX30" fmla="*/ 5094524 w 5248218"/>
                <a:gd name="connsiteY30" fmla="*/ 186204 h 4232411"/>
                <a:gd name="connsiteX31" fmla="*/ 5093786 w 5248218"/>
                <a:gd name="connsiteY31" fmla="*/ 187681 h 4232411"/>
                <a:gd name="connsiteX32" fmla="*/ 5084918 w 5248218"/>
                <a:gd name="connsiteY32" fmla="*/ 1054779 h 4232411"/>
                <a:gd name="connsiteX33" fmla="*/ 5088613 w 5248218"/>
                <a:gd name="connsiteY33" fmla="*/ 1055149 h 4232411"/>
                <a:gd name="connsiteX34" fmla="*/ 5091570 w 5248218"/>
                <a:gd name="connsiteY34" fmla="*/ 1052192 h 4232411"/>
                <a:gd name="connsiteX35" fmla="*/ 5088613 w 5248218"/>
                <a:gd name="connsiteY35" fmla="*/ 1049238 h 4232411"/>
                <a:gd name="connsiteX36" fmla="*/ 5085656 w 5248218"/>
                <a:gd name="connsiteY36" fmla="*/ 1052192 h 4232411"/>
                <a:gd name="connsiteX37" fmla="*/ 5084918 w 5248218"/>
                <a:gd name="connsiteY37" fmla="*/ 1054779 h 4232411"/>
                <a:gd name="connsiteX38" fmla="*/ 5064968 w 5248218"/>
                <a:gd name="connsiteY38" fmla="*/ 360582 h 4232411"/>
                <a:gd name="connsiteX39" fmla="*/ 5070879 w 5248218"/>
                <a:gd name="connsiteY39" fmla="*/ 366494 h 4232411"/>
                <a:gd name="connsiteX40" fmla="*/ 5076791 w 5248218"/>
                <a:gd name="connsiteY40" fmla="*/ 360582 h 4232411"/>
                <a:gd name="connsiteX41" fmla="*/ 5070879 w 5248218"/>
                <a:gd name="connsiteY41" fmla="*/ 354671 h 4232411"/>
                <a:gd name="connsiteX42" fmla="*/ 5064968 w 5248218"/>
                <a:gd name="connsiteY42" fmla="*/ 360582 h 4232411"/>
                <a:gd name="connsiteX43" fmla="*/ 5032458 w 5248218"/>
                <a:gd name="connsiteY43" fmla="*/ 534964 h 4232411"/>
                <a:gd name="connsiteX44" fmla="*/ 5038369 w 5248218"/>
                <a:gd name="connsiteY44" fmla="*/ 540875 h 4232411"/>
                <a:gd name="connsiteX45" fmla="*/ 5044281 w 5248218"/>
                <a:gd name="connsiteY45" fmla="*/ 534964 h 4232411"/>
                <a:gd name="connsiteX46" fmla="*/ 5038369 w 5248218"/>
                <a:gd name="connsiteY46" fmla="*/ 529053 h 4232411"/>
                <a:gd name="connsiteX47" fmla="*/ 5032458 w 5248218"/>
                <a:gd name="connsiteY47" fmla="*/ 534964 h 4232411"/>
                <a:gd name="connsiteX48" fmla="*/ 5014725 w 5248218"/>
                <a:gd name="connsiteY48" fmla="*/ 2009804 h 4232411"/>
                <a:gd name="connsiteX49" fmla="*/ 5023593 w 5248218"/>
                <a:gd name="connsiteY49" fmla="*/ 2018669 h 4232411"/>
                <a:gd name="connsiteX50" fmla="*/ 5032458 w 5248218"/>
                <a:gd name="connsiteY50" fmla="*/ 2009804 h 4232411"/>
                <a:gd name="connsiteX51" fmla="*/ 5023593 w 5248218"/>
                <a:gd name="connsiteY51" fmla="*/ 2000936 h 4232411"/>
                <a:gd name="connsiteX52" fmla="*/ 5014725 w 5248218"/>
                <a:gd name="connsiteY52" fmla="*/ 2009804 h 4232411"/>
                <a:gd name="connsiteX53" fmla="*/ 4994037 w 5248218"/>
                <a:gd name="connsiteY53" fmla="*/ 1217705 h 4232411"/>
                <a:gd name="connsiteX54" fmla="*/ 5017682 w 5248218"/>
                <a:gd name="connsiteY54" fmla="*/ 1241350 h 4232411"/>
                <a:gd name="connsiteX55" fmla="*/ 5041327 w 5248218"/>
                <a:gd name="connsiteY55" fmla="*/ 1217705 h 4232411"/>
                <a:gd name="connsiteX56" fmla="*/ 5017682 w 5248218"/>
                <a:gd name="connsiteY56" fmla="*/ 1194060 h 4232411"/>
                <a:gd name="connsiteX57" fmla="*/ 4994037 w 5248218"/>
                <a:gd name="connsiteY57" fmla="*/ 1217705 h 4232411"/>
                <a:gd name="connsiteX58" fmla="*/ 4982212 w 5248218"/>
                <a:gd name="connsiteY58" fmla="*/ 709343 h 4232411"/>
                <a:gd name="connsiteX59" fmla="*/ 4991080 w 5248218"/>
                <a:gd name="connsiteY59" fmla="*/ 718208 h 4232411"/>
                <a:gd name="connsiteX60" fmla="*/ 4999945 w 5248218"/>
                <a:gd name="connsiteY60" fmla="*/ 709343 h 4232411"/>
                <a:gd name="connsiteX61" fmla="*/ 4991080 w 5248218"/>
                <a:gd name="connsiteY61" fmla="*/ 700474 h 4232411"/>
                <a:gd name="connsiteX62" fmla="*/ 4982212 w 5248218"/>
                <a:gd name="connsiteY62" fmla="*/ 709343 h 4232411"/>
                <a:gd name="connsiteX63" fmla="*/ 4967435 w 5248218"/>
                <a:gd name="connsiteY63" fmla="*/ 1696508 h 4232411"/>
                <a:gd name="connsiteX64" fmla="*/ 4988126 w 5248218"/>
                <a:gd name="connsiteY64" fmla="*/ 1717199 h 4232411"/>
                <a:gd name="connsiteX65" fmla="*/ 5008814 w 5248218"/>
                <a:gd name="connsiteY65" fmla="*/ 1696508 h 4232411"/>
                <a:gd name="connsiteX66" fmla="*/ 4988126 w 5248218"/>
                <a:gd name="connsiteY66" fmla="*/ 1675821 h 4232411"/>
                <a:gd name="connsiteX67" fmla="*/ 4967435 w 5248218"/>
                <a:gd name="connsiteY67" fmla="*/ 1696508 h 4232411"/>
                <a:gd name="connsiteX68" fmla="*/ 4923100 w 5248218"/>
                <a:gd name="connsiteY68" fmla="*/ 880770 h 4232411"/>
                <a:gd name="connsiteX69" fmla="*/ 4937879 w 5248218"/>
                <a:gd name="connsiteY69" fmla="*/ 895547 h 4232411"/>
                <a:gd name="connsiteX70" fmla="*/ 4952656 w 5248218"/>
                <a:gd name="connsiteY70" fmla="*/ 880770 h 4232411"/>
                <a:gd name="connsiteX71" fmla="*/ 4937879 w 5248218"/>
                <a:gd name="connsiteY71" fmla="*/ 865991 h 4232411"/>
                <a:gd name="connsiteX72" fmla="*/ 4923100 w 5248218"/>
                <a:gd name="connsiteY72" fmla="*/ 880770 h 4232411"/>
                <a:gd name="connsiteX73" fmla="*/ 4911280 w 5248218"/>
                <a:gd name="connsiteY73" fmla="*/ 2151673 h 4232411"/>
                <a:gd name="connsiteX74" fmla="*/ 4917192 w 5248218"/>
                <a:gd name="connsiteY74" fmla="*/ 2157584 h 4232411"/>
                <a:gd name="connsiteX75" fmla="*/ 4923103 w 5248218"/>
                <a:gd name="connsiteY75" fmla="*/ 2151673 h 4232411"/>
                <a:gd name="connsiteX76" fmla="*/ 4917192 w 5248218"/>
                <a:gd name="connsiteY76" fmla="*/ 2145762 h 4232411"/>
                <a:gd name="connsiteX77" fmla="*/ 4911280 w 5248218"/>
                <a:gd name="connsiteY77" fmla="*/ 2151673 h 4232411"/>
                <a:gd name="connsiteX78" fmla="*/ 4905369 w 5248218"/>
                <a:gd name="connsiteY78" fmla="*/ 5911 h 4232411"/>
                <a:gd name="connsiteX79" fmla="*/ 4911280 w 5248218"/>
                <a:gd name="connsiteY79" fmla="*/ 11822 h 4232411"/>
                <a:gd name="connsiteX80" fmla="*/ 4917192 w 5248218"/>
                <a:gd name="connsiteY80" fmla="*/ 5911 h 4232411"/>
                <a:gd name="connsiteX81" fmla="*/ 4911280 w 5248218"/>
                <a:gd name="connsiteY81" fmla="*/ 0 h 4232411"/>
                <a:gd name="connsiteX82" fmla="*/ 4905369 w 5248218"/>
                <a:gd name="connsiteY82" fmla="*/ 5911 h 4232411"/>
                <a:gd name="connsiteX83" fmla="*/ 4902412 w 5248218"/>
                <a:gd name="connsiteY83" fmla="*/ 1377310 h 4232411"/>
                <a:gd name="connsiteX84" fmla="*/ 4940836 w 5248218"/>
                <a:gd name="connsiteY84" fmla="*/ 1415731 h 4232411"/>
                <a:gd name="connsiteX85" fmla="*/ 4979258 w 5248218"/>
                <a:gd name="connsiteY85" fmla="*/ 1377310 h 4232411"/>
                <a:gd name="connsiteX86" fmla="*/ 4940836 w 5248218"/>
                <a:gd name="connsiteY86" fmla="*/ 1338886 h 4232411"/>
                <a:gd name="connsiteX87" fmla="*/ 4902412 w 5248218"/>
                <a:gd name="connsiteY87" fmla="*/ 1377310 h 4232411"/>
                <a:gd name="connsiteX88" fmla="*/ 4890590 w 5248218"/>
                <a:gd name="connsiteY88" fmla="*/ 183247 h 4232411"/>
                <a:gd name="connsiteX89" fmla="*/ 4896501 w 5248218"/>
                <a:gd name="connsiteY89" fmla="*/ 189158 h 4232411"/>
                <a:gd name="connsiteX90" fmla="*/ 4902412 w 5248218"/>
                <a:gd name="connsiteY90" fmla="*/ 183247 h 4232411"/>
                <a:gd name="connsiteX91" fmla="*/ 4896501 w 5248218"/>
                <a:gd name="connsiteY91" fmla="*/ 177335 h 4232411"/>
                <a:gd name="connsiteX92" fmla="*/ 4890590 w 5248218"/>
                <a:gd name="connsiteY92" fmla="*/ 183247 h 4232411"/>
                <a:gd name="connsiteX93" fmla="*/ 4884679 w 5248218"/>
                <a:gd name="connsiteY93" fmla="*/ 1847248 h 4232411"/>
                <a:gd name="connsiteX94" fmla="*/ 4893544 w 5248218"/>
                <a:gd name="connsiteY94" fmla="*/ 1856113 h 4232411"/>
                <a:gd name="connsiteX95" fmla="*/ 4902412 w 5248218"/>
                <a:gd name="connsiteY95" fmla="*/ 1847248 h 4232411"/>
                <a:gd name="connsiteX96" fmla="*/ 4893544 w 5248218"/>
                <a:gd name="connsiteY96" fmla="*/ 1838380 h 4232411"/>
                <a:gd name="connsiteX97" fmla="*/ 4884679 w 5248218"/>
                <a:gd name="connsiteY97" fmla="*/ 1847248 h 4232411"/>
                <a:gd name="connsiteX98" fmla="*/ 4863988 w 5248218"/>
                <a:gd name="connsiteY98" fmla="*/ 360582 h 4232411"/>
                <a:gd name="connsiteX99" fmla="*/ 4869899 w 5248218"/>
                <a:gd name="connsiteY99" fmla="*/ 366494 h 4232411"/>
                <a:gd name="connsiteX100" fmla="*/ 4875810 w 5248218"/>
                <a:gd name="connsiteY100" fmla="*/ 360582 h 4232411"/>
                <a:gd name="connsiteX101" fmla="*/ 4869899 w 5248218"/>
                <a:gd name="connsiteY101" fmla="*/ 354671 h 4232411"/>
                <a:gd name="connsiteX102" fmla="*/ 4863988 w 5248218"/>
                <a:gd name="connsiteY102" fmla="*/ 360582 h 4232411"/>
                <a:gd name="connsiteX103" fmla="*/ 4849211 w 5248218"/>
                <a:gd name="connsiteY103" fmla="*/ 1049235 h 4232411"/>
                <a:gd name="connsiteX104" fmla="*/ 4872856 w 5248218"/>
                <a:gd name="connsiteY104" fmla="*/ 1072879 h 4232411"/>
                <a:gd name="connsiteX105" fmla="*/ 4896501 w 5248218"/>
                <a:gd name="connsiteY105" fmla="*/ 1049235 h 4232411"/>
                <a:gd name="connsiteX106" fmla="*/ 4872856 w 5248218"/>
                <a:gd name="connsiteY106" fmla="*/ 1025590 h 4232411"/>
                <a:gd name="connsiteX107" fmla="*/ 4849211 w 5248218"/>
                <a:gd name="connsiteY107" fmla="*/ 1049235 h 4232411"/>
                <a:gd name="connsiteX108" fmla="*/ 4828521 w 5248218"/>
                <a:gd name="connsiteY108" fmla="*/ 537915 h 4232411"/>
                <a:gd name="connsiteX109" fmla="*/ 4831478 w 5248218"/>
                <a:gd name="connsiteY109" fmla="*/ 540872 h 4232411"/>
                <a:gd name="connsiteX110" fmla="*/ 4834432 w 5248218"/>
                <a:gd name="connsiteY110" fmla="*/ 537915 h 4232411"/>
                <a:gd name="connsiteX111" fmla="*/ 4831478 w 5248218"/>
                <a:gd name="connsiteY111" fmla="*/ 534961 h 4232411"/>
                <a:gd name="connsiteX112" fmla="*/ 4828521 w 5248218"/>
                <a:gd name="connsiteY112" fmla="*/ 537915 h 4232411"/>
                <a:gd name="connsiteX113" fmla="*/ 4825567 w 5248218"/>
                <a:gd name="connsiteY113" fmla="*/ 1536909 h 4232411"/>
                <a:gd name="connsiteX114" fmla="*/ 4855123 w 5248218"/>
                <a:gd name="connsiteY114" fmla="*/ 1566465 h 4232411"/>
                <a:gd name="connsiteX115" fmla="*/ 4884679 w 5248218"/>
                <a:gd name="connsiteY115" fmla="*/ 1536909 h 4232411"/>
                <a:gd name="connsiteX116" fmla="*/ 4855123 w 5248218"/>
                <a:gd name="connsiteY116" fmla="*/ 1507353 h 4232411"/>
                <a:gd name="connsiteX117" fmla="*/ 4825567 w 5248218"/>
                <a:gd name="connsiteY117" fmla="*/ 1536909 h 4232411"/>
                <a:gd name="connsiteX118" fmla="*/ 4801922 w 5248218"/>
                <a:gd name="connsiteY118" fmla="*/ 2580236 h 4232411"/>
                <a:gd name="connsiteX119" fmla="*/ 4807833 w 5248218"/>
                <a:gd name="connsiteY119" fmla="*/ 2586146 h 4232411"/>
                <a:gd name="connsiteX120" fmla="*/ 4813744 w 5248218"/>
                <a:gd name="connsiteY120" fmla="*/ 2580236 h 4232411"/>
                <a:gd name="connsiteX121" fmla="*/ 4807833 w 5248218"/>
                <a:gd name="connsiteY121" fmla="*/ 2574324 h 4232411"/>
                <a:gd name="connsiteX122" fmla="*/ 4801922 w 5248218"/>
                <a:gd name="connsiteY122" fmla="*/ 2580236 h 4232411"/>
                <a:gd name="connsiteX123" fmla="*/ 4790100 w 5248218"/>
                <a:gd name="connsiteY123" fmla="*/ 2293541 h 4232411"/>
                <a:gd name="connsiteX124" fmla="*/ 4801922 w 5248218"/>
                <a:gd name="connsiteY124" fmla="*/ 2305364 h 4232411"/>
                <a:gd name="connsiteX125" fmla="*/ 4813744 w 5248218"/>
                <a:gd name="connsiteY125" fmla="*/ 2293541 h 4232411"/>
                <a:gd name="connsiteX126" fmla="*/ 4801922 w 5248218"/>
                <a:gd name="connsiteY126" fmla="*/ 2281719 h 4232411"/>
                <a:gd name="connsiteX127" fmla="*/ 4790100 w 5248218"/>
                <a:gd name="connsiteY127" fmla="*/ 2293541 h 4232411"/>
                <a:gd name="connsiteX128" fmla="*/ 4775320 w 5248218"/>
                <a:gd name="connsiteY128" fmla="*/ 1211794 h 4232411"/>
                <a:gd name="connsiteX129" fmla="*/ 4801922 w 5248218"/>
                <a:gd name="connsiteY129" fmla="*/ 1238393 h 4232411"/>
                <a:gd name="connsiteX130" fmla="*/ 4828521 w 5248218"/>
                <a:gd name="connsiteY130" fmla="*/ 1211794 h 4232411"/>
                <a:gd name="connsiteX131" fmla="*/ 4801922 w 5248218"/>
                <a:gd name="connsiteY131" fmla="*/ 1185192 h 4232411"/>
                <a:gd name="connsiteX132" fmla="*/ 4775320 w 5248218"/>
                <a:gd name="connsiteY132" fmla="*/ 1211794 h 4232411"/>
                <a:gd name="connsiteX133" fmla="*/ 4772366 w 5248218"/>
                <a:gd name="connsiteY133" fmla="*/ 709343 h 4232411"/>
                <a:gd name="connsiteX134" fmla="*/ 4784188 w 5248218"/>
                <a:gd name="connsiteY134" fmla="*/ 721165 h 4232411"/>
                <a:gd name="connsiteX135" fmla="*/ 4796011 w 5248218"/>
                <a:gd name="connsiteY135" fmla="*/ 709343 h 4232411"/>
                <a:gd name="connsiteX136" fmla="*/ 4784188 w 5248218"/>
                <a:gd name="connsiteY136" fmla="*/ 697520 h 4232411"/>
                <a:gd name="connsiteX137" fmla="*/ 4772366 w 5248218"/>
                <a:gd name="connsiteY137" fmla="*/ 709343 h 4232411"/>
                <a:gd name="connsiteX138" fmla="*/ 4751678 w 5248218"/>
                <a:gd name="connsiteY138" fmla="*/ 1992071 h 4232411"/>
                <a:gd name="connsiteX139" fmla="*/ 4787146 w 5248218"/>
                <a:gd name="connsiteY139" fmla="*/ 2027538 h 4232411"/>
                <a:gd name="connsiteX140" fmla="*/ 4822613 w 5248218"/>
                <a:gd name="connsiteY140" fmla="*/ 1992071 h 4232411"/>
                <a:gd name="connsiteX141" fmla="*/ 4787146 w 5248218"/>
                <a:gd name="connsiteY141" fmla="*/ 1956604 h 4232411"/>
                <a:gd name="connsiteX142" fmla="*/ 4751678 w 5248218"/>
                <a:gd name="connsiteY142" fmla="*/ 1992071 h 4232411"/>
                <a:gd name="connsiteX143" fmla="*/ 4730988 w 5248218"/>
                <a:gd name="connsiteY143" fmla="*/ 1687646 h 4232411"/>
                <a:gd name="connsiteX144" fmla="*/ 4760544 w 5248218"/>
                <a:gd name="connsiteY144" fmla="*/ 1717202 h 4232411"/>
                <a:gd name="connsiteX145" fmla="*/ 4790100 w 5248218"/>
                <a:gd name="connsiteY145" fmla="*/ 1687646 h 4232411"/>
                <a:gd name="connsiteX146" fmla="*/ 4760544 w 5248218"/>
                <a:gd name="connsiteY146" fmla="*/ 1658090 h 4232411"/>
                <a:gd name="connsiteX147" fmla="*/ 4730988 w 5248218"/>
                <a:gd name="connsiteY147" fmla="*/ 1687646 h 4232411"/>
                <a:gd name="connsiteX148" fmla="*/ 4707343 w 5248218"/>
                <a:gd name="connsiteY148" fmla="*/ 880767 h 4232411"/>
                <a:gd name="connsiteX149" fmla="*/ 4728034 w 5248218"/>
                <a:gd name="connsiteY149" fmla="*/ 901455 h 4232411"/>
                <a:gd name="connsiteX150" fmla="*/ 4748721 w 5248218"/>
                <a:gd name="connsiteY150" fmla="*/ 880767 h 4232411"/>
                <a:gd name="connsiteX151" fmla="*/ 4728034 w 5248218"/>
                <a:gd name="connsiteY151" fmla="*/ 860076 h 4232411"/>
                <a:gd name="connsiteX152" fmla="*/ 4707343 w 5248218"/>
                <a:gd name="connsiteY152" fmla="*/ 880767 h 4232411"/>
                <a:gd name="connsiteX153" fmla="*/ 4692567 w 5248218"/>
                <a:gd name="connsiteY153" fmla="*/ 183247 h 4232411"/>
                <a:gd name="connsiteX154" fmla="*/ 4695521 w 5248218"/>
                <a:gd name="connsiteY154" fmla="*/ 186204 h 4232411"/>
                <a:gd name="connsiteX155" fmla="*/ 4698478 w 5248218"/>
                <a:gd name="connsiteY155" fmla="*/ 183247 h 4232411"/>
                <a:gd name="connsiteX156" fmla="*/ 4695521 w 5248218"/>
                <a:gd name="connsiteY156" fmla="*/ 180293 h 4232411"/>
                <a:gd name="connsiteX157" fmla="*/ 4692567 w 5248218"/>
                <a:gd name="connsiteY157" fmla="*/ 183247 h 4232411"/>
                <a:gd name="connsiteX158" fmla="*/ 4683698 w 5248218"/>
                <a:gd name="connsiteY158" fmla="*/ 1371396 h 4232411"/>
                <a:gd name="connsiteX159" fmla="*/ 4719165 w 5248218"/>
                <a:gd name="connsiteY159" fmla="*/ 1406863 h 4232411"/>
                <a:gd name="connsiteX160" fmla="*/ 4754632 w 5248218"/>
                <a:gd name="connsiteY160" fmla="*/ 1371396 h 4232411"/>
                <a:gd name="connsiteX161" fmla="*/ 4719165 w 5248218"/>
                <a:gd name="connsiteY161" fmla="*/ 1335929 h 4232411"/>
                <a:gd name="connsiteX162" fmla="*/ 4683698 w 5248218"/>
                <a:gd name="connsiteY162" fmla="*/ 1371396 h 4232411"/>
                <a:gd name="connsiteX163" fmla="*/ 4671876 w 5248218"/>
                <a:gd name="connsiteY163" fmla="*/ 2426542 h 4232411"/>
                <a:gd name="connsiteX164" fmla="*/ 4683698 w 5248218"/>
                <a:gd name="connsiteY164" fmla="*/ 2438364 h 4232411"/>
                <a:gd name="connsiteX165" fmla="*/ 4695521 w 5248218"/>
                <a:gd name="connsiteY165" fmla="*/ 2426542 h 4232411"/>
                <a:gd name="connsiteX166" fmla="*/ 4683698 w 5248218"/>
                <a:gd name="connsiteY166" fmla="*/ 2414719 h 4232411"/>
                <a:gd name="connsiteX167" fmla="*/ 4671876 w 5248218"/>
                <a:gd name="connsiteY167" fmla="*/ 2426542 h 4232411"/>
                <a:gd name="connsiteX168" fmla="*/ 4651185 w 5248218"/>
                <a:gd name="connsiteY168" fmla="*/ 1043326 h 4232411"/>
                <a:gd name="connsiteX169" fmla="*/ 4660053 w 5248218"/>
                <a:gd name="connsiteY169" fmla="*/ 1052192 h 4232411"/>
                <a:gd name="connsiteX170" fmla="*/ 4668919 w 5248218"/>
                <a:gd name="connsiteY170" fmla="*/ 1043326 h 4232411"/>
                <a:gd name="connsiteX171" fmla="*/ 4660053 w 5248218"/>
                <a:gd name="connsiteY171" fmla="*/ 1034458 h 4232411"/>
                <a:gd name="connsiteX172" fmla="*/ 4651185 w 5248218"/>
                <a:gd name="connsiteY172" fmla="*/ 1043326 h 4232411"/>
                <a:gd name="connsiteX173" fmla="*/ 4648231 w 5248218"/>
                <a:gd name="connsiteY173" fmla="*/ 2133939 h 4232411"/>
                <a:gd name="connsiteX174" fmla="*/ 4674830 w 5248218"/>
                <a:gd name="connsiteY174" fmla="*/ 2160541 h 4232411"/>
                <a:gd name="connsiteX175" fmla="*/ 4701432 w 5248218"/>
                <a:gd name="connsiteY175" fmla="*/ 2133939 h 4232411"/>
                <a:gd name="connsiteX176" fmla="*/ 4674830 w 5248218"/>
                <a:gd name="connsiteY176" fmla="*/ 2107340 h 4232411"/>
                <a:gd name="connsiteX177" fmla="*/ 4648231 w 5248218"/>
                <a:gd name="connsiteY177" fmla="*/ 2133939 h 4232411"/>
                <a:gd name="connsiteX178" fmla="*/ 4639366 w 5248218"/>
                <a:gd name="connsiteY178" fmla="*/ 1832469 h 4232411"/>
                <a:gd name="connsiteX179" fmla="*/ 4657099 w 5248218"/>
                <a:gd name="connsiteY179" fmla="*/ 1850202 h 4232411"/>
                <a:gd name="connsiteX180" fmla="*/ 4674833 w 5248218"/>
                <a:gd name="connsiteY180" fmla="*/ 1832469 h 4232411"/>
                <a:gd name="connsiteX181" fmla="*/ 4657099 w 5248218"/>
                <a:gd name="connsiteY181" fmla="*/ 1814735 h 4232411"/>
                <a:gd name="connsiteX182" fmla="*/ 4639366 w 5248218"/>
                <a:gd name="connsiteY182" fmla="*/ 1832469 h 4232411"/>
                <a:gd name="connsiteX183" fmla="*/ 4612764 w 5248218"/>
                <a:gd name="connsiteY183" fmla="*/ 1525090 h 4232411"/>
                <a:gd name="connsiteX184" fmla="*/ 4627543 w 5248218"/>
                <a:gd name="connsiteY184" fmla="*/ 1539866 h 4232411"/>
                <a:gd name="connsiteX185" fmla="*/ 4642320 w 5248218"/>
                <a:gd name="connsiteY185" fmla="*/ 1525090 h 4232411"/>
                <a:gd name="connsiteX186" fmla="*/ 4627543 w 5248218"/>
                <a:gd name="connsiteY186" fmla="*/ 1510310 h 4232411"/>
                <a:gd name="connsiteX187" fmla="*/ 4612764 w 5248218"/>
                <a:gd name="connsiteY187" fmla="*/ 1525090 h 4232411"/>
                <a:gd name="connsiteX188" fmla="*/ 4571386 w 5248218"/>
                <a:gd name="connsiteY188" fmla="*/ 706386 h 4232411"/>
                <a:gd name="connsiteX189" fmla="*/ 4577297 w 5248218"/>
                <a:gd name="connsiteY189" fmla="*/ 712297 h 4232411"/>
                <a:gd name="connsiteX190" fmla="*/ 4583208 w 5248218"/>
                <a:gd name="connsiteY190" fmla="*/ 706386 h 4232411"/>
                <a:gd name="connsiteX191" fmla="*/ 4577297 w 5248218"/>
                <a:gd name="connsiteY191" fmla="*/ 700474 h 4232411"/>
                <a:gd name="connsiteX192" fmla="*/ 4571386 w 5248218"/>
                <a:gd name="connsiteY192" fmla="*/ 706386 h 4232411"/>
                <a:gd name="connsiteX193" fmla="*/ 4562517 w 5248218"/>
                <a:gd name="connsiteY193" fmla="*/ 1205883 h 4232411"/>
                <a:gd name="connsiteX194" fmla="*/ 4580251 w 5248218"/>
                <a:gd name="connsiteY194" fmla="*/ 1223616 h 4232411"/>
                <a:gd name="connsiteX195" fmla="*/ 4597984 w 5248218"/>
                <a:gd name="connsiteY195" fmla="*/ 1205883 h 4232411"/>
                <a:gd name="connsiteX196" fmla="*/ 4580251 w 5248218"/>
                <a:gd name="connsiteY196" fmla="*/ 1188149 h 4232411"/>
                <a:gd name="connsiteX197" fmla="*/ 4562517 w 5248218"/>
                <a:gd name="connsiteY197" fmla="*/ 1205883 h 4232411"/>
                <a:gd name="connsiteX198" fmla="*/ 4538872 w 5248218"/>
                <a:gd name="connsiteY198" fmla="*/ 2828506 h 4232411"/>
                <a:gd name="connsiteX199" fmla="*/ 4550695 w 5248218"/>
                <a:gd name="connsiteY199" fmla="*/ 2840328 h 4232411"/>
                <a:gd name="connsiteX200" fmla="*/ 4562517 w 5248218"/>
                <a:gd name="connsiteY200" fmla="*/ 2828506 h 4232411"/>
                <a:gd name="connsiteX201" fmla="*/ 4550695 w 5248218"/>
                <a:gd name="connsiteY201" fmla="*/ 2816683 h 4232411"/>
                <a:gd name="connsiteX202" fmla="*/ 4538872 w 5248218"/>
                <a:gd name="connsiteY202" fmla="*/ 2828506 h 4232411"/>
                <a:gd name="connsiteX203" fmla="*/ 4532961 w 5248218"/>
                <a:gd name="connsiteY203" fmla="*/ 2553634 h 4232411"/>
                <a:gd name="connsiteX204" fmla="*/ 4556606 w 5248218"/>
                <a:gd name="connsiteY204" fmla="*/ 2577278 h 4232411"/>
                <a:gd name="connsiteX205" fmla="*/ 4580251 w 5248218"/>
                <a:gd name="connsiteY205" fmla="*/ 2553634 h 4232411"/>
                <a:gd name="connsiteX206" fmla="*/ 4556606 w 5248218"/>
                <a:gd name="connsiteY206" fmla="*/ 2529988 h 4232411"/>
                <a:gd name="connsiteX207" fmla="*/ 4532961 w 5248218"/>
                <a:gd name="connsiteY207" fmla="*/ 2553634 h 4232411"/>
                <a:gd name="connsiteX208" fmla="*/ 4521142 w 5248218"/>
                <a:gd name="connsiteY208" fmla="*/ 2269897 h 4232411"/>
                <a:gd name="connsiteX209" fmla="*/ 4556609 w 5248218"/>
                <a:gd name="connsiteY209" fmla="*/ 2305364 h 4232411"/>
                <a:gd name="connsiteX210" fmla="*/ 4592076 w 5248218"/>
                <a:gd name="connsiteY210" fmla="*/ 2269897 h 4232411"/>
                <a:gd name="connsiteX211" fmla="*/ 4556609 w 5248218"/>
                <a:gd name="connsiteY211" fmla="*/ 2234429 h 4232411"/>
                <a:gd name="connsiteX212" fmla="*/ 4521142 w 5248218"/>
                <a:gd name="connsiteY212" fmla="*/ 2269897 h 4232411"/>
                <a:gd name="connsiteX213" fmla="*/ 4521142 w 5248218"/>
                <a:gd name="connsiteY213" fmla="*/ 1974337 h 4232411"/>
                <a:gd name="connsiteX214" fmla="*/ 4547741 w 5248218"/>
                <a:gd name="connsiteY214" fmla="*/ 2000936 h 4232411"/>
                <a:gd name="connsiteX215" fmla="*/ 4574343 w 5248218"/>
                <a:gd name="connsiteY215" fmla="*/ 1974337 h 4232411"/>
                <a:gd name="connsiteX216" fmla="*/ 4547741 w 5248218"/>
                <a:gd name="connsiteY216" fmla="*/ 1947735 h 4232411"/>
                <a:gd name="connsiteX217" fmla="*/ 4521142 w 5248218"/>
                <a:gd name="connsiteY217" fmla="*/ 1974337 h 4232411"/>
                <a:gd name="connsiteX218" fmla="*/ 4512274 w 5248218"/>
                <a:gd name="connsiteY218" fmla="*/ 1672866 h 4232411"/>
                <a:gd name="connsiteX219" fmla="*/ 4530007 w 5248218"/>
                <a:gd name="connsiteY219" fmla="*/ 1690600 h 4232411"/>
                <a:gd name="connsiteX220" fmla="*/ 4547741 w 5248218"/>
                <a:gd name="connsiteY220" fmla="*/ 1672866 h 4232411"/>
                <a:gd name="connsiteX221" fmla="*/ 4530007 w 5248218"/>
                <a:gd name="connsiteY221" fmla="*/ 1655133 h 4232411"/>
                <a:gd name="connsiteX222" fmla="*/ 4512274 w 5248218"/>
                <a:gd name="connsiteY222" fmla="*/ 1672866 h 4232411"/>
                <a:gd name="connsiteX223" fmla="*/ 4506363 w 5248218"/>
                <a:gd name="connsiteY223" fmla="*/ 874856 h 4232411"/>
                <a:gd name="connsiteX224" fmla="*/ 4515231 w 5248218"/>
                <a:gd name="connsiteY224" fmla="*/ 883724 h 4232411"/>
                <a:gd name="connsiteX225" fmla="*/ 4524096 w 5248218"/>
                <a:gd name="connsiteY225" fmla="*/ 874856 h 4232411"/>
                <a:gd name="connsiteX226" fmla="*/ 4515231 w 5248218"/>
                <a:gd name="connsiteY226" fmla="*/ 865991 h 4232411"/>
                <a:gd name="connsiteX227" fmla="*/ 4506363 w 5248218"/>
                <a:gd name="connsiteY227" fmla="*/ 874856 h 4232411"/>
                <a:gd name="connsiteX228" fmla="*/ 4479761 w 5248218"/>
                <a:gd name="connsiteY228" fmla="*/ 1359577 h 4232411"/>
                <a:gd name="connsiteX229" fmla="*/ 4494540 w 5248218"/>
                <a:gd name="connsiteY229" fmla="*/ 1374353 h 4232411"/>
                <a:gd name="connsiteX230" fmla="*/ 4509317 w 5248218"/>
                <a:gd name="connsiteY230" fmla="*/ 1359577 h 4232411"/>
                <a:gd name="connsiteX231" fmla="*/ 4494540 w 5248218"/>
                <a:gd name="connsiteY231" fmla="*/ 1344797 h 4232411"/>
                <a:gd name="connsiteX232" fmla="*/ 4479761 w 5248218"/>
                <a:gd name="connsiteY232" fmla="*/ 1359577 h 4232411"/>
                <a:gd name="connsiteX233" fmla="*/ 4408829 w 5248218"/>
                <a:gd name="connsiteY233" fmla="*/ 1814735 h 4232411"/>
                <a:gd name="connsiteX234" fmla="*/ 4420652 w 5248218"/>
                <a:gd name="connsiteY234" fmla="*/ 1826557 h 4232411"/>
                <a:gd name="connsiteX235" fmla="*/ 4432474 w 5248218"/>
                <a:gd name="connsiteY235" fmla="*/ 1814735 h 4232411"/>
                <a:gd name="connsiteX236" fmla="*/ 4420652 w 5248218"/>
                <a:gd name="connsiteY236" fmla="*/ 1802913 h 4232411"/>
                <a:gd name="connsiteX237" fmla="*/ 4408829 w 5248218"/>
                <a:gd name="connsiteY237" fmla="*/ 1814735 h 4232411"/>
                <a:gd name="connsiteX238" fmla="*/ 4405872 w 5248218"/>
                <a:gd name="connsiteY238" fmla="*/ 2110294 h 4232411"/>
                <a:gd name="connsiteX239" fmla="*/ 4432474 w 5248218"/>
                <a:gd name="connsiteY239" fmla="*/ 2136896 h 4232411"/>
                <a:gd name="connsiteX240" fmla="*/ 4459073 w 5248218"/>
                <a:gd name="connsiteY240" fmla="*/ 2110294 h 4232411"/>
                <a:gd name="connsiteX241" fmla="*/ 4432474 w 5248218"/>
                <a:gd name="connsiteY241" fmla="*/ 2083696 h 4232411"/>
                <a:gd name="connsiteX242" fmla="*/ 4405872 w 5248218"/>
                <a:gd name="connsiteY242" fmla="*/ 2110294 h 4232411"/>
                <a:gd name="connsiteX243" fmla="*/ 4394050 w 5248218"/>
                <a:gd name="connsiteY243" fmla="*/ 2943772 h 4232411"/>
                <a:gd name="connsiteX244" fmla="*/ 4411783 w 5248218"/>
                <a:gd name="connsiteY244" fmla="*/ 2961506 h 4232411"/>
                <a:gd name="connsiteX245" fmla="*/ 4429517 w 5248218"/>
                <a:gd name="connsiteY245" fmla="*/ 2943772 h 4232411"/>
                <a:gd name="connsiteX246" fmla="*/ 4411783 w 5248218"/>
                <a:gd name="connsiteY246" fmla="*/ 2926038 h 4232411"/>
                <a:gd name="connsiteX247" fmla="*/ 4394050 w 5248218"/>
                <a:gd name="connsiteY247" fmla="*/ 2943772 h 4232411"/>
                <a:gd name="connsiteX248" fmla="*/ 4394050 w 5248218"/>
                <a:gd name="connsiteY248" fmla="*/ 2671857 h 4232411"/>
                <a:gd name="connsiteX249" fmla="*/ 4426563 w 5248218"/>
                <a:gd name="connsiteY249" fmla="*/ 2704370 h 4232411"/>
                <a:gd name="connsiteX250" fmla="*/ 4459073 w 5248218"/>
                <a:gd name="connsiteY250" fmla="*/ 2671857 h 4232411"/>
                <a:gd name="connsiteX251" fmla="*/ 4426563 w 5248218"/>
                <a:gd name="connsiteY251" fmla="*/ 2639347 h 4232411"/>
                <a:gd name="connsiteX252" fmla="*/ 4394050 w 5248218"/>
                <a:gd name="connsiteY252" fmla="*/ 2671857 h 4232411"/>
                <a:gd name="connsiteX253" fmla="*/ 4394050 w 5248218"/>
                <a:gd name="connsiteY253" fmla="*/ 2394031 h 4232411"/>
                <a:gd name="connsiteX254" fmla="*/ 4432474 w 5248218"/>
                <a:gd name="connsiteY254" fmla="*/ 2432452 h 4232411"/>
                <a:gd name="connsiteX255" fmla="*/ 4470895 w 5248218"/>
                <a:gd name="connsiteY255" fmla="*/ 2394031 h 4232411"/>
                <a:gd name="connsiteX256" fmla="*/ 4432474 w 5248218"/>
                <a:gd name="connsiteY256" fmla="*/ 2355607 h 4232411"/>
                <a:gd name="connsiteX257" fmla="*/ 4394050 w 5248218"/>
                <a:gd name="connsiteY257" fmla="*/ 2394031 h 4232411"/>
                <a:gd name="connsiteX258" fmla="*/ 4391093 w 5248218"/>
                <a:gd name="connsiteY258" fmla="*/ 1513264 h 4232411"/>
                <a:gd name="connsiteX259" fmla="*/ 4397004 w 5248218"/>
                <a:gd name="connsiteY259" fmla="*/ 1519176 h 4232411"/>
                <a:gd name="connsiteX260" fmla="*/ 4402915 w 5248218"/>
                <a:gd name="connsiteY260" fmla="*/ 1513264 h 4232411"/>
                <a:gd name="connsiteX261" fmla="*/ 4397004 w 5248218"/>
                <a:gd name="connsiteY261" fmla="*/ 1507353 h 4232411"/>
                <a:gd name="connsiteX262" fmla="*/ 4391093 w 5248218"/>
                <a:gd name="connsiteY262" fmla="*/ 1513264 h 4232411"/>
                <a:gd name="connsiteX263" fmla="*/ 4388139 w 5248218"/>
                <a:gd name="connsiteY263" fmla="*/ 3209776 h 4232411"/>
                <a:gd name="connsiteX264" fmla="*/ 4394050 w 5248218"/>
                <a:gd name="connsiteY264" fmla="*/ 3215686 h 4232411"/>
                <a:gd name="connsiteX265" fmla="*/ 4399961 w 5248218"/>
                <a:gd name="connsiteY265" fmla="*/ 3209776 h 4232411"/>
                <a:gd name="connsiteX266" fmla="*/ 4394050 w 5248218"/>
                <a:gd name="connsiteY266" fmla="*/ 3203864 h 4232411"/>
                <a:gd name="connsiteX267" fmla="*/ 4388139 w 5248218"/>
                <a:gd name="connsiteY267" fmla="*/ 3209776 h 4232411"/>
                <a:gd name="connsiteX268" fmla="*/ 4287649 w 5248218"/>
                <a:gd name="connsiteY268" fmla="*/ 1953649 h 4232411"/>
                <a:gd name="connsiteX269" fmla="*/ 4305382 w 5248218"/>
                <a:gd name="connsiteY269" fmla="*/ 1971383 h 4232411"/>
                <a:gd name="connsiteX270" fmla="*/ 4323116 w 5248218"/>
                <a:gd name="connsiteY270" fmla="*/ 1953649 h 4232411"/>
                <a:gd name="connsiteX271" fmla="*/ 4305382 w 5248218"/>
                <a:gd name="connsiteY271" fmla="*/ 1935916 h 4232411"/>
                <a:gd name="connsiteX272" fmla="*/ 4287649 w 5248218"/>
                <a:gd name="connsiteY272" fmla="*/ 1953649 h 4232411"/>
                <a:gd name="connsiteX273" fmla="*/ 4281737 w 5248218"/>
                <a:gd name="connsiteY273" fmla="*/ 2240341 h 4232411"/>
                <a:gd name="connsiteX274" fmla="*/ 4308339 w 5248218"/>
                <a:gd name="connsiteY274" fmla="*/ 2266939 h 4232411"/>
                <a:gd name="connsiteX275" fmla="*/ 4334938 w 5248218"/>
                <a:gd name="connsiteY275" fmla="*/ 2240341 h 4232411"/>
                <a:gd name="connsiteX276" fmla="*/ 4308339 w 5248218"/>
                <a:gd name="connsiteY276" fmla="*/ 2213739 h 4232411"/>
                <a:gd name="connsiteX277" fmla="*/ 4281737 w 5248218"/>
                <a:gd name="connsiteY277" fmla="*/ 2240341 h 4232411"/>
                <a:gd name="connsiteX278" fmla="*/ 4281737 w 5248218"/>
                <a:gd name="connsiteY278" fmla="*/ 1655133 h 4232411"/>
                <a:gd name="connsiteX279" fmla="*/ 4293560 w 5248218"/>
                <a:gd name="connsiteY279" fmla="*/ 1666955 h 4232411"/>
                <a:gd name="connsiteX280" fmla="*/ 4305382 w 5248218"/>
                <a:gd name="connsiteY280" fmla="*/ 1655133 h 4232411"/>
                <a:gd name="connsiteX281" fmla="*/ 4293560 w 5248218"/>
                <a:gd name="connsiteY281" fmla="*/ 1643311 h 4232411"/>
                <a:gd name="connsiteX282" fmla="*/ 4281737 w 5248218"/>
                <a:gd name="connsiteY282" fmla="*/ 1655133 h 4232411"/>
                <a:gd name="connsiteX283" fmla="*/ 4264004 w 5248218"/>
                <a:gd name="connsiteY283" fmla="*/ 3053130 h 4232411"/>
                <a:gd name="connsiteX284" fmla="*/ 4269915 w 5248218"/>
                <a:gd name="connsiteY284" fmla="*/ 3059042 h 4232411"/>
                <a:gd name="connsiteX285" fmla="*/ 4275826 w 5248218"/>
                <a:gd name="connsiteY285" fmla="*/ 3053130 h 4232411"/>
                <a:gd name="connsiteX286" fmla="*/ 4269915 w 5248218"/>
                <a:gd name="connsiteY286" fmla="*/ 3047219 h 4232411"/>
                <a:gd name="connsiteX287" fmla="*/ 4264004 w 5248218"/>
                <a:gd name="connsiteY287" fmla="*/ 3053130 h 4232411"/>
                <a:gd name="connsiteX288" fmla="*/ 4263264 w 5248218"/>
                <a:gd name="connsiteY288" fmla="*/ 1353292 h 4232411"/>
                <a:gd name="connsiteX289" fmla="*/ 4266958 w 5248218"/>
                <a:gd name="connsiteY289" fmla="*/ 1353662 h 4232411"/>
                <a:gd name="connsiteX290" fmla="*/ 4269915 w 5248218"/>
                <a:gd name="connsiteY290" fmla="*/ 1350705 h 4232411"/>
                <a:gd name="connsiteX291" fmla="*/ 4266958 w 5248218"/>
                <a:gd name="connsiteY291" fmla="*/ 1347751 h 4232411"/>
                <a:gd name="connsiteX292" fmla="*/ 4264004 w 5248218"/>
                <a:gd name="connsiteY292" fmla="*/ 1350705 h 4232411"/>
                <a:gd name="connsiteX293" fmla="*/ 4263264 w 5248218"/>
                <a:gd name="connsiteY293" fmla="*/ 1353292 h 4232411"/>
                <a:gd name="connsiteX294" fmla="*/ 4258093 w 5248218"/>
                <a:gd name="connsiteY294" fmla="*/ 2518166 h 4232411"/>
                <a:gd name="connsiteX295" fmla="*/ 4302428 w 5248218"/>
                <a:gd name="connsiteY295" fmla="*/ 2562498 h 4232411"/>
                <a:gd name="connsiteX296" fmla="*/ 4346760 w 5248218"/>
                <a:gd name="connsiteY296" fmla="*/ 2518166 h 4232411"/>
                <a:gd name="connsiteX297" fmla="*/ 4302428 w 5248218"/>
                <a:gd name="connsiteY297" fmla="*/ 2473831 h 4232411"/>
                <a:gd name="connsiteX298" fmla="*/ 4258093 w 5248218"/>
                <a:gd name="connsiteY298" fmla="*/ 2518166 h 4232411"/>
                <a:gd name="connsiteX299" fmla="*/ 4255139 w 5248218"/>
                <a:gd name="connsiteY299" fmla="*/ 2787127 h 4232411"/>
                <a:gd name="connsiteX300" fmla="*/ 4287649 w 5248218"/>
                <a:gd name="connsiteY300" fmla="*/ 2819637 h 4232411"/>
                <a:gd name="connsiteX301" fmla="*/ 4320162 w 5248218"/>
                <a:gd name="connsiteY301" fmla="*/ 2787127 h 4232411"/>
                <a:gd name="connsiteX302" fmla="*/ 4287649 w 5248218"/>
                <a:gd name="connsiteY302" fmla="*/ 2754614 h 4232411"/>
                <a:gd name="connsiteX303" fmla="*/ 4255139 w 5248218"/>
                <a:gd name="connsiteY303" fmla="*/ 2787127 h 4232411"/>
                <a:gd name="connsiteX304" fmla="*/ 4237405 w 5248218"/>
                <a:gd name="connsiteY304" fmla="*/ 3310266 h 4232411"/>
                <a:gd name="connsiteX305" fmla="*/ 4249227 w 5248218"/>
                <a:gd name="connsiteY305" fmla="*/ 3322088 h 4232411"/>
                <a:gd name="connsiteX306" fmla="*/ 4261050 w 5248218"/>
                <a:gd name="connsiteY306" fmla="*/ 3310266 h 4232411"/>
                <a:gd name="connsiteX307" fmla="*/ 4249227 w 5248218"/>
                <a:gd name="connsiteY307" fmla="*/ 3298443 h 4232411"/>
                <a:gd name="connsiteX308" fmla="*/ 4237405 w 5248218"/>
                <a:gd name="connsiteY308" fmla="*/ 3310266 h 4232411"/>
                <a:gd name="connsiteX309" fmla="*/ 4169425 w 5248218"/>
                <a:gd name="connsiteY309" fmla="*/ 1797004 h 4232411"/>
                <a:gd name="connsiteX310" fmla="*/ 4178293 w 5248218"/>
                <a:gd name="connsiteY310" fmla="*/ 1805870 h 4232411"/>
                <a:gd name="connsiteX311" fmla="*/ 4187158 w 5248218"/>
                <a:gd name="connsiteY311" fmla="*/ 1797004 h 4232411"/>
                <a:gd name="connsiteX312" fmla="*/ 4178293 w 5248218"/>
                <a:gd name="connsiteY312" fmla="*/ 1788136 h 4232411"/>
                <a:gd name="connsiteX313" fmla="*/ 4169425 w 5248218"/>
                <a:gd name="connsiteY313" fmla="*/ 1797004 h 4232411"/>
                <a:gd name="connsiteX314" fmla="*/ 4160560 w 5248218"/>
                <a:gd name="connsiteY314" fmla="*/ 2083696 h 4232411"/>
                <a:gd name="connsiteX315" fmla="*/ 4181250 w 5248218"/>
                <a:gd name="connsiteY315" fmla="*/ 2104383 h 4232411"/>
                <a:gd name="connsiteX316" fmla="*/ 4201938 w 5248218"/>
                <a:gd name="connsiteY316" fmla="*/ 2083696 h 4232411"/>
                <a:gd name="connsiteX317" fmla="*/ 4181250 w 5248218"/>
                <a:gd name="connsiteY317" fmla="*/ 2063005 h 4232411"/>
                <a:gd name="connsiteX318" fmla="*/ 4160560 w 5248218"/>
                <a:gd name="connsiteY318" fmla="*/ 2083696 h 4232411"/>
                <a:gd name="connsiteX319" fmla="*/ 4145780 w 5248218"/>
                <a:gd name="connsiteY319" fmla="*/ 2361518 h 4232411"/>
                <a:gd name="connsiteX320" fmla="*/ 4178293 w 5248218"/>
                <a:gd name="connsiteY320" fmla="*/ 2394031 h 4232411"/>
                <a:gd name="connsiteX321" fmla="*/ 4210803 w 5248218"/>
                <a:gd name="connsiteY321" fmla="*/ 2361518 h 4232411"/>
                <a:gd name="connsiteX322" fmla="*/ 4178293 w 5248218"/>
                <a:gd name="connsiteY322" fmla="*/ 2329008 h 4232411"/>
                <a:gd name="connsiteX323" fmla="*/ 4145780 w 5248218"/>
                <a:gd name="connsiteY323" fmla="*/ 2361518 h 4232411"/>
                <a:gd name="connsiteX324" fmla="*/ 4125089 w 5248218"/>
                <a:gd name="connsiteY324" fmla="*/ 2630479 h 4232411"/>
                <a:gd name="connsiteX325" fmla="*/ 4163514 w 5248218"/>
                <a:gd name="connsiteY325" fmla="*/ 2668900 h 4232411"/>
                <a:gd name="connsiteX326" fmla="*/ 4201935 w 5248218"/>
                <a:gd name="connsiteY326" fmla="*/ 2630479 h 4232411"/>
                <a:gd name="connsiteX327" fmla="*/ 4163514 w 5248218"/>
                <a:gd name="connsiteY327" fmla="*/ 2592054 h 4232411"/>
                <a:gd name="connsiteX328" fmla="*/ 4125089 w 5248218"/>
                <a:gd name="connsiteY328" fmla="*/ 2630479 h 4232411"/>
                <a:gd name="connsiteX329" fmla="*/ 4101448 w 5248218"/>
                <a:gd name="connsiteY329" fmla="*/ 2896486 h 4232411"/>
                <a:gd name="connsiteX330" fmla="*/ 4145783 w 5248218"/>
                <a:gd name="connsiteY330" fmla="*/ 2940818 h 4232411"/>
                <a:gd name="connsiteX331" fmla="*/ 4190115 w 5248218"/>
                <a:gd name="connsiteY331" fmla="*/ 2896486 h 4232411"/>
                <a:gd name="connsiteX332" fmla="*/ 4145783 w 5248218"/>
                <a:gd name="connsiteY332" fmla="*/ 2852150 h 4232411"/>
                <a:gd name="connsiteX333" fmla="*/ 4101448 w 5248218"/>
                <a:gd name="connsiteY333" fmla="*/ 2896486 h 4232411"/>
                <a:gd name="connsiteX334" fmla="*/ 4098490 w 5248218"/>
                <a:gd name="connsiteY334" fmla="*/ 3153618 h 4232411"/>
                <a:gd name="connsiteX335" fmla="*/ 4125089 w 5248218"/>
                <a:gd name="connsiteY335" fmla="*/ 3180220 h 4232411"/>
                <a:gd name="connsiteX336" fmla="*/ 4151691 w 5248218"/>
                <a:gd name="connsiteY336" fmla="*/ 3153618 h 4232411"/>
                <a:gd name="connsiteX337" fmla="*/ 4125089 w 5248218"/>
                <a:gd name="connsiteY337" fmla="*/ 3127018 h 4232411"/>
                <a:gd name="connsiteX338" fmla="*/ 4098490 w 5248218"/>
                <a:gd name="connsiteY338" fmla="*/ 3153618 h 4232411"/>
                <a:gd name="connsiteX339" fmla="*/ 4086668 w 5248218"/>
                <a:gd name="connsiteY339" fmla="*/ 3407798 h 4232411"/>
                <a:gd name="connsiteX340" fmla="*/ 4098490 w 5248218"/>
                <a:gd name="connsiteY340" fmla="*/ 3419621 h 4232411"/>
                <a:gd name="connsiteX341" fmla="*/ 4110313 w 5248218"/>
                <a:gd name="connsiteY341" fmla="*/ 3407798 h 4232411"/>
                <a:gd name="connsiteX342" fmla="*/ 4098490 w 5248218"/>
                <a:gd name="connsiteY342" fmla="*/ 3395976 h 4232411"/>
                <a:gd name="connsiteX343" fmla="*/ 4086668 w 5248218"/>
                <a:gd name="connsiteY343" fmla="*/ 3407798 h 4232411"/>
                <a:gd name="connsiteX344" fmla="*/ 4048247 w 5248218"/>
                <a:gd name="connsiteY344" fmla="*/ 1927048 h 4232411"/>
                <a:gd name="connsiteX345" fmla="*/ 4057115 w 5248218"/>
                <a:gd name="connsiteY345" fmla="*/ 1935913 h 4232411"/>
                <a:gd name="connsiteX346" fmla="*/ 4065980 w 5248218"/>
                <a:gd name="connsiteY346" fmla="*/ 1927048 h 4232411"/>
                <a:gd name="connsiteX347" fmla="*/ 4057115 w 5248218"/>
                <a:gd name="connsiteY347" fmla="*/ 1918179 h 4232411"/>
                <a:gd name="connsiteX348" fmla="*/ 4048247 w 5248218"/>
                <a:gd name="connsiteY348" fmla="*/ 1927048 h 4232411"/>
                <a:gd name="connsiteX349" fmla="*/ 4048247 w 5248218"/>
                <a:gd name="connsiteY349" fmla="*/ 1637399 h 4232411"/>
                <a:gd name="connsiteX350" fmla="*/ 4051201 w 5248218"/>
                <a:gd name="connsiteY350" fmla="*/ 1640356 h 4232411"/>
                <a:gd name="connsiteX351" fmla="*/ 4054158 w 5248218"/>
                <a:gd name="connsiteY351" fmla="*/ 1637399 h 4232411"/>
                <a:gd name="connsiteX352" fmla="*/ 4051201 w 5248218"/>
                <a:gd name="connsiteY352" fmla="*/ 1634445 h 4232411"/>
                <a:gd name="connsiteX353" fmla="*/ 4048247 w 5248218"/>
                <a:gd name="connsiteY353" fmla="*/ 1637399 h 4232411"/>
                <a:gd name="connsiteX354" fmla="*/ 4036421 w 5248218"/>
                <a:gd name="connsiteY354" fmla="*/ 2204873 h 4232411"/>
                <a:gd name="connsiteX355" fmla="*/ 4054155 w 5248218"/>
                <a:gd name="connsiteY355" fmla="*/ 2222607 h 4232411"/>
                <a:gd name="connsiteX356" fmla="*/ 4071889 w 5248218"/>
                <a:gd name="connsiteY356" fmla="*/ 2204873 h 4232411"/>
                <a:gd name="connsiteX357" fmla="*/ 4054155 w 5248218"/>
                <a:gd name="connsiteY357" fmla="*/ 2187140 h 4232411"/>
                <a:gd name="connsiteX358" fmla="*/ 4036421 w 5248218"/>
                <a:gd name="connsiteY358" fmla="*/ 2204873 h 4232411"/>
                <a:gd name="connsiteX359" fmla="*/ 4030510 w 5248218"/>
                <a:gd name="connsiteY359" fmla="*/ 1335928 h 4232411"/>
                <a:gd name="connsiteX360" fmla="*/ 4033467 w 5248218"/>
                <a:gd name="connsiteY360" fmla="*/ 1338886 h 4232411"/>
                <a:gd name="connsiteX361" fmla="*/ 4036421 w 5248218"/>
                <a:gd name="connsiteY361" fmla="*/ 1335928 h 4232411"/>
                <a:gd name="connsiteX362" fmla="*/ 4033467 w 5248218"/>
                <a:gd name="connsiteY362" fmla="*/ 1332974 h 4232411"/>
                <a:gd name="connsiteX363" fmla="*/ 4030510 w 5248218"/>
                <a:gd name="connsiteY363" fmla="*/ 1335928 h 4232411"/>
                <a:gd name="connsiteX364" fmla="*/ 3995046 w 5248218"/>
                <a:gd name="connsiteY364" fmla="*/ 2476791 h 4232411"/>
                <a:gd name="connsiteX365" fmla="*/ 4039382 w 5248218"/>
                <a:gd name="connsiteY365" fmla="*/ 2521124 h 4232411"/>
                <a:gd name="connsiteX366" fmla="*/ 4083714 w 5248218"/>
                <a:gd name="connsiteY366" fmla="*/ 2476791 h 4232411"/>
                <a:gd name="connsiteX367" fmla="*/ 4039382 w 5248218"/>
                <a:gd name="connsiteY367" fmla="*/ 2432456 h 4232411"/>
                <a:gd name="connsiteX368" fmla="*/ 3995046 w 5248218"/>
                <a:gd name="connsiteY368" fmla="*/ 2476791 h 4232411"/>
                <a:gd name="connsiteX369" fmla="*/ 3968444 w 5248218"/>
                <a:gd name="connsiteY369" fmla="*/ 2742792 h 4232411"/>
                <a:gd name="connsiteX370" fmla="*/ 4021645 w 5248218"/>
                <a:gd name="connsiteY370" fmla="*/ 2795992 h 4232411"/>
                <a:gd name="connsiteX371" fmla="*/ 4074846 w 5248218"/>
                <a:gd name="connsiteY371" fmla="*/ 2742792 h 4232411"/>
                <a:gd name="connsiteX372" fmla="*/ 4021645 w 5248218"/>
                <a:gd name="connsiteY372" fmla="*/ 2689591 h 4232411"/>
                <a:gd name="connsiteX373" fmla="*/ 3968444 w 5248218"/>
                <a:gd name="connsiteY373" fmla="*/ 2742792 h 4232411"/>
                <a:gd name="connsiteX374" fmla="*/ 3953668 w 5248218"/>
                <a:gd name="connsiteY374" fmla="*/ 2999930 h 4232411"/>
                <a:gd name="connsiteX375" fmla="*/ 3998003 w 5248218"/>
                <a:gd name="connsiteY375" fmla="*/ 3044262 h 4232411"/>
                <a:gd name="connsiteX376" fmla="*/ 4042336 w 5248218"/>
                <a:gd name="connsiteY376" fmla="*/ 2999930 h 4232411"/>
                <a:gd name="connsiteX377" fmla="*/ 3998003 w 5248218"/>
                <a:gd name="connsiteY377" fmla="*/ 2955594 h 4232411"/>
                <a:gd name="connsiteX378" fmla="*/ 3953668 w 5248218"/>
                <a:gd name="connsiteY378" fmla="*/ 2999930 h 4232411"/>
                <a:gd name="connsiteX379" fmla="*/ 3932977 w 5248218"/>
                <a:gd name="connsiteY379" fmla="*/ 3248196 h 4232411"/>
                <a:gd name="connsiteX380" fmla="*/ 3971401 w 5248218"/>
                <a:gd name="connsiteY380" fmla="*/ 3286621 h 4232411"/>
                <a:gd name="connsiteX381" fmla="*/ 4009823 w 5248218"/>
                <a:gd name="connsiteY381" fmla="*/ 3248196 h 4232411"/>
                <a:gd name="connsiteX382" fmla="*/ 3971401 w 5248218"/>
                <a:gd name="connsiteY382" fmla="*/ 3209776 h 4232411"/>
                <a:gd name="connsiteX383" fmla="*/ 3932977 w 5248218"/>
                <a:gd name="connsiteY383" fmla="*/ 3248196 h 4232411"/>
                <a:gd name="connsiteX384" fmla="*/ 3930023 w 5248218"/>
                <a:gd name="connsiteY384" fmla="*/ 3496466 h 4232411"/>
                <a:gd name="connsiteX385" fmla="*/ 3941846 w 5248218"/>
                <a:gd name="connsiteY385" fmla="*/ 3508289 h 4232411"/>
                <a:gd name="connsiteX386" fmla="*/ 3953668 w 5248218"/>
                <a:gd name="connsiteY386" fmla="*/ 3496466 h 4232411"/>
                <a:gd name="connsiteX387" fmla="*/ 3941846 w 5248218"/>
                <a:gd name="connsiteY387" fmla="*/ 3484644 h 4232411"/>
                <a:gd name="connsiteX388" fmla="*/ 3930023 w 5248218"/>
                <a:gd name="connsiteY388" fmla="*/ 3496466 h 4232411"/>
                <a:gd name="connsiteX389" fmla="*/ 3924112 w 5248218"/>
                <a:gd name="connsiteY389" fmla="*/ 1767448 h 4232411"/>
                <a:gd name="connsiteX390" fmla="*/ 3932977 w 5248218"/>
                <a:gd name="connsiteY390" fmla="*/ 1776314 h 4232411"/>
                <a:gd name="connsiteX391" fmla="*/ 3941846 w 5248218"/>
                <a:gd name="connsiteY391" fmla="*/ 1767448 h 4232411"/>
                <a:gd name="connsiteX392" fmla="*/ 3932977 w 5248218"/>
                <a:gd name="connsiteY392" fmla="*/ 1758580 h 4232411"/>
                <a:gd name="connsiteX393" fmla="*/ 3924112 w 5248218"/>
                <a:gd name="connsiteY393" fmla="*/ 1767448 h 4232411"/>
                <a:gd name="connsiteX394" fmla="*/ 3921155 w 5248218"/>
                <a:gd name="connsiteY394" fmla="*/ 1477797 h 4232411"/>
                <a:gd name="connsiteX395" fmla="*/ 3924112 w 5248218"/>
                <a:gd name="connsiteY395" fmla="*/ 1480751 h 4232411"/>
                <a:gd name="connsiteX396" fmla="*/ 3927066 w 5248218"/>
                <a:gd name="connsiteY396" fmla="*/ 1477797 h 4232411"/>
                <a:gd name="connsiteX397" fmla="*/ 3924112 w 5248218"/>
                <a:gd name="connsiteY397" fmla="*/ 1474840 h 4232411"/>
                <a:gd name="connsiteX398" fmla="*/ 3921155 w 5248218"/>
                <a:gd name="connsiteY398" fmla="*/ 1477797 h 4232411"/>
                <a:gd name="connsiteX399" fmla="*/ 3909332 w 5248218"/>
                <a:gd name="connsiteY399" fmla="*/ 2048225 h 4232411"/>
                <a:gd name="connsiteX400" fmla="*/ 3927066 w 5248218"/>
                <a:gd name="connsiteY400" fmla="*/ 2065959 h 4232411"/>
                <a:gd name="connsiteX401" fmla="*/ 3944800 w 5248218"/>
                <a:gd name="connsiteY401" fmla="*/ 2048225 h 4232411"/>
                <a:gd name="connsiteX402" fmla="*/ 3927066 w 5248218"/>
                <a:gd name="connsiteY402" fmla="*/ 2030492 h 4232411"/>
                <a:gd name="connsiteX403" fmla="*/ 3909332 w 5248218"/>
                <a:gd name="connsiteY403" fmla="*/ 2048225 h 4232411"/>
                <a:gd name="connsiteX404" fmla="*/ 3882731 w 5248218"/>
                <a:gd name="connsiteY404" fmla="*/ 2323100 h 4232411"/>
                <a:gd name="connsiteX405" fmla="*/ 3915244 w 5248218"/>
                <a:gd name="connsiteY405" fmla="*/ 2355610 h 4232411"/>
                <a:gd name="connsiteX406" fmla="*/ 3947754 w 5248218"/>
                <a:gd name="connsiteY406" fmla="*/ 2323100 h 4232411"/>
                <a:gd name="connsiteX407" fmla="*/ 3915244 w 5248218"/>
                <a:gd name="connsiteY407" fmla="*/ 2290587 h 4232411"/>
                <a:gd name="connsiteX408" fmla="*/ 3882731 w 5248218"/>
                <a:gd name="connsiteY408" fmla="*/ 2323100 h 4232411"/>
                <a:gd name="connsiteX409" fmla="*/ 3853175 w 5248218"/>
                <a:gd name="connsiteY409" fmla="*/ 2583190 h 4232411"/>
                <a:gd name="connsiteX410" fmla="*/ 3897510 w 5248218"/>
                <a:gd name="connsiteY410" fmla="*/ 2627522 h 4232411"/>
                <a:gd name="connsiteX411" fmla="*/ 3941842 w 5248218"/>
                <a:gd name="connsiteY411" fmla="*/ 2583190 h 4232411"/>
                <a:gd name="connsiteX412" fmla="*/ 3897510 w 5248218"/>
                <a:gd name="connsiteY412" fmla="*/ 2538854 h 4232411"/>
                <a:gd name="connsiteX413" fmla="*/ 3853175 w 5248218"/>
                <a:gd name="connsiteY413" fmla="*/ 2583190 h 4232411"/>
                <a:gd name="connsiteX414" fmla="*/ 3829530 w 5248218"/>
                <a:gd name="connsiteY414" fmla="*/ 2843282 h 4232411"/>
                <a:gd name="connsiteX415" fmla="*/ 3873865 w 5248218"/>
                <a:gd name="connsiteY415" fmla="*/ 2887614 h 4232411"/>
                <a:gd name="connsiteX416" fmla="*/ 3918198 w 5248218"/>
                <a:gd name="connsiteY416" fmla="*/ 2843282 h 4232411"/>
                <a:gd name="connsiteX417" fmla="*/ 3873865 w 5248218"/>
                <a:gd name="connsiteY417" fmla="*/ 2798946 h 4232411"/>
                <a:gd name="connsiteX418" fmla="*/ 3829530 w 5248218"/>
                <a:gd name="connsiteY418" fmla="*/ 2843282 h 4232411"/>
                <a:gd name="connsiteX419" fmla="*/ 3805888 w 5248218"/>
                <a:gd name="connsiteY419" fmla="*/ 3094509 h 4232411"/>
                <a:gd name="connsiteX420" fmla="*/ 3847267 w 5248218"/>
                <a:gd name="connsiteY420" fmla="*/ 3135887 h 4232411"/>
                <a:gd name="connsiteX421" fmla="*/ 3888645 w 5248218"/>
                <a:gd name="connsiteY421" fmla="*/ 3094509 h 4232411"/>
                <a:gd name="connsiteX422" fmla="*/ 3847267 w 5248218"/>
                <a:gd name="connsiteY422" fmla="*/ 3053130 h 4232411"/>
                <a:gd name="connsiteX423" fmla="*/ 3805888 w 5248218"/>
                <a:gd name="connsiteY423" fmla="*/ 3094509 h 4232411"/>
                <a:gd name="connsiteX424" fmla="*/ 3799974 w 5248218"/>
                <a:gd name="connsiteY424" fmla="*/ 1610800 h 4232411"/>
                <a:gd name="connsiteX425" fmla="*/ 3805885 w 5248218"/>
                <a:gd name="connsiteY425" fmla="*/ 1616712 h 4232411"/>
                <a:gd name="connsiteX426" fmla="*/ 3811796 w 5248218"/>
                <a:gd name="connsiteY426" fmla="*/ 1610800 h 4232411"/>
                <a:gd name="connsiteX427" fmla="*/ 3805885 w 5248218"/>
                <a:gd name="connsiteY427" fmla="*/ 1604889 h 4232411"/>
                <a:gd name="connsiteX428" fmla="*/ 3799974 w 5248218"/>
                <a:gd name="connsiteY428" fmla="*/ 1610800 h 4232411"/>
                <a:gd name="connsiteX429" fmla="*/ 3791109 w 5248218"/>
                <a:gd name="connsiteY429" fmla="*/ 1894534 h 4232411"/>
                <a:gd name="connsiteX430" fmla="*/ 3802931 w 5248218"/>
                <a:gd name="connsiteY430" fmla="*/ 1906357 h 4232411"/>
                <a:gd name="connsiteX431" fmla="*/ 3814753 w 5248218"/>
                <a:gd name="connsiteY431" fmla="*/ 1894534 h 4232411"/>
                <a:gd name="connsiteX432" fmla="*/ 3802931 w 5248218"/>
                <a:gd name="connsiteY432" fmla="*/ 1882712 h 4232411"/>
                <a:gd name="connsiteX433" fmla="*/ 3791109 w 5248218"/>
                <a:gd name="connsiteY433" fmla="*/ 1894534 h 4232411"/>
                <a:gd name="connsiteX434" fmla="*/ 3782243 w 5248218"/>
                <a:gd name="connsiteY434" fmla="*/ 3336864 h 4232411"/>
                <a:gd name="connsiteX435" fmla="*/ 3817711 w 5248218"/>
                <a:gd name="connsiteY435" fmla="*/ 3372332 h 4232411"/>
                <a:gd name="connsiteX436" fmla="*/ 3853178 w 5248218"/>
                <a:gd name="connsiteY436" fmla="*/ 3336864 h 4232411"/>
                <a:gd name="connsiteX437" fmla="*/ 3817711 w 5248218"/>
                <a:gd name="connsiteY437" fmla="*/ 3301397 h 4232411"/>
                <a:gd name="connsiteX438" fmla="*/ 3782243 w 5248218"/>
                <a:gd name="connsiteY438" fmla="*/ 3336864 h 4232411"/>
                <a:gd name="connsiteX439" fmla="*/ 3773375 w 5248218"/>
                <a:gd name="connsiteY439" fmla="*/ 2166449 h 4232411"/>
                <a:gd name="connsiteX440" fmla="*/ 3791109 w 5248218"/>
                <a:gd name="connsiteY440" fmla="*/ 2184182 h 4232411"/>
                <a:gd name="connsiteX441" fmla="*/ 3808842 w 5248218"/>
                <a:gd name="connsiteY441" fmla="*/ 2166449 h 4232411"/>
                <a:gd name="connsiteX442" fmla="*/ 3791109 w 5248218"/>
                <a:gd name="connsiteY442" fmla="*/ 2148716 h 4232411"/>
                <a:gd name="connsiteX443" fmla="*/ 3773375 w 5248218"/>
                <a:gd name="connsiteY443" fmla="*/ 2166449 h 4232411"/>
                <a:gd name="connsiteX444" fmla="*/ 3755642 w 5248218"/>
                <a:gd name="connsiteY444" fmla="*/ 3579226 h 4232411"/>
                <a:gd name="connsiteX445" fmla="*/ 3785197 w 5248218"/>
                <a:gd name="connsiteY445" fmla="*/ 3608782 h 4232411"/>
                <a:gd name="connsiteX446" fmla="*/ 3814753 w 5248218"/>
                <a:gd name="connsiteY446" fmla="*/ 3579226 h 4232411"/>
                <a:gd name="connsiteX447" fmla="*/ 3785197 w 5248218"/>
                <a:gd name="connsiteY447" fmla="*/ 3549670 h 4232411"/>
                <a:gd name="connsiteX448" fmla="*/ 3755642 w 5248218"/>
                <a:gd name="connsiteY448" fmla="*/ 3579226 h 4232411"/>
                <a:gd name="connsiteX449" fmla="*/ 3740862 w 5248218"/>
                <a:gd name="connsiteY449" fmla="*/ 2429498 h 4232411"/>
                <a:gd name="connsiteX450" fmla="*/ 3773375 w 5248218"/>
                <a:gd name="connsiteY450" fmla="*/ 2462012 h 4232411"/>
                <a:gd name="connsiteX451" fmla="*/ 3805885 w 5248218"/>
                <a:gd name="connsiteY451" fmla="*/ 2429498 h 4232411"/>
                <a:gd name="connsiteX452" fmla="*/ 3773375 w 5248218"/>
                <a:gd name="connsiteY452" fmla="*/ 2396988 h 4232411"/>
                <a:gd name="connsiteX453" fmla="*/ 3740862 w 5248218"/>
                <a:gd name="connsiteY453" fmla="*/ 2429498 h 4232411"/>
                <a:gd name="connsiteX454" fmla="*/ 3702441 w 5248218"/>
                <a:gd name="connsiteY454" fmla="*/ 2686636 h 4232411"/>
                <a:gd name="connsiteX455" fmla="*/ 3749730 w 5248218"/>
                <a:gd name="connsiteY455" fmla="*/ 2733926 h 4232411"/>
                <a:gd name="connsiteX456" fmla="*/ 3797020 w 5248218"/>
                <a:gd name="connsiteY456" fmla="*/ 2686636 h 4232411"/>
                <a:gd name="connsiteX457" fmla="*/ 3749730 w 5248218"/>
                <a:gd name="connsiteY457" fmla="*/ 2639347 h 4232411"/>
                <a:gd name="connsiteX458" fmla="*/ 3702441 w 5248218"/>
                <a:gd name="connsiteY458" fmla="*/ 2686636 h 4232411"/>
                <a:gd name="connsiteX459" fmla="*/ 3675839 w 5248218"/>
                <a:gd name="connsiteY459" fmla="*/ 1737890 h 4232411"/>
                <a:gd name="connsiteX460" fmla="*/ 3678796 w 5248218"/>
                <a:gd name="connsiteY460" fmla="*/ 1740844 h 4232411"/>
                <a:gd name="connsiteX461" fmla="*/ 3681750 w 5248218"/>
                <a:gd name="connsiteY461" fmla="*/ 1737890 h 4232411"/>
                <a:gd name="connsiteX462" fmla="*/ 3678796 w 5248218"/>
                <a:gd name="connsiteY462" fmla="*/ 1734932 h 4232411"/>
                <a:gd name="connsiteX463" fmla="*/ 3675839 w 5248218"/>
                <a:gd name="connsiteY463" fmla="*/ 1737890 h 4232411"/>
                <a:gd name="connsiteX464" fmla="*/ 3675839 w 5248218"/>
                <a:gd name="connsiteY464" fmla="*/ 1454152 h 4232411"/>
                <a:gd name="connsiteX465" fmla="*/ 3681750 w 5248218"/>
                <a:gd name="connsiteY465" fmla="*/ 1460064 h 4232411"/>
                <a:gd name="connsiteX466" fmla="*/ 3687661 w 5248218"/>
                <a:gd name="connsiteY466" fmla="*/ 1454152 h 4232411"/>
                <a:gd name="connsiteX467" fmla="*/ 3681750 w 5248218"/>
                <a:gd name="connsiteY467" fmla="*/ 1448241 h 4232411"/>
                <a:gd name="connsiteX468" fmla="*/ 3675839 w 5248218"/>
                <a:gd name="connsiteY468" fmla="*/ 1454152 h 4232411"/>
                <a:gd name="connsiteX469" fmla="*/ 3666974 w 5248218"/>
                <a:gd name="connsiteY469" fmla="*/ 2934906 h 4232411"/>
                <a:gd name="connsiteX470" fmla="*/ 3720174 w 5248218"/>
                <a:gd name="connsiteY470" fmla="*/ 2988108 h 4232411"/>
                <a:gd name="connsiteX471" fmla="*/ 3773375 w 5248218"/>
                <a:gd name="connsiteY471" fmla="*/ 2934906 h 4232411"/>
                <a:gd name="connsiteX472" fmla="*/ 3720174 w 5248218"/>
                <a:gd name="connsiteY472" fmla="*/ 2881706 h 4232411"/>
                <a:gd name="connsiteX473" fmla="*/ 3666974 w 5248218"/>
                <a:gd name="connsiteY473" fmla="*/ 2934906 h 4232411"/>
                <a:gd name="connsiteX474" fmla="*/ 3658108 w 5248218"/>
                <a:gd name="connsiteY474" fmla="*/ 2009804 h 4232411"/>
                <a:gd name="connsiteX475" fmla="*/ 3666974 w 5248218"/>
                <a:gd name="connsiteY475" fmla="*/ 2018669 h 4232411"/>
                <a:gd name="connsiteX476" fmla="*/ 3675842 w 5248218"/>
                <a:gd name="connsiteY476" fmla="*/ 2009804 h 4232411"/>
                <a:gd name="connsiteX477" fmla="*/ 3666974 w 5248218"/>
                <a:gd name="connsiteY477" fmla="*/ 2000936 h 4232411"/>
                <a:gd name="connsiteX478" fmla="*/ 3658108 w 5248218"/>
                <a:gd name="connsiteY478" fmla="*/ 2009804 h 4232411"/>
                <a:gd name="connsiteX479" fmla="*/ 3649240 w 5248218"/>
                <a:gd name="connsiteY479" fmla="*/ 3180220 h 4232411"/>
                <a:gd name="connsiteX480" fmla="*/ 3690618 w 5248218"/>
                <a:gd name="connsiteY480" fmla="*/ 3221598 h 4232411"/>
                <a:gd name="connsiteX481" fmla="*/ 3731997 w 5248218"/>
                <a:gd name="connsiteY481" fmla="*/ 3180220 h 4232411"/>
                <a:gd name="connsiteX482" fmla="*/ 3690618 w 5248218"/>
                <a:gd name="connsiteY482" fmla="*/ 3138841 h 4232411"/>
                <a:gd name="connsiteX483" fmla="*/ 3649240 w 5248218"/>
                <a:gd name="connsiteY483" fmla="*/ 3180220 h 4232411"/>
                <a:gd name="connsiteX484" fmla="*/ 3622638 w 5248218"/>
                <a:gd name="connsiteY484" fmla="*/ 2269896 h 4232411"/>
                <a:gd name="connsiteX485" fmla="*/ 3649240 w 5248218"/>
                <a:gd name="connsiteY485" fmla="*/ 2296495 h 4232411"/>
                <a:gd name="connsiteX486" fmla="*/ 3675839 w 5248218"/>
                <a:gd name="connsiteY486" fmla="*/ 2269896 h 4232411"/>
                <a:gd name="connsiteX487" fmla="*/ 3649240 w 5248218"/>
                <a:gd name="connsiteY487" fmla="*/ 2243294 h 4232411"/>
                <a:gd name="connsiteX488" fmla="*/ 3622638 w 5248218"/>
                <a:gd name="connsiteY488" fmla="*/ 2269896 h 4232411"/>
                <a:gd name="connsiteX489" fmla="*/ 3613773 w 5248218"/>
                <a:gd name="connsiteY489" fmla="*/ 3656072 h 4232411"/>
                <a:gd name="connsiteX490" fmla="*/ 3622641 w 5248218"/>
                <a:gd name="connsiteY490" fmla="*/ 3664937 h 4232411"/>
                <a:gd name="connsiteX491" fmla="*/ 3631507 w 5248218"/>
                <a:gd name="connsiteY491" fmla="*/ 3656072 h 4232411"/>
                <a:gd name="connsiteX492" fmla="*/ 3622641 w 5248218"/>
                <a:gd name="connsiteY492" fmla="*/ 3647204 h 4232411"/>
                <a:gd name="connsiteX493" fmla="*/ 3613773 w 5248218"/>
                <a:gd name="connsiteY493" fmla="*/ 3656072 h 4232411"/>
                <a:gd name="connsiteX494" fmla="*/ 3610819 w 5248218"/>
                <a:gd name="connsiteY494" fmla="*/ 3419624 h 4232411"/>
                <a:gd name="connsiteX495" fmla="*/ 3658108 w 5248218"/>
                <a:gd name="connsiteY495" fmla="*/ 3466914 h 4232411"/>
                <a:gd name="connsiteX496" fmla="*/ 3705398 w 5248218"/>
                <a:gd name="connsiteY496" fmla="*/ 3419624 h 4232411"/>
                <a:gd name="connsiteX497" fmla="*/ 3658108 w 5248218"/>
                <a:gd name="connsiteY497" fmla="*/ 3372334 h 4232411"/>
                <a:gd name="connsiteX498" fmla="*/ 3610819 w 5248218"/>
                <a:gd name="connsiteY498" fmla="*/ 3419624 h 4232411"/>
                <a:gd name="connsiteX499" fmla="*/ 3593082 w 5248218"/>
                <a:gd name="connsiteY499" fmla="*/ 2529992 h 4232411"/>
                <a:gd name="connsiteX500" fmla="*/ 3625595 w 5248218"/>
                <a:gd name="connsiteY500" fmla="*/ 2562502 h 4232411"/>
                <a:gd name="connsiteX501" fmla="*/ 3658105 w 5248218"/>
                <a:gd name="connsiteY501" fmla="*/ 2529992 h 4232411"/>
                <a:gd name="connsiteX502" fmla="*/ 3625595 w 5248218"/>
                <a:gd name="connsiteY502" fmla="*/ 2497478 h 4232411"/>
                <a:gd name="connsiteX503" fmla="*/ 3593082 w 5248218"/>
                <a:gd name="connsiteY503" fmla="*/ 2529992 h 4232411"/>
                <a:gd name="connsiteX504" fmla="*/ 3551707 w 5248218"/>
                <a:gd name="connsiteY504" fmla="*/ 1297504 h 4232411"/>
                <a:gd name="connsiteX505" fmla="*/ 3554664 w 5248218"/>
                <a:gd name="connsiteY505" fmla="*/ 1300462 h 4232411"/>
                <a:gd name="connsiteX506" fmla="*/ 3557618 w 5248218"/>
                <a:gd name="connsiteY506" fmla="*/ 1297504 h 4232411"/>
                <a:gd name="connsiteX507" fmla="*/ 3554664 w 5248218"/>
                <a:gd name="connsiteY507" fmla="*/ 1294550 h 4232411"/>
                <a:gd name="connsiteX508" fmla="*/ 3551707 w 5248218"/>
                <a:gd name="connsiteY508" fmla="*/ 1297504 h 4232411"/>
                <a:gd name="connsiteX509" fmla="*/ 3548750 w 5248218"/>
                <a:gd name="connsiteY509" fmla="*/ 1581244 h 4232411"/>
                <a:gd name="connsiteX510" fmla="*/ 3554661 w 5248218"/>
                <a:gd name="connsiteY510" fmla="*/ 1587156 h 4232411"/>
                <a:gd name="connsiteX511" fmla="*/ 3560572 w 5248218"/>
                <a:gd name="connsiteY511" fmla="*/ 1581244 h 4232411"/>
                <a:gd name="connsiteX512" fmla="*/ 3554661 w 5248218"/>
                <a:gd name="connsiteY512" fmla="*/ 1575333 h 4232411"/>
                <a:gd name="connsiteX513" fmla="*/ 3548750 w 5248218"/>
                <a:gd name="connsiteY513" fmla="*/ 1581244 h 4232411"/>
                <a:gd name="connsiteX514" fmla="*/ 3545796 w 5248218"/>
                <a:gd name="connsiteY514" fmla="*/ 2775302 h 4232411"/>
                <a:gd name="connsiteX515" fmla="*/ 3596039 w 5248218"/>
                <a:gd name="connsiteY515" fmla="*/ 2825548 h 4232411"/>
                <a:gd name="connsiteX516" fmla="*/ 3646286 w 5248218"/>
                <a:gd name="connsiteY516" fmla="*/ 2775302 h 4232411"/>
                <a:gd name="connsiteX517" fmla="*/ 3596039 w 5248218"/>
                <a:gd name="connsiteY517" fmla="*/ 2725058 h 4232411"/>
                <a:gd name="connsiteX518" fmla="*/ 3545796 w 5248218"/>
                <a:gd name="connsiteY518" fmla="*/ 2775302 h 4232411"/>
                <a:gd name="connsiteX519" fmla="*/ 3533970 w 5248218"/>
                <a:gd name="connsiteY519" fmla="*/ 1853159 h 4232411"/>
                <a:gd name="connsiteX520" fmla="*/ 3542839 w 5248218"/>
                <a:gd name="connsiteY520" fmla="*/ 1862024 h 4232411"/>
                <a:gd name="connsiteX521" fmla="*/ 3551704 w 5248218"/>
                <a:gd name="connsiteY521" fmla="*/ 1853159 h 4232411"/>
                <a:gd name="connsiteX522" fmla="*/ 3542839 w 5248218"/>
                <a:gd name="connsiteY522" fmla="*/ 1844291 h 4232411"/>
                <a:gd name="connsiteX523" fmla="*/ 3533970 w 5248218"/>
                <a:gd name="connsiteY523" fmla="*/ 1853159 h 4232411"/>
                <a:gd name="connsiteX524" fmla="*/ 3510329 w 5248218"/>
                <a:gd name="connsiteY524" fmla="*/ 3020618 h 4232411"/>
                <a:gd name="connsiteX525" fmla="*/ 3563529 w 5248218"/>
                <a:gd name="connsiteY525" fmla="*/ 3073818 h 4232411"/>
                <a:gd name="connsiteX526" fmla="*/ 3616730 w 5248218"/>
                <a:gd name="connsiteY526" fmla="*/ 3020618 h 4232411"/>
                <a:gd name="connsiteX527" fmla="*/ 3563529 w 5248218"/>
                <a:gd name="connsiteY527" fmla="*/ 2967416 h 4232411"/>
                <a:gd name="connsiteX528" fmla="*/ 3510329 w 5248218"/>
                <a:gd name="connsiteY528" fmla="*/ 3020618 h 4232411"/>
                <a:gd name="connsiteX529" fmla="*/ 3510329 w 5248218"/>
                <a:gd name="connsiteY529" fmla="*/ 2116208 h 4232411"/>
                <a:gd name="connsiteX530" fmla="*/ 3525108 w 5248218"/>
                <a:gd name="connsiteY530" fmla="*/ 2130985 h 4232411"/>
                <a:gd name="connsiteX531" fmla="*/ 3539885 w 5248218"/>
                <a:gd name="connsiteY531" fmla="*/ 2116208 h 4232411"/>
                <a:gd name="connsiteX532" fmla="*/ 3525108 w 5248218"/>
                <a:gd name="connsiteY532" fmla="*/ 2101429 h 4232411"/>
                <a:gd name="connsiteX533" fmla="*/ 3510329 w 5248218"/>
                <a:gd name="connsiteY533" fmla="*/ 2116208 h 4232411"/>
                <a:gd name="connsiteX534" fmla="*/ 3483727 w 5248218"/>
                <a:gd name="connsiteY534" fmla="*/ 3260019 h 4232411"/>
                <a:gd name="connsiteX535" fmla="*/ 3531016 w 5248218"/>
                <a:gd name="connsiteY535" fmla="*/ 3307308 h 4232411"/>
                <a:gd name="connsiteX536" fmla="*/ 3578306 w 5248218"/>
                <a:gd name="connsiteY536" fmla="*/ 3260019 h 4232411"/>
                <a:gd name="connsiteX537" fmla="*/ 3531016 w 5248218"/>
                <a:gd name="connsiteY537" fmla="*/ 3212730 h 4232411"/>
                <a:gd name="connsiteX538" fmla="*/ 3483727 w 5248218"/>
                <a:gd name="connsiteY538" fmla="*/ 3260019 h 4232411"/>
                <a:gd name="connsiteX539" fmla="*/ 3471904 w 5248218"/>
                <a:gd name="connsiteY539" fmla="*/ 2370386 h 4232411"/>
                <a:gd name="connsiteX540" fmla="*/ 3498503 w 5248218"/>
                <a:gd name="connsiteY540" fmla="*/ 2396988 h 4232411"/>
                <a:gd name="connsiteX541" fmla="*/ 3525105 w 5248218"/>
                <a:gd name="connsiteY541" fmla="*/ 2370386 h 4232411"/>
                <a:gd name="connsiteX542" fmla="*/ 3498503 w 5248218"/>
                <a:gd name="connsiteY542" fmla="*/ 2343788 h 4232411"/>
                <a:gd name="connsiteX543" fmla="*/ 3471904 w 5248218"/>
                <a:gd name="connsiteY543" fmla="*/ 2370386 h 4232411"/>
                <a:gd name="connsiteX544" fmla="*/ 3454171 w 5248218"/>
                <a:gd name="connsiteY544" fmla="*/ 3493512 h 4232411"/>
                <a:gd name="connsiteX545" fmla="*/ 3495549 w 5248218"/>
                <a:gd name="connsiteY545" fmla="*/ 3534890 h 4232411"/>
                <a:gd name="connsiteX546" fmla="*/ 3536928 w 5248218"/>
                <a:gd name="connsiteY546" fmla="*/ 3493512 h 4232411"/>
                <a:gd name="connsiteX547" fmla="*/ 3495549 w 5248218"/>
                <a:gd name="connsiteY547" fmla="*/ 3452134 h 4232411"/>
                <a:gd name="connsiteX548" fmla="*/ 3454171 w 5248218"/>
                <a:gd name="connsiteY548" fmla="*/ 3493512 h 4232411"/>
                <a:gd name="connsiteX549" fmla="*/ 3430526 w 5248218"/>
                <a:gd name="connsiteY549" fmla="*/ 2618660 h 4232411"/>
                <a:gd name="connsiteX550" fmla="*/ 3468950 w 5248218"/>
                <a:gd name="connsiteY550" fmla="*/ 2657081 h 4232411"/>
                <a:gd name="connsiteX551" fmla="*/ 3507372 w 5248218"/>
                <a:gd name="connsiteY551" fmla="*/ 2618660 h 4232411"/>
                <a:gd name="connsiteX552" fmla="*/ 3468950 w 5248218"/>
                <a:gd name="connsiteY552" fmla="*/ 2580236 h 4232411"/>
                <a:gd name="connsiteX553" fmla="*/ 3430526 w 5248218"/>
                <a:gd name="connsiteY553" fmla="*/ 2618660 h 4232411"/>
                <a:gd name="connsiteX554" fmla="*/ 3424615 w 5248218"/>
                <a:gd name="connsiteY554" fmla="*/ 3724049 h 4232411"/>
                <a:gd name="connsiteX555" fmla="*/ 3457128 w 5248218"/>
                <a:gd name="connsiteY555" fmla="*/ 3756559 h 4232411"/>
                <a:gd name="connsiteX556" fmla="*/ 3489638 w 5248218"/>
                <a:gd name="connsiteY556" fmla="*/ 3724049 h 4232411"/>
                <a:gd name="connsiteX557" fmla="*/ 3457128 w 5248218"/>
                <a:gd name="connsiteY557" fmla="*/ 3691536 h 4232411"/>
                <a:gd name="connsiteX558" fmla="*/ 3424615 w 5248218"/>
                <a:gd name="connsiteY558" fmla="*/ 3724049 h 4232411"/>
                <a:gd name="connsiteX559" fmla="*/ 3415747 w 5248218"/>
                <a:gd name="connsiteY559" fmla="*/ 1699468 h 4232411"/>
                <a:gd name="connsiteX560" fmla="*/ 3418704 w 5248218"/>
                <a:gd name="connsiteY560" fmla="*/ 1702422 h 4232411"/>
                <a:gd name="connsiteX561" fmla="*/ 3421658 w 5248218"/>
                <a:gd name="connsiteY561" fmla="*/ 1699468 h 4232411"/>
                <a:gd name="connsiteX562" fmla="*/ 3418704 w 5248218"/>
                <a:gd name="connsiteY562" fmla="*/ 1696511 h 4232411"/>
                <a:gd name="connsiteX563" fmla="*/ 3415747 w 5248218"/>
                <a:gd name="connsiteY563" fmla="*/ 1699468 h 4232411"/>
                <a:gd name="connsiteX564" fmla="*/ 3389148 w 5248218"/>
                <a:gd name="connsiteY564" fmla="*/ 1962514 h 4232411"/>
                <a:gd name="connsiteX565" fmla="*/ 3400970 w 5248218"/>
                <a:gd name="connsiteY565" fmla="*/ 1974337 h 4232411"/>
                <a:gd name="connsiteX566" fmla="*/ 3412793 w 5248218"/>
                <a:gd name="connsiteY566" fmla="*/ 1962514 h 4232411"/>
                <a:gd name="connsiteX567" fmla="*/ 3400970 w 5248218"/>
                <a:gd name="connsiteY567" fmla="*/ 1950692 h 4232411"/>
                <a:gd name="connsiteX568" fmla="*/ 3389148 w 5248218"/>
                <a:gd name="connsiteY568" fmla="*/ 1962514 h 4232411"/>
                <a:gd name="connsiteX569" fmla="*/ 3386191 w 5248218"/>
                <a:gd name="connsiteY569" fmla="*/ 2861016 h 4232411"/>
                <a:gd name="connsiteX570" fmla="*/ 3439391 w 5248218"/>
                <a:gd name="connsiteY570" fmla="*/ 2914216 h 4232411"/>
                <a:gd name="connsiteX571" fmla="*/ 3492592 w 5248218"/>
                <a:gd name="connsiteY571" fmla="*/ 2861016 h 4232411"/>
                <a:gd name="connsiteX572" fmla="*/ 3439391 w 5248218"/>
                <a:gd name="connsiteY572" fmla="*/ 2807814 h 4232411"/>
                <a:gd name="connsiteX573" fmla="*/ 3386191 w 5248218"/>
                <a:gd name="connsiteY573" fmla="*/ 2861016 h 4232411"/>
                <a:gd name="connsiteX574" fmla="*/ 3353681 w 5248218"/>
                <a:gd name="connsiteY574" fmla="*/ 2213738 h 4232411"/>
                <a:gd name="connsiteX575" fmla="*/ 3374371 w 5248218"/>
                <a:gd name="connsiteY575" fmla="*/ 2234429 h 4232411"/>
                <a:gd name="connsiteX576" fmla="*/ 3395059 w 5248218"/>
                <a:gd name="connsiteY576" fmla="*/ 2213738 h 4232411"/>
                <a:gd name="connsiteX577" fmla="*/ 3374371 w 5248218"/>
                <a:gd name="connsiteY577" fmla="*/ 2193051 h 4232411"/>
                <a:gd name="connsiteX578" fmla="*/ 3353681 w 5248218"/>
                <a:gd name="connsiteY578" fmla="*/ 2213738 h 4232411"/>
                <a:gd name="connsiteX579" fmla="*/ 3350724 w 5248218"/>
                <a:gd name="connsiteY579" fmla="*/ 3097463 h 4232411"/>
                <a:gd name="connsiteX580" fmla="*/ 3403924 w 5248218"/>
                <a:gd name="connsiteY580" fmla="*/ 3150664 h 4232411"/>
                <a:gd name="connsiteX581" fmla="*/ 3457125 w 5248218"/>
                <a:gd name="connsiteY581" fmla="*/ 3097463 h 4232411"/>
                <a:gd name="connsiteX582" fmla="*/ 3403924 w 5248218"/>
                <a:gd name="connsiteY582" fmla="*/ 3044262 h 4232411"/>
                <a:gd name="connsiteX583" fmla="*/ 3350724 w 5248218"/>
                <a:gd name="connsiteY583" fmla="*/ 3097463 h 4232411"/>
                <a:gd name="connsiteX584" fmla="*/ 3318214 w 5248218"/>
                <a:gd name="connsiteY584" fmla="*/ 3330956 h 4232411"/>
                <a:gd name="connsiteX585" fmla="*/ 3365503 w 5248218"/>
                <a:gd name="connsiteY585" fmla="*/ 3378246 h 4232411"/>
                <a:gd name="connsiteX586" fmla="*/ 3412793 w 5248218"/>
                <a:gd name="connsiteY586" fmla="*/ 3330956 h 4232411"/>
                <a:gd name="connsiteX587" fmla="*/ 3365503 w 5248218"/>
                <a:gd name="connsiteY587" fmla="*/ 3283667 h 4232411"/>
                <a:gd name="connsiteX588" fmla="*/ 3318214 w 5248218"/>
                <a:gd name="connsiteY588" fmla="*/ 3330956 h 4232411"/>
                <a:gd name="connsiteX589" fmla="*/ 3306391 w 5248218"/>
                <a:gd name="connsiteY589" fmla="*/ 2459054 h 4232411"/>
                <a:gd name="connsiteX590" fmla="*/ 3344815 w 5248218"/>
                <a:gd name="connsiteY590" fmla="*/ 2497476 h 4232411"/>
                <a:gd name="connsiteX591" fmla="*/ 3383237 w 5248218"/>
                <a:gd name="connsiteY591" fmla="*/ 2459054 h 4232411"/>
                <a:gd name="connsiteX592" fmla="*/ 3344815 w 5248218"/>
                <a:gd name="connsiteY592" fmla="*/ 2420630 h 4232411"/>
                <a:gd name="connsiteX593" fmla="*/ 3306391 w 5248218"/>
                <a:gd name="connsiteY593" fmla="*/ 2459054 h 4232411"/>
                <a:gd name="connsiteX594" fmla="*/ 3279792 w 5248218"/>
                <a:gd name="connsiteY594" fmla="*/ 3561490 h 4232411"/>
                <a:gd name="connsiteX595" fmla="*/ 3327082 w 5248218"/>
                <a:gd name="connsiteY595" fmla="*/ 3608779 h 4232411"/>
                <a:gd name="connsiteX596" fmla="*/ 3374371 w 5248218"/>
                <a:gd name="connsiteY596" fmla="*/ 3561490 h 4232411"/>
                <a:gd name="connsiteX597" fmla="*/ 3327082 w 5248218"/>
                <a:gd name="connsiteY597" fmla="*/ 3514200 h 4232411"/>
                <a:gd name="connsiteX598" fmla="*/ 3279792 w 5248218"/>
                <a:gd name="connsiteY598" fmla="*/ 3561490 h 4232411"/>
                <a:gd name="connsiteX599" fmla="*/ 3270924 w 5248218"/>
                <a:gd name="connsiteY599" fmla="*/ 1805870 h 4232411"/>
                <a:gd name="connsiteX600" fmla="*/ 3273881 w 5248218"/>
                <a:gd name="connsiteY600" fmla="*/ 1808824 h 4232411"/>
                <a:gd name="connsiteX601" fmla="*/ 3276835 w 5248218"/>
                <a:gd name="connsiteY601" fmla="*/ 1805870 h 4232411"/>
                <a:gd name="connsiteX602" fmla="*/ 3273881 w 5248218"/>
                <a:gd name="connsiteY602" fmla="*/ 1802912 h 4232411"/>
                <a:gd name="connsiteX603" fmla="*/ 3270924 w 5248218"/>
                <a:gd name="connsiteY603" fmla="*/ 1805870 h 4232411"/>
                <a:gd name="connsiteX604" fmla="*/ 3265013 w 5248218"/>
                <a:gd name="connsiteY604" fmla="*/ 2701413 h 4232411"/>
                <a:gd name="connsiteX605" fmla="*/ 3312302 w 5248218"/>
                <a:gd name="connsiteY605" fmla="*/ 2748702 h 4232411"/>
                <a:gd name="connsiteX606" fmla="*/ 3359592 w 5248218"/>
                <a:gd name="connsiteY606" fmla="*/ 2701413 h 4232411"/>
                <a:gd name="connsiteX607" fmla="*/ 3312302 w 5248218"/>
                <a:gd name="connsiteY607" fmla="*/ 2654124 h 4232411"/>
                <a:gd name="connsiteX608" fmla="*/ 3265013 w 5248218"/>
                <a:gd name="connsiteY608" fmla="*/ 2701413 h 4232411"/>
                <a:gd name="connsiteX609" fmla="*/ 3256148 w 5248218"/>
                <a:gd name="connsiteY609" fmla="*/ 3786118 h 4232411"/>
                <a:gd name="connsiteX610" fmla="*/ 3288661 w 5248218"/>
                <a:gd name="connsiteY610" fmla="*/ 3818628 h 4232411"/>
                <a:gd name="connsiteX611" fmla="*/ 3321171 w 5248218"/>
                <a:gd name="connsiteY611" fmla="*/ 3786118 h 4232411"/>
                <a:gd name="connsiteX612" fmla="*/ 3288661 w 5248218"/>
                <a:gd name="connsiteY612" fmla="*/ 3753604 h 4232411"/>
                <a:gd name="connsiteX613" fmla="*/ 3256148 w 5248218"/>
                <a:gd name="connsiteY613" fmla="*/ 3786118 h 4232411"/>
                <a:gd name="connsiteX614" fmla="*/ 3244325 w 5248218"/>
                <a:gd name="connsiteY614" fmla="*/ 4010740 h 4232411"/>
                <a:gd name="connsiteX615" fmla="*/ 3247279 w 5248218"/>
                <a:gd name="connsiteY615" fmla="*/ 4013697 h 4232411"/>
                <a:gd name="connsiteX616" fmla="*/ 3250236 w 5248218"/>
                <a:gd name="connsiteY616" fmla="*/ 4010740 h 4232411"/>
                <a:gd name="connsiteX617" fmla="*/ 3247279 w 5248218"/>
                <a:gd name="connsiteY617" fmla="*/ 4007786 h 4232411"/>
                <a:gd name="connsiteX618" fmla="*/ 3244325 w 5248218"/>
                <a:gd name="connsiteY618" fmla="*/ 4010740 h 4232411"/>
                <a:gd name="connsiteX619" fmla="*/ 3229549 w 5248218"/>
                <a:gd name="connsiteY619" fmla="*/ 2057094 h 4232411"/>
                <a:gd name="connsiteX620" fmla="*/ 3250236 w 5248218"/>
                <a:gd name="connsiteY620" fmla="*/ 2077781 h 4232411"/>
                <a:gd name="connsiteX621" fmla="*/ 3270924 w 5248218"/>
                <a:gd name="connsiteY621" fmla="*/ 2057094 h 4232411"/>
                <a:gd name="connsiteX622" fmla="*/ 3250236 w 5248218"/>
                <a:gd name="connsiteY622" fmla="*/ 2036403 h 4232411"/>
                <a:gd name="connsiteX623" fmla="*/ 3229549 w 5248218"/>
                <a:gd name="connsiteY623" fmla="*/ 2057094 h 4232411"/>
                <a:gd name="connsiteX624" fmla="*/ 3223635 w 5248218"/>
                <a:gd name="connsiteY624" fmla="*/ 2934906 h 4232411"/>
                <a:gd name="connsiteX625" fmla="*/ 3276835 w 5248218"/>
                <a:gd name="connsiteY625" fmla="*/ 2988108 h 4232411"/>
                <a:gd name="connsiteX626" fmla="*/ 3330036 w 5248218"/>
                <a:gd name="connsiteY626" fmla="*/ 2934906 h 4232411"/>
                <a:gd name="connsiteX627" fmla="*/ 3276835 w 5248218"/>
                <a:gd name="connsiteY627" fmla="*/ 2881706 h 4232411"/>
                <a:gd name="connsiteX628" fmla="*/ 3223635 w 5248218"/>
                <a:gd name="connsiteY628" fmla="*/ 2934906 h 4232411"/>
                <a:gd name="connsiteX629" fmla="*/ 3191125 w 5248218"/>
                <a:gd name="connsiteY629" fmla="*/ 2302406 h 4232411"/>
                <a:gd name="connsiteX630" fmla="*/ 3217723 w 5248218"/>
                <a:gd name="connsiteY630" fmla="*/ 2329008 h 4232411"/>
                <a:gd name="connsiteX631" fmla="*/ 3244325 w 5248218"/>
                <a:gd name="connsiteY631" fmla="*/ 2302406 h 4232411"/>
                <a:gd name="connsiteX632" fmla="*/ 3217723 w 5248218"/>
                <a:gd name="connsiteY632" fmla="*/ 2275808 h 4232411"/>
                <a:gd name="connsiteX633" fmla="*/ 3191125 w 5248218"/>
                <a:gd name="connsiteY633" fmla="*/ 2302406 h 4232411"/>
                <a:gd name="connsiteX634" fmla="*/ 3182256 w 5248218"/>
                <a:gd name="connsiteY634" fmla="*/ 3168397 h 4232411"/>
                <a:gd name="connsiteX635" fmla="*/ 3238411 w 5248218"/>
                <a:gd name="connsiteY635" fmla="*/ 3224555 h 4232411"/>
                <a:gd name="connsiteX636" fmla="*/ 3294569 w 5248218"/>
                <a:gd name="connsiteY636" fmla="*/ 3168397 h 4232411"/>
                <a:gd name="connsiteX637" fmla="*/ 3238411 w 5248218"/>
                <a:gd name="connsiteY637" fmla="*/ 3112242 h 4232411"/>
                <a:gd name="connsiteX638" fmla="*/ 3182256 w 5248218"/>
                <a:gd name="connsiteY638" fmla="*/ 3168397 h 4232411"/>
                <a:gd name="connsiteX639" fmla="*/ 3152700 w 5248218"/>
                <a:gd name="connsiteY639" fmla="*/ 2541814 h 4232411"/>
                <a:gd name="connsiteX640" fmla="*/ 3185210 w 5248218"/>
                <a:gd name="connsiteY640" fmla="*/ 2574324 h 4232411"/>
                <a:gd name="connsiteX641" fmla="*/ 3217723 w 5248218"/>
                <a:gd name="connsiteY641" fmla="*/ 2541814 h 4232411"/>
                <a:gd name="connsiteX642" fmla="*/ 3185210 w 5248218"/>
                <a:gd name="connsiteY642" fmla="*/ 2509301 h 4232411"/>
                <a:gd name="connsiteX643" fmla="*/ 3152700 w 5248218"/>
                <a:gd name="connsiteY643" fmla="*/ 2541814 h 4232411"/>
                <a:gd name="connsiteX644" fmla="*/ 3146789 w 5248218"/>
                <a:gd name="connsiteY644" fmla="*/ 1649222 h 4232411"/>
                <a:gd name="connsiteX645" fmla="*/ 3149743 w 5248218"/>
                <a:gd name="connsiteY645" fmla="*/ 1652176 h 4232411"/>
                <a:gd name="connsiteX646" fmla="*/ 3152700 w 5248218"/>
                <a:gd name="connsiteY646" fmla="*/ 1649222 h 4232411"/>
                <a:gd name="connsiteX647" fmla="*/ 3149743 w 5248218"/>
                <a:gd name="connsiteY647" fmla="*/ 1646264 h 4232411"/>
                <a:gd name="connsiteX648" fmla="*/ 3146789 w 5248218"/>
                <a:gd name="connsiteY648" fmla="*/ 1649222 h 4232411"/>
                <a:gd name="connsiteX649" fmla="*/ 3143835 w 5248218"/>
                <a:gd name="connsiteY649" fmla="*/ 3395976 h 4232411"/>
                <a:gd name="connsiteX650" fmla="*/ 3199993 w 5248218"/>
                <a:gd name="connsiteY650" fmla="*/ 3452134 h 4232411"/>
                <a:gd name="connsiteX651" fmla="*/ 3256148 w 5248218"/>
                <a:gd name="connsiteY651" fmla="*/ 3395976 h 4232411"/>
                <a:gd name="connsiteX652" fmla="*/ 3199993 w 5248218"/>
                <a:gd name="connsiteY652" fmla="*/ 3339822 h 4232411"/>
                <a:gd name="connsiteX653" fmla="*/ 3143835 w 5248218"/>
                <a:gd name="connsiteY653" fmla="*/ 3395976 h 4232411"/>
                <a:gd name="connsiteX654" fmla="*/ 3114276 w 5248218"/>
                <a:gd name="connsiteY654" fmla="*/ 3842272 h 4232411"/>
                <a:gd name="connsiteX655" fmla="*/ 3117233 w 5248218"/>
                <a:gd name="connsiteY655" fmla="*/ 3845226 h 4232411"/>
                <a:gd name="connsiteX656" fmla="*/ 3120187 w 5248218"/>
                <a:gd name="connsiteY656" fmla="*/ 3842272 h 4232411"/>
                <a:gd name="connsiteX657" fmla="*/ 3117233 w 5248218"/>
                <a:gd name="connsiteY657" fmla="*/ 3839316 h 4232411"/>
                <a:gd name="connsiteX658" fmla="*/ 3114276 w 5248218"/>
                <a:gd name="connsiteY658" fmla="*/ 3842272 h 4232411"/>
                <a:gd name="connsiteX659" fmla="*/ 3108368 w 5248218"/>
                <a:gd name="connsiteY659" fmla="*/ 3620602 h 4232411"/>
                <a:gd name="connsiteX660" fmla="*/ 3158611 w 5248218"/>
                <a:gd name="connsiteY660" fmla="*/ 3670848 h 4232411"/>
                <a:gd name="connsiteX661" fmla="*/ 3208858 w 5248218"/>
                <a:gd name="connsiteY661" fmla="*/ 3620602 h 4232411"/>
                <a:gd name="connsiteX662" fmla="*/ 3158611 w 5248218"/>
                <a:gd name="connsiteY662" fmla="*/ 3570358 h 4232411"/>
                <a:gd name="connsiteX663" fmla="*/ 3108368 w 5248218"/>
                <a:gd name="connsiteY663" fmla="*/ 3620602 h 4232411"/>
                <a:gd name="connsiteX664" fmla="*/ 3108368 w 5248218"/>
                <a:gd name="connsiteY664" fmla="*/ 2775302 h 4232411"/>
                <a:gd name="connsiteX665" fmla="*/ 3146792 w 5248218"/>
                <a:gd name="connsiteY665" fmla="*/ 2813726 h 4232411"/>
                <a:gd name="connsiteX666" fmla="*/ 3185213 w 5248218"/>
                <a:gd name="connsiteY666" fmla="*/ 2775302 h 4232411"/>
                <a:gd name="connsiteX667" fmla="*/ 3146792 w 5248218"/>
                <a:gd name="connsiteY667" fmla="*/ 2736880 h 4232411"/>
                <a:gd name="connsiteX668" fmla="*/ 3108368 w 5248218"/>
                <a:gd name="connsiteY668" fmla="*/ 2775302 h 4232411"/>
                <a:gd name="connsiteX669" fmla="*/ 3108368 w 5248218"/>
                <a:gd name="connsiteY669" fmla="*/ 1897492 h 4232411"/>
                <a:gd name="connsiteX670" fmla="*/ 3123147 w 5248218"/>
                <a:gd name="connsiteY670" fmla="*/ 1912268 h 4232411"/>
                <a:gd name="connsiteX671" fmla="*/ 3137924 w 5248218"/>
                <a:gd name="connsiteY671" fmla="*/ 1897492 h 4232411"/>
                <a:gd name="connsiteX672" fmla="*/ 3123147 w 5248218"/>
                <a:gd name="connsiteY672" fmla="*/ 1882712 h 4232411"/>
                <a:gd name="connsiteX673" fmla="*/ 3108368 w 5248218"/>
                <a:gd name="connsiteY673" fmla="*/ 1897492 h 4232411"/>
                <a:gd name="connsiteX674" fmla="*/ 3069944 w 5248218"/>
                <a:gd name="connsiteY674" fmla="*/ 2142804 h 4232411"/>
                <a:gd name="connsiteX675" fmla="*/ 3090631 w 5248218"/>
                <a:gd name="connsiteY675" fmla="*/ 2163495 h 4232411"/>
                <a:gd name="connsiteX676" fmla="*/ 3111322 w 5248218"/>
                <a:gd name="connsiteY676" fmla="*/ 2142804 h 4232411"/>
                <a:gd name="connsiteX677" fmla="*/ 3090631 w 5248218"/>
                <a:gd name="connsiteY677" fmla="*/ 2122117 h 4232411"/>
                <a:gd name="connsiteX678" fmla="*/ 3069944 w 5248218"/>
                <a:gd name="connsiteY678" fmla="*/ 2142804 h 4232411"/>
                <a:gd name="connsiteX679" fmla="*/ 3055164 w 5248218"/>
                <a:gd name="connsiteY679" fmla="*/ 3002884 h 4232411"/>
                <a:gd name="connsiteX680" fmla="*/ 3108365 w 5248218"/>
                <a:gd name="connsiteY680" fmla="*/ 3056084 h 4232411"/>
                <a:gd name="connsiteX681" fmla="*/ 3161566 w 5248218"/>
                <a:gd name="connsiteY681" fmla="*/ 3002884 h 4232411"/>
                <a:gd name="connsiteX682" fmla="*/ 3108365 w 5248218"/>
                <a:gd name="connsiteY682" fmla="*/ 2949683 h 4232411"/>
                <a:gd name="connsiteX683" fmla="*/ 3055164 w 5248218"/>
                <a:gd name="connsiteY683" fmla="*/ 3002884 h 4232411"/>
                <a:gd name="connsiteX684" fmla="*/ 3037434 w 5248218"/>
                <a:gd name="connsiteY684" fmla="*/ 2379252 h 4232411"/>
                <a:gd name="connsiteX685" fmla="*/ 3058121 w 5248218"/>
                <a:gd name="connsiteY685" fmla="*/ 2399942 h 4232411"/>
                <a:gd name="connsiteX686" fmla="*/ 3078812 w 5248218"/>
                <a:gd name="connsiteY686" fmla="*/ 2379252 h 4232411"/>
                <a:gd name="connsiteX687" fmla="*/ 3058121 w 5248218"/>
                <a:gd name="connsiteY687" fmla="*/ 2358564 h 4232411"/>
                <a:gd name="connsiteX688" fmla="*/ 3037434 w 5248218"/>
                <a:gd name="connsiteY688" fmla="*/ 2379252 h 4232411"/>
                <a:gd name="connsiteX689" fmla="*/ 3010832 w 5248218"/>
                <a:gd name="connsiteY689" fmla="*/ 3230466 h 4232411"/>
                <a:gd name="connsiteX690" fmla="*/ 3069944 w 5248218"/>
                <a:gd name="connsiteY690" fmla="*/ 3289578 h 4232411"/>
                <a:gd name="connsiteX691" fmla="*/ 3129056 w 5248218"/>
                <a:gd name="connsiteY691" fmla="*/ 3230466 h 4232411"/>
                <a:gd name="connsiteX692" fmla="*/ 3069944 w 5248218"/>
                <a:gd name="connsiteY692" fmla="*/ 3171354 h 4232411"/>
                <a:gd name="connsiteX693" fmla="*/ 3010832 w 5248218"/>
                <a:gd name="connsiteY693" fmla="*/ 3230466 h 4232411"/>
                <a:gd name="connsiteX694" fmla="*/ 2996052 w 5248218"/>
                <a:gd name="connsiteY694" fmla="*/ 1743800 h 4232411"/>
                <a:gd name="connsiteX695" fmla="*/ 2999009 w 5248218"/>
                <a:gd name="connsiteY695" fmla="*/ 1746755 h 4232411"/>
                <a:gd name="connsiteX696" fmla="*/ 3001963 w 5248218"/>
                <a:gd name="connsiteY696" fmla="*/ 1743800 h 4232411"/>
                <a:gd name="connsiteX697" fmla="*/ 2999009 w 5248218"/>
                <a:gd name="connsiteY697" fmla="*/ 1740844 h 4232411"/>
                <a:gd name="connsiteX698" fmla="*/ 2996052 w 5248218"/>
                <a:gd name="connsiteY698" fmla="*/ 1743800 h 4232411"/>
                <a:gd name="connsiteX699" fmla="*/ 2990144 w 5248218"/>
                <a:gd name="connsiteY699" fmla="*/ 2609792 h 4232411"/>
                <a:gd name="connsiteX700" fmla="*/ 3019700 w 5248218"/>
                <a:gd name="connsiteY700" fmla="*/ 2639347 h 4232411"/>
                <a:gd name="connsiteX701" fmla="*/ 3049256 w 5248218"/>
                <a:gd name="connsiteY701" fmla="*/ 2609792 h 4232411"/>
                <a:gd name="connsiteX702" fmla="*/ 3019700 w 5248218"/>
                <a:gd name="connsiteY702" fmla="*/ 2580236 h 4232411"/>
                <a:gd name="connsiteX703" fmla="*/ 2990144 w 5248218"/>
                <a:gd name="connsiteY703" fmla="*/ 2609792 h 4232411"/>
                <a:gd name="connsiteX704" fmla="*/ 2972407 w 5248218"/>
                <a:gd name="connsiteY704" fmla="*/ 3449177 h 4232411"/>
                <a:gd name="connsiteX705" fmla="*/ 3028565 w 5248218"/>
                <a:gd name="connsiteY705" fmla="*/ 3505335 h 4232411"/>
                <a:gd name="connsiteX706" fmla="*/ 3084720 w 5248218"/>
                <a:gd name="connsiteY706" fmla="*/ 3449177 h 4232411"/>
                <a:gd name="connsiteX707" fmla="*/ 3028565 w 5248218"/>
                <a:gd name="connsiteY707" fmla="*/ 3393022 h 4232411"/>
                <a:gd name="connsiteX708" fmla="*/ 2972407 w 5248218"/>
                <a:gd name="connsiteY708" fmla="*/ 3449177 h 4232411"/>
                <a:gd name="connsiteX709" fmla="*/ 2957631 w 5248218"/>
                <a:gd name="connsiteY709" fmla="*/ 1983205 h 4232411"/>
                <a:gd name="connsiteX710" fmla="*/ 2966499 w 5248218"/>
                <a:gd name="connsiteY710" fmla="*/ 1992070 h 4232411"/>
                <a:gd name="connsiteX711" fmla="*/ 2975365 w 5248218"/>
                <a:gd name="connsiteY711" fmla="*/ 1983205 h 4232411"/>
                <a:gd name="connsiteX712" fmla="*/ 2966499 w 5248218"/>
                <a:gd name="connsiteY712" fmla="*/ 1974337 h 4232411"/>
                <a:gd name="connsiteX713" fmla="*/ 2957631 w 5248218"/>
                <a:gd name="connsiteY713" fmla="*/ 1983205 h 4232411"/>
                <a:gd name="connsiteX714" fmla="*/ 2945809 w 5248218"/>
                <a:gd name="connsiteY714" fmla="*/ 2837370 h 4232411"/>
                <a:gd name="connsiteX715" fmla="*/ 2981276 w 5248218"/>
                <a:gd name="connsiteY715" fmla="*/ 2872838 h 4232411"/>
                <a:gd name="connsiteX716" fmla="*/ 3016743 w 5248218"/>
                <a:gd name="connsiteY716" fmla="*/ 2837370 h 4232411"/>
                <a:gd name="connsiteX717" fmla="*/ 2981276 w 5248218"/>
                <a:gd name="connsiteY717" fmla="*/ 2801904 h 4232411"/>
                <a:gd name="connsiteX718" fmla="*/ 2945809 w 5248218"/>
                <a:gd name="connsiteY718" fmla="*/ 2837370 h 4232411"/>
                <a:gd name="connsiteX719" fmla="*/ 2936943 w 5248218"/>
                <a:gd name="connsiteY719" fmla="*/ 3670848 h 4232411"/>
                <a:gd name="connsiteX720" fmla="*/ 2987190 w 5248218"/>
                <a:gd name="connsiteY720" fmla="*/ 3721094 h 4232411"/>
                <a:gd name="connsiteX721" fmla="*/ 3037434 w 5248218"/>
                <a:gd name="connsiteY721" fmla="*/ 3670848 h 4232411"/>
                <a:gd name="connsiteX722" fmla="*/ 2987190 w 5248218"/>
                <a:gd name="connsiteY722" fmla="*/ 3620604 h 4232411"/>
                <a:gd name="connsiteX723" fmla="*/ 2936943 w 5248218"/>
                <a:gd name="connsiteY723" fmla="*/ 3670848 h 4232411"/>
                <a:gd name="connsiteX724" fmla="*/ 2928075 w 5248218"/>
                <a:gd name="connsiteY724" fmla="*/ 3886605 h 4232411"/>
                <a:gd name="connsiteX725" fmla="*/ 2945809 w 5248218"/>
                <a:gd name="connsiteY725" fmla="*/ 3904338 h 4232411"/>
                <a:gd name="connsiteX726" fmla="*/ 2963542 w 5248218"/>
                <a:gd name="connsiteY726" fmla="*/ 3886605 h 4232411"/>
                <a:gd name="connsiteX727" fmla="*/ 2945809 w 5248218"/>
                <a:gd name="connsiteY727" fmla="*/ 3868872 h 4232411"/>
                <a:gd name="connsiteX728" fmla="*/ 2928075 w 5248218"/>
                <a:gd name="connsiteY728" fmla="*/ 3886605 h 4232411"/>
                <a:gd name="connsiteX729" fmla="*/ 2913296 w 5248218"/>
                <a:gd name="connsiteY729" fmla="*/ 2216699 h 4232411"/>
                <a:gd name="connsiteX730" fmla="*/ 2928075 w 5248218"/>
                <a:gd name="connsiteY730" fmla="*/ 2231475 h 4232411"/>
                <a:gd name="connsiteX731" fmla="*/ 2942852 w 5248218"/>
                <a:gd name="connsiteY731" fmla="*/ 2216699 h 4232411"/>
                <a:gd name="connsiteX732" fmla="*/ 2928075 w 5248218"/>
                <a:gd name="connsiteY732" fmla="*/ 2201919 h 4232411"/>
                <a:gd name="connsiteX733" fmla="*/ 2913296 w 5248218"/>
                <a:gd name="connsiteY733" fmla="*/ 2216699 h 4232411"/>
                <a:gd name="connsiteX734" fmla="*/ 2880786 w 5248218"/>
                <a:gd name="connsiteY734" fmla="*/ 3061996 h 4232411"/>
                <a:gd name="connsiteX735" fmla="*/ 2939897 w 5248218"/>
                <a:gd name="connsiteY735" fmla="*/ 3121108 h 4232411"/>
                <a:gd name="connsiteX736" fmla="*/ 2999009 w 5248218"/>
                <a:gd name="connsiteY736" fmla="*/ 3061996 h 4232411"/>
                <a:gd name="connsiteX737" fmla="*/ 2939897 w 5248218"/>
                <a:gd name="connsiteY737" fmla="*/ 3002884 h 4232411"/>
                <a:gd name="connsiteX738" fmla="*/ 2880786 w 5248218"/>
                <a:gd name="connsiteY738" fmla="*/ 3061996 h 4232411"/>
                <a:gd name="connsiteX739" fmla="*/ 2863052 w 5248218"/>
                <a:gd name="connsiteY739" fmla="*/ 2444275 h 4232411"/>
                <a:gd name="connsiteX740" fmla="*/ 2892608 w 5248218"/>
                <a:gd name="connsiteY740" fmla="*/ 2473831 h 4232411"/>
                <a:gd name="connsiteX741" fmla="*/ 2922164 w 5248218"/>
                <a:gd name="connsiteY741" fmla="*/ 2444275 h 4232411"/>
                <a:gd name="connsiteX742" fmla="*/ 2892608 w 5248218"/>
                <a:gd name="connsiteY742" fmla="*/ 2414719 h 4232411"/>
                <a:gd name="connsiteX743" fmla="*/ 2863052 w 5248218"/>
                <a:gd name="connsiteY743" fmla="*/ 2444275 h 4232411"/>
                <a:gd name="connsiteX744" fmla="*/ 2836453 w 5248218"/>
                <a:gd name="connsiteY744" fmla="*/ 3283667 h 4232411"/>
                <a:gd name="connsiteX745" fmla="*/ 2898519 w 5248218"/>
                <a:gd name="connsiteY745" fmla="*/ 3345732 h 4232411"/>
                <a:gd name="connsiteX746" fmla="*/ 2960588 w 5248218"/>
                <a:gd name="connsiteY746" fmla="*/ 3283667 h 4232411"/>
                <a:gd name="connsiteX747" fmla="*/ 2898519 w 5248218"/>
                <a:gd name="connsiteY747" fmla="*/ 3221598 h 4232411"/>
                <a:gd name="connsiteX748" fmla="*/ 2836453 w 5248218"/>
                <a:gd name="connsiteY748" fmla="*/ 3283667 h 4232411"/>
                <a:gd name="connsiteX749" fmla="*/ 2821674 w 5248218"/>
                <a:gd name="connsiteY749" fmla="*/ 2671857 h 4232411"/>
                <a:gd name="connsiteX750" fmla="*/ 2851230 w 5248218"/>
                <a:gd name="connsiteY750" fmla="*/ 2701413 h 4232411"/>
                <a:gd name="connsiteX751" fmla="*/ 2880786 w 5248218"/>
                <a:gd name="connsiteY751" fmla="*/ 2671857 h 4232411"/>
                <a:gd name="connsiteX752" fmla="*/ 2851230 w 5248218"/>
                <a:gd name="connsiteY752" fmla="*/ 2642302 h 4232411"/>
                <a:gd name="connsiteX753" fmla="*/ 2821674 w 5248218"/>
                <a:gd name="connsiteY753" fmla="*/ 2671857 h 4232411"/>
                <a:gd name="connsiteX754" fmla="*/ 2800986 w 5248218"/>
                <a:gd name="connsiteY754" fmla="*/ 3499424 h 4232411"/>
                <a:gd name="connsiteX755" fmla="*/ 2857141 w 5248218"/>
                <a:gd name="connsiteY755" fmla="*/ 3555582 h 4232411"/>
                <a:gd name="connsiteX756" fmla="*/ 2913299 w 5248218"/>
                <a:gd name="connsiteY756" fmla="*/ 3499424 h 4232411"/>
                <a:gd name="connsiteX757" fmla="*/ 2857141 w 5248218"/>
                <a:gd name="connsiteY757" fmla="*/ 3443269 h 4232411"/>
                <a:gd name="connsiteX758" fmla="*/ 2800986 w 5248218"/>
                <a:gd name="connsiteY758" fmla="*/ 3499424 h 4232411"/>
                <a:gd name="connsiteX759" fmla="*/ 2795072 w 5248218"/>
                <a:gd name="connsiteY759" fmla="*/ 2054140 h 4232411"/>
                <a:gd name="connsiteX760" fmla="*/ 2800983 w 5248218"/>
                <a:gd name="connsiteY760" fmla="*/ 2060051 h 4232411"/>
                <a:gd name="connsiteX761" fmla="*/ 2806894 w 5248218"/>
                <a:gd name="connsiteY761" fmla="*/ 2054140 h 4232411"/>
                <a:gd name="connsiteX762" fmla="*/ 2800983 w 5248218"/>
                <a:gd name="connsiteY762" fmla="*/ 2048228 h 4232411"/>
                <a:gd name="connsiteX763" fmla="*/ 2795072 w 5248218"/>
                <a:gd name="connsiteY763" fmla="*/ 2054140 h 4232411"/>
                <a:gd name="connsiteX764" fmla="*/ 2771430 w 5248218"/>
                <a:gd name="connsiteY764" fmla="*/ 2890574 h 4232411"/>
                <a:gd name="connsiteX765" fmla="*/ 2809851 w 5248218"/>
                <a:gd name="connsiteY765" fmla="*/ 2928996 h 4232411"/>
                <a:gd name="connsiteX766" fmla="*/ 2848276 w 5248218"/>
                <a:gd name="connsiteY766" fmla="*/ 2890574 h 4232411"/>
                <a:gd name="connsiteX767" fmla="*/ 2809851 w 5248218"/>
                <a:gd name="connsiteY767" fmla="*/ 2852150 h 4232411"/>
                <a:gd name="connsiteX768" fmla="*/ 2771430 w 5248218"/>
                <a:gd name="connsiteY768" fmla="*/ 2890574 h 4232411"/>
                <a:gd name="connsiteX769" fmla="*/ 2762562 w 5248218"/>
                <a:gd name="connsiteY769" fmla="*/ 3715180 h 4232411"/>
                <a:gd name="connsiteX770" fmla="*/ 2815763 w 5248218"/>
                <a:gd name="connsiteY770" fmla="*/ 3768381 h 4232411"/>
                <a:gd name="connsiteX771" fmla="*/ 2868960 w 5248218"/>
                <a:gd name="connsiteY771" fmla="*/ 3715180 h 4232411"/>
                <a:gd name="connsiteX772" fmla="*/ 2815763 w 5248218"/>
                <a:gd name="connsiteY772" fmla="*/ 3661980 h 4232411"/>
                <a:gd name="connsiteX773" fmla="*/ 2762562 w 5248218"/>
                <a:gd name="connsiteY773" fmla="*/ 3715180 h 4232411"/>
                <a:gd name="connsiteX774" fmla="*/ 2747785 w 5248218"/>
                <a:gd name="connsiteY774" fmla="*/ 2281719 h 4232411"/>
                <a:gd name="connsiteX775" fmla="*/ 2762565 w 5248218"/>
                <a:gd name="connsiteY775" fmla="*/ 2296495 h 4232411"/>
                <a:gd name="connsiteX776" fmla="*/ 2777341 w 5248218"/>
                <a:gd name="connsiteY776" fmla="*/ 2281719 h 4232411"/>
                <a:gd name="connsiteX777" fmla="*/ 2762565 w 5248218"/>
                <a:gd name="connsiteY777" fmla="*/ 2266939 h 4232411"/>
                <a:gd name="connsiteX778" fmla="*/ 2747785 w 5248218"/>
                <a:gd name="connsiteY778" fmla="*/ 2281719 h 4232411"/>
                <a:gd name="connsiteX779" fmla="*/ 2738917 w 5248218"/>
                <a:gd name="connsiteY779" fmla="*/ 3927983 h 4232411"/>
                <a:gd name="connsiteX780" fmla="*/ 2771430 w 5248218"/>
                <a:gd name="connsiteY780" fmla="*/ 3960496 h 4232411"/>
                <a:gd name="connsiteX781" fmla="*/ 2803940 w 5248218"/>
                <a:gd name="connsiteY781" fmla="*/ 3927983 h 4232411"/>
                <a:gd name="connsiteX782" fmla="*/ 2771430 w 5248218"/>
                <a:gd name="connsiteY782" fmla="*/ 3895474 h 4232411"/>
                <a:gd name="connsiteX783" fmla="*/ 2738917 w 5248218"/>
                <a:gd name="connsiteY783" fmla="*/ 3927983 h 4232411"/>
                <a:gd name="connsiteX784" fmla="*/ 2712318 w 5248218"/>
                <a:gd name="connsiteY784" fmla="*/ 3109285 h 4232411"/>
                <a:gd name="connsiteX785" fmla="*/ 2768473 w 5248218"/>
                <a:gd name="connsiteY785" fmla="*/ 3165443 h 4232411"/>
                <a:gd name="connsiteX786" fmla="*/ 2824631 w 5248218"/>
                <a:gd name="connsiteY786" fmla="*/ 3109285 h 4232411"/>
                <a:gd name="connsiteX787" fmla="*/ 2768473 w 5248218"/>
                <a:gd name="connsiteY787" fmla="*/ 3053130 h 4232411"/>
                <a:gd name="connsiteX788" fmla="*/ 2712318 w 5248218"/>
                <a:gd name="connsiteY788" fmla="*/ 3109285 h 4232411"/>
                <a:gd name="connsiteX789" fmla="*/ 2691628 w 5248218"/>
                <a:gd name="connsiteY789" fmla="*/ 2503387 h 4232411"/>
                <a:gd name="connsiteX790" fmla="*/ 2721183 w 5248218"/>
                <a:gd name="connsiteY790" fmla="*/ 2532942 h 4232411"/>
                <a:gd name="connsiteX791" fmla="*/ 2750739 w 5248218"/>
                <a:gd name="connsiteY791" fmla="*/ 2503387 h 4232411"/>
                <a:gd name="connsiteX792" fmla="*/ 2721183 w 5248218"/>
                <a:gd name="connsiteY792" fmla="*/ 2473831 h 4232411"/>
                <a:gd name="connsiteX793" fmla="*/ 2691628 w 5248218"/>
                <a:gd name="connsiteY793" fmla="*/ 2503387 h 4232411"/>
                <a:gd name="connsiteX794" fmla="*/ 2667613 w 5248218"/>
                <a:gd name="connsiteY794" fmla="*/ 1895645 h 4232411"/>
                <a:gd name="connsiteX795" fmla="*/ 2673894 w 5248218"/>
                <a:gd name="connsiteY795" fmla="*/ 1897492 h 4232411"/>
                <a:gd name="connsiteX796" fmla="*/ 2679805 w 5248218"/>
                <a:gd name="connsiteY796" fmla="*/ 1891580 h 4232411"/>
                <a:gd name="connsiteX797" fmla="*/ 2673894 w 5248218"/>
                <a:gd name="connsiteY797" fmla="*/ 1885669 h 4232411"/>
                <a:gd name="connsiteX798" fmla="*/ 2667983 w 5248218"/>
                <a:gd name="connsiteY798" fmla="*/ 1891580 h 4232411"/>
                <a:gd name="connsiteX799" fmla="*/ 2667613 w 5248218"/>
                <a:gd name="connsiteY799" fmla="*/ 1895645 h 4232411"/>
                <a:gd name="connsiteX800" fmla="*/ 2662072 w 5248218"/>
                <a:gd name="connsiteY800" fmla="*/ 3325045 h 4232411"/>
                <a:gd name="connsiteX801" fmla="*/ 2727095 w 5248218"/>
                <a:gd name="connsiteY801" fmla="*/ 3390068 h 4232411"/>
                <a:gd name="connsiteX802" fmla="*/ 2792118 w 5248218"/>
                <a:gd name="connsiteY802" fmla="*/ 3325045 h 4232411"/>
                <a:gd name="connsiteX803" fmla="*/ 2727095 w 5248218"/>
                <a:gd name="connsiteY803" fmla="*/ 3260022 h 4232411"/>
                <a:gd name="connsiteX804" fmla="*/ 2662072 w 5248218"/>
                <a:gd name="connsiteY804" fmla="*/ 3325045 h 4232411"/>
                <a:gd name="connsiteX805" fmla="*/ 2650249 w 5248218"/>
                <a:gd name="connsiteY805" fmla="*/ 2719146 h 4232411"/>
                <a:gd name="connsiteX806" fmla="*/ 2679805 w 5248218"/>
                <a:gd name="connsiteY806" fmla="*/ 2748702 h 4232411"/>
                <a:gd name="connsiteX807" fmla="*/ 2709361 w 5248218"/>
                <a:gd name="connsiteY807" fmla="*/ 2719146 h 4232411"/>
                <a:gd name="connsiteX808" fmla="*/ 2679805 w 5248218"/>
                <a:gd name="connsiteY808" fmla="*/ 2689591 h 4232411"/>
                <a:gd name="connsiteX809" fmla="*/ 2650249 w 5248218"/>
                <a:gd name="connsiteY809" fmla="*/ 2719146 h 4232411"/>
                <a:gd name="connsiteX810" fmla="*/ 2626604 w 5248218"/>
                <a:gd name="connsiteY810" fmla="*/ 3540802 h 4232411"/>
                <a:gd name="connsiteX811" fmla="*/ 2682762 w 5248218"/>
                <a:gd name="connsiteY811" fmla="*/ 3596956 h 4232411"/>
                <a:gd name="connsiteX812" fmla="*/ 2738917 w 5248218"/>
                <a:gd name="connsiteY812" fmla="*/ 3540802 h 4232411"/>
                <a:gd name="connsiteX813" fmla="*/ 2682762 w 5248218"/>
                <a:gd name="connsiteY813" fmla="*/ 3484644 h 4232411"/>
                <a:gd name="connsiteX814" fmla="*/ 2626604 w 5248218"/>
                <a:gd name="connsiteY814" fmla="*/ 3540802 h 4232411"/>
                <a:gd name="connsiteX815" fmla="*/ 2623650 w 5248218"/>
                <a:gd name="connsiteY815" fmla="*/ 2113252 h 4232411"/>
                <a:gd name="connsiteX816" fmla="*/ 2632516 w 5248218"/>
                <a:gd name="connsiteY816" fmla="*/ 2122117 h 4232411"/>
                <a:gd name="connsiteX817" fmla="*/ 2641384 w 5248218"/>
                <a:gd name="connsiteY817" fmla="*/ 2113252 h 4232411"/>
                <a:gd name="connsiteX818" fmla="*/ 2632516 w 5248218"/>
                <a:gd name="connsiteY818" fmla="*/ 2104383 h 4232411"/>
                <a:gd name="connsiteX819" fmla="*/ 2623650 w 5248218"/>
                <a:gd name="connsiteY819" fmla="*/ 2113252 h 4232411"/>
                <a:gd name="connsiteX820" fmla="*/ 2597049 w 5248218"/>
                <a:gd name="connsiteY820" fmla="*/ 2937860 h 4232411"/>
                <a:gd name="connsiteX821" fmla="*/ 2638427 w 5248218"/>
                <a:gd name="connsiteY821" fmla="*/ 2979239 h 4232411"/>
                <a:gd name="connsiteX822" fmla="*/ 2679805 w 5248218"/>
                <a:gd name="connsiteY822" fmla="*/ 2937860 h 4232411"/>
                <a:gd name="connsiteX823" fmla="*/ 2638427 w 5248218"/>
                <a:gd name="connsiteY823" fmla="*/ 2896482 h 4232411"/>
                <a:gd name="connsiteX824" fmla="*/ 2597049 w 5248218"/>
                <a:gd name="connsiteY824" fmla="*/ 2937860 h 4232411"/>
                <a:gd name="connsiteX825" fmla="*/ 2591137 w 5248218"/>
                <a:gd name="connsiteY825" fmla="*/ 3750650 h 4232411"/>
                <a:gd name="connsiteX826" fmla="*/ 2638427 w 5248218"/>
                <a:gd name="connsiteY826" fmla="*/ 3797940 h 4232411"/>
                <a:gd name="connsiteX827" fmla="*/ 2685716 w 5248218"/>
                <a:gd name="connsiteY827" fmla="*/ 3750650 h 4232411"/>
                <a:gd name="connsiteX828" fmla="*/ 2638427 w 5248218"/>
                <a:gd name="connsiteY828" fmla="*/ 3703361 h 4232411"/>
                <a:gd name="connsiteX829" fmla="*/ 2591137 w 5248218"/>
                <a:gd name="connsiteY829" fmla="*/ 3750650 h 4232411"/>
                <a:gd name="connsiteX830" fmla="*/ 2579315 w 5248218"/>
                <a:gd name="connsiteY830" fmla="*/ 2334920 h 4232411"/>
                <a:gd name="connsiteX831" fmla="*/ 2591137 w 5248218"/>
                <a:gd name="connsiteY831" fmla="*/ 2346742 h 4232411"/>
                <a:gd name="connsiteX832" fmla="*/ 2602960 w 5248218"/>
                <a:gd name="connsiteY832" fmla="*/ 2334920 h 4232411"/>
                <a:gd name="connsiteX833" fmla="*/ 2591137 w 5248218"/>
                <a:gd name="connsiteY833" fmla="*/ 2323097 h 4232411"/>
                <a:gd name="connsiteX834" fmla="*/ 2579315 w 5248218"/>
                <a:gd name="connsiteY834" fmla="*/ 2334920 h 4232411"/>
                <a:gd name="connsiteX835" fmla="*/ 2546805 w 5248218"/>
                <a:gd name="connsiteY835" fmla="*/ 3960496 h 4232411"/>
                <a:gd name="connsiteX836" fmla="*/ 2594094 w 5248218"/>
                <a:gd name="connsiteY836" fmla="*/ 4007786 h 4232411"/>
                <a:gd name="connsiteX837" fmla="*/ 2641384 w 5248218"/>
                <a:gd name="connsiteY837" fmla="*/ 3960496 h 4232411"/>
                <a:gd name="connsiteX838" fmla="*/ 2594094 w 5248218"/>
                <a:gd name="connsiteY838" fmla="*/ 3913207 h 4232411"/>
                <a:gd name="connsiteX839" fmla="*/ 2546805 w 5248218"/>
                <a:gd name="connsiteY839" fmla="*/ 3960496 h 4232411"/>
                <a:gd name="connsiteX840" fmla="*/ 2540894 w 5248218"/>
                <a:gd name="connsiteY840" fmla="*/ 3150664 h 4232411"/>
                <a:gd name="connsiteX841" fmla="*/ 2594094 w 5248218"/>
                <a:gd name="connsiteY841" fmla="*/ 3203864 h 4232411"/>
                <a:gd name="connsiteX842" fmla="*/ 2647295 w 5248218"/>
                <a:gd name="connsiteY842" fmla="*/ 3150664 h 4232411"/>
                <a:gd name="connsiteX843" fmla="*/ 2594094 w 5248218"/>
                <a:gd name="connsiteY843" fmla="*/ 3097463 h 4232411"/>
                <a:gd name="connsiteX844" fmla="*/ 2540894 w 5248218"/>
                <a:gd name="connsiteY844" fmla="*/ 3150664 h 4232411"/>
                <a:gd name="connsiteX845" fmla="*/ 2532025 w 5248218"/>
                <a:gd name="connsiteY845" fmla="*/ 2547722 h 4232411"/>
                <a:gd name="connsiteX846" fmla="*/ 2549759 w 5248218"/>
                <a:gd name="connsiteY846" fmla="*/ 2565456 h 4232411"/>
                <a:gd name="connsiteX847" fmla="*/ 2567493 w 5248218"/>
                <a:gd name="connsiteY847" fmla="*/ 2547722 h 4232411"/>
                <a:gd name="connsiteX848" fmla="*/ 2549759 w 5248218"/>
                <a:gd name="connsiteY848" fmla="*/ 2529988 h 4232411"/>
                <a:gd name="connsiteX849" fmla="*/ 2532025 w 5248218"/>
                <a:gd name="connsiteY849" fmla="*/ 2547722 h 4232411"/>
                <a:gd name="connsiteX850" fmla="*/ 2496558 w 5248218"/>
                <a:gd name="connsiteY850" fmla="*/ 1944781 h 4232411"/>
                <a:gd name="connsiteX851" fmla="*/ 2502470 w 5248218"/>
                <a:gd name="connsiteY851" fmla="*/ 1950692 h 4232411"/>
                <a:gd name="connsiteX852" fmla="*/ 2508381 w 5248218"/>
                <a:gd name="connsiteY852" fmla="*/ 1944781 h 4232411"/>
                <a:gd name="connsiteX853" fmla="*/ 2502470 w 5248218"/>
                <a:gd name="connsiteY853" fmla="*/ 1938870 h 4232411"/>
                <a:gd name="connsiteX854" fmla="*/ 2496558 w 5248218"/>
                <a:gd name="connsiteY854" fmla="*/ 1944781 h 4232411"/>
                <a:gd name="connsiteX855" fmla="*/ 2490647 w 5248218"/>
                <a:gd name="connsiteY855" fmla="*/ 3360509 h 4232411"/>
                <a:gd name="connsiteX856" fmla="*/ 2549759 w 5248218"/>
                <a:gd name="connsiteY856" fmla="*/ 3419621 h 4232411"/>
                <a:gd name="connsiteX857" fmla="*/ 2608871 w 5248218"/>
                <a:gd name="connsiteY857" fmla="*/ 3360509 h 4232411"/>
                <a:gd name="connsiteX858" fmla="*/ 2549759 w 5248218"/>
                <a:gd name="connsiteY858" fmla="*/ 3301397 h 4232411"/>
                <a:gd name="connsiteX859" fmla="*/ 2490647 w 5248218"/>
                <a:gd name="connsiteY859" fmla="*/ 3360509 h 4232411"/>
                <a:gd name="connsiteX860" fmla="*/ 2481782 w 5248218"/>
                <a:gd name="connsiteY860" fmla="*/ 2760525 h 4232411"/>
                <a:gd name="connsiteX861" fmla="*/ 2505427 w 5248218"/>
                <a:gd name="connsiteY861" fmla="*/ 2784170 h 4232411"/>
                <a:gd name="connsiteX862" fmla="*/ 2529071 w 5248218"/>
                <a:gd name="connsiteY862" fmla="*/ 2760525 h 4232411"/>
                <a:gd name="connsiteX863" fmla="*/ 2505427 w 5248218"/>
                <a:gd name="connsiteY863" fmla="*/ 2736880 h 4232411"/>
                <a:gd name="connsiteX864" fmla="*/ 2481782 w 5248218"/>
                <a:gd name="connsiteY864" fmla="*/ 2760525 h 4232411"/>
                <a:gd name="connsiteX865" fmla="*/ 2449269 w 5248218"/>
                <a:gd name="connsiteY865" fmla="*/ 2157584 h 4232411"/>
                <a:gd name="connsiteX866" fmla="*/ 2461091 w 5248218"/>
                <a:gd name="connsiteY866" fmla="*/ 2169406 h 4232411"/>
                <a:gd name="connsiteX867" fmla="*/ 2472914 w 5248218"/>
                <a:gd name="connsiteY867" fmla="*/ 2157584 h 4232411"/>
                <a:gd name="connsiteX868" fmla="*/ 2461091 w 5248218"/>
                <a:gd name="connsiteY868" fmla="*/ 2145762 h 4232411"/>
                <a:gd name="connsiteX869" fmla="*/ 2449269 w 5248218"/>
                <a:gd name="connsiteY869" fmla="*/ 2157584 h 4232411"/>
                <a:gd name="connsiteX870" fmla="*/ 2446315 w 5248218"/>
                <a:gd name="connsiteY870" fmla="*/ 3570358 h 4232411"/>
                <a:gd name="connsiteX871" fmla="*/ 2505427 w 5248218"/>
                <a:gd name="connsiteY871" fmla="*/ 3629470 h 4232411"/>
                <a:gd name="connsiteX872" fmla="*/ 2564539 w 5248218"/>
                <a:gd name="connsiteY872" fmla="*/ 3570358 h 4232411"/>
                <a:gd name="connsiteX873" fmla="*/ 2505427 w 5248218"/>
                <a:gd name="connsiteY873" fmla="*/ 3511246 h 4232411"/>
                <a:gd name="connsiteX874" fmla="*/ 2446315 w 5248218"/>
                <a:gd name="connsiteY874" fmla="*/ 3570358 h 4232411"/>
                <a:gd name="connsiteX875" fmla="*/ 2422670 w 5248218"/>
                <a:gd name="connsiteY875" fmla="*/ 2973331 h 4232411"/>
                <a:gd name="connsiteX876" fmla="*/ 2461094 w 5248218"/>
                <a:gd name="connsiteY876" fmla="*/ 3011752 h 4232411"/>
                <a:gd name="connsiteX877" fmla="*/ 2499515 w 5248218"/>
                <a:gd name="connsiteY877" fmla="*/ 2973331 h 4232411"/>
                <a:gd name="connsiteX878" fmla="*/ 2461094 w 5248218"/>
                <a:gd name="connsiteY878" fmla="*/ 2934906 h 4232411"/>
                <a:gd name="connsiteX879" fmla="*/ 2422670 w 5248218"/>
                <a:gd name="connsiteY879" fmla="*/ 2973331 h 4232411"/>
                <a:gd name="connsiteX880" fmla="*/ 2407890 w 5248218"/>
                <a:gd name="connsiteY880" fmla="*/ 2373344 h 4232411"/>
                <a:gd name="connsiteX881" fmla="*/ 2416759 w 5248218"/>
                <a:gd name="connsiteY881" fmla="*/ 2382209 h 4232411"/>
                <a:gd name="connsiteX882" fmla="*/ 2425624 w 5248218"/>
                <a:gd name="connsiteY882" fmla="*/ 2373344 h 4232411"/>
                <a:gd name="connsiteX883" fmla="*/ 2416759 w 5248218"/>
                <a:gd name="connsiteY883" fmla="*/ 2364476 h 4232411"/>
                <a:gd name="connsiteX884" fmla="*/ 2407890 w 5248218"/>
                <a:gd name="connsiteY884" fmla="*/ 2373344 h 4232411"/>
                <a:gd name="connsiteX885" fmla="*/ 2404933 w 5248218"/>
                <a:gd name="connsiteY885" fmla="*/ 3780204 h 4232411"/>
                <a:gd name="connsiteX886" fmla="*/ 2461091 w 5248218"/>
                <a:gd name="connsiteY886" fmla="*/ 3836362 h 4232411"/>
                <a:gd name="connsiteX887" fmla="*/ 2517246 w 5248218"/>
                <a:gd name="connsiteY887" fmla="*/ 3780204 h 4232411"/>
                <a:gd name="connsiteX888" fmla="*/ 2461091 w 5248218"/>
                <a:gd name="connsiteY888" fmla="*/ 3724049 h 4232411"/>
                <a:gd name="connsiteX889" fmla="*/ 2404933 w 5248218"/>
                <a:gd name="connsiteY889" fmla="*/ 3780204 h 4232411"/>
                <a:gd name="connsiteX890" fmla="*/ 2369469 w 5248218"/>
                <a:gd name="connsiteY890" fmla="*/ 3180220 h 4232411"/>
                <a:gd name="connsiteX891" fmla="*/ 2416759 w 5248218"/>
                <a:gd name="connsiteY891" fmla="*/ 3227509 h 4232411"/>
                <a:gd name="connsiteX892" fmla="*/ 2464048 w 5248218"/>
                <a:gd name="connsiteY892" fmla="*/ 3180220 h 4232411"/>
                <a:gd name="connsiteX893" fmla="*/ 2416759 w 5248218"/>
                <a:gd name="connsiteY893" fmla="*/ 3132930 h 4232411"/>
                <a:gd name="connsiteX894" fmla="*/ 2369469 w 5248218"/>
                <a:gd name="connsiteY894" fmla="*/ 3180220 h 4232411"/>
                <a:gd name="connsiteX895" fmla="*/ 2360601 w 5248218"/>
                <a:gd name="connsiteY895" fmla="*/ 3984141 h 4232411"/>
                <a:gd name="connsiteX896" fmla="*/ 2419713 w 5248218"/>
                <a:gd name="connsiteY896" fmla="*/ 4043253 h 4232411"/>
                <a:gd name="connsiteX897" fmla="*/ 2478825 w 5248218"/>
                <a:gd name="connsiteY897" fmla="*/ 3984141 h 4232411"/>
                <a:gd name="connsiteX898" fmla="*/ 2419713 w 5248218"/>
                <a:gd name="connsiteY898" fmla="*/ 3925029 h 4232411"/>
                <a:gd name="connsiteX899" fmla="*/ 2360601 w 5248218"/>
                <a:gd name="connsiteY899" fmla="*/ 3984141 h 4232411"/>
                <a:gd name="connsiteX900" fmla="*/ 2354690 w 5248218"/>
                <a:gd name="connsiteY900" fmla="*/ 2583190 h 4232411"/>
                <a:gd name="connsiteX901" fmla="*/ 2372423 w 5248218"/>
                <a:gd name="connsiteY901" fmla="*/ 2600923 h 4232411"/>
                <a:gd name="connsiteX902" fmla="*/ 2390157 w 5248218"/>
                <a:gd name="connsiteY902" fmla="*/ 2583190 h 4232411"/>
                <a:gd name="connsiteX903" fmla="*/ 2372423 w 5248218"/>
                <a:gd name="connsiteY903" fmla="*/ 2565456 h 4232411"/>
                <a:gd name="connsiteX904" fmla="*/ 2354690 w 5248218"/>
                <a:gd name="connsiteY904" fmla="*/ 2583190 h 4232411"/>
                <a:gd name="connsiteX905" fmla="*/ 2319223 w 5248218"/>
                <a:gd name="connsiteY905" fmla="*/ 1983205 h 4232411"/>
                <a:gd name="connsiteX906" fmla="*/ 2328088 w 5248218"/>
                <a:gd name="connsiteY906" fmla="*/ 1992070 h 4232411"/>
                <a:gd name="connsiteX907" fmla="*/ 2336956 w 5248218"/>
                <a:gd name="connsiteY907" fmla="*/ 1983205 h 4232411"/>
                <a:gd name="connsiteX908" fmla="*/ 2328088 w 5248218"/>
                <a:gd name="connsiteY908" fmla="*/ 1974337 h 4232411"/>
                <a:gd name="connsiteX909" fmla="*/ 2319223 w 5248218"/>
                <a:gd name="connsiteY909" fmla="*/ 1983205 h 4232411"/>
                <a:gd name="connsiteX910" fmla="*/ 2313311 w 5248218"/>
                <a:gd name="connsiteY910" fmla="*/ 3387111 h 4232411"/>
                <a:gd name="connsiteX911" fmla="*/ 2372423 w 5248218"/>
                <a:gd name="connsiteY911" fmla="*/ 3446223 h 4232411"/>
                <a:gd name="connsiteX912" fmla="*/ 2431535 w 5248218"/>
                <a:gd name="connsiteY912" fmla="*/ 3387111 h 4232411"/>
                <a:gd name="connsiteX913" fmla="*/ 2372423 w 5248218"/>
                <a:gd name="connsiteY913" fmla="*/ 3327999 h 4232411"/>
                <a:gd name="connsiteX914" fmla="*/ 2313311 w 5248218"/>
                <a:gd name="connsiteY914" fmla="*/ 3387111 h 4232411"/>
                <a:gd name="connsiteX915" fmla="*/ 2307400 w 5248218"/>
                <a:gd name="connsiteY915" fmla="*/ 2793035 h 4232411"/>
                <a:gd name="connsiteX916" fmla="*/ 2328091 w 5248218"/>
                <a:gd name="connsiteY916" fmla="*/ 2813726 h 4232411"/>
                <a:gd name="connsiteX917" fmla="*/ 2348779 w 5248218"/>
                <a:gd name="connsiteY917" fmla="*/ 2793035 h 4232411"/>
                <a:gd name="connsiteX918" fmla="*/ 2328091 w 5248218"/>
                <a:gd name="connsiteY918" fmla="*/ 2772348 h 4232411"/>
                <a:gd name="connsiteX919" fmla="*/ 2307400 w 5248218"/>
                <a:gd name="connsiteY919" fmla="*/ 2793035 h 4232411"/>
                <a:gd name="connsiteX920" fmla="*/ 2271933 w 5248218"/>
                <a:gd name="connsiteY920" fmla="*/ 2193051 h 4232411"/>
                <a:gd name="connsiteX921" fmla="*/ 2283756 w 5248218"/>
                <a:gd name="connsiteY921" fmla="*/ 2204873 h 4232411"/>
                <a:gd name="connsiteX922" fmla="*/ 2295578 w 5248218"/>
                <a:gd name="connsiteY922" fmla="*/ 2193051 h 4232411"/>
                <a:gd name="connsiteX923" fmla="*/ 2283756 w 5248218"/>
                <a:gd name="connsiteY923" fmla="*/ 2181228 h 4232411"/>
                <a:gd name="connsiteX924" fmla="*/ 2271933 w 5248218"/>
                <a:gd name="connsiteY924" fmla="*/ 2193051 h 4232411"/>
                <a:gd name="connsiteX925" fmla="*/ 2266022 w 5248218"/>
                <a:gd name="connsiteY925" fmla="*/ 3594006 h 4232411"/>
                <a:gd name="connsiteX926" fmla="*/ 2328091 w 5248218"/>
                <a:gd name="connsiteY926" fmla="*/ 3656072 h 4232411"/>
                <a:gd name="connsiteX927" fmla="*/ 2390157 w 5248218"/>
                <a:gd name="connsiteY927" fmla="*/ 3594006 h 4232411"/>
                <a:gd name="connsiteX928" fmla="*/ 2328091 w 5248218"/>
                <a:gd name="connsiteY928" fmla="*/ 3531936 h 4232411"/>
                <a:gd name="connsiteX929" fmla="*/ 2266022 w 5248218"/>
                <a:gd name="connsiteY929" fmla="*/ 3594006 h 4232411"/>
                <a:gd name="connsiteX930" fmla="*/ 2245334 w 5248218"/>
                <a:gd name="connsiteY930" fmla="*/ 2996972 h 4232411"/>
                <a:gd name="connsiteX931" fmla="*/ 2283756 w 5248218"/>
                <a:gd name="connsiteY931" fmla="*/ 3035397 h 4232411"/>
                <a:gd name="connsiteX932" fmla="*/ 2322180 w 5248218"/>
                <a:gd name="connsiteY932" fmla="*/ 2996972 h 4232411"/>
                <a:gd name="connsiteX933" fmla="*/ 2283756 w 5248218"/>
                <a:gd name="connsiteY933" fmla="*/ 2958552 h 4232411"/>
                <a:gd name="connsiteX934" fmla="*/ 2245334 w 5248218"/>
                <a:gd name="connsiteY934" fmla="*/ 2996972 h 4232411"/>
                <a:gd name="connsiteX935" fmla="*/ 2227598 w 5248218"/>
                <a:gd name="connsiteY935" fmla="*/ 3797937 h 4232411"/>
                <a:gd name="connsiteX936" fmla="*/ 2283756 w 5248218"/>
                <a:gd name="connsiteY936" fmla="*/ 3854095 h 4232411"/>
                <a:gd name="connsiteX937" fmla="*/ 2339910 w 5248218"/>
                <a:gd name="connsiteY937" fmla="*/ 3797937 h 4232411"/>
                <a:gd name="connsiteX938" fmla="*/ 2283756 w 5248218"/>
                <a:gd name="connsiteY938" fmla="*/ 3741782 h 4232411"/>
                <a:gd name="connsiteX939" fmla="*/ 2227598 w 5248218"/>
                <a:gd name="connsiteY939" fmla="*/ 3797937 h 4232411"/>
                <a:gd name="connsiteX940" fmla="*/ 2224644 w 5248218"/>
                <a:gd name="connsiteY940" fmla="*/ 2399942 h 4232411"/>
                <a:gd name="connsiteX941" fmla="*/ 2239423 w 5248218"/>
                <a:gd name="connsiteY941" fmla="*/ 2414719 h 4232411"/>
                <a:gd name="connsiteX942" fmla="*/ 2254200 w 5248218"/>
                <a:gd name="connsiteY942" fmla="*/ 2399942 h 4232411"/>
                <a:gd name="connsiteX943" fmla="*/ 2239423 w 5248218"/>
                <a:gd name="connsiteY943" fmla="*/ 2385163 h 4232411"/>
                <a:gd name="connsiteX944" fmla="*/ 2224644 w 5248218"/>
                <a:gd name="connsiteY944" fmla="*/ 2399942 h 4232411"/>
                <a:gd name="connsiteX945" fmla="*/ 2192134 w 5248218"/>
                <a:gd name="connsiteY945" fmla="*/ 1802916 h 4232411"/>
                <a:gd name="connsiteX946" fmla="*/ 2195088 w 5248218"/>
                <a:gd name="connsiteY946" fmla="*/ 1805870 h 4232411"/>
                <a:gd name="connsiteX947" fmla="*/ 2198045 w 5248218"/>
                <a:gd name="connsiteY947" fmla="*/ 1802916 h 4232411"/>
                <a:gd name="connsiteX948" fmla="*/ 2195088 w 5248218"/>
                <a:gd name="connsiteY948" fmla="*/ 1799958 h 4232411"/>
                <a:gd name="connsiteX949" fmla="*/ 2192134 w 5248218"/>
                <a:gd name="connsiteY949" fmla="*/ 1802916 h 4232411"/>
                <a:gd name="connsiteX950" fmla="*/ 2189176 w 5248218"/>
                <a:gd name="connsiteY950" fmla="*/ 4205812 h 4232411"/>
                <a:gd name="connsiteX951" fmla="*/ 2195088 w 5248218"/>
                <a:gd name="connsiteY951" fmla="*/ 4211724 h 4232411"/>
                <a:gd name="connsiteX952" fmla="*/ 2200999 w 5248218"/>
                <a:gd name="connsiteY952" fmla="*/ 4205812 h 4232411"/>
                <a:gd name="connsiteX953" fmla="*/ 2195088 w 5248218"/>
                <a:gd name="connsiteY953" fmla="*/ 4199901 h 4232411"/>
                <a:gd name="connsiteX954" fmla="*/ 2189176 w 5248218"/>
                <a:gd name="connsiteY954" fmla="*/ 4205812 h 4232411"/>
                <a:gd name="connsiteX955" fmla="*/ 2186222 w 5248218"/>
                <a:gd name="connsiteY955" fmla="*/ 3200910 h 4232411"/>
                <a:gd name="connsiteX956" fmla="*/ 2239423 w 5248218"/>
                <a:gd name="connsiteY956" fmla="*/ 3254111 h 4232411"/>
                <a:gd name="connsiteX957" fmla="*/ 2292624 w 5248218"/>
                <a:gd name="connsiteY957" fmla="*/ 3200910 h 4232411"/>
                <a:gd name="connsiteX958" fmla="*/ 2239423 w 5248218"/>
                <a:gd name="connsiteY958" fmla="*/ 3147710 h 4232411"/>
                <a:gd name="connsiteX959" fmla="*/ 2186222 w 5248218"/>
                <a:gd name="connsiteY959" fmla="*/ 3200910 h 4232411"/>
                <a:gd name="connsiteX960" fmla="*/ 2180311 w 5248218"/>
                <a:gd name="connsiteY960" fmla="*/ 4004832 h 4232411"/>
                <a:gd name="connsiteX961" fmla="*/ 2239423 w 5248218"/>
                <a:gd name="connsiteY961" fmla="*/ 4063944 h 4232411"/>
                <a:gd name="connsiteX962" fmla="*/ 2298535 w 5248218"/>
                <a:gd name="connsiteY962" fmla="*/ 4004832 h 4232411"/>
                <a:gd name="connsiteX963" fmla="*/ 2239423 w 5248218"/>
                <a:gd name="connsiteY963" fmla="*/ 3945720 h 4232411"/>
                <a:gd name="connsiteX964" fmla="*/ 2180311 w 5248218"/>
                <a:gd name="connsiteY964" fmla="*/ 4004832 h 4232411"/>
                <a:gd name="connsiteX965" fmla="*/ 2174397 w 5248218"/>
                <a:gd name="connsiteY965" fmla="*/ 2606834 h 4232411"/>
                <a:gd name="connsiteX966" fmla="*/ 2195088 w 5248218"/>
                <a:gd name="connsiteY966" fmla="*/ 2627525 h 4232411"/>
                <a:gd name="connsiteX967" fmla="*/ 2215775 w 5248218"/>
                <a:gd name="connsiteY967" fmla="*/ 2606834 h 4232411"/>
                <a:gd name="connsiteX968" fmla="*/ 2195088 w 5248218"/>
                <a:gd name="connsiteY968" fmla="*/ 2586146 h 4232411"/>
                <a:gd name="connsiteX969" fmla="*/ 2174397 w 5248218"/>
                <a:gd name="connsiteY969" fmla="*/ 2606834 h 4232411"/>
                <a:gd name="connsiteX970" fmla="*/ 2144841 w 5248218"/>
                <a:gd name="connsiteY970" fmla="*/ 2009804 h 4232411"/>
                <a:gd name="connsiteX971" fmla="*/ 2150752 w 5248218"/>
                <a:gd name="connsiteY971" fmla="*/ 2015715 h 4232411"/>
                <a:gd name="connsiteX972" fmla="*/ 2156663 w 5248218"/>
                <a:gd name="connsiteY972" fmla="*/ 2009804 h 4232411"/>
                <a:gd name="connsiteX973" fmla="*/ 2150752 w 5248218"/>
                <a:gd name="connsiteY973" fmla="*/ 2003893 h 4232411"/>
                <a:gd name="connsiteX974" fmla="*/ 2144841 w 5248218"/>
                <a:gd name="connsiteY974" fmla="*/ 2009804 h 4232411"/>
                <a:gd name="connsiteX975" fmla="*/ 2135976 w 5248218"/>
                <a:gd name="connsiteY975" fmla="*/ 3407802 h 4232411"/>
                <a:gd name="connsiteX976" fmla="*/ 2195088 w 5248218"/>
                <a:gd name="connsiteY976" fmla="*/ 3466914 h 4232411"/>
                <a:gd name="connsiteX977" fmla="*/ 2254200 w 5248218"/>
                <a:gd name="connsiteY977" fmla="*/ 3407802 h 4232411"/>
                <a:gd name="connsiteX978" fmla="*/ 2195088 w 5248218"/>
                <a:gd name="connsiteY978" fmla="*/ 3348690 h 4232411"/>
                <a:gd name="connsiteX979" fmla="*/ 2135976 w 5248218"/>
                <a:gd name="connsiteY979" fmla="*/ 3407802 h 4232411"/>
                <a:gd name="connsiteX980" fmla="*/ 2127111 w 5248218"/>
                <a:gd name="connsiteY980" fmla="*/ 2810772 h 4232411"/>
                <a:gd name="connsiteX981" fmla="*/ 2150755 w 5248218"/>
                <a:gd name="connsiteY981" fmla="*/ 2834416 h 4232411"/>
                <a:gd name="connsiteX982" fmla="*/ 2174400 w 5248218"/>
                <a:gd name="connsiteY982" fmla="*/ 2810772 h 4232411"/>
                <a:gd name="connsiteX983" fmla="*/ 2150755 w 5248218"/>
                <a:gd name="connsiteY983" fmla="*/ 2787127 h 4232411"/>
                <a:gd name="connsiteX984" fmla="*/ 2127111 w 5248218"/>
                <a:gd name="connsiteY984" fmla="*/ 2810772 h 4232411"/>
                <a:gd name="connsiteX985" fmla="*/ 2097555 w 5248218"/>
                <a:gd name="connsiteY985" fmla="*/ 2210788 h 4232411"/>
                <a:gd name="connsiteX986" fmla="*/ 2106423 w 5248218"/>
                <a:gd name="connsiteY986" fmla="*/ 2219653 h 4232411"/>
                <a:gd name="connsiteX987" fmla="*/ 2115288 w 5248218"/>
                <a:gd name="connsiteY987" fmla="*/ 2210788 h 4232411"/>
                <a:gd name="connsiteX988" fmla="*/ 2106423 w 5248218"/>
                <a:gd name="connsiteY988" fmla="*/ 2201919 h 4232411"/>
                <a:gd name="connsiteX989" fmla="*/ 2097555 w 5248218"/>
                <a:gd name="connsiteY989" fmla="*/ 2210788 h 4232411"/>
                <a:gd name="connsiteX990" fmla="*/ 2082775 w 5248218"/>
                <a:gd name="connsiteY990" fmla="*/ 3608782 h 4232411"/>
                <a:gd name="connsiteX991" fmla="*/ 2150755 w 5248218"/>
                <a:gd name="connsiteY991" fmla="*/ 3676760 h 4232411"/>
                <a:gd name="connsiteX992" fmla="*/ 2218732 w 5248218"/>
                <a:gd name="connsiteY992" fmla="*/ 3608782 h 4232411"/>
                <a:gd name="connsiteX993" fmla="*/ 2150755 w 5248218"/>
                <a:gd name="connsiteY993" fmla="*/ 3540802 h 4232411"/>
                <a:gd name="connsiteX994" fmla="*/ 2082775 w 5248218"/>
                <a:gd name="connsiteY994" fmla="*/ 3608782 h 4232411"/>
                <a:gd name="connsiteX995" fmla="*/ 2062087 w 5248218"/>
                <a:gd name="connsiteY995" fmla="*/ 3011752 h 4232411"/>
                <a:gd name="connsiteX996" fmla="*/ 2106423 w 5248218"/>
                <a:gd name="connsiteY996" fmla="*/ 3056084 h 4232411"/>
                <a:gd name="connsiteX997" fmla="*/ 2150755 w 5248218"/>
                <a:gd name="connsiteY997" fmla="*/ 3011752 h 4232411"/>
                <a:gd name="connsiteX998" fmla="*/ 2106423 w 5248218"/>
                <a:gd name="connsiteY998" fmla="*/ 2967416 h 4232411"/>
                <a:gd name="connsiteX999" fmla="*/ 2062087 w 5248218"/>
                <a:gd name="connsiteY999" fmla="*/ 3011752 h 4232411"/>
                <a:gd name="connsiteX1000" fmla="*/ 2050262 w 5248218"/>
                <a:gd name="connsiteY1000" fmla="*/ 2414722 h 4232411"/>
                <a:gd name="connsiteX1001" fmla="*/ 2062084 w 5248218"/>
                <a:gd name="connsiteY1001" fmla="*/ 2426544 h 4232411"/>
                <a:gd name="connsiteX1002" fmla="*/ 2073907 w 5248218"/>
                <a:gd name="connsiteY1002" fmla="*/ 2414722 h 4232411"/>
                <a:gd name="connsiteX1003" fmla="*/ 2062084 w 5248218"/>
                <a:gd name="connsiteY1003" fmla="*/ 2402900 h 4232411"/>
                <a:gd name="connsiteX1004" fmla="*/ 2050262 w 5248218"/>
                <a:gd name="connsiteY1004" fmla="*/ 2414722 h 4232411"/>
                <a:gd name="connsiteX1005" fmla="*/ 2047308 w 5248218"/>
                <a:gd name="connsiteY1005" fmla="*/ 3812716 h 4232411"/>
                <a:gd name="connsiteX1006" fmla="*/ 2106420 w 5248218"/>
                <a:gd name="connsiteY1006" fmla="*/ 3871828 h 4232411"/>
                <a:gd name="connsiteX1007" fmla="*/ 2165532 w 5248218"/>
                <a:gd name="connsiteY1007" fmla="*/ 3812716 h 4232411"/>
                <a:gd name="connsiteX1008" fmla="*/ 2106420 w 5248218"/>
                <a:gd name="connsiteY1008" fmla="*/ 3753604 h 4232411"/>
                <a:gd name="connsiteX1009" fmla="*/ 2047308 w 5248218"/>
                <a:gd name="connsiteY1009" fmla="*/ 3812716 h 4232411"/>
                <a:gd name="connsiteX1010" fmla="*/ 2008887 w 5248218"/>
                <a:gd name="connsiteY1010" fmla="*/ 3215686 h 4232411"/>
                <a:gd name="connsiteX1011" fmla="*/ 2062087 w 5248218"/>
                <a:gd name="connsiteY1011" fmla="*/ 3268888 h 4232411"/>
                <a:gd name="connsiteX1012" fmla="*/ 2115288 w 5248218"/>
                <a:gd name="connsiteY1012" fmla="*/ 3215686 h 4232411"/>
                <a:gd name="connsiteX1013" fmla="*/ 2062087 w 5248218"/>
                <a:gd name="connsiteY1013" fmla="*/ 3162486 h 4232411"/>
                <a:gd name="connsiteX1014" fmla="*/ 2008887 w 5248218"/>
                <a:gd name="connsiteY1014" fmla="*/ 3215686 h 4232411"/>
                <a:gd name="connsiteX1015" fmla="*/ 2005929 w 5248218"/>
                <a:gd name="connsiteY1015" fmla="*/ 4010740 h 4232411"/>
                <a:gd name="connsiteX1016" fmla="*/ 2062087 w 5248218"/>
                <a:gd name="connsiteY1016" fmla="*/ 4066898 h 4232411"/>
                <a:gd name="connsiteX1017" fmla="*/ 2118242 w 5248218"/>
                <a:gd name="connsiteY1017" fmla="*/ 4010740 h 4232411"/>
                <a:gd name="connsiteX1018" fmla="*/ 2062087 w 5248218"/>
                <a:gd name="connsiteY1018" fmla="*/ 3954585 h 4232411"/>
                <a:gd name="connsiteX1019" fmla="*/ 2005929 w 5248218"/>
                <a:gd name="connsiteY1019" fmla="*/ 4010740 h 4232411"/>
                <a:gd name="connsiteX1020" fmla="*/ 2002975 w 5248218"/>
                <a:gd name="connsiteY1020" fmla="*/ 2618660 h 4232411"/>
                <a:gd name="connsiteX1021" fmla="*/ 2017755 w 5248218"/>
                <a:gd name="connsiteY1021" fmla="*/ 2633436 h 4232411"/>
                <a:gd name="connsiteX1022" fmla="*/ 2032531 w 5248218"/>
                <a:gd name="connsiteY1022" fmla="*/ 2618660 h 4232411"/>
                <a:gd name="connsiteX1023" fmla="*/ 2017755 w 5248218"/>
                <a:gd name="connsiteY1023" fmla="*/ 2603880 h 4232411"/>
                <a:gd name="connsiteX1024" fmla="*/ 2002975 w 5248218"/>
                <a:gd name="connsiteY1024" fmla="*/ 2618660 h 4232411"/>
                <a:gd name="connsiteX1025" fmla="*/ 1997061 w 5248218"/>
                <a:gd name="connsiteY1025" fmla="*/ 4211720 h 4232411"/>
                <a:gd name="connsiteX1026" fmla="*/ 2017752 w 5248218"/>
                <a:gd name="connsiteY1026" fmla="*/ 4232411 h 4232411"/>
                <a:gd name="connsiteX1027" fmla="*/ 2038440 w 5248218"/>
                <a:gd name="connsiteY1027" fmla="*/ 4211720 h 4232411"/>
                <a:gd name="connsiteX1028" fmla="*/ 2017752 w 5248218"/>
                <a:gd name="connsiteY1028" fmla="*/ 4191032 h 4232411"/>
                <a:gd name="connsiteX1029" fmla="*/ 1997061 w 5248218"/>
                <a:gd name="connsiteY1029" fmla="*/ 4211720 h 4232411"/>
                <a:gd name="connsiteX1030" fmla="*/ 1967138 w 5248218"/>
                <a:gd name="connsiteY1030" fmla="*/ 2025691 h 4232411"/>
                <a:gd name="connsiteX1031" fmla="*/ 1973420 w 5248218"/>
                <a:gd name="connsiteY1031" fmla="*/ 2027538 h 4232411"/>
                <a:gd name="connsiteX1032" fmla="*/ 1979331 w 5248218"/>
                <a:gd name="connsiteY1032" fmla="*/ 2021626 h 4232411"/>
                <a:gd name="connsiteX1033" fmla="*/ 1973420 w 5248218"/>
                <a:gd name="connsiteY1033" fmla="*/ 2015715 h 4232411"/>
                <a:gd name="connsiteX1034" fmla="*/ 1967508 w 5248218"/>
                <a:gd name="connsiteY1034" fmla="*/ 2021626 h 4232411"/>
                <a:gd name="connsiteX1035" fmla="*/ 1967138 w 5248218"/>
                <a:gd name="connsiteY1035" fmla="*/ 2025691 h 4232411"/>
                <a:gd name="connsiteX1036" fmla="*/ 1961594 w 5248218"/>
                <a:gd name="connsiteY1036" fmla="*/ 3416667 h 4232411"/>
                <a:gd name="connsiteX1037" fmla="*/ 2017752 w 5248218"/>
                <a:gd name="connsiteY1037" fmla="*/ 3472822 h 4232411"/>
                <a:gd name="connsiteX1038" fmla="*/ 2073907 w 5248218"/>
                <a:gd name="connsiteY1038" fmla="*/ 3416667 h 4232411"/>
                <a:gd name="connsiteX1039" fmla="*/ 2017752 w 5248218"/>
                <a:gd name="connsiteY1039" fmla="*/ 3360509 h 4232411"/>
                <a:gd name="connsiteX1040" fmla="*/ 1961594 w 5248218"/>
                <a:gd name="connsiteY1040" fmla="*/ 3416667 h 4232411"/>
                <a:gd name="connsiteX1041" fmla="*/ 1946818 w 5248218"/>
                <a:gd name="connsiteY1041" fmla="*/ 2816683 h 4232411"/>
                <a:gd name="connsiteX1042" fmla="*/ 1973420 w 5248218"/>
                <a:gd name="connsiteY1042" fmla="*/ 2843282 h 4232411"/>
                <a:gd name="connsiteX1043" fmla="*/ 2000018 w 5248218"/>
                <a:gd name="connsiteY1043" fmla="*/ 2816683 h 4232411"/>
                <a:gd name="connsiteX1044" fmla="*/ 1973420 w 5248218"/>
                <a:gd name="connsiteY1044" fmla="*/ 2790081 h 4232411"/>
                <a:gd name="connsiteX1045" fmla="*/ 1946818 w 5248218"/>
                <a:gd name="connsiteY1045" fmla="*/ 2816683 h 4232411"/>
                <a:gd name="connsiteX1046" fmla="*/ 1917262 w 5248218"/>
                <a:gd name="connsiteY1046" fmla="*/ 2219653 h 4232411"/>
                <a:gd name="connsiteX1047" fmla="*/ 1926130 w 5248218"/>
                <a:gd name="connsiteY1047" fmla="*/ 2228518 h 4232411"/>
                <a:gd name="connsiteX1048" fmla="*/ 1934995 w 5248218"/>
                <a:gd name="connsiteY1048" fmla="*/ 2219653 h 4232411"/>
                <a:gd name="connsiteX1049" fmla="*/ 1926130 w 5248218"/>
                <a:gd name="connsiteY1049" fmla="*/ 2210784 h 4232411"/>
                <a:gd name="connsiteX1050" fmla="*/ 1917262 w 5248218"/>
                <a:gd name="connsiteY1050" fmla="*/ 2219653 h 4232411"/>
                <a:gd name="connsiteX1051" fmla="*/ 1905439 w 5248218"/>
                <a:gd name="connsiteY1051" fmla="*/ 3614694 h 4232411"/>
                <a:gd name="connsiteX1052" fmla="*/ 1973420 w 5248218"/>
                <a:gd name="connsiteY1052" fmla="*/ 3682670 h 4232411"/>
                <a:gd name="connsiteX1053" fmla="*/ 2041397 w 5248218"/>
                <a:gd name="connsiteY1053" fmla="*/ 3614694 h 4232411"/>
                <a:gd name="connsiteX1054" fmla="*/ 1973420 w 5248218"/>
                <a:gd name="connsiteY1054" fmla="*/ 3546713 h 4232411"/>
                <a:gd name="connsiteX1055" fmla="*/ 1905439 w 5248218"/>
                <a:gd name="connsiteY1055" fmla="*/ 3614694 h 4232411"/>
                <a:gd name="connsiteX1056" fmla="*/ 1881795 w 5248218"/>
                <a:gd name="connsiteY1056" fmla="*/ 3017664 h 4232411"/>
                <a:gd name="connsiteX1057" fmla="*/ 1926130 w 5248218"/>
                <a:gd name="connsiteY1057" fmla="*/ 3061996 h 4232411"/>
                <a:gd name="connsiteX1058" fmla="*/ 1970462 w 5248218"/>
                <a:gd name="connsiteY1058" fmla="*/ 3017664 h 4232411"/>
                <a:gd name="connsiteX1059" fmla="*/ 1926130 w 5248218"/>
                <a:gd name="connsiteY1059" fmla="*/ 2973328 h 4232411"/>
                <a:gd name="connsiteX1060" fmla="*/ 1881795 w 5248218"/>
                <a:gd name="connsiteY1060" fmla="*/ 3017664 h 4232411"/>
                <a:gd name="connsiteX1061" fmla="*/ 1869972 w 5248218"/>
                <a:gd name="connsiteY1061" fmla="*/ 2417676 h 4232411"/>
                <a:gd name="connsiteX1062" fmla="*/ 1881795 w 5248218"/>
                <a:gd name="connsiteY1062" fmla="*/ 2429498 h 4232411"/>
                <a:gd name="connsiteX1063" fmla="*/ 1893617 w 5248218"/>
                <a:gd name="connsiteY1063" fmla="*/ 2417676 h 4232411"/>
                <a:gd name="connsiteX1064" fmla="*/ 1881795 w 5248218"/>
                <a:gd name="connsiteY1064" fmla="*/ 2405854 h 4232411"/>
                <a:gd name="connsiteX1065" fmla="*/ 1869972 w 5248218"/>
                <a:gd name="connsiteY1065" fmla="*/ 2417676 h 4232411"/>
                <a:gd name="connsiteX1066" fmla="*/ 1867018 w 5248218"/>
                <a:gd name="connsiteY1066" fmla="*/ 3815674 h 4232411"/>
                <a:gd name="connsiteX1067" fmla="*/ 1926130 w 5248218"/>
                <a:gd name="connsiteY1067" fmla="*/ 3874786 h 4232411"/>
                <a:gd name="connsiteX1068" fmla="*/ 1985242 w 5248218"/>
                <a:gd name="connsiteY1068" fmla="*/ 3815674 h 4232411"/>
                <a:gd name="connsiteX1069" fmla="*/ 1926130 w 5248218"/>
                <a:gd name="connsiteY1069" fmla="*/ 3756562 h 4232411"/>
                <a:gd name="connsiteX1070" fmla="*/ 1867018 w 5248218"/>
                <a:gd name="connsiteY1070" fmla="*/ 3815674 h 4232411"/>
                <a:gd name="connsiteX1071" fmla="*/ 1828594 w 5248218"/>
                <a:gd name="connsiteY1071" fmla="*/ 3218644 h 4232411"/>
                <a:gd name="connsiteX1072" fmla="*/ 1881795 w 5248218"/>
                <a:gd name="connsiteY1072" fmla="*/ 3271844 h 4232411"/>
                <a:gd name="connsiteX1073" fmla="*/ 1934995 w 5248218"/>
                <a:gd name="connsiteY1073" fmla="*/ 3218644 h 4232411"/>
                <a:gd name="connsiteX1074" fmla="*/ 1881795 w 5248218"/>
                <a:gd name="connsiteY1074" fmla="*/ 3165443 h 4232411"/>
                <a:gd name="connsiteX1075" fmla="*/ 1828594 w 5248218"/>
                <a:gd name="connsiteY1075" fmla="*/ 3218644 h 4232411"/>
                <a:gd name="connsiteX1076" fmla="*/ 1825640 w 5248218"/>
                <a:gd name="connsiteY1076" fmla="*/ 4013697 h 4232411"/>
                <a:gd name="connsiteX1077" fmla="*/ 1881795 w 5248218"/>
                <a:gd name="connsiteY1077" fmla="*/ 4069852 h 4232411"/>
                <a:gd name="connsiteX1078" fmla="*/ 1937952 w 5248218"/>
                <a:gd name="connsiteY1078" fmla="*/ 4013697 h 4232411"/>
                <a:gd name="connsiteX1079" fmla="*/ 1881795 w 5248218"/>
                <a:gd name="connsiteY1079" fmla="*/ 3957539 h 4232411"/>
                <a:gd name="connsiteX1080" fmla="*/ 1825640 w 5248218"/>
                <a:gd name="connsiteY1080" fmla="*/ 4013697 h 4232411"/>
                <a:gd name="connsiteX1081" fmla="*/ 1816771 w 5248218"/>
                <a:gd name="connsiteY1081" fmla="*/ 4211724 h 4232411"/>
                <a:gd name="connsiteX1082" fmla="*/ 1837462 w 5248218"/>
                <a:gd name="connsiteY1082" fmla="*/ 4232411 h 4232411"/>
                <a:gd name="connsiteX1083" fmla="*/ 1858150 w 5248218"/>
                <a:gd name="connsiteY1083" fmla="*/ 4211724 h 4232411"/>
                <a:gd name="connsiteX1084" fmla="*/ 1837462 w 5248218"/>
                <a:gd name="connsiteY1084" fmla="*/ 4191032 h 4232411"/>
                <a:gd name="connsiteX1085" fmla="*/ 1816771 w 5248218"/>
                <a:gd name="connsiteY1085" fmla="*/ 4211724 h 4232411"/>
                <a:gd name="connsiteX1086" fmla="*/ 1816771 w 5248218"/>
                <a:gd name="connsiteY1086" fmla="*/ 2618656 h 4232411"/>
                <a:gd name="connsiteX1087" fmla="*/ 1837459 w 5248218"/>
                <a:gd name="connsiteY1087" fmla="*/ 2639344 h 4232411"/>
                <a:gd name="connsiteX1088" fmla="*/ 1858150 w 5248218"/>
                <a:gd name="connsiteY1088" fmla="*/ 2618656 h 4232411"/>
                <a:gd name="connsiteX1089" fmla="*/ 1837459 w 5248218"/>
                <a:gd name="connsiteY1089" fmla="*/ 2597966 h 4232411"/>
                <a:gd name="connsiteX1090" fmla="*/ 1816771 w 5248218"/>
                <a:gd name="connsiteY1090" fmla="*/ 2618656 h 4232411"/>
                <a:gd name="connsiteX1091" fmla="*/ 1787216 w 5248218"/>
                <a:gd name="connsiteY1091" fmla="*/ 2015715 h 4232411"/>
                <a:gd name="connsiteX1092" fmla="*/ 1793127 w 5248218"/>
                <a:gd name="connsiteY1092" fmla="*/ 2021626 h 4232411"/>
                <a:gd name="connsiteX1093" fmla="*/ 1799038 w 5248218"/>
                <a:gd name="connsiteY1093" fmla="*/ 2015715 h 4232411"/>
                <a:gd name="connsiteX1094" fmla="*/ 1793127 w 5248218"/>
                <a:gd name="connsiteY1094" fmla="*/ 2009804 h 4232411"/>
                <a:gd name="connsiteX1095" fmla="*/ 1787216 w 5248218"/>
                <a:gd name="connsiteY1095" fmla="*/ 2015715 h 4232411"/>
                <a:gd name="connsiteX1096" fmla="*/ 1775393 w 5248218"/>
                <a:gd name="connsiteY1096" fmla="*/ 3416670 h 4232411"/>
                <a:gd name="connsiteX1097" fmla="*/ 1837462 w 5248218"/>
                <a:gd name="connsiteY1097" fmla="*/ 3478736 h 4232411"/>
                <a:gd name="connsiteX1098" fmla="*/ 1899528 w 5248218"/>
                <a:gd name="connsiteY1098" fmla="*/ 3416670 h 4232411"/>
                <a:gd name="connsiteX1099" fmla="*/ 1837462 w 5248218"/>
                <a:gd name="connsiteY1099" fmla="*/ 3354601 h 4232411"/>
                <a:gd name="connsiteX1100" fmla="*/ 1775393 w 5248218"/>
                <a:gd name="connsiteY1100" fmla="*/ 3416670 h 4232411"/>
                <a:gd name="connsiteX1101" fmla="*/ 1760614 w 5248218"/>
                <a:gd name="connsiteY1101" fmla="*/ 2816683 h 4232411"/>
                <a:gd name="connsiteX1102" fmla="*/ 1793127 w 5248218"/>
                <a:gd name="connsiteY1102" fmla="*/ 2849193 h 4232411"/>
                <a:gd name="connsiteX1103" fmla="*/ 1825637 w 5248218"/>
                <a:gd name="connsiteY1103" fmla="*/ 2816683 h 4232411"/>
                <a:gd name="connsiteX1104" fmla="*/ 1793127 w 5248218"/>
                <a:gd name="connsiteY1104" fmla="*/ 2784170 h 4232411"/>
                <a:gd name="connsiteX1105" fmla="*/ 1760614 w 5248218"/>
                <a:gd name="connsiteY1105" fmla="*/ 2816683 h 4232411"/>
                <a:gd name="connsiteX1106" fmla="*/ 1736972 w 5248218"/>
                <a:gd name="connsiteY1106" fmla="*/ 2213742 h 4232411"/>
                <a:gd name="connsiteX1107" fmla="*/ 1748794 w 5248218"/>
                <a:gd name="connsiteY1107" fmla="*/ 2225564 h 4232411"/>
                <a:gd name="connsiteX1108" fmla="*/ 1760616 w 5248218"/>
                <a:gd name="connsiteY1108" fmla="*/ 2213742 h 4232411"/>
                <a:gd name="connsiteX1109" fmla="*/ 1748794 w 5248218"/>
                <a:gd name="connsiteY1109" fmla="*/ 2201919 h 4232411"/>
                <a:gd name="connsiteX1110" fmla="*/ 1736972 w 5248218"/>
                <a:gd name="connsiteY1110" fmla="*/ 2213742 h 4232411"/>
                <a:gd name="connsiteX1111" fmla="*/ 1728104 w 5248218"/>
                <a:gd name="connsiteY1111" fmla="*/ 3611736 h 4232411"/>
                <a:gd name="connsiteX1112" fmla="*/ 1793127 w 5248218"/>
                <a:gd name="connsiteY1112" fmla="*/ 3676760 h 4232411"/>
                <a:gd name="connsiteX1113" fmla="*/ 1858150 w 5248218"/>
                <a:gd name="connsiteY1113" fmla="*/ 3611736 h 4232411"/>
                <a:gd name="connsiteX1114" fmla="*/ 1793127 w 5248218"/>
                <a:gd name="connsiteY1114" fmla="*/ 3546713 h 4232411"/>
                <a:gd name="connsiteX1115" fmla="*/ 1728104 w 5248218"/>
                <a:gd name="connsiteY1115" fmla="*/ 3611736 h 4232411"/>
                <a:gd name="connsiteX1116" fmla="*/ 1701502 w 5248218"/>
                <a:gd name="connsiteY1116" fmla="*/ 3011752 h 4232411"/>
                <a:gd name="connsiteX1117" fmla="*/ 1748791 w 5248218"/>
                <a:gd name="connsiteY1117" fmla="*/ 3059042 h 4232411"/>
                <a:gd name="connsiteX1118" fmla="*/ 1796081 w 5248218"/>
                <a:gd name="connsiteY1118" fmla="*/ 3011752 h 4232411"/>
                <a:gd name="connsiteX1119" fmla="*/ 1748791 w 5248218"/>
                <a:gd name="connsiteY1119" fmla="*/ 2964462 h 4232411"/>
                <a:gd name="connsiteX1120" fmla="*/ 1701502 w 5248218"/>
                <a:gd name="connsiteY1120" fmla="*/ 3011752 h 4232411"/>
                <a:gd name="connsiteX1121" fmla="*/ 1695590 w 5248218"/>
                <a:gd name="connsiteY1121" fmla="*/ 3812716 h 4232411"/>
                <a:gd name="connsiteX1122" fmla="*/ 1748791 w 5248218"/>
                <a:gd name="connsiteY1122" fmla="*/ 3865918 h 4232411"/>
                <a:gd name="connsiteX1123" fmla="*/ 1801992 w 5248218"/>
                <a:gd name="connsiteY1123" fmla="*/ 3812716 h 4232411"/>
                <a:gd name="connsiteX1124" fmla="*/ 1748791 w 5248218"/>
                <a:gd name="connsiteY1124" fmla="*/ 3759516 h 4232411"/>
                <a:gd name="connsiteX1125" fmla="*/ 1695590 w 5248218"/>
                <a:gd name="connsiteY1125" fmla="*/ 3812716 h 4232411"/>
                <a:gd name="connsiteX1126" fmla="*/ 1689682 w 5248218"/>
                <a:gd name="connsiteY1126" fmla="*/ 2408811 h 4232411"/>
                <a:gd name="connsiteX1127" fmla="*/ 1704462 w 5248218"/>
                <a:gd name="connsiteY1127" fmla="*/ 2423588 h 4232411"/>
                <a:gd name="connsiteX1128" fmla="*/ 1719238 w 5248218"/>
                <a:gd name="connsiteY1128" fmla="*/ 2408811 h 4232411"/>
                <a:gd name="connsiteX1129" fmla="*/ 1704462 w 5248218"/>
                <a:gd name="connsiteY1129" fmla="*/ 2394031 h 4232411"/>
                <a:gd name="connsiteX1130" fmla="*/ 1689682 w 5248218"/>
                <a:gd name="connsiteY1130" fmla="*/ 2408811 h 4232411"/>
                <a:gd name="connsiteX1131" fmla="*/ 1645347 w 5248218"/>
                <a:gd name="connsiteY1131" fmla="*/ 3206822 h 4232411"/>
                <a:gd name="connsiteX1132" fmla="*/ 1704459 w 5248218"/>
                <a:gd name="connsiteY1132" fmla="*/ 3265933 h 4232411"/>
                <a:gd name="connsiteX1133" fmla="*/ 1763571 w 5248218"/>
                <a:gd name="connsiteY1133" fmla="*/ 3206822 h 4232411"/>
                <a:gd name="connsiteX1134" fmla="*/ 1704459 w 5248218"/>
                <a:gd name="connsiteY1134" fmla="*/ 3147710 h 4232411"/>
                <a:gd name="connsiteX1135" fmla="*/ 1645347 w 5248218"/>
                <a:gd name="connsiteY1135" fmla="*/ 3206822 h 4232411"/>
                <a:gd name="connsiteX1136" fmla="*/ 1642390 w 5248218"/>
                <a:gd name="connsiteY1136" fmla="*/ 4202855 h 4232411"/>
                <a:gd name="connsiteX1137" fmla="*/ 1660123 w 5248218"/>
                <a:gd name="connsiteY1137" fmla="*/ 4220588 h 4232411"/>
                <a:gd name="connsiteX1138" fmla="*/ 1677857 w 5248218"/>
                <a:gd name="connsiteY1138" fmla="*/ 4202855 h 4232411"/>
                <a:gd name="connsiteX1139" fmla="*/ 1660123 w 5248218"/>
                <a:gd name="connsiteY1139" fmla="*/ 4185122 h 4232411"/>
                <a:gd name="connsiteX1140" fmla="*/ 1642390 w 5248218"/>
                <a:gd name="connsiteY1140" fmla="*/ 4202855 h 4232411"/>
                <a:gd name="connsiteX1141" fmla="*/ 1642390 w 5248218"/>
                <a:gd name="connsiteY1141" fmla="*/ 4007789 h 4232411"/>
                <a:gd name="connsiteX1142" fmla="*/ 1704459 w 5248218"/>
                <a:gd name="connsiteY1142" fmla="*/ 4069855 h 4232411"/>
                <a:gd name="connsiteX1143" fmla="*/ 1766525 w 5248218"/>
                <a:gd name="connsiteY1143" fmla="*/ 4007789 h 4232411"/>
                <a:gd name="connsiteX1144" fmla="*/ 1704459 w 5248218"/>
                <a:gd name="connsiteY1144" fmla="*/ 3945720 h 4232411"/>
                <a:gd name="connsiteX1145" fmla="*/ 1642390 w 5248218"/>
                <a:gd name="connsiteY1145" fmla="*/ 4007789 h 4232411"/>
                <a:gd name="connsiteX1146" fmla="*/ 1636479 w 5248218"/>
                <a:gd name="connsiteY1146" fmla="*/ 2606834 h 4232411"/>
                <a:gd name="connsiteX1147" fmla="*/ 1660123 w 5248218"/>
                <a:gd name="connsiteY1147" fmla="*/ 2630479 h 4232411"/>
                <a:gd name="connsiteX1148" fmla="*/ 1683768 w 5248218"/>
                <a:gd name="connsiteY1148" fmla="*/ 2606834 h 4232411"/>
                <a:gd name="connsiteX1149" fmla="*/ 1660123 w 5248218"/>
                <a:gd name="connsiteY1149" fmla="*/ 2583190 h 4232411"/>
                <a:gd name="connsiteX1150" fmla="*/ 1636479 w 5248218"/>
                <a:gd name="connsiteY1150" fmla="*/ 2606834 h 4232411"/>
                <a:gd name="connsiteX1151" fmla="*/ 1609880 w 5248218"/>
                <a:gd name="connsiteY1151" fmla="*/ 1997982 h 4232411"/>
                <a:gd name="connsiteX1152" fmla="*/ 1615791 w 5248218"/>
                <a:gd name="connsiteY1152" fmla="*/ 2003893 h 4232411"/>
                <a:gd name="connsiteX1153" fmla="*/ 1621702 w 5248218"/>
                <a:gd name="connsiteY1153" fmla="*/ 1997982 h 4232411"/>
                <a:gd name="connsiteX1154" fmla="*/ 1615791 w 5248218"/>
                <a:gd name="connsiteY1154" fmla="*/ 1992070 h 4232411"/>
                <a:gd name="connsiteX1155" fmla="*/ 1609880 w 5248218"/>
                <a:gd name="connsiteY1155" fmla="*/ 1997982 h 4232411"/>
                <a:gd name="connsiteX1156" fmla="*/ 1601015 w 5248218"/>
                <a:gd name="connsiteY1156" fmla="*/ 3404844 h 4232411"/>
                <a:gd name="connsiteX1157" fmla="*/ 1660127 w 5248218"/>
                <a:gd name="connsiteY1157" fmla="*/ 3463956 h 4232411"/>
                <a:gd name="connsiteX1158" fmla="*/ 1719238 w 5248218"/>
                <a:gd name="connsiteY1158" fmla="*/ 3404844 h 4232411"/>
                <a:gd name="connsiteX1159" fmla="*/ 1660127 w 5248218"/>
                <a:gd name="connsiteY1159" fmla="*/ 3345732 h 4232411"/>
                <a:gd name="connsiteX1160" fmla="*/ 1601015 w 5248218"/>
                <a:gd name="connsiteY1160" fmla="*/ 3404844 h 4232411"/>
                <a:gd name="connsiteX1161" fmla="*/ 1583278 w 5248218"/>
                <a:gd name="connsiteY1161" fmla="*/ 2801904 h 4232411"/>
                <a:gd name="connsiteX1162" fmla="*/ 1615791 w 5248218"/>
                <a:gd name="connsiteY1162" fmla="*/ 2834414 h 4232411"/>
                <a:gd name="connsiteX1163" fmla="*/ 1648301 w 5248218"/>
                <a:gd name="connsiteY1163" fmla="*/ 2801904 h 4232411"/>
                <a:gd name="connsiteX1164" fmla="*/ 1615791 w 5248218"/>
                <a:gd name="connsiteY1164" fmla="*/ 2769390 h 4232411"/>
                <a:gd name="connsiteX1165" fmla="*/ 1583278 w 5248218"/>
                <a:gd name="connsiteY1165" fmla="*/ 2801904 h 4232411"/>
                <a:gd name="connsiteX1166" fmla="*/ 1568502 w 5248218"/>
                <a:gd name="connsiteY1166" fmla="*/ 3602871 h 4232411"/>
                <a:gd name="connsiteX1167" fmla="*/ 1615791 w 5248218"/>
                <a:gd name="connsiteY1167" fmla="*/ 3650160 h 4232411"/>
                <a:gd name="connsiteX1168" fmla="*/ 1663081 w 5248218"/>
                <a:gd name="connsiteY1168" fmla="*/ 3602871 h 4232411"/>
                <a:gd name="connsiteX1169" fmla="*/ 1615791 w 5248218"/>
                <a:gd name="connsiteY1169" fmla="*/ 3555582 h 4232411"/>
                <a:gd name="connsiteX1170" fmla="*/ 1568502 w 5248218"/>
                <a:gd name="connsiteY1170" fmla="*/ 3602871 h 4232411"/>
                <a:gd name="connsiteX1171" fmla="*/ 1562590 w 5248218"/>
                <a:gd name="connsiteY1171" fmla="*/ 2193051 h 4232411"/>
                <a:gd name="connsiteX1172" fmla="*/ 1571459 w 5248218"/>
                <a:gd name="connsiteY1172" fmla="*/ 2201916 h 4232411"/>
                <a:gd name="connsiteX1173" fmla="*/ 1580324 w 5248218"/>
                <a:gd name="connsiteY1173" fmla="*/ 2193051 h 4232411"/>
                <a:gd name="connsiteX1174" fmla="*/ 1571459 w 5248218"/>
                <a:gd name="connsiteY1174" fmla="*/ 2184182 h 4232411"/>
                <a:gd name="connsiteX1175" fmla="*/ 1562590 w 5248218"/>
                <a:gd name="connsiteY1175" fmla="*/ 2193051 h 4232411"/>
                <a:gd name="connsiteX1176" fmla="*/ 1527123 w 5248218"/>
                <a:gd name="connsiteY1176" fmla="*/ 2999930 h 4232411"/>
                <a:gd name="connsiteX1177" fmla="*/ 1571456 w 5248218"/>
                <a:gd name="connsiteY1177" fmla="*/ 3044262 h 4232411"/>
                <a:gd name="connsiteX1178" fmla="*/ 1615791 w 5248218"/>
                <a:gd name="connsiteY1178" fmla="*/ 2999930 h 4232411"/>
                <a:gd name="connsiteX1179" fmla="*/ 1571456 w 5248218"/>
                <a:gd name="connsiteY1179" fmla="*/ 2955594 h 4232411"/>
                <a:gd name="connsiteX1180" fmla="*/ 1527123 w 5248218"/>
                <a:gd name="connsiteY1180" fmla="*/ 2999930 h 4232411"/>
                <a:gd name="connsiteX1181" fmla="*/ 1509390 w 5248218"/>
                <a:gd name="connsiteY1181" fmla="*/ 3797940 h 4232411"/>
                <a:gd name="connsiteX1182" fmla="*/ 1571459 w 5248218"/>
                <a:gd name="connsiteY1182" fmla="*/ 3860006 h 4232411"/>
                <a:gd name="connsiteX1183" fmla="*/ 1633525 w 5248218"/>
                <a:gd name="connsiteY1183" fmla="*/ 3797940 h 4232411"/>
                <a:gd name="connsiteX1184" fmla="*/ 1571459 w 5248218"/>
                <a:gd name="connsiteY1184" fmla="*/ 3735871 h 4232411"/>
                <a:gd name="connsiteX1185" fmla="*/ 1509390 w 5248218"/>
                <a:gd name="connsiteY1185" fmla="*/ 3797940 h 4232411"/>
                <a:gd name="connsiteX1186" fmla="*/ 1509390 w 5248218"/>
                <a:gd name="connsiteY1186" fmla="*/ 2388120 h 4232411"/>
                <a:gd name="connsiteX1187" fmla="*/ 1527123 w 5248218"/>
                <a:gd name="connsiteY1187" fmla="*/ 2405854 h 4232411"/>
                <a:gd name="connsiteX1188" fmla="*/ 1544857 w 5248218"/>
                <a:gd name="connsiteY1188" fmla="*/ 2388120 h 4232411"/>
                <a:gd name="connsiteX1189" fmla="*/ 1527123 w 5248218"/>
                <a:gd name="connsiteY1189" fmla="*/ 2370386 h 4232411"/>
                <a:gd name="connsiteX1190" fmla="*/ 1509390 w 5248218"/>
                <a:gd name="connsiteY1190" fmla="*/ 2388120 h 4232411"/>
                <a:gd name="connsiteX1191" fmla="*/ 1476880 w 5248218"/>
                <a:gd name="connsiteY1191" fmla="*/ 3192042 h 4232411"/>
                <a:gd name="connsiteX1192" fmla="*/ 1527123 w 5248218"/>
                <a:gd name="connsiteY1192" fmla="*/ 3242288 h 4232411"/>
                <a:gd name="connsiteX1193" fmla="*/ 1577370 w 5248218"/>
                <a:gd name="connsiteY1193" fmla="*/ 3192042 h 4232411"/>
                <a:gd name="connsiteX1194" fmla="*/ 1527123 w 5248218"/>
                <a:gd name="connsiteY1194" fmla="*/ 3141798 h 4232411"/>
                <a:gd name="connsiteX1195" fmla="*/ 1476880 w 5248218"/>
                <a:gd name="connsiteY1195" fmla="*/ 3192042 h 4232411"/>
                <a:gd name="connsiteX1196" fmla="*/ 1462100 w 5248218"/>
                <a:gd name="connsiteY1196" fmla="*/ 4188078 h 4232411"/>
                <a:gd name="connsiteX1197" fmla="*/ 1479834 w 5248218"/>
                <a:gd name="connsiteY1197" fmla="*/ 4205812 h 4232411"/>
                <a:gd name="connsiteX1198" fmla="*/ 1497567 w 5248218"/>
                <a:gd name="connsiteY1198" fmla="*/ 4188078 h 4232411"/>
                <a:gd name="connsiteX1199" fmla="*/ 1479834 w 5248218"/>
                <a:gd name="connsiteY1199" fmla="*/ 4170345 h 4232411"/>
                <a:gd name="connsiteX1200" fmla="*/ 1462100 w 5248218"/>
                <a:gd name="connsiteY1200" fmla="*/ 4188078 h 4232411"/>
                <a:gd name="connsiteX1201" fmla="*/ 1459143 w 5248218"/>
                <a:gd name="connsiteY1201" fmla="*/ 3995964 h 4232411"/>
                <a:gd name="connsiteX1202" fmla="*/ 1524166 w 5248218"/>
                <a:gd name="connsiteY1202" fmla="*/ 4060986 h 4232411"/>
                <a:gd name="connsiteX1203" fmla="*/ 1589189 w 5248218"/>
                <a:gd name="connsiteY1203" fmla="*/ 3995964 h 4232411"/>
                <a:gd name="connsiteX1204" fmla="*/ 1524166 w 5248218"/>
                <a:gd name="connsiteY1204" fmla="*/ 3930940 h 4232411"/>
                <a:gd name="connsiteX1205" fmla="*/ 1459143 w 5248218"/>
                <a:gd name="connsiteY1205" fmla="*/ 3995964 h 4232411"/>
                <a:gd name="connsiteX1206" fmla="*/ 1459143 w 5248218"/>
                <a:gd name="connsiteY1206" fmla="*/ 2583190 h 4232411"/>
                <a:gd name="connsiteX1207" fmla="*/ 1482788 w 5248218"/>
                <a:gd name="connsiteY1207" fmla="*/ 2606834 h 4232411"/>
                <a:gd name="connsiteX1208" fmla="*/ 1506433 w 5248218"/>
                <a:gd name="connsiteY1208" fmla="*/ 2583190 h 4232411"/>
                <a:gd name="connsiteX1209" fmla="*/ 1482788 w 5248218"/>
                <a:gd name="connsiteY1209" fmla="*/ 2559544 h 4232411"/>
                <a:gd name="connsiteX1210" fmla="*/ 1459143 w 5248218"/>
                <a:gd name="connsiteY1210" fmla="*/ 2583190 h 4232411"/>
                <a:gd name="connsiteX1211" fmla="*/ 1429587 w 5248218"/>
                <a:gd name="connsiteY1211" fmla="*/ 1965472 h 4232411"/>
                <a:gd name="connsiteX1212" fmla="*/ 1438455 w 5248218"/>
                <a:gd name="connsiteY1212" fmla="*/ 1974337 h 4232411"/>
                <a:gd name="connsiteX1213" fmla="*/ 1447321 w 5248218"/>
                <a:gd name="connsiteY1213" fmla="*/ 1965472 h 4232411"/>
                <a:gd name="connsiteX1214" fmla="*/ 1438455 w 5248218"/>
                <a:gd name="connsiteY1214" fmla="*/ 1956604 h 4232411"/>
                <a:gd name="connsiteX1215" fmla="*/ 1429587 w 5248218"/>
                <a:gd name="connsiteY1215" fmla="*/ 1965472 h 4232411"/>
                <a:gd name="connsiteX1216" fmla="*/ 1420722 w 5248218"/>
                <a:gd name="connsiteY1216" fmla="*/ 3387111 h 4232411"/>
                <a:gd name="connsiteX1217" fmla="*/ 1479834 w 5248218"/>
                <a:gd name="connsiteY1217" fmla="*/ 3446223 h 4232411"/>
                <a:gd name="connsiteX1218" fmla="*/ 1538945 w 5248218"/>
                <a:gd name="connsiteY1218" fmla="*/ 3387111 h 4232411"/>
                <a:gd name="connsiteX1219" fmla="*/ 1479834 w 5248218"/>
                <a:gd name="connsiteY1219" fmla="*/ 3327999 h 4232411"/>
                <a:gd name="connsiteX1220" fmla="*/ 1420722 w 5248218"/>
                <a:gd name="connsiteY1220" fmla="*/ 3387111 h 4232411"/>
                <a:gd name="connsiteX1221" fmla="*/ 1400031 w 5248218"/>
                <a:gd name="connsiteY1221" fmla="*/ 2775302 h 4232411"/>
                <a:gd name="connsiteX1222" fmla="*/ 1438455 w 5248218"/>
                <a:gd name="connsiteY1222" fmla="*/ 2813726 h 4232411"/>
                <a:gd name="connsiteX1223" fmla="*/ 1476877 w 5248218"/>
                <a:gd name="connsiteY1223" fmla="*/ 2775302 h 4232411"/>
                <a:gd name="connsiteX1224" fmla="*/ 1438455 w 5248218"/>
                <a:gd name="connsiteY1224" fmla="*/ 2736880 h 4232411"/>
                <a:gd name="connsiteX1225" fmla="*/ 1400031 w 5248218"/>
                <a:gd name="connsiteY1225" fmla="*/ 2775302 h 4232411"/>
                <a:gd name="connsiteX1226" fmla="*/ 1382298 w 5248218"/>
                <a:gd name="connsiteY1226" fmla="*/ 3585138 h 4232411"/>
                <a:gd name="connsiteX1227" fmla="*/ 1435498 w 5248218"/>
                <a:gd name="connsiteY1227" fmla="*/ 3638338 h 4232411"/>
                <a:gd name="connsiteX1228" fmla="*/ 1488699 w 5248218"/>
                <a:gd name="connsiteY1228" fmla="*/ 3585138 h 4232411"/>
                <a:gd name="connsiteX1229" fmla="*/ 1435498 w 5248218"/>
                <a:gd name="connsiteY1229" fmla="*/ 3531936 h 4232411"/>
                <a:gd name="connsiteX1230" fmla="*/ 1382298 w 5248218"/>
                <a:gd name="connsiteY1230" fmla="*/ 3585138 h 4232411"/>
                <a:gd name="connsiteX1231" fmla="*/ 1382298 w 5248218"/>
                <a:gd name="connsiteY1231" fmla="*/ 2160538 h 4232411"/>
                <a:gd name="connsiteX1232" fmla="*/ 1394120 w 5248218"/>
                <a:gd name="connsiteY1232" fmla="*/ 2172360 h 4232411"/>
                <a:gd name="connsiteX1233" fmla="*/ 1405942 w 5248218"/>
                <a:gd name="connsiteY1233" fmla="*/ 2160538 h 4232411"/>
                <a:gd name="connsiteX1234" fmla="*/ 1394120 w 5248218"/>
                <a:gd name="connsiteY1234" fmla="*/ 2148716 h 4232411"/>
                <a:gd name="connsiteX1235" fmla="*/ 1382298 w 5248218"/>
                <a:gd name="connsiteY1235" fmla="*/ 2160538 h 4232411"/>
                <a:gd name="connsiteX1236" fmla="*/ 1340919 w 5248218"/>
                <a:gd name="connsiteY1236" fmla="*/ 2970370 h 4232411"/>
                <a:gd name="connsiteX1237" fmla="*/ 1394120 w 5248218"/>
                <a:gd name="connsiteY1237" fmla="*/ 3023572 h 4232411"/>
                <a:gd name="connsiteX1238" fmla="*/ 1447321 w 5248218"/>
                <a:gd name="connsiteY1238" fmla="*/ 2970370 h 4232411"/>
                <a:gd name="connsiteX1239" fmla="*/ 1394120 w 5248218"/>
                <a:gd name="connsiteY1239" fmla="*/ 2917170 h 4232411"/>
                <a:gd name="connsiteX1240" fmla="*/ 1340919 w 5248218"/>
                <a:gd name="connsiteY1240" fmla="*/ 2970370 h 4232411"/>
                <a:gd name="connsiteX1241" fmla="*/ 1337965 w 5248218"/>
                <a:gd name="connsiteY1241" fmla="*/ 3777250 h 4232411"/>
                <a:gd name="connsiteX1242" fmla="*/ 1391166 w 5248218"/>
                <a:gd name="connsiteY1242" fmla="*/ 3830450 h 4232411"/>
                <a:gd name="connsiteX1243" fmla="*/ 1444367 w 5248218"/>
                <a:gd name="connsiteY1243" fmla="*/ 3777250 h 4232411"/>
                <a:gd name="connsiteX1244" fmla="*/ 1391166 w 5248218"/>
                <a:gd name="connsiteY1244" fmla="*/ 3724049 h 4232411"/>
                <a:gd name="connsiteX1245" fmla="*/ 1337965 w 5248218"/>
                <a:gd name="connsiteY1245" fmla="*/ 3777250 h 4232411"/>
                <a:gd name="connsiteX1246" fmla="*/ 1335011 w 5248218"/>
                <a:gd name="connsiteY1246" fmla="*/ 2352656 h 4232411"/>
                <a:gd name="connsiteX1247" fmla="*/ 1349790 w 5248218"/>
                <a:gd name="connsiteY1247" fmla="*/ 2367432 h 4232411"/>
                <a:gd name="connsiteX1248" fmla="*/ 1364567 w 5248218"/>
                <a:gd name="connsiteY1248" fmla="*/ 2352656 h 4232411"/>
                <a:gd name="connsiteX1249" fmla="*/ 1349790 w 5248218"/>
                <a:gd name="connsiteY1249" fmla="*/ 2337876 h 4232411"/>
                <a:gd name="connsiteX1250" fmla="*/ 1335011 w 5248218"/>
                <a:gd name="connsiteY1250" fmla="*/ 2352656 h 4232411"/>
                <a:gd name="connsiteX1251" fmla="*/ 1299544 w 5248218"/>
                <a:gd name="connsiteY1251" fmla="*/ 3165443 h 4232411"/>
                <a:gd name="connsiteX1252" fmla="*/ 1349788 w 5248218"/>
                <a:gd name="connsiteY1252" fmla="*/ 3215686 h 4232411"/>
                <a:gd name="connsiteX1253" fmla="*/ 1400034 w 5248218"/>
                <a:gd name="connsiteY1253" fmla="*/ 3165443 h 4232411"/>
                <a:gd name="connsiteX1254" fmla="*/ 1349788 w 5248218"/>
                <a:gd name="connsiteY1254" fmla="*/ 3115196 h 4232411"/>
                <a:gd name="connsiteX1255" fmla="*/ 1299544 w 5248218"/>
                <a:gd name="connsiteY1255" fmla="*/ 3165443 h 4232411"/>
                <a:gd name="connsiteX1256" fmla="*/ 1284764 w 5248218"/>
                <a:gd name="connsiteY1256" fmla="*/ 4170345 h 4232411"/>
                <a:gd name="connsiteX1257" fmla="*/ 1302498 w 5248218"/>
                <a:gd name="connsiteY1257" fmla="*/ 4188078 h 4232411"/>
                <a:gd name="connsiteX1258" fmla="*/ 1320232 w 5248218"/>
                <a:gd name="connsiteY1258" fmla="*/ 4170345 h 4232411"/>
                <a:gd name="connsiteX1259" fmla="*/ 1302498 w 5248218"/>
                <a:gd name="connsiteY1259" fmla="*/ 4152612 h 4232411"/>
                <a:gd name="connsiteX1260" fmla="*/ 1284764 w 5248218"/>
                <a:gd name="connsiteY1260" fmla="*/ 4170345 h 4232411"/>
                <a:gd name="connsiteX1261" fmla="*/ 1284764 w 5248218"/>
                <a:gd name="connsiteY1261" fmla="*/ 3975276 h 4232411"/>
                <a:gd name="connsiteX1262" fmla="*/ 1346830 w 5248218"/>
                <a:gd name="connsiteY1262" fmla="*/ 4037342 h 4232411"/>
                <a:gd name="connsiteX1263" fmla="*/ 1408899 w 5248218"/>
                <a:gd name="connsiteY1263" fmla="*/ 3975276 h 4232411"/>
                <a:gd name="connsiteX1264" fmla="*/ 1346830 w 5248218"/>
                <a:gd name="connsiteY1264" fmla="*/ 3913207 h 4232411"/>
                <a:gd name="connsiteX1265" fmla="*/ 1284764 w 5248218"/>
                <a:gd name="connsiteY1265" fmla="*/ 3975276 h 4232411"/>
                <a:gd name="connsiteX1266" fmla="*/ 1278853 w 5248218"/>
                <a:gd name="connsiteY1266" fmla="*/ 2547722 h 4232411"/>
                <a:gd name="connsiteX1267" fmla="*/ 1305455 w 5248218"/>
                <a:gd name="connsiteY1267" fmla="*/ 2574324 h 4232411"/>
                <a:gd name="connsiteX1268" fmla="*/ 1332054 w 5248218"/>
                <a:gd name="connsiteY1268" fmla="*/ 2547722 h 4232411"/>
                <a:gd name="connsiteX1269" fmla="*/ 1305455 w 5248218"/>
                <a:gd name="connsiteY1269" fmla="*/ 2521124 h 4232411"/>
                <a:gd name="connsiteX1270" fmla="*/ 1278853 w 5248218"/>
                <a:gd name="connsiteY1270" fmla="*/ 2547722 h 4232411"/>
                <a:gd name="connsiteX1271" fmla="*/ 1255209 w 5248218"/>
                <a:gd name="connsiteY1271" fmla="*/ 1918182 h 4232411"/>
                <a:gd name="connsiteX1272" fmla="*/ 1267031 w 5248218"/>
                <a:gd name="connsiteY1272" fmla="*/ 1930004 h 4232411"/>
                <a:gd name="connsiteX1273" fmla="*/ 1278853 w 5248218"/>
                <a:gd name="connsiteY1273" fmla="*/ 1918182 h 4232411"/>
                <a:gd name="connsiteX1274" fmla="*/ 1267031 w 5248218"/>
                <a:gd name="connsiteY1274" fmla="*/ 1906360 h 4232411"/>
                <a:gd name="connsiteX1275" fmla="*/ 1255209 w 5248218"/>
                <a:gd name="connsiteY1275" fmla="*/ 1918182 h 4232411"/>
                <a:gd name="connsiteX1276" fmla="*/ 1249297 w 5248218"/>
                <a:gd name="connsiteY1276" fmla="*/ 3363466 h 4232411"/>
                <a:gd name="connsiteX1277" fmla="*/ 1305455 w 5248218"/>
                <a:gd name="connsiteY1277" fmla="*/ 3419621 h 4232411"/>
                <a:gd name="connsiteX1278" fmla="*/ 1361610 w 5248218"/>
                <a:gd name="connsiteY1278" fmla="*/ 3363466 h 4232411"/>
                <a:gd name="connsiteX1279" fmla="*/ 1305455 w 5248218"/>
                <a:gd name="connsiteY1279" fmla="*/ 3307308 h 4232411"/>
                <a:gd name="connsiteX1280" fmla="*/ 1249297 w 5248218"/>
                <a:gd name="connsiteY1280" fmla="*/ 3363466 h 4232411"/>
                <a:gd name="connsiteX1281" fmla="*/ 1219741 w 5248218"/>
                <a:gd name="connsiteY1281" fmla="*/ 2742792 h 4232411"/>
                <a:gd name="connsiteX1282" fmla="*/ 1261120 w 5248218"/>
                <a:gd name="connsiteY1282" fmla="*/ 2784170 h 4232411"/>
                <a:gd name="connsiteX1283" fmla="*/ 1302498 w 5248218"/>
                <a:gd name="connsiteY1283" fmla="*/ 2742792 h 4232411"/>
                <a:gd name="connsiteX1284" fmla="*/ 1261120 w 5248218"/>
                <a:gd name="connsiteY1284" fmla="*/ 2701413 h 4232411"/>
                <a:gd name="connsiteX1285" fmla="*/ 1219741 w 5248218"/>
                <a:gd name="connsiteY1285" fmla="*/ 2742792 h 4232411"/>
                <a:gd name="connsiteX1286" fmla="*/ 1204962 w 5248218"/>
                <a:gd name="connsiteY1286" fmla="*/ 2113248 h 4232411"/>
                <a:gd name="connsiteX1287" fmla="*/ 1222695 w 5248218"/>
                <a:gd name="connsiteY1287" fmla="*/ 2130982 h 4232411"/>
                <a:gd name="connsiteX1288" fmla="*/ 1240429 w 5248218"/>
                <a:gd name="connsiteY1288" fmla="*/ 2113248 h 4232411"/>
                <a:gd name="connsiteX1289" fmla="*/ 1222695 w 5248218"/>
                <a:gd name="connsiteY1289" fmla="*/ 2095515 h 4232411"/>
                <a:gd name="connsiteX1290" fmla="*/ 1204962 w 5248218"/>
                <a:gd name="connsiteY1290" fmla="*/ 2113248 h 4232411"/>
                <a:gd name="connsiteX1291" fmla="*/ 1196097 w 5248218"/>
                <a:gd name="connsiteY1291" fmla="*/ 3558536 h 4232411"/>
                <a:gd name="connsiteX1292" fmla="*/ 1261120 w 5248218"/>
                <a:gd name="connsiteY1292" fmla="*/ 3623558 h 4232411"/>
                <a:gd name="connsiteX1293" fmla="*/ 1326143 w 5248218"/>
                <a:gd name="connsiteY1293" fmla="*/ 3558536 h 4232411"/>
                <a:gd name="connsiteX1294" fmla="*/ 1261120 w 5248218"/>
                <a:gd name="connsiteY1294" fmla="*/ 3493512 h 4232411"/>
                <a:gd name="connsiteX1295" fmla="*/ 1196097 w 5248218"/>
                <a:gd name="connsiteY1295" fmla="*/ 3558536 h 4232411"/>
                <a:gd name="connsiteX1296" fmla="*/ 1169498 w 5248218"/>
                <a:gd name="connsiteY1296" fmla="*/ 2937860 h 4232411"/>
                <a:gd name="connsiteX1297" fmla="*/ 1216787 w 5248218"/>
                <a:gd name="connsiteY1297" fmla="*/ 2985150 h 4232411"/>
                <a:gd name="connsiteX1298" fmla="*/ 1264077 w 5248218"/>
                <a:gd name="connsiteY1298" fmla="*/ 2937860 h 4232411"/>
                <a:gd name="connsiteX1299" fmla="*/ 1216787 w 5248218"/>
                <a:gd name="connsiteY1299" fmla="*/ 2890571 h 4232411"/>
                <a:gd name="connsiteX1300" fmla="*/ 1169498 w 5248218"/>
                <a:gd name="connsiteY1300" fmla="*/ 2937860 h 4232411"/>
                <a:gd name="connsiteX1301" fmla="*/ 1154718 w 5248218"/>
                <a:gd name="connsiteY1301" fmla="*/ 2308321 h 4232411"/>
                <a:gd name="connsiteX1302" fmla="*/ 1178363 w 5248218"/>
                <a:gd name="connsiteY1302" fmla="*/ 2331966 h 4232411"/>
                <a:gd name="connsiteX1303" fmla="*/ 1202008 w 5248218"/>
                <a:gd name="connsiteY1303" fmla="*/ 2308321 h 4232411"/>
                <a:gd name="connsiteX1304" fmla="*/ 1178363 w 5248218"/>
                <a:gd name="connsiteY1304" fmla="*/ 2284676 h 4232411"/>
                <a:gd name="connsiteX1305" fmla="*/ 1154718 w 5248218"/>
                <a:gd name="connsiteY1305" fmla="*/ 2308321 h 4232411"/>
                <a:gd name="connsiteX1306" fmla="*/ 1151764 w 5248218"/>
                <a:gd name="connsiteY1306" fmla="*/ 3750648 h 4232411"/>
                <a:gd name="connsiteX1307" fmla="*/ 1216787 w 5248218"/>
                <a:gd name="connsiteY1307" fmla="*/ 3815670 h 4232411"/>
                <a:gd name="connsiteX1308" fmla="*/ 1281810 w 5248218"/>
                <a:gd name="connsiteY1308" fmla="*/ 3750648 h 4232411"/>
                <a:gd name="connsiteX1309" fmla="*/ 1216787 w 5248218"/>
                <a:gd name="connsiteY1309" fmla="*/ 3685624 h 4232411"/>
                <a:gd name="connsiteX1310" fmla="*/ 1151764 w 5248218"/>
                <a:gd name="connsiteY1310" fmla="*/ 3750648 h 4232411"/>
                <a:gd name="connsiteX1311" fmla="*/ 1139942 w 5248218"/>
                <a:gd name="connsiteY1311" fmla="*/ 1661044 h 4232411"/>
                <a:gd name="connsiteX1312" fmla="*/ 1142896 w 5248218"/>
                <a:gd name="connsiteY1312" fmla="*/ 1664001 h 4232411"/>
                <a:gd name="connsiteX1313" fmla="*/ 1145853 w 5248218"/>
                <a:gd name="connsiteY1313" fmla="*/ 1661044 h 4232411"/>
                <a:gd name="connsiteX1314" fmla="*/ 1142896 w 5248218"/>
                <a:gd name="connsiteY1314" fmla="*/ 1658090 h 4232411"/>
                <a:gd name="connsiteX1315" fmla="*/ 1139942 w 5248218"/>
                <a:gd name="connsiteY1315" fmla="*/ 1661044 h 4232411"/>
                <a:gd name="connsiteX1316" fmla="*/ 1116294 w 5248218"/>
                <a:gd name="connsiteY1316" fmla="*/ 3129973 h 4232411"/>
                <a:gd name="connsiteX1317" fmla="*/ 1172452 w 5248218"/>
                <a:gd name="connsiteY1317" fmla="*/ 3186130 h 4232411"/>
                <a:gd name="connsiteX1318" fmla="*/ 1228606 w 5248218"/>
                <a:gd name="connsiteY1318" fmla="*/ 3129973 h 4232411"/>
                <a:gd name="connsiteX1319" fmla="*/ 1172452 w 5248218"/>
                <a:gd name="connsiteY1319" fmla="*/ 3073818 h 4232411"/>
                <a:gd name="connsiteX1320" fmla="*/ 1116294 w 5248218"/>
                <a:gd name="connsiteY1320" fmla="*/ 3129973 h 4232411"/>
                <a:gd name="connsiteX1321" fmla="*/ 1110386 w 5248218"/>
                <a:gd name="connsiteY1321" fmla="*/ 3942763 h 4232411"/>
                <a:gd name="connsiteX1322" fmla="*/ 1172452 w 5248218"/>
                <a:gd name="connsiteY1322" fmla="*/ 4004832 h 4232411"/>
                <a:gd name="connsiteX1323" fmla="*/ 1234521 w 5248218"/>
                <a:gd name="connsiteY1323" fmla="*/ 3942763 h 4232411"/>
                <a:gd name="connsiteX1324" fmla="*/ 1172452 w 5248218"/>
                <a:gd name="connsiteY1324" fmla="*/ 3880697 h 4232411"/>
                <a:gd name="connsiteX1325" fmla="*/ 1110386 w 5248218"/>
                <a:gd name="connsiteY1325" fmla="*/ 3942763 h 4232411"/>
                <a:gd name="connsiteX1326" fmla="*/ 1104475 w 5248218"/>
                <a:gd name="connsiteY1326" fmla="*/ 4140789 h 4232411"/>
                <a:gd name="connsiteX1327" fmla="*/ 1128120 w 5248218"/>
                <a:gd name="connsiteY1327" fmla="*/ 4164434 h 4232411"/>
                <a:gd name="connsiteX1328" fmla="*/ 1151764 w 5248218"/>
                <a:gd name="connsiteY1328" fmla="*/ 4140789 h 4232411"/>
                <a:gd name="connsiteX1329" fmla="*/ 1128120 w 5248218"/>
                <a:gd name="connsiteY1329" fmla="*/ 4117144 h 4232411"/>
                <a:gd name="connsiteX1330" fmla="*/ 1104475 w 5248218"/>
                <a:gd name="connsiteY1330" fmla="*/ 4140789 h 4232411"/>
                <a:gd name="connsiteX1331" fmla="*/ 1101518 w 5248218"/>
                <a:gd name="connsiteY1331" fmla="*/ 2503387 h 4232411"/>
                <a:gd name="connsiteX1332" fmla="*/ 1134028 w 5248218"/>
                <a:gd name="connsiteY1332" fmla="*/ 2535900 h 4232411"/>
                <a:gd name="connsiteX1333" fmla="*/ 1166541 w 5248218"/>
                <a:gd name="connsiteY1333" fmla="*/ 2503387 h 4232411"/>
                <a:gd name="connsiteX1334" fmla="*/ 1134028 w 5248218"/>
                <a:gd name="connsiteY1334" fmla="*/ 2470877 h 4232411"/>
                <a:gd name="connsiteX1335" fmla="*/ 1101518 w 5248218"/>
                <a:gd name="connsiteY1335" fmla="*/ 2503387 h 4232411"/>
                <a:gd name="connsiteX1336" fmla="*/ 1086738 w 5248218"/>
                <a:gd name="connsiteY1336" fmla="*/ 1859070 h 4232411"/>
                <a:gd name="connsiteX1337" fmla="*/ 1098560 w 5248218"/>
                <a:gd name="connsiteY1337" fmla="*/ 1870893 h 4232411"/>
                <a:gd name="connsiteX1338" fmla="*/ 1110383 w 5248218"/>
                <a:gd name="connsiteY1338" fmla="*/ 1859070 h 4232411"/>
                <a:gd name="connsiteX1339" fmla="*/ 1098560 w 5248218"/>
                <a:gd name="connsiteY1339" fmla="*/ 1847248 h 4232411"/>
                <a:gd name="connsiteX1340" fmla="*/ 1086738 w 5248218"/>
                <a:gd name="connsiteY1340" fmla="*/ 1859070 h 4232411"/>
                <a:gd name="connsiteX1341" fmla="*/ 1066051 w 5248218"/>
                <a:gd name="connsiteY1341" fmla="*/ 3325045 h 4232411"/>
                <a:gd name="connsiteX1342" fmla="*/ 1128116 w 5248218"/>
                <a:gd name="connsiteY1342" fmla="*/ 3387111 h 4232411"/>
                <a:gd name="connsiteX1343" fmla="*/ 1190185 w 5248218"/>
                <a:gd name="connsiteY1343" fmla="*/ 3325045 h 4232411"/>
                <a:gd name="connsiteX1344" fmla="*/ 1128116 w 5248218"/>
                <a:gd name="connsiteY1344" fmla="*/ 3262976 h 4232411"/>
                <a:gd name="connsiteX1345" fmla="*/ 1066051 w 5248218"/>
                <a:gd name="connsiteY1345" fmla="*/ 3325045 h 4232411"/>
                <a:gd name="connsiteX1346" fmla="*/ 1048317 w 5248218"/>
                <a:gd name="connsiteY1346" fmla="*/ 2698456 h 4232411"/>
                <a:gd name="connsiteX1347" fmla="*/ 1089695 w 5248218"/>
                <a:gd name="connsiteY1347" fmla="*/ 2739834 h 4232411"/>
                <a:gd name="connsiteX1348" fmla="*/ 1131074 w 5248218"/>
                <a:gd name="connsiteY1348" fmla="*/ 2698456 h 4232411"/>
                <a:gd name="connsiteX1349" fmla="*/ 1089695 w 5248218"/>
                <a:gd name="connsiteY1349" fmla="*/ 2657078 h 4232411"/>
                <a:gd name="connsiteX1350" fmla="*/ 1048317 w 5248218"/>
                <a:gd name="connsiteY1350" fmla="*/ 2698456 h 4232411"/>
                <a:gd name="connsiteX1351" fmla="*/ 1036494 w 5248218"/>
                <a:gd name="connsiteY1351" fmla="*/ 2054136 h 4232411"/>
                <a:gd name="connsiteX1352" fmla="*/ 1054228 w 5248218"/>
                <a:gd name="connsiteY1352" fmla="*/ 2071870 h 4232411"/>
                <a:gd name="connsiteX1353" fmla="*/ 1071961 w 5248218"/>
                <a:gd name="connsiteY1353" fmla="*/ 2054136 h 4232411"/>
                <a:gd name="connsiteX1354" fmla="*/ 1054228 w 5248218"/>
                <a:gd name="connsiteY1354" fmla="*/ 2036403 h 4232411"/>
                <a:gd name="connsiteX1355" fmla="*/ 1036494 w 5248218"/>
                <a:gd name="connsiteY1355" fmla="*/ 2054136 h 4232411"/>
                <a:gd name="connsiteX1356" fmla="*/ 1018761 w 5248218"/>
                <a:gd name="connsiteY1356" fmla="*/ 3520111 h 4232411"/>
                <a:gd name="connsiteX1357" fmla="*/ 1083784 w 5248218"/>
                <a:gd name="connsiteY1357" fmla="*/ 3585134 h 4232411"/>
                <a:gd name="connsiteX1358" fmla="*/ 1148807 w 5248218"/>
                <a:gd name="connsiteY1358" fmla="*/ 3520111 h 4232411"/>
                <a:gd name="connsiteX1359" fmla="*/ 1083784 w 5248218"/>
                <a:gd name="connsiteY1359" fmla="*/ 3455088 h 4232411"/>
                <a:gd name="connsiteX1360" fmla="*/ 1018761 w 5248218"/>
                <a:gd name="connsiteY1360" fmla="*/ 3520111 h 4232411"/>
                <a:gd name="connsiteX1361" fmla="*/ 995116 w 5248218"/>
                <a:gd name="connsiteY1361" fmla="*/ 2890571 h 4232411"/>
                <a:gd name="connsiteX1362" fmla="*/ 1045360 w 5248218"/>
                <a:gd name="connsiteY1362" fmla="*/ 2940818 h 4232411"/>
                <a:gd name="connsiteX1363" fmla="*/ 1095606 w 5248218"/>
                <a:gd name="connsiteY1363" fmla="*/ 2890571 h 4232411"/>
                <a:gd name="connsiteX1364" fmla="*/ 1045360 w 5248218"/>
                <a:gd name="connsiteY1364" fmla="*/ 2840328 h 4232411"/>
                <a:gd name="connsiteX1365" fmla="*/ 995116 w 5248218"/>
                <a:gd name="connsiteY1365" fmla="*/ 2890571 h 4232411"/>
                <a:gd name="connsiteX1366" fmla="*/ 977383 w 5248218"/>
                <a:gd name="connsiteY1366" fmla="*/ 2249209 h 4232411"/>
                <a:gd name="connsiteX1367" fmla="*/ 1006939 w 5248218"/>
                <a:gd name="connsiteY1367" fmla="*/ 2278765 h 4232411"/>
                <a:gd name="connsiteX1368" fmla="*/ 1036494 w 5248218"/>
                <a:gd name="connsiteY1368" fmla="*/ 2249209 h 4232411"/>
                <a:gd name="connsiteX1369" fmla="*/ 1006939 w 5248218"/>
                <a:gd name="connsiteY1369" fmla="*/ 2219653 h 4232411"/>
                <a:gd name="connsiteX1370" fmla="*/ 977383 w 5248218"/>
                <a:gd name="connsiteY1370" fmla="*/ 2249209 h 4232411"/>
                <a:gd name="connsiteX1371" fmla="*/ 965560 w 5248218"/>
                <a:gd name="connsiteY1371" fmla="*/ 3715184 h 4232411"/>
                <a:gd name="connsiteX1372" fmla="*/ 1039452 w 5248218"/>
                <a:gd name="connsiteY1372" fmla="*/ 3789072 h 4232411"/>
                <a:gd name="connsiteX1373" fmla="*/ 1113340 w 5248218"/>
                <a:gd name="connsiteY1373" fmla="*/ 3715184 h 4232411"/>
                <a:gd name="connsiteX1374" fmla="*/ 1039452 w 5248218"/>
                <a:gd name="connsiteY1374" fmla="*/ 3641292 h 4232411"/>
                <a:gd name="connsiteX1375" fmla="*/ 965560 w 5248218"/>
                <a:gd name="connsiteY1375" fmla="*/ 3715184 h 4232411"/>
                <a:gd name="connsiteX1376" fmla="*/ 938958 w 5248218"/>
                <a:gd name="connsiteY1376" fmla="*/ 3085640 h 4232411"/>
                <a:gd name="connsiteX1377" fmla="*/ 1001024 w 5248218"/>
                <a:gd name="connsiteY1377" fmla="*/ 3147710 h 4232411"/>
                <a:gd name="connsiteX1378" fmla="*/ 1063093 w 5248218"/>
                <a:gd name="connsiteY1378" fmla="*/ 3085640 h 4232411"/>
                <a:gd name="connsiteX1379" fmla="*/ 1001024 w 5248218"/>
                <a:gd name="connsiteY1379" fmla="*/ 3023574 h 4232411"/>
                <a:gd name="connsiteX1380" fmla="*/ 938958 w 5248218"/>
                <a:gd name="connsiteY1380" fmla="*/ 3085640 h 4232411"/>
                <a:gd name="connsiteX1381" fmla="*/ 930093 w 5248218"/>
                <a:gd name="connsiteY1381" fmla="*/ 1785179 h 4232411"/>
                <a:gd name="connsiteX1382" fmla="*/ 936004 w 5248218"/>
                <a:gd name="connsiteY1382" fmla="*/ 1791090 h 4232411"/>
                <a:gd name="connsiteX1383" fmla="*/ 941916 w 5248218"/>
                <a:gd name="connsiteY1383" fmla="*/ 1785179 h 4232411"/>
                <a:gd name="connsiteX1384" fmla="*/ 936004 w 5248218"/>
                <a:gd name="connsiteY1384" fmla="*/ 1779268 h 4232411"/>
                <a:gd name="connsiteX1385" fmla="*/ 930093 w 5248218"/>
                <a:gd name="connsiteY1385" fmla="*/ 1785179 h 4232411"/>
                <a:gd name="connsiteX1386" fmla="*/ 927136 w 5248218"/>
                <a:gd name="connsiteY1386" fmla="*/ 3907296 h 4232411"/>
                <a:gd name="connsiteX1387" fmla="*/ 995116 w 5248218"/>
                <a:gd name="connsiteY1387" fmla="*/ 3975272 h 4232411"/>
                <a:gd name="connsiteX1388" fmla="*/ 1063093 w 5248218"/>
                <a:gd name="connsiteY1388" fmla="*/ 3907296 h 4232411"/>
                <a:gd name="connsiteX1389" fmla="*/ 995116 w 5248218"/>
                <a:gd name="connsiteY1389" fmla="*/ 3839316 h 4232411"/>
                <a:gd name="connsiteX1390" fmla="*/ 927136 w 5248218"/>
                <a:gd name="connsiteY1390" fmla="*/ 3907296 h 4232411"/>
                <a:gd name="connsiteX1391" fmla="*/ 924182 w 5248218"/>
                <a:gd name="connsiteY1391" fmla="*/ 2447235 h 4232411"/>
                <a:gd name="connsiteX1392" fmla="*/ 962606 w 5248218"/>
                <a:gd name="connsiteY1392" fmla="*/ 2485656 h 4232411"/>
                <a:gd name="connsiteX1393" fmla="*/ 1001027 w 5248218"/>
                <a:gd name="connsiteY1393" fmla="*/ 2447235 h 4232411"/>
                <a:gd name="connsiteX1394" fmla="*/ 962606 w 5248218"/>
                <a:gd name="connsiteY1394" fmla="*/ 2408811 h 4232411"/>
                <a:gd name="connsiteX1395" fmla="*/ 924182 w 5248218"/>
                <a:gd name="connsiteY1395" fmla="*/ 2447235 h 4232411"/>
                <a:gd name="connsiteX1396" fmla="*/ 918271 w 5248218"/>
                <a:gd name="connsiteY1396" fmla="*/ 4102365 h 4232411"/>
                <a:gd name="connsiteX1397" fmla="*/ 950781 w 5248218"/>
                <a:gd name="connsiteY1397" fmla="*/ 4134875 h 4232411"/>
                <a:gd name="connsiteX1398" fmla="*/ 983294 w 5248218"/>
                <a:gd name="connsiteY1398" fmla="*/ 4102365 h 4232411"/>
                <a:gd name="connsiteX1399" fmla="*/ 950781 w 5248218"/>
                <a:gd name="connsiteY1399" fmla="*/ 4069852 h 4232411"/>
                <a:gd name="connsiteX1400" fmla="*/ 918271 w 5248218"/>
                <a:gd name="connsiteY1400" fmla="*/ 4102365 h 4232411"/>
                <a:gd name="connsiteX1401" fmla="*/ 894626 w 5248218"/>
                <a:gd name="connsiteY1401" fmla="*/ 3280710 h 4232411"/>
                <a:gd name="connsiteX1402" fmla="*/ 956692 w 5248218"/>
                <a:gd name="connsiteY1402" fmla="*/ 3342776 h 4232411"/>
                <a:gd name="connsiteX1403" fmla="*/ 1018761 w 5248218"/>
                <a:gd name="connsiteY1403" fmla="*/ 3280710 h 4232411"/>
                <a:gd name="connsiteX1404" fmla="*/ 956692 w 5248218"/>
                <a:gd name="connsiteY1404" fmla="*/ 3218640 h 4232411"/>
                <a:gd name="connsiteX1405" fmla="*/ 894626 w 5248218"/>
                <a:gd name="connsiteY1405" fmla="*/ 3280710 h 4232411"/>
                <a:gd name="connsiteX1406" fmla="*/ 876892 w 5248218"/>
                <a:gd name="connsiteY1406" fmla="*/ 1983202 h 4232411"/>
                <a:gd name="connsiteX1407" fmla="*/ 888715 w 5248218"/>
                <a:gd name="connsiteY1407" fmla="*/ 1995024 h 4232411"/>
                <a:gd name="connsiteX1408" fmla="*/ 900537 w 5248218"/>
                <a:gd name="connsiteY1408" fmla="*/ 1983202 h 4232411"/>
                <a:gd name="connsiteX1409" fmla="*/ 888715 w 5248218"/>
                <a:gd name="connsiteY1409" fmla="*/ 1971380 h 4232411"/>
                <a:gd name="connsiteX1410" fmla="*/ 876892 w 5248218"/>
                <a:gd name="connsiteY1410" fmla="*/ 1983202 h 4232411"/>
                <a:gd name="connsiteX1411" fmla="*/ 870981 w 5248218"/>
                <a:gd name="connsiteY1411" fmla="*/ 2642302 h 4232411"/>
                <a:gd name="connsiteX1412" fmla="*/ 918271 w 5248218"/>
                <a:gd name="connsiteY1412" fmla="*/ 2689591 h 4232411"/>
                <a:gd name="connsiteX1413" fmla="*/ 965560 w 5248218"/>
                <a:gd name="connsiteY1413" fmla="*/ 2642302 h 4232411"/>
                <a:gd name="connsiteX1414" fmla="*/ 918271 w 5248218"/>
                <a:gd name="connsiteY1414" fmla="*/ 2595012 h 4232411"/>
                <a:gd name="connsiteX1415" fmla="*/ 870981 w 5248218"/>
                <a:gd name="connsiteY1415" fmla="*/ 2642302 h 4232411"/>
                <a:gd name="connsiteX1416" fmla="*/ 844379 w 5248218"/>
                <a:gd name="connsiteY1416" fmla="*/ 3478736 h 4232411"/>
                <a:gd name="connsiteX1417" fmla="*/ 912359 w 5248218"/>
                <a:gd name="connsiteY1417" fmla="*/ 3546713 h 4232411"/>
                <a:gd name="connsiteX1418" fmla="*/ 980336 w 5248218"/>
                <a:gd name="connsiteY1418" fmla="*/ 3478736 h 4232411"/>
                <a:gd name="connsiteX1419" fmla="*/ 912359 w 5248218"/>
                <a:gd name="connsiteY1419" fmla="*/ 3410756 h 4232411"/>
                <a:gd name="connsiteX1420" fmla="*/ 844379 w 5248218"/>
                <a:gd name="connsiteY1420" fmla="*/ 3478736 h 4232411"/>
                <a:gd name="connsiteX1421" fmla="*/ 826649 w 5248218"/>
                <a:gd name="connsiteY1421" fmla="*/ 2840328 h 4232411"/>
                <a:gd name="connsiteX1422" fmla="*/ 873938 w 5248218"/>
                <a:gd name="connsiteY1422" fmla="*/ 2887617 h 4232411"/>
                <a:gd name="connsiteX1423" fmla="*/ 921228 w 5248218"/>
                <a:gd name="connsiteY1423" fmla="*/ 2840328 h 4232411"/>
                <a:gd name="connsiteX1424" fmla="*/ 873938 w 5248218"/>
                <a:gd name="connsiteY1424" fmla="*/ 2793038 h 4232411"/>
                <a:gd name="connsiteX1425" fmla="*/ 826649 w 5248218"/>
                <a:gd name="connsiteY1425" fmla="*/ 2840328 h 4232411"/>
                <a:gd name="connsiteX1426" fmla="*/ 826649 w 5248218"/>
                <a:gd name="connsiteY1426" fmla="*/ 1492577 h 4232411"/>
                <a:gd name="connsiteX1427" fmla="*/ 829603 w 5248218"/>
                <a:gd name="connsiteY1427" fmla="*/ 1495531 h 4232411"/>
                <a:gd name="connsiteX1428" fmla="*/ 832560 w 5248218"/>
                <a:gd name="connsiteY1428" fmla="*/ 1492577 h 4232411"/>
                <a:gd name="connsiteX1429" fmla="*/ 829603 w 5248218"/>
                <a:gd name="connsiteY1429" fmla="*/ 1489620 h 4232411"/>
                <a:gd name="connsiteX1430" fmla="*/ 826649 w 5248218"/>
                <a:gd name="connsiteY1430" fmla="*/ 1492577 h 4232411"/>
                <a:gd name="connsiteX1431" fmla="*/ 820735 w 5248218"/>
                <a:gd name="connsiteY1431" fmla="*/ 2181228 h 4232411"/>
                <a:gd name="connsiteX1432" fmla="*/ 844379 w 5248218"/>
                <a:gd name="connsiteY1432" fmla="*/ 2204873 h 4232411"/>
                <a:gd name="connsiteX1433" fmla="*/ 868024 w 5248218"/>
                <a:gd name="connsiteY1433" fmla="*/ 2181228 h 4232411"/>
                <a:gd name="connsiteX1434" fmla="*/ 844379 w 5248218"/>
                <a:gd name="connsiteY1434" fmla="*/ 2157584 h 4232411"/>
                <a:gd name="connsiteX1435" fmla="*/ 820735 w 5248218"/>
                <a:gd name="connsiteY1435" fmla="*/ 2181228 h 4232411"/>
                <a:gd name="connsiteX1436" fmla="*/ 797093 w 5248218"/>
                <a:gd name="connsiteY1436" fmla="*/ 3670848 h 4232411"/>
                <a:gd name="connsiteX1437" fmla="*/ 868027 w 5248218"/>
                <a:gd name="connsiteY1437" fmla="*/ 3741782 h 4232411"/>
                <a:gd name="connsiteX1438" fmla="*/ 938961 w 5248218"/>
                <a:gd name="connsiteY1438" fmla="*/ 3670848 h 4232411"/>
                <a:gd name="connsiteX1439" fmla="*/ 868027 w 5248218"/>
                <a:gd name="connsiteY1439" fmla="*/ 3599914 h 4232411"/>
                <a:gd name="connsiteX1440" fmla="*/ 797093 w 5248218"/>
                <a:gd name="connsiteY1440" fmla="*/ 3670848 h 4232411"/>
                <a:gd name="connsiteX1441" fmla="*/ 770491 w 5248218"/>
                <a:gd name="connsiteY1441" fmla="*/ 3032440 h 4232411"/>
                <a:gd name="connsiteX1442" fmla="*/ 829603 w 5248218"/>
                <a:gd name="connsiteY1442" fmla="*/ 3091552 h 4232411"/>
                <a:gd name="connsiteX1443" fmla="*/ 888715 w 5248218"/>
                <a:gd name="connsiteY1443" fmla="*/ 3032440 h 4232411"/>
                <a:gd name="connsiteX1444" fmla="*/ 829603 w 5248218"/>
                <a:gd name="connsiteY1444" fmla="*/ 2973328 h 4232411"/>
                <a:gd name="connsiteX1445" fmla="*/ 770491 w 5248218"/>
                <a:gd name="connsiteY1445" fmla="*/ 3032440 h 4232411"/>
                <a:gd name="connsiteX1446" fmla="*/ 770491 w 5248218"/>
                <a:gd name="connsiteY1446" fmla="*/ 1696511 h 4232411"/>
                <a:gd name="connsiteX1447" fmla="*/ 779356 w 5248218"/>
                <a:gd name="connsiteY1447" fmla="*/ 1705380 h 4232411"/>
                <a:gd name="connsiteX1448" fmla="*/ 788225 w 5248218"/>
                <a:gd name="connsiteY1448" fmla="*/ 1696511 h 4232411"/>
                <a:gd name="connsiteX1449" fmla="*/ 779356 w 5248218"/>
                <a:gd name="connsiteY1449" fmla="*/ 1687646 h 4232411"/>
                <a:gd name="connsiteX1450" fmla="*/ 770491 w 5248218"/>
                <a:gd name="connsiteY1450" fmla="*/ 1696511 h 4232411"/>
                <a:gd name="connsiteX1451" fmla="*/ 764580 w 5248218"/>
                <a:gd name="connsiteY1451" fmla="*/ 2379255 h 4232411"/>
                <a:gd name="connsiteX1452" fmla="*/ 797093 w 5248218"/>
                <a:gd name="connsiteY1452" fmla="*/ 2411765 h 4232411"/>
                <a:gd name="connsiteX1453" fmla="*/ 829603 w 5248218"/>
                <a:gd name="connsiteY1453" fmla="*/ 2379255 h 4232411"/>
                <a:gd name="connsiteX1454" fmla="*/ 797093 w 5248218"/>
                <a:gd name="connsiteY1454" fmla="*/ 2346742 h 4232411"/>
                <a:gd name="connsiteX1455" fmla="*/ 764580 w 5248218"/>
                <a:gd name="connsiteY1455" fmla="*/ 2379255 h 4232411"/>
                <a:gd name="connsiteX1456" fmla="*/ 758669 w 5248218"/>
                <a:gd name="connsiteY1456" fmla="*/ 4060984 h 4232411"/>
                <a:gd name="connsiteX1457" fmla="*/ 779359 w 5248218"/>
                <a:gd name="connsiteY1457" fmla="*/ 4081674 h 4232411"/>
                <a:gd name="connsiteX1458" fmla="*/ 800047 w 5248218"/>
                <a:gd name="connsiteY1458" fmla="*/ 4060984 h 4232411"/>
                <a:gd name="connsiteX1459" fmla="*/ 779359 w 5248218"/>
                <a:gd name="connsiteY1459" fmla="*/ 4040296 h 4232411"/>
                <a:gd name="connsiteX1460" fmla="*/ 758669 w 5248218"/>
                <a:gd name="connsiteY1460" fmla="*/ 4060984 h 4232411"/>
                <a:gd name="connsiteX1461" fmla="*/ 755715 w 5248218"/>
                <a:gd name="connsiteY1461" fmla="*/ 3862964 h 4232411"/>
                <a:gd name="connsiteX1462" fmla="*/ 823692 w 5248218"/>
                <a:gd name="connsiteY1462" fmla="*/ 3930940 h 4232411"/>
                <a:gd name="connsiteX1463" fmla="*/ 891672 w 5248218"/>
                <a:gd name="connsiteY1463" fmla="*/ 3862964 h 4232411"/>
                <a:gd name="connsiteX1464" fmla="*/ 823692 w 5248218"/>
                <a:gd name="connsiteY1464" fmla="*/ 3794983 h 4232411"/>
                <a:gd name="connsiteX1465" fmla="*/ 755715 w 5248218"/>
                <a:gd name="connsiteY1465" fmla="*/ 3862964 h 4232411"/>
                <a:gd name="connsiteX1466" fmla="*/ 723202 w 5248218"/>
                <a:gd name="connsiteY1466" fmla="*/ 3230466 h 4232411"/>
                <a:gd name="connsiteX1467" fmla="*/ 785267 w 5248218"/>
                <a:gd name="connsiteY1467" fmla="*/ 3292532 h 4232411"/>
                <a:gd name="connsiteX1468" fmla="*/ 847337 w 5248218"/>
                <a:gd name="connsiteY1468" fmla="*/ 3230466 h 4232411"/>
                <a:gd name="connsiteX1469" fmla="*/ 785267 w 5248218"/>
                <a:gd name="connsiteY1469" fmla="*/ 3168397 h 4232411"/>
                <a:gd name="connsiteX1470" fmla="*/ 723202 w 5248218"/>
                <a:gd name="connsiteY1470" fmla="*/ 3230466 h 4232411"/>
                <a:gd name="connsiteX1471" fmla="*/ 714336 w 5248218"/>
                <a:gd name="connsiteY1471" fmla="*/ 1897492 h 4232411"/>
                <a:gd name="connsiteX1472" fmla="*/ 732070 w 5248218"/>
                <a:gd name="connsiteY1472" fmla="*/ 1915225 h 4232411"/>
                <a:gd name="connsiteX1473" fmla="*/ 749803 w 5248218"/>
                <a:gd name="connsiteY1473" fmla="*/ 1897492 h 4232411"/>
                <a:gd name="connsiteX1474" fmla="*/ 732070 w 5248218"/>
                <a:gd name="connsiteY1474" fmla="*/ 1879758 h 4232411"/>
                <a:gd name="connsiteX1475" fmla="*/ 714336 w 5248218"/>
                <a:gd name="connsiteY1475" fmla="*/ 1897492 h 4232411"/>
                <a:gd name="connsiteX1476" fmla="*/ 708425 w 5248218"/>
                <a:gd name="connsiteY1476" fmla="*/ 2577278 h 4232411"/>
                <a:gd name="connsiteX1477" fmla="*/ 752761 w 5248218"/>
                <a:gd name="connsiteY1477" fmla="*/ 2621610 h 4232411"/>
                <a:gd name="connsiteX1478" fmla="*/ 797093 w 5248218"/>
                <a:gd name="connsiteY1478" fmla="*/ 2577278 h 4232411"/>
                <a:gd name="connsiteX1479" fmla="*/ 752761 w 5248218"/>
                <a:gd name="connsiteY1479" fmla="*/ 2532942 h 4232411"/>
                <a:gd name="connsiteX1480" fmla="*/ 708425 w 5248218"/>
                <a:gd name="connsiteY1480" fmla="*/ 2577278 h 4232411"/>
                <a:gd name="connsiteX1481" fmla="*/ 678869 w 5248218"/>
                <a:gd name="connsiteY1481" fmla="*/ 3425532 h 4232411"/>
                <a:gd name="connsiteX1482" fmla="*/ 740935 w 5248218"/>
                <a:gd name="connsiteY1482" fmla="*/ 3487601 h 4232411"/>
                <a:gd name="connsiteX1483" fmla="*/ 803004 w 5248218"/>
                <a:gd name="connsiteY1483" fmla="*/ 3425532 h 4232411"/>
                <a:gd name="connsiteX1484" fmla="*/ 740935 w 5248218"/>
                <a:gd name="connsiteY1484" fmla="*/ 3363466 h 4232411"/>
                <a:gd name="connsiteX1485" fmla="*/ 678869 w 5248218"/>
                <a:gd name="connsiteY1485" fmla="*/ 3425532 h 4232411"/>
                <a:gd name="connsiteX1486" fmla="*/ 661133 w 5248218"/>
                <a:gd name="connsiteY1486" fmla="*/ 2101429 h 4232411"/>
                <a:gd name="connsiteX1487" fmla="*/ 684777 w 5248218"/>
                <a:gd name="connsiteY1487" fmla="*/ 2125074 h 4232411"/>
                <a:gd name="connsiteX1488" fmla="*/ 708422 w 5248218"/>
                <a:gd name="connsiteY1488" fmla="*/ 2101429 h 4232411"/>
                <a:gd name="connsiteX1489" fmla="*/ 684777 w 5248218"/>
                <a:gd name="connsiteY1489" fmla="*/ 2077784 h 4232411"/>
                <a:gd name="connsiteX1490" fmla="*/ 661133 w 5248218"/>
                <a:gd name="connsiteY1490" fmla="*/ 2101429 h 4232411"/>
                <a:gd name="connsiteX1491" fmla="*/ 658178 w 5248218"/>
                <a:gd name="connsiteY1491" fmla="*/ 2775304 h 4232411"/>
                <a:gd name="connsiteX1492" fmla="*/ 705468 w 5248218"/>
                <a:gd name="connsiteY1492" fmla="*/ 2822594 h 4232411"/>
                <a:gd name="connsiteX1493" fmla="*/ 752757 w 5248218"/>
                <a:gd name="connsiteY1493" fmla="*/ 2775304 h 4232411"/>
                <a:gd name="connsiteX1494" fmla="*/ 705468 w 5248218"/>
                <a:gd name="connsiteY1494" fmla="*/ 2728015 h 4232411"/>
                <a:gd name="connsiteX1495" fmla="*/ 658178 w 5248218"/>
                <a:gd name="connsiteY1495" fmla="*/ 2775304 h 4232411"/>
                <a:gd name="connsiteX1496" fmla="*/ 625668 w 5248218"/>
                <a:gd name="connsiteY1496" fmla="*/ 3620604 h 4232411"/>
                <a:gd name="connsiteX1497" fmla="*/ 696603 w 5248218"/>
                <a:gd name="connsiteY1497" fmla="*/ 3691539 h 4232411"/>
                <a:gd name="connsiteX1498" fmla="*/ 767537 w 5248218"/>
                <a:gd name="connsiteY1498" fmla="*/ 3620604 h 4232411"/>
                <a:gd name="connsiteX1499" fmla="*/ 696603 w 5248218"/>
                <a:gd name="connsiteY1499" fmla="*/ 3549670 h 4232411"/>
                <a:gd name="connsiteX1500" fmla="*/ 625668 w 5248218"/>
                <a:gd name="connsiteY1500" fmla="*/ 3620604 h 4232411"/>
                <a:gd name="connsiteX1501" fmla="*/ 622711 w 5248218"/>
                <a:gd name="connsiteY1501" fmla="*/ 1596021 h 4232411"/>
                <a:gd name="connsiteX1502" fmla="*/ 631577 w 5248218"/>
                <a:gd name="connsiteY1502" fmla="*/ 1604886 h 4232411"/>
                <a:gd name="connsiteX1503" fmla="*/ 640445 w 5248218"/>
                <a:gd name="connsiteY1503" fmla="*/ 1596021 h 4232411"/>
                <a:gd name="connsiteX1504" fmla="*/ 631577 w 5248218"/>
                <a:gd name="connsiteY1504" fmla="*/ 1587152 h 4232411"/>
                <a:gd name="connsiteX1505" fmla="*/ 622711 w 5248218"/>
                <a:gd name="connsiteY1505" fmla="*/ 1596021 h 4232411"/>
                <a:gd name="connsiteX1506" fmla="*/ 604978 w 5248218"/>
                <a:gd name="connsiteY1506" fmla="*/ 2970370 h 4232411"/>
                <a:gd name="connsiteX1507" fmla="*/ 661133 w 5248218"/>
                <a:gd name="connsiteY1507" fmla="*/ 3026528 h 4232411"/>
                <a:gd name="connsiteX1508" fmla="*/ 717290 w 5248218"/>
                <a:gd name="connsiteY1508" fmla="*/ 2970370 h 4232411"/>
                <a:gd name="connsiteX1509" fmla="*/ 661133 w 5248218"/>
                <a:gd name="connsiteY1509" fmla="*/ 2914216 h 4232411"/>
                <a:gd name="connsiteX1510" fmla="*/ 604978 w 5248218"/>
                <a:gd name="connsiteY1510" fmla="*/ 2970370 h 4232411"/>
                <a:gd name="connsiteX1511" fmla="*/ 593155 w 5248218"/>
                <a:gd name="connsiteY1511" fmla="*/ 2302410 h 4232411"/>
                <a:gd name="connsiteX1512" fmla="*/ 637488 w 5248218"/>
                <a:gd name="connsiteY1512" fmla="*/ 2346742 h 4232411"/>
                <a:gd name="connsiteX1513" fmla="*/ 681823 w 5248218"/>
                <a:gd name="connsiteY1513" fmla="*/ 2302410 h 4232411"/>
                <a:gd name="connsiteX1514" fmla="*/ 637488 w 5248218"/>
                <a:gd name="connsiteY1514" fmla="*/ 2258074 h 4232411"/>
                <a:gd name="connsiteX1515" fmla="*/ 593155 w 5248218"/>
                <a:gd name="connsiteY1515" fmla="*/ 2302410 h 4232411"/>
                <a:gd name="connsiteX1516" fmla="*/ 587244 w 5248218"/>
                <a:gd name="connsiteY1516" fmla="*/ 3815674 h 4232411"/>
                <a:gd name="connsiteX1517" fmla="*/ 649313 w 5248218"/>
                <a:gd name="connsiteY1517" fmla="*/ 3877740 h 4232411"/>
                <a:gd name="connsiteX1518" fmla="*/ 711379 w 5248218"/>
                <a:gd name="connsiteY1518" fmla="*/ 3815674 h 4232411"/>
                <a:gd name="connsiteX1519" fmla="*/ 649313 w 5248218"/>
                <a:gd name="connsiteY1519" fmla="*/ 3753604 h 4232411"/>
                <a:gd name="connsiteX1520" fmla="*/ 587244 w 5248218"/>
                <a:gd name="connsiteY1520" fmla="*/ 3815674 h 4232411"/>
                <a:gd name="connsiteX1521" fmla="*/ 566557 w 5248218"/>
                <a:gd name="connsiteY1521" fmla="*/ 1802912 h 4232411"/>
                <a:gd name="connsiteX1522" fmla="*/ 578379 w 5248218"/>
                <a:gd name="connsiteY1522" fmla="*/ 1814735 h 4232411"/>
                <a:gd name="connsiteX1523" fmla="*/ 590201 w 5248218"/>
                <a:gd name="connsiteY1523" fmla="*/ 1802912 h 4232411"/>
                <a:gd name="connsiteX1524" fmla="*/ 578379 w 5248218"/>
                <a:gd name="connsiteY1524" fmla="*/ 1791090 h 4232411"/>
                <a:gd name="connsiteX1525" fmla="*/ 566557 w 5248218"/>
                <a:gd name="connsiteY1525" fmla="*/ 1802912 h 4232411"/>
                <a:gd name="connsiteX1526" fmla="*/ 554731 w 5248218"/>
                <a:gd name="connsiteY1526" fmla="*/ 4205812 h 4232411"/>
                <a:gd name="connsiteX1527" fmla="*/ 560642 w 5248218"/>
                <a:gd name="connsiteY1527" fmla="*/ 4211724 h 4232411"/>
                <a:gd name="connsiteX1528" fmla="*/ 566554 w 5248218"/>
                <a:gd name="connsiteY1528" fmla="*/ 4205812 h 4232411"/>
                <a:gd name="connsiteX1529" fmla="*/ 560642 w 5248218"/>
                <a:gd name="connsiteY1529" fmla="*/ 4199901 h 4232411"/>
                <a:gd name="connsiteX1530" fmla="*/ 554731 w 5248218"/>
                <a:gd name="connsiteY1530" fmla="*/ 4205812 h 4232411"/>
                <a:gd name="connsiteX1531" fmla="*/ 554731 w 5248218"/>
                <a:gd name="connsiteY1531" fmla="*/ 3168397 h 4232411"/>
                <a:gd name="connsiteX1532" fmla="*/ 616797 w 5248218"/>
                <a:gd name="connsiteY1532" fmla="*/ 3230466 h 4232411"/>
                <a:gd name="connsiteX1533" fmla="*/ 678866 w 5248218"/>
                <a:gd name="connsiteY1533" fmla="*/ 3168397 h 4232411"/>
                <a:gd name="connsiteX1534" fmla="*/ 616797 w 5248218"/>
                <a:gd name="connsiteY1534" fmla="*/ 3106331 h 4232411"/>
                <a:gd name="connsiteX1535" fmla="*/ 554731 w 5248218"/>
                <a:gd name="connsiteY1535" fmla="*/ 3168397 h 4232411"/>
                <a:gd name="connsiteX1536" fmla="*/ 542909 w 5248218"/>
                <a:gd name="connsiteY1536" fmla="*/ 1267948 h 4232411"/>
                <a:gd name="connsiteX1537" fmla="*/ 548820 w 5248218"/>
                <a:gd name="connsiteY1537" fmla="*/ 1273860 h 4232411"/>
                <a:gd name="connsiteX1538" fmla="*/ 554731 w 5248218"/>
                <a:gd name="connsiteY1538" fmla="*/ 1267948 h 4232411"/>
                <a:gd name="connsiteX1539" fmla="*/ 548820 w 5248218"/>
                <a:gd name="connsiteY1539" fmla="*/ 1262037 h 4232411"/>
                <a:gd name="connsiteX1540" fmla="*/ 542909 w 5248218"/>
                <a:gd name="connsiteY1540" fmla="*/ 1267948 h 4232411"/>
                <a:gd name="connsiteX1541" fmla="*/ 537001 w 5248218"/>
                <a:gd name="connsiteY1541" fmla="*/ 4010740 h 4232411"/>
                <a:gd name="connsiteX1542" fmla="*/ 604978 w 5248218"/>
                <a:gd name="connsiteY1542" fmla="*/ 4078720 h 4232411"/>
                <a:gd name="connsiteX1543" fmla="*/ 672958 w 5248218"/>
                <a:gd name="connsiteY1543" fmla="*/ 4010740 h 4232411"/>
                <a:gd name="connsiteX1544" fmla="*/ 604978 w 5248218"/>
                <a:gd name="connsiteY1544" fmla="*/ 3942763 h 4232411"/>
                <a:gd name="connsiteX1545" fmla="*/ 537001 w 5248218"/>
                <a:gd name="connsiteY1545" fmla="*/ 4010740 h 4232411"/>
                <a:gd name="connsiteX1546" fmla="*/ 537001 w 5248218"/>
                <a:gd name="connsiteY1546" fmla="*/ 2500433 h 4232411"/>
                <a:gd name="connsiteX1547" fmla="*/ 590201 w 5248218"/>
                <a:gd name="connsiteY1547" fmla="*/ 2553634 h 4232411"/>
                <a:gd name="connsiteX1548" fmla="*/ 643402 w 5248218"/>
                <a:gd name="connsiteY1548" fmla="*/ 2500433 h 4232411"/>
                <a:gd name="connsiteX1549" fmla="*/ 590201 w 5248218"/>
                <a:gd name="connsiteY1549" fmla="*/ 2447232 h 4232411"/>
                <a:gd name="connsiteX1550" fmla="*/ 537001 w 5248218"/>
                <a:gd name="connsiteY1550" fmla="*/ 2500433 h 4232411"/>
                <a:gd name="connsiteX1551" fmla="*/ 507445 w 5248218"/>
                <a:gd name="connsiteY1551" fmla="*/ 3363466 h 4232411"/>
                <a:gd name="connsiteX1552" fmla="*/ 572468 w 5248218"/>
                <a:gd name="connsiteY1552" fmla="*/ 3428490 h 4232411"/>
                <a:gd name="connsiteX1553" fmla="*/ 637491 w 5248218"/>
                <a:gd name="connsiteY1553" fmla="*/ 3363466 h 4232411"/>
                <a:gd name="connsiteX1554" fmla="*/ 572468 w 5248218"/>
                <a:gd name="connsiteY1554" fmla="*/ 3298443 h 4232411"/>
                <a:gd name="connsiteX1555" fmla="*/ 507445 w 5248218"/>
                <a:gd name="connsiteY1555" fmla="*/ 3363466 h 4232411"/>
                <a:gd name="connsiteX1556" fmla="*/ 504488 w 5248218"/>
                <a:gd name="connsiteY1556" fmla="*/ 2009804 h 4232411"/>
                <a:gd name="connsiteX1557" fmla="*/ 531089 w 5248218"/>
                <a:gd name="connsiteY1557" fmla="*/ 2036406 h 4232411"/>
                <a:gd name="connsiteX1558" fmla="*/ 557688 w 5248218"/>
                <a:gd name="connsiteY1558" fmla="*/ 2009804 h 4232411"/>
                <a:gd name="connsiteX1559" fmla="*/ 531089 w 5248218"/>
                <a:gd name="connsiteY1559" fmla="*/ 1983205 h 4232411"/>
                <a:gd name="connsiteX1560" fmla="*/ 504488 w 5248218"/>
                <a:gd name="connsiteY1560" fmla="*/ 2009804 h 4232411"/>
                <a:gd name="connsiteX1561" fmla="*/ 489711 w 5248218"/>
                <a:gd name="connsiteY1561" fmla="*/ 2698459 h 4232411"/>
                <a:gd name="connsiteX1562" fmla="*/ 542912 w 5248218"/>
                <a:gd name="connsiteY1562" fmla="*/ 2751660 h 4232411"/>
                <a:gd name="connsiteX1563" fmla="*/ 596113 w 5248218"/>
                <a:gd name="connsiteY1563" fmla="*/ 2698459 h 4232411"/>
                <a:gd name="connsiteX1564" fmla="*/ 542912 w 5248218"/>
                <a:gd name="connsiteY1564" fmla="*/ 2645258 h 4232411"/>
                <a:gd name="connsiteX1565" fmla="*/ 489711 w 5248218"/>
                <a:gd name="connsiteY1565" fmla="*/ 2698459 h 4232411"/>
                <a:gd name="connsiteX1566" fmla="*/ 483797 w 5248218"/>
                <a:gd name="connsiteY1566" fmla="*/ 1483708 h 4232411"/>
                <a:gd name="connsiteX1567" fmla="*/ 492665 w 5248218"/>
                <a:gd name="connsiteY1567" fmla="*/ 1492574 h 4232411"/>
                <a:gd name="connsiteX1568" fmla="*/ 501530 w 5248218"/>
                <a:gd name="connsiteY1568" fmla="*/ 1483708 h 4232411"/>
                <a:gd name="connsiteX1569" fmla="*/ 492665 w 5248218"/>
                <a:gd name="connsiteY1569" fmla="*/ 1474840 h 4232411"/>
                <a:gd name="connsiteX1570" fmla="*/ 483797 w 5248218"/>
                <a:gd name="connsiteY1570" fmla="*/ 1483708 h 4232411"/>
                <a:gd name="connsiteX1571" fmla="*/ 466063 w 5248218"/>
                <a:gd name="connsiteY1571" fmla="*/ 3561492 h 4232411"/>
                <a:gd name="connsiteX1572" fmla="*/ 525175 w 5248218"/>
                <a:gd name="connsiteY1572" fmla="*/ 3620604 h 4232411"/>
                <a:gd name="connsiteX1573" fmla="*/ 584287 w 5248218"/>
                <a:gd name="connsiteY1573" fmla="*/ 3561492 h 4232411"/>
                <a:gd name="connsiteX1574" fmla="*/ 525175 w 5248218"/>
                <a:gd name="connsiteY1574" fmla="*/ 3502381 h 4232411"/>
                <a:gd name="connsiteX1575" fmla="*/ 466063 w 5248218"/>
                <a:gd name="connsiteY1575" fmla="*/ 3561492 h 4232411"/>
                <a:gd name="connsiteX1576" fmla="*/ 442422 w 5248218"/>
                <a:gd name="connsiteY1576" fmla="*/ 2899440 h 4232411"/>
                <a:gd name="connsiteX1577" fmla="*/ 498576 w 5248218"/>
                <a:gd name="connsiteY1577" fmla="*/ 2955594 h 4232411"/>
                <a:gd name="connsiteX1578" fmla="*/ 554734 w 5248218"/>
                <a:gd name="connsiteY1578" fmla="*/ 2899440 h 4232411"/>
                <a:gd name="connsiteX1579" fmla="*/ 498576 w 5248218"/>
                <a:gd name="connsiteY1579" fmla="*/ 2843282 h 4232411"/>
                <a:gd name="connsiteX1580" fmla="*/ 442422 w 5248218"/>
                <a:gd name="connsiteY1580" fmla="*/ 2899440 h 4232411"/>
                <a:gd name="connsiteX1581" fmla="*/ 442422 w 5248218"/>
                <a:gd name="connsiteY1581" fmla="*/ 2216696 h 4232411"/>
                <a:gd name="connsiteX1582" fmla="*/ 480843 w 5248218"/>
                <a:gd name="connsiteY1582" fmla="*/ 2255117 h 4232411"/>
                <a:gd name="connsiteX1583" fmla="*/ 519267 w 5248218"/>
                <a:gd name="connsiteY1583" fmla="*/ 2216696 h 4232411"/>
                <a:gd name="connsiteX1584" fmla="*/ 480843 w 5248218"/>
                <a:gd name="connsiteY1584" fmla="*/ 2178272 h 4232411"/>
                <a:gd name="connsiteX1585" fmla="*/ 442422 w 5248218"/>
                <a:gd name="connsiteY1585" fmla="*/ 2216696 h 4232411"/>
                <a:gd name="connsiteX1586" fmla="*/ 421731 w 5248218"/>
                <a:gd name="connsiteY1586" fmla="*/ 1696511 h 4232411"/>
                <a:gd name="connsiteX1587" fmla="*/ 436510 w 5248218"/>
                <a:gd name="connsiteY1587" fmla="*/ 1711288 h 4232411"/>
                <a:gd name="connsiteX1588" fmla="*/ 451287 w 5248218"/>
                <a:gd name="connsiteY1588" fmla="*/ 1696511 h 4232411"/>
                <a:gd name="connsiteX1589" fmla="*/ 436510 w 5248218"/>
                <a:gd name="connsiteY1589" fmla="*/ 1681732 h 4232411"/>
                <a:gd name="connsiteX1590" fmla="*/ 421731 w 5248218"/>
                <a:gd name="connsiteY1590" fmla="*/ 1696511 h 4232411"/>
                <a:gd name="connsiteX1591" fmla="*/ 418777 w 5248218"/>
                <a:gd name="connsiteY1591" fmla="*/ 3756562 h 4232411"/>
                <a:gd name="connsiteX1592" fmla="*/ 480843 w 5248218"/>
                <a:gd name="connsiteY1592" fmla="*/ 3818628 h 4232411"/>
                <a:gd name="connsiteX1593" fmla="*/ 542912 w 5248218"/>
                <a:gd name="connsiteY1593" fmla="*/ 3756562 h 4232411"/>
                <a:gd name="connsiteX1594" fmla="*/ 480843 w 5248218"/>
                <a:gd name="connsiteY1594" fmla="*/ 3694493 h 4232411"/>
                <a:gd name="connsiteX1595" fmla="*/ 418777 w 5248218"/>
                <a:gd name="connsiteY1595" fmla="*/ 3756562 h 4232411"/>
                <a:gd name="connsiteX1596" fmla="*/ 418777 w 5248218"/>
                <a:gd name="connsiteY1596" fmla="*/ 1137905 h 4232411"/>
                <a:gd name="connsiteX1597" fmla="*/ 424688 w 5248218"/>
                <a:gd name="connsiteY1597" fmla="*/ 1143816 h 4232411"/>
                <a:gd name="connsiteX1598" fmla="*/ 430599 w 5248218"/>
                <a:gd name="connsiteY1598" fmla="*/ 1137905 h 4232411"/>
                <a:gd name="connsiteX1599" fmla="*/ 424688 w 5248218"/>
                <a:gd name="connsiteY1599" fmla="*/ 1131994 h 4232411"/>
                <a:gd name="connsiteX1600" fmla="*/ 418777 w 5248218"/>
                <a:gd name="connsiteY1600" fmla="*/ 1137905 h 4232411"/>
                <a:gd name="connsiteX1601" fmla="*/ 386264 w 5248218"/>
                <a:gd name="connsiteY1601" fmla="*/ 3097463 h 4232411"/>
                <a:gd name="connsiteX1602" fmla="*/ 451287 w 5248218"/>
                <a:gd name="connsiteY1602" fmla="*/ 3162486 h 4232411"/>
                <a:gd name="connsiteX1603" fmla="*/ 516310 w 5248218"/>
                <a:gd name="connsiteY1603" fmla="*/ 3097463 h 4232411"/>
                <a:gd name="connsiteX1604" fmla="*/ 451287 w 5248218"/>
                <a:gd name="connsiteY1604" fmla="*/ 3032440 h 4232411"/>
                <a:gd name="connsiteX1605" fmla="*/ 386264 w 5248218"/>
                <a:gd name="connsiteY1605" fmla="*/ 3097463 h 4232411"/>
                <a:gd name="connsiteX1606" fmla="*/ 386264 w 5248218"/>
                <a:gd name="connsiteY1606" fmla="*/ 2417676 h 4232411"/>
                <a:gd name="connsiteX1607" fmla="*/ 433553 w 5248218"/>
                <a:gd name="connsiteY1607" fmla="*/ 2464966 h 4232411"/>
                <a:gd name="connsiteX1608" fmla="*/ 480843 w 5248218"/>
                <a:gd name="connsiteY1608" fmla="*/ 2417676 h 4232411"/>
                <a:gd name="connsiteX1609" fmla="*/ 433553 w 5248218"/>
                <a:gd name="connsiteY1609" fmla="*/ 2370386 h 4232411"/>
                <a:gd name="connsiteX1610" fmla="*/ 386264 w 5248218"/>
                <a:gd name="connsiteY1610" fmla="*/ 2417676 h 4232411"/>
                <a:gd name="connsiteX1611" fmla="*/ 383310 w 5248218"/>
                <a:gd name="connsiteY1611" fmla="*/ 3951628 h 4232411"/>
                <a:gd name="connsiteX1612" fmla="*/ 436510 w 5248218"/>
                <a:gd name="connsiteY1612" fmla="*/ 4004828 h 4232411"/>
                <a:gd name="connsiteX1613" fmla="*/ 489711 w 5248218"/>
                <a:gd name="connsiteY1613" fmla="*/ 3951628 h 4232411"/>
                <a:gd name="connsiteX1614" fmla="*/ 436510 w 5248218"/>
                <a:gd name="connsiteY1614" fmla="*/ 3898428 h 4232411"/>
                <a:gd name="connsiteX1615" fmla="*/ 383310 w 5248218"/>
                <a:gd name="connsiteY1615" fmla="*/ 3951628 h 4232411"/>
                <a:gd name="connsiteX1616" fmla="*/ 350797 w 5248218"/>
                <a:gd name="connsiteY1616" fmla="*/ 1906360 h 4232411"/>
                <a:gd name="connsiteX1617" fmla="*/ 383310 w 5248218"/>
                <a:gd name="connsiteY1617" fmla="*/ 1938870 h 4232411"/>
                <a:gd name="connsiteX1618" fmla="*/ 415820 w 5248218"/>
                <a:gd name="connsiteY1618" fmla="*/ 1906360 h 4232411"/>
                <a:gd name="connsiteX1619" fmla="*/ 383310 w 5248218"/>
                <a:gd name="connsiteY1619" fmla="*/ 1873847 h 4232411"/>
                <a:gd name="connsiteX1620" fmla="*/ 350797 w 5248218"/>
                <a:gd name="connsiteY1620" fmla="*/ 1906360 h 4232411"/>
                <a:gd name="connsiteX1621" fmla="*/ 350797 w 5248218"/>
                <a:gd name="connsiteY1621" fmla="*/ 1362530 h 4232411"/>
                <a:gd name="connsiteX1622" fmla="*/ 359665 w 5248218"/>
                <a:gd name="connsiteY1622" fmla="*/ 1371396 h 4232411"/>
                <a:gd name="connsiteX1623" fmla="*/ 368530 w 5248218"/>
                <a:gd name="connsiteY1623" fmla="*/ 1362530 h 4232411"/>
                <a:gd name="connsiteX1624" fmla="*/ 359665 w 5248218"/>
                <a:gd name="connsiteY1624" fmla="*/ 1353662 h 4232411"/>
                <a:gd name="connsiteX1625" fmla="*/ 350797 w 5248218"/>
                <a:gd name="connsiteY1625" fmla="*/ 1362530 h 4232411"/>
                <a:gd name="connsiteX1626" fmla="*/ 341931 w 5248218"/>
                <a:gd name="connsiteY1626" fmla="*/ 3295489 h 4232411"/>
                <a:gd name="connsiteX1627" fmla="*/ 406955 w 5248218"/>
                <a:gd name="connsiteY1627" fmla="*/ 3360512 h 4232411"/>
                <a:gd name="connsiteX1628" fmla="*/ 471978 w 5248218"/>
                <a:gd name="connsiteY1628" fmla="*/ 3295489 h 4232411"/>
                <a:gd name="connsiteX1629" fmla="*/ 406955 w 5248218"/>
                <a:gd name="connsiteY1629" fmla="*/ 3230466 h 4232411"/>
                <a:gd name="connsiteX1630" fmla="*/ 341931 w 5248218"/>
                <a:gd name="connsiteY1630" fmla="*/ 3295489 h 4232411"/>
                <a:gd name="connsiteX1631" fmla="*/ 330109 w 5248218"/>
                <a:gd name="connsiteY1631" fmla="*/ 2618656 h 4232411"/>
                <a:gd name="connsiteX1632" fmla="*/ 383310 w 5248218"/>
                <a:gd name="connsiteY1632" fmla="*/ 2671857 h 4232411"/>
                <a:gd name="connsiteX1633" fmla="*/ 433556 w 5248218"/>
                <a:gd name="connsiteY1633" fmla="*/ 2618656 h 4232411"/>
                <a:gd name="connsiteX1634" fmla="*/ 383310 w 5248218"/>
                <a:gd name="connsiteY1634" fmla="*/ 2565456 h 4232411"/>
                <a:gd name="connsiteX1635" fmla="*/ 330109 w 5248218"/>
                <a:gd name="connsiteY1635" fmla="*/ 2618656 h 4232411"/>
                <a:gd name="connsiteX1636" fmla="*/ 291685 w 5248218"/>
                <a:gd name="connsiteY1636" fmla="*/ 3493512 h 4232411"/>
                <a:gd name="connsiteX1637" fmla="*/ 359665 w 5248218"/>
                <a:gd name="connsiteY1637" fmla="*/ 3561492 h 4232411"/>
                <a:gd name="connsiteX1638" fmla="*/ 427642 w 5248218"/>
                <a:gd name="connsiteY1638" fmla="*/ 3493512 h 4232411"/>
                <a:gd name="connsiteX1639" fmla="*/ 359665 w 5248218"/>
                <a:gd name="connsiteY1639" fmla="*/ 3425536 h 4232411"/>
                <a:gd name="connsiteX1640" fmla="*/ 291685 w 5248218"/>
                <a:gd name="connsiteY1640" fmla="*/ 3493512 h 4232411"/>
                <a:gd name="connsiteX1641" fmla="*/ 288728 w 5248218"/>
                <a:gd name="connsiteY1641" fmla="*/ 2116206 h 4232411"/>
                <a:gd name="connsiteX1642" fmla="*/ 330106 w 5248218"/>
                <a:gd name="connsiteY1642" fmla="*/ 2157584 h 4232411"/>
                <a:gd name="connsiteX1643" fmla="*/ 371484 w 5248218"/>
                <a:gd name="connsiteY1643" fmla="*/ 2116206 h 4232411"/>
                <a:gd name="connsiteX1644" fmla="*/ 330106 w 5248218"/>
                <a:gd name="connsiteY1644" fmla="*/ 2074827 h 4232411"/>
                <a:gd name="connsiteX1645" fmla="*/ 288728 w 5248218"/>
                <a:gd name="connsiteY1645" fmla="*/ 2116206 h 4232411"/>
                <a:gd name="connsiteX1646" fmla="*/ 288728 w 5248218"/>
                <a:gd name="connsiteY1646" fmla="*/ 1581244 h 4232411"/>
                <a:gd name="connsiteX1647" fmla="*/ 300550 w 5248218"/>
                <a:gd name="connsiteY1647" fmla="*/ 1593067 h 4232411"/>
                <a:gd name="connsiteX1648" fmla="*/ 312372 w 5248218"/>
                <a:gd name="connsiteY1648" fmla="*/ 1581244 h 4232411"/>
                <a:gd name="connsiteX1649" fmla="*/ 300550 w 5248218"/>
                <a:gd name="connsiteY1649" fmla="*/ 1569422 h 4232411"/>
                <a:gd name="connsiteX1650" fmla="*/ 288728 w 5248218"/>
                <a:gd name="connsiteY1650" fmla="*/ 1581244 h 4232411"/>
                <a:gd name="connsiteX1651" fmla="*/ 279862 w 5248218"/>
                <a:gd name="connsiteY1651" fmla="*/ 2819637 h 4232411"/>
                <a:gd name="connsiteX1652" fmla="*/ 336017 w 5248218"/>
                <a:gd name="connsiteY1652" fmla="*/ 2875795 h 4232411"/>
                <a:gd name="connsiteX1653" fmla="*/ 392175 w 5248218"/>
                <a:gd name="connsiteY1653" fmla="*/ 2819637 h 4232411"/>
                <a:gd name="connsiteX1654" fmla="*/ 336017 w 5248218"/>
                <a:gd name="connsiteY1654" fmla="*/ 2763482 h 4232411"/>
                <a:gd name="connsiteX1655" fmla="*/ 279862 w 5248218"/>
                <a:gd name="connsiteY1655" fmla="*/ 2819637 h 4232411"/>
                <a:gd name="connsiteX1656" fmla="*/ 247349 w 5248218"/>
                <a:gd name="connsiteY1656" fmla="*/ 3691536 h 4232411"/>
                <a:gd name="connsiteX1657" fmla="*/ 315330 w 5248218"/>
                <a:gd name="connsiteY1657" fmla="*/ 3759516 h 4232411"/>
                <a:gd name="connsiteX1658" fmla="*/ 383307 w 5248218"/>
                <a:gd name="connsiteY1658" fmla="*/ 3691536 h 4232411"/>
                <a:gd name="connsiteX1659" fmla="*/ 315330 w 5248218"/>
                <a:gd name="connsiteY1659" fmla="*/ 3623558 h 4232411"/>
                <a:gd name="connsiteX1660" fmla="*/ 247349 w 5248218"/>
                <a:gd name="connsiteY1660" fmla="*/ 3691536 h 4232411"/>
                <a:gd name="connsiteX1661" fmla="*/ 244395 w 5248218"/>
                <a:gd name="connsiteY1661" fmla="*/ 3886605 h 4232411"/>
                <a:gd name="connsiteX1662" fmla="*/ 270997 w 5248218"/>
                <a:gd name="connsiteY1662" fmla="*/ 3913207 h 4232411"/>
                <a:gd name="connsiteX1663" fmla="*/ 297596 w 5248218"/>
                <a:gd name="connsiteY1663" fmla="*/ 3886605 h 4232411"/>
                <a:gd name="connsiteX1664" fmla="*/ 270997 w 5248218"/>
                <a:gd name="connsiteY1664" fmla="*/ 3860006 h 4232411"/>
                <a:gd name="connsiteX1665" fmla="*/ 244395 w 5248218"/>
                <a:gd name="connsiteY1665" fmla="*/ 3886605 h 4232411"/>
                <a:gd name="connsiteX1666" fmla="*/ 235530 w 5248218"/>
                <a:gd name="connsiteY1666" fmla="*/ 1229527 h 4232411"/>
                <a:gd name="connsiteX1667" fmla="*/ 241441 w 5248218"/>
                <a:gd name="connsiteY1667" fmla="*/ 1235438 h 4232411"/>
                <a:gd name="connsiteX1668" fmla="*/ 247352 w 5248218"/>
                <a:gd name="connsiteY1668" fmla="*/ 1229527 h 4232411"/>
                <a:gd name="connsiteX1669" fmla="*/ 241441 w 5248218"/>
                <a:gd name="connsiteY1669" fmla="*/ 1223616 h 4232411"/>
                <a:gd name="connsiteX1670" fmla="*/ 235530 w 5248218"/>
                <a:gd name="connsiteY1670" fmla="*/ 1229527 h 4232411"/>
                <a:gd name="connsiteX1671" fmla="*/ 229616 w 5248218"/>
                <a:gd name="connsiteY1671" fmla="*/ 3020618 h 4232411"/>
                <a:gd name="connsiteX1672" fmla="*/ 291682 w 5248218"/>
                <a:gd name="connsiteY1672" fmla="*/ 3082686 h 4232411"/>
                <a:gd name="connsiteX1673" fmla="*/ 353751 w 5248218"/>
                <a:gd name="connsiteY1673" fmla="*/ 3020618 h 4232411"/>
                <a:gd name="connsiteX1674" fmla="*/ 291682 w 5248218"/>
                <a:gd name="connsiteY1674" fmla="*/ 2958552 h 4232411"/>
                <a:gd name="connsiteX1675" fmla="*/ 229616 w 5248218"/>
                <a:gd name="connsiteY1675" fmla="*/ 3020618 h 4232411"/>
                <a:gd name="connsiteX1676" fmla="*/ 229616 w 5248218"/>
                <a:gd name="connsiteY1676" fmla="*/ 2323097 h 4232411"/>
                <a:gd name="connsiteX1677" fmla="*/ 279862 w 5248218"/>
                <a:gd name="connsiteY1677" fmla="*/ 2373341 h 4232411"/>
                <a:gd name="connsiteX1678" fmla="*/ 330106 w 5248218"/>
                <a:gd name="connsiteY1678" fmla="*/ 2323097 h 4232411"/>
                <a:gd name="connsiteX1679" fmla="*/ 279862 w 5248218"/>
                <a:gd name="connsiteY1679" fmla="*/ 2272850 h 4232411"/>
                <a:gd name="connsiteX1680" fmla="*/ 229616 w 5248218"/>
                <a:gd name="connsiteY1680" fmla="*/ 2323097 h 4232411"/>
                <a:gd name="connsiteX1681" fmla="*/ 223708 w 5248218"/>
                <a:gd name="connsiteY1681" fmla="*/ 1797001 h 4232411"/>
                <a:gd name="connsiteX1682" fmla="*/ 241441 w 5248218"/>
                <a:gd name="connsiteY1682" fmla="*/ 1814735 h 4232411"/>
                <a:gd name="connsiteX1683" fmla="*/ 259175 w 5248218"/>
                <a:gd name="connsiteY1683" fmla="*/ 1797001 h 4232411"/>
                <a:gd name="connsiteX1684" fmla="*/ 241441 w 5248218"/>
                <a:gd name="connsiteY1684" fmla="*/ 1779268 h 4232411"/>
                <a:gd name="connsiteX1685" fmla="*/ 223708 w 5248218"/>
                <a:gd name="connsiteY1685" fmla="*/ 1797001 h 4232411"/>
                <a:gd name="connsiteX1686" fmla="*/ 208928 w 5248218"/>
                <a:gd name="connsiteY1686" fmla="*/ 848257 h 4232411"/>
                <a:gd name="connsiteX1687" fmla="*/ 214839 w 5248218"/>
                <a:gd name="connsiteY1687" fmla="*/ 854168 h 4232411"/>
                <a:gd name="connsiteX1688" fmla="*/ 220751 w 5248218"/>
                <a:gd name="connsiteY1688" fmla="*/ 848257 h 4232411"/>
                <a:gd name="connsiteX1689" fmla="*/ 214839 w 5248218"/>
                <a:gd name="connsiteY1689" fmla="*/ 842346 h 4232411"/>
                <a:gd name="connsiteX1690" fmla="*/ 208928 w 5248218"/>
                <a:gd name="connsiteY1690" fmla="*/ 848257 h 4232411"/>
                <a:gd name="connsiteX1691" fmla="*/ 179372 w 5248218"/>
                <a:gd name="connsiteY1691" fmla="*/ 3218640 h 4232411"/>
                <a:gd name="connsiteX1692" fmla="*/ 244395 w 5248218"/>
                <a:gd name="connsiteY1692" fmla="*/ 3283664 h 4232411"/>
                <a:gd name="connsiteX1693" fmla="*/ 309418 w 5248218"/>
                <a:gd name="connsiteY1693" fmla="*/ 3218640 h 4232411"/>
                <a:gd name="connsiteX1694" fmla="*/ 244395 w 5248218"/>
                <a:gd name="connsiteY1694" fmla="*/ 3153618 h 4232411"/>
                <a:gd name="connsiteX1695" fmla="*/ 179372 w 5248218"/>
                <a:gd name="connsiteY1695" fmla="*/ 3218640 h 4232411"/>
                <a:gd name="connsiteX1696" fmla="*/ 173461 w 5248218"/>
                <a:gd name="connsiteY1696" fmla="*/ 2527032 h 4232411"/>
                <a:gd name="connsiteX1697" fmla="*/ 229619 w 5248218"/>
                <a:gd name="connsiteY1697" fmla="*/ 2583190 h 4232411"/>
                <a:gd name="connsiteX1698" fmla="*/ 285774 w 5248218"/>
                <a:gd name="connsiteY1698" fmla="*/ 2527032 h 4232411"/>
                <a:gd name="connsiteX1699" fmla="*/ 229619 w 5248218"/>
                <a:gd name="connsiteY1699" fmla="*/ 2470877 h 4232411"/>
                <a:gd name="connsiteX1700" fmla="*/ 173461 w 5248218"/>
                <a:gd name="connsiteY1700" fmla="*/ 2527032 h 4232411"/>
                <a:gd name="connsiteX1701" fmla="*/ 161639 w 5248218"/>
                <a:gd name="connsiteY1701" fmla="*/ 1454152 h 4232411"/>
                <a:gd name="connsiteX1702" fmla="*/ 173461 w 5248218"/>
                <a:gd name="connsiteY1702" fmla="*/ 1465975 h 4232411"/>
                <a:gd name="connsiteX1703" fmla="*/ 185283 w 5248218"/>
                <a:gd name="connsiteY1703" fmla="*/ 1454152 h 4232411"/>
                <a:gd name="connsiteX1704" fmla="*/ 173461 w 5248218"/>
                <a:gd name="connsiteY1704" fmla="*/ 1442330 h 4232411"/>
                <a:gd name="connsiteX1705" fmla="*/ 161639 w 5248218"/>
                <a:gd name="connsiteY1705" fmla="*/ 1454152 h 4232411"/>
                <a:gd name="connsiteX1706" fmla="*/ 152770 w 5248218"/>
                <a:gd name="connsiteY1706" fmla="*/ 2009804 h 4232411"/>
                <a:gd name="connsiteX1707" fmla="*/ 188237 w 5248218"/>
                <a:gd name="connsiteY1707" fmla="*/ 2045271 h 4232411"/>
                <a:gd name="connsiteX1708" fmla="*/ 223705 w 5248218"/>
                <a:gd name="connsiteY1708" fmla="*/ 2009804 h 4232411"/>
                <a:gd name="connsiteX1709" fmla="*/ 188237 w 5248218"/>
                <a:gd name="connsiteY1709" fmla="*/ 1974337 h 4232411"/>
                <a:gd name="connsiteX1710" fmla="*/ 152770 w 5248218"/>
                <a:gd name="connsiteY1710" fmla="*/ 2009804 h 4232411"/>
                <a:gd name="connsiteX1711" fmla="*/ 132083 w 5248218"/>
                <a:gd name="connsiteY1711" fmla="*/ 3419624 h 4232411"/>
                <a:gd name="connsiteX1712" fmla="*/ 197106 w 5248218"/>
                <a:gd name="connsiteY1712" fmla="*/ 3484647 h 4232411"/>
                <a:gd name="connsiteX1713" fmla="*/ 262129 w 5248218"/>
                <a:gd name="connsiteY1713" fmla="*/ 3419624 h 4232411"/>
                <a:gd name="connsiteX1714" fmla="*/ 197106 w 5248218"/>
                <a:gd name="connsiteY1714" fmla="*/ 3354601 h 4232411"/>
                <a:gd name="connsiteX1715" fmla="*/ 132083 w 5248218"/>
                <a:gd name="connsiteY1715" fmla="*/ 3419624 h 4232411"/>
                <a:gd name="connsiteX1716" fmla="*/ 126171 w 5248218"/>
                <a:gd name="connsiteY1716" fmla="*/ 1087659 h 4232411"/>
                <a:gd name="connsiteX1717" fmla="*/ 132083 w 5248218"/>
                <a:gd name="connsiteY1717" fmla="*/ 1093570 h 4232411"/>
                <a:gd name="connsiteX1718" fmla="*/ 137994 w 5248218"/>
                <a:gd name="connsiteY1718" fmla="*/ 1087659 h 4232411"/>
                <a:gd name="connsiteX1719" fmla="*/ 132083 w 5248218"/>
                <a:gd name="connsiteY1719" fmla="*/ 1081748 h 4232411"/>
                <a:gd name="connsiteX1720" fmla="*/ 126171 w 5248218"/>
                <a:gd name="connsiteY1720" fmla="*/ 1087659 h 4232411"/>
                <a:gd name="connsiteX1721" fmla="*/ 117306 w 5248218"/>
                <a:gd name="connsiteY1721" fmla="*/ 2730969 h 4232411"/>
                <a:gd name="connsiteX1722" fmla="*/ 182329 w 5248218"/>
                <a:gd name="connsiteY1722" fmla="*/ 2795992 h 4232411"/>
                <a:gd name="connsiteX1723" fmla="*/ 247352 w 5248218"/>
                <a:gd name="connsiteY1723" fmla="*/ 2730969 h 4232411"/>
                <a:gd name="connsiteX1724" fmla="*/ 182329 w 5248218"/>
                <a:gd name="connsiteY1724" fmla="*/ 2665946 h 4232411"/>
                <a:gd name="connsiteX1725" fmla="*/ 117306 w 5248218"/>
                <a:gd name="connsiteY1725" fmla="*/ 2730969 h 4232411"/>
                <a:gd name="connsiteX1726" fmla="*/ 93662 w 5248218"/>
                <a:gd name="connsiteY1726" fmla="*/ 1675824 h 4232411"/>
                <a:gd name="connsiteX1727" fmla="*/ 111395 w 5248218"/>
                <a:gd name="connsiteY1727" fmla="*/ 1693557 h 4232411"/>
                <a:gd name="connsiteX1728" fmla="*/ 129129 w 5248218"/>
                <a:gd name="connsiteY1728" fmla="*/ 1675824 h 4232411"/>
                <a:gd name="connsiteX1729" fmla="*/ 111395 w 5248218"/>
                <a:gd name="connsiteY1729" fmla="*/ 1658090 h 4232411"/>
                <a:gd name="connsiteX1730" fmla="*/ 93662 w 5248218"/>
                <a:gd name="connsiteY1730" fmla="*/ 1675824 h 4232411"/>
                <a:gd name="connsiteX1731" fmla="*/ 90704 w 5248218"/>
                <a:gd name="connsiteY1731" fmla="*/ 2219653 h 4232411"/>
                <a:gd name="connsiteX1732" fmla="*/ 135040 w 5248218"/>
                <a:gd name="connsiteY1732" fmla="*/ 2263985 h 4232411"/>
                <a:gd name="connsiteX1733" fmla="*/ 179372 w 5248218"/>
                <a:gd name="connsiteY1733" fmla="*/ 2219653 h 4232411"/>
                <a:gd name="connsiteX1734" fmla="*/ 135040 w 5248218"/>
                <a:gd name="connsiteY1734" fmla="*/ 2175318 h 4232411"/>
                <a:gd name="connsiteX1735" fmla="*/ 90704 w 5248218"/>
                <a:gd name="connsiteY1735" fmla="*/ 2219653 h 4232411"/>
                <a:gd name="connsiteX1736" fmla="*/ 87750 w 5248218"/>
                <a:gd name="connsiteY1736" fmla="*/ 3617648 h 4232411"/>
                <a:gd name="connsiteX1737" fmla="*/ 152773 w 5248218"/>
                <a:gd name="connsiteY1737" fmla="*/ 3682670 h 4232411"/>
                <a:gd name="connsiteX1738" fmla="*/ 217796 w 5248218"/>
                <a:gd name="connsiteY1738" fmla="*/ 3617648 h 4232411"/>
                <a:gd name="connsiteX1739" fmla="*/ 152773 w 5248218"/>
                <a:gd name="connsiteY1739" fmla="*/ 3552624 h 4232411"/>
                <a:gd name="connsiteX1740" fmla="*/ 87750 w 5248218"/>
                <a:gd name="connsiteY1740" fmla="*/ 3617648 h 4232411"/>
                <a:gd name="connsiteX1741" fmla="*/ 67060 w 5248218"/>
                <a:gd name="connsiteY1741" fmla="*/ 2934906 h 4232411"/>
                <a:gd name="connsiteX1742" fmla="*/ 132083 w 5248218"/>
                <a:gd name="connsiteY1742" fmla="*/ 2999930 h 4232411"/>
                <a:gd name="connsiteX1743" fmla="*/ 197106 w 5248218"/>
                <a:gd name="connsiteY1743" fmla="*/ 2934906 h 4232411"/>
                <a:gd name="connsiteX1744" fmla="*/ 132083 w 5248218"/>
                <a:gd name="connsiteY1744" fmla="*/ 2869884 h 4232411"/>
                <a:gd name="connsiteX1745" fmla="*/ 67060 w 5248218"/>
                <a:gd name="connsiteY1745" fmla="*/ 2934906 h 4232411"/>
                <a:gd name="connsiteX1746" fmla="*/ 58194 w 5248218"/>
                <a:gd name="connsiteY1746" fmla="*/ 529050 h 4232411"/>
                <a:gd name="connsiteX1747" fmla="*/ 61148 w 5248218"/>
                <a:gd name="connsiteY1747" fmla="*/ 532007 h 4232411"/>
                <a:gd name="connsiteX1748" fmla="*/ 64106 w 5248218"/>
                <a:gd name="connsiteY1748" fmla="*/ 529050 h 4232411"/>
                <a:gd name="connsiteX1749" fmla="*/ 61148 w 5248218"/>
                <a:gd name="connsiteY1749" fmla="*/ 526096 h 4232411"/>
                <a:gd name="connsiteX1750" fmla="*/ 58194 w 5248218"/>
                <a:gd name="connsiteY1750" fmla="*/ 529050 h 4232411"/>
                <a:gd name="connsiteX1751" fmla="*/ 55237 w 5248218"/>
                <a:gd name="connsiteY1751" fmla="*/ 4013697 h 4232411"/>
                <a:gd name="connsiteX1752" fmla="*/ 61148 w 5248218"/>
                <a:gd name="connsiteY1752" fmla="*/ 4019608 h 4232411"/>
                <a:gd name="connsiteX1753" fmla="*/ 67060 w 5248218"/>
                <a:gd name="connsiteY1753" fmla="*/ 4013697 h 4232411"/>
                <a:gd name="connsiteX1754" fmla="*/ 61148 w 5248218"/>
                <a:gd name="connsiteY1754" fmla="*/ 4007786 h 4232411"/>
                <a:gd name="connsiteX1755" fmla="*/ 55237 w 5248218"/>
                <a:gd name="connsiteY1755" fmla="*/ 4013697 h 4232411"/>
                <a:gd name="connsiteX1756" fmla="*/ 51913 w 5248218"/>
                <a:gd name="connsiteY1756" fmla="*/ 1325216 h 4232411"/>
                <a:gd name="connsiteX1757" fmla="*/ 58194 w 5248218"/>
                <a:gd name="connsiteY1757" fmla="*/ 1327063 h 4232411"/>
                <a:gd name="connsiteX1758" fmla="*/ 64106 w 5248218"/>
                <a:gd name="connsiteY1758" fmla="*/ 1321152 h 4232411"/>
                <a:gd name="connsiteX1759" fmla="*/ 58194 w 5248218"/>
                <a:gd name="connsiteY1759" fmla="*/ 1315241 h 4232411"/>
                <a:gd name="connsiteX1760" fmla="*/ 52283 w 5248218"/>
                <a:gd name="connsiteY1760" fmla="*/ 1321152 h 4232411"/>
                <a:gd name="connsiteX1761" fmla="*/ 51913 w 5248218"/>
                <a:gd name="connsiteY1761" fmla="*/ 1325216 h 4232411"/>
                <a:gd name="connsiteX1762" fmla="*/ 34550 w 5248218"/>
                <a:gd name="connsiteY1762" fmla="*/ 3815670 h 4232411"/>
                <a:gd name="connsiteX1763" fmla="*/ 105484 w 5248218"/>
                <a:gd name="connsiteY1763" fmla="*/ 3886605 h 4232411"/>
                <a:gd name="connsiteX1764" fmla="*/ 176418 w 5248218"/>
                <a:gd name="connsiteY1764" fmla="*/ 3815670 h 4232411"/>
                <a:gd name="connsiteX1765" fmla="*/ 105484 w 5248218"/>
                <a:gd name="connsiteY1765" fmla="*/ 3744736 h 4232411"/>
                <a:gd name="connsiteX1766" fmla="*/ 34550 w 5248218"/>
                <a:gd name="connsiteY1766" fmla="*/ 3815670 h 4232411"/>
                <a:gd name="connsiteX1767" fmla="*/ 31592 w 5248218"/>
                <a:gd name="connsiteY1767" fmla="*/ 2426544 h 4232411"/>
                <a:gd name="connsiteX1768" fmla="*/ 81836 w 5248218"/>
                <a:gd name="connsiteY1768" fmla="*/ 2476788 h 4232411"/>
                <a:gd name="connsiteX1769" fmla="*/ 132083 w 5248218"/>
                <a:gd name="connsiteY1769" fmla="*/ 2426544 h 4232411"/>
                <a:gd name="connsiteX1770" fmla="*/ 81836 w 5248218"/>
                <a:gd name="connsiteY1770" fmla="*/ 2376298 h 4232411"/>
                <a:gd name="connsiteX1771" fmla="*/ 31592 w 5248218"/>
                <a:gd name="connsiteY1771" fmla="*/ 2426544 h 4232411"/>
                <a:gd name="connsiteX1772" fmla="*/ 25681 w 5248218"/>
                <a:gd name="connsiteY1772" fmla="*/ 936922 h 4232411"/>
                <a:gd name="connsiteX1773" fmla="*/ 34550 w 5248218"/>
                <a:gd name="connsiteY1773" fmla="*/ 945790 h 4232411"/>
                <a:gd name="connsiteX1774" fmla="*/ 43415 w 5248218"/>
                <a:gd name="connsiteY1774" fmla="*/ 936922 h 4232411"/>
                <a:gd name="connsiteX1775" fmla="*/ 34550 w 5248218"/>
                <a:gd name="connsiteY1775" fmla="*/ 928056 h 4232411"/>
                <a:gd name="connsiteX1776" fmla="*/ 25681 w 5248218"/>
                <a:gd name="connsiteY1776" fmla="*/ 936922 h 4232411"/>
                <a:gd name="connsiteX1777" fmla="*/ 19770 w 5248218"/>
                <a:gd name="connsiteY1777" fmla="*/ 3135884 h 4232411"/>
                <a:gd name="connsiteX1778" fmla="*/ 84793 w 5248218"/>
                <a:gd name="connsiteY1778" fmla="*/ 3200907 h 4232411"/>
                <a:gd name="connsiteX1779" fmla="*/ 149816 w 5248218"/>
                <a:gd name="connsiteY1779" fmla="*/ 3135884 h 4232411"/>
                <a:gd name="connsiteX1780" fmla="*/ 84793 w 5248218"/>
                <a:gd name="connsiteY1780" fmla="*/ 3070861 h 4232411"/>
                <a:gd name="connsiteX1781" fmla="*/ 19770 w 5248218"/>
                <a:gd name="connsiteY1781" fmla="*/ 3135884 h 4232411"/>
                <a:gd name="connsiteX1782" fmla="*/ 13859 w 5248218"/>
                <a:gd name="connsiteY1782" fmla="*/ 1894538 h 4232411"/>
                <a:gd name="connsiteX1783" fmla="*/ 52280 w 5248218"/>
                <a:gd name="connsiteY1783" fmla="*/ 1932959 h 4232411"/>
                <a:gd name="connsiteX1784" fmla="*/ 90704 w 5248218"/>
                <a:gd name="connsiteY1784" fmla="*/ 1894538 h 4232411"/>
                <a:gd name="connsiteX1785" fmla="*/ 52280 w 5248218"/>
                <a:gd name="connsiteY1785" fmla="*/ 1856113 h 4232411"/>
                <a:gd name="connsiteX1786" fmla="*/ 13859 w 5248218"/>
                <a:gd name="connsiteY1786" fmla="*/ 1894538 h 4232411"/>
                <a:gd name="connsiteX1787" fmla="*/ 0 w 5248218"/>
                <a:gd name="connsiteY1787" fmla="*/ 3728807 h 4232411"/>
                <a:gd name="connsiteX1788" fmla="*/ 0 w 5248218"/>
                <a:gd name="connsiteY1788" fmla="*/ 3748849 h 4232411"/>
                <a:gd name="connsiteX1789" fmla="*/ 2037 w 5248218"/>
                <a:gd name="connsiteY1789" fmla="*/ 3738828 h 4232411"/>
                <a:gd name="connsiteX1790" fmla="*/ 0 w 5248218"/>
                <a:gd name="connsiteY1790" fmla="*/ 3477794 h 4232411"/>
                <a:gd name="connsiteX1791" fmla="*/ 0 w 5248218"/>
                <a:gd name="connsiteY1791" fmla="*/ 3603810 h 4232411"/>
                <a:gd name="connsiteX1792" fmla="*/ 15337 w 5248218"/>
                <a:gd name="connsiteY1792" fmla="*/ 3600653 h 4232411"/>
                <a:gd name="connsiteX1793" fmla="*/ 55237 w 5248218"/>
                <a:gd name="connsiteY1793" fmla="*/ 3540802 h 4232411"/>
                <a:gd name="connsiteX1794" fmla="*/ 15337 w 5248218"/>
                <a:gd name="connsiteY1794" fmla="*/ 3480951 h 4232411"/>
                <a:gd name="connsiteX1795" fmla="*/ 0 w 5248218"/>
                <a:gd name="connsiteY1795" fmla="*/ 3292249 h 4232411"/>
                <a:gd name="connsiteX1796" fmla="*/ 0 w 5248218"/>
                <a:gd name="connsiteY1796" fmla="*/ 3380812 h 4232411"/>
                <a:gd name="connsiteX1797" fmla="*/ 14968 w 5248218"/>
                <a:gd name="connsiteY1797" fmla="*/ 3391312 h 4232411"/>
                <a:gd name="connsiteX1798" fmla="*/ 37504 w 5248218"/>
                <a:gd name="connsiteY1798" fmla="*/ 3395976 h 4232411"/>
                <a:gd name="connsiteX1799" fmla="*/ 96616 w 5248218"/>
                <a:gd name="connsiteY1799" fmla="*/ 3336864 h 4232411"/>
                <a:gd name="connsiteX1800" fmla="*/ 37504 w 5248218"/>
                <a:gd name="connsiteY1800" fmla="*/ 3277752 h 4232411"/>
                <a:gd name="connsiteX1801" fmla="*/ 14552 w 5248218"/>
                <a:gd name="connsiteY1801" fmla="*/ 3282417 h 4232411"/>
                <a:gd name="connsiteX1802" fmla="*/ 0 w 5248218"/>
                <a:gd name="connsiteY1802" fmla="*/ 2782098 h 4232411"/>
                <a:gd name="connsiteX1803" fmla="*/ 0 w 5248218"/>
                <a:gd name="connsiteY1803" fmla="*/ 2904465 h 4232411"/>
                <a:gd name="connsiteX1804" fmla="*/ 6472 w 5248218"/>
                <a:gd name="connsiteY1804" fmla="*/ 2903133 h 4232411"/>
                <a:gd name="connsiteX1805" fmla="*/ 46372 w 5248218"/>
                <a:gd name="connsiteY1805" fmla="*/ 2843282 h 4232411"/>
                <a:gd name="connsiteX1806" fmla="*/ 6472 w 5248218"/>
                <a:gd name="connsiteY1806" fmla="*/ 2783430 h 4232411"/>
                <a:gd name="connsiteX1807" fmla="*/ 0 w 5248218"/>
                <a:gd name="connsiteY1807" fmla="*/ 2587781 h 4232411"/>
                <a:gd name="connsiteX1808" fmla="*/ 0 w 5248218"/>
                <a:gd name="connsiteY1808" fmla="*/ 2685000 h 4232411"/>
                <a:gd name="connsiteX1809" fmla="*/ 8641 w 5248218"/>
                <a:gd name="connsiteY1809" fmla="*/ 2690838 h 4232411"/>
                <a:gd name="connsiteX1810" fmla="*/ 31592 w 5248218"/>
                <a:gd name="connsiteY1810" fmla="*/ 2695502 h 4232411"/>
                <a:gd name="connsiteX1811" fmla="*/ 90704 w 5248218"/>
                <a:gd name="connsiteY1811" fmla="*/ 2636390 h 4232411"/>
                <a:gd name="connsiteX1812" fmla="*/ 31592 w 5248218"/>
                <a:gd name="connsiteY1812" fmla="*/ 2577278 h 4232411"/>
                <a:gd name="connsiteX1813" fmla="*/ 8641 w 5248218"/>
                <a:gd name="connsiteY1813" fmla="*/ 2581943 h 4232411"/>
                <a:gd name="connsiteX1814" fmla="*/ 0 w 5248218"/>
                <a:gd name="connsiteY1814" fmla="*/ 2058460 h 4232411"/>
                <a:gd name="connsiteX1815" fmla="*/ 0 w 5248218"/>
                <a:gd name="connsiteY1815" fmla="*/ 2162129 h 4232411"/>
                <a:gd name="connsiteX1816" fmla="*/ 13953 w 5248218"/>
                <a:gd name="connsiteY1816" fmla="*/ 2159339 h 4232411"/>
                <a:gd name="connsiteX1817" fmla="*/ 46372 w 5248218"/>
                <a:gd name="connsiteY1817" fmla="*/ 2110294 h 4232411"/>
                <a:gd name="connsiteX1818" fmla="*/ 13953 w 5248218"/>
                <a:gd name="connsiteY1818" fmla="*/ 2061250 h 4232411"/>
                <a:gd name="connsiteX1819" fmla="*/ 0 w 5248218"/>
                <a:gd name="connsiteY1819" fmla="*/ 1540407 h 4232411"/>
                <a:gd name="connsiteX1820" fmla="*/ 0 w 5248218"/>
                <a:gd name="connsiteY1820" fmla="*/ 1551146 h 4232411"/>
                <a:gd name="connsiteX1821" fmla="*/ 2037 w 5248218"/>
                <a:gd name="connsiteY1821" fmla="*/ 1545777 h 423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Lst>
              <a:rect l="l" t="t" r="r" b="b"/>
              <a:pathLst>
                <a:path w="5248218" h="4232411">
                  <a:moveTo>
                    <a:pt x="5236026" y="541982"/>
                  </a:moveTo>
                  <a:cubicBezTo>
                    <a:pt x="5237134" y="543090"/>
                    <a:pt x="5239352" y="543829"/>
                    <a:pt x="5242307" y="543829"/>
                  </a:cubicBezTo>
                  <a:cubicBezTo>
                    <a:pt x="5245261" y="543829"/>
                    <a:pt x="5248218" y="540875"/>
                    <a:pt x="5248218" y="537918"/>
                  </a:cubicBezTo>
                  <a:cubicBezTo>
                    <a:pt x="5248218" y="534961"/>
                    <a:pt x="5245261" y="532007"/>
                    <a:pt x="5242307" y="532007"/>
                  </a:cubicBezTo>
                  <a:cubicBezTo>
                    <a:pt x="5239350" y="532007"/>
                    <a:pt x="5236396" y="534961"/>
                    <a:pt x="5236396" y="537918"/>
                  </a:cubicBezTo>
                  <a:cubicBezTo>
                    <a:pt x="5234917" y="539396"/>
                    <a:pt x="5234917" y="540874"/>
                    <a:pt x="5236026" y="541982"/>
                  </a:cubicBezTo>
                  <a:close/>
                  <a:moveTo>
                    <a:pt x="5230482" y="1223616"/>
                  </a:moveTo>
                  <a:cubicBezTo>
                    <a:pt x="5230482" y="1223616"/>
                    <a:pt x="5230482" y="1226573"/>
                    <a:pt x="5233439" y="1226573"/>
                  </a:cubicBezTo>
                  <a:cubicBezTo>
                    <a:pt x="5236393" y="1226573"/>
                    <a:pt x="5236393" y="1223616"/>
                    <a:pt x="5236393" y="1223616"/>
                  </a:cubicBezTo>
                  <a:cubicBezTo>
                    <a:pt x="5236393" y="1220662"/>
                    <a:pt x="5233439" y="1220662"/>
                    <a:pt x="5233439" y="1220662"/>
                  </a:cubicBezTo>
                  <a:cubicBezTo>
                    <a:pt x="5230482" y="1220662"/>
                    <a:pt x="5230482" y="1223616"/>
                    <a:pt x="5230482" y="1223616"/>
                  </a:cubicBezTo>
                  <a:close/>
                  <a:moveTo>
                    <a:pt x="5192060" y="712300"/>
                  </a:moveTo>
                  <a:cubicBezTo>
                    <a:pt x="5192060" y="715254"/>
                    <a:pt x="5195018" y="718211"/>
                    <a:pt x="5197972" y="718211"/>
                  </a:cubicBezTo>
                  <a:cubicBezTo>
                    <a:pt x="5200926" y="718211"/>
                    <a:pt x="5203883" y="715254"/>
                    <a:pt x="5203883" y="712300"/>
                  </a:cubicBezTo>
                  <a:cubicBezTo>
                    <a:pt x="5203883" y="709343"/>
                    <a:pt x="5200926" y="706389"/>
                    <a:pt x="5197972" y="706389"/>
                  </a:cubicBezTo>
                  <a:cubicBezTo>
                    <a:pt x="5195018" y="706389"/>
                    <a:pt x="5192060" y="709343"/>
                    <a:pt x="5192060" y="712300"/>
                  </a:cubicBezTo>
                  <a:close/>
                  <a:moveTo>
                    <a:pt x="5153636" y="1383218"/>
                  </a:moveTo>
                  <a:cubicBezTo>
                    <a:pt x="5153636" y="1386172"/>
                    <a:pt x="5156593" y="1389129"/>
                    <a:pt x="5159547" y="1389129"/>
                  </a:cubicBezTo>
                  <a:cubicBezTo>
                    <a:pt x="5162504" y="1389129"/>
                    <a:pt x="5165459" y="1386172"/>
                    <a:pt x="5165459" y="1383218"/>
                  </a:cubicBezTo>
                  <a:cubicBezTo>
                    <a:pt x="5165459" y="1380261"/>
                    <a:pt x="5162504" y="1377307"/>
                    <a:pt x="5159547" y="1377307"/>
                  </a:cubicBezTo>
                  <a:cubicBezTo>
                    <a:pt x="5156593" y="1377307"/>
                    <a:pt x="5153636" y="1380261"/>
                    <a:pt x="5153636" y="1383218"/>
                  </a:cubicBezTo>
                  <a:close/>
                  <a:moveTo>
                    <a:pt x="5144771" y="883721"/>
                  </a:moveTo>
                  <a:cubicBezTo>
                    <a:pt x="5144771" y="886678"/>
                    <a:pt x="5144771" y="886678"/>
                    <a:pt x="5147728" y="886678"/>
                  </a:cubicBezTo>
                  <a:cubicBezTo>
                    <a:pt x="5150682" y="886678"/>
                    <a:pt x="5150682" y="883721"/>
                    <a:pt x="5150682" y="883721"/>
                  </a:cubicBezTo>
                  <a:cubicBezTo>
                    <a:pt x="5150682" y="880767"/>
                    <a:pt x="5147728" y="880767"/>
                    <a:pt x="5147728" y="880767"/>
                  </a:cubicBezTo>
                  <a:cubicBezTo>
                    <a:pt x="5144771" y="880767"/>
                    <a:pt x="5144771" y="883721"/>
                    <a:pt x="5144771" y="883721"/>
                  </a:cubicBezTo>
                  <a:close/>
                  <a:moveTo>
                    <a:pt x="5093786" y="187681"/>
                  </a:moveTo>
                  <a:cubicBezTo>
                    <a:pt x="5094525" y="188419"/>
                    <a:pt x="5096003" y="189158"/>
                    <a:pt x="5097481" y="189158"/>
                  </a:cubicBezTo>
                  <a:cubicBezTo>
                    <a:pt x="5100435" y="189158"/>
                    <a:pt x="5100435" y="186204"/>
                    <a:pt x="5100435" y="186204"/>
                  </a:cubicBezTo>
                  <a:cubicBezTo>
                    <a:pt x="5100435" y="183247"/>
                    <a:pt x="5097481" y="183247"/>
                    <a:pt x="5097481" y="183247"/>
                  </a:cubicBezTo>
                  <a:cubicBezTo>
                    <a:pt x="5097481" y="183247"/>
                    <a:pt x="5094524" y="186204"/>
                    <a:pt x="5094524" y="186204"/>
                  </a:cubicBezTo>
                  <a:cubicBezTo>
                    <a:pt x="5093047" y="186204"/>
                    <a:pt x="5093047" y="186942"/>
                    <a:pt x="5093786" y="187681"/>
                  </a:cubicBezTo>
                  <a:close/>
                  <a:moveTo>
                    <a:pt x="5084918" y="1054779"/>
                  </a:moveTo>
                  <a:cubicBezTo>
                    <a:pt x="5085657" y="1055149"/>
                    <a:pt x="5087134" y="1055149"/>
                    <a:pt x="5088613" y="1055149"/>
                  </a:cubicBezTo>
                  <a:cubicBezTo>
                    <a:pt x="5091570" y="1055149"/>
                    <a:pt x="5091570" y="1052192"/>
                    <a:pt x="5091570" y="1052192"/>
                  </a:cubicBezTo>
                  <a:cubicBezTo>
                    <a:pt x="5091570" y="1049238"/>
                    <a:pt x="5088613" y="1049238"/>
                    <a:pt x="5088613" y="1049238"/>
                  </a:cubicBezTo>
                  <a:cubicBezTo>
                    <a:pt x="5085656" y="1049238"/>
                    <a:pt x="5085656" y="1052192"/>
                    <a:pt x="5085656" y="1052192"/>
                  </a:cubicBezTo>
                  <a:cubicBezTo>
                    <a:pt x="5084179" y="1053670"/>
                    <a:pt x="5084179" y="1054410"/>
                    <a:pt x="5084918" y="1054779"/>
                  </a:cubicBezTo>
                  <a:close/>
                  <a:moveTo>
                    <a:pt x="5064968" y="360582"/>
                  </a:moveTo>
                  <a:cubicBezTo>
                    <a:pt x="5064968" y="366494"/>
                    <a:pt x="5067925" y="366494"/>
                    <a:pt x="5070879" y="366494"/>
                  </a:cubicBezTo>
                  <a:cubicBezTo>
                    <a:pt x="5073837" y="366494"/>
                    <a:pt x="5076791" y="363540"/>
                    <a:pt x="5076791" y="360582"/>
                  </a:cubicBezTo>
                  <a:cubicBezTo>
                    <a:pt x="5076791" y="357625"/>
                    <a:pt x="5073837" y="354671"/>
                    <a:pt x="5070879" y="354671"/>
                  </a:cubicBezTo>
                  <a:cubicBezTo>
                    <a:pt x="5067925" y="354671"/>
                    <a:pt x="5064968" y="357625"/>
                    <a:pt x="5064968" y="360582"/>
                  </a:cubicBezTo>
                  <a:close/>
                  <a:moveTo>
                    <a:pt x="5032458" y="534964"/>
                  </a:moveTo>
                  <a:cubicBezTo>
                    <a:pt x="5032458" y="540875"/>
                    <a:pt x="5035412" y="540875"/>
                    <a:pt x="5038369" y="540875"/>
                  </a:cubicBezTo>
                  <a:cubicBezTo>
                    <a:pt x="5041324" y="540875"/>
                    <a:pt x="5044281" y="537918"/>
                    <a:pt x="5044281" y="534964"/>
                  </a:cubicBezTo>
                  <a:cubicBezTo>
                    <a:pt x="5044281" y="532007"/>
                    <a:pt x="5041324" y="529053"/>
                    <a:pt x="5038369" y="529053"/>
                  </a:cubicBezTo>
                  <a:cubicBezTo>
                    <a:pt x="5035412" y="529053"/>
                    <a:pt x="5032458" y="532007"/>
                    <a:pt x="5032458" y="534964"/>
                  </a:cubicBezTo>
                  <a:close/>
                  <a:moveTo>
                    <a:pt x="5014725" y="2009804"/>
                  </a:moveTo>
                  <a:cubicBezTo>
                    <a:pt x="5014725" y="2015715"/>
                    <a:pt x="5017682" y="2018669"/>
                    <a:pt x="5023593" y="2018669"/>
                  </a:cubicBezTo>
                  <a:cubicBezTo>
                    <a:pt x="5026547" y="2018669"/>
                    <a:pt x="5032458" y="2015715"/>
                    <a:pt x="5032458" y="2009804"/>
                  </a:cubicBezTo>
                  <a:cubicBezTo>
                    <a:pt x="5032458" y="2006847"/>
                    <a:pt x="5029504" y="2000936"/>
                    <a:pt x="5023593" y="2000936"/>
                  </a:cubicBezTo>
                  <a:cubicBezTo>
                    <a:pt x="5020636" y="2000936"/>
                    <a:pt x="5014725" y="2003893"/>
                    <a:pt x="5014725" y="2009804"/>
                  </a:cubicBezTo>
                  <a:close/>
                  <a:moveTo>
                    <a:pt x="4994037" y="1217705"/>
                  </a:moveTo>
                  <a:cubicBezTo>
                    <a:pt x="4994037" y="1229527"/>
                    <a:pt x="5005860" y="1241350"/>
                    <a:pt x="5017682" y="1241350"/>
                  </a:cubicBezTo>
                  <a:cubicBezTo>
                    <a:pt x="5029504" y="1241350"/>
                    <a:pt x="5041327" y="1229527"/>
                    <a:pt x="5041327" y="1217705"/>
                  </a:cubicBezTo>
                  <a:cubicBezTo>
                    <a:pt x="5041327" y="1205883"/>
                    <a:pt x="5029504" y="1194060"/>
                    <a:pt x="5017682" y="1194060"/>
                  </a:cubicBezTo>
                  <a:cubicBezTo>
                    <a:pt x="5005860" y="1194060"/>
                    <a:pt x="4994037" y="1205883"/>
                    <a:pt x="4994037" y="1217705"/>
                  </a:cubicBezTo>
                  <a:close/>
                  <a:moveTo>
                    <a:pt x="4982212" y="709343"/>
                  </a:moveTo>
                  <a:cubicBezTo>
                    <a:pt x="4982212" y="715254"/>
                    <a:pt x="4988123" y="718208"/>
                    <a:pt x="4991080" y="718208"/>
                  </a:cubicBezTo>
                  <a:cubicBezTo>
                    <a:pt x="4994034" y="718208"/>
                    <a:pt x="4999945" y="715254"/>
                    <a:pt x="4999945" y="709343"/>
                  </a:cubicBezTo>
                  <a:cubicBezTo>
                    <a:pt x="4999945" y="703432"/>
                    <a:pt x="4996991" y="700474"/>
                    <a:pt x="4991080" y="700474"/>
                  </a:cubicBezTo>
                  <a:cubicBezTo>
                    <a:pt x="4988123" y="700474"/>
                    <a:pt x="4982212" y="703432"/>
                    <a:pt x="4982212" y="709343"/>
                  </a:cubicBezTo>
                  <a:close/>
                  <a:moveTo>
                    <a:pt x="4967435" y="1696508"/>
                  </a:moveTo>
                  <a:cubicBezTo>
                    <a:pt x="4970392" y="1708334"/>
                    <a:pt x="4979258" y="1717199"/>
                    <a:pt x="4988126" y="1717199"/>
                  </a:cubicBezTo>
                  <a:cubicBezTo>
                    <a:pt x="4999948" y="1717199"/>
                    <a:pt x="5008814" y="1708334"/>
                    <a:pt x="5008814" y="1696508"/>
                  </a:cubicBezTo>
                  <a:cubicBezTo>
                    <a:pt x="5008814" y="1684689"/>
                    <a:pt x="4999948" y="1675821"/>
                    <a:pt x="4988126" y="1675821"/>
                  </a:cubicBezTo>
                  <a:cubicBezTo>
                    <a:pt x="4976304" y="1675821"/>
                    <a:pt x="4967435" y="1684689"/>
                    <a:pt x="4967435" y="1696508"/>
                  </a:cubicBezTo>
                  <a:close/>
                  <a:moveTo>
                    <a:pt x="4923100" y="880770"/>
                  </a:moveTo>
                  <a:cubicBezTo>
                    <a:pt x="4923100" y="889636"/>
                    <a:pt x="4929011" y="895547"/>
                    <a:pt x="4937879" y="895547"/>
                  </a:cubicBezTo>
                  <a:cubicBezTo>
                    <a:pt x="4946745" y="895547"/>
                    <a:pt x="4952656" y="889636"/>
                    <a:pt x="4952656" y="880770"/>
                  </a:cubicBezTo>
                  <a:cubicBezTo>
                    <a:pt x="4952656" y="871902"/>
                    <a:pt x="4946745" y="865991"/>
                    <a:pt x="4937879" y="865991"/>
                  </a:cubicBezTo>
                  <a:cubicBezTo>
                    <a:pt x="4929011" y="865991"/>
                    <a:pt x="4923100" y="871902"/>
                    <a:pt x="4923100" y="880770"/>
                  </a:cubicBezTo>
                  <a:close/>
                  <a:moveTo>
                    <a:pt x="4911280" y="2151673"/>
                  </a:moveTo>
                  <a:cubicBezTo>
                    <a:pt x="4911280" y="2157584"/>
                    <a:pt x="4914238" y="2157584"/>
                    <a:pt x="4917192" y="2157584"/>
                  </a:cubicBezTo>
                  <a:cubicBezTo>
                    <a:pt x="4920149" y="2157584"/>
                    <a:pt x="4923103" y="2154627"/>
                    <a:pt x="4923103" y="2151673"/>
                  </a:cubicBezTo>
                  <a:cubicBezTo>
                    <a:pt x="4923103" y="2148716"/>
                    <a:pt x="4920149" y="2145762"/>
                    <a:pt x="4917192" y="2145762"/>
                  </a:cubicBezTo>
                  <a:cubicBezTo>
                    <a:pt x="4914238" y="2145762"/>
                    <a:pt x="4911280" y="2148716"/>
                    <a:pt x="4911280" y="2151673"/>
                  </a:cubicBezTo>
                  <a:close/>
                  <a:moveTo>
                    <a:pt x="4905369" y="5911"/>
                  </a:moveTo>
                  <a:cubicBezTo>
                    <a:pt x="4905369" y="8868"/>
                    <a:pt x="4908323" y="11822"/>
                    <a:pt x="4911280" y="11822"/>
                  </a:cubicBezTo>
                  <a:cubicBezTo>
                    <a:pt x="4914238" y="11822"/>
                    <a:pt x="4917192" y="8868"/>
                    <a:pt x="4917192" y="5911"/>
                  </a:cubicBezTo>
                  <a:cubicBezTo>
                    <a:pt x="4917192" y="2954"/>
                    <a:pt x="4914238" y="0"/>
                    <a:pt x="4911280" y="0"/>
                  </a:cubicBezTo>
                  <a:cubicBezTo>
                    <a:pt x="4908323" y="0"/>
                    <a:pt x="4905369" y="2954"/>
                    <a:pt x="4905369" y="5911"/>
                  </a:cubicBezTo>
                  <a:close/>
                  <a:moveTo>
                    <a:pt x="4902412" y="1377310"/>
                  </a:moveTo>
                  <a:cubicBezTo>
                    <a:pt x="4902412" y="1397998"/>
                    <a:pt x="4920146" y="1415731"/>
                    <a:pt x="4940836" y="1415731"/>
                  </a:cubicBezTo>
                  <a:cubicBezTo>
                    <a:pt x="4961524" y="1415731"/>
                    <a:pt x="4979258" y="1397998"/>
                    <a:pt x="4979258" y="1377310"/>
                  </a:cubicBezTo>
                  <a:cubicBezTo>
                    <a:pt x="4979258" y="1356619"/>
                    <a:pt x="4961524" y="1338886"/>
                    <a:pt x="4940836" y="1338886"/>
                  </a:cubicBezTo>
                  <a:cubicBezTo>
                    <a:pt x="4920146" y="1338886"/>
                    <a:pt x="4902412" y="1356619"/>
                    <a:pt x="4902412" y="1377310"/>
                  </a:cubicBezTo>
                  <a:close/>
                  <a:moveTo>
                    <a:pt x="4890590" y="183247"/>
                  </a:moveTo>
                  <a:cubicBezTo>
                    <a:pt x="4890590" y="186204"/>
                    <a:pt x="4893544" y="189158"/>
                    <a:pt x="4896501" y="189158"/>
                  </a:cubicBezTo>
                  <a:cubicBezTo>
                    <a:pt x="4899458" y="189158"/>
                    <a:pt x="4902412" y="186204"/>
                    <a:pt x="4902412" y="183247"/>
                  </a:cubicBezTo>
                  <a:cubicBezTo>
                    <a:pt x="4902412" y="180290"/>
                    <a:pt x="4899458" y="177335"/>
                    <a:pt x="4896501" y="177335"/>
                  </a:cubicBezTo>
                  <a:cubicBezTo>
                    <a:pt x="4893544" y="177335"/>
                    <a:pt x="4890590" y="180290"/>
                    <a:pt x="4890590" y="183247"/>
                  </a:cubicBezTo>
                  <a:close/>
                  <a:moveTo>
                    <a:pt x="4884679" y="1847248"/>
                  </a:moveTo>
                  <a:cubicBezTo>
                    <a:pt x="4884679" y="1853159"/>
                    <a:pt x="4887633" y="1856113"/>
                    <a:pt x="4893544" y="1856113"/>
                  </a:cubicBezTo>
                  <a:cubicBezTo>
                    <a:pt x="4896501" y="1856113"/>
                    <a:pt x="4902412" y="1853159"/>
                    <a:pt x="4902412" y="1847248"/>
                  </a:cubicBezTo>
                  <a:cubicBezTo>
                    <a:pt x="4902412" y="1844291"/>
                    <a:pt x="4899458" y="1838380"/>
                    <a:pt x="4893544" y="1838380"/>
                  </a:cubicBezTo>
                  <a:cubicBezTo>
                    <a:pt x="4890590" y="1838380"/>
                    <a:pt x="4884679" y="1841337"/>
                    <a:pt x="4884679" y="1847248"/>
                  </a:cubicBezTo>
                  <a:close/>
                  <a:moveTo>
                    <a:pt x="4863988" y="360582"/>
                  </a:moveTo>
                  <a:cubicBezTo>
                    <a:pt x="4863988" y="363540"/>
                    <a:pt x="4866945" y="366494"/>
                    <a:pt x="4869899" y="366494"/>
                  </a:cubicBezTo>
                  <a:cubicBezTo>
                    <a:pt x="4872856" y="366494"/>
                    <a:pt x="4875810" y="363540"/>
                    <a:pt x="4875810" y="360582"/>
                  </a:cubicBezTo>
                  <a:cubicBezTo>
                    <a:pt x="4875810" y="357625"/>
                    <a:pt x="4872856" y="354671"/>
                    <a:pt x="4869899" y="354671"/>
                  </a:cubicBezTo>
                  <a:cubicBezTo>
                    <a:pt x="4866945" y="354671"/>
                    <a:pt x="4863988" y="357625"/>
                    <a:pt x="4863988" y="360582"/>
                  </a:cubicBezTo>
                  <a:close/>
                  <a:moveTo>
                    <a:pt x="4849211" y="1049235"/>
                  </a:moveTo>
                  <a:cubicBezTo>
                    <a:pt x="4852169" y="1061057"/>
                    <a:pt x="4861034" y="1072879"/>
                    <a:pt x="4872856" y="1072879"/>
                  </a:cubicBezTo>
                  <a:cubicBezTo>
                    <a:pt x="4884679" y="1072879"/>
                    <a:pt x="4896501" y="1061057"/>
                    <a:pt x="4896501" y="1049235"/>
                  </a:cubicBezTo>
                  <a:cubicBezTo>
                    <a:pt x="4896501" y="1037412"/>
                    <a:pt x="4884679" y="1025590"/>
                    <a:pt x="4872856" y="1025590"/>
                  </a:cubicBezTo>
                  <a:cubicBezTo>
                    <a:pt x="4861034" y="1025590"/>
                    <a:pt x="4849211" y="1037412"/>
                    <a:pt x="4849211" y="1049235"/>
                  </a:cubicBezTo>
                  <a:close/>
                  <a:moveTo>
                    <a:pt x="4828521" y="537915"/>
                  </a:moveTo>
                  <a:cubicBezTo>
                    <a:pt x="4828521" y="537915"/>
                    <a:pt x="4831478" y="540872"/>
                    <a:pt x="4831478" y="540872"/>
                  </a:cubicBezTo>
                  <a:cubicBezTo>
                    <a:pt x="4834432" y="540872"/>
                    <a:pt x="4834432" y="537915"/>
                    <a:pt x="4834432" y="537915"/>
                  </a:cubicBezTo>
                  <a:cubicBezTo>
                    <a:pt x="4834432" y="534961"/>
                    <a:pt x="4831478" y="534961"/>
                    <a:pt x="4831478" y="534961"/>
                  </a:cubicBezTo>
                  <a:cubicBezTo>
                    <a:pt x="4828521" y="534961"/>
                    <a:pt x="4828521" y="537915"/>
                    <a:pt x="4828521" y="537915"/>
                  </a:cubicBezTo>
                  <a:close/>
                  <a:moveTo>
                    <a:pt x="4825567" y="1536909"/>
                  </a:moveTo>
                  <a:cubicBezTo>
                    <a:pt x="4825567" y="1551689"/>
                    <a:pt x="4837389" y="1566465"/>
                    <a:pt x="4855123" y="1566465"/>
                  </a:cubicBezTo>
                  <a:cubicBezTo>
                    <a:pt x="4872856" y="1566465"/>
                    <a:pt x="4884679" y="1551689"/>
                    <a:pt x="4884679" y="1536909"/>
                  </a:cubicBezTo>
                  <a:cubicBezTo>
                    <a:pt x="4884679" y="1519176"/>
                    <a:pt x="4869902" y="1507353"/>
                    <a:pt x="4855123" y="1507353"/>
                  </a:cubicBezTo>
                  <a:cubicBezTo>
                    <a:pt x="4837389" y="1507353"/>
                    <a:pt x="4825567" y="1522133"/>
                    <a:pt x="4825567" y="1536909"/>
                  </a:cubicBezTo>
                  <a:close/>
                  <a:moveTo>
                    <a:pt x="4801922" y="2580236"/>
                  </a:moveTo>
                  <a:cubicBezTo>
                    <a:pt x="4804876" y="2586146"/>
                    <a:pt x="4807833" y="2586146"/>
                    <a:pt x="4807833" y="2586146"/>
                  </a:cubicBezTo>
                  <a:cubicBezTo>
                    <a:pt x="4810790" y="2586146"/>
                    <a:pt x="4813744" y="2583190"/>
                    <a:pt x="4813744" y="2580236"/>
                  </a:cubicBezTo>
                  <a:cubicBezTo>
                    <a:pt x="4813744" y="2577278"/>
                    <a:pt x="4810790" y="2574324"/>
                    <a:pt x="4807833" y="2574324"/>
                  </a:cubicBezTo>
                  <a:cubicBezTo>
                    <a:pt x="4804876" y="2574324"/>
                    <a:pt x="4801922" y="2577278"/>
                    <a:pt x="4801922" y="2580236"/>
                  </a:cubicBezTo>
                  <a:close/>
                  <a:moveTo>
                    <a:pt x="4790100" y="2293541"/>
                  </a:moveTo>
                  <a:cubicBezTo>
                    <a:pt x="4790100" y="2300070"/>
                    <a:pt x="4795393" y="2305364"/>
                    <a:pt x="4801922" y="2305364"/>
                  </a:cubicBezTo>
                  <a:cubicBezTo>
                    <a:pt x="4808451" y="2305364"/>
                    <a:pt x="4813744" y="2300070"/>
                    <a:pt x="4813744" y="2293541"/>
                  </a:cubicBezTo>
                  <a:cubicBezTo>
                    <a:pt x="4813744" y="2287013"/>
                    <a:pt x="4808451" y="2281719"/>
                    <a:pt x="4801922" y="2281719"/>
                  </a:cubicBezTo>
                  <a:cubicBezTo>
                    <a:pt x="4795393" y="2281719"/>
                    <a:pt x="4790100" y="2287013"/>
                    <a:pt x="4790100" y="2293541"/>
                  </a:cubicBezTo>
                  <a:close/>
                  <a:moveTo>
                    <a:pt x="4775320" y="1211794"/>
                  </a:moveTo>
                  <a:cubicBezTo>
                    <a:pt x="4775320" y="1226570"/>
                    <a:pt x="4787142" y="1238393"/>
                    <a:pt x="4801922" y="1238393"/>
                  </a:cubicBezTo>
                  <a:cubicBezTo>
                    <a:pt x="4816698" y="1238393"/>
                    <a:pt x="4828521" y="1226570"/>
                    <a:pt x="4828521" y="1211794"/>
                  </a:cubicBezTo>
                  <a:cubicBezTo>
                    <a:pt x="4828521" y="1197014"/>
                    <a:pt x="4816698" y="1185192"/>
                    <a:pt x="4801922" y="1185192"/>
                  </a:cubicBezTo>
                  <a:cubicBezTo>
                    <a:pt x="4787142" y="1185192"/>
                    <a:pt x="4775320" y="1197014"/>
                    <a:pt x="4775320" y="1211794"/>
                  </a:cubicBezTo>
                  <a:close/>
                  <a:moveTo>
                    <a:pt x="4772366" y="709343"/>
                  </a:moveTo>
                  <a:cubicBezTo>
                    <a:pt x="4772366" y="715254"/>
                    <a:pt x="4778277" y="721165"/>
                    <a:pt x="4784188" y="721165"/>
                  </a:cubicBezTo>
                  <a:cubicBezTo>
                    <a:pt x="4790100" y="721165"/>
                    <a:pt x="4796011" y="715254"/>
                    <a:pt x="4796011" y="709343"/>
                  </a:cubicBezTo>
                  <a:cubicBezTo>
                    <a:pt x="4796011" y="703432"/>
                    <a:pt x="4790100" y="697520"/>
                    <a:pt x="4784188" y="697520"/>
                  </a:cubicBezTo>
                  <a:cubicBezTo>
                    <a:pt x="4778277" y="697520"/>
                    <a:pt x="4772366" y="703432"/>
                    <a:pt x="4772366" y="709343"/>
                  </a:cubicBezTo>
                  <a:close/>
                  <a:moveTo>
                    <a:pt x="4751678" y="1992071"/>
                  </a:moveTo>
                  <a:cubicBezTo>
                    <a:pt x="4754632" y="2012761"/>
                    <a:pt x="4769412" y="2027538"/>
                    <a:pt x="4787146" y="2027538"/>
                  </a:cubicBezTo>
                  <a:cubicBezTo>
                    <a:pt x="4804879" y="2027538"/>
                    <a:pt x="4822613" y="2012761"/>
                    <a:pt x="4822613" y="1992071"/>
                  </a:cubicBezTo>
                  <a:cubicBezTo>
                    <a:pt x="4822613" y="1974337"/>
                    <a:pt x="4807833" y="1956604"/>
                    <a:pt x="4787146" y="1956604"/>
                  </a:cubicBezTo>
                  <a:cubicBezTo>
                    <a:pt x="4769412" y="1956604"/>
                    <a:pt x="4751678" y="1971383"/>
                    <a:pt x="4751678" y="1992071"/>
                  </a:cubicBezTo>
                  <a:close/>
                  <a:moveTo>
                    <a:pt x="4730988" y="1687646"/>
                  </a:moveTo>
                  <a:cubicBezTo>
                    <a:pt x="4730988" y="1705380"/>
                    <a:pt x="4742810" y="1717202"/>
                    <a:pt x="4760544" y="1717202"/>
                  </a:cubicBezTo>
                  <a:cubicBezTo>
                    <a:pt x="4778277" y="1717202"/>
                    <a:pt x="4790100" y="1702426"/>
                    <a:pt x="4790100" y="1687646"/>
                  </a:cubicBezTo>
                  <a:cubicBezTo>
                    <a:pt x="4790100" y="1669912"/>
                    <a:pt x="4775323" y="1658090"/>
                    <a:pt x="4760544" y="1658090"/>
                  </a:cubicBezTo>
                  <a:cubicBezTo>
                    <a:pt x="4742810" y="1658090"/>
                    <a:pt x="4730988" y="1672870"/>
                    <a:pt x="4730988" y="1687646"/>
                  </a:cubicBezTo>
                  <a:close/>
                  <a:moveTo>
                    <a:pt x="4707343" y="880767"/>
                  </a:moveTo>
                  <a:cubicBezTo>
                    <a:pt x="4704386" y="889632"/>
                    <a:pt x="4716208" y="901455"/>
                    <a:pt x="4728034" y="901455"/>
                  </a:cubicBezTo>
                  <a:cubicBezTo>
                    <a:pt x="4739853" y="901455"/>
                    <a:pt x="4748721" y="892586"/>
                    <a:pt x="4748721" y="880767"/>
                  </a:cubicBezTo>
                  <a:cubicBezTo>
                    <a:pt x="4748721" y="868945"/>
                    <a:pt x="4739853" y="860076"/>
                    <a:pt x="4728034" y="860076"/>
                  </a:cubicBezTo>
                  <a:cubicBezTo>
                    <a:pt x="4716208" y="860076"/>
                    <a:pt x="4707343" y="868945"/>
                    <a:pt x="4707343" y="880767"/>
                  </a:cubicBezTo>
                  <a:close/>
                  <a:moveTo>
                    <a:pt x="4692567" y="183247"/>
                  </a:moveTo>
                  <a:cubicBezTo>
                    <a:pt x="4692567" y="184882"/>
                    <a:pt x="4693888" y="186204"/>
                    <a:pt x="4695521" y="186204"/>
                  </a:cubicBezTo>
                  <a:cubicBezTo>
                    <a:pt x="4697156" y="186204"/>
                    <a:pt x="4698478" y="184882"/>
                    <a:pt x="4698478" y="183247"/>
                  </a:cubicBezTo>
                  <a:cubicBezTo>
                    <a:pt x="4698478" y="181614"/>
                    <a:pt x="4697153" y="180293"/>
                    <a:pt x="4695521" y="180293"/>
                  </a:cubicBezTo>
                  <a:cubicBezTo>
                    <a:pt x="4693888" y="180293"/>
                    <a:pt x="4692567" y="181614"/>
                    <a:pt x="4692567" y="183247"/>
                  </a:cubicBezTo>
                  <a:close/>
                  <a:moveTo>
                    <a:pt x="4683698" y="1371396"/>
                  </a:moveTo>
                  <a:cubicBezTo>
                    <a:pt x="4683698" y="1389129"/>
                    <a:pt x="4698478" y="1406863"/>
                    <a:pt x="4719165" y="1406863"/>
                  </a:cubicBezTo>
                  <a:cubicBezTo>
                    <a:pt x="4739853" y="1406863"/>
                    <a:pt x="4754632" y="1389129"/>
                    <a:pt x="4754632" y="1371396"/>
                  </a:cubicBezTo>
                  <a:cubicBezTo>
                    <a:pt x="4754632" y="1350708"/>
                    <a:pt x="4736899" y="1335929"/>
                    <a:pt x="4719165" y="1335929"/>
                  </a:cubicBezTo>
                  <a:cubicBezTo>
                    <a:pt x="4698478" y="1335929"/>
                    <a:pt x="4683698" y="1353662"/>
                    <a:pt x="4683698" y="1371396"/>
                  </a:cubicBezTo>
                  <a:close/>
                  <a:moveTo>
                    <a:pt x="4671876" y="2426542"/>
                  </a:moveTo>
                  <a:cubicBezTo>
                    <a:pt x="4671876" y="2432452"/>
                    <a:pt x="4677787" y="2438364"/>
                    <a:pt x="4683698" y="2438364"/>
                  </a:cubicBezTo>
                  <a:cubicBezTo>
                    <a:pt x="4689609" y="2438364"/>
                    <a:pt x="4695521" y="2432452"/>
                    <a:pt x="4695521" y="2426542"/>
                  </a:cubicBezTo>
                  <a:cubicBezTo>
                    <a:pt x="4695521" y="2420630"/>
                    <a:pt x="4689609" y="2414719"/>
                    <a:pt x="4683698" y="2414719"/>
                  </a:cubicBezTo>
                  <a:cubicBezTo>
                    <a:pt x="4677787" y="2414719"/>
                    <a:pt x="4671876" y="2420630"/>
                    <a:pt x="4671876" y="2426542"/>
                  </a:cubicBezTo>
                  <a:close/>
                  <a:moveTo>
                    <a:pt x="4651185" y="1043326"/>
                  </a:moveTo>
                  <a:cubicBezTo>
                    <a:pt x="4651185" y="1049238"/>
                    <a:pt x="4654142" y="1052192"/>
                    <a:pt x="4660053" y="1052192"/>
                  </a:cubicBezTo>
                  <a:cubicBezTo>
                    <a:pt x="4663007" y="1052192"/>
                    <a:pt x="4668919" y="1049238"/>
                    <a:pt x="4668919" y="1043326"/>
                  </a:cubicBezTo>
                  <a:cubicBezTo>
                    <a:pt x="4668919" y="1040369"/>
                    <a:pt x="4665965" y="1034458"/>
                    <a:pt x="4660053" y="1034458"/>
                  </a:cubicBezTo>
                  <a:cubicBezTo>
                    <a:pt x="4657096" y="1034458"/>
                    <a:pt x="4651185" y="1037412"/>
                    <a:pt x="4651185" y="1043326"/>
                  </a:cubicBezTo>
                  <a:close/>
                  <a:moveTo>
                    <a:pt x="4648231" y="2133939"/>
                  </a:moveTo>
                  <a:cubicBezTo>
                    <a:pt x="4648231" y="2148719"/>
                    <a:pt x="4660053" y="2160541"/>
                    <a:pt x="4674830" y="2160541"/>
                  </a:cubicBezTo>
                  <a:cubicBezTo>
                    <a:pt x="4689609" y="2160541"/>
                    <a:pt x="4701432" y="2148719"/>
                    <a:pt x="4701432" y="2133939"/>
                  </a:cubicBezTo>
                  <a:cubicBezTo>
                    <a:pt x="4701432" y="2119163"/>
                    <a:pt x="4689609" y="2107340"/>
                    <a:pt x="4674830" y="2107340"/>
                  </a:cubicBezTo>
                  <a:cubicBezTo>
                    <a:pt x="4660053" y="2107340"/>
                    <a:pt x="4648231" y="2119163"/>
                    <a:pt x="4648231" y="2133939"/>
                  </a:cubicBezTo>
                  <a:close/>
                  <a:moveTo>
                    <a:pt x="4639366" y="1832469"/>
                  </a:moveTo>
                  <a:cubicBezTo>
                    <a:pt x="4642320" y="1844291"/>
                    <a:pt x="4648234" y="1850202"/>
                    <a:pt x="4657099" y="1850202"/>
                  </a:cubicBezTo>
                  <a:cubicBezTo>
                    <a:pt x="4665965" y="1850202"/>
                    <a:pt x="4674833" y="1841337"/>
                    <a:pt x="4674833" y="1832469"/>
                  </a:cubicBezTo>
                  <a:cubicBezTo>
                    <a:pt x="4674833" y="1823603"/>
                    <a:pt x="4665965" y="1814735"/>
                    <a:pt x="4657099" y="1814735"/>
                  </a:cubicBezTo>
                  <a:cubicBezTo>
                    <a:pt x="4648234" y="1814735"/>
                    <a:pt x="4639366" y="1823603"/>
                    <a:pt x="4639366" y="1832469"/>
                  </a:cubicBezTo>
                  <a:close/>
                  <a:moveTo>
                    <a:pt x="4612764" y="1525090"/>
                  </a:moveTo>
                  <a:cubicBezTo>
                    <a:pt x="4612764" y="1533955"/>
                    <a:pt x="4618675" y="1539866"/>
                    <a:pt x="4627543" y="1539866"/>
                  </a:cubicBezTo>
                  <a:cubicBezTo>
                    <a:pt x="4636409" y="1539866"/>
                    <a:pt x="4642320" y="1533955"/>
                    <a:pt x="4642320" y="1525090"/>
                  </a:cubicBezTo>
                  <a:cubicBezTo>
                    <a:pt x="4642320" y="1516222"/>
                    <a:pt x="4636409" y="1510310"/>
                    <a:pt x="4627543" y="1510310"/>
                  </a:cubicBezTo>
                  <a:cubicBezTo>
                    <a:pt x="4618675" y="1510310"/>
                    <a:pt x="4612764" y="1516222"/>
                    <a:pt x="4612764" y="1525090"/>
                  </a:cubicBezTo>
                  <a:close/>
                  <a:moveTo>
                    <a:pt x="4571386" y="706386"/>
                  </a:moveTo>
                  <a:cubicBezTo>
                    <a:pt x="4571386" y="709343"/>
                    <a:pt x="4571386" y="712297"/>
                    <a:pt x="4577297" y="712297"/>
                  </a:cubicBezTo>
                  <a:cubicBezTo>
                    <a:pt x="4580254" y="712297"/>
                    <a:pt x="4583208" y="709343"/>
                    <a:pt x="4583208" y="706386"/>
                  </a:cubicBezTo>
                  <a:cubicBezTo>
                    <a:pt x="4583208" y="703432"/>
                    <a:pt x="4580254" y="700474"/>
                    <a:pt x="4577297" y="700474"/>
                  </a:cubicBezTo>
                  <a:cubicBezTo>
                    <a:pt x="4574343" y="700474"/>
                    <a:pt x="4571386" y="703432"/>
                    <a:pt x="4571386" y="706386"/>
                  </a:cubicBezTo>
                  <a:close/>
                  <a:moveTo>
                    <a:pt x="4562517" y="1205883"/>
                  </a:moveTo>
                  <a:cubicBezTo>
                    <a:pt x="4565474" y="1214751"/>
                    <a:pt x="4571386" y="1223616"/>
                    <a:pt x="4580251" y="1223616"/>
                  </a:cubicBezTo>
                  <a:cubicBezTo>
                    <a:pt x="4589119" y="1223616"/>
                    <a:pt x="4597984" y="1214751"/>
                    <a:pt x="4597984" y="1205883"/>
                  </a:cubicBezTo>
                  <a:cubicBezTo>
                    <a:pt x="4597984" y="1197017"/>
                    <a:pt x="4589119" y="1188149"/>
                    <a:pt x="4580251" y="1188149"/>
                  </a:cubicBezTo>
                  <a:cubicBezTo>
                    <a:pt x="4571386" y="1188149"/>
                    <a:pt x="4562517" y="1197017"/>
                    <a:pt x="4562517" y="1205883"/>
                  </a:cubicBezTo>
                  <a:close/>
                  <a:moveTo>
                    <a:pt x="4538872" y="2828506"/>
                  </a:moveTo>
                  <a:cubicBezTo>
                    <a:pt x="4538872" y="2837370"/>
                    <a:pt x="4544784" y="2840328"/>
                    <a:pt x="4550695" y="2840328"/>
                  </a:cubicBezTo>
                  <a:cubicBezTo>
                    <a:pt x="4556606" y="2840328"/>
                    <a:pt x="4562517" y="2834416"/>
                    <a:pt x="4562517" y="2828506"/>
                  </a:cubicBezTo>
                  <a:cubicBezTo>
                    <a:pt x="4562517" y="2822594"/>
                    <a:pt x="4556606" y="2816683"/>
                    <a:pt x="4550695" y="2816683"/>
                  </a:cubicBezTo>
                  <a:cubicBezTo>
                    <a:pt x="4544784" y="2816683"/>
                    <a:pt x="4538872" y="2822594"/>
                    <a:pt x="4538872" y="2828506"/>
                  </a:cubicBezTo>
                  <a:close/>
                  <a:moveTo>
                    <a:pt x="4532961" y="2553634"/>
                  </a:moveTo>
                  <a:cubicBezTo>
                    <a:pt x="4532961" y="2565456"/>
                    <a:pt x="4544784" y="2577278"/>
                    <a:pt x="4556606" y="2577278"/>
                  </a:cubicBezTo>
                  <a:cubicBezTo>
                    <a:pt x="4568428" y="2577278"/>
                    <a:pt x="4580251" y="2565456"/>
                    <a:pt x="4580251" y="2553634"/>
                  </a:cubicBezTo>
                  <a:cubicBezTo>
                    <a:pt x="4580251" y="2541811"/>
                    <a:pt x="4568428" y="2529988"/>
                    <a:pt x="4556606" y="2529988"/>
                  </a:cubicBezTo>
                  <a:cubicBezTo>
                    <a:pt x="4544784" y="2529988"/>
                    <a:pt x="4532961" y="2541811"/>
                    <a:pt x="4532961" y="2553634"/>
                  </a:cubicBezTo>
                  <a:close/>
                  <a:moveTo>
                    <a:pt x="4521142" y="2269897"/>
                  </a:moveTo>
                  <a:cubicBezTo>
                    <a:pt x="4521142" y="2287630"/>
                    <a:pt x="4538876" y="2305364"/>
                    <a:pt x="4556609" y="2305364"/>
                  </a:cubicBezTo>
                  <a:cubicBezTo>
                    <a:pt x="4577297" y="2305364"/>
                    <a:pt x="4592076" y="2287630"/>
                    <a:pt x="4592076" y="2269897"/>
                  </a:cubicBezTo>
                  <a:cubicBezTo>
                    <a:pt x="4592076" y="2249209"/>
                    <a:pt x="4574343" y="2234429"/>
                    <a:pt x="4556609" y="2234429"/>
                  </a:cubicBezTo>
                  <a:cubicBezTo>
                    <a:pt x="4535922" y="2234429"/>
                    <a:pt x="4521142" y="2252163"/>
                    <a:pt x="4521142" y="2269897"/>
                  </a:cubicBezTo>
                  <a:close/>
                  <a:moveTo>
                    <a:pt x="4521142" y="1974337"/>
                  </a:moveTo>
                  <a:cubicBezTo>
                    <a:pt x="4521142" y="1989114"/>
                    <a:pt x="4532964" y="2000936"/>
                    <a:pt x="4547741" y="2000936"/>
                  </a:cubicBezTo>
                  <a:cubicBezTo>
                    <a:pt x="4562520" y="2000936"/>
                    <a:pt x="4574343" y="1989114"/>
                    <a:pt x="4574343" y="1974337"/>
                  </a:cubicBezTo>
                  <a:cubicBezTo>
                    <a:pt x="4574343" y="1959558"/>
                    <a:pt x="4562520" y="1947735"/>
                    <a:pt x="4547741" y="1947735"/>
                  </a:cubicBezTo>
                  <a:cubicBezTo>
                    <a:pt x="4532964" y="1947735"/>
                    <a:pt x="4521142" y="1959558"/>
                    <a:pt x="4521142" y="1974337"/>
                  </a:cubicBezTo>
                  <a:close/>
                  <a:moveTo>
                    <a:pt x="4512274" y="1672866"/>
                  </a:moveTo>
                  <a:cubicBezTo>
                    <a:pt x="4512274" y="1681732"/>
                    <a:pt x="4518185" y="1690600"/>
                    <a:pt x="4530007" y="1690600"/>
                  </a:cubicBezTo>
                  <a:cubicBezTo>
                    <a:pt x="4538872" y="1690600"/>
                    <a:pt x="4547741" y="1681732"/>
                    <a:pt x="4547741" y="1672866"/>
                  </a:cubicBezTo>
                  <a:cubicBezTo>
                    <a:pt x="4547741" y="1664001"/>
                    <a:pt x="4538872" y="1655133"/>
                    <a:pt x="4530007" y="1655133"/>
                  </a:cubicBezTo>
                  <a:cubicBezTo>
                    <a:pt x="4521142" y="1655133"/>
                    <a:pt x="4512274" y="1664001"/>
                    <a:pt x="4512274" y="1672866"/>
                  </a:cubicBezTo>
                  <a:close/>
                  <a:moveTo>
                    <a:pt x="4506363" y="874856"/>
                  </a:moveTo>
                  <a:cubicBezTo>
                    <a:pt x="4506363" y="880770"/>
                    <a:pt x="4509317" y="883724"/>
                    <a:pt x="4515231" y="883724"/>
                  </a:cubicBezTo>
                  <a:cubicBezTo>
                    <a:pt x="4518185" y="883724"/>
                    <a:pt x="4524096" y="880770"/>
                    <a:pt x="4524096" y="874856"/>
                  </a:cubicBezTo>
                  <a:cubicBezTo>
                    <a:pt x="4524096" y="871902"/>
                    <a:pt x="4521142" y="865991"/>
                    <a:pt x="4515231" y="865991"/>
                  </a:cubicBezTo>
                  <a:cubicBezTo>
                    <a:pt x="4509317" y="865991"/>
                    <a:pt x="4506363" y="868945"/>
                    <a:pt x="4506363" y="874856"/>
                  </a:cubicBezTo>
                  <a:close/>
                  <a:moveTo>
                    <a:pt x="4479761" y="1359577"/>
                  </a:moveTo>
                  <a:cubicBezTo>
                    <a:pt x="4479761" y="1368442"/>
                    <a:pt x="4485672" y="1374353"/>
                    <a:pt x="4494540" y="1374353"/>
                  </a:cubicBezTo>
                  <a:cubicBezTo>
                    <a:pt x="4503405" y="1374353"/>
                    <a:pt x="4509317" y="1368442"/>
                    <a:pt x="4509317" y="1359577"/>
                  </a:cubicBezTo>
                  <a:cubicBezTo>
                    <a:pt x="4509317" y="1350708"/>
                    <a:pt x="4503405" y="1344797"/>
                    <a:pt x="4494540" y="1344797"/>
                  </a:cubicBezTo>
                  <a:cubicBezTo>
                    <a:pt x="4485672" y="1344797"/>
                    <a:pt x="4479761" y="1350708"/>
                    <a:pt x="4479761" y="1359577"/>
                  </a:cubicBezTo>
                  <a:close/>
                  <a:moveTo>
                    <a:pt x="4408829" y="1814735"/>
                  </a:moveTo>
                  <a:cubicBezTo>
                    <a:pt x="4411787" y="1823600"/>
                    <a:pt x="4414741" y="1826557"/>
                    <a:pt x="4420652" y="1826557"/>
                  </a:cubicBezTo>
                  <a:cubicBezTo>
                    <a:pt x="4426563" y="1826557"/>
                    <a:pt x="4432474" y="1820646"/>
                    <a:pt x="4432474" y="1814735"/>
                  </a:cubicBezTo>
                  <a:cubicBezTo>
                    <a:pt x="4432474" y="1808824"/>
                    <a:pt x="4426563" y="1802913"/>
                    <a:pt x="4420652" y="1802913"/>
                  </a:cubicBezTo>
                  <a:cubicBezTo>
                    <a:pt x="4414741" y="1802913"/>
                    <a:pt x="4408829" y="1808824"/>
                    <a:pt x="4408829" y="1814735"/>
                  </a:cubicBezTo>
                  <a:close/>
                  <a:moveTo>
                    <a:pt x="4405872" y="2110294"/>
                  </a:moveTo>
                  <a:cubicBezTo>
                    <a:pt x="4405872" y="2125074"/>
                    <a:pt x="4417695" y="2136896"/>
                    <a:pt x="4432474" y="2136896"/>
                  </a:cubicBezTo>
                  <a:cubicBezTo>
                    <a:pt x="4447251" y="2136896"/>
                    <a:pt x="4459073" y="2125074"/>
                    <a:pt x="4459073" y="2110294"/>
                  </a:cubicBezTo>
                  <a:cubicBezTo>
                    <a:pt x="4459073" y="2095518"/>
                    <a:pt x="4447251" y="2083696"/>
                    <a:pt x="4432474" y="2083696"/>
                  </a:cubicBezTo>
                  <a:cubicBezTo>
                    <a:pt x="4417695" y="2083696"/>
                    <a:pt x="4405872" y="2095518"/>
                    <a:pt x="4405872" y="2110294"/>
                  </a:cubicBezTo>
                  <a:close/>
                  <a:moveTo>
                    <a:pt x="4394050" y="2943772"/>
                  </a:moveTo>
                  <a:cubicBezTo>
                    <a:pt x="4397007" y="2955594"/>
                    <a:pt x="4402918" y="2961506"/>
                    <a:pt x="4411783" y="2961506"/>
                  </a:cubicBezTo>
                  <a:cubicBezTo>
                    <a:pt x="4420649" y="2961506"/>
                    <a:pt x="4429517" y="2952637"/>
                    <a:pt x="4429517" y="2943772"/>
                  </a:cubicBezTo>
                  <a:cubicBezTo>
                    <a:pt x="4429517" y="2934906"/>
                    <a:pt x="4420649" y="2926038"/>
                    <a:pt x="4411783" y="2926038"/>
                  </a:cubicBezTo>
                  <a:cubicBezTo>
                    <a:pt x="4402918" y="2926038"/>
                    <a:pt x="4394050" y="2934906"/>
                    <a:pt x="4394050" y="2943772"/>
                  </a:cubicBezTo>
                  <a:close/>
                  <a:moveTo>
                    <a:pt x="4394050" y="2671857"/>
                  </a:moveTo>
                  <a:cubicBezTo>
                    <a:pt x="4394050" y="2692548"/>
                    <a:pt x="4408829" y="2704370"/>
                    <a:pt x="4426563" y="2704370"/>
                  </a:cubicBezTo>
                  <a:cubicBezTo>
                    <a:pt x="4444293" y="2704370"/>
                    <a:pt x="4459073" y="2689591"/>
                    <a:pt x="4459073" y="2671857"/>
                  </a:cubicBezTo>
                  <a:cubicBezTo>
                    <a:pt x="4459073" y="2654127"/>
                    <a:pt x="4444293" y="2639347"/>
                    <a:pt x="4426563" y="2639347"/>
                  </a:cubicBezTo>
                  <a:cubicBezTo>
                    <a:pt x="4408829" y="2639347"/>
                    <a:pt x="4394050" y="2654127"/>
                    <a:pt x="4394050" y="2671857"/>
                  </a:cubicBezTo>
                  <a:close/>
                  <a:moveTo>
                    <a:pt x="4394050" y="2394031"/>
                  </a:moveTo>
                  <a:cubicBezTo>
                    <a:pt x="4397007" y="2417676"/>
                    <a:pt x="4411783" y="2432452"/>
                    <a:pt x="4432474" y="2432452"/>
                  </a:cubicBezTo>
                  <a:cubicBezTo>
                    <a:pt x="4453162" y="2432452"/>
                    <a:pt x="4470895" y="2414719"/>
                    <a:pt x="4470895" y="2394031"/>
                  </a:cubicBezTo>
                  <a:cubicBezTo>
                    <a:pt x="4470895" y="2373341"/>
                    <a:pt x="4453162" y="2355607"/>
                    <a:pt x="4432474" y="2355607"/>
                  </a:cubicBezTo>
                  <a:cubicBezTo>
                    <a:pt x="4411783" y="2355607"/>
                    <a:pt x="4394050" y="2373341"/>
                    <a:pt x="4394050" y="2394031"/>
                  </a:cubicBezTo>
                  <a:close/>
                  <a:moveTo>
                    <a:pt x="4391093" y="1513264"/>
                  </a:moveTo>
                  <a:cubicBezTo>
                    <a:pt x="4391093" y="1516222"/>
                    <a:pt x="4394050" y="1519176"/>
                    <a:pt x="4397004" y="1519176"/>
                  </a:cubicBezTo>
                  <a:cubicBezTo>
                    <a:pt x="4399961" y="1519176"/>
                    <a:pt x="4402915" y="1516222"/>
                    <a:pt x="4402915" y="1513264"/>
                  </a:cubicBezTo>
                  <a:cubicBezTo>
                    <a:pt x="4402915" y="1510310"/>
                    <a:pt x="4399961" y="1507353"/>
                    <a:pt x="4397004" y="1507353"/>
                  </a:cubicBezTo>
                  <a:cubicBezTo>
                    <a:pt x="4394050" y="1507353"/>
                    <a:pt x="4391093" y="1510310"/>
                    <a:pt x="4391093" y="1513264"/>
                  </a:cubicBezTo>
                  <a:close/>
                  <a:moveTo>
                    <a:pt x="4388139" y="3209776"/>
                  </a:moveTo>
                  <a:cubicBezTo>
                    <a:pt x="4388139" y="3212732"/>
                    <a:pt x="4391093" y="3215686"/>
                    <a:pt x="4394050" y="3215686"/>
                  </a:cubicBezTo>
                  <a:cubicBezTo>
                    <a:pt x="4397007" y="3215686"/>
                    <a:pt x="4399961" y="3212732"/>
                    <a:pt x="4399961" y="3209776"/>
                  </a:cubicBezTo>
                  <a:cubicBezTo>
                    <a:pt x="4399961" y="3206822"/>
                    <a:pt x="4397007" y="3203864"/>
                    <a:pt x="4394050" y="3203864"/>
                  </a:cubicBezTo>
                  <a:cubicBezTo>
                    <a:pt x="4391093" y="3203864"/>
                    <a:pt x="4388139" y="3206822"/>
                    <a:pt x="4388139" y="3209776"/>
                  </a:cubicBezTo>
                  <a:close/>
                  <a:moveTo>
                    <a:pt x="4287649" y="1953649"/>
                  </a:moveTo>
                  <a:cubicBezTo>
                    <a:pt x="4287649" y="1962515"/>
                    <a:pt x="4296517" y="1971383"/>
                    <a:pt x="4305382" y="1971383"/>
                  </a:cubicBezTo>
                  <a:cubicBezTo>
                    <a:pt x="4314250" y="1971383"/>
                    <a:pt x="4323116" y="1962515"/>
                    <a:pt x="4323116" y="1953649"/>
                  </a:cubicBezTo>
                  <a:cubicBezTo>
                    <a:pt x="4323116" y="1944784"/>
                    <a:pt x="4314250" y="1935916"/>
                    <a:pt x="4305382" y="1935916"/>
                  </a:cubicBezTo>
                  <a:cubicBezTo>
                    <a:pt x="4296517" y="1935916"/>
                    <a:pt x="4287649" y="1944784"/>
                    <a:pt x="4287649" y="1953649"/>
                  </a:cubicBezTo>
                  <a:close/>
                  <a:moveTo>
                    <a:pt x="4281737" y="2240341"/>
                  </a:moveTo>
                  <a:cubicBezTo>
                    <a:pt x="4281737" y="2255117"/>
                    <a:pt x="4293560" y="2266939"/>
                    <a:pt x="4308339" y="2266939"/>
                  </a:cubicBezTo>
                  <a:cubicBezTo>
                    <a:pt x="4323116" y="2266939"/>
                    <a:pt x="4334938" y="2255117"/>
                    <a:pt x="4334938" y="2240341"/>
                  </a:cubicBezTo>
                  <a:cubicBezTo>
                    <a:pt x="4334938" y="2225561"/>
                    <a:pt x="4323116" y="2213739"/>
                    <a:pt x="4308339" y="2213739"/>
                  </a:cubicBezTo>
                  <a:cubicBezTo>
                    <a:pt x="4293560" y="2213739"/>
                    <a:pt x="4281737" y="2225561"/>
                    <a:pt x="4281737" y="2240341"/>
                  </a:cubicBezTo>
                  <a:close/>
                  <a:moveTo>
                    <a:pt x="4281737" y="1655133"/>
                  </a:moveTo>
                  <a:cubicBezTo>
                    <a:pt x="4281737" y="1663998"/>
                    <a:pt x="4287649" y="1666955"/>
                    <a:pt x="4293560" y="1666955"/>
                  </a:cubicBezTo>
                  <a:cubicBezTo>
                    <a:pt x="4299471" y="1666955"/>
                    <a:pt x="4305382" y="1661044"/>
                    <a:pt x="4305382" y="1655133"/>
                  </a:cubicBezTo>
                  <a:cubicBezTo>
                    <a:pt x="4305382" y="1649222"/>
                    <a:pt x="4299471" y="1643311"/>
                    <a:pt x="4293560" y="1643311"/>
                  </a:cubicBezTo>
                  <a:cubicBezTo>
                    <a:pt x="4287649" y="1643311"/>
                    <a:pt x="4281737" y="1649222"/>
                    <a:pt x="4281737" y="1655133"/>
                  </a:cubicBezTo>
                  <a:close/>
                  <a:moveTo>
                    <a:pt x="4264004" y="3053130"/>
                  </a:moveTo>
                  <a:cubicBezTo>
                    <a:pt x="4264004" y="3056084"/>
                    <a:pt x="4266958" y="3059042"/>
                    <a:pt x="4269915" y="3059042"/>
                  </a:cubicBezTo>
                  <a:cubicBezTo>
                    <a:pt x="4272869" y="3059042"/>
                    <a:pt x="4275826" y="3056084"/>
                    <a:pt x="4275826" y="3053130"/>
                  </a:cubicBezTo>
                  <a:cubicBezTo>
                    <a:pt x="4275826" y="3050174"/>
                    <a:pt x="4272869" y="3047219"/>
                    <a:pt x="4269915" y="3047219"/>
                  </a:cubicBezTo>
                  <a:cubicBezTo>
                    <a:pt x="4266958" y="3047219"/>
                    <a:pt x="4264004" y="3050174"/>
                    <a:pt x="4264004" y="3053130"/>
                  </a:cubicBezTo>
                  <a:close/>
                  <a:moveTo>
                    <a:pt x="4263264" y="1353292"/>
                  </a:moveTo>
                  <a:cubicBezTo>
                    <a:pt x="4264003" y="1353662"/>
                    <a:pt x="4265481" y="1353662"/>
                    <a:pt x="4266958" y="1353662"/>
                  </a:cubicBezTo>
                  <a:cubicBezTo>
                    <a:pt x="4269915" y="1353662"/>
                    <a:pt x="4269915" y="1350705"/>
                    <a:pt x="4269915" y="1350705"/>
                  </a:cubicBezTo>
                  <a:cubicBezTo>
                    <a:pt x="4269915" y="1347751"/>
                    <a:pt x="4266958" y="1347751"/>
                    <a:pt x="4266958" y="1347751"/>
                  </a:cubicBezTo>
                  <a:cubicBezTo>
                    <a:pt x="4266958" y="1347751"/>
                    <a:pt x="4264004" y="1350705"/>
                    <a:pt x="4264004" y="1350705"/>
                  </a:cubicBezTo>
                  <a:cubicBezTo>
                    <a:pt x="4262525" y="1352184"/>
                    <a:pt x="4262525" y="1352923"/>
                    <a:pt x="4263264" y="1353292"/>
                  </a:cubicBezTo>
                  <a:close/>
                  <a:moveTo>
                    <a:pt x="4258093" y="2518166"/>
                  </a:moveTo>
                  <a:cubicBezTo>
                    <a:pt x="4258093" y="2541811"/>
                    <a:pt x="4278783" y="2562498"/>
                    <a:pt x="4302428" y="2562498"/>
                  </a:cubicBezTo>
                  <a:cubicBezTo>
                    <a:pt x="4326073" y="2562498"/>
                    <a:pt x="4346760" y="2541811"/>
                    <a:pt x="4346760" y="2518166"/>
                  </a:cubicBezTo>
                  <a:cubicBezTo>
                    <a:pt x="4346760" y="2494518"/>
                    <a:pt x="4326073" y="2473831"/>
                    <a:pt x="4302428" y="2473831"/>
                  </a:cubicBezTo>
                  <a:cubicBezTo>
                    <a:pt x="4278783" y="2473831"/>
                    <a:pt x="4258093" y="2494518"/>
                    <a:pt x="4258093" y="2518166"/>
                  </a:cubicBezTo>
                  <a:close/>
                  <a:moveTo>
                    <a:pt x="4255139" y="2787127"/>
                  </a:moveTo>
                  <a:cubicBezTo>
                    <a:pt x="4258093" y="2804858"/>
                    <a:pt x="4272872" y="2819637"/>
                    <a:pt x="4287649" y="2819637"/>
                  </a:cubicBezTo>
                  <a:cubicBezTo>
                    <a:pt x="4305382" y="2819637"/>
                    <a:pt x="4320162" y="2804858"/>
                    <a:pt x="4320162" y="2787127"/>
                  </a:cubicBezTo>
                  <a:cubicBezTo>
                    <a:pt x="4320162" y="2769394"/>
                    <a:pt x="4305382" y="2754614"/>
                    <a:pt x="4287649" y="2754614"/>
                  </a:cubicBezTo>
                  <a:cubicBezTo>
                    <a:pt x="4269918" y="2754614"/>
                    <a:pt x="4255139" y="2769394"/>
                    <a:pt x="4255139" y="2787127"/>
                  </a:cubicBezTo>
                  <a:close/>
                  <a:moveTo>
                    <a:pt x="4237405" y="3310266"/>
                  </a:moveTo>
                  <a:cubicBezTo>
                    <a:pt x="4237405" y="3316794"/>
                    <a:pt x="4242699" y="3322088"/>
                    <a:pt x="4249227" y="3322088"/>
                  </a:cubicBezTo>
                  <a:cubicBezTo>
                    <a:pt x="4255756" y="3322088"/>
                    <a:pt x="4261050" y="3316794"/>
                    <a:pt x="4261050" y="3310266"/>
                  </a:cubicBezTo>
                  <a:cubicBezTo>
                    <a:pt x="4261050" y="3303737"/>
                    <a:pt x="4255756" y="3298443"/>
                    <a:pt x="4249227" y="3298443"/>
                  </a:cubicBezTo>
                  <a:cubicBezTo>
                    <a:pt x="4242699" y="3298443"/>
                    <a:pt x="4237405" y="3303737"/>
                    <a:pt x="4237405" y="3310266"/>
                  </a:cubicBezTo>
                  <a:close/>
                  <a:moveTo>
                    <a:pt x="4169425" y="1797004"/>
                  </a:moveTo>
                  <a:cubicBezTo>
                    <a:pt x="4169425" y="1799958"/>
                    <a:pt x="4172382" y="1805870"/>
                    <a:pt x="4178293" y="1805870"/>
                  </a:cubicBezTo>
                  <a:cubicBezTo>
                    <a:pt x="4184204" y="1805870"/>
                    <a:pt x="4187158" y="1799958"/>
                    <a:pt x="4187158" y="1797004"/>
                  </a:cubicBezTo>
                  <a:cubicBezTo>
                    <a:pt x="4187158" y="1791093"/>
                    <a:pt x="4181247" y="1788136"/>
                    <a:pt x="4178293" y="1788136"/>
                  </a:cubicBezTo>
                  <a:cubicBezTo>
                    <a:pt x="4172382" y="1788136"/>
                    <a:pt x="4169425" y="1794047"/>
                    <a:pt x="4169425" y="1797004"/>
                  </a:cubicBezTo>
                  <a:close/>
                  <a:moveTo>
                    <a:pt x="4160560" y="2083696"/>
                  </a:moveTo>
                  <a:cubicBezTo>
                    <a:pt x="4160560" y="2095121"/>
                    <a:pt x="4169822" y="2104383"/>
                    <a:pt x="4181250" y="2104383"/>
                  </a:cubicBezTo>
                  <a:cubicBezTo>
                    <a:pt x="4192675" y="2104383"/>
                    <a:pt x="4201938" y="2095121"/>
                    <a:pt x="4201938" y="2083696"/>
                  </a:cubicBezTo>
                  <a:cubicBezTo>
                    <a:pt x="4201938" y="2072267"/>
                    <a:pt x="4192675" y="2063005"/>
                    <a:pt x="4181250" y="2063005"/>
                  </a:cubicBezTo>
                  <a:cubicBezTo>
                    <a:pt x="4169822" y="2063005"/>
                    <a:pt x="4160560" y="2072267"/>
                    <a:pt x="4160560" y="2083696"/>
                  </a:cubicBezTo>
                  <a:close/>
                  <a:moveTo>
                    <a:pt x="4145780" y="2361518"/>
                  </a:moveTo>
                  <a:cubicBezTo>
                    <a:pt x="4142826" y="2379252"/>
                    <a:pt x="4157602" y="2394031"/>
                    <a:pt x="4178293" y="2394031"/>
                  </a:cubicBezTo>
                  <a:cubicBezTo>
                    <a:pt x="4196027" y="2394031"/>
                    <a:pt x="4210803" y="2379252"/>
                    <a:pt x="4210803" y="2361518"/>
                  </a:cubicBezTo>
                  <a:cubicBezTo>
                    <a:pt x="4210803" y="2343788"/>
                    <a:pt x="4196027" y="2329008"/>
                    <a:pt x="4178293" y="2329008"/>
                  </a:cubicBezTo>
                  <a:cubicBezTo>
                    <a:pt x="4160560" y="2329008"/>
                    <a:pt x="4145780" y="2343788"/>
                    <a:pt x="4145780" y="2361518"/>
                  </a:cubicBezTo>
                  <a:close/>
                  <a:moveTo>
                    <a:pt x="4125089" y="2630479"/>
                  </a:moveTo>
                  <a:cubicBezTo>
                    <a:pt x="4128046" y="2654124"/>
                    <a:pt x="4142823" y="2668900"/>
                    <a:pt x="4163514" y="2668900"/>
                  </a:cubicBezTo>
                  <a:cubicBezTo>
                    <a:pt x="4184201" y="2668900"/>
                    <a:pt x="4201935" y="2651166"/>
                    <a:pt x="4201935" y="2630479"/>
                  </a:cubicBezTo>
                  <a:cubicBezTo>
                    <a:pt x="4201935" y="2609788"/>
                    <a:pt x="4184201" y="2592054"/>
                    <a:pt x="4163514" y="2592054"/>
                  </a:cubicBezTo>
                  <a:cubicBezTo>
                    <a:pt x="4142823" y="2592054"/>
                    <a:pt x="4125089" y="2609788"/>
                    <a:pt x="4125089" y="2630479"/>
                  </a:cubicBezTo>
                  <a:close/>
                  <a:moveTo>
                    <a:pt x="4101448" y="2896486"/>
                  </a:moveTo>
                  <a:cubicBezTo>
                    <a:pt x="4101448" y="2923084"/>
                    <a:pt x="4122135" y="2940818"/>
                    <a:pt x="4145783" y="2940818"/>
                  </a:cubicBezTo>
                  <a:cubicBezTo>
                    <a:pt x="4169425" y="2940818"/>
                    <a:pt x="4190115" y="2920130"/>
                    <a:pt x="4190115" y="2896486"/>
                  </a:cubicBezTo>
                  <a:cubicBezTo>
                    <a:pt x="4190115" y="2872838"/>
                    <a:pt x="4169425" y="2852150"/>
                    <a:pt x="4145783" y="2852150"/>
                  </a:cubicBezTo>
                  <a:cubicBezTo>
                    <a:pt x="4122135" y="2852150"/>
                    <a:pt x="4101448" y="2872838"/>
                    <a:pt x="4101448" y="2896486"/>
                  </a:cubicBezTo>
                  <a:close/>
                  <a:moveTo>
                    <a:pt x="4098490" y="3153618"/>
                  </a:moveTo>
                  <a:cubicBezTo>
                    <a:pt x="4098490" y="3168397"/>
                    <a:pt x="4110313" y="3180220"/>
                    <a:pt x="4125089" y="3180220"/>
                  </a:cubicBezTo>
                  <a:cubicBezTo>
                    <a:pt x="4139869" y="3180220"/>
                    <a:pt x="4151691" y="3168397"/>
                    <a:pt x="4151691" y="3153618"/>
                  </a:cubicBezTo>
                  <a:cubicBezTo>
                    <a:pt x="4151691" y="3138841"/>
                    <a:pt x="4139869" y="3127018"/>
                    <a:pt x="4125089" y="3127018"/>
                  </a:cubicBezTo>
                  <a:cubicBezTo>
                    <a:pt x="4110313" y="3127018"/>
                    <a:pt x="4098490" y="3138841"/>
                    <a:pt x="4098490" y="3153618"/>
                  </a:cubicBezTo>
                  <a:close/>
                  <a:moveTo>
                    <a:pt x="4086668" y="3407798"/>
                  </a:moveTo>
                  <a:cubicBezTo>
                    <a:pt x="4086668" y="3413710"/>
                    <a:pt x="4089622" y="3419621"/>
                    <a:pt x="4098490" y="3419621"/>
                  </a:cubicBezTo>
                  <a:cubicBezTo>
                    <a:pt x="4104402" y="3419621"/>
                    <a:pt x="4110313" y="3413710"/>
                    <a:pt x="4110313" y="3407798"/>
                  </a:cubicBezTo>
                  <a:cubicBezTo>
                    <a:pt x="4110313" y="3401888"/>
                    <a:pt x="4104402" y="3395976"/>
                    <a:pt x="4098490" y="3395976"/>
                  </a:cubicBezTo>
                  <a:cubicBezTo>
                    <a:pt x="4092579" y="3395976"/>
                    <a:pt x="4086668" y="3401888"/>
                    <a:pt x="4086668" y="3407798"/>
                  </a:cubicBezTo>
                  <a:close/>
                  <a:moveTo>
                    <a:pt x="4048247" y="1927048"/>
                  </a:moveTo>
                  <a:cubicBezTo>
                    <a:pt x="4048247" y="1932959"/>
                    <a:pt x="4051201" y="1935913"/>
                    <a:pt x="4057115" y="1935913"/>
                  </a:cubicBezTo>
                  <a:cubicBezTo>
                    <a:pt x="4063026" y="1935913"/>
                    <a:pt x="4065980" y="1930002"/>
                    <a:pt x="4065980" y="1927048"/>
                  </a:cubicBezTo>
                  <a:cubicBezTo>
                    <a:pt x="4065980" y="1921136"/>
                    <a:pt x="4060069" y="1918179"/>
                    <a:pt x="4057115" y="1918179"/>
                  </a:cubicBezTo>
                  <a:cubicBezTo>
                    <a:pt x="4051201" y="1918179"/>
                    <a:pt x="4048247" y="1924090"/>
                    <a:pt x="4048247" y="1927048"/>
                  </a:cubicBezTo>
                  <a:close/>
                  <a:moveTo>
                    <a:pt x="4048247" y="1637399"/>
                  </a:moveTo>
                  <a:cubicBezTo>
                    <a:pt x="4048247" y="1640356"/>
                    <a:pt x="4051201" y="1640356"/>
                    <a:pt x="4051201" y="1640356"/>
                  </a:cubicBezTo>
                  <a:cubicBezTo>
                    <a:pt x="4054158" y="1640356"/>
                    <a:pt x="4054158" y="1637399"/>
                    <a:pt x="4054158" y="1637399"/>
                  </a:cubicBezTo>
                  <a:cubicBezTo>
                    <a:pt x="4054158" y="1634445"/>
                    <a:pt x="4051201" y="1634445"/>
                    <a:pt x="4051201" y="1634445"/>
                  </a:cubicBezTo>
                  <a:cubicBezTo>
                    <a:pt x="4048247" y="1634445"/>
                    <a:pt x="4048247" y="1637399"/>
                    <a:pt x="4048247" y="1637399"/>
                  </a:cubicBezTo>
                  <a:close/>
                  <a:moveTo>
                    <a:pt x="4036421" y="2204873"/>
                  </a:moveTo>
                  <a:cubicBezTo>
                    <a:pt x="4036421" y="2213738"/>
                    <a:pt x="4042333" y="2222607"/>
                    <a:pt x="4054155" y="2222607"/>
                  </a:cubicBezTo>
                  <a:cubicBezTo>
                    <a:pt x="4063023" y="2222607"/>
                    <a:pt x="4071889" y="2216696"/>
                    <a:pt x="4071889" y="2204873"/>
                  </a:cubicBezTo>
                  <a:cubicBezTo>
                    <a:pt x="4071889" y="2196008"/>
                    <a:pt x="4063023" y="2187140"/>
                    <a:pt x="4054155" y="2187140"/>
                  </a:cubicBezTo>
                  <a:cubicBezTo>
                    <a:pt x="4045290" y="2187140"/>
                    <a:pt x="4036421" y="2196008"/>
                    <a:pt x="4036421" y="2204873"/>
                  </a:cubicBezTo>
                  <a:close/>
                  <a:moveTo>
                    <a:pt x="4030510" y="1335928"/>
                  </a:moveTo>
                  <a:cubicBezTo>
                    <a:pt x="4030510" y="1338886"/>
                    <a:pt x="4033467" y="1338886"/>
                    <a:pt x="4033467" y="1338886"/>
                  </a:cubicBezTo>
                  <a:cubicBezTo>
                    <a:pt x="4036421" y="1338886"/>
                    <a:pt x="4036421" y="1335928"/>
                    <a:pt x="4036421" y="1335928"/>
                  </a:cubicBezTo>
                  <a:cubicBezTo>
                    <a:pt x="4036421" y="1332974"/>
                    <a:pt x="4033467" y="1332974"/>
                    <a:pt x="4033467" y="1332974"/>
                  </a:cubicBezTo>
                  <a:cubicBezTo>
                    <a:pt x="4033467" y="1332974"/>
                    <a:pt x="4030510" y="1335928"/>
                    <a:pt x="4030510" y="1335928"/>
                  </a:cubicBezTo>
                  <a:close/>
                  <a:moveTo>
                    <a:pt x="3995046" y="2476791"/>
                  </a:moveTo>
                  <a:cubicBezTo>
                    <a:pt x="3995046" y="2500436"/>
                    <a:pt x="4015734" y="2521124"/>
                    <a:pt x="4039382" y="2521124"/>
                  </a:cubicBezTo>
                  <a:cubicBezTo>
                    <a:pt x="4063026" y="2521124"/>
                    <a:pt x="4083714" y="2500436"/>
                    <a:pt x="4083714" y="2476791"/>
                  </a:cubicBezTo>
                  <a:cubicBezTo>
                    <a:pt x="4083714" y="2453143"/>
                    <a:pt x="4063026" y="2432456"/>
                    <a:pt x="4039382" y="2432456"/>
                  </a:cubicBezTo>
                  <a:cubicBezTo>
                    <a:pt x="4015734" y="2432456"/>
                    <a:pt x="3995046" y="2453143"/>
                    <a:pt x="3995046" y="2476791"/>
                  </a:cubicBezTo>
                  <a:close/>
                  <a:moveTo>
                    <a:pt x="3968444" y="2742792"/>
                  </a:moveTo>
                  <a:cubicBezTo>
                    <a:pt x="3968444" y="2772348"/>
                    <a:pt x="3992089" y="2795992"/>
                    <a:pt x="4021645" y="2795992"/>
                  </a:cubicBezTo>
                  <a:cubicBezTo>
                    <a:pt x="4051201" y="2795992"/>
                    <a:pt x="4074846" y="2772348"/>
                    <a:pt x="4074846" y="2742792"/>
                  </a:cubicBezTo>
                  <a:cubicBezTo>
                    <a:pt x="4074846" y="2713236"/>
                    <a:pt x="4051201" y="2689591"/>
                    <a:pt x="4021645" y="2689591"/>
                  </a:cubicBezTo>
                  <a:cubicBezTo>
                    <a:pt x="3992089" y="2689591"/>
                    <a:pt x="3968444" y="2713236"/>
                    <a:pt x="3968444" y="2742792"/>
                  </a:cubicBezTo>
                  <a:close/>
                  <a:moveTo>
                    <a:pt x="3953668" y="2999930"/>
                  </a:moveTo>
                  <a:cubicBezTo>
                    <a:pt x="3953668" y="3023574"/>
                    <a:pt x="3974356" y="3044262"/>
                    <a:pt x="3998003" y="3044262"/>
                  </a:cubicBezTo>
                  <a:cubicBezTo>
                    <a:pt x="4024602" y="3044262"/>
                    <a:pt x="4042336" y="3023574"/>
                    <a:pt x="4042336" y="2999930"/>
                  </a:cubicBezTo>
                  <a:cubicBezTo>
                    <a:pt x="4042336" y="2976282"/>
                    <a:pt x="4021645" y="2955594"/>
                    <a:pt x="3998003" y="2955594"/>
                  </a:cubicBezTo>
                  <a:cubicBezTo>
                    <a:pt x="3971401" y="2955594"/>
                    <a:pt x="3953668" y="2976282"/>
                    <a:pt x="3953668" y="2999930"/>
                  </a:cubicBezTo>
                  <a:close/>
                  <a:moveTo>
                    <a:pt x="3932977" y="3248196"/>
                  </a:moveTo>
                  <a:cubicBezTo>
                    <a:pt x="3935934" y="3271842"/>
                    <a:pt x="3950711" y="3286621"/>
                    <a:pt x="3971401" y="3286621"/>
                  </a:cubicBezTo>
                  <a:cubicBezTo>
                    <a:pt x="3992089" y="3286621"/>
                    <a:pt x="4009823" y="3268888"/>
                    <a:pt x="4009823" y="3248196"/>
                  </a:cubicBezTo>
                  <a:cubicBezTo>
                    <a:pt x="4009823" y="3227509"/>
                    <a:pt x="3992089" y="3209776"/>
                    <a:pt x="3971401" y="3209776"/>
                  </a:cubicBezTo>
                  <a:cubicBezTo>
                    <a:pt x="3950711" y="3209776"/>
                    <a:pt x="3932977" y="3227509"/>
                    <a:pt x="3932977" y="3248196"/>
                  </a:cubicBezTo>
                  <a:close/>
                  <a:moveTo>
                    <a:pt x="3930023" y="3496466"/>
                  </a:moveTo>
                  <a:cubicBezTo>
                    <a:pt x="3932977" y="3502378"/>
                    <a:pt x="3935934" y="3508289"/>
                    <a:pt x="3941846" y="3508289"/>
                  </a:cubicBezTo>
                  <a:cubicBezTo>
                    <a:pt x="3947757" y="3508289"/>
                    <a:pt x="3953668" y="3502378"/>
                    <a:pt x="3953668" y="3496466"/>
                  </a:cubicBezTo>
                  <a:cubicBezTo>
                    <a:pt x="3953668" y="3490556"/>
                    <a:pt x="3947757" y="3484644"/>
                    <a:pt x="3941846" y="3484644"/>
                  </a:cubicBezTo>
                  <a:cubicBezTo>
                    <a:pt x="3935934" y="3484644"/>
                    <a:pt x="3930023" y="3490556"/>
                    <a:pt x="3930023" y="3496466"/>
                  </a:cubicBezTo>
                  <a:close/>
                  <a:moveTo>
                    <a:pt x="3924112" y="1767448"/>
                  </a:moveTo>
                  <a:cubicBezTo>
                    <a:pt x="3924112" y="1773360"/>
                    <a:pt x="3927066" y="1776314"/>
                    <a:pt x="3932977" y="1776314"/>
                  </a:cubicBezTo>
                  <a:cubicBezTo>
                    <a:pt x="3938891" y="1776314"/>
                    <a:pt x="3941846" y="1773360"/>
                    <a:pt x="3941846" y="1767448"/>
                  </a:cubicBezTo>
                  <a:cubicBezTo>
                    <a:pt x="3941846" y="1761537"/>
                    <a:pt x="3938891" y="1758580"/>
                    <a:pt x="3932977" y="1758580"/>
                  </a:cubicBezTo>
                  <a:cubicBezTo>
                    <a:pt x="3927066" y="1758580"/>
                    <a:pt x="3924112" y="1761537"/>
                    <a:pt x="3924112" y="1767448"/>
                  </a:cubicBezTo>
                  <a:close/>
                  <a:moveTo>
                    <a:pt x="3921155" y="1477797"/>
                  </a:moveTo>
                  <a:cubicBezTo>
                    <a:pt x="3921155" y="1480751"/>
                    <a:pt x="3924112" y="1480751"/>
                    <a:pt x="3924112" y="1480751"/>
                  </a:cubicBezTo>
                  <a:cubicBezTo>
                    <a:pt x="3927066" y="1480751"/>
                    <a:pt x="3927066" y="1477797"/>
                    <a:pt x="3927066" y="1477797"/>
                  </a:cubicBezTo>
                  <a:cubicBezTo>
                    <a:pt x="3927066" y="1474840"/>
                    <a:pt x="3924112" y="1474840"/>
                    <a:pt x="3924112" y="1474840"/>
                  </a:cubicBezTo>
                  <a:cubicBezTo>
                    <a:pt x="3921155" y="1474840"/>
                    <a:pt x="3921155" y="1477797"/>
                    <a:pt x="3921155" y="1477797"/>
                  </a:cubicBezTo>
                  <a:close/>
                  <a:moveTo>
                    <a:pt x="3909332" y="2048225"/>
                  </a:moveTo>
                  <a:cubicBezTo>
                    <a:pt x="3912286" y="2060048"/>
                    <a:pt x="3918198" y="2065959"/>
                    <a:pt x="3927066" y="2065959"/>
                  </a:cubicBezTo>
                  <a:cubicBezTo>
                    <a:pt x="3935931" y="2065959"/>
                    <a:pt x="3944800" y="2057094"/>
                    <a:pt x="3944800" y="2048225"/>
                  </a:cubicBezTo>
                  <a:cubicBezTo>
                    <a:pt x="3944800" y="2039360"/>
                    <a:pt x="3935931" y="2030492"/>
                    <a:pt x="3927066" y="2030492"/>
                  </a:cubicBezTo>
                  <a:cubicBezTo>
                    <a:pt x="3918198" y="2030492"/>
                    <a:pt x="3909332" y="2039360"/>
                    <a:pt x="3909332" y="2048225"/>
                  </a:cubicBezTo>
                  <a:close/>
                  <a:moveTo>
                    <a:pt x="3882731" y="2323100"/>
                  </a:moveTo>
                  <a:cubicBezTo>
                    <a:pt x="3882731" y="2340831"/>
                    <a:pt x="3897510" y="2355610"/>
                    <a:pt x="3915244" y="2355610"/>
                  </a:cubicBezTo>
                  <a:cubicBezTo>
                    <a:pt x="3932974" y="2355610"/>
                    <a:pt x="3947754" y="2340831"/>
                    <a:pt x="3947754" y="2323100"/>
                  </a:cubicBezTo>
                  <a:cubicBezTo>
                    <a:pt x="3947754" y="2305367"/>
                    <a:pt x="3932974" y="2290587"/>
                    <a:pt x="3915244" y="2290587"/>
                  </a:cubicBezTo>
                  <a:cubicBezTo>
                    <a:pt x="3897510" y="2290587"/>
                    <a:pt x="3882731" y="2305367"/>
                    <a:pt x="3882731" y="2323100"/>
                  </a:cubicBezTo>
                  <a:close/>
                  <a:moveTo>
                    <a:pt x="3853175" y="2583190"/>
                  </a:moveTo>
                  <a:cubicBezTo>
                    <a:pt x="3853175" y="2609788"/>
                    <a:pt x="3873862" y="2627522"/>
                    <a:pt x="3897510" y="2627522"/>
                  </a:cubicBezTo>
                  <a:cubicBezTo>
                    <a:pt x="3921155" y="2627522"/>
                    <a:pt x="3941842" y="2606834"/>
                    <a:pt x="3941842" y="2583190"/>
                  </a:cubicBezTo>
                  <a:cubicBezTo>
                    <a:pt x="3941842" y="2559544"/>
                    <a:pt x="3921155" y="2538854"/>
                    <a:pt x="3897510" y="2538854"/>
                  </a:cubicBezTo>
                  <a:cubicBezTo>
                    <a:pt x="3873862" y="2538854"/>
                    <a:pt x="3853175" y="2559544"/>
                    <a:pt x="3853175" y="2583190"/>
                  </a:cubicBezTo>
                  <a:close/>
                  <a:moveTo>
                    <a:pt x="3829530" y="2843282"/>
                  </a:moveTo>
                  <a:cubicBezTo>
                    <a:pt x="3829530" y="2866926"/>
                    <a:pt x="3850221" y="2887614"/>
                    <a:pt x="3873865" y="2887614"/>
                  </a:cubicBezTo>
                  <a:cubicBezTo>
                    <a:pt x="3900464" y="2887614"/>
                    <a:pt x="3918198" y="2866926"/>
                    <a:pt x="3918198" y="2843282"/>
                  </a:cubicBezTo>
                  <a:cubicBezTo>
                    <a:pt x="3918198" y="2816680"/>
                    <a:pt x="3897510" y="2798946"/>
                    <a:pt x="3873865" y="2798946"/>
                  </a:cubicBezTo>
                  <a:cubicBezTo>
                    <a:pt x="3847263" y="2798946"/>
                    <a:pt x="3829530" y="2819634"/>
                    <a:pt x="3829530" y="2843282"/>
                  </a:cubicBezTo>
                  <a:close/>
                  <a:moveTo>
                    <a:pt x="3805888" y="3094509"/>
                  </a:moveTo>
                  <a:cubicBezTo>
                    <a:pt x="3805888" y="3115196"/>
                    <a:pt x="3823622" y="3135887"/>
                    <a:pt x="3847267" y="3135887"/>
                  </a:cubicBezTo>
                  <a:cubicBezTo>
                    <a:pt x="3870911" y="3135887"/>
                    <a:pt x="3888645" y="3118154"/>
                    <a:pt x="3888645" y="3094509"/>
                  </a:cubicBezTo>
                  <a:cubicBezTo>
                    <a:pt x="3888645" y="3070864"/>
                    <a:pt x="3870911" y="3053130"/>
                    <a:pt x="3847267" y="3053130"/>
                  </a:cubicBezTo>
                  <a:cubicBezTo>
                    <a:pt x="3823622" y="3053130"/>
                    <a:pt x="3805888" y="3070864"/>
                    <a:pt x="3805888" y="3094509"/>
                  </a:cubicBezTo>
                  <a:close/>
                  <a:moveTo>
                    <a:pt x="3799974" y="1610800"/>
                  </a:moveTo>
                  <a:cubicBezTo>
                    <a:pt x="3802931" y="1613758"/>
                    <a:pt x="3802931" y="1616712"/>
                    <a:pt x="3805885" y="1616712"/>
                  </a:cubicBezTo>
                  <a:cubicBezTo>
                    <a:pt x="3808842" y="1616712"/>
                    <a:pt x="3811796" y="1613758"/>
                    <a:pt x="3811796" y="1610800"/>
                  </a:cubicBezTo>
                  <a:cubicBezTo>
                    <a:pt x="3811796" y="1607843"/>
                    <a:pt x="3808842" y="1604889"/>
                    <a:pt x="3805885" y="1604889"/>
                  </a:cubicBezTo>
                  <a:cubicBezTo>
                    <a:pt x="3802931" y="1604889"/>
                    <a:pt x="3799974" y="1607843"/>
                    <a:pt x="3799974" y="1610800"/>
                  </a:cubicBezTo>
                  <a:close/>
                  <a:moveTo>
                    <a:pt x="3791109" y="1894534"/>
                  </a:moveTo>
                  <a:cubicBezTo>
                    <a:pt x="3791109" y="1900446"/>
                    <a:pt x="3797020" y="1906357"/>
                    <a:pt x="3802931" y="1906357"/>
                  </a:cubicBezTo>
                  <a:cubicBezTo>
                    <a:pt x="3808842" y="1906357"/>
                    <a:pt x="3814753" y="1900446"/>
                    <a:pt x="3814753" y="1894534"/>
                  </a:cubicBezTo>
                  <a:cubicBezTo>
                    <a:pt x="3814753" y="1888623"/>
                    <a:pt x="3808842" y="1882712"/>
                    <a:pt x="3802931" y="1882712"/>
                  </a:cubicBezTo>
                  <a:cubicBezTo>
                    <a:pt x="3797020" y="1882712"/>
                    <a:pt x="3791109" y="1888623"/>
                    <a:pt x="3791109" y="1894534"/>
                  </a:cubicBezTo>
                  <a:close/>
                  <a:moveTo>
                    <a:pt x="3782243" y="3336864"/>
                  </a:moveTo>
                  <a:cubicBezTo>
                    <a:pt x="3782243" y="3357555"/>
                    <a:pt x="3797023" y="3372332"/>
                    <a:pt x="3817711" y="3372332"/>
                  </a:cubicBezTo>
                  <a:cubicBezTo>
                    <a:pt x="3835444" y="3372332"/>
                    <a:pt x="3853178" y="3357555"/>
                    <a:pt x="3853178" y="3336864"/>
                  </a:cubicBezTo>
                  <a:cubicBezTo>
                    <a:pt x="3853178" y="3319131"/>
                    <a:pt x="3838398" y="3301397"/>
                    <a:pt x="3817711" y="3301397"/>
                  </a:cubicBezTo>
                  <a:cubicBezTo>
                    <a:pt x="3799977" y="3301397"/>
                    <a:pt x="3782243" y="3316177"/>
                    <a:pt x="3782243" y="3336864"/>
                  </a:cubicBezTo>
                  <a:close/>
                  <a:moveTo>
                    <a:pt x="3773375" y="2166449"/>
                  </a:moveTo>
                  <a:cubicBezTo>
                    <a:pt x="3773375" y="2175318"/>
                    <a:pt x="3782243" y="2184182"/>
                    <a:pt x="3791109" y="2184182"/>
                  </a:cubicBezTo>
                  <a:cubicBezTo>
                    <a:pt x="3799974" y="2184182"/>
                    <a:pt x="3808842" y="2175318"/>
                    <a:pt x="3808842" y="2166449"/>
                  </a:cubicBezTo>
                  <a:cubicBezTo>
                    <a:pt x="3808842" y="2157584"/>
                    <a:pt x="3799974" y="2148716"/>
                    <a:pt x="3791109" y="2148716"/>
                  </a:cubicBezTo>
                  <a:cubicBezTo>
                    <a:pt x="3782243" y="2148716"/>
                    <a:pt x="3773375" y="2157584"/>
                    <a:pt x="3773375" y="2166449"/>
                  </a:cubicBezTo>
                  <a:close/>
                  <a:moveTo>
                    <a:pt x="3755642" y="3579226"/>
                  </a:moveTo>
                  <a:cubicBezTo>
                    <a:pt x="3755642" y="3594006"/>
                    <a:pt x="3767464" y="3608782"/>
                    <a:pt x="3785197" y="3608782"/>
                  </a:cubicBezTo>
                  <a:cubicBezTo>
                    <a:pt x="3802931" y="3608782"/>
                    <a:pt x="3814753" y="3594006"/>
                    <a:pt x="3814753" y="3579226"/>
                  </a:cubicBezTo>
                  <a:cubicBezTo>
                    <a:pt x="3814753" y="3564450"/>
                    <a:pt x="3799977" y="3549670"/>
                    <a:pt x="3785197" y="3549670"/>
                  </a:cubicBezTo>
                  <a:cubicBezTo>
                    <a:pt x="3767464" y="3549670"/>
                    <a:pt x="3755642" y="3564450"/>
                    <a:pt x="3755642" y="3579226"/>
                  </a:cubicBezTo>
                  <a:close/>
                  <a:moveTo>
                    <a:pt x="3740862" y="2429498"/>
                  </a:moveTo>
                  <a:cubicBezTo>
                    <a:pt x="3740862" y="2447232"/>
                    <a:pt x="3755642" y="2462012"/>
                    <a:pt x="3773375" y="2462012"/>
                  </a:cubicBezTo>
                  <a:cubicBezTo>
                    <a:pt x="3791109" y="2462012"/>
                    <a:pt x="3805885" y="2447232"/>
                    <a:pt x="3805885" y="2429498"/>
                  </a:cubicBezTo>
                  <a:cubicBezTo>
                    <a:pt x="3805885" y="2411768"/>
                    <a:pt x="3791109" y="2396988"/>
                    <a:pt x="3773375" y="2396988"/>
                  </a:cubicBezTo>
                  <a:cubicBezTo>
                    <a:pt x="3755642" y="2396988"/>
                    <a:pt x="3740862" y="2411768"/>
                    <a:pt x="3740862" y="2429498"/>
                  </a:cubicBezTo>
                  <a:close/>
                  <a:moveTo>
                    <a:pt x="3702441" y="2686636"/>
                  </a:moveTo>
                  <a:cubicBezTo>
                    <a:pt x="3699484" y="2713238"/>
                    <a:pt x="3723128" y="2733926"/>
                    <a:pt x="3749730" y="2733926"/>
                  </a:cubicBezTo>
                  <a:cubicBezTo>
                    <a:pt x="3776329" y="2733926"/>
                    <a:pt x="3797020" y="2713238"/>
                    <a:pt x="3797020" y="2686636"/>
                  </a:cubicBezTo>
                  <a:cubicBezTo>
                    <a:pt x="3797020" y="2660035"/>
                    <a:pt x="3776329" y="2639347"/>
                    <a:pt x="3749730" y="2639347"/>
                  </a:cubicBezTo>
                  <a:cubicBezTo>
                    <a:pt x="3723128" y="2639347"/>
                    <a:pt x="3702441" y="2660035"/>
                    <a:pt x="3702441" y="2686636"/>
                  </a:cubicBezTo>
                  <a:close/>
                  <a:moveTo>
                    <a:pt x="3675839" y="1737890"/>
                  </a:moveTo>
                  <a:cubicBezTo>
                    <a:pt x="3675839" y="1740844"/>
                    <a:pt x="3675839" y="1740844"/>
                    <a:pt x="3678796" y="1740844"/>
                  </a:cubicBezTo>
                  <a:cubicBezTo>
                    <a:pt x="3681750" y="1740844"/>
                    <a:pt x="3681750" y="1737890"/>
                    <a:pt x="3681750" y="1737890"/>
                  </a:cubicBezTo>
                  <a:cubicBezTo>
                    <a:pt x="3681750" y="1734932"/>
                    <a:pt x="3678796" y="1734932"/>
                    <a:pt x="3678796" y="1734932"/>
                  </a:cubicBezTo>
                  <a:cubicBezTo>
                    <a:pt x="3675839" y="1734932"/>
                    <a:pt x="3675839" y="1737890"/>
                    <a:pt x="3675839" y="1737890"/>
                  </a:cubicBezTo>
                  <a:close/>
                  <a:moveTo>
                    <a:pt x="3675839" y="1454152"/>
                  </a:moveTo>
                  <a:cubicBezTo>
                    <a:pt x="3675839" y="1457110"/>
                    <a:pt x="3678796" y="1460064"/>
                    <a:pt x="3681750" y="1460064"/>
                  </a:cubicBezTo>
                  <a:cubicBezTo>
                    <a:pt x="3684707" y="1460064"/>
                    <a:pt x="3687661" y="1457110"/>
                    <a:pt x="3687661" y="1454152"/>
                  </a:cubicBezTo>
                  <a:cubicBezTo>
                    <a:pt x="3687661" y="1451198"/>
                    <a:pt x="3684707" y="1448241"/>
                    <a:pt x="3681750" y="1448241"/>
                  </a:cubicBezTo>
                  <a:cubicBezTo>
                    <a:pt x="3678796" y="1448241"/>
                    <a:pt x="3675839" y="1451198"/>
                    <a:pt x="3675839" y="1454152"/>
                  </a:cubicBezTo>
                  <a:close/>
                  <a:moveTo>
                    <a:pt x="3666974" y="2934906"/>
                  </a:moveTo>
                  <a:cubicBezTo>
                    <a:pt x="3666974" y="2964462"/>
                    <a:pt x="3693576" y="2988108"/>
                    <a:pt x="3720174" y="2988108"/>
                  </a:cubicBezTo>
                  <a:cubicBezTo>
                    <a:pt x="3749730" y="2988108"/>
                    <a:pt x="3773375" y="2964462"/>
                    <a:pt x="3773375" y="2934906"/>
                  </a:cubicBezTo>
                  <a:cubicBezTo>
                    <a:pt x="3773375" y="2905350"/>
                    <a:pt x="3749730" y="2881706"/>
                    <a:pt x="3720174" y="2881706"/>
                  </a:cubicBezTo>
                  <a:cubicBezTo>
                    <a:pt x="3690618" y="2881706"/>
                    <a:pt x="3666974" y="2905350"/>
                    <a:pt x="3666974" y="2934906"/>
                  </a:cubicBezTo>
                  <a:close/>
                  <a:moveTo>
                    <a:pt x="3658108" y="2009804"/>
                  </a:moveTo>
                  <a:cubicBezTo>
                    <a:pt x="3658108" y="2015715"/>
                    <a:pt x="3664020" y="2018669"/>
                    <a:pt x="3666974" y="2018669"/>
                  </a:cubicBezTo>
                  <a:cubicBezTo>
                    <a:pt x="3672888" y="2018669"/>
                    <a:pt x="3675842" y="2015715"/>
                    <a:pt x="3675842" y="2009804"/>
                  </a:cubicBezTo>
                  <a:cubicBezTo>
                    <a:pt x="3675842" y="2003893"/>
                    <a:pt x="3672888" y="2000936"/>
                    <a:pt x="3666974" y="2000936"/>
                  </a:cubicBezTo>
                  <a:cubicBezTo>
                    <a:pt x="3661063" y="2000936"/>
                    <a:pt x="3658108" y="2003893"/>
                    <a:pt x="3658108" y="2009804"/>
                  </a:cubicBezTo>
                  <a:close/>
                  <a:moveTo>
                    <a:pt x="3649240" y="3180220"/>
                  </a:moveTo>
                  <a:cubicBezTo>
                    <a:pt x="3649240" y="3203864"/>
                    <a:pt x="3666974" y="3221598"/>
                    <a:pt x="3690618" y="3221598"/>
                  </a:cubicBezTo>
                  <a:cubicBezTo>
                    <a:pt x="3714263" y="3221598"/>
                    <a:pt x="3731997" y="3203864"/>
                    <a:pt x="3731997" y="3180220"/>
                  </a:cubicBezTo>
                  <a:cubicBezTo>
                    <a:pt x="3731997" y="3156574"/>
                    <a:pt x="3714263" y="3138841"/>
                    <a:pt x="3690618" y="3138841"/>
                  </a:cubicBezTo>
                  <a:cubicBezTo>
                    <a:pt x="3666974" y="3138841"/>
                    <a:pt x="3649240" y="3156574"/>
                    <a:pt x="3649240" y="3180220"/>
                  </a:cubicBezTo>
                  <a:close/>
                  <a:moveTo>
                    <a:pt x="3622638" y="2269896"/>
                  </a:moveTo>
                  <a:cubicBezTo>
                    <a:pt x="3622638" y="2287630"/>
                    <a:pt x="3634461" y="2296495"/>
                    <a:pt x="3649240" y="2296495"/>
                  </a:cubicBezTo>
                  <a:cubicBezTo>
                    <a:pt x="3664017" y="2296495"/>
                    <a:pt x="3675839" y="2284673"/>
                    <a:pt x="3675839" y="2269896"/>
                  </a:cubicBezTo>
                  <a:cubicBezTo>
                    <a:pt x="3675839" y="2255117"/>
                    <a:pt x="3664017" y="2243294"/>
                    <a:pt x="3649240" y="2243294"/>
                  </a:cubicBezTo>
                  <a:cubicBezTo>
                    <a:pt x="3634461" y="2243294"/>
                    <a:pt x="3622638" y="2255117"/>
                    <a:pt x="3622638" y="2269896"/>
                  </a:cubicBezTo>
                  <a:close/>
                  <a:moveTo>
                    <a:pt x="3613773" y="3656072"/>
                  </a:moveTo>
                  <a:cubicBezTo>
                    <a:pt x="3610819" y="3661983"/>
                    <a:pt x="3616730" y="3664937"/>
                    <a:pt x="3622641" y="3664937"/>
                  </a:cubicBezTo>
                  <a:cubicBezTo>
                    <a:pt x="3628553" y="3664937"/>
                    <a:pt x="3631507" y="3659026"/>
                    <a:pt x="3631507" y="3656072"/>
                  </a:cubicBezTo>
                  <a:cubicBezTo>
                    <a:pt x="3631507" y="3650160"/>
                    <a:pt x="3625595" y="3647204"/>
                    <a:pt x="3622641" y="3647204"/>
                  </a:cubicBezTo>
                  <a:cubicBezTo>
                    <a:pt x="3619684" y="3647204"/>
                    <a:pt x="3613773" y="3653114"/>
                    <a:pt x="3613773" y="3656072"/>
                  </a:cubicBezTo>
                  <a:close/>
                  <a:moveTo>
                    <a:pt x="3610819" y="3419624"/>
                  </a:moveTo>
                  <a:cubicBezTo>
                    <a:pt x="3610819" y="3446226"/>
                    <a:pt x="3631507" y="3466914"/>
                    <a:pt x="3658108" y="3466914"/>
                  </a:cubicBezTo>
                  <a:cubicBezTo>
                    <a:pt x="3684710" y="3466914"/>
                    <a:pt x="3705398" y="3446226"/>
                    <a:pt x="3705398" y="3419624"/>
                  </a:cubicBezTo>
                  <a:cubicBezTo>
                    <a:pt x="3705398" y="3393022"/>
                    <a:pt x="3684710" y="3372334"/>
                    <a:pt x="3658108" y="3372334"/>
                  </a:cubicBezTo>
                  <a:cubicBezTo>
                    <a:pt x="3631507" y="3372334"/>
                    <a:pt x="3610819" y="3393022"/>
                    <a:pt x="3610819" y="3419624"/>
                  </a:cubicBezTo>
                  <a:close/>
                  <a:moveTo>
                    <a:pt x="3593082" y="2529992"/>
                  </a:moveTo>
                  <a:cubicBezTo>
                    <a:pt x="3590128" y="2547722"/>
                    <a:pt x="3604905" y="2562502"/>
                    <a:pt x="3625595" y="2562502"/>
                  </a:cubicBezTo>
                  <a:cubicBezTo>
                    <a:pt x="3643329" y="2562502"/>
                    <a:pt x="3658105" y="2547722"/>
                    <a:pt x="3658105" y="2529992"/>
                  </a:cubicBezTo>
                  <a:cubicBezTo>
                    <a:pt x="3658105" y="2512258"/>
                    <a:pt x="3643329" y="2497478"/>
                    <a:pt x="3625595" y="2497478"/>
                  </a:cubicBezTo>
                  <a:cubicBezTo>
                    <a:pt x="3607862" y="2497478"/>
                    <a:pt x="3593082" y="2512258"/>
                    <a:pt x="3593082" y="2529992"/>
                  </a:cubicBezTo>
                  <a:close/>
                  <a:moveTo>
                    <a:pt x="3551707" y="1297504"/>
                  </a:moveTo>
                  <a:cubicBezTo>
                    <a:pt x="3551707" y="1300462"/>
                    <a:pt x="3551707" y="1300462"/>
                    <a:pt x="3554664" y="1300462"/>
                  </a:cubicBezTo>
                  <a:cubicBezTo>
                    <a:pt x="3557618" y="1300462"/>
                    <a:pt x="3557618" y="1297504"/>
                    <a:pt x="3557618" y="1297504"/>
                  </a:cubicBezTo>
                  <a:cubicBezTo>
                    <a:pt x="3557618" y="1294550"/>
                    <a:pt x="3554664" y="1294550"/>
                    <a:pt x="3554664" y="1294550"/>
                  </a:cubicBezTo>
                  <a:cubicBezTo>
                    <a:pt x="3551707" y="1294550"/>
                    <a:pt x="3551707" y="1297504"/>
                    <a:pt x="3551707" y="1297504"/>
                  </a:cubicBezTo>
                  <a:close/>
                  <a:moveTo>
                    <a:pt x="3548750" y="1581244"/>
                  </a:moveTo>
                  <a:cubicBezTo>
                    <a:pt x="3548750" y="1584202"/>
                    <a:pt x="3551707" y="1587156"/>
                    <a:pt x="3554661" y="1587156"/>
                  </a:cubicBezTo>
                  <a:cubicBezTo>
                    <a:pt x="3557618" y="1587156"/>
                    <a:pt x="3560572" y="1584202"/>
                    <a:pt x="3560572" y="1581244"/>
                  </a:cubicBezTo>
                  <a:cubicBezTo>
                    <a:pt x="3560572" y="1578287"/>
                    <a:pt x="3557618" y="1575333"/>
                    <a:pt x="3554661" y="1575333"/>
                  </a:cubicBezTo>
                  <a:cubicBezTo>
                    <a:pt x="3551707" y="1575333"/>
                    <a:pt x="3548750" y="1578287"/>
                    <a:pt x="3548750" y="1581244"/>
                  </a:cubicBezTo>
                  <a:close/>
                  <a:moveTo>
                    <a:pt x="3545796" y="2775302"/>
                  </a:moveTo>
                  <a:cubicBezTo>
                    <a:pt x="3545796" y="2804858"/>
                    <a:pt x="3569441" y="2825548"/>
                    <a:pt x="3596039" y="2825548"/>
                  </a:cubicBezTo>
                  <a:cubicBezTo>
                    <a:pt x="3622641" y="2825548"/>
                    <a:pt x="3646286" y="2804858"/>
                    <a:pt x="3646286" y="2775302"/>
                  </a:cubicBezTo>
                  <a:cubicBezTo>
                    <a:pt x="3646286" y="2748702"/>
                    <a:pt x="3625595" y="2725058"/>
                    <a:pt x="3596039" y="2725058"/>
                  </a:cubicBezTo>
                  <a:cubicBezTo>
                    <a:pt x="3566483" y="2725058"/>
                    <a:pt x="3545796" y="2745746"/>
                    <a:pt x="3545796" y="2775302"/>
                  </a:cubicBezTo>
                  <a:close/>
                  <a:moveTo>
                    <a:pt x="3533970" y="1853159"/>
                  </a:moveTo>
                  <a:cubicBezTo>
                    <a:pt x="3533970" y="1859070"/>
                    <a:pt x="3539882" y="1862024"/>
                    <a:pt x="3542839" y="1862024"/>
                  </a:cubicBezTo>
                  <a:cubicBezTo>
                    <a:pt x="3548750" y="1862024"/>
                    <a:pt x="3551704" y="1859070"/>
                    <a:pt x="3551704" y="1853159"/>
                  </a:cubicBezTo>
                  <a:cubicBezTo>
                    <a:pt x="3551704" y="1847248"/>
                    <a:pt x="3548750" y="1844291"/>
                    <a:pt x="3542839" y="1844291"/>
                  </a:cubicBezTo>
                  <a:cubicBezTo>
                    <a:pt x="3536928" y="1844291"/>
                    <a:pt x="3533970" y="1847248"/>
                    <a:pt x="3533970" y="1853159"/>
                  </a:cubicBezTo>
                  <a:close/>
                  <a:moveTo>
                    <a:pt x="3510329" y="3020618"/>
                  </a:moveTo>
                  <a:cubicBezTo>
                    <a:pt x="3510329" y="3050174"/>
                    <a:pt x="3536928" y="3073818"/>
                    <a:pt x="3563529" y="3073818"/>
                  </a:cubicBezTo>
                  <a:cubicBezTo>
                    <a:pt x="3593085" y="3073818"/>
                    <a:pt x="3616730" y="3050174"/>
                    <a:pt x="3616730" y="3020618"/>
                  </a:cubicBezTo>
                  <a:cubicBezTo>
                    <a:pt x="3616730" y="2991062"/>
                    <a:pt x="3593085" y="2967416"/>
                    <a:pt x="3563529" y="2967416"/>
                  </a:cubicBezTo>
                  <a:cubicBezTo>
                    <a:pt x="3533974" y="2967416"/>
                    <a:pt x="3510329" y="2991062"/>
                    <a:pt x="3510329" y="3020618"/>
                  </a:cubicBezTo>
                  <a:close/>
                  <a:moveTo>
                    <a:pt x="3510329" y="2116208"/>
                  </a:moveTo>
                  <a:cubicBezTo>
                    <a:pt x="3510329" y="2125074"/>
                    <a:pt x="3516240" y="2130985"/>
                    <a:pt x="3525108" y="2130985"/>
                  </a:cubicBezTo>
                  <a:cubicBezTo>
                    <a:pt x="3533974" y="2130985"/>
                    <a:pt x="3539885" y="2125074"/>
                    <a:pt x="3539885" y="2116208"/>
                  </a:cubicBezTo>
                  <a:cubicBezTo>
                    <a:pt x="3539885" y="2107340"/>
                    <a:pt x="3533974" y="2101429"/>
                    <a:pt x="3525108" y="2101429"/>
                  </a:cubicBezTo>
                  <a:cubicBezTo>
                    <a:pt x="3516240" y="2101429"/>
                    <a:pt x="3510329" y="2107340"/>
                    <a:pt x="3510329" y="2116208"/>
                  </a:cubicBezTo>
                  <a:close/>
                  <a:moveTo>
                    <a:pt x="3483727" y="3260019"/>
                  </a:moveTo>
                  <a:cubicBezTo>
                    <a:pt x="3483727" y="3286621"/>
                    <a:pt x="3504414" y="3307308"/>
                    <a:pt x="3531016" y="3307308"/>
                  </a:cubicBezTo>
                  <a:cubicBezTo>
                    <a:pt x="3557618" y="3307308"/>
                    <a:pt x="3578306" y="3286621"/>
                    <a:pt x="3578306" y="3260019"/>
                  </a:cubicBezTo>
                  <a:cubicBezTo>
                    <a:pt x="3578306" y="3233417"/>
                    <a:pt x="3557618" y="3212730"/>
                    <a:pt x="3531016" y="3212730"/>
                  </a:cubicBezTo>
                  <a:cubicBezTo>
                    <a:pt x="3504414" y="3212730"/>
                    <a:pt x="3483727" y="3233417"/>
                    <a:pt x="3483727" y="3260019"/>
                  </a:cubicBezTo>
                  <a:close/>
                  <a:moveTo>
                    <a:pt x="3471904" y="2370386"/>
                  </a:moveTo>
                  <a:cubicBezTo>
                    <a:pt x="3471904" y="2385166"/>
                    <a:pt x="3486684" y="2396988"/>
                    <a:pt x="3498503" y="2396988"/>
                  </a:cubicBezTo>
                  <a:cubicBezTo>
                    <a:pt x="3513283" y="2396988"/>
                    <a:pt x="3525105" y="2385166"/>
                    <a:pt x="3525105" y="2370386"/>
                  </a:cubicBezTo>
                  <a:cubicBezTo>
                    <a:pt x="3525105" y="2355610"/>
                    <a:pt x="3513283" y="2343788"/>
                    <a:pt x="3498503" y="2343788"/>
                  </a:cubicBezTo>
                  <a:cubicBezTo>
                    <a:pt x="3483727" y="2343788"/>
                    <a:pt x="3471904" y="2355610"/>
                    <a:pt x="3471904" y="2370386"/>
                  </a:cubicBezTo>
                  <a:close/>
                  <a:moveTo>
                    <a:pt x="3454171" y="3493512"/>
                  </a:moveTo>
                  <a:cubicBezTo>
                    <a:pt x="3454171" y="3516366"/>
                    <a:pt x="3472696" y="3534890"/>
                    <a:pt x="3495549" y="3534890"/>
                  </a:cubicBezTo>
                  <a:cubicBezTo>
                    <a:pt x="3518403" y="3534890"/>
                    <a:pt x="3536928" y="3516366"/>
                    <a:pt x="3536928" y="3493512"/>
                  </a:cubicBezTo>
                  <a:cubicBezTo>
                    <a:pt x="3536928" y="3470659"/>
                    <a:pt x="3518403" y="3452134"/>
                    <a:pt x="3495549" y="3452134"/>
                  </a:cubicBezTo>
                  <a:cubicBezTo>
                    <a:pt x="3472696" y="3452134"/>
                    <a:pt x="3454171" y="3470659"/>
                    <a:pt x="3454171" y="3493512"/>
                  </a:cubicBezTo>
                  <a:close/>
                  <a:moveTo>
                    <a:pt x="3430526" y="2618660"/>
                  </a:moveTo>
                  <a:cubicBezTo>
                    <a:pt x="3433483" y="2639347"/>
                    <a:pt x="3448260" y="2657081"/>
                    <a:pt x="3468950" y="2657081"/>
                  </a:cubicBezTo>
                  <a:cubicBezTo>
                    <a:pt x="3489638" y="2657081"/>
                    <a:pt x="3507372" y="2639347"/>
                    <a:pt x="3507372" y="2618660"/>
                  </a:cubicBezTo>
                  <a:cubicBezTo>
                    <a:pt x="3507372" y="2597969"/>
                    <a:pt x="3489638" y="2580236"/>
                    <a:pt x="3468950" y="2580236"/>
                  </a:cubicBezTo>
                  <a:cubicBezTo>
                    <a:pt x="3448260" y="2580236"/>
                    <a:pt x="3430526" y="2597969"/>
                    <a:pt x="3430526" y="2618660"/>
                  </a:cubicBezTo>
                  <a:close/>
                  <a:moveTo>
                    <a:pt x="3424615" y="3724049"/>
                  </a:moveTo>
                  <a:cubicBezTo>
                    <a:pt x="3424615" y="3741782"/>
                    <a:pt x="3439394" y="3756559"/>
                    <a:pt x="3457128" y="3756559"/>
                  </a:cubicBezTo>
                  <a:cubicBezTo>
                    <a:pt x="3474859" y="3756559"/>
                    <a:pt x="3489638" y="3741782"/>
                    <a:pt x="3489638" y="3724049"/>
                  </a:cubicBezTo>
                  <a:cubicBezTo>
                    <a:pt x="3489638" y="3706315"/>
                    <a:pt x="3474859" y="3691536"/>
                    <a:pt x="3457128" y="3691536"/>
                  </a:cubicBezTo>
                  <a:cubicBezTo>
                    <a:pt x="3439394" y="3691536"/>
                    <a:pt x="3424615" y="3706315"/>
                    <a:pt x="3424615" y="3724049"/>
                  </a:cubicBezTo>
                  <a:close/>
                  <a:moveTo>
                    <a:pt x="3415747" y="1699468"/>
                  </a:moveTo>
                  <a:cubicBezTo>
                    <a:pt x="3415747" y="1699468"/>
                    <a:pt x="3415747" y="1702422"/>
                    <a:pt x="3418704" y="1702422"/>
                  </a:cubicBezTo>
                  <a:cubicBezTo>
                    <a:pt x="3421658" y="1702422"/>
                    <a:pt x="3421658" y="1699468"/>
                    <a:pt x="3421658" y="1699468"/>
                  </a:cubicBezTo>
                  <a:cubicBezTo>
                    <a:pt x="3421658" y="1696511"/>
                    <a:pt x="3418704" y="1696511"/>
                    <a:pt x="3418704" y="1696511"/>
                  </a:cubicBezTo>
                  <a:cubicBezTo>
                    <a:pt x="3415747" y="1696511"/>
                    <a:pt x="3415747" y="1699468"/>
                    <a:pt x="3415747" y="1699468"/>
                  </a:cubicBezTo>
                  <a:close/>
                  <a:moveTo>
                    <a:pt x="3389148" y="1962514"/>
                  </a:moveTo>
                  <a:cubicBezTo>
                    <a:pt x="3386191" y="1968426"/>
                    <a:pt x="3392102" y="1974337"/>
                    <a:pt x="3400970" y="1974337"/>
                  </a:cubicBezTo>
                  <a:cubicBezTo>
                    <a:pt x="3406881" y="1974337"/>
                    <a:pt x="3412793" y="1968426"/>
                    <a:pt x="3412793" y="1962514"/>
                  </a:cubicBezTo>
                  <a:cubicBezTo>
                    <a:pt x="3412793" y="1956604"/>
                    <a:pt x="3406881" y="1950692"/>
                    <a:pt x="3400970" y="1950692"/>
                  </a:cubicBezTo>
                  <a:cubicBezTo>
                    <a:pt x="3395059" y="1950692"/>
                    <a:pt x="3389148" y="1956604"/>
                    <a:pt x="3389148" y="1962514"/>
                  </a:cubicBezTo>
                  <a:close/>
                  <a:moveTo>
                    <a:pt x="3386191" y="2861016"/>
                  </a:moveTo>
                  <a:cubicBezTo>
                    <a:pt x="3386191" y="2890571"/>
                    <a:pt x="3409835" y="2914216"/>
                    <a:pt x="3439391" y="2914216"/>
                  </a:cubicBezTo>
                  <a:cubicBezTo>
                    <a:pt x="3468947" y="2914216"/>
                    <a:pt x="3492592" y="2890571"/>
                    <a:pt x="3492592" y="2861016"/>
                  </a:cubicBezTo>
                  <a:cubicBezTo>
                    <a:pt x="3492592" y="2831460"/>
                    <a:pt x="3468947" y="2807814"/>
                    <a:pt x="3439391" y="2807814"/>
                  </a:cubicBezTo>
                  <a:cubicBezTo>
                    <a:pt x="3409835" y="2807814"/>
                    <a:pt x="3386191" y="2831460"/>
                    <a:pt x="3386191" y="2861016"/>
                  </a:cubicBezTo>
                  <a:close/>
                  <a:moveTo>
                    <a:pt x="3353681" y="2213738"/>
                  </a:moveTo>
                  <a:cubicBezTo>
                    <a:pt x="3353681" y="2225167"/>
                    <a:pt x="3362943" y="2234429"/>
                    <a:pt x="3374371" y="2234429"/>
                  </a:cubicBezTo>
                  <a:cubicBezTo>
                    <a:pt x="3385797" y="2234429"/>
                    <a:pt x="3395059" y="2225167"/>
                    <a:pt x="3395059" y="2213738"/>
                  </a:cubicBezTo>
                  <a:cubicBezTo>
                    <a:pt x="3395059" y="2202313"/>
                    <a:pt x="3385797" y="2193051"/>
                    <a:pt x="3374371" y="2193051"/>
                  </a:cubicBezTo>
                  <a:cubicBezTo>
                    <a:pt x="3362943" y="2193051"/>
                    <a:pt x="3353681" y="2202313"/>
                    <a:pt x="3353681" y="2213738"/>
                  </a:cubicBezTo>
                  <a:close/>
                  <a:moveTo>
                    <a:pt x="3350724" y="3097463"/>
                  </a:moveTo>
                  <a:cubicBezTo>
                    <a:pt x="3350724" y="3127018"/>
                    <a:pt x="3374368" y="3150664"/>
                    <a:pt x="3403924" y="3150664"/>
                  </a:cubicBezTo>
                  <a:cubicBezTo>
                    <a:pt x="3433480" y="3150664"/>
                    <a:pt x="3457125" y="3127018"/>
                    <a:pt x="3457125" y="3097463"/>
                  </a:cubicBezTo>
                  <a:cubicBezTo>
                    <a:pt x="3457125" y="3067907"/>
                    <a:pt x="3433480" y="3044262"/>
                    <a:pt x="3403924" y="3044262"/>
                  </a:cubicBezTo>
                  <a:cubicBezTo>
                    <a:pt x="3374368" y="3044262"/>
                    <a:pt x="3350724" y="3067907"/>
                    <a:pt x="3350724" y="3097463"/>
                  </a:cubicBezTo>
                  <a:close/>
                  <a:moveTo>
                    <a:pt x="3318214" y="3330956"/>
                  </a:moveTo>
                  <a:cubicBezTo>
                    <a:pt x="3321168" y="3357558"/>
                    <a:pt x="3341858" y="3378246"/>
                    <a:pt x="3365503" y="3378246"/>
                  </a:cubicBezTo>
                  <a:cubicBezTo>
                    <a:pt x="3392105" y="3378246"/>
                    <a:pt x="3412793" y="3357558"/>
                    <a:pt x="3412793" y="3330956"/>
                  </a:cubicBezTo>
                  <a:cubicBezTo>
                    <a:pt x="3412793" y="3304354"/>
                    <a:pt x="3392105" y="3283667"/>
                    <a:pt x="3365503" y="3283667"/>
                  </a:cubicBezTo>
                  <a:cubicBezTo>
                    <a:pt x="3338901" y="3283667"/>
                    <a:pt x="3318214" y="3304354"/>
                    <a:pt x="3318214" y="3330956"/>
                  </a:cubicBezTo>
                  <a:close/>
                  <a:moveTo>
                    <a:pt x="3306391" y="2459054"/>
                  </a:moveTo>
                  <a:cubicBezTo>
                    <a:pt x="3306391" y="2482699"/>
                    <a:pt x="3324125" y="2497476"/>
                    <a:pt x="3344815" y="2497476"/>
                  </a:cubicBezTo>
                  <a:cubicBezTo>
                    <a:pt x="3365503" y="2497476"/>
                    <a:pt x="3383237" y="2479742"/>
                    <a:pt x="3383237" y="2459054"/>
                  </a:cubicBezTo>
                  <a:cubicBezTo>
                    <a:pt x="3383237" y="2438364"/>
                    <a:pt x="3365503" y="2420630"/>
                    <a:pt x="3344815" y="2420630"/>
                  </a:cubicBezTo>
                  <a:cubicBezTo>
                    <a:pt x="3324125" y="2420630"/>
                    <a:pt x="3306391" y="2438364"/>
                    <a:pt x="3306391" y="2459054"/>
                  </a:cubicBezTo>
                  <a:close/>
                  <a:moveTo>
                    <a:pt x="3279792" y="3561490"/>
                  </a:moveTo>
                  <a:cubicBezTo>
                    <a:pt x="3279792" y="3588092"/>
                    <a:pt x="3300480" y="3608779"/>
                    <a:pt x="3327082" y="3608779"/>
                  </a:cubicBezTo>
                  <a:cubicBezTo>
                    <a:pt x="3353684" y="3608779"/>
                    <a:pt x="3374371" y="3588092"/>
                    <a:pt x="3374371" y="3561490"/>
                  </a:cubicBezTo>
                  <a:cubicBezTo>
                    <a:pt x="3374371" y="3534890"/>
                    <a:pt x="3353684" y="3514200"/>
                    <a:pt x="3327082" y="3514200"/>
                  </a:cubicBezTo>
                  <a:cubicBezTo>
                    <a:pt x="3300480" y="3514200"/>
                    <a:pt x="3279792" y="3534890"/>
                    <a:pt x="3279792" y="3561490"/>
                  </a:cubicBezTo>
                  <a:close/>
                  <a:moveTo>
                    <a:pt x="3270924" y="1805870"/>
                  </a:moveTo>
                  <a:cubicBezTo>
                    <a:pt x="3270924" y="1805870"/>
                    <a:pt x="3273881" y="1808824"/>
                    <a:pt x="3273881" y="1808824"/>
                  </a:cubicBezTo>
                  <a:cubicBezTo>
                    <a:pt x="3276835" y="1808824"/>
                    <a:pt x="3276835" y="1805870"/>
                    <a:pt x="3276835" y="1805870"/>
                  </a:cubicBezTo>
                  <a:cubicBezTo>
                    <a:pt x="3276835" y="1802912"/>
                    <a:pt x="3273881" y="1802912"/>
                    <a:pt x="3273881" y="1802912"/>
                  </a:cubicBezTo>
                  <a:cubicBezTo>
                    <a:pt x="3270924" y="1802912"/>
                    <a:pt x="3270924" y="1805870"/>
                    <a:pt x="3270924" y="1805870"/>
                  </a:cubicBezTo>
                  <a:close/>
                  <a:moveTo>
                    <a:pt x="3265013" y="2701413"/>
                  </a:moveTo>
                  <a:cubicBezTo>
                    <a:pt x="3265013" y="2728015"/>
                    <a:pt x="3285700" y="2748702"/>
                    <a:pt x="3312302" y="2748702"/>
                  </a:cubicBezTo>
                  <a:cubicBezTo>
                    <a:pt x="3338904" y="2748702"/>
                    <a:pt x="3359592" y="2728015"/>
                    <a:pt x="3359592" y="2701413"/>
                  </a:cubicBezTo>
                  <a:cubicBezTo>
                    <a:pt x="3359592" y="2674812"/>
                    <a:pt x="3338904" y="2654124"/>
                    <a:pt x="3312302" y="2654124"/>
                  </a:cubicBezTo>
                  <a:cubicBezTo>
                    <a:pt x="3285700" y="2654124"/>
                    <a:pt x="3265013" y="2674812"/>
                    <a:pt x="3265013" y="2701413"/>
                  </a:cubicBezTo>
                  <a:close/>
                  <a:moveTo>
                    <a:pt x="3256148" y="3786118"/>
                  </a:moveTo>
                  <a:cubicBezTo>
                    <a:pt x="3259105" y="3803848"/>
                    <a:pt x="3270927" y="3818628"/>
                    <a:pt x="3288661" y="3818628"/>
                  </a:cubicBezTo>
                  <a:cubicBezTo>
                    <a:pt x="3306391" y="3818628"/>
                    <a:pt x="3321171" y="3803848"/>
                    <a:pt x="3321171" y="3786118"/>
                  </a:cubicBezTo>
                  <a:cubicBezTo>
                    <a:pt x="3321171" y="3768384"/>
                    <a:pt x="3306391" y="3753604"/>
                    <a:pt x="3288661" y="3753604"/>
                  </a:cubicBezTo>
                  <a:cubicBezTo>
                    <a:pt x="3270927" y="3753604"/>
                    <a:pt x="3256148" y="3768384"/>
                    <a:pt x="3256148" y="3786118"/>
                  </a:cubicBezTo>
                  <a:close/>
                  <a:moveTo>
                    <a:pt x="3244325" y="4010740"/>
                  </a:moveTo>
                  <a:cubicBezTo>
                    <a:pt x="3244325" y="4010740"/>
                    <a:pt x="3247279" y="4013697"/>
                    <a:pt x="3247279" y="4013697"/>
                  </a:cubicBezTo>
                  <a:cubicBezTo>
                    <a:pt x="3250236" y="4013697"/>
                    <a:pt x="3250236" y="4010740"/>
                    <a:pt x="3250236" y="4010740"/>
                  </a:cubicBezTo>
                  <a:cubicBezTo>
                    <a:pt x="3250236" y="4007786"/>
                    <a:pt x="3247279" y="4007786"/>
                    <a:pt x="3247279" y="4007786"/>
                  </a:cubicBezTo>
                  <a:cubicBezTo>
                    <a:pt x="3244325" y="4007786"/>
                    <a:pt x="3244325" y="4010740"/>
                    <a:pt x="3244325" y="4010740"/>
                  </a:cubicBezTo>
                  <a:close/>
                  <a:moveTo>
                    <a:pt x="3229549" y="2057094"/>
                  </a:moveTo>
                  <a:cubicBezTo>
                    <a:pt x="3226592" y="2068916"/>
                    <a:pt x="3235457" y="2077781"/>
                    <a:pt x="3250236" y="2077781"/>
                  </a:cubicBezTo>
                  <a:cubicBezTo>
                    <a:pt x="3262059" y="2077781"/>
                    <a:pt x="3270924" y="2068916"/>
                    <a:pt x="3270924" y="2057094"/>
                  </a:cubicBezTo>
                  <a:cubicBezTo>
                    <a:pt x="3270924" y="2045271"/>
                    <a:pt x="3262059" y="2036403"/>
                    <a:pt x="3250236" y="2036403"/>
                  </a:cubicBezTo>
                  <a:cubicBezTo>
                    <a:pt x="3238414" y="2036403"/>
                    <a:pt x="3229549" y="2045271"/>
                    <a:pt x="3229549" y="2057094"/>
                  </a:cubicBezTo>
                  <a:close/>
                  <a:moveTo>
                    <a:pt x="3223635" y="2934906"/>
                  </a:moveTo>
                  <a:cubicBezTo>
                    <a:pt x="3223635" y="2964462"/>
                    <a:pt x="3247279" y="2988108"/>
                    <a:pt x="3276835" y="2988108"/>
                  </a:cubicBezTo>
                  <a:cubicBezTo>
                    <a:pt x="3306391" y="2988108"/>
                    <a:pt x="3330036" y="2964462"/>
                    <a:pt x="3330036" y="2934906"/>
                  </a:cubicBezTo>
                  <a:cubicBezTo>
                    <a:pt x="3330036" y="2905350"/>
                    <a:pt x="3306391" y="2881706"/>
                    <a:pt x="3276835" y="2881706"/>
                  </a:cubicBezTo>
                  <a:cubicBezTo>
                    <a:pt x="3247279" y="2881706"/>
                    <a:pt x="3223635" y="2905350"/>
                    <a:pt x="3223635" y="2934906"/>
                  </a:cubicBezTo>
                  <a:close/>
                  <a:moveTo>
                    <a:pt x="3191125" y="2302406"/>
                  </a:moveTo>
                  <a:cubicBezTo>
                    <a:pt x="3191125" y="2317186"/>
                    <a:pt x="3202947" y="2329008"/>
                    <a:pt x="3217723" y="2329008"/>
                  </a:cubicBezTo>
                  <a:cubicBezTo>
                    <a:pt x="3232503" y="2329008"/>
                    <a:pt x="3244325" y="2317186"/>
                    <a:pt x="3244325" y="2302406"/>
                  </a:cubicBezTo>
                  <a:cubicBezTo>
                    <a:pt x="3244325" y="2287630"/>
                    <a:pt x="3232503" y="2275808"/>
                    <a:pt x="3217723" y="2275808"/>
                  </a:cubicBezTo>
                  <a:cubicBezTo>
                    <a:pt x="3202947" y="2275808"/>
                    <a:pt x="3191125" y="2287630"/>
                    <a:pt x="3191125" y="2302406"/>
                  </a:cubicBezTo>
                  <a:close/>
                  <a:moveTo>
                    <a:pt x="3182256" y="3168397"/>
                  </a:moveTo>
                  <a:cubicBezTo>
                    <a:pt x="3182256" y="3197953"/>
                    <a:pt x="3205901" y="3224555"/>
                    <a:pt x="3238411" y="3224555"/>
                  </a:cubicBezTo>
                  <a:cubicBezTo>
                    <a:pt x="3270924" y="3224555"/>
                    <a:pt x="3294569" y="3197953"/>
                    <a:pt x="3294569" y="3168397"/>
                  </a:cubicBezTo>
                  <a:cubicBezTo>
                    <a:pt x="3294569" y="3135887"/>
                    <a:pt x="3267967" y="3112242"/>
                    <a:pt x="3238411" y="3112242"/>
                  </a:cubicBezTo>
                  <a:cubicBezTo>
                    <a:pt x="3208855" y="3112242"/>
                    <a:pt x="3182256" y="3138841"/>
                    <a:pt x="3182256" y="3168397"/>
                  </a:cubicBezTo>
                  <a:close/>
                  <a:moveTo>
                    <a:pt x="3152700" y="2541814"/>
                  </a:moveTo>
                  <a:cubicBezTo>
                    <a:pt x="3152700" y="2559768"/>
                    <a:pt x="3167256" y="2574324"/>
                    <a:pt x="3185210" y="2574324"/>
                  </a:cubicBezTo>
                  <a:cubicBezTo>
                    <a:pt x="3203167" y="2574324"/>
                    <a:pt x="3217723" y="2559768"/>
                    <a:pt x="3217723" y="2541814"/>
                  </a:cubicBezTo>
                  <a:cubicBezTo>
                    <a:pt x="3217723" y="2523857"/>
                    <a:pt x="3203167" y="2509301"/>
                    <a:pt x="3185210" y="2509301"/>
                  </a:cubicBezTo>
                  <a:cubicBezTo>
                    <a:pt x="3167256" y="2509301"/>
                    <a:pt x="3152700" y="2523857"/>
                    <a:pt x="3152700" y="2541814"/>
                  </a:cubicBezTo>
                  <a:close/>
                  <a:moveTo>
                    <a:pt x="3146789" y="1649222"/>
                  </a:moveTo>
                  <a:cubicBezTo>
                    <a:pt x="3146789" y="1649222"/>
                    <a:pt x="3146789" y="1652176"/>
                    <a:pt x="3149743" y="1652176"/>
                  </a:cubicBezTo>
                  <a:cubicBezTo>
                    <a:pt x="3152700" y="1652176"/>
                    <a:pt x="3152700" y="1649222"/>
                    <a:pt x="3152700" y="1649222"/>
                  </a:cubicBezTo>
                  <a:cubicBezTo>
                    <a:pt x="3152700" y="1646264"/>
                    <a:pt x="3149743" y="1646264"/>
                    <a:pt x="3149743" y="1646264"/>
                  </a:cubicBezTo>
                  <a:cubicBezTo>
                    <a:pt x="3146789" y="1646264"/>
                    <a:pt x="3146789" y="1649222"/>
                    <a:pt x="3146789" y="1649222"/>
                  </a:cubicBezTo>
                  <a:close/>
                  <a:moveTo>
                    <a:pt x="3143835" y="3395976"/>
                  </a:moveTo>
                  <a:cubicBezTo>
                    <a:pt x="3143835" y="3426990"/>
                    <a:pt x="3168979" y="3452134"/>
                    <a:pt x="3199993" y="3452134"/>
                  </a:cubicBezTo>
                  <a:cubicBezTo>
                    <a:pt x="3231004" y="3452134"/>
                    <a:pt x="3256148" y="3426990"/>
                    <a:pt x="3256148" y="3395976"/>
                  </a:cubicBezTo>
                  <a:cubicBezTo>
                    <a:pt x="3256148" y="3364965"/>
                    <a:pt x="3231007" y="3339822"/>
                    <a:pt x="3199993" y="3339822"/>
                  </a:cubicBezTo>
                  <a:cubicBezTo>
                    <a:pt x="3168979" y="3339822"/>
                    <a:pt x="3143835" y="3364962"/>
                    <a:pt x="3143835" y="3395976"/>
                  </a:cubicBezTo>
                  <a:close/>
                  <a:moveTo>
                    <a:pt x="3114276" y="3842272"/>
                  </a:moveTo>
                  <a:cubicBezTo>
                    <a:pt x="3114276" y="3842272"/>
                    <a:pt x="3117233" y="3845226"/>
                    <a:pt x="3117233" y="3845226"/>
                  </a:cubicBezTo>
                  <a:cubicBezTo>
                    <a:pt x="3120187" y="3845226"/>
                    <a:pt x="3120187" y="3842272"/>
                    <a:pt x="3120187" y="3842272"/>
                  </a:cubicBezTo>
                  <a:cubicBezTo>
                    <a:pt x="3120187" y="3839316"/>
                    <a:pt x="3117233" y="3839316"/>
                    <a:pt x="3117233" y="3839316"/>
                  </a:cubicBezTo>
                  <a:cubicBezTo>
                    <a:pt x="3114276" y="3839316"/>
                    <a:pt x="3114276" y="3842272"/>
                    <a:pt x="3114276" y="3842272"/>
                  </a:cubicBezTo>
                  <a:close/>
                  <a:moveTo>
                    <a:pt x="3108368" y="3620602"/>
                  </a:moveTo>
                  <a:cubicBezTo>
                    <a:pt x="3108368" y="3647204"/>
                    <a:pt x="3132013" y="3670848"/>
                    <a:pt x="3158611" y="3670848"/>
                  </a:cubicBezTo>
                  <a:cubicBezTo>
                    <a:pt x="3185213" y="3670848"/>
                    <a:pt x="3208858" y="3647204"/>
                    <a:pt x="3208858" y="3620602"/>
                  </a:cubicBezTo>
                  <a:cubicBezTo>
                    <a:pt x="3208858" y="3594002"/>
                    <a:pt x="3185213" y="3570358"/>
                    <a:pt x="3158611" y="3570358"/>
                  </a:cubicBezTo>
                  <a:cubicBezTo>
                    <a:pt x="3132013" y="3570358"/>
                    <a:pt x="3108368" y="3594002"/>
                    <a:pt x="3108368" y="3620602"/>
                  </a:cubicBezTo>
                  <a:close/>
                  <a:moveTo>
                    <a:pt x="3108368" y="2775302"/>
                  </a:moveTo>
                  <a:cubicBezTo>
                    <a:pt x="3108368" y="2795992"/>
                    <a:pt x="3126101" y="2813726"/>
                    <a:pt x="3146792" y="2813726"/>
                  </a:cubicBezTo>
                  <a:cubicBezTo>
                    <a:pt x="3167480" y="2813726"/>
                    <a:pt x="3185213" y="2795992"/>
                    <a:pt x="3185213" y="2775302"/>
                  </a:cubicBezTo>
                  <a:cubicBezTo>
                    <a:pt x="3185213" y="2754614"/>
                    <a:pt x="3167480" y="2736880"/>
                    <a:pt x="3146792" y="2736880"/>
                  </a:cubicBezTo>
                  <a:cubicBezTo>
                    <a:pt x="3126101" y="2736880"/>
                    <a:pt x="3108368" y="2754614"/>
                    <a:pt x="3108368" y="2775302"/>
                  </a:cubicBezTo>
                  <a:close/>
                  <a:moveTo>
                    <a:pt x="3108368" y="1897492"/>
                  </a:moveTo>
                  <a:cubicBezTo>
                    <a:pt x="3108368" y="1906357"/>
                    <a:pt x="3114279" y="1912268"/>
                    <a:pt x="3123147" y="1912268"/>
                  </a:cubicBezTo>
                  <a:cubicBezTo>
                    <a:pt x="3132013" y="1912268"/>
                    <a:pt x="3137924" y="1906357"/>
                    <a:pt x="3137924" y="1897492"/>
                  </a:cubicBezTo>
                  <a:cubicBezTo>
                    <a:pt x="3137924" y="1888623"/>
                    <a:pt x="3132013" y="1882712"/>
                    <a:pt x="3123147" y="1882712"/>
                  </a:cubicBezTo>
                  <a:cubicBezTo>
                    <a:pt x="3114279" y="1882712"/>
                    <a:pt x="3108368" y="1888623"/>
                    <a:pt x="3108368" y="1897492"/>
                  </a:cubicBezTo>
                  <a:close/>
                  <a:moveTo>
                    <a:pt x="3069944" y="2142804"/>
                  </a:moveTo>
                  <a:cubicBezTo>
                    <a:pt x="3069944" y="2154627"/>
                    <a:pt x="3078812" y="2163495"/>
                    <a:pt x="3090631" y="2163495"/>
                  </a:cubicBezTo>
                  <a:cubicBezTo>
                    <a:pt x="3102457" y="2163495"/>
                    <a:pt x="3111322" y="2154627"/>
                    <a:pt x="3111322" y="2142804"/>
                  </a:cubicBezTo>
                  <a:cubicBezTo>
                    <a:pt x="3111322" y="2130985"/>
                    <a:pt x="3102457" y="2122117"/>
                    <a:pt x="3090631" y="2122117"/>
                  </a:cubicBezTo>
                  <a:cubicBezTo>
                    <a:pt x="3078812" y="2122117"/>
                    <a:pt x="3069944" y="2130985"/>
                    <a:pt x="3069944" y="2142804"/>
                  </a:cubicBezTo>
                  <a:close/>
                  <a:moveTo>
                    <a:pt x="3055164" y="3002884"/>
                  </a:moveTo>
                  <a:cubicBezTo>
                    <a:pt x="3058121" y="3032440"/>
                    <a:pt x="3081766" y="3056084"/>
                    <a:pt x="3108365" y="3056084"/>
                  </a:cubicBezTo>
                  <a:cubicBezTo>
                    <a:pt x="3137921" y="3056084"/>
                    <a:pt x="3161566" y="3032440"/>
                    <a:pt x="3161566" y="3002884"/>
                  </a:cubicBezTo>
                  <a:cubicBezTo>
                    <a:pt x="3161566" y="2973328"/>
                    <a:pt x="3137921" y="2949683"/>
                    <a:pt x="3108365" y="2949683"/>
                  </a:cubicBezTo>
                  <a:cubicBezTo>
                    <a:pt x="3078809" y="2949683"/>
                    <a:pt x="3055164" y="2973328"/>
                    <a:pt x="3055164" y="3002884"/>
                  </a:cubicBezTo>
                  <a:close/>
                  <a:moveTo>
                    <a:pt x="3037434" y="2379252"/>
                  </a:moveTo>
                  <a:cubicBezTo>
                    <a:pt x="3037434" y="2391074"/>
                    <a:pt x="3046299" y="2399942"/>
                    <a:pt x="3058121" y="2399942"/>
                  </a:cubicBezTo>
                  <a:cubicBezTo>
                    <a:pt x="3069944" y="2399942"/>
                    <a:pt x="3078812" y="2391074"/>
                    <a:pt x="3078812" y="2379252"/>
                  </a:cubicBezTo>
                  <a:cubicBezTo>
                    <a:pt x="3078812" y="2367432"/>
                    <a:pt x="3069944" y="2358564"/>
                    <a:pt x="3058121" y="2358564"/>
                  </a:cubicBezTo>
                  <a:cubicBezTo>
                    <a:pt x="3046299" y="2358564"/>
                    <a:pt x="3037434" y="2367432"/>
                    <a:pt x="3037434" y="2379252"/>
                  </a:cubicBezTo>
                  <a:close/>
                  <a:moveTo>
                    <a:pt x="3010832" y="3230466"/>
                  </a:moveTo>
                  <a:cubicBezTo>
                    <a:pt x="3010832" y="3262976"/>
                    <a:pt x="3037434" y="3289578"/>
                    <a:pt x="3069944" y="3289578"/>
                  </a:cubicBezTo>
                  <a:cubicBezTo>
                    <a:pt x="3102457" y="3289578"/>
                    <a:pt x="3129056" y="3262976"/>
                    <a:pt x="3129056" y="3230466"/>
                  </a:cubicBezTo>
                  <a:cubicBezTo>
                    <a:pt x="3129056" y="3197953"/>
                    <a:pt x="3102457" y="3171354"/>
                    <a:pt x="3069944" y="3171354"/>
                  </a:cubicBezTo>
                  <a:cubicBezTo>
                    <a:pt x="3037434" y="3171354"/>
                    <a:pt x="3010832" y="3197953"/>
                    <a:pt x="3010832" y="3230466"/>
                  </a:cubicBezTo>
                  <a:close/>
                  <a:moveTo>
                    <a:pt x="2996052" y="1743800"/>
                  </a:moveTo>
                  <a:cubicBezTo>
                    <a:pt x="2996052" y="1743800"/>
                    <a:pt x="2996052" y="1746755"/>
                    <a:pt x="2999009" y="1746755"/>
                  </a:cubicBezTo>
                  <a:cubicBezTo>
                    <a:pt x="3001963" y="1746755"/>
                    <a:pt x="3001963" y="1743800"/>
                    <a:pt x="3001963" y="1743800"/>
                  </a:cubicBezTo>
                  <a:cubicBezTo>
                    <a:pt x="3001963" y="1743800"/>
                    <a:pt x="2999009" y="1740844"/>
                    <a:pt x="2999009" y="1740844"/>
                  </a:cubicBezTo>
                  <a:cubicBezTo>
                    <a:pt x="2996052" y="1740844"/>
                    <a:pt x="2996052" y="1743800"/>
                    <a:pt x="2996052" y="1743800"/>
                  </a:cubicBezTo>
                  <a:close/>
                  <a:moveTo>
                    <a:pt x="2990144" y="2609792"/>
                  </a:moveTo>
                  <a:cubicBezTo>
                    <a:pt x="2990144" y="2627525"/>
                    <a:pt x="3004924" y="2639347"/>
                    <a:pt x="3019700" y="2639347"/>
                  </a:cubicBezTo>
                  <a:cubicBezTo>
                    <a:pt x="3034480" y="2639347"/>
                    <a:pt x="3049256" y="2627525"/>
                    <a:pt x="3049256" y="2609792"/>
                  </a:cubicBezTo>
                  <a:cubicBezTo>
                    <a:pt x="3049256" y="2592058"/>
                    <a:pt x="3037434" y="2580236"/>
                    <a:pt x="3019700" y="2580236"/>
                  </a:cubicBezTo>
                  <a:cubicBezTo>
                    <a:pt x="3004924" y="2580236"/>
                    <a:pt x="2990144" y="2592058"/>
                    <a:pt x="2990144" y="2609792"/>
                  </a:cubicBezTo>
                  <a:close/>
                  <a:moveTo>
                    <a:pt x="2972407" y="3449177"/>
                  </a:moveTo>
                  <a:cubicBezTo>
                    <a:pt x="2975365" y="3481690"/>
                    <a:pt x="2999009" y="3505335"/>
                    <a:pt x="3028565" y="3505335"/>
                  </a:cubicBezTo>
                  <a:cubicBezTo>
                    <a:pt x="3058121" y="3505335"/>
                    <a:pt x="3084720" y="3481690"/>
                    <a:pt x="3084720" y="3449177"/>
                  </a:cubicBezTo>
                  <a:cubicBezTo>
                    <a:pt x="3084720" y="3419621"/>
                    <a:pt x="3061075" y="3393022"/>
                    <a:pt x="3028565" y="3393022"/>
                  </a:cubicBezTo>
                  <a:cubicBezTo>
                    <a:pt x="2999009" y="3393022"/>
                    <a:pt x="2972407" y="3416667"/>
                    <a:pt x="2972407" y="3449177"/>
                  </a:cubicBezTo>
                  <a:close/>
                  <a:moveTo>
                    <a:pt x="2957631" y="1983205"/>
                  </a:moveTo>
                  <a:cubicBezTo>
                    <a:pt x="2954677" y="1989116"/>
                    <a:pt x="2960588" y="1992070"/>
                    <a:pt x="2966499" y="1992070"/>
                  </a:cubicBezTo>
                  <a:cubicBezTo>
                    <a:pt x="2972411" y="1992070"/>
                    <a:pt x="2975365" y="1986159"/>
                    <a:pt x="2975365" y="1983205"/>
                  </a:cubicBezTo>
                  <a:cubicBezTo>
                    <a:pt x="2975365" y="1977291"/>
                    <a:pt x="2969453" y="1974337"/>
                    <a:pt x="2966499" y="1974337"/>
                  </a:cubicBezTo>
                  <a:cubicBezTo>
                    <a:pt x="2960588" y="1974337"/>
                    <a:pt x="2957631" y="1980248"/>
                    <a:pt x="2957631" y="1983205"/>
                  </a:cubicBezTo>
                  <a:close/>
                  <a:moveTo>
                    <a:pt x="2945809" y="2837370"/>
                  </a:moveTo>
                  <a:cubicBezTo>
                    <a:pt x="2945809" y="2858058"/>
                    <a:pt x="2960588" y="2872838"/>
                    <a:pt x="2981276" y="2872838"/>
                  </a:cubicBezTo>
                  <a:cubicBezTo>
                    <a:pt x="3001963" y="2872838"/>
                    <a:pt x="3016743" y="2858058"/>
                    <a:pt x="3016743" y="2837370"/>
                  </a:cubicBezTo>
                  <a:cubicBezTo>
                    <a:pt x="3016743" y="2816683"/>
                    <a:pt x="3001963" y="2801904"/>
                    <a:pt x="2981276" y="2801904"/>
                  </a:cubicBezTo>
                  <a:cubicBezTo>
                    <a:pt x="2960588" y="2801904"/>
                    <a:pt x="2945809" y="2816683"/>
                    <a:pt x="2945809" y="2837370"/>
                  </a:cubicBezTo>
                  <a:close/>
                  <a:moveTo>
                    <a:pt x="2936943" y="3670848"/>
                  </a:moveTo>
                  <a:cubicBezTo>
                    <a:pt x="2936943" y="3698598"/>
                    <a:pt x="2959440" y="3721094"/>
                    <a:pt x="2987190" y="3721094"/>
                  </a:cubicBezTo>
                  <a:cubicBezTo>
                    <a:pt x="3014940" y="3721094"/>
                    <a:pt x="3037434" y="3698598"/>
                    <a:pt x="3037434" y="3670848"/>
                  </a:cubicBezTo>
                  <a:cubicBezTo>
                    <a:pt x="3037434" y="3643101"/>
                    <a:pt x="3014940" y="3620604"/>
                    <a:pt x="2987190" y="3620604"/>
                  </a:cubicBezTo>
                  <a:cubicBezTo>
                    <a:pt x="2959440" y="3620604"/>
                    <a:pt x="2936943" y="3643101"/>
                    <a:pt x="2936943" y="3670848"/>
                  </a:cubicBezTo>
                  <a:close/>
                  <a:moveTo>
                    <a:pt x="2928075" y="3886605"/>
                  </a:moveTo>
                  <a:cubicBezTo>
                    <a:pt x="2928075" y="3898428"/>
                    <a:pt x="2936943" y="3904338"/>
                    <a:pt x="2945809" y="3904338"/>
                  </a:cubicBezTo>
                  <a:cubicBezTo>
                    <a:pt x="2954677" y="3904338"/>
                    <a:pt x="2963542" y="3895474"/>
                    <a:pt x="2963542" y="3886605"/>
                  </a:cubicBezTo>
                  <a:cubicBezTo>
                    <a:pt x="2963542" y="3877740"/>
                    <a:pt x="2957631" y="3868872"/>
                    <a:pt x="2945809" y="3868872"/>
                  </a:cubicBezTo>
                  <a:cubicBezTo>
                    <a:pt x="2936943" y="3868872"/>
                    <a:pt x="2928075" y="3877740"/>
                    <a:pt x="2928075" y="3886605"/>
                  </a:cubicBezTo>
                  <a:close/>
                  <a:moveTo>
                    <a:pt x="2913296" y="2216699"/>
                  </a:moveTo>
                  <a:cubicBezTo>
                    <a:pt x="2916253" y="2225564"/>
                    <a:pt x="2922164" y="2231475"/>
                    <a:pt x="2928075" y="2231475"/>
                  </a:cubicBezTo>
                  <a:cubicBezTo>
                    <a:pt x="2936940" y="2231475"/>
                    <a:pt x="2942852" y="2225564"/>
                    <a:pt x="2942852" y="2216699"/>
                  </a:cubicBezTo>
                  <a:cubicBezTo>
                    <a:pt x="2942852" y="2207830"/>
                    <a:pt x="2936940" y="2201919"/>
                    <a:pt x="2928075" y="2201919"/>
                  </a:cubicBezTo>
                  <a:cubicBezTo>
                    <a:pt x="2919207" y="2201919"/>
                    <a:pt x="2913296" y="2207830"/>
                    <a:pt x="2913296" y="2216699"/>
                  </a:cubicBezTo>
                  <a:close/>
                  <a:moveTo>
                    <a:pt x="2880786" y="3061996"/>
                  </a:moveTo>
                  <a:cubicBezTo>
                    <a:pt x="2880786" y="3094506"/>
                    <a:pt x="2907384" y="3121108"/>
                    <a:pt x="2939897" y="3121108"/>
                  </a:cubicBezTo>
                  <a:cubicBezTo>
                    <a:pt x="2972407" y="3121108"/>
                    <a:pt x="2999009" y="3094506"/>
                    <a:pt x="2999009" y="3061996"/>
                  </a:cubicBezTo>
                  <a:cubicBezTo>
                    <a:pt x="2999009" y="3029482"/>
                    <a:pt x="2972407" y="3002884"/>
                    <a:pt x="2939897" y="3002884"/>
                  </a:cubicBezTo>
                  <a:cubicBezTo>
                    <a:pt x="2907384" y="3002884"/>
                    <a:pt x="2880786" y="3029482"/>
                    <a:pt x="2880786" y="3061996"/>
                  </a:cubicBezTo>
                  <a:close/>
                  <a:moveTo>
                    <a:pt x="2863052" y="2444275"/>
                  </a:moveTo>
                  <a:cubicBezTo>
                    <a:pt x="2863052" y="2462008"/>
                    <a:pt x="2874874" y="2473831"/>
                    <a:pt x="2892608" y="2473831"/>
                  </a:cubicBezTo>
                  <a:cubicBezTo>
                    <a:pt x="2907387" y="2473831"/>
                    <a:pt x="2922164" y="2462008"/>
                    <a:pt x="2922164" y="2444275"/>
                  </a:cubicBezTo>
                  <a:cubicBezTo>
                    <a:pt x="2922164" y="2429498"/>
                    <a:pt x="2910342" y="2414719"/>
                    <a:pt x="2892608" y="2414719"/>
                  </a:cubicBezTo>
                  <a:cubicBezTo>
                    <a:pt x="2874874" y="2414719"/>
                    <a:pt x="2863052" y="2426542"/>
                    <a:pt x="2863052" y="2444275"/>
                  </a:cubicBezTo>
                  <a:close/>
                  <a:moveTo>
                    <a:pt x="2836453" y="3283667"/>
                  </a:moveTo>
                  <a:cubicBezTo>
                    <a:pt x="2836453" y="3316177"/>
                    <a:pt x="2863052" y="3345732"/>
                    <a:pt x="2898519" y="3345732"/>
                  </a:cubicBezTo>
                  <a:cubicBezTo>
                    <a:pt x="2933989" y="3345732"/>
                    <a:pt x="2960588" y="3316177"/>
                    <a:pt x="2960588" y="3283667"/>
                  </a:cubicBezTo>
                  <a:cubicBezTo>
                    <a:pt x="2960588" y="3248196"/>
                    <a:pt x="2931032" y="3221598"/>
                    <a:pt x="2898519" y="3221598"/>
                  </a:cubicBezTo>
                  <a:cubicBezTo>
                    <a:pt x="2863052" y="3221598"/>
                    <a:pt x="2836453" y="3251154"/>
                    <a:pt x="2836453" y="3283667"/>
                  </a:cubicBezTo>
                  <a:close/>
                  <a:moveTo>
                    <a:pt x="2821674" y="2671857"/>
                  </a:moveTo>
                  <a:cubicBezTo>
                    <a:pt x="2821674" y="2686636"/>
                    <a:pt x="2836453" y="2701413"/>
                    <a:pt x="2851230" y="2701413"/>
                  </a:cubicBezTo>
                  <a:cubicBezTo>
                    <a:pt x="2866009" y="2701413"/>
                    <a:pt x="2880786" y="2689591"/>
                    <a:pt x="2880786" y="2671857"/>
                  </a:cubicBezTo>
                  <a:cubicBezTo>
                    <a:pt x="2880786" y="2657081"/>
                    <a:pt x="2868963" y="2642302"/>
                    <a:pt x="2851230" y="2642302"/>
                  </a:cubicBezTo>
                  <a:cubicBezTo>
                    <a:pt x="2836453" y="2642302"/>
                    <a:pt x="2821674" y="2654124"/>
                    <a:pt x="2821674" y="2671857"/>
                  </a:cubicBezTo>
                  <a:close/>
                  <a:moveTo>
                    <a:pt x="2800986" y="3499424"/>
                  </a:moveTo>
                  <a:cubicBezTo>
                    <a:pt x="2800986" y="3528980"/>
                    <a:pt x="2824631" y="3555582"/>
                    <a:pt x="2857141" y="3555582"/>
                  </a:cubicBezTo>
                  <a:cubicBezTo>
                    <a:pt x="2889654" y="3555582"/>
                    <a:pt x="2913299" y="3528980"/>
                    <a:pt x="2913299" y="3499424"/>
                  </a:cubicBezTo>
                  <a:cubicBezTo>
                    <a:pt x="2913299" y="3469868"/>
                    <a:pt x="2886697" y="3443269"/>
                    <a:pt x="2857141" y="3443269"/>
                  </a:cubicBezTo>
                  <a:cubicBezTo>
                    <a:pt x="2824631" y="3443269"/>
                    <a:pt x="2800986" y="3469868"/>
                    <a:pt x="2800986" y="3499424"/>
                  </a:cubicBezTo>
                  <a:close/>
                  <a:moveTo>
                    <a:pt x="2795072" y="2054140"/>
                  </a:moveTo>
                  <a:cubicBezTo>
                    <a:pt x="2795072" y="2057097"/>
                    <a:pt x="2798029" y="2060051"/>
                    <a:pt x="2800983" y="2060051"/>
                  </a:cubicBezTo>
                  <a:cubicBezTo>
                    <a:pt x="2803940" y="2060051"/>
                    <a:pt x="2806894" y="2057097"/>
                    <a:pt x="2806894" y="2054140"/>
                  </a:cubicBezTo>
                  <a:cubicBezTo>
                    <a:pt x="2806894" y="2051182"/>
                    <a:pt x="2803940" y="2048228"/>
                    <a:pt x="2800983" y="2048228"/>
                  </a:cubicBezTo>
                  <a:cubicBezTo>
                    <a:pt x="2798029" y="2048228"/>
                    <a:pt x="2795072" y="2051182"/>
                    <a:pt x="2795072" y="2054140"/>
                  </a:cubicBezTo>
                  <a:close/>
                  <a:moveTo>
                    <a:pt x="2771430" y="2890574"/>
                  </a:moveTo>
                  <a:cubicBezTo>
                    <a:pt x="2771430" y="2914219"/>
                    <a:pt x="2789164" y="2928996"/>
                    <a:pt x="2809851" y="2928996"/>
                  </a:cubicBezTo>
                  <a:cubicBezTo>
                    <a:pt x="2830542" y="2928996"/>
                    <a:pt x="2848276" y="2911262"/>
                    <a:pt x="2848276" y="2890574"/>
                  </a:cubicBezTo>
                  <a:cubicBezTo>
                    <a:pt x="2848276" y="2869884"/>
                    <a:pt x="2830542" y="2852150"/>
                    <a:pt x="2809851" y="2852150"/>
                  </a:cubicBezTo>
                  <a:cubicBezTo>
                    <a:pt x="2789164" y="2852150"/>
                    <a:pt x="2771430" y="2869884"/>
                    <a:pt x="2771430" y="2890574"/>
                  </a:cubicBezTo>
                  <a:close/>
                  <a:moveTo>
                    <a:pt x="2762562" y="3715180"/>
                  </a:moveTo>
                  <a:cubicBezTo>
                    <a:pt x="2759605" y="3744736"/>
                    <a:pt x="2786207" y="3768381"/>
                    <a:pt x="2815763" y="3768381"/>
                  </a:cubicBezTo>
                  <a:cubicBezTo>
                    <a:pt x="2845318" y="3768381"/>
                    <a:pt x="2868960" y="3744736"/>
                    <a:pt x="2868960" y="3715180"/>
                  </a:cubicBezTo>
                  <a:cubicBezTo>
                    <a:pt x="2868960" y="3685624"/>
                    <a:pt x="2845318" y="3661980"/>
                    <a:pt x="2815763" y="3661980"/>
                  </a:cubicBezTo>
                  <a:cubicBezTo>
                    <a:pt x="2786207" y="3661980"/>
                    <a:pt x="2762562" y="3685624"/>
                    <a:pt x="2762562" y="3715180"/>
                  </a:cubicBezTo>
                  <a:close/>
                  <a:moveTo>
                    <a:pt x="2747785" y="2281719"/>
                  </a:moveTo>
                  <a:cubicBezTo>
                    <a:pt x="2747785" y="2290584"/>
                    <a:pt x="2753697" y="2296495"/>
                    <a:pt x="2762565" y="2296495"/>
                  </a:cubicBezTo>
                  <a:cubicBezTo>
                    <a:pt x="2771430" y="2296495"/>
                    <a:pt x="2777341" y="2290584"/>
                    <a:pt x="2777341" y="2281719"/>
                  </a:cubicBezTo>
                  <a:cubicBezTo>
                    <a:pt x="2777341" y="2272850"/>
                    <a:pt x="2771430" y="2266939"/>
                    <a:pt x="2762565" y="2266939"/>
                  </a:cubicBezTo>
                  <a:cubicBezTo>
                    <a:pt x="2753697" y="2266939"/>
                    <a:pt x="2747785" y="2272850"/>
                    <a:pt x="2747785" y="2281719"/>
                  </a:cubicBezTo>
                  <a:close/>
                  <a:moveTo>
                    <a:pt x="2738917" y="3927983"/>
                  </a:moveTo>
                  <a:cubicBezTo>
                    <a:pt x="2738917" y="3945717"/>
                    <a:pt x="2753697" y="3960496"/>
                    <a:pt x="2771430" y="3960496"/>
                  </a:cubicBezTo>
                  <a:cubicBezTo>
                    <a:pt x="2789161" y="3960496"/>
                    <a:pt x="2803940" y="3945717"/>
                    <a:pt x="2803940" y="3927983"/>
                  </a:cubicBezTo>
                  <a:cubicBezTo>
                    <a:pt x="2803940" y="3910253"/>
                    <a:pt x="2789161" y="3895474"/>
                    <a:pt x="2771430" y="3895474"/>
                  </a:cubicBezTo>
                  <a:cubicBezTo>
                    <a:pt x="2753697" y="3895474"/>
                    <a:pt x="2738917" y="3910253"/>
                    <a:pt x="2738917" y="3927983"/>
                  </a:cubicBezTo>
                  <a:close/>
                  <a:moveTo>
                    <a:pt x="2712318" y="3109285"/>
                  </a:moveTo>
                  <a:cubicBezTo>
                    <a:pt x="2712318" y="3141798"/>
                    <a:pt x="2735963" y="3165443"/>
                    <a:pt x="2768473" y="3165443"/>
                  </a:cubicBezTo>
                  <a:cubicBezTo>
                    <a:pt x="2800986" y="3165443"/>
                    <a:pt x="2824631" y="3138841"/>
                    <a:pt x="2824631" y="3109285"/>
                  </a:cubicBezTo>
                  <a:cubicBezTo>
                    <a:pt x="2824631" y="3076775"/>
                    <a:pt x="2798029" y="3053130"/>
                    <a:pt x="2768473" y="3053130"/>
                  </a:cubicBezTo>
                  <a:cubicBezTo>
                    <a:pt x="2735963" y="3053130"/>
                    <a:pt x="2712318" y="3079729"/>
                    <a:pt x="2712318" y="3109285"/>
                  </a:cubicBezTo>
                  <a:close/>
                  <a:moveTo>
                    <a:pt x="2691628" y="2503387"/>
                  </a:moveTo>
                  <a:cubicBezTo>
                    <a:pt x="2691628" y="2521120"/>
                    <a:pt x="2706407" y="2532942"/>
                    <a:pt x="2721183" y="2532942"/>
                  </a:cubicBezTo>
                  <a:cubicBezTo>
                    <a:pt x="2735963" y="2532942"/>
                    <a:pt x="2750739" y="2521120"/>
                    <a:pt x="2750739" y="2503387"/>
                  </a:cubicBezTo>
                  <a:cubicBezTo>
                    <a:pt x="2750739" y="2485653"/>
                    <a:pt x="2738917" y="2473831"/>
                    <a:pt x="2721183" y="2473831"/>
                  </a:cubicBezTo>
                  <a:cubicBezTo>
                    <a:pt x="2706407" y="2473831"/>
                    <a:pt x="2691628" y="2485653"/>
                    <a:pt x="2691628" y="2503387"/>
                  </a:cubicBezTo>
                  <a:close/>
                  <a:moveTo>
                    <a:pt x="2667613" y="1895645"/>
                  </a:moveTo>
                  <a:cubicBezTo>
                    <a:pt x="2668721" y="1896753"/>
                    <a:pt x="2670938" y="1897492"/>
                    <a:pt x="2673894" y="1897492"/>
                  </a:cubicBezTo>
                  <a:cubicBezTo>
                    <a:pt x="2676848" y="1897492"/>
                    <a:pt x="2679805" y="1894538"/>
                    <a:pt x="2679805" y="1891580"/>
                  </a:cubicBezTo>
                  <a:cubicBezTo>
                    <a:pt x="2679805" y="1888623"/>
                    <a:pt x="2676848" y="1885669"/>
                    <a:pt x="2673894" y="1885669"/>
                  </a:cubicBezTo>
                  <a:cubicBezTo>
                    <a:pt x="2670937" y="1885669"/>
                    <a:pt x="2667983" y="1888623"/>
                    <a:pt x="2667983" y="1891580"/>
                  </a:cubicBezTo>
                  <a:cubicBezTo>
                    <a:pt x="2666504" y="1893059"/>
                    <a:pt x="2666504" y="1894537"/>
                    <a:pt x="2667613" y="1895645"/>
                  </a:cubicBezTo>
                  <a:close/>
                  <a:moveTo>
                    <a:pt x="2662072" y="3325045"/>
                  </a:moveTo>
                  <a:cubicBezTo>
                    <a:pt x="2662072" y="3360512"/>
                    <a:pt x="2691628" y="3390068"/>
                    <a:pt x="2727095" y="3390068"/>
                  </a:cubicBezTo>
                  <a:cubicBezTo>
                    <a:pt x="2762562" y="3390068"/>
                    <a:pt x="2792118" y="3360512"/>
                    <a:pt x="2792118" y="3325045"/>
                  </a:cubicBezTo>
                  <a:cubicBezTo>
                    <a:pt x="2792118" y="3289578"/>
                    <a:pt x="2762562" y="3260022"/>
                    <a:pt x="2727095" y="3260022"/>
                  </a:cubicBezTo>
                  <a:cubicBezTo>
                    <a:pt x="2691628" y="3260022"/>
                    <a:pt x="2662072" y="3289578"/>
                    <a:pt x="2662072" y="3325045"/>
                  </a:cubicBezTo>
                  <a:close/>
                  <a:moveTo>
                    <a:pt x="2650249" y="2719146"/>
                  </a:moveTo>
                  <a:cubicBezTo>
                    <a:pt x="2650249" y="2736880"/>
                    <a:pt x="2665029" y="2748702"/>
                    <a:pt x="2679805" y="2748702"/>
                  </a:cubicBezTo>
                  <a:cubicBezTo>
                    <a:pt x="2694585" y="2748702"/>
                    <a:pt x="2709361" y="2736880"/>
                    <a:pt x="2709361" y="2719146"/>
                  </a:cubicBezTo>
                  <a:cubicBezTo>
                    <a:pt x="2709361" y="2704370"/>
                    <a:pt x="2697539" y="2689591"/>
                    <a:pt x="2679805" y="2689591"/>
                  </a:cubicBezTo>
                  <a:cubicBezTo>
                    <a:pt x="2665029" y="2689591"/>
                    <a:pt x="2650249" y="2701413"/>
                    <a:pt x="2650249" y="2719146"/>
                  </a:cubicBezTo>
                  <a:close/>
                  <a:moveTo>
                    <a:pt x="2626604" y="3540802"/>
                  </a:moveTo>
                  <a:cubicBezTo>
                    <a:pt x="2626604" y="3570358"/>
                    <a:pt x="2650249" y="3596956"/>
                    <a:pt x="2682762" y="3596956"/>
                  </a:cubicBezTo>
                  <a:cubicBezTo>
                    <a:pt x="2715272" y="3596956"/>
                    <a:pt x="2738917" y="3570358"/>
                    <a:pt x="2738917" y="3540802"/>
                  </a:cubicBezTo>
                  <a:cubicBezTo>
                    <a:pt x="2738917" y="3508289"/>
                    <a:pt x="2712318" y="3484644"/>
                    <a:pt x="2682762" y="3484644"/>
                  </a:cubicBezTo>
                  <a:cubicBezTo>
                    <a:pt x="2650249" y="3484644"/>
                    <a:pt x="2626604" y="3511246"/>
                    <a:pt x="2626604" y="3540802"/>
                  </a:cubicBezTo>
                  <a:close/>
                  <a:moveTo>
                    <a:pt x="2623650" y="2113252"/>
                  </a:moveTo>
                  <a:cubicBezTo>
                    <a:pt x="2623650" y="2119163"/>
                    <a:pt x="2626604" y="2122117"/>
                    <a:pt x="2632516" y="2122117"/>
                  </a:cubicBezTo>
                  <a:cubicBezTo>
                    <a:pt x="2638430" y="2122117"/>
                    <a:pt x="2641384" y="2119163"/>
                    <a:pt x="2641384" y="2113252"/>
                  </a:cubicBezTo>
                  <a:cubicBezTo>
                    <a:pt x="2641384" y="2107340"/>
                    <a:pt x="2638430" y="2104383"/>
                    <a:pt x="2632516" y="2104383"/>
                  </a:cubicBezTo>
                  <a:cubicBezTo>
                    <a:pt x="2626604" y="2104383"/>
                    <a:pt x="2623650" y="2107340"/>
                    <a:pt x="2623650" y="2113252"/>
                  </a:cubicBezTo>
                  <a:close/>
                  <a:moveTo>
                    <a:pt x="2597049" y="2937860"/>
                  </a:moveTo>
                  <a:cubicBezTo>
                    <a:pt x="2597049" y="2958552"/>
                    <a:pt x="2614782" y="2979239"/>
                    <a:pt x="2638427" y="2979239"/>
                  </a:cubicBezTo>
                  <a:cubicBezTo>
                    <a:pt x="2662072" y="2979239"/>
                    <a:pt x="2679805" y="2961506"/>
                    <a:pt x="2679805" y="2937860"/>
                  </a:cubicBezTo>
                  <a:cubicBezTo>
                    <a:pt x="2679805" y="2914216"/>
                    <a:pt x="2662072" y="2896482"/>
                    <a:pt x="2638427" y="2896482"/>
                  </a:cubicBezTo>
                  <a:cubicBezTo>
                    <a:pt x="2614782" y="2896482"/>
                    <a:pt x="2597049" y="2914216"/>
                    <a:pt x="2597049" y="2937860"/>
                  </a:cubicBezTo>
                  <a:close/>
                  <a:moveTo>
                    <a:pt x="2591137" y="3750650"/>
                  </a:moveTo>
                  <a:cubicBezTo>
                    <a:pt x="2591137" y="3777252"/>
                    <a:pt x="2611825" y="3797940"/>
                    <a:pt x="2638427" y="3797940"/>
                  </a:cubicBezTo>
                  <a:cubicBezTo>
                    <a:pt x="2665029" y="3797940"/>
                    <a:pt x="2685716" y="3777252"/>
                    <a:pt x="2685716" y="3750650"/>
                  </a:cubicBezTo>
                  <a:cubicBezTo>
                    <a:pt x="2685716" y="3724049"/>
                    <a:pt x="2665029" y="3703361"/>
                    <a:pt x="2638427" y="3703361"/>
                  </a:cubicBezTo>
                  <a:cubicBezTo>
                    <a:pt x="2611825" y="3703361"/>
                    <a:pt x="2591137" y="3724049"/>
                    <a:pt x="2591137" y="3750650"/>
                  </a:cubicBezTo>
                  <a:close/>
                  <a:moveTo>
                    <a:pt x="2579315" y="2334920"/>
                  </a:moveTo>
                  <a:cubicBezTo>
                    <a:pt x="2579315" y="2340831"/>
                    <a:pt x="2585226" y="2346742"/>
                    <a:pt x="2591137" y="2346742"/>
                  </a:cubicBezTo>
                  <a:cubicBezTo>
                    <a:pt x="2597049" y="2346742"/>
                    <a:pt x="2602960" y="2340831"/>
                    <a:pt x="2602960" y="2334920"/>
                  </a:cubicBezTo>
                  <a:cubicBezTo>
                    <a:pt x="2602960" y="2329008"/>
                    <a:pt x="2597049" y="2323097"/>
                    <a:pt x="2591137" y="2323097"/>
                  </a:cubicBezTo>
                  <a:cubicBezTo>
                    <a:pt x="2585226" y="2323097"/>
                    <a:pt x="2579315" y="2329008"/>
                    <a:pt x="2579315" y="2334920"/>
                  </a:cubicBezTo>
                  <a:close/>
                  <a:moveTo>
                    <a:pt x="2546805" y="3960496"/>
                  </a:moveTo>
                  <a:cubicBezTo>
                    <a:pt x="2546805" y="3987098"/>
                    <a:pt x="2570450" y="4007786"/>
                    <a:pt x="2594094" y="4007786"/>
                  </a:cubicBezTo>
                  <a:cubicBezTo>
                    <a:pt x="2620696" y="4007786"/>
                    <a:pt x="2641384" y="3987098"/>
                    <a:pt x="2641384" y="3960496"/>
                  </a:cubicBezTo>
                  <a:cubicBezTo>
                    <a:pt x="2641384" y="3933898"/>
                    <a:pt x="2620696" y="3913207"/>
                    <a:pt x="2594094" y="3913207"/>
                  </a:cubicBezTo>
                  <a:cubicBezTo>
                    <a:pt x="2567493" y="3913207"/>
                    <a:pt x="2546805" y="3933898"/>
                    <a:pt x="2546805" y="3960496"/>
                  </a:cubicBezTo>
                  <a:close/>
                  <a:moveTo>
                    <a:pt x="2540894" y="3150664"/>
                  </a:moveTo>
                  <a:cubicBezTo>
                    <a:pt x="2540894" y="3180220"/>
                    <a:pt x="2564539" y="3203864"/>
                    <a:pt x="2594094" y="3203864"/>
                  </a:cubicBezTo>
                  <a:cubicBezTo>
                    <a:pt x="2623650" y="3203864"/>
                    <a:pt x="2647295" y="3180220"/>
                    <a:pt x="2647295" y="3150664"/>
                  </a:cubicBezTo>
                  <a:cubicBezTo>
                    <a:pt x="2647295" y="3121108"/>
                    <a:pt x="2623650" y="3097463"/>
                    <a:pt x="2594094" y="3097463"/>
                  </a:cubicBezTo>
                  <a:cubicBezTo>
                    <a:pt x="2564539" y="3097463"/>
                    <a:pt x="2540894" y="3121108"/>
                    <a:pt x="2540894" y="3150664"/>
                  </a:cubicBezTo>
                  <a:close/>
                  <a:moveTo>
                    <a:pt x="2532025" y="2547722"/>
                  </a:moveTo>
                  <a:cubicBezTo>
                    <a:pt x="2532025" y="2556588"/>
                    <a:pt x="2537937" y="2565456"/>
                    <a:pt x="2549759" y="2565456"/>
                  </a:cubicBezTo>
                  <a:cubicBezTo>
                    <a:pt x="2558624" y="2565456"/>
                    <a:pt x="2567493" y="2556588"/>
                    <a:pt x="2567493" y="2547722"/>
                  </a:cubicBezTo>
                  <a:cubicBezTo>
                    <a:pt x="2567493" y="2538854"/>
                    <a:pt x="2558624" y="2529988"/>
                    <a:pt x="2549759" y="2529988"/>
                  </a:cubicBezTo>
                  <a:cubicBezTo>
                    <a:pt x="2540894" y="2529988"/>
                    <a:pt x="2532025" y="2538854"/>
                    <a:pt x="2532025" y="2547722"/>
                  </a:cubicBezTo>
                  <a:close/>
                  <a:moveTo>
                    <a:pt x="2496558" y="1944781"/>
                  </a:moveTo>
                  <a:cubicBezTo>
                    <a:pt x="2496558" y="1947735"/>
                    <a:pt x="2499512" y="1950692"/>
                    <a:pt x="2502470" y="1950692"/>
                  </a:cubicBezTo>
                  <a:cubicBezTo>
                    <a:pt x="2505427" y="1950692"/>
                    <a:pt x="2508381" y="1947735"/>
                    <a:pt x="2508381" y="1944781"/>
                  </a:cubicBezTo>
                  <a:cubicBezTo>
                    <a:pt x="2508381" y="1941824"/>
                    <a:pt x="2505427" y="1938870"/>
                    <a:pt x="2502470" y="1938870"/>
                  </a:cubicBezTo>
                  <a:cubicBezTo>
                    <a:pt x="2499512" y="1938870"/>
                    <a:pt x="2496558" y="1941824"/>
                    <a:pt x="2496558" y="1944781"/>
                  </a:cubicBezTo>
                  <a:close/>
                  <a:moveTo>
                    <a:pt x="2490647" y="3360509"/>
                  </a:moveTo>
                  <a:cubicBezTo>
                    <a:pt x="2493601" y="3393022"/>
                    <a:pt x="2517246" y="3419621"/>
                    <a:pt x="2549759" y="3419621"/>
                  </a:cubicBezTo>
                  <a:cubicBezTo>
                    <a:pt x="2582269" y="3419621"/>
                    <a:pt x="2608871" y="3393022"/>
                    <a:pt x="2608871" y="3360509"/>
                  </a:cubicBezTo>
                  <a:cubicBezTo>
                    <a:pt x="2608871" y="3327999"/>
                    <a:pt x="2582269" y="3301397"/>
                    <a:pt x="2549759" y="3301397"/>
                  </a:cubicBezTo>
                  <a:cubicBezTo>
                    <a:pt x="2517246" y="3301397"/>
                    <a:pt x="2490647" y="3327999"/>
                    <a:pt x="2490647" y="3360509"/>
                  </a:cubicBezTo>
                  <a:close/>
                  <a:moveTo>
                    <a:pt x="2481782" y="2760525"/>
                  </a:moveTo>
                  <a:cubicBezTo>
                    <a:pt x="2481782" y="2775302"/>
                    <a:pt x="2493604" y="2784170"/>
                    <a:pt x="2505427" y="2784170"/>
                  </a:cubicBezTo>
                  <a:cubicBezTo>
                    <a:pt x="2517249" y="2784170"/>
                    <a:pt x="2529071" y="2772348"/>
                    <a:pt x="2529071" y="2760525"/>
                  </a:cubicBezTo>
                  <a:cubicBezTo>
                    <a:pt x="2529071" y="2748702"/>
                    <a:pt x="2520206" y="2736880"/>
                    <a:pt x="2505427" y="2736880"/>
                  </a:cubicBezTo>
                  <a:cubicBezTo>
                    <a:pt x="2493604" y="2736880"/>
                    <a:pt x="2481782" y="2748702"/>
                    <a:pt x="2481782" y="2760525"/>
                  </a:cubicBezTo>
                  <a:close/>
                  <a:moveTo>
                    <a:pt x="2449269" y="2157584"/>
                  </a:moveTo>
                  <a:cubicBezTo>
                    <a:pt x="2449269" y="2166449"/>
                    <a:pt x="2455180" y="2169406"/>
                    <a:pt x="2461091" y="2169406"/>
                  </a:cubicBezTo>
                  <a:cubicBezTo>
                    <a:pt x="2467002" y="2169406"/>
                    <a:pt x="2472914" y="2163495"/>
                    <a:pt x="2472914" y="2157584"/>
                  </a:cubicBezTo>
                  <a:cubicBezTo>
                    <a:pt x="2472914" y="2151673"/>
                    <a:pt x="2467002" y="2145762"/>
                    <a:pt x="2461091" y="2145762"/>
                  </a:cubicBezTo>
                  <a:cubicBezTo>
                    <a:pt x="2455180" y="2145762"/>
                    <a:pt x="2449269" y="2151673"/>
                    <a:pt x="2449269" y="2157584"/>
                  </a:cubicBezTo>
                  <a:close/>
                  <a:moveTo>
                    <a:pt x="2446315" y="3570358"/>
                  </a:moveTo>
                  <a:cubicBezTo>
                    <a:pt x="2449269" y="3602868"/>
                    <a:pt x="2475871" y="3629470"/>
                    <a:pt x="2505427" y="3629470"/>
                  </a:cubicBezTo>
                  <a:cubicBezTo>
                    <a:pt x="2537937" y="3629470"/>
                    <a:pt x="2564539" y="3602868"/>
                    <a:pt x="2564539" y="3570358"/>
                  </a:cubicBezTo>
                  <a:cubicBezTo>
                    <a:pt x="2564539" y="3537845"/>
                    <a:pt x="2537937" y="3511246"/>
                    <a:pt x="2505427" y="3511246"/>
                  </a:cubicBezTo>
                  <a:cubicBezTo>
                    <a:pt x="2472914" y="3511246"/>
                    <a:pt x="2446315" y="3537845"/>
                    <a:pt x="2446315" y="3570358"/>
                  </a:cubicBezTo>
                  <a:close/>
                  <a:moveTo>
                    <a:pt x="2422670" y="2973331"/>
                  </a:moveTo>
                  <a:cubicBezTo>
                    <a:pt x="2422670" y="2994018"/>
                    <a:pt x="2440404" y="3011752"/>
                    <a:pt x="2461094" y="3011752"/>
                  </a:cubicBezTo>
                  <a:cubicBezTo>
                    <a:pt x="2481782" y="3011752"/>
                    <a:pt x="2499515" y="2994018"/>
                    <a:pt x="2499515" y="2973331"/>
                  </a:cubicBezTo>
                  <a:cubicBezTo>
                    <a:pt x="2499515" y="2952640"/>
                    <a:pt x="2481782" y="2934906"/>
                    <a:pt x="2461094" y="2934906"/>
                  </a:cubicBezTo>
                  <a:cubicBezTo>
                    <a:pt x="2440404" y="2934906"/>
                    <a:pt x="2422670" y="2952640"/>
                    <a:pt x="2422670" y="2973331"/>
                  </a:cubicBezTo>
                  <a:close/>
                  <a:moveTo>
                    <a:pt x="2407890" y="2373344"/>
                  </a:moveTo>
                  <a:cubicBezTo>
                    <a:pt x="2407890" y="2376298"/>
                    <a:pt x="2410845" y="2382209"/>
                    <a:pt x="2416759" y="2382209"/>
                  </a:cubicBezTo>
                  <a:cubicBezTo>
                    <a:pt x="2422670" y="2382209"/>
                    <a:pt x="2425624" y="2379255"/>
                    <a:pt x="2425624" y="2373344"/>
                  </a:cubicBezTo>
                  <a:cubicBezTo>
                    <a:pt x="2425624" y="2367432"/>
                    <a:pt x="2422670" y="2364476"/>
                    <a:pt x="2416759" y="2364476"/>
                  </a:cubicBezTo>
                  <a:cubicBezTo>
                    <a:pt x="2410845" y="2364476"/>
                    <a:pt x="2407890" y="2367432"/>
                    <a:pt x="2407890" y="2373344"/>
                  </a:cubicBezTo>
                  <a:close/>
                  <a:moveTo>
                    <a:pt x="2404933" y="3780204"/>
                  </a:moveTo>
                  <a:cubicBezTo>
                    <a:pt x="2404933" y="3809760"/>
                    <a:pt x="2431535" y="3836362"/>
                    <a:pt x="2461091" y="3836362"/>
                  </a:cubicBezTo>
                  <a:cubicBezTo>
                    <a:pt x="2493601" y="3836362"/>
                    <a:pt x="2517246" y="3809760"/>
                    <a:pt x="2517246" y="3780204"/>
                  </a:cubicBezTo>
                  <a:cubicBezTo>
                    <a:pt x="2517246" y="3747694"/>
                    <a:pt x="2490647" y="3724049"/>
                    <a:pt x="2461091" y="3724049"/>
                  </a:cubicBezTo>
                  <a:cubicBezTo>
                    <a:pt x="2428578" y="3724049"/>
                    <a:pt x="2404933" y="3750648"/>
                    <a:pt x="2404933" y="3780204"/>
                  </a:cubicBezTo>
                  <a:close/>
                  <a:moveTo>
                    <a:pt x="2369469" y="3180220"/>
                  </a:moveTo>
                  <a:cubicBezTo>
                    <a:pt x="2372426" y="3206822"/>
                    <a:pt x="2393114" y="3227509"/>
                    <a:pt x="2416759" y="3227509"/>
                  </a:cubicBezTo>
                  <a:cubicBezTo>
                    <a:pt x="2443361" y="3227509"/>
                    <a:pt x="2464048" y="3206822"/>
                    <a:pt x="2464048" y="3180220"/>
                  </a:cubicBezTo>
                  <a:cubicBezTo>
                    <a:pt x="2464048" y="3153618"/>
                    <a:pt x="2443361" y="3132930"/>
                    <a:pt x="2416759" y="3132930"/>
                  </a:cubicBezTo>
                  <a:cubicBezTo>
                    <a:pt x="2390157" y="3132930"/>
                    <a:pt x="2369469" y="3153618"/>
                    <a:pt x="2369469" y="3180220"/>
                  </a:cubicBezTo>
                  <a:close/>
                  <a:moveTo>
                    <a:pt x="2360601" y="3984141"/>
                  </a:moveTo>
                  <a:cubicBezTo>
                    <a:pt x="2360601" y="4016651"/>
                    <a:pt x="2384246" y="4043253"/>
                    <a:pt x="2419713" y="4043253"/>
                  </a:cubicBezTo>
                  <a:cubicBezTo>
                    <a:pt x="2452226" y="4043253"/>
                    <a:pt x="2478825" y="4016651"/>
                    <a:pt x="2478825" y="3984141"/>
                  </a:cubicBezTo>
                  <a:cubicBezTo>
                    <a:pt x="2478825" y="3951628"/>
                    <a:pt x="2452226" y="3925029"/>
                    <a:pt x="2419713" y="3925029"/>
                  </a:cubicBezTo>
                  <a:cubicBezTo>
                    <a:pt x="2387203" y="3925029"/>
                    <a:pt x="2360601" y="3951628"/>
                    <a:pt x="2360601" y="3984141"/>
                  </a:cubicBezTo>
                  <a:close/>
                  <a:moveTo>
                    <a:pt x="2354690" y="2583190"/>
                  </a:moveTo>
                  <a:cubicBezTo>
                    <a:pt x="2354690" y="2592054"/>
                    <a:pt x="2363558" y="2600923"/>
                    <a:pt x="2372423" y="2600923"/>
                  </a:cubicBezTo>
                  <a:cubicBezTo>
                    <a:pt x="2381289" y="2600923"/>
                    <a:pt x="2390157" y="2592054"/>
                    <a:pt x="2390157" y="2583190"/>
                  </a:cubicBezTo>
                  <a:cubicBezTo>
                    <a:pt x="2390157" y="2574324"/>
                    <a:pt x="2381289" y="2565456"/>
                    <a:pt x="2372423" y="2565456"/>
                  </a:cubicBezTo>
                  <a:cubicBezTo>
                    <a:pt x="2363558" y="2565456"/>
                    <a:pt x="2354690" y="2574324"/>
                    <a:pt x="2354690" y="2583190"/>
                  </a:cubicBezTo>
                  <a:close/>
                  <a:moveTo>
                    <a:pt x="2319223" y="1983205"/>
                  </a:moveTo>
                  <a:cubicBezTo>
                    <a:pt x="2319223" y="1988102"/>
                    <a:pt x="2323191" y="1992070"/>
                    <a:pt x="2328088" y="1992070"/>
                  </a:cubicBezTo>
                  <a:cubicBezTo>
                    <a:pt x="2332988" y="1992070"/>
                    <a:pt x="2336956" y="1988102"/>
                    <a:pt x="2336956" y="1983205"/>
                  </a:cubicBezTo>
                  <a:cubicBezTo>
                    <a:pt x="2336956" y="1978306"/>
                    <a:pt x="2332988" y="1974337"/>
                    <a:pt x="2328088" y="1974337"/>
                  </a:cubicBezTo>
                  <a:cubicBezTo>
                    <a:pt x="2323191" y="1974337"/>
                    <a:pt x="2319223" y="1978306"/>
                    <a:pt x="2319223" y="1983205"/>
                  </a:cubicBezTo>
                  <a:close/>
                  <a:moveTo>
                    <a:pt x="2313311" y="3387111"/>
                  </a:moveTo>
                  <a:cubicBezTo>
                    <a:pt x="2316266" y="3419621"/>
                    <a:pt x="2339910" y="3446223"/>
                    <a:pt x="2372423" y="3446223"/>
                  </a:cubicBezTo>
                  <a:cubicBezTo>
                    <a:pt x="2404933" y="3446223"/>
                    <a:pt x="2431535" y="3419621"/>
                    <a:pt x="2431535" y="3387111"/>
                  </a:cubicBezTo>
                  <a:cubicBezTo>
                    <a:pt x="2431535" y="3354598"/>
                    <a:pt x="2404933" y="3327999"/>
                    <a:pt x="2372423" y="3327999"/>
                  </a:cubicBezTo>
                  <a:cubicBezTo>
                    <a:pt x="2339910" y="3327999"/>
                    <a:pt x="2313311" y="3354598"/>
                    <a:pt x="2313311" y="3387111"/>
                  </a:cubicBezTo>
                  <a:close/>
                  <a:moveTo>
                    <a:pt x="2307400" y="2793035"/>
                  </a:moveTo>
                  <a:cubicBezTo>
                    <a:pt x="2307400" y="2801904"/>
                    <a:pt x="2316269" y="2813726"/>
                    <a:pt x="2328091" y="2813726"/>
                  </a:cubicBezTo>
                  <a:cubicBezTo>
                    <a:pt x="2339913" y="2813726"/>
                    <a:pt x="2348779" y="2804858"/>
                    <a:pt x="2348779" y="2793035"/>
                  </a:cubicBezTo>
                  <a:cubicBezTo>
                    <a:pt x="2348779" y="2781216"/>
                    <a:pt x="2339913" y="2772348"/>
                    <a:pt x="2328091" y="2772348"/>
                  </a:cubicBezTo>
                  <a:cubicBezTo>
                    <a:pt x="2316269" y="2772348"/>
                    <a:pt x="2307400" y="2781216"/>
                    <a:pt x="2307400" y="2793035"/>
                  </a:cubicBezTo>
                  <a:close/>
                  <a:moveTo>
                    <a:pt x="2271933" y="2193051"/>
                  </a:moveTo>
                  <a:cubicBezTo>
                    <a:pt x="2271933" y="2198962"/>
                    <a:pt x="2277844" y="2204873"/>
                    <a:pt x="2283756" y="2204873"/>
                  </a:cubicBezTo>
                  <a:cubicBezTo>
                    <a:pt x="2289667" y="2204873"/>
                    <a:pt x="2295578" y="2198962"/>
                    <a:pt x="2295578" y="2193051"/>
                  </a:cubicBezTo>
                  <a:cubicBezTo>
                    <a:pt x="2295578" y="2187140"/>
                    <a:pt x="2289667" y="2181228"/>
                    <a:pt x="2283756" y="2181228"/>
                  </a:cubicBezTo>
                  <a:cubicBezTo>
                    <a:pt x="2277844" y="2181228"/>
                    <a:pt x="2271933" y="2187140"/>
                    <a:pt x="2271933" y="2193051"/>
                  </a:cubicBezTo>
                  <a:close/>
                  <a:moveTo>
                    <a:pt x="2266022" y="3594006"/>
                  </a:moveTo>
                  <a:cubicBezTo>
                    <a:pt x="2268979" y="3626516"/>
                    <a:pt x="2295578" y="3656072"/>
                    <a:pt x="2328091" y="3656072"/>
                  </a:cubicBezTo>
                  <a:cubicBezTo>
                    <a:pt x="2363558" y="3656072"/>
                    <a:pt x="2390157" y="3629473"/>
                    <a:pt x="2390157" y="3594006"/>
                  </a:cubicBezTo>
                  <a:cubicBezTo>
                    <a:pt x="2390157" y="3558536"/>
                    <a:pt x="2363558" y="3531936"/>
                    <a:pt x="2328091" y="3531936"/>
                  </a:cubicBezTo>
                  <a:cubicBezTo>
                    <a:pt x="2292621" y="3531936"/>
                    <a:pt x="2266022" y="3558536"/>
                    <a:pt x="2266022" y="3594006"/>
                  </a:cubicBezTo>
                  <a:close/>
                  <a:moveTo>
                    <a:pt x="2245334" y="2996972"/>
                  </a:moveTo>
                  <a:cubicBezTo>
                    <a:pt x="2245334" y="3018194"/>
                    <a:pt x="2262537" y="3035397"/>
                    <a:pt x="2283756" y="3035397"/>
                  </a:cubicBezTo>
                  <a:cubicBezTo>
                    <a:pt x="2304977" y="3035397"/>
                    <a:pt x="2322180" y="3018194"/>
                    <a:pt x="2322180" y="2996972"/>
                  </a:cubicBezTo>
                  <a:cubicBezTo>
                    <a:pt x="2322180" y="2975754"/>
                    <a:pt x="2304977" y="2958552"/>
                    <a:pt x="2283756" y="2958552"/>
                  </a:cubicBezTo>
                  <a:cubicBezTo>
                    <a:pt x="2262537" y="2958552"/>
                    <a:pt x="2245334" y="2975754"/>
                    <a:pt x="2245334" y="2996972"/>
                  </a:cubicBezTo>
                  <a:close/>
                  <a:moveTo>
                    <a:pt x="2227598" y="3797937"/>
                  </a:moveTo>
                  <a:cubicBezTo>
                    <a:pt x="2227598" y="3830450"/>
                    <a:pt x="2254200" y="3854095"/>
                    <a:pt x="2283756" y="3854095"/>
                  </a:cubicBezTo>
                  <a:cubicBezTo>
                    <a:pt x="2316266" y="3854095"/>
                    <a:pt x="2339910" y="3827493"/>
                    <a:pt x="2339910" y="3797937"/>
                  </a:cubicBezTo>
                  <a:cubicBezTo>
                    <a:pt x="2339910" y="3765427"/>
                    <a:pt x="2313311" y="3741782"/>
                    <a:pt x="2283756" y="3741782"/>
                  </a:cubicBezTo>
                  <a:cubicBezTo>
                    <a:pt x="2251242" y="3741782"/>
                    <a:pt x="2227598" y="3768381"/>
                    <a:pt x="2227598" y="3797937"/>
                  </a:cubicBezTo>
                  <a:close/>
                  <a:moveTo>
                    <a:pt x="2224644" y="2399942"/>
                  </a:moveTo>
                  <a:cubicBezTo>
                    <a:pt x="2224644" y="2408808"/>
                    <a:pt x="2230555" y="2414719"/>
                    <a:pt x="2239423" y="2414719"/>
                  </a:cubicBezTo>
                  <a:cubicBezTo>
                    <a:pt x="2248288" y="2414719"/>
                    <a:pt x="2254200" y="2408808"/>
                    <a:pt x="2254200" y="2399942"/>
                  </a:cubicBezTo>
                  <a:cubicBezTo>
                    <a:pt x="2254200" y="2391074"/>
                    <a:pt x="2248288" y="2385163"/>
                    <a:pt x="2239423" y="2385163"/>
                  </a:cubicBezTo>
                  <a:cubicBezTo>
                    <a:pt x="2230555" y="2385163"/>
                    <a:pt x="2224644" y="2391074"/>
                    <a:pt x="2224644" y="2399942"/>
                  </a:cubicBezTo>
                  <a:close/>
                  <a:moveTo>
                    <a:pt x="2192134" y="1802916"/>
                  </a:moveTo>
                  <a:cubicBezTo>
                    <a:pt x="2192134" y="1804548"/>
                    <a:pt x="2193456" y="1805870"/>
                    <a:pt x="2195088" y="1805870"/>
                  </a:cubicBezTo>
                  <a:cubicBezTo>
                    <a:pt x="2196723" y="1805870"/>
                    <a:pt x="2198045" y="1804545"/>
                    <a:pt x="2198045" y="1802916"/>
                  </a:cubicBezTo>
                  <a:cubicBezTo>
                    <a:pt x="2198045" y="1801280"/>
                    <a:pt x="2196720" y="1799958"/>
                    <a:pt x="2195088" y="1799958"/>
                  </a:cubicBezTo>
                  <a:cubicBezTo>
                    <a:pt x="2193456" y="1799958"/>
                    <a:pt x="2192134" y="1801284"/>
                    <a:pt x="2192134" y="1802916"/>
                  </a:cubicBezTo>
                  <a:close/>
                  <a:moveTo>
                    <a:pt x="2189176" y="4205812"/>
                  </a:moveTo>
                  <a:cubicBezTo>
                    <a:pt x="2189176" y="4209076"/>
                    <a:pt x="2191823" y="4211724"/>
                    <a:pt x="2195088" y="4211724"/>
                  </a:cubicBezTo>
                  <a:cubicBezTo>
                    <a:pt x="2198352" y="4211724"/>
                    <a:pt x="2200999" y="4209076"/>
                    <a:pt x="2200999" y="4205812"/>
                  </a:cubicBezTo>
                  <a:cubicBezTo>
                    <a:pt x="2200999" y="4202548"/>
                    <a:pt x="2198352" y="4199901"/>
                    <a:pt x="2195088" y="4199901"/>
                  </a:cubicBezTo>
                  <a:cubicBezTo>
                    <a:pt x="2191823" y="4199901"/>
                    <a:pt x="2189176" y="4202548"/>
                    <a:pt x="2189176" y="4205812"/>
                  </a:cubicBezTo>
                  <a:close/>
                  <a:moveTo>
                    <a:pt x="2186222" y="3200910"/>
                  </a:moveTo>
                  <a:cubicBezTo>
                    <a:pt x="2186222" y="3230466"/>
                    <a:pt x="2209867" y="3254111"/>
                    <a:pt x="2239423" y="3254111"/>
                  </a:cubicBezTo>
                  <a:cubicBezTo>
                    <a:pt x="2268979" y="3254111"/>
                    <a:pt x="2292624" y="3230466"/>
                    <a:pt x="2292624" y="3200910"/>
                  </a:cubicBezTo>
                  <a:cubicBezTo>
                    <a:pt x="2292624" y="3171354"/>
                    <a:pt x="2268979" y="3147710"/>
                    <a:pt x="2239423" y="3147710"/>
                  </a:cubicBezTo>
                  <a:cubicBezTo>
                    <a:pt x="2209867" y="3147710"/>
                    <a:pt x="2186222" y="3171354"/>
                    <a:pt x="2186222" y="3200910"/>
                  </a:cubicBezTo>
                  <a:close/>
                  <a:moveTo>
                    <a:pt x="2180311" y="4004832"/>
                  </a:moveTo>
                  <a:cubicBezTo>
                    <a:pt x="2180311" y="4034388"/>
                    <a:pt x="2206910" y="4063944"/>
                    <a:pt x="2239423" y="4063944"/>
                  </a:cubicBezTo>
                  <a:cubicBezTo>
                    <a:pt x="2271933" y="4063944"/>
                    <a:pt x="2298535" y="4037345"/>
                    <a:pt x="2298535" y="4004832"/>
                  </a:cubicBezTo>
                  <a:cubicBezTo>
                    <a:pt x="2298535" y="3972318"/>
                    <a:pt x="2271933" y="3945720"/>
                    <a:pt x="2239423" y="3945720"/>
                  </a:cubicBezTo>
                  <a:cubicBezTo>
                    <a:pt x="2206910" y="3945720"/>
                    <a:pt x="2180311" y="3972318"/>
                    <a:pt x="2180311" y="4004832"/>
                  </a:cubicBezTo>
                  <a:close/>
                  <a:moveTo>
                    <a:pt x="2174397" y="2606834"/>
                  </a:moveTo>
                  <a:cubicBezTo>
                    <a:pt x="2174397" y="2618660"/>
                    <a:pt x="2183265" y="2627525"/>
                    <a:pt x="2195088" y="2627525"/>
                  </a:cubicBezTo>
                  <a:cubicBezTo>
                    <a:pt x="2206910" y="2627525"/>
                    <a:pt x="2215775" y="2618660"/>
                    <a:pt x="2215775" y="2606834"/>
                  </a:cubicBezTo>
                  <a:cubicBezTo>
                    <a:pt x="2215775" y="2595015"/>
                    <a:pt x="2206910" y="2586146"/>
                    <a:pt x="2195088" y="2586146"/>
                  </a:cubicBezTo>
                  <a:cubicBezTo>
                    <a:pt x="2183265" y="2586146"/>
                    <a:pt x="2174397" y="2595015"/>
                    <a:pt x="2174397" y="2606834"/>
                  </a:cubicBezTo>
                  <a:close/>
                  <a:moveTo>
                    <a:pt x="2144841" y="2009804"/>
                  </a:moveTo>
                  <a:cubicBezTo>
                    <a:pt x="2144841" y="2012761"/>
                    <a:pt x="2147798" y="2015715"/>
                    <a:pt x="2150752" y="2015715"/>
                  </a:cubicBezTo>
                  <a:cubicBezTo>
                    <a:pt x="2153709" y="2015715"/>
                    <a:pt x="2156663" y="2012761"/>
                    <a:pt x="2156663" y="2009804"/>
                  </a:cubicBezTo>
                  <a:cubicBezTo>
                    <a:pt x="2156663" y="2006847"/>
                    <a:pt x="2153709" y="2003893"/>
                    <a:pt x="2150752" y="2003893"/>
                  </a:cubicBezTo>
                  <a:cubicBezTo>
                    <a:pt x="2147798" y="2003893"/>
                    <a:pt x="2144841" y="2006847"/>
                    <a:pt x="2144841" y="2009804"/>
                  </a:cubicBezTo>
                  <a:close/>
                  <a:moveTo>
                    <a:pt x="2135976" y="3407802"/>
                  </a:moveTo>
                  <a:cubicBezTo>
                    <a:pt x="2135976" y="3440312"/>
                    <a:pt x="2162575" y="3466914"/>
                    <a:pt x="2195088" y="3466914"/>
                  </a:cubicBezTo>
                  <a:cubicBezTo>
                    <a:pt x="2227598" y="3466914"/>
                    <a:pt x="2254200" y="3440312"/>
                    <a:pt x="2254200" y="3407802"/>
                  </a:cubicBezTo>
                  <a:cubicBezTo>
                    <a:pt x="2254200" y="3375288"/>
                    <a:pt x="2227598" y="3348690"/>
                    <a:pt x="2195088" y="3348690"/>
                  </a:cubicBezTo>
                  <a:cubicBezTo>
                    <a:pt x="2162575" y="3348690"/>
                    <a:pt x="2135976" y="3375288"/>
                    <a:pt x="2135976" y="3407802"/>
                  </a:cubicBezTo>
                  <a:close/>
                  <a:moveTo>
                    <a:pt x="2127111" y="2810772"/>
                  </a:moveTo>
                  <a:cubicBezTo>
                    <a:pt x="2127111" y="2822594"/>
                    <a:pt x="2138933" y="2834416"/>
                    <a:pt x="2150755" y="2834416"/>
                  </a:cubicBezTo>
                  <a:cubicBezTo>
                    <a:pt x="2162578" y="2834416"/>
                    <a:pt x="2174400" y="2822594"/>
                    <a:pt x="2174400" y="2810772"/>
                  </a:cubicBezTo>
                  <a:cubicBezTo>
                    <a:pt x="2174400" y="2798950"/>
                    <a:pt x="2162578" y="2787127"/>
                    <a:pt x="2150755" y="2787127"/>
                  </a:cubicBezTo>
                  <a:cubicBezTo>
                    <a:pt x="2138933" y="2787127"/>
                    <a:pt x="2127111" y="2798950"/>
                    <a:pt x="2127111" y="2810772"/>
                  </a:cubicBezTo>
                  <a:close/>
                  <a:moveTo>
                    <a:pt x="2097555" y="2210788"/>
                  </a:moveTo>
                  <a:cubicBezTo>
                    <a:pt x="2097555" y="2216699"/>
                    <a:pt x="2100509" y="2219653"/>
                    <a:pt x="2106423" y="2219653"/>
                  </a:cubicBezTo>
                  <a:cubicBezTo>
                    <a:pt x="2112334" y="2219653"/>
                    <a:pt x="2115288" y="2216699"/>
                    <a:pt x="2115288" y="2210788"/>
                  </a:cubicBezTo>
                  <a:cubicBezTo>
                    <a:pt x="2115288" y="2207830"/>
                    <a:pt x="2112334" y="2201919"/>
                    <a:pt x="2106423" y="2201919"/>
                  </a:cubicBezTo>
                  <a:cubicBezTo>
                    <a:pt x="2103466" y="2201919"/>
                    <a:pt x="2097555" y="2204876"/>
                    <a:pt x="2097555" y="2210788"/>
                  </a:cubicBezTo>
                  <a:close/>
                  <a:moveTo>
                    <a:pt x="2082775" y="3608782"/>
                  </a:moveTo>
                  <a:cubicBezTo>
                    <a:pt x="2082775" y="3647204"/>
                    <a:pt x="2112331" y="3676760"/>
                    <a:pt x="2150755" y="3676760"/>
                  </a:cubicBezTo>
                  <a:cubicBezTo>
                    <a:pt x="2189176" y="3676760"/>
                    <a:pt x="2218732" y="3647204"/>
                    <a:pt x="2218732" y="3608782"/>
                  </a:cubicBezTo>
                  <a:cubicBezTo>
                    <a:pt x="2218732" y="3570358"/>
                    <a:pt x="2189176" y="3540802"/>
                    <a:pt x="2150755" y="3540802"/>
                  </a:cubicBezTo>
                  <a:cubicBezTo>
                    <a:pt x="2112331" y="3540802"/>
                    <a:pt x="2082775" y="3570358"/>
                    <a:pt x="2082775" y="3608782"/>
                  </a:cubicBezTo>
                  <a:close/>
                  <a:moveTo>
                    <a:pt x="2062087" y="3011752"/>
                  </a:moveTo>
                  <a:cubicBezTo>
                    <a:pt x="2062087" y="3035397"/>
                    <a:pt x="2082775" y="3056084"/>
                    <a:pt x="2106423" y="3056084"/>
                  </a:cubicBezTo>
                  <a:cubicBezTo>
                    <a:pt x="2130065" y="3056084"/>
                    <a:pt x="2150755" y="3035397"/>
                    <a:pt x="2150755" y="3011752"/>
                  </a:cubicBezTo>
                  <a:cubicBezTo>
                    <a:pt x="2150755" y="2988108"/>
                    <a:pt x="2130065" y="2967416"/>
                    <a:pt x="2106423" y="2967416"/>
                  </a:cubicBezTo>
                  <a:cubicBezTo>
                    <a:pt x="2082775" y="2967416"/>
                    <a:pt x="2062087" y="2988108"/>
                    <a:pt x="2062087" y="3011752"/>
                  </a:cubicBezTo>
                  <a:close/>
                  <a:moveTo>
                    <a:pt x="2050262" y="2414722"/>
                  </a:moveTo>
                  <a:cubicBezTo>
                    <a:pt x="2050262" y="2420634"/>
                    <a:pt x="2056173" y="2426544"/>
                    <a:pt x="2062084" y="2426544"/>
                  </a:cubicBezTo>
                  <a:cubicBezTo>
                    <a:pt x="2067995" y="2426544"/>
                    <a:pt x="2073907" y="2420634"/>
                    <a:pt x="2073907" y="2414722"/>
                  </a:cubicBezTo>
                  <a:cubicBezTo>
                    <a:pt x="2073907" y="2408811"/>
                    <a:pt x="2067995" y="2402900"/>
                    <a:pt x="2062084" y="2402900"/>
                  </a:cubicBezTo>
                  <a:cubicBezTo>
                    <a:pt x="2056173" y="2402900"/>
                    <a:pt x="2050262" y="2408811"/>
                    <a:pt x="2050262" y="2414722"/>
                  </a:cubicBezTo>
                  <a:close/>
                  <a:moveTo>
                    <a:pt x="2047308" y="3812716"/>
                  </a:moveTo>
                  <a:cubicBezTo>
                    <a:pt x="2047308" y="3845230"/>
                    <a:pt x="2073907" y="3871828"/>
                    <a:pt x="2106420" y="3871828"/>
                  </a:cubicBezTo>
                  <a:cubicBezTo>
                    <a:pt x="2138930" y="3871828"/>
                    <a:pt x="2165532" y="3845230"/>
                    <a:pt x="2165532" y="3812716"/>
                  </a:cubicBezTo>
                  <a:cubicBezTo>
                    <a:pt x="2165532" y="3780204"/>
                    <a:pt x="2138930" y="3753604"/>
                    <a:pt x="2106420" y="3753604"/>
                  </a:cubicBezTo>
                  <a:cubicBezTo>
                    <a:pt x="2073907" y="3753604"/>
                    <a:pt x="2047308" y="3780204"/>
                    <a:pt x="2047308" y="3812716"/>
                  </a:cubicBezTo>
                  <a:close/>
                  <a:moveTo>
                    <a:pt x="2008887" y="3215686"/>
                  </a:moveTo>
                  <a:cubicBezTo>
                    <a:pt x="2008887" y="3245242"/>
                    <a:pt x="2032531" y="3268888"/>
                    <a:pt x="2062087" y="3268888"/>
                  </a:cubicBezTo>
                  <a:cubicBezTo>
                    <a:pt x="2091643" y="3268888"/>
                    <a:pt x="2115288" y="3245242"/>
                    <a:pt x="2115288" y="3215686"/>
                  </a:cubicBezTo>
                  <a:cubicBezTo>
                    <a:pt x="2115288" y="3186130"/>
                    <a:pt x="2091643" y="3162486"/>
                    <a:pt x="2062087" y="3162486"/>
                  </a:cubicBezTo>
                  <a:cubicBezTo>
                    <a:pt x="2032531" y="3162486"/>
                    <a:pt x="2008887" y="3186130"/>
                    <a:pt x="2008887" y="3215686"/>
                  </a:cubicBezTo>
                  <a:close/>
                  <a:moveTo>
                    <a:pt x="2005929" y="4010740"/>
                  </a:moveTo>
                  <a:cubicBezTo>
                    <a:pt x="2005929" y="4043253"/>
                    <a:pt x="2029574" y="4066898"/>
                    <a:pt x="2062087" y="4066898"/>
                  </a:cubicBezTo>
                  <a:cubicBezTo>
                    <a:pt x="2094597" y="4066898"/>
                    <a:pt x="2118242" y="4040296"/>
                    <a:pt x="2118242" y="4010740"/>
                  </a:cubicBezTo>
                  <a:cubicBezTo>
                    <a:pt x="2118242" y="3978230"/>
                    <a:pt x="2091643" y="3954585"/>
                    <a:pt x="2062087" y="3954585"/>
                  </a:cubicBezTo>
                  <a:cubicBezTo>
                    <a:pt x="2029574" y="3954585"/>
                    <a:pt x="2005929" y="3981184"/>
                    <a:pt x="2005929" y="4010740"/>
                  </a:cubicBezTo>
                  <a:close/>
                  <a:moveTo>
                    <a:pt x="2002975" y="2618660"/>
                  </a:moveTo>
                  <a:cubicBezTo>
                    <a:pt x="2002975" y="2624568"/>
                    <a:pt x="2008887" y="2633436"/>
                    <a:pt x="2017755" y="2633436"/>
                  </a:cubicBezTo>
                  <a:cubicBezTo>
                    <a:pt x="2026620" y="2633436"/>
                    <a:pt x="2032531" y="2627525"/>
                    <a:pt x="2032531" y="2618660"/>
                  </a:cubicBezTo>
                  <a:cubicBezTo>
                    <a:pt x="2032531" y="2609792"/>
                    <a:pt x="2026620" y="2603880"/>
                    <a:pt x="2017755" y="2603880"/>
                  </a:cubicBezTo>
                  <a:cubicBezTo>
                    <a:pt x="2008887" y="2603880"/>
                    <a:pt x="2002975" y="2609792"/>
                    <a:pt x="2002975" y="2618660"/>
                  </a:cubicBezTo>
                  <a:close/>
                  <a:moveTo>
                    <a:pt x="1997061" y="4211720"/>
                  </a:moveTo>
                  <a:cubicBezTo>
                    <a:pt x="1997061" y="4223542"/>
                    <a:pt x="2005929" y="4232411"/>
                    <a:pt x="2017752" y="4232411"/>
                  </a:cubicBezTo>
                  <a:cubicBezTo>
                    <a:pt x="2029574" y="4232411"/>
                    <a:pt x="2038440" y="4223542"/>
                    <a:pt x="2038440" y="4211720"/>
                  </a:cubicBezTo>
                  <a:cubicBezTo>
                    <a:pt x="2038440" y="4199901"/>
                    <a:pt x="2029574" y="4191032"/>
                    <a:pt x="2017752" y="4191032"/>
                  </a:cubicBezTo>
                  <a:cubicBezTo>
                    <a:pt x="2005929" y="4191032"/>
                    <a:pt x="1997061" y="4199901"/>
                    <a:pt x="1997061" y="4211720"/>
                  </a:cubicBezTo>
                  <a:close/>
                  <a:moveTo>
                    <a:pt x="1967138" y="2025691"/>
                  </a:moveTo>
                  <a:cubicBezTo>
                    <a:pt x="1968247" y="2026800"/>
                    <a:pt x="1970464" y="2027538"/>
                    <a:pt x="1973420" y="2027538"/>
                  </a:cubicBezTo>
                  <a:cubicBezTo>
                    <a:pt x="1976374" y="2027538"/>
                    <a:pt x="1979331" y="2024584"/>
                    <a:pt x="1979331" y="2021626"/>
                  </a:cubicBezTo>
                  <a:cubicBezTo>
                    <a:pt x="1979331" y="2018672"/>
                    <a:pt x="1976374" y="2015715"/>
                    <a:pt x="1973420" y="2015715"/>
                  </a:cubicBezTo>
                  <a:cubicBezTo>
                    <a:pt x="1970462" y="2015715"/>
                    <a:pt x="1967508" y="2018672"/>
                    <a:pt x="1967508" y="2021626"/>
                  </a:cubicBezTo>
                  <a:cubicBezTo>
                    <a:pt x="1966030" y="2023105"/>
                    <a:pt x="1966030" y="2024583"/>
                    <a:pt x="1967138" y="2025691"/>
                  </a:cubicBezTo>
                  <a:close/>
                  <a:moveTo>
                    <a:pt x="1961594" y="3416667"/>
                  </a:moveTo>
                  <a:cubicBezTo>
                    <a:pt x="1958640" y="3446223"/>
                    <a:pt x="1985239" y="3472822"/>
                    <a:pt x="2017752" y="3472822"/>
                  </a:cubicBezTo>
                  <a:cubicBezTo>
                    <a:pt x="2050262" y="3472822"/>
                    <a:pt x="2073907" y="3446223"/>
                    <a:pt x="2073907" y="3416667"/>
                  </a:cubicBezTo>
                  <a:cubicBezTo>
                    <a:pt x="2073907" y="3384154"/>
                    <a:pt x="2047308" y="3360509"/>
                    <a:pt x="2017752" y="3360509"/>
                  </a:cubicBezTo>
                  <a:cubicBezTo>
                    <a:pt x="1985239" y="3360509"/>
                    <a:pt x="1961594" y="3387111"/>
                    <a:pt x="1961594" y="3416667"/>
                  </a:cubicBezTo>
                  <a:close/>
                  <a:moveTo>
                    <a:pt x="1946818" y="2816683"/>
                  </a:moveTo>
                  <a:cubicBezTo>
                    <a:pt x="1946818" y="2831460"/>
                    <a:pt x="1958640" y="2843282"/>
                    <a:pt x="1973420" y="2843282"/>
                  </a:cubicBezTo>
                  <a:cubicBezTo>
                    <a:pt x="1988196" y="2843282"/>
                    <a:pt x="2000018" y="2831460"/>
                    <a:pt x="2000018" y="2816683"/>
                  </a:cubicBezTo>
                  <a:cubicBezTo>
                    <a:pt x="2000018" y="2801904"/>
                    <a:pt x="1988196" y="2790081"/>
                    <a:pt x="1973420" y="2790081"/>
                  </a:cubicBezTo>
                  <a:cubicBezTo>
                    <a:pt x="1958640" y="2790081"/>
                    <a:pt x="1946818" y="2801904"/>
                    <a:pt x="1946818" y="2816683"/>
                  </a:cubicBezTo>
                  <a:close/>
                  <a:moveTo>
                    <a:pt x="1917262" y="2219653"/>
                  </a:moveTo>
                  <a:cubicBezTo>
                    <a:pt x="1920219" y="2225564"/>
                    <a:pt x="1923173" y="2228518"/>
                    <a:pt x="1926130" y="2228518"/>
                  </a:cubicBezTo>
                  <a:cubicBezTo>
                    <a:pt x="1929084" y="2228518"/>
                    <a:pt x="1934995" y="2225564"/>
                    <a:pt x="1934995" y="2219653"/>
                  </a:cubicBezTo>
                  <a:cubicBezTo>
                    <a:pt x="1934995" y="2216696"/>
                    <a:pt x="1932041" y="2210784"/>
                    <a:pt x="1926130" y="2210784"/>
                  </a:cubicBezTo>
                  <a:cubicBezTo>
                    <a:pt x="1920219" y="2210784"/>
                    <a:pt x="1917262" y="2213738"/>
                    <a:pt x="1917262" y="2219653"/>
                  </a:cubicBezTo>
                  <a:close/>
                  <a:moveTo>
                    <a:pt x="1905439" y="3614694"/>
                  </a:moveTo>
                  <a:cubicBezTo>
                    <a:pt x="1905439" y="3653114"/>
                    <a:pt x="1934995" y="3682670"/>
                    <a:pt x="1973420" y="3682670"/>
                  </a:cubicBezTo>
                  <a:cubicBezTo>
                    <a:pt x="2011841" y="3682670"/>
                    <a:pt x="2041397" y="3653114"/>
                    <a:pt x="2041397" y="3614694"/>
                  </a:cubicBezTo>
                  <a:cubicBezTo>
                    <a:pt x="2041397" y="3576269"/>
                    <a:pt x="2011841" y="3546713"/>
                    <a:pt x="1973420" y="3546713"/>
                  </a:cubicBezTo>
                  <a:cubicBezTo>
                    <a:pt x="1934995" y="3546713"/>
                    <a:pt x="1905439" y="3576269"/>
                    <a:pt x="1905439" y="3614694"/>
                  </a:cubicBezTo>
                  <a:close/>
                  <a:moveTo>
                    <a:pt x="1881795" y="3017664"/>
                  </a:moveTo>
                  <a:cubicBezTo>
                    <a:pt x="1881795" y="3041305"/>
                    <a:pt x="1902482" y="3061996"/>
                    <a:pt x="1926130" y="3061996"/>
                  </a:cubicBezTo>
                  <a:cubicBezTo>
                    <a:pt x="1949775" y="3061996"/>
                    <a:pt x="1970462" y="3041305"/>
                    <a:pt x="1970462" y="3017664"/>
                  </a:cubicBezTo>
                  <a:cubicBezTo>
                    <a:pt x="1970462" y="2994016"/>
                    <a:pt x="1949775" y="2973328"/>
                    <a:pt x="1926130" y="2973328"/>
                  </a:cubicBezTo>
                  <a:cubicBezTo>
                    <a:pt x="1902482" y="2973328"/>
                    <a:pt x="1881795" y="2994016"/>
                    <a:pt x="1881795" y="3017664"/>
                  </a:cubicBezTo>
                  <a:close/>
                  <a:moveTo>
                    <a:pt x="1869972" y="2417676"/>
                  </a:moveTo>
                  <a:cubicBezTo>
                    <a:pt x="1872926" y="2423588"/>
                    <a:pt x="1875883" y="2429498"/>
                    <a:pt x="1881795" y="2429498"/>
                  </a:cubicBezTo>
                  <a:cubicBezTo>
                    <a:pt x="1887706" y="2429498"/>
                    <a:pt x="1893617" y="2423588"/>
                    <a:pt x="1893617" y="2417676"/>
                  </a:cubicBezTo>
                  <a:cubicBezTo>
                    <a:pt x="1893617" y="2411765"/>
                    <a:pt x="1887706" y="2405854"/>
                    <a:pt x="1881795" y="2405854"/>
                  </a:cubicBezTo>
                  <a:cubicBezTo>
                    <a:pt x="1875883" y="2405854"/>
                    <a:pt x="1869972" y="2411765"/>
                    <a:pt x="1869972" y="2417676"/>
                  </a:cubicBezTo>
                  <a:close/>
                  <a:moveTo>
                    <a:pt x="1867018" y="3815674"/>
                  </a:moveTo>
                  <a:cubicBezTo>
                    <a:pt x="1867018" y="3848184"/>
                    <a:pt x="1893617" y="3874786"/>
                    <a:pt x="1926130" y="3874786"/>
                  </a:cubicBezTo>
                  <a:cubicBezTo>
                    <a:pt x="1958643" y="3874786"/>
                    <a:pt x="1985242" y="3848184"/>
                    <a:pt x="1985242" y="3815674"/>
                  </a:cubicBezTo>
                  <a:cubicBezTo>
                    <a:pt x="1985242" y="3783160"/>
                    <a:pt x="1958643" y="3756562"/>
                    <a:pt x="1926130" y="3756562"/>
                  </a:cubicBezTo>
                  <a:cubicBezTo>
                    <a:pt x="1893617" y="3756562"/>
                    <a:pt x="1867018" y="3783160"/>
                    <a:pt x="1867018" y="3815674"/>
                  </a:cubicBezTo>
                  <a:close/>
                  <a:moveTo>
                    <a:pt x="1828594" y="3218644"/>
                  </a:moveTo>
                  <a:cubicBezTo>
                    <a:pt x="1828594" y="3245242"/>
                    <a:pt x="1852239" y="3271844"/>
                    <a:pt x="1881795" y="3271844"/>
                  </a:cubicBezTo>
                  <a:cubicBezTo>
                    <a:pt x="1911351" y="3271844"/>
                    <a:pt x="1934995" y="3248200"/>
                    <a:pt x="1934995" y="3218644"/>
                  </a:cubicBezTo>
                  <a:cubicBezTo>
                    <a:pt x="1934995" y="3189088"/>
                    <a:pt x="1911351" y="3165443"/>
                    <a:pt x="1881795" y="3165443"/>
                  </a:cubicBezTo>
                  <a:cubicBezTo>
                    <a:pt x="1852239" y="3165443"/>
                    <a:pt x="1828594" y="3189088"/>
                    <a:pt x="1828594" y="3218644"/>
                  </a:cubicBezTo>
                  <a:close/>
                  <a:moveTo>
                    <a:pt x="1825640" y="4013697"/>
                  </a:moveTo>
                  <a:cubicBezTo>
                    <a:pt x="1825640" y="4043253"/>
                    <a:pt x="1852239" y="4069852"/>
                    <a:pt x="1881795" y="4069852"/>
                  </a:cubicBezTo>
                  <a:cubicBezTo>
                    <a:pt x="1914308" y="4069852"/>
                    <a:pt x="1937952" y="4043253"/>
                    <a:pt x="1937952" y="4013697"/>
                  </a:cubicBezTo>
                  <a:cubicBezTo>
                    <a:pt x="1937952" y="3984141"/>
                    <a:pt x="1911351" y="3957539"/>
                    <a:pt x="1881795" y="3957539"/>
                  </a:cubicBezTo>
                  <a:cubicBezTo>
                    <a:pt x="1849285" y="3957539"/>
                    <a:pt x="1825640" y="3984141"/>
                    <a:pt x="1825640" y="4013697"/>
                  </a:cubicBezTo>
                  <a:close/>
                  <a:moveTo>
                    <a:pt x="1816771" y="4211724"/>
                  </a:moveTo>
                  <a:cubicBezTo>
                    <a:pt x="1816771" y="4223148"/>
                    <a:pt x="1826034" y="4232411"/>
                    <a:pt x="1837462" y="4232411"/>
                  </a:cubicBezTo>
                  <a:cubicBezTo>
                    <a:pt x="1848887" y="4232411"/>
                    <a:pt x="1858150" y="4223148"/>
                    <a:pt x="1858150" y="4211724"/>
                  </a:cubicBezTo>
                  <a:cubicBezTo>
                    <a:pt x="1858150" y="4200295"/>
                    <a:pt x="1848887" y="4191032"/>
                    <a:pt x="1837462" y="4191032"/>
                  </a:cubicBezTo>
                  <a:cubicBezTo>
                    <a:pt x="1826034" y="4191032"/>
                    <a:pt x="1816771" y="4200295"/>
                    <a:pt x="1816771" y="4211724"/>
                  </a:cubicBezTo>
                  <a:close/>
                  <a:moveTo>
                    <a:pt x="1816771" y="2618656"/>
                  </a:moveTo>
                  <a:cubicBezTo>
                    <a:pt x="1816771" y="2627522"/>
                    <a:pt x="1825640" y="2639344"/>
                    <a:pt x="1837459" y="2639344"/>
                  </a:cubicBezTo>
                  <a:cubicBezTo>
                    <a:pt x="1849281" y="2639344"/>
                    <a:pt x="1858150" y="2630479"/>
                    <a:pt x="1858150" y="2618656"/>
                  </a:cubicBezTo>
                  <a:cubicBezTo>
                    <a:pt x="1858150" y="2606834"/>
                    <a:pt x="1849281" y="2597966"/>
                    <a:pt x="1837459" y="2597966"/>
                  </a:cubicBezTo>
                  <a:cubicBezTo>
                    <a:pt x="1825640" y="2597966"/>
                    <a:pt x="1816771" y="2606834"/>
                    <a:pt x="1816771" y="2618656"/>
                  </a:cubicBezTo>
                  <a:close/>
                  <a:moveTo>
                    <a:pt x="1787216" y="2015715"/>
                  </a:moveTo>
                  <a:cubicBezTo>
                    <a:pt x="1787216" y="2018980"/>
                    <a:pt x="1789862" y="2021626"/>
                    <a:pt x="1793127" y="2021626"/>
                  </a:cubicBezTo>
                  <a:cubicBezTo>
                    <a:pt x="1796391" y="2021626"/>
                    <a:pt x="1799038" y="2018980"/>
                    <a:pt x="1799038" y="2015715"/>
                  </a:cubicBezTo>
                  <a:cubicBezTo>
                    <a:pt x="1799038" y="2012451"/>
                    <a:pt x="1796391" y="2009804"/>
                    <a:pt x="1793127" y="2009804"/>
                  </a:cubicBezTo>
                  <a:cubicBezTo>
                    <a:pt x="1789862" y="2009804"/>
                    <a:pt x="1787216" y="2012451"/>
                    <a:pt x="1787216" y="2015715"/>
                  </a:cubicBezTo>
                  <a:close/>
                  <a:moveTo>
                    <a:pt x="1775393" y="3416670"/>
                  </a:moveTo>
                  <a:cubicBezTo>
                    <a:pt x="1775393" y="3449180"/>
                    <a:pt x="1801995" y="3478736"/>
                    <a:pt x="1837462" y="3478736"/>
                  </a:cubicBezTo>
                  <a:cubicBezTo>
                    <a:pt x="1872929" y="3478736"/>
                    <a:pt x="1899528" y="3449180"/>
                    <a:pt x="1899528" y="3416670"/>
                  </a:cubicBezTo>
                  <a:cubicBezTo>
                    <a:pt x="1899528" y="3381200"/>
                    <a:pt x="1869972" y="3354601"/>
                    <a:pt x="1837462" y="3354601"/>
                  </a:cubicBezTo>
                  <a:cubicBezTo>
                    <a:pt x="1801995" y="3354601"/>
                    <a:pt x="1775393" y="3384157"/>
                    <a:pt x="1775393" y="3416670"/>
                  </a:cubicBezTo>
                  <a:close/>
                  <a:moveTo>
                    <a:pt x="1760614" y="2816683"/>
                  </a:moveTo>
                  <a:cubicBezTo>
                    <a:pt x="1760614" y="2834414"/>
                    <a:pt x="1775393" y="2849193"/>
                    <a:pt x="1793127" y="2849193"/>
                  </a:cubicBezTo>
                  <a:cubicBezTo>
                    <a:pt x="1810860" y="2849193"/>
                    <a:pt x="1825637" y="2834414"/>
                    <a:pt x="1825637" y="2816683"/>
                  </a:cubicBezTo>
                  <a:cubicBezTo>
                    <a:pt x="1825637" y="2798950"/>
                    <a:pt x="1810860" y="2784170"/>
                    <a:pt x="1793127" y="2784170"/>
                  </a:cubicBezTo>
                  <a:cubicBezTo>
                    <a:pt x="1775393" y="2784170"/>
                    <a:pt x="1760614" y="2798950"/>
                    <a:pt x="1760614" y="2816683"/>
                  </a:cubicBezTo>
                  <a:close/>
                  <a:moveTo>
                    <a:pt x="1736972" y="2213742"/>
                  </a:moveTo>
                  <a:cubicBezTo>
                    <a:pt x="1736972" y="2219653"/>
                    <a:pt x="1742883" y="2225564"/>
                    <a:pt x="1748794" y="2225564"/>
                  </a:cubicBezTo>
                  <a:cubicBezTo>
                    <a:pt x="1754706" y="2225564"/>
                    <a:pt x="1760616" y="2219653"/>
                    <a:pt x="1760616" y="2213742"/>
                  </a:cubicBezTo>
                  <a:cubicBezTo>
                    <a:pt x="1760616" y="2207830"/>
                    <a:pt x="1754706" y="2201919"/>
                    <a:pt x="1748794" y="2201919"/>
                  </a:cubicBezTo>
                  <a:cubicBezTo>
                    <a:pt x="1742883" y="2201919"/>
                    <a:pt x="1736972" y="2207830"/>
                    <a:pt x="1736972" y="2213742"/>
                  </a:cubicBezTo>
                  <a:close/>
                  <a:moveTo>
                    <a:pt x="1728104" y="3611736"/>
                  </a:moveTo>
                  <a:cubicBezTo>
                    <a:pt x="1728104" y="3647204"/>
                    <a:pt x="1757660" y="3676760"/>
                    <a:pt x="1793127" y="3676760"/>
                  </a:cubicBezTo>
                  <a:cubicBezTo>
                    <a:pt x="1828594" y="3676760"/>
                    <a:pt x="1858150" y="3647204"/>
                    <a:pt x="1858150" y="3611736"/>
                  </a:cubicBezTo>
                  <a:cubicBezTo>
                    <a:pt x="1858150" y="3576269"/>
                    <a:pt x="1828594" y="3546713"/>
                    <a:pt x="1793127" y="3546713"/>
                  </a:cubicBezTo>
                  <a:cubicBezTo>
                    <a:pt x="1757660" y="3546713"/>
                    <a:pt x="1728104" y="3576269"/>
                    <a:pt x="1728104" y="3611736"/>
                  </a:cubicBezTo>
                  <a:close/>
                  <a:moveTo>
                    <a:pt x="1701502" y="3011752"/>
                  </a:moveTo>
                  <a:cubicBezTo>
                    <a:pt x="1701502" y="3038354"/>
                    <a:pt x="1722192" y="3059042"/>
                    <a:pt x="1748791" y="3059042"/>
                  </a:cubicBezTo>
                  <a:cubicBezTo>
                    <a:pt x="1775393" y="3059042"/>
                    <a:pt x="1796081" y="3038354"/>
                    <a:pt x="1796081" y="3011752"/>
                  </a:cubicBezTo>
                  <a:cubicBezTo>
                    <a:pt x="1796081" y="2985150"/>
                    <a:pt x="1775393" y="2964462"/>
                    <a:pt x="1748791" y="2964462"/>
                  </a:cubicBezTo>
                  <a:cubicBezTo>
                    <a:pt x="1722192" y="2964462"/>
                    <a:pt x="1701502" y="2985150"/>
                    <a:pt x="1701502" y="3011752"/>
                  </a:cubicBezTo>
                  <a:close/>
                  <a:moveTo>
                    <a:pt x="1695590" y="3812716"/>
                  </a:moveTo>
                  <a:cubicBezTo>
                    <a:pt x="1695590" y="3839316"/>
                    <a:pt x="1719235" y="3865918"/>
                    <a:pt x="1748791" y="3865918"/>
                  </a:cubicBezTo>
                  <a:cubicBezTo>
                    <a:pt x="1778347" y="3865918"/>
                    <a:pt x="1801992" y="3842272"/>
                    <a:pt x="1801992" y="3812716"/>
                  </a:cubicBezTo>
                  <a:cubicBezTo>
                    <a:pt x="1801992" y="3783160"/>
                    <a:pt x="1778347" y="3759516"/>
                    <a:pt x="1748791" y="3759516"/>
                  </a:cubicBezTo>
                  <a:cubicBezTo>
                    <a:pt x="1719235" y="3759516"/>
                    <a:pt x="1695590" y="3783160"/>
                    <a:pt x="1695590" y="3812716"/>
                  </a:cubicBezTo>
                  <a:close/>
                  <a:moveTo>
                    <a:pt x="1689682" y="2408811"/>
                  </a:moveTo>
                  <a:cubicBezTo>
                    <a:pt x="1689682" y="2417676"/>
                    <a:pt x="1695594" y="2423588"/>
                    <a:pt x="1704462" y="2423588"/>
                  </a:cubicBezTo>
                  <a:cubicBezTo>
                    <a:pt x="1713327" y="2423588"/>
                    <a:pt x="1719238" y="2417676"/>
                    <a:pt x="1719238" y="2408811"/>
                  </a:cubicBezTo>
                  <a:cubicBezTo>
                    <a:pt x="1719238" y="2399942"/>
                    <a:pt x="1713327" y="2394031"/>
                    <a:pt x="1704462" y="2394031"/>
                  </a:cubicBezTo>
                  <a:cubicBezTo>
                    <a:pt x="1695594" y="2394031"/>
                    <a:pt x="1689682" y="2399942"/>
                    <a:pt x="1689682" y="2408811"/>
                  </a:cubicBezTo>
                  <a:close/>
                  <a:moveTo>
                    <a:pt x="1645347" y="3206822"/>
                  </a:moveTo>
                  <a:cubicBezTo>
                    <a:pt x="1645347" y="3242288"/>
                    <a:pt x="1671946" y="3265933"/>
                    <a:pt x="1704459" y="3265933"/>
                  </a:cubicBezTo>
                  <a:cubicBezTo>
                    <a:pt x="1736972" y="3265933"/>
                    <a:pt x="1763571" y="3239334"/>
                    <a:pt x="1763571" y="3206822"/>
                  </a:cubicBezTo>
                  <a:cubicBezTo>
                    <a:pt x="1763571" y="3174308"/>
                    <a:pt x="1736972" y="3147710"/>
                    <a:pt x="1704459" y="3147710"/>
                  </a:cubicBezTo>
                  <a:cubicBezTo>
                    <a:pt x="1671946" y="3147710"/>
                    <a:pt x="1645347" y="3174308"/>
                    <a:pt x="1645347" y="3206822"/>
                  </a:cubicBezTo>
                  <a:close/>
                  <a:moveTo>
                    <a:pt x="1642390" y="4202855"/>
                  </a:moveTo>
                  <a:cubicBezTo>
                    <a:pt x="1642390" y="4214678"/>
                    <a:pt x="1651258" y="4220588"/>
                    <a:pt x="1660123" y="4220588"/>
                  </a:cubicBezTo>
                  <a:cubicBezTo>
                    <a:pt x="1668992" y="4220588"/>
                    <a:pt x="1677857" y="4211720"/>
                    <a:pt x="1677857" y="4202855"/>
                  </a:cubicBezTo>
                  <a:cubicBezTo>
                    <a:pt x="1677857" y="4193986"/>
                    <a:pt x="1668992" y="4185122"/>
                    <a:pt x="1660123" y="4185122"/>
                  </a:cubicBezTo>
                  <a:cubicBezTo>
                    <a:pt x="1651258" y="4185122"/>
                    <a:pt x="1642390" y="4193986"/>
                    <a:pt x="1642390" y="4202855"/>
                  </a:cubicBezTo>
                  <a:close/>
                  <a:moveTo>
                    <a:pt x="1642390" y="4007789"/>
                  </a:moveTo>
                  <a:cubicBezTo>
                    <a:pt x="1642390" y="4043256"/>
                    <a:pt x="1668992" y="4069855"/>
                    <a:pt x="1704459" y="4069855"/>
                  </a:cubicBezTo>
                  <a:cubicBezTo>
                    <a:pt x="1739926" y="4069855"/>
                    <a:pt x="1766525" y="4043256"/>
                    <a:pt x="1766525" y="4007789"/>
                  </a:cubicBezTo>
                  <a:cubicBezTo>
                    <a:pt x="1766525" y="3972318"/>
                    <a:pt x="1739926" y="3945720"/>
                    <a:pt x="1704459" y="3945720"/>
                  </a:cubicBezTo>
                  <a:cubicBezTo>
                    <a:pt x="1668992" y="3945720"/>
                    <a:pt x="1642390" y="3972318"/>
                    <a:pt x="1642390" y="4007789"/>
                  </a:cubicBezTo>
                  <a:close/>
                  <a:moveTo>
                    <a:pt x="1636479" y="2606834"/>
                  </a:moveTo>
                  <a:cubicBezTo>
                    <a:pt x="1636479" y="2618656"/>
                    <a:pt x="1645347" y="2630479"/>
                    <a:pt x="1660123" y="2630479"/>
                  </a:cubicBezTo>
                  <a:cubicBezTo>
                    <a:pt x="1671946" y="2630479"/>
                    <a:pt x="1683768" y="2618656"/>
                    <a:pt x="1683768" y="2606834"/>
                  </a:cubicBezTo>
                  <a:cubicBezTo>
                    <a:pt x="1683768" y="2595012"/>
                    <a:pt x="1671946" y="2583190"/>
                    <a:pt x="1660123" y="2583190"/>
                  </a:cubicBezTo>
                  <a:cubicBezTo>
                    <a:pt x="1648301" y="2583190"/>
                    <a:pt x="1636479" y="2595012"/>
                    <a:pt x="1636479" y="2606834"/>
                  </a:cubicBezTo>
                  <a:close/>
                  <a:moveTo>
                    <a:pt x="1609880" y="1997982"/>
                  </a:moveTo>
                  <a:cubicBezTo>
                    <a:pt x="1609880" y="2000939"/>
                    <a:pt x="1612834" y="2003893"/>
                    <a:pt x="1615791" y="2003893"/>
                  </a:cubicBezTo>
                  <a:cubicBezTo>
                    <a:pt x="1618748" y="2003893"/>
                    <a:pt x="1621702" y="2000939"/>
                    <a:pt x="1621702" y="1997982"/>
                  </a:cubicBezTo>
                  <a:cubicBezTo>
                    <a:pt x="1621702" y="1995028"/>
                    <a:pt x="1618748" y="1992070"/>
                    <a:pt x="1615791" y="1992070"/>
                  </a:cubicBezTo>
                  <a:cubicBezTo>
                    <a:pt x="1612834" y="1992070"/>
                    <a:pt x="1609880" y="1995028"/>
                    <a:pt x="1609880" y="1997982"/>
                  </a:cubicBezTo>
                  <a:close/>
                  <a:moveTo>
                    <a:pt x="1601015" y="3404844"/>
                  </a:moveTo>
                  <a:cubicBezTo>
                    <a:pt x="1601015" y="3437358"/>
                    <a:pt x="1627613" y="3463956"/>
                    <a:pt x="1660127" y="3463956"/>
                  </a:cubicBezTo>
                  <a:cubicBezTo>
                    <a:pt x="1692640" y="3463956"/>
                    <a:pt x="1719238" y="3437358"/>
                    <a:pt x="1719238" y="3404844"/>
                  </a:cubicBezTo>
                  <a:cubicBezTo>
                    <a:pt x="1719238" y="3372334"/>
                    <a:pt x="1692640" y="3345732"/>
                    <a:pt x="1660127" y="3345732"/>
                  </a:cubicBezTo>
                  <a:cubicBezTo>
                    <a:pt x="1627613" y="3345732"/>
                    <a:pt x="1601015" y="3372334"/>
                    <a:pt x="1601015" y="3404844"/>
                  </a:cubicBezTo>
                  <a:close/>
                  <a:moveTo>
                    <a:pt x="1583278" y="2801904"/>
                  </a:moveTo>
                  <a:cubicBezTo>
                    <a:pt x="1580324" y="2819634"/>
                    <a:pt x="1595100" y="2834414"/>
                    <a:pt x="1615791" y="2834414"/>
                  </a:cubicBezTo>
                  <a:cubicBezTo>
                    <a:pt x="1633525" y="2834414"/>
                    <a:pt x="1648301" y="2819634"/>
                    <a:pt x="1648301" y="2801904"/>
                  </a:cubicBezTo>
                  <a:cubicBezTo>
                    <a:pt x="1648301" y="2784170"/>
                    <a:pt x="1633525" y="2769390"/>
                    <a:pt x="1615791" y="2769390"/>
                  </a:cubicBezTo>
                  <a:cubicBezTo>
                    <a:pt x="1598057" y="2769390"/>
                    <a:pt x="1583278" y="2784170"/>
                    <a:pt x="1583278" y="2801904"/>
                  </a:cubicBezTo>
                  <a:close/>
                  <a:moveTo>
                    <a:pt x="1568502" y="3602871"/>
                  </a:moveTo>
                  <a:cubicBezTo>
                    <a:pt x="1568502" y="3628989"/>
                    <a:pt x="1589673" y="3650160"/>
                    <a:pt x="1615791" y="3650160"/>
                  </a:cubicBezTo>
                  <a:cubicBezTo>
                    <a:pt x="1641909" y="3650160"/>
                    <a:pt x="1663081" y="3628989"/>
                    <a:pt x="1663081" y="3602871"/>
                  </a:cubicBezTo>
                  <a:cubicBezTo>
                    <a:pt x="1663081" y="3576753"/>
                    <a:pt x="1641909" y="3555582"/>
                    <a:pt x="1615791" y="3555582"/>
                  </a:cubicBezTo>
                  <a:cubicBezTo>
                    <a:pt x="1589673" y="3555582"/>
                    <a:pt x="1568502" y="3576753"/>
                    <a:pt x="1568502" y="3602871"/>
                  </a:cubicBezTo>
                  <a:close/>
                  <a:moveTo>
                    <a:pt x="1562590" y="2193051"/>
                  </a:moveTo>
                  <a:cubicBezTo>
                    <a:pt x="1559636" y="2198962"/>
                    <a:pt x="1565548" y="2201916"/>
                    <a:pt x="1571459" y="2201916"/>
                  </a:cubicBezTo>
                  <a:cubicBezTo>
                    <a:pt x="1577370" y="2201916"/>
                    <a:pt x="1580324" y="2196005"/>
                    <a:pt x="1580324" y="2193051"/>
                  </a:cubicBezTo>
                  <a:cubicBezTo>
                    <a:pt x="1580324" y="2187140"/>
                    <a:pt x="1574413" y="2184182"/>
                    <a:pt x="1571459" y="2184182"/>
                  </a:cubicBezTo>
                  <a:cubicBezTo>
                    <a:pt x="1565548" y="2184182"/>
                    <a:pt x="1562590" y="2190094"/>
                    <a:pt x="1562590" y="2193051"/>
                  </a:cubicBezTo>
                  <a:close/>
                  <a:moveTo>
                    <a:pt x="1527123" y="2999930"/>
                  </a:moveTo>
                  <a:cubicBezTo>
                    <a:pt x="1524166" y="3023574"/>
                    <a:pt x="1544857" y="3044262"/>
                    <a:pt x="1571456" y="3044262"/>
                  </a:cubicBezTo>
                  <a:cubicBezTo>
                    <a:pt x="1598057" y="3044262"/>
                    <a:pt x="1615791" y="3023574"/>
                    <a:pt x="1615791" y="2999930"/>
                  </a:cubicBezTo>
                  <a:cubicBezTo>
                    <a:pt x="1615791" y="2973328"/>
                    <a:pt x="1595100" y="2955594"/>
                    <a:pt x="1571456" y="2955594"/>
                  </a:cubicBezTo>
                  <a:cubicBezTo>
                    <a:pt x="1547811" y="2955594"/>
                    <a:pt x="1527123" y="2976282"/>
                    <a:pt x="1527123" y="2999930"/>
                  </a:cubicBezTo>
                  <a:close/>
                  <a:moveTo>
                    <a:pt x="1509390" y="3797940"/>
                  </a:moveTo>
                  <a:cubicBezTo>
                    <a:pt x="1509390" y="3833408"/>
                    <a:pt x="1535992" y="3860006"/>
                    <a:pt x="1571459" y="3860006"/>
                  </a:cubicBezTo>
                  <a:cubicBezTo>
                    <a:pt x="1603969" y="3860006"/>
                    <a:pt x="1633525" y="3833408"/>
                    <a:pt x="1633525" y="3797940"/>
                  </a:cubicBezTo>
                  <a:cubicBezTo>
                    <a:pt x="1633525" y="3765427"/>
                    <a:pt x="1606926" y="3735871"/>
                    <a:pt x="1571459" y="3735871"/>
                  </a:cubicBezTo>
                  <a:cubicBezTo>
                    <a:pt x="1538945" y="3735871"/>
                    <a:pt x="1509390" y="3762473"/>
                    <a:pt x="1509390" y="3797940"/>
                  </a:cubicBezTo>
                  <a:close/>
                  <a:moveTo>
                    <a:pt x="1509390" y="2388120"/>
                  </a:moveTo>
                  <a:cubicBezTo>
                    <a:pt x="1509390" y="2396988"/>
                    <a:pt x="1518258" y="2405854"/>
                    <a:pt x="1527123" y="2405854"/>
                  </a:cubicBezTo>
                  <a:cubicBezTo>
                    <a:pt x="1535992" y="2405854"/>
                    <a:pt x="1544857" y="2396988"/>
                    <a:pt x="1544857" y="2388120"/>
                  </a:cubicBezTo>
                  <a:cubicBezTo>
                    <a:pt x="1544857" y="2379255"/>
                    <a:pt x="1535992" y="2370386"/>
                    <a:pt x="1527123" y="2370386"/>
                  </a:cubicBezTo>
                  <a:cubicBezTo>
                    <a:pt x="1518258" y="2370386"/>
                    <a:pt x="1509390" y="2379255"/>
                    <a:pt x="1509390" y="2388120"/>
                  </a:cubicBezTo>
                  <a:close/>
                  <a:moveTo>
                    <a:pt x="1476880" y="3192042"/>
                  </a:moveTo>
                  <a:cubicBezTo>
                    <a:pt x="1476880" y="3218644"/>
                    <a:pt x="1497567" y="3242288"/>
                    <a:pt x="1527123" y="3242288"/>
                  </a:cubicBezTo>
                  <a:cubicBezTo>
                    <a:pt x="1553725" y="3242288"/>
                    <a:pt x="1577370" y="3218644"/>
                    <a:pt x="1577370" y="3192042"/>
                  </a:cubicBezTo>
                  <a:cubicBezTo>
                    <a:pt x="1577370" y="3165443"/>
                    <a:pt x="1553725" y="3141798"/>
                    <a:pt x="1527123" y="3141798"/>
                  </a:cubicBezTo>
                  <a:cubicBezTo>
                    <a:pt x="1500524" y="3141798"/>
                    <a:pt x="1476880" y="3165443"/>
                    <a:pt x="1476880" y="3192042"/>
                  </a:cubicBezTo>
                  <a:close/>
                  <a:moveTo>
                    <a:pt x="1462100" y="4188078"/>
                  </a:moveTo>
                  <a:cubicBezTo>
                    <a:pt x="1465054" y="4199901"/>
                    <a:pt x="1470968" y="4205812"/>
                    <a:pt x="1479834" y="4205812"/>
                  </a:cubicBezTo>
                  <a:cubicBezTo>
                    <a:pt x="1488699" y="4205812"/>
                    <a:pt x="1497567" y="4196944"/>
                    <a:pt x="1497567" y="4188078"/>
                  </a:cubicBezTo>
                  <a:cubicBezTo>
                    <a:pt x="1497567" y="4179210"/>
                    <a:pt x="1488699" y="4170345"/>
                    <a:pt x="1479834" y="4170345"/>
                  </a:cubicBezTo>
                  <a:cubicBezTo>
                    <a:pt x="1470968" y="4170345"/>
                    <a:pt x="1462100" y="4179210"/>
                    <a:pt x="1462100" y="4188078"/>
                  </a:cubicBezTo>
                  <a:close/>
                  <a:moveTo>
                    <a:pt x="1459143" y="3995964"/>
                  </a:moveTo>
                  <a:cubicBezTo>
                    <a:pt x="1459143" y="4031430"/>
                    <a:pt x="1488699" y="4060986"/>
                    <a:pt x="1524166" y="4060986"/>
                  </a:cubicBezTo>
                  <a:cubicBezTo>
                    <a:pt x="1559633" y="4060986"/>
                    <a:pt x="1589189" y="4031430"/>
                    <a:pt x="1589189" y="3995964"/>
                  </a:cubicBezTo>
                  <a:cubicBezTo>
                    <a:pt x="1589189" y="3960496"/>
                    <a:pt x="1559633" y="3930940"/>
                    <a:pt x="1524166" y="3930940"/>
                  </a:cubicBezTo>
                  <a:cubicBezTo>
                    <a:pt x="1488699" y="3930940"/>
                    <a:pt x="1459143" y="3960496"/>
                    <a:pt x="1459143" y="3995964"/>
                  </a:cubicBezTo>
                  <a:close/>
                  <a:moveTo>
                    <a:pt x="1459143" y="2583190"/>
                  </a:moveTo>
                  <a:cubicBezTo>
                    <a:pt x="1459143" y="2595012"/>
                    <a:pt x="1468011" y="2606834"/>
                    <a:pt x="1482788" y="2606834"/>
                  </a:cubicBezTo>
                  <a:cubicBezTo>
                    <a:pt x="1494610" y="2606834"/>
                    <a:pt x="1506433" y="2595012"/>
                    <a:pt x="1506433" y="2583190"/>
                  </a:cubicBezTo>
                  <a:cubicBezTo>
                    <a:pt x="1506433" y="2571367"/>
                    <a:pt x="1494610" y="2559544"/>
                    <a:pt x="1482788" y="2559544"/>
                  </a:cubicBezTo>
                  <a:cubicBezTo>
                    <a:pt x="1470965" y="2559544"/>
                    <a:pt x="1459143" y="2571367"/>
                    <a:pt x="1459143" y="2583190"/>
                  </a:cubicBezTo>
                  <a:close/>
                  <a:moveTo>
                    <a:pt x="1429587" y="1965472"/>
                  </a:moveTo>
                  <a:cubicBezTo>
                    <a:pt x="1429587" y="1971383"/>
                    <a:pt x="1432544" y="1974337"/>
                    <a:pt x="1438455" y="1974337"/>
                  </a:cubicBezTo>
                  <a:cubicBezTo>
                    <a:pt x="1444367" y="1974337"/>
                    <a:pt x="1447321" y="1968426"/>
                    <a:pt x="1447321" y="1965472"/>
                  </a:cubicBezTo>
                  <a:cubicBezTo>
                    <a:pt x="1447321" y="1959560"/>
                    <a:pt x="1441409" y="1956604"/>
                    <a:pt x="1438455" y="1956604"/>
                  </a:cubicBezTo>
                  <a:cubicBezTo>
                    <a:pt x="1432544" y="1956604"/>
                    <a:pt x="1429587" y="1962514"/>
                    <a:pt x="1429587" y="1965472"/>
                  </a:cubicBezTo>
                  <a:close/>
                  <a:moveTo>
                    <a:pt x="1420722" y="3387111"/>
                  </a:moveTo>
                  <a:cubicBezTo>
                    <a:pt x="1423679" y="3419621"/>
                    <a:pt x="1450278" y="3446223"/>
                    <a:pt x="1479834" y="3446223"/>
                  </a:cubicBezTo>
                  <a:cubicBezTo>
                    <a:pt x="1512347" y="3446223"/>
                    <a:pt x="1538945" y="3419621"/>
                    <a:pt x="1538945" y="3387111"/>
                  </a:cubicBezTo>
                  <a:cubicBezTo>
                    <a:pt x="1538945" y="3354598"/>
                    <a:pt x="1512347" y="3327999"/>
                    <a:pt x="1479834" y="3327999"/>
                  </a:cubicBezTo>
                  <a:cubicBezTo>
                    <a:pt x="1447324" y="3327999"/>
                    <a:pt x="1420722" y="3354598"/>
                    <a:pt x="1420722" y="3387111"/>
                  </a:cubicBezTo>
                  <a:close/>
                  <a:moveTo>
                    <a:pt x="1400031" y="2775302"/>
                  </a:moveTo>
                  <a:cubicBezTo>
                    <a:pt x="1400031" y="2798946"/>
                    <a:pt x="1417765" y="2813726"/>
                    <a:pt x="1438455" y="2813726"/>
                  </a:cubicBezTo>
                  <a:cubicBezTo>
                    <a:pt x="1459143" y="2813726"/>
                    <a:pt x="1476877" y="2795992"/>
                    <a:pt x="1476877" y="2775302"/>
                  </a:cubicBezTo>
                  <a:cubicBezTo>
                    <a:pt x="1476877" y="2754614"/>
                    <a:pt x="1459143" y="2736880"/>
                    <a:pt x="1438455" y="2736880"/>
                  </a:cubicBezTo>
                  <a:cubicBezTo>
                    <a:pt x="1417765" y="2736880"/>
                    <a:pt x="1400031" y="2754614"/>
                    <a:pt x="1400031" y="2775302"/>
                  </a:cubicBezTo>
                  <a:close/>
                  <a:moveTo>
                    <a:pt x="1382298" y="3585138"/>
                  </a:moveTo>
                  <a:cubicBezTo>
                    <a:pt x="1382298" y="3614694"/>
                    <a:pt x="1405942" y="3638338"/>
                    <a:pt x="1435498" y="3638338"/>
                  </a:cubicBezTo>
                  <a:cubicBezTo>
                    <a:pt x="1465054" y="3638338"/>
                    <a:pt x="1488699" y="3614694"/>
                    <a:pt x="1488699" y="3585138"/>
                  </a:cubicBezTo>
                  <a:cubicBezTo>
                    <a:pt x="1488699" y="3555582"/>
                    <a:pt x="1465054" y="3531936"/>
                    <a:pt x="1435498" y="3531936"/>
                  </a:cubicBezTo>
                  <a:cubicBezTo>
                    <a:pt x="1405942" y="3531936"/>
                    <a:pt x="1382298" y="3555582"/>
                    <a:pt x="1382298" y="3585138"/>
                  </a:cubicBezTo>
                  <a:close/>
                  <a:moveTo>
                    <a:pt x="1382298" y="2160538"/>
                  </a:moveTo>
                  <a:cubicBezTo>
                    <a:pt x="1382298" y="2166449"/>
                    <a:pt x="1388209" y="2172360"/>
                    <a:pt x="1394120" y="2172360"/>
                  </a:cubicBezTo>
                  <a:cubicBezTo>
                    <a:pt x="1400031" y="2172360"/>
                    <a:pt x="1405942" y="2166449"/>
                    <a:pt x="1405942" y="2160538"/>
                  </a:cubicBezTo>
                  <a:cubicBezTo>
                    <a:pt x="1405942" y="2154627"/>
                    <a:pt x="1400031" y="2148716"/>
                    <a:pt x="1394120" y="2148716"/>
                  </a:cubicBezTo>
                  <a:cubicBezTo>
                    <a:pt x="1388209" y="2148716"/>
                    <a:pt x="1382298" y="2154627"/>
                    <a:pt x="1382298" y="2160538"/>
                  </a:cubicBezTo>
                  <a:close/>
                  <a:moveTo>
                    <a:pt x="1340919" y="2970370"/>
                  </a:moveTo>
                  <a:cubicBezTo>
                    <a:pt x="1340919" y="2999926"/>
                    <a:pt x="1364564" y="3023572"/>
                    <a:pt x="1394120" y="3023572"/>
                  </a:cubicBezTo>
                  <a:cubicBezTo>
                    <a:pt x="1423676" y="3023572"/>
                    <a:pt x="1447321" y="2999926"/>
                    <a:pt x="1447321" y="2970370"/>
                  </a:cubicBezTo>
                  <a:cubicBezTo>
                    <a:pt x="1447321" y="2940814"/>
                    <a:pt x="1423676" y="2917170"/>
                    <a:pt x="1394120" y="2917170"/>
                  </a:cubicBezTo>
                  <a:cubicBezTo>
                    <a:pt x="1364564" y="2917170"/>
                    <a:pt x="1340919" y="2940814"/>
                    <a:pt x="1340919" y="2970370"/>
                  </a:cubicBezTo>
                  <a:close/>
                  <a:moveTo>
                    <a:pt x="1337965" y="3777250"/>
                  </a:moveTo>
                  <a:cubicBezTo>
                    <a:pt x="1340919" y="3806806"/>
                    <a:pt x="1364567" y="3830450"/>
                    <a:pt x="1391166" y="3830450"/>
                  </a:cubicBezTo>
                  <a:cubicBezTo>
                    <a:pt x="1420722" y="3830450"/>
                    <a:pt x="1444367" y="3806806"/>
                    <a:pt x="1444367" y="3777250"/>
                  </a:cubicBezTo>
                  <a:cubicBezTo>
                    <a:pt x="1444367" y="3747694"/>
                    <a:pt x="1420722" y="3724049"/>
                    <a:pt x="1391166" y="3724049"/>
                  </a:cubicBezTo>
                  <a:cubicBezTo>
                    <a:pt x="1361610" y="3724049"/>
                    <a:pt x="1337965" y="3747694"/>
                    <a:pt x="1337965" y="3777250"/>
                  </a:cubicBezTo>
                  <a:close/>
                  <a:moveTo>
                    <a:pt x="1335011" y="2352656"/>
                  </a:moveTo>
                  <a:cubicBezTo>
                    <a:pt x="1335011" y="2361521"/>
                    <a:pt x="1343879" y="2367432"/>
                    <a:pt x="1349790" y="2367432"/>
                  </a:cubicBezTo>
                  <a:cubicBezTo>
                    <a:pt x="1358656" y="2367432"/>
                    <a:pt x="1364567" y="2361521"/>
                    <a:pt x="1364567" y="2352656"/>
                  </a:cubicBezTo>
                  <a:cubicBezTo>
                    <a:pt x="1364567" y="2343788"/>
                    <a:pt x="1358656" y="2337876"/>
                    <a:pt x="1349790" y="2337876"/>
                  </a:cubicBezTo>
                  <a:cubicBezTo>
                    <a:pt x="1340922" y="2337876"/>
                    <a:pt x="1335011" y="2343788"/>
                    <a:pt x="1335011" y="2352656"/>
                  </a:cubicBezTo>
                  <a:close/>
                  <a:moveTo>
                    <a:pt x="1299544" y="3165443"/>
                  </a:moveTo>
                  <a:cubicBezTo>
                    <a:pt x="1299544" y="3194999"/>
                    <a:pt x="1320232" y="3215686"/>
                    <a:pt x="1349788" y="3215686"/>
                  </a:cubicBezTo>
                  <a:cubicBezTo>
                    <a:pt x="1376389" y="3215686"/>
                    <a:pt x="1400034" y="3192042"/>
                    <a:pt x="1400034" y="3165443"/>
                  </a:cubicBezTo>
                  <a:cubicBezTo>
                    <a:pt x="1400034" y="3138841"/>
                    <a:pt x="1376389" y="3115196"/>
                    <a:pt x="1349788" y="3115196"/>
                  </a:cubicBezTo>
                  <a:cubicBezTo>
                    <a:pt x="1323189" y="3115196"/>
                    <a:pt x="1299544" y="3138841"/>
                    <a:pt x="1299544" y="3165443"/>
                  </a:cubicBezTo>
                  <a:close/>
                  <a:moveTo>
                    <a:pt x="1284764" y="4170345"/>
                  </a:moveTo>
                  <a:cubicBezTo>
                    <a:pt x="1284764" y="4179210"/>
                    <a:pt x="1293630" y="4188078"/>
                    <a:pt x="1302498" y="4188078"/>
                  </a:cubicBezTo>
                  <a:cubicBezTo>
                    <a:pt x="1311363" y="4188078"/>
                    <a:pt x="1320232" y="4179210"/>
                    <a:pt x="1320232" y="4170345"/>
                  </a:cubicBezTo>
                  <a:cubicBezTo>
                    <a:pt x="1320232" y="4161480"/>
                    <a:pt x="1311363" y="4152612"/>
                    <a:pt x="1302498" y="4152612"/>
                  </a:cubicBezTo>
                  <a:cubicBezTo>
                    <a:pt x="1293630" y="4152612"/>
                    <a:pt x="1284764" y="4161480"/>
                    <a:pt x="1284764" y="4170345"/>
                  </a:cubicBezTo>
                  <a:close/>
                  <a:moveTo>
                    <a:pt x="1284764" y="3975276"/>
                  </a:moveTo>
                  <a:cubicBezTo>
                    <a:pt x="1284764" y="4007786"/>
                    <a:pt x="1314320" y="4037342"/>
                    <a:pt x="1346830" y="4037342"/>
                  </a:cubicBezTo>
                  <a:cubicBezTo>
                    <a:pt x="1382298" y="4037342"/>
                    <a:pt x="1408899" y="4007786"/>
                    <a:pt x="1408899" y="3975276"/>
                  </a:cubicBezTo>
                  <a:cubicBezTo>
                    <a:pt x="1408899" y="3939808"/>
                    <a:pt x="1379344" y="3913207"/>
                    <a:pt x="1346830" y="3913207"/>
                  </a:cubicBezTo>
                  <a:cubicBezTo>
                    <a:pt x="1311363" y="3913207"/>
                    <a:pt x="1284764" y="3942763"/>
                    <a:pt x="1284764" y="3975276"/>
                  </a:cubicBezTo>
                  <a:close/>
                  <a:moveTo>
                    <a:pt x="1278853" y="2547722"/>
                  </a:moveTo>
                  <a:cubicBezTo>
                    <a:pt x="1281807" y="2562502"/>
                    <a:pt x="1293633" y="2574324"/>
                    <a:pt x="1305455" y="2574324"/>
                  </a:cubicBezTo>
                  <a:cubicBezTo>
                    <a:pt x="1320232" y="2574324"/>
                    <a:pt x="1332054" y="2562502"/>
                    <a:pt x="1332054" y="2547722"/>
                  </a:cubicBezTo>
                  <a:cubicBezTo>
                    <a:pt x="1332054" y="2532946"/>
                    <a:pt x="1320232" y="2521124"/>
                    <a:pt x="1305455" y="2521124"/>
                  </a:cubicBezTo>
                  <a:cubicBezTo>
                    <a:pt x="1290676" y="2521124"/>
                    <a:pt x="1278853" y="2532946"/>
                    <a:pt x="1278853" y="2547722"/>
                  </a:cubicBezTo>
                  <a:close/>
                  <a:moveTo>
                    <a:pt x="1255209" y="1918182"/>
                  </a:moveTo>
                  <a:cubicBezTo>
                    <a:pt x="1255209" y="1924094"/>
                    <a:pt x="1261120" y="1930004"/>
                    <a:pt x="1267031" y="1930004"/>
                  </a:cubicBezTo>
                  <a:cubicBezTo>
                    <a:pt x="1272942" y="1930004"/>
                    <a:pt x="1278853" y="1924094"/>
                    <a:pt x="1278853" y="1918182"/>
                  </a:cubicBezTo>
                  <a:cubicBezTo>
                    <a:pt x="1278853" y="1912271"/>
                    <a:pt x="1272942" y="1906360"/>
                    <a:pt x="1267031" y="1906360"/>
                  </a:cubicBezTo>
                  <a:cubicBezTo>
                    <a:pt x="1261120" y="1906360"/>
                    <a:pt x="1255209" y="1912271"/>
                    <a:pt x="1255209" y="1918182"/>
                  </a:cubicBezTo>
                  <a:close/>
                  <a:moveTo>
                    <a:pt x="1249297" y="3363466"/>
                  </a:moveTo>
                  <a:cubicBezTo>
                    <a:pt x="1246343" y="3393022"/>
                    <a:pt x="1272942" y="3419621"/>
                    <a:pt x="1305455" y="3419621"/>
                  </a:cubicBezTo>
                  <a:cubicBezTo>
                    <a:pt x="1337965" y="3419621"/>
                    <a:pt x="1361610" y="3393022"/>
                    <a:pt x="1361610" y="3363466"/>
                  </a:cubicBezTo>
                  <a:cubicBezTo>
                    <a:pt x="1361610" y="3330953"/>
                    <a:pt x="1335011" y="3307308"/>
                    <a:pt x="1305455" y="3307308"/>
                  </a:cubicBezTo>
                  <a:cubicBezTo>
                    <a:pt x="1272942" y="3307308"/>
                    <a:pt x="1249297" y="3333910"/>
                    <a:pt x="1249297" y="3363466"/>
                  </a:cubicBezTo>
                  <a:close/>
                  <a:moveTo>
                    <a:pt x="1219741" y="2742792"/>
                  </a:moveTo>
                  <a:cubicBezTo>
                    <a:pt x="1219741" y="2766436"/>
                    <a:pt x="1240432" y="2784170"/>
                    <a:pt x="1261120" y="2784170"/>
                  </a:cubicBezTo>
                  <a:cubicBezTo>
                    <a:pt x="1284764" y="2784170"/>
                    <a:pt x="1302498" y="2766436"/>
                    <a:pt x="1302498" y="2742792"/>
                  </a:cubicBezTo>
                  <a:cubicBezTo>
                    <a:pt x="1302498" y="2719146"/>
                    <a:pt x="1284764" y="2701413"/>
                    <a:pt x="1261120" y="2701413"/>
                  </a:cubicBezTo>
                  <a:cubicBezTo>
                    <a:pt x="1237475" y="2701413"/>
                    <a:pt x="1219741" y="2719146"/>
                    <a:pt x="1219741" y="2742792"/>
                  </a:cubicBezTo>
                  <a:close/>
                  <a:moveTo>
                    <a:pt x="1204962" y="2113248"/>
                  </a:moveTo>
                  <a:cubicBezTo>
                    <a:pt x="1204962" y="2122117"/>
                    <a:pt x="1213830" y="2130982"/>
                    <a:pt x="1222695" y="2130982"/>
                  </a:cubicBezTo>
                  <a:cubicBezTo>
                    <a:pt x="1231564" y="2130982"/>
                    <a:pt x="1240429" y="2122117"/>
                    <a:pt x="1240429" y="2113248"/>
                  </a:cubicBezTo>
                  <a:cubicBezTo>
                    <a:pt x="1240429" y="2104383"/>
                    <a:pt x="1231564" y="2095515"/>
                    <a:pt x="1222695" y="2095515"/>
                  </a:cubicBezTo>
                  <a:cubicBezTo>
                    <a:pt x="1213830" y="2095515"/>
                    <a:pt x="1204962" y="2104383"/>
                    <a:pt x="1204962" y="2113248"/>
                  </a:cubicBezTo>
                  <a:close/>
                  <a:moveTo>
                    <a:pt x="1196097" y="3558536"/>
                  </a:moveTo>
                  <a:cubicBezTo>
                    <a:pt x="1193140" y="3594002"/>
                    <a:pt x="1222695" y="3623558"/>
                    <a:pt x="1261120" y="3623558"/>
                  </a:cubicBezTo>
                  <a:cubicBezTo>
                    <a:pt x="1296587" y="3623558"/>
                    <a:pt x="1326143" y="3594002"/>
                    <a:pt x="1326143" y="3558536"/>
                  </a:cubicBezTo>
                  <a:cubicBezTo>
                    <a:pt x="1326143" y="3523068"/>
                    <a:pt x="1296587" y="3493512"/>
                    <a:pt x="1261120" y="3493512"/>
                  </a:cubicBezTo>
                  <a:cubicBezTo>
                    <a:pt x="1225653" y="3493512"/>
                    <a:pt x="1196097" y="3523068"/>
                    <a:pt x="1196097" y="3558536"/>
                  </a:cubicBezTo>
                  <a:close/>
                  <a:moveTo>
                    <a:pt x="1169498" y="2937860"/>
                  </a:moveTo>
                  <a:cubicBezTo>
                    <a:pt x="1169498" y="2964462"/>
                    <a:pt x="1190185" y="2985150"/>
                    <a:pt x="1216787" y="2985150"/>
                  </a:cubicBezTo>
                  <a:cubicBezTo>
                    <a:pt x="1243389" y="2985150"/>
                    <a:pt x="1264077" y="2964462"/>
                    <a:pt x="1264077" y="2937860"/>
                  </a:cubicBezTo>
                  <a:cubicBezTo>
                    <a:pt x="1264077" y="2911259"/>
                    <a:pt x="1243389" y="2890571"/>
                    <a:pt x="1216787" y="2890571"/>
                  </a:cubicBezTo>
                  <a:cubicBezTo>
                    <a:pt x="1190185" y="2890571"/>
                    <a:pt x="1169498" y="2911259"/>
                    <a:pt x="1169498" y="2937860"/>
                  </a:cubicBezTo>
                  <a:close/>
                  <a:moveTo>
                    <a:pt x="1154718" y="2308321"/>
                  </a:moveTo>
                  <a:cubicBezTo>
                    <a:pt x="1154718" y="2320143"/>
                    <a:pt x="1163584" y="2331966"/>
                    <a:pt x="1178363" y="2331966"/>
                  </a:cubicBezTo>
                  <a:cubicBezTo>
                    <a:pt x="1190185" y="2331966"/>
                    <a:pt x="1202008" y="2320143"/>
                    <a:pt x="1202008" y="2308321"/>
                  </a:cubicBezTo>
                  <a:cubicBezTo>
                    <a:pt x="1202008" y="2296498"/>
                    <a:pt x="1190185" y="2284676"/>
                    <a:pt x="1178363" y="2284676"/>
                  </a:cubicBezTo>
                  <a:cubicBezTo>
                    <a:pt x="1166541" y="2284676"/>
                    <a:pt x="1154718" y="2296498"/>
                    <a:pt x="1154718" y="2308321"/>
                  </a:cubicBezTo>
                  <a:close/>
                  <a:moveTo>
                    <a:pt x="1151764" y="3750648"/>
                  </a:moveTo>
                  <a:cubicBezTo>
                    <a:pt x="1148807" y="3786114"/>
                    <a:pt x="1178363" y="3815670"/>
                    <a:pt x="1216787" y="3815670"/>
                  </a:cubicBezTo>
                  <a:cubicBezTo>
                    <a:pt x="1252255" y="3815670"/>
                    <a:pt x="1281810" y="3786114"/>
                    <a:pt x="1281810" y="3750648"/>
                  </a:cubicBezTo>
                  <a:cubicBezTo>
                    <a:pt x="1281810" y="3715180"/>
                    <a:pt x="1252255" y="3685624"/>
                    <a:pt x="1216787" y="3685624"/>
                  </a:cubicBezTo>
                  <a:cubicBezTo>
                    <a:pt x="1181320" y="3685624"/>
                    <a:pt x="1151764" y="3715180"/>
                    <a:pt x="1151764" y="3750648"/>
                  </a:cubicBezTo>
                  <a:close/>
                  <a:moveTo>
                    <a:pt x="1139942" y="1661044"/>
                  </a:moveTo>
                  <a:cubicBezTo>
                    <a:pt x="1139942" y="1664001"/>
                    <a:pt x="1142896" y="1664001"/>
                    <a:pt x="1142896" y="1664001"/>
                  </a:cubicBezTo>
                  <a:cubicBezTo>
                    <a:pt x="1145853" y="1664001"/>
                    <a:pt x="1145853" y="1661044"/>
                    <a:pt x="1145853" y="1661044"/>
                  </a:cubicBezTo>
                  <a:cubicBezTo>
                    <a:pt x="1145853" y="1658090"/>
                    <a:pt x="1142896" y="1658090"/>
                    <a:pt x="1142896" y="1658090"/>
                  </a:cubicBezTo>
                  <a:cubicBezTo>
                    <a:pt x="1139942" y="1658090"/>
                    <a:pt x="1139942" y="1661044"/>
                    <a:pt x="1139942" y="1661044"/>
                  </a:cubicBezTo>
                  <a:close/>
                  <a:moveTo>
                    <a:pt x="1116294" y="3129973"/>
                  </a:moveTo>
                  <a:cubicBezTo>
                    <a:pt x="1119248" y="3162486"/>
                    <a:pt x="1142896" y="3186130"/>
                    <a:pt x="1172452" y="3186130"/>
                  </a:cubicBezTo>
                  <a:cubicBezTo>
                    <a:pt x="1202008" y="3186130"/>
                    <a:pt x="1228606" y="3162486"/>
                    <a:pt x="1228606" y="3129973"/>
                  </a:cubicBezTo>
                  <a:cubicBezTo>
                    <a:pt x="1228606" y="3100417"/>
                    <a:pt x="1204962" y="3073818"/>
                    <a:pt x="1172452" y="3073818"/>
                  </a:cubicBezTo>
                  <a:cubicBezTo>
                    <a:pt x="1142896" y="3073818"/>
                    <a:pt x="1116294" y="3097463"/>
                    <a:pt x="1116294" y="3129973"/>
                  </a:cubicBezTo>
                  <a:close/>
                  <a:moveTo>
                    <a:pt x="1110386" y="3942763"/>
                  </a:moveTo>
                  <a:cubicBezTo>
                    <a:pt x="1110386" y="3978233"/>
                    <a:pt x="1136988" y="4004832"/>
                    <a:pt x="1172452" y="4004832"/>
                  </a:cubicBezTo>
                  <a:cubicBezTo>
                    <a:pt x="1204965" y="4004832"/>
                    <a:pt x="1234521" y="3978233"/>
                    <a:pt x="1234521" y="3942763"/>
                  </a:cubicBezTo>
                  <a:cubicBezTo>
                    <a:pt x="1234521" y="3910253"/>
                    <a:pt x="1207919" y="3880697"/>
                    <a:pt x="1172452" y="3880697"/>
                  </a:cubicBezTo>
                  <a:cubicBezTo>
                    <a:pt x="1139942" y="3880697"/>
                    <a:pt x="1110386" y="3907296"/>
                    <a:pt x="1110386" y="3942763"/>
                  </a:cubicBezTo>
                  <a:close/>
                  <a:moveTo>
                    <a:pt x="1104475" y="4140789"/>
                  </a:moveTo>
                  <a:cubicBezTo>
                    <a:pt x="1101518" y="4152612"/>
                    <a:pt x="1113340" y="4164434"/>
                    <a:pt x="1128120" y="4164434"/>
                  </a:cubicBezTo>
                  <a:cubicBezTo>
                    <a:pt x="1139942" y="4164434"/>
                    <a:pt x="1151764" y="4152612"/>
                    <a:pt x="1151764" y="4140789"/>
                  </a:cubicBezTo>
                  <a:cubicBezTo>
                    <a:pt x="1151764" y="4128967"/>
                    <a:pt x="1139942" y="4117144"/>
                    <a:pt x="1128120" y="4117144"/>
                  </a:cubicBezTo>
                  <a:cubicBezTo>
                    <a:pt x="1116297" y="4117144"/>
                    <a:pt x="1104475" y="4128967"/>
                    <a:pt x="1104475" y="4140789"/>
                  </a:cubicBezTo>
                  <a:close/>
                  <a:moveTo>
                    <a:pt x="1101518" y="2503387"/>
                  </a:moveTo>
                  <a:cubicBezTo>
                    <a:pt x="1101518" y="2521120"/>
                    <a:pt x="1116297" y="2535900"/>
                    <a:pt x="1134028" y="2535900"/>
                  </a:cubicBezTo>
                  <a:cubicBezTo>
                    <a:pt x="1151764" y="2535900"/>
                    <a:pt x="1166541" y="2521120"/>
                    <a:pt x="1166541" y="2503387"/>
                  </a:cubicBezTo>
                  <a:cubicBezTo>
                    <a:pt x="1166541" y="2485656"/>
                    <a:pt x="1151764" y="2470877"/>
                    <a:pt x="1134028" y="2470877"/>
                  </a:cubicBezTo>
                  <a:cubicBezTo>
                    <a:pt x="1116297" y="2470877"/>
                    <a:pt x="1101518" y="2485656"/>
                    <a:pt x="1101518" y="2503387"/>
                  </a:cubicBezTo>
                  <a:close/>
                  <a:moveTo>
                    <a:pt x="1086738" y="1859070"/>
                  </a:moveTo>
                  <a:cubicBezTo>
                    <a:pt x="1086738" y="1864982"/>
                    <a:pt x="1092649" y="1870893"/>
                    <a:pt x="1098560" y="1870893"/>
                  </a:cubicBezTo>
                  <a:cubicBezTo>
                    <a:pt x="1104472" y="1870893"/>
                    <a:pt x="1110383" y="1864982"/>
                    <a:pt x="1110383" y="1859070"/>
                  </a:cubicBezTo>
                  <a:cubicBezTo>
                    <a:pt x="1110383" y="1853159"/>
                    <a:pt x="1104472" y="1847248"/>
                    <a:pt x="1098560" y="1847248"/>
                  </a:cubicBezTo>
                  <a:cubicBezTo>
                    <a:pt x="1092649" y="1847248"/>
                    <a:pt x="1086738" y="1853159"/>
                    <a:pt x="1086738" y="1859070"/>
                  </a:cubicBezTo>
                  <a:close/>
                  <a:moveTo>
                    <a:pt x="1066051" y="3325045"/>
                  </a:moveTo>
                  <a:cubicBezTo>
                    <a:pt x="1066051" y="3360512"/>
                    <a:pt x="1095606" y="3387111"/>
                    <a:pt x="1128116" y="3387111"/>
                  </a:cubicBezTo>
                  <a:cubicBezTo>
                    <a:pt x="1163584" y="3387111"/>
                    <a:pt x="1190185" y="3360512"/>
                    <a:pt x="1190185" y="3325045"/>
                  </a:cubicBezTo>
                  <a:cubicBezTo>
                    <a:pt x="1190185" y="3289578"/>
                    <a:pt x="1163584" y="3262976"/>
                    <a:pt x="1128116" y="3262976"/>
                  </a:cubicBezTo>
                  <a:cubicBezTo>
                    <a:pt x="1092652" y="3262976"/>
                    <a:pt x="1066051" y="3289578"/>
                    <a:pt x="1066051" y="3325045"/>
                  </a:cubicBezTo>
                  <a:close/>
                  <a:moveTo>
                    <a:pt x="1048317" y="2698456"/>
                  </a:moveTo>
                  <a:cubicBezTo>
                    <a:pt x="1048317" y="2719146"/>
                    <a:pt x="1066051" y="2739834"/>
                    <a:pt x="1089695" y="2739834"/>
                  </a:cubicBezTo>
                  <a:cubicBezTo>
                    <a:pt x="1113340" y="2739834"/>
                    <a:pt x="1131074" y="2722101"/>
                    <a:pt x="1131074" y="2698456"/>
                  </a:cubicBezTo>
                  <a:cubicBezTo>
                    <a:pt x="1131074" y="2674812"/>
                    <a:pt x="1113340" y="2657078"/>
                    <a:pt x="1089695" y="2657078"/>
                  </a:cubicBezTo>
                  <a:cubicBezTo>
                    <a:pt x="1066051" y="2657078"/>
                    <a:pt x="1048317" y="2674812"/>
                    <a:pt x="1048317" y="2698456"/>
                  </a:cubicBezTo>
                  <a:close/>
                  <a:moveTo>
                    <a:pt x="1036494" y="2054136"/>
                  </a:moveTo>
                  <a:cubicBezTo>
                    <a:pt x="1036494" y="2063005"/>
                    <a:pt x="1045360" y="2071870"/>
                    <a:pt x="1054228" y="2071870"/>
                  </a:cubicBezTo>
                  <a:cubicBezTo>
                    <a:pt x="1063096" y="2071870"/>
                    <a:pt x="1071961" y="2063005"/>
                    <a:pt x="1071961" y="2054136"/>
                  </a:cubicBezTo>
                  <a:cubicBezTo>
                    <a:pt x="1071961" y="2045271"/>
                    <a:pt x="1063096" y="2036403"/>
                    <a:pt x="1054228" y="2036403"/>
                  </a:cubicBezTo>
                  <a:cubicBezTo>
                    <a:pt x="1045360" y="2036403"/>
                    <a:pt x="1036494" y="2045271"/>
                    <a:pt x="1036494" y="2054136"/>
                  </a:cubicBezTo>
                  <a:close/>
                  <a:moveTo>
                    <a:pt x="1018761" y="3520111"/>
                  </a:moveTo>
                  <a:cubicBezTo>
                    <a:pt x="1018761" y="3555578"/>
                    <a:pt x="1048317" y="3585134"/>
                    <a:pt x="1083784" y="3585134"/>
                  </a:cubicBezTo>
                  <a:cubicBezTo>
                    <a:pt x="1119251" y="3585134"/>
                    <a:pt x="1148807" y="3555578"/>
                    <a:pt x="1148807" y="3520111"/>
                  </a:cubicBezTo>
                  <a:cubicBezTo>
                    <a:pt x="1148807" y="3484644"/>
                    <a:pt x="1119251" y="3455088"/>
                    <a:pt x="1083784" y="3455088"/>
                  </a:cubicBezTo>
                  <a:cubicBezTo>
                    <a:pt x="1048317" y="3455088"/>
                    <a:pt x="1018761" y="3484644"/>
                    <a:pt x="1018761" y="3520111"/>
                  </a:cubicBezTo>
                  <a:close/>
                  <a:moveTo>
                    <a:pt x="995116" y="2890571"/>
                  </a:moveTo>
                  <a:cubicBezTo>
                    <a:pt x="995116" y="2920127"/>
                    <a:pt x="1015804" y="2940818"/>
                    <a:pt x="1045360" y="2940818"/>
                  </a:cubicBezTo>
                  <a:cubicBezTo>
                    <a:pt x="1071961" y="2940818"/>
                    <a:pt x="1095606" y="2917173"/>
                    <a:pt x="1095606" y="2890571"/>
                  </a:cubicBezTo>
                  <a:cubicBezTo>
                    <a:pt x="1095606" y="2863972"/>
                    <a:pt x="1071961" y="2840328"/>
                    <a:pt x="1045360" y="2840328"/>
                  </a:cubicBezTo>
                  <a:cubicBezTo>
                    <a:pt x="1018761" y="2840328"/>
                    <a:pt x="995116" y="2863972"/>
                    <a:pt x="995116" y="2890571"/>
                  </a:cubicBezTo>
                  <a:close/>
                  <a:moveTo>
                    <a:pt x="977383" y="2249209"/>
                  </a:moveTo>
                  <a:cubicBezTo>
                    <a:pt x="977383" y="2266942"/>
                    <a:pt x="992162" y="2278765"/>
                    <a:pt x="1006939" y="2278765"/>
                  </a:cubicBezTo>
                  <a:cubicBezTo>
                    <a:pt x="1021718" y="2278765"/>
                    <a:pt x="1036494" y="2266942"/>
                    <a:pt x="1036494" y="2249209"/>
                  </a:cubicBezTo>
                  <a:cubicBezTo>
                    <a:pt x="1036494" y="2231475"/>
                    <a:pt x="1024672" y="2219653"/>
                    <a:pt x="1006939" y="2219653"/>
                  </a:cubicBezTo>
                  <a:cubicBezTo>
                    <a:pt x="992162" y="2219653"/>
                    <a:pt x="977383" y="2231475"/>
                    <a:pt x="977383" y="2249209"/>
                  </a:cubicBezTo>
                  <a:close/>
                  <a:moveTo>
                    <a:pt x="965560" y="3715184"/>
                  </a:moveTo>
                  <a:cubicBezTo>
                    <a:pt x="965560" y="3756562"/>
                    <a:pt x="998070" y="3789072"/>
                    <a:pt x="1039452" y="3789072"/>
                  </a:cubicBezTo>
                  <a:cubicBezTo>
                    <a:pt x="1080830" y="3789072"/>
                    <a:pt x="1113340" y="3756562"/>
                    <a:pt x="1113340" y="3715184"/>
                  </a:cubicBezTo>
                  <a:cubicBezTo>
                    <a:pt x="1113340" y="3673805"/>
                    <a:pt x="1080830" y="3641292"/>
                    <a:pt x="1039452" y="3641292"/>
                  </a:cubicBezTo>
                  <a:cubicBezTo>
                    <a:pt x="998070" y="3641292"/>
                    <a:pt x="965560" y="3673805"/>
                    <a:pt x="965560" y="3715184"/>
                  </a:cubicBezTo>
                  <a:close/>
                  <a:moveTo>
                    <a:pt x="938958" y="3085640"/>
                  </a:moveTo>
                  <a:cubicBezTo>
                    <a:pt x="938958" y="3121110"/>
                    <a:pt x="965560" y="3147710"/>
                    <a:pt x="1001024" y="3147710"/>
                  </a:cubicBezTo>
                  <a:cubicBezTo>
                    <a:pt x="1036494" y="3147710"/>
                    <a:pt x="1063093" y="3121110"/>
                    <a:pt x="1063093" y="3085640"/>
                  </a:cubicBezTo>
                  <a:cubicBezTo>
                    <a:pt x="1063093" y="3050174"/>
                    <a:pt x="1036494" y="3023574"/>
                    <a:pt x="1001024" y="3023574"/>
                  </a:cubicBezTo>
                  <a:cubicBezTo>
                    <a:pt x="965560" y="3023574"/>
                    <a:pt x="938958" y="3050174"/>
                    <a:pt x="938958" y="3085640"/>
                  </a:cubicBezTo>
                  <a:close/>
                  <a:moveTo>
                    <a:pt x="930093" y="1785179"/>
                  </a:moveTo>
                  <a:cubicBezTo>
                    <a:pt x="930093" y="1788136"/>
                    <a:pt x="933047" y="1791090"/>
                    <a:pt x="936004" y="1791090"/>
                  </a:cubicBezTo>
                  <a:cubicBezTo>
                    <a:pt x="938958" y="1791090"/>
                    <a:pt x="941916" y="1788136"/>
                    <a:pt x="941916" y="1785179"/>
                  </a:cubicBezTo>
                  <a:cubicBezTo>
                    <a:pt x="941916" y="1782225"/>
                    <a:pt x="938958" y="1779268"/>
                    <a:pt x="936004" y="1779268"/>
                  </a:cubicBezTo>
                  <a:cubicBezTo>
                    <a:pt x="933047" y="1779268"/>
                    <a:pt x="930093" y="1782225"/>
                    <a:pt x="930093" y="1785179"/>
                  </a:cubicBezTo>
                  <a:close/>
                  <a:moveTo>
                    <a:pt x="927136" y="3907296"/>
                  </a:moveTo>
                  <a:cubicBezTo>
                    <a:pt x="927136" y="3945717"/>
                    <a:pt x="959649" y="3975272"/>
                    <a:pt x="995116" y="3975272"/>
                  </a:cubicBezTo>
                  <a:cubicBezTo>
                    <a:pt x="1033537" y="3975272"/>
                    <a:pt x="1063093" y="3945717"/>
                    <a:pt x="1063093" y="3907296"/>
                  </a:cubicBezTo>
                  <a:cubicBezTo>
                    <a:pt x="1063093" y="3868872"/>
                    <a:pt x="1033537" y="3839316"/>
                    <a:pt x="995116" y="3839316"/>
                  </a:cubicBezTo>
                  <a:cubicBezTo>
                    <a:pt x="956692" y="3839316"/>
                    <a:pt x="927136" y="3868872"/>
                    <a:pt x="927136" y="3907296"/>
                  </a:cubicBezTo>
                  <a:close/>
                  <a:moveTo>
                    <a:pt x="924182" y="2447235"/>
                  </a:moveTo>
                  <a:cubicBezTo>
                    <a:pt x="927136" y="2467923"/>
                    <a:pt x="941916" y="2485656"/>
                    <a:pt x="962606" y="2485656"/>
                  </a:cubicBezTo>
                  <a:cubicBezTo>
                    <a:pt x="983294" y="2485656"/>
                    <a:pt x="1001027" y="2467923"/>
                    <a:pt x="1001027" y="2447235"/>
                  </a:cubicBezTo>
                  <a:cubicBezTo>
                    <a:pt x="1001027" y="2426544"/>
                    <a:pt x="983294" y="2408811"/>
                    <a:pt x="962606" y="2408811"/>
                  </a:cubicBezTo>
                  <a:cubicBezTo>
                    <a:pt x="941916" y="2408811"/>
                    <a:pt x="924182" y="2426544"/>
                    <a:pt x="924182" y="2447235"/>
                  </a:cubicBezTo>
                  <a:close/>
                  <a:moveTo>
                    <a:pt x="918271" y="4102365"/>
                  </a:moveTo>
                  <a:cubicBezTo>
                    <a:pt x="918271" y="4120096"/>
                    <a:pt x="933050" y="4134875"/>
                    <a:pt x="950781" y="4134875"/>
                  </a:cubicBezTo>
                  <a:cubicBezTo>
                    <a:pt x="968514" y="4134875"/>
                    <a:pt x="983294" y="4120096"/>
                    <a:pt x="983294" y="4102365"/>
                  </a:cubicBezTo>
                  <a:cubicBezTo>
                    <a:pt x="983294" y="4084632"/>
                    <a:pt x="968514" y="4069852"/>
                    <a:pt x="950781" y="4069852"/>
                  </a:cubicBezTo>
                  <a:cubicBezTo>
                    <a:pt x="933050" y="4069852"/>
                    <a:pt x="918271" y="4084632"/>
                    <a:pt x="918271" y="4102365"/>
                  </a:cubicBezTo>
                  <a:close/>
                  <a:moveTo>
                    <a:pt x="894626" y="3280710"/>
                  </a:moveTo>
                  <a:cubicBezTo>
                    <a:pt x="894626" y="3316177"/>
                    <a:pt x="921228" y="3342776"/>
                    <a:pt x="956692" y="3342776"/>
                  </a:cubicBezTo>
                  <a:cubicBezTo>
                    <a:pt x="989205" y="3342776"/>
                    <a:pt x="1018761" y="3316177"/>
                    <a:pt x="1018761" y="3280710"/>
                  </a:cubicBezTo>
                  <a:cubicBezTo>
                    <a:pt x="1018761" y="3248196"/>
                    <a:pt x="992162" y="3218640"/>
                    <a:pt x="956692" y="3218640"/>
                  </a:cubicBezTo>
                  <a:cubicBezTo>
                    <a:pt x="924182" y="3218640"/>
                    <a:pt x="894626" y="3245242"/>
                    <a:pt x="894626" y="3280710"/>
                  </a:cubicBezTo>
                  <a:close/>
                  <a:moveTo>
                    <a:pt x="876892" y="1983202"/>
                  </a:moveTo>
                  <a:cubicBezTo>
                    <a:pt x="876892" y="1989114"/>
                    <a:pt x="882804" y="1995024"/>
                    <a:pt x="888715" y="1995024"/>
                  </a:cubicBezTo>
                  <a:cubicBezTo>
                    <a:pt x="894626" y="1995024"/>
                    <a:pt x="900537" y="1989114"/>
                    <a:pt x="900537" y="1983202"/>
                  </a:cubicBezTo>
                  <a:cubicBezTo>
                    <a:pt x="900537" y="1977291"/>
                    <a:pt x="894626" y="1971380"/>
                    <a:pt x="888715" y="1971380"/>
                  </a:cubicBezTo>
                  <a:cubicBezTo>
                    <a:pt x="882804" y="1971380"/>
                    <a:pt x="876892" y="1977291"/>
                    <a:pt x="876892" y="1983202"/>
                  </a:cubicBezTo>
                  <a:close/>
                  <a:moveTo>
                    <a:pt x="870981" y="2642302"/>
                  </a:moveTo>
                  <a:cubicBezTo>
                    <a:pt x="870981" y="2668903"/>
                    <a:pt x="891669" y="2689591"/>
                    <a:pt x="918271" y="2689591"/>
                  </a:cubicBezTo>
                  <a:cubicBezTo>
                    <a:pt x="944873" y="2689591"/>
                    <a:pt x="965560" y="2668903"/>
                    <a:pt x="965560" y="2642302"/>
                  </a:cubicBezTo>
                  <a:cubicBezTo>
                    <a:pt x="965560" y="2615700"/>
                    <a:pt x="944873" y="2595012"/>
                    <a:pt x="918271" y="2595012"/>
                  </a:cubicBezTo>
                  <a:cubicBezTo>
                    <a:pt x="891669" y="2595012"/>
                    <a:pt x="870981" y="2615700"/>
                    <a:pt x="870981" y="2642302"/>
                  </a:cubicBezTo>
                  <a:close/>
                  <a:moveTo>
                    <a:pt x="844379" y="3478736"/>
                  </a:moveTo>
                  <a:cubicBezTo>
                    <a:pt x="841425" y="3514203"/>
                    <a:pt x="873935" y="3546713"/>
                    <a:pt x="912359" y="3546713"/>
                  </a:cubicBezTo>
                  <a:cubicBezTo>
                    <a:pt x="950781" y="3546713"/>
                    <a:pt x="980336" y="3517157"/>
                    <a:pt x="980336" y="3478736"/>
                  </a:cubicBezTo>
                  <a:cubicBezTo>
                    <a:pt x="980336" y="3440312"/>
                    <a:pt x="950781" y="3410756"/>
                    <a:pt x="912359" y="3410756"/>
                  </a:cubicBezTo>
                  <a:cubicBezTo>
                    <a:pt x="873935" y="3410756"/>
                    <a:pt x="844379" y="3440312"/>
                    <a:pt x="844379" y="3478736"/>
                  </a:cubicBezTo>
                  <a:close/>
                  <a:moveTo>
                    <a:pt x="826649" y="2840328"/>
                  </a:moveTo>
                  <a:cubicBezTo>
                    <a:pt x="826649" y="2863972"/>
                    <a:pt x="847337" y="2887617"/>
                    <a:pt x="873938" y="2887617"/>
                  </a:cubicBezTo>
                  <a:cubicBezTo>
                    <a:pt x="900540" y="2887617"/>
                    <a:pt x="921228" y="2866930"/>
                    <a:pt x="921228" y="2840328"/>
                  </a:cubicBezTo>
                  <a:cubicBezTo>
                    <a:pt x="921228" y="2813726"/>
                    <a:pt x="900540" y="2793038"/>
                    <a:pt x="873938" y="2793038"/>
                  </a:cubicBezTo>
                  <a:cubicBezTo>
                    <a:pt x="847337" y="2793038"/>
                    <a:pt x="826649" y="2813726"/>
                    <a:pt x="826649" y="2840328"/>
                  </a:cubicBezTo>
                  <a:close/>
                  <a:moveTo>
                    <a:pt x="826649" y="1492577"/>
                  </a:moveTo>
                  <a:cubicBezTo>
                    <a:pt x="826649" y="1492577"/>
                    <a:pt x="826649" y="1495531"/>
                    <a:pt x="829603" y="1495531"/>
                  </a:cubicBezTo>
                  <a:cubicBezTo>
                    <a:pt x="832560" y="1495531"/>
                    <a:pt x="832560" y="1492577"/>
                    <a:pt x="832560" y="1492577"/>
                  </a:cubicBezTo>
                  <a:cubicBezTo>
                    <a:pt x="832560" y="1489620"/>
                    <a:pt x="829603" y="1489620"/>
                    <a:pt x="829603" y="1489620"/>
                  </a:cubicBezTo>
                  <a:cubicBezTo>
                    <a:pt x="826649" y="1489620"/>
                    <a:pt x="826649" y="1492577"/>
                    <a:pt x="826649" y="1492577"/>
                  </a:cubicBezTo>
                  <a:close/>
                  <a:moveTo>
                    <a:pt x="820735" y="2181228"/>
                  </a:moveTo>
                  <a:cubicBezTo>
                    <a:pt x="820735" y="2193051"/>
                    <a:pt x="829603" y="2204873"/>
                    <a:pt x="844379" y="2204873"/>
                  </a:cubicBezTo>
                  <a:cubicBezTo>
                    <a:pt x="856202" y="2204873"/>
                    <a:pt x="868024" y="2193051"/>
                    <a:pt x="868024" y="2181228"/>
                  </a:cubicBezTo>
                  <a:cubicBezTo>
                    <a:pt x="868024" y="2169406"/>
                    <a:pt x="856202" y="2157584"/>
                    <a:pt x="844379" y="2157584"/>
                  </a:cubicBezTo>
                  <a:cubicBezTo>
                    <a:pt x="832557" y="2157584"/>
                    <a:pt x="820735" y="2169406"/>
                    <a:pt x="820735" y="2181228"/>
                  </a:cubicBezTo>
                  <a:close/>
                  <a:moveTo>
                    <a:pt x="797093" y="3670848"/>
                  </a:moveTo>
                  <a:cubicBezTo>
                    <a:pt x="797093" y="3709270"/>
                    <a:pt x="829603" y="3741782"/>
                    <a:pt x="868027" y="3741782"/>
                  </a:cubicBezTo>
                  <a:cubicBezTo>
                    <a:pt x="906448" y="3741782"/>
                    <a:pt x="938961" y="3709270"/>
                    <a:pt x="938961" y="3670848"/>
                  </a:cubicBezTo>
                  <a:cubicBezTo>
                    <a:pt x="938961" y="3632424"/>
                    <a:pt x="906448" y="3599914"/>
                    <a:pt x="868027" y="3599914"/>
                  </a:cubicBezTo>
                  <a:cubicBezTo>
                    <a:pt x="829603" y="3599914"/>
                    <a:pt x="797093" y="3632424"/>
                    <a:pt x="797093" y="3670848"/>
                  </a:cubicBezTo>
                  <a:close/>
                  <a:moveTo>
                    <a:pt x="770491" y="3032440"/>
                  </a:moveTo>
                  <a:cubicBezTo>
                    <a:pt x="770491" y="3064950"/>
                    <a:pt x="797093" y="3091552"/>
                    <a:pt x="829603" y="3091552"/>
                  </a:cubicBezTo>
                  <a:cubicBezTo>
                    <a:pt x="862113" y="3091552"/>
                    <a:pt x="888715" y="3064950"/>
                    <a:pt x="888715" y="3032440"/>
                  </a:cubicBezTo>
                  <a:cubicBezTo>
                    <a:pt x="888715" y="2999926"/>
                    <a:pt x="862113" y="2973328"/>
                    <a:pt x="829603" y="2973328"/>
                  </a:cubicBezTo>
                  <a:cubicBezTo>
                    <a:pt x="797093" y="2973328"/>
                    <a:pt x="770491" y="2999926"/>
                    <a:pt x="770491" y="3032440"/>
                  </a:cubicBezTo>
                  <a:close/>
                  <a:moveTo>
                    <a:pt x="770491" y="1696511"/>
                  </a:moveTo>
                  <a:cubicBezTo>
                    <a:pt x="770491" y="1702426"/>
                    <a:pt x="776402" y="1705380"/>
                    <a:pt x="779356" y="1705380"/>
                  </a:cubicBezTo>
                  <a:cubicBezTo>
                    <a:pt x="785271" y="1705380"/>
                    <a:pt x="788225" y="1702426"/>
                    <a:pt x="788225" y="1696511"/>
                  </a:cubicBezTo>
                  <a:cubicBezTo>
                    <a:pt x="788225" y="1690600"/>
                    <a:pt x="785271" y="1687646"/>
                    <a:pt x="779356" y="1687646"/>
                  </a:cubicBezTo>
                  <a:cubicBezTo>
                    <a:pt x="773445" y="1687646"/>
                    <a:pt x="770491" y="1690600"/>
                    <a:pt x="770491" y="1696511"/>
                  </a:cubicBezTo>
                  <a:close/>
                  <a:moveTo>
                    <a:pt x="764580" y="2379255"/>
                  </a:moveTo>
                  <a:cubicBezTo>
                    <a:pt x="767537" y="2396988"/>
                    <a:pt x="779359" y="2411765"/>
                    <a:pt x="797093" y="2411765"/>
                  </a:cubicBezTo>
                  <a:cubicBezTo>
                    <a:pt x="814827" y="2411765"/>
                    <a:pt x="829603" y="2396988"/>
                    <a:pt x="829603" y="2379255"/>
                  </a:cubicBezTo>
                  <a:cubicBezTo>
                    <a:pt x="829603" y="2361521"/>
                    <a:pt x="814827" y="2346742"/>
                    <a:pt x="797093" y="2346742"/>
                  </a:cubicBezTo>
                  <a:cubicBezTo>
                    <a:pt x="779359" y="2346742"/>
                    <a:pt x="764580" y="2361521"/>
                    <a:pt x="764580" y="2379255"/>
                  </a:cubicBezTo>
                  <a:close/>
                  <a:moveTo>
                    <a:pt x="758669" y="4060984"/>
                  </a:moveTo>
                  <a:cubicBezTo>
                    <a:pt x="755715" y="4072809"/>
                    <a:pt x="767537" y="4081674"/>
                    <a:pt x="779359" y="4081674"/>
                  </a:cubicBezTo>
                  <a:cubicBezTo>
                    <a:pt x="791182" y="4081674"/>
                    <a:pt x="800047" y="4072809"/>
                    <a:pt x="800047" y="4060984"/>
                  </a:cubicBezTo>
                  <a:cubicBezTo>
                    <a:pt x="800047" y="4049164"/>
                    <a:pt x="791182" y="4040296"/>
                    <a:pt x="779359" y="4040296"/>
                  </a:cubicBezTo>
                  <a:cubicBezTo>
                    <a:pt x="767537" y="4040296"/>
                    <a:pt x="758669" y="4049164"/>
                    <a:pt x="758669" y="4060984"/>
                  </a:cubicBezTo>
                  <a:close/>
                  <a:moveTo>
                    <a:pt x="755715" y="3862964"/>
                  </a:moveTo>
                  <a:cubicBezTo>
                    <a:pt x="755715" y="3901384"/>
                    <a:pt x="785271" y="3930940"/>
                    <a:pt x="823692" y="3930940"/>
                  </a:cubicBezTo>
                  <a:cubicBezTo>
                    <a:pt x="862116" y="3930940"/>
                    <a:pt x="891672" y="3901384"/>
                    <a:pt x="891672" y="3862964"/>
                  </a:cubicBezTo>
                  <a:cubicBezTo>
                    <a:pt x="891672" y="3824539"/>
                    <a:pt x="862116" y="3794983"/>
                    <a:pt x="823692" y="3794983"/>
                  </a:cubicBezTo>
                  <a:cubicBezTo>
                    <a:pt x="785271" y="3794983"/>
                    <a:pt x="755715" y="3824539"/>
                    <a:pt x="755715" y="3862964"/>
                  </a:cubicBezTo>
                  <a:close/>
                  <a:moveTo>
                    <a:pt x="723202" y="3230466"/>
                  </a:moveTo>
                  <a:cubicBezTo>
                    <a:pt x="720244" y="3262976"/>
                    <a:pt x="749800" y="3292532"/>
                    <a:pt x="785267" y="3292532"/>
                  </a:cubicBezTo>
                  <a:cubicBezTo>
                    <a:pt x="820735" y="3292532"/>
                    <a:pt x="847337" y="3262976"/>
                    <a:pt x="847337" y="3230466"/>
                  </a:cubicBezTo>
                  <a:cubicBezTo>
                    <a:pt x="847337" y="3194999"/>
                    <a:pt x="817780" y="3168397"/>
                    <a:pt x="785267" y="3168397"/>
                  </a:cubicBezTo>
                  <a:cubicBezTo>
                    <a:pt x="749800" y="3168397"/>
                    <a:pt x="723202" y="3197953"/>
                    <a:pt x="723202" y="3230466"/>
                  </a:cubicBezTo>
                  <a:close/>
                  <a:moveTo>
                    <a:pt x="714336" y="1897492"/>
                  </a:moveTo>
                  <a:cubicBezTo>
                    <a:pt x="714336" y="1909314"/>
                    <a:pt x="723204" y="1915225"/>
                    <a:pt x="732070" y="1915225"/>
                  </a:cubicBezTo>
                  <a:cubicBezTo>
                    <a:pt x="740938" y="1915225"/>
                    <a:pt x="749803" y="1906357"/>
                    <a:pt x="749803" y="1897492"/>
                  </a:cubicBezTo>
                  <a:cubicBezTo>
                    <a:pt x="749803" y="1888623"/>
                    <a:pt x="740938" y="1879758"/>
                    <a:pt x="732070" y="1879758"/>
                  </a:cubicBezTo>
                  <a:cubicBezTo>
                    <a:pt x="723204" y="1879758"/>
                    <a:pt x="714336" y="1888623"/>
                    <a:pt x="714336" y="1897492"/>
                  </a:cubicBezTo>
                  <a:close/>
                  <a:moveTo>
                    <a:pt x="708425" y="2577278"/>
                  </a:moveTo>
                  <a:cubicBezTo>
                    <a:pt x="708425" y="2600923"/>
                    <a:pt x="726159" y="2621610"/>
                    <a:pt x="752761" y="2621610"/>
                  </a:cubicBezTo>
                  <a:cubicBezTo>
                    <a:pt x="776402" y="2621610"/>
                    <a:pt x="797093" y="2600923"/>
                    <a:pt x="797093" y="2577278"/>
                  </a:cubicBezTo>
                  <a:cubicBezTo>
                    <a:pt x="797093" y="2553630"/>
                    <a:pt x="776402" y="2532942"/>
                    <a:pt x="752761" y="2532942"/>
                  </a:cubicBezTo>
                  <a:cubicBezTo>
                    <a:pt x="729113" y="2532942"/>
                    <a:pt x="708425" y="2553630"/>
                    <a:pt x="708425" y="2577278"/>
                  </a:cubicBezTo>
                  <a:close/>
                  <a:moveTo>
                    <a:pt x="678869" y="3425532"/>
                  </a:moveTo>
                  <a:cubicBezTo>
                    <a:pt x="678869" y="3458046"/>
                    <a:pt x="705468" y="3487601"/>
                    <a:pt x="740935" y="3487601"/>
                  </a:cubicBezTo>
                  <a:cubicBezTo>
                    <a:pt x="776402" y="3487601"/>
                    <a:pt x="803004" y="3461002"/>
                    <a:pt x="803004" y="3425532"/>
                  </a:cubicBezTo>
                  <a:cubicBezTo>
                    <a:pt x="803004" y="3390065"/>
                    <a:pt x="776402" y="3363466"/>
                    <a:pt x="740935" y="3363466"/>
                  </a:cubicBezTo>
                  <a:cubicBezTo>
                    <a:pt x="705468" y="3363466"/>
                    <a:pt x="678869" y="3390065"/>
                    <a:pt x="678869" y="3425532"/>
                  </a:cubicBezTo>
                  <a:close/>
                  <a:moveTo>
                    <a:pt x="661133" y="2101429"/>
                  </a:moveTo>
                  <a:cubicBezTo>
                    <a:pt x="661133" y="2113252"/>
                    <a:pt x="670001" y="2125074"/>
                    <a:pt x="684777" y="2125074"/>
                  </a:cubicBezTo>
                  <a:cubicBezTo>
                    <a:pt x="696600" y="2125074"/>
                    <a:pt x="708422" y="2113252"/>
                    <a:pt x="708422" y="2101429"/>
                  </a:cubicBezTo>
                  <a:cubicBezTo>
                    <a:pt x="708422" y="2089607"/>
                    <a:pt x="696600" y="2077784"/>
                    <a:pt x="684777" y="2077784"/>
                  </a:cubicBezTo>
                  <a:cubicBezTo>
                    <a:pt x="672955" y="2077784"/>
                    <a:pt x="661133" y="2089607"/>
                    <a:pt x="661133" y="2101429"/>
                  </a:cubicBezTo>
                  <a:close/>
                  <a:moveTo>
                    <a:pt x="658178" y="2775304"/>
                  </a:moveTo>
                  <a:cubicBezTo>
                    <a:pt x="658178" y="2801906"/>
                    <a:pt x="678869" y="2822594"/>
                    <a:pt x="705468" y="2822594"/>
                  </a:cubicBezTo>
                  <a:cubicBezTo>
                    <a:pt x="732070" y="2822594"/>
                    <a:pt x="752757" y="2801906"/>
                    <a:pt x="752757" y="2775304"/>
                  </a:cubicBezTo>
                  <a:cubicBezTo>
                    <a:pt x="752757" y="2748702"/>
                    <a:pt x="732070" y="2728015"/>
                    <a:pt x="705468" y="2728015"/>
                  </a:cubicBezTo>
                  <a:cubicBezTo>
                    <a:pt x="678869" y="2728015"/>
                    <a:pt x="658178" y="2748702"/>
                    <a:pt x="658178" y="2775304"/>
                  </a:cubicBezTo>
                  <a:close/>
                  <a:moveTo>
                    <a:pt x="625668" y="3620604"/>
                  </a:moveTo>
                  <a:cubicBezTo>
                    <a:pt x="625668" y="3659780"/>
                    <a:pt x="657428" y="3691539"/>
                    <a:pt x="696603" y="3691539"/>
                  </a:cubicBezTo>
                  <a:cubicBezTo>
                    <a:pt x="735778" y="3691539"/>
                    <a:pt x="767537" y="3659780"/>
                    <a:pt x="767537" y="3620604"/>
                  </a:cubicBezTo>
                  <a:cubicBezTo>
                    <a:pt x="767537" y="3581430"/>
                    <a:pt x="735778" y="3549670"/>
                    <a:pt x="696603" y="3549670"/>
                  </a:cubicBezTo>
                  <a:cubicBezTo>
                    <a:pt x="657428" y="3549670"/>
                    <a:pt x="625668" y="3581430"/>
                    <a:pt x="625668" y="3620604"/>
                  </a:cubicBezTo>
                  <a:close/>
                  <a:moveTo>
                    <a:pt x="622711" y="1596021"/>
                  </a:moveTo>
                  <a:cubicBezTo>
                    <a:pt x="622711" y="1601932"/>
                    <a:pt x="625665" y="1604886"/>
                    <a:pt x="631577" y="1604886"/>
                  </a:cubicBezTo>
                  <a:cubicBezTo>
                    <a:pt x="637491" y="1604886"/>
                    <a:pt x="640445" y="1601932"/>
                    <a:pt x="640445" y="1596021"/>
                  </a:cubicBezTo>
                  <a:cubicBezTo>
                    <a:pt x="640445" y="1593064"/>
                    <a:pt x="637491" y="1587152"/>
                    <a:pt x="631577" y="1587152"/>
                  </a:cubicBezTo>
                  <a:cubicBezTo>
                    <a:pt x="628623" y="1587152"/>
                    <a:pt x="622711" y="1590110"/>
                    <a:pt x="622711" y="1596021"/>
                  </a:cubicBezTo>
                  <a:close/>
                  <a:moveTo>
                    <a:pt x="604978" y="2970370"/>
                  </a:moveTo>
                  <a:cubicBezTo>
                    <a:pt x="604978" y="2999926"/>
                    <a:pt x="631577" y="3026528"/>
                    <a:pt x="661133" y="3026528"/>
                  </a:cubicBezTo>
                  <a:cubicBezTo>
                    <a:pt x="693645" y="3026528"/>
                    <a:pt x="717290" y="2999926"/>
                    <a:pt x="717290" y="2970370"/>
                  </a:cubicBezTo>
                  <a:cubicBezTo>
                    <a:pt x="717290" y="2940814"/>
                    <a:pt x="690688" y="2914216"/>
                    <a:pt x="661133" y="2914216"/>
                  </a:cubicBezTo>
                  <a:cubicBezTo>
                    <a:pt x="628623" y="2914216"/>
                    <a:pt x="604978" y="2940814"/>
                    <a:pt x="604978" y="2970370"/>
                  </a:cubicBezTo>
                  <a:close/>
                  <a:moveTo>
                    <a:pt x="593155" y="2302410"/>
                  </a:moveTo>
                  <a:cubicBezTo>
                    <a:pt x="590198" y="2326054"/>
                    <a:pt x="610889" y="2346742"/>
                    <a:pt x="637488" y="2346742"/>
                  </a:cubicBezTo>
                  <a:cubicBezTo>
                    <a:pt x="664090" y="2346742"/>
                    <a:pt x="681823" y="2326054"/>
                    <a:pt x="681823" y="2302410"/>
                  </a:cubicBezTo>
                  <a:cubicBezTo>
                    <a:pt x="681823" y="2275808"/>
                    <a:pt x="661133" y="2258074"/>
                    <a:pt x="637488" y="2258074"/>
                  </a:cubicBezTo>
                  <a:cubicBezTo>
                    <a:pt x="610889" y="2258074"/>
                    <a:pt x="593155" y="2278765"/>
                    <a:pt x="593155" y="2302410"/>
                  </a:cubicBezTo>
                  <a:close/>
                  <a:moveTo>
                    <a:pt x="587244" y="3815674"/>
                  </a:moveTo>
                  <a:cubicBezTo>
                    <a:pt x="587244" y="3848184"/>
                    <a:pt x="616800" y="3877740"/>
                    <a:pt x="649313" y="3877740"/>
                  </a:cubicBezTo>
                  <a:cubicBezTo>
                    <a:pt x="684780" y="3877740"/>
                    <a:pt x="711379" y="3848184"/>
                    <a:pt x="711379" y="3815674"/>
                  </a:cubicBezTo>
                  <a:cubicBezTo>
                    <a:pt x="711379" y="3780204"/>
                    <a:pt x="681823" y="3753604"/>
                    <a:pt x="649313" y="3753604"/>
                  </a:cubicBezTo>
                  <a:cubicBezTo>
                    <a:pt x="613846" y="3753604"/>
                    <a:pt x="587244" y="3783160"/>
                    <a:pt x="587244" y="3815674"/>
                  </a:cubicBezTo>
                  <a:close/>
                  <a:moveTo>
                    <a:pt x="566557" y="1802912"/>
                  </a:moveTo>
                  <a:cubicBezTo>
                    <a:pt x="566557" y="1809441"/>
                    <a:pt x="571850" y="1814735"/>
                    <a:pt x="578379" y="1814735"/>
                  </a:cubicBezTo>
                  <a:cubicBezTo>
                    <a:pt x="584908" y="1814735"/>
                    <a:pt x="590201" y="1809441"/>
                    <a:pt x="590201" y="1802912"/>
                  </a:cubicBezTo>
                  <a:cubicBezTo>
                    <a:pt x="590201" y="1796384"/>
                    <a:pt x="584908" y="1791090"/>
                    <a:pt x="578379" y="1791090"/>
                  </a:cubicBezTo>
                  <a:cubicBezTo>
                    <a:pt x="571850" y="1791090"/>
                    <a:pt x="566557" y="1796384"/>
                    <a:pt x="566557" y="1802912"/>
                  </a:cubicBezTo>
                  <a:close/>
                  <a:moveTo>
                    <a:pt x="554731" y="4205812"/>
                  </a:moveTo>
                  <a:cubicBezTo>
                    <a:pt x="554731" y="4208766"/>
                    <a:pt x="557685" y="4211724"/>
                    <a:pt x="560642" y="4211724"/>
                  </a:cubicBezTo>
                  <a:cubicBezTo>
                    <a:pt x="563599" y="4211724"/>
                    <a:pt x="566554" y="4208766"/>
                    <a:pt x="566554" y="4205812"/>
                  </a:cubicBezTo>
                  <a:cubicBezTo>
                    <a:pt x="566554" y="4202855"/>
                    <a:pt x="563599" y="4199901"/>
                    <a:pt x="560642" y="4199901"/>
                  </a:cubicBezTo>
                  <a:cubicBezTo>
                    <a:pt x="557685" y="4199901"/>
                    <a:pt x="554731" y="4202855"/>
                    <a:pt x="554731" y="4205812"/>
                  </a:cubicBezTo>
                  <a:close/>
                  <a:moveTo>
                    <a:pt x="554731" y="3168397"/>
                  </a:moveTo>
                  <a:cubicBezTo>
                    <a:pt x="554731" y="3203864"/>
                    <a:pt x="581333" y="3230466"/>
                    <a:pt x="616797" y="3230466"/>
                  </a:cubicBezTo>
                  <a:cubicBezTo>
                    <a:pt x="652267" y="3230466"/>
                    <a:pt x="678866" y="3200910"/>
                    <a:pt x="678866" y="3168397"/>
                  </a:cubicBezTo>
                  <a:cubicBezTo>
                    <a:pt x="678866" y="3132930"/>
                    <a:pt x="649310" y="3106331"/>
                    <a:pt x="616797" y="3106331"/>
                  </a:cubicBezTo>
                  <a:cubicBezTo>
                    <a:pt x="584287" y="3106331"/>
                    <a:pt x="554731" y="3135887"/>
                    <a:pt x="554731" y="3168397"/>
                  </a:cubicBezTo>
                  <a:close/>
                  <a:moveTo>
                    <a:pt x="542909" y="1267948"/>
                  </a:moveTo>
                  <a:cubicBezTo>
                    <a:pt x="542909" y="1270906"/>
                    <a:pt x="545866" y="1273860"/>
                    <a:pt x="548820" y="1273860"/>
                  </a:cubicBezTo>
                  <a:cubicBezTo>
                    <a:pt x="551777" y="1273860"/>
                    <a:pt x="554731" y="1270906"/>
                    <a:pt x="554731" y="1267948"/>
                  </a:cubicBezTo>
                  <a:cubicBezTo>
                    <a:pt x="554731" y="1264994"/>
                    <a:pt x="551777" y="1262037"/>
                    <a:pt x="548820" y="1262037"/>
                  </a:cubicBezTo>
                  <a:cubicBezTo>
                    <a:pt x="545866" y="1262037"/>
                    <a:pt x="542909" y="1264994"/>
                    <a:pt x="542909" y="1267948"/>
                  </a:cubicBezTo>
                  <a:close/>
                  <a:moveTo>
                    <a:pt x="537001" y="4010740"/>
                  </a:moveTo>
                  <a:cubicBezTo>
                    <a:pt x="537001" y="4048286"/>
                    <a:pt x="567435" y="4078720"/>
                    <a:pt x="604978" y="4078720"/>
                  </a:cubicBezTo>
                  <a:cubicBezTo>
                    <a:pt x="642524" y="4078720"/>
                    <a:pt x="672958" y="4048286"/>
                    <a:pt x="672958" y="4010740"/>
                  </a:cubicBezTo>
                  <a:cubicBezTo>
                    <a:pt x="672958" y="3973197"/>
                    <a:pt x="642524" y="3942763"/>
                    <a:pt x="604978" y="3942763"/>
                  </a:cubicBezTo>
                  <a:cubicBezTo>
                    <a:pt x="567435" y="3942763"/>
                    <a:pt x="537001" y="3973197"/>
                    <a:pt x="537001" y="4010740"/>
                  </a:cubicBezTo>
                  <a:close/>
                  <a:moveTo>
                    <a:pt x="537001" y="2500433"/>
                  </a:moveTo>
                  <a:cubicBezTo>
                    <a:pt x="537001" y="2529988"/>
                    <a:pt x="560645" y="2553634"/>
                    <a:pt x="590201" y="2553634"/>
                  </a:cubicBezTo>
                  <a:cubicBezTo>
                    <a:pt x="619757" y="2553634"/>
                    <a:pt x="643402" y="2529988"/>
                    <a:pt x="643402" y="2500433"/>
                  </a:cubicBezTo>
                  <a:cubicBezTo>
                    <a:pt x="643402" y="2470877"/>
                    <a:pt x="619757" y="2447232"/>
                    <a:pt x="590201" y="2447232"/>
                  </a:cubicBezTo>
                  <a:cubicBezTo>
                    <a:pt x="560645" y="2447232"/>
                    <a:pt x="537001" y="2470877"/>
                    <a:pt x="537001" y="2500433"/>
                  </a:cubicBezTo>
                  <a:close/>
                  <a:moveTo>
                    <a:pt x="507445" y="3363466"/>
                  </a:moveTo>
                  <a:cubicBezTo>
                    <a:pt x="507445" y="3398934"/>
                    <a:pt x="537001" y="3428490"/>
                    <a:pt x="572468" y="3428490"/>
                  </a:cubicBezTo>
                  <a:cubicBezTo>
                    <a:pt x="607935" y="3428490"/>
                    <a:pt x="637491" y="3398934"/>
                    <a:pt x="637491" y="3363466"/>
                  </a:cubicBezTo>
                  <a:cubicBezTo>
                    <a:pt x="637491" y="3327999"/>
                    <a:pt x="607935" y="3298443"/>
                    <a:pt x="572468" y="3298443"/>
                  </a:cubicBezTo>
                  <a:cubicBezTo>
                    <a:pt x="537001" y="3298443"/>
                    <a:pt x="507445" y="3327999"/>
                    <a:pt x="507445" y="3363466"/>
                  </a:cubicBezTo>
                  <a:close/>
                  <a:moveTo>
                    <a:pt x="504488" y="2009804"/>
                  </a:moveTo>
                  <a:cubicBezTo>
                    <a:pt x="504488" y="2024584"/>
                    <a:pt x="516310" y="2036406"/>
                    <a:pt x="531089" y="2036406"/>
                  </a:cubicBezTo>
                  <a:cubicBezTo>
                    <a:pt x="545866" y="2036406"/>
                    <a:pt x="557688" y="2024584"/>
                    <a:pt x="557688" y="2009804"/>
                  </a:cubicBezTo>
                  <a:cubicBezTo>
                    <a:pt x="557688" y="1995028"/>
                    <a:pt x="545866" y="1983205"/>
                    <a:pt x="531089" y="1983205"/>
                  </a:cubicBezTo>
                  <a:cubicBezTo>
                    <a:pt x="516310" y="1983205"/>
                    <a:pt x="504488" y="1995028"/>
                    <a:pt x="504488" y="2009804"/>
                  </a:cubicBezTo>
                  <a:close/>
                  <a:moveTo>
                    <a:pt x="489711" y="2698459"/>
                  </a:moveTo>
                  <a:cubicBezTo>
                    <a:pt x="492665" y="2730969"/>
                    <a:pt x="516313" y="2751660"/>
                    <a:pt x="542912" y="2751660"/>
                  </a:cubicBezTo>
                  <a:cubicBezTo>
                    <a:pt x="572468" y="2751660"/>
                    <a:pt x="596113" y="2728015"/>
                    <a:pt x="596113" y="2698459"/>
                  </a:cubicBezTo>
                  <a:cubicBezTo>
                    <a:pt x="596113" y="2668903"/>
                    <a:pt x="572468" y="2645258"/>
                    <a:pt x="542912" y="2645258"/>
                  </a:cubicBezTo>
                  <a:cubicBezTo>
                    <a:pt x="513356" y="2645258"/>
                    <a:pt x="489711" y="2668903"/>
                    <a:pt x="489711" y="2698459"/>
                  </a:cubicBezTo>
                  <a:close/>
                  <a:moveTo>
                    <a:pt x="483797" y="1483708"/>
                  </a:moveTo>
                  <a:cubicBezTo>
                    <a:pt x="483797" y="1489620"/>
                    <a:pt x="486754" y="1492574"/>
                    <a:pt x="492665" y="1492574"/>
                  </a:cubicBezTo>
                  <a:cubicBezTo>
                    <a:pt x="495619" y="1492574"/>
                    <a:pt x="501530" y="1489620"/>
                    <a:pt x="501530" y="1483708"/>
                  </a:cubicBezTo>
                  <a:cubicBezTo>
                    <a:pt x="501530" y="1480751"/>
                    <a:pt x="498576" y="1474840"/>
                    <a:pt x="492665" y="1474840"/>
                  </a:cubicBezTo>
                  <a:cubicBezTo>
                    <a:pt x="486754" y="1474840"/>
                    <a:pt x="483797" y="1477797"/>
                    <a:pt x="483797" y="1483708"/>
                  </a:cubicBezTo>
                  <a:close/>
                  <a:moveTo>
                    <a:pt x="466063" y="3561492"/>
                  </a:moveTo>
                  <a:cubicBezTo>
                    <a:pt x="466063" y="3594006"/>
                    <a:pt x="492665" y="3620604"/>
                    <a:pt x="525175" y="3620604"/>
                  </a:cubicBezTo>
                  <a:cubicBezTo>
                    <a:pt x="557685" y="3620604"/>
                    <a:pt x="584287" y="3594006"/>
                    <a:pt x="584287" y="3561492"/>
                  </a:cubicBezTo>
                  <a:cubicBezTo>
                    <a:pt x="584287" y="3528980"/>
                    <a:pt x="557685" y="3502381"/>
                    <a:pt x="525175" y="3502381"/>
                  </a:cubicBezTo>
                  <a:cubicBezTo>
                    <a:pt x="492665" y="3502381"/>
                    <a:pt x="466063" y="3528980"/>
                    <a:pt x="466063" y="3561492"/>
                  </a:cubicBezTo>
                  <a:close/>
                  <a:moveTo>
                    <a:pt x="442422" y="2899440"/>
                  </a:moveTo>
                  <a:cubicBezTo>
                    <a:pt x="442422" y="2931950"/>
                    <a:pt x="466066" y="2955594"/>
                    <a:pt x="498576" y="2955594"/>
                  </a:cubicBezTo>
                  <a:cubicBezTo>
                    <a:pt x="531089" y="2955594"/>
                    <a:pt x="554734" y="2928996"/>
                    <a:pt x="554734" y="2899440"/>
                  </a:cubicBezTo>
                  <a:cubicBezTo>
                    <a:pt x="554734" y="2866926"/>
                    <a:pt x="528132" y="2843282"/>
                    <a:pt x="498576" y="2843282"/>
                  </a:cubicBezTo>
                  <a:cubicBezTo>
                    <a:pt x="466066" y="2843282"/>
                    <a:pt x="442422" y="2869884"/>
                    <a:pt x="442422" y="2899440"/>
                  </a:cubicBezTo>
                  <a:close/>
                  <a:moveTo>
                    <a:pt x="442422" y="2216696"/>
                  </a:moveTo>
                  <a:cubicBezTo>
                    <a:pt x="439464" y="2237383"/>
                    <a:pt x="457198" y="2255117"/>
                    <a:pt x="480843" y="2255117"/>
                  </a:cubicBezTo>
                  <a:cubicBezTo>
                    <a:pt x="501534" y="2255117"/>
                    <a:pt x="519267" y="2237383"/>
                    <a:pt x="519267" y="2216696"/>
                  </a:cubicBezTo>
                  <a:cubicBezTo>
                    <a:pt x="519267" y="2196005"/>
                    <a:pt x="501534" y="2178272"/>
                    <a:pt x="480843" y="2178272"/>
                  </a:cubicBezTo>
                  <a:cubicBezTo>
                    <a:pt x="460155" y="2178272"/>
                    <a:pt x="442422" y="2196005"/>
                    <a:pt x="442422" y="2216696"/>
                  </a:cubicBezTo>
                  <a:close/>
                  <a:moveTo>
                    <a:pt x="421731" y="1696511"/>
                  </a:moveTo>
                  <a:cubicBezTo>
                    <a:pt x="421731" y="1705376"/>
                    <a:pt x="427642" y="1711288"/>
                    <a:pt x="436510" y="1711288"/>
                  </a:cubicBezTo>
                  <a:cubicBezTo>
                    <a:pt x="445376" y="1711288"/>
                    <a:pt x="451287" y="1705376"/>
                    <a:pt x="451287" y="1696511"/>
                  </a:cubicBezTo>
                  <a:cubicBezTo>
                    <a:pt x="451287" y="1687643"/>
                    <a:pt x="445376" y="1681732"/>
                    <a:pt x="436510" y="1681732"/>
                  </a:cubicBezTo>
                  <a:cubicBezTo>
                    <a:pt x="427642" y="1681732"/>
                    <a:pt x="421731" y="1687643"/>
                    <a:pt x="421731" y="1696511"/>
                  </a:cubicBezTo>
                  <a:close/>
                  <a:moveTo>
                    <a:pt x="418777" y="3756562"/>
                  </a:moveTo>
                  <a:cubicBezTo>
                    <a:pt x="418777" y="3789072"/>
                    <a:pt x="445379" y="3818628"/>
                    <a:pt x="480843" y="3818628"/>
                  </a:cubicBezTo>
                  <a:cubicBezTo>
                    <a:pt x="516313" y="3818628"/>
                    <a:pt x="542912" y="3789072"/>
                    <a:pt x="542912" y="3756562"/>
                  </a:cubicBezTo>
                  <a:cubicBezTo>
                    <a:pt x="542912" y="3724049"/>
                    <a:pt x="513356" y="3694493"/>
                    <a:pt x="480843" y="3694493"/>
                  </a:cubicBezTo>
                  <a:cubicBezTo>
                    <a:pt x="448333" y="3694493"/>
                    <a:pt x="418777" y="3724049"/>
                    <a:pt x="418777" y="3756562"/>
                  </a:cubicBezTo>
                  <a:close/>
                  <a:moveTo>
                    <a:pt x="418777" y="1137905"/>
                  </a:moveTo>
                  <a:cubicBezTo>
                    <a:pt x="418777" y="1140860"/>
                    <a:pt x="424688" y="1143816"/>
                    <a:pt x="424688" y="1143816"/>
                  </a:cubicBezTo>
                  <a:cubicBezTo>
                    <a:pt x="427645" y="1143816"/>
                    <a:pt x="430599" y="1140860"/>
                    <a:pt x="430599" y="1137905"/>
                  </a:cubicBezTo>
                  <a:cubicBezTo>
                    <a:pt x="430599" y="1134948"/>
                    <a:pt x="427645" y="1131994"/>
                    <a:pt x="424688" y="1131994"/>
                  </a:cubicBezTo>
                  <a:cubicBezTo>
                    <a:pt x="421731" y="1131994"/>
                    <a:pt x="418777" y="1134948"/>
                    <a:pt x="418777" y="1137905"/>
                  </a:cubicBezTo>
                  <a:close/>
                  <a:moveTo>
                    <a:pt x="386264" y="3097463"/>
                  </a:moveTo>
                  <a:cubicBezTo>
                    <a:pt x="386264" y="3132930"/>
                    <a:pt x="415820" y="3162486"/>
                    <a:pt x="451287" y="3162486"/>
                  </a:cubicBezTo>
                  <a:cubicBezTo>
                    <a:pt x="486754" y="3162486"/>
                    <a:pt x="516310" y="3132930"/>
                    <a:pt x="516310" y="3097463"/>
                  </a:cubicBezTo>
                  <a:cubicBezTo>
                    <a:pt x="516310" y="3061996"/>
                    <a:pt x="486754" y="3032440"/>
                    <a:pt x="451287" y="3032440"/>
                  </a:cubicBezTo>
                  <a:cubicBezTo>
                    <a:pt x="415820" y="3032440"/>
                    <a:pt x="386264" y="3061996"/>
                    <a:pt x="386264" y="3097463"/>
                  </a:cubicBezTo>
                  <a:close/>
                  <a:moveTo>
                    <a:pt x="386264" y="2417676"/>
                  </a:moveTo>
                  <a:cubicBezTo>
                    <a:pt x="386264" y="2444278"/>
                    <a:pt x="406951" y="2464966"/>
                    <a:pt x="433553" y="2464966"/>
                  </a:cubicBezTo>
                  <a:cubicBezTo>
                    <a:pt x="460155" y="2464966"/>
                    <a:pt x="480843" y="2444278"/>
                    <a:pt x="480843" y="2417676"/>
                  </a:cubicBezTo>
                  <a:cubicBezTo>
                    <a:pt x="480843" y="2391074"/>
                    <a:pt x="460155" y="2370386"/>
                    <a:pt x="433553" y="2370386"/>
                  </a:cubicBezTo>
                  <a:cubicBezTo>
                    <a:pt x="406951" y="2370386"/>
                    <a:pt x="386264" y="2391074"/>
                    <a:pt x="386264" y="2417676"/>
                  </a:cubicBezTo>
                  <a:close/>
                  <a:moveTo>
                    <a:pt x="383310" y="3951628"/>
                  </a:moveTo>
                  <a:cubicBezTo>
                    <a:pt x="383310" y="3981184"/>
                    <a:pt x="406955" y="4004828"/>
                    <a:pt x="436510" y="4004828"/>
                  </a:cubicBezTo>
                  <a:cubicBezTo>
                    <a:pt x="466066" y="4004828"/>
                    <a:pt x="489711" y="3981184"/>
                    <a:pt x="489711" y="3951628"/>
                  </a:cubicBezTo>
                  <a:cubicBezTo>
                    <a:pt x="489711" y="3922072"/>
                    <a:pt x="466066" y="3898428"/>
                    <a:pt x="436510" y="3898428"/>
                  </a:cubicBezTo>
                  <a:cubicBezTo>
                    <a:pt x="406955" y="3898428"/>
                    <a:pt x="383310" y="3922072"/>
                    <a:pt x="383310" y="3951628"/>
                  </a:cubicBezTo>
                  <a:close/>
                  <a:moveTo>
                    <a:pt x="350797" y="1906360"/>
                  </a:moveTo>
                  <a:cubicBezTo>
                    <a:pt x="350797" y="1927048"/>
                    <a:pt x="365576" y="1938870"/>
                    <a:pt x="383310" y="1938870"/>
                  </a:cubicBezTo>
                  <a:cubicBezTo>
                    <a:pt x="401043" y="1938870"/>
                    <a:pt x="415820" y="1924094"/>
                    <a:pt x="415820" y="1906360"/>
                  </a:cubicBezTo>
                  <a:cubicBezTo>
                    <a:pt x="415820" y="1888626"/>
                    <a:pt x="401043" y="1873847"/>
                    <a:pt x="383310" y="1873847"/>
                  </a:cubicBezTo>
                  <a:cubicBezTo>
                    <a:pt x="365576" y="1873847"/>
                    <a:pt x="350797" y="1888626"/>
                    <a:pt x="350797" y="1906360"/>
                  </a:cubicBezTo>
                  <a:close/>
                  <a:moveTo>
                    <a:pt x="350797" y="1362530"/>
                  </a:moveTo>
                  <a:cubicBezTo>
                    <a:pt x="353754" y="1368442"/>
                    <a:pt x="356708" y="1371396"/>
                    <a:pt x="359665" y="1371396"/>
                  </a:cubicBezTo>
                  <a:cubicBezTo>
                    <a:pt x="365576" y="1371396"/>
                    <a:pt x="368530" y="1368442"/>
                    <a:pt x="368530" y="1362530"/>
                  </a:cubicBezTo>
                  <a:cubicBezTo>
                    <a:pt x="368530" y="1356616"/>
                    <a:pt x="365576" y="1353662"/>
                    <a:pt x="359665" y="1353662"/>
                  </a:cubicBezTo>
                  <a:cubicBezTo>
                    <a:pt x="353754" y="1353662"/>
                    <a:pt x="350797" y="1356616"/>
                    <a:pt x="350797" y="1362530"/>
                  </a:cubicBezTo>
                  <a:close/>
                  <a:moveTo>
                    <a:pt x="341931" y="3295489"/>
                  </a:moveTo>
                  <a:cubicBezTo>
                    <a:pt x="338974" y="3333914"/>
                    <a:pt x="368530" y="3360512"/>
                    <a:pt x="406955" y="3360512"/>
                  </a:cubicBezTo>
                  <a:cubicBezTo>
                    <a:pt x="442422" y="3360512"/>
                    <a:pt x="471978" y="3330956"/>
                    <a:pt x="471978" y="3295489"/>
                  </a:cubicBezTo>
                  <a:cubicBezTo>
                    <a:pt x="471978" y="3260022"/>
                    <a:pt x="442422" y="3230466"/>
                    <a:pt x="406955" y="3230466"/>
                  </a:cubicBezTo>
                  <a:cubicBezTo>
                    <a:pt x="371487" y="3230466"/>
                    <a:pt x="341931" y="3260022"/>
                    <a:pt x="341931" y="3295489"/>
                  </a:cubicBezTo>
                  <a:close/>
                  <a:moveTo>
                    <a:pt x="330109" y="2618656"/>
                  </a:moveTo>
                  <a:cubicBezTo>
                    <a:pt x="333063" y="2648212"/>
                    <a:pt x="356711" y="2671857"/>
                    <a:pt x="383310" y="2671857"/>
                  </a:cubicBezTo>
                  <a:cubicBezTo>
                    <a:pt x="412866" y="2671857"/>
                    <a:pt x="433556" y="2648212"/>
                    <a:pt x="433556" y="2618656"/>
                  </a:cubicBezTo>
                  <a:cubicBezTo>
                    <a:pt x="433556" y="2589100"/>
                    <a:pt x="409909" y="2565456"/>
                    <a:pt x="383310" y="2565456"/>
                  </a:cubicBezTo>
                  <a:cubicBezTo>
                    <a:pt x="353754" y="2565456"/>
                    <a:pt x="330109" y="2589100"/>
                    <a:pt x="330109" y="2618656"/>
                  </a:cubicBezTo>
                  <a:close/>
                  <a:moveTo>
                    <a:pt x="291685" y="3493512"/>
                  </a:moveTo>
                  <a:cubicBezTo>
                    <a:pt x="291685" y="3531058"/>
                    <a:pt x="322119" y="3561492"/>
                    <a:pt x="359665" y="3561492"/>
                  </a:cubicBezTo>
                  <a:cubicBezTo>
                    <a:pt x="397208" y="3561492"/>
                    <a:pt x="427642" y="3531058"/>
                    <a:pt x="427642" y="3493512"/>
                  </a:cubicBezTo>
                  <a:cubicBezTo>
                    <a:pt x="427642" y="3455970"/>
                    <a:pt x="397208" y="3425536"/>
                    <a:pt x="359665" y="3425536"/>
                  </a:cubicBezTo>
                  <a:cubicBezTo>
                    <a:pt x="322119" y="3425536"/>
                    <a:pt x="291685" y="3455970"/>
                    <a:pt x="291685" y="3493512"/>
                  </a:cubicBezTo>
                  <a:close/>
                  <a:moveTo>
                    <a:pt x="288728" y="2116206"/>
                  </a:moveTo>
                  <a:cubicBezTo>
                    <a:pt x="288728" y="2139850"/>
                    <a:pt x="306461" y="2157584"/>
                    <a:pt x="330106" y="2157584"/>
                  </a:cubicBezTo>
                  <a:cubicBezTo>
                    <a:pt x="353751" y="2157584"/>
                    <a:pt x="371484" y="2139850"/>
                    <a:pt x="371484" y="2116206"/>
                  </a:cubicBezTo>
                  <a:cubicBezTo>
                    <a:pt x="371484" y="2092561"/>
                    <a:pt x="353751" y="2074827"/>
                    <a:pt x="330106" y="2074827"/>
                  </a:cubicBezTo>
                  <a:cubicBezTo>
                    <a:pt x="306461" y="2074827"/>
                    <a:pt x="288728" y="2092561"/>
                    <a:pt x="288728" y="2116206"/>
                  </a:cubicBezTo>
                  <a:close/>
                  <a:moveTo>
                    <a:pt x="288728" y="1581244"/>
                  </a:moveTo>
                  <a:cubicBezTo>
                    <a:pt x="288728" y="1587156"/>
                    <a:pt x="294639" y="1593067"/>
                    <a:pt x="300550" y="1593067"/>
                  </a:cubicBezTo>
                  <a:cubicBezTo>
                    <a:pt x="306461" y="1593067"/>
                    <a:pt x="312372" y="1587156"/>
                    <a:pt x="312372" y="1581244"/>
                  </a:cubicBezTo>
                  <a:cubicBezTo>
                    <a:pt x="312372" y="1575333"/>
                    <a:pt x="306461" y="1569422"/>
                    <a:pt x="300550" y="1569422"/>
                  </a:cubicBezTo>
                  <a:cubicBezTo>
                    <a:pt x="294639" y="1569422"/>
                    <a:pt x="288728" y="1575333"/>
                    <a:pt x="288728" y="1581244"/>
                  </a:cubicBezTo>
                  <a:close/>
                  <a:moveTo>
                    <a:pt x="279862" y="2819637"/>
                  </a:moveTo>
                  <a:cubicBezTo>
                    <a:pt x="282816" y="2852150"/>
                    <a:pt x="306461" y="2875795"/>
                    <a:pt x="336017" y="2875795"/>
                  </a:cubicBezTo>
                  <a:cubicBezTo>
                    <a:pt x="365573" y="2875795"/>
                    <a:pt x="392175" y="2852150"/>
                    <a:pt x="392175" y="2819637"/>
                  </a:cubicBezTo>
                  <a:cubicBezTo>
                    <a:pt x="392175" y="2790081"/>
                    <a:pt x="368530" y="2763482"/>
                    <a:pt x="336017" y="2763482"/>
                  </a:cubicBezTo>
                  <a:cubicBezTo>
                    <a:pt x="306461" y="2763482"/>
                    <a:pt x="279862" y="2787127"/>
                    <a:pt x="279862" y="2819637"/>
                  </a:cubicBezTo>
                  <a:close/>
                  <a:moveTo>
                    <a:pt x="247349" y="3691536"/>
                  </a:moveTo>
                  <a:cubicBezTo>
                    <a:pt x="247349" y="3729960"/>
                    <a:pt x="276905" y="3759516"/>
                    <a:pt x="315330" y="3759516"/>
                  </a:cubicBezTo>
                  <a:cubicBezTo>
                    <a:pt x="353751" y="3759516"/>
                    <a:pt x="383307" y="3729960"/>
                    <a:pt x="383307" y="3691536"/>
                  </a:cubicBezTo>
                  <a:cubicBezTo>
                    <a:pt x="383307" y="3653114"/>
                    <a:pt x="353751" y="3623558"/>
                    <a:pt x="315330" y="3623558"/>
                  </a:cubicBezTo>
                  <a:cubicBezTo>
                    <a:pt x="276905" y="3623558"/>
                    <a:pt x="247349" y="3653114"/>
                    <a:pt x="247349" y="3691536"/>
                  </a:cubicBezTo>
                  <a:close/>
                  <a:moveTo>
                    <a:pt x="244395" y="3886605"/>
                  </a:moveTo>
                  <a:cubicBezTo>
                    <a:pt x="244395" y="3901384"/>
                    <a:pt x="256218" y="3913207"/>
                    <a:pt x="270997" y="3913207"/>
                  </a:cubicBezTo>
                  <a:cubicBezTo>
                    <a:pt x="285774" y="3913207"/>
                    <a:pt x="297596" y="3901384"/>
                    <a:pt x="297596" y="3886605"/>
                  </a:cubicBezTo>
                  <a:cubicBezTo>
                    <a:pt x="297596" y="3871828"/>
                    <a:pt x="285774" y="3860006"/>
                    <a:pt x="270997" y="3860006"/>
                  </a:cubicBezTo>
                  <a:cubicBezTo>
                    <a:pt x="256218" y="3860006"/>
                    <a:pt x="244395" y="3871828"/>
                    <a:pt x="244395" y="3886605"/>
                  </a:cubicBezTo>
                  <a:close/>
                  <a:moveTo>
                    <a:pt x="235530" y="1229527"/>
                  </a:moveTo>
                  <a:cubicBezTo>
                    <a:pt x="235530" y="1232481"/>
                    <a:pt x="238484" y="1235438"/>
                    <a:pt x="241441" y="1235438"/>
                  </a:cubicBezTo>
                  <a:cubicBezTo>
                    <a:pt x="244395" y="1235438"/>
                    <a:pt x="247352" y="1232481"/>
                    <a:pt x="247352" y="1229527"/>
                  </a:cubicBezTo>
                  <a:cubicBezTo>
                    <a:pt x="247352" y="1226570"/>
                    <a:pt x="244395" y="1223616"/>
                    <a:pt x="241441" y="1223616"/>
                  </a:cubicBezTo>
                  <a:cubicBezTo>
                    <a:pt x="238484" y="1223616"/>
                    <a:pt x="235530" y="1226570"/>
                    <a:pt x="235530" y="1229527"/>
                  </a:cubicBezTo>
                  <a:close/>
                  <a:moveTo>
                    <a:pt x="229616" y="3020618"/>
                  </a:moveTo>
                  <a:cubicBezTo>
                    <a:pt x="229616" y="3053130"/>
                    <a:pt x="256218" y="3082686"/>
                    <a:pt x="291682" y="3082686"/>
                  </a:cubicBezTo>
                  <a:cubicBezTo>
                    <a:pt x="324195" y="3082686"/>
                    <a:pt x="353751" y="3056084"/>
                    <a:pt x="353751" y="3020618"/>
                  </a:cubicBezTo>
                  <a:cubicBezTo>
                    <a:pt x="353751" y="2988108"/>
                    <a:pt x="327152" y="2958552"/>
                    <a:pt x="291682" y="2958552"/>
                  </a:cubicBezTo>
                  <a:cubicBezTo>
                    <a:pt x="259172" y="2958552"/>
                    <a:pt x="229616" y="2985150"/>
                    <a:pt x="229616" y="3020618"/>
                  </a:cubicBezTo>
                  <a:close/>
                  <a:moveTo>
                    <a:pt x="229616" y="2323097"/>
                  </a:moveTo>
                  <a:cubicBezTo>
                    <a:pt x="229616" y="2349696"/>
                    <a:pt x="253260" y="2373341"/>
                    <a:pt x="279862" y="2373341"/>
                  </a:cubicBezTo>
                  <a:cubicBezTo>
                    <a:pt x="306461" y="2373341"/>
                    <a:pt x="330106" y="2352653"/>
                    <a:pt x="330106" y="2323097"/>
                  </a:cubicBezTo>
                  <a:cubicBezTo>
                    <a:pt x="330106" y="2296495"/>
                    <a:pt x="309418" y="2272850"/>
                    <a:pt x="279862" y="2272850"/>
                  </a:cubicBezTo>
                  <a:cubicBezTo>
                    <a:pt x="253260" y="2272850"/>
                    <a:pt x="229616" y="2293541"/>
                    <a:pt x="229616" y="2323097"/>
                  </a:cubicBezTo>
                  <a:close/>
                  <a:moveTo>
                    <a:pt x="223708" y="1797001"/>
                  </a:moveTo>
                  <a:cubicBezTo>
                    <a:pt x="226662" y="1805870"/>
                    <a:pt x="232573" y="1814735"/>
                    <a:pt x="241441" y="1814735"/>
                  </a:cubicBezTo>
                  <a:cubicBezTo>
                    <a:pt x="250310" y="1814735"/>
                    <a:pt x="259175" y="1805870"/>
                    <a:pt x="259175" y="1797001"/>
                  </a:cubicBezTo>
                  <a:cubicBezTo>
                    <a:pt x="259175" y="1788136"/>
                    <a:pt x="250310" y="1779268"/>
                    <a:pt x="241441" y="1779268"/>
                  </a:cubicBezTo>
                  <a:cubicBezTo>
                    <a:pt x="232573" y="1779268"/>
                    <a:pt x="223708" y="1788136"/>
                    <a:pt x="223708" y="1797001"/>
                  </a:cubicBezTo>
                  <a:close/>
                  <a:moveTo>
                    <a:pt x="208928" y="848257"/>
                  </a:moveTo>
                  <a:cubicBezTo>
                    <a:pt x="211882" y="851214"/>
                    <a:pt x="214839" y="854168"/>
                    <a:pt x="214839" y="854168"/>
                  </a:cubicBezTo>
                  <a:cubicBezTo>
                    <a:pt x="217793" y="854168"/>
                    <a:pt x="220751" y="851214"/>
                    <a:pt x="220751" y="848257"/>
                  </a:cubicBezTo>
                  <a:cubicBezTo>
                    <a:pt x="220751" y="845300"/>
                    <a:pt x="217793" y="842346"/>
                    <a:pt x="214839" y="842346"/>
                  </a:cubicBezTo>
                  <a:cubicBezTo>
                    <a:pt x="211882" y="842346"/>
                    <a:pt x="208928" y="845300"/>
                    <a:pt x="208928" y="848257"/>
                  </a:cubicBezTo>
                  <a:close/>
                  <a:moveTo>
                    <a:pt x="179372" y="3218640"/>
                  </a:moveTo>
                  <a:cubicBezTo>
                    <a:pt x="179372" y="3254108"/>
                    <a:pt x="208928" y="3283664"/>
                    <a:pt x="244395" y="3283664"/>
                  </a:cubicBezTo>
                  <a:cubicBezTo>
                    <a:pt x="279862" y="3283664"/>
                    <a:pt x="309418" y="3254108"/>
                    <a:pt x="309418" y="3218640"/>
                  </a:cubicBezTo>
                  <a:cubicBezTo>
                    <a:pt x="309418" y="3183174"/>
                    <a:pt x="279862" y="3153618"/>
                    <a:pt x="244395" y="3153618"/>
                  </a:cubicBezTo>
                  <a:cubicBezTo>
                    <a:pt x="208928" y="3153618"/>
                    <a:pt x="179372" y="3183174"/>
                    <a:pt x="179372" y="3218640"/>
                  </a:cubicBezTo>
                  <a:close/>
                  <a:moveTo>
                    <a:pt x="173461" y="2527032"/>
                  </a:moveTo>
                  <a:cubicBezTo>
                    <a:pt x="173461" y="2559544"/>
                    <a:pt x="200063" y="2583190"/>
                    <a:pt x="229619" y="2583190"/>
                  </a:cubicBezTo>
                  <a:cubicBezTo>
                    <a:pt x="259175" y="2583190"/>
                    <a:pt x="285774" y="2559544"/>
                    <a:pt x="285774" y="2527032"/>
                  </a:cubicBezTo>
                  <a:cubicBezTo>
                    <a:pt x="285774" y="2497476"/>
                    <a:pt x="262129" y="2470877"/>
                    <a:pt x="229619" y="2470877"/>
                  </a:cubicBezTo>
                  <a:cubicBezTo>
                    <a:pt x="200063" y="2470877"/>
                    <a:pt x="173461" y="2494522"/>
                    <a:pt x="173461" y="2527032"/>
                  </a:cubicBezTo>
                  <a:close/>
                  <a:moveTo>
                    <a:pt x="161639" y="1454152"/>
                  </a:moveTo>
                  <a:cubicBezTo>
                    <a:pt x="164593" y="1460064"/>
                    <a:pt x="167550" y="1465975"/>
                    <a:pt x="173461" y="1465975"/>
                  </a:cubicBezTo>
                  <a:cubicBezTo>
                    <a:pt x="179372" y="1465975"/>
                    <a:pt x="185283" y="1460064"/>
                    <a:pt x="185283" y="1454152"/>
                  </a:cubicBezTo>
                  <a:cubicBezTo>
                    <a:pt x="185283" y="1448241"/>
                    <a:pt x="179372" y="1442330"/>
                    <a:pt x="173461" y="1442330"/>
                  </a:cubicBezTo>
                  <a:cubicBezTo>
                    <a:pt x="167550" y="1442330"/>
                    <a:pt x="161639" y="1448241"/>
                    <a:pt x="161639" y="1454152"/>
                  </a:cubicBezTo>
                  <a:close/>
                  <a:moveTo>
                    <a:pt x="152770" y="2009804"/>
                  </a:moveTo>
                  <a:cubicBezTo>
                    <a:pt x="149816" y="2030492"/>
                    <a:pt x="167550" y="2045271"/>
                    <a:pt x="188237" y="2045271"/>
                  </a:cubicBezTo>
                  <a:cubicBezTo>
                    <a:pt x="208928" y="2045271"/>
                    <a:pt x="223705" y="2027538"/>
                    <a:pt x="223705" y="2009804"/>
                  </a:cubicBezTo>
                  <a:cubicBezTo>
                    <a:pt x="223705" y="1989116"/>
                    <a:pt x="205971" y="1974337"/>
                    <a:pt x="188237" y="1974337"/>
                  </a:cubicBezTo>
                  <a:cubicBezTo>
                    <a:pt x="167550" y="1974337"/>
                    <a:pt x="152770" y="1992070"/>
                    <a:pt x="152770" y="2009804"/>
                  </a:cubicBezTo>
                  <a:close/>
                  <a:moveTo>
                    <a:pt x="132083" y="3419624"/>
                  </a:moveTo>
                  <a:cubicBezTo>
                    <a:pt x="132083" y="3455092"/>
                    <a:pt x="161639" y="3484647"/>
                    <a:pt x="197106" y="3484647"/>
                  </a:cubicBezTo>
                  <a:cubicBezTo>
                    <a:pt x="232573" y="3484647"/>
                    <a:pt x="262129" y="3455092"/>
                    <a:pt x="262129" y="3419624"/>
                  </a:cubicBezTo>
                  <a:cubicBezTo>
                    <a:pt x="262129" y="3384157"/>
                    <a:pt x="232573" y="3354601"/>
                    <a:pt x="197106" y="3354601"/>
                  </a:cubicBezTo>
                  <a:cubicBezTo>
                    <a:pt x="161639" y="3354601"/>
                    <a:pt x="132083" y="3384157"/>
                    <a:pt x="132083" y="3419624"/>
                  </a:cubicBezTo>
                  <a:close/>
                  <a:moveTo>
                    <a:pt x="126171" y="1087659"/>
                  </a:moveTo>
                  <a:cubicBezTo>
                    <a:pt x="126171" y="1090616"/>
                    <a:pt x="129126" y="1093570"/>
                    <a:pt x="132083" y="1093570"/>
                  </a:cubicBezTo>
                  <a:cubicBezTo>
                    <a:pt x="135040" y="1093570"/>
                    <a:pt x="137994" y="1090616"/>
                    <a:pt x="137994" y="1087659"/>
                  </a:cubicBezTo>
                  <a:cubicBezTo>
                    <a:pt x="137994" y="1084702"/>
                    <a:pt x="135040" y="1081748"/>
                    <a:pt x="132083" y="1081748"/>
                  </a:cubicBezTo>
                  <a:cubicBezTo>
                    <a:pt x="129126" y="1081748"/>
                    <a:pt x="126171" y="1084702"/>
                    <a:pt x="126171" y="1087659"/>
                  </a:cubicBezTo>
                  <a:close/>
                  <a:moveTo>
                    <a:pt x="117306" y="2730969"/>
                  </a:moveTo>
                  <a:cubicBezTo>
                    <a:pt x="117306" y="2766436"/>
                    <a:pt x="146862" y="2795992"/>
                    <a:pt x="182329" y="2795992"/>
                  </a:cubicBezTo>
                  <a:cubicBezTo>
                    <a:pt x="217796" y="2795992"/>
                    <a:pt x="247352" y="2766436"/>
                    <a:pt x="247352" y="2730969"/>
                  </a:cubicBezTo>
                  <a:cubicBezTo>
                    <a:pt x="247352" y="2695502"/>
                    <a:pt x="217796" y="2665946"/>
                    <a:pt x="182329" y="2665946"/>
                  </a:cubicBezTo>
                  <a:cubicBezTo>
                    <a:pt x="146862" y="2665946"/>
                    <a:pt x="117306" y="2695502"/>
                    <a:pt x="117306" y="2730969"/>
                  </a:cubicBezTo>
                  <a:close/>
                  <a:moveTo>
                    <a:pt x="93662" y="1675824"/>
                  </a:moveTo>
                  <a:cubicBezTo>
                    <a:pt x="93662" y="1684689"/>
                    <a:pt x="102530" y="1693557"/>
                    <a:pt x="111395" y="1693557"/>
                  </a:cubicBezTo>
                  <a:cubicBezTo>
                    <a:pt x="120263" y="1693557"/>
                    <a:pt x="129129" y="1684689"/>
                    <a:pt x="129129" y="1675824"/>
                  </a:cubicBezTo>
                  <a:cubicBezTo>
                    <a:pt x="129129" y="1666955"/>
                    <a:pt x="120263" y="1658090"/>
                    <a:pt x="111395" y="1658090"/>
                  </a:cubicBezTo>
                  <a:cubicBezTo>
                    <a:pt x="102530" y="1658090"/>
                    <a:pt x="93662" y="1666955"/>
                    <a:pt x="93662" y="1675824"/>
                  </a:cubicBezTo>
                  <a:close/>
                  <a:moveTo>
                    <a:pt x="90704" y="2219653"/>
                  </a:moveTo>
                  <a:cubicBezTo>
                    <a:pt x="90704" y="2244136"/>
                    <a:pt x="110554" y="2263985"/>
                    <a:pt x="135040" y="2263985"/>
                  </a:cubicBezTo>
                  <a:cubicBezTo>
                    <a:pt x="159522" y="2263985"/>
                    <a:pt x="179372" y="2244136"/>
                    <a:pt x="179372" y="2219653"/>
                  </a:cubicBezTo>
                  <a:cubicBezTo>
                    <a:pt x="179372" y="2195167"/>
                    <a:pt x="159522" y="2175318"/>
                    <a:pt x="135040" y="2175318"/>
                  </a:cubicBezTo>
                  <a:cubicBezTo>
                    <a:pt x="110554" y="2175318"/>
                    <a:pt x="90704" y="2195167"/>
                    <a:pt x="90704" y="2219653"/>
                  </a:cubicBezTo>
                  <a:close/>
                  <a:moveTo>
                    <a:pt x="87750" y="3617648"/>
                  </a:moveTo>
                  <a:cubicBezTo>
                    <a:pt x="87750" y="3653114"/>
                    <a:pt x="117306" y="3682670"/>
                    <a:pt x="152773" y="3682670"/>
                  </a:cubicBezTo>
                  <a:cubicBezTo>
                    <a:pt x="188241" y="3682670"/>
                    <a:pt x="217796" y="3653114"/>
                    <a:pt x="217796" y="3617648"/>
                  </a:cubicBezTo>
                  <a:cubicBezTo>
                    <a:pt x="217796" y="3582180"/>
                    <a:pt x="188241" y="3552624"/>
                    <a:pt x="152773" y="3552624"/>
                  </a:cubicBezTo>
                  <a:cubicBezTo>
                    <a:pt x="117306" y="3552624"/>
                    <a:pt x="87750" y="3582180"/>
                    <a:pt x="87750" y="3617648"/>
                  </a:cubicBezTo>
                  <a:close/>
                  <a:moveTo>
                    <a:pt x="67060" y="2934906"/>
                  </a:moveTo>
                  <a:cubicBezTo>
                    <a:pt x="70014" y="2970374"/>
                    <a:pt x="96616" y="2999930"/>
                    <a:pt x="132083" y="2999930"/>
                  </a:cubicBezTo>
                  <a:cubicBezTo>
                    <a:pt x="167550" y="2999930"/>
                    <a:pt x="197106" y="2970374"/>
                    <a:pt x="197106" y="2934906"/>
                  </a:cubicBezTo>
                  <a:cubicBezTo>
                    <a:pt x="197106" y="2899440"/>
                    <a:pt x="167550" y="2869884"/>
                    <a:pt x="132083" y="2869884"/>
                  </a:cubicBezTo>
                  <a:cubicBezTo>
                    <a:pt x="96616" y="2869884"/>
                    <a:pt x="67060" y="2899440"/>
                    <a:pt x="67060" y="2934906"/>
                  </a:cubicBezTo>
                  <a:close/>
                  <a:moveTo>
                    <a:pt x="58194" y="529050"/>
                  </a:moveTo>
                  <a:cubicBezTo>
                    <a:pt x="58194" y="529050"/>
                    <a:pt x="58194" y="532007"/>
                    <a:pt x="61148" y="532007"/>
                  </a:cubicBezTo>
                  <a:cubicBezTo>
                    <a:pt x="64106" y="532007"/>
                    <a:pt x="64106" y="529050"/>
                    <a:pt x="64106" y="529050"/>
                  </a:cubicBezTo>
                  <a:cubicBezTo>
                    <a:pt x="64106" y="526096"/>
                    <a:pt x="61148" y="526096"/>
                    <a:pt x="61148" y="526096"/>
                  </a:cubicBezTo>
                  <a:cubicBezTo>
                    <a:pt x="58194" y="526096"/>
                    <a:pt x="58194" y="529050"/>
                    <a:pt x="58194" y="529050"/>
                  </a:cubicBezTo>
                  <a:close/>
                  <a:moveTo>
                    <a:pt x="55237" y="4013697"/>
                  </a:moveTo>
                  <a:cubicBezTo>
                    <a:pt x="55237" y="4016651"/>
                    <a:pt x="58194" y="4019608"/>
                    <a:pt x="61148" y="4019608"/>
                  </a:cubicBezTo>
                  <a:cubicBezTo>
                    <a:pt x="64106" y="4019608"/>
                    <a:pt x="67060" y="4016651"/>
                    <a:pt x="67060" y="4013697"/>
                  </a:cubicBezTo>
                  <a:cubicBezTo>
                    <a:pt x="67060" y="4010740"/>
                    <a:pt x="64106" y="4007786"/>
                    <a:pt x="61148" y="4007786"/>
                  </a:cubicBezTo>
                  <a:cubicBezTo>
                    <a:pt x="58194" y="4007786"/>
                    <a:pt x="55237" y="4010740"/>
                    <a:pt x="55237" y="4013697"/>
                  </a:cubicBezTo>
                  <a:close/>
                  <a:moveTo>
                    <a:pt x="51913" y="1325216"/>
                  </a:moveTo>
                  <a:cubicBezTo>
                    <a:pt x="53022" y="1326324"/>
                    <a:pt x="55239" y="1327063"/>
                    <a:pt x="58194" y="1327063"/>
                  </a:cubicBezTo>
                  <a:cubicBezTo>
                    <a:pt x="61148" y="1327063"/>
                    <a:pt x="64106" y="1324109"/>
                    <a:pt x="64106" y="1321152"/>
                  </a:cubicBezTo>
                  <a:cubicBezTo>
                    <a:pt x="64106" y="1318198"/>
                    <a:pt x="61148" y="1315241"/>
                    <a:pt x="58194" y="1315241"/>
                  </a:cubicBezTo>
                  <a:cubicBezTo>
                    <a:pt x="55237" y="1315241"/>
                    <a:pt x="52283" y="1318198"/>
                    <a:pt x="52283" y="1321152"/>
                  </a:cubicBezTo>
                  <a:cubicBezTo>
                    <a:pt x="50805" y="1322630"/>
                    <a:pt x="50805" y="1324108"/>
                    <a:pt x="51913" y="1325216"/>
                  </a:cubicBezTo>
                  <a:close/>
                  <a:moveTo>
                    <a:pt x="34550" y="3815670"/>
                  </a:moveTo>
                  <a:cubicBezTo>
                    <a:pt x="34550" y="3857049"/>
                    <a:pt x="67060" y="3886605"/>
                    <a:pt x="105484" y="3886605"/>
                  </a:cubicBezTo>
                  <a:cubicBezTo>
                    <a:pt x="143905" y="3886605"/>
                    <a:pt x="176418" y="3854092"/>
                    <a:pt x="176418" y="3815670"/>
                  </a:cubicBezTo>
                  <a:cubicBezTo>
                    <a:pt x="176418" y="3777250"/>
                    <a:pt x="143905" y="3744736"/>
                    <a:pt x="105484" y="3744736"/>
                  </a:cubicBezTo>
                  <a:cubicBezTo>
                    <a:pt x="67060" y="3744736"/>
                    <a:pt x="34550" y="3777250"/>
                    <a:pt x="34550" y="3815670"/>
                  </a:cubicBezTo>
                  <a:close/>
                  <a:moveTo>
                    <a:pt x="31592" y="2426544"/>
                  </a:moveTo>
                  <a:cubicBezTo>
                    <a:pt x="31592" y="2456100"/>
                    <a:pt x="55237" y="2476788"/>
                    <a:pt x="81836" y="2476788"/>
                  </a:cubicBezTo>
                  <a:cubicBezTo>
                    <a:pt x="108438" y="2476788"/>
                    <a:pt x="132083" y="2456100"/>
                    <a:pt x="132083" y="2426544"/>
                  </a:cubicBezTo>
                  <a:cubicBezTo>
                    <a:pt x="132083" y="2399942"/>
                    <a:pt x="111392" y="2376298"/>
                    <a:pt x="81836" y="2376298"/>
                  </a:cubicBezTo>
                  <a:cubicBezTo>
                    <a:pt x="55237" y="2376298"/>
                    <a:pt x="31592" y="2396988"/>
                    <a:pt x="31592" y="2426544"/>
                  </a:cubicBezTo>
                  <a:close/>
                  <a:moveTo>
                    <a:pt x="25681" y="936922"/>
                  </a:moveTo>
                  <a:cubicBezTo>
                    <a:pt x="28638" y="939879"/>
                    <a:pt x="31592" y="945790"/>
                    <a:pt x="34550" y="945790"/>
                  </a:cubicBezTo>
                  <a:cubicBezTo>
                    <a:pt x="37504" y="945790"/>
                    <a:pt x="43415" y="942836"/>
                    <a:pt x="43415" y="936922"/>
                  </a:cubicBezTo>
                  <a:cubicBezTo>
                    <a:pt x="43415" y="931011"/>
                    <a:pt x="40461" y="928056"/>
                    <a:pt x="34550" y="928056"/>
                  </a:cubicBezTo>
                  <a:cubicBezTo>
                    <a:pt x="31592" y="928056"/>
                    <a:pt x="25681" y="931011"/>
                    <a:pt x="25681" y="936922"/>
                  </a:cubicBezTo>
                  <a:close/>
                  <a:moveTo>
                    <a:pt x="19770" y="3135884"/>
                  </a:moveTo>
                  <a:cubicBezTo>
                    <a:pt x="19770" y="3171351"/>
                    <a:pt x="49326" y="3200907"/>
                    <a:pt x="84793" y="3200907"/>
                  </a:cubicBezTo>
                  <a:cubicBezTo>
                    <a:pt x="120260" y="3200907"/>
                    <a:pt x="149816" y="3171351"/>
                    <a:pt x="149816" y="3135884"/>
                  </a:cubicBezTo>
                  <a:cubicBezTo>
                    <a:pt x="149816" y="3100417"/>
                    <a:pt x="120260" y="3070861"/>
                    <a:pt x="84793" y="3070861"/>
                  </a:cubicBezTo>
                  <a:cubicBezTo>
                    <a:pt x="49326" y="3070861"/>
                    <a:pt x="19770" y="3100417"/>
                    <a:pt x="19770" y="3135884"/>
                  </a:cubicBezTo>
                  <a:close/>
                  <a:moveTo>
                    <a:pt x="13859" y="1894538"/>
                  </a:moveTo>
                  <a:cubicBezTo>
                    <a:pt x="13859" y="1915225"/>
                    <a:pt x="28638" y="1932959"/>
                    <a:pt x="52280" y="1932959"/>
                  </a:cubicBezTo>
                  <a:cubicBezTo>
                    <a:pt x="72971" y="1932959"/>
                    <a:pt x="90704" y="1915225"/>
                    <a:pt x="90704" y="1894538"/>
                  </a:cubicBezTo>
                  <a:cubicBezTo>
                    <a:pt x="90704" y="1873847"/>
                    <a:pt x="72971" y="1856113"/>
                    <a:pt x="52280" y="1856113"/>
                  </a:cubicBezTo>
                  <a:cubicBezTo>
                    <a:pt x="31592" y="1856113"/>
                    <a:pt x="13859" y="1873847"/>
                    <a:pt x="13859" y="1894538"/>
                  </a:cubicBezTo>
                  <a:close/>
                  <a:moveTo>
                    <a:pt x="0" y="3728807"/>
                  </a:moveTo>
                  <a:lnTo>
                    <a:pt x="0" y="3748849"/>
                  </a:lnTo>
                  <a:lnTo>
                    <a:pt x="2037" y="3738828"/>
                  </a:lnTo>
                  <a:close/>
                  <a:moveTo>
                    <a:pt x="0" y="3477794"/>
                  </a:moveTo>
                  <a:lnTo>
                    <a:pt x="0" y="3603810"/>
                  </a:lnTo>
                  <a:lnTo>
                    <a:pt x="15337" y="3600653"/>
                  </a:lnTo>
                  <a:cubicBezTo>
                    <a:pt x="38612" y="3590678"/>
                    <a:pt x="55237" y="3567402"/>
                    <a:pt x="55237" y="3540802"/>
                  </a:cubicBezTo>
                  <a:cubicBezTo>
                    <a:pt x="55237" y="3514202"/>
                    <a:pt x="38612" y="3490926"/>
                    <a:pt x="15337" y="3480951"/>
                  </a:cubicBezTo>
                  <a:close/>
                  <a:moveTo>
                    <a:pt x="0" y="3292249"/>
                  </a:moveTo>
                  <a:lnTo>
                    <a:pt x="0" y="3380812"/>
                  </a:lnTo>
                  <a:lnTo>
                    <a:pt x="14968" y="3391312"/>
                  </a:lnTo>
                  <a:cubicBezTo>
                    <a:pt x="21803" y="3394314"/>
                    <a:pt x="29376" y="3395976"/>
                    <a:pt x="37504" y="3395976"/>
                  </a:cubicBezTo>
                  <a:cubicBezTo>
                    <a:pt x="70014" y="3395976"/>
                    <a:pt x="96616" y="3369378"/>
                    <a:pt x="96616" y="3336864"/>
                  </a:cubicBezTo>
                  <a:cubicBezTo>
                    <a:pt x="96616" y="3304354"/>
                    <a:pt x="70014" y="3277752"/>
                    <a:pt x="37504" y="3277752"/>
                  </a:cubicBezTo>
                  <a:cubicBezTo>
                    <a:pt x="29376" y="3277752"/>
                    <a:pt x="21618" y="3279415"/>
                    <a:pt x="14552" y="3282417"/>
                  </a:cubicBezTo>
                  <a:close/>
                  <a:moveTo>
                    <a:pt x="0" y="2782098"/>
                  </a:moveTo>
                  <a:lnTo>
                    <a:pt x="0" y="2904465"/>
                  </a:lnTo>
                  <a:lnTo>
                    <a:pt x="6472" y="2903133"/>
                  </a:lnTo>
                  <a:cubicBezTo>
                    <a:pt x="29747" y="2893158"/>
                    <a:pt x="46372" y="2869882"/>
                    <a:pt x="46372" y="2843282"/>
                  </a:cubicBezTo>
                  <a:cubicBezTo>
                    <a:pt x="46372" y="2816681"/>
                    <a:pt x="29747" y="2793405"/>
                    <a:pt x="6472" y="2783430"/>
                  </a:cubicBezTo>
                  <a:close/>
                  <a:moveTo>
                    <a:pt x="0" y="2587781"/>
                  </a:moveTo>
                  <a:lnTo>
                    <a:pt x="0" y="2685000"/>
                  </a:lnTo>
                  <a:lnTo>
                    <a:pt x="8641" y="2690838"/>
                  </a:lnTo>
                  <a:cubicBezTo>
                    <a:pt x="15707" y="2693840"/>
                    <a:pt x="23465" y="2695502"/>
                    <a:pt x="31592" y="2695502"/>
                  </a:cubicBezTo>
                  <a:cubicBezTo>
                    <a:pt x="64102" y="2695502"/>
                    <a:pt x="90704" y="2668903"/>
                    <a:pt x="90704" y="2636390"/>
                  </a:cubicBezTo>
                  <a:cubicBezTo>
                    <a:pt x="90704" y="2603880"/>
                    <a:pt x="64102" y="2577278"/>
                    <a:pt x="31592" y="2577278"/>
                  </a:cubicBezTo>
                  <a:cubicBezTo>
                    <a:pt x="23465" y="2577278"/>
                    <a:pt x="15707" y="2578941"/>
                    <a:pt x="8641" y="2581943"/>
                  </a:cubicBezTo>
                  <a:close/>
                  <a:moveTo>
                    <a:pt x="0" y="2058460"/>
                  </a:moveTo>
                  <a:lnTo>
                    <a:pt x="0" y="2162129"/>
                  </a:lnTo>
                  <a:lnTo>
                    <a:pt x="13953" y="2159339"/>
                  </a:lnTo>
                  <a:cubicBezTo>
                    <a:pt x="33072" y="2151303"/>
                    <a:pt x="46372" y="2132461"/>
                    <a:pt x="46372" y="2110294"/>
                  </a:cubicBezTo>
                  <a:cubicBezTo>
                    <a:pt x="46372" y="2088127"/>
                    <a:pt x="33072" y="2069286"/>
                    <a:pt x="13953" y="2061250"/>
                  </a:cubicBezTo>
                  <a:close/>
                  <a:moveTo>
                    <a:pt x="0" y="1540407"/>
                  </a:moveTo>
                  <a:lnTo>
                    <a:pt x="0" y="1551146"/>
                  </a:lnTo>
                  <a:lnTo>
                    <a:pt x="2037" y="1545777"/>
                  </a:lnTo>
                  <a:close/>
                </a:path>
              </a:pathLst>
            </a:custGeom>
            <a:gradFill flip="none" rotWithShape="1">
              <a:gsLst>
                <a:gs pos="24000">
                  <a:schemeClr val="bg2">
                    <a:alpha val="0"/>
                  </a:schemeClr>
                </a:gs>
                <a:gs pos="60000">
                  <a:schemeClr val="accent1"/>
                </a:gs>
                <a:gs pos="100000">
                  <a:schemeClr val="tx1"/>
                </a:gs>
              </a:gsLst>
              <a:lin ang="6000000" scaled="0"/>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9" name="Freeform: Shape 18">
              <a:extLst>
                <a:ext uri="{FF2B5EF4-FFF2-40B4-BE49-F238E27FC236}">
                  <a16:creationId xmlns:a16="http://schemas.microsoft.com/office/drawing/2014/main" id="{50740EA1-76BD-4C69-8F74-0D1E8618EF0B}"/>
                </a:ext>
              </a:extLst>
            </p:cNvPr>
            <p:cNvSpPr/>
            <p:nvPr/>
          </p:nvSpPr>
          <p:spPr>
            <a:xfrm rot="5400000">
              <a:off x="6396053" y="2084355"/>
              <a:ext cx="5664911" cy="4636166"/>
            </a:xfrm>
            <a:custGeom>
              <a:avLst/>
              <a:gdLst>
                <a:gd name="connsiteX0" fmla="*/ 1386840 w 2370773"/>
                <a:gd name="connsiteY0" fmla="*/ 1929765 h 1940242"/>
                <a:gd name="connsiteX1" fmla="*/ 1388745 w 2370773"/>
                <a:gd name="connsiteY1" fmla="*/ 1931670 h 1940242"/>
                <a:gd name="connsiteX2" fmla="*/ 1386840 w 2370773"/>
                <a:gd name="connsiteY2" fmla="*/ 1933575 h 1940242"/>
                <a:gd name="connsiteX3" fmla="*/ 1384935 w 2370773"/>
                <a:gd name="connsiteY3" fmla="*/ 1931670 h 1940242"/>
                <a:gd name="connsiteX4" fmla="*/ 1386840 w 2370773"/>
                <a:gd name="connsiteY4" fmla="*/ 1929765 h 1940242"/>
                <a:gd name="connsiteX5" fmla="*/ 860107 w 2370773"/>
                <a:gd name="connsiteY5" fmla="*/ 1929765 h 1940242"/>
                <a:gd name="connsiteX6" fmla="*/ 862012 w 2370773"/>
                <a:gd name="connsiteY6" fmla="*/ 1931670 h 1940242"/>
                <a:gd name="connsiteX7" fmla="*/ 860107 w 2370773"/>
                <a:gd name="connsiteY7" fmla="*/ 1933575 h 1940242"/>
                <a:gd name="connsiteX8" fmla="*/ 858202 w 2370773"/>
                <a:gd name="connsiteY8" fmla="*/ 1931670 h 1940242"/>
                <a:gd name="connsiteX9" fmla="*/ 860107 w 2370773"/>
                <a:gd name="connsiteY9" fmla="*/ 1929765 h 1940242"/>
                <a:gd name="connsiteX10" fmla="*/ 1329690 w 2370773"/>
                <a:gd name="connsiteY10" fmla="*/ 1926907 h 1940242"/>
                <a:gd name="connsiteX11" fmla="*/ 1336357 w 2370773"/>
                <a:gd name="connsiteY11" fmla="*/ 1933574 h 1940242"/>
                <a:gd name="connsiteX12" fmla="*/ 1329690 w 2370773"/>
                <a:gd name="connsiteY12" fmla="*/ 1940242 h 1940242"/>
                <a:gd name="connsiteX13" fmla="*/ 1323022 w 2370773"/>
                <a:gd name="connsiteY13" fmla="*/ 1933574 h 1940242"/>
                <a:gd name="connsiteX14" fmla="*/ 1329690 w 2370773"/>
                <a:gd name="connsiteY14" fmla="*/ 1926907 h 1940242"/>
                <a:gd name="connsiteX15" fmla="*/ 1271588 w 2370773"/>
                <a:gd name="connsiteY15" fmla="*/ 1926907 h 1940242"/>
                <a:gd name="connsiteX16" fmla="*/ 1278255 w 2370773"/>
                <a:gd name="connsiteY16" fmla="*/ 1933575 h 1940242"/>
                <a:gd name="connsiteX17" fmla="*/ 1271588 w 2370773"/>
                <a:gd name="connsiteY17" fmla="*/ 1940242 h 1940242"/>
                <a:gd name="connsiteX18" fmla="*/ 1264920 w 2370773"/>
                <a:gd name="connsiteY18" fmla="*/ 1933575 h 1940242"/>
                <a:gd name="connsiteX19" fmla="*/ 1271588 w 2370773"/>
                <a:gd name="connsiteY19" fmla="*/ 1926907 h 1940242"/>
                <a:gd name="connsiteX20" fmla="*/ 1214437 w 2370773"/>
                <a:gd name="connsiteY20" fmla="*/ 1925002 h 1940242"/>
                <a:gd name="connsiteX21" fmla="*/ 1220152 w 2370773"/>
                <a:gd name="connsiteY21" fmla="*/ 1930717 h 1940242"/>
                <a:gd name="connsiteX22" fmla="*/ 1214437 w 2370773"/>
                <a:gd name="connsiteY22" fmla="*/ 1936432 h 1940242"/>
                <a:gd name="connsiteX23" fmla="*/ 1208722 w 2370773"/>
                <a:gd name="connsiteY23" fmla="*/ 1930717 h 1940242"/>
                <a:gd name="connsiteX24" fmla="*/ 1214437 w 2370773"/>
                <a:gd name="connsiteY24" fmla="*/ 1925002 h 1940242"/>
                <a:gd name="connsiteX25" fmla="*/ 1156335 w 2370773"/>
                <a:gd name="connsiteY25" fmla="*/ 1920240 h 1940242"/>
                <a:gd name="connsiteX26" fmla="*/ 1162050 w 2370773"/>
                <a:gd name="connsiteY26" fmla="*/ 1925955 h 1940242"/>
                <a:gd name="connsiteX27" fmla="*/ 1156335 w 2370773"/>
                <a:gd name="connsiteY27" fmla="*/ 1931670 h 1940242"/>
                <a:gd name="connsiteX28" fmla="*/ 1150620 w 2370773"/>
                <a:gd name="connsiteY28" fmla="*/ 1925955 h 1940242"/>
                <a:gd name="connsiteX29" fmla="*/ 1156335 w 2370773"/>
                <a:gd name="connsiteY29" fmla="*/ 1920240 h 1940242"/>
                <a:gd name="connsiteX30" fmla="*/ 1099185 w 2370773"/>
                <a:gd name="connsiteY30" fmla="*/ 1914525 h 1940242"/>
                <a:gd name="connsiteX31" fmla="*/ 1104900 w 2370773"/>
                <a:gd name="connsiteY31" fmla="*/ 1920240 h 1940242"/>
                <a:gd name="connsiteX32" fmla="*/ 1099185 w 2370773"/>
                <a:gd name="connsiteY32" fmla="*/ 1925955 h 1940242"/>
                <a:gd name="connsiteX33" fmla="*/ 1093470 w 2370773"/>
                <a:gd name="connsiteY33" fmla="*/ 1920240 h 1940242"/>
                <a:gd name="connsiteX34" fmla="*/ 1099185 w 2370773"/>
                <a:gd name="connsiteY34" fmla="*/ 1914525 h 1940242"/>
                <a:gd name="connsiteX35" fmla="*/ 1042988 w 2370773"/>
                <a:gd name="connsiteY35" fmla="*/ 1903095 h 1940242"/>
                <a:gd name="connsiteX36" fmla="*/ 1050608 w 2370773"/>
                <a:gd name="connsiteY36" fmla="*/ 1910715 h 1940242"/>
                <a:gd name="connsiteX37" fmla="*/ 1042988 w 2370773"/>
                <a:gd name="connsiteY37" fmla="*/ 1918335 h 1940242"/>
                <a:gd name="connsiteX38" fmla="*/ 1035368 w 2370773"/>
                <a:gd name="connsiteY38" fmla="*/ 1910715 h 1940242"/>
                <a:gd name="connsiteX39" fmla="*/ 1042988 w 2370773"/>
                <a:gd name="connsiteY39" fmla="*/ 1903095 h 1940242"/>
                <a:gd name="connsiteX40" fmla="*/ 985837 w 2370773"/>
                <a:gd name="connsiteY40" fmla="*/ 1887854 h 1940242"/>
                <a:gd name="connsiteX41" fmla="*/ 996315 w 2370773"/>
                <a:gd name="connsiteY41" fmla="*/ 1898332 h 1940242"/>
                <a:gd name="connsiteX42" fmla="*/ 985837 w 2370773"/>
                <a:gd name="connsiteY42" fmla="*/ 1908809 h 1940242"/>
                <a:gd name="connsiteX43" fmla="*/ 975360 w 2370773"/>
                <a:gd name="connsiteY43" fmla="*/ 1898332 h 1940242"/>
                <a:gd name="connsiteX44" fmla="*/ 985837 w 2370773"/>
                <a:gd name="connsiteY44" fmla="*/ 1887854 h 1940242"/>
                <a:gd name="connsiteX45" fmla="*/ 930593 w 2370773"/>
                <a:gd name="connsiteY45" fmla="*/ 1878329 h 1940242"/>
                <a:gd name="connsiteX46" fmla="*/ 937260 w 2370773"/>
                <a:gd name="connsiteY46" fmla="*/ 1884996 h 1940242"/>
                <a:gd name="connsiteX47" fmla="*/ 930593 w 2370773"/>
                <a:gd name="connsiteY47" fmla="*/ 1891664 h 1940242"/>
                <a:gd name="connsiteX48" fmla="*/ 923925 w 2370773"/>
                <a:gd name="connsiteY48" fmla="*/ 1884996 h 1940242"/>
                <a:gd name="connsiteX49" fmla="*/ 930593 w 2370773"/>
                <a:gd name="connsiteY49" fmla="*/ 1878329 h 1940242"/>
                <a:gd name="connsiteX50" fmla="*/ 1725930 w 2370773"/>
                <a:gd name="connsiteY50" fmla="*/ 1867852 h 1940242"/>
                <a:gd name="connsiteX51" fmla="*/ 1726883 w 2370773"/>
                <a:gd name="connsiteY51" fmla="*/ 1868804 h 1940242"/>
                <a:gd name="connsiteX52" fmla="*/ 1725930 w 2370773"/>
                <a:gd name="connsiteY52" fmla="*/ 1869757 h 1940242"/>
                <a:gd name="connsiteX53" fmla="*/ 1724978 w 2370773"/>
                <a:gd name="connsiteY53" fmla="*/ 1868804 h 1940242"/>
                <a:gd name="connsiteX54" fmla="*/ 1725930 w 2370773"/>
                <a:gd name="connsiteY54" fmla="*/ 1867852 h 1940242"/>
                <a:gd name="connsiteX55" fmla="*/ 699135 w 2370773"/>
                <a:gd name="connsiteY55" fmla="*/ 1867852 h 1940242"/>
                <a:gd name="connsiteX56" fmla="*/ 701040 w 2370773"/>
                <a:gd name="connsiteY56" fmla="*/ 1869757 h 1940242"/>
                <a:gd name="connsiteX57" fmla="*/ 699135 w 2370773"/>
                <a:gd name="connsiteY57" fmla="*/ 1871662 h 1940242"/>
                <a:gd name="connsiteX58" fmla="*/ 697230 w 2370773"/>
                <a:gd name="connsiteY58" fmla="*/ 1869757 h 1940242"/>
                <a:gd name="connsiteX59" fmla="*/ 699135 w 2370773"/>
                <a:gd name="connsiteY59" fmla="*/ 1867852 h 1940242"/>
                <a:gd name="connsiteX60" fmla="*/ 1285875 w 2370773"/>
                <a:gd name="connsiteY60" fmla="*/ 1851659 h 1940242"/>
                <a:gd name="connsiteX61" fmla="*/ 1303973 w 2370773"/>
                <a:gd name="connsiteY61" fmla="*/ 1869757 h 1940242"/>
                <a:gd name="connsiteX62" fmla="*/ 1285875 w 2370773"/>
                <a:gd name="connsiteY62" fmla="*/ 1887854 h 1940242"/>
                <a:gd name="connsiteX63" fmla="*/ 1267778 w 2370773"/>
                <a:gd name="connsiteY63" fmla="*/ 1869757 h 1940242"/>
                <a:gd name="connsiteX64" fmla="*/ 1285875 w 2370773"/>
                <a:gd name="connsiteY64" fmla="*/ 1851659 h 1940242"/>
                <a:gd name="connsiteX65" fmla="*/ 1343978 w 2370773"/>
                <a:gd name="connsiteY65" fmla="*/ 1850707 h 1940242"/>
                <a:gd name="connsiteX66" fmla="*/ 1362075 w 2370773"/>
                <a:gd name="connsiteY66" fmla="*/ 1868804 h 1940242"/>
                <a:gd name="connsiteX67" fmla="*/ 1343978 w 2370773"/>
                <a:gd name="connsiteY67" fmla="*/ 1886902 h 1940242"/>
                <a:gd name="connsiteX68" fmla="*/ 1325880 w 2370773"/>
                <a:gd name="connsiteY68" fmla="*/ 1868804 h 1940242"/>
                <a:gd name="connsiteX69" fmla="*/ 1343978 w 2370773"/>
                <a:gd name="connsiteY69" fmla="*/ 1850707 h 1940242"/>
                <a:gd name="connsiteX70" fmla="*/ 1401128 w 2370773"/>
                <a:gd name="connsiteY70" fmla="*/ 1847850 h 1940242"/>
                <a:gd name="connsiteX71" fmla="*/ 1420178 w 2370773"/>
                <a:gd name="connsiteY71" fmla="*/ 1866900 h 1940242"/>
                <a:gd name="connsiteX72" fmla="*/ 1401128 w 2370773"/>
                <a:gd name="connsiteY72" fmla="*/ 1885950 h 1940242"/>
                <a:gd name="connsiteX73" fmla="*/ 1382078 w 2370773"/>
                <a:gd name="connsiteY73" fmla="*/ 1866900 h 1940242"/>
                <a:gd name="connsiteX74" fmla="*/ 1401128 w 2370773"/>
                <a:gd name="connsiteY74" fmla="*/ 1847850 h 1940242"/>
                <a:gd name="connsiteX75" fmla="*/ 1228725 w 2370773"/>
                <a:gd name="connsiteY75" fmla="*/ 1847850 h 1940242"/>
                <a:gd name="connsiteX76" fmla="*/ 1248727 w 2370773"/>
                <a:gd name="connsiteY76" fmla="*/ 1867853 h 1940242"/>
                <a:gd name="connsiteX77" fmla="*/ 1228725 w 2370773"/>
                <a:gd name="connsiteY77" fmla="*/ 1887855 h 1940242"/>
                <a:gd name="connsiteX78" fmla="*/ 1208722 w 2370773"/>
                <a:gd name="connsiteY78" fmla="*/ 1867853 h 1940242"/>
                <a:gd name="connsiteX79" fmla="*/ 1228725 w 2370773"/>
                <a:gd name="connsiteY79" fmla="*/ 1847850 h 1940242"/>
                <a:gd name="connsiteX80" fmla="*/ 874395 w 2370773"/>
                <a:gd name="connsiteY80" fmla="*/ 1846897 h 1940242"/>
                <a:gd name="connsiteX81" fmla="*/ 896303 w 2370773"/>
                <a:gd name="connsiteY81" fmla="*/ 1868804 h 1940242"/>
                <a:gd name="connsiteX82" fmla="*/ 874395 w 2370773"/>
                <a:gd name="connsiteY82" fmla="*/ 1890712 h 1940242"/>
                <a:gd name="connsiteX83" fmla="*/ 852488 w 2370773"/>
                <a:gd name="connsiteY83" fmla="*/ 1868804 h 1940242"/>
                <a:gd name="connsiteX84" fmla="*/ 874395 w 2370773"/>
                <a:gd name="connsiteY84" fmla="*/ 1846897 h 1940242"/>
                <a:gd name="connsiteX85" fmla="*/ 1170622 w 2370773"/>
                <a:gd name="connsiteY85" fmla="*/ 1843087 h 1940242"/>
                <a:gd name="connsiteX86" fmla="*/ 1191577 w 2370773"/>
                <a:gd name="connsiteY86" fmla="*/ 1864042 h 1940242"/>
                <a:gd name="connsiteX87" fmla="*/ 1170622 w 2370773"/>
                <a:gd name="connsiteY87" fmla="*/ 1884997 h 1940242"/>
                <a:gd name="connsiteX88" fmla="*/ 1149667 w 2370773"/>
                <a:gd name="connsiteY88" fmla="*/ 1864042 h 1940242"/>
                <a:gd name="connsiteX89" fmla="*/ 1170622 w 2370773"/>
                <a:gd name="connsiteY89" fmla="*/ 1843087 h 1940242"/>
                <a:gd name="connsiteX90" fmla="*/ 646747 w 2370773"/>
                <a:gd name="connsiteY90" fmla="*/ 1843087 h 1940242"/>
                <a:gd name="connsiteX91" fmla="*/ 648652 w 2370773"/>
                <a:gd name="connsiteY91" fmla="*/ 1844992 h 1940242"/>
                <a:gd name="connsiteX92" fmla="*/ 646747 w 2370773"/>
                <a:gd name="connsiteY92" fmla="*/ 1846897 h 1940242"/>
                <a:gd name="connsiteX93" fmla="*/ 644842 w 2370773"/>
                <a:gd name="connsiteY93" fmla="*/ 1844992 h 1940242"/>
                <a:gd name="connsiteX94" fmla="*/ 646747 w 2370773"/>
                <a:gd name="connsiteY94" fmla="*/ 1843087 h 1940242"/>
                <a:gd name="connsiteX95" fmla="*/ 1459230 w 2370773"/>
                <a:gd name="connsiteY95" fmla="*/ 1841182 h 1940242"/>
                <a:gd name="connsiteX96" fmla="*/ 1478280 w 2370773"/>
                <a:gd name="connsiteY96" fmla="*/ 1860232 h 1940242"/>
                <a:gd name="connsiteX97" fmla="*/ 1459230 w 2370773"/>
                <a:gd name="connsiteY97" fmla="*/ 1879282 h 1940242"/>
                <a:gd name="connsiteX98" fmla="*/ 1440180 w 2370773"/>
                <a:gd name="connsiteY98" fmla="*/ 1860232 h 1940242"/>
                <a:gd name="connsiteX99" fmla="*/ 1459230 w 2370773"/>
                <a:gd name="connsiteY99" fmla="*/ 1841182 h 1940242"/>
                <a:gd name="connsiteX100" fmla="*/ 1515428 w 2370773"/>
                <a:gd name="connsiteY100" fmla="*/ 1837372 h 1940242"/>
                <a:gd name="connsiteX101" fmla="*/ 1530668 w 2370773"/>
                <a:gd name="connsiteY101" fmla="*/ 1852612 h 1940242"/>
                <a:gd name="connsiteX102" fmla="*/ 1515428 w 2370773"/>
                <a:gd name="connsiteY102" fmla="*/ 1867852 h 1940242"/>
                <a:gd name="connsiteX103" fmla="*/ 1500188 w 2370773"/>
                <a:gd name="connsiteY103" fmla="*/ 1852612 h 1940242"/>
                <a:gd name="connsiteX104" fmla="*/ 1515428 w 2370773"/>
                <a:gd name="connsiteY104" fmla="*/ 1837372 h 1940242"/>
                <a:gd name="connsiteX105" fmla="*/ 1113472 w 2370773"/>
                <a:gd name="connsiteY105" fmla="*/ 1837372 h 1940242"/>
                <a:gd name="connsiteX106" fmla="*/ 1133475 w 2370773"/>
                <a:gd name="connsiteY106" fmla="*/ 1857375 h 1940242"/>
                <a:gd name="connsiteX107" fmla="*/ 1113472 w 2370773"/>
                <a:gd name="connsiteY107" fmla="*/ 1877377 h 1940242"/>
                <a:gd name="connsiteX108" fmla="*/ 1093470 w 2370773"/>
                <a:gd name="connsiteY108" fmla="*/ 1857375 h 1940242"/>
                <a:gd name="connsiteX109" fmla="*/ 1113472 w 2370773"/>
                <a:gd name="connsiteY109" fmla="*/ 1837372 h 1940242"/>
                <a:gd name="connsiteX110" fmla="*/ 820103 w 2370773"/>
                <a:gd name="connsiteY110" fmla="*/ 1832609 h 1940242"/>
                <a:gd name="connsiteX111" fmla="*/ 837248 w 2370773"/>
                <a:gd name="connsiteY111" fmla="*/ 1849754 h 1940242"/>
                <a:gd name="connsiteX112" fmla="*/ 820103 w 2370773"/>
                <a:gd name="connsiteY112" fmla="*/ 1866899 h 1940242"/>
                <a:gd name="connsiteX113" fmla="*/ 802958 w 2370773"/>
                <a:gd name="connsiteY113" fmla="*/ 1849754 h 1940242"/>
                <a:gd name="connsiteX114" fmla="*/ 820103 w 2370773"/>
                <a:gd name="connsiteY114" fmla="*/ 1832609 h 1940242"/>
                <a:gd name="connsiteX115" fmla="*/ 1572578 w 2370773"/>
                <a:gd name="connsiteY115" fmla="*/ 1831657 h 1940242"/>
                <a:gd name="connsiteX116" fmla="*/ 1583055 w 2370773"/>
                <a:gd name="connsiteY116" fmla="*/ 1842134 h 1940242"/>
                <a:gd name="connsiteX117" fmla="*/ 1572578 w 2370773"/>
                <a:gd name="connsiteY117" fmla="*/ 1852612 h 1940242"/>
                <a:gd name="connsiteX118" fmla="*/ 1562100 w 2370773"/>
                <a:gd name="connsiteY118" fmla="*/ 1842134 h 1940242"/>
                <a:gd name="connsiteX119" fmla="*/ 1572578 w 2370773"/>
                <a:gd name="connsiteY119" fmla="*/ 1831657 h 1940242"/>
                <a:gd name="connsiteX120" fmla="*/ 1057275 w 2370773"/>
                <a:gd name="connsiteY120" fmla="*/ 1826895 h 1940242"/>
                <a:gd name="connsiteX121" fmla="*/ 1077278 w 2370773"/>
                <a:gd name="connsiteY121" fmla="*/ 1846897 h 1940242"/>
                <a:gd name="connsiteX122" fmla="*/ 1057275 w 2370773"/>
                <a:gd name="connsiteY122" fmla="*/ 1866900 h 1940242"/>
                <a:gd name="connsiteX123" fmla="*/ 1037273 w 2370773"/>
                <a:gd name="connsiteY123" fmla="*/ 1846897 h 1940242"/>
                <a:gd name="connsiteX124" fmla="*/ 1057275 w 2370773"/>
                <a:gd name="connsiteY124" fmla="*/ 1826895 h 1940242"/>
                <a:gd name="connsiteX125" fmla="*/ 1628775 w 2370773"/>
                <a:gd name="connsiteY125" fmla="*/ 1823084 h 1940242"/>
                <a:gd name="connsiteX126" fmla="*/ 1634490 w 2370773"/>
                <a:gd name="connsiteY126" fmla="*/ 1828799 h 1940242"/>
                <a:gd name="connsiteX127" fmla="*/ 1628775 w 2370773"/>
                <a:gd name="connsiteY127" fmla="*/ 1834514 h 1940242"/>
                <a:gd name="connsiteX128" fmla="*/ 1623060 w 2370773"/>
                <a:gd name="connsiteY128" fmla="*/ 1828799 h 1940242"/>
                <a:gd name="connsiteX129" fmla="*/ 1628775 w 2370773"/>
                <a:gd name="connsiteY129" fmla="*/ 1823084 h 1940242"/>
                <a:gd name="connsiteX130" fmla="*/ 766763 w 2370773"/>
                <a:gd name="connsiteY130" fmla="*/ 1820227 h 1940242"/>
                <a:gd name="connsiteX131" fmla="*/ 775335 w 2370773"/>
                <a:gd name="connsiteY131" fmla="*/ 1828799 h 1940242"/>
                <a:gd name="connsiteX132" fmla="*/ 766763 w 2370773"/>
                <a:gd name="connsiteY132" fmla="*/ 1837372 h 1940242"/>
                <a:gd name="connsiteX133" fmla="*/ 758190 w 2370773"/>
                <a:gd name="connsiteY133" fmla="*/ 1828799 h 1940242"/>
                <a:gd name="connsiteX134" fmla="*/ 766763 w 2370773"/>
                <a:gd name="connsiteY134" fmla="*/ 1820227 h 1940242"/>
                <a:gd name="connsiteX135" fmla="*/ 1684020 w 2370773"/>
                <a:gd name="connsiteY135" fmla="*/ 1813559 h 1940242"/>
                <a:gd name="connsiteX136" fmla="*/ 1684972 w 2370773"/>
                <a:gd name="connsiteY136" fmla="*/ 1814512 h 1940242"/>
                <a:gd name="connsiteX137" fmla="*/ 1684020 w 2370773"/>
                <a:gd name="connsiteY137" fmla="*/ 1815464 h 1940242"/>
                <a:gd name="connsiteX138" fmla="*/ 1683067 w 2370773"/>
                <a:gd name="connsiteY138" fmla="*/ 1814512 h 1940242"/>
                <a:gd name="connsiteX139" fmla="*/ 1684020 w 2370773"/>
                <a:gd name="connsiteY139" fmla="*/ 1813559 h 1940242"/>
                <a:gd name="connsiteX140" fmla="*/ 1000125 w 2370773"/>
                <a:gd name="connsiteY140" fmla="*/ 1813559 h 1940242"/>
                <a:gd name="connsiteX141" fmla="*/ 1022032 w 2370773"/>
                <a:gd name="connsiteY141" fmla="*/ 1835467 h 1940242"/>
                <a:gd name="connsiteX142" fmla="*/ 1000125 w 2370773"/>
                <a:gd name="connsiteY142" fmla="*/ 1857374 h 1940242"/>
                <a:gd name="connsiteX143" fmla="*/ 978217 w 2370773"/>
                <a:gd name="connsiteY143" fmla="*/ 1835467 h 1940242"/>
                <a:gd name="connsiteX144" fmla="*/ 1000125 w 2370773"/>
                <a:gd name="connsiteY144" fmla="*/ 1813559 h 1940242"/>
                <a:gd name="connsiteX145" fmla="*/ 944880 w 2370773"/>
                <a:gd name="connsiteY145" fmla="*/ 1799272 h 1940242"/>
                <a:gd name="connsiteX146" fmla="*/ 966788 w 2370773"/>
                <a:gd name="connsiteY146" fmla="*/ 1821180 h 1940242"/>
                <a:gd name="connsiteX147" fmla="*/ 944880 w 2370773"/>
                <a:gd name="connsiteY147" fmla="*/ 1843087 h 1940242"/>
                <a:gd name="connsiteX148" fmla="*/ 922973 w 2370773"/>
                <a:gd name="connsiteY148" fmla="*/ 1821180 h 1940242"/>
                <a:gd name="connsiteX149" fmla="*/ 944880 w 2370773"/>
                <a:gd name="connsiteY149" fmla="*/ 1799272 h 1940242"/>
                <a:gd name="connsiteX150" fmla="*/ 544829 w 2370773"/>
                <a:gd name="connsiteY150" fmla="*/ 1789747 h 1940242"/>
                <a:gd name="connsiteX151" fmla="*/ 545782 w 2370773"/>
                <a:gd name="connsiteY151" fmla="*/ 1790700 h 1940242"/>
                <a:gd name="connsiteX152" fmla="*/ 544829 w 2370773"/>
                <a:gd name="connsiteY152" fmla="*/ 1791652 h 1940242"/>
                <a:gd name="connsiteX153" fmla="*/ 543877 w 2370773"/>
                <a:gd name="connsiteY153" fmla="*/ 1790700 h 1940242"/>
                <a:gd name="connsiteX154" fmla="*/ 544829 w 2370773"/>
                <a:gd name="connsiteY154" fmla="*/ 1789747 h 1940242"/>
                <a:gd name="connsiteX155" fmla="*/ 1243012 w 2370773"/>
                <a:gd name="connsiteY155" fmla="*/ 1787842 h 1940242"/>
                <a:gd name="connsiteX156" fmla="*/ 1260157 w 2370773"/>
                <a:gd name="connsiteY156" fmla="*/ 1804987 h 1940242"/>
                <a:gd name="connsiteX157" fmla="*/ 1243012 w 2370773"/>
                <a:gd name="connsiteY157" fmla="*/ 1822132 h 1940242"/>
                <a:gd name="connsiteX158" fmla="*/ 1225867 w 2370773"/>
                <a:gd name="connsiteY158" fmla="*/ 1804987 h 1940242"/>
                <a:gd name="connsiteX159" fmla="*/ 1243012 w 2370773"/>
                <a:gd name="connsiteY159" fmla="*/ 1787842 h 1940242"/>
                <a:gd name="connsiteX160" fmla="*/ 1300163 w 2370773"/>
                <a:gd name="connsiteY160" fmla="*/ 1786890 h 1940242"/>
                <a:gd name="connsiteX161" fmla="*/ 1319213 w 2370773"/>
                <a:gd name="connsiteY161" fmla="*/ 1805940 h 1940242"/>
                <a:gd name="connsiteX162" fmla="*/ 1300163 w 2370773"/>
                <a:gd name="connsiteY162" fmla="*/ 1824990 h 1940242"/>
                <a:gd name="connsiteX163" fmla="*/ 1281113 w 2370773"/>
                <a:gd name="connsiteY163" fmla="*/ 1805940 h 1940242"/>
                <a:gd name="connsiteX164" fmla="*/ 1300163 w 2370773"/>
                <a:gd name="connsiteY164" fmla="*/ 1786890 h 1940242"/>
                <a:gd name="connsiteX165" fmla="*/ 1739266 w 2370773"/>
                <a:gd name="connsiteY165" fmla="*/ 1785937 h 1940242"/>
                <a:gd name="connsiteX166" fmla="*/ 1749743 w 2370773"/>
                <a:gd name="connsiteY166" fmla="*/ 1796415 h 1940242"/>
                <a:gd name="connsiteX167" fmla="*/ 1739266 w 2370773"/>
                <a:gd name="connsiteY167" fmla="*/ 1806892 h 1940242"/>
                <a:gd name="connsiteX168" fmla="*/ 1728788 w 2370773"/>
                <a:gd name="connsiteY168" fmla="*/ 1796415 h 1940242"/>
                <a:gd name="connsiteX169" fmla="*/ 1739266 w 2370773"/>
                <a:gd name="connsiteY169" fmla="*/ 1785937 h 1940242"/>
                <a:gd name="connsiteX170" fmla="*/ 1358265 w 2370773"/>
                <a:gd name="connsiteY170" fmla="*/ 1785937 h 1940242"/>
                <a:gd name="connsiteX171" fmla="*/ 1377315 w 2370773"/>
                <a:gd name="connsiteY171" fmla="*/ 1804987 h 1940242"/>
                <a:gd name="connsiteX172" fmla="*/ 1358265 w 2370773"/>
                <a:gd name="connsiteY172" fmla="*/ 1824037 h 1940242"/>
                <a:gd name="connsiteX173" fmla="*/ 1339215 w 2370773"/>
                <a:gd name="connsiteY173" fmla="*/ 1804987 h 1940242"/>
                <a:gd name="connsiteX174" fmla="*/ 1358265 w 2370773"/>
                <a:gd name="connsiteY174" fmla="*/ 1785937 h 1940242"/>
                <a:gd name="connsiteX175" fmla="*/ 888683 w 2370773"/>
                <a:gd name="connsiteY175" fmla="*/ 1785937 h 1940242"/>
                <a:gd name="connsiteX176" fmla="*/ 908685 w 2370773"/>
                <a:gd name="connsiteY176" fmla="*/ 1805940 h 1940242"/>
                <a:gd name="connsiteX177" fmla="*/ 888683 w 2370773"/>
                <a:gd name="connsiteY177" fmla="*/ 1825942 h 1940242"/>
                <a:gd name="connsiteX178" fmla="*/ 868680 w 2370773"/>
                <a:gd name="connsiteY178" fmla="*/ 1805940 h 1940242"/>
                <a:gd name="connsiteX179" fmla="*/ 888683 w 2370773"/>
                <a:gd name="connsiteY179" fmla="*/ 1785937 h 1940242"/>
                <a:gd name="connsiteX180" fmla="*/ 713423 w 2370773"/>
                <a:gd name="connsiteY180" fmla="*/ 1783079 h 1940242"/>
                <a:gd name="connsiteX181" fmla="*/ 736283 w 2370773"/>
                <a:gd name="connsiteY181" fmla="*/ 1805939 h 1940242"/>
                <a:gd name="connsiteX182" fmla="*/ 713423 w 2370773"/>
                <a:gd name="connsiteY182" fmla="*/ 1828799 h 1940242"/>
                <a:gd name="connsiteX183" fmla="*/ 690563 w 2370773"/>
                <a:gd name="connsiteY183" fmla="*/ 1805939 h 1940242"/>
                <a:gd name="connsiteX184" fmla="*/ 713423 w 2370773"/>
                <a:gd name="connsiteY184" fmla="*/ 1783079 h 1940242"/>
                <a:gd name="connsiteX185" fmla="*/ 1415415 w 2370773"/>
                <a:gd name="connsiteY185" fmla="*/ 1782127 h 1940242"/>
                <a:gd name="connsiteX186" fmla="*/ 1433512 w 2370773"/>
                <a:gd name="connsiteY186" fmla="*/ 1800224 h 1940242"/>
                <a:gd name="connsiteX187" fmla="*/ 1415415 w 2370773"/>
                <a:gd name="connsiteY187" fmla="*/ 1818322 h 1940242"/>
                <a:gd name="connsiteX188" fmla="*/ 1397317 w 2370773"/>
                <a:gd name="connsiteY188" fmla="*/ 1800224 h 1940242"/>
                <a:gd name="connsiteX189" fmla="*/ 1415415 w 2370773"/>
                <a:gd name="connsiteY189" fmla="*/ 1782127 h 1940242"/>
                <a:gd name="connsiteX190" fmla="*/ 1185863 w 2370773"/>
                <a:gd name="connsiteY190" fmla="*/ 1780222 h 1940242"/>
                <a:gd name="connsiteX191" fmla="*/ 1205865 w 2370773"/>
                <a:gd name="connsiteY191" fmla="*/ 1800225 h 1940242"/>
                <a:gd name="connsiteX192" fmla="*/ 1185863 w 2370773"/>
                <a:gd name="connsiteY192" fmla="*/ 1820227 h 1940242"/>
                <a:gd name="connsiteX193" fmla="*/ 1165860 w 2370773"/>
                <a:gd name="connsiteY193" fmla="*/ 1800225 h 1940242"/>
                <a:gd name="connsiteX194" fmla="*/ 1185863 w 2370773"/>
                <a:gd name="connsiteY194" fmla="*/ 1780222 h 1940242"/>
                <a:gd name="connsiteX195" fmla="*/ 1472565 w 2370773"/>
                <a:gd name="connsiteY195" fmla="*/ 1776412 h 1940242"/>
                <a:gd name="connsiteX196" fmla="*/ 1490662 w 2370773"/>
                <a:gd name="connsiteY196" fmla="*/ 1794509 h 1940242"/>
                <a:gd name="connsiteX197" fmla="*/ 1472565 w 2370773"/>
                <a:gd name="connsiteY197" fmla="*/ 1812607 h 1940242"/>
                <a:gd name="connsiteX198" fmla="*/ 1454467 w 2370773"/>
                <a:gd name="connsiteY198" fmla="*/ 1794509 h 1940242"/>
                <a:gd name="connsiteX199" fmla="*/ 1472565 w 2370773"/>
                <a:gd name="connsiteY199" fmla="*/ 1776412 h 1940242"/>
                <a:gd name="connsiteX200" fmla="*/ 1127760 w 2370773"/>
                <a:gd name="connsiteY200" fmla="*/ 1776412 h 1940242"/>
                <a:gd name="connsiteX201" fmla="*/ 1144905 w 2370773"/>
                <a:gd name="connsiteY201" fmla="*/ 1793557 h 1940242"/>
                <a:gd name="connsiteX202" fmla="*/ 1127760 w 2370773"/>
                <a:gd name="connsiteY202" fmla="*/ 1810702 h 1940242"/>
                <a:gd name="connsiteX203" fmla="*/ 1110615 w 2370773"/>
                <a:gd name="connsiteY203" fmla="*/ 1793557 h 1940242"/>
                <a:gd name="connsiteX204" fmla="*/ 1127760 w 2370773"/>
                <a:gd name="connsiteY204" fmla="*/ 1776412 h 1940242"/>
                <a:gd name="connsiteX205" fmla="*/ 1529715 w 2370773"/>
                <a:gd name="connsiteY205" fmla="*/ 1769745 h 1940242"/>
                <a:gd name="connsiteX206" fmla="*/ 1544955 w 2370773"/>
                <a:gd name="connsiteY206" fmla="*/ 1784985 h 1940242"/>
                <a:gd name="connsiteX207" fmla="*/ 1529715 w 2370773"/>
                <a:gd name="connsiteY207" fmla="*/ 1800225 h 1940242"/>
                <a:gd name="connsiteX208" fmla="*/ 1514475 w 2370773"/>
                <a:gd name="connsiteY208" fmla="*/ 1784985 h 1940242"/>
                <a:gd name="connsiteX209" fmla="*/ 1529715 w 2370773"/>
                <a:gd name="connsiteY209" fmla="*/ 1769745 h 1940242"/>
                <a:gd name="connsiteX210" fmla="*/ 834390 w 2370773"/>
                <a:gd name="connsiteY210" fmla="*/ 1766887 h 1940242"/>
                <a:gd name="connsiteX211" fmla="*/ 854393 w 2370773"/>
                <a:gd name="connsiteY211" fmla="*/ 1786890 h 1940242"/>
                <a:gd name="connsiteX212" fmla="*/ 834390 w 2370773"/>
                <a:gd name="connsiteY212" fmla="*/ 1806892 h 1940242"/>
                <a:gd name="connsiteX213" fmla="*/ 814388 w 2370773"/>
                <a:gd name="connsiteY213" fmla="*/ 1786890 h 1940242"/>
                <a:gd name="connsiteX214" fmla="*/ 834390 w 2370773"/>
                <a:gd name="connsiteY214" fmla="*/ 1766887 h 1940242"/>
                <a:gd name="connsiteX215" fmla="*/ 1793558 w 2370773"/>
                <a:gd name="connsiteY215" fmla="*/ 1765934 h 1940242"/>
                <a:gd name="connsiteX216" fmla="*/ 1804035 w 2370773"/>
                <a:gd name="connsiteY216" fmla="*/ 1776412 h 1940242"/>
                <a:gd name="connsiteX217" fmla="*/ 1793558 w 2370773"/>
                <a:gd name="connsiteY217" fmla="*/ 1786889 h 1940242"/>
                <a:gd name="connsiteX218" fmla="*/ 1783080 w 2370773"/>
                <a:gd name="connsiteY218" fmla="*/ 1776412 h 1940242"/>
                <a:gd name="connsiteX219" fmla="*/ 1793558 w 2370773"/>
                <a:gd name="connsiteY219" fmla="*/ 1765934 h 1940242"/>
                <a:gd name="connsiteX220" fmla="*/ 1071563 w 2370773"/>
                <a:gd name="connsiteY220" fmla="*/ 1764029 h 1940242"/>
                <a:gd name="connsiteX221" fmla="*/ 1092518 w 2370773"/>
                <a:gd name="connsiteY221" fmla="*/ 1784984 h 1940242"/>
                <a:gd name="connsiteX222" fmla="*/ 1071563 w 2370773"/>
                <a:gd name="connsiteY222" fmla="*/ 1805939 h 1940242"/>
                <a:gd name="connsiteX223" fmla="*/ 1050608 w 2370773"/>
                <a:gd name="connsiteY223" fmla="*/ 1784984 h 1940242"/>
                <a:gd name="connsiteX224" fmla="*/ 1071563 w 2370773"/>
                <a:gd name="connsiteY224" fmla="*/ 1764029 h 1940242"/>
                <a:gd name="connsiteX225" fmla="*/ 661035 w 2370773"/>
                <a:gd name="connsiteY225" fmla="*/ 1762125 h 1940242"/>
                <a:gd name="connsiteX226" fmla="*/ 680085 w 2370773"/>
                <a:gd name="connsiteY226" fmla="*/ 1781175 h 1940242"/>
                <a:gd name="connsiteX227" fmla="*/ 661035 w 2370773"/>
                <a:gd name="connsiteY227" fmla="*/ 1800225 h 1940242"/>
                <a:gd name="connsiteX228" fmla="*/ 641985 w 2370773"/>
                <a:gd name="connsiteY228" fmla="*/ 1781175 h 1940242"/>
                <a:gd name="connsiteX229" fmla="*/ 661035 w 2370773"/>
                <a:gd name="connsiteY229" fmla="*/ 1762125 h 1940242"/>
                <a:gd name="connsiteX230" fmla="*/ 1586865 w 2370773"/>
                <a:gd name="connsiteY230" fmla="*/ 1756409 h 1940242"/>
                <a:gd name="connsiteX231" fmla="*/ 1604009 w 2370773"/>
                <a:gd name="connsiteY231" fmla="*/ 1773554 h 1940242"/>
                <a:gd name="connsiteX232" fmla="*/ 1586865 w 2370773"/>
                <a:gd name="connsiteY232" fmla="*/ 1790699 h 1940242"/>
                <a:gd name="connsiteX233" fmla="*/ 1569720 w 2370773"/>
                <a:gd name="connsiteY233" fmla="*/ 1773554 h 1940242"/>
                <a:gd name="connsiteX234" fmla="*/ 1586865 w 2370773"/>
                <a:gd name="connsiteY234" fmla="*/ 1756409 h 1940242"/>
                <a:gd name="connsiteX235" fmla="*/ 1846898 w 2370773"/>
                <a:gd name="connsiteY235" fmla="*/ 1751647 h 1940242"/>
                <a:gd name="connsiteX236" fmla="*/ 1849755 w 2370773"/>
                <a:gd name="connsiteY236" fmla="*/ 1754505 h 1940242"/>
                <a:gd name="connsiteX237" fmla="*/ 1846898 w 2370773"/>
                <a:gd name="connsiteY237" fmla="*/ 1757362 h 1940242"/>
                <a:gd name="connsiteX238" fmla="*/ 1844040 w 2370773"/>
                <a:gd name="connsiteY238" fmla="*/ 1754505 h 1940242"/>
                <a:gd name="connsiteX239" fmla="*/ 1846898 w 2370773"/>
                <a:gd name="connsiteY239" fmla="*/ 1751647 h 1940242"/>
                <a:gd name="connsiteX240" fmla="*/ 1014413 w 2370773"/>
                <a:gd name="connsiteY240" fmla="*/ 1749742 h 1940242"/>
                <a:gd name="connsiteX241" fmla="*/ 1038225 w 2370773"/>
                <a:gd name="connsiteY241" fmla="*/ 1773555 h 1940242"/>
                <a:gd name="connsiteX242" fmla="*/ 1014413 w 2370773"/>
                <a:gd name="connsiteY242" fmla="*/ 1797367 h 1940242"/>
                <a:gd name="connsiteX243" fmla="*/ 990600 w 2370773"/>
                <a:gd name="connsiteY243" fmla="*/ 1773555 h 1940242"/>
                <a:gd name="connsiteX244" fmla="*/ 1014413 w 2370773"/>
                <a:gd name="connsiteY244" fmla="*/ 1749742 h 1940242"/>
                <a:gd name="connsiteX245" fmla="*/ 610552 w 2370773"/>
                <a:gd name="connsiteY245" fmla="*/ 1746884 h 1940242"/>
                <a:gd name="connsiteX246" fmla="*/ 616267 w 2370773"/>
                <a:gd name="connsiteY246" fmla="*/ 1753552 h 1940242"/>
                <a:gd name="connsiteX247" fmla="*/ 610552 w 2370773"/>
                <a:gd name="connsiteY247" fmla="*/ 1760219 h 1940242"/>
                <a:gd name="connsiteX248" fmla="*/ 603885 w 2370773"/>
                <a:gd name="connsiteY248" fmla="*/ 1753552 h 1940242"/>
                <a:gd name="connsiteX249" fmla="*/ 610552 w 2370773"/>
                <a:gd name="connsiteY249" fmla="*/ 1746884 h 1940242"/>
                <a:gd name="connsiteX250" fmla="*/ 781050 w 2370773"/>
                <a:gd name="connsiteY250" fmla="*/ 1744027 h 1940242"/>
                <a:gd name="connsiteX251" fmla="*/ 802957 w 2370773"/>
                <a:gd name="connsiteY251" fmla="*/ 1765934 h 1940242"/>
                <a:gd name="connsiteX252" fmla="*/ 781050 w 2370773"/>
                <a:gd name="connsiteY252" fmla="*/ 1787842 h 1940242"/>
                <a:gd name="connsiteX253" fmla="*/ 759142 w 2370773"/>
                <a:gd name="connsiteY253" fmla="*/ 1765934 h 1940242"/>
                <a:gd name="connsiteX254" fmla="*/ 781050 w 2370773"/>
                <a:gd name="connsiteY254" fmla="*/ 1744027 h 1940242"/>
                <a:gd name="connsiteX255" fmla="*/ 1642111 w 2370773"/>
                <a:gd name="connsiteY255" fmla="*/ 1743075 h 1940242"/>
                <a:gd name="connsiteX256" fmla="*/ 1658303 w 2370773"/>
                <a:gd name="connsiteY256" fmla="*/ 1759267 h 1940242"/>
                <a:gd name="connsiteX257" fmla="*/ 1642111 w 2370773"/>
                <a:gd name="connsiteY257" fmla="*/ 1775460 h 1940242"/>
                <a:gd name="connsiteX258" fmla="*/ 1625918 w 2370773"/>
                <a:gd name="connsiteY258" fmla="*/ 1759267 h 1940242"/>
                <a:gd name="connsiteX259" fmla="*/ 1642111 w 2370773"/>
                <a:gd name="connsiteY259" fmla="*/ 1743075 h 1940242"/>
                <a:gd name="connsiteX260" fmla="*/ 959168 w 2370773"/>
                <a:gd name="connsiteY260" fmla="*/ 1736407 h 1940242"/>
                <a:gd name="connsiteX261" fmla="*/ 982028 w 2370773"/>
                <a:gd name="connsiteY261" fmla="*/ 1759267 h 1940242"/>
                <a:gd name="connsiteX262" fmla="*/ 959168 w 2370773"/>
                <a:gd name="connsiteY262" fmla="*/ 1782127 h 1940242"/>
                <a:gd name="connsiteX263" fmla="*/ 936308 w 2370773"/>
                <a:gd name="connsiteY263" fmla="*/ 1759267 h 1940242"/>
                <a:gd name="connsiteX264" fmla="*/ 959168 w 2370773"/>
                <a:gd name="connsiteY264" fmla="*/ 1736407 h 1940242"/>
                <a:gd name="connsiteX265" fmla="*/ 1697355 w 2370773"/>
                <a:gd name="connsiteY265" fmla="*/ 1726882 h 1940242"/>
                <a:gd name="connsiteX266" fmla="*/ 1713548 w 2370773"/>
                <a:gd name="connsiteY266" fmla="*/ 1743074 h 1940242"/>
                <a:gd name="connsiteX267" fmla="*/ 1697355 w 2370773"/>
                <a:gd name="connsiteY267" fmla="*/ 1759267 h 1940242"/>
                <a:gd name="connsiteX268" fmla="*/ 1681163 w 2370773"/>
                <a:gd name="connsiteY268" fmla="*/ 1743074 h 1940242"/>
                <a:gd name="connsiteX269" fmla="*/ 1697355 w 2370773"/>
                <a:gd name="connsiteY269" fmla="*/ 1726882 h 1940242"/>
                <a:gd name="connsiteX270" fmla="*/ 1200150 w 2370773"/>
                <a:gd name="connsiteY270" fmla="*/ 1722120 h 1940242"/>
                <a:gd name="connsiteX271" fmla="*/ 1215390 w 2370773"/>
                <a:gd name="connsiteY271" fmla="*/ 1737360 h 1940242"/>
                <a:gd name="connsiteX272" fmla="*/ 1200150 w 2370773"/>
                <a:gd name="connsiteY272" fmla="*/ 1752600 h 1940242"/>
                <a:gd name="connsiteX273" fmla="*/ 1184910 w 2370773"/>
                <a:gd name="connsiteY273" fmla="*/ 1737360 h 1940242"/>
                <a:gd name="connsiteX274" fmla="*/ 1200150 w 2370773"/>
                <a:gd name="connsiteY274" fmla="*/ 1722120 h 1940242"/>
                <a:gd name="connsiteX275" fmla="*/ 728663 w 2370773"/>
                <a:gd name="connsiteY275" fmla="*/ 1721167 h 1940242"/>
                <a:gd name="connsiteX276" fmla="*/ 749618 w 2370773"/>
                <a:gd name="connsiteY276" fmla="*/ 1742122 h 1940242"/>
                <a:gd name="connsiteX277" fmla="*/ 728663 w 2370773"/>
                <a:gd name="connsiteY277" fmla="*/ 1763077 h 1940242"/>
                <a:gd name="connsiteX278" fmla="*/ 707708 w 2370773"/>
                <a:gd name="connsiteY278" fmla="*/ 1742122 h 1940242"/>
                <a:gd name="connsiteX279" fmla="*/ 728663 w 2370773"/>
                <a:gd name="connsiteY279" fmla="*/ 1721167 h 1940242"/>
                <a:gd name="connsiteX280" fmla="*/ 1899285 w 2370773"/>
                <a:gd name="connsiteY280" fmla="*/ 1720215 h 1940242"/>
                <a:gd name="connsiteX281" fmla="*/ 1908810 w 2370773"/>
                <a:gd name="connsiteY281" fmla="*/ 1729740 h 1940242"/>
                <a:gd name="connsiteX282" fmla="*/ 1899285 w 2370773"/>
                <a:gd name="connsiteY282" fmla="*/ 1739265 h 1940242"/>
                <a:gd name="connsiteX283" fmla="*/ 1889760 w 2370773"/>
                <a:gd name="connsiteY283" fmla="*/ 1729740 h 1940242"/>
                <a:gd name="connsiteX284" fmla="*/ 1899285 w 2370773"/>
                <a:gd name="connsiteY284" fmla="*/ 1720215 h 1940242"/>
                <a:gd name="connsiteX285" fmla="*/ 903923 w 2370773"/>
                <a:gd name="connsiteY285" fmla="*/ 1720215 h 1940242"/>
                <a:gd name="connsiteX286" fmla="*/ 926783 w 2370773"/>
                <a:gd name="connsiteY286" fmla="*/ 1743075 h 1940242"/>
                <a:gd name="connsiteX287" fmla="*/ 903923 w 2370773"/>
                <a:gd name="connsiteY287" fmla="*/ 1765935 h 1940242"/>
                <a:gd name="connsiteX288" fmla="*/ 881063 w 2370773"/>
                <a:gd name="connsiteY288" fmla="*/ 1743075 h 1940242"/>
                <a:gd name="connsiteX289" fmla="*/ 903923 w 2370773"/>
                <a:gd name="connsiteY289" fmla="*/ 1720215 h 1940242"/>
                <a:gd name="connsiteX290" fmla="*/ 1315403 w 2370773"/>
                <a:gd name="connsiteY290" fmla="*/ 1719262 h 1940242"/>
                <a:gd name="connsiteX291" fmla="*/ 1337310 w 2370773"/>
                <a:gd name="connsiteY291" fmla="*/ 1741170 h 1940242"/>
                <a:gd name="connsiteX292" fmla="*/ 1315403 w 2370773"/>
                <a:gd name="connsiteY292" fmla="*/ 1763077 h 1940242"/>
                <a:gd name="connsiteX293" fmla="*/ 1293495 w 2370773"/>
                <a:gd name="connsiteY293" fmla="*/ 1741170 h 1940242"/>
                <a:gd name="connsiteX294" fmla="*/ 1315403 w 2370773"/>
                <a:gd name="connsiteY294" fmla="*/ 1719262 h 1940242"/>
                <a:gd name="connsiteX295" fmla="*/ 1257300 w 2370773"/>
                <a:gd name="connsiteY295" fmla="*/ 1719262 h 1940242"/>
                <a:gd name="connsiteX296" fmla="*/ 1278255 w 2370773"/>
                <a:gd name="connsiteY296" fmla="*/ 1740217 h 1940242"/>
                <a:gd name="connsiteX297" fmla="*/ 1257300 w 2370773"/>
                <a:gd name="connsiteY297" fmla="*/ 1761172 h 1940242"/>
                <a:gd name="connsiteX298" fmla="*/ 1236345 w 2370773"/>
                <a:gd name="connsiteY298" fmla="*/ 1740217 h 1940242"/>
                <a:gd name="connsiteX299" fmla="*/ 1257300 w 2370773"/>
                <a:gd name="connsiteY299" fmla="*/ 1719262 h 1940242"/>
                <a:gd name="connsiteX300" fmla="*/ 1372553 w 2370773"/>
                <a:gd name="connsiteY300" fmla="*/ 1717357 h 1940242"/>
                <a:gd name="connsiteX301" fmla="*/ 1394460 w 2370773"/>
                <a:gd name="connsiteY301" fmla="*/ 1739265 h 1940242"/>
                <a:gd name="connsiteX302" fmla="*/ 1372553 w 2370773"/>
                <a:gd name="connsiteY302" fmla="*/ 1761172 h 1940242"/>
                <a:gd name="connsiteX303" fmla="*/ 1350645 w 2370773"/>
                <a:gd name="connsiteY303" fmla="*/ 1739265 h 1940242"/>
                <a:gd name="connsiteX304" fmla="*/ 1372553 w 2370773"/>
                <a:gd name="connsiteY304" fmla="*/ 1717357 h 1940242"/>
                <a:gd name="connsiteX305" fmla="*/ 1429703 w 2370773"/>
                <a:gd name="connsiteY305" fmla="*/ 1714500 h 1940242"/>
                <a:gd name="connsiteX306" fmla="*/ 1449705 w 2370773"/>
                <a:gd name="connsiteY306" fmla="*/ 1734503 h 1940242"/>
                <a:gd name="connsiteX307" fmla="*/ 1429703 w 2370773"/>
                <a:gd name="connsiteY307" fmla="*/ 1754505 h 1940242"/>
                <a:gd name="connsiteX308" fmla="*/ 1409700 w 2370773"/>
                <a:gd name="connsiteY308" fmla="*/ 1734503 h 1940242"/>
                <a:gd name="connsiteX309" fmla="*/ 1429703 w 2370773"/>
                <a:gd name="connsiteY309" fmla="*/ 1714500 h 1940242"/>
                <a:gd name="connsiteX310" fmla="*/ 1142047 w 2370773"/>
                <a:gd name="connsiteY310" fmla="*/ 1714500 h 1940242"/>
                <a:gd name="connsiteX311" fmla="*/ 1159192 w 2370773"/>
                <a:gd name="connsiteY311" fmla="*/ 1731645 h 1940242"/>
                <a:gd name="connsiteX312" fmla="*/ 1142047 w 2370773"/>
                <a:gd name="connsiteY312" fmla="*/ 1748790 h 1940242"/>
                <a:gd name="connsiteX313" fmla="*/ 1124902 w 2370773"/>
                <a:gd name="connsiteY313" fmla="*/ 1731645 h 1940242"/>
                <a:gd name="connsiteX314" fmla="*/ 1142047 w 2370773"/>
                <a:gd name="connsiteY314" fmla="*/ 1714500 h 1940242"/>
                <a:gd name="connsiteX315" fmla="*/ 561022 w 2370773"/>
                <a:gd name="connsiteY315" fmla="*/ 1713547 h 1940242"/>
                <a:gd name="connsiteX316" fmla="*/ 572452 w 2370773"/>
                <a:gd name="connsiteY316" fmla="*/ 1724977 h 1940242"/>
                <a:gd name="connsiteX317" fmla="*/ 561022 w 2370773"/>
                <a:gd name="connsiteY317" fmla="*/ 1736407 h 1940242"/>
                <a:gd name="connsiteX318" fmla="*/ 549592 w 2370773"/>
                <a:gd name="connsiteY318" fmla="*/ 1724977 h 1940242"/>
                <a:gd name="connsiteX319" fmla="*/ 561022 w 2370773"/>
                <a:gd name="connsiteY319" fmla="*/ 1713547 h 1940242"/>
                <a:gd name="connsiteX320" fmla="*/ 1751648 w 2370773"/>
                <a:gd name="connsiteY320" fmla="*/ 1708784 h 1940242"/>
                <a:gd name="connsiteX321" fmla="*/ 1766888 w 2370773"/>
                <a:gd name="connsiteY321" fmla="*/ 1724024 h 1940242"/>
                <a:gd name="connsiteX322" fmla="*/ 1751648 w 2370773"/>
                <a:gd name="connsiteY322" fmla="*/ 1739264 h 1940242"/>
                <a:gd name="connsiteX323" fmla="*/ 1736408 w 2370773"/>
                <a:gd name="connsiteY323" fmla="*/ 1724024 h 1940242"/>
                <a:gd name="connsiteX324" fmla="*/ 1751648 w 2370773"/>
                <a:gd name="connsiteY324" fmla="*/ 1708784 h 1940242"/>
                <a:gd name="connsiteX325" fmla="*/ 1486853 w 2370773"/>
                <a:gd name="connsiteY325" fmla="*/ 1707832 h 1940242"/>
                <a:gd name="connsiteX326" fmla="*/ 1505903 w 2370773"/>
                <a:gd name="connsiteY326" fmla="*/ 1726882 h 1940242"/>
                <a:gd name="connsiteX327" fmla="*/ 1486853 w 2370773"/>
                <a:gd name="connsiteY327" fmla="*/ 1745932 h 1940242"/>
                <a:gd name="connsiteX328" fmla="*/ 1467803 w 2370773"/>
                <a:gd name="connsiteY328" fmla="*/ 1726882 h 1940242"/>
                <a:gd name="connsiteX329" fmla="*/ 1486853 w 2370773"/>
                <a:gd name="connsiteY329" fmla="*/ 1707832 h 1940242"/>
                <a:gd name="connsiteX330" fmla="*/ 848677 w 2370773"/>
                <a:gd name="connsiteY330" fmla="*/ 1704975 h 1940242"/>
                <a:gd name="connsiteX331" fmla="*/ 867727 w 2370773"/>
                <a:gd name="connsiteY331" fmla="*/ 1724025 h 1940242"/>
                <a:gd name="connsiteX332" fmla="*/ 848677 w 2370773"/>
                <a:gd name="connsiteY332" fmla="*/ 1743075 h 1940242"/>
                <a:gd name="connsiteX333" fmla="*/ 829627 w 2370773"/>
                <a:gd name="connsiteY333" fmla="*/ 1724025 h 1940242"/>
                <a:gd name="connsiteX334" fmla="*/ 848677 w 2370773"/>
                <a:gd name="connsiteY334" fmla="*/ 1704975 h 1940242"/>
                <a:gd name="connsiteX335" fmla="*/ 1085850 w 2370773"/>
                <a:gd name="connsiteY335" fmla="*/ 1702117 h 1940242"/>
                <a:gd name="connsiteX336" fmla="*/ 1106805 w 2370773"/>
                <a:gd name="connsiteY336" fmla="*/ 1723072 h 1940242"/>
                <a:gd name="connsiteX337" fmla="*/ 1085850 w 2370773"/>
                <a:gd name="connsiteY337" fmla="*/ 1744027 h 1940242"/>
                <a:gd name="connsiteX338" fmla="*/ 1064895 w 2370773"/>
                <a:gd name="connsiteY338" fmla="*/ 1723072 h 1940242"/>
                <a:gd name="connsiteX339" fmla="*/ 1085850 w 2370773"/>
                <a:gd name="connsiteY339" fmla="*/ 1702117 h 1940242"/>
                <a:gd name="connsiteX340" fmla="*/ 1949768 w 2370773"/>
                <a:gd name="connsiteY340" fmla="*/ 1699259 h 1940242"/>
                <a:gd name="connsiteX341" fmla="*/ 1953578 w 2370773"/>
                <a:gd name="connsiteY341" fmla="*/ 1703069 h 1940242"/>
                <a:gd name="connsiteX342" fmla="*/ 1949768 w 2370773"/>
                <a:gd name="connsiteY342" fmla="*/ 1706879 h 1940242"/>
                <a:gd name="connsiteX343" fmla="*/ 1945958 w 2370773"/>
                <a:gd name="connsiteY343" fmla="*/ 1703069 h 1940242"/>
                <a:gd name="connsiteX344" fmla="*/ 1949768 w 2370773"/>
                <a:gd name="connsiteY344" fmla="*/ 1699259 h 1940242"/>
                <a:gd name="connsiteX345" fmla="*/ 1544003 w 2370773"/>
                <a:gd name="connsiteY345" fmla="*/ 1699259 h 1940242"/>
                <a:gd name="connsiteX346" fmla="*/ 1562100 w 2370773"/>
                <a:gd name="connsiteY346" fmla="*/ 1717357 h 1940242"/>
                <a:gd name="connsiteX347" fmla="*/ 1544003 w 2370773"/>
                <a:gd name="connsiteY347" fmla="*/ 1735454 h 1940242"/>
                <a:gd name="connsiteX348" fmla="*/ 1525905 w 2370773"/>
                <a:gd name="connsiteY348" fmla="*/ 1717357 h 1940242"/>
                <a:gd name="connsiteX349" fmla="*/ 1544003 w 2370773"/>
                <a:gd name="connsiteY349" fmla="*/ 1699259 h 1940242"/>
                <a:gd name="connsiteX350" fmla="*/ 676275 w 2370773"/>
                <a:gd name="connsiteY350" fmla="*/ 1696402 h 1940242"/>
                <a:gd name="connsiteX351" fmla="*/ 697230 w 2370773"/>
                <a:gd name="connsiteY351" fmla="*/ 1717357 h 1940242"/>
                <a:gd name="connsiteX352" fmla="*/ 676275 w 2370773"/>
                <a:gd name="connsiteY352" fmla="*/ 1738312 h 1940242"/>
                <a:gd name="connsiteX353" fmla="*/ 655320 w 2370773"/>
                <a:gd name="connsiteY353" fmla="*/ 1717357 h 1940242"/>
                <a:gd name="connsiteX354" fmla="*/ 676275 w 2370773"/>
                <a:gd name="connsiteY354" fmla="*/ 1696402 h 1940242"/>
                <a:gd name="connsiteX355" fmla="*/ 512445 w 2370773"/>
                <a:gd name="connsiteY355" fmla="*/ 1690687 h 1940242"/>
                <a:gd name="connsiteX356" fmla="*/ 515303 w 2370773"/>
                <a:gd name="connsiteY356" fmla="*/ 1693545 h 1940242"/>
                <a:gd name="connsiteX357" fmla="*/ 512445 w 2370773"/>
                <a:gd name="connsiteY357" fmla="*/ 1696402 h 1940242"/>
                <a:gd name="connsiteX358" fmla="*/ 509588 w 2370773"/>
                <a:gd name="connsiteY358" fmla="*/ 1693545 h 1940242"/>
                <a:gd name="connsiteX359" fmla="*/ 512445 w 2370773"/>
                <a:gd name="connsiteY359" fmla="*/ 1690687 h 1940242"/>
                <a:gd name="connsiteX360" fmla="*/ 1028700 w 2370773"/>
                <a:gd name="connsiteY360" fmla="*/ 1689734 h 1940242"/>
                <a:gd name="connsiteX361" fmla="*/ 1049655 w 2370773"/>
                <a:gd name="connsiteY361" fmla="*/ 1710689 h 1940242"/>
                <a:gd name="connsiteX362" fmla="*/ 1028700 w 2370773"/>
                <a:gd name="connsiteY362" fmla="*/ 1731644 h 1940242"/>
                <a:gd name="connsiteX363" fmla="*/ 1007745 w 2370773"/>
                <a:gd name="connsiteY363" fmla="*/ 1710689 h 1940242"/>
                <a:gd name="connsiteX364" fmla="*/ 1028700 w 2370773"/>
                <a:gd name="connsiteY364" fmla="*/ 1689734 h 1940242"/>
                <a:gd name="connsiteX365" fmla="*/ 1805940 w 2370773"/>
                <a:gd name="connsiteY365" fmla="*/ 1688782 h 1940242"/>
                <a:gd name="connsiteX366" fmla="*/ 1819275 w 2370773"/>
                <a:gd name="connsiteY366" fmla="*/ 1702117 h 1940242"/>
                <a:gd name="connsiteX367" fmla="*/ 1805940 w 2370773"/>
                <a:gd name="connsiteY367" fmla="*/ 1715452 h 1940242"/>
                <a:gd name="connsiteX368" fmla="*/ 1792605 w 2370773"/>
                <a:gd name="connsiteY368" fmla="*/ 1702117 h 1940242"/>
                <a:gd name="connsiteX369" fmla="*/ 1805940 w 2370773"/>
                <a:gd name="connsiteY369" fmla="*/ 1688782 h 1940242"/>
                <a:gd name="connsiteX370" fmla="*/ 1600200 w 2370773"/>
                <a:gd name="connsiteY370" fmla="*/ 1685925 h 1940242"/>
                <a:gd name="connsiteX371" fmla="*/ 1618298 w 2370773"/>
                <a:gd name="connsiteY371" fmla="*/ 1704022 h 1940242"/>
                <a:gd name="connsiteX372" fmla="*/ 1600200 w 2370773"/>
                <a:gd name="connsiteY372" fmla="*/ 1722120 h 1940242"/>
                <a:gd name="connsiteX373" fmla="*/ 1582103 w 2370773"/>
                <a:gd name="connsiteY373" fmla="*/ 1704022 h 1940242"/>
                <a:gd name="connsiteX374" fmla="*/ 1600200 w 2370773"/>
                <a:gd name="connsiteY374" fmla="*/ 1685925 h 1940242"/>
                <a:gd name="connsiteX375" fmla="*/ 795338 w 2370773"/>
                <a:gd name="connsiteY375" fmla="*/ 1680210 h 1940242"/>
                <a:gd name="connsiteX376" fmla="*/ 817245 w 2370773"/>
                <a:gd name="connsiteY376" fmla="*/ 1702117 h 1940242"/>
                <a:gd name="connsiteX377" fmla="*/ 795338 w 2370773"/>
                <a:gd name="connsiteY377" fmla="*/ 1724025 h 1940242"/>
                <a:gd name="connsiteX378" fmla="*/ 773430 w 2370773"/>
                <a:gd name="connsiteY378" fmla="*/ 1702117 h 1940242"/>
                <a:gd name="connsiteX379" fmla="*/ 795338 w 2370773"/>
                <a:gd name="connsiteY379" fmla="*/ 1680210 h 1940242"/>
                <a:gd name="connsiteX380" fmla="*/ 973455 w 2370773"/>
                <a:gd name="connsiteY380" fmla="*/ 1675447 h 1940242"/>
                <a:gd name="connsiteX381" fmla="*/ 995362 w 2370773"/>
                <a:gd name="connsiteY381" fmla="*/ 1697355 h 1940242"/>
                <a:gd name="connsiteX382" fmla="*/ 973455 w 2370773"/>
                <a:gd name="connsiteY382" fmla="*/ 1719262 h 1940242"/>
                <a:gd name="connsiteX383" fmla="*/ 951547 w 2370773"/>
                <a:gd name="connsiteY383" fmla="*/ 1697355 h 1940242"/>
                <a:gd name="connsiteX384" fmla="*/ 973455 w 2370773"/>
                <a:gd name="connsiteY384" fmla="*/ 1675447 h 1940242"/>
                <a:gd name="connsiteX385" fmla="*/ 2000250 w 2370773"/>
                <a:gd name="connsiteY385" fmla="*/ 1670684 h 1940242"/>
                <a:gd name="connsiteX386" fmla="*/ 2004060 w 2370773"/>
                <a:gd name="connsiteY386" fmla="*/ 1674494 h 1940242"/>
                <a:gd name="connsiteX387" fmla="*/ 2000250 w 2370773"/>
                <a:gd name="connsiteY387" fmla="*/ 1678304 h 1940242"/>
                <a:gd name="connsiteX388" fmla="*/ 1996440 w 2370773"/>
                <a:gd name="connsiteY388" fmla="*/ 1674494 h 1940242"/>
                <a:gd name="connsiteX389" fmla="*/ 2000250 w 2370773"/>
                <a:gd name="connsiteY389" fmla="*/ 1670684 h 1940242"/>
                <a:gd name="connsiteX390" fmla="*/ 1655445 w 2370773"/>
                <a:gd name="connsiteY390" fmla="*/ 1669732 h 1940242"/>
                <a:gd name="connsiteX391" fmla="*/ 1673542 w 2370773"/>
                <a:gd name="connsiteY391" fmla="*/ 1687829 h 1940242"/>
                <a:gd name="connsiteX392" fmla="*/ 1655445 w 2370773"/>
                <a:gd name="connsiteY392" fmla="*/ 1705927 h 1940242"/>
                <a:gd name="connsiteX393" fmla="*/ 1637347 w 2370773"/>
                <a:gd name="connsiteY393" fmla="*/ 1687829 h 1940242"/>
                <a:gd name="connsiteX394" fmla="*/ 1655445 w 2370773"/>
                <a:gd name="connsiteY394" fmla="*/ 1669732 h 1940242"/>
                <a:gd name="connsiteX395" fmla="*/ 625792 w 2370773"/>
                <a:gd name="connsiteY395" fmla="*/ 1666875 h 1940242"/>
                <a:gd name="connsiteX396" fmla="*/ 647700 w 2370773"/>
                <a:gd name="connsiteY396" fmla="*/ 1688783 h 1940242"/>
                <a:gd name="connsiteX397" fmla="*/ 625792 w 2370773"/>
                <a:gd name="connsiteY397" fmla="*/ 1710690 h 1940242"/>
                <a:gd name="connsiteX398" fmla="*/ 603885 w 2370773"/>
                <a:gd name="connsiteY398" fmla="*/ 1688783 h 1940242"/>
                <a:gd name="connsiteX399" fmla="*/ 625792 w 2370773"/>
                <a:gd name="connsiteY399" fmla="*/ 1666875 h 1940242"/>
                <a:gd name="connsiteX400" fmla="*/ 1858328 w 2370773"/>
                <a:gd name="connsiteY400" fmla="*/ 1663065 h 1940242"/>
                <a:gd name="connsiteX401" fmla="*/ 1873568 w 2370773"/>
                <a:gd name="connsiteY401" fmla="*/ 1678305 h 1940242"/>
                <a:gd name="connsiteX402" fmla="*/ 1858328 w 2370773"/>
                <a:gd name="connsiteY402" fmla="*/ 1693545 h 1940242"/>
                <a:gd name="connsiteX403" fmla="*/ 1843088 w 2370773"/>
                <a:gd name="connsiteY403" fmla="*/ 1678305 h 1940242"/>
                <a:gd name="connsiteX404" fmla="*/ 1858328 w 2370773"/>
                <a:gd name="connsiteY404" fmla="*/ 1663065 h 1940242"/>
                <a:gd name="connsiteX405" fmla="*/ 918210 w 2370773"/>
                <a:gd name="connsiteY405" fmla="*/ 1660207 h 1940242"/>
                <a:gd name="connsiteX406" fmla="*/ 938213 w 2370773"/>
                <a:gd name="connsiteY406" fmla="*/ 1680209 h 1940242"/>
                <a:gd name="connsiteX407" fmla="*/ 918210 w 2370773"/>
                <a:gd name="connsiteY407" fmla="*/ 1700212 h 1940242"/>
                <a:gd name="connsiteX408" fmla="*/ 898208 w 2370773"/>
                <a:gd name="connsiteY408" fmla="*/ 1680209 h 1940242"/>
                <a:gd name="connsiteX409" fmla="*/ 918210 w 2370773"/>
                <a:gd name="connsiteY409" fmla="*/ 1660207 h 1940242"/>
                <a:gd name="connsiteX410" fmla="*/ 1329690 w 2370773"/>
                <a:gd name="connsiteY410" fmla="*/ 1659254 h 1940242"/>
                <a:gd name="connsiteX411" fmla="*/ 1347787 w 2370773"/>
                <a:gd name="connsiteY411" fmla="*/ 1677352 h 1940242"/>
                <a:gd name="connsiteX412" fmla="*/ 1329690 w 2370773"/>
                <a:gd name="connsiteY412" fmla="*/ 1695449 h 1940242"/>
                <a:gd name="connsiteX413" fmla="*/ 1311592 w 2370773"/>
                <a:gd name="connsiteY413" fmla="*/ 1677352 h 1940242"/>
                <a:gd name="connsiteX414" fmla="*/ 1329690 w 2370773"/>
                <a:gd name="connsiteY414" fmla="*/ 1659254 h 1940242"/>
                <a:gd name="connsiteX415" fmla="*/ 1271588 w 2370773"/>
                <a:gd name="connsiteY415" fmla="*/ 1657350 h 1940242"/>
                <a:gd name="connsiteX416" fmla="*/ 1291590 w 2370773"/>
                <a:gd name="connsiteY416" fmla="*/ 1677353 h 1940242"/>
                <a:gd name="connsiteX417" fmla="*/ 1271588 w 2370773"/>
                <a:gd name="connsiteY417" fmla="*/ 1697355 h 1940242"/>
                <a:gd name="connsiteX418" fmla="*/ 1251585 w 2370773"/>
                <a:gd name="connsiteY418" fmla="*/ 1677353 h 1940242"/>
                <a:gd name="connsiteX419" fmla="*/ 1271588 w 2370773"/>
                <a:gd name="connsiteY419" fmla="*/ 1657350 h 1940242"/>
                <a:gd name="connsiteX420" fmla="*/ 742950 w 2370773"/>
                <a:gd name="connsiteY420" fmla="*/ 1657350 h 1940242"/>
                <a:gd name="connsiteX421" fmla="*/ 763905 w 2370773"/>
                <a:gd name="connsiteY421" fmla="*/ 1678305 h 1940242"/>
                <a:gd name="connsiteX422" fmla="*/ 742950 w 2370773"/>
                <a:gd name="connsiteY422" fmla="*/ 1699260 h 1940242"/>
                <a:gd name="connsiteX423" fmla="*/ 721995 w 2370773"/>
                <a:gd name="connsiteY423" fmla="*/ 1678305 h 1940242"/>
                <a:gd name="connsiteX424" fmla="*/ 742950 w 2370773"/>
                <a:gd name="connsiteY424" fmla="*/ 1657350 h 1940242"/>
                <a:gd name="connsiteX425" fmla="*/ 357187 w 2370773"/>
                <a:gd name="connsiteY425" fmla="*/ 1657350 h 1940242"/>
                <a:gd name="connsiteX426" fmla="*/ 358140 w 2370773"/>
                <a:gd name="connsiteY426" fmla="*/ 1658303 h 1940242"/>
                <a:gd name="connsiteX427" fmla="*/ 357187 w 2370773"/>
                <a:gd name="connsiteY427" fmla="*/ 1659255 h 1940242"/>
                <a:gd name="connsiteX428" fmla="*/ 356235 w 2370773"/>
                <a:gd name="connsiteY428" fmla="*/ 1658303 h 1940242"/>
                <a:gd name="connsiteX429" fmla="*/ 357187 w 2370773"/>
                <a:gd name="connsiteY429" fmla="*/ 1657350 h 1940242"/>
                <a:gd name="connsiteX430" fmla="*/ 1386840 w 2370773"/>
                <a:gd name="connsiteY430" fmla="*/ 1655445 h 1940242"/>
                <a:gd name="connsiteX431" fmla="*/ 1405890 w 2370773"/>
                <a:gd name="connsiteY431" fmla="*/ 1674495 h 1940242"/>
                <a:gd name="connsiteX432" fmla="*/ 1386840 w 2370773"/>
                <a:gd name="connsiteY432" fmla="*/ 1693545 h 1940242"/>
                <a:gd name="connsiteX433" fmla="*/ 1367790 w 2370773"/>
                <a:gd name="connsiteY433" fmla="*/ 1674495 h 1940242"/>
                <a:gd name="connsiteX434" fmla="*/ 1386840 w 2370773"/>
                <a:gd name="connsiteY434" fmla="*/ 1655445 h 1940242"/>
                <a:gd name="connsiteX435" fmla="*/ 1214438 w 2370773"/>
                <a:gd name="connsiteY435" fmla="*/ 1654492 h 1940242"/>
                <a:gd name="connsiteX436" fmla="*/ 1233488 w 2370773"/>
                <a:gd name="connsiteY436" fmla="*/ 1673542 h 1940242"/>
                <a:gd name="connsiteX437" fmla="*/ 1214438 w 2370773"/>
                <a:gd name="connsiteY437" fmla="*/ 1692592 h 1940242"/>
                <a:gd name="connsiteX438" fmla="*/ 1195388 w 2370773"/>
                <a:gd name="connsiteY438" fmla="*/ 1673542 h 1940242"/>
                <a:gd name="connsiteX439" fmla="*/ 1214438 w 2370773"/>
                <a:gd name="connsiteY439" fmla="*/ 1654492 h 1940242"/>
                <a:gd name="connsiteX440" fmla="*/ 1710691 w 2370773"/>
                <a:gd name="connsiteY440" fmla="*/ 1652587 h 1940242"/>
                <a:gd name="connsiteX441" fmla="*/ 1728788 w 2370773"/>
                <a:gd name="connsiteY441" fmla="*/ 1670684 h 1940242"/>
                <a:gd name="connsiteX442" fmla="*/ 1710691 w 2370773"/>
                <a:gd name="connsiteY442" fmla="*/ 1688782 h 1940242"/>
                <a:gd name="connsiteX443" fmla="*/ 1692593 w 2370773"/>
                <a:gd name="connsiteY443" fmla="*/ 1670684 h 1940242"/>
                <a:gd name="connsiteX444" fmla="*/ 1710691 w 2370773"/>
                <a:gd name="connsiteY444" fmla="*/ 1652587 h 1940242"/>
                <a:gd name="connsiteX445" fmla="*/ 1443990 w 2370773"/>
                <a:gd name="connsiteY445" fmla="*/ 1648777 h 1940242"/>
                <a:gd name="connsiteX446" fmla="*/ 1463040 w 2370773"/>
                <a:gd name="connsiteY446" fmla="*/ 1667827 h 1940242"/>
                <a:gd name="connsiteX447" fmla="*/ 1443990 w 2370773"/>
                <a:gd name="connsiteY447" fmla="*/ 1686877 h 1940242"/>
                <a:gd name="connsiteX448" fmla="*/ 1424940 w 2370773"/>
                <a:gd name="connsiteY448" fmla="*/ 1667827 h 1940242"/>
                <a:gd name="connsiteX449" fmla="*/ 1443990 w 2370773"/>
                <a:gd name="connsiteY449" fmla="*/ 1648777 h 1940242"/>
                <a:gd name="connsiteX450" fmla="*/ 1156335 w 2370773"/>
                <a:gd name="connsiteY450" fmla="*/ 1648777 h 1940242"/>
                <a:gd name="connsiteX451" fmla="*/ 1175385 w 2370773"/>
                <a:gd name="connsiteY451" fmla="*/ 1667827 h 1940242"/>
                <a:gd name="connsiteX452" fmla="*/ 1156335 w 2370773"/>
                <a:gd name="connsiteY452" fmla="*/ 1686877 h 1940242"/>
                <a:gd name="connsiteX453" fmla="*/ 1137285 w 2370773"/>
                <a:gd name="connsiteY453" fmla="*/ 1667827 h 1940242"/>
                <a:gd name="connsiteX454" fmla="*/ 1156335 w 2370773"/>
                <a:gd name="connsiteY454" fmla="*/ 1648777 h 1940242"/>
                <a:gd name="connsiteX455" fmla="*/ 1100138 w 2370773"/>
                <a:gd name="connsiteY455" fmla="*/ 1642109 h 1940242"/>
                <a:gd name="connsiteX456" fmla="*/ 1118235 w 2370773"/>
                <a:gd name="connsiteY456" fmla="*/ 1660207 h 1940242"/>
                <a:gd name="connsiteX457" fmla="*/ 1100138 w 2370773"/>
                <a:gd name="connsiteY457" fmla="*/ 1678304 h 1940242"/>
                <a:gd name="connsiteX458" fmla="*/ 1082040 w 2370773"/>
                <a:gd name="connsiteY458" fmla="*/ 1660207 h 1940242"/>
                <a:gd name="connsiteX459" fmla="*/ 1100138 w 2370773"/>
                <a:gd name="connsiteY459" fmla="*/ 1642109 h 1940242"/>
                <a:gd name="connsiteX460" fmla="*/ 1909763 w 2370773"/>
                <a:gd name="connsiteY460" fmla="*/ 1640204 h 1940242"/>
                <a:gd name="connsiteX461" fmla="*/ 1921193 w 2370773"/>
                <a:gd name="connsiteY461" fmla="*/ 1651634 h 1940242"/>
                <a:gd name="connsiteX462" fmla="*/ 1909763 w 2370773"/>
                <a:gd name="connsiteY462" fmla="*/ 1663064 h 1940242"/>
                <a:gd name="connsiteX463" fmla="*/ 1898333 w 2370773"/>
                <a:gd name="connsiteY463" fmla="*/ 1651634 h 1940242"/>
                <a:gd name="connsiteX464" fmla="*/ 1909763 w 2370773"/>
                <a:gd name="connsiteY464" fmla="*/ 1640204 h 1940242"/>
                <a:gd name="connsiteX465" fmla="*/ 1501140 w 2370773"/>
                <a:gd name="connsiteY465" fmla="*/ 1640204 h 1940242"/>
                <a:gd name="connsiteX466" fmla="*/ 1520190 w 2370773"/>
                <a:gd name="connsiteY466" fmla="*/ 1659254 h 1940242"/>
                <a:gd name="connsiteX467" fmla="*/ 1501140 w 2370773"/>
                <a:gd name="connsiteY467" fmla="*/ 1678304 h 1940242"/>
                <a:gd name="connsiteX468" fmla="*/ 1482090 w 2370773"/>
                <a:gd name="connsiteY468" fmla="*/ 1659254 h 1940242"/>
                <a:gd name="connsiteX469" fmla="*/ 1501140 w 2370773"/>
                <a:gd name="connsiteY469" fmla="*/ 1640204 h 1940242"/>
                <a:gd name="connsiteX470" fmla="*/ 464820 w 2370773"/>
                <a:gd name="connsiteY470" fmla="*/ 1640204 h 1940242"/>
                <a:gd name="connsiteX471" fmla="*/ 484823 w 2370773"/>
                <a:gd name="connsiteY471" fmla="*/ 1660207 h 1940242"/>
                <a:gd name="connsiteX472" fmla="*/ 464820 w 2370773"/>
                <a:gd name="connsiteY472" fmla="*/ 1680209 h 1940242"/>
                <a:gd name="connsiteX473" fmla="*/ 444818 w 2370773"/>
                <a:gd name="connsiteY473" fmla="*/ 1660207 h 1940242"/>
                <a:gd name="connsiteX474" fmla="*/ 464820 w 2370773"/>
                <a:gd name="connsiteY474" fmla="*/ 1640204 h 1940242"/>
                <a:gd name="connsiteX475" fmla="*/ 2048828 w 2370773"/>
                <a:gd name="connsiteY475" fmla="*/ 1639252 h 1940242"/>
                <a:gd name="connsiteX476" fmla="*/ 2052638 w 2370773"/>
                <a:gd name="connsiteY476" fmla="*/ 1643062 h 1940242"/>
                <a:gd name="connsiteX477" fmla="*/ 2048828 w 2370773"/>
                <a:gd name="connsiteY477" fmla="*/ 1646872 h 1940242"/>
                <a:gd name="connsiteX478" fmla="*/ 2045018 w 2370773"/>
                <a:gd name="connsiteY478" fmla="*/ 1643062 h 1940242"/>
                <a:gd name="connsiteX479" fmla="*/ 2048828 w 2370773"/>
                <a:gd name="connsiteY479" fmla="*/ 1639252 h 1940242"/>
                <a:gd name="connsiteX480" fmla="*/ 863918 w 2370773"/>
                <a:gd name="connsiteY480" fmla="*/ 1639252 h 1940242"/>
                <a:gd name="connsiteX481" fmla="*/ 884873 w 2370773"/>
                <a:gd name="connsiteY481" fmla="*/ 1660207 h 1940242"/>
                <a:gd name="connsiteX482" fmla="*/ 863918 w 2370773"/>
                <a:gd name="connsiteY482" fmla="*/ 1681162 h 1940242"/>
                <a:gd name="connsiteX483" fmla="*/ 842963 w 2370773"/>
                <a:gd name="connsiteY483" fmla="*/ 1660207 h 1940242"/>
                <a:gd name="connsiteX484" fmla="*/ 863918 w 2370773"/>
                <a:gd name="connsiteY484" fmla="*/ 1639252 h 1940242"/>
                <a:gd name="connsiteX485" fmla="*/ 576263 w 2370773"/>
                <a:gd name="connsiteY485" fmla="*/ 1637347 h 1940242"/>
                <a:gd name="connsiteX486" fmla="*/ 598170 w 2370773"/>
                <a:gd name="connsiteY486" fmla="*/ 1659255 h 1940242"/>
                <a:gd name="connsiteX487" fmla="*/ 576263 w 2370773"/>
                <a:gd name="connsiteY487" fmla="*/ 1681162 h 1940242"/>
                <a:gd name="connsiteX488" fmla="*/ 554355 w 2370773"/>
                <a:gd name="connsiteY488" fmla="*/ 1659255 h 1940242"/>
                <a:gd name="connsiteX489" fmla="*/ 576263 w 2370773"/>
                <a:gd name="connsiteY489" fmla="*/ 1637347 h 1940242"/>
                <a:gd name="connsiteX490" fmla="*/ 1764030 w 2370773"/>
                <a:gd name="connsiteY490" fmla="*/ 1634490 h 1940242"/>
                <a:gd name="connsiteX491" fmla="*/ 1779270 w 2370773"/>
                <a:gd name="connsiteY491" fmla="*/ 1649730 h 1940242"/>
                <a:gd name="connsiteX492" fmla="*/ 1764030 w 2370773"/>
                <a:gd name="connsiteY492" fmla="*/ 1664970 h 1940242"/>
                <a:gd name="connsiteX493" fmla="*/ 1748790 w 2370773"/>
                <a:gd name="connsiteY493" fmla="*/ 1649730 h 1940242"/>
                <a:gd name="connsiteX494" fmla="*/ 1764030 w 2370773"/>
                <a:gd name="connsiteY494" fmla="*/ 1634490 h 1940242"/>
                <a:gd name="connsiteX495" fmla="*/ 691515 w 2370773"/>
                <a:gd name="connsiteY495" fmla="*/ 1632584 h 1940242"/>
                <a:gd name="connsiteX496" fmla="*/ 710565 w 2370773"/>
                <a:gd name="connsiteY496" fmla="*/ 1651634 h 1940242"/>
                <a:gd name="connsiteX497" fmla="*/ 691515 w 2370773"/>
                <a:gd name="connsiteY497" fmla="*/ 1670684 h 1940242"/>
                <a:gd name="connsiteX498" fmla="*/ 672465 w 2370773"/>
                <a:gd name="connsiteY498" fmla="*/ 1651634 h 1940242"/>
                <a:gd name="connsiteX499" fmla="*/ 691515 w 2370773"/>
                <a:gd name="connsiteY499" fmla="*/ 1632584 h 1940242"/>
                <a:gd name="connsiteX500" fmla="*/ 1042987 w 2370773"/>
                <a:gd name="connsiteY500" fmla="*/ 1627822 h 1940242"/>
                <a:gd name="connsiteX501" fmla="*/ 1062990 w 2370773"/>
                <a:gd name="connsiteY501" fmla="*/ 1647825 h 1940242"/>
                <a:gd name="connsiteX502" fmla="*/ 1042987 w 2370773"/>
                <a:gd name="connsiteY502" fmla="*/ 1667827 h 1940242"/>
                <a:gd name="connsiteX503" fmla="*/ 1022985 w 2370773"/>
                <a:gd name="connsiteY503" fmla="*/ 1647825 h 1940242"/>
                <a:gd name="connsiteX504" fmla="*/ 1042987 w 2370773"/>
                <a:gd name="connsiteY504" fmla="*/ 1627822 h 1940242"/>
                <a:gd name="connsiteX505" fmla="*/ 1558290 w 2370773"/>
                <a:gd name="connsiteY505" fmla="*/ 1626870 h 1940242"/>
                <a:gd name="connsiteX506" fmla="*/ 1579245 w 2370773"/>
                <a:gd name="connsiteY506" fmla="*/ 1647825 h 1940242"/>
                <a:gd name="connsiteX507" fmla="*/ 1558290 w 2370773"/>
                <a:gd name="connsiteY507" fmla="*/ 1668780 h 1940242"/>
                <a:gd name="connsiteX508" fmla="*/ 1537335 w 2370773"/>
                <a:gd name="connsiteY508" fmla="*/ 1647825 h 1940242"/>
                <a:gd name="connsiteX509" fmla="*/ 1558290 w 2370773"/>
                <a:gd name="connsiteY509" fmla="*/ 1626870 h 1940242"/>
                <a:gd name="connsiteX510" fmla="*/ 810578 w 2370773"/>
                <a:gd name="connsiteY510" fmla="*/ 1617345 h 1940242"/>
                <a:gd name="connsiteX511" fmla="*/ 831533 w 2370773"/>
                <a:gd name="connsiteY511" fmla="*/ 1638300 h 1940242"/>
                <a:gd name="connsiteX512" fmla="*/ 810578 w 2370773"/>
                <a:gd name="connsiteY512" fmla="*/ 1659255 h 1940242"/>
                <a:gd name="connsiteX513" fmla="*/ 789623 w 2370773"/>
                <a:gd name="connsiteY513" fmla="*/ 1638300 h 1940242"/>
                <a:gd name="connsiteX514" fmla="*/ 810578 w 2370773"/>
                <a:gd name="connsiteY514" fmla="*/ 1617345 h 1940242"/>
                <a:gd name="connsiteX515" fmla="*/ 1613535 w 2370773"/>
                <a:gd name="connsiteY515" fmla="*/ 1614487 h 1940242"/>
                <a:gd name="connsiteX516" fmla="*/ 1633538 w 2370773"/>
                <a:gd name="connsiteY516" fmla="*/ 1634490 h 1940242"/>
                <a:gd name="connsiteX517" fmla="*/ 1613535 w 2370773"/>
                <a:gd name="connsiteY517" fmla="*/ 1654492 h 1940242"/>
                <a:gd name="connsiteX518" fmla="*/ 1593533 w 2370773"/>
                <a:gd name="connsiteY518" fmla="*/ 1634490 h 1940242"/>
                <a:gd name="connsiteX519" fmla="*/ 1613535 w 2370773"/>
                <a:gd name="connsiteY519" fmla="*/ 1614487 h 1940242"/>
                <a:gd name="connsiteX520" fmla="*/ 419100 w 2370773"/>
                <a:gd name="connsiteY520" fmla="*/ 1614487 h 1940242"/>
                <a:gd name="connsiteX521" fmla="*/ 430530 w 2370773"/>
                <a:gd name="connsiteY521" fmla="*/ 1625917 h 1940242"/>
                <a:gd name="connsiteX522" fmla="*/ 419100 w 2370773"/>
                <a:gd name="connsiteY522" fmla="*/ 1637347 h 1940242"/>
                <a:gd name="connsiteX523" fmla="*/ 407670 w 2370773"/>
                <a:gd name="connsiteY523" fmla="*/ 1625917 h 1940242"/>
                <a:gd name="connsiteX524" fmla="*/ 419100 w 2370773"/>
                <a:gd name="connsiteY524" fmla="*/ 1614487 h 1940242"/>
                <a:gd name="connsiteX525" fmla="*/ 987742 w 2370773"/>
                <a:gd name="connsiteY525" fmla="*/ 1613534 h 1940242"/>
                <a:gd name="connsiteX526" fmla="*/ 1007745 w 2370773"/>
                <a:gd name="connsiteY526" fmla="*/ 1633537 h 1940242"/>
                <a:gd name="connsiteX527" fmla="*/ 987742 w 2370773"/>
                <a:gd name="connsiteY527" fmla="*/ 1653539 h 1940242"/>
                <a:gd name="connsiteX528" fmla="*/ 967740 w 2370773"/>
                <a:gd name="connsiteY528" fmla="*/ 1633537 h 1940242"/>
                <a:gd name="connsiteX529" fmla="*/ 987742 w 2370773"/>
                <a:gd name="connsiteY529" fmla="*/ 1613534 h 1940242"/>
                <a:gd name="connsiteX530" fmla="*/ 1817370 w 2370773"/>
                <a:gd name="connsiteY530" fmla="*/ 1611629 h 1940242"/>
                <a:gd name="connsiteX531" fmla="*/ 1832610 w 2370773"/>
                <a:gd name="connsiteY531" fmla="*/ 1626869 h 1940242"/>
                <a:gd name="connsiteX532" fmla="*/ 1817370 w 2370773"/>
                <a:gd name="connsiteY532" fmla="*/ 1642109 h 1940242"/>
                <a:gd name="connsiteX533" fmla="*/ 1802130 w 2370773"/>
                <a:gd name="connsiteY533" fmla="*/ 1626869 h 1940242"/>
                <a:gd name="connsiteX534" fmla="*/ 1817370 w 2370773"/>
                <a:gd name="connsiteY534" fmla="*/ 1611629 h 1940242"/>
                <a:gd name="connsiteX535" fmla="*/ 1959293 w 2370773"/>
                <a:gd name="connsiteY535" fmla="*/ 1610677 h 1940242"/>
                <a:gd name="connsiteX536" fmla="*/ 1971675 w 2370773"/>
                <a:gd name="connsiteY536" fmla="*/ 1623059 h 1940242"/>
                <a:gd name="connsiteX537" fmla="*/ 1959293 w 2370773"/>
                <a:gd name="connsiteY537" fmla="*/ 1635442 h 1940242"/>
                <a:gd name="connsiteX538" fmla="*/ 1946910 w 2370773"/>
                <a:gd name="connsiteY538" fmla="*/ 1623059 h 1940242"/>
                <a:gd name="connsiteX539" fmla="*/ 1959293 w 2370773"/>
                <a:gd name="connsiteY539" fmla="*/ 1610677 h 1940242"/>
                <a:gd name="connsiteX540" fmla="*/ 2095500 w 2370773"/>
                <a:gd name="connsiteY540" fmla="*/ 1608772 h 1940242"/>
                <a:gd name="connsiteX541" fmla="*/ 2097405 w 2370773"/>
                <a:gd name="connsiteY541" fmla="*/ 1610677 h 1940242"/>
                <a:gd name="connsiteX542" fmla="*/ 2095500 w 2370773"/>
                <a:gd name="connsiteY542" fmla="*/ 1612582 h 1940242"/>
                <a:gd name="connsiteX543" fmla="*/ 2093595 w 2370773"/>
                <a:gd name="connsiteY543" fmla="*/ 1610677 h 1940242"/>
                <a:gd name="connsiteX544" fmla="*/ 2095500 w 2370773"/>
                <a:gd name="connsiteY544" fmla="*/ 1608772 h 1940242"/>
                <a:gd name="connsiteX545" fmla="*/ 528637 w 2370773"/>
                <a:gd name="connsiteY545" fmla="*/ 1605915 h 1940242"/>
                <a:gd name="connsiteX546" fmla="*/ 550545 w 2370773"/>
                <a:gd name="connsiteY546" fmla="*/ 1627822 h 1940242"/>
                <a:gd name="connsiteX547" fmla="*/ 528637 w 2370773"/>
                <a:gd name="connsiteY547" fmla="*/ 1649730 h 1940242"/>
                <a:gd name="connsiteX548" fmla="*/ 506730 w 2370773"/>
                <a:gd name="connsiteY548" fmla="*/ 1627822 h 1940242"/>
                <a:gd name="connsiteX549" fmla="*/ 528637 w 2370773"/>
                <a:gd name="connsiteY549" fmla="*/ 1605915 h 1940242"/>
                <a:gd name="connsiteX550" fmla="*/ 641985 w 2370773"/>
                <a:gd name="connsiteY550" fmla="*/ 1604009 h 1940242"/>
                <a:gd name="connsiteX551" fmla="*/ 661035 w 2370773"/>
                <a:gd name="connsiteY551" fmla="*/ 1623059 h 1940242"/>
                <a:gd name="connsiteX552" fmla="*/ 641985 w 2370773"/>
                <a:gd name="connsiteY552" fmla="*/ 1642109 h 1940242"/>
                <a:gd name="connsiteX553" fmla="*/ 622935 w 2370773"/>
                <a:gd name="connsiteY553" fmla="*/ 1623059 h 1940242"/>
                <a:gd name="connsiteX554" fmla="*/ 641985 w 2370773"/>
                <a:gd name="connsiteY554" fmla="*/ 1604009 h 1940242"/>
                <a:gd name="connsiteX555" fmla="*/ 1668780 w 2370773"/>
                <a:gd name="connsiteY555" fmla="*/ 1598295 h 1940242"/>
                <a:gd name="connsiteX556" fmla="*/ 1687830 w 2370773"/>
                <a:gd name="connsiteY556" fmla="*/ 1617345 h 1940242"/>
                <a:gd name="connsiteX557" fmla="*/ 1668780 w 2370773"/>
                <a:gd name="connsiteY557" fmla="*/ 1636395 h 1940242"/>
                <a:gd name="connsiteX558" fmla="*/ 1649730 w 2370773"/>
                <a:gd name="connsiteY558" fmla="*/ 1617345 h 1940242"/>
                <a:gd name="connsiteX559" fmla="*/ 1668780 w 2370773"/>
                <a:gd name="connsiteY559" fmla="*/ 1598295 h 1940242"/>
                <a:gd name="connsiteX560" fmla="*/ 932497 w 2370773"/>
                <a:gd name="connsiteY560" fmla="*/ 1597342 h 1940242"/>
                <a:gd name="connsiteX561" fmla="*/ 952500 w 2370773"/>
                <a:gd name="connsiteY561" fmla="*/ 1617345 h 1940242"/>
                <a:gd name="connsiteX562" fmla="*/ 932497 w 2370773"/>
                <a:gd name="connsiteY562" fmla="*/ 1637347 h 1940242"/>
                <a:gd name="connsiteX563" fmla="*/ 912495 w 2370773"/>
                <a:gd name="connsiteY563" fmla="*/ 1617345 h 1940242"/>
                <a:gd name="connsiteX564" fmla="*/ 932497 w 2370773"/>
                <a:gd name="connsiteY564" fmla="*/ 1597342 h 1940242"/>
                <a:gd name="connsiteX565" fmla="*/ 1285875 w 2370773"/>
                <a:gd name="connsiteY565" fmla="*/ 1596390 h 1940242"/>
                <a:gd name="connsiteX566" fmla="*/ 1303020 w 2370773"/>
                <a:gd name="connsiteY566" fmla="*/ 1613535 h 1940242"/>
                <a:gd name="connsiteX567" fmla="*/ 1285875 w 2370773"/>
                <a:gd name="connsiteY567" fmla="*/ 1630680 h 1940242"/>
                <a:gd name="connsiteX568" fmla="*/ 1268730 w 2370773"/>
                <a:gd name="connsiteY568" fmla="*/ 1613535 h 1940242"/>
                <a:gd name="connsiteX569" fmla="*/ 1285875 w 2370773"/>
                <a:gd name="connsiteY569" fmla="*/ 1596390 h 1940242"/>
                <a:gd name="connsiteX570" fmla="*/ 1343978 w 2370773"/>
                <a:gd name="connsiteY570" fmla="*/ 1595437 h 1940242"/>
                <a:gd name="connsiteX571" fmla="*/ 1361123 w 2370773"/>
                <a:gd name="connsiteY571" fmla="*/ 1612582 h 1940242"/>
                <a:gd name="connsiteX572" fmla="*/ 1343978 w 2370773"/>
                <a:gd name="connsiteY572" fmla="*/ 1629727 h 1940242"/>
                <a:gd name="connsiteX573" fmla="*/ 1326833 w 2370773"/>
                <a:gd name="connsiteY573" fmla="*/ 1612582 h 1940242"/>
                <a:gd name="connsiteX574" fmla="*/ 1343978 w 2370773"/>
                <a:gd name="connsiteY574" fmla="*/ 1595437 h 1940242"/>
                <a:gd name="connsiteX575" fmla="*/ 758190 w 2370773"/>
                <a:gd name="connsiteY575" fmla="*/ 1592579 h 1940242"/>
                <a:gd name="connsiteX576" fmla="*/ 779145 w 2370773"/>
                <a:gd name="connsiteY576" fmla="*/ 1613534 h 1940242"/>
                <a:gd name="connsiteX577" fmla="*/ 758190 w 2370773"/>
                <a:gd name="connsiteY577" fmla="*/ 1634489 h 1940242"/>
                <a:gd name="connsiteX578" fmla="*/ 737235 w 2370773"/>
                <a:gd name="connsiteY578" fmla="*/ 1613534 h 1940242"/>
                <a:gd name="connsiteX579" fmla="*/ 758190 w 2370773"/>
                <a:gd name="connsiteY579" fmla="*/ 1592579 h 1940242"/>
                <a:gd name="connsiteX580" fmla="*/ 1401128 w 2370773"/>
                <a:gd name="connsiteY580" fmla="*/ 1590675 h 1940242"/>
                <a:gd name="connsiteX581" fmla="*/ 1418273 w 2370773"/>
                <a:gd name="connsiteY581" fmla="*/ 1607820 h 1940242"/>
                <a:gd name="connsiteX582" fmla="*/ 1401128 w 2370773"/>
                <a:gd name="connsiteY582" fmla="*/ 1624965 h 1940242"/>
                <a:gd name="connsiteX583" fmla="*/ 1383983 w 2370773"/>
                <a:gd name="connsiteY583" fmla="*/ 1607820 h 1940242"/>
                <a:gd name="connsiteX584" fmla="*/ 1401128 w 2370773"/>
                <a:gd name="connsiteY584" fmla="*/ 1590675 h 1940242"/>
                <a:gd name="connsiteX585" fmla="*/ 1228725 w 2370773"/>
                <a:gd name="connsiteY585" fmla="*/ 1590675 h 1940242"/>
                <a:gd name="connsiteX586" fmla="*/ 1247775 w 2370773"/>
                <a:gd name="connsiteY586" fmla="*/ 1609725 h 1940242"/>
                <a:gd name="connsiteX587" fmla="*/ 1228725 w 2370773"/>
                <a:gd name="connsiteY587" fmla="*/ 1628775 h 1940242"/>
                <a:gd name="connsiteX588" fmla="*/ 1209675 w 2370773"/>
                <a:gd name="connsiteY588" fmla="*/ 1609725 h 1940242"/>
                <a:gd name="connsiteX589" fmla="*/ 1228725 w 2370773"/>
                <a:gd name="connsiteY589" fmla="*/ 1590675 h 1940242"/>
                <a:gd name="connsiteX590" fmla="*/ 1171575 w 2370773"/>
                <a:gd name="connsiteY590" fmla="*/ 1588770 h 1940242"/>
                <a:gd name="connsiteX591" fmla="*/ 1187768 w 2370773"/>
                <a:gd name="connsiteY591" fmla="*/ 1604962 h 1940242"/>
                <a:gd name="connsiteX592" fmla="*/ 1171575 w 2370773"/>
                <a:gd name="connsiteY592" fmla="*/ 1621155 h 1940242"/>
                <a:gd name="connsiteX593" fmla="*/ 1155383 w 2370773"/>
                <a:gd name="connsiteY593" fmla="*/ 1604962 h 1940242"/>
                <a:gd name="connsiteX594" fmla="*/ 1171575 w 2370773"/>
                <a:gd name="connsiteY594" fmla="*/ 1588770 h 1940242"/>
                <a:gd name="connsiteX595" fmla="*/ 1868805 w 2370773"/>
                <a:gd name="connsiteY595" fmla="*/ 1587817 h 1940242"/>
                <a:gd name="connsiteX596" fmla="*/ 1882140 w 2370773"/>
                <a:gd name="connsiteY596" fmla="*/ 1601152 h 1940242"/>
                <a:gd name="connsiteX597" fmla="*/ 1868805 w 2370773"/>
                <a:gd name="connsiteY597" fmla="*/ 1614487 h 1940242"/>
                <a:gd name="connsiteX598" fmla="*/ 1855470 w 2370773"/>
                <a:gd name="connsiteY598" fmla="*/ 1601152 h 1940242"/>
                <a:gd name="connsiteX599" fmla="*/ 1868805 w 2370773"/>
                <a:gd name="connsiteY599" fmla="*/ 1587817 h 1940242"/>
                <a:gd name="connsiteX600" fmla="*/ 1458278 w 2370773"/>
                <a:gd name="connsiteY600" fmla="*/ 1585912 h 1940242"/>
                <a:gd name="connsiteX601" fmla="*/ 1473518 w 2370773"/>
                <a:gd name="connsiteY601" fmla="*/ 1601152 h 1940242"/>
                <a:gd name="connsiteX602" fmla="*/ 1458278 w 2370773"/>
                <a:gd name="connsiteY602" fmla="*/ 1616392 h 1940242"/>
                <a:gd name="connsiteX603" fmla="*/ 1443038 w 2370773"/>
                <a:gd name="connsiteY603" fmla="*/ 1601152 h 1940242"/>
                <a:gd name="connsiteX604" fmla="*/ 1458278 w 2370773"/>
                <a:gd name="connsiteY604" fmla="*/ 1585912 h 1940242"/>
                <a:gd name="connsiteX605" fmla="*/ 2008822 w 2370773"/>
                <a:gd name="connsiteY605" fmla="*/ 1584007 h 1940242"/>
                <a:gd name="connsiteX606" fmla="*/ 2017395 w 2370773"/>
                <a:gd name="connsiteY606" fmla="*/ 1592579 h 1940242"/>
                <a:gd name="connsiteX607" fmla="*/ 2008822 w 2370773"/>
                <a:gd name="connsiteY607" fmla="*/ 1601152 h 1940242"/>
                <a:gd name="connsiteX608" fmla="*/ 2000250 w 2370773"/>
                <a:gd name="connsiteY608" fmla="*/ 1592579 h 1940242"/>
                <a:gd name="connsiteX609" fmla="*/ 2008822 w 2370773"/>
                <a:gd name="connsiteY609" fmla="*/ 1584007 h 1940242"/>
                <a:gd name="connsiteX610" fmla="*/ 1114425 w 2370773"/>
                <a:gd name="connsiteY610" fmla="*/ 1580197 h 1940242"/>
                <a:gd name="connsiteX611" fmla="*/ 1130618 w 2370773"/>
                <a:gd name="connsiteY611" fmla="*/ 1596390 h 1940242"/>
                <a:gd name="connsiteX612" fmla="*/ 1114425 w 2370773"/>
                <a:gd name="connsiteY612" fmla="*/ 1612582 h 1940242"/>
                <a:gd name="connsiteX613" fmla="*/ 1098233 w 2370773"/>
                <a:gd name="connsiteY613" fmla="*/ 1596390 h 1940242"/>
                <a:gd name="connsiteX614" fmla="*/ 1114425 w 2370773"/>
                <a:gd name="connsiteY614" fmla="*/ 1580197 h 1940242"/>
                <a:gd name="connsiteX615" fmla="*/ 1723072 w 2370773"/>
                <a:gd name="connsiteY615" fmla="*/ 1579245 h 1940242"/>
                <a:gd name="connsiteX616" fmla="*/ 1741170 w 2370773"/>
                <a:gd name="connsiteY616" fmla="*/ 1597342 h 1940242"/>
                <a:gd name="connsiteX617" fmla="*/ 1723072 w 2370773"/>
                <a:gd name="connsiteY617" fmla="*/ 1615440 h 1940242"/>
                <a:gd name="connsiteX618" fmla="*/ 1704975 w 2370773"/>
                <a:gd name="connsiteY618" fmla="*/ 1597342 h 1940242"/>
                <a:gd name="connsiteX619" fmla="*/ 1723072 w 2370773"/>
                <a:gd name="connsiteY619" fmla="*/ 1579245 h 1940242"/>
                <a:gd name="connsiteX620" fmla="*/ 878204 w 2370773"/>
                <a:gd name="connsiteY620" fmla="*/ 1577340 h 1940242"/>
                <a:gd name="connsiteX621" fmla="*/ 898207 w 2370773"/>
                <a:gd name="connsiteY621" fmla="*/ 1597342 h 1940242"/>
                <a:gd name="connsiteX622" fmla="*/ 878204 w 2370773"/>
                <a:gd name="connsiteY622" fmla="*/ 1617345 h 1940242"/>
                <a:gd name="connsiteX623" fmla="*/ 858202 w 2370773"/>
                <a:gd name="connsiteY623" fmla="*/ 1597342 h 1940242"/>
                <a:gd name="connsiteX624" fmla="*/ 878204 w 2370773"/>
                <a:gd name="connsiteY624" fmla="*/ 1577340 h 1940242"/>
                <a:gd name="connsiteX625" fmla="*/ 375285 w 2370773"/>
                <a:gd name="connsiteY625" fmla="*/ 1575434 h 1940242"/>
                <a:gd name="connsiteX626" fmla="*/ 388620 w 2370773"/>
                <a:gd name="connsiteY626" fmla="*/ 1588769 h 1940242"/>
                <a:gd name="connsiteX627" fmla="*/ 375285 w 2370773"/>
                <a:gd name="connsiteY627" fmla="*/ 1602104 h 1940242"/>
                <a:gd name="connsiteX628" fmla="*/ 361950 w 2370773"/>
                <a:gd name="connsiteY628" fmla="*/ 1588769 h 1940242"/>
                <a:gd name="connsiteX629" fmla="*/ 375285 w 2370773"/>
                <a:gd name="connsiteY629" fmla="*/ 1575434 h 1940242"/>
                <a:gd name="connsiteX630" fmla="*/ 1515428 w 2370773"/>
                <a:gd name="connsiteY630" fmla="*/ 1574482 h 1940242"/>
                <a:gd name="connsiteX631" fmla="*/ 1532573 w 2370773"/>
                <a:gd name="connsiteY631" fmla="*/ 1591627 h 1940242"/>
                <a:gd name="connsiteX632" fmla="*/ 1515428 w 2370773"/>
                <a:gd name="connsiteY632" fmla="*/ 1608772 h 1940242"/>
                <a:gd name="connsiteX633" fmla="*/ 1498283 w 2370773"/>
                <a:gd name="connsiteY633" fmla="*/ 1591627 h 1940242"/>
                <a:gd name="connsiteX634" fmla="*/ 1515428 w 2370773"/>
                <a:gd name="connsiteY634" fmla="*/ 1574482 h 1940242"/>
                <a:gd name="connsiteX635" fmla="*/ 592454 w 2370773"/>
                <a:gd name="connsiteY635" fmla="*/ 1573529 h 1940242"/>
                <a:gd name="connsiteX636" fmla="*/ 612457 w 2370773"/>
                <a:gd name="connsiteY636" fmla="*/ 1593532 h 1940242"/>
                <a:gd name="connsiteX637" fmla="*/ 592454 w 2370773"/>
                <a:gd name="connsiteY637" fmla="*/ 1613534 h 1940242"/>
                <a:gd name="connsiteX638" fmla="*/ 572452 w 2370773"/>
                <a:gd name="connsiteY638" fmla="*/ 1593532 h 1940242"/>
                <a:gd name="connsiteX639" fmla="*/ 592454 w 2370773"/>
                <a:gd name="connsiteY639" fmla="*/ 1573529 h 1940242"/>
                <a:gd name="connsiteX640" fmla="*/ 481965 w 2370773"/>
                <a:gd name="connsiteY640" fmla="*/ 1569720 h 1940242"/>
                <a:gd name="connsiteX641" fmla="*/ 504825 w 2370773"/>
                <a:gd name="connsiteY641" fmla="*/ 1592580 h 1940242"/>
                <a:gd name="connsiteX642" fmla="*/ 481965 w 2370773"/>
                <a:gd name="connsiteY642" fmla="*/ 1615440 h 1940242"/>
                <a:gd name="connsiteX643" fmla="*/ 459105 w 2370773"/>
                <a:gd name="connsiteY643" fmla="*/ 1592580 h 1940242"/>
                <a:gd name="connsiteX644" fmla="*/ 481965 w 2370773"/>
                <a:gd name="connsiteY644" fmla="*/ 1569720 h 1940242"/>
                <a:gd name="connsiteX645" fmla="*/ 1057275 w 2370773"/>
                <a:gd name="connsiteY645" fmla="*/ 1566862 h 1940242"/>
                <a:gd name="connsiteX646" fmla="*/ 1075372 w 2370773"/>
                <a:gd name="connsiteY646" fmla="*/ 1584959 h 1940242"/>
                <a:gd name="connsiteX647" fmla="*/ 1057275 w 2370773"/>
                <a:gd name="connsiteY647" fmla="*/ 1603057 h 1940242"/>
                <a:gd name="connsiteX648" fmla="*/ 1039177 w 2370773"/>
                <a:gd name="connsiteY648" fmla="*/ 1584959 h 1940242"/>
                <a:gd name="connsiteX649" fmla="*/ 1057275 w 2370773"/>
                <a:gd name="connsiteY649" fmla="*/ 1566862 h 1940242"/>
                <a:gd name="connsiteX650" fmla="*/ 706755 w 2370773"/>
                <a:gd name="connsiteY650" fmla="*/ 1565909 h 1940242"/>
                <a:gd name="connsiteX651" fmla="*/ 727710 w 2370773"/>
                <a:gd name="connsiteY651" fmla="*/ 1586864 h 1940242"/>
                <a:gd name="connsiteX652" fmla="*/ 706755 w 2370773"/>
                <a:gd name="connsiteY652" fmla="*/ 1607819 h 1940242"/>
                <a:gd name="connsiteX653" fmla="*/ 685800 w 2370773"/>
                <a:gd name="connsiteY653" fmla="*/ 1586864 h 1940242"/>
                <a:gd name="connsiteX654" fmla="*/ 706755 w 2370773"/>
                <a:gd name="connsiteY654" fmla="*/ 1565909 h 1940242"/>
                <a:gd name="connsiteX655" fmla="*/ 1919288 w 2370773"/>
                <a:gd name="connsiteY655" fmla="*/ 1560195 h 1940242"/>
                <a:gd name="connsiteX656" fmla="*/ 1932623 w 2370773"/>
                <a:gd name="connsiteY656" fmla="*/ 1573530 h 1940242"/>
                <a:gd name="connsiteX657" fmla="*/ 1919288 w 2370773"/>
                <a:gd name="connsiteY657" fmla="*/ 1586865 h 1940242"/>
                <a:gd name="connsiteX658" fmla="*/ 1905953 w 2370773"/>
                <a:gd name="connsiteY658" fmla="*/ 1573530 h 1940242"/>
                <a:gd name="connsiteX659" fmla="*/ 1919288 w 2370773"/>
                <a:gd name="connsiteY659" fmla="*/ 1560195 h 1940242"/>
                <a:gd name="connsiteX660" fmla="*/ 1571625 w 2370773"/>
                <a:gd name="connsiteY660" fmla="*/ 1560195 h 1940242"/>
                <a:gd name="connsiteX661" fmla="*/ 1589723 w 2370773"/>
                <a:gd name="connsiteY661" fmla="*/ 1578292 h 1940242"/>
                <a:gd name="connsiteX662" fmla="*/ 1571625 w 2370773"/>
                <a:gd name="connsiteY662" fmla="*/ 1596390 h 1940242"/>
                <a:gd name="connsiteX663" fmla="*/ 1553528 w 2370773"/>
                <a:gd name="connsiteY663" fmla="*/ 1578292 h 1940242"/>
                <a:gd name="connsiteX664" fmla="*/ 1571625 w 2370773"/>
                <a:gd name="connsiteY664" fmla="*/ 1560195 h 1940242"/>
                <a:gd name="connsiteX665" fmla="*/ 2055495 w 2370773"/>
                <a:gd name="connsiteY665" fmla="*/ 1558290 h 1940242"/>
                <a:gd name="connsiteX666" fmla="*/ 2057400 w 2370773"/>
                <a:gd name="connsiteY666" fmla="*/ 1560195 h 1940242"/>
                <a:gd name="connsiteX667" fmla="*/ 2055495 w 2370773"/>
                <a:gd name="connsiteY667" fmla="*/ 1562100 h 1940242"/>
                <a:gd name="connsiteX668" fmla="*/ 2053590 w 2370773"/>
                <a:gd name="connsiteY668" fmla="*/ 1560195 h 1940242"/>
                <a:gd name="connsiteX669" fmla="*/ 2055495 w 2370773"/>
                <a:gd name="connsiteY669" fmla="*/ 1558290 h 1940242"/>
                <a:gd name="connsiteX670" fmla="*/ 1776412 w 2370773"/>
                <a:gd name="connsiteY670" fmla="*/ 1557337 h 1940242"/>
                <a:gd name="connsiteX671" fmla="*/ 1793557 w 2370773"/>
                <a:gd name="connsiteY671" fmla="*/ 1574482 h 1940242"/>
                <a:gd name="connsiteX672" fmla="*/ 1776412 w 2370773"/>
                <a:gd name="connsiteY672" fmla="*/ 1591627 h 1940242"/>
                <a:gd name="connsiteX673" fmla="*/ 1759267 w 2370773"/>
                <a:gd name="connsiteY673" fmla="*/ 1574482 h 1940242"/>
                <a:gd name="connsiteX674" fmla="*/ 1776412 w 2370773"/>
                <a:gd name="connsiteY674" fmla="*/ 1557337 h 1940242"/>
                <a:gd name="connsiteX675" fmla="*/ 824865 w 2370773"/>
                <a:gd name="connsiteY675" fmla="*/ 1553527 h 1940242"/>
                <a:gd name="connsiteX676" fmla="*/ 845820 w 2370773"/>
                <a:gd name="connsiteY676" fmla="*/ 1574482 h 1940242"/>
                <a:gd name="connsiteX677" fmla="*/ 824865 w 2370773"/>
                <a:gd name="connsiteY677" fmla="*/ 1595437 h 1940242"/>
                <a:gd name="connsiteX678" fmla="*/ 803910 w 2370773"/>
                <a:gd name="connsiteY678" fmla="*/ 1574482 h 1940242"/>
                <a:gd name="connsiteX679" fmla="*/ 824865 w 2370773"/>
                <a:gd name="connsiteY679" fmla="*/ 1553527 h 1940242"/>
                <a:gd name="connsiteX680" fmla="*/ 1002029 w 2370773"/>
                <a:gd name="connsiteY680" fmla="*/ 1550670 h 1940242"/>
                <a:gd name="connsiteX681" fmla="*/ 1022032 w 2370773"/>
                <a:gd name="connsiteY681" fmla="*/ 1570672 h 1940242"/>
                <a:gd name="connsiteX682" fmla="*/ 1002029 w 2370773"/>
                <a:gd name="connsiteY682" fmla="*/ 1590675 h 1940242"/>
                <a:gd name="connsiteX683" fmla="*/ 982027 w 2370773"/>
                <a:gd name="connsiteY683" fmla="*/ 1570672 h 1940242"/>
                <a:gd name="connsiteX684" fmla="*/ 1002029 w 2370773"/>
                <a:gd name="connsiteY684" fmla="*/ 1550670 h 1940242"/>
                <a:gd name="connsiteX685" fmla="*/ 1626870 w 2370773"/>
                <a:gd name="connsiteY685" fmla="*/ 1544002 h 1940242"/>
                <a:gd name="connsiteX686" fmla="*/ 1645920 w 2370773"/>
                <a:gd name="connsiteY686" fmla="*/ 1563052 h 1940242"/>
                <a:gd name="connsiteX687" fmla="*/ 1626870 w 2370773"/>
                <a:gd name="connsiteY687" fmla="*/ 1582102 h 1940242"/>
                <a:gd name="connsiteX688" fmla="*/ 1607820 w 2370773"/>
                <a:gd name="connsiteY688" fmla="*/ 1563052 h 1940242"/>
                <a:gd name="connsiteX689" fmla="*/ 1626870 w 2370773"/>
                <a:gd name="connsiteY689" fmla="*/ 1544002 h 1940242"/>
                <a:gd name="connsiteX690" fmla="*/ 545782 w 2370773"/>
                <a:gd name="connsiteY690" fmla="*/ 1539240 h 1940242"/>
                <a:gd name="connsiteX691" fmla="*/ 566737 w 2370773"/>
                <a:gd name="connsiteY691" fmla="*/ 1560195 h 1940242"/>
                <a:gd name="connsiteX692" fmla="*/ 545782 w 2370773"/>
                <a:gd name="connsiteY692" fmla="*/ 1581150 h 1940242"/>
                <a:gd name="connsiteX693" fmla="*/ 524827 w 2370773"/>
                <a:gd name="connsiteY693" fmla="*/ 1560195 h 1940242"/>
                <a:gd name="connsiteX694" fmla="*/ 545782 w 2370773"/>
                <a:gd name="connsiteY694" fmla="*/ 1539240 h 1940242"/>
                <a:gd name="connsiteX695" fmla="*/ 657225 w 2370773"/>
                <a:gd name="connsiteY695" fmla="*/ 1538287 h 1940242"/>
                <a:gd name="connsiteX696" fmla="*/ 677228 w 2370773"/>
                <a:gd name="connsiteY696" fmla="*/ 1558290 h 1940242"/>
                <a:gd name="connsiteX697" fmla="*/ 657225 w 2370773"/>
                <a:gd name="connsiteY697" fmla="*/ 1578292 h 1940242"/>
                <a:gd name="connsiteX698" fmla="*/ 637223 w 2370773"/>
                <a:gd name="connsiteY698" fmla="*/ 1558290 h 1940242"/>
                <a:gd name="connsiteX699" fmla="*/ 657225 w 2370773"/>
                <a:gd name="connsiteY699" fmla="*/ 1538287 h 1940242"/>
                <a:gd name="connsiteX700" fmla="*/ 437198 w 2370773"/>
                <a:gd name="connsiteY700" fmla="*/ 1538287 h 1940242"/>
                <a:gd name="connsiteX701" fmla="*/ 456248 w 2370773"/>
                <a:gd name="connsiteY701" fmla="*/ 1557337 h 1940242"/>
                <a:gd name="connsiteX702" fmla="*/ 437198 w 2370773"/>
                <a:gd name="connsiteY702" fmla="*/ 1576387 h 1940242"/>
                <a:gd name="connsiteX703" fmla="*/ 418148 w 2370773"/>
                <a:gd name="connsiteY703" fmla="*/ 1557337 h 1940242"/>
                <a:gd name="connsiteX704" fmla="*/ 437198 w 2370773"/>
                <a:gd name="connsiteY704" fmla="*/ 1538287 h 1940242"/>
                <a:gd name="connsiteX705" fmla="*/ 1300163 w 2370773"/>
                <a:gd name="connsiteY705" fmla="*/ 1534477 h 1940242"/>
                <a:gd name="connsiteX706" fmla="*/ 1314450 w 2370773"/>
                <a:gd name="connsiteY706" fmla="*/ 1548765 h 1940242"/>
                <a:gd name="connsiteX707" fmla="*/ 1300163 w 2370773"/>
                <a:gd name="connsiteY707" fmla="*/ 1563052 h 1940242"/>
                <a:gd name="connsiteX708" fmla="*/ 1285875 w 2370773"/>
                <a:gd name="connsiteY708" fmla="*/ 1548765 h 1940242"/>
                <a:gd name="connsiteX709" fmla="*/ 1300163 w 2370773"/>
                <a:gd name="connsiteY709" fmla="*/ 1534477 h 1940242"/>
                <a:gd name="connsiteX710" fmla="*/ 946785 w 2370773"/>
                <a:gd name="connsiteY710" fmla="*/ 1534477 h 1940242"/>
                <a:gd name="connsiteX711" fmla="*/ 965835 w 2370773"/>
                <a:gd name="connsiteY711" fmla="*/ 1553527 h 1940242"/>
                <a:gd name="connsiteX712" fmla="*/ 946785 w 2370773"/>
                <a:gd name="connsiteY712" fmla="*/ 1572577 h 1940242"/>
                <a:gd name="connsiteX713" fmla="*/ 927735 w 2370773"/>
                <a:gd name="connsiteY713" fmla="*/ 1553527 h 1940242"/>
                <a:gd name="connsiteX714" fmla="*/ 946785 w 2370773"/>
                <a:gd name="connsiteY714" fmla="*/ 1534477 h 1940242"/>
                <a:gd name="connsiteX715" fmla="*/ 1827848 w 2370773"/>
                <a:gd name="connsiteY715" fmla="*/ 1532572 h 1940242"/>
                <a:gd name="connsiteX716" fmla="*/ 1844993 w 2370773"/>
                <a:gd name="connsiteY716" fmla="*/ 1549717 h 1940242"/>
                <a:gd name="connsiteX717" fmla="*/ 1827848 w 2370773"/>
                <a:gd name="connsiteY717" fmla="*/ 1566862 h 1940242"/>
                <a:gd name="connsiteX718" fmla="*/ 1810703 w 2370773"/>
                <a:gd name="connsiteY718" fmla="*/ 1549717 h 1940242"/>
                <a:gd name="connsiteX719" fmla="*/ 1827848 w 2370773"/>
                <a:gd name="connsiteY719" fmla="*/ 1532572 h 1940242"/>
                <a:gd name="connsiteX720" fmla="*/ 1358266 w 2370773"/>
                <a:gd name="connsiteY720" fmla="*/ 1532572 h 1940242"/>
                <a:gd name="connsiteX721" fmla="*/ 1372553 w 2370773"/>
                <a:gd name="connsiteY721" fmla="*/ 1546860 h 1940242"/>
                <a:gd name="connsiteX722" fmla="*/ 1358266 w 2370773"/>
                <a:gd name="connsiteY722" fmla="*/ 1561147 h 1940242"/>
                <a:gd name="connsiteX723" fmla="*/ 1343978 w 2370773"/>
                <a:gd name="connsiteY723" fmla="*/ 1546860 h 1940242"/>
                <a:gd name="connsiteX724" fmla="*/ 1358266 w 2370773"/>
                <a:gd name="connsiteY724" fmla="*/ 1532572 h 1940242"/>
                <a:gd name="connsiteX725" fmla="*/ 1243012 w 2370773"/>
                <a:gd name="connsiteY725" fmla="*/ 1531620 h 1940242"/>
                <a:gd name="connsiteX726" fmla="*/ 1258252 w 2370773"/>
                <a:gd name="connsiteY726" fmla="*/ 1546860 h 1940242"/>
                <a:gd name="connsiteX727" fmla="*/ 1243012 w 2370773"/>
                <a:gd name="connsiteY727" fmla="*/ 1562100 h 1940242"/>
                <a:gd name="connsiteX728" fmla="*/ 1227772 w 2370773"/>
                <a:gd name="connsiteY728" fmla="*/ 1546860 h 1940242"/>
                <a:gd name="connsiteX729" fmla="*/ 1243012 w 2370773"/>
                <a:gd name="connsiteY729" fmla="*/ 1531620 h 1940242"/>
                <a:gd name="connsiteX730" fmla="*/ 332423 w 2370773"/>
                <a:gd name="connsiteY730" fmla="*/ 1530667 h 1940242"/>
                <a:gd name="connsiteX731" fmla="*/ 351473 w 2370773"/>
                <a:gd name="connsiteY731" fmla="*/ 1549717 h 1940242"/>
                <a:gd name="connsiteX732" fmla="*/ 332423 w 2370773"/>
                <a:gd name="connsiteY732" fmla="*/ 1568767 h 1940242"/>
                <a:gd name="connsiteX733" fmla="*/ 313373 w 2370773"/>
                <a:gd name="connsiteY733" fmla="*/ 1549717 h 1940242"/>
                <a:gd name="connsiteX734" fmla="*/ 332423 w 2370773"/>
                <a:gd name="connsiteY734" fmla="*/ 1530667 h 1940242"/>
                <a:gd name="connsiteX735" fmla="*/ 1415415 w 2370773"/>
                <a:gd name="connsiteY735" fmla="*/ 1529715 h 1940242"/>
                <a:gd name="connsiteX736" fmla="*/ 1427798 w 2370773"/>
                <a:gd name="connsiteY736" fmla="*/ 1542097 h 1940242"/>
                <a:gd name="connsiteX737" fmla="*/ 1415415 w 2370773"/>
                <a:gd name="connsiteY737" fmla="*/ 1554480 h 1940242"/>
                <a:gd name="connsiteX738" fmla="*/ 1403033 w 2370773"/>
                <a:gd name="connsiteY738" fmla="*/ 1542097 h 1940242"/>
                <a:gd name="connsiteX739" fmla="*/ 1415415 w 2370773"/>
                <a:gd name="connsiteY739" fmla="*/ 1529715 h 1940242"/>
                <a:gd name="connsiteX740" fmla="*/ 773429 w 2370773"/>
                <a:gd name="connsiteY740" fmla="*/ 1529715 h 1940242"/>
                <a:gd name="connsiteX741" fmla="*/ 793432 w 2370773"/>
                <a:gd name="connsiteY741" fmla="*/ 1549717 h 1940242"/>
                <a:gd name="connsiteX742" fmla="*/ 773429 w 2370773"/>
                <a:gd name="connsiteY742" fmla="*/ 1569720 h 1940242"/>
                <a:gd name="connsiteX743" fmla="*/ 753427 w 2370773"/>
                <a:gd name="connsiteY743" fmla="*/ 1549717 h 1940242"/>
                <a:gd name="connsiteX744" fmla="*/ 773429 w 2370773"/>
                <a:gd name="connsiteY744" fmla="*/ 1529715 h 1940242"/>
                <a:gd name="connsiteX745" fmla="*/ 1967866 w 2370773"/>
                <a:gd name="connsiteY745" fmla="*/ 1528762 h 1940242"/>
                <a:gd name="connsiteX746" fmla="*/ 1982153 w 2370773"/>
                <a:gd name="connsiteY746" fmla="*/ 1543050 h 1940242"/>
                <a:gd name="connsiteX747" fmla="*/ 1967866 w 2370773"/>
                <a:gd name="connsiteY747" fmla="*/ 1557337 h 1940242"/>
                <a:gd name="connsiteX748" fmla="*/ 1953578 w 2370773"/>
                <a:gd name="connsiteY748" fmla="*/ 1543050 h 1940242"/>
                <a:gd name="connsiteX749" fmla="*/ 1967866 w 2370773"/>
                <a:gd name="connsiteY749" fmla="*/ 1528762 h 1940242"/>
                <a:gd name="connsiteX750" fmla="*/ 1185862 w 2370773"/>
                <a:gd name="connsiteY750" fmla="*/ 1528762 h 1940242"/>
                <a:gd name="connsiteX751" fmla="*/ 1200150 w 2370773"/>
                <a:gd name="connsiteY751" fmla="*/ 1543050 h 1940242"/>
                <a:gd name="connsiteX752" fmla="*/ 1185862 w 2370773"/>
                <a:gd name="connsiteY752" fmla="*/ 1557337 h 1940242"/>
                <a:gd name="connsiteX753" fmla="*/ 1171575 w 2370773"/>
                <a:gd name="connsiteY753" fmla="*/ 1543050 h 1940242"/>
                <a:gd name="connsiteX754" fmla="*/ 1185862 w 2370773"/>
                <a:gd name="connsiteY754" fmla="*/ 1528762 h 1940242"/>
                <a:gd name="connsiteX755" fmla="*/ 1681162 w 2370773"/>
                <a:gd name="connsiteY755" fmla="*/ 1526857 h 1940242"/>
                <a:gd name="connsiteX756" fmla="*/ 1698307 w 2370773"/>
                <a:gd name="connsiteY756" fmla="*/ 1544002 h 1940242"/>
                <a:gd name="connsiteX757" fmla="*/ 1681162 w 2370773"/>
                <a:gd name="connsiteY757" fmla="*/ 1561147 h 1940242"/>
                <a:gd name="connsiteX758" fmla="*/ 1664017 w 2370773"/>
                <a:gd name="connsiteY758" fmla="*/ 1544002 h 1940242"/>
                <a:gd name="connsiteX759" fmla="*/ 1681162 w 2370773"/>
                <a:gd name="connsiteY759" fmla="*/ 1526857 h 1940242"/>
                <a:gd name="connsiteX760" fmla="*/ 1472566 w 2370773"/>
                <a:gd name="connsiteY760" fmla="*/ 1522095 h 1940242"/>
                <a:gd name="connsiteX761" fmla="*/ 1484948 w 2370773"/>
                <a:gd name="connsiteY761" fmla="*/ 1534478 h 1940242"/>
                <a:gd name="connsiteX762" fmla="*/ 1472566 w 2370773"/>
                <a:gd name="connsiteY762" fmla="*/ 1546860 h 1940242"/>
                <a:gd name="connsiteX763" fmla="*/ 1460183 w 2370773"/>
                <a:gd name="connsiteY763" fmla="*/ 1534478 h 1940242"/>
                <a:gd name="connsiteX764" fmla="*/ 1472566 w 2370773"/>
                <a:gd name="connsiteY764" fmla="*/ 1522095 h 1940242"/>
                <a:gd name="connsiteX765" fmla="*/ 2101215 w 2370773"/>
                <a:gd name="connsiteY765" fmla="*/ 1519237 h 1940242"/>
                <a:gd name="connsiteX766" fmla="*/ 2106930 w 2370773"/>
                <a:gd name="connsiteY766" fmla="*/ 1524952 h 1940242"/>
                <a:gd name="connsiteX767" fmla="*/ 2101215 w 2370773"/>
                <a:gd name="connsiteY767" fmla="*/ 1530667 h 1940242"/>
                <a:gd name="connsiteX768" fmla="*/ 2095500 w 2370773"/>
                <a:gd name="connsiteY768" fmla="*/ 1524952 h 1940242"/>
                <a:gd name="connsiteX769" fmla="*/ 2101215 w 2370773"/>
                <a:gd name="connsiteY769" fmla="*/ 1519237 h 1940242"/>
                <a:gd name="connsiteX770" fmla="*/ 1128712 w 2370773"/>
                <a:gd name="connsiteY770" fmla="*/ 1516379 h 1940242"/>
                <a:gd name="connsiteX771" fmla="*/ 1145857 w 2370773"/>
                <a:gd name="connsiteY771" fmla="*/ 1533524 h 1940242"/>
                <a:gd name="connsiteX772" fmla="*/ 1128712 w 2370773"/>
                <a:gd name="connsiteY772" fmla="*/ 1550669 h 1940242"/>
                <a:gd name="connsiteX773" fmla="*/ 1111567 w 2370773"/>
                <a:gd name="connsiteY773" fmla="*/ 1533524 h 1940242"/>
                <a:gd name="connsiteX774" fmla="*/ 1128712 w 2370773"/>
                <a:gd name="connsiteY774" fmla="*/ 1516379 h 1940242"/>
                <a:gd name="connsiteX775" fmla="*/ 892492 w 2370773"/>
                <a:gd name="connsiteY775" fmla="*/ 1515427 h 1940242"/>
                <a:gd name="connsiteX776" fmla="*/ 910590 w 2370773"/>
                <a:gd name="connsiteY776" fmla="*/ 1533524 h 1940242"/>
                <a:gd name="connsiteX777" fmla="*/ 892492 w 2370773"/>
                <a:gd name="connsiteY777" fmla="*/ 1551622 h 1940242"/>
                <a:gd name="connsiteX778" fmla="*/ 874395 w 2370773"/>
                <a:gd name="connsiteY778" fmla="*/ 1533524 h 1940242"/>
                <a:gd name="connsiteX779" fmla="*/ 892492 w 2370773"/>
                <a:gd name="connsiteY779" fmla="*/ 1515427 h 1940242"/>
                <a:gd name="connsiteX780" fmla="*/ 1529715 w 2370773"/>
                <a:gd name="connsiteY780" fmla="*/ 1509712 h 1940242"/>
                <a:gd name="connsiteX781" fmla="*/ 1543050 w 2370773"/>
                <a:gd name="connsiteY781" fmla="*/ 1523047 h 1940242"/>
                <a:gd name="connsiteX782" fmla="*/ 1529715 w 2370773"/>
                <a:gd name="connsiteY782" fmla="*/ 1536382 h 1940242"/>
                <a:gd name="connsiteX783" fmla="*/ 1516380 w 2370773"/>
                <a:gd name="connsiteY783" fmla="*/ 1523047 h 1940242"/>
                <a:gd name="connsiteX784" fmla="*/ 1529715 w 2370773"/>
                <a:gd name="connsiteY784" fmla="*/ 1509712 h 1940242"/>
                <a:gd name="connsiteX785" fmla="*/ 1071563 w 2370773"/>
                <a:gd name="connsiteY785" fmla="*/ 1507807 h 1940242"/>
                <a:gd name="connsiteX786" fmla="*/ 1086803 w 2370773"/>
                <a:gd name="connsiteY786" fmla="*/ 1523047 h 1940242"/>
                <a:gd name="connsiteX787" fmla="*/ 1071563 w 2370773"/>
                <a:gd name="connsiteY787" fmla="*/ 1538287 h 1940242"/>
                <a:gd name="connsiteX788" fmla="*/ 1056323 w 2370773"/>
                <a:gd name="connsiteY788" fmla="*/ 1523047 h 1940242"/>
                <a:gd name="connsiteX789" fmla="*/ 1071563 w 2370773"/>
                <a:gd name="connsiteY789" fmla="*/ 1507807 h 1940242"/>
                <a:gd name="connsiteX790" fmla="*/ 1878330 w 2370773"/>
                <a:gd name="connsiteY790" fmla="*/ 1504950 h 1940242"/>
                <a:gd name="connsiteX791" fmla="*/ 1895475 w 2370773"/>
                <a:gd name="connsiteY791" fmla="*/ 1522095 h 1940242"/>
                <a:gd name="connsiteX792" fmla="*/ 1878330 w 2370773"/>
                <a:gd name="connsiteY792" fmla="*/ 1539240 h 1940242"/>
                <a:gd name="connsiteX793" fmla="*/ 1861185 w 2370773"/>
                <a:gd name="connsiteY793" fmla="*/ 1522095 h 1940242"/>
                <a:gd name="connsiteX794" fmla="*/ 1878330 w 2370773"/>
                <a:gd name="connsiteY794" fmla="*/ 1504950 h 1940242"/>
                <a:gd name="connsiteX795" fmla="*/ 1735455 w 2370773"/>
                <a:gd name="connsiteY795" fmla="*/ 1504950 h 1940242"/>
                <a:gd name="connsiteX796" fmla="*/ 1752600 w 2370773"/>
                <a:gd name="connsiteY796" fmla="*/ 1522095 h 1940242"/>
                <a:gd name="connsiteX797" fmla="*/ 1735455 w 2370773"/>
                <a:gd name="connsiteY797" fmla="*/ 1539240 h 1940242"/>
                <a:gd name="connsiteX798" fmla="*/ 1718310 w 2370773"/>
                <a:gd name="connsiteY798" fmla="*/ 1522095 h 1940242"/>
                <a:gd name="connsiteX799" fmla="*/ 1735455 w 2370773"/>
                <a:gd name="connsiteY799" fmla="*/ 1504950 h 1940242"/>
                <a:gd name="connsiteX800" fmla="*/ 608647 w 2370773"/>
                <a:gd name="connsiteY800" fmla="*/ 1504950 h 1940242"/>
                <a:gd name="connsiteX801" fmla="*/ 629602 w 2370773"/>
                <a:gd name="connsiteY801" fmla="*/ 1525905 h 1940242"/>
                <a:gd name="connsiteX802" fmla="*/ 608647 w 2370773"/>
                <a:gd name="connsiteY802" fmla="*/ 1546860 h 1940242"/>
                <a:gd name="connsiteX803" fmla="*/ 587692 w 2370773"/>
                <a:gd name="connsiteY803" fmla="*/ 1525905 h 1940242"/>
                <a:gd name="connsiteX804" fmla="*/ 608647 w 2370773"/>
                <a:gd name="connsiteY804" fmla="*/ 1504950 h 1940242"/>
                <a:gd name="connsiteX805" fmla="*/ 499110 w 2370773"/>
                <a:gd name="connsiteY805" fmla="*/ 1504950 h 1940242"/>
                <a:gd name="connsiteX806" fmla="*/ 520065 w 2370773"/>
                <a:gd name="connsiteY806" fmla="*/ 1525905 h 1940242"/>
                <a:gd name="connsiteX807" fmla="*/ 499110 w 2370773"/>
                <a:gd name="connsiteY807" fmla="*/ 1546860 h 1940242"/>
                <a:gd name="connsiteX808" fmla="*/ 478155 w 2370773"/>
                <a:gd name="connsiteY808" fmla="*/ 1525905 h 1940242"/>
                <a:gd name="connsiteX809" fmla="*/ 499110 w 2370773"/>
                <a:gd name="connsiteY809" fmla="*/ 1504950 h 1940242"/>
                <a:gd name="connsiteX810" fmla="*/ 291465 w 2370773"/>
                <a:gd name="connsiteY810" fmla="*/ 1504950 h 1940242"/>
                <a:gd name="connsiteX811" fmla="*/ 296228 w 2370773"/>
                <a:gd name="connsiteY811" fmla="*/ 1509713 h 1940242"/>
                <a:gd name="connsiteX812" fmla="*/ 291465 w 2370773"/>
                <a:gd name="connsiteY812" fmla="*/ 1514475 h 1940242"/>
                <a:gd name="connsiteX813" fmla="*/ 286703 w 2370773"/>
                <a:gd name="connsiteY813" fmla="*/ 1509713 h 1940242"/>
                <a:gd name="connsiteX814" fmla="*/ 291465 w 2370773"/>
                <a:gd name="connsiteY814" fmla="*/ 1504950 h 1940242"/>
                <a:gd name="connsiteX815" fmla="*/ 721995 w 2370773"/>
                <a:gd name="connsiteY815" fmla="*/ 1501140 h 1940242"/>
                <a:gd name="connsiteX816" fmla="*/ 742950 w 2370773"/>
                <a:gd name="connsiteY816" fmla="*/ 1522095 h 1940242"/>
                <a:gd name="connsiteX817" fmla="*/ 721995 w 2370773"/>
                <a:gd name="connsiteY817" fmla="*/ 1543050 h 1940242"/>
                <a:gd name="connsiteX818" fmla="*/ 701040 w 2370773"/>
                <a:gd name="connsiteY818" fmla="*/ 1522095 h 1940242"/>
                <a:gd name="connsiteX819" fmla="*/ 721995 w 2370773"/>
                <a:gd name="connsiteY819" fmla="*/ 1501140 h 1940242"/>
                <a:gd name="connsiteX820" fmla="*/ 393382 w 2370773"/>
                <a:gd name="connsiteY820" fmla="*/ 1498282 h 1940242"/>
                <a:gd name="connsiteX821" fmla="*/ 414337 w 2370773"/>
                <a:gd name="connsiteY821" fmla="*/ 1519237 h 1940242"/>
                <a:gd name="connsiteX822" fmla="*/ 393382 w 2370773"/>
                <a:gd name="connsiteY822" fmla="*/ 1540192 h 1940242"/>
                <a:gd name="connsiteX823" fmla="*/ 372427 w 2370773"/>
                <a:gd name="connsiteY823" fmla="*/ 1519237 h 1940242"/>
                <a:gd name="connsiteX824" fmla="*/ 393382 w 2370773"/>
                <a:gd name="connsiteY824" fmla="*/ 1498282 h 1940242"/>
                <a:gd name="connsiteX825" fmla="*/ 2015491 w 2370773"/>
                <a:gd name="connsiteY825" fmla="*/ 1495425 h 1940242"/>
                <a:gd name="connsiteX826" fmla="*/ 2029778 w 2370773"/>
                <a:gd name="connsiteY826" fmla="*/ 1509713 h 1940242"/>
                <a:gd name="connsiteX827" fmla="*/ 2015491 w 2370773"/>
                <a:gd name="connsiteY827" fmla="*/ 1524000 h 1940242"/>
                <a:gd name="connsiteX828" fmla="*/ 2001203 w 2370773"/>
                <a:gd name="connsiteY828" fmla="*/ 1509713 h 1940242"/>
                <a:gd name="connsiteX829" fmla="*/ 2015491 w 2370773"/>
                <a:gd name="connsiteY829" fmla="*/ 1495425 h 1940242"/>
                <a:gd name="connsiteX830" fmla="*/ 1584960 w 2370773"/>
                <a:gd name="connsiteY830" fmla="*/ 1495425 h 1940242"/>
                <a:gd name="connsiteX831" fmla="*/ 1597343 w 2370773"/>
                <a:gd name="connsiteY831" fmla="*/ 1507808 h 1940242"/>
                <a:gd name="connsiteX832" fmla="*/ 1584960 w 2370773"/>
                <a:gd name="connsiteY832" fmla="*/ 1520190 h 1940242"/>
                <a:gd name="connsiteX833" fmla="*/ 1572578 w 2370773"/>
                <a:gd name="connsiteY833" fmla="*/ 1507808 h 1940242"/>
                <a:gd name="connsiteX834" fmla="*/ 1584960 w 2370773"/>
                <a:gd name="connsiteY834" fmla="*/ 1495425 h 1940242"/>
                <a:gd name="connsiteX835" fmla="*/ 840105 w 2370773"/>
                <a:gd name="connsiteY835" fmla="*/ 1492567 h 1940242"/>
                <a:gd name="connsiteX836" fmla="*/ 858203 w 2370773"/>
                <a:gd name="connsiteY836" fmla="*/ 1510665 h 1940242"/>
                <a:gd name="connsiteX837" fmla="*/ 840105 w 2370773"/>
                <a:gd name="connsiteY837" fmla="*/ 1528762 h 1940242"/>
                <a:gd name="connsiteX838" fmla="*/ 822008 w 2370773"/>
                <a:gd name="connsiteY838" fmla="*/ 1510665 h 1940242"/>
                <a:gd name="connsiteX839" fmla="*/ 840105 w 2370773"/>
                <a:gd name="connsiteY839" fmla="*/ 1492567 h 1940242"/>
                <a:gd name="connsiteX840" fmla="*/ 1016317 w 2370773"/>
                <a:gd name="connsiteY840" fmla="*/ 1491615 h 1940242"/>
                <a:gd name="connsiteX841" fmla="*/ 1032510 w 2370773"/>
                <a:gd name="connsiteY841" fmla="*/ 1507807 h 1940242"/>
                <a:gd name="connsiteX842" fmla="*/ 1016317 w 2370773"/>
                <a:gd name="connsiteY842" fmla="*/ 1524000 h 1940242"/>
                <a:gd name="connsiteX843" fmla="*/ 1000125 w 2370773"/>
                <a:gd name="connsiteY843" fmla="*/ 1507807 h 1940242"/>
                <a:gd name="connsiteX844" fmla="*/ 1016317 w 2370773"/>
                <a:gd name="connsiteY844" fmla="*/ 1491615 h 1940242"/>
                <a:gd name="connsiteX845" fmla="*/ 2145982 w 2370773"/>
                <a:gd name="connsiteY845" fmla="*/ 1483995 h 1940242"/>
                <a:gd name="connsiteX846" fmla="*/ 2149792 w 2370773"/>
                <a:gd name="connsiteY846" fmla="*/ 1487805 h 1940242"/>
                <a:gd name="connsiteX847" fmla="*/ 2145982 w 2370773"/>
                <a:gd name="connsiteY847" fmla="*/ 1491615 h 1940242"/>
                <a:gd name="connsiteX848" fmla="*/ 2142172 w 2370773"/>
                <a:gd name="connsiteY848" fmla="*/ 1487805 h 1940242"/>
                <a:gd name="connsiteX849" fmla="*/ 2145982 w 2370773"/>
                <a:gd name="connsiteY849" fmla="*/ 1483995 h 1940242"/>
                <a:gd name="connsiteX850" fmla="*/ 1787842 w 2370773"/>
                <a:gd name="connsiteY850" fmla="*/ 1481137 h 1940242"/>
                <a:gd name="connsiteX851" fmla="*/ 1804987 w 2370773"/>
                <a:gd name="connsiteY851" fmla="*/ 1498282 h 1940242"/>
                <a:gd name="connsiteX852" fmla="*/ 1787842 w 2370773"/>
                <a:gd name="connsiteY852" fmla="*/ 1515427 h 1940242"/>
                <a:gd name="connsiteX853" fmla="*/ 1770697 w 2370773"/>
                <a:gd name="connsiteY853" fmla="*/ 1498282 h 1940242"/>
                <a:gd name="connsiteX854" fmla="*/ 1787842 w 2370773"/>
                <a:gd name="connsiteY854" fmla="*/ 1481137 h 1940242"/>
                <a:gd name="connsiteX855" fmla="*/ 1640205 w 2370773"/>
                <a:gd name="connsiteY855" fmla="*/ 1479232 h 1940242"/>
                <a:gd name="connsiteX856" fmla="*/ 1651635 w 2370773"/>
                <a:gd name="connsiteY856" fmla="*/ 1490662 h 1940242"/>
                <a:gd name="connsiteX857" fmla="*/ 1640205 w 2370773"/>
                <a:gd name="connsiteY857" fmla="*/ 1502092 h 1940242"/>
                <a:gd name="connsiteX858" fmla="*/ 1628775 w 2370773"/>
                <a:gd name="connsiteY858" fmla="*/ 1490662 h 1940242"/>
                <a:gd name="connsiteX859" fmla="*/ 1640205 w 2370773"/>
                <a:gd name="connsiteY859" fmla="*/ 1479232 h 1940242"/>
                <a:gd name="connsiteX860" fmla="*/ 1927860 w 2370773"/>
                <a:gd name="connsiteY860" fmla="*/ 1478279 h 1940242"/>
                <a:gd name="connsiteX861" fmla="*/ 1942147 w 2370773"/>
                <a:gd name="connsiteY861" fmla="*/ 1492567 h 1940242"/>
                <a:gd name="connsiteX862" fmla="*/ 1927860 w 2370773"/>
                <a:gd name="connsiteY862" fmla="*/ 1506854 h 1940242"/>
                <a:gd name="connsiteX863" fmla="*/ 1913572 w 2370773"/>
                <a:gd name="connsiteY863" fmla="*/ 1492567 h 1940242"/>
                <a:gd name="connsiteX864" fmla="*/ 1927860 w 2370773"/>
                <a:gd name="connsiteY864" fmla="*/ 1478279 h 1940242"/>
                <a:gd name="connsiteX865" fmla="*/ 961073 w 2370773"/>
                <a:gd name="connsiteY865" fmla="*/ 1476375 h 1940242"/>
                <a:gd name="connsiteX866" fmla="*/ 976313 w 2370773"/>
                <a:gd name="connsiteY866" fmla="*/ 1491615 h 1940242"/>
                <a:gd name="connsiteX867" fmla="*/ 961073 w 2370773"/>
                <a:gd name="connsiteY867" fmla="*/ 1506855 h 1940242"/>
                <a:gd name="connsiteX868" fmla="*/ 945833 w 2370773"/>
                <a:gd name="connsiteY868" fmla="*/ 1491615 h 1940242"/>
                <a:gd name="connsiteX869" fmla="*/ 961073 w 2370773"/>
                <a:gd name="connsiteY869" fmla="*/ 1476375 h 1940242"/>
                <a:gd name="connsiteX870" fmla="*/ 1315403 w 2370773"/>
                <a:gd name="connsiteY870" fmla="*/ 1475422 h 1940242"/>
                <a:gd name="connsiteX871" fmla="*/ 1323975 w 2370773"/>
                <a:gd name="connsiteY871" fmla="*/ 1483995 h 1940242"/>
                <a:gd name="connsiteX872" fmla="*/ 1315403 w 2370773"/>
                <a:gd name="connsiteY872" fmla="*/ 1492567 h 1940242"/>
                <a:gd name="connsiteX873" fmla="*/ 1306830 w 2370773"/>
                <a:gd name="connsiteY873" fmla="*/ 1483995 h 1940242"/>
                <a:gd name="connsiteX874" fmla="*/ 1315403 w 2370773"/>
                <a:gd name="connsiteY874" fmla="*/ 1475422 h 1940242"/>
                <a:gd name="connsiteX875" fmla="*/ 1372553 w 2370773"/>
                <a:gd name="connsiteY875" fmla="*/ 1474470 h 1940242"/>
                <a:gd name="connsiteX876" fmla="*/ 1380173 w 2370773"/>
                <a:gd name="connsiteY876" fmla="*/ 1482090 h 1940242"/>
                <a:gd name="connsiteX877" fmla="*/ 1372553 w 2370773"/>
                <a:gd name="connsiteY877" fmla="*/ 1489710 h 1940242"/>
                <a:gd name="connsiteX878" fmla="*/ 1364933 w 2370773"/>
                <a:gd name="connsiteY878" fmla="*/ 1482090 h 1940242"/>
                <a:gd name="connsiteX879" fmla="*/ 1372553 w 2370773"/>
                <a:gd name="connsiteY879" fmla="*/ 1474470 h 1940242"/>
                <a:gd name="connsiteX880" fmla="*/ 1257300 w 2370773"/>
                <a:gd name="connsiteY880" fmla="*/ 1473517 h 1940242"/>
                <a:gd name="connsiteX881" fmla="*/ 1267777 w 2370773"/>
                <a:gd name="connsiteY881" fmla="*/ 1483995 h 1940242"/>
                <a:gd name="connsiteX882" fmla="*/ 1257300 w 2370773"/>
                <a:gd name="connsiteY882" fmla="*/ 1494472 h 1940242"/>
                <a:gd name="connsiteX883" fmla="*/ 1246822 w 2370773"/>
                <a:gd name="connsiteY883" fmla="*/ 1483995 h 1940242"/>
                <a:gd name="connsiteX884" fmla="*/ 1257300 w 2370773"/>
                <a:gd name="connsiteY884" fmla="*/ 1473517 h 1940242"/>
                <a:gd name="connsiteX885" fmla="*/ 673418 w 2370773"/>
                <a:gd name="connsiteY885" fmla="*/ 1471612 h 1940242"/>
                <a:gd name="connsiteX886" fmla="*/ 694373 w 2370773"/>
                <a:gd name="connsiteY886" fmla="*/ 1492567 h 1940242"/>
                <a:gd name="connsiteX887" fmla="*/ 673418 w 2370773"/>
                <a:gd name="connsiteY887" fmla="*/ 1513522 h 1940242"/>
                <a:gd name="connsiteX888" fmla="*/ 652463 w 2370773"/>
                <a:gd name="connsiteY888" fmla="*/ 1492567 h 1940242"/>
                <a:gd name="connsiteX889" fmla="*/ 673418 w 2370773"/>
                <a:gd name="connsiteY889" fmla="*/ 1471612 h 1940242"/>
                <a:gd name="connsiteX890" fmla="*/ 561975 w 2370773"/>
                <a:gd name="connsiteY890" fmla="*/ 1471612 h 1940242"/>
                <a:gd name="connsiteX891" fmla="*/ 582930 w 2370773"/>
                <a:gd name="connsiteY891" fmla="*/ 1492567 h 1940242"/>
                <a:gd name="connsiteX892" fmla="*/ 561975 w 2370773"/>
                <a:gd name="connsiteY892" fmla="*/ 1513522 h 1940242"/>
                <a:gd name="connsiteX893" fmla="*/ 541020 w 2370773"/>
                <a:gd name="connsiteY893" fmla="*/ 1492567 h 1940242"/>
                <a:gd name="connsiteX894" fmla="*/ 561975 w 2370773"/>
                <a:gd name="connsiteY894" fmla="*/ 1471612 h 1940242"/>
                <a:gd name="connsiteX895" fmla="*/ 1429703 w 2370773"/>
                <a:gd name="connsiteY895" fmla="*/ 1469707 h 1940242"/>
                <a:gd name="connsiteX896" fmla="*/ 1436370 w 2370773"/>
                <a:gd name="connsiteY896" fmla="*/ 1476374 h 1940242"/>
                <a:gd name="connsiteX897" fmla="*/ 1429703 w 2370773"/>
                <a:gd name="connsiteY897" fmla="*/ 1483042 h 1940242"/>
                <a:gd name="connsiteX898" fmla="*/ 1423035 w 2370773"/>
                <a:gd name="connsiteY898" fmla="*/ 1476374 h 1940242"/>
                <a:gd name="connsiteX899" fmla="*/ 1429703 w 2370773"/>
                <a:gd name="connsiteY899" fmla="*/ 1469707 h 1940242"/>
                <a:gd name="connsiteX900" fmla="*/ 1200150 w 2370773"/>
                <a:gd name="connsiteY900" fmla="*/ 1468754 h 1940242"/>
                <a:gd name="connsiteX901" fmla="*/ 1210627 w 2370773"/>
                <a:gd name="connsiteY901" fmla="*/ 1479232 h 1940242"/>
                <a:gd name="connsiteX902" fmla="*/ 1200150 w 2370773"/>
                <a:gd name="connsiteY902" fmla="*/ 1489709 h 1940242"/>
                <a:gd name="connsiteX903" fmla="*/ 1189672 w 2370773"/>
                <a:gd name="connsiteY903" fmla="*/ 1479232 h 1940242"/>
                <a:gd name="connsiteX904" fmla="*/ 1200150 w 2370773"/>
                <a:gd name="connsiteY904" fmla="*/ 1468754 h 1940242"/>
                <a:gd name="connsiteX905" fmla="*/ 455295 w 2370773"/>
                <a:gd name="connsiteY905" fmla="*/ 1467802 h 1940242"/>
                <a:gd name="connsiteX906" fmla="*/ 476250 w 2370773"/>
                <a:gd name="connsiteY906" fmla="*/ 1488757 h 1940242"/>
                <a:gd name="connsiteX907" fmla="*/ 455295 w 2370773"/>
                <a:gd name="connsiteY907" fmla="*/ 1509712 h 1940242"/>
                <a:gd name="connsiteX908" fmla="*/ 434340 w 2370773"/>
                <a:gd name="connsiteY908" fmla="*/ 1488757 h 1940242"/>
                <a:gd name="connsiteX909" fmla="*/ 455295 w 2370773"/>
                <a:gd name="connsiteY909" fmla="*/ 1467802 h 1940242"/>
                <a:gd name="connsiteX910" fmla="*/ 787717 w 2370773"/>
                <a:gd name="connsiteY910" fmla="*/ 1466850 h 1940242"/>
                <a:gd name="connsiteX911" fmla="*/ 805815 w 2370773"/>
                <a:gd name="connsiteY911" fmla="*/ 1484947 h 1940242"/>
                <a:gd name="connsiteX912" fmla="*/ 787717 w 2370773"/>
                <a:gd name="connsiteY912" fmla="*/ 1503045 h 1940242"/>
                <a:gd name="connsiteX913" fmla="*/ 769620 w 2370773"/>
                <a:gd name="connsiteY913" fmla="*/ 1484947 h 1940242"/>
                <a:gd name="connsiteX914" fmla="*/ 787717 w 2370773"/>
                <a:gd name="connsiteY914" fmla="*/ 1466850 h 1940242"/>
                <a:gd name="connsiteX915" fmla="*/ 251460 w 2370773"/>
                <a:gd name="connsiteY915" fmla="*/ 1465897 h 1940242"/>
                <a:gd name="connsiteX916" fmla="*/ 253365 w 2370773"/>
                <a:gd name="connsiteY916" fmla="*/ 1467802 h 1940242"/>
                <a:gd name="connsiteX917" fmla="*/ 251460 w 2370773"/>
                <a:gd name="connsiteY917" fmla="*/ 1469707 h 1940242"/>
                <a:gd name="connsiteX918" fmla="*/ 249555 w 2370773"/>
                <a:gd name="connsiteY918" fmla="*/ 1467802 h 1940242"/>
                <a:gd name="connsiteX919" fmla="*/ 251460 w 2370773"/>
                <a:gd name="connsiteY919" fmla="*/ 1465897 h 1940242"/>
                <a:gd name="connsiteX920" fmla="*/ 2061210 w 2370773"/>
                <a:gd name="connsiteY920" fmla="*/ 1463992 h 1940242"/>
                <a:gd name="connsiteX921" fmla="*/ 2071688 w 2370773"/>
                <a:gd name="connsiteY921" fmla="*/ 1474470 h 1940242"/>
                <a:gd name="connsiteX922" fmla="*/ 2061210 w 2370773"/>
                <a:gd name="connsiteY922" fmla="*/ 1484947 h 1940242"/>
                <a:gd name="connsiteX923" fmla="*/ 2050733 w 2370773"/>
                <a:gd name="connsiteY923" fmla="*/ 1474470 h 1940242"/>
                <a:gd name="connsiteX924" fmla="*/ 2061210 w 2370773"/>
                <a:gd name="connsiteY924" fmla="*/ 1463992 h 1940242"/>
                <a:gd name="connsiteX925" fmla="*/ 1693546 w 2370773"/>
                <a:gd name="connsiteY925" fmla="*/ 1458277 h 1940242"/>
                <a:gd name="connsiteX926" fmla="*/ 1705928 w 2370773"/>
                <a:gd name="connsiteY926" fmla="*/ 1470659 h 1940242"/>
                <a:gd name="connsiteX927" fmla="*/ 1693546 w 2370773"/>
                <a:gd name="connsiteY927" fmla="*/ 1483042 h 1940242"/>
                <a:gd name="connsiteX928" fmla="*/ 1681163 w 2370773"/>
                <a:gd name="connsiteY928" fmla="*/ 1470659 h 1940242"/>
                <a:gd name="connsiteX929" fmla="*/ 1693546 w 2370773"/>
                <a:gd name="connsiteY929" fmla="*/ 1458277 h 1940242"/>
                <a:gd name="connsiteX930" fmla="*/ 1486853 w 2370773"/>
                <a:gd name="connsiteY930" fmla="*/ 1458277 h 1940242"/>
                <a:gd name="connsiteX931" fmla="*/ 1494473 w 2370773"/>
                <a:gd name="connsiteY931" fmla="*/ 1465897 h 1940242"/>
                <a:gd name="connsiteX932" fmla="*/ 1486853 w 2370773"/>
                <a:gd name="connsiteY932" fmla="*/ 1473517 h 1940242"/>
                <a:gd name="connsiteX933" fmla="*/ 1479233 w 2370773"/>
                <a:gd name="connsiteY933" fmla="*/ 1465897 h 1940242"/>
                <a:gd name="connsiteX934" fmla="*/ 1486853 w 2370773"/>
                <a:gd name="connsiteY934" fmla="*/ 1458277 h 1940242"/>
                <a:gd name="connsiteX935" fmla="*/ 1143000 w 2370773"/>
                <a:gd name="connsiteY935" fmla="*/ 1458277 h 1940242"/>
                <a:gd name="connsiteX936" fmla="*/ 1155382 w 2370773"/>
                <a:gd name="connsiteY936" fmla="*/ 1470659 h 1940242"/>
                <a:gd name="connsiteX937" fmla="*/ 1143000 w 2370773"/>
                <a:gd name="connsiteY937" fmla="*/ 1483042 h 1940242"/>
                <a:gd name="connsiteX938" fmla="*/ 1130617 w 2370773"/>
                <a:gd name="connsiteY938" fmla="*/ 1470659 h 1940242"/>
                <a:gd name="connsiteX939" fmla="*/ 1143000 w 2370773"/>
                <a:gd name="connsiteY939" fmla="*/ 1458277 h 1940242"/>
                <a:gd name="connsiteX940" fmla="*/ 351473 w 2370773"/>
                <a:gd name="connsiteY940" fmla="*/ 1457325 h 1940242"/>
                <a:gd name="connsiteX941" fmla="*/ 373380 w 2370773"/>
                <a:gd name="connsiteY941" fmla="*/ 1479233 h 1940242"/>
                <a:gd name="connsiteX942" fmla="*/ 351473 w 2370773"/>
                <a:gd name="connsiteY942" fmla="*/ 1501140 h 1940242"/>
                <a:gd name="connsiteX943" fmla="*/ 329565 w 2370773"/>
                <a:gd name="connsiteY943" fmla="*/ 1479233 h 1940242"/>
                <a:gd name="connsiteX944" fmla="*/ 351473 w 2370773"/>
                <a:gd name="connsiteY944" fmla="*/ 1457325 h 1940242"/>
                <a:gd name="connsiteX945" fmla="*/ 906780 w 2370773"/>
                <a:gd name="connsiteY945" fmla="*/ 1455420 h 1940242"/>
                <a:gd name="connsiteX946" fmla="*/ 922020 w 2370773"/>
                <a:gd name="connsiteY946" fmla="*/ 1470660 h 1940242"/>
                <a:gd name="connsiteX947" fmla="*/ 906780 w 2370773"/>
                <a:gd name="connsiteY947" fmla="*/ 1485900 h 1940242"/>
                <a:gd name="connsiteX948" fmla="*/ 891540 w 2370773"/>
                <a:gd name="connsiteY948" fmla="*/ 1470660 h 1940242"/>
                <a:gd name="connsiteX949" fmla="*/ 906780 w 2370773"/>
                <a:gd name="connsiteY949" fmla="*/ 1455420 h 1940242"/>
                <a:gd name="connsiteX950" fmla="*/ 1838325 w 2370773"/>
                <a:gd name="connsiteY950" fmla="*/ 1454467 h 1940242"/>
                <a:gd name="connsiteX951" fmla="*/ 1854518 w 2370773"/>
                <a:gd name="connsiteY951" fmla="*/ 1470659 h 1940242"/>
                <a:gd name="connsiteX952" fmla="*/ 1838325 w 2370773"/>
                <a:gd name="connsiteY952" fmla="*/ 1486852 h 1940242"/>
                <a:gd name="connsiteX953" fmla="*/ 1822133 w 2370773"/>
                <a:gd name="connsiteY953" fmla="*/ 1470659 h 1940242"/>
                <a:gd name="connsiteX954" fmla="*/ 1838325 w 2370773"/>
                <a:gd name="connsiteY954" fmla="*/ 1454467 h 1940242"/>
                <a:gd name="connsiteX955" fmla="*/ 1085850 w 2370773"/>
                <a:gd name="connsiteY955" fmla="*/ 1446847 h 1940242"/>
                <a:gd name="connsiteX956" fmla="*/ 1099185 w 2370773"/>
                <a:gd name="connsiteY956" fmla="*/ 1460182 h 1940242"/>
                <a:gd name="connsiteX957" fmla="*/ 1085850 w 2370773"/>
                <a:gd name="connsiteY957" fmla="*/ 1473517 h 1940242"/>
                <a:gd name="connsiteX958" fmla="*/ 1072515 w 2370773"/>
                <a:gd name="connsiteY958" fmla="*/ 1460182 h 1940242"/>
                <a:gd name="connsiteX959" fmla="*/ 1085850 w 2370773"/>
                <a:gd name="connsiteY959" fmla="*/ 1446847 h 1940242"/>
                <a:gd name="connsiteX960" fmla="*/ 1975485 w 2370773"/>
                <a:gd name="connsiteY960" fmla="*/ 1443037 h 1940242"/>
                <a:gd name="connsiteX961" fmla="*/ 1992630 w 2370773"/>
                <a:gd name="connsiteY961" fmla="*/ 1460182 h 1940242"/>
                <a:gd name="connsiteX962" fmla="*/ 1975485 w 2370773"/>
                <a:gd name="connsiteY962" fmla="*/ 1477327 h 1940242"/>
                <a:gd name="connsiteX963" fmla="*/ 1958340 w 2370773"/>
                <a:gd name="connsiteY963" fmla="*/ 1460182 h 1940242"/>
                <a:gd name="connsiteX964" fmla="*/ 1975485 w 2370773"/>
                <a:gd name="connsiteY964" fmla="*/ 1443037 h 1940242"/>
                <a:gd name="connsiteX965" fmla="*/ 1543050 w 2370773"/>
                <a:gd name="connsiteY965" fmla="*/ 1443037 h 1940242"/>
                <a:gd name="connsiteX966" fmla="*/ 1552575 w 2370773"/>
                <a:gd name="connsiteY966" fmla="*/ 1452562 h 1940242"/>
                <a:gd name="connsiteX967" fmla="*/ 1543050 w 2370773"/>
                <a:gd name="connsiteY967" fmla="*/ 1462087 h 1940242"/>
                <a:gd name="connsiteX968" fmla="*/ 1533525 w 2370773"/>
                <a:gd name="connsiteY968" fmla="*/ 1452562 h 1940242"/>
                <a:gd name="connsiteX969" fmla="*/ 1543050 w 2370773"/>
                <a:gd name="connsiteY969" fmla="*/ 1443037 h 1940242"/>
                <a:gd name="connsiteX970" fmla="*/ 625792 w 2370773"/>
                <a:gd name="connsiteY970" fmla="*/ 1439227 h 1940242"/>
                <a:gd name="connsiteX971" fmla="*/ 645795 w 2370773"/>
                <a:gd name="connsiteY971" fmla="*/ 1459229 h 1940242"/>
                <a:gd name="connsiteX972" fmla="*/ 625792 w 2370773"/>
                <a:gd name="connsiteY972" fmla="*/ 1479232 h 1940242"/>
                <a:gd name="connsiteX973" fmla="*/ 605790 w 2370773"/>
                <a:gd name="connsiteY973" fmla="*/ 1459229 h 1940242"/>
                <a:gd name="connsiteX974" fmla="*/ 625792 w 2370773"/>
                <a:gd name="connsiteY974" fmla="*/ 1439227 h 1940242"/>
                <a:gd name="connsiteX975" fmla="*/ 517207 w 2370773"/>
                <a:gd name="connsiteY975" fmla="*/ 1437322 h 1940242"/>
                <a:gd name="connsiteX976" fmla="*/ 537210 w 2370773"/>
                <a:gd name="connsiteY976" fmla="*/ 1457325 h 1940242"/>
                <a:gd name="connsiteX977" fmla="*/ 517207 w 2370773"/>
                <a:gd name="connsiteY977" fmla="*/ 1477327 h 1940242"/>
                <a:gd name="connsiteX978" fmla="*/ 497205 w 2370773"/>
                <a:gd name="connsiteY978" fmla="*/ 1457325 h 1940242"/>
                <a:gd name="connsiteX979" fmla="*/ 517207 w 2370773"/>
                <a:gd name="connsiteY979" fmla="*/ 1437322 h 1940242"/>
                <a:gd name="connsiteX980" fmla="*/ 738188 w 2370773"/>
                <a:gd name="connsiteY980" fmla="*/ 1435417 h 1940242"/>
                <a:gd name="connsiteX981" fmla="*/ 759143 w 2370773"/>
                <a:gd name="connsiteY981" fmla="*/ 1456372 h 1940242"/>
                <a:gd name="connsiteX982" fmla="*/ 738188 w 2370773"/>
                <a:gd name="connsiteY982" fmla="*/ 1477327 h 1940242"/>
                <a:gd name="connsiteX983" fmla="*/ 717233 w 2370773"/>
                <a:gd name="connsiteY983" fmla="*/ 1456372 h 1940242"/>
                <a:gd name="connsiteX984" fmla="*/ 738188 w 2370773"/>
                <a:gd name="connsiteY984" fmla="*/ 1435417 h 1940242"/>
                <a:gd name="connsiteX985" fmla="*/ 1030605 w 2370773"/>
                <a:gd name="connsiteY985" fmla="*/ 1432559 h 1940242"/>
                <a:gd name="connsiteX986" fmla="*/ 1043940 w 2370773"/>
                <a:gd name="connsiteY986" fmla="*/ 1445894 h 1940242"/>
                <a:gd name="connsiteX987" fmla="*/ 1030605 w 2370773"/>
                <a:gd name="connsiteY987" fmla="*/ 1459229 h 1940242"/>
                <a:gd name="connsiteX988" fmla="*/ 1017270 w 2370773"/>
                <a:gd name="connsiteY988" fmla="*/ 1445894 h 1940242"/>
                <a:gd name="connsiteX989" fmla="*/ 1030605 w 2370773"/>
                <a:gd name="connsiteY989" fmla="*/ 1432559 h 1940242"/>
                <a:gd name="connsiteX990" fmla="*/ 1746885 w 2370773"/>
                <a:gd name="connsiteY990" fmla="*/ 1431607 h 1940242"/>
                <a:gd name="connsiteX991" fmla="*/ 1762125 w 2370773"/>
                <a:gd name="connsiteY991" fmla="*/ 1446847 h 1940242"/>
                <a:gd name="connsiteX992" fmla="*/ 1746885 w 2370773"/>
                <a:gd name="connsiteY992" fmla="*/ 1462087 h 1940242"/>
                <a:gd name="connsiteX993" fmla="*/ 1731645 w 2370773"/>
                <a:gd name="connsiteY993" fmla="*/ 1446847 h 1940242"/>
                <a:gd name="connsiteX994" fmla="*/ 1746885 w 2370773"/>
                <a:gd name="connsiteY994" fmla="*/ 1431607 h 1940242"/>
                <a:gd name="connsiteX995" fmla="*/ 854393 w 2370773"/>
                <a:gd name="connsiteY995" fmla="*/ 1428750 h 1940242"/>
                <a:gd name="connsiteX996" fmla="*/ 871538 w 2370773"/>
                <a:gd name="connsiteY996" fmla="*/ 1445895 h 1940242"/>
                <a:gd name="connsiteX997" fmla="*/ 854393 w 2370773"/>
                <a:gd name="connsiteY997" fmla="*/ 1463040 h 1940242"/>
                <a:gd name="connsiteX998" fmla="*/ 837248 w 2370773"/>
                <a:gd name="connsiteY998" fmla="*/ 1445895 h 1940242"/>
                <a:gd name="connsiteX999" fmla="*/ 854393 w 2370773"/>
                <a:gd name="connsiteY999" fmla="*/ 1428750 h 1940242"/>
                <a:gd name="connsiteX1000" fmla="*/ 1598295 w 2370773"/>
                <a:gd name="connsiteY1000" fmla="*/ 1427797 h 1940242"/>
                <a:gd name="connsiteX1001" fmla="*/ 1607820 w 2370773"/>
                <a:gd name="connsiteY1001" fmla="*/ 1437322 h 1940242"/>
                <a:gd name="connsiteX1002" fmla="*/ 1598295 w 2370773"/>
                <a:gd name="connsiteY1002" fmla="*/ 1446847 h 1940242"/>
                <a:gd name="connsiteX1003" fmla="*/ 1588770 w 2370773"/>
                <a:gd name="connsiteY1003" fmla="*/ 1437322 h 1940242"/>
                <a:gd name="connsiteX1004" fmla="*/ 1598295 w 2370773"/>
                <a:gd name="connsiteY1004" fmla="*/ 1427797 h 1940242"/>
                <a:gd name="connsiteX1005" fmla="*/ 412432 w 2370773"/>
                <a:gd name="connsiteY1005" fmla="*/ 1427797 h 1940242"/>
                <a:gd name="connsiteX1006" fmla="*/ 434340 w 2370773"/>
                <a:gd name="connsiteY1006" fmla="*/ 1449705 h 1940242"/>
                <a:gd name="connsiteX1007" fmla="*/ 412432 w 2370773"/>
                <a:gd name="connsiteY1007" fmla="*/ 1471612 h 1940242"/>
                <a:gd name="connsiteX1008" fmla="*/ 390525 w 2370773"/>
                <a:gd name="connsiteY1008" fmla="*/ 1449705 h 1940242"/>
                <a:gd name="connsiteX1009" fmla="*/ 412432 w 2370773"/>
                <a:gd name="connsiteY1009" fmla="*/ 1427797 h 1940242"/>
                <a:gd name="connsiteX1010" fmla="*/ 2105978 w 2370773"/>
                <a:gd name="connsiteY1010" fmla="*/ 1426845 h 1940242"/>
                <a:gd name="connsiteX1011" fmla="*/ 2116455 w 2370773"/>
                <a:gd name="connsiteY1011" fmla="*/ 1437322 h 1940242"/>
                <a:gd name="connsiteX1012" fmla="*/ 2105978 w 2370773"/>
                <a:gd name="connsiteY1012" fmla="*/ 1447800 h 1940242"/>
                <a:gd name="connsiteX1013" fmla="*/ 2095500 w 2370773"/>
                <a:gd name="connsiteY1013" fmla="*/ 1437322 h 1940242"/>
                <a:gd name="connsiteX1014" fmla="*/ 2105978 w 2370773"/>
                <a:gd name="connsiteY1014" fmla="*/ 1426845 h 1940242"/>
                <a:gd name="connsiteX1015" fmla="*/ 1887855 w 2370773"/>
                <a:gd name="connsiteY1015" fmla="*/ 1426845 h 1940242"/>
                <a:gd name="connsiteX1016" fmla="*/ 1903095 w 2370773"/>
                <a:gd name="connsiteY1016" fmla="*/ 1442085 h 1940242"/>
                <a:gd name="connsiteX1017" fmla="*/ 1887855 w 2370773"/>
                <a:gd name="connsiteY1017" fmla="*/ 1457325 h 1940242"/>
                <a:gd name="connsiteX1018" fmla="*/ 1872615 w 2370773"/>
                <a:gd name="connsiteY1018" fmla="*/ 1442085 h 1940242"/>
                <a:gd name="connsiteX1019" fmla="*/ 1887855 w 2370773"/>
                <a:gd name="connsiteY1019" fmla="*/ 1426845 h 1940242"/>
                <a:gd name="connsiteX1020" fmla="*/ 311468 w 2370773"/>
                <a:gd name="connsiteY1020" fmla="*/ 1421129 h 1940242"/>
                <a:gd name="connsiteX1021" fmla="*/ 328613 w 2370773"/>
                <a:gd name="connsiteY1021" fmla="*/ 1438274 h 1940242"/>
                <a:gd name="connsiteX1022" fmla="*/ 311468 w 2370773"/>
                <a:gd name="connsiteY1022" fmla="*/ 1455419 h 1940242"/>
                <a:gd name="connsiteX1023" fmla="*/ 294323 w 2370773"/>
                <a:gd name="connsiteY1023" fmla="*/ 1438274 h 1940242"/>
                <a:gd name="connsiteX1024" fmla="*/ 311468 w 2370773"/>
                <a:gd name="connsiteY1024" fmla="*/ 1421129 h 1940242"/>
                <a:gd name="connsiteX1025" fmla="*/ 213360 w 2370773"/>
                <a:gd name="connsiteY1025" fmla="*/ 1416367 h 1940242"/>
                <a:gd name="connsiteX1026" fmla="*/ 220980 w 2370773"/>
                <a:gd name="connsiteY1026" fmla="*/ 1423987 h 1940242"/>
                <a:gd name="connsiteX1027" fmla="*/ 213360 w 2370773"/>
                <a:gd name="connsiteY1027" fmla="*/ 1431607 h 1940242"/>
                <a:gd name="connsiteX1028" fmla="*/ 205740 w 2370773"/>
                <a:gd name="connsiteY1028" fmla="*/ 1423987 h 1940242"/>
                <a:gd name="connsiteX1029" fmla="*/ 213360 w 2370773"/>
                <a:gd name="connsiteY1029" fmla="*/ 1416367 h 1940242"/>
                <a:gd name="connsiteX1030" fmla="*/ 1329691 w 2370773"/>
                <a:gd name="connsiteY1030" fmla="*/ 1415415 h 1940242"/>
                <a:gd name="connsiteX1031" fmla="*/ 1334453 w 2370773"/>
                <a:gd name="connsiteY1031" fmla="*/ 1420178 h 1940242"/>
                <a:gd name="connsiteX1032" fmla="*/ 1329691 w 2370773"/>
                <a:gd name="connsiteY1032" fmla="*/ 1424940 h 1940242"/>
                <a:gd name="connsiteX1033" fmla="*/ 1324928 w 2370773"/>
                <a:gd name="connsiteY1033" fmla="*/ 1420178 h 1940242"/>
                <a:gd name="connsiteX1034" fmla="*/ 1329691 w 2370773"/>
                <a:gd name="connsiteY1034" fmla="*/ 1415415 h 1940242"/>
                <a:gd name="connsiteX1035" fmla="*/ 1271587 w 2370773"/>
                <a:gd name="connsiteY1035" fmla="*/ 1413509 h 1940242"/>
                <a:gd name="connsiteX1036" fmla="*/ 1278255 w 2370773"/>
                <a:gd name="connsiteY1036" fmla="*/ 1420177 h 1940242"/>
                <a:gd name="connsiteX1037" fmla="*/ 1271587 w 2370773"/>
                <a:gd name="connsiteY1037" fmla="*/ 1426844 h 1940242"/>
                <a:gd name="connsiteX1038" fmla="*/ 1264920 w 2370773"/>
                <a:gd name="connsiteY1038" fmla="*/ 1420177 h 1940242"/>
                <a:gd name="connsiteX1039" fmla="*/ 1271587 w 2370773"/>
                <a:gd name="connsiteY1039" fmla="*/ 1413509 h 1940242"/>
                <a:gd name="connsiteX1040" fmla="*/ 975360 w 2370773"/>
                <a:gd name="connsiteY1040" fmla="*/ 1412557 h 1940242"/>
                <a:gd name="connsiteX1041" fmla="*/ 990600 w 2370773"/>
                <a:gd name="connsiteY1041" fmla="*/ 1427797 h 1940242"/>
                <a:gd name="connsiteX1042" fmla="*/ 975360 w 2370773"/>
                <a:gd name="connsiteY1042" fmla="*/ 1443037 h 1940242"/>
                <a:gd name="connsiteX1043" fmla="*/ 960120 w 2370773"/>
                <a:gd name="connsiteY1043" fmla="*/ 1427797 h 1940242"/>
                <a:gd name="connsiteX1044" fmla="*/ 975360 w 2370773"/>
                <a:gd name="connsiteY1044" fmla="*/ 1412557 h 1940242"/>
                <a:gd name="connsiteX1045" fmla="*/ 2021205 w 2370773"/>
                <a:gd name="connsiteY1045" fmla="*/ 1411604 h 1940242"/>
                <a:gd name="connsiteX1046" fmla="*/ 2033587 w 2370773"/>
                <a:gd name="connsiteY1046" fmla="*/ 1423987 h 1940242"/>
                <a:gd name="connsiteX1047" fmla="*/ 2021205 w 2370773"/>
                <a:gd name="connsiteY1047" fmla="*/ 1436369 h 1940242"/>
                <a:gd name="connsiteX1048" fmla="*/ 2008822 w 2370773"/>
                <a:gd name="connsiteY1048" fmla="*/ 1423987 h 1940242"/>
                <a:gd name="connsiteX1049" fmla="*/ 2021205 w 2370773"/>
                <a:gd name="connsiteY1049" fmla="*/ 1411604 h 1940242"/>
                <a:gd name="connsiteX1050" fmla="*/ 1386840 w 2370773"/>
                <a:gd name="connsiteY1050" fmla="*/ 1409700 h 1940242"/>
                <a:gd name="connsiteX1051" fmla="*/ 1393507 w 2370773"/>
                <a:gd name="connsiteY1051" fmla="*/ 1416367 h 1940242"/>
                <a:gd name="connsiteX1052" fmla="*/ 1386840 w 2370773"/>
                <a:gd name="connsiteY1052" fmla="*/ 1423035 h 1940242"/>
                <a:gd name="connsiteX1053" fmla="*/ 1380172 w 2370773"/>
                <a:gd name="connsiteY1053" fmla="*/ 1416367 h 1940242"/>
                <a:gd name="connsiteX1054" fmla="*/ 1386840 w 2370773"/>
                <a:gd name="connsiteY1054" fmla="*/ 1409700 h 1940242"/>
                <a:gd name="connsiteX1055" fmla="*/ 1214437 w 2370773"/>
                <a:gd name="connsiteY1055" fmla="*/ 1408747 h 1940242"/>
                <a:gd name="connsiteX1056" fmla="*/ 1222057 w 2370773"/>
                <a:gd name="connsiteY1056" fmla="*/ 1416367 h 1940242"/>
                <a:gd name="connsiteX1057" fmla="*/ 1214437 w 2370773"/>
                <a:gd name="connsiteY1057" fmla="*/ 1423987 h 1940242"/>
                <a:gd name="connsiteX1058" fmla="*/ 1206817 w 2370773"/>
                <a:gd name="connsiteY1058" fmla="*/ 1416367 h 1940242"/>
                <a:gd name="connsiteX1059" fmla="*/ 1214437 w 2370773"/>
                <a:gd name="connsiteY1059" fmla="*/ 1408747 h 1940242"/>
                <a:gd name="connsiteX1060" fmla="*/ 1797368 w 2370773"/>
                <a:gd name="connsiteY1060" fmla="*/ 1407795 h 1940242"/>
                <a:gd name="connsiteX1061" fmla="*/ 1809750 w 2370773"/>
                <a:gd name="connsiteY1061" fmla="*/ 1420178 h 1940242"/>
                <a:gd name="connsiteX1062" fmla="*/ 1797368 w 2370773"/>
                <a:gd name="connsiteY1062" fmla="*/ 1432560 h 1940242"/>
                <a:gd name="connsiteX1063" fmla="*/ 1784985 w 2370773"/>
                <a:gd name="connsiteY1063" fmla="*/ 1420178 h 1940242"/>
                <a:gd name="connsiteX1064" fmla="*/ 1797368 w 2370773"/>
                <a:gd name="connsiteY1064" fmla="*/ 1407795 h 1940242"/>
                <a:gd name="connsiteX1065" fmla="*/ 1652588 w 2370773"/>
                <a:gd name="connsiteY1065" fmla="*/ 1407795 h 1940242"/>
                <a:gd name="connsiteX1066" fmla="*/ 1662113 w 2370773"/>
                <a:gd name="connsiteY1066" fmla="*/ 1417320 h 1940242"/>
                <a:gd name="connsiteX1067" fmla="*/ 1652588 w 2370773"/>
                <a:gd name="connsiteY1067" fmla="*/ 1426845 h 1940242"/>
                <a:gd name="connsiteX1068" fmla="*/ 1643063 w 2370773"/>
                <a:gd name="connsiteY1068" fmla="*/ 1417320 h 1940242"/>
                <a:gd name="connsiteX1069" fmla="*/ 1652588 w 2370773"/>
                <a:gd name="connsiteY1069" fmla="*/ 1407795 h 1940242"/>
                <a:gd name="connsiteX1070" fmla="*/ 689610 w 2370773"/>
                <a:gd name="connsiteY1070" fmla="*/ 1406842 h 1940242"/>
                <a:gd name="connsiteX1071" fmla="*/ 708660 w 2370773"/>
                <a:gd name="connsiteY1071" fmla="*/ 1425892 h 1940242"/>
                <a:gd name="connsiteX1072" fmla="*/ 689610 w 2370773"/>
                <a:gd name="connsiteY1072" fmla="*/ 1444942 h 1940242"/>
                <a:gd name="connsiteX1073" fmla="*/ 670560 w 2370773"/>
                <a:gd name="connsiteY1073" fmla="*/ 1425892 h 1940242"/>
                <a:gd name="connsiteX1074" fmla="*/ 689610 w 2370773"/>
                <a:gd name="connsiteY1074" fmla="*/ 1406842 h 1940242"/>
                <a:gd name="connsiteX1075" fmla="*/ 2228850 w 2370773"/>
                <a:gd name="connsiteY1075" fmla="*/ 1405890 h 1940242"/>
                <a:gd name="connsiteX1076" fmla="*/ 2230755 w 2370773"/>
                <a:gd name="connsiteY1076" fmla="*/ 1407795 h 1940242"/>
                <a:gd name="connsiteX1077" fmla="*/ 2228850 w 2370773"/>
                <a:gd name="connsiteY1077" fmla="*/ 1409700 h 1940242"/>
                <a:gd name="connsiteX1078" fmla="*/ 2226945 w 2370773"/>
                <a:gd name="connsiteY1078" fmla="*/ 1407795 h 1940242"/>
                <a:gd name="connsiteX1079" fmla="*/ 2228850 w 2370773"/>
                <a:gd name="connsiteY1079" fmla="*/ 1405890 h 1940242"/>
                <a:gd name="connsiteX1080" fmla="*/ 579120 w 2370773"/>
                <a:gd name="connsiteY1080" fmla="*/ 1405890 h 1940242"/>
                <a:gd name="connsiteX1081" fmla="*/ 598170 w 2370773"/>
                <a:gd name="connsiteY1081" fmla="*/ 1424940 h 1940242"/>
                <a:gd name="connsiteX1082" fmla="*/ 579120 w 2370773"/>
                <a:gd name="connsiteY1082" fmla="*/ 1443990 h 1940242"/>
                <a:gd name="connsiteX1083" fmla="*/ 560070 w 2370773"/>
                <a:gd name="connsiteY1083" fmla="*/ 1424940 h 1940242"/>
                <a:gd name="connsiteX1084" fmla="*/ 579120 w 2370773"/>
                <a:gd name="connsiteY1084" fmla="*/ 1405890 h 1940242"/>
                <a:gd name="connsiteX1085" fmla="*/ 1443990 w 2370773"/>
                <a:gd name="connsiteY1085" fmla="*/ 1403032 h 1940242"/>
                <a:gd name="connsiteX1086" fmla="*/ 1449705 w 2370773"/>
                <a:gd name="connsiteY1086" fmla="*/ 1408747 h 1940242"/>
                <a:gd name="connsiteX1087" fmla="*/ 1443990 w 2370773"/>
                <a:gd name="connsiteY1087" fmla="*/ 1414462 h 1940242"/>
                <a:gd name="connsiteX1088" fmla="*/ 1438275 w 2370773"/>
                <a:gd name="connsiteY1088" fmla="*/ 1408747 h 1940242"/>
                <a:gd name="connsiteX1089" fmla="*/ 1443990 w 2370773"/>
                <a:gd name="connsiteY1089" fmla="*/ 1403032 h 1940242"/>
                <a:gd name="connsiteX1090" fmla="*/ 802958 w 2370773"/>
                <a:gd name="connsiteY1090" fmla="*/ 1403032 h 1940242"/>
                <a:gd name="connsiteX1091" fmla="*/ 819151 w 2370773"/>
                <a:gd name="connsiteY1091" fmla="*/ 1420177 h 1940242"/>
                <a:gd name="connsiteX1092" fmla="*/ 802958 w 2370773"/>
                <a:gd name="connsiteY1092" fmla="*/ 1437322 h 1940242"/>
                <a:gd name="connsiteX1093" fmla="*/ 785813 w 2370773"/>
                <a:gd name="connsiteY1093" fmla="*/ 1420177 h 1940242"/>
                <a:gd name="connsiteX1094" fmla="*/ 802958 w 2370773"/>
                <a:gd name="connsiteY1094" fmla="*/ 1403032 h 1940242"/>
                <a:gd name="connsiteX1095" fmla="*/ 1157287 w 2370773"/>
                <a:gd name="connsiteY1095" fmla="*/ 1401127 h 1940242"/>
                <a:gd name="connsiteX1096" fmla="*/ 1164907 w 2370773"/>
                <a:gd name="connsiteY1096" fmla="*/ 1408747 h 1940242"/>
                <a:gd name="connsiteX1097" fmla="*/ 1157287 w 2370773"/>
                <a:gd name="connsiteY1097" fmla="*/ 1416367 h 1940242"/>
                <a:gd name="connsiteX1098" fmla="*/ 1149667 w 2370773"/>
                <a:gd name="connsiteY1098" fmla="*/ 1408747 h 1940242"/>
                <a:gd name="connsiteX1099" fmla="*/ 1157287 w 2370773"/>
                <a:gd name="connsiteY1099" fmla="*/ 1401127 h 1940242"/>
                <a:gd name="connsiteX1100" fmla="*/ 473393 w 2370773"/>
                <a:gd name="connsiteY1100" fmla="*/ 1399222 h 1940242"/>
                <a:gd name="connsiteX1101" fmla="*/ 493395 w 2370773"/>
                <a:gd name="connsiteY1101" fmla="*/ 1419225 h 1940242"/>
                <a:gd name="connsiteX1102" fmla="*/ 473393 w 2370773"/>
                <a:gd name="connsiteY1102" fmla="*/ 1439227 h 1940242"/>
                <a:gd name="connsiteX1103" fmla="*/ 453390 w 2370773"/>
                <a:gd name="connsiteY1103" fmla="*/ 1419225 h 1940242"/>
                <a:gd name="connsiteX1104" fmla="*/ 473393 w 2370773"/>
                <a:gd name="connsiteY1104" fmla="*/ 1399222 h 1940242"/>
                <a:gd name="connsiteX1105" fmla="*/ 1935480 w 2370773"/>
                <a:gd name="connsiteY1105" fmla="*/ 1394459 h 1940242"/>
                <a:gd name="connsiteX1106" fmla="*/ 1949767 w 2370773"/>
                <a:gd name="connsiteY1106" fmla="*/ 1408747 h 1940242"/>
                <a:gd name="connsiteX1107" fmla="*/ 1935480 w 2370773"/>
                <a:gd name="connsiteY1107" fmla="*/ 1423034 h 1940242"/>
                <a:gd name="connsiteX1108" fmla="*/ 1921192 w 2370773"/>
                <a:gd name="connsiteY1108" fmla="*/ 1408747 h 1940242"/>
                <a:gd name="connsiteX1109" fmla="*/ 1935480 w 2370773"/>
                <a:gd name="connsiteY1109" fmla="*/ 1394459 h 1940242"/>
                <a:gd name="connsiteX1110" fmla="*/ 922021 w 2370773"/>
                <a:gd name="connsiteY1110" fmla="*/ 1392554 h 1940242"/>
                <a:gd name="connsiteX1111" fmla="*/ 936308 w 2370773"/>
                <a:gd name="connsiteY1111" fmla="*/ 1406842 h 1940242"/>
                <a:gd name="connsiteX1112" fmla="*/ 922021 w 2370773"/>
                <a:gd name="connsiteY1112" fmla="*/ 1421129 h 1940242"/>
                <a:gd name="connsiteX1113" fmla="*/ 907733 w 2370773"/>
                <a:gd name="connsiteY1113" fmla="*/ 1406842 h 1940242"/>
                <a:gd name="connsiteX1114" fmla="*/ 922021 w 2370773"/>
                <a:gd name="connsiteY1114" fmla="*/ 1392554 h 1940242"/>
                <a:gd name="connsiteX1115" fmla="*/ 2147887 w 2370773"/>
                <a:gd name="connsiteY1115" fmla="*/ 1391602 h 1940242"/>
                <a:gd name="connsiteX1116" fmla="*/ 2155507 w 2370773"/>
                <a:gd name="connsiteY1116" fmla="*/ 1399222 h 1940242"/>
                <a:gd name="connsiteX1117" fmla="*/ 2147887 w 2370773"/>
                <a:gd name="connsiteY1117" fmla="*/ 1406842 h 1940242"/>
                <a:gd name="connsiteX1118" fmla="*/ 2140267 w 2370773"/>
                <a:gd name="connsiteY1118" fmla="*/ 1399222 h 1940242"/>
                <a:gd name="connsiteX1119" fmla="*/ 2147887 w 2370773"/>
                <a:gd name="connsiteY1119" fmla="*/ 1391602 h 1940242"/>
                <a:gd name="connsiteX1120" fmla="*/ 1501140 w 2370773"/>
                <a:gd name="connsiteY1120" fmla="*/ 1391602 h 1940242"/>
                <a:gd name="connsiteX1121" fmla="*/ 1506855 w 2370773"/>
                <a:gd name="connsiteY1121" fmla="*/ 1397317 h 1940242"/>
                <a:gd name="connsiteX1122" fmla="*/ 1501140 w 2370773"/>
                <a:gd name="connsiteY1122" fmla="*/ 1403032 h 1940242"/>
                <a:gd name="connsiteX1123" fmla="*/ 1495425 w 2370773"/>
                <a:gd name="connsiteY1123" fmla="*/ 1397317 h 1940242"/>
                <a:gd name="connsiteX1124" fmla="*/ 1501140 w 2370773"/>
                <a:gd name="connsiteY1124" fmla="*/ 1391602 h 1940242"/>
                <a:gd name="connsiteX1125" fmla="*/ 1100138 w 2370773"/>
                <a:gd name="connsiteY1125" fmla="*/ 1388745 h 1940242"/>
                <a:gd name="connsiteX1126" fmla="*/ 1108710 w 2370773"/>
                <a:gd name="connsiteY1126" fmla="*/ 1397317 h 1940242"/>
                <a:gd name="connsiteX1127" fmla="*/ 1100138 w 2370773"/>
                <a:gd name="connsiteY1127" fmla="*/ 1405890 h 1940242"/>
                <a:gd name="connsiteX1128" fmla="*/ 1091565 w 2370773"/>
                <a:gd name="connsiteY1128" fmla="*/ 1397317 h 1940242"/>
                <a:gd name="connsiteX1129" fmla="*/ 1100138 w 2370773"/>
                <a:gd name="connsiteY1129" fmla="*/ 1388745 h 1940242"/>
                <a:gd name="connsiteX1130" fmla="*/ 371475 w 2370773"/>
                <a:gd name="connsiteY1130" fmla="*/ 1387792 h 1940242"/>
                <a:gd name="connsiteX1131" fmla="*/ 392430 w 2370773"/>
                <a:gd name="connsiteY1131" fmla="*/ 1408747 h 1940242"/>
                <a:gd name="connsiteX1132" fmla="*/ 371475 w 2370773"/>
                <a:gd name="connsiteY1132" fmla="*/ 1429702 h 1940242"/>
                <a:gd name="connsiteX1133" fmla="*/ 350520 w 2370773"/>
                <a:gd name="connsiteY1133" fmla="*/ 1408747 h 1940242"/>
                <a:gd name="connsiteX1134" fmla="*/ 371475 w 2370773"/>
                <a:gd name="connsiteY1134" fmla="*/ 1387792 h 1940242"/>
                <a:gd name="connsiteX1135" fmla="*/ 1705927 w 2370773"/>
                <a:gd name="connsiteY1135" fmla="*/ 1384935 h 1940242"/>
                <a:gd name="connsiteX1136" fmla="*/ 1716405 w 2370773"/>
                <a:gd name="connsiteY1136" fmla="*/ 1395413 h 1940242"/>
                <a:gd name="connsiteX1137" fmla="*/ 1705927 w 2370773"/>
                <a:gd name="connsiteY1137" fmla="*/ 1405890 h 1940242"/>
                <a:gd name="connsiteX1138" fmla="*/ 1695450 w 2370773"/>
                <a:gd name="connsiteY1138" fmla="*/ 1395413 h 1940242"/>
                <a:gd name="connsiteX1139" fmla="*/ 1705927 w 2370773"/>
                <a:gd name="connsiteY1139" fmla="*/ 1384935 h 1940242"/>
                <a:gd name="connsiteX1140" fmla="*/ 1847850 w 2370773"/>
                <a:gd name="connsiteY1140" fmla="*/ 1381125 h 1940242"/>
                <a:gd name="connsiteX1141" fmla="*/ 1858327 w 2370773"/>
                <a:gd name="connsiteY1141" fmla="*/ 1391603 h 1940242"/>
                <a:gd name="connsiteX1142" fmla="*/ 1847850 w 2370773"/>
                <a:gd name="connsiteY1142" fmla="*/ 1402080 h 1940242"/>
                <a:gd name="connsiteX1143" fmla="*/ 1837372 w 2370773"/>
                <a:gd name="connsiteY1143" fmla="*/ 1391603 h 1940242"/>
                <a:gd name="connsiteX1144" fmla="*/ 1847850 w 2370773"/>
                <a:gd name="connsiteY1144" fmla="*/ 1381125 h 1940242"/>
                <a:gd name="connsiteX1145" fmla="*/ 273368 w 2370773"/>
                <a:gd name="connsiteY1145" fmla="*/ 1374457 h 1940242"/>
                <a:gd name="connsiteX1146" fmla="*/ 294323 w 2370773"/>
                <a:gd name="connsiteY1146" fmla="*/ 1395412 h 1940242"/>
                <a:gd name="connsiteX1147" fmla="*/ 273368 w 2370773"/>
                <a:gd name="connsiteY1147" fmla="*/ 1416367 h 1940242"/>
                <a:gd name="connsiteX1148" fmla="*/ 252413 w 2370773"/>
                <a:gd name="connsiteY1148" fmla="*/ 1395412 h 1940242"/>
                <a:gd name="connsiteX1149" fmla="*/ 273368 w 2370773"/>
                <a:gd name="connsiteY1149" fmla="*/ 1374457 h 1940242"/>
                <a:gd name="connsiteX1150" fmla="*/ 2065973 w 2370773"/>
                <a:gd name="connsiteY1150" fmla="*/ 1373504 h 1940242"/>
                <a:gd name="connsiteX1151" fmla="*/ 2080260 w 2370773"/>
                <a:gd name="connsiteY1151" fmla="*/ 1387792 h 1940242"/>
                <a:gd name="connsiteX1152" fmla="*/ 2065973 w 2370773"/>
                <a:gd name="connsiteY1152" fmla="*/ 1402079 h 1940242"/>
                <a:gd name="connsiteX1153" fmla="*/ 2051685 w 2370773"/>
                <a:gd name="connsiteY1153" fmla="*/ 1387792 h 1940242"/>
                <a:gd name="connsiteX1154" fmla="*/ 2065973 w 2370773"/>
                <a:gd name="connsiteY1154" fmla="*/ 1373504 h 1940242"/>
                <a:gd name="connsiteX1155" fmla="*/ 1556385 w 2370773"/>
                <a:gd name="connsiteY1155" fmla="*/ 1373504 h 1940242"/>
                <a:gd name="connsiteX1156" fmla="*/ 1565910 w 2370773"/>
                <a:gd name="connsiteY1156" fmla="*/ 1383029 h 1940242"/>
                <a:gd name="connsiteX1157" fmla="*/ 1556385 w 2370773"/>
                <a:gd name="connsiteY1157" fmla="*/ 1392554 h 1940242"/>
                <a:gd name="connsiteX1158" fmla="*/ 1546860 w 2370773"/>
                <a:gd name="connsiteY1158" fmla="*/ 1383029 h 1940242"/>
                <a:gd name="connsiteX1159" fmla="*/ 1556385 w 2370773"/>
                <a:gd name="connsiteY1159" fmla="*/ 1373504 h 1940242"/>
                <a:gd name="connsiteX1160" fmla="*/ 641985 w 2370773"/>
                <a:gd name="connsiteY1160" fmla="*/ 1373504 h 1940242"/>
                <a:gd name="connsiteX1161" fmla="*/ 661035 w 2370773"/>
                <a:gd name="connsiteY1161" fmla="*/ 1392554 h 1940242"/>
                <a:gd name="connsiteX1162" fmla="*/ 641985 w 2370773"/>
                <a:gd name="connsiteY1162" fmla="*/ 1411604 h 1940242"/>
                <a:gd name="connsiteX1163" fmla="*/ 622935 w 2370773"/>
                <a:gd name="connsiteY1163" fmla="*/ 1392554 h 1940242"/>
                <a:gd name="connsiteX1164" fmla="*/ 641985 w 2370773"/>
                <a:gd name="connsiteY1164" fmla="*/ 1373504 h 1940242"/>
                <a:gd name="connsiteX1165" fmla="*/ 1044892 w 2370773"/>
                <a:gd name="connsiteY1165" fmla="*/ 1372552 h 1940242"/>
                <a:gd name="connsiteX1166" fmla="*/ 1055370 w 2370773"/>
                <a:gd name="connsiteY1166" fmla="*/ 1383029 h 1940242"/>
                <a:gd name="connsiteX1167" fmla="*/ 1044892 w 2370773"/>
                <a:gd name="connsiteY1167" fmla="*/ 1393507 h 1940242"/>
                <a:gd name="connsiteX1168" fmla="*/ 1034415 w 2370773"/>
                <a:gd name="connsiteY1168" fmla="*/ 1383029 h 1940242"/>
                <a:gd name="connsiteX1169" fmla="*/ 1044892 w 2370773"/>
                <a:gd name="connsiteY1169" fmla="*/ 1372552 h 1940242"/>
                <a:gd name="connsiteX1170" fmla="*/ 753428 w 2370773"/>
                <a:gd name="connsiteY1170" fmla="*/ 1372552 h 1940242"/>
                <a:gd name="connsiteX1171" fmla="*/ 771525 w 2370773"/>
                <a:gd name="connsiteY1171" fmla="*/ 1390649 h 1940242"/>
                <a:gd name="connsiteX1172" fmla="*/ 753428 w 2370773"/>
                <a:gd name="connsiteY1172" fmla="*/ 1408747 h 1940242"/>
                <a:gd name="connsiteX1173" fmla="*/ 735330 w 2370773"/>
                <a:gd name="connsiteY1173" fmla="*/ 1390649 h 1940242"/>
                <a:gd name="connsiteX1174" fmla="*/ 753428 w 2370773"/>
                <a:gd name="connsiteY1174" fmla="*/ 1372552 h 1940242"/>
                <a:gd name="connsiteX1175" fmla="*/ 535304 w 2370773"/>
                <a:gd name="connsiteY1175" fmla="*/ 1367790 h 1940242"/>
                <a:gd name="connsiteX1176" fmla="*/ 555307 w 2370773"/>
                <a:gd name="connsiteY1176" fmla="*/ 1387792 h 1940242"/>
                <a:gd name="connsiteX1177" fmla="*/ 535304 w 2370773"/>
                <a:gd name="connsiteY1177" fmla="*/ 1407795 h 1940242"/>
                <a:gd name="connsiteX1178" fmla="*/ 515302 w 2370773"/>
                <a:gd name="connsiteY1178" fmla="*/ 1387792 h 1940242"/>
                <a:gd name="connsiteX1179" fmla="*/ 535304 w 2370773"/>
                <a:gd name="connsiteY1179" fmla="*/ 1367790 h 1940242"/>
                <a:gd name="connsiteX1180" fmla="*/ 869633 w 2370773"/>
                <a:gd name="connsiteY1180" fmla="*/ 1364932 h 1940242"/>
                <a:gd name="connsiteX1181" fmla="*/ 886778 w 2370773"/>
                <a:gd name="connsiteY1181" fmla="*/ 1382077 h 1940242"/>
                <a:gd name="connsiteX1182" fmla="*/ 869633 w 2370773"/>
                <a:gd name="connsiteY1182" fmla="*/ 1399222 h 1940242"/>
                <a:gd name="connsiteX1183" fmla="*/ 852488 w 2370773"/>
                <a:gd name="connsiteY1183" fmla="*/ 1382077 h 1940242"/>
                <a:gd name="connsiteX1184" fmla="*/ 869633 w 2370773"/>
                <a:gd name="connsiteY1184" fmla="*/ 1364932 h 1940242"/>
                <a:gd name="connsiteX1185" fmla="*/ 1981201 w 2370773"/>
                <a:gd name="connsiteY1185" fmla="*/ 1360170 h 1940242"/>
                <a:gd name="connsiteX1186" fmla="*/ 1995488 w 2370773"/>
                <a:gd name="connsiteY1186" fmla="*/ 1374458 h 1940242"/>
                <a:gd name="connsiteX1187" fmla="*/ 1981201 w 2370773"/>
                <a:gd name="connsiteY1187" fmla="*/ 1388745 h 1940242"/>
                <a:gd name="connsiteX1188" fmla="*/ 1966913 w 2370773"/>
                <a:gd name="connsiteY1188" fmla="*/ 1374458 h 1940242"/>
                <a:gd name="connsiteX1189" fmla="*/ 1981201 w 2370773"/>
                <a:gd name="connsiteY1189" fmla="*/ 1360170 h 1940242"/>
                <a:gd name="connsiteX1190" fmla="*/ 432435 w 2370773"/>
                <a:gd name="connsiteY1190" fmla="*/ 1357312 h 1940242"/>
                <a:gd name="connsiteX1191" fmla="*/ 453390 w 2370773"/>
                <a:gd name="connsiteY1191" fmla="*/ 1378267 h 1940242"/>
                <a:gd name="connsiteX1192" fmla="*/ 432435 w 2370773"/>
                <a:gd name="connsiteY1192" fmla="*/ 1399222 h 1940242"/>
                <a:gd name="connsiteX1193" fmla="*/ 411480 w 2370773"/>
                <a:gd name="connsiteY1193" fmla="*/ 1378267 h 1940242"/>
                <a:gd name="connsiteX1194" fmla="*/ 432435 w 2370773"/>
                <a:gd name="connsiteY1194" fmla="*/ 1357312 h 1940242"/>
                <a:gd name="connsiteX1195" fmla="*/ 1757363 w 2370773"/>
                <a:gd name="connsiteY1195" fmla="*/ 1356359 h 1940242"/>
                <a:gd name="connsiteX1196" fmla="*/ 1769745 w 2370773"/>
                <a:gd name="connsiteY1196" fmla="*/ 1368742 h 1940242"/>
                <a:gd name="connsiteX1197" fmla="*/ 1757363 w 2370773"/>
                <a:gd name="connsiteY1197" fmla="*/ 1381124 h 1940242"/>
                <a:gd name="connsiteX1198" fmla="*/ 1744980 w 2370773"/>
                <a:gd name="connsiteY1198" fmla="*/ 1368742 h 1940242"/>
                <a:gd name="connsiteX1199" fmla="*/ 1757363 w 2370773"/>
                <a:gd name="connsiteY1199" fmla="*/ 1356359 h 1940242"/>
                <a:gd name="connsiteX1200" fmla="*/ 2188845 w 2370773"/>
                <a:gd name="connsiteY1200" fmla="*/ 1354454 h 1940242"/>
                <a:gd name="connsiteX1201" fmla="*/ 2192655 w 2370773"/>
                <a:gd name="connsiteY1201" fmla="*/ 1358264 h 1940242"/>
                <a:gd name="connsiteX1202" fmla="*/ 2188845 w 2370773"/>
                <a:gd name="connsiteY1202" fmla="*/ 1362074 h 1940242"/>
                <a:gd name="connsiteX1203" fmla="*/ 2185035 w 2370773"/>
                <a:gd name="connsiteY1203" fmla="*/ 1358264 h 1940242"/>
                <a:gd name="connsiteX1204" fmla="*/ 2188845 w 2370773"/>
                <a:gd name="connsiteY1204" fmla="*/ 1354454 h 1940242"/>
                <a:gd name="connsiteX1205" fmla="*/ 1611630 w 2370773"/>
                <a:gd name="connsiteY1205" fmla="*/ 1354454 h 1940242"/>
                <a:gd name="connsiteX1206" fmla="*/ 1621155 w 2370773"/>
                <a:gd name="connsiteY1206" fmla="*/ 1363979 h 1940242"/>
                <a:gd name="connsiteX1207" fmla="*/ 1611630 w 2370773"/>
                <a:gd name="connsiteY1207" fmla="*/ 1373504 h 1940242"/>
                <a:gd name="connsiteX1208" fmla="*/ 1602105 w 2370773"/>
                <a:gd name="connsiteY1208" fmla="*/ 1363979 h 1940242"/>
                <a:gd name="connsiteX1209" fmla="*/ 1611630 w 2370773"/>
                <a:gd name="connsiteY1209" fmla="*/ 1354454 h 1940242"/>
                <a:gd name="connsiteX1210" fmla="*/ 989648 w 2370773"/>
                <a:gd name="connsiteY1210" fmla="*/ 1352550 h 1940242"/>
                <a:gd name="connsiteX1211" fmla="*/ 1002030 w 2370773"/>
                <a:gd name="connsiteY1211" fmla="*/ 1364933 h 1940242"/>
                <a:gd name="connsiteX1212" fmla="*/ 989648 w 2370773"/>
                <a:gd name="connsiteY1212" fmla="*/ 1377315 h 1940242"/>
                <a:gd name="connsiteX1213" fmla="*/ 977265 w 2370773"/>
                <a:gd name="connsiteY1213" fmla="*/ 1364933 h 1940242"/>
                <a:gd name="connsiteX1214" fmla="*/ 989648 w 2370773"/>
                <a:gd name="connsiteY1214" fmla="*/ 1352550 h 1940242"/>
                <a:gd name="connsiteX1215" fmla="*/ 1285875 w 2370773"/>
                <a:gd name="connsiteY1215" fmla="*/ 1351597 h 1940242"/>
                <a:gd name="connsiteX1216" fmla="*/ 1289685 w 2370773"/>
                <a:gd name="connsiteY1216" fmla="*/ 1355407 h 1940242"/>
                <a:gd name="connsiteX1217" fmla="*/ 1285875 w 2370773"/>
                <a:gd name="connsiteY1217" fmla="*/ 1359217 h 1940242"/>
                <a:gd name="connsiteX1218" fmla="*/ 1282065 w 2370773"/>
                <a:gd name="connsiteY1218" fmla="*/ 1355407 h 1940242"/>
                <a:gd name="connsiteX1219" fmla="*/ 1285875 w 2370773"/>
                <a:gd name="connsiteY1219" fmla="*/ 1351597 h 1940242"/>
                <a:gd name="connsiteX1220" fmla="*/ 1343977 w 2370773"/>
                <a:gd name="connsiteY1220" fmla="*/ 1350645 h 1940242"/>
                <a:gd name="connsiteX1221" fmla="*/ 1347787 w 2370773"/>
                <a:gd name="connsiteY1221" fmla="*/ 1354455 h 1940242"/>
                <a:gd name="connsiteX1222" fmla="*/ 1343977 w 2370773"/>
                <a:gd name="connsiteY1222" fmla="*/ 1358265 h 1940242"/>
                <a:gd name="connsiteX1223" fmla="*/ 1340167 w 2370773"/>
                <a:gd name="connsiteY1223" fmla="*/ 1354455 h 1940242"/>
                <a:gd name="connsiteX1224" fmla="*/ 1343977 w 2370773"/>
                <a:gd name="connsiteY1224" fmla="*/ 1350645 h 1940242"/>
                <a:gd name="connsiteX1225" fmla="*/ 1895475 w 2370773"/>
                <a:gd name="connsiteY1225" fmla="*/ 1348740 h 1940242"/>
                <a:gd name="connsiteX1226" fmla="*/ 1905952 w 2370773"/>
                <a:gd name="connsiteY1226" fmla="*/ 1359217 h 1940242"/>
                <a:gd name="connsiteX1227" fmla="*/ 1895475 w 2370773"/>
                <a:gd name="connsiteY1227" fmla="*/ 1369695 h 1940242"/>
                <a:gd name="connsiteX1228" fmla="*/ 1884997 w 2370773"/>
                <a:gd name="connsiteY1228" fmla="*/ 1359217 h 1940242"/>
                <a:gd name="connsiteX1229" fmla="*/ 1895475 w 2370773"/>
                <a:gd name="connsiteY1229" fmla="*/ 1348740 h 1940242"/>
                <a:gd name="connsiteX1230" fmla="*/ 1228726 w 2370773"/>
                <a:gd name="connsiteY1230" fmla="*/ 1347787 h 1940242"/>
                <a:gd name="connsiteX1231" fmla="*/ 1233488 w 2370773"/>
                <a:gd name="connsiteY1231" fmla="*/ 1352550 h 1940242"/>
                <a:gd name="connsiteX1232" fmla="*/ 1228726 w 2370773"/>
                <a:gd name="connsiteY1232" fmla="*/ 1357312 h 1940242"/>
                <a:gd name="connsiteX1233" fmla="*/ 1223963 w 2370773"/>
                <a:gd name="connsiteY1233" fmla="*/ 1352550 h 1940242"/>
                <a:gd name="connsiteX1234" fmla="*/ 1228726 w 2370773"/>
                <a:gd name="connsiteY1234" fmla="*/ 1347787 h 1940242"/>
                <a:gd name="connsiteX1235" fmla="*/ 1401128 w 2370773"/>
                <a:gd name="connsiteY1235" fmla="*/ 1344929 h 1940242"/>
                <a:gd name="connsiteX1236" fmla="*/ 1405890 w 2370773"/>
                <a:gd name="connsiteY1236" fmla="*/ 1349692 h 1940242"/>
                <a:gd name="connsiteX1237" fmla="*/ 1401128 w 2370773"/>
                <a:gd name="connsiteY1237" fmla="*/ 1354454 h 1940242"/>
                <a:gd name="connsiteX1238" fmla="*/ 1396365 w 2370773"/>
                <a:gd name="connsiteY1238" fmla="*/ 1349692 h 1940242"/>
                <a:gd name="connsiteX1239" fmla="*/ 1401128 w 2370773"/>
                <a:gd name="connsiteY1239" fmla="*/ 1344929 h 1940242"/>
                <a:gd name="connsiteX1240" fmla="*/ 333375 w 2370773"/>
                <a:gd name="connsiteY1240" fmla="*/ 1344929 h 1940242"/>
                <a:gd name="connsiteX1241" fmla="*/ 354330 w 2370773"/>
                <a:gd name="connsiteY1241" fmla="*/ 1365884 h 1940242"/>
                <a:gd name="connsiteX1242" fmla="*/ 333375 w 2370773"/>
                <a:gd name="connsiteY1242" fmla="*/ 1386839 h 1940242"/>
                <a:gd name="connsiteX1243" fmla="*/ 312420 w 2370773"/>
                <a:gd name="connsiteY1243" fmla="*/ 1365884 h 1940242"/>
                <a:gd name="connsiteX1244" fmla="*/ 333375 w 2370773"/>
                <a:gd name="connsiteY1244" fmla="*/ 1344929 h 1940242"/>
                <a:gd name="connsiteX1245" fmla="*/ 705802 w 2370773"/>
                <a:gd name="connsiteY1245" fmla="*/ 1342072 h 1940242"/>
                <a:gd name="connsiteX1246" fmla="*/ 721995 w 2370773"/>
                <a:gd name="connsiteY1246" fmla="*/ 1358265 h 1940242"/>
                <a:gd name="connsiteX1247" fmla="*/ 705802 w 2370773"/>
                <a:gd name="connsiteY1247" fmla="*/ 1374457 h 1940242"/>
                <a:gd name="connsiteX1248" fmla="*/ 689610 w 2370773"/>
                <a:gd name="connsiteY1248" fmla="*/ 1358265 h 1940242"/>
                <a:gd name="connsiteX1249" fmla="*/ 705802 w 2370773"/>
                <a:gd name="connsiteY1249" fmla="*/ 1342072 h 1940242"/>
                <a:gd name="connsiteX1250" fmla="*/ 1171575 w 2370773"/>
                <a:gd name="connsiteY1250" fmla="*/ 1340167 h 1940242"/>
                <a:gd name="connsiteX1251" fmla="*/ 1177290 w 2370773"/>
                <a:gd name="connsiteY1251" fmla="*/ 1345882 h 1940242"/>
                <a:gd name="connsiteX1252" fmla="*/ 1171575 w 2370773"/>
                <a:gd name="connsiteY1252" fmla="*/ 1351597 h 1940242"/>
                <a:gd name="connsiteX1253" fmla="*/ 1165860 w 2370773"/>
                <a:gd name="connsiteY1253" fmla="*/ 1345882 h 1940242"/>
                <a:gd name="connsiteX1254" fmla="*/ 1171575 w 2370773"/>
                <a:gd name="connsiteY1254" fmla="*/ 1340167 h 1940242"/>
                <a:gd name="connsiteX1255" fmla="*/ 819150 w 2370773"/>
                <a:gd name="connsiteY1255" fmla="*/ 1340167 h 1940242"/>
                <a:gd name="connsiteX1256" fmla="*/ 834390 w 2370773"/>
                <a:gd name="connsiteY1256" fmla="*/ 1355407 h 1940242"/>
                <a:gd name="connsiteX1257" fmla="*/ 819150 w 2370773"/>
                <a:gd name="connsiteY1257" fmla="*/ 1370647 h 1940242"/>
                <a:gd name="connsiteX1258" fmla="*/ 803910 w 2370773"/>
                <a:gd name="connsiteY1258" fmla="*/ 1355407 h 1940242"/>
                <a:gd name="connsiteX1259" fmla="*/ 819150 w 2370773"/>
                <a:gd name="connsiteY1259" fmla="*/ 1340167 h 1940242"/>
                <a:gd name="connsiteX1260" fmla="*/ 597218 w 2370773"/>
                <a:gd name="connsiteY1260" fmla="*/ 1339215 h 1940242"/>
                <a:gd name="connsiteX1261" fmla="*/ 614363 w 2370773"/>
                <a:gd name="connsiteY1261" fmla="*/ 1356360 h 1940242"/>
                <a:gd name="connsiteX1262" fmla="*/ 597218 w 2370773"/>
                <a:gd name="connsiteY1262" fmla="*/ 1373505 h 1940242"/>
                <a:gd name="connsiteX1263" fmla="*/ 580073 w 2370773"/>
                <a:gd name="connsiteY1263" fmla="*/ 1356360 h 1940242"/>
                <a:gd name="connsiteX1264" fmla="*/ 597218 w 2370773"/>
                <a:gd name="connsiteY1264" fmla="*/ 1339215 h 1940242"/>
                <a:gd name="connsiteX1265" fmla="*/ 1458278 w 2370773"/>
                <a:gd name="connsiteY1265" fmla="*/ 1338262 h 1940242"/>
                <a:gd name="connsiteX1266" fmla="*/ 1461135 w 2370773"/>
                <a:gd name="connsiteY1266" fmla="*/ 1341120 h 1940242"/>
                <a:gd name="connsiteX1267" fmla="*/ 1458278 w 2370773"/>
                <a:gd name="connsiteY1267" fmla="*/ 1343977 h 1940242"/>
                <a:gd name="connsiteX1268" fmla="*/ 1455420 w 2370773"/>
                <a:gd name="connsiteY1268" fmla="*/ 1341120 h 1940242"/>
                <a:gd name="connsiteX1269" fmla="*/ 1458278 w 2370773"/>
                <a:gd name="connsiteY1269" fmla="*/ 1338262 h 1940242"/>
                <a:gd name="connsiteX1270" fmla="*/ 1664970 w 2370773"/>
                <a:gd name="connsiteY1270" fmla="*/ 1336357 h 1940242"/>
                <a:gd name="connsiteX1271" fmla="*/ 1671638 w 2370773"/>
                <a:gd name="connsiteY1271" fmla="*/ 1343024 h 1940242"/>
                <a:gd name="connsiteX1272" fmla="*/ 1664970 w 2370773"/>
                <a:gd name="connsiteY1272" fmla="*/ 1349692 h 1940242"/>
                <a:gd name="connsiteX1273" fmla="*/ 1658303 w 2370773"/>
                <a:gd name="connsiteY1273" fmla="*/ 1343024 h 1940242"/>
                <a:gd name="connsiteX1274" fmla="*/ 1664970 w 2370773"/>
                <a:gd name="connsiteY1274" fmla="*/ 1336357 h 1940242"/>
                <a:gd name="connsiteX1275" fmla="*/ 2107883 w 2370773"/>
                <a:gd name="connsiteY1275" fmla="*/ 1335404 h 1940242"/>
                <a:gd name="connsiteX1276" fmla="*/ 2120265 w 2370773"/>
                <a:gd name="connsiteY1276" fmla="*/ 1347787 h 1940242"/>
                <a:gd name="connsiteX1277" fmla="*/ 2107883 w 2370773"/>
                <a:gd name="connsiteY1277" fmla="*/ 1360169 h 1940242"/>
                <a:gd name="connsiteX1278" fmla="*/ 2095500 w 2370773"/>
                <a:gd name="connsiteY1278" fmla="*/ 1347787 h 1940242"/>
                <a:gd name="connsiteX1279" fmla="*/ 2107883 w 2370773"/>
                <a:gd name="connsiteY1279" fmla="*/ 1335404 h 1940242"/>
                <a:gd name="connsiteX1280" fmla="*/ 237172 w 2370773"/>
                <a:gd name="connsiteY1280" fmla="*/ 1333500 h 1940242"/>
                <a:gd name="connsiteX1281" fmla="*/ 254317 w 2370773"/>
                <a:gd name="connsiteY1281" fmla="*/ 1350645 h 1940242"/>
                <a:gd name="connsiteX1282" fmla="*/ 237172 w 2370773"/>
                <a:gd name="connsiteY1282" fmla="*/ 1367790 h 1940242"/>
                <a:gd name="connsiteX1283" fmla="*/ 220027 w 2370773"/>
                <a:gd name="connsiteY1283" fmla="*/ 1350645 h 1940242"/>
                <a:gd name="connsiteX1284" fmla="*/ 237172 w 2370773"/>
                <a:gd name="connsiteY1284" fmla="*/ 1333500 h 1940242"/>
                <a:gd name="connsiteX1285" fmla="*/ 936308 w 2370773"/>
                <a:gd name="connsiteY1285" fmla="*/ 1332547 h 1940242"/>
                <a:gd name="connsiteX1286" fmla="*/ 946785 w 2370773"/>
                <a:gd name="connsiteY1286" fmla="*/ 1343025 h 1940242"/>
                <a:gd name="connsiteX1287" fmla="*/ 936308 w 2370773"/>
                <a:gd name="connsiteY1287" fmla="*/ 1353502 h 1940242"/>
                <a:gd name="connsiteX1288" fmla="*/ 925830 w 2370773"/>
                <a:gd name="connsiteY1288" fmla="*/ 1343025 h 1940242"/>
                <a:gd name="connsiteX1289" fmla="*/ 936308 w 2370773"/>
                <a:gd name="connsiteY1289" fmla="*/ 1332547 h 1940242"/>
                <a:gd name="connsiteX1290" fmla="*/ 1806892 w 2370773"/>
                <a:gd name="connsiteY1290" fmla="*/ 1331595 h 1940242"/>
                <a:gd name="connsiteX1291" fmla="*/ 1815465 w 2370773"/>
                <a:gd name="connsiteY1291" fmla="*/ 1340167 h 1940242"/>
                <a:gd name="connsiteX1292" fmla="*/ 1806892 w 2370773"/>
                <a:gd name="connsiteY1292" fmla="*/ 1348740 h 1940242"/>
                <a:gd name="connsiteX1293" fmla="*/ 1798320 w 2370773"/>
                <a:gd name="connsiteY1293" fmla="*/ 1340167 h 1940242"/>
                <a:gd name="connsiteX1294" fmla="*/ 1806892 w 2370773"/>
                <a:gd name="connsiteY1294" fmla="*/ 1331595 h 1940242"/>
                <a:gd name="connsiteX1295" fmla="*/ 493395 w 2370773"/>
                <a:gd name="connsiteY1295" fmla="*/ 1330642 h 1940242"/>
                <a:gd name="connsiteX1296" fmla="*/ 511493 w 2370773"/>
                <a:gd name="connsiteY1296" fmla="*/ 1348740 h 1940242"/>
                <a:gd name="connsiteX1297" fmla="*/ 493395 w 2370773"/>
                <a:gd name="connsiteY1297" fmla="*/ 1366837 h 1940242"/>
                <a:gd name="connsiteX1298" fmla="*/ 475298 w 2370773"/>
                <a:gd name="connsiteY1298" fmla="*/ 1348740 h 1940242"/>
                <a:gd name="connsiteX1299" fmla="*/ 493395 w 2370773"/>
                <a:gd name="connsiteY1299" fmla="*/ 1330642 h 1940242"/>
                <a:gd name="connsiteX1300" fmla="*/ 143827 w 2370773"/>
                <a:gd name="connsiteY1300" fmla="*/ 1330642 h 1940242"/>
                <a:gd name="connsiteX1301" fmla="*/ 145732 w 2370773"/>
                <a:gd name="connsiteY1301" fmla="*/ 1332547 h 1940242"/>
                <a:gd name="connsiteX1302" fmla="*/ 143827 w 2370773"/>
                <a:gd name="connsiteY1302" fmla="*/ 1334452 h 1940242"/>
                <a:gd name="connsiteX1303" fmla="*/ 141922 w 2370773"/>
                <a:gd name="connsiteY1303" fmla="*/ 1332547 h 1940242"/>
                <a:gd name="connsiteX1304" fmla="*/ 143827 w 2370773"/>
                <a:gd name="connsiteY1304" fmla="*/ 1330642 h 1940242"/>
                <a:gd name="connsiteX1305" fmla="*/ 1114426 w 2370773"/>
                <a:gd name="connsiteY1305" fmla="*/ 1329690 h 1940242"/>
                <a:gd name="connsiteX1306" fmla="*/ 1119188 w 2370773"/>
                <a:gd name="connsiteY1306" fmla="*/ 1334453 h 1940242"/>
                <a:gd name="connsiteX1307" fmla="*/ 1114426 w 2370773"/>
                <a:gd name="connsiteY1307" fmla="*/ 1339215 h 1940242"/>
                <a:gd name="connsiteX1308" fmla="*/ 1109663 w 2370773"/>
                <a:gd name="connsiteY1308" fmla="*/ 1334453 h 1940242"/>
                <a:gd name="connsiteX1309" fmla="*/ 1114426 w 2370773"/>
                <a:gd name="connsiteY1309" fmla="*/ 1329690 h 1940242"/>
                <a:gd name="connsiteX1310" fmla="*/ 2025968 w 2370773"/>
                <a:gd name="connsiteY1310" fmla="*/ 1326832 h 1940242"/>
                <a:gd name="connsiteX1311" fmla="*/ 2036445 w 2370773"/>
                <a:gd name="connsiteY1311" fmla="*/ 1337309 h 1940242"/>
                <a:gd name="connsiteX1312" fmla="*/ 2025968 w 2370773"/>
                <a:gd name="connsiteY1312" fmla="*/ 1347787 h 1940242"/>
                <a:gd name="connsiteX1313" fmla="*/ 2015490 w 2370773"/>
                <a:gd name="connsiteY1313" fmla="*/ 1337309 h 1940242"/>
                <a:gd name="connsiteX1314" fmla="*/ 2025968 w 2370773"/>
                <a:gd name="connsiteY1314" fmla="*/ 1326832 h 1940242"/>
                <a:gd name="connsiteX1315" fmla="*/ 1514475 w 2370773"/>
                <a:gd name="connsiteY1315" fmla="*/ 1324927 h 1940242"/>
                <a:gd name="connsiteX1316" fmla="*/ 1518285 w 2370773"/>
                <a:gd name="connsiteY1316" fmla="*/ 1328737 h 1940242"/>
                <a:gd name="connsiteX1317" fmla="*/ 1514475 w 2370773"/>
                <a:gd name="connsiteY1317" fmla="*/ 1332547 h 1940242"/>
                <a:gd name="connsiteX1318" fmla="*/ 1510665 w 2370773"/>
                <a:gd name="connsiteY1318" fmla="*/ 1328737 h 1940242"/>
                <a:gd name="connsiteX1319" fmla="*/ 1514475 w 2370773"/>
                <a:gd name="connsiteY1319" fmla="*/ 1324927 h 1940242"/>
                <a:gd name="connsiteX1320" fmla="*/ 392431 w 2370773"/>
                <a:gd name="connsiteY1320" fmla="*/ 1316355 h 1940242"/>
                <a:gd name="connsiteX1321" fmla="*/ 412433 w 2370773"/>
                <a:gd name="connsiteY1321" fmla="*/ 1336358 h 1940242"/>
                <a:gd name="connsiteX1322" fmla="*/ 392431 w 2370773"/>
                <a:gd name="connsiteY1322" fmla="*/ 1356360 h 1940242"/>
                <a:gd name="connsiteX1323" fmla="*/ 372428 w 2370773"/>
                <a:gd name="connsiteY1323" fmla="*/ 1336358 h 1940242"/>
                <a:gd name="connsiteX1324" fmla="*/ 392431 w 2370773"/>
                <a:gd name="connsiteY1324" fmla="*/ 1316355 h 1940242"/>
                <a:gd name="connsiteX1325" fmla="*/ 1941195 w 2370773"/>
                <a:gd name="connsiteY1325" fmla="*/ 1314450 h 1940242"/>
                <a:gd name="connsiteX1326" fmla="*/ 1951672 w 2370773"/>
                <a:gd name="connsiteY1326" fmla="*/ 1324928 h 1940242"/>
                <a:gd name="connsiteX1327" fmla="*/ 1941195 w 2370773"/>
                <a:gd name="connsiteY1327" fmla="*/ 1335405 h 1940242"/>
                <a:gd name="connsiteX1328" fmla="*/ 1930717 w 2370773"/>
                <a:gd name="connsiteY1328" fmla="*/ 1324928 h 1940242"/>
                <a:gd name="connsiteX1329" fmla="*/ 1941195 w 2370773"/>
                <a:gd name="connsiteY1329" fmla="*/ 1314450 h 1940242"/>
                <a:gd name="connsiteX1330" fmla="*/ 1059180 w 2370773"/>
                <a:gd name="connsiteY1330" fmla="*/ 1312545 h 1940242"/>
                <a:gd name="connsiteX1331" fmla="*/ 1066800 w 2370773"/>
                <a:gd name="connsiteY1331" fmla="*/ 1320165 h 1940242"/>
                <a:gd name="connsiteX1332" fmla="*/ 1059180 w 2370773"/>
                <a:gd name="connsiteY1332" fmla="*/ 1327785 h 1940242"/>
                <a:gd name="connsiteX1333" fmla="*/ 1051560 w 2370773"/>
                <a:gd name="connsiteY1333" fmla="*/ 1320165 h 1940242"/>
                <a:gd name="connsiteX1334" fmla="*/ 1059180 w 2370773"/>
                <a:gd name="connsiteY1334" fmla="*/ 1312545 h 1940242"/>
                <a:gd name="connsiteX1335" fmla="*/ 2226945 w 2370773"/>
                <a:gd name="connsiteY1335" fmla="*/ 1311592 h 1940242"/>
                <a:gd name="connsiteX1336" fmla="*/ 2230755 w 2370773"/>
                <a:gd name="connsiteY1336" fmla="*/ 1315402 h 1940242"/>
                <a:gd name="connsiteX1337" fmla="*/ 2226945 w 2370773"/>
                <a:gd name="connsiteY1337" fmla="*/ 1319212 h 1940242"/>
                <a:gd name="connsiteX1338" fmla="*/ 2223135 w 2370773"/>
                <a:gd name="connsiteY1338" fmla="*/ 1315402 h 1940242"/>
                <a:gd name="connsiteX1339" fmla="*/ 2226945 w 2370773"/>
                <a:gd name="connsiteY1339" fmla="*/ 1311592 h 1940242"/>
                <a:gd name="connsiteX1340" fmla="*/ 1716405 w 2370773"/>
                <a:gd name="connsiteY1340" fmla="*/ 1309687 h 1940242"/>
                <a:gd name="connsiteX1341" fmla="*/ 1724978 w 2370773"/>
                <a:gd name="connsiteY1341" fmla="*/ 1318259 h 1940242"/>
                <a:gd name="connsiteX1342" fmla="*/ 1716405 w 2370773"/>
                <a:gd name="connsiteY1342" fmla="*/ 1326832 h 1940242"/>
                <a:gd name="connsiteX1343" fmla="*/ 1707833 w 2370773"/>
                <a:gd name="connsiteY1343" fmla="*/ 1318259 h 1940242"/>
                <a:gd name="connsiteX1344" fmla="*/ 1716405 w 2370773"/>
                <a:gd name="connsiteY1344" fmla="*/ 1309687 h 1940242"/>
                <a:gd name="connsiteX1345" fmla="*/ 769620 w 2370773"/>
                <a:gd name="connsiteY1345" fmla="*/ 1308734 h 1940242"/>
                <a:gd name="connsiteX1346" fmla="*/ 785812 w 2370773"/>
                <a:gd name="connsiteY1346" fmla="*/ 1324927 h 1940242"/>
                <a:gd name="connsiteX1347" fmla="*/ 769620 w 2370773"/>
                <a:gd name="connsiteY1347" fmla="*/ 1341119 h 1940242"/>
                <a:gd name="connsiteX1348" fmla="*/ 753427 w 2370773"/>
                <a:gd name="connsiteY1348" fmla="*/ 1324927 h 1940242"/>
                <a:gd name="connsiteX1349" fmla="*/ 769620 w 2370773"/>
                <a:gd name="connsiteY1349" fmla="*/ 1308734 h 1940242"/>
                <a:gd name="connsiteX1350" fmla="*/ 1569721 w 2370773"/>
                <a:gd name="connsiteY1350" fmla="*/ 1306829 h 1940242"/>
                <a:gd name="connsiteX1351" fmla="*/ 1574483 w 2370773"/>
                <a:gd name="connsiteY1351" fmla="*/ 1311592 h 1940242"/>
                <a:gd name="connsiteX1352" fmla="*/ 1569721 w 2370773"/>
                <a:gd name="connsiteY1352" fmla="*/ 1316354 h 1940242"/>
                <a:gd name="connsiteX1353" fmla="*/ 1564958 w 2370773"/>
                <a:gd name="connsiteY1353" fmla="*/ 1311592 h 1940242"/>
                <a:gd name="connsiteX1354" fmla="*/ 1569721 w 2370773"/>
                <a:gd name="connsiteY1354" fmla="*/ 1306829 h 1940242"/>
                <a:gd name="connsiteX1355" fmla="*/ 660083 w 2370773"/>
                <a:gd name="connsiteY1355" fmla="*/ 1306829 h 1940242"/>
                <a:gd name="connsiteX1356" fmla="*/ 677228 w 2370773"/>
                <a:gd name="connsiteY1356" fmla="*/ 1323974 h 1940242"/>
                <a:gd name="connsiteX1357" fmla="*/ 660083 w 2370773"/>
                <a:gd name="connsiteY1357" fmla="*/ 1341119 h 1940242"/>
                <a:gd name="connsiteX1358" fmla="*/ 642938 w 2370773"/>
                <a:gd name="connsiteY1358" fmla="*/ 1323974 h 1940242"/>
                <a:gd name="connsiteX1359" fmla="*/ 660083 w 2370773"/>
                <a:gd name="connsiteY1359" fmla="*/ 1306829 h 1940242"/>
                <a:gd name="connsiteX1360" fmla="*/ 884872 w 2370773"/>
                <a:gd name="connsiteY1360" fmla="*/ 1303972 h 1940242"/>
                <a:gd name="connsiteX1361" fmla="*/ 899160 w 2370773"/>
                <a:gd name="connsiteY1361" fmla="*/ 1318260 h 1940242"/>
                <a:gd name="connsiteX1362" fmla="*/ 884872 w 2370773"/>
                <a:gd name="connsiteY1362" fmla="*/ 1332547 h 1940242"/>
                <a:gd name="connsiteX1363" fmla="*/ 870585 w 2370773"/>
                <a:gd name="connsiteY1363" fmla="*/ 1318260 h 1940242"/>
                <a:gd name="connsiteX1364" fmla="*/ 884872 w 2370773"/>
                <a:gd name="connsiteY1364" fmla="*/ 1303972 h 1940242"/>
                <a:gd name="connsiteX1365" fmla="*/ 296228 w 2370773"/>
                <a:gd name="connsiteY1365" fmla="*/ 1301115 h 1940242"/>
                <a:gd name="connsiteX1366" fmla="*/ 317183 w 2370773"/>
                <a:gd name="connsiteY1366" fmla="*/ 1322070 h 1940242"/>
                <a:gd name="connsiteX1367" fmla="*/ 296228 w 2370773"/>
                <a:gd name="connsiteY1367" fmla="*/ 1343025 h 1940242"/>
                <a:gd name="connsiteX1368" fmla="*/ 275273 w 2370773"/>
                <a:gd name="connsiteY1368" fmla="*/ 1322070 h 1940242"/>
                <a:gd name="connsiteX1369" fmla="*/ 296228 w 2370773"/>
                <a:gd name="connsiteY1369" fmla="*/ 1301115 h 1940242"/>
                <a:gd name="connsiteX1370" fmla="*/ 554355 w 2370773"/>
                <a:gd name="connsiteY1370" fmla="*/ 1300162 h 1940242"/>
                <a:gd name="connsiteX1371" fmla="*/ 572453 w 2370773"/>
                <a:gd name="connsiteY1371" fmla="*/ 1318259 h 1940242"/>
                <a:gd name="connsiteX1372" fmla="*/ 554355 w 2370773"/>
                <a:gd name="connsiteY1372" fmla="*/ 1336357 h 1940242"/>
                <a:gd name="connsiteX1373" fmla="*/ 536258 w 2370773"/>
                <a:gd name="connsiteY1373" fmla="*/ 1318259 h 1940242"/>
                <a:gd name="connsiteX1374" fmla="*/ 554355 w 2370773"/>
                <a:gd name="connsiteY1374" fmla="*/ 1300162 h 1940242"/>
                <a:gd name="connsiteX1375" fmla="*/ 1855470 w 2370773"/>
                <a:gd name="connsiteY1375" fmla="*/ 1299209 h 1940242"/>
                <a:gd name="connsiteX1376" fmla="*/ 1864042 w 2370773"/>
                <a:gd name="connsiteY1376" fmla="*/ 1307782 h 1940242"/>
                <a:gd name="connsiteX1377" fmla="*/ 1855470 w 2370773"/>
                <a:gd name="connsiteY1377" fmla="*/ 1316354 h 1940242"/>
                <a:gd name="connsiteX1378" fmla="*/ 1846897 w 2370773"/>
                <a:gd name="connsiteY1378" fmla="*/ 1307782 h 1940242"/>
                <a:gd name="connsiteX1379" fmla="*/ 1855470 w 2370773"/>
                <a:gd name="connsiteY1379" fmla="*/ 1299209 h 1940242"/>
                <a:gd name="connsiteX1380" fmla="*/ 2147888 w 2370773"/>
                <a:gd name="connsiteY1380" fmla="*/ 1296352 h 1940242"/>
                <a:gd name="connsiteX1381" fmla="*/ 2159318 w 2370773"/>
                <a:gd name="connsiteY1381" fmla="*/ 1307782 h 1940242"/>
                <a:gd name="connsiteX1382" fmla="*/ 2147888 w 2370773"/>
                <a:gd name="connsiteY1382" fmla="*/ 1319212 h 1940242"/>
                <a:gd name="connsiteX1383" fmla="*/ 2136458 w 2370773"/>
                <a:gd name="connsiteY1383" fmla="*/ 1307782 h 1940242"/>
                <a:gd name="connsiteX1384" fmla="*/ 2147888 w 2370773"/>
                <a:gd name="connsiteY1384" fmla="*/ 1296352 h 1940242"/>
                <a:gd name="connsiteX1385" fmla="*/ 1003935 w 2370773"/>
                <a:gd name="connsiteY1385" fmla="*/ 1291590 h 1940242"/>
                <a:gd name="connsiteX1386" fmla="*/ 1013460 w 2370773"/>
                <a:gd name="connsiteY1386" fmla="*/ 1301115 h 1940242"/>
                <a:gd name="connsiteX1387" fmla="*/ 1003935 w 2370773"/>
                <a:gd name="connsiteY1387" fmla="*/ 1310640 h 1940242"/>
                <a:gd name="connsiteX1388" fmla="*/ 994410 w 2370773"/>
                <a:gd name="connsiteY1388" fmla="*/ 1301115 h 1940242"/>
                <a:gd name="connsiteX1389" fmla="*/ 1003935 w 2370773"/>
                <a:gd name="connsiteY1389" fmla="*/ 1291590 h 1940242"/>
                <a:gd name="connsiteX1390" fmla="*/ 2067878 w 2370773"/>
                <a:gd name="connsiteY1390" fmla="*/ 1289684 h 1940242"/>
                <a:gd name="connsiteX1391" fmla="*/ 2076450 w 2370773"/>
                <a:gd name="connsiteY1391" fmla="*/ 1298257 h 1940242"/>
                <a:gd name="connsiteX1392" fmla="*/ 2067878 w 2370773"/>
                <a:gd name="connsiteY1392" fmla="*/ 1306829 h 1940242"/>
                <a:gd name="connsiteX1393" fmla="*/ 2059305 w 2370773"/>
                <a:gd name="connsiteY1393" fmla="*/ 1298257 h 1940242"/>
                <a:gd name="connsiteX1394" fmla="*/ 2067878 w 2370773"/>
                <a:gd name="connsiteY1394" fmla="*/ 1289684 h 1940242"/>
                <a:gd name="connsiteX1395" fmla="*/ 452438 w 2370773"/>
                <a:gd name="connsiteY1395" fmla="*/ 1289684 h 1940242"/>
                <a:gd name="connsiteX1396" fmla="*/ 470535 w 2370773"/>
                <a:gd name="connsiteY1396" fmla="*/ 1307782 h 1940242"/>
                <a:gd name="connsiteX1397" fmla="*/ 452438 w 2370773"/>
                <a:gd name="connsiteY1397" fmla="*/ 1325879 h 1940242"/>
                <a:gd name="connsiteX1398" fmla="*/ 434340 w 2370773"/>
                <a:gd name="connsiteY1398" fmla="*/ 1307782 h 1940242"/>
                <a:gd name="connsiteX1399" fmla="*/ 452438 w 2370773"/>
                <a:gd name="connsiteY1399" fmla="*/ 1289684 h 1940242"/>
                <a:gd name="connsiteX1400" fmla="*/ 1300163 w 2370773"/>
                <a:gd name="connsiteY1400" fmla="*/ 1288732 h 1940242"/>
                <a:gd name="connsiteX1401" fmla="*/ 1303020 w 2370773"/>
                <a:gd name="connsiteY1401" fmla="*/ 1291590 h 1940242"/>
                <a:gd name="connsiteX1402" fmla="*/ 1300163 w 2370773"/>
                <a:gd name="connsiteY1402" fmla="*/ 1294447 h 1940242"/>
                <a:gd name="connsiteX1403" fmla="*/ 1297305 w 2370773"/>
                <a:gd name="connsiteY1403" fmla="*/ 1291590 h 1940242"/>
                <a:gd name="connsiteX1404" fmla="*/ 1300163 w 2370773"/>
                <a:gd name="connsiteY1404" fmla="*/ 1288732 h 1940242"/>
                <a:gd name="connsiteX1405" fmla="*/ 201930 w 2370773"/>
                <a:gd name="connsiteY1405" fmla="*/ 1286827 h 1940242"/>
                <a:gd name="connsiteX1406" fmla="*/ 219075 w 2370773"/>
                <a:gd name="connsiteY1406" fmla="*/ 1303972 h 1940242"/>
                <a:gd name="connsiteX1407" fmla="*/ 201930 w 2370773"/>
                <a:gd name="connsiteY1407" fmla="*/ 1321117 h 1940242"/>
                <a:gd name="connsiteX1408" fmla="*/ 184785 w 2370773"/>
                <a:gd name="connsiteY1408" fmla="*/ 1303972 h 1940242"/>
                <a:gd name="connsiteX1409" fmla="*/ 201930 w 2370773"/>
                <a:gd name="connsiteY1409" fmla="*/ 1286827 h 1940242"/>
                <a:gd name="connsiteX1410" fmla="*/ 1623060 w 2370773"/>
                <a:gd name="connsiteY1410" fmla="*/ 1285875 h 1940242"/>
                <a:gd name="connsiteX1411" fmla="*/ 1627822 w 2370773"/>
                <a:gd name="connsiteY1411" fmla="*/ 1290638 h 1940242"/>
                <a:gd name="connsiteX1412" fmla="*/ 1623060 w 2370773"/>
                <a:gd name="connsiteY1412" fmla="*/ 1295400 h 1940242"/>
                <a:gd name="connsiteX1413" fmla="*/ 1618297 w 2370773"/>
                <a:gd name="connsiteY1413" fmla="*/ 1290638 h 1940242"/>
                <a:gd name="connsiteX1414" fmla="*/ 1623060 w 2370773"/>
                <a:gd name="connsiteY1414" fmla="*/ 1285875 h 1940242"/>
                <a:gd name="connsiteX1415" fmla="*/ 1358266 w 2370773"/>
                <a:gd name="connsiteY1415" fmla="*/ 1285875 h 1940242"/>
                <a:gd name="connsiteX1416" fmla="*/ 1361123 w 2370773"/>
                <a:gd name="connsiteY1416" fmla="*/ 1288733 h 1940242"/>
                <a:gd name="connsiteX1417" fmla="*/ 1358266 w 2370773"/>
                <a:gd name="connsiteY1417" fmla="*/ 1291590 h 1940242"/>
                <a:gd name="connsiteX1418" fmla="*/ 1355408 w 2370773"/>
                <a:gd name="connsiteY1418" fmla="*/ 1288733 h 1940242"/>
                <a:gd name="connsiteX1419" fmla="*/ 1358266 w 2370773"/>
                <a:gd name="connsiteY1419" fmla="*/ 1285875 h 1940242"/>
                <a:gd name="connsiteX1420" fmla="*/ 1243013 w 2370773"/>
                <a:gd name="connsiteY1420" fmla="*/ 1285875 h 1940242"/>
                <a:gd name="connsiteX1421" fmla="*/ 1246823 w 2370773"/>
                <a:gd name="connsiteY1421" fmla="*/ 1289685 h 1940242"/>
                <a:gd name="connsiteX1422" fmla="*/ 1243013 w 2370773"/>
                <a:gd name="connsiteY1422" fmla="*/ 1293495 h 1940242"/>
                <a:gd name="connsiteX1423" fmla="*/ 1239203 w 2370773"/>
                <a:gd name="connsiteY1423" fmla="*/ 1289685 h 1940242"/>
                <a:gd name="connsiteX1424" fmla="*/ 1243013 w 2370773"/>
                <a:gd name="connsiteY1424" fmla="*/ 1285875 h 1940242"/>
                <a:gd name="connsiteX1425" fmla="*/ 1766888 w 2370773"/>
                <a:gd name="connsiteY1425" fmla="*/ 1283017 h 1940242"/>
                <a:gd name="connsiteX1426" fmla="*/ 1773555 w 2370773"/>
                <a:gd name="connsiteY1426" fmla="*/ 1289684 h 1940242"/>
                <a:gd name="connsiteX1427" fmla="*/ 1766888 w 2370773"/>
                <a:gd name="connsiteY1427" fmla="*/ 1296352 h 1940242"/>
                <a:gd name="connsiteX1428" fmla="*/ 1760220 w 2370773"/>
                <a:gd name="connsiteY1428" fmla="*/ 1289684 h 1940242"/>
                <a:gd name="connsiteX1429" fmla="*/ 1766888 w 2370773"/>
                <a:gd name="connsiteY1429" fmla="*/ 1283017 h 1940242"/>
                <a:gd name="connsiteX1430" fmla="*/ 1985962 w 2370773"/>
                <a:gd name="connsiteY1430" fmla="*/ 1281112 h 1940242"/>
                <a:gd name="connsiteX1431" fmla="*/ 1991677 w 2370773"/>
                <a:gd name="connsiteY1431" fmla="*/ 1286827 h 1940242"/>
                <a:gd name="connsiteX1432" fmla="*/ 1985962 w 2370773"/>
                <a:gd name="connsiteY1432" fmla="*/ 1292542 h 1940242"/>
                <a:gd name="connsiteX1433" fmla="*/ 1980247 w 2370773"/>
                <a:gd name="connsiteY1433" fmla="*/ 1286827 h 1940242"/>
                <a:gd name="connsiteX1434" fmla="*/ 1985962 w 2370773"/>
                <a:gd name="connsiteY1434" fmla="*/ 1281112 h 1940242"/>
                <a:gd name="connsiteX1435" fmla="*/ 1185863 w 2370773"/>
                <a:gd name="connsiteY1435" fmla="*/ 1280159 h 1940242"/>
                <a:gd name="connsiteX1436" fmla="*/ 1188720 w 2370773"/>
                <a:gd name="connsiteY1436" fmla="*/ 1283017 h 1940242"/>
                <a:gd name="connsiteX1437" fmla="*/ 1185863 w 2370773"/>
                <a:gd name="connsiteY1437" fmla="*/ 1285874 h 1940242"/>
                <a:gd name="connsiteX1438" fmla="*/ 1183005 w 2370773"/>
                <a:gd name="connsiteY1438" fmla="*/ 1283017 h 1940242"/>
                <a:gd name="connsiteX1439" fmla="*/ 1185863 w 2370773"/>
                <a:gd name="connsiteY1439" fmla="*/ 1280159 h 1940242"/>
                <a:gd name="connsiteX1440" fmla="*/ 1415415 w 2370773"/>
                <a:gd name="connsiteY1440" fmla="*/ 1279207 h 1940242"/>
                <a:gd name="connsiteX1441" fmla="*/ 1419225 w 2370773"/>
                <a:gd name="connsiteY1441" fmla="*/ 1283017 h 1940242"/>
                <a:gd name="connsiteX1442" fmla="*/ 1415415 w 2370773"/>
                <a:gd name="connsiteY1442" fmla="*/ 1286827 h 1940242"/>
                <a:gd name="connsiteX1443" fmla="*/ 1411605 w 2370773"/>
                <a:gd name="connsiteY1443" fmla="*/ 1283017 h 1940242"/>
                <a:gd name="connsiteX1444" fmla="*/ 1415415 w 2370773"/>
                <a:gd name="connsiteY1444" fmla="*/ 1279207 h 1940242"/>
                <a:gd name="connsiteX1445" fmla="*/ 834390 w 2370773"/>
                <a:gd name="connsiteY1445" fmla="*/ 1278254 h 1940242"/>
                <a:gd name="connsiteX1446" fmla="*/ 846773 w 2370773"/>
                <a:gd name="connsiteY1446" fmla="*/ 1290637 h 1940242"/>
                <a:gd name="connsiteX1447" fmla="*/ 834390 w 2370773"/>
                <a:gd name="connsiteY1447" fmla="*/ 1303019 h 1940242"/>
                <a:gd name="connsiteX1448" fmla="*/ 822008 w 2370773"/>
                <a:gd name="connsiteY1448" fmla="*/ 1290637 h 1940242"/>
                <a:gd name="connsiteX1449" fmla="*/ 834390 w 2370773"/>
                <a:gd name="connsiteY1449" fmla="*/ 1278254 h 1940242"/>
                <a:gd name="connsiteX1450" fmla="*/ 722948 w 2370773"/>
                <a:gd name="connsiteY1450" fmla="*/ 1277302 h 1940242"/>
                <a:gd name="connsiteX1451" fmla="*/ 737235 w 2370773"/>
                <a:gd name="connsiteY1451" fmla="*/ 1291590 h 1940242"/>
                <a:gd name="connsiteX1452" fmla="*/ 722948 w 2370773"/>
                <a:gd name="connsiteY1452" fmla="*/ 1305877 h 1940242"/>
                <a:gd name="connsiteX1453" fmla="*/ 708660 w 2370773"/>
                <a:gd name="connsiteY1453" fmla="*/ 1291590 h 1940242"/>
                <a:gd name="connsiteX1454" fmla="*/ 722948 w 2370773"/>
                <a:gd name="connsiteY1454" fmla="*/ 1277302 h 1940242"/>
                <a:gd name="connsiteX1455" fmla="*/ 951547 w 2370773"/>
                <a:gd name="connsiteY1455" fmla="*/ 1271587 h 1940242"/>
                <a:gd name="connsiteX1456" fmla="*/ 959167 w 2370773"/>
                <a:gd name="connsiteY1456" fmla="*/ 1279207 h 1940242"/>
                <a:gd name="connsiteX1457" fmla="*/ 951547 w 2370773"/>
                <a:gd name="connsiteY1457" fmla="*/ 1286827 h 1940242"/>
                <a:gd name="connsiteX1458" fmla="*/ 943927 w 2370773"/>
                <a:gd name="connsiteY1458" fmla="*/ 1279207 h 1940242"/>
                <a:gd name="connsiteX1459" fmla="*/ 951547 w 2370773"/>
                <a:gd name="connsiteY1459" fmla="*/ 1271587 h 1940242"/>
                <a:gd name="connsiteX1460" fmla="*/ 355283 w 2370773"/>
                <a:gd name="connsiteY1460" fmla="*/ 1271587 h 1940242"/>
                <a:gd name="connsiteX1461" fmla="*/ 376238 w 2370773"/>
                <a:gd name="connsiteY1461" fmla="*/ 1292542 h 1940242"/>
                <a:gd name="connsiteX1462" fmla="*/ 355283 w 2370773"/>
                <a:gd name="connsiteY1462" fmla="*/ 1313497 h 1940242"/>
                <a:gd name="connsiteX1463" fmla="*/ 334328 w 2370773"/>
                <a:gd name="connsiteY1463" fmla="*/ 1292542 h 1940242"/>
                <a:gd name="connsiteX1464" fmla="*/ 355283 w 2370773"/>
                <a:gd name="connsiteY1464" fmla="*/ 1271587 h 1940242"/>
                <a:gd name="connsiteX1465" fmla="*/ 615315 w 2370773"/>
                <a:gd name="connsiteY1465" fmla="*/ 1268730 h 1940242"/>
                <a:gd name="connsiteX1466" fmla="*/ 633413 w 2370773"/>
                <a:gd name="connsiteY1466" fmla="*/ 1286828 h 1940242"/>
                <a:gd name="connsiteX1467" fmla="*/ 615315 w 2370773"/>
                <a:gd name="connsiteY1467" fmla="*/ 1304925 h 1940242"/>
                <a:gd name="connsiteX1468" fmla="*/ 597218 w 2370773"/>
                <a:gd name="connsiteY1468" fmla="*/ 1286828 h 1940242"/>
                <a:gd name="connsiteX1469" fmla="*/ 615315 w 2370773"/>
                <a:gd name="connsiteY1469" fmla="*/ 1268730 h 1940242"/>
                <a:gd name="connsiteX1470" fmla="*/ 1901190 w 2370773"/>
                <a:gd name="connsiteY1470" fmla="*/ 1268729 h 1940242"/>
                <a:gd name="connsiteX1471" fmla="*/ 1906905 w 2370773"/>
                <a:gd name="connsiteY1471" fmla="*/ 1274444 h 1940242"/>
                <a:gd name="connsiteX1472" fmla="*/ 1901190 w 2370773"/>
                <a:gd name="connsiteY1472" fmla="*/ 1280159 h 1940242"/>
                <a:gd name="connsiteX1473" fmla="*/ 1895475 w 2370773"/>
                <a:gd name="connsiteY1473" fmla="*/ 1274444 h 1940242"/>
                <a:gd name="connsiteX1474" fmla="*/ 1901190 w 2370773"/>
                <a:gd name="connsiteY1474" fmla="*/ 1268729 h 1940242"/>
                <a:gd name="connsiteX1475" fmla="*/ 1128712 w 2370773"/>
                <a:gd name="connsiteY1475" fmla="*/ 1268729 h 1940242"/>
                <a:gd name="connsiteX1476" fmla="*/ 1132522 w 2370773"/>
                <a:gd name="connsiteY1476" fmla="*/ 1272539 h 1940242"/>
                <a:gd name="connsiteX1477" fmla="*/ 1128712 w 2370773"/>
                <a:gd name="connsiteY1477" fmla="*/ 1276349 h 1940242"/>
                <a:gd name="connsiteX1478" fmla="*/ 1124902 w 2370773"/>
                <a:gd name="connsiteY1478" fmla="*/ 1272539 h 1940242"/>
                <a:gd name="connsiteX1479" fmla="*/ 1128712 w 2370773"/>
                <a:gd name="connsiteY1479" fmla="*/ 1268729 h 1940242"/>
                <a:gd name="connsiteX1480" fmla="*/ 2264093 w 2370773"/>
                <a:gd name="connsiteY1480" fmla="*/ 1267777 h 1940242"/>
                <a:gd name="connsiteX1481" fmla="*/ 2265998 w 2370773"/>
                <a:gd name="connsiteY1481" fmla="*/ 1269682 h 1940242"/>
                <a:gd name="connsiteX1482" fmla="*/ 2264093 w 2370773"/>
                <a:gd name="connsiteY1482" fmla="*/ 1271587 h 1940242"/>
                <a:gd name="connsiteX1483" fmla="*/ 2262188 w 2370773"/>
                <a:gd name="connsiteY1483" fmla="*/ 1269682 h 1940242"/>
                <a:gd name="connsiteX1484" fmla="*/ 2264093 w 2370773"/>
                <a:gd name="connsiteY1484" fmla="*/ 1267777 h 1940242"/>
                <a:gd name="connsiteX1485" fmla="*/ 1472565 w 2370773"/>
                <a:gd name="connsiteY1485" fmla="*/ 1267777 h 1940242"/>
                <a:gd name="connsiteX1486" fmla="*/ 1476375 w 2370773"/>
                <a:gd name="connsiteY1486" fmla="*/ 1271587 h 1940242"/>
                <a:gd name="connsiteX1487" fmla="*/ 1472565 w 2370773"/>
                <a:gd name="connsiteY1487" fmla="*/ 1275397 h 1940242"/>
                <a:gd name="connsiteX1488" fmla="*/ 1468755 w 2370773"/>
                <a:gd name="connsiteY1488" fmla="*/ 1271587 h 1940242"/>
                <a:gd name="connsiteX1489" fmla="*/ 1472565 w 2370773"/>
                <a:gd name="connsiteY1489" fmla="*/ 1267777 h 1940242"/>
                <a:gd name="connsiteX1490" fmla="*/ 1675447 w 2370773"/>
                <a:gd name="connsiteY1490" fmla="*/ 1260157 h 1940242"/>
                <a:gd name="connsiteX1491" fmla="*/ 1682115 w 2370773"/>
                <a:gd name="connsiteY1491" fmla="*/ 1266824 h 1940242"/>
                <a:gd name="connsiteX1492" fmla="*/ 1675447 w 2370773"/>
                <a:gd name="connsiteY1492" fmla="*/ 1273492 h 1940242"/>
                <a:gd name="connsiteX1493" fmla="*/ 1668780 w 2370773"/>
                <a:gd name="connsiteY1493" fmla="*/ 1266824 h 1940242"/>
                <a:gd name="connsiteX1494" fmla="*/ 1675447 w 2370773"/>
                <a:gd name="connsiteY1494" fmla="*/ 1260157 h 1940242"/>
                <a:gd name="connsiteX1495" fmla="*/ 513398 w 2370773"/>
                <a:gd name="connsiteY1495" fmla="*/ 1260157 h 1940242"/>
                <a:gd name="connsiteX1496" fmla="*/ 531495 w 2370773"/>
                <a:gd name="connsiteY1496" fmla="*/ 1278254 h 1940242"/>
                <a:gd name="connsiteX1497" fmla="*/ 513398 w 2370773"/>
                <a:gd name="connsiteY1497" fmla="*/ 1296352 h 1940242"/>
                <a:gd name="connsiteX1498" fmla="*/ 495300 w 2370773"/>
                <a:gd name="connsiteY1498" fmla="*/ 1278254 h 1940242"/>
                <a:gd name="connsiteX1499" fmla="*/ 513398 w 2370773"/>
                <a:gd name="connsiteY1499" fmla="*/ 1260157 h 1940242"/>
                <a:gd name="connsiteX1500" fmla="*/ 2185987 w 2370773"/>
                <a:gd name="connsiteY1500" fmla="*/ 1255395 h 1940242"/>
                <a:gd name="connsiteX1501" fmla="*/ 2194560 w 2370773"/>
                <a:gd name="connsiteY1501" fmla="*/ 1263967 h 1940242"/>
                <a:gd name="connsiteX1502" fmla="*/ 2185987 w 2370773"/>
                <a:gd name="connsiteY1502" fmla="*/ 1272540 h 1940242"/>
                <a:gd name="connsiteX1503" fmla="*/ 2177415 w 2370773"/>
                <a:gd name="connsiteY1503" fmla="*/ 1263967 h 1940242"/>
                <a:gd name="connsiteX1504" fmla="*/ 2185987 w 2370773"/>
                <a:gd name="connsiteY1504" fmla="*/ 1255395 h 1940242"/>
                <a:gd name="connsiteX1505" fmla="*/ 260985 w 2370773"/>
                <a:gd name="connsiteY1505" fmla="*/ 1255395 h 1940242"/>
                <a:gd name="connsiteX1506" fmla="*/ 281940 w 2370773"/>
                <a:gd name="connsiteY1506" fmla="*/ 1276350 h 1940242"/>
                <a:gd name="connsiteX1507" fmla="*/ 260985 w 2370773"/>
                <a:gd name="connsiteY1507" fmla="*/ 1297305 h 1940242"/>
                <a:gd name="connsiteX1508" fmla="*/ 240030 w 2370773"/>
                <a:gd name="connsiteY1508" fmla="*/ 1276350 h 1940242"/>
                <a:gd name="connsiteX1509" fmla="*/ 260985 w 2370773"/>
                <a:gd name="connsiteY1509" fmla="*/ 1255395 h 1940242"/>
                <a:gd name="connsiteX1510" fmla="*/ 1527810 w 2370773"/>
                <a:gd name="connsiteY1510" fmla="*/ 1254442 h 1940242"/>
                <a:gd name="connsiteX1511" fmla="*/ 1530668 w 2370773"/>
                <a:gd name="connsiteY1511" fmla="*/ 1257300 h 1940242"/>
                <a:gd name="connsiteX1512" fmla="*/ 1527810 w 2370773"/>
                <a:gd name="connsiteY1512" fmla="*/ 1260157 h 1940242"/>
                <a:gd name="connsiteX1513" fmla="*/ 1524953 w 2370773"/>
                <a:gd name="connsiteY1513" fmla="*/ 1257300 h 1940242"/>
                <a:gd name="connsiteX1514" fmla="*/ 1527810 w 2370773"/>
                <a:gd name="connsiteY1514" fmla="*/ 1254442 h 1940242"/>
                <a:gd name="connsiteX1515" fmla="*/ 1815466 w 2370773"/>
                <a:gd name="connsiteY1515" fmla="*/ 1253490 h 1940242"/>
                <a:gd name="connsiteX1516" fmla="*/ 1820228 w 2370773"/>
                <a:gd name="connsiteY1516" fmla="*/ 1258253 h 1940242"/>
                <a:gd name="connsiteX1517" fmla="*/ 1815466 w 2370773"/>
                <a:gd name="connsiteY1517" fmla="*/ 1263015 h 1940242"/>
                <a:gd name="connsiteX1518" fmla="*/ 1810703 w 2370773"/>
                <a:gd name="connsiteY1518" fmla="*/ 1258253 h 1940242"/>
                <a:gd name="connsiteX1519" fmla="*/ 1815466 w 2370773"/>
                <a:gd name="connsiteY1519" fmla="*/ 1253490 h 1940242"/>
                <a:gd name="connsiteX1520" fmla="*/ 1073467 w 2370773"/>
                <a:gd name="connsiteY1520" fmla="*/ 1251584 h 1940242"/>
                <a:gd name="connsiteX1521" fmla="*/ 1079182 w 2370773"/>
                <a:gd name="connsiteY1521" fmla="*/ 1257299 h 1940242"/>
                <a:gd name="connsiteX1522" fmla="*/ 1073467 w 2370773"/>
                <a:gd name="connsiteY1522" fmla="*/ 1263014 h 1940242"/>
                <a:gd name="connsiteX1523" fmla="*/ 1067752 w 2370773"/>
                <a:gd name="connsiteY1523" fmla="*/ 1257299 h 1940242"/>
                <a:gd name="connsiteX1524" fmla="*/ 1073467 w 2370773"/>
                <a:gd name="connsiteY1524" fmla="*/ 1251584 h 1940242"/>
                <a:gd name="connsiteX1525" fmla="*/ 2107883 w 2370773"/>
                <a:gd name="connsiteY1525" fmla="*/ 1247775 h 1940242"/>
                <a:gd name="connsiteX1526" fmla="*/ 2116455 w 2370773"/>
                <a:gd name="connsiteY1526" fmla="*/ 1256347 h 1940242"/>
                <a:gd name="connsiteX1527" fmla="*/ 2107883 w 2370773"/>
                <a:gd name="connsiteY1527" fmla="*/ 1264920 h 1940242"/>
                <a:gd name="connsiteX1528" fmla="*/ 2099310 w 2370773"/>
                <a:gd name="connsiteY1528" fmla="*/ 1256347 h 1940242"/>
                <a:gd name="connsiteX1529" fmla="*/ 2107883 w 2370773"/>
                <a:gd name="connsiteY1529" fmla="*/ 1247775 h 1940242"/>
                <a:gd name="connsiteX1530" fmla="*/ 169544 w 2370773"/>
                <a:gd name="connsiteY1530" fmla="*/ 1247775 h 1940242"/>
                <a:gd name="connsiteX1531" fmla="*/ 178117 w 2370773"/>
                <a:gd name="connsiteY1531" fmla="*/ 1256347 h 1940242"/>
                <a:gd name="connsiteX1532" fmla="*/ 169544 w 2370773"/>
                <a:gd name="connsiteY1532" fmla="*/ 1264920 h 1940242"/>
                <a:gd name="connsiteX1533" fmla="*/ 160972 w 2370773"/>
                <a:gd name="connsiteY1533" fmla="*/ 1256347 h 1940242"/>
                <a:gd name="connsiteX1534" fmla="*/ 169544 w 2370773"/>
                <a:gd name="connsiteY1534" fmla="*/ 1247775 h 1940242"/>
                <a:gd name="connsiteX1535" fmla="*/ 900112 w 2370773"/>
                <a:gd name="connsiteY1535" fmla="*/ 1245870 h 1940242"/>
                <a:gd name="connsiteX1536" fmla="*/ 907732 w 2370773"/>
                <a:gd name="connsiteY1536" fmla="*/ 1253490 h 1940242"/>
                <a:gd name="connsiteX1537" fmla="*/ 900112 w 2370773"/>
                <a:gd name="connsiteY1537" fmla="*/ 1261110 h 1940242"/>
                <a:gd name="connsiteX1538" fmla="*/ 892492 w 2370773"/>
                <a:gd name="connsiteY1538" fmla="*/ 1253490 h 1940242"/>
                <a:gd name="connsiteX1539" fmla="*/ 900112 w 2370773"/>
                <a:gd name="connsiteY1539" fmla="*/ 1245870 h 1940242"/>
                <a:gd name="connsiteX1540" fmla="*/ 785812 w 2370773"/>
                <a:gd name="connsiteY1540" fmla="*/ 1244917 h 1940242"/>
                <a:gd name="connsiteX1541" fmla="*/ 799147 w 2370773"/>
                <a:gd name="connsiteY1541" fmla="*/ 1258252 h 1940242"/>
                <a:gd name="connsiteX1542" fmla="*/ 785812 w 2370773"/>
                <a:gd name="connsiteY1542" fmla="*/ 1271587 h 1940242"/>
                <a:gd name="connsiteX1543" fmla="*/ 772477 w 2370773"/>
                <a:gd name="connsiteY1543" fmla="*/ 1258252 h 1940242"/>
                <a:gd name="connsiteX1544" fmla="*/ 785812 w 2370773"/>
                <a:gd name="connsiteY1544" fmla="*/ 1244917 h 1940242"/>
                <a:gd name="connsiteX1545" fmla="*/ 414338 w 2370773"/>
                <a:gd name="connsiteY1545" fmla="*/ 1244917 h 1940242"/>
                <a:gd name="connsiteX1546" fmla="*/ 433388 w 2370773"/>
                <a:gd name="connsiteY1546" fmla="*/ 1263967 h 1940242"/>
                <a:gd name="connsiteX1547" fmla="*/ 414338 w 2370773"/>
                <a:gd name="connsiteY1547" fmla="*/ 1283017 h 1940242"/>
                <a:gd name="connsiteX1548" fmla="*/ 395288 w 2370773"/>
                <a:gd name="connsiteY1548" fmla="*/ 1263967 h 1940242"/>
                <a:gd name="connsiteX1549" fmla="*/ 414338 w 2370773"/>
                <a:gd name="connsiteY1549" fmla="*/ 1244917 h 1940242"/>
                <a:gd name="connsiteX1550" fmla="*/ 2026921 w 2370773"/>
                <a:gd name="connsiteY1550" fmla="*/ 1241107 h 1940242"/>
                <a:gd name="connsiteX1551" fmla="*/ 2033588 w 2370773"/>
                <a:gd name="connsiteY1551" fmla="*/ 1247775 h 1940242"/>
                <a:gd name="connsiteX1552" fmla="*/ 2026921 w 2370773"/>
                <a:gd name="connsiteY1552" fmla="*/ 1254442 h 1940242"/>
                <a:gd name="connsiteX1553" fmla="*/ 2020253 w 2370773"/>
                <a:gd name="connsiteY1553" fmla="*/ 1247775 h 1940242"/>
                <a:gd name="connsiteX1554" fmla="*/ 2026921 w 2370773"/>
                <a:gd name="connsiteY1554" fmla="*/ 1241107 h 1940242"/>
                <a:gd name="connsiteX1555" fmla="*/ 677228 w 2370773"/>
                <a:gd name="connsiteY1555" fmla="*/ 1239202 h 1940242"/>
                <a:gd name="connsiteX1556" fmla="*/ 694373 w 2370773"/>
                <a:gd name="connsiteY1556" fmla="*/ 1256347 h 1940242"/>
                <a:gd name="connsiteX1557" fmla="*/ 677228 w 2370773"/>
                <a:gd name="connsiteY1557" fmla="*/ 1273492 h 1940242"/>
                <a:gd name="connsiteX1558" fmla="*/ 660083 w 2370773"/>
                <a:gd name="connsiteY1558" fmla="*/ 1256347 h 1940242"/>
                <a:gd name="connsiteX1559" fmla="*/ 677228 w 2370773"/>
                <a:gd name="connsiteY1559" fmla="*/ 1239202 h 1940242"/>
                <a:gd name="connsiteX1560" fmla="*/ 1582102 w 2370773"/>
                <a:gd name="connsiteY1560" fmla="*/ 1236345 h 1940242"/>
                <a:gd name="connsiteX1561" fmla="*/ 1584007 w 2370773"/>
                <a:gd name="connsiteY1561" fmla="*/ 1238250 h 1940242"/>
                <a:gd name="connsiteX1562" fmla="*/ 1582102 w 2370773"/>
                <a:gd name="connsiteY1562" fmla="*/ 1240155 h 1940242"/>
                <a:gd name="connsiteX1563" fmla="*/ 1580197 w 2370773"/>
                <a:gd name="connsiteY1563" fmla="*/ 1238250 h 1940242"/>
                <a:gd name="connsiteX1564" fmla="*/ 1582102 w 2370773"/>
                <a:gd name="connsiteY1564" fmla="*/ 1236345 h 1940242"/>
                <a:gd name="connsiteX1565" fmla="*/ 1726883 w 2370773"/>
                <a:gd name="connsiteY1565" fmla="*/ 1232534 h 1940242"/>
                <a:gd name="connsiteX1566" fmla="*/ 1733550 w 2370773"/>
                <a:gd name="connsiteY1566" fmla="*/ 1239202 h 1940242"/>
                <a:gd name="connsiteX1567" fmla="*/ 1726883 w 2370773"/>
                <a:gd name="connsiteY1567" fmla="*/ 1245869 h 1940242"/>
                <a:gd name="connsiteX1568" fmla="*/ 1720216 w 2370773"/>
                <a:gd name="connsiteY1568" fmla="*/ 1239202 h 1940242"/>
                <a:gd name="connsiteX1569" fmla="*/ 1726883 w 2370773"/>
                <a:gd name="connsiteY1569" fmla="*/ 1232534 h 1940242"/>
                <a:gd name="connsiteX1570" fmla="*/ 1019175 w 2370773"/>
                <a:gd name="connsiteY1570" fmla="*/ 1232534 h 1940242"/>
                <a:gd name="connsiteX1571" fmla="*/ 1024890 w 2370773"/>
                <a:gd name="connsiteY1571" fmla="*/ 1238249 h 1940242"/>
                <a:gd name="connsiteX1572" fmla="*/ 1019175 w 2370773"/>
                <a:gd name="connsiteY1572" fmla="*/ 1243964 h 1940242"/>
                <a:gd name="connsiteX1573" fmla="*/ 1013460 w 2370773"/>
                <a:gd name="connsiteY1573" fmla="*/ 1238249 h 1940242"/>
                <a:gd name="connsiteX1574" fmla="*/ 1019175 w 2370773"/>
                <a:gd name="connsiteY1574" fmla="*/ 1232534 h 1940242"/>
                <a:gd name="connsiteX1575" fmla="*/ 1945005 w 2370773"/>
                <a:gd name="connsiteY1575" fmla="*/ 1230629 h 1940242"/>
                <a:gd name="connsiteX1576" fmla="*/ 1950720 w 2370773"/>
                <a:gd name="connsiteY1576" fmla="*/ 1236344 h 1940242"/>
                <a:gd name="connsiteX1577" fmla="*/ 1945005 w 2370773"/>
                <a:gd name="connsiteY1577" fmla="*/ 1242059 h 1940242"/>
                <a:gd name="connsiteX1578" fmla="*/ 1939290 w 2370773"/>
                <a:gd name="connsiteY1578" fmla="*/ 1236344 h 1940242"/>
                <a:gd name="connsiteX1579" fmla="*/ 1945005 w 2370773"/>
                <a:gd name="connsiteY1579" fmla="*/ 1230629 h 1940242"/>
                <a:gd name="connsiteX1580" fmla="*/ 573405 w 2370773"/>
                <a:gd name="connsiteY1580" fmla="*/ 1229677 h 1940242"/>
                <a:gd name="connsiteX1581" fmla="*/ 591503 w 2370773"/>
                <a:gd name="connsiteY1581" fmla="*/ 1247774 h 1940242"/>
                <a:gd name="connsiteX1582" fmla="*/ 573405 w 2370773"/>
                <a:gd name="connsiteY1582" fmla="*/ 1265872 h 1940242"/>
                <a:gd name="connsiteX1583" fmla="*/ 555308 w 2370773"/>
                <a:gd name="connsiteY1583" fmla="*/ 1247774 h 1940242"/>
                <a:gd name="connsiteX1584" fmla="*/ 573405 w 2370773"/>
                <a:gd name="connsiteY1584" fmla="*/ 1229677 h 1940242"/>
                <a:gd name="connsiteX1585" fmla="*/ 320040 w 2370773"/>
                <a:gd name="connsiteY1585" fmla="*/ 1226820 h 1940242"/>
                <a:gd name="connsiteX1586" fmla="*/ 340995 w 2370773"/>
                <a:gd name="connsiteY1586" fmla="*/ 1247775 h 1940242"/>
                <a:gd name="connsiteX1587" fmla="*/ 320040 w 2370773"/>
                <a:gd name="connsiteY1587" fmla="*/ 1268730 h 1940242"/>
                <a:gd name="connsiteX1588" fmla="*/ 299085 w 2370773"/>
                <a:gd name="connsiteY1588" fmla="*/ 1247775 h 1940242"/>
                <a:gd name="connsiteX1589" fmla="*/ 320040 w 2370773"/>
                <a:gd name="connsiteY1589" fmla="*/ 1226820 h 1940242"/>
                <a:gd name="connsiteX1590" fmla="*/ 1315403 w 2370773"/>
                <a:gd name="connsiteY1590" fmla="*/ 1225867 h 1940242"/>
                <a:gd name="connsiteX1591" fmla="*/ 1317308 w 2370773"/>
                <a:gd name="connsiteY1591" fmla="*/ 1227772 h 1940242"/>
                <a:gd name="connsiteX1592" fmla="*/ 1315403 w 2370773"/>
                <a:gd name="connsiteY1592" fmla="*/ 1229677 h 1940242"/>
                <a:gd name="connsiteX1593" fmla="*/ 1313498 w 2370773"/>
                <a:gd name="connsiteY1593" fmla="*/ 1227772 h 1940242"/>
                <a:gd name="connsiteX1594" fmla="*/ 1315403 w 2370773"/>
                <a:gd name="connsiteY1594" fmla="*/ 1225867 h 1940242"/>
                <a:gd name="connsiteX1595" fmla="*/ 1257300 w 2370773"/>
                <a:gd name="connsiteY1595" fmla="*/ 1223962 h 1940242"/>
                <a:gd name="connsiteX1596" fmla="*/ 1259205 w 2370773"/>
                <a:gd name="connsiteY1596" fmla="*/ 1225867 h 1940242"/>
                <a:gd name="connsiteX1597" fmla="*/ 1257300 w 2370773"/>
                <a:gd name="connsiteY1597" fmla="*/ 1227772 h 1940242"/>
                <a:gd name="connsiteX1598" fmla="*/ 1255395 w 2370773"/>
                <a:gd name="connsiteY1598" fmla="*/ 1225867 h 1940242"/>
                <a:gd name="connsiteX1599" fmla="*/ 1257300 w 2370773"/>
                <a:gd name="connsiteY1599" fmla="*/ 1223962 h 1940242"/>
                <a:gd name="connsiteX1600" fmla="*/ 1372552 w 2370773"/>
                <a:gd name="connsiteY1600" fmla="*/ 1222057 h 1940242"/>
                <a:gd name="connsiteX1601" fmla="*/ 1374457 w 2370773"/>
                <a:gd name="connsiteY1601" fmla="*/ 1223962 h 1940242"/>
                <a:gd name="connsiteX1602" fmla="*/ 1372552 w 2370773"/>
                <a:gd name="connsiteY1602" fmla="*/ 1225867 h 1940242"/>
                <a:gd name="connsiteX1603" fmla="*/ 1370647 w 2370773"/>
                <a:gd name="connsiteY1603" fmla="*/ 1223962 h 1940242"/>
                <a:gd name="connsiteX1604" fmla="*/ 1372552 w 2370773"/>
                <a:gd name="connsiteY1604" fmla="*/ 1222057 h 1940242"/>
                <a:gd name="connsiteX1605" fmla="*/ 2298383 w 2370773"/>
                <a:gd name="connsiteY1605" fmla="*/ 1221104 h 1940242"/>
                <a:gd name="connsiteX1606" fmla="*/ 2301240 w 2370773"/>
                <a:gd name="connsiteY1606" fmla="*/ 1223962 h 1940242"/>
                <a:gd name="connsiteX1607" fmla="*/ 2298383 w 2370773"/>
                <a:gd name="connsiteY1607" fmla="*/ 1226819 h 1940242"/>
                <a:gd name="connsiteX1608" fmla="*/ 2295525 w 2370773"/>
                <a:gd name="connsiteY1608" fmla="*/ 1223962 h 1940242"/>
                <a:gd name="connsiteX1609" fmla="*/ 2298383 w 2370773"/>
                <a:gd name="connsiteY1609" fmla="*/ 1221104 h 1940242"/>
                <a:gd name="connsiteX1610" fmla="*/ 1861185 w 2370773"/>
                <a:gd name="connsiteY1610" fmla="*/ 1221104 h 1940242"/>
                <a:gd name="connsiteX1611" fmla="*/ 1864043 w 2370773"/>
                <a:gd name="connsiteY1611" fmla="*/ 1223962 h 1940242"/>
                <a:gd name="connsiteX1612" fmla="*/ 1861185 w 2370773"/>
                <a:gd name="connsiteY1612" fmla="*/ 1226819 h 1940242"/>
                <a:gd name="connsiteX1613" fmla="*/ 1858328 w 2370773"/>
                <a:gd name="connsiteY1613" fmla="*/ 1223962 h 1940242"/>
                <a:gd name="connsiteX1614" fmla="*/ 1861185 w 2370773"/>
                <a:gd name="connsiteY1614" fmla="*/ 1221104 h 1940242"/>
                <a:gd name="connsiteX1615" fmla="*/ 474345 w 2370773"/>
                <a:gd name="connsiteY1615" fmla="*/ 1219200 h 1940242"/>
                <a:gd name="connsiteX1616" fmla="*/ 490537 w 2370773"/>
                <a:gd name="connsiteY1616" fmla="*/ 1235392 h 1940242"/>
                <a:gd name="connsiteX1617" fmla="*/ 474345 w 2370773"/>
                <a:gd name="connsiteY1617" fmla="*/ 1251585 h 1940242"/>
                <a:gd name="connsiteX1618" fmla="*/ 458152 w 2370773"/>
                <a:gd name="connsiteY1618" fmla="*/ 1235392 h 1940242"/>
                <a:gd name="connsiteX1619" fmla="*/ 474345 w 2370773"/>
                <a:gd name="connsiteY1619" fmla="*/ 1219200 h 1940242"/>
                <a:gd name="connsiteX1620" fmla="*/ 1200150 w 2370773"/>
                <a:gd name="connsiteY1620" fmla="*/ 1218247 h 1940242"/>
                <a:gd name="connsiteX1621" fmla="*/ 1202055 w 2370773"/>
                <a:gd name="connsiteY1621" fmla="*/ 1220152 h 1940242"/>
                <a:gd name="connsiteX1622" fmla="*/ 1200150 w 2370773"/>
                <a:gd name="connsiteY1622" fmla="*/ 1222057 h 1940242"/>
                <a:gd name="connsiteX1623" fmla="*/ 1198245 w 2370773"/>
                <a:gd name="connsiteY1623" fmla="*/ 1220152 h 1940242"/>
                <a:gd name="connsiteX1624" fmla="*/ 1200150 w 2370773"/>
                <a:gd name="connsiteY1624" fmla="*/ 1218247 h 1940242"/>
                <a:gd name="connsiteX1625" fmla="*/ 850583 w 2370773"/>
                <a:gd name="connsiteY1625" fmla="*/ 1215390 h 1940242"/>
                <a:gd name="connsiteX1626" fmla="*/ 859155 w 2370773"/>
                <a:gd name="connsiteY1626" fmla="*/ 1223962 h 1940242"/>
                <a:gd name="connsiteX1627" fmla="*/ 850583 w 2370773"/>
                <a:gd name="connsiteY1627" fmla="*/ 1232535 h 1940242"/>
                <a:gd name="connsiteX1628" fmla="*/ 842010 w 2370773"/>
                <a:gd name="connsiteY1628" fmla="*/ 1223962 h 1940242"/>
                <a:gd name="connsiteX1629" fmla="*/ 850583 w 2370773"/>
                <a:gd name="connsiteY1629" fmla="*/ 1215390 h 1940242"/>
                <a:gd name="connsiteX1630" fmla="*/ 228600 w 2370773"/>
                <a:gd name="connsiteY1630" fmla="*/ 1213484 h 1940242"/>
                <a:gd name="connsiteX1631" fmla="*/ 243840 w 2370773"/>
                <a:gd name="connsiteY1631" fmla="*/ 1228724 h 1940242"/>
                <a:gd name="connsiteX1632" fmla="*/ 228600 w 2370773"/>
                <a:gd name="connsiteY1632" fmla="*/ 1243964 h 1940242"/>
                <a:gd name="connsiteX1633" fmla="*/ 213360 w 2370773"/>
                <a:gd name="connsiteY1633" fmla="*/ 1228724 h 1940242"/>
                <a:gd name="connsiteX1634" fmla="*/ 228600 w 2370773"/>
                <a:gd name="connsiteY1634" fmla="*/ 1213484 h 1940242"/>
                <a:gd name="connsiteX1635" fmla="*/ 1635443 w 2370773"/>
                <a:gd name="connsiteY1635" fmla="*/ 1212532 h 1940242"/>
                <a:gd name="connsiteX1636" fmla="*/ 1638300 w 2370773"/>
                <a:gd name="connsiteY1636" fmla="*/ 1215390 h 1940242"/>
                <a:gd name="connsiteX1637" fmla="*/ 1635443 w 2370773"/>
                <a:gd name="connsiteY1637" fmla="*/ 1218247 h 1940242"/>
                <a:gd name="connsiteX1638" fmla="*/ 1632585 w 2370773"/>
                <a:gd name="connsiteY1638" fmla="*/ 1215390 h 1940242"/>
                <a:gd name="connsiteX1639" fmla="*/ 1635443 w 2370773"/>
                <a:gd name="connsiteY1639" fmla="*/ 1212532 h 1940242"/>
                <a:gd name="connsiteX1640" fmla="*/ 1429702 w 2370773"/>
                <a:gd name="connsiteY1640" fmla="*/ 1212532 h 1940242"/>
                <a:gd name="connsiteX1641" fmla="*/ 1432560 w 2370773"/>
                <a:gd name="connsiteY1641" fmla="*/ 1215390 h 1940242"/>
                <a:gd name="connsiteX1642" fmla="*/ 1429702 w 2370773"/>
                <a:gd name="connsiteY1642" fmla="*/ 1218247 h 1940242"/>
                <a:gd name="connsiteX1643" fmla="*/ 1426845 w 2370773"/>
                <a:gd name="connsiteY1643" fmla="*/ 1215390 h 1940242"/>
                <a:gd name="connsiteX1644" fmla="*/ 1429702 w 2370773"/>
                <a:gd name="connsiteY1644" fmla="*/ 1212532 h 1940242"/>
                <a:gd name="connsiteX1645" fmla="*/ 740092 w 2370773"/>
                <a:gd name="connsiteY1645" fmla="*/ 1212532 h 1940242"/>
                <a:gd name="connsiteX1646" fmla="*/ 751522 w 2370773"/>
                <a:gd name="connsiteY1646" fmla="*/ 1223962 h 1940242"/>
                <a:gd name="connsiteX1647" fmla="*/ 740092 w 2370773"/>
                <a:gd name="connsiteY1647" fmla="*/ 1235392 h 1940242"/>
                <a:gd name="connsiteX1648" fmla="*/ 728662 w 2370773"/>
                <a:gd name="connsiteY1648" fmla="*/ 1223962 h 1940242"/>
                <a:gd name="connsiteX1649" fmla="*/ 740092 w 2370773"/>
                <a:gd name="connsiteY1649" fmla="*/ 1212532 h 1940242"/>
                <a:gd name="connsiteX1650" fmla="*/ 965835 w 2370773"/>
                <a:gd name="connsiteY1650" fmla="*/ 1211579 h 1940242"/>
                <a:gd name="connsiteX1651" fmla="*/ 969645 w 2370773"/>
                <a:gd name="connsiteY1651" fmla="*/ 1215389 h 1940242"/>
                <a:gd name="connsiteX1652" fmla="*/ 965835 w 2370773"/>
                <a:gd name="connsiteY1652" fmla="*/ 1219199 h 1940242"/>
                <a:gd name="connsiteX1653" fmla="*/ 962025 w 2370773"/>
                <a:gd name="connsiteY1653" fmla="*/ 1215389 h 1940242"/>
                <a:gd name="connsiteX1654" fmla="*/ 965835 w 2370773"/>
                <a:gd name="connsiteY1654" fmla="*/ 1211579 h 1940242"/>
                <a:gd name="connsiteX1655" fmla="*/ 2222183 w 2370773"/>
                <a:gd name="connsiteY1655" fmla="*/ 1206817 h 1940242"/>
                <a:gd name="connsiteX1656" fmla="*/ 2233613 w 2370773"/>
                <a:gd name="connsiteY1656" fmla="*/ 1218247 h 1940242"/>
                <a:gd name="connsiteX1657" fmla="*/ 2222183 w 2370773"/>
                <a:gd name="connsiteY1657" fmla="*/ 1229677 h 1940242"/>
                <a:gd name="connsiteX1658" fmla="*/ 2210753 w 2370773"/>
                <a:gd name="connsiteY1658" fmla="*/ 1218247 h 1940242"/>
                <a:gd name="connsiteX1659" fmla="*/ 2222183 w 2370773"/>
                <a:gd name="connsiteY1659" fmla="*/ 1206817 h 1940242"/>
                <a:gd name="connsiteX1660" fmla="*/ 1143000 w 2370773"/>
                <a:gd name="connsiteY1660" fmla="*/ 1206817 h 1940242"/>
                <a:gd name="connsiteX1661" fmla="*/ 1145857 w 2370773"/>
                <a:gd name="connsiteY1661" fmla="*/ 1209675 h 1940242"/>
                <a:gd name="connsiteX1662" fmla="*/ 1143000 w 2370773"/>
                <a:gd name="connsiteY1662" fmla="*/ 1212532 h 1940242"/>
                <a:gd name="connsiteX1663" fmla="*/ 1140142 w 2370773"/>
                <a:gd name="connsiteY1663" fmla="*/ 1209675 h 1940242"/>
                <a:gd name="connsiteX1664" fmla="*/ 1143000 w 2370773"/>
                <a:gd name="connsiteY1664" fmla="*/ 1206817 h 1940242"/>
                <a:gd name="connsiteX1665" fmla="*/ 1775460 w 2370773"/>
                <a:gd name="connsiteY1665" fmla="*/ 1204912 h 1940242"/>
                <a:gd name="connsiteX1666" fmla="*/ 1779270 w 2370773"/>
                <a:gd name="connsiteY1666" fmla="*/ 1208722 h 1940242"/>
                <a:gd name="connsiteX1667" fmla="*/ 1775460 w 2370773"/>
                <a:gd name="connsiteY1667" fmla="*/ 1212532 h 1940242"/>
                <a:gd name="connsiteX1668" fmla="*/ 1771650 w 2370773"/>
                <a:gd name="connsiteY1668" fmla="*/ 1208722 h 1940242"/>
                <a:gd name="connsiteX1669" fmla="*/ 1775460 w 2370773"/>
                <a:gd name="connsiteY1669" fmla="*/ 1204912 h 1940242"/>
                <a:gd name="connsiteX1670" fmla="*/ 2145030 w 2370773"/>
                <a:gd name="connsiteY1670" fmla="*/ 1203959 h 1940242"/>
                <a:gd name="connsiteX1671" fmla="*/ 2153603 w 2370773"/>
                <a:gd name="connsiteY1671" fmla="*/ 1212532 h 1940242"/>
                <a:gd name="connsiteX1672" fmla="*/ 2145030 w 2370773"/>
                <a:gd name="connsiteY1672" fmla="*/ 1221104 h 1940242"/>
                <a:gd name="connsiteX1673" fmla="*/ 2136458 w 2370773"/>
                <a:gd name="connsiteY1673" fmla="*/ 1212532 h 1940242"/>
                <a:gd name="connsiteX1674" fmla="*/ 2145030 w 2370773"/>
                <a:gd name="connsiteY1674" fmla="*/ 1203959 h 1940242"/>
                <a:gd name="connsiteX1675" fmla="*/ 1485900 w 2370773"/>
                <a:gd name="connsiteY1675" fmla="*/ 1201102 h 1940242"/>
                <a:gd name="connsiteX1676" fmla="*/ 1487805 w 2370773"/>
                <a:gd name="connsiteY1676" fmla="*/ 1203007 h 1940242"/>
                <a:gd name="connsiteX1677" fmla="*/ 1485900 w 2370773"/>
                <a:gd name="connsiteY1677" fmla="*/ 1204912 h 1940242"/>
                <a:gd name="connsiteX1678" fmla="*/ 1483995 w 2370773"/>
                <a:gd name="connsiteY1678" fmla="*/ 1203007 h 1940242"/>
                <a:gd name="connsiteX1679" fmla="*/ 1485900 w 2370773"/>
                <a:gd name="connsiteY1679" fmla="*/ 1201102 h 1940242"/>
                <a:gd name="connsiteX1680" fmla="*/ 634365 w 2370773"/>
                <a:gd name="connsiteY1680" fmla="*/ 1201102 h 1940242"/>
                <a:gd name="connsiteX1681" fmla="*/ 650558 w 2370773"/>
                <a:gd name="connsiteY1681" fmla="*/ 1217294 h 1940242"/>
                <a:gd name="connsiteX1682" fmla="*/ 634365 w 2370773"/>
                <a:gd name="connsiteY1682" fmla="*/ 1233487 h 1940242"/>
                <a:gd name="connsiteX1683" fmla="*/ 618173 w 2370773"/>
                <a:gd name="connsiteY1683" fmla="*/ 1217294 h 1940242"/>
                <a:gd name="connsiteX1684" fmla="*/ 634365 w 2370773"/>
                <a:gd name="connsiteY1684" fmla="*/ 1201102 h 1940242"/>
                <a:gd name="connsiteX1685" fmla="*/ 2066925 w 2370773"/>
                <a:gd name="connsiteY1685" fmla="*/ 1200150 h 1940242"/>
                <a:gd name="connsiteX1686" fmla="*/ 2072640 w 2370773"/>
                <a:gd name="connsiteY1686" fmla="*/ 1205865 h 1940242"/>
                <a:gd name="connsiteX1687" fmla="*/ 2066925 w 2370773"/>
                <a:gd name="connsiteY1687" fmla="*/ 1211580 h 1940242"/>
                <a:gd name="connsiteX1688" fmla="*/ 2061210 w 2370773"/>
                <a:gd name="connsiteY1688" fmla="*/ 1205865 h 1940242"/>
                <a:gd name="connsiteX1689" fmla="*/ 2066925 w 2370773"/>
                <a:gd name="connsiteY1689" fmla="*/ 1200150 h 1940242"/>
                <a:gd name="connsiteX1690" fmla="*/ 379095 w 2370773"/>
                <a:gd name="connsiteY1690" fmla="*/ 1199197 h 1940242"/>
                <a:gd name="connsiteX1691" fmla="*/ 399098 w 2370773"/>
                <a:gd name="connsiteY1691" fmla="*/ 1219200 h 1940242"/>
                <a:gd name="connsiteX1692" fmla="*/ 379095 w 2370773"/>
                <a:gd name="connsiteY1692" fmla="*/ 1239202 h 1940242"/>
                <a:gd name="connsiteX1693" fmla="*/ 359093 w 2370773"/>
                <a:gd name="connsiteY1693" fmla="*/ 1219200 h 1940242"/>
                <a:gd name="connsiteX1694" fmla="*/ 379095 w 2370773"/>
                <a:gd name="connsiteY1694" fmla="*/ 1199197 h 1940242"/>
                <a:gd name="connsiteX1695" fmla="*/ 139065 w 2370773"/>
                <a:gd name="connsiteY1695" fmla="*/ 1195387 h 1940242"/>
                <a:gd name="connsiteX1696" fmla="*/ 151447 w 2370773"/>
                <a:gd name="connsiteY1696" fmla="*/ 1207770 h 1940242"/>
                <a:gd name="connsiteX1697" fmla="*/ 139065 w 2370773"/>
                <a:gd name="connsiteY1697" fmla="*/ 1220152 h 1940242"/>
                <a:gd name="connsiteX1698" fmla="*/ 126682 w 2370773"/>
                <a:gd name="connsiteY1698" fmla="*/ 1207770 h 1940242"/>
                <a:gd name="connsiteX1699" fmla="*/ 139065 w 2370773"/>
                <a:gd name="connsiteY1699" fmla="*/ 1195387 h 1940242"/>
                <a:gd name="connsiteX1700" fmla="*/ 1986916 w 2370773"/>
                <a:gd name="connsiteY1700" fmla="*/ 1194434 h 1940242"/>
                <a:gd name="connsiteX1701" fmla="*/ 1989773 w 2370773"/>
                <a:gd name="connsiteY1701" fmla="*/ 1197292 h 1940242"/>
                <a:gd name="connsiteX1702" fmla="*/ 1986916 w 2370773"/>
                <a:gd name="connsiteY1702" fmla="*/ 1200149 h 1940242"/>
                <a:gd name="connsiteX1703" fmla="*/ 1984058 w 2370773"/>
                <a:gd name="connsiteY1703" fmla="*/ 1197292 h 1940242"/>
                <a:gd name="connsiteX1704" fmla="*/ 1986916 w 2370773"/>
                <a:gd name="connsiteY1704" fmla="*/ 1194434 h 1940242"/>
                <a:gd name="connsiteX1705" fmla="*/ 1087755 w 2370773"/>
                <a:gd name="connsiteY1705" fmla="*/ 1190625 h 1940242"/>
                <a:gd name="connsiteX1706" fmla="*/ 1091565 w 2370773"/>
                <a:gd name="connsiteY1706" fmla="*/ 1194435 h 1940242"/>
                <a:gd name="connsiteX1707" fmla="*/ 1087755 w 2370773"/>
                <a:gd name="connsiteY1707" fmla="*/ 1198245 h 1940242"/>
                <a:gd name="connsiteX1708" fmla="*/ 1083945 w 2370773"/>
                <a:gd name="connsiteY1708" fmla="*/ 1194435 h 1940242"/>
                <a:gd name="connsiteX1709" fmla="*/ 1087755 w 2370773"/>
                <a:gd name="connsiteY1709" fmla="*/ 1190625 h 1940242"/>
                <a:gd name="connsiteX1710" fmla="*/ 534352 w 2370773"/>
                <a:gd name="connsiteY1710" fmla="*/ 1186815 h 1940242"/>
                <a:gd name="connsiteX1711" fmla="*/ 552450 w 2370773"/>
                <a:gd name="connsiteY1711" fmla="*/ 1204912 h 1940242"/>
                <a:gd name="connsiteX1712" fmla="*/ 534352 w 2370773"/>
                <a:gd name="connsiteY1712" fmla="*/ 1223010 h 1940242"/>
                <a:gd name="connsiteX1713" fmla="*/ 516255 w 2370773"/>
                <a:gd name="connsiteY1713" fmla="*/ 1204912 h 1940242"/>
                <a:gd name="connsiteX1714" fmla="*/ 534352 w 2370773"/>
                <a:gd name="connsiteY1714" fmla="*/ 1186815 h 1940242"/>
                <a:gd name="connsiteX1715" fmla="*/ 1541145 w 2370773"/>
                <a:gd name="connsiteY1715" fmla="*/ 1183957 h 1940242"/>
                <a:gd name="connsiteX1716" fmla="*/ 1543050 w 2370773"/>
                <a:gd name="connsiteY1716" fmla="*/ 1185862 h 1940242"/>
                <a:gd name="connsiteX1717" fmla="*/ 1541145 w 2370773"/>
                <a:gd name="connsiteY1717" fmla="*/ 1187767 h 1940242"/>
                <a:gd name="connsiteX1718" fmla="*/ 1539240 w 2370773"/>
                <a:gd name="connsiteY1718" fmla="*/ 1185862 h 1940242"/>
                <a:gd name="connsiteX1719" fmla="*/ 1541145 w 2370773"/>
                <a:gd name="connsiteY1719" fmla="*/ 1183957 h 1940242"/>
                <a:gd name="connsiteX1720" fmla="*/ 1905000 w 2370773"/>
                <a:gd name="connsiteY1720" fmla="*/ 1183004 h 1940242"/>
                <a:gd name="connsiteX1721" fmla="*/ 1908810 w 2370773"/>
                <a:gd name="connsiteY1721" fmla="*/ 1186814 h 1940242"/>
                <a:gd name="connsiteX1722" fmla="*/ 1905000 w 2370773"/>
                <a:gd name="connsiteY1722" fmla="*/ 1190624 h 1940242"/>
                <a:gd name="connsiteX1723" fmla="*/ 1901190 w 2370773"/>
                <a:gd name="connsiteY1723" fmla="*/ 1186814 h 1940242"/>
                <a:gd name="connsiteX1724" fmla="*/ 1905000 w 2370773"/>
                <a:gd name="connsiteY1724" fmla="*/ 1183004 h 1940242"/>
                <a:gd name="connsiteX1725" fmla="*/ 1685926 w 2370773"/>
                <a:gd name="connsiteY1725" fmla="*/ 1183004 h 1940242"/>
                <a:gd name="connsiteX1726" fmla="*/ 1690688 w 2370773"/>
                <a:gd name="connsiteY1726" fmla="*/ 1187767 h 1940242"/>
                <a:gd name="connsiteX1727" fmla="*/ 1685926 w 2370773"/>
                <a:gd name="connsiteY1727" fmla="*/ 1192529 h 1940242"/>
                <a:gd name="connsiteX1728" fmla="*/ 1681163 w 2370773"/>
                <a:gd name="connsiteY1728" fmla="*/ 1187767 h 1940242"/>
                <a:gd name="connsiteX1729" fmla="*/ 1685926 w 2370773"/>
                <a:gd name="connsiteY1729" fmla="*/ 1183004 h 1940242"/>
                <a:gd name="connsiteX1730" fmla="*/ 915353 w 2370773"/>
                <a:gd name="connsiteY1730" fmla="*/ 1182052 h 1940242"/>
                <a:gd name="connsiteX1731" fmla="*/ 921068 w 2370773"/>
                <a:gd name="connsiteY1731" fmla="*/ 1187767 h 1940242"/>
                <a:gd name="connsiteX1732" fmla="*/ 915353 w 2370773"/>
                <a:gd name="connsiteY1732" fmla="*/ 1193482 h 1940242"/>
                <a:gd name="connsiteX1733" fmla="*/ 909638 w 2370773"/>
                <a:gd name="connsiteY1733" fmla="*/ 1187767 h 1940242"/>
                <a:gd name="connsiteX1734" fmla="*/ 915353 w 2370773"/>
                <a:gd name="connsiteY1734" fmla="*/ 1182052 h 1940242"/>
                <a:gd name="connsiteX1735" fmla="*/ 802958 w 2370773"/>
                <a:gd name="connsiteY1735" fmla="*/ 1180147 h 1940242"/>
                <a:gd name="connsiteX1736" fmla="*/ 813435 w 2370773"/>
                <a:gd name="connsiteY1736" fmla="*/ 1190625 h 1940242"/>
                <a:gd name="connsiteX1737" fmla="*/ 802958 w 2370773"/>
                <a:gd name="connsiteY1737" fmla="*/ 1201102 h 1940242"/>
                <a:gd name="connsiteX1738" fmla="*/ 792480 w 2370773"/>
                <a:gd name="connsiteY1738" fmla="*/ 1190625 h 1940242"/>
                <a:gd name="connsiteX1739" fmla="*/ 802958 w 2370773"/>
                <a:gd name="connsiteY1739" fmla="*/ 1180147 h 1940242"/>
                <a:gd name="connsiteX1740" fmla="*/ 286702 w 2370773"/>
                <a:gd name="connsiteY1740" fmla="*/ 1180147 h 1940242"/>
                <a:gd name="connsiteX1741" fmla="*/ 306705 w 2370773"/>
                <a:gd name="connsiteY1741" fmla="*/ 1200150 h 1940242"/>
                <a:gd name="connsiteX1742" fmla="*/ 286702 w 2370773"/>
                <a:gd name="connsiteY1742" fmla="*/ 1220152 h 1940242"/>
                <a:gd name="connsiteX1743" fmla="*/ 266700 w 2370773"/>
                <a:gd name="connsiteY1743" fmla="*/ 1200150 h 1940242"/>
                <a:gd name="connsiteX1744" fmla="*/ 286702 w 2370773"/>
                <a:gd name="connsiteY1744" fmla="*/ 1180147 h 1940242"/>
                <a:gd name="connsiteX1745" fmla="*/ 696277 w 2370773"/>
                <a:gd name="connsiteY1745" fmla="*/ 1174432 h 1940242"/>
                <a:gd name="connsiteX1746" fmla="*/ 708660 w 2370773"/>
                <a:gd name="connsiteY1746" fmla="*/ 1186815 h 1940242"/>
                <a:gd name="connsiteX1747" fmla="*/ 696277 w 2370773"/>
                <a:gd name="connsiteY1747" fmla="*/ 1199197 h 1940242"/>
                <a:gd name="connsiteX1748" fmla="*/ 683895 w 2370773"/>
                <a:gd name="connsiteY1748" fmla="*/ 1186815 h 1940242"/>
                <a:gd name="connsiteX1749" fmla="*/ 696277 w 2370773"/>
                <a:gd name="connsiteY1749" fmla="*/ 1174432 h 1940242"/>
                <a:gd name="connsiteX1750" fmla="*/ 438150 w 2370773"/>
                <a:gd name="connsiteY1750" fmla="*/ 1172527 h 1940242"/>
                <a:gd name="connsiteX1751" fmla="*/ 456247 w 2370773"/>
                <a:gd name="connsiteY1751" fmla="*/ 1190624 h 1940242"/>
                <a:gd name="connsiteX1752" fmla="*/ 438150 w 2370773"/>
                <a:gd name="connsiteY1752" fmla="*/ 1208722 h 1940242"/>
                <a:gd name="connsiteX1753" fmla="*/ 420052 w 2370773"/>
                <a:gd name="connsiteY1753" fmla="*/ 1190624 h 1940242"/>
                <a:gd name="connsiteX1754" fmla="*/ 438150 w 2370773"/>
                <a:gd name="connsiteY1754" fmla="*/ 1172527 h 1940242"/>
                <a:gd name="connsiteX1755" fmla="*/ 1033462 w 2370773"/>
                <a:gd name="connsiteY1755" fmla="*/ 1171575 h 1940242"/>
                <a:gd name="connsiteX1756" fmla="*/ 1037272 w 2370773"/>
                <a:gd name="connsiteY1756" fmla="*/ 1175385 h 1940242"/>
                <a:gd name="connsiteX1757" fmla="*/ 1033462 w 2370773"/>
                <a:gd name="connsiteY1757" fmla="*/ 1179195 h 1940242"/>
                <a:gd name="connsiteX1758" fmla="*/ 1029652 w 2370773"/>
                <a:gd name="connsiteY1758" fmla="*/ 1175385 h 1940242"/>
                <a:gd name="connsiteX1759" fmla="*/ 1033462 w 2370773"/>
                <a:gd name="connsiteY1759" fmla="*/ 1171575 h 1940242"/>
                <a:gd name="connsiteX1760" fmla="*/ 1821180 w 2370773"/>
                <a:gd name="connsiteY1760" fmla="*/ 1170622 h 1940242"/>
                <a:gd name="connsiteX1761" fmla="*/ 1824037 w 2370773"/>
                <a:gd name="connsiteY1761" fmla="*/ 1173480 h 1940242"/>
                <a:gd name="connsiteX1762" fmla="*/ 1821180 w 2370773"/>
                <a:gd name="connsiteY1762" fmla="*/ 1176337 h 1940242"/>
                <a:gd name="connsiteX1763" fmla="*/ 1818322 w 2370773"/>
                <a:gd name="connsiteY1763" fmla="*/ 1173480 h 1940242"/>
                <a:gd name="connsiteX1764" fmla="*/ 1821180 w 2370773"/>
                <a:gd name="connsiteY1764" fmla="*/ 1170622 h 1940242"/>
                <a:gd name="connsiteX1765" fmla="*/ 2256472 w 2370773"/>
                <a:gd name="connsiteY1765" fmla="*/ 1168717 h 1940242"/>
                <a:gd name="connsiteX1766" fmla="*/ 2259330 w 2370773"/>
                <a:gd name="connsiteY1766" fmla="*/ 1171575 h 1940242"/>
                <a:gd name="connsiteX1767" fmla="*/ 2256472 w 2370773"/>
                <a:gd name="connsiteY1767" fmla="*/ 1174432 h 1940242"/>
                <a:gd name="connsiteX1768" fmla="*/ 2253615 w 2370773"/>
                <a:gd name="connsiteY1768" fmla="*/ 1171575 h 1940242"/>
                <a:gd name="connsiteX1769" fmla="*/ 2256472 w 2370773"/>
                <a:gd name="connsiteY1769" fmla="*/ 1168717 h 1940242"/>
                <a:gd name="connsiteX1770" fmla="*/ 197168 w 2370773"/>
                <a:gd name="connsiteY1770" fmla="*/ 1163954 h 1940242"/>
                <a:gd name="connsiteX1771" fmla="*/ 212408 w 2370773"/>
                <a:gd name="connsiteY1771" fmla="*/ 1179194 h 1940242"/>
                <a:gd name="connsiteX1772" fmla="*/ 197168 w 2370773"/>
                <a:gd name="connsiteY1772" fmla="*/ 1194434 h 1940242"/>
                <a:gd name="connsiteX1773" fmla="*/ 181928 w 2370773"/>
                <a:gd name="connsiteY1773" fmla="*/ 1179194 h 1940242"/>
                <a:gd name="connsiteX1774" fmla="*/ 197168 w 2370773"/>
                <a:gd name="connsiteY1774" fmla="*/ 1163954 h 1940242"/>
                <a:gd name="connsiteX1775" fmla="*/ 2180273 w 2370773"/>
                <a:gd name="connsiteY1775" fmla="*/ 1161097 h 1940242"/>
                <a:gd name="connsiteX1776" fmla="*/ 2185988 w 2370773"/>
                <a:gd name="connsiteY1776" fmla="*/ 1166812 h 1940242"/>
                <a:gd name="connsiteX1777" fmla="*/ 2180273 w 2370773"/>
                <a:gd name="connsiteY1777" fmla="*/ 1172527 h 1940242"/>
                <a:gd name="connsiteX1778" fmla="*/ 2174558 w 2370773"/>
                <a:gd name="connsiteY1778" fmla="*/ 1166812 h 1940242"/>
                <a:gd name="connsiteX1779" fmla="*/ 2180273 w 2370773"/>
                <a:gd name="connsiteY1779" fmla="*/ 1161097 h 1940242"/>
                <a:gd name="connsiteX1780" fmla="*/ 594360 w 2370773"/>
                <a:gd name="connsiteY1780" fmla="*/ 1159192 h 1940242"/>
                <a:gd name="connsiteX1781" fmla="*/ 610552 w 2370773"/>
                <a:gd name="connsiteY1781" fmla="*/ 1175384 h 1940242"/>
                <a:gd name="connsiteX1782" fmla="*/ 594360 w 2370773"/>
                <a:gd name="connsiteY1782" fmla="*/ 1191577 h 1940242"/>
                <a:gd name="connsiteX1783" fmla="*/ 578167 w 2370773"/>
                <a:gd name="connsiteY1783" fmla="*/ 1175384 h 1940242"/>
                <a:gd name="connsiteX1784" fmla="*/ 594360 w 2370773"/>
                <a:gd name="connsiteY1784" fmla="*/ 1159192 h 1940242"/>
                <a:gd name="connsiteX1785" fmla="*/ 2104073 w 2370773"/>
                <a:gd name="connsiteY1785" fmla="*/ 1157287 h 1940242"/>
                <a:gd name="connsiteX1786" fmla="*/ 2107883 w 2370773"/>
                <a:gd name="connsiteY1786" fmla="*/ 1161097 h 1940242"/>
                <a:gd name="connsiteX1787" fmla="*/ 2104073 w 2370773"/>
                <a:gd name="connsiteY1787" fmla="*/ 1164907 h 1940242"/>
                <a:gd name="connsiteX1788" fmla="*/ 2100263 w 2370773"/>
                <a:gd name="connsiteY1788" fmla="*/ 1161097 h 1940242"/>
                <a:gd name="connsiteX1789" fmla="*/ 2104073 w 2370773"/>
                <a:gd name="connsiteY1789" fmla="*/ 1157287 h 1940242"/>
                <a:gd name="connsiteX1790" fmla="*/ 1734503 w 2370773"/>
                <a:gd name="connsiteY1790" fmla="*/ 1157287 h 1940242"/>
                <a:gd name="connsiteX1791" fmla="*/ 1735455 w 2370773"/>
                <a:gd name="connsiteY1791" fmla="*/ 1158240 h 1940242"/>
                <a:gd name="connsiteX1792" fmla="*/ 1734503 w 2370773"/>
                <a:gd name="connsiteY1792" fmla="*/ 1159192 h 1940242"/>
                <a:gd name="connsiteX1793" fmla="*/ 1733550 w 2370773"/>
                <a:gd name="connsiteY1793" fmla="*/ 1158240 h 1940242"/>
                <a:gd name="connsiteX1794" fmla="*/ 1734503 w 2370773"/>
                <a:gd name="connsiteY1794" fmla="*/ 1157287 h 1940242"/>
                <a:gd name="connsiteX1795" fmla="*/ 1386840 w 2370773"/>
                <a:gd name="connsiteY1795" fmla="*/ 1156335 h 1940242"/>
                <a:gd name="connsiteX1796" fmla="*/ 1387793 w 2370773"/>
                <a:gd name="connsiteY1796" fmla="*/ 1157288 h 1940242"/>
                <a:gd name="connsiteX1797" fmla="*/ 1386840 w 2370773"/>
                <a:gd name="connsiteY1797" fmla="*/ 1158240 h 1940242"/>
                <a:gd name="connsiteX1798" fmla="*/ 1385888 w 2370773"/>
                <a:gd name="connsiteY1798" fmla="*/ 1157288 h 1940242"/>
                <a:gd name="connsiteX1799" fmla="*/ 1386840 w 2370773"/>
                <a:gd name="connsiteY1799" fmla="*/ 1156335 h 1940242"/>
                <a:gd name="connsiteX1800" fmla="*/ 865823 w 2370773"/>
                <a:gd name="connsiteY1800" fmla="*/ 1153477 h 1940242"/>
                <a:gd name="connsiteX1801" fmla="*/ 869633 w 2370773"/>
                <a:gd name="connsiteY1801" fmla="*/ 1157287 h 1940242"/>
                <a:gd name="connsiteX1802" fmla="*/ 865823 w 2370773"/>
                <a:gd name="connsiteY1802" fmla="*/ 1161097 h 1940242"/>
                <a:gd name="connsiteX1803" fmla="*/ 862013 w 2370773"/>
                <a:gd name="connsiteY1803" fmla="*/ 1157287 h 1940242"/>
                <a:gd name="connsiteX1804" fmla="*/ 865823 w 2370773"/>
                <a:gd name="connsiteY1804" fmla="*/ 1153477 h 1940242"/>
                <a:gd name="connsiteX1805" fmla="*/ 111442 w 2370773"/>
                <a:gd name="connsiteY1805" fmla="*/ 1153477 h 1940242"/>
                <a:gd name="connsiteX1806" fmla="*/ 115252 w 2370773"/>
                <a:gd name="connsiteY1806" fmla="*/ 1157287 h 1940242"/>
                <a:gd name="connsiteX1807" fmla="*/ 111442 w 2370773"/>
                <a:gd name="connsiteY1807" fmla="*/ 1161097 h 1940242"/>
                <a:gd name="connsiteX1808" fmla="*/ 107632 w 2370773"/>
                <a:gd name="connsiteY1808" fmla="*/ 1157287 h 1940242"/>
                <a:gd name="connsiteX1809" fmla="*/ 111442 w 2370773"/>
                <a:gd name="connsiteY1809" fmla="*/ 1153477 h 1940242"/>
                <a:gd name="connsiteX1810" fmla="*/ 2025968 w 2370773"/>
                <a:gd name="connsiteY1810" fmla="*/ 1152525 h 1940242"/>
                <a:gd name="connsiteX1811" fmla="*/ 2028825 w 2370773"/>
                <a:gd name="connsiteY1811" fmla="*/ 1155383 h 1940242"/>
                <a:gd name="connsiteX1812" fmla="*/ 2025968 w 2370773"/>
                <a:gd name="connsiteY1812" fmla="*/ 1158240 h 1940242"/>
                <a:gd name="connsiteX1813" fmla="*/ 2023110 w 2370773"/>
                <a:gd name="connsiteY1813" fmla="*/ 1155383 h 1940242"/>
                <a:gd name="connsiteX1814" fmla="*/ 2025968 w 2370773"/>
                <a:gd name="connsiteY1814" fmla="*/ 1152525 h 1940242"/>
                <a:gd name="connsiteX1815" fmla="*/ 344805 w 2370773"/>
                <a:gd name="connsiteY1815" fmla="*/ 1151572 h 1940242"/>
                <a:gd name="connsiteX1816" fmla="*/ 364807 w 2370773"/>
                <a:gd name="connsiteY1816" fmla="*/ 1171575 h 1940242"/>
                <a:gd name="connsiteX1817" fmla="*/ 344805 w 2370773"/>
                <a:gd name="connsiteY1817" fmla="*/ 1191577 h 1940242"/>
                <a:gd name="connsiteX1818" fmla="*/ 324802 w 2370773"/>
                <a:gd name="connsiteY1818" fmla="*/ 1171575 h 1940242"/>
                <a:gd name="connsiteX1819" fmla="*/ 344805 w 2370773"/>
                <a:gd name="connsiteY1819" fmla="*/ 1151572 h 1940242"/>
                <a:gd name="connsiteX1820" fmla="*/ 981075 w 2370773"/>
                <a:gd name="connsiteY1820" fmla="*/ 1149667 h 1940242"/>
                <a:gd name="connsiteX1821" fmla="*/ 982980 w 2370773"/>
                <a:gd name="connsiteY1821" fmla="*/ 1151572 h 1940242"/>
                <a:gd name="connsiteX1822" fmla="*/ 981075 w 2370773"/>
                <a:gd name="connsiteY1822" fmla="*/ 1153477 h 1940242"/>
                <a:gd name="connsiteX1823" fmla="*/ 979170 w 2370773"/>
                <a:gd name="connsiteY1823" fmla="*/ 1151572 h 1940242"/>
                <a:gd name="connsiteX1824" fmla="*/ 981075 w 2370773"/>
                <a:gd name="connsiteY1824" fmla="*/ 1149667 h 1940242"/>
                <a:gd name="connsiteX1825" fmla="*/ 757238 w 2370773"/>
                <a:gd name="connsiteY1825" fmla="*/ 1149667 h 1940242"/>
                <a:gd name="connsiteX1826" fmla="*/ 762953 w 2370773"/>
                <a:gd name="connsiteY1826" fmla="*/ 1155382 h 1940242"/>
                <a:gd name="connsiteX1827" fmla="*/ 757238 w 2370773"/>
                <a:gd name="connsiteY1827" fmla="*/ 1161097 h 1940242"/>
                <a:gd name="connsiteX1828" fmla="*/ 751523 w 2370773"/>
                <a:gd name="connsiteY1828" fmla="*/ 1155382 h 1940242"/>
                <a:gd name="connsiteX1829" fmla="*/ 757238 w 2370773"/>
                <a:gd name="connsiteY1829" fmla="*/ 1149667 h 1940242"/>
                <a:gd name="connsiteX1830" fmla="*/ 497205 w 2370773"/>
                <a:gd name="connsiteY1830" fmla="*/ 1145857 h 1940242"/>
                <a:gd name="connsiteX1831" fmla="*/ 512445 w 2370773"/>
                <a:gd name="connsiteY1831" fmla="*/ 1161097 h 1940242"/>
                <a:gd name="connsiteX1832" fmla="*/ 497205 w 2370773"/>
                <a:gd name="connsiteY1832" fmla="*/ 1176337 h 1940242"/>
                <a:gd name="connsiteX1833" fmla="*/ 481965 w 2370773"/>
                <a:gd name="connsiteY1833" fmla="*/ 1161097 h 1940242"/>
                <a:gd name="connsiteX1834" fmla="*/ 497205 w 2370773"/>
                <a:gd name="connsiteY1834" fmla="*/ 1145857 h 1940242"/>
                <a:gd name="connsiteX1835" fmla="*/ 1946910 w 2370773"/>
                <a:gd name="connsiteY1835" fmla="*/ 1143000 h 1940242"/>
                <a:gd name="connsiteX1836" fmla="*/ 1949768 w 2370773"/>
                <a:gd name="connsiteY1836" fmla="*/ 1145858 h 1940242"/>
                <a:gd name="connsiteX1837" fmla="*/ 1946910 w 2370773"/>
                <a:gd name="connsiteY1837" fmla="*/ 1148715 h 1940242"/>
                <a:gd name="connsiteX1838" fmla="*/ 1944053 w 2370773"/>
                <a:gd name="connsiteY1838" fmla="*/ 1145858 h 1940242"/>
                <a:gd name="connsiteX1839" fmla="*/ 1946910 w 2370773"/>
                <a:gd name="connsiteY1839" fmla="*/ 1143000 h 1940242"/>
                <a:gd name="connsiteX1840" fmla="*/ 255270 w 2370773"/>
                <a:gd name="connsiteY1840" fmla="*/ 1138237 h 1940242"/>
                <a:gd name="connsiteX1841" fmla="*/ 269557 w 2370773"/>
                <a:gd name="connsiteY1841" fmla="*/ 1152525 h 1940242"/>
                <a:gd name="connsiteX1842" fmla="*/ 255270 w 2370773"/>
                <a:gd name="connsiteY1842" fmla="*/ 1166812 h 1940242"/>
                <a:gd name="connsiteX1843" fmla="*/ 240982 w 2370773"/>
                <a:gd name="connsiteY1843" fmla="*/ 1152525 h 1940242"/>
                <a:gd name="connsiteX1844" fmla="*/ 255270 w 2370773"/>
                <a:gd name="connsiteY1844" fmla="*/ 1138237 h 1940242"/>
                <a:gd name="connsiteX1845" fmla="*/ 1645920 w 2370773"/>
                <a:gd name="connsiteY1845" fmla="*/ 1137284 h 1940242"/>
                <a:gd name="connsiteX1846" fmla="*/ 1646872 w 2370773"/>
                <a:gd name="connsiteY1846" fmla="*/ 1138237 h 1940242"/>
                <a:gd name="connsiteX1847" fmla="*/ 1645920 w 2370773"/>
                <a:gd name="connsiteY1847" fmla="*/ 1139189 h 1940242"/>
                <a:gd name="connsiteX1848" fmla="*/ 1644967 w 2370773"/>
                <a:gd name="connsiteY1848" fmla="*/ 1138237 h 1940242"/>
                <a:gd name="connsiteX1849" fmla="*/ 1645920 w 2370773"/>
                <a:gd name="connsiteY1849" fmla="*/ 1137284 h 1940242"/>
                <a:gd name="connsiteX1850" fmla="*/ 654367 w 2370773"/>
                <a:gd name="connsiteY1850" fmla="*/ 1137284 h 1940242"/>
                <a:gd name="connsiteX1851" fmla="*/ 662940 w 2370773"/>
                <a:gd name="connsiteY1851" fmla="*/ 1145857 h 1940242"/>
                <a:gd name="connsiteX1852" fmla="*/ 654367 w 2370773"/>
                <a:gd name="connsiteY1852" fmla="*/ 1154429 h 1940242"/>
                <a:gd name="connsiteX1853" fmla="*/ 645795 w 2370773"/>
                <a:gd name="connsiteY1853" fmla="*/ 1145857 h 1940242"/>
                <a:gd name="connsiteX1854" fmla="*/ 654367 w 2370773"/>
                <a:gd name="connsiteY1854" fmla="*/ 1137284 h 1940242"/>
                <a:gd name="connsiteX1855" fmla="*/ 1864995 w 2370773"/>
                <a:gd name="connsiteY1855" fmla="*/ 1135379 h 1940242"/>
                <a:gd name="connsiteX1856" fmla="*/ 1865947 w 2370773"/>
                <a:gd name="connsiteY1856" fmla="*/ 1136332 h 1940242"/>
                <a:gd name="connsiteX1857" fmla="*/ 1864995 w 2370773"/>
                <a:gd name="connsiteY1857" fmla="*/ 1137284 h 1940242"/>
                <a:gd name="connsiteX1858" fmla="*/ 1864042 w 2370773"/>
                <a:gd name="connsiteY1858" fmla="*/ 1136332 h 1940242"/>
                <a:gd name="connsiteX1859" fmla="*/ 1864995 w 2370773"/>
                <a:gd name="connsiteY1859" fmla="*/ 1135379 h 1940242"/>
                <a:gd name="connsiteX1860" fmla="*/ 403861 w 2370773"/>
                <a:gd name="connsiteY1860" fmla="*/ 1126807 h 1940242"/>
                <a:gd name="connsiteX1861" fmla="*/ 420053 w 2370773"/>
                <a:gd name="connsiteY1861" fmla="*/ 1142999 h 1940242"/>
                <a:gd name="connsiteX1862" fmla="*/ 403861 w 2370773"/>
                <a:gd name="connsiteY1862" fmla="*/ 1159192 h 1940242"/>
                <a:gd name="connsiteX1863" fmla="*/ 387668 w 2370773"/>
                <a:gd name="connsiteY1863" fmla="*/ 1142999 h 1940242"/>
                <a:gd name="connsiteX1864" fmla="*/ 403861 w 2370773"/>
                <a:gd name="connsiteY1864" fmla="*/ 1126807 h 1940242"/>
                <a:gd name="connsiteX1865" fmla="*/ 1781175 w 2370773"/>
                <a:gd name="connsiteY1865" fmla="*/ 1122997 h 1940242"/>
                <a:gd name="connsiteX1866" fmla="*/ 1782127 w 2370773"/>
                <a:gd name="connsiteY1866" fmla="*/ 1123950 h 1940242"/>
                <a:gd name="connsiteX1867" fmla="*/ 1781175 w 2370773"/>
                <a:gd name="connsiteY1867" fmla="*/ 1124902 h 1940242"/>
                <a:gd name="connsiteX1868" fmla="*/ 1780222 w 2370773"/>
                <a:gd name="connsiteY1868" fmla="*/ 1123950 h 1940242"/>
                <a:gd name="connsiteX1869" fmla="*/ 1781175 w 2370773"/>
                <a:gd name="connsiteY1869" fmla="*/ 1122997 h 1940242"/>
                <a:gd name="connsiteX1870" fmla="*/ 556260 w 2370773"/>
                <a:gd name="connsiteY1870" fmla="*/ 1121092 h 1940242"/>
                <a:gd name="connsiteX1871" fmla="*/ 567690 w 2370773"/>
                <a:gd name="connsiteY1871" fmla="*/ 1132522 h 1940242"/>
                <a:gd name="connsiteX1872" fmla="*/ 556260 w 2370773"/>
                <a:gd name="connsiteY1872" fmla="*/ 1143952 h 1940242"/>
                <a:gd name="connsiteX1873" fmla="*/ 544830 w 2370773"/>
                <a:gd name="connsiteY1873" fmla="*/ 1132522 h 1940242"/>
                <a:gd name="connsiteX1874" fmla="*/ 556260 w 2370773"/>
                <a:gd name="connsiteY1874" fmla="*/ 1121092 h 1940242"/>
                <a:gd name="connsiteX1875" fmla="*/ 930592 w 2370773"/>
                <a:gd name="connsiteY1875" fmla="*/ 1120140 h 1940242"/>
                <a:gd name="connsiteX1876" fmla="*/ 933450 w 2370773"/>
                <a:gd name="connsiteY1876" fmla="*/ 1122997 h 1940242"/>
                <a:gd name="connsiteX1877" fmla="*/ 930592 w 2370773"/>
                <a:gd name="connsiteY1877" fmla="*/ 1125855 h 1940242"/>
                <a:gd name="connsiteX1878" fmla="*/ 927735 w 2370773"/>
                <a:gd name="connsiteY1878" fmla="*/ 1122997 h 1940242"/>
                <a:gd name="connsiteX1879" fmla="*/ 930592 w 2370773"/>
                <a:gd name="connsiteY1879" fmla="*/ 1120140 h 1940242"/>
                <a:gd name="connsiteX1880" fmla="*/ 820103 w 2370773"/>
                <a:gd name="connsiteY1880" fmla="*/ 1118234 h 1940242"/>
                <a:gd name="connsiteX1881" fmla="*/ 824865 w 2370773"/>
                <a:gd name="connsiteY1881" fmla="*/ 1122997 h 1940242"/>
                <a:gd name="connsiteX1882" fmla="*/ 820103 w 2370773"/>
                <a:gd name="connsiteY1882" fmla="*/ 1127759 h 1940242"/>
                <a:gd name="connsiteX1883" fmla="*/ 815340 w 2370773"/>
                <a:gd name="connsiteY1883" fmla="*/ 1122997 h 1940242"/>
                <a:gd name="connsiteX1884" fmla="*/ 820103 w 2370773"/>
                <a:gd name="connsiteY1884" fmla="*/ 1118234 h 1940242"/>
                <a:gd name="connsiteX1885" fmla="*/ 2286953 w 2370773"/>
                <a:gd name="connsiteY1885" fmla="*/ 1116329 h 1940242"/>
                <a:gd name="connsiteX1886" fmla="*/ 2293620 w 2370773"/>
                <a:gd name="connsiteY1886" fmla="*/ 1122996 h 1940242"/>
                <a:gd name="connsiteX1887" fmla="*/ 2286953 w 2370773"/>
                <a:gd name="connsiteY1887" fmla="*/ 1129664 h 1940242"/>
                <a:gd name="connsiteX1888" fmla="*/ 2280285 w 2370773"/>
                <a:gd name="connsiteY1888" fmla="*/ 1122996 h 1940242"/>
                <a:gd name="connsiteX1889" fmla="*/ 2286953 w 2370773"/>
                <a:gd name="connsiteY1889" fmla="*/ 1116329 h 1940242"/>
                <a:gd name="connsiteX1890" fmla="*/ 169545 w 2370773"/>
                <a:gd name="connsiteY1890" fmla="*/ 1116329 h 1940242"/>
                <a:gd name="connsiteX1891" fmla="*/ 182880 w 2370773"/>
                <a:gd name="connsiteY1891" fmla="*/ 1129664 h 1940242"/>
                <a:gd name="connsiteX1892" fmla="*/ 169545 w 2370773"/>
                <a:gd name="connsiteY1892" fmla="*/ 1142999 h 1940242"/>
                <a:gd name="connsiteX1893" fmla="*/ 156210 w 2370773"/>
                <a:gd name="connsiteY1893" fmla="*/ 1129664 h 1940242"/>
                <a:gd name="connsiteX1894" fmla="*/ 169545 w 2370773"/>
                <a:gd name="connsiteY1894" fmla="*/ 1116329 h 1940242"/>
                <a:gd name="connsiteX1895" fmla="*/ 2213610 w 2370773"/>
                <a:gd name="connsiteY1895" fmla="*/ 1110615 h 1940242"/>
                <a:gd name="connsiteX1896" fmla="*/ 2223135 w 2370773"/>
                <a:gd name="connsiteY1896" fmla="*/ 1120140 h 1940242"/>
                <a:gd name="connsiteX1897" fmla="*/ 2213610 w 2370773"/>
                <a:gd name="connsiteY1897" fmla="*/ 1129665 h 1940242"/>
                <a:gd name="connsiteX1898" fmla="*/ 2204085 w 2370773"/>
                <a:gd name="connsiteY1898" fmla="*/ 1120140 h 1940242"/>
                <a:gd name="connsiteX1899" fmla="*/ 2213610 w 2370773"/>
                <a:gd name="connsiteY1899" fmla="*/ 1110615 h 1940242"/>
                <a:gd name="connsiteX1900" fmla="*/ 1047750 w 2370773"/>
                <a:gd name="connsiteY1900" fmla="*/ 1110615 h 1940242"/>
                <a:gd name="connsiteX1901" fmla="*/ 1048703 w 2370773"/>
                <a:gd name="connsiteY1901" fmla="*/ 1111567 h 1940242"/>
                <a:gd name="connsiteX1902" fmla="*/ 1047750 w 2370773"/>
                <a:gd name="connsiteY1902" fmla="*/ 1112520 h 1940242"/>
                <a:gd name="connsiteX1903" fmla="*/ 1046798 w 2370773"/>
                <a:gd name="connsiteY1903" fmla="*/ 1111567 h 1940242"/>
                <a:gd name="connsiteX1904" fmla="*/ 1047750 w 2370773"/>
                <a:gd name="connsiteY1904" fmla="*/ 1110615 h 1940242"/>
                <a:gd name="connsiteX1905" fmla="*/ 715328 w 2370773"/>
                <a:gd name="connsiteY1905" fmla="*/ 1110615 h 1940242"/>
                <a:gd name="connsiteX1906" fmla="*/ 721043 w 2370773"/>
                <a:gd name="connsiteY1906" fmla="*/ 1116330 h 1940242"/>
                <a:gd name="connsiteX1907" fmla="*/ 715328 w 2370773"/>
                <a:gd name="connsiteY1907" fmla="*/ 1122045 h 1940242"/>
                <a:gd name="connsiteX1908" fmla="*/ 709613 w 2370773"/>
                <a:gd name="connsiteY1908" fmla="*/ 1116330 h 1940242"/>
                <a:gd name="connsiteX1909" fmla="*/ 715328 w 2370773"/>
                <a:gd name="connsiteY1909" fmla="*/ 1110615 h 1940242"/>
                <a:gd name="connsiteX1910" fmla="*/ 2139315 w 2370773"/>
                <a:gd name="connsiteY1910" fmla="*/ 1109662 h 1940242"/>
                <a:gd name="connsiteX1911" fmla="*/ 2145030 w 2370773"/>
                <a:gd name="connsiteY1911" fmla="*/ 1115377 h 1940242"/>
                <a:gd name="connsiteX1912" fmla="*/ 2139315 w 2370773"/>
                <a:gd name="connsiteY1912" fmla="*/ 1121092 h 1940242"/>
                <a:gd name="connsiteX1913" fmla="*/ 2133600 w 2370773"/>
                <a:gd name="connsiteY1913" fmla="*/ 1115377 h 1940242"/>
                <a:gd name="connsiteX1914" fmla="*/ 2139315 w 2370773"/>
                <a:gd name="connsiteY1914" fmla="*/ 1109662 h 1940242"/>
                <a:gd name="connsiteX1915" fmla="*/ 1694497 w 2370773"/>
                <a:gd name="connsiteY1915" fmla="*/ 1106804 h 1940242"/>
                <a:gd name="connsiteX1916" fmla="*/ 1695450 w 2370773"/>
                <a:gd name="connsiteY1916" fmla="*/ 1107757 h 1940242"/>
                <a:gd name="connsiteX1917" fmla="*/ 1694497 w 2370773"/>
                <a:gd name="connsiteY1917" fmla="*/ 1108709 h 1940242"/>
                <a:gd name="connsiteX1918" fmla="*/ 1693545 w 2370773"/>
                <a:gd name="connsiteY1918" fmla="*/ 1107757 h 1940242"/>
                <a:gd name="connsiteX1919" fmla="*/ 1694497 w 2370773"/>
                <a:gd name="connsiteY1919" fmla="*/ 1106804 h 1940242"/>
                <a:gd name="connsiteX1920" fmla="*/ 2063115 w 2370773"/>
                <a:gd name="connsiteY1920" fmla="*/ 1105852 h 1940242"/>
                <a:gd name="connsiteX1921" fmla="*/ 2066925 w 2370773"/>
                <a:gd name="connsiteY1921" fmla="*/ 1109662 h 1940242"/>
                <a:gd name="connsiteX1922" fmla="*/ 2063115 w 2370773"/>
                <a:gd name="connsiteY1922" fmla="*/ 1113472 h 1940242"/>
                <a:gd name="connsiteX1923" fmla="*/ 2059305 w 2370773"/>
                <a:gd name="connsiteY1923" fmla="*/ 1109662 h 1940242"/>
                <a:gd name="connsiteX1924" fmla="*/ 2063115 w 2370773"/>
                <a:gd name="connsiteY1924" fmla="*/ 1105852 h 1940242"/>
                <a:gd name="connsiteX1925" fmla="*/ 313372 w 2370773"/>
                <a:gd name="connsiteY1925" fmla="*/ 1105852 h 1940242"/>
                <a:gd name="connsiteX1926" fmla="*/ 330517 w 2370773"/>
                <a:gd name="connsiteY1926" fmla="*/ 1122997 h 1940242"/>
                <a:gd name="connsiteX1927" fmla="*/ 313372 w 2370773"/>
                <a:gd name="connsiteY1927" fmla="*/ 1140142 h 1940242"/>
                <a:gd name="connsiteX1928" fmla="*/ 296227 w 2370773"/>
                <a:gd name="connsiteY1928" fmla="*/ 1122997 h 1940242"/>
                <a:gd name="connsiteX1929" fmla="*/ 313372 w 2370773"/>
                <a:gd name="connsiteY1929" fmla="*/ 1105852 h 1940242"/>
                <a:gd name="connsiteX1930" fmla="*/ 1985010 w 2370773"/>
                <a:gd name="connsiteY1930" fmla="*/ 1102995 h 1940242"/>
                <a:gd name="connsiteX1931" fmla="*/ 1985963 w 2370773"/>
                <a:gd name="connsiteY1931" fmla="*/ 1103947 h 1940242"/>
                <a:gd name="connsiteX1932" fmla="*/ 1985010 w 2370773"/>
                <a:gd name="connsiteY1932" fmla="*/ 1104900 h 1940242"/>
                <a:gd name="connsiteX1933" fmla="*/ 1984058 w 2370773"/>
                <a:gd name="connsiteY1933" fmla="*/ 1103947 h 1940242"/>
                <a:gd name="connsiteX1934" fmla="*/ 1985010 w 2370773"/>
                <a:gd name="connsiteY1934" fmla="*/ 1102995 h 1940242"/>
                <a:gd name="connsiteX1935" fmla="*/ 461963 w 2370773"/>
                <a:gd name="connsiteY1935" fmla="*/ 1100137 h 1940242"/>
                <a:gd name="connsiteX1936" fmla="*/ 477203 w 2370773"/>
                <a:gd name="connsiteY1936" fmla="*/ 1115377 h 1940242"/>
                <a:gd name="connsiteX1937" fmla="*/ 461963 w 2370773"/>
                <a:gd name="connsiteY1937" fmla="*/ 1130617 h 1940242"/>
                <a:gd name="connsiteX1938" fmla="*/ 446723 w 2370773"/>
                <a:gd name="connsiteY1938" fmla="*/ 1115377 h 1940242"/>
                <a:gd name="connsiteX1939" fmla="*/ 461963 w 2370773"/>
                <a:gd name="connsiteY1939" fmla="*/ 1100137 h 1940242"/>
                <a:gd name="connsiteX1940" fmla="*/ 615315 w 2370773"/>
                <a:gd name="connsiteY1940" fmla="*/ 1097279 h 1940242"/>
                <a:gd name="connsiteX1941" fmla="*/ 621983 w 2370773"/>
                <a:gd name="connsiteY1941" fmla="*/ 1103946 h 1940242"/>
                <a:gd name="connsiteX1942" fmla="*/ 615315 w 2370773"/>
                <a:gd name="connsiteY1942" fmla="*/ 1110614 h 1940242"/>
                <a:gd name="connsiteX1943" fmla="*/ 608648 w 2370773"/>
                <a:gd name="connsiteY1943" fmla="*/ 1103946 h 1940242"/>
                <a:gd name="connsiteX1944" fmla="*/ 615315 w 2370773"/>
                <a:gd name="connsiteY1944" fmla="*/ 1097279 h 1940242"/>
                <a:gd name="connsiteX1945" fmla="*/ 84772 w 2370773"/>
                <a:gd name="connsiteY1945" fmla="*/ 1097279 h 1940242"/>
                <a:gd name="connsiteX1946" fmla="*/ 93345 w 2370773"/>
                <a:gd name="connsiteY1946" fmla="*/ 1105852 h 1940242"/>
                <a:gd name="connsiteX1947" fmla="*/ 84772 w 2370773"/>
                <a:gd name="connsiteY1947" fmla="*/ 1114424 h 1940242"/>
                <a:gd name="connsiteX1948" fmla="*/ 76200 w 2370773"/>
                <a:gd name="connsiteY1948" fmla="*/ 1105852 h 1940242"/>
                <a:gd name="connsiteX1949" fmla="*/ 84772 w 2370773"/>
                <a:gd name="connsiteY1949" fmla="*/ 1097279 h 1940242"/>
                <a:gd name="connsiteX1950" fmla="*/ 1905952 w 2370773"/>
                <a:gd name="connsiteY1950" fmla="*/ 1093470 h 1940242"/>
                <a:gd name="connsiteX1951" fmla="*/ 1907857 w 2370773"/>
                <a:gd name="connsiteY1951" fmla="*/ 1095375 h 1940242"/>
                <a:gd name="connsiteX1952" fmla="*/ 1905952 w 2370773"/>
                <a:gd name="connsiteY1952" fmla="*/ 1097280 h 1940242"/>
                <a:gd name="connsiteX1953" fmla="*/ 1904047 w 2370773"/>
                <a:gd name="connsiteY1953" fmla="*/ 1095375 h 1940242"/>
                <a:gd name="connsiteX1954" fmla="*/ 1905952 w 2370773"/>
                <a:gd name="connsiteY1954" fmla="*/ 1093470 h 1940242"/>
                <a:gd name="connsiteX1955" fmla="*/ 226695 w 2370773"/>
                <a:gd name="connsiteY1955" fmla="*/ 1090612 h 1940242"/>
                <a:gd name="connsiteX1956" fmla="*/ 238125 w 2370773"/>
                <a:gd name="connsiteY1956" fmla="*/ 1102042 h 1940242"/>
                <a:gd name="connsiteX1957" fmla="*/ 226695 w 2370773"/>
                <a:gd name="connsiteY1957" fmla="*/ 1113472 h 1940242"/>
                <a:gd name="connsiteX1958" fmla="*/ 215265 w 2370773"/>
                <a:gd name="connsiteY1958" fmla="*/ 1102042 h 1940242"/>
                <a:gd name="connsiteX1959" fmla="*/ 226695 w 2370773"/>
                <a:gd name="connsiteY1959" fmla="*/ 1090612 h 1940242"/>
                <a:gd name="connsiteX1960" fmla="*/ 882967 w 2370773"/>
                <a:gd name="connsiteY1960" fmla="*/ 1087754 h 1940242"/>
                <a:gd name="connsiteX1961" fmla="*/ 885825 w 2370773"/>
                <a:gd name="connsiteY1961" fmla="*/ 1090612 h 1940242"/>
                <a:gd name="connsiteX1962" fmla="*/ 882967 w 2370773"/>
                <a:gd name="connsiteY1962" fmla="*/ 1093469 h 1940242"/>
                <a:gd name="connsiteX1963" fmla="*/ 880110 w 2370773"/>
                <a:gd name="connsiteY1963" fmla="*/ 1090612 h 1940242"/>
                <a:gd name="connsiteX1964" fmla="*/ 882967 w 2370773"/>
                <a:gd name="connsiteY1964" fmla="*/ 1087754 h 1940242"/>
                <a:gd name="connsiteX1965" fmla="*/ 1824990 w 2370773"/>
                <a:gd name="connsiteY1965" fmla="*/ 1083945 h 1940242"/>
                <a:gd name="connsiteX1966" fmla="*/ 1826895 w 2370773"/>
                <a:gd name="connsiteY1966" fmla="*/ 1085850 h 1940242"/>
                <a:gd name="connsiteX1967" fmla="*/ 1824990 w 2370773"/>
                <a:gd name="connsiteY1967" fmla="*/ 1087755 h 1940242"/>
                <a:gd name="connsiteX1968" fmla="*/ 1823085 w 2370773"/>
                <a:gd name="connsiteY1968" fmla="*/ 1085850 h 1940242"/>
                <a:gd name="connsiteX1969" fmla="*/ 1824990 w 2370773"/>
                <a:gd name="connsiteY1969" fmla="*/ 1083945 h 1940242"/>
                <a:gd name="connsiteX1970" fmla="*/ 776287 w 2370773"/>
                <a:gd name="connsiteY1970" fmla="*/ 1082040 h 1940242"/>
                <a:gd name="connsiteX1971" fmla="*/ 780097 w 2370773"/>
                <a:gd name="connsiteY1971" fmla="*/ 1085850 h 1940242"/>
                <a:gd name="connsiteX1972" fmla="*/ 776287 w 2370773"/>
                <a:gd name="connsiteY1972" fmla="*/ 1089660 h 1940242"/>
                <a:gd name="connsiteX1973" fmla="*/ 772477 w 2370773"/>
                <a:gd name="connsiteY1973" fmla="*/ 1085850 h 1940242"/>
                <a:gd name="connsiteX1974" fmla="*/ 776287 w 2370773"/>
                <a:gd name="connsiteY1974" fmla="*/ 1082040 h 1940242"/>
                <a:gd name="connsiteX1975" fmla="*/ 372428 w 2370773"/>
                <a:gd name="connsiteY1975" fmla="*/ 1081087 h 1940242"/>
                <a:gd name="connsiteX1976" fmla="*/ 386715 w 2370773"/>
                <a:gd name="connsiteY1976" fmla="*/ 1095375 h 1940242"/>
                <a:gd name="connsiteX1977" fmla="*/ 372428 w 2370773"/>
                <a:gd name="connsiteY1977" fmla="*/ 1109662 h 1940242"/>
                <a:gd name="connsiteX1978" fmla="*/ 358140 w 2370773"/>
                <a:gd name="connsiteY1978" fmla="*/ 1095375 h 1940242"/>
                <a:gd name="connsiteX1979" fmla="*/ 372428 w 2370773"/>
                <a:gd name="connsiteY1979" fmla="*/ 1081087 h 1940242"/>
                <a:gd name="connsiteX1980" fmla="*/ 521018 w 2370773"/>
                <a:gd name="connsiteY1980" fmla="*/ 1077277 h 1940242"/>
                <a:gd name="connsiteX1981" fmla="*/ 530543 w 2370773"/>
                <a:gd name="connsiteY1981" fmla="*/ 1086802 h 1940242"/>
                <a:gd name="connsiteX1982" fmla="*/ 521018 w 2370773"/>
                <a:gd name="connsiteY1982" fmla="*/ 1096327 h 1940242"/>
                <a:gd name="connsiteX1983" fmla="*/ 511493 w 2370773"/>
                <a:gd name="connsiteY1983" fmla="*/ 1086802 h 1940242"/>
                <a:gd name="connsiteX1984" fmla="*/ 521018 w 2370773"/>
                <a:gd name="connsiteY1984" fmla="*/ 1077277 h 1940242"/>
                <a:gd name="connsiteX1985" fmla="*/ 675323 w 2370773"/>
                <a:gd name="connsiteY1985" fmla="*/ 1069657 h 1940242"/>
                <a:gd name="connsiteX1986" fmla="*/ 680085 w 2370773"/>
                <a:gd name="connsiteY1986" fmla="*/ 1074420 h 1940242"/>
                <a:gd name="connsiteX1987" fmla="*/ 675323 w 2370773"/>
                <a:gd name="connsiteY1987" fmla="*/ 1079182 h 1940242"/>
                <a:gd name="connsiteX1988" fmla="*/ 670560 w 2370773"/>
                <a:gd name="connsiteY1988" fmla="*/ 1074420 h 1940242"/>
                <a:gd name="connsiteX1989" fmla="*/ 675323 w 2370773"/>
                <a:gd name="connsiteY1989" fmla="*/ 1069657 h 1940242"/>
                <a:gd name="connsiteX1990" fmla="*/ 142875 w 2370773"/>
                <a:gd name="connsiteY1990" fmla="*/ 1065847 h 1940242"/>
                <a:gd name="connsiteX1991" fmla="*/ 155258 w 2370773"/>
                <a:gd name="connsiteY1991" fmla="*/ 1078230 h 1940242"/>
                <a:gd name="connsiteX1992" fmla="*/ 142875 w 2370773"/>
                <a:gd name="connsiteY1992" fmla="*/ 1090612 h 1940242"/>
                <a:gd name="connsiteX1993" fmla="*/ 130493 w 2370773"/>
                <a:gd name="connsiteY1993" fmla="*/ 1078230 h 1940242"/>
                <a:gd name="connsiteX1994" fmla="*/ 142875 w 2370773"/>
                <a:gd name="connsiteY1994" fmla="*/ 1065847 h 1940242"/>
                <a:gd name="connsiteX1995" fmla="*/ 2170748 w 2370773"/>
                <a:gd name="connsiteY1995" fmla="*/ 1062990 h 1940242"/>
                <a:gd name="connsiteX1996" fmla="*/ 2175510 w 2370773"/>
                <a:gd name="connsiteY1996" fmla="*/ 1067753 h 1940242"/>
                <a:gd name="connsiteX1997" fmla="*/ 2170748 w 2370773"/>
                <a:gd name="connsiteY1997" fmla="*/ 1072515 h 1940242"/>
                <a:gd name="connsiteX1998" fmla="*/ 2165985 w 2370773"/>
                <a:gd name="connsiteY1998" fmla="*/ 1067753 h 1940242"/>
                <a:gd name="connsiteX1999" fmla="*/ 2170748 w 2370773"/>
                <a:gd name="connsiteY1999" fmla="*/ 1062990 h 1940242"/>
                <a:gd name="connsiteX2000" fmla="*/ 2244090 w 2370773"/>
                <a:gd name="connsiteY2000" fmla="*/ 1062037 h 1940242"/>
                <a:gd name="connsiteX2001" fmla="*/ 2253615 w 2370773"/>
                <a:gd name="connsiteY2001" fmla="*/ 1071562 h 1940242"/>
                <a:gd name="connsiteX2002" fmla="*/ 2244090 w 2370773"/>
                <a:gd name="connsiteY2002" fmla="*/ 1081087 h 1940242"/>
                <a:gd name="connsiteX2003" fmla="*/ 2234565 w 2370773"/>
                <a:gd name="connsiteY2003" fmla="*/ 1071562 h 1940242"/>
                <a:gd name="connsiteX2004" fmla="*/ 2244090 w 2370773"/>
                <a:gd name="connsiteY2004" fmla="*/ 1062037 h 1940242"/>
                <a:gd name="connsiteX2005" fmla="*/ 2096452 w 2370773"/>
                <a:gd name="connsiteY2005" fmla="*/ 1062037 h 1940242"/>
                <a:gd name="connsiteX2006" fmla="*/ 2098357 w 2370773"/>
                <a:gd name="connsiteY2006" fmla="*/ 1063942 h 1940242"/>
                <a:gd name="connsiteX2007" fmla="*/ 2096452 w 2370773"/>
                <a:gd name="connsiteY2007" fmla="*/ 1065847 h 1940242"/>
                <a:gd name="connsiteX2008" fmla="*/ 2094547 w 2370773"/>
                <a:gd name="connsiteY2008" fmla="*/ 1063942 h 1940242"/>
                <a:gd name="connsiteX2009" fmla="*/ 2096452 w 2370773"/>
                <a:gd name="connsiteY2009" fmla="*/ 1062037 h 1940242"/>
                <a:gd name="connsiteX2010" fmla="*/ 284798 w 2370773"/>
                <a:gd name="connsiteY2010" fmla="*/ 1057275 h 1940242"/>
                <a:gd name="connsiteX2011" fmla="*/ 300990 w 2370773"/>
                <a:gd name="connsiteY2011" fmla="*/ 1073467 h 1940242"/>
                <a:gd name="connsiteX2012" fmla="*/ 284798 w 2370773"/>
                <a:gd name="connsiteY2012" fmla="*/ 1089660 h 1940242"/>
                <a:gd name="connsiteX2013" fmla="*/ 268605 w 2370773"/>
                <a:gd name="connsiteY2013" fmla="*/ 1073467 h 1940242"/>
                <a:gd name="connsiteX2014" fmla="*/ 284798 w 2370773"/>
                <a:gd name="connsiteY2014" fmla="*/ 1057275 h 1940242"/>
                <a:gd name="connsiteX2015" fmla="*/ 946785 w 2370773"/>
                <a:gd name="connsiteY2015" fmla="*/ 1056322 h 1940242"/>
                <a:gd name="connsiteX2016" fmla="*/ 947738 w 2370773"/>
                <a:gd name="connsiteY2016" fmla="*/ 1057275 h 1940242"/>
                <a:gd name="connsiteX2017" fmla="*/ 946785 w 2370773"/>
                <a:gd name="connsiteY2017" fmla="*/ 1058227 h 1940242"/>
                <a:gd name="connsiteX2018" fmla="*/ 945833 w 2370773"/>
                <a:gd name="connsiteY2018" fmla="*/ 1057275 h 1940242"/>
                <a:gd name="connsiteX2019" fmla="*/ 946785 w 2370773"/>
                <a:gd name="connsiteY2019" fmla="*/ 1056322 h 1940242"/>
                <a:gd name="connsiteX2020" fmla="*/ 580073 w 2370773"/>
                <a:gd name="connsiteY2020" fmla="*/ 1052512 h 1940242"/>
                <a:gd name="connsiteX2021" fmla="*/ 586740 w 2370773"/>
                <a:gd name="connsiteY2021" fmla="*/ 1059179 h 1940242"/>
                <a:gd name="connsiteX2022" fmla="*/ 580073 w 2370773"/>
                <a:gd name="connsiteY2022" fmla="*/ 1065847 h 1940242"/>
                <a:gd name="connsiteX2023" fmla="*/ 573405 w 2370773"/>
                <a:gd name="connsiteY2023" fmla="*/ 1059179 h 1940242"/>
                <a:gd name="connsiteX2024" fmla="*/ 580073 w 2370773"/>
                <a:gd name="connsiteY2024" fmla="*/ 1052512 h 1940242"/>
                <a:gd name="connsiteX2025" fmla="*/ 430530 w 2370773"/>
                <a:gd name="connsiteY2025" fmla="*/ 1052512 h 1940242"/>
                <a:gd name="connsiteX2026" fmla="*/ 445770 w 2370773"/>
                <a:gd name="connsiteY2026" fmla="*/ 1067752 h 1940242"/>
                <a:gd name="connsiteX2027" fmla="*/ 430530 w 2370773"/>
                <a:gd name="connsiteY2027" fmla="*/ 1082992 h 1940242"/>
                <a:gd name="connsiteX2028" fmla="*/ 415290 w 2370773"/>
                <a:gd name="connsiteY2028" fmla="*/ 1067752 h 1940242"/>
                <a:gd name="connsiteX2029" fmla="*/ 430530 w 2370773"/>
                <a:gd name="connsiteY2029" fmla="*/ 1052512 h 1940242"/>
                <a:gd name="connsiteX2030" fmla="*/ 1944053 w 2370773"/>
                <a:gd name="connsiteY2030" fmla="*/ 1051559 h 1940242"/>
                <a:gd name="connsiteX2031" fmla="*/ 1945005 w 2370773"/>
                <a:gd name="connsiteY2031" fmla="*/ 1052512 h 1940242"/>
                <a:gd name="connsiteX2032" fmla="*/ 1944053 w 2370773"/>
                <a:gd name="connsiteY2032" fmla="*/ 1053464 h 1940242"/>
                <a:gd name="connsiteX2033" fmla="*/ 1943100 w 2370773"/>
                <a:gd name="connsiteY2033" fmla="*/ 1052512 h 1940242"/>
                <a:gd name="connsiteX2034" fmla="*/ 1944053 w 2370773"/>
                <a:gd name="connsiteY2034" fmla="*/ 1051559 h 1940242"/>
                <a:gd name="connsiteX2035" fmla="*/ 838200 w 2370773"/>
                <a:gd name="connsiteY2035" fmla="*/ 1051559 h 1940242"/>
                <a:gd name="connsiteX2036" fmla="*/ 841057 w 2370773"/>
                <a:gd name="connsiteY2036" fmla="*/ 1054417 h 1940242"/>
                <a:gd name="connsiteX2037" fmla="*/ 838200 w 2370773"/>
                <a:gd name="connsiteY2037" fmla="*/ 1057274 h 1940242"/>
                <a:gd name="connsiteX2038" fmla="*/ 835342 w 2370773"/>
                <a:gd name="connsiteY2038" fmla="*/ 1054417 h 1940242"/>
                <a:gd name="connsiteX2039" fmla="*/ 838200 w 2370773"/>
                <a:gd name="connsiteY2039" fmla="*/ 1051559 h 1940242"/>
                <a:gd name="connsiteX2040" fmla="*/ 1865947 w 2370773"/>
                <a:gd name="connsiteY2040" fmla="*/ 1042987 h 1940242"/>
                <a:gd name="connsiteX2041" fmla="*/ 1867852 w 2370773"/>
                <a:gd name="connsiteY2041" fmla="*/ 1044892 h 1940242"/>
                <a:gd name="connsiteX2042" fmla="*/ 1865947 w 2370773"/>
                <a:gd name="connsiteY2042" fmla="*/ 1046797 h 1940242"/>
                <a:gd name="connsiteX2043" fmla="*/ 1864042 w 2370773"/>
                <a:gd name="connsiteY2043" fmla="*/ 1044892 h 1940242"/>
                <a:gd name="connsiteX2044" fmla="*/ 1865947 w 2370773"/>
                <a:gd name="connsiteY2044" fmla="*/ 1042987 h 1940242"/>
                <a:gd name="connsiteX2045" fmla="*/ 735330 w 2370773"/>
                <a:gd name="connsiteY2045" fmla="*/ 1041082 h 1940242"/>
                <a:gd name="connsiteX2046" fmla="*/ 739140 w 2370773"/>
                <a:gd name="connsiteY2046" fmla="*/ 1044892 h 1940242"/>
                <a:gd name="connsiteX2047" fmla="*/ 735330 w 2370773"/>
                <a:gd name="connsiteY2047" fmla="*/ 1048702 h 1940242"/>
                <a:gd name="connsiteX2048" fmla="*/ 731520 w 2370773"/>
                <a:gd name="connsiteY2048" fmla="*/ 1044892 h 1940242"/>
                <a:gd name="connsiteX2049" fmla="*/ 735330 w 2370773"/>
                <a:gd name="connsiteY2049" fmla="*/ 1041082 h 1940242"/>
                <a:gd name="connsiteX2050" fmla="*/ 200977 w 2370773"/>
                <a:gd name="connsiteY2050" fmla="*/ 1039177 h 1940242"/>
                <a:gd name="connsiteX2051" fmla="*/ 212407 w 2370773"/>
                <a:gd name="connsiteY2051" fmla="*/ 1050607 h 1940242"/>
                <a:gd name="connsiteX2052" fmla="*/ 200977 w 2370773"/>
                <a:gd name="connsiteY2052" fmla="*/ 1062037 h 1940242"/>
                <a:gd name="connsiteX2053" fmla="*/ 189547 w 2370773"/>
                <a:gd name="connsiteY2053" fmla="*/ 1050607 h 1940242"/>
                <a:gd name="connsiteX2054" fmla="*/ 200977 w 2370773"/>
                <a:gd name="connsiteY2054" fmla="*/ 1039177 h 1940242"/>
                <a:gd name="connsiteX2055" fmla="*/ 342901 w 2370773"/>
                <a:gd name="connsiteY2055" fmla="*/ 1031557 h 1940242"/>
                <a:gd name="connsiteX2056" fmla="*/ 357188 w 2370773"/>
                <a:gd name="connsiteY2056" fmla="*/ 1045845 h 1940242"/>
                <a:gd name="connsiteX2057" fmla="*/ 342901 w 2370773"/>
                <a:gd name="connsiteY2057" fmla="*/ 1060132 h 1940242"/>
                <a:gd name="connsiteX2058" fmla="*/ 328613 w 2370773"/>
                <a:gd name="connsiteY2058" fmla="*/ 1045845 h 1940242"/>
                <a:gd name="connsiteX2059" fmla="*/ 342901 w 2370773"/>
                <a:gd name="connsiteY2059" fmla="*/ 1031557 h 1940242"/>
                <a:gd name="connsiteX2060" fmla="*/ 488633 w 2370773"/>
                <a:gd name="connsiteY2060" fmla="*/ 1029652 h 1940242"/>
                <a:gd name="connsiteX2061" fmla="*/ 498158 w 2370773"/>
                <a:gd name="connsiteY2061" fmla="*/ 1039177 h 1940242"/>
                <a:gd name="connsiteX2062" fmla="*/ 488633 w 2370773"/>
                <a:gd name="connsiteY2062" fmla="*/ 1048702 h 1940242"/>
                <a:gd name="connsiteX2063" fmla="*/ 479108 w 2370773"/>
                <a:gd name="connsiteY2063" fmla="*/ 1039177 h 1940242"/>
                <a:gd name="connsiteX2064" fmla="*/ 488633 w 2370773"/>
                <a:gd name="connsiteY2064" fmla="*/ 1029652 h 1940242"/>
                <a:gd name="connsiteX2065" fmla="*/ 639128 w 2370773"/>
                <a:gd name="connsiteY2065" fmla="*/ 1026795 h 1940242"/>
                <a:gd name="connsiteX2066" fmla="*/ 642938 w 2370773"/>
                <a:gd name="connsiteY2066" fmla="*/ 1030605 h 1940242"/>
                <a:gd name="connsiteX2067" fmla="*/ 639128 w 2370773"/>
                <a:gd name="connsiteY2067" fmla="*/ 1034415 h 1940242"/>
                <a:gd name="connsiteX2068" fmla="*/ 635318 w 2370773"/>
                <a:gd name="connsiteY2068" fmla="*/ 1030605 h 1940242"/>
                <a:gd name="connsiteX2069" fmla="*/ 639128 w 2370773"/>
                <a:gd name="connsiteY2069" fmla="*/ 1026795 h 1940242"/>
                <a:gd name="connsiteX2070" fmla="*/ 2342197 w 2370773"/>
                <a:gd name="connsiteY2070" fmla="*/ 1020127 h 1940242"/>
                <a:gd name="connsiteX2071" fmla="*/ 2344102 w 2370773"/>
                <a:gd name="connsiteY2071" fmla="*/ 1022032 h 1940242"/>
                <a:gd name="connsiteX2072" fmla="*/ 2342197 w 2370773"/>
                <a:gd name="connsiteY2072" fmla="*/ 1023937 h 1940242"/>
                <a:gd name="connsiteX2073" fmla="*/ 2340292 w 2370773"/>
                <a:gd name="connsiteY2073" fmla="*/ 1022032 h 1940242"/>
                <a:gd name="connsiteX2074" fmla="*/ 2342197 w 2370773"/>
                <a:gd name="connsiteY2074" fmla="*/ 1020127 h 1940242"/>
                <a:gd name="connsiteX2075" fmla="*/ 119063 w 2370773"/>
                <a:gd name="connsiteY2075" fmla="*/ 1015365 h 1940242"/>
                <a:gd name="connsiteX2076" fmla="*/ 129540 w 2370773"/>
                <a:gd name="connsiteY2076" fmla="*/ 1025842 h 1940242"/>
                <a:gd name="connsiteX2077" fmla="*/ 119063 w 2370773"/>
                <a:gd name="connsiteY2077" fmla="*/ 1036320 h 1940242"/>
                <a:gd name="connsiteX2078" fmla="*/ 108585 w 2370773"/>
                <a:gd name="connsiteY2078" fmla="*/ 1025842 h 1940242"/>
                <a:gd name="connsiteX2079" fmla="*/ 119063 w 2370773"/>
                <a:gd name="connsiteY2079" fmla="*/ 1015365 h 1940242"/>
                <a:gd name="connsiteX2080" fmla="*/ 259080 w 2370773"/>
                <a:gd name="connsiteY2080" fmla="*/ 1013459 h 1940242"/>
                <a:gd name="connsiteX2081" fmla="*/ 268605 w 2370773"/>
                <a:gd name="connsiteY2081" fmla="*/ 1022984 h 1940242"/>
                <a:gd name="connsiteX2082" fmla="*/ 259080 w 2370773"/>
                <a:gd name="connsiteY2082" fmla="*/ 1032509 h 1940242"/>
                <a:gd name="connsiteX2083" fmla="*/ 249555 w 2370773"/>
                <a:gd name="connsiteY2083" fmla="*/ 1022984 h 1940242"/>
                <a:gd name="connsiteX2084" fmla="*/ 259080 w 2370773"/>
                <a:gd name="connsiteY2084" fmla="*/ 1013459 h 1940242"/>
                <a:gd name="connsiteX2085" fmla="*/ 795338 w 2370773"/>
                <a:gd name="connsiteY2085" fmla="*/ 1012507 h 1940242"/>
                <a:gd name="connsiteX2086" fmla="*/ 798195 w 2370773"/>
                <a:gd name="connsiteY2086" fmla="*/ 1015365 h 1940242"/>
                <a:gd name="connsiteX2087" fmla="*/ 795338 w 2370773"/>
                <a:gd name="connsiteY2087" fmla="*/ 1018222 h 1940242"/>
                <a:gd name="connsiteX2088" fmla="*/ 792480 w 2370773"/>
                <a:gd name="connsiteY2088" fmla="*/ 1015365 h 1940242"/>
                <a:gd name="connsiteX2089" fmla="*/ 795338 w 2370773"/>
                <a:gd name="connsiteY2089" fmla="*/ 1012507 h 1940242"/>
                <a:gd name="connsiteX2090" fmla="*/ 2054542 w 2370773"/>
                <a:gd name="connsiteY2090" fmla="*/ 1010602 h 1940242"/>
                <a:gd name="connsiteX2091" fmla="*/ 2055495 w 2370773"/>
                <a:gd name="connsiteY2091" fmla="*/ 1011554 h 1940242"/>
                <a:gd name="connsiteX2092" fmla="*/ 2054542 w 2370773"/>
                <a:gd name="connsiteY2092" fmla="*/ 1012507 h 1940242"/>
                <a:gd name="connsiteX2093" fmla="*/ 2053590 w 2370773"/>
                <a:gd name="connsiteY2093" fmla="*/ 1011554 h 1940242"/>
                <a:gd name="connsiteX2094" fmla="*/ 2054542 w 2370773"/>
                <a:gd name="connsiteY2094" fmla="*/ 1010602 h 1940242"/>
                <a:gd name="connsiteX2095" fmla="*/ 2127885 w 2370773"/>
                <a:gd name="connsiteY2095" fmla="*/ 1009650 h 1940242"/>
                <a:gd name="connsiteX2096" fmla="*/ 2132647 w 2370773"/>
                <a:gd name="connsiteY2096" fmla="*/ 1014413 h 1940242"/>
                <a:gd name="connsiteX2097" fmla="*/ 2127885 w 2370773"/>
                <a:gd name="connsiteY2097" fmla="*/ 1019175 h 1940242"/>
                <a:gd name="connsiteX2098" fmla="*/ 2123122 w 2370773"/>
                <a:gd name="connsiteY2098" fmla="*/ 1014413 h 1940242"/>
                <a:gd name="connsiteX2099" fmla="*/ 2127885 w 2370773"/>
                <a:gd name="connsiteY2099" fmla="*/ 1009650 h 1940242"/>
                <a:gd name="connsiteX2100" fmla="*/ 2271713 w 2370773"/>
                <a:gd name="connsiteY2100" fmla="*/ 1007745 h 1940242"/>
                <a:gd name="connsiteX2101" fmla="*/ 2284095 w 2370773"/>
                <a:gd name="connsiteY2101" fmla="*/ 1020128 h 1940242"/>
                <a:gd name="connsiteX2102" fmla="*/ 2271713 w 2370773"/>
                <a:gd name="connsiteY2102" fmla="*/ 1032510 h 1940242"/>
                <a:gd name="connsiteX2103" fmla="*/ 2259330 w 2370773"/>
                <a:gd name="connsiteY2103" fmla="*/ 1020128 h 1940242"/>
                <a:gd name="connsiteX2104" fmla="*/ 2271713 w 2370773"/>
                <a:gd name="connsiteY2104" fmla="*/ 1007745 h 1940242"/>
                <a:gd name="connsiteX2105" fmla="*/ 401002 w 2370773"/>
                <a:gd name="connsiteY2105" fmla="*/ 1007745 h 1940242"/>
                <a:gd name="connsiteX2106" fmla="*/ 411480 w 2370773"/>
                <a:gd name="connsiteY2106" fmla="*/ 1018222 h 1940242"/>
                <a:gd name="connsiteX2107" fmla="*/ 401002 w 2370773"/>
                <a:gd name="connsiteY2107" fmla="*/ 1028700 h 1940242"/>
                <a:gd name="connsiteX2108" fmla="*/ 390525 w 2370773"/>
                <a:gd name="connsiteY2108" fmla="*/ 1018222 h 1940242"/>
                <a:gd name="connsiteX2109" fmla="*/ 401002 w 2370773"/>
                <a:gd name="connsiteY2109" fmla="*/ 1007745 h 1940242"/>
                <a:gd name="connsiteX2110" fmla="*/ 2200275 w 2370773"/>
                <a:gd name="connsiteY2110" fmla="*/ 1006792 h 1940242"/>
                <a:gd name="connsiteX2111" fmla="*/ 2211705 w 2370773"/>
                <a:gd name="connsiteY2111" fmla="*/ 1018222 h 1940242"/>
                <a:gd name="connsiteX2112" fmla="*/ 2200275 w 2370773"/>
                <a:gd name="connsiteY2112" fmla="*/ 1029652 h 1940242"/>
                <a:gd name="connsiteX2113" fmla="*/ 2188845 w 2370773"/>
                <a:gd name="connsiteY2113" fmla="*/ 1018222 h 1940242"/>
                <a:gd name="connsiteX2114" fmla="*/ 2200275 w 2370773"/>
                <a:gd name="connsiteY2114" fmla="*/ 1006792 h 1940242"/>
                <a:gd name="connsiteX2115" fmla="*/ 1979295 w 2370773"/>
                <a:gd name="connsiteY2115" fmla="*/ 1005840 h 1940242"/>
                <a:gd name="connsiteX2116" fmla="*/ 1980247 w 2370773"/>
                <a:gd name="connsiteY2116" fmla="*/ 1006792 h 1940242"/>
                <a:gd name="connsiteX2117" fmla="*/ 1979295 w 2370773"/>
                <a:gd name="connsiteY2117" fmla="*/ 1007745 h 1940242"/>
                <a:gd name="connsiteX2118" fmla="*/ 1978342 w 2370773"/>
                <a:gd name="connsiteY2118" fmla="*/ 1006792 h 1940242"/>
                <a:gd name="connsiteX2119" fmla="*/ 1979295 w 2370773"/>
                <a:gd name="connsiteY2119" fmla="*/ 1005840 h 1940242"/>
                <a:gd name="connsiteX2120" fmla="*/ 546735 w 2370773"/>
                <a:gd name="connsiteY2120" fmla="*/ 1005840 h 1940242"/>
                <a:gd name="connsiteX2121" fmla="*/ 552450 w 2370773"/>
                <a:gd name="connsiteY2121" fmla="*/ 1011555 h 1940242"/>
                <a:gd name="connsiteX2122" fmla="*/ 546735 w 2370773"/>
                <a:gd name="connsiteY2122" fmla="*/ 1017270 h 1940242"/>
                <a:gd name="connsiteX2123" fmla="*/ 541020 w 2370773"/>
                <a:gd name="connsiteY2123" fmla="*/ 1011555 h 1940242"/>
                <a:gd name="connsiteX2124" fmla="*/ 546735 w 2370773"/>
                <a:gd name="connsiteY2124" fmla="*/ 1005840 h 1940242"/>
                <a:gd name="connsiteX2125" fmla="*/ 698183 w 2370773"/>
                <a:gd name="connsiteY2125" fmla="*/ 1000125 h 1940242"/>
                <a:gd name="connsiteX2126" fmla="*/ 700088 w 2370773"/>
                <a:gd name="connsiteY2126" fmla="*/ 1002030 h 1940242"/>
                <a:gd name="connsiteX2127" fmla="*/ 698183 w 2370773"/>
                <a:gd name="connsiteY2127" fmla="*/ 1003935 h 1940242"/>
                <a:gd name="connsiteX2128" fmla="*/ 696278 w 2370773"/>
                <a:gd name="connsiteY2128" fmla="*/ 1002030 h 1940242"/>
                <a:gd name="connsiteX2129" fmla="*/ 698183 w 2370773"/>
                <a:gd name="connsiteY2129" fmla="*/ 1000125 h 1940242"/>
                <a:gd name="connsiteX2130" fmla="*/ 1824991 w 2370773"/>
                <a:gd name="connsiteY2130" fmla="*/ 993457 h 1940242"/>
                <a:gd name="connsiteX2131" fmla="*/ 1825943 w 2370773"/>
                <a:gd name="connsiteY2131" fmla="*/ 994409 h 1940242"/>
                <a:gd name="connsiteX2132" fmla="*/ 1824991 w 2370773"/>
                <a:gd name="connsiteY2132" fmla="*/ 995362 h 1940242"/>
                <a:gd name="connsiteX2133" fmla="*/ 1824038 w 2370773"/>
                <a:gd name="connsiteY2133" fmla="*/ 994409 h 1940242"/>
                <a:gd name="connsiteX2134" fmla="*/ 1824991 w 2370773"/>
                <a:gd name="connsiteY2134" fmla="*/ 993457 h 1940242"/>
                <a:gd name="connsiteX2135" fmla="*/ 177166 w 2370773"/>
                <a:gd name="connsiteY2135" fmla="*/ 989647 h 1940242"/>
                <a:gd name="connsiteX2136" fmla="*/ 185738 w 2370773"/>
                <a:gd name="connsiteY2136" fmla="*/ 998220 h 1940242"/>
                <a:gd name="connsiteX2137" fmla="*/ 177166 w 2370773"/>
                <a:gd name="connsiteY2137" fmla="*/ 1006792 h 1940242"/>
                <a:gd name="connsiteX2138" fmla="*/ 168593 w 2370773"/>
                <a:gd name="connsiteY2138" fmla="*/ 998220 h 1940242"/>
                <a:gd name="connsiteX2139" fmla="*/ 177166 w 2370773"/>
                <a:gd name="connsiteY2139" fmla="*/ 989647 h 1940242"/>
                <a:gd name="connsiteX2140" fmla="*/ 316230 w 2370773"/>
                <a:gd name="connsiteY2140" fmla="*/ 984884 h 1940242"/>
                <a:gd name="connsiteX2141" fmla="*/ 325755 w 2370773"/>
                <a:gd name="connsiteY2141" fmla="*/ 994409 h 1940242"/>
                <a:gd name="connsiteX2142" fmla="*/ 316230 w 2370773"/>
                <a:gd name="connsiteY2142" fmla="*/ 1003934 h 1940242"/>
                <a:gd name="connsiteX2143" fmla="*/ 306705 w 2370773"/>
                <a:gd name="connsiteY2143" fmla="*/ 994409 h 1940242"/>
                <a:gd name="connsiteX2144" fmla="*/ 316230 w 2370773"/>
                <a:gd name="connsiteY2144" fmla="*/ 984884 h 1940242"/>
                <a:gd name="connsiteX2145" fmla="*/ 856297 w 2370773"/>
                <a:gd name="connsiteY2145" fmla="*/ 982979 h 1940242"/>
                <a:gd name="connsiteX2146" fmla="*/ 858202 w 2370773"/>
                <a:gd name="connsiteY2146" fmla="*/ 984884 h 1940242"/>
                <a:gd name="connsiteX2147" fmla="*/ 856297 w 2370773"/>
                <a:gd name="connsiteY2147" fmla="*/ 986789 h 1940242"/>
                <a:gd name="connsiteX2148" fmla="*/ 854392 w 2370773"/>
                <a:gd name="connsiteY2148" fmla="*/ 984884 h 1940242"/>
                <a:gd name="connsiteX2149" fmla="*/ 856297 w 2370773"/>
                <a:gd name="connsiteY2149" fmla="*/ 982979 h 1940242"/>
                <a:gd name="connsiteX2150" fmla="*/ 459105 w 2370773"/>
                <a:gd name="connsiteY2150" fmla="*/ 981075 h 1940242"/>
                <a:gd name="connsiteX2151" fmla="*/ 468630 w 2370773"/>
                <a:gd name="connsiteY2151" fmla="*/ 990600 h 1940242"/>
                <a:gd name="connsiteX2152" fmla="*/ 459105 w 2370773"/>
                <a:gd name="connsiteY2152" fmla="*/ 1000125 h 1940242"/>
                <a:gd name="connsiteX2153" fmla="*/ 449580 w 2370773"/>
                <a:gd name="connsiteY2153" fmla="*/ 990600 h 1940242"/>
                <a:gd name="connsiteX2154" fmla="*/ 459105 w 2370773"/>
                <a:gd name="connsiteY2154" fmla="*/ 981075 h 1940242"/>
                <a:gd name="connsiteX2155" fmla="*/ 604837 w 2370773"/>
                <a:gd name="connsiteY2155" fmla="*/ 979170 h 1940242"/>
                <a:gd name="connsiteX2156" fmla="*/ 608647 w 2370773"/>
                <a:gd name="connsiteY2156" fmla="*/ 982980 h 1940242"/>
                <a:gd name="connsiteX2157" fmla="*/ 604837 w 2370773"/>
                <a:gd name="connsiteY2157" fmla="*/ 986790 h 1940242"/>
                <a:gd name="connsiteX2158" fmla="*/ 601027 w 2370773"/>
                <a:gd name="connsiteY2158" fmla="*/ 982980 h 1940242"/>
                <a:gd name="connsiteX2159" fmla="*/ 604837 w 2370773"/>
                <a:gd name="connsiteY2159" fmla="*/ 979170 h 1940242"/>
                <a:gd name="connsiteX2160" fmla="*/ 757238 w 2370773"/>
                <a:gd name="connsiteY2160" fmla="*/ 970597 h 1940242"/>
                <a:gd name="connsiteX2161" fmla="*/ 759143 w 2370773"/>
                <a:gd name="connsiteY2161" fmla="*/ 972502 h 1940242"/>
                <a:gd name="connsiteX2162" fmla="*/ 757238 w 2370773"/>
                <a:gd name="connsiteY2162" fmla="*/ 974407 h 1940242"/>
                <a:gd name="connsiteX2163" fmla="*/ 755333 w 2370773"/>
                <a:gd name="connsiteY2163" fmla="*/ 972502 h 1940242"/>
                <a:gd name="connsiteX2164" fmla="*/ 757238 w 2370773"/>
                <a:gd name="connsiteY2164" fmla="*/ 970597 h 1940242"/>
                <a:gd name="connsiteX2165" fmla="*/ 2366010 w 2370773"/>
                <a:gd name="connsiteY2165" fmla="*/ 969645 h 1940242"/>
                <a:gd name="connsiteX2166" fmla="*/ 2366962 w 2370773"/>
                <a:gd name="connsiteY2166" fmla="*/ 970597 h 1940242"/>
                <a:gd name="connsiteX2167" fmla="*/ 2366010 w 2370773"/>
                <a:gd name="connsiteY2167" fmla="*/ 971550 h 1940242"/>
                <a:gd name="connsiteX2168" fmla="*/ 2365057 w 2370773"/>
                <a:gd name="connsiteY2168" fmla="*/ 970597 h 1940242"/>
                <a:gd name="connsiteX2169" fmla="*/ 2366010 w 2370773"/>
                <a:gd name="connsiteY2169" fmla="*/ 969645 h 1940242"/>
                <a:gd name="connsiteX2170" fmla="*/ 97156 w 2370773"/>
                <a:gd name="connsiteY2170" fmla="*/ 962025 h 1940242"/>
                <a:gd name="connsiteX2171" fmla="*/ 107633 w 2370773"/>
                <a:gd name="connsiteY2171" fmla="*/ 972502 h 1940242"/>
                <a:gd name="connsiteX2172" fmla="*/ 97156 w 2370773"/>
                <a:gd name="connsiteY2172" fmla="*/ 982980 h 1940242"/>
                <a:gd name="connsiteX2173" fmla="*/ 86678 w 2370773"/>
                <a:gd name="connsiteY2173" fmla="*/ 972502 h 1940242"/>
                <a:gd name="connsiteX2174" fmla="*/ 97156 w 2370773"/>
                <a:gd name="connsiteY2174" fmla="*/ 962025 h 1940242"/>
                <a:gd name="connsiteX2175" fmla="*/ 2296478 w 2370773"/>
                <a:gd name="connsiteY2175" fmla="*/ 961072 h 1940242"/>
                <a:gd name="connsiteX2176" fmla="*/ 2304098 w 2370773"/>
                <a:gd name="connsiteY2176" fmla="*/ 968692 h 1940242"/>
                <a:gd name="connsiteX2177" fmla="*/ 2296478 w 2370773"/>
                <a:gd name="connsiteY2177" fmla="*/ 976312 h 1940242"/>
                <a:gd name="connsiteX2178" fmla="*/ 2288858 w 2370773"/>
                <a:gd name="connsiteY2178" fmla="*/ 968692 h 1940242"/>
                <a:gd name="connsiteX2179" fmla="*/ 2296478 w 2370773"/>
                <a:gd name="connsiteY2179" fmla="*/ 961072 h 1940242"/>
                <a:gd name="connsiteX2180" fmla="*/ 235268 w 2370773"/>
                <a:gd name="connsiteY2180" fmla="*/ 961072 h 1940242"/>
                <a:gd name="connsiteX2181" fmla="*/ 243840 w 2370773"/>
                <a:gd name="connsiteY2181" fmla="*/ 969645 h 1940242"/>
                <a:gd name="connsiteX2182" fmla="*/ 235268 w 2370773"/>
                <a:gd name="connsiteY2182" fmla="*/ 978217 h 1940242"/>
                <a:gd name="connsiteX2183" fmla="*/ 226695 w 2370773"/>
                <a:gd name="connsiteY2183" fmla="*/ 969645 h 1940242"/>
                <a:gd name="connsiteX2184" fmla="*/ 235268 w 2370773"/>
                <a:gd name="connsiteY2184" fmla="*/ 961072 h 1940242"/>
                <a:gd name="connsiteX2185" fmla="*/ 2155507 w 2370773"/>
                <a:gd name="connsiteY2185" fmla="*/ 959167 h 1940242"/>
                <a:gd name="connsiteX2186" fmla="*/ 2161222 w 2370773"/>
                <a:gd name="connsiteY2186" fmla="*/ 964882 h 1940242"/>
                <a:gd name="connsiteX2187" fmla="*/ 2155507 w 2370773"/>
                <a:gd name="connsiteY2187" fmla="*/ 970597 h 1940242"/>
                <a:gd name="connsiteX2188" fmla="*/ 2149792 w 2370773"/>
                <a:gd name="connsiteY2188" fmla="*/ 964882 h 1940242"/>
                <a:gd name="connsiteX2189" fmla="*/ 2155507 w 2370773"/>
                <a:gd name="connsiteY2189" fmla="*/ 959167 h 1940242"/>
                <a:gd name="connsiteX2190" fmla="*/ 2226945 w 2370773"/>
                <a:gd name="connsiteY2190" fmla="*/ 958214 h 1940242"/>
                <a:gd name="connsiteX2191" fmla="*/ 2235517 w 2370773"/>
                <a:gd name="connsiteY2191" fmla="*/ 966787 h 1940242"/>
                <a:gd name="connsiteX2192" fmla="*/ 2226945 w 2370773"/>
                <a:gd name="connsiteY2192" fmla="*/ 975359 h 1940242"/>
                <a:gd name="connsiteX2193" fmla="*/ 2218372 w 2370773"/>
                <a:gd name="connsiteY2193" fmla="*/ 966787 h 1940242"/>
                <a:gd name="connsiteX2194" fmla="*/ 2226945 w 2370773"/>
                <a:gd name="connsiteY2194" fmla="*/ 958214 h 1940242"/>
                <a:gd name="connsiteX2195" fmla="*/ 517208 w 2370773"/>
                <a:gd name="connsiteY2195" fmla="*/ 957262 h 1940242"/>
                <a:gd name="connsiteX2196" fmla="*/ 521970 w 2370773"/>
                <a:gd name="connsiteY2196" fmla="*/ 962025 h 1940242"/>
                <a:gd name="connsiteX2197" fmla="*/ 517208 w 2370773"/>
                <a:gd name="connsiteY2197" fmla="*/ 966787 h 1940242"/>
                <a:gd name="connsiteX2198" fmla="*/ 512445 w 2370773"/>
                <a:gd name="connsiteY2198" fmla="*/ 962025 h 1940242"/>
                <a:gd name="connsiteX2199" fmla="*/ 517208 w 2370773"/>
                <a:gd name="connsiteY2199" fmla="*/ 957262 h 1940242"/>
                <a:gd name="connsiteX2200" fmla="*/ 374332 w 2370773"/>
                <a:gd name="connsiteY2200" fmla="*/ 955357 h 1940242"/>
                <a:gd name="connsiteX2201" fmla="*/ 385762 w 2370773"/>
                <a:gd name="connsiteY2201" fmla="*/ 966787 h 1940242"/>
                <a:gd name="connsiteX2202" fmla="*/ 374332 w 2370773"/>
                <a:gd name="connsiteY2202" fmla="*/ 978217 h 1940242"/>
                <a:gd name="connsiteX2203" fmla="*/ 362902 w 2370773"/>
                <a:gd name="connsiteY2203" fmla="*/ 966787 h 1940242"/>
                <a:gd name="connsiteX2204" fmla="*/ 374332 w 2370773"/>
                <a:gd name="connsiteY2204" fmla="*/ 955357 h 1940242"/>
                <a:gd name="connsiteX2205" fmla="*/ 663892 w 2370773"/>
                <a:gd name="connsiteY2205" fmla="*/ 951547 h 1940242"/>
                <a:gd name="connsiteX2206" fmla="*/ 666750 w 2370773"/>
                <a:gd name="connsiteY2206" fmla="*/ 954404 h 1940242"/>
                <a:gd name="connsiteX2207" fmla="*/ 663892 w 2370773"/>
                <a:gd name="connsiteY2207" fmla="*/ 957262 h 1940242"/>
                <a:gd name="connsiteX2208" fmla="*/ 661035 w 2370773"/>
                <a:gd name="connsiteY2208" fmla="*/ 954404 h 1940242"/>
                <a:gd name="connsiteX2209" fmla="*/ 663892 w 2370773"/>
                <a:gd name="connsiteY2209" fmla="*/ 951547 h 1940242"/>
                <a:gd name="connsiteX2210" fmla="*/ 20003 w 2370773"/>
                <a:gd name="connsiteY2210" fmla="*/ 944879 h 1940242"/>
                <a:gd name="connsiteX2211" fmla="*/ 20955 w 2370773"/>
                <a:gd name="connsiteY2211" fmla="*/ 945832 h 1940242"/>
                <a:gd name="connsiteX2212" fmla="*/ 20003 w 2370773"/>
                <a:gd name="connsiteY2212" fmla="*/ 946784 h 1940242"/>
                <a:gd name="connsiteX2213" fmla="*/ 19050 w 2370773"/>
                <a:gd name="connsiteY2213" fmla="*/ 945832 h 1940242"/>
                <a:gd name="connsiteX2214" fmla="*/ 20003 w 2370773"/>
                <a:gd name="connsiteY2214" fmla="*/ 944879 h 1940242"/>
                <a:gd name="connsiteX2215" fmla="*/ 816293 w 2370773"/>
                <a:gd name="connsiteY2215" fmla="*/ 941070 h 1940242"/>
                <a:gd name="connsiteX2216" fmla="*/ 818198 w 2370773"/>
                <a:gd name="connsiteY2216" fmla="*/ 942975 h 1940242"/>
                <a:gd name="connsiteX2217" fmla="*/ 816293 w 2370773"/>
                <a:gd name="connsiteY2217" fmla="*/ 944880 h 1940242"/>
                <a:gd name="connsiteX2218" fmla="*/ 814388 w 2370773"/>
                <a:gd name="connsiteY2218" fmla="*/ 942975 h 1940242"/>
                <a:gd name="connsiteX2219" fmla="*/ 816293 w 2370773"/>
                <a:gd name="connsiteY2219" fmla="*/ 941070 h 1940242"/>
                <a:gd name="connsiteX2220" fmla="*/ 156210 w 2370773"/>
                <a:gd name="connsiteY2220" fmla="*/ 935354 h 1940242"/>
                <a:gd name="connsiteX2221" fmla="*/ 164783 w 2370773"/>
                <a:gd name="connsiteY2221" fmla="*/ 943927 h 1940242"/>
                <a:gd name="connsiteX2222" fmla="*/ 156210 w 2370773"/>
                <a:gd name="connsiteY2222" fmla="*/ 952499 h 1940242"/>
                <a:gd name="connsiteX2223" fmla="*/ 147638 w 2370773"/>
                <a:gd name="connsiteY2223" fmla="*/ 943927 h 1940242"/>
                <a:gd name="connsiteX2224" fmla="*/ 156210 w 2370773"/>
                <a:gd name="connsiteY2224" fmla="*/ 935354 h 1940242"/>
                <a:gd name="connsiteX2225" fmla="*/ 293370 w 2370773"/>
                <a:gd name="connsiteY2225" fmla="*/ 931545 h 1940242"/>
                <a:gd name="connsiteX2226" fmla="*/ 303848 w 2370773"/>
                <a:gd name="connsiteY2226" fmla="*/ 942022 h 1940242"/>
                <a:gd name="connsiteX2227" fmla="*/ 293370 w 2370773"/>
                <a:gd name="connsiteY2227" fmla="*/ 952500 h 1940242"/>
                <a:gd name="connsiteX2228" fmla="*/ 282893 w 2370773"/>
                <a:gd name="connsiteY2228" fmla="*/ 942022 h 1940242"/>
                <a:gd name="connsiteX2229" fmla="*/ 293370 w 2370773"/>
                <a:gd name="connsiteY2229" fmla="*/ 931545 h 1940242"/>
                <a:gd name="connsiteX2230" fmla="*/ 575311 w 2370773"/>
                <a:gd name="connsiteY2230" fmla="*/ 929639 h 1940242"/>
                <a:gd name="connsiteX2231" fmla="*/ 580073 w 2370773"/>
                <a:gd name="connsiteY2231" fmla="*/ 934402 h 1940242"/>
                <a:gd name="connsiteX2232" fmla="*/ 575311 w 2370773"/>
                <a:gd name="connsiteY2232" fmla="*/ 939164 h 1940242"/>
                <a:gd name="connsiteX2233" fmla="*/ 570548 w 2370773"/>
                <a:gd name="connsiteY2233" fmla="*/ 934402 h 1940242"/>
                <a:gd name="connsiteX2234" fmla="*/ 575311 w 2370773"/>
                <a:gd name="connsiteY2234" fmla="*/ 929639 h 1940242"/>
                <a:gd name="connsiteX2235" fmla="*/ 432436 w 2370773"/>
                <a:gd name="connsiteY2235" fmla="*/ 929639 h 1940242"/>
                <a:gd name="connsiteX2236" fmla="*/ 441008 w 2370773"/>
                <a:gd name="connsiteY2236" fmla="*/ 938212 h 1940242"/>
                <a:gd name="connsiteX2237" fmla="*/ 432436 w 2370773"/>
                <a:gd name="connsiteY2237" fmla="*/ 946784 h 1940242"/>
                <a:gd name="connsiteX2238" fmla="*/ 423863 w 2370773"/>
                <a:gd name="connsiteY2238" fmla="*/ 938212 h 1940242"/>
                <a:gd name="connsiteX2239" fmla="*/ 432436 w 2370773"/>
                <a:gd name="connsiteY2239" fmla="*/ 929639 h 1940242"/>
                <a:gd name="connsiteX2240" fmla="*/ 721995 w 2370773"/>
                <a:gd name="connsiteY2240" fmla="*/ 924877 h 1940242"/>
                <a:gd name="connsiteX2241" fmla="*/ 723900 w 2370773"/>
                <a:gd name="connsiteY2241" fmla="*/ 926782 h 1940242"/>
                <a:gd name="connsiteX2242" fmla="*/ 721995 w 2370773"/>
                <a:gd name="connsiteY2242" fmla="*/ 928687 h 1940242"/>
                <a:gd name="connsiteX2243" fmla="*/ 720090 w 2370773"/>
                <a:gd name="connsiteY2243" fmla="*/ 926782 h 1940242"/>
                <a:gd name="connsiteX2244" fmla="*/ 721995 w 2370773"/>
                <a:gd name="connsiteY2244" fmla="*/ 924877 h 1940242"/>
                <a:gd name="connsiteX2245" fmla="*/ 2319337 w 2370773"/>
                <a:gd name="connsiteY2245" fmla="*/ 914400 h 1940242"/>
                <a:gd name="connsiteX2246" fmla="*/ 2320290 w 2370773"/>
                <a:gd name="connsiteY2246" fmla="*/ 915352 h 1940242"/>
                <a:gd name="connsiteX2247" fmla="*/ 2319337 w 2370773"/>
                <a:gd name="connsiteY2247" fmla="*/ 916305 h 1940242"/>
                <a:gd name="connsiteX2248" fmla="*/ 2318384 w 2370773"/>
                <a:gd name="connsiteY2248" fmla="*/ 915352 h 1940242"/>
                <a:gd name="connsiteX2249" fmla="*/ 2319337 w 2370773"/>
                <a:gd name="connsiteY2249" fmla="*/ 914400 h 1940242"/>
                <a:gd name="connsiteX2250" fmla="*/ 2181225 w 2370773"/>
                <a:gd name="connsiteY2250" fmla="*/ 909637 h 1940242"/>
                <a:gd name="connsiteX2251" fmla="*/ 2184082 w 2370773"/>
                <a:gd name="connsiteY2251" fmla="*/ 912495 h 1940242"/>
                <a:gd name="connsiteX2252" fmla="*/ 2181225 w 2370773"/>
                <a:gd name="connsiteY2252" fmla="*/ 915352 h 1940242"/>
                <a:gd name="connsiteX2253" fmla="*/ 2178367 w 2370773"/>
                <a:gd name="connsiteY2253" fmla="*/ 912495 h 1940242"/>
                <a:gd name="connsiteX2254" fmla="*/ 2181225 w 2370773"/>
                <a:gd name="connsiteY2254" fmla="*/ 909637 h 1940242"/>
                <a:gd name="connsiteX2255" fmla="*/ 214313 w 2370773"/>
                <a:gd name="connsiteY2255" fmla="*/ 907732 h 1940242"/>
                <a:gd name="connsiteX2256" fmla="*/ 222885 w 2370773"/>
                <a:gd name="connsiteY2256" fmla="*/ 916304 h 1940242"/>
                <a:gd name="connsiteX2257" fmla="*/ 214313 w 2370773"/>
                <a:gd name="connsiteY2257" fmla="*/ 924877 h 1940242"/>
                <a:gd name="connsiteX2258" fmla="*/ 205740 w 2370773"/>
                <a:gd name="connsiteY2258" fmla="*/ 916304 h 1940242"/>
                <a:gd name="connsiteX2259" fmla="*/ 214313 w 2370773"/>
                <a:gd name="connsiteY2259" fmla="*/ 907732 h 1940242"/>
                <a:gd name="connsiteX2260" fmla="*/ 78106 w 2370773"/>
                <a:gd name="connsiteY2260" fmla="*/ 907732 h 1940242"/>
                <a:gd name="connsiteX2261" fmla="*/ 88583 w 2370773"/>
                <a:gd name="connsiteY2261" fmla="*/ 918209 h 1940242"/>
                <a:gd name="connsiteX2262" fmla="*/ 78106 w 2370773"/>
                <a:gd name="connsiteY2262" fmla="*/ 928687 h 1940242"/>
                <a:gd name="connsiteX2263" fmla="*/ 67628 w 2370773"/>
                <a:gd name="connsiteY2263" fmla="*/ 918209 h 1940242"/>
                <a:gd name="connsiteX2264" fmla="*/ 78106 w 2370773"/>
                <a:gd name="connsiteY2264" fmla="*/ 907732 h 1940242"/>
                <a:gd name="connsiteX2265" fmla="*/ 2249805 w 2370773"/>
                <a:gd name="connsiteY2265" fmla="*/ 906779 h 1940242"/>
                <a:gd name="connsiteX2266" fmla="*/ 2257425 w 2370773"/>
                <a:gd name="connsiteY2266" fmla="*/ 914399 h 1940242"/>
                <a:gd name="connsiteX2267" fmla="*/ 2249805 w 2370773"/>
                <a:gd name="connsiteY2267" fmla="*/ 922019 h 1940242"/>
                <a:gd name="connsiteX2268" fmla="*/ 2242185 w 2370773"/>
                <a:gd name="connsiteY2268" fmla="*/ 914399 h 1940242"/>
                <a:gd name="connsiteX2269" fmla="*/ 2249805 w 2370773"/>
                <a:gd name="connsiteY2269" fmla="*/ 906779 h 1940242"/>
                <a:gd name="connsiteX2270" fmla="*/ 632460 w 2370773"/>
                <a:gd name="connsiteY2270" fmla="*/ 904875 h 1940242"/>
                <a:gd name="connsiteX2271" fmla="*/ 634365 w 2370773"/>
                <a:gd name="connsiteY2271" fmla="*/ 906780 h 1940242"/>
                <a:gd name="connsiteX2272" fmla="*/ 632460 w 2370773"/>
                <a:gd name="connsiteY2272" fmla="*/ 908685 h 1940242"/>
                <a:gd name="connsiteX2273" fmla="*/ 630555 w 2370773"/>
                <a:gd name="connsiteY2273" fmla="*/ 906780 h 1940242"/>
                <a:gd name="connsiteX2274" fmla="*/ 632460 w 2370773"/>
                <a:gd name="connsiteY2274" fmla="*/ 904875 h 1940242"/>
                <a:gd name="connsiteX2275" fmla="*/ 490538 w 2370773"/>
                <a:gd name="connsiteY2275" fmla="*/ 904875 h 1940242"/>
                <a:gd name="connsiteX2276" fmla="*/ 496253 w 2370773"/>
                <a:gd name="connsiteY2276" fmla="*/ 910590 h 1940242"/>
                <a:gd name="connsiteX2277" fmla="*/ 490538 w 2370773"/>
                <a:gd name="connsiteY2277" fmla="*/ 916305 h 1940242"/>
                <a:gd name="connsiteX2278" fmla="*/ 484823 w 2370773"/>
                <a:gd name="connsiteY2278" fmla="*/ 910590 h 1940242"/>
                <a:gd name="connsiteX2279" fmla="*/ 490538 w 2370773"/>
                <a:gd name="connsiteY2279" fmla="*/ 904875 h 1940242"/>
                <a:gd name="connsiteX2280" fmla="*/ 350520 w 2370773"/>
                <a:gd name="connsiteY2280" fmla="*/ 902970 h 1940242"/>
                <a:gd name="connsiteX2281" fmla="*/ 361950 w 2370773"/>
                <a:gd name="connsiteY2281" fmla="*/ 914400 h 1940242"/>
                <a:gd name="connsiteX2282" fmla="*/ 350520 w 2370773"/>
                <a:gd name="connsiteY2282" fmla="*/ 925830 h 1940242"/>
                <a:gd name="connsiteX2283" fmla="*/ 339090 w 2370773"/>
                <a:gd name="connsiteY2283" fmla="*/ 914400 h 1940242"/>
                <a:gd name="connsiteX2284" fmla="*/ 350520 w 2370773"/>
                <a:gd name="connsiteY2284" fmla="*/ 902970 h 1940242"/>
                <a:gd name="connsiteX2285" fmla="*/ 2858 w 2370773"/>
                <a:gd name="connsiteY2285" fmla="*/ 887729 h 1940242"/>
                <a:gd name="connsiteX2286" fmla="*/ 5715 w 2370773"/>
                <a:gd name="connsiteY2286" fmla="*/ 890587 h 1940242"/>
                <a:gd name="connsiteX2287" fmla="*/ 2858 w 2370773"/>
                <a:gd name="connsiteY2287" fmla="*/ 893444 h 1940242"/>
                <a:gd name="connsiteX2288" fmla="*/ 0 w 2370773"/>
                <a:gd name="connsiteY2288" fmla="*/ 890587 h 1940242"/>
                <a:gd name="connsiteX2289" fmla="*/ 2858 w 2370773"/>
                <a:gd name="connsiteY2289" fmla="*/ 887729 h 1940242"/>
                <a:gd name="connsiteX2290" fmla="*/ 137160 w 2370773"/>
                <a:gd name="connsiteY2290" fmla="*/ 882014 h 1940242"/>
                <a:gd name="connsiteX2291" fmla="*/ 144780 w 2370773"/>
                <a:gd name="connsiteY2291" fmla="*/ 889634 h 1940242"/>
                <a:gd name="connsiteX2292" fmla="*/ 137160 w 2370773"/>
                <a:gd name="connsiteY2292" fmla="*/ 897254 h 1940242"/>
                <a:gd name="connsiteX2293" fmla="*/ 129540 w 2370773"/>
                <a:gd name="connsiteY2293" fmla="*/ 889634 h 1940242"/>
                <a:gd name="connsiteX2294" fmla="*/ 137160 w 2370773"/>
                <a:gd name="connsiteY2294" fmla="*/ 882014 h 1940242"/>
                <a:gd name="connsiteX2295" fmla="*/ 547688 w 2370773"/>
                <a:gd name="connsiteY2295" fmla="*/ 880110 h 1940242"/>
                <a:gd name="connsiteX2296" fmla="*/ 550545 w 2370773"/>
                <a:gd name="connsiteY2296" fmla="*/ 882967 h 1940242"/>
                <a:gd name="connsiteX2297" fmla="*/ 547688 w 2370773"/>
                <a:gd name="connsiteY2297" fmla="*/ 885825 h 1940242"/>
                <a:gd name="connsiteX2298" fmla="*/ 544830 w 2370773"/>
                <a:gd name="connsiteY2298" fmla="*/ 882967 h 1940242"/>
                <a:gd name="connsiteX2299" fmla="*/ 547688 w 2370773"/>
                <a:gd name="connsiteY2299" fmla="*/ 880110 h 1940242"/>
                <a:gd name="connsiteX2300" fmla="*/ 408623 w 2370773"/>
                <a:gd name="connsiteY2300" fmla="*/ 880110 h 1940242"/>
                <a:gd name="connsiteX2301" fmla="*/ 415290 w 2370773"/>
                <a:gd name="connsiteY2301" fmla="*/ 886777 h 1940242"/>
                <a:gd name="connsiteX2302" fmla="*/ 408623 w 2370773"/>
                <a:gd name="connsiteY2302" fmla="*/ 893445 h 1940242"/>
                <a:gd name="connsiteX2303" fmla="*/ 401955 w 2370773"/>
                <a:gd name="connsiteY2303" fmla="*/ 886777 h 1940242"/>
                <a:gd name="connsiteX2304" fmla="*/ 408623 w 2370773"/>
                <a:gd name="connsiteY2304" fmla="*/ 880110 h 1940242"/>
                <a:gd name="connsiteX2305" fmla="*/ 272415 w 2370773"/>
                <a:gd name="connsiteY2305" fmla="*/ 879157 h 1940242"/>
                <a:gd name="connsiteX2306" fmla="*/ 280988 w 2370773"/>
                <a:gd name="connsiteY2306" fmla="*/ 887729 h 1940242"/>
                <a:gd name="connsiteX2307" fmla="*/ 272415 w 2370773"/>
                <a:gd name="connsiteY2307" fmla="*/ 896302 h 1940242"/>
                <a:gd name="connsiteX2308" fmla="*/ 263843 w 2370773"/>
                <a:gd name="connsiteY2308" fmla="*/ 887729 h 1940242"/>
                <a:gd name="connsiteX2309" fmla="*/ 272415 w 2370773"/>
                <a:gd name="connsiteY2309" fmla="*/ 879157 h 1940242"/>
                <a:gd name="connsiteX2310" fmla="*/ 690563 w 2370773"/>
                <a:gd name="connsiteY2310" fmla="*/ 875347 h 1940242"/>
                <a:gd name="connsiteX2311" fmla="*/ 693420 w 2370773"/>
                <a:gd name="connsiteY2311" fmla="*/ 878204 h 1940242"/>
                <a:gd name="connsiteX2312" fmla="*/ 690563 w 2370773"/>
                <a:gd name="connsiteY2312" fmla="*/ 881062 h 1940242"/>
                <a:gd name="connsiteX2313" fmla="*/ 687705 w 2370773"/>
                <a:gd name="connsiteY2313" fmla="*/ 878204 h 1940242"/>
                <a:gd name="connsiteX2314" fmla="*/ 690563 w 2370773"/>
                <a:gd name="connsiteY2314" fmla="*/ 875347 h 1940242"/>
                <a:gd name="connsiteX2315" fmla="*/ 2338388 w 2370773"/>
                <a:gd name="connsiteY2315" fmla="*/ 860107 h 1940242"/>
                <a:gd name="connsiteX2316" fmla="*/ 2339340 w 2370773"/>
                <a:gd name="connsiteY2316" fmla="*/ 861059 h 1940242"/>
                <a:gd name="connsiteX2317" fmla="*/ 2338388 w 2370773"/>
                <a:gd name="connsiteY2317" fmla="*/ 862012 h 1940242"/>
                <a:gd name="connsiteX2318" fmla="*/ 2337435 w 2370773"/>
                <a:gd name="connsiteY2318" fmla="*/ 861059 h 1940242"/>
                <a:gd name="connsiteX2319" fmla="*/ 2338388 w 2370773"/>
                <a:gd name="connsiteY2319" fmla="*/ 860107 h 1940242"/>
                <a:gd name="connsiteX2320" fmla="*/ 61913 w 2370773"/>
                <a:gd name="connsiteY2320" fmla="*/ 859154 h 1940242"/>
                <a:gd name="connsiteX2321" fmla="*/ 64770 w 2370773"/>
                <a:gd name="connsiteY2321" fmla="*/ 862012 h 1940242"/>
                <a:gd name="connsiteX2322" fmla="*/ 61913 w 2370773"/>
                <a:gd name="connsiteY2322" fmla="*/ 864869 h 1940242"/>
                <a:gd name="connsiteX2323" fmla="*/ 59055 w 2370773"/>
                <a:gd name="connsiteY2323" fmla="*/ 862012 h 1940242"/>
                <a:gd name="connsiteX2324" fmla="*/ 61913 w 2370773"/>
                <a:gd name="connsiteY2324" fmla="*/ 859154 h 1940242"/>
                <a:gd name="connsiteX2325" fmla="*/ 2270760 w 2370773"/>
                <a:gd name="connsiteY2325" fmla="*/ 855345 h 1940242"/>
                <a:gd name="connsiteX2326" fmla="*/ 2275522 w 2370773"/>
                <a:gd name="connsiteY2326" fmla="*/ 860108 h 1940242"/>
                <a:gd name="connsiteX2327" fmla="*/ 2270760 w 2370773"/>
                <a:gd name="connsiteY2327" fmla="*/ 864870 h 1940242"/>
                <a:gd name="connsiteX2328" fmla="*/ 2265997 w 2370773"/>
                <a:gd name="connsiteY2328" fmla="*/ 860108 h 1940242"/>
                <a:gd name="connsiteX2329" fmla="*/ 2270760 w 2370773"/>
                <a:gd name="connsiteY2329" fmla="*/ 855345 h 1940242"/>
                <a:gd name="connsiteX2330" fmla="*/ 2134553 w 2370773"/>
                <a:gd name="connsiteY2330" fmla="*/ 855345 h 1940242"/>
                <a:gd name="connsiteX2331" fmla="*/ 2137410 w 2370773"/>
                <a:gd name="connsiteY2331" fmla="*/ 858202 h 1940242"/>
                <a:gd name="connsiteX2332" fmla="*/ 2134553 w 2370773"/>
                <a:gd name="connsiteY2332" fmla="*/ 861060 h 1940242"/>
                <a:gd name="connsiteX2333" fmla="*/ 2131695 w 2370773"/>
                <a:gd name="connsiteY2333" fmla="*/ 858202 h 1940242"/>
                <a:gd name="connsiteX2334" fmla="*/ 2134553 w 2370773"/>
                <a:gd name="connsiteY2334" fmla="*/ 855345 h 1940242"/>
                <a:gd name="connsiteX2335" fmla="*/ 2203133 w 2370773"/>
                <a:gd name="connsiteY2335" fmla="*/ 853439 h 1940242"/>
                <a:gd name="connsiteX2336" fmla="*/ 2209800 w 2370773"/>
                <a:gd name="connsiteY2336" fmla="*/ 860107 h 1940242"/>
                <a:gd name="connsiteX2337" fmla="*/ 2203133 w 2370773"/>
                <a:gd name="connsiteY2337" fmla="*/ 866774 h 1940242"/>
                <a:gd name="connsiteX2338" fmla="*/ 2196465 w 2370773"/>
                <a:gd name="connsiteY2338" fmla="*/ 860107 h 1940242"/>
                <a:gd name="connsiteX2339" fmla="*/ 2203133 w 2370773"/>
                <a:gd name="connsiteY2339" fmla="*/ 853439 h 1940242"/>
                <a:gd name="connsiteX2340" fmla="*/ 605790 w 2370773"/>
                <a:gd name="connsiteY2340" fmla="*/ 853439 h 1940242"/>
                <a:gd name="connsiteX2341" fmla="*/ 607695 w 2370773"/>
                <a:gd name="connsiteY2341" fmla="*/ 855344 h 1940242"/>
                <a:gd name="connsiteX2342" fmla="*/ 605790 w 2370773"/>
                <a:gd name="connsiteY2342" fmla="*/ 857249 h 1940242"/>
                <a:gd name="connsiteX2343" fmla="*/ 603885 w 2370773"/>
                <a:gd name="connsiteY2343" fmla="*/ 855344 h 1940242"/>
                <a:gd name="connsiteX2344" fmla="*/ 605790 w 2370773"/>
                <a:gd name="connsiteY2344" fmla="*/ 853439 h 1940242"/>
                <a:gd name="connsiteX2345" fmla="*/ 466725 w 2370773"/>
                <a:gd name="connsiteY2345" fmla="*/ 852487 h 1940242"/>
                <a:gd name="connsiteX2346" fmla="*/ 472440 w 2370773"/>
                <a:gd name="connsiteY2346" fmla="*/ 858202 h 1940242"/>
                <a:gd name="connsiteX2347" fmla="*/ 466725 w 2370773"/>
                <a:gd name="connsiteY2347" fmla="*/ 863917 h 1940242"/>
                <a:gd name="connsiteX2348" fmla="*/ 461010 w 2370773"/>
                <a:gd name="connsiteY2348" fmla="*/ 858202 h 1940242"/>
                <a:gd name="connsiteX2349" fmla="*/ 466725 w 2370773"/>
                <a:gd name="connsiteY2349" fmla="*/ 852487 h 1940242"/>
                <a:gd name="connsiteX2350" fmla="*/ 195262 w 2370773"/>
                <a:gd name="connsiteY2350" fmla="*/ 852487 h 1940242"/>
                <a:gd name="connsiteX2351" fmla="*/ 203835 w 2370773"/>
                <a:gd name="connsiteY2351" fmla="*/ 861060 h 1940242"/>
                <a:gd name="connsiteX2352" fmla="*/ 195262 w 2370773"/>
                <a:gd name="connsiteY2352" fmla="*/ 869632 h 1940242"/>
                <a:gd name="connsiteX2353" fmla="*/ 186690 w 2370773"/>
                <a:gd name="connsiteY2353" fmla="*/ 861060 h 1940242"/>
                <a:gd name="connsiteX2354" fmla="*/ 195262 w 2370773"/>
                <a:gd name="connsiteY2354" fmla="*/ 852487 h 1940242"/>
                <a:gd name="connsiteX2355" fmla="*/ 330518 w 2370773"/>
                <a:gd name="connsiteY2355" fmla="*/ 850582 h 1940242"/>
                <a:gd name="connsiteX2356" fmla="*/ 340043 w 2370773"/>
                <a:gd name="connsiteY2356" fmla="*/ 860107 h 1940242"/>
                <a:gd name="connsiteX2357" fmla="*/ 330518 w 2370773"/>
                <a:gd name="connsiteY2357" fmla="*/ 869632 h 1940242"/>
                <a:gd name="connsiteX2358" fmla="*/ 320993 w 2370773"/>
                <a:gd name="connsiteY2358" fmla="*/ 860107 h 1940242"/>
                <a:gd name="connsiteX2359" fmla="*/ 330518 w 2370773"/>
                <a:gd name="connsiteY2359" fmla="*/ 850582 h 1940242"/>
                <a:gd name="connsiteX2360" fmla="*/ 748665 w 2370773"/>
                <a:gd name="connsiteY2360" fmla="*/ 847725 h 1940242"/>
                <a:gd name="connsiteX2361" fmla="*/ 750570 w 2370773"/>
                <a:gd name="connsiteY2361" fmla="*/ 849630 h 1940242"/>
                <a:gd name="connsiteX2362" fmla="*/ 748665 w 2370773"/>
                <a:gd name="connsiteY2362" fmla="*/ 851535 h 1940242"/>
                <a:gd name="connsiteX2363" fmla="*/ 746760 w 2370773"/>
                <a:gd name="connsiteY2363" fmla="*/ 849630 h 1940242"/>
                <a:gd name="connsiteX2364" fmla="*/ 748665 w 2370773"/>
                <a:gd name="connsiteY2364" fmla="*/ 847725 h 1940242"/>
                <a:gd name="connsiteX2365" fmla="*/ 524828 w 2370773"/>
                <a:gd name="connsiteY2365" fmla="*/ 828675 h 1940242"/>
                <a:gd name="connsiteX2366" fmla="*/ 526733 w 2370773"/>
                <a:gd name="connsiteY2366" fmla="*/ 830580 h 1940242"/>
                <a:gd name="connsiteX2367" fmla="*/ 524828 w 2370773"/>
                <a:gd name="connsiteY2367" fmla="*/ 832485 h 1940242"/>
                <a:gd name="connsiteX2368" fmla="*/ 522923 w 2370773"/>
                <a:gd name="connsiteY2368" fmla="*/ 830580 h 1940242"/>
                <a:gd name="connsiteX2369" fmla="*/ 524828 w 2370773"/>
                <a:gd name="connsiteY2369" fmla="*/ 828675 h 1940242"/>
                <a:gd name="connsiteX2370" fmla="*/ 388620 w 2370773"/>
                <a:gd name="connsiteY2370" fmla="*/ 826770 h 1940242"/>
                <a:gd name="connsiteX2371" fmla="*/ 394335 w 2370773"/>
                <a:gd name="connsiteY2371" fmla="*/ 832485 h 1940242"/>
                <a:gd name="connsiteX2372" fmla="*/ 388620 w 2370773"/>
                <a:gd name="connsiteY2372" fmla="*/ 838200 h 1940242"/>
                <a:gd name="connsiteX2373" fmla="*/ 382905 w 2370773"/>
                <a:gd name="connsiteY2373" fmla="*/ 832485 h 1940242"/>
                <a:gd name="connsiteX2374" fmla="*/ 388620 w 2370773"/>
                <a:gd name="connsiteY2374" fmla="*/ 826770 h 1940242"/>
                <a:gd name="connsiteX2375" fmla="*/ 254318 w 2370773"/>
                <a:gd name="connsiteY2375" fmla="*/ 826770 h 1940242"/>
                <a:gd name="connsiteX2376" fmla="*/ 260985 w 2370773"/>
                <a:gd name="connsiteY2376" fmla="*/ 833437 h 1940242"/>
                <a:gd name="connsiteX2377" fmla="*/ 254318 w 2370773"/>
                <a:gd name="connsiteY2377" fmla="*/ 840105 h 1940242"/>
                <a:gd name="connsiteX2378" fmla="*/ 247650 w 2370773"/>
                <a:gd name="connsiteY2378" fmla="*/ 833437 h 1940242"/>
                <a:gd name="connsiteX2379" fmla="*/ 254318 w 2370773"/>
                <a:gd name="connsiteY2379" fmla="*/ 826770 h 1940242"/>
                <a:gd name="connsiteX2380" fmla="*/ 663893 w 2370773"/>
                <a:gd name="connsiteY2380" fmla="*/ 825817 h 1940242"/>
                <a:gd name="connsiteX2381" fmla="*/ 665798 w 2370773"/>
                <a:gd name="connsiteY2381" fmla="*/ 827722 h 1940242"/>
                <a:gd name="connsiteX2382" fmla="*/ 663893 w 2370773"/>
                <a:gd name="connsiteY2382" fmla="*/ 829627 h 1940242"/>
                <a:gd name="connsiteX2383" fmla="*/ 661988 w 2370773"/>
                <a:gd name="connsiteY2383" fmla="*/ 827722 h 1940242"/>
                <a:gd name="connsiteX2384" fmla="*/ 663893 w 2370773"/>
                <a:gd name="connsiteY2384" fmla="*/ 825817 h 1940242"/>
                <a:gd name="connsiteX2385" fmla="*/ 120968 w 2370773"/>
                <a:gd name="connsiteY2385" fmla="*/ 824864 h 1940242"/>
                <a:gd name="connsiteX2386" fmla="*/ 129540 w 2370773"/>
                <a:gd name="connsiteY2386" fmla="*/ 833437 h 1940242"/>
                <a:gd name="connsiteX2387" fmla="*/ 120968 w 2370773"/>
                <a:gd name="connsiteY2387" fmla="*/ 842009 h 1940242"/>
                <a:gd name="connsiteX2388" fmla="*/ 112395 w 2370773"/>
                <a:gd name="connsiteY2388" fmla="*/ 833437 h 1940242"/>
                <a:gd name="connsiteX2389" fmla="*/ 120968 w 2370773"/>
                <a:gd name="connsiteY2389" fmla="*/ 824864 h 1940242"/>
                <a:gd name="connsiteX2390" fmla="*/ 2354580 w 2370773"/>
                <a:gd name="connsiteY2390" fmla="*/ 803910 h 1940242"/>
                <a:gd name="connsiteX2391" fmla="*/ 2356485 w 2370773"/>
                <a:gd name="connsiteY2391" fmla="*/ 805815 h 1940242"/>
                <a:gd name="connsiteX2392" fmla="*/ 2354580 w 2370773"/>
                <a:gd name="connsiteY2392" fmla="*/ 807720 h 1940242"/>
                <a:gd name="connsiteX2393" fmla="*/ 2352675 w 2370773"/>
                <a:gd name="connsiteY2393" fmla="*/ 805815 h 1940242"/>
                <a:gd name="connsiteX2394" fmla="*/ 2354580 w 2370773"/>
                <a:gd name="connsiteY2394" fmla="*/ 803910 h 1940242"/>
                <a:gd name="connsiteX2395" fmla="*/ 47625 w 2370773"/>
                <a:gd name="connsiteY2395" fmla="*/ 802957 h 1940242"/>
                <a:gd name="connsiteX2396" fmla="*/ 51435 w 2370773"/>
                <a:gd name="connsiteY2396" fmla="*/ 806767 h 1940242"/>
                <a:gd name="connsiteX2397" fmla="*/ 47625 w 2370773"/>
                <a:gd name="connsiteY2397" fmla="*/ 810577 h 1940242"/>
                <a:gd name="connsiteX2398" fmla="*/ 43815 w 2370773"/>
                <a:gd name="connsiteY2398" fmla="*/ 806767 h 1940242"/>
                <a:gd name="connsiteX2399" fmla="*/ 47625 w 2370773"/>
                <a:gd name="connsiteY2399" fmla="*/ 802957 h 1940242"/>
                <a:gd name="connsiteX2400" fmla="*/ 2287905 w 2370773"/>
                <a:gd name="connsiteY2400" fmla="*/ 802004 h 1940242"/>
                <a:gd name="connsiteX2401" fmla="*/ 2290762 w 2370773"/>
                <a:gd name="connsiteY2401" fmla="*/ 804862 h 1940242"/>
                <a:gd name="connsiteX2402" fmla="*/ 2287905 w 2370773"/>
                <a:gd name="connsiteY2402" fmla="*/ 807719 h 1940242"/>
                <a:gd name="connsiteX2403" fmla="*/ 2285047 w 2370773"/>
                <a:gd name="connsiteY2403" fmla="*/ 804862 h 1940242"/>
                <a:gd name="connsiteX2404" fmla="*/ 2287905 w 2370773"/>
                <a:gd name="connsiteY2404" fmla="*/ 802004 h 1940242"/>
                <a:gd name="connsiteX2405" fmla="*/ 2154555 w 2370773"/>
                <a:gd name="connsiteY2405" fmla="*/ 802004 h 1940242"/>
                <a:gd name="connsiteX2406" fmla="*/ 2156460 w 2370773"/>
                <a:gd name="connsiteY2406" fmla="*/ 803909 h 1940242"/>
                <a:gd name="connsiteX2407" fmla="*/ 2154555 w 2370773"/>
                <a:gd name="connsiteY2407" fmla="*/ 805814 h 1940242"/>
                <a:gd name="connsiteX2408" fmla="*/ 2152650 w 2370773"/>
                <a:gd name="connsiteY2408" fmla="*/ 803909 h 1940242"/>
                <a:gd name="connsiteX2409" fmla="*/ 2154555 w 2370773"/>
                <a:gd name="connsiteY2409" fmla="*/ 802004 h 1940242"/>
                <a:gd name="connsiteX2410" fmla="*/ 2221230 w 2370773"/>
                <a:gd name="connsiteY2410" fmla="*/ 801052 h 1940242"/>
                <a:gd name="connsiteX2411" fmla="*/ 2225040 w 2370773"/>
                <a:gd name="connsiteY2411" fmla="*/ 804862 h 1940242"/>
                <a:gd name="connsiteX2412" fmla="*/ 2221230 w 2370773"/>
                <a:gd name="connsiteY2412" fmla="*/ 808672 h 1940242"/>
                <a:gd name="connsiteX2413" fmla="*/ 2217420 w 2370773"/>
                <a:gd name="connsiteY2413" fmla="*/ 804862 h 1940242"/>
                <a:gd name="connsiteX2414" fmla="*/ 2221230 w 2370773"/>
                <a:gd name="connsiteY2414" fmla="*/ 801052 h 1940242"/>
                <a:gd name="connsiteX2415" fmla="*/ 582930 w 2370773"/>
                <a:gd name="connsiteY2415" fmla="*/ 800100 h 1940242"/>
                <a:gd name="connsiteX2416" fmla="*/ 584835 w 2370773"/>
                <a:gd name="connsiteY2416" fmla="*/ 802005 h 1940242"/>
                <a:gd name="connsiteX2417" fmla="*/ 582930 w 2370773"/>
                <a:gd name="connsiteY2417" fmla="*/ 803910 h 1940242"/>
                <a:gd name="connsiteX2418" fmla="*/ 581025 w 2370773"/>
                <a:gd name="connsiteY2418" fmla="*/ 802005 h 1940242"/>
                <a:gd name="connsiteX2419" fmla="*/ 582930 w 2370773"/>
                <a:gd name="connsiteY2419" fmla="*/ 800100 h 1940242"/>
                <a:gd name="connsiteX2420" fmla="*/ 446722 w 2370773"/>
                <a:gd name="connsiteY2420" fmla="*/ 798195 h 1940242"/>
                <a:gd name="connsiteX2421" fmla="*/ 452437 w 2370773"/>
                <a:gd name="connsiteY2421" fmla="*/ 803910 h 1940242"/>
                <a:gd name="connsiteX2422" fmla="*/ 446722 w 2370773"/>
                <a:gd name="connsiteY2422" fmla="*/ 809625 h 1940242"/>
                <a:gd name="connsiteX2423" fmla="*/ 441007 w 2370773"/>
                <a:gd name="connsiteY2423" fmla="*/ 803910 h 1940242"/>
                <a:gd name="connsiteX2424" fmla="*/ 446722 w 2370773"/>
                <a:gd name="connsiteY2424" fmla="*/ 798195 h 1940242"/>
                <a:gd name="connsiteX2425" fmla="*/ 180023 w 2370773"/>
                <a:gd name="connsiteY2425" fmla="*/ 798195 h 1940242"/>
                <a:gd name="connsiteX2426" fmla="*/ 187643 w 2370773"/>
                <a:gd name="connsiteY2426" fmla="*/ 805815 h 1940242"/>
                <a:gd name="connsiteX2427" fmla="*/ 180023 w 2370773"/>
                <a:gd name="connsiteY2427" fmla="*/ 813435 h 1940242"/>
                <a:gd name="connsiteX2428" fmla="*/ 172403 w 2370773"/>
                <a:gd name="connsiteY2428" fmla="*/ 805815 h 1940242"/>
                <a:gd name="connsiteX2429" fmla="*/ 180023 w 2370773"/>
                <a:gd name="connsiteY2429" fmla="*/ 798195 h 1940242"/>
                <a:gd name="connsiteX2430" fmla="*/ 312420 w 2370773"/>
                <a:gd name="connsiteY2430" fmla="*/ 794385 h 1940242"/>
                <a:gd name="connsiteX2431" fmla="*/ 322898 w 2370773"/>
                <a:gd name="connsiteY2431" fmla="*/ 804862 h 1940242"/>
                <a:gd name="connsiteX2432" fmla="*/ 312420 w 2370773"/>
                <a:gd name="connsiteY2432" fmla="*/ 815340 h 1940242"/>
                <a:gd name="connsiteX2433" fmla="*/ 301943 w 2370773"/>
                <a:gd name="connsiteY2433" fmla="*/ 804862 h 1940242"/>
                <a:gd name="connsiteX2434" fmla="*/ 312420 w 2370773"/>
                <a:gd name="connsiteY2434" fmla="*/ 794385 h 1940242"/>
                <a:gd name="connsiteX2435" fmla="*/ 641032 w 2370773"/>
                <a:gd name="connsiteY2435" fmla="*/ 772477 h 1940242"/>
                <a:gd name="connsiteX2436" fmla="*/ 642937 w 2370773"/>
                <a:gd name="connsiteY2436" fmla="*/ 774382 h 1940242"/>
                <a:gd name="connsiteX2437" fmla="*/ 641032 w 2370773"/>
                <a:gd name="connsiteY2437" fmla="*/ 776287 h 1940242"/>
                <a:gd name="connsiteX2438" fmla="*/ 639127 w 2370773"/>
                <a:gd name="connsiteY2438" fmla="*/ 774382 h 1940242"/>
                <a:gd name="connsiteX2439" fmla="*/ 641032 w 2370773"/>
                <a:gd name="connsiteY2439" fmla="*/ 772477 h 1940242"/>
                <a:gd name="connsiteX2440" fmla="*/ 505777 w 2370773"/>
                <a:gd name="connsiteY2440" fmla="*/ 772477 h 1940242"/>
                <a:gd name="connsiteX2441" fmla="*/ 508635 w 2370773"/>
                <a:gd name="connsiteY2441" fmla="*/ 775335 h 1940242"/>
                <a:gd name="connsiteX2442" fmla="*/ 505777 w 2370773"/>
                <a:gd name="connsiteY2442" fmla="*/ 778192 h 1940242"/>
                <a:gd name="connsiteX2443" fmla="*/ 502920 w 2370773"/>
                <a:gd name="connsiteY2443" fmla="*/ 775335 h 1940242"/>
                <a:gd name="connsiteX2444" fmla="*/ 505777 w 2370773"/>
                <a:gd name="connsiteY2444" fmla="*/ 772477 h 1940242"/>
                <a:gd name="connsiteX2445" fmla="*/ 239078 w 2370773"/>
                <a:gd name="connsiteY2445" fmla="*/ 771525 h 1940242"/>
                <a:gd name="connsiteX2446" fmla="*/ 244793 w 2370773"/>
                <a:gd name="connsiteY2446" fmla="*/ 777240 h 1940242"/>
                <a:gd name="connsiteX2447" fmla="*/ 239078 w 2370773"/>
                <a:gd name="connsiteY2447" fmla="*/ 782955 h 1940242"/>
                <a:gd name="connsiteX2448" fmla="*/ 233363 w 2370773"/>
                <a:gd name="connsiteY2448" fmla="*/ 777240 h 1940242"/>
                <a:gd name="connsiteX2449" fmla="*/ 239078 w 2370773"/>
                <a:gd name="connsiteY2449" fmla="*/ 771525 h 1940242"/>
                <a:gd name="connsiteX2450" fmla="*/ 371475 w 2370773"/>
                <a:gd name="connsiteY2450" fmla="*/ 770572 h 1940242"/>
                <a:gd name="connsiteX2451" fmla="*/ 378142 w 2370773"/>
                <a:gd name="connsiteY2451" fmla="*/ 777239 h 1940242"/>
                <a:gd name="connsiteX2452" fmla="*/ 371475 w 2370773"/>
                <a:gd name="connsiteY2452" fmla="*/ 783907 h 1940242"/>
                <a:gd name="connsiteX2453" fmla="*/ 364807 w 2370773"/>
                <a:gd name="connsiteY2453" fmla="*/ 777239 h 1940242"/>
                <a:gd name="connsiteX2454" fmla="*/ 371475 w 2370773"/>
                <a:gd name="connsiteY2454" fmla="*/ 770572 h 1940242"/>
                <a:gd name="connsiteX2455" fmla="*/ 107633 w 2370773"/>
                <a:gd name="connsiteY2455" fmla="*/ 770572 h 1940242"/>
                <a:gd name="connsiteX2456" fmla="*/ 115253 w 2370773"/>
                <a:gd name="connsiteY2456" fmla="*/ 778192 h 1940242"/>
                <a:gd name="connsiteX2457" fmla="*/ 107633 w 2370773"/>
                <a:gd name="connsiteY2457" fmla="*/ 785812 h 1940242"/>
                <a:gd name="connsiteX2458" fmla="*/ 100013 w 2370773"/>
                <a:gd name="connsiteY2458" fmla="*/ 778192 h 1940242"/>
                <a:gd name="connsiteX2459" fmla="*/ 107633 w 2370773"/>
                <a:gd name="connsiteY2459" fmla="*/ 770572 h 1940242"/>
                <a:gd name="connsiteX2460" fmla="*/ 2236470 w 2370773"/>
                <a:gd name="connsiteY2460" fmla="*/ 748664 h 1940242"/>
                <a:gd name="connsiteX2461" fmla="*/ 2237422 w 2370773"/>
                <a:gd name="connsiteY2461" fmla="*/ 749616 h 1940242"/>
                <a:gd name="connsiteX2462" fmla="*/ 2236470 w 2370773"/>
                <a:gd name="connsiteY2462" fmla="*/ 750569 h 1940242"/>
                <a:gd name="connsiteX2463" fmla="*/ 2235517 w 2370773"/>
                <a:gd name="connsiteY2463" fmla="*/ 749616 h 1940242"/>
                <a:gd name="connsiteX2464" fmla="*/ 2236470 w 2370773"/>
                <a:gd name="connsiteY2464" fmla="*/ 748664 h 1940242"/>
                <a:gd name="connsiteX2465" fmla="*/ 2368868 w 2370773"/>
                <a:gd name="connsiteY2465" fmla="*/ 747712 h 1940242"/>
                <a:gd name="connsiteX2466" fmla="*/ 2370773 w 2370773"/>
                <a:gd name="connsiteY2466" fmla="*/ 749617 h 1940242"/>
                <a:gd name="connsiteX2467" fmla="*/ 2368868 w 2370773"/>
                <a:gd name="connsiteY2467" fmla="*/ 751522 h 1940242"/>
                <a:gd name="connsiteX2468" fmla="*/ 2366963 w 2370773"/>
                <a:gd name="connsiteY2468" fmla="*/ 749617 h 1940242"/>
                <a:gd name="connsiteX2469" fmla="*/ 2368868 w 2370773"/>
                <a:gd name="connsiteY2469" fmla="*/ 747712 h 1940242"/>
                <a:gd name="connsiteX2470" fmla="*/ 2303145 w 2370773"/>
                <a:gd name="connsiteY2470" fmla="*/ 746760 h 1940242"/>
                <a:gd name="connsiteX2471" fmla="*/ 2305050 w 2370773"/>
                <a:gd name="connsiteY2471" fmla="*/ 748665 h 1940242"/>
                <a:gd name="connsiteX2472" fmla="*/ 2303145 w 2370773"/>
                <a:gd name="connsiteY2472" fmla="*/ 750570 h 1940242"/>
                <a:gd name="connsiteX2473" fmla="*/ 2301240 w 2370773"/>
                <a:gd name="connsiteY2473" fmla="*/ 748665 h 1940242"/>
                <a:gd name="connsiteX2474" fmla="*/ 2303145 w 2370773"/>
                <a:gd name="connsiteY2474" fmla="*/ 746760 h 1940242"/>
                <a:gd name="connsiteX2475" fmla="*/ 36196 w 2370773"/>
                <a:gd name="connsiteY2475" fmla="*/ 746760 h 1940242"/>
                <a:gd name="connsiteX2476" fmla="*/ 39053 w 2370773"/>
                <a:gd name="connsiteY2476" fmla="*/ 749617 h 1940242"/>
                <a:gd name="connsiteX2477" fmla="*/ 36196 w 2370773"/>
                <a:gd name="connsiteY2477" fmla="*/ 752475 h 1940242"/>
                <a:gd name="connsiteX2478" fmla="*/ 33338 w 2370773"/>
                <a:gd name="connsiteY2478" fmla="*/ 749617 h 1940242"/>
                <a:gd name="connsiteX2479" fmla="*/ 36196 w 2370773"/>
                <a:gd name="connsiteY2479" fmla="*/ 746760 h 1940242"/>
                <a:gd name="connsiteX2480" fmla="*/ 699135 w 2370773"/>
                <a:gd name="connsiteY2480" fmla="*/ 745807 h 1940242"/>
                <a:gd name="connsiteX2481" fmla="*/ 700088 w 2370773"/>
                <a:gd name="connsiteY2481" fmla="*/ 746759 h 1940242"/>
                <a:gd name="connsiteX2482" fmla="*/ 699135 w 2370773"/>
                <a:gd name="connsiteY2482" fmla="*/ 747712 h 1940242"/>
                <a:gd name="connsiteX2483" fmla="*/ 698183 w 2370773"/>
                <a:gd name="connsiteY2483" fmla="*/ 746759 h 1940242"/>
                <a:gd name="connsiteX2484" fmla="*/ 699135 w 2370773"/>
                <a:gd name="connsiteY2484" fmla="*/ 745807 h 1940242"/>
                <a:gd name="connsiteX2485" fmla="*/ 563880 w 2370773"/>
                <a:gd name="connsiteY2485" fmla="*/ 745807 h 1940242"/>
                <a:gd name="connsiteX2486" fmla="*/ 565785 w 2370773"/>
                <a:gd name="connsiteY2486" fmla="*/ 747712 h 1940242"/>
                <a:gd name="connsiteX2487" fmla="*/ 563880 w 2370773"/>
                <a:gd name="connsiteY2487" fmla="*/ 749617 h 1940242"/>
                <a:gd name="connsiteX2488" fmla="*/ 561975 w 2370773"/>
                <a:gd name="connsiteY2488" fmla="*/ 747712 h 1940242"/>
                <a:gd name="connsiteX2489" fmla="*/ 563880 w 2370773"/>
                <a:gd name="connsiteY2489" fmla="*/ 745807 h 1940242"/>
                <a:gd name="connsiteX2490" fmla="*/ 430530 w 2370773"/>
                <a:gd name="connsiteY2490" fmla="*/ 744854 h 1940242"/>
                <a:gd name="connsiteX2491" fmla="*/ 434340 w 2370773"/>
                <a:gd name="connsiteY2491" fmla="*/ 748664 h 1940242"/>
                <a:gd name="connsiteX2492" fmla="*/ 430530 w 2370773"/>
                <a:gd name="connsiteY2492" fmla="*/ 752474 h 1940242"/>
                <a:gd name="connsiteX2493" fmla="*/ 426720 w 2370773"/>
                <a:gd name="connsiteY2493" fmla="*/ 748664 h 1940242"/>
                <a:gd name="connsiteX2494" fmla="*/ 430530 w 2370773"/>
                <a:gd name="connsiteY2494" fmla="*/ 744854 h 1940242"/>
                <a:gd name="connsiteX2495" fmla="*/ 166688 w 2370773"/>
                <a:gd name="connsiteY2495" fmla="*/ 742950 h 1940242"/>
                <a:gd name="connsiteX2496" fmla="*/ 173355 w 2370773"/>
                <a:gd name="connsiteY2496" fmla="*/ 749617 h 1940242"/>
                <a:gd name="connsiteX2497" fmla="*/ 166688 w 2370773"/>
                <a:gd name="connsiteY2497" fmla="*/ 756285 h 1940242"/>
                <a:gd name="connsiteX2498" fmla="*/ 160020 w 2370773"/>
                <a:gd name="connsiteY2498" fmla="*/ 749617 h 1940242"/>
                <a:gd name="connsiteX2499" fmla="*/ 166688 w 2370773"/>
                <a:gd name="connsiteY2499" fmla="*/ 742950 h 1940242"/>
                <a:gd name="connsiteX2500" fmla="*/ 298133 w 2370773"/>
                <a:gd name="connsiteY2500" fmla="*/ 741997 h 1940242"/>
                <a:gd name="connsiteX2501" fmla="*/ 305753 w 2370773"/>
                <a:gd name="connsiteY2501" fmla="*/ 749617 h 1940242"/>
                <a:gd name="connsiteX2502" fmla="*/ 298133 w 2370773"/>
                <a:gd name="connsiteY2502" fmla="*/ 757237 h 1940242"/>
                <a:gd name="connsiteX2503" fmla="*/ 290513 w 2370773"/>
                <a:gd name="connsiteY2503" fmla="*/ 749617 h 1940242"/>
                <a:gd name="connsiteX2504" fmla="*/ 298133 w 2370773"/>
                <a:gd name="connsiteY2504" fmla="*/ 741997 h 1940242"/>
                <a:gd name="connsiteX2505" fmla="*/ 622935 w 2370773"/>
                <a:gd name="connsiteY2505" fmla="*/ 717232 h 1940242"/>
                <a:gd name="connsiteX2506" fmla="*/ 624840 w 2370773"/>
                <a:gd name="connsiteY2506" fmla="*/ 719137 h 1940242"/>
                <a:gd name="connsiteX2507" fmla="*/ 622935 w 2370773"/>
                <a:gd name="connsiteY2507" fmla="*/ 721042 h 1940242"/>
                <a:gd name="connsiteX2508" fmla="*/ 621030 w 2370773"/>
                <a:gd name="connsiteY2508" fmla="*/ 719137 h 1940242"/>
                <a:gd name="connsiteX2509" fmla="*/ 622935 w 2370773"/>
                <a:gd name="connsiteY2509" fmla="*/ 717232 h 1940242"/>
                <a:gd name="connsiteX2510" fmla="*/ 489585 w 2370773"/>
                <a:gd name="connsiteY2510" fmla="*/ 717232 h 1940242"/>
                <a:gd name="connsiteX2511" fmla="*/ 492442 w 2370773"/>
                <a:gd name="connsiteY2511" fmla="*/ 720089 h 1940242"/>
                <a:gd name="connsiteX2512" fmla="*/ 489585 w 2370773"/>
                <a:gd name="connsiteY2512" fmla="*/ 722947 h 1940242"/>
                <a:gd name="connsiteX2513" fmla="*/ 486727 w 2370773"/>
                <a:gd name="connsiteY2513" fmla="*/ 720089 h 1940242"/>
                <a:gd name="connsiteX2514" fmla="*/ 489585 w 2370773"/>
                <a:gd name="connsiteY2514" fmla="*/ 717232 h 1940242"/>
                <a:gd name="connsiteX2515" fmla="*/ 358140 w 2370773"/>
                <a:gd name="connsiteY2515" fmla="*/ 716279 h 1940242"/>
                <a:gd name="connsiteX2516" fmla="*/ 362902 w 2370773"/>
                <a:gd name="connsiteY2516" fmla="*/ 721042 h 1940242"/>
                <a:gd name="connsiteX2517" fmla="*/ 358140 w 2370773"/>
                <a:gd name="connsiteY2517" fmla="*/ 725804 h 1940242"/>
                <a:gd name="connsiteX2518" fmla="*/ 353377 w 2370773"/>
                <a:gd name="connsiteY2518" fmla="*/ 721042 h 1940242"/>
                <a:gd name="connsiteX2519" fmla="*/ 358140 w 2370773"/>
                <a:gd name="connsiteY2519" fmla="*/ 716279 h 1940242"/>
                <a:gd name="connsiteX2520" fmla="*/ 226695 w 2370773"/>
                <a:gd name="connsiteY2520" fmla="*/ 715327 h 1940242"/>
                <a:gd name="connsiteX2521" fmla="*/ 232410 w 2370773"/>
                <a:gd name="connsiteY2521" fmla="*/ 721042 h 1940242"/>
                <a:gd name="connsiteX2522" fmla="*/ 226695 w 2370773"/>
                <a:gd name="connsiteY2522" fmla="*/ 726757 h 1940242"/>
                <a:gd name="connsiteX2523" fmla="*/ 220980 w 2370773"/>
                <a:gd name="connsiteY2523" fmla="*/ 721042 h 1940242"/>
                <a:gd name="connsiteX2524" fmla="*/ 226695 w 2370773"/>
                <a:gd name="connsiteY2524" fmla="*/ 715327 h 1940242"/>
                <a:gd name="connsiteX2525" fmla="*/ 96202 w 2370773"/>
                <a:gd name="connsiteY2525" fmla="*/ 713422 h 1940242"/>
                <a:gd name="connsiteX2526" fmla="*/ 103822 w 2370773"/>
                <a:gd name="connsiteY2526" fmla="*/ 721042 h 1940242"/>
                <a:gd name="connsiteX2527" fmla="*/ 96202 w 2370773"/>
                <a:gd name="connsiteY2527" fmla="*/ 728662 h 1940242"/>
                <a:gd name="connsiteX2528" fmla="*/ 88582 w 2370773"/>
                <a:gd name="connsiteY2528" fmla="*/ 721042 h 1940242"/>
                <a:gd name="connsiteX2529" fmla="*/ 96202 w 2370773"/>
                <a:gd name="connsiteY2529" fmla="*/ 713422 h 1940242"/>
                <a:gd name="connsiteX2530" fmla="*/ 27622 w 2370773"/>
                <a:gd name="connsiteY2530" fmla="*/ 691514 h 1940242"/>
                <a:gd name="connsiteX2531" fmla="*/ 29527 w 2370773"/>
                <a:gd name="connsiteY2531" fmla="*/ 693419 h 1940242"/>
                <a:gd name="connsiteX2532" fmla="*/ 27622 w 2370773"/>
                <a:gd name="connsiteY2532" fmla="*/ 695324 h 1940242"/>
                <a:gd name="connsiteX2533" fmla="*/ 25717 w 2370773"/>
                <a:gd name="connsiteY2533" fmla="*/ 693419 h 1940242"/>
                <a:gd name="connsiteX2534" fmla="*/ 27622 w 2370773"/>
                <a:gd name="connsiteY2534" fmla="*/ 691514 h 1940242"/>
                <a:gd name="connsiteX2535" fmla="*/ 2313622 w 2370773"/>
                <a:gd name="connsiteY2535" fmla="*/ 690562 h 1940242"/>
                <a:gd name="connsiteX2536" fmla="*/ 2315527 w 2370773"/>
                <a:gd name="connsiteY2536" fmla="*/ 692467 h 1940242"/>
                <a:gd name="connsiteX2537" fmla="*/ 2313622 w 2370773"/>
                <a:gd name="connsiteY2537" fmla="*/ 694372 h 1940242"/>
                <a:gd name="connsiteX2538" fmla="*/ 2311717 w 2370773"/>
                <a:gd name="connsiteY2538" fmla="*/ 692467 h 1940242"/>
                <a:gd name="connsiteX2539" fmla="*/ 2313622 w 2370773"/>
                <a:gd name="connsiteY2539" fmla="*/ 690562 h 1940242"/>
                <a:gd name="connsiteX2540" fmla="*/ 2248852 w 2370773"/>
                <a:gd name="connsiteY2540" fmla="*/ 690562 h 1940242"/>
                <a:gd name="connsiteX2541" fmla="*/ 2250757 w 2370773"/>
                <a:gd name="connsiteY2541" fmla="*/ 692467 h 1940242"/>
                <a:gd name="connsiteX2542" fmla="*/ 2248852 w 2370773"/>
                <a:gd name="connsiteY2542" fmla="*/ 694372 h 1940242"/>
                <a:gd name="connsiteX2543" fmla="*/ 2246947 w 2370773"/>
                <a:gd name="connsiteY2543" fmla="*/ 692467 h 1940242"/>
                <a:gd name="connsiteX2544" fmla="*/ 2248852 w 2370773"/>
                <a:gd name="connsiteY2544" fmla="*/ 690562 h 1940242"/>
                <a:gd name="connsiteX2545" fmla="*/ 548640 w 2370773"/>
                <a:gd name="connsiteY2545" fmla="*/ 690562 h 1940242"/>
                <a:gd name="connsiteX2546" fmla="*/ 550545 w 2370773"/>
                <a:gd name="connsiteY2546" fmla="*/ 692467 h 1940242"/>
                <a:gd name="connsiteX2547" fmla="*/ 548640 w 2370773"/>
                <a:gd name="connsiteY2547" fmla="*/ 694372 h 1940242"/>
                <a:gd name="connsiteX2548" fmla="*/ 546735 w 2370773"/>
                <a:gd name="connsiteY2548" fmla="*/ 692467 h 1940242"/>
                <a:gd name="connsiteX2549" fmla="*/ 548640 w 2370773"/>
                <a:gd name="connsiteY2549" fmla="*/ 690562 h 1940242"/>
                <a:gd name="connsiteX2550" fmla="*/ 418148 w 2370773"/>
                <a:gd name="connsiteY2550" fmla="*/ 688657 h 1940242"/>
                <a:gd name="connsiteX2551" fmla="*/ 421958 w 2370773"/>
                <a:gd name="connsiteY2551" fmla="*/ 692467 h 1940242"/>
                <a:gd name="connsiteX2552" fmla="*/ 418148 w 2370773"/>
                <a:gd name="connsiteY2552" fmla="*/ 696277 h 1940242"/>
                <a:gd name="connsiteX2553" fmla="*/ 414338 w 2370773"/>
                <a:gd name="connsiteY2553" fmla="*/ 692467 h 1940242"/>
                <a:gd name="connsiteX2554" fmla="*/ 418148 w 2370773"/>
                <a:gd name="connsiteY2554" fmla="*/ 688657 h 1940242"/>
                <a:gd name="connsiteX2555" fmla="*/ 157163 w 2370773"/>
                <a:gd name="connsiteY2555" fmla="*/ 688657 h 1940242"/>
                <a:gd name="connsiteX2556" fmla="*/ 161925 w 2370773"/>
                <a:gd name="connsiteY2556" fmla="*/ 693420 h 1940242"/>
                <a:gd name="connsiteX2557" fmla="*/ 157163 w 2370773"/>
                <a:gd name="connsiteY2557" fmla="*/ 698182 h 1940242"/>
                <a:gd name="connsiteX2558" fmla="*/ 152400 w 2370773"/>
                <a:gd name="connsiteY2558" fmla="*/ 693420 h 1940242"/>
                <a:gd name="connsiteX2559" fmla="*/ 157163 w 2370773"/>
                <a:gd name="connsiteY2559" fmla="*/ 688657 h 1940242"/>
                <a:gd name="connsiteX2560" fmla="*/ 287655 w 2370773"/>
                <a:gd name="connsiteY2560" fmla="*/ 686752 h 1940242"/>
                <a:gd name="connsiteX2561" fmla="*/ 294322 w 2370773"/>
                <a:gd name="connsiteY2561" fmla="*/ 693420 h 1940242"/>
                <a:gd name="connsiteX2562" fmla="*/ 287655 w 2370773"/>
                <a:gd name="connsiteY2562" fmla="*/ 700087 h 1940242"/>
                <a:gd name="connsiteX2563" fmla="*/ 280987 w 2370773"/>
                <a:gd name="connsiteY2563" fmla="*/ 693420 h 1940242"/>
                <a:gd name="connsiteX2564" fmla="*/ 287655 w 2370773"/>
                <a:gd name="connsiteY2564" fmla="*/ 686752 h 1940242"/>
                <a:gd name="connsiteX2565" fmla="*/ 608647 w 2370773"/>
                <a:gd name="connsiteY2565" fmla="*/ 661987 h 1940242"/>
                <a:gd name="connsiteX2566" fmla="*/ 610552 w 2370773"/>
                <a:gd name="connsiteY2566" fmla="*/ 663892 h 1940242"/>
                <a:gd name="connsiteX2567" fmla="*/ 608647 w 2370773"/>
                <a:gd name="connsiteY2567" fmla="*/ 665797 h 1940242"/>
                <a:gd name="connsiteX2568" fmla="*/ 606742 w 2370773"/>
                <a:gd name="connsiteY2568" fmla="*/ 663892 h 1940242"/>
                <a:gd name="connsiteX2569" fmla="*/ 608647 w 2370773"/>
                <a:gd name="connsiteY2569" fmla="*/ 661987 h 1940242"/>
                <a:gd name="connsiteX2570" fmla="*/ 478155 w 2370773"/>
                <a:gd name="connsiteY2570" fmla="*/ 661035 h 1940242"/>
                <a:gd name="connsiteX2571" fmla="*/ 481013 w 2370773"/>
                <a:gd name="connsiteY2571" fmla="*/ 663892 h 1940242"/>
                <a:gd name="connsiteX2572" fmla="*/ 478155 w 2370773"/>
                <a:gd name="connsiteY2572" fmla="*/ 666750 h 1940242"/>
                <a:gd name="connsiteX2573" fmla="*/ 475298 w 2370773"/>
                <a:gd name="connsiteY2573" fmla="*/ 663892 h 1940242"/>
                <a:gd name="connsiteX2574" fmla="*/ 478155 w 2370773"/>
                <a:gd name="connsiteY2574" fmla="*/ 661035 h 1940242"/>
                <a:gd name="connsiteX2575" fmla="*/ 347663 w 2370773"/>
                <a:gd name="connsiteY2575" fmla="*/ 659129 h 1940242"/>
                <a:gd name="connsiteX2576" fmla="*/ 352425 w 2370773"/>
                <a:gd name="connsiteY2576" fmla="*/ 663892 h 1940242"/>
                <a:gd name="connsiteX2577" fmla="*/ 347663 w 2370773"/>
                <a:gd name="connsiteY2577" fmla="*/ 668654 h 1940242"/>
                <a:gd name="connsiteX2578" fmla="*/ 342900 w 2370773"/>
                <a:gd name="connsiteY2578" fmla="*/ 663892 h 1940242"/>
                <a:gd name="connsiteX2579" fmla="*/ 347663 w 2370773"/>
                <a:gd name="connsiteY2579" fmla="*/ 659129 h 1940242"/>
                <a:gd name="connsiteX2580" fmla="*/ 88582 w 2370773"/>
                <a:gd name="connsiteY2580" fmla="*/ 658177 h 1940242"/>
                <a:gd name="connsiteX2581" fmla="*/ 95250 w 2370773"/>
                <a:gd name="connsiteY2581" fmla="*/ 664845 h 1940242"/>
                <a:gd name="connsiteX2582" fmla="*/ 88582 w 2370773"/>
                <a:gd name="connsiteY2582" fmla="*/ 671512 h 1940242"/>
                <a:gd name="connsiteX2583" fmla="*/ 81915 w 2370773"/>
                <a:gd name="connsiteY2583" fmla="*/ 664845 h 1940242"/>
                <a:gd name="connsiteX2584" fmla="*/ 88582 w 2370773"/>
                <a:gd name="connsiteY2584" fmla="*/ 658177 h 1940242"/>
                <a:gd name="connsiteX2585" fmla="*/ 218123 w 2370773"/>
                <a:gd name="connsiteY2585" fmla="*/ 657225 h 1940242"/>
                <a:gd name="connsiteX2586" fmla="*/ 225743 w 2370773"/>
                <a:gd name="connsiteY2586" fmla="*/ 663892 h 1940242"/>
                <a:gd name="connsiteX2587" fmla="*/ 218123 w 2370773"/>
                <a:gd name="connsiteY2587" fmla="*/ 671513 h 1940242"/>
                <a:gd name="connsiteX2588" fmla="*/ 210503 w 2370773"/>
                <a:gd name="connsiteY2588" fmla="*/ 664845 h 1940242"/>
                <a:gd name="connsiteX2589" fmla="*/ 218123 w 2370773"/>
                <a:gd name="connsiteY2589" fmla="*/ 657225 h 1940242"/>
                <a:gd name="connsiteX2590" fmla="*/ 2322195 w 2370773"/>
                <a:gd name="connsiteY2590" fmla="*/ 635317 h 1940242"/>
                <a:gd name="connsiteX2591" fmla="*/ 2323147 w 2370773"/>
                <a:gd name="connsiteY2591" fmla="*/ 636270 h 1940242"/>
                <a:gd name="connsiteX2592" fmla="*/ 2322195 w 2370773"/>
                <a:gd name="connsiteY2592" fmla="*/ 637222 h 1940242"/>
                <a:gd name="connsiteX2593" fmla="*/ 2321242 w 2370773"/>
                <a:gd name="connsiteY2593" fmla="*/ 636270 h 1940242"/>
                <a:gd name="connsiteX2594" fmla="*/ 2322195 w 2370773"/>
                <a:gd name="connsiteY2594" fmla="*/ 635317 h 1940242"/>
                <a:gd name="connsiteX2595" fmla="*/ 20955 w 2370773"/>
                <a:gd name="connsiteY2595" fmla="*/ 635317 h 1940242"/>
                <a:gd name="connsiteX2596" fmla="*/ 21908 w 2370773"/>
                <a:gd name="connsiteY2596" fmla="*/ 636270 h 1940242"/>
                <a:gd name="connsiteX2597" fmla="*/ 20955 w 2370773"/>
                <a:gd name="connsiteY2597" fmla="*/ 637222 h 1940242"/>
                <a:gd name="connsiteX2598" fmla="*/ 20003 w 2370773"/>
                <a:gd name="connsiteY2598" fmla="*/ 636270 h 1940242"/>
                <a:gd name="connsiteX2599" fmla="*/ 20955 w 2370773"/>
                <a:gd name="connsiteY2599" fmla="*/ 635317 h 1940242"/>
                <a:gd name="connsiteX2600" fmla="*/ 2192655 w 2370773"/>
                <a:gd name="connsiteY2600" fmla="*/ 634365 h 1940242"/>
                <a:gd name="connsiteX2601" fmla="*/ 2193608 w 2370773"/>
                <a:gd name="connsiteY2601" fmla="*/ 635317 h 1940242"/>
                <a:gd name="connsiteX2602" fmla="*/ 2192655 w 2370773"/>
                <a:gd name="connsiteY2602" fmla="*/ 636270 h 1940242"/>
                <a:gd name="connsiteX2603" fmla="*/ 2191703 w 2370773"/>
                <a:gd name="connsiteY2603" fmla="*/ 635317 h 1940242"/>
                <a:gd name="connsiteX2604" fmla="*/ 2192655 w 2370773"/>
                <a:gd name="connsiteY2604" fmla="*/ 634365 h 1940242"/>
                <a:gd name="connsiteX2605" fmla="*/ 2257425 w 2370773"/>
                <a:gd name="connsiteY2605" fmla="*/ 633412 h 1940242"/>
                <a:gd name="connsiteX2606" fmla="*/ 2259330 w 2370773"/>
                <a:gd name="connsiteY2606" fmla="*/ 635317 h 1940242"/>
                <a:gd name="connsiteX2607" fmla="*/ 2257425 w 2370773"/>
                <a:gd name="connsiteY2607" fmla="*/ 637222 h 1940242"/>
                <a:gd name="connsiteX2608" fmla="*/ 2255520 w 2370773"/>
                <a:gd name="connsiteY2608" fmla="*/ 635317 h 1940242"/>
                <a:gd name="connsiteX2609" fmla="*/ 2257425 w 2370773"/>
                <a:gd name="connsiteY2609" fmla="*/ 633412 h 1940242"/>
                <a:gd name="connsiteX2610" fmla="*/ 538163 w 2370773"/>
                <a:gd name="connsiteY2610" fmla="*/ 633412 h 1940242"/>
                <a:gd name="connsiteX2611" fmla="*/ 540068 w 2370773"/>
                <a:gd name="connsiteY2611" fmla="*/ 635317 h 1940242"/>
                <a:gd name="connsiteX2612" fmla="*/ 538163 w 2370773"/>
                <a:gd name="connsiteY2612" fmla="*/ 637222 h 1940242"/>
                <a:gd name="connsiteX2613" fmla="*/ 536258 w 2370773"/>
                <a:gd name="connsiteY2613" fmla="*/ 635317 h 1940242"/>
                <a:gd name="connsiteX2614" fmla="*/ 538163 w 2370773"/>
                <a:gd name="connsiteY2614" fmla="*/ 633412 h 1940242"/>
                <a:gd name="connsiteX2615" fmla="*/ 408623 w 2370773"/>
                <a:gd name="connsiteY2615" fmla="*/ 630554 h 1940242"/>
                <a:gd name="connsiteX2616" fmla="*/ 413385 w 2370773"/>
                <a:gd name="connsiteY2616" fmla="*/ 635317 h 1940242"/>
                <a:gd name="connsiteX2617" fmla="*/ 408623 w 2370773"/>
                <a:gd name="connsiteY2617" fmla="*/ 640079 h 1940242"/>
                <a:gd name="connsiteX2618" fmla="*/ 403860 w 2370773"/>
                <a:gd name="connsiteY2618" fmla="*/ 635317 h 1940242"/>
                <a:gd name="connsiteX2619" fmla="*/ 408623 w 2370773"/>
                <a:gd name="connsiteY2619" fmla="*/ 630554 h 1940242"/>
                <a:gd name="connsiteX2620" fmla="*/ 279083 w 2370773"/>
                <a:gd name="connsiteY2620" fmla="*/ 629602 h 1940242"/>
                <a:gd name="connsiteX2621" fmla="*/ 285750 w 2370773"/>
                <a:gd name="connsiteY2621" fmla="*/ 636270 h 1940242"/>
                <a:gd name="connsiteX2622" fmla="*/ 279083 w 2370773"/>
                <a:gd name="connsiteY2622" fmla="*/ 642937 h 1940242"/>
                <a:gd name="connsiteX2623" fmla="*/ 272415 w 2370773"/>
                <a:gd name="connsiteY2623" fmla="*/ 636270 h 1940242"/>
                <a:gd name="connsiteX2624" fmla="*/ 279083 w 2370773"/>
                <a:gd name="connsiteY2624" fmla="*/ 629602 h 1940242"/>
                <a:gd name="connsiteX2625" fmla="*/ 149543 w 2370773"/>
                <a:gd name="connsiteY2625" fmla="*/ 629602 h 1940242"/>
                <a:gd name="connsiteX2626" fmla="*/ 155258 w 2370773"/>
                <a:gd name="connsiteY2626" fmla="*/ 635317 h 1940242"/>
                <a:gd name="connsiteX2627" fmla="*/ 149543 w 2370773"/>
                <a:gd name="connsiteY2627" fmla="*/ 641032 h 1940242"/>
                <a:gd name="connsiteX2628" fmla="*/ 143828 w 2370773"/>
                <a:gd name="connsiteY2628" fmla="*/ 635317 h 1940242"/>
                <a:gd name="connsiteX2629" fmla="*/ 149543 w 2370773"/>
                <a:gd name="connsiteY2629" fmla="*/ 629602 h 1940242"/>
                <a:gd name="connsiteX2630" fmla="*/ 599122 w 2370773"/>
                <a:gd name="connsiteY2630" fmla="*/ 606742 h 1940242"/>
                <a:gd name="connsiteX2631" fmla="*/ 600075 w 2370773"/>
                <a:gd name="connsiteY2631" fmla="*/ 607695 h 1940242"/>
                <a:gd name="connsiteX2632" fmla="*/ 599122 w 2370773"/>
                <a:gd name="connsiteY2632" fmla="*/ 608647 h 1940242"/>
                <a:gd name="connsiteX2633" fmla="*/ 598170 w 2370773"/>
                <a:gd name="connsiteY2633" fmla="*/ 607695 h 1940242"/>
                <a:gd name="connsiteX2634" fmla="*/ 599122 w 2370773"/>
                <a:gd name="connsiteY2634" fmla="*/ 606742 h 1940242"/>
                <a:gd name="connsiteX2635" fmla="*/ 469582 w 2370773"/>
                <a:gd name="connsiteY2635" fmla="*/ 605789 h 1940242"/>
                <a:gd name="connsiteX2636" fmla="*/ 471487 w 2370773"/>
                <a:gd name="connsiteY2636" fmla="*/ 607694 h 1940242"/>
                <a:gd name="connsiteX2637" fmla="*/ 469582 w 2370773"/>
                <a:gd name="connsiteY2637" fmla="*/ 609599 h 1940242"/>
                <a:gd name="connsiteX2638" fmla="*/ 467677 w 2370773"/>
                <a:gd name="connsiteY2638" fmla="*/ 607694 h 1940242"/>
                <a:gd name="connsiteX2639" fmla="*/ 469582 w 2370773"/>
                <a:gd name="connsiteY2639" fmla="*/ 605789 h 1940242"/>
                <a:gd name="connsiteX2640" fmla="*/ 340995 w 2370773"/>
                <a:gd name="connsiteY2640" fmla="*/ 601979 h 1940242"/>
                <a:gd name="connsiteX2641" fmla="*/ 345757 w 2370773"/>
                <a:gd name="connsiteY2641" fmla="*/ 606742 h 1940242"/>
                <a:gd name="connsiteX2642" fmla="*/ 340995 w 2370773"/>
                <a:gd name="connsiteY2642" fmla="*/ 611504 h 1940242"/>
                <a:gd name="connsiteX2643" fmla="*/ 336232 w 2370773"/>
                <a:gd name="connsiteY2643" fmla="*/ 606742 h 1940242"/>
                <a:gd name="connsiteX2644" fmla="*/ 340995 w 2370773"/>
                <a:gd name="connsiteY2644" fmla="*/ 601979 h 1940242"/>
                <a:gd name="connsiteX2645" fmla="*/ 211455 w 2370773"/>
                <a:gd name="connsiteY2645" fmla="*/ 601979 h 1940242"/>
                <a:gd name="connsiteX2646" fmla="*/ 217170 w 2370773"/>
                <a:gd name="connsiteY2646" fmla="*/ 607694 h 1940242"/>
                <a:gd name="connsiteX2647" fmla="*/ 211455 w 2370773"/>
                <a:gd name="connsiteY2647" fmla="*/ 613409 h 1940242"/>
                <a:gd name="connsiteX2648" fmla="*/ 205740 w 2370773"/>
                <a:gd name="connsiteY2648" fmla="*/ 607694 h 1940242"/>
                <a:gd name="connsiteX2649" fmla="*/ 211455 w 2370773"/>
                <a:gd name="connsiteY2649" fmla="*/ 601979 h 1940242"/>
                <a:gd name="connsiteX2650" fmla="*/ 82868 w 2370773"/>
                <a:gd name="connsiteY2650" fmla="*/ 601027 h 1940242"/>
                <a:gd name="connsiteX2651" fmla="*/ 89535 w 2370773"/>
                <a:gd name="connsiteY2651" fmla="*/ 607695 h 1940242"/>
                <a:gd name="connsiteX2652" fmla="*/ 82868 w 2370773"/>
                <a:gd name="connsiteY2652" fmla="*/ 614362 h 1940242"/>
                <a:gd name="connsiteX2653" fmla="*/ 76200 w 2370773"/>
                <a:gd name="connsiteY2653" fmla="*/ 607695 h 1940242"/>
                <a:gd name="connsiteX2654" fmla="*/ 82868 w 2370773"/>
                <a:gd name="connsiteY2654" fmla="*/ 601027 h 1940242"/>
                <a:gd name="connsiteX2655" fmla="*/ 2262188 w 2370773"/>
                <a:gd name="connsiteY2655" fmla="*/ 576262 h 1940242"/>
                <a:gd name="connsiteX2656" fmla="*/ 2264093 w 2370773"/>
                <a:gd name="connsiteY2656" fmla="*/ 578167 h 1940242"/>
                <a:gd name="connsiteX2657" fmla="*/ 2262188 w 2370773"/>
                <a:gd name="connsiteY2657" fmla="*/ 580072 h 1940242"/>
                <a:gd name="connsiteX2658" fmla="*/ 2260283 w 2370773"/>
                <a:gd name="connsiteY2658" fmla="*/ 578167 h 1940242"/>
                <a:gd name="connsiteX2659" fmla="*/ 2262188 w 2370773"/>
                <a:gd name="connsiteY2659" fmla="*/ 576262 h 1940242"/>
                <a:gd name="connsiteX2660" fmla="*/ 531495 w 2370773"/>
                <a:gd name="connsiteY2660" fmla="*/ 576262 h 1940242"/>
                <a:gd name="connsiteX2661" fmla="*/ 533400 w 2370773"/>
                <a:gd name="connsiteY2661" fmla="*/ 578167 h 1940242"/>
                <a:gd name="connsiteX2662" fmla="*/ 531495 w 2370773"/>
                <a:gd name="connsiteY2662" fmla="*/ 580072 h 1940242"/>
                <a:gd name="connsiteX2663" fmla="*/ 529590 w 2370773"/>
                <a:gd name="connsiteY2663" fmla="*/ 578167 h 1940242"/>
                <a:gd name="connsiteX2664" fmla="*/ 531495 w 2370773"/>
                <a:gd name="connsiteY2664" fmla="*/ 576262 h 1940242"/>
                <a:gd name="connsiteX2665" fmla="*/ 402908 w 2370773"/>
                <a:gd name="connsiteY2665" fmla="*/ 574357 h 1940242"/>
                <a:gd name="connsiteX2666" fmla="*/ 406718 w 2370773"/>
                <a:gd name="connsiteY2666" fmla="*/ 578167 h 1940242"/>
                <a:gd name="connsiteX2667" fmla="*/ 402908 w 2370773"/>
                <a:gd name="connsiteY2667" fmla="*/ 581977 h 1940242"/>
                <a:gd name="connsiteX2668" fmla="*/ 399098 w 2370773"/>
                <a:gd name="connsiteY2668" fmla="*/ 578167 h 1940242"/>
                <a:gd name="connsiteX2669" fmla="*/ 402908 w 2370773"/>
                <a:gd name="connsiteY2669" fmla="*/ 574357 h 1940242"/>
                <a:gd name="connsiteX2670" fmla="*/ 145732 w 2370773"/>
                <a:gd name="connsiteY2670" fmla="*/ 573405 h 1940242"/>
                <a:gd name="connsiteX2671" fmla="*/ 150495 w 2370773"/>
                <a:gd name="connsiteY2671" fmla="*/ 578167 h 1940242"/>
                <a:gd name="connsiteX2672" fmla="*/ 145732 w 2370773"/>
                <a:gd name="connsiteY2672" fmla="*/ 582930 h 1940242"/>
                <a:gd name="connsiteX2673" fmla="*/ 140970 w 2370773"/>
                <a:gd name="connsiteY2673" fmla="*/ 578167 h 1940242"/>
                <a:gd name="connsiteX2674" fmla="*/ 145732 w 2370773"/>
                <a:gd name="connsiteY2674" fmla="*/ 573405 h 1940242"/>
                <a:gd name="connsiteX2675" fmla="*/ 274320 w 2370773"/>
                <a:gd name="connsiteY2675" fmla="*/ 571500 h 1940242"/>
                <a:gd name="connsiteX2676" fmla="*/ 280987 w 2370773"/>
                <a:gd name="connsiteY2676" fmla="*/ 578167 h 1940242"/>
                <a:gd name="connsiteX2677" fmla="*/ 274320 w 2370773"/>
                <a:gd name="connsiteY2677" fmla="*/ 584835 h 1940242"/>
                <a:gd name="connsiteX2678" fmla="*/ 267652 w 2370773"/>
                <a:gd name="connsiteY2678" fmla="*/ 578167 h 1940242"/>
                <a:gd name="connsiteX2679" fmla="*/ 274320 w 2370773"/>
                <a:gd name="connsiteY2679" fmla="*/ 571500 h 1940242"/>
                <a:gd name="connsiteX2680" fmla="*/ 465773 w 2370773"/>
                <a:gd name="connsiteY2680" fmla="*/ 548639 h 1940242"/>
                <a:gd name="connsiteX2681" fmla="*/ 466725 w 2370773"/>
                <a:gd name="connsiteY2681" fmla="*/ 549591 h 1940242"/>
                <a:gd name="connsiteX2682" fmla="*/ 465773 w 2370773"/>
                <a:gd name="connsiteY2682" fmla="*/ 550544 h 1940242"/>
                <a:gd name="connsiteX2683" fmla="*/ 464820 w 2370773"/>
                <a:gd name="connsiteY2683" fmla="*/ 549591 h 1940242"/>
                <a:gd name="connsiteX2684" fmla="*/ 465773 w 2370773"/>
                <a:gd name="connsiteY2684" fmla="*/ 548639 h 1940242"/>
                <a:gd name="connsiteX2685" fmla="*/ 337186 w 2370773"/>
                <a:gd name="connsiteY2685" fmla="*/ 544829 h 1940242"/>
                <a:gd name="connsiteX2686" fmla="*/ 341948 w 2370773"/>
                <a:gd name="connsiteY2686" fmla="*/ 549592 h 1940242"/>
                <a:gd name="connsiteX2687" fmla="*/ 337186 w 2370773"/>
                <a:gd name="connsiteY2687" fmla="*/ 554354 h 1940242"/>
                <a:gd name="connsiteX2688" fmla="*/ 332423 w 2370773"/>
                <a:gd name="connsiteY2688" fmla="*/ 549592 h 1940242"/>
                <a:gd name="connsiteX2689" fmla="*/ 337186 w 2370773"/>
                <a:gd name="connsiteY2689" fmla="*/ 544829 h 1940242"/>
                <a:gd name="connsiteX2690" fmla="*/ 80010 w 2370773"/>
                <a:gd name="connsiteY2690" fmla="*/ 544829 h 1940242"/>
                <a:gd name="connsiteX2691" fmla="*/ 84772 w 2370773"/>
                <a:gd name="connsiteY2691" fmla="*/ 549592 h 1940242"/>
                <a:gd name="connsiteX2692" fmla="*/ 80010 w 2370773"/>
                <a:gd name="connsiteY2692" fmla="*/ 554354 h 1940242"/>
                <a:gd name="connsiteX2693" fmla="*/ 75247 w 2370773"/>
                <a:gd name="connsiteY2693" fmla="*/ 549592 h 1940242"/>
                <a:gd name="connsiteX2694" fmla="*/ 80010 w 2370773"/>
                <a:gd name="connsiteY2694" fmla="*/ 544829 h 1940242"/>
                <a:gd name="connsiteX2695" fmla="*/ 208597 w 2370773"/>
                <a:gd name="connsiteY2695" fmla="*/ 543877 h 1940242"/>
                <a:gd name="connsiteX2696" fmla="*/ 214312 w 2370773"/>
                <a:gd name="connsiteY2696" fmla="*/ 549592 h 1940242"/>
                <a:gd name="connsiteX2697" fmla="*/ 208597 w 2370773"/>
                <a:gd name="connsiteY2697" fmla="*/ 555307 h 1940242"/>
                <a:gd name="connsiteX2698" fmla="*/ 202882 w 2370773"/>
                <a:gd name="connsiteY2698" fmla="*/ 549592 h 1940242"/>
                <a:gd name="connsiteX2699" fmla="*/ 208597 w 2370773"/>
                <a:gd name="connsiteY2699" fmla="*/ 543877 h 1940242"/>
                <a:gd name="connsiteX2700" fmla="*/ 529590 w 2370773"/>
                <a:gd name="connsiteY2700" fmla="*/ 520064 h 1940242"/>
                <a:gd name="connsiteX2701" fmla="*/ 530543 w 2370773"/>
                <a:gd name="connsiteY2701" fmla="*/ 521016 h 1940242"/>
                <a:gd name="connsiteX2702" fmla="*/ 529590 w 2370773"/>
                <a:gd name="connsiteY2702" fmla="*/ 521969 h 1940242"/>
                <a:gd name="connsiteX2703" fmla="*/ 528638 w 2370773"/>
                <a:gd name="connsiteY2703" fmla="*/ 521016 h 1940242"/>
                <a:gd name="connsiteX2704" fmla="*/ 529590 w 2370773"/>
                <a:gd name="connsiteY2704" fmla="*/ 520064 h 1940242"/>
                <a:gd name="connsiteX2705" fmla="*/ 401002 w 2370773"/>
                <a:gd name="connsiteY2705" fmla="*/ 518160 h 1940242"/>
                <a:gd name="connsiteX2706" fmla="*/ 403860 w 2370773"/>
                <a:gd name="connsiteY2706" fmla="*/ 521017 h 1940242"/>
                <a:gd name="connsiteX2707" fmla="*/ 401002 w 2370773"/>
                <a:gd name="connsiteY2707" fmla="*/ 523875 h 1940242"/>
                <a:gd name="connsiteX2708" fmla="*/ 398145 w 2370773"/>
                <a:gd name="connsiteY2708" fmla="*/ 521017 h 1940242"/>
                <a:gd name="connsiteX2709" fmla="*/ 401002 w 2370773"/>
                <a:gd name="connsiteY2709" fmla="*/ 518160 h 1940242"/>
                <a:gd name="connsiteX2710" fmla="*/ 143828 w 2370773"/>
                <a:gd name="connsiteY2710" fmla="*/ 516254 h 1940242"/>
                <a:gd name="connsiteX2711" fmla="*/ 148590 w 2370773"/>
                <a:gd name="connsiteY2711" fmla="*/ 521017 h 1940242"/>
                <a:gd name="connsiteX2712" fmla="*/ 143828 w 2370773"/>
                <a:gd name="connsiteY2712" fmla="*/ 525779 h 1940242"/>
                <a:gd name="connsiteX2713" fmla="*/ 139065 w 2370773"/>
                <a:gd name="connsiteY2713" fmla="*/ 521017 h 1940242"/>
                <a:gd name="connsiteX2714" fmla="*/ 143828 w 2370773"/>
                <a:gd name="connsiteY2714" fmla="*/ 516254 h 1940242"/>
                <a:gd name="connsiteX2715" fmla="*/ 272415 w 2370773"/>
                <a:gd name="connsiteY2715" fmla="*/ 514350 h 1940242"/>
                <a:gd name="connsiteX2716" fmla="*/ 279083 w 2370773"/>
                <a:gd name="connsiteY2716" fmla="*/ 521017 h 1940242"/>
                <a:gd name="connsiteX2717" fmla="*/ 272415 w 2370773"/>
                <a:gd name="connsiteY2717" fmla="*/ 527685 h 1940242"/>
                <a:gd name="connsiteX2718" fmla="*/ 265748 w 2370773"/>
                <a:gd name="connsiteY2718" fmla="*/ 521017 h 1940242"/>
                <a:gd name="connsiteX2719" fmla="*/ 272415 w 2370773"/>
                <a:gd name="connsiteY2719" fmla="*/ 514350 h 1940242"/>
                <a:gd name="connsiteX2720" fmla="*/ 465773 w 2370773"/>
                <a:gd name="connsiteY2720" fmla="*/ 489585 h 1940242"/>
                <a:gd name="connsiteX2721" fmla="*/ 467678 w 2370773"/>
                <a:gd name="connsiteY2721" fmla="*/ 491490 h 1940242"/>
                <a:gd name="connsiteX2722" fmla="*/ 465773 w 2370773"/>
                <a:gd name="connsiteY2722" fmla="*/ 493395 h 1940242"/>
                <a:gd name="connsiteX2723" fmla="*/ 463868 w 2370773"/>
                <a:gd name="connsiteY2723" fmla="*/ 491490 h 1940242"/>
                <a:gd name="connsiteX2724" fmla="*/ 465773 w 2370773"/>
                <a:gd name="connsiteY2724" fmla="*/ 489585 h 1940242"/>
                <a:gd name="connsiteX2725" fmla="*/ 337185 w 2370773"/>
                <a:gd name="connsiteY2725" fmla="*/ 488632 h 1940242"/>
                <a:gd name="connsiteX2726" fmla="*/ 340995 w 2370773"/>
                <a:gd name="connsiteY2726" fmla="*/ 492442 h 1940242"/>
                <a:gd name="connsiteX2727" fmla="*/ 337185 w 2370773"/>
                <a:gd name="connsiteY2727" fmla="*/ 496252 h 1940242"/>
                <a:gd name="connsiteX2728" fmla="*/ 333375 w 2370773"/>
                <a:gd name="connsiteY2728" fmla="*/ 492442 h 1940242"/>
                <a:gd name="connsiteX2729" fmla="*/ 337185 w 2370773"/>
                <a:gd name="connsiteY2729" fmla="*/ 488632 h 1940242"/>
                <a:gd name="connsiteX2730" fmla="*/ 80010 w 2370773"/>
                <a:gd name="connsiteY2730" fmla="*/ 487679 h 1940242"/>
                <a:gd name="connsiteX2731" fmla="*/ 83820 w 2370773"/>
                <a:gd name="connsiteY2731" fmla="*/ 491489 h 1940242"/>
                <a:gd name="connsiteX2732" fmla="*/ 80010 w 2370773"/>
                <a:gd name="connsiteY2732" fmla="*/ 495299 h 1940242"/>
                <a:gd name="connsiteX2733" fmla="*/ 76200 w 2370773"/>
                <a:gd name="connsiteY2733" fmla="*/ 491489 h 1940242"/>
                <a:gd name="connsiteX2734" fmla="*/ 80010 w 2370773"/>
                <a:gd name="connsiteY2734" fmla="*/ 487679 h 1940242"/>
                <a:gd name="connsiteX2735" fmla="*/ 208597 w 2370773"/>
                <a:gd name="connsiteY2735" fmla="*/ 485775 h 1940242"/>
                <a:gd name="connsiteX2736" fmla="*/ 214312 w 2370773"/>
                <a:gd name="connsiteY2736" fmla="*/ 491490 h 1940242"/>
                <a:gd name="connsiteX2737" fmla="*/ 208597 w 2370773"/>
                <a:gd name="connsiteY2737" fmla="*/ 497205 h 1940242"/>
                <a:gd name="connsiteX2738" fmla="*/ 202882 w 2370773"/>
                <a:gd name="connsiteY2738" fmla="*/ 491490 h 1940242"/>
                <a:gd name="connsiteX2739" fmla="*/ 208597 w 2370773"/>
                <a:gd name="connsiteY2739" fmla="*/ 485775 h 1940242"/>
                <a:gd name="connsiteX2740" fmla="*/ 402907 w 2370773"/>
                <a:gd name="connsiteY2740" fmla="*/ 460057 h 1940242"/>
                <a:gd name="connsiteX2741" fmla="*/ 405765 w 2370773"/>
                <a:gd name="connsiteY2741" fmla="*/ 462914 h 1940242"/>
                <a:gd name="connsiteX2742" fmla="*/ 402907 w 2370773"/>
                <a:gd name="connsiteY2742" fmla="*/ 465772 h 1940242"/>
                <a:gd name="connsiteX2743" fmla="*/ 400050 w 2370773"/>
                <a:gd name="connsiteY2743" fmla="*/ 462914 h 1940242"/>
                <a:gd name="connsiteX2744" fmla="*/ 402907 w 2370773"/>
                <a:gd name="connsiteY2744" fmla="*/ 460057 h 1940242"/>
                <a:gd name="connsiteX2745" fmla="*/ 145733 w 2370773"/>
                <a:gd name="connsiteY2745" fmla="*/ 458152 h 1940242"/>
                <a:gd name="connsiteX2746" fmla="*/ 150495 w 2370773"/>
                <a:gd name="connsiteY2746" fmla="*/ 462915 h 1940242"/>
                <a:gd name="connsiteX2747" fmla="*/ 145733 w 2370773"/>
                <a:gd name="connsiteY2747" fmla="*/ 467677 h 1940242"/>
                <a:gd name="connsiteX2748" fmla="*/ 140970 w 2370773"/>
                <a:gd name="connsiteY2748" fmla="*/ 462915 h 1940242"/>
                <a:gd name="connsiteX2749" fmla="*/ 145733 w 2370773"/>
                <a:gd name="connsiteY2749" fmla="*/ 458152 h 1940242"/>
                <a:gd name="connsiteX2750" fmla="*/ 274320 w 2370773"/>
                <a:gd name="connsiteY2750" fmla="*/ 457200 h 1940242"/>
                <a:gd name="connsiteX2751" fmla="*/ 280035 w 2370773"/>
                <a:gd name="connsiteY2751" fmla="*/ 462915 h 1940242"/>
                <a:gd name="connsiteX2752" fmla="*/ 274320 w 2370773"/>
                <a:gd name="connsiteY2752" fmla="*/ 468630 h 1940242"/>
                <a:gd name="connsiteX2753" fmla="*/ 268605 w 2370773"/>
                <a:gd name="connsiteY2753" fmla="*/ 462915 h 1940242"/>
                <a:gd name="connsiteX2754" fmla="*/ 274320 w 2370773"/>
                <a:gd name="connsiteY2754" fmla="*/ 457200 h 1940242"/>
                <a:gd name="connsiteX2755" fmla="*/ 469582 w 2370773"/>
                <a:gd name="connsiteY2755" fmla="*/ 432435 h 1940242"/>
                <a:gd name="connsiteX2756" fmla="*/ 471487 w 2370773"/>
                <a:gd name="connsiteY2756" fmla="*/ 434340 h 1940242"/>
                <a:gd name="connsiteX2757" fmla="*/ 469582 w 2370773"/>
                <a:gd name="connsiteY2757" fmla="*/ 436245 h 1940242"/>
                <a:gd name="connsiteX2758" fmla="*/ 467677 w 2370773"/>
                <a:gd name="connsiteY2758" fmla="*/ 434340 h 1940242"/>
                <a:gd name="connsiteX2759" fmla="*/ 469582 w 2370773"/>
                <a:gd name="connsiteY2759" fmla="*/ 432435 h 1940242"/>
                <a:gd name="connsiteX2760" fmla="*/ 82868 w 2370773"/>
                <a:gd name="connsiteY2760" fmla="*/ 432435 h 1940242"/>
                <a:gd name="connsiteX2761" fmla="*/ 84773 w 2370773"/>
                <a:gd name="connsiteY2761" fmla="*/ 434340 h 1940242"/>
                <a:gd name="connsiteX2762" fmla="*/ 82868 w 2370773"/>
                <a:gd name="connsiteY2762" fmla="*/ 436245 h 1940242"/>
                <a:gd name="connsiteX2763" fmla="*/ 80963 w 2370773"/>
                <a:gd name="connsiteY2763" fmla="*/ 434340 h 1940242"/>
                <a:gd name="connsiteX2764" fmla="*/ 82868 w 2370773"/>
                <a:gd name="connsiteY2764" fmla="*/ 432435 h 1940242"/>
                <a:gd name="connsiteX2765" fmla="*/ 340995 w 2370773"/>
                <a:gd name="connsiteY2765" fmla="*/ 431482 h 1940242"/>
                <a:gd name="connsiteX2766" fmla="*/ 343852 w 2370773"/>
                <a:gd name="connsiteY2766" fmla="*/ 434339 h 1940242"/>
                <a:gd name="connsiteX2767" fmla="*/ 340995 w 2370773"/>
                <a:gd name="connsiteY2767" fmla="*/ 437197 h 1940242"/>
                <a:gd name="connsiteX2768" fmla="*/ 338137 w 2370773"/>
                <a:gd name="connsiteY2768" fmla="*/ 434339 h 1940242"/>
                <a:gd name="connsiteX2769" fmla="*/ 340995 w 2370773"/>
                <a:gd name="connsiteY2769" fmla="*/ 431482 h 1940242"/>
                <a:gd name="connsiteX2770" fmla="*/ 211456 w 2370773"/>
                <a:gd name="connsiteY2770" fmla="*/ 429577 h 1940242"/>
                <a:gd name="connsiteX2771" fmla="*/ 216218 w 2370773"/>
                <a:gd name="connsiteY2771" fmla="*/ 434340 h 1940242"/>
                <a:gd name="connsiteX2772" fmla="*/ 211456 w 2370773"/>
                <a:gd name="connsiteY2772" fmla="*/ 439102 h 1940242"/>
                <a:gd name="connsiteX2773" fmla="*/ 206693 w 2370773"/>
                <a:gd name="connsiteY2773" fmla="*/ 434340 h 1940242"/>
                <a:gd name="connsiteX2774" fmla="*/ 211456 w 2370773"/>
                <a:gd name="connsiteY2774" fmla="*/ 429577 h 1940242"/>
                <a:gd name="connsiteX2775" fmla="*/ 408623 w 2370773"/>
                <a:gd name="connsiteY2775" fmla="*/ 402907 h 1940242"/>
                <a:gd name="connsiteX2776" fmla="*/ 411480 w 2370773"/>
                <a:gd name="connsiteY2776" fmla="*/ 405764 h 1940242"/>
                <a:gd name="connsiteX2777" fmla="*/ 408623 w 2370773"/>
                <a:gd name="connsiteY2777" fmla="*/ 408622 h 1940242"/>
                <a:gd name="connsiteX2778" fmla="*/ 405765 w 2370773"/>
                <a:gd name="connsiteY2778" fmla="*/ 405764 h 1940242"/>
                <a:gd name="connsiteX2779" fmla="*/ 408623 w 2370773"/>
                <a:gd name="connsiteY2779" fmla="*/ 402907 h 1940242"/>
                <a:gd name="connsiteX2780" fmla="*/ 149543 w 2370773"/>
                <a:gd name="connsiteY2780" fmla="*/ 401002 h 1940242"/>
                <a:gd name="connsiteX2781" fmla="*/ 154305 w 2370773"/>
                <a:gd name="connsiteY2781" fmla="*/ 405765 h 1940242"/>
                <a:gd name="connsiteX2782" fmla="*/ 149543 w 2370773"/>
                <a:gd name="connsiteY2782" fmla="*/ 410527 h 1940242"/>
                <a:gd name="connsiteX2783" fmla="*/ 144780 w 2370773"/>
                <a:gd name="connsiteY2783" fmla="*/ 405765 h 1940242"/>
                <a:gd name="connsiteX2784" fmla="*/ 149543 w 2370773"/>
                <a:gd name="connsiteY2784" fmla="*/ 401002 h 1940242"/>
                <a:gd name="connsiteX2785" fmla="*/ 279083 w 2370773"/>
                <a:gd name="connsiteY2785" fmla="*/ 400050 h 1940242"/>
                <a:gd name="connsiteX2786" fmla="*/ 284798 w 2370773"/>
                <a:gd name="connsiteY2786" fmla="*/ 404813 h 1940242"/>
                <a:gd name="connsiteX2787" fmla="*/ 279083 w 2370773"/>
                <a:gd name="connsiteY2787" fmla="*/ 410527 h 1940242"/>
                <a:gd name="connsiteX2788" fmla="*/ 273368 w 2370773"/>
                <a:gd name="connsiteY2788" fmla="*/ 405765 h 1940242"/>
                <a:gd name="connsiteX2789" fmla="*/ 279083 w 2370773"/>
                <a:gd name="connsiteY2789" fmla="*/ 400050 h 1940242"/>
                <a:gd name="connsiteX2790" fmla="*/ 347662 w 2370773"/>
                <a:gd name="connsiteY2790" fmla="*/ 372427 h 1940242"/>
                <a:gd name="connsiteX2791" fmla="*/ 351472 w 2370773"/>
                <a:gd name="connsiteY2791" fmla="*/ 376237 h 1940242"/>
                <a:gd name="connsiteX2792" fmla="*/ 347662 w 2370773"/>
                <a:gd name="connsiteY2792" fmla="*/ 380047 h 1940242"/>
                <a:gd name="connsiteX2793" fmla="*/ 343852 w 2370773"/>
                <a:gd name="connsiteY2793" fmla="*/ 376237 h 1940242"/>
                <a:gd name="connsiteX2794" fmla="*/ 347662 w 2370773"/>
                <a:gd name="connsiteY2794" fmla="*/ 372427 h 1940242"/>
                <a:gd name="connsiteX2795" fmla="*/ 218122 w 2370773"/>
                <a:gd name="connsiteY2795" fmla="*/ 370522 h 1940242"/>
                <a:gd name="connsiteX2796" fmla="*/ 224790 w 2370773"/>
                <a:gd name="connsiteY2796" fmla="*/ 377189 h 1940242"/>
                <a:gd name="connsiteX2797" fmla="*/ 218122 w 2370773"/>
                <a:gd name="connsiteY2797" fmla="*/ 383857 h 1940242"/>
                <a:gd name="connsiteX2798" fmla="*/ 211455 w 2370773"/>
                <a:gd name="connsiteY2798" fmla="*/ 377189 h 1940242"/>
                <a:gd name="connsiteX2799" fmla="*/ 218122 w 2370773"/>
                <a:gd name="connsiteY2799" fmla="*/ 370522 h 1940242"/>
                <a:gd name="connsiteX2800" fmla="*/ 418148 w 2370773"/>
                <a:gd name="connsiteY2800" fmla="*/ 346710 h 1940242"/>
                <a:gd name="connsiteX2801" fmla="*/ 420053 w 2370773"/>
                <a:gd name="connsiteY2801" fmla="*/ 348615 h 1940242"/>
                <a:gd name="connsiteX2802" fmla="*/ 418148 w 2370773"/>
                <a:gd name="connsiteY2802" fmla="*/ 350520 h 1940242"/>
                <a:gd name="connsiteX2803" fmla="*/ 416243 w 2370773"/>
                <a:gd name="connsiteY2803" fmla="*/ 348615 h 1940242"/>
                <a:gd name="connsiteX2804" fmla="*/ 418148 w 2370773"/>
                <a:gd name="connsiteY2804" fmla="*/ 346710 h 1940242"/>
                <a:gd name="connsiteX2805" fmla="*/ 157163 w 2370773"/>
                <a:gd name="connsiteY2805" fmla="*/ 344805 h 1940242"/>
                <a:gd name="connsiteX2806" fmla="*/ 160973 w 2370773"/>
                <a:gd name="connsiteY2806" fmla="*/ 348615 h 1940242"/>
                <a:gd name="connsiteX2807" fmla="*/ 157163 w 2370773"/>
                <a:gd name="connsiteY2807" fmla="*/ 352425 h 1940242"/>
                <a:gd name="connsiteX2808" fmla="*/ 153353 w 2370773"/>
                <a:gd name="connsiteY2808" fmla="*/ 348615 h 1940242"/>
                <a:gd name="connsiteX2809" fmla="*/ 157163 w 2370773"/>
                <a:gd name="connsiteY2809" fmla="*/ 344805 h 1940242"/>
                <a:gd name="connsiteX2810" fmla="*/ 287655 w 2370773"/>
                <a:gd name="connsiteY2810" fmla="*/ 342900 h 1940242"/>
                <a:gd name="connsiteX2811" fmla="*/ 293370 w 2370773"/>
                <a:gd name="connsiteY2811" fmla="*/ 348615 h 1940242"/>
                <a:gd name="connsiteX2812" fmla="*/ 287655 w 2370773"/>
                <a:gd name="connsiteY2812" fmla="*/ 354330 h 1940242"/>
                <a:gd name="connsiteX2813" fmla="*/ 281940 w 2370773"/>
                <a:gd name="connsiteY2813" fmla="*/ 348615 h 1940242"/>
                <a:gd name="connsiteX2814" fmla="*/ 287655 w 2370773"/>
                <a:gd name="connsiteY2814" fmla="*/ 342900 h 1940242"/>
                <a:gd name="connsiteX2815" fmla="*/ 489585 w 2370773"/>
                <a:gd name="connsiteY2815" fmla="*/ 320039 h 1940242"/>
                <a:gd name="connsiteX2816" fmla="*/ 490537 w 2370773"/>
                <a:gd name="connsiteY2816" fmla="*/ 320992 h 1940242"/>
                <a:gd name="connsiteX2817" fmla="*/ 489585 w 2370773"/>
                <a:gd name="connsiteY2817" fmla="*/ 321944 h 1940242"/>
                <a:gd name="connsiteX2818" fmla="*/ 488632 w 2370773"/>
                <a:gd name="connsiteY2818" fmla="*/ 320992 h 1940242"/>
                <a:gd name="connsiteX2819" fmla="*/ 489585 w 2370773"/>
                <a:gd name="connsiteY2819" fmla="*/ 320039 h 1940242"/>
                <a:gd name="connsiteX2820" fmla="*/ 358140 w 2370773"/>
                <a:gd name="connsiteY2820" fmla="*/ 318135 h 1940242"/>
                <a:gd name="connsiteX2821" fmla="*/ 360997 w 2370773"/>
                <a:gd name="connsiteY2821" fmla="*/ 320992 h 1940242"/>
                <a:gd name="connsiteX2822" fmla="*/ 358140 w 2370773"/>
                <a:gd name="connsiteY2822" fmla="*/ 323850 h 1940242"/>
                <a:gd name="connsiteX2823" fmla="*/ 355282 w 2370773"/>
                <a:gd name="connsiteY2823" fmla="*/ 320992 h 1940242"/>
                <a:gd name="connsiteX2824" fmla="*/ 358140 w 2370773"/>
                <a:gd name="connsiteY2824" fmla="*/ 318135 h 1940242"/>
                <a:gd name="connsiteX2825" fmla="*/ 226695 w 2370773"/>
                <a:gd name="connsiteY2825" fmla="*/ 315277 h 1940242"/>
                <a:gd name="connsiteX2826" fmla="*/ 231457 w 2370773"/>
                <a:gd name="connsiteY2826" fmla="*/ 320040 h 1940242"/>
                <a:gd name="connsiteX2827" fmla="*/ 226695 w 2370773"/>
                <a:gd name="connsiteY2827" fmla="*/ 324802 h 1940242"/>
                <a:gd name="connsiteX2828" fmla="*/ 221932 w 2370773"/>
                <a:gd name="connsiteY2828" fmla="*/ 320040 h 1940242"/>
                <a:gd name="connsiteX2829" fmla="*/ 226695 w 2370773"/>
                <a:gd name="connsiteY2829" fmla="*/ 315277 h 1940242"/>
                <a:gd name="connsiteX2830" fmla="*/ 430530 w 2370773"/>
                <a:gd name="connsiteY2830" fmla="*/ 292417 h 1940242"/>
                <a:gd name="connsiteX2831" fmla="*/ 431482 w 2370773"/>
                <a:gd name="connsiteY2831" fmla="*/ 293369 h 1940242"/>
                <a:gd name="connsiteX2832" fmla="*/ 430530 w 2370773"/>
                <a:gd name="connsiteY2832" fmla="*/ 294322 h 1940242"/>
                <a:gd name="connsiteX2833" fmla="*/ 429577 w 2370773"/>
                <a:gd name="connsiteY2833" fmla="*/ 293369 h 1940242"/>
                <a:gd name="connsiteX2834" fmla="*/ 430530 w 2370773"/>
                <a:gd name="connsiteY2834" fmla="*/ 292417 h 1940242"/>
                <a:gd name="connsiteX2835" fmla="*/ 166687 w 2370773"/>
                <a:gd name="connsiteY2835" fmla="*/ 289560 h 1940242"/>
                <a:gd name="connsiteX2836" fmla="*/ 168592 w 2370773"/>
                <a:gd name="connsiteY2836" fmla="*/ 291465 h 1940242"/>
                <a:gd name="connsiteX2837" fmla="*/ 166687 w 2370773"/>
                <a:gd name="connsiteY2837" fmla="*/ 293370 h 1940242"/>
                <a:gd name="connsiteX2838" fmla="*/ 164782 w 2370773"/>
                <a:gd name="connsiteY2838" fmla="*/ 291465 h 1940242"/>
                <a:gd name="connsiteX2839" fmla="*/ 166687 w 2370773"/>
                <a:gd name="connsiteY2839" fmla="*/ 289560 h 1940242"/>
                <a:gd name="connsiteX2840" fmla="*/ 298133 w 2370773"/>
                <a:gd name="connsiteY2840" fmla="*/ 288607 h 1940242"/>
                <a:gd name="connsiteX2841" fmla="*/ 301943 w 2370773"/>
                <a:gd name="connsiteY2841" fmla="*/ 292417 h 1940242"/>
                <a:gd name="connsiteX2842" fmla="*/ 298133 w 2370773"/>
                <a:gd name="connsiteY2842" fmla="*/ 296227 h 1940242"/>
                <a:gd name="connsiteX2843" fmla="*/ 294323 w 2370773"/>
                <a:gd name="connsiteY2843" fmla="*/ 292417 h 1940242"/>
                <a:gd name="connsiteX2844" fmla="*/ 298133 w 2370773"/>
                <a:gd name="connsiteY2844" fmla="*/ 288607 h 1940242"/>
                <a:gd name="connsiteX2845" fmla="*/ 371475 w 2370773"/>
                <a:gd name="connsiteY2845" fmla="*/ 261937 h 1940242"/>
                <a:gd name="connsiteX2846" fmla="*/ 374333 w 2370773"/>
                <a:gd name="connsiteY2846" fmla="*/ 264794 h 1940242"/>
                <a:gd name="connsiteX2847" fmla="*/ 371475 w 2370773"/>
                <a:gd name="connsiteY2847" fmla="*/ 267652 h 1940242"/>
                <a:gd name="connsiteX2848" fmla="*/ 368618 w 2370773"/>
                <a:gd name="connsiteY2848" fmla="*/ 264794 h 1940242"/>
                <a:gd name="connsiteX2849" fmla="*/ 371475 w 2370773"/>
                <a:gd name="connsiteY2849" fmla="*/ 261937 h 1940242"/>
                <a:gd name="connsiteX2850" fmla="*/ 239077 w 2370773"/>
                <a:gd name="connsiteY2850" fmla="*/ 260985 h 1940242"/>
                <a:gd name="connsiteX2851" fmla="*/ 241935 w 2370773"/>
                <a:gd name="connsiteY2851" fmla="*/ 263842 h 1940242"/>
                <a:gd name="connsiteX2852" fmla="*/ 239077 w 2370773"/>
                <a:gd name="connsiteY2852" fmla="*/ 266700 h 1940242"/>
                <a:gd name="connsiteX2853" fmla="*/ 236220 w 2370773"/>
                <a:gd name="connsiteY2853" fmla="*/ 263842 h 1940242"/>
                <a:gd name="connsiteX2854" fmla="*/ 239077 w 2370773"/>
                <a:gd name="connsiteY2854" fmla="*/ 260985 h 1940242"/>
                <a:gd name="connsiteX2855" fmla="*/ 446723 w 2370773"/>
                <a:gd name="connsiteY2855" fmla="*/ 235267 h 1940242"/>
                <a:gd name="connsiteX2856" fmla="*/ 448628 w 2370773"/>
                <a:gd name="connsiteY2856" fmla="*/ 237172 h 1940242"/>
                <a:gd name="connsiteX2857" fmla="*/ 446723 w 2370773"/>
                <a:gd name="connsiteY2857" fmla="*/ 239077 h 1940242"/>
                <a:gd name="connsiteX2858" fmla="*/ 444818 w 2370773"/>
                <a:gd name="connsiteY2858" fmla="*/ 237172 h 1940242"/>
                <a:gd name="connsiteX2859" fmla="*/ 446723 w 2370773"/>
                <a:gd name="connsiteY2859" fmla="*/ 235267 h 1940242"/>
                <a:gd name="connsiteX2860" fmla="*/ 312420 w 2370773"/>
                <a:gd name="connsiteY2860" fmla="*/ 231457 h 1940242"/>
                <a:gd name="connsiteX2861" fmla="*/ 317182 w 2370773"/>
                <a:gd name="connsiteY2861" fmla="*/ 236220 h 1940242"/>
                <a:gd name="connsiteX2862" fmla="*/ 312420 w 2370773"/>
                <a:gd name="connsiteY2862" fmla="*/ 240982 h 1940242"/>
                <a:gd name="connsiteX2863" fmla="*/ 307657 w 2370773"/>
                <a:gd name="connsiteY2863" fmla="*/ 236220 h 1940242"/>
                <a:gd name="connsiteX2864" fmla="*/ 312420 w 2370773"/>
                <a:gd name="connsiteY2864" fmla="*/ 231457 h 1940242"/>
                <a:gd name="connsiteX2865" fmla="*/ 388620 w 2370773"/>
                <a:gd name="connsiteY2865" fmla="*/ 207644 h 1940242"/>
                <a:gd name="connsiteX2866" fmla="*/ 390525 w 2370773"/>
                <a:gd name="connsiteY2866" fmla="*/ 209549 h 1940242"/>
                <a:gd name="connsiteX2867" fmla="*/ 388620 w 2370773"/>
                <a:gd name="connsiteY2867" fmla="*/ 211454 h 1940242"/>
                <a:gd name="connsiteX2868" fmla="*/ 386715 w 2370773"/>
                <a:gd name="connsiteY2868" fmla="*/ 209549 h 1940242"/>
                <a:gd name="connsiteX2869" fmla="*/ 388620 w 2370773"/>
                <a:gd name="connsiteY2869" fmla="*/ 207644 h 1940242"/>
                <a:gd name="connsiteX2870" fmla="*/ 254318 w 2370773"/>
                <a:gd name="connsiteY2870" fmla="*/ 205739 h 1940242"/>
                <a:gd name="connsiteX2871" fmla="*/ 257175 w 2370773"/>
                <a:gd name="connsiteY2871" fmla="*/ 208597 h 1940242"/>
                <a:gd name="connsiteX2872" fmla="*/ 254318 w 2370773"/>
                <a:gd name="connsiteY2872" fmla="*/ 211454 h 1940242"/>
                <a:gd name="connsiteX2873" fmla="*/ 251460 w 2370773"/>
                <a:gd name="connsiteY2873" fmla="*/ 208597 h 1940242"/>
                <a:gd name="connsiteX2874" fmla="*/ 254318 w 2370773"/>
                <a:gd name="connsiteY2874" fmla="*/ 205739 h 1940242"/>
                <a:gd name="connsiteX2875" fmla="*/ 330517 w 2370773"/>
                <a:gd name="connsiteY2875" fmla="*/ 178117 h 1940242"/>
                <a:gd name="connsiteX2876" fmla="*/ 333375 w 2370773"/>
                <a:gd name="connsiteY2876" fmla="*/ 180974 h 1940242"/>
                <a:gd name="connsiteX2877" fmla="*/ 330517 w 2370773"/>
                <a:gd name="connsiteY2877" fmla="*/ 183832 h 1940242"/>
                <a:gd name="connsiteX2878" fmla="*/ 327660 w 2370773"/>
                <a:gd name="connsiteY2878" fmla="*/ 180974 h 1940242"/>
                <a:gd name="connsiteX2879" fmla="*/ 330517 w 2370773"/>
                <a:gd name="connsiteY2879" fmla="*/ 178117 h 1940242"/>
                <a:gd name="connsiteX2880" fmla="*/ 408623 w 2370773"/>
                <a:gd name="connsiteY2880" fmla="*/ 152400 h 1940242"/>
                <a:gd name="connsiteX2881" fmla="*/ 411480 w 2370773"/>
                <a:gd name="connsiteY2881" fmla="*/ 155257 h 1940242"/>
                <a:gd name="connsiteX2882" fmla="*/ 408623 w 2370773"/>
                <a:gd name="connsiteY2882" fmla="*/ 158115 h 1940242"/>
                <a:gd name="connsiteX2883" fmla="*/ 405765 w 2370773"/>
                <a:gd name="connsiteY2883" fmla="*/ 155257 h 1940242"/>
                <a:gd name="connsiteX2884" fmla="*/ 408623 w 2370773"/>
                <a:gd name="connsiteY2884" fmla="*/ 152400 h 1940242"/>
                <a:gd name="connsiteX2885" fmla="*/ 272415 w 2370773"/>
                <a:gd name="connsiteY2885" fmla="*/ 150494 h 1940242"/>
                <a:gd name="connsiteX2886" fmla="*/ 275272 w 2370773"/>
                <a:gd name="connsiteY2886" fmla="*/ 153351 h 1940242"/>
                <a:gd name="connsiteX2887" fmla="*/ 272415 w 2370773"/>
                <a:gd name="connsiteY2887" fmla="*/ 156209 h 1940242"/>
                <a:gd name="connsiteX2888" fmla="*/ 269557 w 2370773"/>
                <a:gd name="connsiteY2888" fmla="*/ 153351 h 1940242"/>
                <a:gd name="connsiteX2889" fmla="*/ 272415 w 2370773"/>
                <a:gd name="connsiteY2889" fmla="*/ 150494 h 1940242"/>
                <a:gd name="connsiteX2890" fmla="*/ 490537 w 2370773"/>
                <a:gd name="connsiteY2890" fmla="*/ 129539 h 1940242"/>
                <a:gd name="connsiteX2891" fmla="*/ 491490 w 2370773"/>
                <a:gd name="connsiteY2891" fmla="*/ 130492 h 1940242"/>
                <a:gd name="connsiteX2892" fmla="*/ 490537 w 2370773"/>
                <a:gd name="connsiteY2892" fmla="*/ 131444 h 1940242"/>
                <a:gd name="connsiteX2893" fmla="*/ 489585 w 2370773"/>
                <a:gd name="connsiteY2893" fmla="*/ 130492 h 1940242"/>
                <a:gd name="connsiteX2894" fmla="*/ 490537 w 2370773"/>
                <a:gd name="connsiteY2894" fmla="*/ 129539 h 1940242"/>
                <a:gd name="connsiteX2895" fmla="*/ 350520 w 2370773"/>
                <a:gd name="connsiteY2895" fmla="*/ 125730 h 1940242"/>
                <a:gd name="connsiteX2896" fmla="*/ 352425 w 2370773"/>
                <a:gd name="connsiteY2896" fmla="*/ 127635 h 1940242"/>
                <a:gd name="connsiteX2897" fmla="*/ 350520 w 2370773"/>
                <a:gd name="connsiteY2897" fmla="*/ 129540 h 1940242"/>
                <a:gd name="connsiteX2898" fmla="*/ 348615 w 2370773"/>
                <a:gd name="connsiteY2898" fmla="*/ 127635 h 1940242"/>
                <a:gd name="connsiteX2899" fmla="*/ 350520 w 2370773"/>
                <a:gd name="connsiteY2899" fmla="*/ 125730 h 1940242"/>
                <a:gd name="connsiteX2900" fmla="*/ 432435 w 2370773"/>
                <a:gd name="connsiteY2900" fmla="*/ 99060 h 1940242"/>
                <a:gd name="connsiteX2901" fmla="*/ 436245 w 2370773"/>
                <a:gd name="connsiteY2901" fmla="*/ 102870 h 1940242"/>
                <a:gd name="connsiteX2902" fmla="*/ 432435 w 2370773"/>
                <a:gd name="connsiteY2902" fmla="*/ 106680 h 1940242"/>
                <a:gd name="connsiteX2903" fmla="*/ 428625 w 2370773"/>
                <a:gd name="connsiteY2903" fmla="*/ 102870 h 1940242"/>
                <a:gd name="connsiteX2904" fmla="*/ 432435 w 2370773"/>
                <a:gd name="connsiteY2904" fmla="*/ 99060 h 1940242"/>
                <a:gd name="connsiteX2905" fmla="*/ 293370 w 2370773"/>
                <a:gd name="connsiteY2905" fmla="*/ 97155 h 1940242"/>
                <a:gd name="connsiteX2906" fmla="*/ 295275 w 2370773"/>
                <a:gd name="connsiteY2906" fmla="*/ 99060 h 1940242"/>
                <a:gd name="connsiteX2907" fmla="*/ 293370 w 2370773"/>
                <a:gd name="connsiteY2907" fmla="*/ 100965 h 1940242"/>
                <a:gd name="connsiteX2908" fmla="*/ 291465 w 2370773"/>
                <a:gd name="connsiteY2908" fmla="*/ 99060 h 1940242"/>
                <a:gd name="connsiteX2909" fmla="*/ 293370 w 2370773"/>
                <a:gd name="connsiteY2909" fmla="*/ 97155 h 1940242"/>
                <a:gd name="connsiteX2910" fmla="*/ 374332 w 2370773"/>
                <a:gd name="connsiteY2910" fmla="*/ 71437 h 1940242"/>
                <a:gd name="connsiteX2911" fmla="*/ 377190 w 2370773"/>
                <a:gd name="connsiteY2911" fmla="*/ 74294 h 1940242"/>
                <a:gd name="connsiteX2912" fmla="*/ 374332 w 2370773"/>
                <a:gd name="connsiteY2912" fmla="*/ 77152 h 1940242"/>
                <a:gd name="connsiteX2913" fmla="*/ 371475 w 2370773"/>
                <a:gd name="connsiteY2913" fmla="*/ 74294 h 1940242"/>
                <a:gd name="connsiteX2914" fmla="*/ 374332 w 2370773"/>
                <a:gd name="connsiteY2914" fmla="*/ 71437 h 1940242"/>
                <a:gd name="connsiteX2915" fmla="*/ 459105 w 2370773"/>
                <a:gd name="connsiteY2915" fmla="*/ 49530 h 1940242"/>
                <a:gd name="connsiteX2916" fmla="*/ 461010 w 2370773"/>
                <a:gd name="connsiteY2916" fmla="*/ 51435 h 1940242"/>
                <a:gd name="connsiteX2917" fmla="*/ 459105 w 2370773"/>
                <a:gd name="connsiteY2917" fmla="*/ 53340 h 1940242"/>
                <a:gd name="connsiteX2918" fmla="*/ 457200 w 2370773"/>
                <a:gd name="connsiteY2918" fmla="*/ 51435 h 1940242"/>
                <a:gd name="connsiteX2919" fmla="*/ 459105 w 2370773"/>
                <a:gd name="connsiteY2919" fmla="*/ 49530 h 1940242"/>
                <a:gd name="connsiteX2920" fmla="*/ 546735 w 2370773"/>
                <a:gd name="connsiteY2920" fmla="*/ 29527 h 1940242"/>
                <a:gd name="connsiteX2921" fmla="*/ 547688 w 2370773"/>
                <a:gd name="connsiteY2921" fmla="*/ 30480 h 1940242"/>
                <a:gd name="connsiteX2922" fmla="*/ 546735 w 2370773"/>
                <a:gd name="connsiteY2922" fmla="*/ 31432 h 1940242"/>
                <a:gd name="connsiteX2923" fmla="*/ 545783 w 2370773"/>
                <a:gd name="connsiteY2923" fmla="*/ 30480 h 1940242"/>
                <a:gd name="connsiteX2924" fmla="*/ 546735 w 2370773"/>
                <a:gd name="connsiteY2924" fmla="*/ 29527 h 1940242"/>
                <a:gd name="connsiteX2925" fmla="*/ 401002 w 2370773"/>
                <a:gd name="connsiteY2925" fmla="*/ 20955 h 1940242"/>
                <a:gd name="connsiteX2926" fmla="*/ 403860 w 2370773"/>
                <a:gd name="connsiteY2926" fmla="*/ 23812 h 1940242"/>
                <a:gd name="connsiteX2927" fmla="*/ 401002 w 2370773"/>
                <a:gd name="connsiteY2927" fmla="*/ 26670 h 1940242"/>
                <a:gd name="connsiteX2928" fmla="*/ 398145 w 2370773"/>
                <a:gd name="connsiteY2928" fmla="*/ 23812 h 1940242"/>
                <a:gd name="connsiteX2929" fmla="*/ 401002 w 2370773"/>
                <a:gd name="connsiteY2929" fmla="*/ 20955 h 1940242"/>
                <a:gd name="connsiteX2930" fmla="*/ 488632 w 2370773"/>
                <a:gd name="connsiteY2930" fmla="*/ 0 h 1940242"/>
                <a:gd name="connsiteX2931" fmla="*/ 490537 w 2370773"/>
                <a:gd name="connsiteY2931" fmla="*/ 1905 h 1940242"/>
                <a:gd name="connsiteX2932" fmla="*/ 488632 w 2370773"/>
                <a:gd name="connsiteY2932" fmla="*/ 3810 h 1940242"/>
                <a:gd name="connsiteX2933" fmla="*/ 486727 w 2370773"/>
                <a:gd name="connsiteY2933" fmla="*/ 1905 h 1940242"/>
                <a:gd name="connsiteX2934" fmla="*/ 488632 w 2370773"/>
                <a:gd name="connsiteY2934" fmla="*/ 0 h 19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Lst>
              <a:rect l="l" t="t" r="r" b="b"/>
              <a:pathLst>
                <a:path w="2370773" h="1940242">
                  <a:moveTo>
                    <a:pt x="1386840" y="1929765"/>
                  </a:moveTo>
                  <a:cubicBezTo>
                    <a:pt x="1387892" y="1929765"/>
                    <a:pt x="1388745" y="1930618"/>
                    <a:pt x="1388745" y="1931670"/>
                  </a:cubicBezTo>
                  <a:cubicBezTo>
                    <a:pt x="1388745" y="1932722"/>
                    <a:pt x="1387892" y="1933575"/>
                    <a:pt x="1386840" y="1933575"/>
                  </a:cubicBezTo>
                  <a:cubicBezTo>
                    <a:pt x="1385788" y="1933575"/>
                    <a:pt x="1384935" y="1932722"/>
                    <a:pt x="1384935" y="1931670"/>
                  </a:cubicBezTo>
                  <a:cubicBezTo>
                    <a:pt x="1384935" y="1930618"/>
                    <a:pt x="1385788" y="1929765"/>
                    <a:pt x="1386840" y="1929765"/>
                  </a:cubicBezTo>
                  <a:close/>
                  <a:moveTo>
                    <a:pt x="860107" y="1929765"/>
                  </a:moveTo>
                  <a:cubicBezTo>
                    <a:pt x="861060" y="1929765"/>
                    <a:pt x="862012" y="1930717"/>
                    <a:pt x="862012" y="1931670"/>
                  </a:cubicBezTo>
                  <a:cubicBezTo>
                    <a:pt x="862012" y="1932622"/>
                    <a:pt x="861060" y="1933575"/>
                    <a:pt x="860107" y="1933575"/>
                  </a:cubicBezTo>
                  <a:cubicBezTo>
                    <a:pt x="859154" y="1933575"/>
                    <a:pt x="858202" y="1932622"/>
                    <a:pt x="858202" y="1931670"/>
                  </a:cubicBezTo>
                  <a:cubicBezTo>
                    <a:pt x="858202" y="1930717"/>
                    <a:pt x="859154" y="1929765"/>
                    <a:pt x="860107" y="1929765"/>
                  </a:cubicBezTo>
                  <a:close/>
                  <a:moveTo>
                    <a:pt x="1329690" y="1926907"/>
                  </a:moveTo>
                  <a:cubicBezTo>
                    <a:pt x="1333500" y="1926907"/>
                    <a:pt x="1336357" y="1929765"/>
                    <a:pt x="1336357" y="1933574"/>
                  </a:cubicBezTo>
                  <a:cubicBezTo>
                    <a:pt x="1336357" y="1937384"/>
                    <a:pt x="1333500" y="1940242"/>
                    <a:pt x="1329690" y="1940242"/>
                  </a:cubicBezTo>
                  <a:cubicBezTo>
                    <a:pt x="1325880" y="1940242"/>
                    <a:pt x="1323022" y="1937384"/>
                    <a:pt x="1323022" y="1933574"/>
                  </a:cubicBezTo>
                  <a:cubicBezTo>
                    <a:pt x="1323022" y="1929765"/>
                    <a:pt x="1325880" y="1926907"/>
                    <a:pt x="1329690" y="1926907"/>
                  </a:cubicBezTo>
                  <a:close/>
                  <a:moveTo>
                    <a:pt x="1271588" y="1926907"/>
                  </a:moveTo>
                  <a:cubicBezTo>
                    <a:pt x="1275270" y="1926907"/>
                    <a:pt x="1278255" y="1929892"/>
                    <a:pt x="1278255" y="1933575"/>
                  </a:cubicBezTo>
                  <a:cubicBezTo>
                    <a:pt x="1278255" y="1937257"/>
                    <a:pt x="1275270" y="1940242"/>
                    <a:pt x="1271588" y="1940242"/>
                  </a:cubicBezTo>
                  <a:cubicBezTo>
                    <a:pt x="1267905" y="1940242"/>
                    <a:pt x="1264920" y="1937257"/>
                    <a:pt x="1264920" y="1933575"/>
                  </a:cubicBezTo>
                  <a:cubicBezTo>
                    <a:pt x="1264920" y="1929892"/>
                    <a:pt x="1267905" y="1926907"/>
                    <a:pt x="1271588" y="1926907"/>
                  </a:cubicBezTo>
                  <a:close/>
                  <a:moveTo>
                    <a:pt x="1214437" y="1925002"/>
                  </a:moveTo>
                  <a:cubicBezTo>
                    <a:pt x="1217295" y="1925002"/>
                    <a:pt x="1220152" y="1927859"/>
                    <a:pt x="1220152" y="1930717"/>
                  </a:cubicBezTo>
                  <a:cubicBezTo>
                    <a:pt x="1220152" y="1933574"/>
                    <a:pt x="1217295" y="1936432"/>
                    <a:pt x="1214437" y="1936432"/>
                  </a:cubicBezTo>
                  <a:cubicBezTo>
                    <a:pt x="1211580" y="1936432"/>
                    <a:pt x="1208722" y="1934527"/>
                    <a:pt x="1208722" y="1930717"/>
                  </a:cubicBezTo>
                  <a:cubicBezTo>
                    <a:pt x="1208722" y="1927859"/>
                    <a:pt x="1211580" y="1925002"/>
                    <a:pt x="1214437" y="1925002"/>
                  </a:cubicBezTo>
                  <a:close/>
                  <a:moveTo>
                    <a:pt x="1156335" y="1920240"/>
                  </a:moveTo>
                  <a:cubicBezTo>
                    <a:pt x="1159192" y="1920240"/>
                    <a:pt x="1162050" y="1923097"/>
                    <a:pt x="1162050" y="1925955"/>
                  </a:cubicBezTo>
                  <a:cubicBezTo>
                    <a:pt x="1162050" y="1928812"/>
                    <a:pt x="1159192" y="1931670"/>
                    <a:pt x="1156335" y="1931670"/>
                  </a:cubicBezTo>
                  <a:cubicBezTo>
                    <a:pt x="1153478" y="1931670"/>
                    <a:pt x="1151572" y="1929765"/>
                    <a:pt x="1150620" y="1925955"/>
                  </a:cubicBezTo>
                  <a:cubicBezTo>
                    <a:pt x="1150620" y="1923097"/>
                    <a:pt x="1153478" y="1920240"/>
                    <a:pt x="1156335" y="1920240"/>
                  </a:cubicBezTo>
                  <a:close/>
                  <a:moveTo>
                    <a:pt x="1099185" y="1914525"/>
                  </a:moveTo>
                  <a:cubicBezTo>
                    <a:pt x="1102042" y="1914525"/>
                    <a:pt x="1104900" y="1917383"/>
                    <a:pt x="1104900" y="1920240"/>
                  </a:cubicBezTo>
                  <a:cubicBezTo>
                    <a:pt x="1104900" y="1923097"/>
                    <a:pt x="1102042" y="1925955"/>
                    <a:pt x="1099185" y="1925955"/>
                  </a:cubicBezTo>
                  <a:cubicBezTo>
                    <a:pt x="1096327" y="1925955"/>
                    <a:pt x="1093470" y="1923097"/>
                    <a:pt x="1093470" y="1920240"/>
                  </a:cubicBezTo>
                  <a:cubicBezTo>
                    <a:pt x="1093470" y="1917383"/>
                    <a:pt x="1096327" y="1914525"/>
                    <a:pt x="1099185" y="1914525"/>
                  </a:cubicBezTo>
                  <a:close/>
                  <a:moveTo>
                    <a:pt x="1042988" y="1903095"/>
                  </a:moveTo>
                  <a:cubicBezTo>
                    <a:pt x="1046798" y="1903095"/>
                    <a:pt x="1050608" y="1906905"/>
                    <a:pt x="1050608" y="1910715"/>
                  </a:cubicBezTo>
                  <a:cubicBezTo>
                    <a:pt x="1050608" y="1914525"/>
                    <a:pt x="1046798" y="1918335"/>
                    <a:pt x="1042988" y="1918335"/>
                  </a:cubicBezTo>
                  <a:cubicBezTo>
                    <a:pt x="1038225" y="1918335"/>
                    <a:pt x="1034415" y="1914525"/>
                    <a:pt x="1035368" y="1910715"/>
                  </a:cubicBezTo>
                  <a:cubicBezTo>
                    <a:pt x="1035368" y="1906905"/>
                    <a:pt x="1039178" y="1903095"/>
                    <a:pt x="1042988" y="1903095"/>
                  </a:cubicBezTo>
                  <a:close/>
                  <a:moveTo>
                    <a:pt x="985837" y="1887854"/>
                  </a:moveTo>
                  <a:cubicBezTo>
                    <a:pt x="991552" y="1887854"/>
                    <a:pt x="996315" y="1892617"/>
                    <a:pt x="996315" y="1898332"/>
                  </a:cubicBezTo>
                  <a:cubicBezTo>
                    <a:pt x="996315" y="1904046"/>
                    <a:pt x="991552" y="1908809"/>
                    <a:pt x="985837" y="1908809"/>
                  </a:cubicBezTo>
                  <a:cubicBezTo>
                    <a:pt x="980123" y="1908809"/>
                    <a:pt x="975360" y="1904046"/>
                    <a:pt x="975360" y="1898332"/>
                  </a:cubicBezTo>
                  <a:cubicBezTo>
                    <a:pt x="975360" y="1892617"/>
                    <a:pt x="980123" y="1887854"/>
                    <a:pt x="985837" y="1887854"/>
                  </a:cubicBezTo>
                  <a:close/>
                  <a:moveTo>
                    <a:pt x="930593" y="1878329"/>
                  </a:moveTo>
                  <a:cubicBezTo>
                    <a:pt x="934403" y="1878329"/>
                    <a:pt x="937260" y="1881187"/>
                    <a:pt x="937260" y="1884996"/>
                  </a:cubicBezTo>
                  <a:cubicBezTo>
                    <a:pt x="937260" y="1888807"/>
                    <a:pt x="934403" y="1891664"/>
                    <a:pt x="930593" y="1891664"/>
                  </a:cubicBezTo>
                  <a:cubicBezTo>
                    <a:pt x="926783" y="1891664"/>
                    <a:pt x="922973" y="1888807"/>
                    <a:pt x="923925" y="1884996"/>
                  </a:cubicBezTo>
                  <a:cubicBezTo>
                    <a:pt x="923925" y="1881187"/>
                    <a:pt x="926783" y="1878329"/>
                    <a:pt x="930593" y="1878329"/>
                  </a:cubicBezTo>
                  <a:close/>
                  <a:moveTo>
                    <a:pt x="1725930" y="1867852"/>
                  </a:moveTo>
                  <a:cubicBezTo>
                    <a:pt x="1725930" y="1867852"/>
                    <a:pt x="1726883" y="1867852"/>
                    <a:pt x="1726883" y="1868804"/>
                  </a:cubicBezTo>
                  <a:cubicBezTo>
                    <a:pt x="1726883" y="1868804"/>
                    <a:pt x="1726883" y="1869757"/>
                    <a:pt x="1725930" y="1869757"/>
                  </a:cubicBezTo>
                  <a:cubicBezTo>
                    <a:pt x="1725930" y="1869757"/>
                    <a:pt x="1724978" y="1868804"/>
                    <a:pt x="1724978" y="1868804"/>
                  </a:cubicBezTo>
                  <a:cubicBezTo>
                    <a:pt x="1724978" y="1868804"/>
                    <a:pt x="1724978" y="1867852"/>
                    <a:pt x="1725930" y="1867852"/>
                  </a:cubicBezTo>
                  <a:close/>
                  <a:moveTo>
                    <a:pt x="699135" y="1867852"/>
                  </a:moveTo>
                  <a:cubicBezTo>
                    <a:pt x="700088" y="1867852"/>
                    <a:pt x="701040" y="1868804"/>
                    <a:pt x="701040" y="1869757"/>
                  </a:cubicBezTo>
                  <a:cubicBezTo>
                    <a:pt x="701040" y="1870709"/>
                    <a:pt x="700088" y="1871662"/>
                    <a:pt x="699135" y="1871662"/>
                  </a:cubicBezTo>
                  <a:cubicBezTo>
                    <a:pt x="698183" y="1871662"/>
                    <a:pt x="697230" y="1870709"/>
                    <a:pt x="697230" y="1869757"/>
                  </a:cubicBezTo>
                  <a:cubicBezTo>
                    <a:pt x="697230" y="1868804"/>
                    <a:pt x="698183" y="1867852"/>
                    <a:pt x="699135" y="1867852"/>
                  </a:cubicBezTo>
                  <a:close/>
                  <a:moveTo>
                    <a:pt x="1285875" y="1851659"/>
                  </a:moveTo>
                  <a:cubicBezTo>
                    <a:pt x="1295400" y="1851659"/>
                    <a:pt x="1303973" y="1860232"/>
                    <a:pt x="1303973" y="1869757"/>
                  </a:cubicBezTo>
                  <a:cubicBezTo>
                    <a:pt x="1303973" y="1879282"/>
                    <a:pt x="1296353" y="1887854"/>
                    <a:pt x="1285875" y="1887854"/>
                  </a:cubicBezTo>
                  <a:cubicBezTo>
                    <a:pt x="1276350" y="1887854"/>
                    <a:pt x="1267778" y="1879282"/>
                    <a:pt x="1267778" y="1869757"/>
                  </a:cubicBezTo>
                  <a:cubicBezTo>
                    <a:pt x="1267778" y="1860232"/>
                    <a:pt x="1275398" y="1851659"/>
                    <a:pt x="1285875" y="1851659"/>
                  </a:cubicBezTo>
                  <a:close/>
                  <a:moveTo>
                    <a:pt x="1343978" y="1850707"/>
                  </a:moveTo>
                  <a:cubicBezTo>
                    <a:pt x="1353503" y="1850707"/>
                    <a:pt x="1362075" y="1858327"/>
                    <a:pt x="1362075" y="1868804"/>
                  </a:cubicBezTo>
                  <a:cubicBezTo>
                    <a:pt x="1362075" y="1878329"/>
                    <a:pt x="1354455" y="1886902"/>
                    <a:pt x="1343978" y="1886902"/>
                  </a:cubicBezTo>
                  <a:cubicBezTo>
                    <a:pt x="1333500" y="1886902"/>
                    <a:pt x="1325880" y="1879282"/>
                    <a:pt x="1325880" y="1868804"/>
                  </a:cubicBezTo>
                  <a:cubicBezTo>
                    <a:pt x="1325880" y="1859279"/>
                    <a:pt x="1333500" y="1850707"/>
                    <a:pt x="1343978" y="1850707"/>
                  </a:cubicBezTo>
                  <a:close/>
                  <a:moveTo>
                    <a:pt x="1401128" y="1847850"/>
                  </a:moveTo>
                  <a:cubicBezTo>
                    <a:pt x="1411605" y="1847850"/>
                    <a:pt x="1420178" y="1856422"/>
                    <a:pt x="1420178" y="1866900"/>
                  </a:cubicBezTo>
                  <a:cubicBezTo>
                    <a:pt x="1420178" y="1877378"/>
                    <a:pt x="1411605" y="1885950"/>
                    <a:pt x="1401128" y="1885950"/>
                  </a:cubicBezTo>
                  <a:cubicBezTo>
                    <a:pt x="1390650" y="1885950"/>
                    <a:pt x="1382078" y="1876425"/>
                    <a:pt x="1382078" y="1866900"/>
                  </a:cubicBezTo>
                  <a:cubicBezTo>
                    <a:pt x="1382078" y="1856422"/>
                    <a:pt x="1390650" y="1847850"/>
                    <a:pt x="1401128" y="1847850"/>
                  </a:cubicBezTo>
                  <a:close/>
                  <a:moveTo>
                    <a:pt x="1228725" y="1847850"/>
                  </a:moveTo>
                  <a:cubicBezTo>
                    <a:pt x="1240155" y="1847850"/>
                    <a:pt x="1248727" y="1856422"/>
                    <a:pt x="1248727" y="1867853"/>
                  </a:cubicBezTo>
                  <a:cubicBezTo>
                    <a:pt x="1248727" y="1879283"/>
                    <a:pt x="1240155" y="1887855"/>
                    <a:pt x="1228725" y="1887855"/>
                  </a:cubicBezTo>
                  <a:cubicBezTo>
                    <a:pt x="1217295" y="1887855"/>
                    <a:pt x="1208722" y="1879283"/>
                    <a:pt x="1208722" y="1867853"/>
                  </a:cubicBezTo>
                  <a:cubicBezTo>
                    <a:pt x="1208722" y="1856422"/>
                    <a:pt x="1217295" y="1847850"/>
                    <a:pt x="1228725" y="1847850"/>
                  </a:cubicBezTo>
                  <a:close/>
                  <a:moveTo>
                    <a:pt x="874395" y="1846897"/>
                  </a:moveTo>
                  <a:cubicBezTo>
                    <a:pt x="886495" y="1846897"/>
                    <a:pt x="896303" y="1856705"/>
                    <a:pt x="896303" y="1868804"/>
                  </a:cubicBezTo>
                  <a:cubicBezTo>
                    <a:pt x="896303" y="1880904"/>
                    <a:pt x="886495" y="1890712"/>
                    <a:pt x="874395" y="1890712"/>
                  </a:cubicBezTo>
                  <a:cubicBezTo>
                    <a:pt x="862296" y="1890712"/>
                    <a:pt x="852488" y="1880904"/>
                    <a:pt x="852488" y="1868804"/>
                  </a:cubicBezTo>
                  <a:cubicBezTo>
                    <a:pt x="852488" y="1856705"/>
                    <a:pt x="862296" y="1846897"/>
                    <a:pt x="874395" y="1846897"/>
                  </a:cubicBezTo>
                  <a:close/>
                  <a:moveTo>
                    <a:pt x="1170622" y="1843087"/>
                  </a:moveTo>
                  <a:cubicBezTo>
                    <a:pt x="1182052" y="1843087"/>
                    <a:pt x="1191577" y="1852612"/>
                    <a:pt x="1191577" y="1864042"/>
                  </a:cubicBezTo>
                  <a:cubicBezTo>
                    <a:pt x="1191577" y="1875472"/>
                    <a:pt x="1182052" y="1884997"/>
                    <a:pt x="1170622" y="1884997"/>
                  </a:cubicBezTo>
                  <a:cubicBezTo>
                    <a:pt x="1159192" y="1884997"/>
                    <a:pt x="1149667" y="1875472"/>
                    <a:pt x="1149667" y="1864042"/>
                  </a:cubicBezTo>
                  <a:cubicBezTo>
                    <a:pt x="1149667" y="1852612"/>
                    <a:pt x="1159192" y="1843087"/>
                    <a:pt x="1170622" y="1843087"/>
                  </a:cubicBezTo>
                  <a:close/>
                  <a:moveTo>
                    <a:pt x="646747" y="1843087"/>
                  </a:moveTo>
                  <a:cubicBezTo>
                    <a:pt x="647700" y="1843087"/>
                    <a:pt x="648652" y="1844040"/>
                    <a:pt x="648652" y="1844992"/>
                  </a:cubicBezTo>
                  <a:cubicBezTo>
                    <a:pt x="648652" y="1845945"/>
                    <a:pt x="647700" y="1846897"/>
                    <a:pt x="646747" y="1846897"/>
                  </a:cubicBezTo>
                  <a:cubicBezTo>
                    <a:pt x="645795" y="1846897"/>
                    <a:pt x="644842" y="1846897"/>
                    <a:pt x="644842" y="1844992"/>
                  </a:cubicBezTo>
                  <a:cubicBezTo>
                    <a:pt x="644842" y="1844040"/>
                    <a:pt x="645795" y="1843087"/>
                    <a:pt x="646747" y="1843087"/>
                  </a:cubicBezTo>
                  <a:close/>
                  <a:moveTo>
                    <a:pt x="1459230" y="1841182"/>
                  </a:moveTo>
                  <a:cubicBezTo>
                    <a:pt x="1469708" y="1841182"/>
                    <a:pt x="1478280" y="1849754"/>
                    <a:pt x="1478280" y="1860232"/>
                  </a:cubicBezTo>
                  <a:cubicBezTo>
                    <a:pt x="1478280" y="1870709"/>
                    <a:pt x="1469708" y="1879282"/>
                    <a:pt x="1459230" y="1879282"/>
                  </a:cubicBezTo>
                  <a:cubicBezTo>
                    <a:pt x="1447800" y="1879282"/>
                    <a:pt x="1440180" y="1870709"/>
                    <a:pt x="1440180" y="1860232"/>
                  </a:cubicBezTo>
                  <a:cubicBezTo>
                    <a:pt x="1440180" y="1849754"/>
                    <a:pt x="1448753" y="1841182"/>
                    <a:pt x="1459230" y="1841182"/>
                  </a:cubicBezTo>
                  <a:close/>
                  <a:moveTo>
                    <a:pt x="1515428" y="1837372"/>
                  </a:moveTo>
                  <a:cubicBezTo>
                    <a:pt x="1524001" y="1837372"/>
                    <a:pt x="1530668" y="1844040"/>
                    <a:pt x="1530668" y="1852612"/>
                  </a:cubicBezTo>
                  <a:cubicBezTo>
                    <a:pt x="1530668" y="1861185"/>
                    <a:pt x="1524001" y="1867852"/>
                    <a:pt x="1515428" y="1867852"/>
                  </a:cubicBezTo>
                  <a:cubicBezTo>
                    <a:pt x="1507808" y="1867852"/>
                    <a:pt x="1500188" y="1861185"/>
                    <a:pt x="1500188" y="1852612"/>
                  </a:cubicBezTo>
                  <a:cubicBezTo>
                    <a:pt x="1500188" y="1844040"/>
                    <a:pt x="1506855" y="1837372"/>
                    <a:pt x="1515428" y="1837372"/>
                  </a:cubicBezTo>
                  <a:close/>
                  <a:moveTo>
                    <a:pt x="1113472" y="1837372"/>
                  </a:moveTo>
                  <a:cubicBezTo>
                    <a:pt x="1123950" y="1837372"/>
                    <a:pt x="1133475" y="1845945"/>
                    <a:pt x="1133475" y="1857375"/>
                  </a:cubicBezTo>
                  <a:cubicBezTo>
                    <a:pt x="1133475" y="1867852"/>
                    <a:pt x="1124902" y="1877377"/>
                    <a:pt x="1113472" y="1877377"/>
                  </a:cubicBezTo>
                  <a:cubicBezTo>
                    <a:pt x="1102995" y="1877377"/>
                    <a:pt x="1093470" y="1867852"/>
                    <a:pt x="1093470" y="1857375"/>
                  </a:cubicBezTo>
                  <a:cubicBezTo>
                    <a:pt x="1093470" y="1846897"/>
                    <a:pt x="1102042" y="1837372"/>
                    <a:pt x="1113472" y="1837372"/>
                  </a:cubicBezTo>
                  <a:close/>
                  <a:moveTo>
                    <a:pt x="820103" y="1832609"/>
                  </a:moveTo>
                  <a:cubicBezTo>
                    <a:pt x="829628" y="1832609"/>
                    <a:pt x="837248" y="1840229"/>
                    <a:pt x="837248" y="1849754"/>
                  </a:cubicBezTo>
                  <a:cubicBezTo>
                    <a:pt x="837248" y="1859279"/>
                    <a:pt x="829628" y="1866899"/>
                    <a:pt x="820103" y="1866899"/>
                  </a:cubicBezTo>
                  <a:cubicBezTo>
                    <a:pt x="810578" y="1866899"/>
                    <a:pt x="802958" y="1859279"/>
                    <a:pt x="802958" y="1849754"/>
                  </a:cubicBezTo>
                  <a:cubicBezTo>
                    <a:pt x="802958" y="1840229"/>
                    <a:pt x="810578" y="1832609"/>
                    <a:pt x="820103" y="1832609"/>
                  </a:cubicBezTo>
                  <a:close/>
                  <a:moveTo>
                    <a:pt x="1572578" y="1831657"/>
                  </a:moveTo>
                  <a:cubicBezTo>
                    <a:pt x="1578292" y="1831657"/>
                    <a:pt x="1583055" y="1836420"/>
                    <a:pt x="1583055" y="1842134"/>
                  </a:cubicBezTo>
                  <a:cubicBezTo>
                    <a:pt x="1583055" y="1847849"/>
                    <a:pt x="1578292" y="1852612"/>
                    <a:pt x="1572578" y="1852612"/>
                  </a:cubicBezTo>
                  <a:cubicBezTo>
                    <a:pt x="1566863" y="1852612"/>
                    <a:pt x="1562100" y="1847849"/>
                    <a:pt x="1562100" y="1842134"/>
                  </a:cubicBezTo>
                  <a:cubicBezTo>
                    <a:pt x="1562100" y="1836420"/>
                    <a:pt x="1566863" y="1831657"/>
                    <a:pt x="1572578" y="1831657"/>
                  </a:cubicBezTo>
                  <a:close/>
                  <a:moveTo>
                    <a:pt x="1057275" y="1826895"/>
                  </a:moveTo>
                  <a:cubicBezTo>
                    <a:pt x="1068705" y="1826895"/>
                    <a:pt x="1077278" y="1836420"/>
                    <a:pt x="1077278" y="1846897"/>
                  </a:cubicBezTo>
                  <a:cubicBezTo>
                    <a:pt x="1077278" y="1858328"/>
                    <a:pt x="1067753" y="1866900"/>
                    <a:pt x="1057275" y="1866900"/>
                  </a:cubicBezTo>
                  <a:cubicBezTo>
                    <a:pt x="1045846" y="1866900"/>
                    <a:pt x="1037273" y="1858328"/>
                    <a:pt x="1037273" y="1846897"/>
                  </a:cubicBezTo>
                  <a:cubicBezTo>
                    <a:pt x="1037273" y="1835467"/>
                    <a:pt x="1046798" y="1826895"/>
                    <a:pt x="1057275" y="1826895"/>
                  </a:cubicBezTo>
                  <a:close/>
                  <a:moveTo>
                    <a:pt x="1628775" y="1823084"/>
                  </a:moveTo>
                  <a:cubicBezTo>
                    <a:pt x="1632585" y="1823084"/>
                    <a:pt x="1634490" y="1825942"/>
                    <a:pt x="1634490" y="1828799"/>
                  </a:cubicBezTo>
                  <a:cubicBezTo>
                    <a:pt x="1634490" y="1831657"/>
                    <a:pt x="1631633" y="1834514"/>
                    <a:pt x="1628775" y="1834514"/>
                  </a:cubicBezTo>
                  <a:cubicBezTo>
                    <a:pt x="1625918" y="1834514"/>
                    <a:pt x="1623060" y="1832609"/>
                    <a:pt x="1623060" y="1828799"/>
                  </a:cubicBezTo>
                  <a:cubicBezTo>
                    <a:pt x="1623060" y="1825942"/>
                    <a:pt x="1625918" y="1823084"/>
                    <a:pt x="1628775" y="1823084"/>
                  </a:cubicBezTo>
                  <a:close/>
                  <a:moveTo>
                    <a:pt x="766763" y="1820227"/>
                  </a:moveTo>
                  <a:cubicBezTo>
                    <a:pt x="771525" y="1820227"/>
                    <a:pt x="775335" y="1824037"/>
                    <a:pt x="775335" y="1828799"/>
                  </a:cubicBezTo>
                  <a:cubicBezTo>
                    <a:pt x="775335" y="1833562"/>
                    <a:pt x="771525" y="1837372"/>
                    <a:pt x="766763" y="1837372"/>
                  </a:cubicBezTo>
                  <a:cubicBezTo>
                    <a:pt x="762000" y="1837372"/>
                    <a:pt x="758190" y="1833562"/>
                    <a:pt x="758190" y="1828799"/>
                  </a:cubicBezTo>
                  <a:cubicBezTo>
                    <a:pt x="758190" y="1824037"/>
                    <a:pt x="762000" y="1820227"/>
                    <a:pt x="766763" y="1820227"/>
                  </a:cubicBezTo>
                  <a:close/>
                  <a:moveTo>
                    <a:pt x="1684020" y="1813559"/>
                  </a:moveTo>
                  <a:cubicBezTo>
                    <a:pt x="1684020" y="1813559"/>
                    <a:pt x="1684972" y="1813559"/>
                    <a:pt x="1684972" y="1814512"/>
                  </a:cubicBezTo>
                  <a:cubicBezTo>
                    <a:pt x="1684972" y="1814512"/>
                    <a:pt x="1684972" y="1815464"/>
                    <a:pt x="1684020" y="1815464"/>
                  </a:cubicBezTo>
                  <a:cubicBezTo>
                    <a:pt x="1684020" y="1815464"/>
                    <a:pt x="1683067" y="1814512"/>
                    <a:pt x="1683067" y="1814512"/>
                  </a:cubicBezTo>
                  <a:cubicBezTo>
                    <a:pt x="1683067" y="1814512"/>
                    <a:pt x="1683067" y="1813559"/>
                    <a:pt x="1684020" y="1813559"/>
                  </a:cubicBezTo>
                  <a:close/>
                  <a:moveTo>
                    <a:pt x="1000125" y="1813559"/>
                  </a:moveTo>
                  <a:cubicBezTo>
                    <a:pt x="1012507" y="1813559"/>
                    <a:pt x="1022032" y="1823084"/>
                    <a:pt x="1022032" y="1835467"/>
                  </a:cubicBezTo>
                  <a:cubicBezTo>
                    <a:pt x="1022032" y="1847849"/>
                    <a:pt x="1012507" y="1857374"/>
                    <a:pt x="1000125" y="1857374"/>
                  </a:cubicBezTo>
                  <a:cubicBezTo>
                    <a:pt x="988695" y="1857374"/>
                    <a:pt x="978217" y="1847849"/>
                    <a:pt x="978217" y="1835467"/>
                  </a:cubicBezTo>
                  <a:cubicBezTo>
                    <a:pt x="978217" y="1823084"/>
                    <a:pt x="987742" y="1813559"/>
                    <a:pt x="1000125" y="1813559"/>
                  </a:cubicBezTo>
                  <a:close/>
                  <a:moveTo>
                    <a:pt x="944880" y="1799272"/>
                  </a:moveTo>
                  <a:cubicBezTo>
                    <a:pt x="957263" y="1799272"/>
                    <a:pt x="966788" y="1808797"/>
                    <a:pt x="966788" y="1821180"/>
                  </a:cubicBezTo>
                  <a:cubicBezTo>
                    <a:pt x="966788" y="1833562"/>
                    <a:pt x="957263" y="1843087"/>
                    <a:pt x="944880" y="1843087"/>
                  </a:cubicBezTo>
                  <a:cubicBezTo>
                    <a:pt x="932498" y="1843087"/>
                    <a:pt x="922973" y="1833562"/>
                    <a:pt x="922973" y="1821180"/>
                  </a:cubicBezTo>
                  <a:cubicBezTo>
                    <a:pt x="922973" y="1808797"/>
                    <a:pt x="932498" y="1799272"/>
                    <a:pt x="944880" y="1799272"/>
                  </a:cubicBezTo>
                  <a:close/>
                  <a:moveTo>
                    <a:pt x="544829" y="1789747"/>
                  </a:moveTo>
                  <a:cubicBezTo>
                    <a:pt x="544829" y="1789747"/>
                    <a:pt x="545782" y="1789747"/>
                    <a:pt x="545782" y="1790700"/>
                  </a:cubicBezTo>
                  <a:cubicBezTo>
                    <a:pt x="545782" y="1790700"/>
                    <a:pt x="545782" y="1791652"/>
                    <a:pt x="544829" y="1791652"/>
                  </a:cubicBezTo>
                  <a:cubicBezTo>
                    <a:pt x="544829" y="1791652"/>
                    <a:pt x="543877" y="1791652"/>
                    <a:pt x="543877" y="1790700"/>
                  </a:cubicBezTo>
                  <a:cubicBezTo>
                    <a:pt x="543877" y="1790700"/>
                    <a:pt x="543877" y="1789747"/>
                    <a:pt x="544829" y="1789747"/>
                  </a:cubicBezTo>
                  <a:close/>
                  <a:moveTo>
                    <a:pt x="1243012" y="1787842"/>
                  </a:moveTo>
                  <a:cubicBezTo>
                    <a:pt x="1252537" y="1787842"/>
                    <a:pt x="1260157" y="1795462"/>
                    <a:pt x="1260157" y="1804987"/>
                  </a:cubicBezTo>
                  <a:cubicBezTo>
                    <a:pt x="1260157" y="1814512"/>
                    <a:pt x="1252537" y="1822132"/>
                    <a:pt x="1243012" y="1822132"/>
                  </a:cubicBezTo>
                  <a:cubicBezTo>
                    <a:pt x="1233487" y="1822132"/>
                    <a:pt x="1225867" y="1813559"/>
                    <a:pt x="1225867" y="1804987"/>
                  </a:cubicBezTo>
                  <a:cubicBezTo>
                    <a:pt x="1225867" y="1795462"/>
                    <a:pt x="1233487" y="1787842"/>
                    <a:pt x="1243012" y="1787842"/>
                  </a:cubicBezTo>
                  <a:close/>
                  <a:moveTo>
                    <a:pt x="1300163" y="1786890"/>
                  </a:moveTo>
                  <a:cubicBezTo>
                    <a:pt x="1310641" y="1786890"/>
                    <a:pt x="1319213" y="1795462"/>
                    <a:pt x="1319213" y="1805940"/>
                  </a:cubicBezTo>
                  <a:cubicBezTo>
                    <a:pt x="1319213" y="1816417"/>
                    <a:pt x="1310641" y="1824990"/>
                    <a:pt x="1300163" y="1824990"/>
                  </a:cubicBezTo>
                  <a:cubicBezTo>
                    <a:pt x="1289685" y="1824990"/>
                    <a:pt x="1281113" y="1816417"/>
                    <a:pt x="1281113" y="1805940"/>
                  </a:cubicBezTo>
                  <a:cubicBezTo>
                    <a:pt x="1281113" y="1795462"/>
                    <a:pt x="1289685" y="1786890"/>
                    <a:pt x="1300163" y="1786890"/>
                  </a:cubicBezTo>
                  <a:close/>
                  <a:moveTo>
                    <a:pt x="1739266" y="1785937"/>
                  </a:moveTo>
                  <a:cubicBezTo>
                    <a:pt x="1744980" y="1785937"/>
                    <a:pt x="1749743" y="1790700"/>
                    <a:pt x="1749743" y="1796415"/>
                  </a:cubicBezTo>
                  <a:cubicBezTo>
                    <a:pt x="1749743" y="1802129"/>
                    <a:pt x="1744980" y="1806892"/>
                    <a:pt x="1739266" y="1806892"/>
                  </a:cubicBezTo>
                  <a:cubicBezTo>
                    <a:pt x="1733551" y="1806892"/>
                    <a:pt x="1729741" y="1802129"/>
                    <a:pt x="1728788" y="1796415"/>
                  </a:cubicBezTo>
                  <a:cubicBezTo>
                    <a:pt x="1728788" y="1790700"/>
                    <a:pt x="1733551" y="1785937"/>
                    <a:pt x="1739266" y="1785937"/>
                  </a:cubicBezTo>
                  <a:close/>
                  <a:moveTo>
                    <a:pt x="1358265" y="1785937"/>
                  </a:moveTo>
                  <a:cubicBezTo>
                    <a:pt x="1368742" y="1785937"/>
                    <a:pt x="1377315" y="1794509"/>
                    <a:pt x="1377315" y="1804987"/>
                  </a:cubicBezTo>
                  <a:cubicBezTo>
                    <a:pt x="1377315" y="1815465"/>
                    <a:pt x="1368742" y="1824037"/>
                    <a:pt x="1358265" y="1824037"/>
                  </a:cubicBezTo>
                  <a:cubicBezTo>
                    <a:pt x="1347787" y="1824037"/>
                    <a:pt x="1339215" y="1815465"/>
                    <a:pt x="1339215" y="1804987"/>
                  </a:cubicBezTo>
                  <a:cubicBezTo>
                    <a:pt x="1339215" y="1794509"/>
                    <a:pt x="1347787" y="1785937"/>
                    <a:pt x="1358265" y="1785937"/>
                  </a:cubicBezTo>
                  <a:close/>
                  <a:moveTo>
                    <a:pt x="888683" y="1785937"/>
                  </a:moveTo>
                  <a:cubicBezTo>
                    <a:pt x="899160" y="1785937"/>
                    <a:pt x="908685" y="1794509"/>
                    <a:pt x="908685" y="1805940"/>
                  </a:cubicBezTo>
                  <a:cubicBezTo>
                    <a:pt x="908685" y="1816417"/>
                    <a:pt x="900113" y="1825942"/>
                    <a:pt x="888683" y="1825942"/>
                  </a:cubicBezTo>
                  <a:cubicBezTo>
                    <a:pt x="878205" y="1825942"/>
                    <a:pt x="868680" y="1816417"/>
                    <a:pt x="868680" y="1805940"/>
                  </a:cubicBezTo>
                  <a:cubicBezTo>
                    <a:pt x="868680" y="1795462"/>
                    <a:pt x="877253" y="1785937"/>
                    <a:pt x="888683" y="1785937"/>
                  </a:cubicBezTo>
                  <a:close/>
                  <a:moveTo>
                    <a:pt x="713423" y="1783079"/>
                  </a:moveTo>
                  <a:cubicBezTo>
                    <a:pt x="725805" y="1783079"/>
                    <a:pt x="736283" y="1793557"/>
                    <a:pt x="736283" y="1805939"/>
                  </a:cubicBezTo>
                  <a:cubicBezTo>
                    <a:pt x="736283" y="1818321"/>
                    <a:pt x="725805" y="1828799"/>
                    <a:pt x="713423" y="1828799"/>
                  </a:cubicBezTo>
                  <a:cubicBezTo>
                    <a:pt x="701040" y="1828799"/>
                    <a:pt x="690563" y="1819274"/>
                    <a:pt x="690563" y="1805939"/>
                  </a:cubicBezTo>
                  <a:cubicBezTo>
                    <a:pt x="690563" y="1793557"/>
                    <a:pt x="701040" y="1783079"/>
                    <a:pt x="713423" y="1783079"/>
                  </a:cubicBezTo>
                  <a:close/>
                  <a:moveTo>
                    <a:pt x="1415415" y="1782127"/>
                  </a:moveTo>
                  <a:cubicBezTo>
                    <a:pt x="1424940" y="1782127"/>
                    <a:pt x="1433512" y="1789747"/>
                    <a:pt x="1433512" y="1800224"/>
                  </a:cubicBezTo>
                  <a:cubicBezTo>
                    <a:pt x="1433512" y="1809749"/>
                    <a:pt x="1425892" y="1818322"/>
                    <a:pt x="1415415" y="1818322"/>
                  </a:cubicBezTo>
                  <a:cubicBezTo>
                    <a:pt x="1405890" y="1818322"/>
                    <a:pt x="1397317" y="1810702"/>
                    <a:pt x="1397317" y="1800224"/>
                  </a:cubicBezTo>
                  <a:cubicBezTo>
                    <a:pt x="1397317" y="1790699"/>
                    <a:pt x="1404937" y="1782127"/>
                    <a:pt x="1415415" y="1782127"/>
                  </a:cubicBezTo>
                  <a:close/>
                  <a:moveTo>
                    <a:pt x="1185863" y="1780222"/>
                  </a:moveTo>
                  <a:cubicBezTo>
                    <a:pt x="1197293" y="1780222"/>
                    <a:pt x="1205865" y="1789747"/>
                    <a:pt x="1205865" y="1800225"/>
                  </a:cubicBezTo>
                  <a:cubicBezTo>
                    <a:pt x="1205865" y="1811655"/>
                    <a:pt x="1196340" y="1820227"/>
                    <a:pt x="1185863" y="1820227"/>
                  </a:cubicBezTo>
                  <a:cubicBezTo>
                    <a:pt x="1174433" y="1820227"/>
                    <a:pt x="1165860" y="1811655"/>
                    <a:pt x="1165860" y="1800225"/>
                  </a:cubicBezTo>
                  <a:cubicBezTo>
                    <a:pt x="1165860" y="1788795"/>
                    <a:pt x="1175385" y="1780222"/>
                    <a:pt x="1185863" y="1780222"/>
                  </a:cubicBezTo>
                  <a:close/>
                  <a:moveTo>
                    <a:pt x="1472565" y="1776412"/>
                  </a:moveTo>
                  <a:cubicBezTo>
                    <a:pt x="1482090" y="1776412"/>
                    <a:pt x="1490662" y="1784032"/>
                    <a:pt x="1490662" y="1794509"/>
                  </a:cubicBezTo>
                  <a:cubicBezTo>
                    <a:pt x="1490662" y="1804034"/>
                    <a:pt x="1483042" y="1812607"/>
                    <a:pt x="1472565" y="1812607"/>
                  </a:cubicBezTo>
                  <a:cubicBezTo>
                    <a:pt x="1463040" y="1812607"/>
                    <a:pt x="1454467" y="1804034"/>
                    <a:pt x="1454467" y="1794509"/>
                  </a:cubicBezTo>
                  <a:cubicBezTo>
                    <a:pt x="1454467" y="1784984"/>
                    <a:pt x="1462087" y="1776412"/>
                    <a:pt x="1472565" y="1776412"/>
                  </a:cubicBezTo>
                  <a:close/>
                  <a:moveTo>
                    <a:pt x="1127760" y="1776412"/>
                  </a:moveTo>
                  <a:cubicBezTo>
                    <a:pt x="1137285" y="1776412"/>
                    <a:pt x="1144905" y="1784032"/>
                    <a:pt x="1144905" y="1793557"/>
                  </a:cubicBezTo>
                  <a:cubicBezTo>
                    <a:pt x="1144905" y="1803082"/>
                    <a:pt x="1137285" y="1810702"/>
                    <a:pt x="1127760" y="1810702"/>
                  </a:cubicBezTo>
                  <a:cubicBezTo>
                    <a:pt x="1119188" y="1810702"/>
                    <a:pt x="1111567" y="1803082"/>
                    <a:pt x="1110615" y="1793557"/>
                  </a:cubicBezTo>
                  <a:cubicBezTo>
                    <a:pt x="1110615" y="1784032"/>
                    <a:pt x="1118235" y="1776412"/>
                    <a:pt x="1127760" y="1776412"/>
                  </a:cubicBezTo>
                  <a:close/>
                  <a:moveTo>
                    <a:pt x="1529715" y="1769745"/>
                  </a:moveTo>
                  <a:cubicBezTo>
                    <a:pt x="1538288" y="1769745"/>
                    <a:pt x="1544955" y="1776412"/>
                    <a:pt x="1544955" y="1784985"/>
                  </a:cubicBezTo>
                  <a:cubicBezTo>
                    <a:pt x="1544955" y="1793558"/>
                    <a:pt x="1538288" y="1800225"/>
                    <a:pt x="1529715" y="1800225"/>
                  </a:cubicBezTo>
                  <a:cubicBezTo>
                    <a:pt x="1521142" y="1800225"/>
                    <a:pt x="1514475" y="1793558"/>
                    <a:pt x="1514475" y="1784985"/>
                  </a:cubicBezTo>
                  <a:cubicBezTo>
                    <a:pt x="1514475" y="1776412"/>
                    <a:pt x="1521142" y="1769745"/>
                    <a:pt x="1529715" y="1769745"/>
                  </a:cubicBezTo>
                  <a:close/>
                  <a:moveTo>
                    <a:pt x="834390" y="1766887"/>
                  </a:moveTo>
                  <a:cubicBezTo>
                    <a:pt x="844868" y="1766887"/>
                    <a:pt x="854393" y="1776412"/>
                    <a:pt x="854393" y="1786890"/>
                  </a:cubicBezTo>
                  <a:cubicBezTo>
                    <a:pt x="854393" y="1797367"/>
                    <a:pt x="845821" y="1806892"/>
                    <a:pt x="834390" y="1806892"/>
                  </a:cubicBezTo>
                  <a:cubicBezTo>
                    <a:pt x="822961" y="1806892"/>
                    <a:pt x="814388" y="1797367"/>
                    <a:pt x="814388" y="1786890"/>
                  </a:cubicBezTo>
                  <a:cubicBezTo>
                    <a:pt x="814388" y="1776412"/>
                    <a:pt x="823913" y="1766887"/>
                    <a:pt x="834390" y="1766887"/>
                  </a:cubicBezTo>
                  <a:close/>
                  <a:moveTo>
                    <a:pt x="1793558" y="1765934"/>
                  </a:moveTo>
                  <a:cubicBezTo>
                    <a:pt x="1799272" y="1765934"/>
                    <a:pt x="1804035" y="1770697"/>
                    <a:pt x="1804035" y="1776412"/>
                  </a:cubicBezTo>
                  <a:cubicBezTo>
                    <a:pt x="1804035" y="1782127"/>
                    <a:pt x="1799272" y="1786889"/>
                    <a:pt x="1793558" y="1786889"/>
                  </a:cubicBezTo>
                  <a:cubicBezTo>
                    <a:pt x="1787843" y="1786889"/>
                    <a:pt x="1783080" y="1782127"/>
                    <a:pt x="1783080" y="1776412"/>
                  </a:cubicBezTo>
                  <a:cubicBezTo>
                    <a:pt x="1783080" y="1770697"/>
                    <a:pt x="1787843" y="1765934"/>
                    <a:pt x="1793558" y="1765934"/>
                  </a:cubicBezTo>
                  <a:close/>
                  <a:moveTo>
                    <a:pt x="1071563" y="1764029"/>
                  </a:moveTo>
                  <a:cubicBezTo>
                    <a:pt x="1082993" y="1764029"/>
                    <a:pt x="1092518" y="1773554"/>
                    <a:pt x="1092518" y="1784984"/>
                  </a:cubicBezTo>
                  <a:cubicBezTo>
                    <a:pt x="1092518" y="1796414"/>
                    <a:pt x="1082993" y="1805939"/>
                    <a:pt x="1071563" y="1805939"/>
                  </a:cubicBezTo>
                  <a:cubicBezTo>
                    <a:pt x="1059180" y="1805939"/>
                    <a:pt x="1049655" y="1796414"/>
                    <a:pt x="1050608" y="1784984"/>
                  </a:cubicBezTo>
                  <a:cubicBezTo>
                    <a:pt x="1050608" y="1773554"/>
                    <a:pt x="1060133" y="1764029"/>
                    <a:pt x="1071563" y="1764029"/>
                  </a:cubicBezTo>
                  <a:close/>
                  <a:moveTo>
                    <a:pt x="661035" y="1762125"/>
                  </a:moveTo>
                  <a:cubicBezTo>
                    <a:pt x="671512" y="1762125"/>
                    <a:pt x="680085" y="1770697"/>
                    <a:pt x="680085" y="1781175"/>
                  </a:cubicBezTo>
                  <a:cubicBezTo>
                    <a:pt x="680085" y="1791653"/>
                    <a:pt x="671512" y="1800225"/>
                    <a:pt x="661035" y="1800225"/>
                  </a:cubicBezTo>
                  <a:cubicBezTo>
                    <a:pt x="651510" y="1800225"/>
                    <a:pt x="642937" y="1791653"/>
                    <a:pt x="641985" y="1781175"/>
                  </a:cubicBezTo>
                  <a:cubicBezTo>
                    <a:pt x="641985" y="1770697"/>
                    <a:pt x="650558" y="1762125"/>
                    <a:pt x="661035" y="1762125"/>
                  </a:cubicBezTo>
                  <a:close/>
                  <a:moveTo>
                    <a:pt x="1586865" y="1756409"/>
                  </a:moveTo>
                  <a:cubicBezTo>
                    <a:pt x="1596390" y="1756409"/>
                    <a:pt x="1604009" y="1764029"/>
                    <a:pt x="1604009" y="1773554"/>
                  </a:cubicBezTo>
                  <a:cubicBezTo>
                    <a:pt x="1604009" y="1783079"/>
                    <a:pt x="1596390" y="1790699"/>
                    <a:pt x="1586865" y="1790699"/>
                  </a:cubicBezTo>
                  <a:cubicBezTo>
                    <a:pt x="1577340" y="1790699"/>
                    <a:pt x="1568767" y="1783079"/>
                    <a:pt x="1569720" y="1773554"/>
                  </a:cubicBezTo>
                  <a:cubicBezTo>
                    <a:pt x="1569720" y="1764029"/>
                    <a:pt x="1577340" y="1756409"/>
                    <a:pt x="1586865" y="1756409"/>
                  </a:cubicBezTo>
                  <a:close/>
                  <a:moveTo>
                    <a:pt x="1846898" y="1751647"/>
                  </a:moveTo>
                  <a:cubicBezTo>
                    <a:pt x="1847850" y="1751647"/>
                    <a:pt x="1849755" y="1752600"/>
                    <a:pt x="1849755" y="1754505"/>
                  </a:cubicBezTo>
                  <a:cubicBezTo>
                    <a:pt x="1849755" y="1755457"/>
                    <a:pt x="1848803" y="1757362"/>
                    <a:pt x="1846898" y="1757362"/>
                  </a:cubicBezTo>
                  <a:cubicBezTo>
                    <a:pt x="1844993" y="1757362"/>
                    <a:pt x="1843088" y="1756410"/>
                    <a:pt x="1844040" y="1754505"/>
                  </a:cubicBezTo>
                  <a:cubicBezTo>
                    <a:pt x="1844040" y="1753552"/>
                    <a:pt x="1845945" y="1751647"/>
                    <a:pt x="1846898" y="1751647"/>
                  </a:cubicBezTo>
                  <a:close/>
                  <a:moveTo>
                    <a:pt x="1014413" y="1749742"/>
                  </a:moveTo>
                  <a:cubicBezTo>
                    <a:pt x="1027748" y="1749742"/>
                    <a:pt x="1038225" y="1760220"/>
                    <a:pt x="1038225" y="1773555"/>
                  </a:cubicBezTo>
                  <a:cubicBezTo>
                    <a:pt x="1038225" y="1786890"/>
                    <a:pt x="1027748" y="1797367"/>
                    <a:pt x="1014413" y="1797367"/>
                  </a:cubicBezTo>
                  <a:cubicBezTo>
                    <a:pt x="1001077" y="1797367"/>
                    <a:pt x="990600" y="1786890"/>
                    <a:pt x="990600" y="1773555"/>
                  </a:cubicBezTo>
                  <a:cubicBezTo>
                    <a:pt x="990600" y="1760220"/>
                    <a:pt x="1001077" y="1749742"/>
                    <a:pt x="1014413" y="1749742"/>
                  </a:cubicBezTo>
                  <a:close/>
                  <a:moveTo>
                    <a:pt x="610552" y="1746884"/>
                  </a:moveTo>
                  <a:cubicBezTo>
                    <a:pt x="613410" y="1746884"/>
                    <a:pt x="616267" y="1749742"/>
                    <a:pt x="616267" y="1753552"/>
                  </a:cubicBezTo>
                  <a:cubicBezTo>
                    <a:pt x="616267" y="1757362"/>
                    <a:pt x="614362" y="1760219"/>
                    <a:pt x="610552" y="1760219"/>
                  </a:cubicBezTo>
                  <a:cubicBezTo>
                    <a:pt x="606742" y="1760219"/>
                    <a:pt x="604837" y="1757362"/>
                    <a:pt x="603885" y="1753552"/>
                  </a:cubicBezTo>
                  <a:cubicBezTo>
                    <a:pt x="603885" y="1749742"/>
                    <a:pt x="606742" y="1746884"/>
                    <a:pt x="610552" y="1746884"/>
                  </a:cubicBezTo>
                  <a:close/>
                  <a:moveTo>
                    <a:pt x="781050" y="1744027"/>
                  </a:moveTo>
                  <a:cubicBezTo>
                    <a:pt x="793432" y="1744027"/>
                    <a:pt x="802957" y="1753552"/>
                    <a:pt x="802957" y="1765934"/>
                  </a:cubicBezTo>
                  <a:cubicBezTo>
                    <a:pt x="802957" y="1778317"/>
                    <a:pt x="793432" y="1787842"/>
                    <a:pt x="781050" y="1787842"/>
                  </a:cubicBezTo>
                  <a:cubicBezTo>
                    <a:pt x="768667" y="1787842"/>
                    <a:pt x="759142" y="1778317"/>
                    <a:pt x="759142" y="1765934"/>
                  </a:cubicBezTo>
                  <a:cubicBezTo>
                    <a:pt x="759142" y="1753552"/>
                    <a:pt x="768667" y="1744027"/>
                    <a:pt x="781050" y="1744027"/>
                  </a:cubicBezTo>
                  <a:close/>
                  <a:moveTo>
                    <a:pt x="1642111" y="1743075"/>
                  </a:moveTo>
                  <a:cubicBezTo>
                    <a:pt x="1651054" y="1743075"/>
                    <a:pt x="1658303" y="1750325"/>
                    <a:pt x="1658303" y="1759267"/>
                  </a:cubicBezTo>
                  <a:cubicBezTo>
                    <a:pt x="1658303" y="1768210"/>
                    <a:pt x="1651054" y="1775460"/>
                    <a:pt x="1642111" y="1775460"/>
                  </a:cubicBezTo>
                  <a:cubicBezTo>
                    <a:pt x="1633168" y="1775460"/>
                    <a:pt x="1625918" y="1768210"/>
                    <a:pt x="1625918" y="1759267"/>
                  </a:cubicBezTo>
                  <a:cubicBezTo>
                    <a:pt x="1625918" y="1750325"/>
                    <a:pt x="1633168" y="1743075"/>
                    <a:pt x="1642111" y="1743075"/>
                  </a:cubicBezTo>
                  <a:close/>
                  <a:moveTo>
                    <a:pt x="959168" y="1736407"/>
                  </a:moveTo>
                  <a:cubicBezTo>
                    <a:pt x="971550" y="1736407"/>
                    <a:pt x="982028" y="1746884"/>
                    <a:pt x="982028" y="1759267"/>
                  </a:cubicBezTo>
                  <a:cubicBezTo>
                    <a:pt x="982028" y="1771649"/>
                    <a:pt x="971550" y="1782127"/>
                    <a:pt x="959168" y="1782127"/>
                  </a:cubicBezTo>
                  <a:cubicBezTo>
                    <a:pt x="946785" y="1782127"/>
                    <a:pt x="936308" y="1771649"/>
                    <a:pt x="936308" y="1759267"/>
                  </a:cubicBezTo>
                  <a:cubicBezTo>
                    <a:pt x="936308" y="1746884"/>
                    <a:pt x="946785" y="1736407"/>
                    <a:pt x="959168" y="1736407"/>
                  </a:cubicBezTo>
                  <a:close/>
                  <a:moveTo>
                    <a:pt x="1697355" y="1726882"/>
                  </a:moveTo>
                  <a:cubicBezTo>
                    <a:pt x="1705928" y="1726882"/>
                    <a:pt x="1713548" y="1734502"/>
                    <a:pt x="1713548" y="1743074"/>
                  </a:cubicBezTo>
                  <a:cubicBezTo>
                    <a:pt x="1713548" y="1751647"/>
                    <a:pt x="1705928" y="1759267"/>
                    <a:pt x="1697355" y="1759267"/>
                  </a:cubicBezTo>
                  <a:cubicBezTo>
                    <a:pt x="1688783" y="1759267"/>
                    <a:pt x="1681163" y="1751647"/>
                    <a:pt x="1681163" y="1743074"/>
                  </a:cubicBezTo>
                  <a:cubicBezTo>
                    <a:pt x="1681163" y="1734502"/>
                    <a:pt x="1688783" y="1726882"/>
                    <a:pt x="1697355" y="1726882"/>
                  </a:cubicBezTo>
                  <a:close/>
                  <a:moveTo>
                    <a:pt x="1200150" y="1722120"/>
                  </a:moveTo>
                  <a:cubicBezTo>
                    <a:pt x="1208567" y="1722120"/>
                    <a:pt x="1215390" y="1728943"/>
                    <a:pt x="1215390" y="1737360"/>
                  </a:cubicBezTo>
                  <a:cubicBezTo>
                    <a:pt x="1215390" y="1745777"/>
                    <a:pt x="1208567" y="1752600"/>
                    <a:pt x="1200150" y="1752600"/>
                  </a:cubicBezTo>
                  <a:cubicBezTo>
                    <a:pt x="1191733" y="1752600"/>
                    <a:pt x="1184910" y="1745777"/>
                    <a:pt x="1184910" y="1737360"/>
                  </a:cubicBezTo>
                  <a:cubicBezTo>
                    <a:pt x="1184910" y="1728943"/>
                    <a:pt x="1191733" y="1722120"/>
                    <a:pt x="1200150" y="1722120"/>
                  </a:cubicBezTo>
                  <a:close/>
                  <a:moveTo>
                    <a:pt x="728663" y="1721167"/>
                  </a:moveTo>
                  <a:cubicBezTo>
                    <a:pt x="740093" y="1721167"/>
                    <a:pt x="749618" y="1730692"/>
                    <a:pt x="749618" y="1742122"/>
                  </a:cubicBezTo>
                  <a:cubicBezTo>
                    <a:pt x="749618" y="1753552"/>
                    <a:pt x="740093" y="1763077"/>
                    <a:pt x="728663" y="1763077"/>
                  </a:cubicBezTo>
                  <a:cubicBezTo>
                    <a:pt x="717233" y="1763077"/>
                    <a:pt x="707708" y="1753552"/>
                    <a:pt x="707708" y="1742122"/>
                  </a:cubicBezTo>
                  <a:cubicBezTo>
                    <a:pt x="707708" y="1730692"/>
                    <a:pt x="717233" y="1721167"/>
                    <a:pt x="728663" y="1721167"/>
                  </a:cubicBezTo>
                  <a:close/>
                  <a:moveTo>
                    <a:pt x="1899285" y="1720215"/>
                  </a:moveTo>
                  <a:cubicBezTo>
                    <a:pt x="1904048" y="1720215"/>
                    <a:pt x="1908810" y="1724978"/>
                    <a:pt x="1908810" y="1729740"/>
                  </a:cubicBezTo>
                  <a:cubicBezTo>
                    <a:pt x="1908810" y="1734503"/>
                    <a:pt x="1905000" y="1739265"/>
                    <a:pt x="1899285" y="1739265"/>
                  </a:cubicBezTo>
                  <a:cubicBezTo>
                    <a:pt x="1893570" y="1739265"/>
                    <a:pt x="1889760" y="1734503"/>
                    <a:pt x="1889760" y="1729740"/>
                  </a:cubicBezTo>
                  <a:cubicBezTo>
                    <a:pt x="1889760" y="1724978"/>
                    <a:pt x="1893570" y="1720215"/>
                    <a:pt x="1899285" y="1720215"/>
                  </a:cubicBezTo>
                  <a:close/>
                  <a:moveTo>
                    <a:pt x="903923" y="1720215"/>
                  </a:moveTo>
                  <a:cubicBezTo>
                    <a:pt x="916548" y="1720215"/>
                    <a:pt x="926783" y="1730450"/>
                    <a:pt x="926783" y="1743075"/>
                  </a:cubicBezTo>
                  <a:cubicBezTo>
                    <a:pt x="926783" y="1755700"/>
                    <a:pt x="916548" y="1765935"/>
                    <a:pt x="903923" y="1765935"/>
                  </a:cubicBezTo>
                  <a:cubicBezTo>
                    <a:pt x="891298" y="1765935"/>
                    <a:pt x="881063" y="1755700"/>
                    <a:pt x="881063" y="1743075"/>
                  </a:cubicBezTo>
                  <a:cubicBezTo>
                    <a:pt x="881063" y="1730450"/>
                    <a:pt x="891298" y="1720215"/>
                    <a:pt x="903923" y="1720215"/>
                  </a:cubicBezTo>
                  <a:close/>
                  <a:moveTo>
                    <a:pt x="1315403" y="1719262"/>
                  </a:moveTo>
                  <a:cubicBezTo>
                    <a:pt x="1327785" y="1719262"/>
                    <a:pt x="1337310" y="1728787"/>
                    <a:pt x="1337310" y="1741170"/>
                  </a:cubicBezTo>
                  <a:cubicBezTo>
                    <a:pt x="1337310" y="1753552"/>
                    <a:pt x="1327785" y="1763077"/>
                    <a:pt x="1315403" y="1763077"/>
                  </a:cubicBezTo>
                  <a:cubicBezTo>
                    <a:pt x="1303020" y="1763077"/>
                    <a:pt x="1293495" y="1753552"/>
                    <a:pt x="1293495" y="1741170"/>
                  </a:cubicBezTo>
                  <a:cubicBezTo>
                    <a:pt x="1293495" y="1728787"/>
                    <a:pt x="1303020" y="1719262"/>
                    <a:pt x="1315403" y="1719262"/>
                  </a:cubicBezTo>
                  <a:close/>
                  <a:moveTo>
                    <a:pt x="1257300" y="1719262"/>
                  </a:moveTo>
                  <a:cubicBezTo>
                    <a:pt x="1268730" y="1719262"/>
                    <a:pt x="1278255" y="1728787"/>
                    <a:pt x="1278255" y="1740217"/>
                  </a:cubicBezTo>
                  <a:cubicBezTo>
                    <a:pt x="1278255" y="1751647"/>
                    <a:pt x="1268730" y="1761172"/>
                    <a:pt x="1257300" y="1761172"/>
                  </a:cubicBezTo>
                  <a:cubicBezTo>
                    <a:pt x="1245870" y="1761172"/>
                    <a:pt x="1236345" y="1751647"/>
                    <a:pt x="1236345" y="1740217"/>
                  </a:cubicBezTo>
                  <a:cubicBezTo>
                    <a:pt x="1236345" y="1728787"/>
                    <a:pt x="1245870" y="1719262"/>
                    <a:pt x="1257300" y="1719262"/>
                  </a:cubicBezTo>
                  <a:close/>
                  <a:moveTo>
                    <a:pt x="1372553" y="1717357"/>
                  </a:moveTo>
                  <a:cubicBezTo>
                    <a:pt x="1384935" y="1717357"/>
                    <a:pt x="1394460" y="1726882"/>
                    <a:pt x="1394460" y="1739265"/>
                  </a:cubicBezTo>
                  <a:cubicBezTo>
                    <a:pt x="1394460" y="1751647"/>
                    <a:pt x="1384935" y="1761172"/>
                    <a:pt x="1372553" y="1761172"/>
                  </a:cubicBezTo>
                  <a:cubicBezTo>
                    <a:pt x="1360170" y="1761172"/>
                    <a:pt x="1350645" y="1751647"/>
                    <a:pt x="1350645" y="1739265"/>
                  </a:cubicBezTo>
                  <a:cubicBezTo>
                    <a:pt x="1350645" y="1726882"/>
                    <a:pt x="1360170" y="1717357"/>
                    <a:pt x="1372553" y="1717357"/>
                  </a:cubicBezTo>
                  <a:close/>
                  <a:moveTo>
                    <a:pt x="1429703" y="1714500"/>
                  </a:moveTo>
                  <a:cubicBezTo>
                    <a:pt x="1441133" y="1714500"/>
                    <a:pt x="1449705" y="1723072"/>
                    <a:pt x="1449705" y="1734503"/>
                  </a:cubicBezTo>
                  <a:cubicBezTo>
                    <a:pt x="1449705" y="1745933"/>
                    <a:pt x="1441133" y="1754505"/>
                    <a:pt x="1429703" y="1754505"/>
                  </a:cubicBezTo>
                  <a:cubicBezTo>
                    <a:pt x="1419225" y="1754505"/>
                    <a:pt x="1410653" y="1744980"/>
                    <a:pt x="1409700" y="1734503"/>
                  </a:cubicBezTo>
                  <a:cubicBezTo>
                    <a:pt x="1409700" y="1723072"/>
                    <a:pt x="1418272" y="1714500"/>
                    <a:pt x="1429703" y="1714500"/>
                  </a:cubicBezTo>
                  <a:close/>
                  <a:moveTo>
                    <a:pt x="1142047" y="1714500"/>
                  </a:moveTo>
                  <a:cubicBezTo>
                    <a:pt x="1151572" y="1714500"/>
                    <a:pt x="1159192" y="1722120"/>
                    <a:pt x="1159192" y="1731645"/>
                  </a:cubicBezTo>
                  <a:cubicBezTo>
                    <a:pt x="1159192" y="1741170"/>
                    <a:pt x="1151572" y="1748790"/>
                    <a:pt x="1142047" y="1748790"/>
                  </a:cubicBezTo>
                  <a:cubicBezTo>
                    <a:pt x="1132522" y="1748790"/>
                    <a:pt x="1124902" y="1741170"/>
                    <a:pt x="1124902" y="1731645"/>
                  </a:cubicBezTo>
                  <a:cubicBezTo>
                    <a:pt x="1124902" y="1722120"/>
                    <a:pt x="1132522" y="1714500"/>
                    <a:pt x="1142047" y="1714500"/>
                  </a:cubicBezTo>
                  <a:close/>
                  <a:moveTo>
                    <a:pt x="561022" y="1713547"/>
                  </a:moveTo>
                  <a:cubicBezTo>
                    <a:pt x="566737" y="1713547"/>
                    <a:pt x="572452" y="1718310"/>
                    <a:pt x="572452" y="1724977"/>
                  </a:cubicBezTo>
                  <a:cubicBezTo>
                    <a:pt x="572452" y="1730692"/>
                    <a:pt x="567690" y="1736407"/>
                    <a:pt x="561022" y="1736407"/>
                  </a:cubicBezTo>
                  <a:cubicBezTo>
                    <a:pt x="554355" y="1736407"/>
                    <a:pt x="548640" y="1731645"/>
                    <a:pt x="549592" y="1724977"/>
                  </a:cubicBezTo>
                  <a:cubicBezTo>
                    <a:pt x="549592" y="1719262"/>
                    <a:pt x="554355" y="1713547"/>
                    <a:pt x="561022" y="1713547"/>
                  </a:cubicBezTo>
                  <a:close/>
                  <a:moveTo>
                    <a:pt x="1751648" y="1708784"/>
                  </a:moveTo>
                  <a:cubicBezTo>
                    <a:pt x="1760221" y="1708784"/>
                    <a:pt x="1766888" y="1715452"/>
                    <a:pt x="1766888" y="1724024"/>
                  </a:cubicBezTo>
                  <a:cubicBezTo>
                    <a:pt x="1766888" y="1732597"/>
                    <a:pt x="1760221" y="1739264"/>
                    <a:pt x="1751648" y="1739264"/>
                  </a:cubicBezTo>
                  <a:cubicBezTo>
                    <a:pt x="1743075" y="1739264"/>
                    <a:pt x="1736408" y="1732597"/>
                    <a:pt x="1736408" y="1724024"/>
                  </a:cubicBezTo>
                  <a:cubicBezTo>
                    <a:pt x="1736408" y="1715452"/>
                    <a:pt x="1743075" y="1708784"/>
                    <a:pt x="1751648" y="1708784"/>
                  </a:cubicBezTo>
                  <a:close/>
                  <a:moveTo>
                    <a:pt x="1486853" y="1707832"/>
                  </a:moveTo>
                  <a:cubicBezTo>
                    <a:pt x="1497330" y="1707832"/>
                    <a:pt x="1505903" y="1716404"/>
                    <a:pt x="1505903" y="1726882"/>
                  </a:cubicBezTo>
                  <a:cubicBezTo>
                    <a:pt x="1505903" y="1737359"/>
                    <a:pt x="1497330" y="1745932"/>
                    <a:pt x="1486853" y="1745932"/>
                  </a:cubicBezTo>
                  <a:cubicBezTo>
                    <a:pt x="1477328" y="1745932"/>
                    <a:pt x="1468755" y="1737359"/>
                    <a:pt x="1467803" y="1726882"/>
                  </a:cubicBezTo>
                  <a:cubicBezTo>
                    <a:pt x="1467803" y="1716404"/>
                    <a:pt x="1476375" y="1707832"/>
                    <a:pt x="1486853" y="1707832"/>
                  </a:cubicBezTo>
                  <a:close/>
                  <a:moveTo>
                    <a:pt x="848677" y="1704975"/>
                  </a:moveTo>
                  <a:cubicBezTo>
                    <a:pt x="859154" y="1704975"/>
                    <a:pt x="867727" y="1713547"/>
                    <a:pt x="867727" y="1724025"/>
                  </a:cubicBezTo>
                  <a:cubicBezTo>
                    <a:pt x="867727" y="1734503"/>
                    <a:pt x="859154" y="1743075"/>
                    <a:pt x="848677" y="1743075"/>
                  </a:cubicBezTo>
                  <a:cubicBezTo>
                    <a:pt x="838200" y="1743075"/>
                    <a:pt x="829627" y="1734503"/>
                    <a:pt x="829627" y="1724025"/>
                  </a:cubicBezTo>
                  <a:cubicBezTo>
                    <a:pt x="829627" y="1713547"/>
                    <a:pt x="838200" y="1704975"/>
                    <a:pt x="848677" y="1704975"/>
                  </a:cubicBezTo>
                  <a:close/>
                  <a:moveTo>
                    <a:pt x="1085850" y="1702117"/>
                  </a:moveTo>
                  <a:cubicBezTo>
                    <a:pt x="1097280" y="1702117"/>
                    <a:pt x="1106805" y="1711642"/>
                    <a:pt x="1106805" y="1723072"/>
                  </a:cubicBezTo>
                  <a:cubicBezTo>
                    <a:pt x="1106805" y="1734502"/>
                    <a:pt x="1097280" y="1744027"/>
                    <a:pt x="1085850" y="1744027"/>
                  </a:cubicBezTo>
                  <a:cubicBezTo>
                    <a:pt x="1073467" y="1744027"/>
                    <a:pt x="1063942" y="1734502"/>
                    <a:pt x="1064895" y="1723072"/>
                  </a:cubicBezTo>
                  <a:cubicBezTo>
                    <a:pt x="1064895" y="1711642"/>
                    <a:pt x="1074420" y="1702117"/>
                    <a:pt x="1085850" y="1702117"/>
                  </a:cubicBezTo>
                  <a:close/>
                  <a:moveTo>
                    <a:pt x="1949768" y="1699259"/>
                  </a:moveTo>
                  <a:cubicBezTo>
                    <a:pt x="1951673" y="1699259"/>
                    <a:pt x="1953578" y="1701164"/>
                    <a:pt x="1953578" y="1703069"/>
                  </a:cubicBezTo>
                  <a:cubicBezTo>
                    <a:pt x="1953578" y="1704974"/>
                    <a:pt x="1951673" y="1706879"/>
                    <a:pt x="1949768" y="1706879"/>
                  </a:cubicBezTo>
                  <a:cubicBezTo>
                    <a:pt x="1947863" y="1706879"/>
                    <a:pt x="1946910" y="1704974"/>
                    <a:pt x="1945958" y="1703069"/>
                  </a:cubicBezTo>
                  <a:cubicBezTo>
                    <a:pt x="1945958" y="1701164"/>
                    <a:pt x="1947863" y="1699259"/>
                    <a:pt x="1949768" y="1699259"/>
                  </a:cubicBezTo>
                  <a:close/>
                  <a:moveTo>
                    <a:pt x="1544003" y="1699259"/>
                  </a:moveTo>
                  <a:cubicBezTo>
                    <a:pt x="1553528" y="1699259"/>
                    <a:pt x="1562100" y="1706879"/>
                    <a:pt x="1562100" y="1717357"/>
                  </a:cubicBezTo>
                  <a:cubicBezTo>
                    <a:pt x="1562100" y="1726882"/>
                    <a:pt x="1554480" y="1735454"/>
                    <a:pt x="1544003" y="1735454"/>
                  </a:cubicBezTo>
                  <a:cubicBezTo>
                    <a:pt x="1533525" y="1735454"/>
                    <a:pt x="1525905" y="1726882"/>
                    <a:pt x="1525905" y="1717357"/>
                  </a:cubicBezTo>
                  <a:cubicBezTo>
                    <a:pt x="1525905" y="1707832"/>
                    <a:pt x="1533525" y="1699259"/>
                    <a:pt x="1544003" y="1699259"/>
                  </a:cubicBezTo>
                  <a:close/>
                  <a:moveTo>
                    <a:pt x="676275" y="1696402"/>
                  </a:moveTo>
                  <a:cubicBezTo>
                    <a:pt x="687705" y="1696402"/>
                    <a:pt x="697230" y="1705927"/>
                    <a:pt x="697230" y="1717357"/>
                  </a:cubicBezTo>
                  <a:cubicBezTo>
                    <a:pt x="697230" y="1728787"/>
                    <a:pt x="687705" y="1738312"/>
                    <a:pt x="676275" y="1738312"/>
                  </a:cubicBezTo>
                  <a:cubicBezTo>
                    <a:pt x="664845" y="1738312"/>
                    <a:pt x="655320" y="1728787"/>
                    <a:pt x="655320" y="1717357"/>
                  </a:cubicBezTo>
                  <a:cubicBezTo>
                    <a:pt x="655320" y="1705927"/>
                    <a:pt x="664845" y="1696402"/>
                    <a:pt x="676275" y="1696402"/>
                  </a:cubicBezTo>
                  <a:close/>
                  <a:moveTo>
                    <a:pt x="512445" y="1690687"/>
                  </a:moveTo>
                  <a:cubicBezTo>
                    <a:pt x="514351" y="1690687"/>
                    <a:pt x="515303" y="1691640"/>
                    <a:pt x="515303" y="1693545"/>
                  </a:cubicBezTo>
                  <a:cubicBezTo>
                    <a:pt x="515303" y="1695450"/>
                    <a:pt x="514351" y="1696402"/>
                    <a:pt x="512445" y="1696402"/>
                  </a:cubicBezTo>
                  <a:cubicBezTo>
                    <a:pt x="510540" y="1696402"/>
                    <a:pt x="509588" y="1695450"/>
                    <a:pt x="509588" y="1693545"/>
                  </a:cubicBezTo>
                  <a:cubicBezTo>
                    <a:pt x="509588" y="1691640"/>
                    <a:pt x="510540" y="1690687"/>
                    <a:pt x="512445" y="1690687"/>
                  </a:cubicBezTo>
                  <a:close/>
                  <a:moveTo>
                    <a:pt x="1028700" y="1689734"/>
                  </a:moveTo>
                  <a:cubicBezTo>
                    <a:pt x="1040130" y="1689734"/>
                    <a:pt x="1049655" y="1699259"/>
                    <a:pt x="1049655" y="1710689"/>
                  </a:cubicBezTo>
                  <a:cubicBezTo>
                    <a:pt x="1049655" y="1722119"/>
                    <a:pt x="1040130" y="1731644"/>
                    <a:pt x="1028700" y="1731644"/>
                  </a:cubicBezTo>
                  <a:cubicBezTo>
                    <a:pt x="1017270" y="1731644"/>
                    <a:pt x="1007745" y="1722119"/>
                    <a:pt x="1007745" y="1710689"/>
                  </a:cubicBezTo>
                  <a:cubicBezTo>
                    <a:pt x="1007745" y="1699259"/>
                    <a:pt x="1017270" y="1689734"/>
                    <a:pt x="1028700" y="1689734"/>
                  </a:cubicBezTo>
                  <a:close/>
                  <a:moveTo>
                    <a:pt x="1805940" y="1688782"/>
                  </a:moveTo>
                  <a:cubicBezTo>
                    <a:pt x="1813305" y="1688782"/>
                    <a:pt x="1819275" y="1694752"/>
                    <a:pt x="1819275" y="1702117"/>
                  </a:cubicBezTo>
                  <a:cubicBezTo>
                    <a:pt x="1819275" y="1709482"/>
                    <a:pt x="1813305" y="1715452"/>
                    <a:pt x="1805940" y="1715452"/>
                  </a:cubicBezTo>
                  <a:cubicBezTo>
                    <a:pt x="1798575" y="1715452"/>
                    <a:pt x="1792605" y="1709482"/>
                    <a:pt x="1792605" y="1702117"/>
                  </a:cubicBezTo>
                  <a:cubicBezTo>
                    <a:pt x="1792605" y="1694752"/>
                    <a:pt x="1798575" y="1688782"/>
                    <a:pt x="1805940" y="1688782"/>
                  </a:cubicBezTo>
                  <a:close/>
                  <a:moveTo>
                    <a:pt x="1600200" y="1685925"/>
                  </a:moveTo>
                  <a:cubicBezTo>
                    <a:pt x="1609725" y="1685925"/>
                    <a:pt x="1618298" y="1694497"/>
                    <a:pt x="1618298" y="1704022"/>
                  </a:cubicBezTo>
                  <a:cubicBezTo>
                    <a:pt x="1618298" y="1713547"/>
                    <a:pt x="1610678" y="1722120"/>
                    <a:pt x="1600200" y="1722120"/>
                  </a:cubicBezTo>
                  <a:cubicBezTo>
                    <a:pt x="1589723" y="1722120"/>
                    <a:pt x="1582103" y="1713547"/>
                    <a:pt x="1582103" y="1704022"/>
                  </a:cubicBezTo>
                  <a:cubicBezTo>
                    <a:pt x="1582103" y="1694497"/>
                    <a:pt x="1589723" y="1685925"/>
                    <a:pt x="1600200" y="1685925"/>
                  </a:cubicBezTo>
                  <a:close/>
                  <a:moveTo>
                    <a:pt x="795338" y="1680210"/>
                  </a:moveTo>
                  <a:cubicBezTo>
                    <a:pt x="807437" y="1680210"/>
                    <a:pt x="817245" y="1690018"/>
                    <a:pt x="817245" y="1702117"/>
                  </a:cubicBezTo>
                  <a:cubicBezTo>
                    <a:pt x="817245" y="1714217"/>
                    <a:pt x="807437" y="1724025"/>
                    <a:pt x="795338" y="1724025"/>
                  </a:cubicBezTo>
                  <a:cubicBezTo>
                    <a:pt x="783238" y="1724025"/>
                    <a:pt x="773430" y="1714217"/>
                    <a:pt x="773430" y="1702117"/>
                  </a:cubicBezTo>
                  <a:cubicBezTo>
                    <a:pt x="773430" y="1690018"/>
                    <a:pt x="783238" y="1680210"/>
                    <a:pt x="795338" y="1680210"/>
                  </a:cubicBezTo>
                  <a:close/>
                  <a:moveTo>
                    <a:pt x="973455" y="1675447"/>
                  </a:moveTo>
                  <a:cubicBezTo>
                    <a:pt x="985837" y="1675447"/>
                    <a:pt x="995362" y="1684972"/>
                    <a:pt x="995362" y="1697355"/>
                  </a:cubicBezTo>
                  <a:cubicBezTo>
                    <a:pt x="995362" y="1709737"/>
                    <a:pt x="985837" y="1719262"/>
                    <a:pt x="973455" y="1719262"/>
                  </a:cubicBezTo>
                  <a:cubicBezTo>
                    <a:pt x="961072" y="1719262"/>
                    <a:pt x="950595" y="1708785"/>
                    <a:pt x="951547" y="1697355"/>
                  </a:cubicBezTo>
                  <a:cubicBezTo>
                    <a:pt x="951547" y="1684972"/>
                    <a:pt x="961072" y="1675447"/>
                    <a:pt x="973455" y="1675447"/>
                  </a:cubicBezTo>
                  <a:close/>
                  <a:moveTo>
                    <a:pt x="2000250" y="1670684"/>
                  </a:moveTo>
                  <a:cubicBezTo>
                    <a:pt x="2002155" y="1670684"/>
                    <a:pt x="2004060" y="1672589"/>
                    <a:pt x="2004060" y="1674494"/>
                  </a:cubicBezTo>
                  <a:cubicBezTo>
                    <a:pt x="2004060" y="1676399"/>
                    <a:pt x="2002155" y="1678304"/>
                    <a:pt x="2000250" y="1678304"/>
                  </a:cubicBezTo>
                  <a:cubicBezTo>
                    <a:pt x="1997392" y="1678304"/>
                    <a:pt x="1996440" y="1676399"/>
                    <a:pt x="1996440" y="1674494"/>
                  </a:cubicBezTo>
                  <a:cubicBezTo>
                    <a:pt x="1996440" y="1672589"/>
                    <a:pt x="1998345" y="1670684"/>
                    <a:pt x="2000250" y="1670684"/>
                  </a:cubicBezTo>
                  <a:close/>
                  <a:moveTo>
                    <a:pt x="1655445" y="1669732"/>
                  </a:moveTo>
                  <a:cubicBezTo>
                    <a:pt x="1665922" y="1669732"/>
                    <a:pt x="1673542" y="1678304"/>
                    <a:pt x="1673542" y="1687829"/>
                  </a:cubicBezTo>
                  <a:cubicBezTo>
                    <a:pt x="1673542" y="1698307"/>
                    <a:pt x="1664970" y="1705927"/>
                    <a:pt x="1655445" y="1705927"/>
                  </a:cubicBezTo>
                  <a:cubicBezTo>
                    <a:pt x="1645920" y="1705927"/>
                    <a:pt x="1638300" y="1698307"/>
                    <a:pt x="1637347" y="1687829"/>
                  </a:cubicBezTo>
                  <a:cubicBezTo>
                    <a:pt x="1637347" y="1677352"/>
                    <a:pt x="1645920" y="1669732"/>
                    <a:pt x="1655445" y="1669732"/>
                  </a:cubicBezTo>
                  <a:close/>
                  <a:moveTo>
                    <a:pt x="625792" y="1666875"/>
                  </a:moveTo>
                  <a:cubicBezTo>
                    <a:pt x="638175" y="1666875"/>
                    <a:pt x="647700" y="1676400"/>
                    <a:pt x="647700" y="1688783"/>
                  </a:cubicBezTo>
                  <a:cubicBezTo>
                    <a:pt x="647700" y="1701165"/>
                    <a:pt x="638175" y="1710690"/>
                    <a:pt x="625792" y="1710690"/>
                  </a:cubicBezTo>
                  <a:cubicBezTo>
                    <a:pt x="614362" y="1710690"/>
                    <a:pt x="604837" y="1701165"/>
                    <a:pt x="603885" y="1688783"/>
                  </a:cubicBezTo>
                  <a:cubicBezTo>
                    <a:pt x="603885" y="1676400"/>
                    <a:pt x="613410" y="1666875"/>
                    <a:pt x="625792" y="1666875"/>
                  </a:cubicBezTo>
                  <a:close/>
                  <a:moveTo>
                    <a:pt x="1858328" y="1663065"/>
                  </a:moveTo>
                  <a:cubicBezTo>
                    <a:pt x="1866901" y="1663065"/>
                    <a:pt x="1873568" y="1669732"/>
                    <a:pt x="1873568" y="1678305"/>
                  </a:cubicBezTo>
                  <a:cubicBezTo>
                    <a:pt x="1873568" y="1686878"/>
                    <a:pt x="1866901" y="1693545"/>
                    <a:pt x="1858328" y="1693545"/>
                  </a:cubicBezTo>
                  <a:cubicBezTo>
                    <a:pt x="1849755" y="1693545"/>
                    <a:pt x="1843088" y="1686878"/>
                    <a:pt x="1843088" y="1678305"/>
                  </a:cubicBezTo>
                  <a:cubicBezTo>
                    <a:pt x="1843088" y="1669732"/>
                    <a:pt x="1849755" y="1663065"/>
                    <a:pt x="1858328" y="1663065"/>
                  </a:cubicBezTo>
                  <a:close/>
                  <a:moveTo>
                    <a:pt x="918210" y="1660207"/>
                  </a:moveTo>
                  <a:cubicBezTo>
                    <a:pt x="929640" y="1660207"/>
                    <a:pt x="938213" y="1668779"/>
                    <a:pt x="938213" y="1680209"/>
                  </a:cubicBezTo>
                  <a:cubicBezTo>
                    <a:pt x="938213" y="1691640"/>
                    <a:pt x="929640" y="1700212"/>
                    <a:pt x="918210" y="1700212"/>
                  </a:cubicBezTo>
                  <a:cubicBezTo>
                    <a:pt x="906780" y="1700212"/>
                    <a:pt x="898208" y="1690687"/>
                    <a:pt x="898208" y="1680209"/>
                  </a:cubicBezTo>
                  <a:cubicBezTo>
                    <a:pt x="898208" y="1668779"/>
                    <a:pt x="906780" y="1660207"/>
                    <a:pt x="918210" y="1660207"/>
                  </a:cubicBezTo>
                  <a:close/>
                  <a:moveTo>
                    <a:pt x="1329690" y="1659254"/>
                  </a:moveTo>
                  <a:cubicBezTo>
                    <a:pt x="1339215" y="1659254"/>
                    <a:pt x="1347787" y="1666874"/>
                    <a:pt x="1347787" y="1677352"/>
                  </a:cubicBezTo>
                  <a:cubicBezTo>
                    <a:pt x="1347787" y="1686877"/>
                    <a:pt x="1340167" y="1695449"/>
                    <a:pt x="1329690" y="1695449"/>
                  </a:cubicBezTo>
                  <a:cubicBezTo>
                    <a:pt x="1319212" y="1695449"/>
                    <a:pt x="1310640" y="1686877"/>
                    <a:pt x="1311592" y="1677352"/>
                  </a:cubicBezTo>
                  <a:cubicBezTo>
                    <a:pt x="1311592" y="1667827"/>
                    <a:pt x="1319212" y="1659254"/>
                    <a:pt x="1329690" y="1659254"/>
                  </a:cubicBezTo>
                  <a:close/>
                  <a:moveTo>
                    <a:pt x="1271588" y="1657350"/>
                  </a:moveTo>
                  <a:cubicBezTo>
                    <a:pt x="1282065" y="1657350"/>
                    <a:pt x="1291590" y="1665922"/>
                    <a:pt x="1291590" y="1677353"/>
                  </a:cubicBezTo>
                  <a:cubicBezTo>
                    <a:pt x="1291590" y="1687830"/>
                    <a:pt x="1283018" y="1697355"/>
                    <a:pt x="1271588" y="1697355"/>
                  </a:cubicBezTo>
                  <a:cubicBezTo>
                    <a:pt x="1260158" y="1697355"/>
                    <a:pt x="1251585" y="1687830"/>
                    <a:pt x="1251585" y="1677353"/>
                  </a:cubicBezTo>
                  <a:cubicBezTo>
                    <a:pt x="1251585" y="1666875"/>
                    <a:pt x="1260158" y="1657350"/>
                    <a:pt x="1271588" y="1657350"/>
                  </a:cubicBezTo>
                  <a:close/>
                  <a:moveTo>
                    <a:pt x="742950" y="1657350"/>
                  </a:moveTo>
                  <a:cubicBezTo>
                    <a:pt x="754380" y="1657350"/>
                    <a:pt x="763905" y="1666875"/>
                    <a:pt x="763905" y="1678305"/>
                  </a:cubicBezTo>
                  <a:cubicBezTo>
                    <a:pt x="763905" y="1689735"/>
                    <a:pt x="754380" y="1699260"/>
                    <a:pt x="742950" y="1699260"/>
                  </a:cubicBezTo>
                  <a:cubicBezTo>
                    <a:pt x="731520" y="1699260"/>
                    <a:pt x="721995" y="1689735"/>
                    <a:pt x="721995" y="1678305"/>
                  </a:cubicBezTo>
                  <a:cubicBezTo>
                    <a:pt x="721995" y="1666875"/>
                    <a:pt x="731520" y="1657350"/>
                    <a:pt x="742950" y="1657350"/>
                  </a:cubicBezTo>
                  <a:close/>
                  <a:moveTo>
                    <a:pt x="357187" y="1657350"/>
                  </a:moveTo>
                  <a:cubicBezTo>
                    <a:pt x="357187" y="1657350"/>
                    <a:pt x="358140" y="1657350"/>
                    <a:pt x="358140" y="1658303"/>
                  </a:cubicBezTo>
                  <a:cubicBezTo>
                    <a:pt x="358140" y="1658303"/>
                    <a:pt x="358140" y="1659255"/>
                    <a:pt x="357187" y="1659255"/>
                  </a:cubicBezTo>
                  <a:cubicBezTo>
                    <a:pt x="356235" y="1659255"/>
                    <a:pt x="355282" y="1658303"/>
                    <a:pt x="356235" y="1658303"/>
                  </a:cubicBezTo>
                  <a:cubicBezTo>
                    <a:pt x="356235" y="1658303"/>
                    <a:pt x="356235" y="1657350"/>
                    <a:pt x="357187" y="1657350"/>
                  </a:cubicBezTo>
                  <a:close/>
                  <a:moveTo>
                    <a:pt x="1386840" y="1655445"/>
                  </a:moveTo>
                  <a:cubicBezTo>
                    <a:pt x="1397317" y="1655445"/>
                    <a:pt x="1405890" y="1664017"/>
                    <a:pt x="1405890" y="1674495"/>
                  </a:cubicBezTo>
                  <a:cubicBezTo>
                    <a:pt x="1405890" y="1684972"/>
                    <a:pt x="1397317" y="1693545"/>
                    <a:pt x="1386840" y="1693545"/>
                  </a:cubicBezTo>
                  <a:cubicBezTo>
                    <a:pt x="1376362" y="1693545"/>
                    <a:pt x="1367790" y="1684972"/>
                    <a:pt x="1367790" y="1674495"/>
                  </a:cubicBezTo>
                  <a:cubicBezTo>
                    <a:pt x="1367790" y="1664017"/>
                    <a:pt x="1376362" y="1655445"/>
                    <a:pt x="1386840" y="1655445"/>
                  </a:cubicBezTo>
                  <a:close/>
                  <a:moveTo>
                    <a:pt x="1214438" y="1654492"/>
                  </a:moveTo>
                  <a:cubicBezTo>
                    <a:pt x="1224916" y="1654492"/>
                    <a:pt x="1233488" y="1663065"/>
                    <a:pt x="1233488" y="1673542"/>
                  </a:cubicBezTo>
                  <a:cubicBezTo>
                    <a:pt x="1233488" y="1684020"/>
                    <a:pt x="1224916" y="1692592"/>
                    <a:pt x="1214438" y="1692592"/>
                  </a:cubicBezTo>
                  <a:cubicBezTo>
                    <a:pt x="1203960" y="1692592"/>
                    <a:pt x="1195388" y="1684020"/>
                    <a:pt x="1195388" y="1673542"/>
                  </a:cubicBezTo>
                  <a:cubicBezTo>
                    <a:pt x="1195388" y="1663065"/>
                    <a:pt x="1203960" y="1654492"/>
                    <a:pt x="1214438" y="1654492"/>
                  </a:cubicBezTo>
                  <a:close/>
                  <a:moveTo>
                    <a:pt x="1710691" y="1652587"/>
                  </a:moveTo>
                  <a:cubicBezTo>
                    <a:pt x="1720686" y="1652587"/>
                    <a:pt x="1728788" y="1660690"/>
                    <a:pt x="1728788" y="1670684"/>
                  </a:cubicBezTo>
                  <a:cubicBezTo>
                    <a:pt x="1728788" y="1680679"/>
                    <a:pt x="1720685" y="1688782"/>
                    <a:pt x="1710691" y="1688782"/>
                  </a:cubicBezTo>
                  <a:cubicBezTo>
                    <a:pt x="1700696" y="1688782"/>
                    <a:pt x="1692593" y="1680679"/>
                    <a:pt x="1692593" y="1670684"/>
                  </a:cubicBezTo>
                  <a:cubicBezTo>
                    <a:pt x="1692593" y="1660689"/>
                    <a:pt x="1700696" y="1652587"/>
                    <a:pt x="1710691" y="1652587"/>
                  </a:cubicBezTo>
                  <a:close/>
                  <a:moveTo>
                    <a:pt x="1443990" y="1648777"/>
                  </a:moveTo>
                  <a:cubicBezTo>
                    <a:pt x="1454467" y="1648777"/>
                    <a:pt x="1463040" y="1657349"/>
                    <a:pt x="1463040" y="1667827"/>
                  </a:cubicBezTo>
                  <a:cubicBezTo>
                    <a:pt x="1463040" y="1678304"/>
                    <a:pt x="1454467" y="1686877"/>
                    <a:pt x="1443990" y="1686877"/>
                  </a:cubicBezTo>
                  <a:cubicBezTo>
                    <a:pt x="1433512" y="1686877"/>
                    <a:pt x="1425892" y="1678304"/>
                    <a:pt x="1424940" y="1667827"/>
                  </a:cubicBezTo>
                  <a:cubicBezTo>
                    <a:pt x="1424940" y="1657349"/>
                    <a:pt x="1433512" y="1648777"/>
                    <a:pt x="1443990" y="1648777"/>
                  </a:cubicBezTo>
                  <a:close/>
                  <a:moveTo>
                    <a:pt x="1156335" y="1648777"/>
                  </a:moveTo>
                  <a:cubicBezTo>
                    <a:pt x="1166813" y="1648777"/>
                    <a:pt x="1175385" y="1657349"/>
                    <a:pt x="1175385" y="1667827"/>
                  </a:cubicBezTo>
                  <a:cubicBezTo>
                    <a:pt x="1175385" y="1678304"/>
                    <a:pt x="1166813" y="1686877"/>
                    <a:pt x="1156335" y="1686877"/>
                  </a:cubicBezTo>
                  <a:cubicBezTo>
                    <a:pt x="1146810" y="1686877"/>
                    <a:pt x="1138238" y="1678304"/>
                    <a:pt x="1137285" y="1667827"/>
                  </a:cubicBezTo>
                  <a:cubicBezTo>
                    <a:pt x="1137285" y="1657349"/>
                    <a:pt x="1145858" y="1648777"/>
                    <a:pt x="1156335" y="1648777"/>
                  </a:cubicBezTo>
                  <a:close/>
                  <a:moveTo>
                    <a:pt x="1100138" y="1642109"/>
                  </a:moveTo>
                  <a:cubicBezTo>
                    <a:pt x="1109663" y="1642109"/>
                    <a:pt x="1118235" y="1649729"/>
                    <a:pt x="1118235" y="1660207"/>
                  </a:cubicBezTo>
                  <a:cubicBezTo>
                    <a:pt x="1118235" y="1669732"/>
                    <a:pt x="1110615" y="1678304"/>
                    <a:pt x="1100138" y="1678304"/>
                  </a:cubicBezTo>
                  <a:cubicBezTo>
                    <a:pt x="1089660" y="1678304"/>
                    <a:pt x="1081088" y="1669732"/>
                    <a:pt x="1082040" y="1660207"/>
                  </a:cubicBezTo>
                  <a:cubicBezTo>
                    <a:pt x="1082040" y="1650682"/>
                    <a:pt x="1089660" y="1642109"/>
                    <a:pt x="1100138" y="1642109"/>
                  </a:cubicBezTo>
                  <a:close/>
                  <a:moveTo>
                    <a:pt x="1909763" y="1640204"/>
                  </a:moveTo>
                  <a:cubicBezTo>
                    <a:pt x="1916430" y="1640204"/>
                    <a:pt x="1921193" y="1645919"/>
                    <a:pt x="1921193" y="1651634"/>
                  </a:cubicBezTo>
                  <a:cubicBezTo>
                    <a:pt x="1921193" y="1658302"/>
                    <a:pt x="1915478" y="1663064"/>
                    <a:pt x="1909763" y="1663064"/>
                  </a:cubicBezTo>
                  <a:cubicBezTo>
                    <a:pt x="1903096" y="1663064"/>
                    <a:pt x="1898333" y="1658302"/>
                    <a:pt x="1898333" y="1651634"/>
                  </a:cubicBezTo>
                  <a:cubicBezTo>
                    <a:pt x="1898333" y="1644967"/>
                    <a:pt x="1904048" y="1640204"/>
                    <a:pt x="1909763" y="1640204"/>
                  </a:cubicBezTo>
                  <a:close/>
                  <a:moveTo>
                    <a:pt x="1501140" y="1640204"/>
                  </a:moveTo>
                  <a:cubicBezTo>
                    <a:pt x="1511617" y="1640204"/>
                    <a:pt x="1520190" y="1648777"/>
                    <a:pt x="1520190" y="1659254"/>
                  </a:cubicBezTo>
                  <a:cubicBezTo>
                    <a:pt x="1520190" y="1669732"/>
                    <a:pt x="1511617" y="1678304"/>
                    <a:pt x="1501140" y="1678304"/>
                  </a:cubicBezTo>
                  <a:cubicBezTo>
                    <a:pt x="1490662" y="1678304"/>
                    <a:pt x="1483042" y="1669732"/>
                    <a:pt x="1482090" y="1659254"/>
                  </a:cubicBezTo>
                  <a:cubicBezTo>
                    <a:pt x="1482090" y="1648777"/>
                    <a:pt x="1490662" y="1640204"/>
                    <a:pt x="1501140" y="1640204"/>
                  </a:cubicBezTo>
                  <a:close/>
                  <a:moveTo>
                    <a:pt x="464820" y="1640204"/>
                  </a:moveTo>
                  <a:cubicBezTo>
                    <a:pt x="476250" y="1640204"/>
                    <a:pt x="484823" y="1649729"/>
                    <a:pt x="484823" y="1660207"/>
                  </a:cubicBezTo>
                  <a:cubicBezTo>
                    <a:pt x="484823" y="1671637"/>
                    <a:pt x="475298" y="1680209"/>
                    <a:pt x="464820" y="1680209"/>
                  </a:cubicBezTo>
                  <a:cubicBezTo>
                    <a:pt x="454343" y="1680209"/>
                    <a:pt x="445770" y="1671637"/>
                    <a:pt x="444818" y="1660207"/>
                  </a:cubicBezTo>
                  <a:cubicBezTo>
                    <a:pt x="444818" y="1648777"/>
                    <a:pt x="454343" y="1640204"/>
                    <a:pt x="464820" y="1640204"/>
                  </a:cubicBezTo>
                  <a:close/>
                  <a:moveTo>
                    <a:pt x="2048828" y="1639252"/>
                  </a:moveTo>
                  <a:cubicBezTo>
                    <a:pt x="2050932" y="1639252"/>
                    <a:pt x="2052638" y="1640958"/>
                    <a:pt x="2052638" y="1643062"/>
                  </a:cubicBezTo>
                  <a:cubicBezTo>
                    <a:pt x="2052638" y="1645166"/>
                    <a:pt x="2050932" y="1646872"/>
                    <a:pt x="2048828" y="1646872"/>
                  </a:cubicBezTo>
                  <a:cubicBezTo>
                    <a:pt x="2046724" y="1646872"/>
                    <a:pt x="2045018" y="1645166"/>
                    <a:pt x="2045018" y="1643062"/>
                  </a:cubicBezTo>
                  <a:cubicBezTo>
                    <a:pt x="2045018" y="1640958"/>
                    <a:pt x="2046724" y="1639252"/>
                    <a:pt x="2048828" y="1639252"/>
                  </a:cubicBezTo>
                  <a:close/>
                  <a:moveTo>
                    <a:pt x="863918" y="1639252"/>
                  </a:moveTo>
                  <a:cubicBezTo>
                    <a:pt x="875348" y="1639252"/>
                    <a:pt x="884873" y="1648777"/>
                    <a:pt x="884873" y="1660207"/>
                  </a:cubicBezTo>
                  <a:cubicBezTo>
                    <a:pt x="884873" y="1671637"/>
                    <a:pt x="875348" y="1681162"/>
                    <a:pt x="863918" y="1681162"/>
                  </a:cubicBezTo>
                  <a:cubicBezTo>
                    <a:pt x="852488" y="1681162"/>
                    <a:pt x="842963" y="1671637"/>
                    <a:pt x="842963" y="1660207"/>
                  </a:cubicBezTo>
                  <a:cubicBezTo>
                    <a:pt x="842963" y="1648777"/>
                    <a:pt x="852488" y="1639252"/>
                    <a:pt x="863918" y="1639252"/>
                  </a:cubicBezTo>
                  <a:close/>
                  <a:moveTo>
                    <a:pt x="576263" y="1637347"/>
                  </a:moveTo>
                  <a:cubicBezTo>
                    <a:pt x="588645" y="1637347"/>
                    <a:pt x="598170" y="1646872"/>
                    <a:pt x="598170" y="1659255"/>
                  </a:cubicBezTo>
                  <a:cubicBezTo>
                    <a:pt x="598170" y="1671637"/>
                    <a:pt x="588645" y="1681162"/>
                    <a:pt x="576263" y="1681162"/>
                  </a:cubicBezTo>
                  <a:cubicBezTo>
                    <a:pt x="564833" y="1681162"/>
                    <a:pt x="554355" y="1671637"/>
                    <a:pt x="554355" y="1659255"/>
                  </a:cubicBezTo>
                  <a:cubicBezTo>
                    <a:pt x="554355" y="1646872"/>
                    <a:pt x="563880" y="1637347"/>
                    <a:pt x="576263" y="1637347"/>
                  </a:cubicBezTo>
                  <a:close/>
                  <a:moveTo>
                    <a:pt x="1764030" y="1634490"/>
                  </a:moveTo>
                  <a:cubicBezTo>
                    <a:pt x="1772603" y="1634490"/>
                    <a:pt x="1779270" y="1641157"/>
                    <a:pt x="1779270" y="1649730"/>
                  </a:cubicBezTo>
                  <a:cubicBezTo>
                    <a:pt x="1779270" y="1658303"/>
                    <a:pt x="1772603" y="1664970"/>
                    <a:pt x="1764030" y="1664970"/>
                  </a:cubicBezTo>
                  <a:cubicBezTo>
                    <a:pt x="1756410" y="1664970"/>
                    <a:pt x="1749742" y="1658303"/>
                    <a:pt x="1748790" y="1649730"/>
                  </a:cubicBezTo>
                  <a:cubicBezTo>
                    <a:pt x="1748790" y="1641157"/>
                    <a:pt x="1755457" y="1634490"/>
                    <a:pt x="1764030" y="1634490"/>
                  </a:cubicBezTo>
                  <a:close/>
                  <a:moveTo>
                    <a:pt x="691515" y="1632584"/>
                  </a:moveTo>
                  <a:cubicBezTo>
                    <a:pt x="701992" y="1632584"/>
                    <a:pt x="710565" y="1641157"/>
                    <a:pt x="710565" y="1651634"/>
                  </a:cubicBezTo>
                  <a:cubicBezTo>
                    <a:pt x="710565" y="1662112"/>
                    <a:pt x="701992" y="1670684"/>
                    <a:pt x="691515" y="1670684"/>
                  </a:cubicBezTo>
                  <a:cubicBezTo>
                    <a:pt x="681038" y="1670684"/>
                    <a:pt x="673417" y="1662112"/>
                    <a:pt x="672465" y="1651634"/>
                  </a:cubicBezTo>
                  <a:cubicBezTo>
                    <a:pt x="672465" y="1641157"/>
                    <a:pt x="681038" y="1632584"/>
                    <a:pt x="691515" y="1632584"/>
                  </a:cubicBezTo>
                  <a:close/>
                  <a:moveTo>
                    <a:pt x="1042987" y="1627822"/>
                  </a:moveTo>
                  <a:cubicBezTo>
                    <a:pt x="1054417" y="1627822"/>
                    <a:pt x="1062990" y="1636395"/>
                    <a:pt x="1062990" y="1647825"/>
                  </a:cubicBezTo>
                  <a:cubicBezTo>
                    <a:pt x="1062990" y="1659255"/>
                    <a:pt x="1054417" y="1667827"/>
                    <a:pt x="1042987" y="1667827"/>
                  </a:cubicBezTo>
                  <a:cubicBezTo>
                    <a:pt x="1032510" y="1667827"/>
                    <a:pt x="1022985" y="1659255"/>
                    <a:pt x="1022985" y="1647825"/>
                  </a:cubicBezTo>
                  <a:cubicBezTo>
                    <a:pt x="1022985" y="1636395"/>
                    <a:pt x="1031558" y="1627822"/>
                    <a:pt x="1042987" y="1627822"/>
                  </a:cubicBezTo>
                  <a:close/>
                  <a:moveTo>
                    <a:pt x="1558290" y="1626870"/>
                  </a:moveTo>
                  <a:cubicBezTo>
                    <a:pt x="1569720" y="1626870"/>
                    <a:pt x="1579245" y="1636395"/>
                    <a:pt x="1579245" y="1647825"/>
                  </a:cubicBezTo>
                  <a:cubicBezTo>
                    <a:pt x="1579245" y="1659255"/>
                    <a:pt x="1569720" y="1668780"/>
                    <a:pt x="1558290" y="1668780"/>
                  </a:cubicBezTo>
                  <a:cubicBezTo>
                    <a:pt x="1546860" y="1668780"/>
                    <a:pt x="1537335" y="1659255"/>
                    <a:pt x="1537335" y="1647825"/>
                  </a:cubicBezTo>
                  <a:cubicBezTo>
                    <a:pt x="1537335" y="1636395"/>
                    <a:pt x="1546860" y="1626870"/>
                    <a:pt x="1558290" y="1626870"/>
                  </a:cubicBezTo>
                  <a:close/>
                  <a:moveTo>
                    <a:pt x="810578" y="1617345"/>
                  </a:moveTo>
                  <a:cubicBezTo>
                    <a:pt x="822008" y="1617345"/>
                    <a:pt x="831533" y="1626870"/>
                    <a:pt x="831533" y="1638300"/>
                  </a:cubicBezTo>
                  <a:cubicBezTo>
                    <a:pt x="831533" y="1649730"/>
                    <a:pt x="822008" y="1659255"/>
                    <a:pt x="810578" y="1659255"/>
                  </a:cubicBezTo>
                  <a:cubicBezTo>
                    <a:pt x="798195" y="1659255"/>
                    <a:pt x="788670" y="1650683"/>
                    <a:pt x="789623" y="1638300"/>
                  </a:cubicBezTo>
                  <a:cubicBezTo>
                    <a:pt x="789623" y="1626870"/>
                    <a:pt x="799148" y="1617345"/>
                    <a:pt x="810578" y="1617345"/>
                  </a:cubicBezTo>
                  <a:close/>
                  <a:moveTo>
                    <a:pt x="1613535" y="1614487"/>
                  </a:moveTo>
                  <a:cubicBezTo>
                    <a:pt x="1624013" y="1614487"/>
                    <a:pt x="1633538" y="1623059"/>
                    <a:pt x="1633538" y="1634490"/>
                  </a:cubicBezTo>
                  <a:cubicBezTo>
                    <a:pt x="1633538" y="1644967"/>
                    <a:pt x="1624966" y="1654492"/>
                    <a:pt x="1613535" y="1654492"/>
                  </a:cubicBezTo>
                  <a:cubicBezTo>
                    <a:pt x="1602105" y="1654492"/>
                    <a:pt x="1593533" y="1644967"/>
                    <a:pt x="1593533" y="1634490"/>
                  </a:cubicBezTo>
                  <a:cubicBezTo>
                    <a:pt x="1593533" y="1624012"/>
                    <a:pt x="1602105" y="1614487"/>
                    <a:pt x="1613535" y="1614487"/>
                  </a:cubicBezTo>
                  <a:close/>
                  <a:moveTo>
                    <a:pt x="419100" y="1614487"/>
                  </a:moveTo>
                  <a:cubicBezTo>
                    <a:pt x="425768" y="1614487"/>
                    <a:pt x="430530" y="1619250"/>
                    <a:pt x="430530" y="1625917"/>
                  </a:cubicBezTo>
                  <a:cubicBezTo>
                    <a:pt x="430530" y="1632584"/>
                    <a:pt x="425768" y="1637347"/>
                    <a:pt x="419100" y="1637347"/>
                  </a:cubicBezTo>
                  <a:cubicBezTo>
                    <a:pt x="413385" y="1637347"/>
                    <a:pt x="407670" y="1631632"/>
                    <a:pt x="407670" y="1625917"/>
                  </a:cubicBezTo>
                  <a:cubicBezTo>
                    <a:pt x="407670" y="1619250"/>
                    <a:pt x="412433" y="1614487"/>
                    <a:pt x="419100" y="1614487"/>
                  </a:cubicBezTo>
                  <a:close/>
                  <a:moveTo>
                    <a:pt x="987742" y="1613534"/>
                  </a:moveTo>
                  <a:cubicBezTo>
                    <a:pt x="999173" y="1613534"/>
                    <a:pt x="1007745" y="1623059"/>
                    <a:pt x="1007745" y="1633537"/>
                  </a:cubicBezTo>
                  <a:cubicBezTo>
                    <a:pt x="1007745" y="1644967"/>
                    <a:pt x="998220" y="1653539"/>
                    <a:pt x="987742" y="1653539"/>
                  </a:cubicBezTo>
                  <a:cubicBezTo>
                    <a:pt x="976313" y="1653539"/>
                    <a:pt x="967740" y="1644967"/>
                    <a:pt x="967740" y="1633537"/>
                  </a:cubicBezTo>
                  <a:cubicBezTo>
                    <a:pt x="967740" y="1622107"/>
                    <a:pt x="977265" y="1613534"/>
                    <a:pt x="987742" y="1613534"/>
                  </a:cubicBezTo>
                  <a:close/>
                  <a:moveTo>
                    <a:pt x="1817370" y="1611629"/>
                  </a:moveTo>
                  <a:cubicBezTo>
                    <a:pt x="1825943" y="1611629"/>
                    <a:pt x="1832610" y="1618296"/>
                    <a:pt x="1832610" y="1626869"/>
                  </a:cubicBezTo>
                  <a:cubicBezTo>
                    <a:pt x="1832610" y="1635442"/>
                    <a:pt x="1825943" y="1642109"/>
                    <a:pt x="1817370" y="1642109"/>
                  </a:cubicBezTo>
                  <a:cubicBezTo>
                    <a:pt x="1808797" y="1642109"/>
                    <a:pt x="1802130" y="1635442"/>
                    <a:pt x="1802130" y="1626869"/>
                  </a:cubicBezTo>
                  <a:cubicBezTo>
                    <a:pt x="1802130" y="1618296"/>
                    <a:pt x="1808797" y="1611629"/>
                    <a:pt x="1817370" y="1611629"/>
                  </a:cubicBezTo>
                  <a:close/>
                  <a:moveTo>
                    <a:pt x="1959293" y="1610677"/>
                  </a:moveTo>
                  <a:cubicBezTo>
                    <a:pt x="1965960" y="1610677"/>
                    <a:pt x="1971675" y="1616392"/>
                    <a:pt x="1971675" y="1623059"/>
                  </a:cubicBezTo>
                  <a:cubicBezTo>
                    <a:pt x="1971675" y="1629727"/>
                    <a:pt x="1965960" y="1635442"/>
                    <a:pt x="1959293" y="1635442"/>
                  </a:cubicBezTo>
                  <a:cubicBezTo>
                    <a:pt x="1952625" y="1635442"/>
                    <a:pt x="1947863" y="1630679"/>
                    <a:pt x="1946910" y="1623059"/>
                  </a:cubicBezTo>
                  <a:cubicBezTo>
                    <a:pt x="1946910" y="1616392"/>
                    <a:pt x="1952625" y="1610677"/>
                    <a:pt x="1959293" y="1610677"/>
                  </a:cubicBezTo>
                  <a:close/>
                  <a:moveTo>
                    <a:pt x="2095500" y="1608772"/>
                  </a:moveTo>
                  <a:cubicBezTo>
                    <a:pt x="2096453" y="1608772"/>
                    <a:pt x="2097405" y="1609725"/>
                    <a:pt x="2097405" y="1610677"/>
                  </a:cubicBezTo>
                  <a:cubicBezTo>
                    <a:pt x="2097405" y="1611630"/>
                    <a:pt x="2096453" y="1612582"/>
                    <a:pt x="2095500" y="1612582"/>
                  </a:cubicBezTo>
                  <a:cubicBezTo>
                    <a:pt x="2094547" y="1612582"/>
                    <a:pt x="2093595" y="1611630"/>
                    <a:pt x="2093595" y="1610677"/>
                  </a:cubicBezTo>
                  <a:cubicBezTo>
                    <a:pt x="2093595" y="1609725"/>
                    <a:pt x="2094547" y="1608772"/>
                    <a:pt x="2095500" y="1608772"/>
                  </a:cubicBezTo>
                  <a:close/>
                  <a:moveTo>
                    <a:pt x="528637" y="1605915"/>
                  </a:moveTo>
                  <a:cubicBezTo>
                    <a:pt x="541020" y="1605915"/>
                    <a:pt x="550545" y="1615440"/>
                    <a:pt x="550545" y="1627822"/>
                  </a:cubicBezTo>
                  <a:cubicBezTo>
                    <a:pt x="550545" y="1640205"/>
                    <a:pt x="541020" y="1649730"/>
                    <a:pt x="528637" y="1649730"/>
                  </a:cubicBezTo>
                  <a:cubicBezTo>
                    <a:pt x="516255" y="1649730"/>
                    <a:pt x="506730" y="1639253"/>
                    <a:pt x="506730" y="1627822"/>
                  </a:cubicBezTo>
                  <a:cubicBezTo>
                    <a:pt x="506730" y="1615440"/>
                    <a:pt x="516255" y="1605915"/>
                    <a:pt x="528637" y="1605915"/>
                  </a:cubicBezTo>
                  <a:close/>
                  <a:moveTo>
                    <a:pt x="641985" y="1604009"/>
                  </a:moveTo>
                  <a:cubicBezTo>
                    <a:pt x="652462" y="1604009"/>
                    <a:pt x="661035" y="1612582"/>
                    <a:pt x="661035" y="1623059"/>
                  </a:cubicBezTo>
                  <a:cubicBezTo>
                    <a:pt x="661035" y="1633537"/>
                    <a:pt x="652462" y="1642109"/>
                    <a:pt x="641985" y="1642109"/>
                  </a:cubicBezTo>
                  <a:cubicBezTo>
                    <a:pt x="631508" y="1642109"/>
                    <a:pt x="622935" y="1633537"/>
                    <a:pt x="622935" y="1623059"/>
                  </a:cubicBezTo>
                  <a:cubicBezTo>
                    <a:pt x="622935" y="1612582"/>
                    <a:pt x="631508" y="1604009"/>
                    <a:pt x="641985" y="1604009"/>
                  </a:cubicBezTo>
                  <a:close/>
                  <a:moveTo>
                    <a:pt x="1668780" y="1598295"/>
                  </a:moveTo>
                  <a:cubicBezTo>
                    <a:pt x="1679258" y="1598295"/>
                    <a:pt x="1687830" y="1606867"/>
                    <a:pt x="1687830" y="1617345"/>
                  </a:cubicBezTo>
                  <a:cubicBezTo>
                    <a:pt x="1687830" y="1627822"/>
                    <a:pt x="1679258" y="1636395"/>
                    <a:pt x="1668780" y="1636395"/>
                  </a:cubicBezTo>
                  <a:cubicBezTo>
                    <a:pt x="1658303" y="1636395"/>
                    <a:pt x="1649730" y="1627822"/>
                    <a:pt x="1649730" y="1617345"/>
                  </a:cubicBezTo>
                  <a:cubicBezTo>
                    <a:pt x="1649730" y="1606867"/>
                    <a:pt x="1658303" y="1598295"/>
                    <a:pt x="1668780" y="1598295"/>
                  </a:cubicBezTo>
                  <a:close/>
                  <a:moveTo>
                    <a:pt x="932497" y="1597342"/>
                  </a:moveTo>
                  <a:cubicBezTo>
                    <a:pt x="942975" y="1597342"/>
                    <a:pt x="952500" y="1605915"/>
                    <a:pt x="952500" y="1617345"/>
                  </a:cubicBezTo>
                  <a:cubicBezTo>
                    <a:pt x="952500" y="1627822"/>
                    <a:pt x="943927" y="1637347"/>
                    <a:pt x="932497" y="1637347"/>
                  </a:cubicBezTo>
                  <a:cubicBezTo>
                    <a:pt x="921067" y="1637347"/>
                    <a:pt x="911542" y="1627822"/>
                    <a:pt x="912495" y="1617345"/>
                  </a:cubicBezTo>
                  <a:cubicBezTo>
                    <a:pt x="912495" y="1606867"/>
                    <a:pt x="921067" y="1597342"/>
                    <a:pt x="932497" y="1597342"/>
                  </a:cubicBezTo>
                  <a:close/>
                  <a:moveTo>
                    <a:pt x="1285875" y="1596390"/>
                  </a:moveTo>
                  <a:cubicBezTo>
                    <a:pt x="1295400" y="1596390"/>
                    <a:pt x="1303020" y="1604010"/>
                    <a:pt x="1303020" y="1613535"/>
                  </a:cubicBezTo>
                  <a:cubicBezTo>
                    <a:pt x="1303020" y="1623060"/>
                    <a:pt x="1295400" y="1630680"/>
                    <a:pt x="1285875" y="1630680"/>
                  </a:cubicBezTo>
                  <a:cubicBezTo>
                    <a:pt x="1276350" y="1630680"/>
                    <a:pt x="1268730" y="1622107"/>
                    <a:pt x="1268730" y="1613535"/>
                  </a:cubicBezTo>
                  <a:cubicBezTo>
                    <a:pt x="1268730" y="1604010"/>
                    <a:pt x="1276350" y="1596390"/>
                    <a:pt x="1285875" y="1596390"/>
                  </a:cubicBezTo>
                  <a:close/>
                  <a:moveTo>
                    <a:pt x="1343978" y="1595437"/>
                  </a:moveTo>
                  <a:cubicBezTo>
                    <a:pt x="1353503" y="1595437"/>
                    <a:pt x="1361123" y="1603057"/>
                    <a:pt x="1361123" y="1612582"/>
                  </a:cubicBezTo>
                  <a:cubicBezTo>
                    <a:pt x="1361123" y="1622107"/>
                    <a:pt x="1353503" y="1629727"/>
                    <a:pt x="1343978" y="1629727"/>
                  </a:cubicBezTo>
                  <a:cubicBezTo>
                    <a:pt x="1334453" y="1629727"/>
                    <a:pt x="1326833" y="1622107"/>
                    <a:pt x="1326833" y="1612582"/>
                  </a:cubicBezTo>
                  <a:cubicBezTo>
                    <a:pt x="1326833" y="1603057"/>
                    <a:pt x="1334453" y="1595437"/>
                    <a:pt x="1343978" y="1595437"/>
                  </a:cubicBezTo>
                  <a:close/>
                  <a:moveTo>
                    <a:pt x="758190" y="1592579"/>
                  </a:moveTo>
                  <a:cubicBezTo>
                    <a:pt x="769620" y="1592579"/>
                    <a:pt x="779145" y="1602104"/>
                    <a:pt x="779145" y="1613534"/>
                  </a:cubicBezTo>
                  <a:cubicBezTo>
                    <a:pt x="779145" y="1624964"/>
                    <a:pt x="769620" y="1634489"/>
                    <a:pt x="758190" y="1634489"/>
                  </a:cubicBezTo>
                  <a:cubicBezTo>
                    <a:pt x="746760" y="1634489"/>
                    <a:pt x="737235" y="1624964"/>
                    <a:pt x="737235" y="1613534"/>
                  </a:cubicBezTo>
                  <a:cubicBezTo>
                    <a:pt x="737235" y="1602104"/>
                    <a:pt x="746760" y="1592579"/>
                    <a:pt x="758190" y="1592579"/>
                  </a:cubicBezTo>
                  <a:close/>
                  <a:moveTo>
                    <a:pt x="1401128" y="1590675"/>
                  </a:moveTo>
                  <a:cubicBezTo>
                    <a:pt x="1410653" y="1590675"/>
                    <a:pt x="1418273" y="1598295"/>
                    <a:pt x="1418273" y="1607820"/>
                  </a:cubicBezTo>
                  <a:cubicBezTo>
                    <a:pt x="1418273" y="1617345"/>
                    <a:pt x="1410653" y="1624965"/>
                    <a:pt x="1401128" y="1624965"/>
                  </a:cubicBezTo>
                  <a:cubicBezTo>
                    <a:pt x="1391603" y="1624965"/>
                    <a:pt x="1383983" y="1617345"/>
                    <a:pt x="1383983" y="1607820"/>
                  </a:cubicBezTo>
                  <a:cubicBezTo>
                    <a:pt x="1383983" y="1598295"/>
                    <a:pt x="1391603" y="1590675"/>
                    <a:pt x="1401128" y="1590675"/>
                  </a:cubicBezTo>
                  <a:close/>
                  <a:moveTo>
                    <a:pt x="1228725" y="1590675"/>
                  </a:moveTo>
                  <a:cubicBezTo>
                    <a:pt x="1239203" y="1590675"/>
                    <a:pt x="1247775" y="1599247"/>
                    <a:pt x="1247775" y="1609725"/>
                  </a:cubicBezTo>
                  <a:cubicBezTo>
                    <a:pt x="1247775" y="1620203"/>
                    <a:pt x="1239203" y="1628775"/>
                    <a:pt x="1228725" y="1628775"/>
                  </a:cubicBezTo>
                  <a:cubicBezTo>
                    <a:pt x="1218247" y="1628775"/>
                    <a:pt x="1209675" y="1621155"/>
                    <a:pt x="1209675" y="1609725"/>
                  </a:cubicBezTo>
                  <a:cubicBezTo>
                    <a:pt x="1209675" y="1599247"/>
                    <a:pt x="1218247" y="1590675"/>
                    <a:pt x="1228725" y="1590675"/>
                  </a:cubicBezTo>
                  <a:close/>
                  <a:moveTo>
                    <a:pt x="1171575" y="1588770"/>
                  </a:moveTo>
                  <a:cubicBezTo>
                    <a:pt x="1180148" y="1588770"/>
                    <a:pt x="1187768" y="1596390"/>
                    <a:pt x="1187768" y="1604962"/>
                  </a:cubicBezTo>
                  <a:cubicBezTo>
                    <a:pt x="1187768" y="1613535"/>
                    <a:pt x="1180148" y="1621155"/>
                    <a:pt x="1171575" y="1621155"/>
                  </a:cubicBezTo>
                  <a:cubicBezTo>
                    <a:pt x="1162050" y="1621155"/>
                    <a:pt x="1155383" y="1613535"/>
                    <a:pt x="1155383" y="1604962"/>
                  </a:cubicBezTo>
                  <a:cubicBezTo>
                    <a:pt x="1155383" y="1596390"/>
                    <a:pt x="1163003" y="1588770"/>
                    <a:pt x="1171575" y="1588770"/>
                  </a:cubicBezTo>
                  <a:close/>
                  <a:moveTo>
                    <a:pt x="1868805" y="1587817"/>
                  </a:moveTo>
                  <a:cubicBezTo>
                    <a:pt x="1876425" y="1587817"/>
                    <a:pt x="1882140" y="1593532"/>
                    <a:pt x="1882140" y="1601152"/>
                  </a:cubicBezTo>
                  <a:cubicBezTo>
                    <a:pt x="1882140" y="1608772"/>
                    <a:pt x="1876425" y="1614487"/>
                    <a:pt x="1868805" y="1614487"/>
                  </a:cubicBezTo>
                  <a:cubicBezTo>
                    <a:pt x="1861185" y="1614487"/>
                    <a:pt x="1855470" y="1608772"/>
                    <a:pt x="1855470" y="1601152"/>
                  </a:cubicBezTo>
                  <a:cubicBezTo>
                    <a:pt x="1855470" y="1593532"/>
                    <a:pt x="1861185" y="1587817"/>
                    <a:pt x="1868805" y="1587817"/>
                  </a:cubicBezTo>
                  <a:close/>
                  <a:moveTo>
                    <a:pt x="1458278" y="1585912"/>
                  </a:moveTo>
                  <a:cubicBezTo>
                    <a:pt x="1466851" y="1585912"/>
                    <a:pt x="1473518" y="1592579"/>
                    <a:pt x="1473518" y="1601152"/>
                  </a:cubicBezTo>
                  <a:cubicBezTo>
                    <a:pt x="1473518" y="1609725"/>
                    <a:pt x="1466851" y="1616392"/>
                    <a:pt x="1458278" y="1616392"/>
                  </a:cubicBezTo>
                  <a:cubicBezTo>
                    <a:pt x="1450658" y="1616392"/>
                    <a:pt x="1443991" y="1609725"/>
                    <a:pt x="1443038" y="1601152"/>
                  </a:cubicBezTo>
                  <a:cubicBezTo>
                    <a:pt x="1443038" y="1592579"/>
                    <a:pt x="1449705" y="1585912"/>
                    <a:pt x="1458278" y="1585912"/>
                  </a:cubicBezTo>
                  <a:close/>
                  <a:moveTo>
                    <a:pt x="2008822" y="1584007"/>
                  </a:moveTo>
                  <a:cubicBezTo>
                    <a:pt x="2013585" y="1584007"/>
                    <a:pt x="2017395" y="1587817"/>
                    <a:pt x="2017395" y="1592579"/>
                  </a:cubicBezTo>
                  <a:cubicBezTo>
                    <a:pt x="2017395" y="1597342"/>
                    <a:pt x="2013585" y="1601152"/>
                    <a:pt x="2008822" y="1601152"/>
                  </a:cubicBezTo>
                  <a:cubicBezTo>
                    <a:pt x="2004060" y="1601152"/>
                    <a:pt x="2000250" y="1597342"/>
                    <a:pt x="2000250" y="1592579"/>
                  </a:cubicBezTo>
                  <a:cubicBezTo>
                    <a:pt x="2000250" y="1587817"/>
                    <a:pt x="2004060" y="1584007"/>
                    <a:pt x="2008822" y="1584007"/>
                  </a:cubicBezTo>
                  <a:close/>
                  <a:moveTo>
                    <a:pt x="1114425" y="1580197"/>
                  </a:moveTo>
                  <a:cubicBezTo>
                    <a:pt x="1122998" y="1580197"/>
                    <a:pt x="1130618" y="1587817"/>
                    <a:pt x="1130618" y="1596390"/>
                  </a:cubicBezTo>
                  <a:cubicBezTo>
                    <a:pt x="1130618" y="1604962"/>
                    <a:pt x="1122998" y="1612582"/>
                    <a:pt x="1114425" y="1612582"/>
                  </a:cubicBezTo>
                  <a:cubicBezTo>
                    <a:pt x="1104900" y="1612582"/>
                    <a:pt x="1098233" y="1605915"/>
                    <a:pt x="1098233" y="1596390"/>
                  </a:cubicBezTo>
                  <a:cubicBezTo>
                    <a:pt x="1098233" y="1587817"/>
                    <a:pt x="1105853" y="1580197"/>
                    <a:pt x="1114425" y="1580197"/>
                  </a:cubicBezTo>
                  <a:close/>
                  <a:moveTo>
                    <a:pt x="1723072" y="1579245"/>
                  </a:moveTo>
                  <a:cubicBezTo>
                    <a:pt x="1732597" y="1579245"/>
                    <a:pt x="1741170" y="1586865"/>
                    <a:pt x="1741170" y="1597342"/>
                  </a:cubicBezTo>
                  <a:cubicBezTo>
                    <a:pt x="1741170" y="1606867"/>
                    <a:pt x="1733550" y="1615440"/>
                    <a:pt x="1723072" y="1615440"/>
                  </a:cubicBezTo>
                  <a:cubicBezTo>
                    <a:pt x="1712595" y="1615440"/>
                    <a:pt x="1704975" y="1606867"/>
                    <a:pt x="1704975" y="1597342"/>
                  </a:cubicBezTo>
                  <a:cubicBezTo>
                    <a:pt x="1704975" y="1587817"/>
                    <a:pt x="1713547" y="1579245"/>
                    <a:pt x="1723072" y="1579245"/>
                  </a:cubicBezTo>
                  <a:close/>
                  <a:moveTo>
                    <a:pt x="878204" y="1577340"/>
                  </a:moveTo>
                  <a:cubicBezTo>
                    <a:pt x="888682" y="1577340"/>
                    <a:pt x="898207" y="1585912"/>
                    <a:pt x="898207" y="1597342"/>
                  </a:cubicBezTo>
                  <a:cubicBezTo>
                    <a:pt x="898207" y="1607820"/>
                    <a:pt x="889635" y="1617345"/>
                    <a:pt x="878204" y="1617345"/>
                  </a:cubicBezTo>
                  <a:cubicBezTo>
                    <a:pt x="866775" y="1617345"/>
                    <a:pt x="858202" y="1608772"/>
                    <a:pt x="858202" y="1597342"/>
                  </a:cubicBezTo>
                  <a:cubicBezTo>
                    <a:pt x="858202" y="1586865"/>
                    <a:pt x="867727" y="1577340"/>
                    <a:pt x="878204" y="1577340"/>
                  </a:cubicBezTo>
                  <a:close/>
                  <a:moveTo>
                    <a:pt x="375285" y="1575434"/>
                  </a:moveTo>
                  <a:cubicBezTo>
                    <a:pt x="382905" y="1575434"/>
                    <a:pt x="388620" y="1581149"/>
                    <a:pt x="388620" y="1588769"/>
                  </a:cubicBezTo>
                  <a:cubicBezTo>
                    <a:pt x="388620" y="1596389"/>
                    <a:pt x="382905" y="1602104"/>
                    <a:pt x="375285" y="1602104"/>
                  </a:cubicBezTo>
                  <a:cubicBezTo>
                    <a:pt x="367665" y="1602104"/>
                    <a:pt x="361950" y="1596389"/>
                    <a:pt x="361950" y="1588769"/>
                  </a:cubicBezTo>
                  <a:cubicBezTo>
                    <a:pt x="361950" y="1581149"/>
                    <a:pt x="367665" y="1575434"/>
                    <a:pt x="375285" y="1575434"/>
                  </a:cubicBezTo>
                  <a:close/>
                  <a:moveTo>
                    <a:pt x="1515428" y="1574482"/>
                  </a:moveTo>
                  <a:cubicBezTo>
                    <a:pt x="1524953" y="1574482"/>
                    <a:pt x="1532573" y="1582102"/>
                    <a:pt x="1532573" y="1591627"/>
                  </a:cubicBezTo>
                  <a:cubicBezTo>
                    <a:pt x="1532573" y="1601152"/>
                    <a:pt x="1524953" y="1608772"/>
                    <a:pt x="1515428" y="1608772"/>
                  </a:cubicBezTo>
                  <a:cubicBezTo>
                    <a:pt x="1505903" y="1608772"/>
                    <a:pt x="1498283" y="1601152"/>
                    <a:pt x="1498283" y="1591627"/>
                  </a:cubicBezTo>
                  <a:cubicBezTo>
                    <a:pt x="1498283" y="1582102"/>
                    <a:pt x="1505903" y="1574482"/>
                    <a:pt x="1515428" y="1574482"/>
                  </a:cubicBezTo>
                  <a:close/>
                  <a:moveTo>
                    <a:pt x="592454" y="1573529"/>
                  </a:moveTo>
                  <a:cubicBezTo>
                    <a:pt x="603885" y="1573529"/>
                    <a:pt x="612457" y="1582102"/>
                    <a:pt x="612457" y="1593532"/>
                  </a:cubicBezTo>
                  <a:cubicBezTo>
                    <a:pt x="612457" y="1604962"/>
                    <a:pt x="603885" y="1613534"/>
                    <a:pt x="592454" y="1613534"/>
                  </a:cubicBezTo>
                  <a:cubicBezTo>
                    <a:pt x="581977" y="1613534"/>
                    <a:pt x="572452" y="1604009"/>
                    <a:pt x="572452" y="1593532"/>
                  </a:cubicBezTo>
                  <a:cubicBezTo>
                    <a:pt x="572452" y="1582102"/>
                    <a:pt x="581025" y="1573529"/>
                    <a:pt x="592454" y="1573529"/>
                  </a:cubicBezTo>
                  <a:close/>
                  <a:moveTo>
                    <a:pt x="481965" y="1569720"/>
                  </a:moveTo>
                  <a:cubicBezTo>
                    <a:pt x="494348" y="1569720"/>
                    <a:pt x="504825" y="1580197"/>
                    <a:pt x="504825" y="1592580"/>
                  </a:cubicBezTo>
                  <a:cubicBezTo>
                    <a:pt x="504825" y="1604962"/>
                    <a:pt x="494348" y="1615440"/>
                    <a:pt x="481965" y="1615440"/>
                  </a:cubicBezTo>
                  <a:cubicBezTo>
                    <a:pt x="469582" y="1615440"/>
                    <a:pt x="460057" y="1605915"/>
                    <a:pt x="459105" y="1592580"/>
                  </a:cubicBezTo>
                  <a:cubicBezTo>
                    <a:pt x="459105" y="1580197"/>
                    <a:pt x="469582" y="1569720"/>
                    <a:pt x="481965" y="1569720"/>
                  </a:cubicBezTo>
                  <a:close/>
                  <a:moveTo>
                    <a:pt x="1057275" y="1566862"/>
                  </a:moveTo>
                  <a:cubicBezTo>
                    <a:pt x="1067752" y="1566862"/>
                    <a:pt x="1075372" y="1575434"/>
                    <a:pt x="1075372" y="1584959"/>
                  </a:cubicBezTo>
                  <a:cubicBezTo>
                    <a:pt x="1075372" y="1595437"/>
                    <a:pt x="1066800" y="1603057"/>
                    <a:pt x="1057275" y="1603057"/>
                  </a:cubicBezTo>
                  <a:cubicBezTo>
                    <a:pt x="1047750" y="1603057"/>
                    <a:pt x="1040129" y="1595437"/>
                    <a:pt x="1039177" y="1584959"/>
                  </a:cubicBezTo>
                  <a:cubicBezTo>
                    <a:pt x="1039177" y="1574482"/>
                    <a:pt x="1047750" y="1566862"/>
                    <a:pt x="1057275" y="1566862"/>
                  </a:cubicBezTo>
                  <a:close/>
                  <a:moveTo>
                    <a:pt x="706755" y="1565909"/>
                  </a:moveTo>
                  <a:cubicBezTo>
                    <a:pt x="718185" y="1565909"/>
                    <a:pt x="727710" y="1575434"/>
                    <a:pt x="727710" y="1586864"/>
                  </a:cubicBezTo>
                  <a:cubicBezTo>
                    <a:pt x="727710" y="1598294"/>
                    <a:pt x="718185" y="1607819"/>
                    <a:pt x="706755" y="1607819"/>
                  </a:cubicBezTo>
                  <a:cubicBezTo>
                    <a:pt x="695325" y="1607819"/>
                    <a:pt x="685800" y="1598294"/>
                    <a:pt x="685800" y="1586864"/>
                  </a:cubicBezTo>
                  <a:cubicBezTo>
                    <a:pt x="685800" y="1575434"/>
                    <a:pt x="695325" y="1565909"/>
                    <a:pt x="706755" y="1565909"/>
                  </a:cubicBezTo>
                  <a:close/>
                  <a:moveTo>
                    <a:pt x="1919288" y="1560195"/>
                  </a:moveTo>
                  <a:cubicBezTo>
                    <a:pt x="1926908" y="1560195"/>
                    <a:pt x="1932623" y="1565910"/>
                    <a:pt x="1932623" y="1573530"/>
                  </a:cubicBezTo>
                  <a:cubicBezTo>
                    <a:pt x="1932623" y="1581150"/>
                    <a:pt x="1926908" y="1586865"/>
                    <a:pt x="1919288" y="1586865"/>
                  </a:cubicBezTo>
                  <a:cubicBezTo>
                    <a:pt x="1911668" y="1586865"/>
                    <a:pt x="1905953" y="1580197"/>
                    <a:pt x="1905953" y="1573530"/>
                  </a:cubicBezTo>
                  <a:cubicBezTo>
                    <a:pt x="1905953" y="1565910"/>
                    <a:pt x="1911668" y="1560195"/>
                    <a:pt x="1919288" y="1560195"/>
                  </a:cubicBezTo>
                  <a:close/>
                  <a:moveTo>
                    <a:pt x="1571625" y="1560195"/>
                  </a:moveTo>
                  <a:cubicBezTo>
                    <a:pt x="1581150" y="1560195"/>
                    <a:pt x="1589723" y="1567815"/>
                    <a:pt x="1589723" y="1578292"/>
                  </a:cubicBezTo>
                  <a:cubicBezTo>
                    <a:pt x="1589723" y="1587817"/>
                    <a:pt x="1582103" y="1596390"/>
                    <a:pt x="1571625" y="1596390"/>
                  </a:cubicBezTo>
                  <a:cubicBezTo>
                    <a:pt x="1561148" y="1596390"/>
                    <a:pt x="1553528" y="1588770"/>
                    <a:pt x="1553528" y="1578292"/>
                  </a:cubicBezTo>
                  <a:cubicBezTo>
                    <a:pt x="1553528" y="1568767"/>
                    <a:pt x="1561148" y="1560195"/>
                    <a:pt x="1571625" y="1560195"/>
                  </a:cubicBezTo>
                  <a:close/>
                  <a:moveTo>
                    <a:pt x="2055495" y="1558290"/>
                  </a:moveTo>
                  <a:cubicBezTo>
                    <a:pt x="2056447" y="1558290"/>
                    <a:pt x="2057400" y="1559242"/>
                    <a:pt x="2057400" y="1560195"/>
                  </a:cubicBezTo>
                  <a:cubicBezTo>
                    <a:pt x="2057400" y="1561147"/>
                    <a:pt x="2056447" y="1562100"/>
                    <a:pt x="2055495" y="1562100"/>
                  </a:cubicBezTo>
                  <a:cubicBezTo>
                    <a:pt x="2054542" y="1562100"/>
                    <a:pt x="2053590" y="1561147"/>
                    <a:pt x="2053590" y="1560195"/>
                  </a:cubicBezTo>
                  <a:cubicBezTo>
                    <a:pt x="2053590" y="1559242"/>
                    <a:pt x="2054542" y="1558290"/>
                    <a:pt x="2055495" y="1558290"/>
                  </a:cubicBezTo>
                  <a:close/>
                  <a:moveTo>
                    <a:pt x="1776412" y="1557337"/>
                  </a:moveTo>
                  <a:cubicBezTo>
                    <a:pt x="1785937" y="1557337"/>
                    <a:pt x="1793557" y="1564957"/>
                    <a:pt x="1793557" y="1574482"/>
                  </a:cubicBezTo>
                  <a:cubicBezTo>
                    <a:pt x="1793557" y="1584007"/>
                    <a:pt x="1785937" y="1591627"/>
                    <a:pt x="1776412" y="1591627"/>
                  </a:cubicBezTo>
                  <a:cubicBezTo>
                    <a:pt x="1766887" y="1591627"/>
                    <a:pt x="1759267" y="1584007"/>
                    <a:pt x="1759267" y="1574482"/>
                  </a:cubicBezTo>
                  <a:cubicBezTo>
                    <a:pt x="1759267" y="1564957"/>
                    <a:pt x="1766887" y="1557337"/>
                    <a:pt x="1776412" y="1557337"/>
                  </a:cubicBezTo>
                  <a:close/>
                  <a:moveTo>
                    <a:pt x="824865" y="1553527"/>
                  </a:moveTo>
                  <a:cubicBezTo>
                    <a:pt x="836295" y="1553527"/>
                    <a:pt x="845820" y="1563052"/>
                    <a:pt x="845820" y="1574482"/>
                  </a:cubicBezTo>
                  <a:cubicBezTo>
                    <a:pt x="845820" y="1585912"/>
                    <a:pt x="836295" y="1595437"/>
                    <a:pt x="824865" y="1595437"/>
                  </a:cubicBezTo>
                  <a:cubicBezTo>
                    <a:pt x="813435" y="1595437"/>
                    <a:pt x="803910" y="1585912"/>
                    <a:pt x="803910" y="1574482"/>
                  </a:cubicBezTo>
                  <a:cubicBezTo>
                    <a:pt x="803910" y="1563052"/>
                    <a:pt x="813435" y="1553527"/>
                    <a:pt x="824865" y="1553527"/>
                  </a:cubicBezTo>
                  <a:close/>
                  <a:moveTo>
                    <a:pt x="1002029" y="1550670"/>
                  </a:moveTo>
                  <a:cubicBezTo>
                    <a:pt x="1013460" y="1550670"/>
                    <a:pt x="1022032" y="1559242"/>
                    <a:pt x="1022032" y="1570672"/>
                  </a:cubicBezTo>
                  <a:cubicBezTo>
                    <a:pt x="1022032" y="1582103"/>
                    <a:pt x="1013460" y="1590675"/>
                    <a:pt x="1002029" y="1590675"/>
                  </a:cubicBezTo>
                  <a:cubicBezTo>
                    <a:pt x="990600" y="1590675"/>
                    <a:pt x="982027" y="1582103"/>
                    <a:pt x="982027" y="1570672"/>
                  </a:cubicBezTo>
                  <a:cubicBezTo>
                    <a:pt x="982027" y="1559242"/>
                    <a:pt x="990600" y="1550670"/>
                    <a:pt x="1002029" y="1550670"/>
                  </a:cubicBezTo>
                  <a:close/>
                  <a:moveTo>
                    <a:pt x="1626870" y="1544002"/>
                  </a:moveTo>
                  <a:cubicBezTo>
                    <a:pt x="1637347" y="1544002"/>
                    <a:pt x="1645920" y="1552574"/>
                    <a:pt x="1645920" y="1563052"/>
                  </a:cubicBezTo>
                  <a:cubicBezTo>
                    <a:pt x="1645920" y="1573529"/>
                    <a:pt x="1637347" y="1582102"/>
                    <a:pt x="1626870" y="1582102"/>
                  </a:cubicBezTo>
                  <a:cubicBezTo>
                    <a:pt x="1616392" y="1582102"/>
                    <a:pt x="1607820" y="1573529"/>
                    <a:pt x="1607820" y="1563052"/>
                  </a:cubicBezTo>
                  <a:cubicBezTo>
                    <a:pt x="1607820" y="1552574"/>
                    <a:pt x="1616392" y="1544002"/>
                    <a:pt x="1626870" y="1544002"/>
                  </a:cubicBezTo>
                  <a:close/>
                  <a:moveTo>
                    <a:pt x="545782" y="1539240"/>
                  </a:moveTo>
                  <a:cubicBezTo>
                    <a:pt x="557212" y="1539240"/>
                    <a:pt x="566737" y="1548765"/>
                    <a:pt x="566737" y="1560195"/>
                  </a:cubicBezTo>
                  <a:cubicBezTo>
                    <a:pt x="566737" y="1571625"/>
                    <a:pt x="557212" y="1581150"/>
                    <a:pt x="545782" y="1581150"/>
                  </a:cubicBezTo>
                  <a:cubicBezTo>
                    <a:pt x="534352" y="1581150"/>
                    <a:pt x="524827" y="1571625"/>
                    <a:pt x="524827" y="1560195"/>
                  </a:cubicBezTo>
                  <a:cubicBezTo>
                    <a:pt x="524827" y="1548765"/>
                    <a:pt x="534352" y="1539240"/>
                    <a:pt x="545782" y="1539240"/>
                  </a:cubicBezTo>
                  <a:close/>
                  <a:moveTo>
                    <a:pt x="657225" y="1538287"/>
                  </a:moveTo>
                  <a:cubicBezTo>
                    <a:pt x="668655" y="1538287"/>
                    <a:pt x="677228" y="1546859"/>
                    <a:pt x="677228" y="1558290"/>
                  </a:cubicBezTo>
                  <a:cubicBezTo>
                    <a:pt x="677228" y="1569720"/>
                    <a:pt x="668655" y="1578292"/>
                    <a:pt x="657225" y="1578292"/>
                  </a:cubicBezTo>
                  <a:cubicBezTo>
                    <a:pt x="645796" y="1578292"/>
                    <a:pt x="637223" y="1568767"/>
                    <a:pt x="637223" y="1558290"/>
                  </a:cubicBezTo>
                  <a:cubicBezTo>
                    <a:pt x="637223" y="1546859"/>
                    <a:pt x="645796" y="1538287"/>
                    <a:pt x="657225" y="1538287"/>
                  </a:cubicBezTo>
                  <a:close/>
                  <a:moveTo>
                    <a:pt x="437198" y="1538287"/>
                  </a:moveTo>
                  <a:cubicBezTo>
                    <a:pt x="447675" y="1538287"/>
                    <a:pt x="456248" y="1546859"/>
                    <a:pt x="456248" y="1557337"/>
                  </a:cubicBezTo>
                  <a:cubicBezTo>
                    <a:pt x="456248" y="1567815"/>
                    <a:pt x="447675" y="1576387"/>
                    <a:pt x="437198" y="1576387"/>
                  </a:cubicBezTo>
                  <a:cubicBezTo>
                    <a:pt x="426720" y="1576387"/>
                    <a:pt x="418148" y="1567815"/>
                    <a:pt x="418148" y="1557337"/>
                  </a:cubicBezTo>
                  <a:cubicBezTo>
                    <a:pt x="418148" y="1546859"/>
                    <a:pt x="426720" y="1538287"/>
                    <a:pt x="437198" y="1538287"/>
                  </a:cubicBezTo>
                  <a:close/>
                  <a:moveTo>
                    <a:pt x="1300163" y="1534477"/>
                  </a:moveTo>
                  <a:cubicBezTo>
                    <a:pt x="1307783" y="1534477"/>
                    <a:pt x="1314450" y="1541144"/>
                    <a:pt x="1314450" y="1548765"/>
                  </a:cubicBezTo>
                  <a:cubicBezTo>
                    <a:pt x="1314450" y="1556384"/>
                    <a:pt x="1307783" y="1563052"/>
                    <a:pt x="1300163" y="1563052"/>
                  </a:cubicBezTo>
                  <a:cubicBezTo>
                    <a:pt x="1292542" y="1563052"/>
                    <a:pt x="1285875" y="1556384"/>
                    <a:pt x="1285875" y="1548765"/>
                  </a:cubicBezTo>
                  <a:cubicBezTo>
                    <a:pt x="1285875" y="1541144"/>
                    <a:pt x="1292542" y="1534477"/>
                    <a:pt x="1300163" y="1534477"/>
                  </a:cubicBezTo>
                  <a:close/>
                  <a:moveTo>
                    <a:pt x="946785" y="1534477"/>
                  </a:moveTo>
                  <a:cubicBezTo>
                    <a:pt x="957262" y="1534477"/>
                    <a:pt x="965835" y="1543049"/>
                    <a:pt x="965835" y="1553527"/>
                  </a:cubicBezTo>
                  <a:cubicBezTo>
                    <a:pt x="965835" y="1564004"/>
                    <a:pt x="957262" y="1572577"/>
                    <a:pt x="946785" y="1572577"/>
                  </a:cubicBezTo>
                  <a:cubicBezTo>
                    <a:pt x="936308" y="1572577"/>
                    <a:pt x="927735" y="1564004"/>
                    <a:pt x="927735" y="1553527"/>
                  </a:cubicBezTo>
                  <a:cubicBezTo>
                    <a:pt x="927735" y="1543049"/>
                    <a:pt x="936308" y="1534477"/>
                    <a:pt x="946785" y="1534477"/>
                  </a:cubicBezTo>
                  <a:close/>
                  <a:moveTo>
                    <a:pt x="1827848" y="1532572"/>
                  </a:moveTo>
                  <a:cubicBezTo>
                    <a:pt x="1837373" y="1532572"/>
                    <a:pt x="1844993" y="1540192"/>
                    <a:pt x="1844993" y="1549717"/>
                  </a:cubicBezTo>
                  <a:cubicBezTo>
                    <a:pt x="1844993" y="1559242"/>
                    <a:pt x="1837373" y="1566862"/>
                    <a:pt x="1827848" y="1566862"/>
                  </a:cubicBezTo>
                  <a:cubicBezTo>
                    <a:pt x="1819275" y="1566862"/>
                    <a:pt x="1810703" y="1559242"/>
                    <a:pt x="1810703" y="1549717"/>
                  </a:cubicBezTo>
                  <a:cubicBezTo>
                    <a:pt x="1810703" y="1540192"/>
                    <a:pt x="1818323" y="1532572"/>
                    <a:pt x="1827848" y="1532572"/>
                  </a:cubicBezTo>
                  <a:close/>
                  <a:moveTo>
                    <a:pt x="1358266" y="1532572"/>
                  </a:moveTo>
                  <a:cubicBezTo>
                    <a:pt x="1365885" y="1532572"/>
                    <a:pt x="1372553" y="1539240"/>
                    <a:pt x="1372553" y="1546860"/>
                  </a:cubicBezTo>
                  <a:cubicBezTo>
                    <a:pt x="1372553" y="1554480"/>
                    <a:pt x="1365885" y="1561147"/>
                    <a:pt x="1358266" y="1561147"/>
                  </a:cubicBezTo>
                  <a:cubicBezTo>
                    <a:pt x="1350645" y="1561147"/>
                    <a:pt x="1343978" y="1554480"/>
                    <a:pt x="1343978" y="1546860"/>
                  </a:cubicBezTo>
                  <a:cubicBezTo>
                    <a:pt x="1343978" y="1539240"/>
                    <a:pt x="1350645" y="1532572"/>
                    <a:pt x="1358266" y="1532572"/>
                  </a:cubicBezTo>
                  <a:close/>
                  <a:moveTo>
                    <a:pt x="1243012" y="1531620"/>
                  </a:moveTo>
                  <a:cubicBezTo>
                    <a:pt x="1251585" y="1531620"/>
                    <a:pt x="1258252" y="1538287"/>
                    <a:pt x="1258252" y="1546860"/>
                  </a:cubicBezTo>
                  <a:cubicBezTo>
                    <a:pt x="1258252" y="1555433"/>
                    <a:pt x="1251585" y="1562100"/>
                    <a:pt x="1243012" y="1562100"/>
                  </a:cubicBezTo>
                  <a:cubicBezTo>
                    <a:pt x="1234440" y="1562100"/>
                    <a:pt x="1227772" y="1555433"/>
                    <a:pt x="1227772" y="1546860"/>
                  </a:cubicBezTo>
                  <a:cubicBezTo>
                    <a:pt x="1227772" y="1538287"/>
                    <a:pt x="1234440" y="1531620"/>
                    <a:pt x="1243012" y="1531620"/>
                  </a:cubicBezTo>
                  <a:close/>
                  <a:moveTo>
                    <a:pt x="332423" y="1530667"/>
                  </a:moveTo>
                  <a:cubicBezTo>
                    <a:pt x="342900" y="1530667"/>
                    <a:pt x="351473" y="1539240"/>
                    <a:pt x="351473" y="1549717"/>
                  </a:cubicBezTo>
                  <a:cubicBezTo>
                    <a:pt x="351473" y="1560195"/>
                    <a:pt x="342900" y="1568767"/>
                    <a:pt x="332423" y="1568767"/>
                  </a:cubicBezTo>
                  <a:cubicBezTo>
                    <a:pt x="321945" y="1568767"/>
                    <a:pt x="313373" y="1560195"/>
                    <a:pt x="313373" y="1549717"/>
                  </a:cubicBezTo>
                  <a:cubicBezTo>
                    <a:pt x="313373" y="1539240"/>
                    <a:pt x="321945" y="1530667"/>
                    <a:pt x="332423" y="1530667"/>
                  </a:cubicBezTo>
                  <a:close/>
                  <a:moveTo>
                    <a:pt x="1415415" y="1529715"/>
                  </a:moveTo>
                  <a:cubicBezTo>
                    <a:pt x="1422254" y="1529715"/>
                    <a:pt x="1427798" y="1535259"/>
                    <a:pt x="1427798" y="1542097"/>
                  </a:cubicBezTo>
                  <a:cubicBezTo>
                    <a:pt x="1427798" y="1548936"/>
                    <a:pt x="1422254" y="1554480"/>
                    <a:pt x="1415415" y="1554480"/>
                  </a:cubicBezTo>
                  <a:cubicBezTo>
                    <a:pt x="1408577" y="1554480"/>
                    <a:pt x="1403033" y="1548936"/>
                    <a:pt x="1403033" y="1542097"/>
                  </a:cubicBezTo>
                  <a:cubicBezTo>
                    <a:pt x="1403033" y="1535259"/>
                    <a:pt x="1408577" y="1529715"/>
                    <a:pt x="1415415" y="1529715"/>
                  </a:cubicBezTo>
                  <a:close/>
                  <a:moveTo>
                    <a:pt x="773429" y="1529715"/>
                  </a:moveTo>
                  <a:cubicBezTo>
                    <a:pt x="784860" y="1529715"/>
                    <a:pt x="793432" y="1539240"/>
                    <a:pt x="793432" y="1549717"/>
                  </a:cubicBezTo>
                  <a:cubicBezTo>
                    <a:pt x="793432" y="1561147"/>
                    <a:pt x="783907" y="1569720"/>
                    <a:pt x="773429" y="1569720"/>
                  </a:cubicBezTo>
                  <a:cubicBezTo>
                    <a:pt x="762000" y="1569720"/>
                    <a:pt x="753427" y="1560195"/>
                    <a:pt x="753427" y="1549717"/>
                  </a:cubicBezTo>
                  <a:cubicBezTo>
                    <a:pt x="753427" y="1538287"/>
                    <a:pt x="762952" y="1529715"/>
                    <a:pt x="773429" y="1529715"/>
                  </a:cubicBezTo>
                  <a:close/>
                  <a:moveTo>
                    <a:pt x="1967866" y="1528762"/>
                  </a:moveTo>
                  <a:cubicBezTo>
                    <a:pt x="1975485" y="1528762"/>
                    <a:pt x="1982153" y="1535429"/>
                    <a:pt x="1982153" y="1543050"/>
                  </a:cubicBezTo>
                  <a:cubicBezTo>
                    <a:pt x="1982153" y="1550670"/>
                    <a:pt x="1976438" y="1557337"/>
                    <a:pt x="1967866" y="1557337"/>
                  </a:cubicBezTo>
                  <a:cubicBezTo>
                    <a:pt x="1960245" y="1557337"/>
                    <a:pt x="1953578" y="1550670"/>
                    <a:pt x="1953578" y="1543050"/>
                  </a:cubicBezTo>
                  <a:cubicBezTo>
                    <a:pt x="1953578" y="1535429"/>
                    <a:pt x="1959293" y="1528762"/>
                    <a:pt x="1967866" y="1528762"/>
                  </a:cubicBezTo>
                  <a:close/>
                  <a:moveTo>
                    <a:pt x="1185862" y="1528762"/>
                  </a:moveTo>
                  <a:cubicBezTo>
                    <a:pt x="1193482" y="1528762"/>
                    <a:pt x="1200150" y="1534477"/>
                    <a:pt x="1200150" y="1543050"/>
                  </a:cubicBezTo>
                  <a:cubicBezTo>
                    <a:pt x="1200150" y="1550670"/>
                    <a:pt x="1194435" y="1557337"/>
                    <a:pt x="1185862" y="1557337"/>
                  </a:cubicBezTo>
                  <a:cubicBezTo>
                    <a:pt x="1177290" y="1557337"/>
                    <a:pt x="1170622" y="1550670"/>
                    <a:pt x="1171575" y="1543050"/>
                  </a:cubicBezTo>
                  <a:cubicBezTo>
                    <a:pt x="1171575" y="1535429"/>
                    <a:pt x="1178242" y="1528762"/>
                    <a:pt x="1185862" y="1528762"/>
                  </a:cubicBezTo>
                  <a:close/>
                  <a:moveTo>
                    <a:pt x="1681162" y="1526857"/>
                  </a:moveTo>
                  <a:cubicBezTo>
                    <a:pt x="1690687" y="1526857"/>
                    <a:pt x="1698307" y="1534477"/>
                    <a:pt x="1698307" y="1544002"/>
                  </a:cubicBezTo>
                  <a:cubicBezTo>
                    <a:pt x="1698307" y="1553527"/>
                    <a:pt x="1690687" y="1561147"/>
                    <a:pt x="1681162" y="1561147"/>
                  </a:cubicBezTo>
                  <a:cubicBezTo>
                    <a:pt x="1672590" y="1561147"/>
                    <a:pt x="1664970" y="1553527"/>
                    <a:pt x="1664017" y="1544002"/>
                  </a:cubicBezTo>
                  <a:cubicBezTo>
                    <a:pt x="1664017" y="1534477"/>
                    <a:pt x="1671637" y="1526857"/>
                    <a:pt x="1681162" y="1526857"/>
                  </a:cubicBezTo>
                  <a:close/>
                  <a:moveTo>
                    <a:pt x="1472566" y="1522095"/>
                  </a:moveTo>
                  <a:cubicBezTo>
                    <a:pt x="1479233" y="1522095"/>
                    <a:pt x="1484948" y="1527810"/>
                    <a:pt x="1484948" y="1534478"/>
                  </a:cubicBezTo>
                  <a:cubicBezTo>
                    <a:pt x="1484948" y="1541145"/>
                    <a:pt x="1479233" y="1546860"/>
                    <a:pt x="1472566" y="1546860"/>
                  </a:cubicBezTo>
                  <a:cubicBezTo>
                    <a:pt x="1465898" y="1546860"/>
                    <a:pt x="1460183" y="1541145"/>
                    <a:pt x="1460183" y="1534478"/>
                  </a:cubicBezTo>
                  <a:cubicBezTo>
                    <a:pt x="1460183" y="1527810"/>
                    <a:pt x="1465898" y="1522095"/>
                    <a:pt x="1472566" y="1522095"/>
                  </a:cubicBezTo>
                  <a:close/>
                  <a:moveTo>
                    <a:pt x="2101215" y="1519237"/>
                  </a:moveTo>
                  <a:cubicBezTo>
                    <a:pt x="2104072" y="1519237"/>
                    <a:pt x="2106930" y="1522095"/>
                    <a:pt x="2106930" y="1524952"/>
                  </a:cubicBezTo>
                  <a:cubicBezTo>
                    <a:pt x="2106930" y="1527809"/>
                    <a:pt x="2104072" y="1530667"/>
                    <a:pt x="2101215" y="1530667"/>
                  </a:cubicBezTo>
                  <a:cubicBezTo>
                    <a:pt x="2098358" y="1530667"/>
                    <a:pt x="2096453" y="1528762"/>
                    <a:pt x="2095500" y="1524952"/>
                  </a:cubicBezTo>
                  <a:cubicBezTo>
                    <a:pt x="2095500" y="1522095"/>
                    <a:pt x="2098358" y="1519237"/>
                    <a:pt x="2101215" y="1519237"/>
                  </a:cubicBezTo>
                  <a:close/>
                  <a:moveTo>
                    <a:pt x="1128712" y="1516379"/>
                  </a:moveTo>
                  <a:cubicBezTo>
                    <a:pt x="1138237" y="1516379"/>
                    <a:pt x="1145857" y="1523999"/>
                    <a:pt x="1145857" y="1533524"/>
                  </a:cubicBezTo>
                  <a:cubicBezTo>
                    <a:pt x="1145857" y="1543049"/>
                    <a:pt x="1138237" y="1550669"/>
                    <a:pt x="1128712" y="1550669"/>
                  </a:cubicBezTo>
                  <a:cubicBezTo>
                    <a:pt x="1119187" y="1550669"/>
                    <a:pt x="1111567" y="1543049"/>
                    <a:pt x="1111567" y="1533524"/>
                  </a:cubicBezTo>
                  <a:cubicBezTo>
                    <a:pt x="1111567" y="1523999"/>
                    <a:pt x="1119187" y="1516379"/>
                    <a:pt x="1128712" y="1516379"/>
                  </a:cubicBezTo>
                  <a:close/>
                  <a:moveTo>
                    <a:pt x="892492" y="1515427"/>
                  </a:moveTo>
                  <a:cubicBezTo>
                    <a:pt x="902017" y="1515427"/>
                    <a:pt x="910590" y="1523999"/>
                    <a:pt x="910590" y="1533524"/>
                  </a:cubicBezTo>
                  <a:cubicBezTo>
                    <a:pt x="910590" y="1543049"/>
                    <a:pt x="902970" y="1551622"/>
                    <a:pt x="892492" y="1551622"/>
                  </a:cubicBezTo>
                  <a:cubicBezTo>
                    <a:pt x="882967" y="1551622"/>
                    <a:pt x="874395" y="1543049"/>
                    <a:pt x="874395" y="1533524"/>
                  </a:cubicBezTo>
                  <a:cubicBezTo>
                    <a:pt x="874395" y="1523999"/>
                    <a:pt x="882015" y="1515427"/>
                    <a:pt x="892492" y="1515427"/>
                  </a:cubicBezTo>
                  <a:close/>
                  <a:moveTo>
                    <a:pt x="1529715" y="1509712"/>
                  </a:moveTo>
                  <a:cubicBezTo>
                    <a:pt x="1537335" y="1509712"/>
                    <a:pt x="1543050" y="1515427"/>
                    <a:pt x="1543050" y="1523047"/>
                  </a:cubicBezTo>
                  <a:cubicBezTo>
                    <a:pt x="1543050" y="1530667"/>
                    <a:pt x="1537335" y="1536382"/>
                    <a:pt x="1529715" y="1536382"/>
                  </a:cubicBezTo>
                  <a:cubicBezTo>
                    <a:pt x="1522095" y="1536382"/>
                    <a:pt x="1516380" y="1529715"/>
                    <a:pt x="1516380" y="1523047"/>
                  </a:cubicBezTo>
                  <a:cubicBezTo>
                    <a:pt x="1516380" y="1515427"/>
                    <a:pt x="1522095" y="1509712"/>
                    <a:pt x="1529715" y="1509712"/>
                  </a:cubicBezTo>
                  <a:close/>
                  <a:moveTo>
                    <a:pt x="1071563" y="1507807"/>
                  </a:moveTo>
                  <a:cubicBezTo>
                    <a:pt x="1080136" y="1507807"/>
                    <a:pt x="1086803" y="1514474"/>
                    <a:pt x="1086803" y="1523047"/>
                  </a:cubicBezTo>
                  <a:cubicBezTo>
                    <a:pt x="1086803" y="1531620"/>
                    <a:pt x="1080136" y="1538287"/>
                    <a:pt x="1071563" y="1538287"/>
                  </a:cubicBezTo>
                  <a:cubicBezTo>
                    <a:pt x="1062990" y="1538287"/>
                    <a:pt x="1056323" y="1531620"/>
                    <a:pt x="1056323" y="1523047"/>
                  </a:cubicBezTo>
                  <a:cubicBezTo>
                    <a:pt x="1056323" y="1514474"/>
                    <a:pt x="1062990" y="1507807"/>
                    <a:pt x="1071563" y="1507807"/>
                  </a:cubicBezTo>
                  <a:close/>
                  <a:moveTo>
                    <a:pt x="1878330" y="1504950"/>
                  </a:moveTo>
                  <a:cubicBezTo>
                    <a:pt x="1887855" y="1504950"/>
                    <a:pt x="1895475" y="1512570"/>
                    <a:pt x="1895475" y="1522095"/>
                  </a:cubicBezTo>
                  <a:cubicBezTo>
                    <a:pt x="1895475" y="1531620"/>
                    <a:pt x="1887855" y="1539240"/>
                    <a:pt x="1878330" y="1539240"/>
                  </a:cubicBezTo>
                  <a:cubicBezTo>
                    <a:pt x="1869758" y="1539240"/>
                    <a:pt x="1861185" y="1531620"/>
                    <a:pt x="1861185" y="1522095"/>
                  </a:cubicBezTo>
                  <a:cubicBezTo>
                    <a:pt x="1861185" y="1512570"/>
                    <a:pt x="1868805" y="1504950"/>
                    <a:pt x="1878330" y="1504950"/>
                  </a:cubicBezTo>
                  <a:close/>
                  <a:moveTo>
                    <a:pt x="1735455" y="1504950"/>
                  </a:moveTo>
                  <a:cubicBezTo>
                    <a:pt x="1744980" y="1504950"/>
                    <a:pt x="1752600" y="1512570"/>
                    <a:pt x="1752600" y="1522095"/>
                  </a:cubicBezTo>
                  <a:cubicBezTo>
                    <a:pt x="1752600" y="1531620"/>
                    <a:pt x="1744980" y="1539240"/>
                    <a:pt x="1735455" y="1539240"/>
                  </a:cubicBezTo>
                  <a:cubicBezTo>
                    <a:pt x="1725930" y="1539240"/>
                    <a:pt x="1718310" y="1531620"/>
                    <a:pt x="1718310" y="1522095"/>
                  </a:cubicBezTo>
                  <a:cubicBezTo>
                    <a:pt x="1718310" y="1512570"/>
                    <a:pt x="1725930" y="1504950"/>
                    <a:pt x="1735455" y="1504950"/>
                  </a:cubicBezTo>
                  <a:close/>
                  <a:moveTo>
                    <a:pt x="608647" y="1504950"/>
                  </a:moveTo>
                  <a:cubicBezTo>
                    <a:pt x="620077" y="1504950"/>
                    <a:pt x="629602" y="1514475"/>
                    <a:pt x="629602" y="1525905"/>
                  </a:cubicBezTo>
                  <a:cubicBezTo>
                    <a:pt x="629602" y="1537335"/>
                    <a:pt x="620077" y="1546860"/>
                    <a:pt x="608647" y="1546860"/>
                  </a:cubicBezTo>
                  <a:cubicBezTo>
                    <a:pt x="597217" y="1546860"/>
                    <a:pt x="588645" y="1538288"/>
                    <a:pt x="587692" y="1525905"/>
                  </a:cubicBezTo>
                  <a:cubicBezTo>
                    <a:pt x="587692" y="1514475"/>
                    <a:pt x="597217" y="1504950"/>
                    <a:pt x="608647" y="1504950"/>
                  </a:cubicBezTo>
                  <a:close/>
                  <a:moveTo>
                    <a:pt x="499110" y="1504950"/>
                  </a:moveTo>
                  <a:cubicBezTo>
                    <a:pt x="510540" y="1504950"/>
                    <a:pt x="520065" y="1514475"/>
                    <a:pt x="520065" y="1525905"/>
                  </a:cubicBezTo>
                  <a:cubicBezTo>
                    <a:pt x="520065" y="1537335"/>
                    <a:pt x="510540" y="1546860"/>
                    <a:pt x="499110" y="1546860"/>
                  </a:cubicBezTo>
                  <a:cubicBezTo>
                    <a:pt x="487680" y="1546860"/>
                    <a:pt x="478155" y="1537335"/>
                    <a:pt x="478155" y="1525905"/>
                  </a:cubicBezTo>
                  <a:cubicBezTo>
                    <a:pt x="478155" y="1514475"/>
                    <a:pt x="487680" y="1504950"/>
                    <a:pt x="499110" y="1504950"/>
                  </a:cubicBezTo>
                  <a:close/>
                  <a:moveTo>
                    <a:pt x="291465" y="1504950"/>
                  </a:moveTo>
                  <a:cubicBezTo>
                    <a:pt x="294323" y="1504950"/>
                    <a:pt x="296228" y="1506855"/>
                    <a:pt x="296228" y="1509713"/>
                  </a:cubicBezTo>
                  <a:cubicBezTo>
                    <a:pt x="296228" y="1512570"/>
                    <a:pt x="294323" y="1514475"/>
                    <a:pt x="291465" y="1514475"/>
                  </a:cubicBezTo>
                  <a:cubicBezTo>
                    <a:pt x="288608" y="1514475"/>
                    <a:pt x="285750" y="1512570"/>
                    <a:pt x="286703" y="1509713"/>
                  </a:cubicBezTo>
                  <a:cubicBezTo>
                    <a:pt x="286703" y="1506855"/>
                    <a:pt x="288608" y="1504950"/>
                    <a:pt x="291465" y="1504950"/>
                  </a:cubicBezTo>
                  <a:close/>
                  <a:moveTo>
                    <a:pt x="721995" y="1501140"/>
                  </a:moveTo>
                  <a:cubicBezTo>
                    <a:pt x="733425" y="1501140"/>
                    <a:pt x="742950" y="1510665"/>
                    <a:pt x="742950" y="1522095"/>
                  </a:cubicBezTo>
                  <a:cubicBezTo>
                    <a:pt x="742950" y="1533525"/>
                    <a:pt x="733425" y="1543050"/>
                    <a:pt x="721995" y="1543050"/>
                  </a:cubicBezTo>
                  <a:cubicBezTo>
                    <a:pt x="710565" y="1543050"/>
                    <a:pt x="701992" y="1533525"/>
                    <a:pt x="701040" y="1522095"/>
                  </a:cubicBezTo>
                  <a:cubicBezTo>
                    <a:pt x="701040" y="1510665"/>
                    <a:pt x="710565" y="1501140"/>
                    <a:pt x="721995" y="1501140"/>
                  </a:cubicBezTo>
                  <a:close/>
                  <a:moveTo>
                    <a:pt x="393382" y="1498282"/>
                  </a:moveTo>
                  <a:cubicBezTo>
                    <a:pt x="404812" y="1498282"/>
                    <a:pt x="414337" y="1507807"/>
                    <a:pt x="414337" y="1519237"/>
                  </a:cubicBezTo>
                  <a:cubicBezTo>
                    <a:pt x="414337" y="1530667"/>
                    <a:pt x="404812" y="1540192"/>
                    <a:pt x="393382" y="1540192"/>
                  </a:cubicBezTo>
                  <a:cubicBezTo>
                    <a:pt x="381952" y="1540192"/>
                    <a:pt x="372427" y="1530667"/>
                    <a:pt x="372427" y="1519237"/>
                  </a:cubicBezTo>
                  <a:cubicBezTo>
                    <a:pt x="372427" y="1507807"/>
                    <a:pt x="381952" y="1498282"/>
                    <a:pt x="393382" y="1498282"/>
                  </a:cubicBezTo>
                  <a:close/>
                  <a:moveTo>
                    <a:pt x="2015491" y="1495425"/>
                  </a:moveTo>
                  <a:cubicBezTo>
                    <a:pt x="2023110" y="1495425"/>
                    <a:pt x="2029778" y="1502092"/>
                    <a:pt x="2029778" y="1509713"/>
                  </a:cubicBezTo>
                  <a:cubicBezTo>
                    <a:pt x="2029778" y="1517333"/>
                    <a:pt x="2023110" y="1524000"/>
                    <a:pt x="2015491" y="1524000"/>
                  </a:cubicBezTo>
                  <a:cubicBezTo>
                    <a:pt x="2007870" y="1524000"/>
                    <a:pt x="2001203" y="1518285"/>
                    <a:pt x="2001203" y="1509713"/>
                  </a:cubicBezTo>
                  <a:cubicBezTo>
                    <a:pt x="2001203" y="1502092"/>
                    <a:pt x="2007870" y="1495425"/>
                    <a:pt x="2015491" y="1495425"/>
                  </a:cubicBezTo>
                  <a:close/>
                  <a:moveTo>
                    <a:pt x="1584960" y="1495425"/>
                  </a:moveTo>
                  <a:cubicBezTo>
                    <a:pt x="1591628" y="1495425"/>
                    <a:pt x="1597343" y="1501140"/>
                    <a:pt x="1597343" y="1507808"/>
                  </a:cubicBezTo>
                  <a:cubicBezTo>
                    <a:pt x="1597343" y="1514475"/>
                    <a:pt x="1591628" y="1520190"/>
                    <a:pt x="1584960" y="1520190"/>
                  </a:cubicBezTo>
                  <a:cubicBezTo>
                    <a:pt x="1578293" y="1520190"/>
                    <a:pt x="1572578" y="1515428"/>
                    <a:pt x="1572578" y="1507808"/>
                  </a:cubicBezTo>
                  <a:cubicBezTo>
                    <a:pt x="1572578" y="1501140"/>
                    <a:pt x="1578293" y="1495425"/>
                    <a:pt x="1584960" y="1495425"/>
                  </a:cubicBezTo>
                  <a:close/>
                  <a:moveTo>
                    <a:pt x="840105" y="1492567"/>
                  </a:moveTo>
                  <a:cubicBezTo>
                    <a:pt x="849630" y="1492567"/>
                    <a:pt x="858203" y="1500187"/>
                    <a:pt x="858203" y="1510665"/>
                  </a:cubicBezTo>
                  <a:cubicBezTo>
                    <a:pt x="858203" y="1520190"/>
                    <a:pt x="850583" y="1528762"/>
                    <a:pt x="840105" y="1528762"/>
                  </a:cubicBezTo>
                  <a:cubicBezTo>
                    <a:pt x="829628" y="1528762"/>
                    <a:pt x="822008" y="1521142"/>
                    <a:pt x="822008" y="1510665"/>
                  </a:cubicBezTo>
                  <a:cubicBezTo>
                    <a:pt x="822008" y="1501140"/>
                    <a:pt x="829628" y="1492567"/>
                    <a:pt x="840105" y="1492567"/>
                  </a:cubicBezTo>
                  <a:close/>
                  <a:moveTo>
                    <a:pt x="1016317" y="1491615"/>
                  </a:moveTo>
                  <a:cubicBezTo>
                    <a:pt x="1024890" y="1491615"/>
                    <a:pt x="1032510" y="1499235"/>
                    <a:pt x="1032510" y="1507807"/>
                  </a:cubicBezTo>
                  <a:cubicBezTo>
                    <a:pt x="1032510" y="1516380"/>
                    <a:pt x="1024890" y="1524000"/>
                    <a:pt x="1016317" y="1524000"/>
                  </a:cubicBezTo>
                  <a:cubicBezTo>
                    <a:pt x="1006792" y="1524000"/>
                    <a:pt x="1000125" y="1517332"/>
                    <a:pt x="1000125" y="1507807"/>
                  </a:cubicBezTo>
                  <a:cubicBezTo>
                    <a:pt x="1000125" y="1499235"/>
                    <a:pt x="1007745" y="1491615"/>
                    <a:pt x="1016317" y="1491615"/>
                  </a:cubicBezTo>
                  <a:close/>
                  <a:moveTo>
                    <a:pt x="2145982" y="1483995"/>
                  </a:moveTo>
                  <a:cubicBezTo>
                    <a:pt x="2147887" y="1483995"/>
                    <a:pt x="2149792" y="1485900"/>
                    <a:pt x="2149792" y="1487805"/>
                  </a:cubicBezTo>
                  <a:cubicBezTo>
                    <a:pt x="2149792" y="1489710"/>
                    <a:pt x="2147887" y="1491615"/>
                    <a:pt x="2145982" y="1491615"/>
                  </a:cubicBezTo>
                  <a:cubicBezTo>
                    <a:pt x="2144077" y="1491615"/>
                    <a:pt x="2142172" y="1490662"/>
                    <a:pt x="2142172" y="1487805"/>
                  </a:cubicBezTo>
                  <a:cubicBezTo>
                    <a:pt x="2142172" y="1485900"/>
                    <a:pt x="2144077" y="1483995"/>
                    <a:pt x="2145982" y="1483995"/>
                  </a:cubicBezTo>
                  <a:close/>
                  <a:moveTo>
                    <a:pt x="1787842" y="1481137"/>
                  </a:moveTo>
                  <a:cubicBezTo>
                    <a:pt x="1797367" y="1481137"/>
                    <a:pt x="1804987" y="1488757"/>
                    <a:pt x="1804987" y="1498282"/>
                  </a:cubicBezTo>
                  <a:cubicBezTo>
                    <a:pt x="1804987" y="1507807"/>
                    <a:pt x="1797367" y="1515427"/>
                    <a:pt x="1787842" y="1515427"/>
                  </a:cubicBezTo>
                  <a:cubicBezTo>
                    <a:pt x="1778317" y="1515427"/>
                    <a:pt x="1770697" y="1507807"/>
                    <a:pt x="1770697" y="1498282"/>
                  </a:cubicBezTo>
                  <a:cubicBezTo>
                    <a:pt x="1770697" y="1488757"/>
                    <a:pt x="1778317" y="1481137"/>
                    <a:pt x="1787842" y="1481137"/>
                  </a:cubicBezTo>
                  <a:close/>
                  <a:moveTo>
                    <a:pt x="1640205" y="1479232"/>
                  </a:moveTo>
                  <a:cubicBezTo>
                    <a:pt x="1646872" y="1479232"/>
                    <a:pt x="1651635" y="1483995"/>
                    <a:pt x="1651635" y="1490662"/>
                  </a:cubicBezTo>
                  <a:cubicBezTo>
                    <a:pt x="1651635" y="1497329"/>
                    <a:pt x="1646872" y="1502092"/>
                    <a:pt x="1640205" y="1502092"/>
                  </a:cubicBezTo>
                  <a:cubicBezTo>
                    <a:pt x="1633538" y="1502092"/>
                    <a:pt x="1628775" y="1497329"/>
                    <a:pt x="1628775" y="1490662"/>
                  </a:cubicBezTo>
                  <a:cubicBezTo>
                    <a:pt x="1628775" y="1483995"/>
                    <a:pt x="1633538" y="1479232"/>
                    <a:pt x="1640205" y="1479232"/>
                  </a:cubicBezTo>
                  <a:close/>
                  <a:moveTo>
                    <a:pt x="1927860" y="1478279"/>
                  </a:moveTo>
                  <a:cubicBezTo>
                    <a:pt x="1935480" y="1478279"/>
                    <a:pt x="1942147" y="1483994"/>
                    <a:pt x="1942147" y="1492567"/>
                  </a:cubicBezTo>
                  <a:cubicBezTo>
                    <a:pt x="1942147" y="1500187"/>
                    <a:pt x="1936432" y="1506854"/>
                    <a:pt x="1927860" y="1506854"/>
                  </a:cubicBezTo>
                  <a:cubicBezTo>
                    <a:pt x="1920240" y="1506854"/>
                    <a:pt x="1913572" y="1500187"/>
                    <a:pt x="1913572" y="1492567"/>
                  </a:cubicBezTo>
                  <a:cubicBezTo>
                    <a:pt x="1913572" y="1484946"/>
                    <a:pt x="1919287" y="1478279"/>
                    <a:pt x="1927860" y="1478279"/>
                  </a:cubicBezTo>
                  <a:close/>
                  <a:moveTo>
                    <a:pt x="961073" y="1476375"/>
                  </a:moveTo>
                  <a:cubicBezTo>
                    <a:pt x="969646" y="1476375"/>
                    <a:pt x="976313" y="1483042"/>
                    <a:pt x="976313" y="1491615"/>
                  </a:cubicBezTo>
                  <a:cubicBezTo>
                    <a:pt x="976313" y="1500188"/>
                    <a:pt x="969646" y="1506855"/>
                    <a:pt x="961073" y="1506855"/>
                  </a:cubicBezTo>
                  <a:cubicBezTo>
                    <a:pt x="952500" y="1506855"/>
                    <a:pt x="945833" y="1499235"/>
                    <a:pt x="945833" y="1491615"/>
                  </a:cubicBezTo>
                  <a:cubicBezTo>
                    <a:pt x="945833" y="1483042"/>
                    <a:pt x="952500" y="1476375"/>
                    <a:pt x="961073" y="1476375"/>
                  </a:cubicBezTo>
                  <a:close/>
                  <a:moveTo>
                    <a:pt x="1315403" y="1475422"/>
                  </a:moveTo>
                  <a:cubicBezTo>
                    <a:pt x="1320165" y="1475422"/>
                    <a:pt x="1323975" y="1479232"/>
                    <a:pt x="1323975" y="1483995"/>
                  </a:cubicBezTo>
                  <a:cubicBezTo>
                    <a:pt x="1323975" y="1488757"/>
                    <a:pt x="1320165" y="1492567"/>
                    <a:pt x="1315403" y="1492567"/>
                  </a:cubicBezTo>
                  <a:cubicBezTo>
                    <a:pt x="1310640" y="1492567"/>
                    <a:pt x="1306830" y="1488757"/>
                    <a:pt x="1306830" y="1483995"/>
                  </a:cubicBezTo>
                  <a:cubicBezTo>
                    <a:pt x="1306830" y="1479232"/>
                    <a:pt x="1310640" y="1475422"/>
                    <a:pt x="1315403" y="1475422"/>
                  </a:cubicBezTo>
                  <a:close/>
                  <a:moveTo>
                    <a:pt x="1372553" y="1474470"/>
                  </a:moveTo>
                  <a:cubicBezTo>
                    <a:pt x="1376363" y="1474470"/>
                    <a:pt x="1380173" y="1478280"/>
                    <a:pt x="1380173" y="1482090"/>
                  </a:cubicBezTo>
                  <a:cubicBezTo>
                    <a:pt x="1380173" y="1485900"/>
                    <a:pt x="1376363" y="1489710"/>
                    <a:pt x="1372553" y="1489710"/>
                  </a:cubicBezTo>
                  <a:cubicBezTo>
                    <a:pt x="1368743" y="1489710"/>
                    <a:pt x="1364933" y="1485900"/>
                    <a:pt x="1364933" y="1482090"/>
                  </a:cubicBezTo>
                  <a:cubicBezTo>
                    <a:pt x="1364933" y="1478280"/>
                    <a:pt x="1368743" y="1474470"/>
                    <a:pt x="1372553" y="1474470"/>
                  </a:cubicBezTo>
                  <a:close/>
                  <a:moveTo>
                    <a:pt x="1257300" y="1473517"/>
                  </a:moveTo>
                  <a:cubicBezTo>
                    <a:pt x="1263015" y="1473517"/>
                    <a:pt x="1267777" y="1478280"/>
                    <a:pt x="1267777" y="1483995"/>
                  </a:cubicBezTo>
                  <a:cubicBezTo>
                    <a:pt x="1267777" y="1489709"/>
                    <a:pt x="1263015" y="1494472"/>
                    <a:pt x="1257300" y="1494472"/>
                  </a:cubicBezTo>
                  <a:cubicBezTo>
                    <a:pt x="1251585" y="1494472"/>
                    <a:pt x="1246822" y="1489709"/>
                    <a:pt x="1246822" y="1483995"/>
                  </a:cubicBezTo>
                  <a:cubicBezTo>
                    <a:pt x="1246822" y="1478280"/>
                    <a:pt x="1251585" y="1473517"/>
                    <a:pt x="1257300" y="1473517"/>
                  </a:cubicBezTo>
                  <a:close/>
                  <a:moveTo>
                    <a:pt x="673418" y="1471612"/>
                  </a:moveTo>
                  <a:cubicBezTo>
                    <a:pt x="684848" y="1471612"/>
                    <a:pt x="694373" y="1481137"/>
                    <a:pt x="694373" y="1492567"/>
                  </a:cubicBezTo>
                  <a:cubicBezTo>
                    <a:pt x="694373" y="1503997"/>
                    <a:pt x="684848" y="1513522"/>
                    <a:pt x="673418" y="1513522"/>
                  </a:cubicBezTo>
                  <a:cubicBezTo>
                    <a:pt x="661988" y="1513522"/>
                    <a:pt x="652463" y="1503997"/>
                    <a:pt x="652463" y="1492567"/>
                  </a:cubicBezTo>
                  <a:cubicBezTo>
                    <a:pt x="652463" y="1481137"/>
                    <a:pt x="661988" y="1471612"/>
                    <a:pt x="673418" y="1471612"/>
                  </a:cubicBezTo>
                  <a:close/>
                  <a:moveTo>
                    <a:pt x="561975" y="1471612"/>
                  </a:moveTo>
                  <a:cubicBezTo>
                    <a:pt x="573405" y="1471612"/>
                    <a:pt x="582930" y="1481137"/>
                    <a:pt x="582930" y="1492567"/>
                  </a:cubicBezTo>
                  <a:cubicBezTo>
                    <a:pt x="582930" y="1503997"/>
                    <a:pt x="573405" y="1513522"/>
                    <a:pt x="561975" y="1513522"/>
                  </a:cubicBezTo>
                  <a:cubicBezTo>
                    <a:pt x="550545" y="1513522"/>
                    <a:pt x="541972" y="1503997"/>
                    <a:pt x="541020" y="1492567"/>
                  </a:cubicBezTo>
                  <a:cubicBezTo>
                    <a:pt x="541020" y="1481137"/>
                    <a:pt x="550545" y="1471612"/>
                    <a:pt x="561975" y="1471612"/>
                  </a:cubicBezTo>
                  <a:close/>
                  <a:moveTo>
                    <a:pt x="1429703" y="1469707"/>
                  </a:moveTo>
                  <a:cubicBezTo>
                    <a:pt x="1433513" y="1469707"/>
                    <a:pt x="1436370" y="1472565"/>
                    <a:pt x="1436370" y="1476374"/>
                  </a:cubicBezTo>
                  <a:cubicBezTo>
                    <a:pt x="1436370" y="1480184"/>
                    <a:pt x="1433513" y="1483042"/>
                    <a:pt x="1429703" y="1483042"/>
                  </a:cubicBezTo>
                  <a:cubicBezTo>
                    <a:pt x="1425893" y="1483042"/>
                    <a:pt x="1423035" y="1479232"/>
                    <a:pt x="1423035" y="1476374"/>
                  </a:cubicBezTo>
                  <a:cubicBezTo>
                    <a:pt x="1423035" y="1472565"/>
                    <a:pt x="1425893" y="1469707"/>
                    <a:pt x="1429703" y="1469707"/>
                  </a:cubicBezTo>
                  <a:close/>
                  <a:moveTo>
                    <a:pt x="1200150" y="1468754"/>
                  </a:moveTo>
                  <a:cubicBezTo>
                    <a:pt x="1205865" y="1468754"/>
                    <a:pt x="1210627" y="1473517"/>
                    <a:pt x="1210627" y="1479232"/>
                  </a:cubicBezTo>
                  <a:cubicBezTo>
                    <a:pt x="1210627" y="1484946"/>
                    <a:pt x="1205865" y="1489709"/>
                    <a:pt x="1200150" y="1489709"/>
                  </a:cubicBezTo>
                  <a:cubicBezTo>
                    <a:pt x="1193482" y="1489709"/>
                    <a:pt x="1188720" y="1484946"/>
                    <a:pt x="1189672" y="1479232"/>
                  </a:cubicBezTo>
                  <a:cubicBezTo>
                    <a:pt x="1189672" y="1473517"/>
                    <a:pt x="1194435" y="1468754"/>
                    <a:pt x="1200150" y="1468754"/>
                  </a:cubicBezTo>
                  <a:close/>
                  <a:moveTo>
                    <a:pt x="455295" y="1467802"/>
                  </a:moveTo>
                  <a:cubicBezTo>
                    <a:pt x="466725" y="1467802"/>
                    <a:pt x="476250" y="1477327"/>
                    <a:pt x="476250" y="1488757"/>
                  </a:cubicBezTo>
                  <a:cubicBezTo>
                    <a:pt x="476250" y="1500187"/>
                    <a:pt x="466725" y="1509712"/>
                    <a:pt x="455295" y="1509712"/>
                  </a:cubicBezTo>
                  <a:cubicBezTo>
                    <a:pt x="443865" y="1509712"/>
                    <a:pt x="434340" y="1500187"/>
                    <a:pt x="434340" y="1488757"/>
                  </a:cubicBezTo>
                  <a:cubicBezTo>
                    <a:pt x="434340" y="1477327"/>
                    <a:pt x="443865" y="1467802"/>
                    <a:pt x="455295" y="1467802"/>
                  </a:cubicBezTo>
                  <a:close/>
                  <a:moveTo>
                    <a:pt x="787717" y="1466850"/>
                  </a:moveTo>
                  <a:cubicBezTo>
                    <a:pt x="798195" y="1466850"/>
                    <a:pt x="805815" y="1475422"/>
                    <a:pt x="805815" y="1484947"/>
                  </a:cubicBezTo>
                  <a:cubicBezTo>
                    <a:pt x="805815" y="1495425"/>
                    <a:pt x="797242" y="1503045"/>
                    <a:pt x="787717" y="1503045"/>
                  </a:cubicBezTo>
                  <a:cubicBezTo>
                    <a:pt x="778192" y="1503045"/>
                    <a:pt x="770572" y="1495425"/>
                    <a:pt x="769620" y="1484947"/>
                  </a:cubicBezTo>
                  <a:cubicBezTo>
                    <a:pt x="769620" y="1474470"/>
                    <a:pt x="778192" y="1466850"/>
                    <a:pt x="787717" y="1466850"/>
                  </a:cubicBezTo>
                  <a:close/>
                  <a:moveTo>
                    <a:pt x="251460" y="1465897"/>
                  </a:moveTo>
                  <a:cubicBezTo>
                    <a:pt x="252412" y="1465897"/>
                    <a:pt x="253365" y="1466850"/>
                    <a:pt x="253365" y="1467802"/>
                  </a:cubicBezTo>
                  <a:cubicBezTo>
                    <a:pt x="253365" y="1468755"/>
                    <a:pt x="252412" y="1469707"/>
                    <a:pt x="251460" y="1469707"/>
                  </a:cubicBezTo>
                  <a:cubicBezTo>
                    <a:pt x="250507" y="1469707"/>
                    <a:pt x="249555" y="1468755"/>
                    <a:pt x="249555" y="1467802"/>
                  </a:cubicBezTo>
                  <a:cubicBezTo>
                    <a:pt x="249555" y="1466850"/>
                    <a:pt x="250507" y="1465897"/>
                    <a:pt x="251460" y="1465897"/>
                  </a:cubicBezTo>
                  <a:close/>
                  <a:moveTo>
                    <a:pt x="2061210" y="1463992"/>
                  </a:moveTo>
                  <a:cubicBezTo>
                    <a:pt x="2066925" y="1463992"/>
                    <a:pt x="2071688" y="1468755"/>
                    <a:pt x="2071688" y="1474470"/>
                  </a:cubicBezTo>
                  <a:cubicBezTo>
                    <a:pt x="2071688" y="1480184"/>
                    <a:pt x="2066925" y="1484947"/>
                    <a:pt x="2061210" y="1484947"/>
                  </a:cubicBezTo>
                  <a:cubicBezTo>
                    <a:pt x="2056448" y="1484947"/>
                    <a:pt x="2051685" y="1480184"/>
                    <a:pt x="2050733" y="1474470"/>
                  </a:cubicBezTo>
                  <a:cubicBezTo>
                    <a:pt x="2050733" y="1468755"/>
                    <a:pt x="2055496" y="1463992"/>
                    <a:pt x="2061210" y="1463992"/>
                  </a:cubicBezTo>
                  <a:close/>
                  <a:moveTo>
                    <a:pt x="1693546" y="1458277"/>
                  </a:moveTo>
                  <a:cubicBezTo>
                    <a:pt x="1700213" y="1458277"/>
                    <a:pt x="1705928" y="1463992"/>
                    <a:pt x="1705928" y="1470659"/>
                  </a:cubicBezTo>
                  <a:cubicBezTo>
                    <a:pt x="1705928" y="1477327"/>
                    <a:pt x="1700213" y="1483042"/>
                    <a:pt x="1693546" y="1483042"/>
                  </a:cubicBezTo>
                  <a:cubicBezTo>
                    <a:pt x="1686878" y="1483042"/>
                    <a:pt x="1681163" y="1477327"/>
                    <a:pt x="1681163" y="1470659"/>
                  </a:cubicBezTo>
                  <a:cubicBezTo>
                    <a:pt x="1681163" y="1463992"/>
                    <a:pt x="1686878" y="1458277"/>
                    <a:pt x="1693546" y="1458277"/>
                  </a:cubicBezTo>
                  <a:close/>
                  <a:moveTo>
                    <a:pt x="1486853" y="1458277"/>
                  </a:moveTo>
                  <a:cubicBezTo>
                    <a:pt x="1491616" y="1458277"/>
                    <a:pt x="1494473" y="1462087"/>
                    <a:pt x="1494473" y="1465897"/>
                  </a:cubicBezTo>
                  <a:cubicBezTo>
                    <a:pt x="1494473" y="1469707"/>
                    <a:pt x="1490663" y="1473517"/>
                    <a:pt x="1486853" y="1473517"/>
                  </a:cubicBezTo>
                  <a:cubicBezTo>
                    <a:pt x="1483043" y="1473517"/>
                    <a:pt x="1479233" y="1470659"/>
                    <a:pt x="1479233" y="1465897"/>
                  </a:cubicBezTo>
                  <a:cubicBezTo>
                    <a:pt x="1479233" y="1462087"/>
                    <a:pt x="1483043" y="1458277"/>
                    <a:pt x="1486853" y="1458277"/>
                  </a:cubicBezTo>
                  <a:close/>
                  <a:moveTo>
                    <a:pt x="1143000" y="1458277"/>
                  </a:moveTo>
                  <a:cubicBezTo>
                    <a:pt x="1149667" y="1458277"/>
                    <a:pt x="1155382" y="1463992"/>
                    <a:pt x="1155382" y="1470659"/>
                  </a:cubicBezTo>
                  <a:cubicBezTo>
                    <a:pt x="1155382" y="1477327"/>
                    <a:pt x="1149667" y="1483042"/>
                    <a:pt x="1143000" y="1483042"/>
                  </a:cubicBezTo>
                  <a:cubicBezTo>
                    <a:pt x="1136332" y="1483042"/>
                    <a:pt x="1130617" y="1478279"/>
                    <a:pt x="1130617" y="1470659"/>
                  </a:cubicBezTo>
                  <a:cubicBezTo>
                    <a:pt x="1130617" y="1463992"/>
                    <a:pt x="1136332" y="1458277"/>
                    <a:pt x="1143000" y="1458277"/>
                  </a:cubicBezTo>
                  <a:close/>
                  <a:moveTo>
                    <a:pt x="351473" y="1457325"/>
                  </a:moveTo>
                  <a:cubicBezTo>
                    <a:pt x="363855" y="1457325"/>
                    <a:pt x="373380" y="1466850"/>
                    <a:pt x="373380" y="1479233"/>
                  </a:cubicBezTo>
                  <a:cubicBezTo>
                    <a:pt x="373380" y="1491615"/>
                    <a:pt x="363855" y="1501140"/>
                    <a:pt x="351473" y="1501140"/>
                  </a:cubicBezTo>
                  <a:cubicBezTo>
                    <a:pt x="340043" y="1501140"/>
                    <a:pt x="329565" y="1491615"/>
                    <a:pt x="329565" y="1479233"/>
                  </a:cubicBezTo>
                  <a:cubicBezTo>
                    <a:pt x="329565" y="1466850"/>
                    <a:pt x="339090" y="1457325"/>
                    <a:pt x="351473" y="1457325"/>
                  </a:cubicBezTo>
                  <a:close/>
                  <a:moveTo>
                    <a:pt x="906780" y="1455420"/>
                  </a:moveTo>
                  <a:cubicBezTo>
                    <a:pt x="915353" y="1455420"/>
                    <a:pt x="922020" y="1462087"/>
                    <a:pt x="922020" y="1470660"/>
                  </a:cubicBezTo>
                  <a:cubicBezTo>
                    <a:pt x="922020" y="1479233"/>
                    <a:pt x="915353" y="1485900"/>
                    <a:pt x="906780" y="1485900"/>
                  </a:cubicBezTo>
                  <a:cubicBezTo>
                    <a:pt x="898208" y="1485900"/>
                    <a:pt x="891540" y="1479233"/>
                    <a:pt x="891540" y="1470660"/>
                  </a:cubicBezTo>
                  <a:cubicBezTo>
                    <a:pt x="891540" y="1462087"/>
                    <a:pt x="898208" y="1455420"/>
                    <a:pt x="906780" y="1455420"/>
                  </a:cubicBezTo>
                  <a:close/>
                  <a:moveTo>
                    <a:pt x="1838325" y="1454467"/>
                  </a:moveTo>
                  <a:cubicBezTo>
                    <a:pt x="1847850" y="1454467"/>
                    <a:pt x="1854518" y="1462087"/>
                    <a:pt x="1854518" y="1470659"/>
                  </a:cubicBezTo>
                  <a:cubicBezTo>
                    <a:pt x="1854518" y="1480184"/>
                    <a:pt x="1846898" y="1486852"/>
                    <a:pt x="1838325" y="1486852"/>
                  </a:cubicBezTo>
                  <a:cubicBezTo>
                    <a:pt x="1829753" y="1486852"/>
                    <a:pt x="1822133" y="1480184"/>
                    <a:pt x="1822133" y="1470659"/>
                  </a:cubicBezTo>
                  <a:cubicBezTo>
                    <a:pt x="1822133" y="1461134"/>
                    <a:pt x="1828800" y="1454467"/>
                    <a:pt x="1838325" y="1454467"/>
                  </a:cubicBezTo>
                  <a:close/>
                  <a:moveTo>
                    <a:pt x="1085850" y="1446847"/>
                  </a:moveTo>
                  <a:cubicBezTo>
                    <a:pt x="1093470" y="1446847"/>
                    <a:pt x="1099185" y="1452562"/>
                    <a:pt x="1099185" y="1460182"/>
                  </a:cubicBezTo>
                  <a:cubicBezTo>
                    <a:pt x="1099185" y="1467802"/>
                    <a:pt x="1093470" y="1473517"/>
                    <a:pt x="1085850" y="1473517"/>
                  </a:cubicBezTo>
                  <a:cubicBezTo>
                    <a:pt x="1079183" y="1473517"/>
                    <a:pt x="1072515" y="1467802"/>
                    <a:pt x="1072515" y="1460182"/>
                  </a:cubicBezTo>
                  <a:cubicBezTo>
                    <a:pt x="1072515" y="1452562"/>
                    <a:pt x="1078230" y="1446847"/>
                    <a:pt x="1085850" y="1446847"/>
                  </a:cubicBezTo>
                  <a:close/>
                  <a:moveTo>
                    <a:pt x="1975485" y="1443037"/>
                  </a:moveTo>
                  <a:cubicBezTo>
                    <a:pt x="1985010" y="1443037"/>
                    <a:pt x="1992630" y="1450657"/>
                    <a:pt x="1992630" y="1460182"/>
                  </a:cubicBezTo>
                  <a:cubicBezTo>
                    <a:pt x="1992630" y="1469707"/>
                    <a:pt x="1985010" y="1477327"/>
                    <a:pt x="1975485" y="1477327"/>
                  </a:cubicBezTo>
                  <a:cubicBezTo>
                    <a:pt x="1965960" y="1477327"/>
                    <a:pt x="1958340" y="1469707"/>
                    <a:pt x="1958340" y="1460182"/>
                  </a:cubicBezTo>
                  <a:cubicBezTo>
                    <a:pt x="1958340" y="1450657"/>
                    <a:pt x="1965960" y="1443037"/>
                    <a:pt x="1975485" y="1443037"/>
                  </a:cubicBezTo>
                  <a:close/>
                  <a:moveTo>
                    <a:pt x="1543050" y="1443037"/>
                  </a:moveTo>
                  <a:cubicBezTo>
                    <a:pt x="1548765" y="1443037"/>
                    <a:pt x="1552575" y="1447800"/>
                    <a:pt x="1552575" y="1452562"/>
                  </a:cubicBezTo>
                  <a:cubicBezTo>
                    <a:pt x="1552575" y="1458277"/>
                    <a:pt x="1547813" y="1462087"/>
                    <a:pt x="1543050" y="1462087"/>
                  </a:cubicBezTo>
                  <a:cubicBezTo>
                    <a:pt x="1538288" y="1462087"/>
                    <a:pt x="1533525" y="1458277"/>
                    <a:pt x="1533525" y="1452562"/>
                  </a:cubicBezTo>
                  <a:cubicBezTo>
                    <a:pt x="1533525" y="1446847"/>
                    <a:pt x="1538288" y="1443037"/>
                    <a:pt x="1543050" y="1443037"/>
                  </a:cubicBezTo>
                  <a:close/>
                  <a:moveTo>
                    <a:pt x="625792" y="1439227"/>
                  </a:moveTo>
                  <a:cubicBezTo>
                    <a:pt x="637223" y="1439227"/>
                    <a:pt x="645795" y="1448752"/>
                    <a:pt x="645795" y="1459229"/>
                  </a:cubicBezTo>
                  <a:cubicBezTo>
                    <a:pt x="645795" y="1470659"/>
                    <a:pt x="636270" y="1479232"/>
                    <a:pt x="625792" y="1479232"/>
                  </a:cubicBezTo>
                  <a:cubicBezTo>
                    <a:pt x="614363" y="1479232"/>
                    <a:pt x="605790" y="1470659"/>
                    <a:pt x="605790" y="1459229"/>
                  </a:cubicBezTo>
                  <a:cubicBezTo>
                    <a:pt x="605790" y="1447799"/>
                    <a:pt x="615315" y="1439227"/>
                    <a:pt x="625792" y="1439227"/>
                  </a:cubicBezTo>
                  <a:close/>
                  <a:moveTo>
                    <a:pt x="517207" y="1437322"/>
                  </a:moveTo>
                  <a:cubicBezTo>
                    <a:pt x="527685" y="1437322"/>
                    <a:pt x="537210" y="1445895"/>
                    <a:pt x="537210" y="1457325"/>
                  </a:cubicBezTo>
                  <a:cubicBezTo>
                    <a:pt x="537210" y="1467802"/>
                    <a:pt x="528637" y="1477327"/>
                    <a:pt x="517207" y="1477327"/>
                  </a:cubicBezTo>
                  <a:cubicBezTo>
                    <a:pt x="505777" y="1477327"/>
                    <a:pt x="497205" y="1467802"/>
                    <a:pt x="497205" y="1457325"/>
                  </a:cubicBezTo>
                  <a:cubicBezTo>
                    <a:pt x="497205" y="1446847"/>
                    <a:pt x="505777" y="1437322"/>
                    <a:pt x="517207" y="1437322"/>
                  </a:cubicBezTo>
                  <a:close/>
                  <a:moveTo>
                    <a:pt x="738188" y="1435417"/>
                  </a:moveTo>
                  <a:cubicBezTo>
                    <a:pt x="749618" y="1435417"/>
                    <a:pt x="759143" y="1444942"/>
                    <a:pt x="759143" y="1456372"/>
                  </a:cubicBezTo>
                  <a:cubicBezTo>
                    <a:pt x="759143" y="1467802"/>
                    <a:pt x="749618" y="1477327"/>
                    <a:pt x="738188" y="1477327"/>
                  </a:cubicBezTo>
                  <a:cubicBezTo>
                    <a:pt x="726758" y="1477327"/>
                    <a:pt x="717233" y="1467802"/>
                    <a:pt x="717233" y="1456372"/>
                  </a:cubicBezTo>
                  <a:cubicBezTo>
                    <a:pt x="717233" y="1444942"/>
                    <a:pt x="726758" y="1435417"/>
                    <a:pt x="738188" y="1435417"/>
                  </a:cubicBezTo>
                  <a:close/>
                  <a:moveTo>
                    <a:pt x="1030605" y="1432559"/>
                  </a:moveTo>
                  <a:cubicBezTo>
                    <a:pt x="1038225" y="1432559"/>
                    <a:pt x="1043940" y="1438274"/>
                    <a:pt x="1043940" y="1445894"/>
                  </a:cubicBezTo>
                  <a:cubicBezTo>
                    <a:pt x="1043940" y="1453514"/>
                    <a:pt x="1038225" y="1459229"/>
                    <a:pt x="1030605" y="1459229"/>
                  </a:cubicBezTo>
                  <a:cubicBezTo>
                    <a:pt x="1022985" y="1459229"/>
                    <a:pt x="1017270" y="1452562"/>
                    <a:pt x="1017270" y="1445894"/>
                  </a:cubicBezTo>
                  <a:cubicBezTo>
                    <a:pt x="1017270" y="1438274"/>
                    <a:pt x="1022985" y="1432559"/>
                    <a:pt x="1030605" y="1432559"/>
                  </a:cubicBezTo>
                  <a:close/>
                  <a:moveTo>
                    <a:pt x="1746885" y="1431607"/>
                  </a:moveTo>
                  <a:cubicBezTo>
                    <a:pt x="1755458" y="1431607"/>
                    <a:pt x="1762125" y="1438274"/>
                    <a:pt x="1762125" y="1446847"/>
                  </a:cubicBezTo>
                  <a:cubicBezTo>
                    <a:pt x="1762125" y="1455420"/>
                    <a:pt x="1755458" y="1462087"/>
                    <a:pt x="1746885" y="1462087"/>
                  </a:cubicBezTo>
                  <a:cubicBezTo>
                    <a:pt x="1738312" y="1462087"/>
                    <a:pt x="1731645" y="1455420"/>
                    <a:pt x="1731645" y="1446847"/>
                  </a:cubicBezTo>
                  <a:cubicBezTo>
                    <a:pt x="1731645" y="1438274"/>
                    <a:pt x="1738312" y="1431607"/>
                    <a:pt x="1746885" y="1431607"/>
                  </a:cubicBezTo>
                  <a:close/>
                  <a:moveTo>
                    <a:pt x="854393" y="1428750"/>
                  </a:moveTo>
                  <a:cubicBezTo>
                    <a:pt x="863918" y="1428750"/>
                    <a:pt x="871538" y="1436370"/>
                    <a:pt x="871538" y="1445895"/>
                  </a:cubicBezTo>
                  <a:cubicBezTo>
                    <a:pt x="871538" y="1455420"/>
                    <a:pt x="863918" y="1463040"/>
                    <a:pt x="854393" y="1463040"/>
                  </a:cubicBezTo>
                  <a:cubicBezTo>
                    <a:pt x="845821" y="1463040"/>
                    <a:pt x="838200" y="1456372"/>
                    <a:pt x="837248" y="1445895"/>
                  </a:cubicBezTo>
                  <a:cubicBezTo>
                    <a:pt x="837248" y="1436370"/>
                    <a:pt x="844868" y="1428750"/>
                    <a:pt x="854393" y="1428750"/>
                  </a:cubicBezTo>
                  <a:close/>
                  <a:moveTo>
                    <a:pt x="1598295" y="1427797"/>
                  </a:moveTo>
                  <a:cubicBezTo>
                    <a:pt x="1604010" y="1427797"/>
                    <a:pt x="1607820" y="1432560"/>
                    <a:pt x="1607820" y="1437322"/>
                  </a:cubicBezTo>
                  <a:cubicBezTo>
                    <a:pt x="1607820" y="1443037"/>
                    <a:pt x="1603058" y="1446847"/>
                    <a:pt x="1598295" y="1446847"/>
                  </a:cubicBezTo>
                  <a:cubicBezTo>
                    <a:pt x="1593533" y="1446847"/>
                    <a:pt x="1588770" y="1442085"/>
                    <a:pt x="1588770" y="1437322"/>
                  </a:cubicBezTo>
                  <a:cubicBezTo>
                    <a:pt x="1588770" y="1431607"/>
                    <a:pt x="1593533" y="1427797"/>
                    <a:pt x="1598295" y="1427797"/>
                  </a:cubicBezTo>
                  <a:close/>
                  <a:moveTo>
                    <a:pt x="412432" y="1427797"/>
                  </a:moveTo>
                  <a:cubicBezTo>
                    <a:pt x="424815" y="1427797"/>
                    <a:pt x="434340" y="1437322"/>
                    <a:pt x="434340" y="1449705"/>
                  </a:cubicBezTo>
                  <a:cubicBezTo>
                    <a:pt x="434340" y="1462087"/>
                    <a:pt x="424815" y="1471612"/>
                    <a:pt x="412432" y="1471612"/>
                  </a:cubicBezTo>
                  <a:cubicBezTo>
                    <a:pt x="401002" y="1471612"/>
                    <a:pt x="390525" y="1461135"/>
                    <a:pt x="390525" y="1449705"/>
                  </a:cubicBezTo>
                  <a:cubicBezTo>
                    <a:pt x="390525" y="1437322"/>
                    <a:pt x="400050" y="1427797"/>
                    <a:pt x="412432" y="1427797"/>
                  </a:cubicBezTo>
                  <a:close/>
                  <a:moveTo>
                    <a:pt x="2105978" y="1426845"/>
                  </a:moveTo>
                  <a:cubicBezTo>
                    <a:pt x="2111692" y="1426845"/>
                    <a:pt x="2116455" y="1431608"/>
                    <a:pt x="2116455" y="1437322"/>
                  </a:cubicBezTo>
                  <a:cubicBezTo>
                    <a:pt x="2116455" y="1443037"/>
                    <a:pt x="2111692" y="1447800"/>
                    <a:pt x="2105978" y="1447800"/>
                  </a:cubicBezTo>
                  <a:cubicBezTo>
                    <a:pt x="2100263" y="1447800"/>
                    <a:pt x="2095500" y="1443990"/>
                    <a:pt x="2095500" y="1437322"/>
                  </a:cubicBezTo>
                  <a:cubicBezTo>
                    <a:pt x="2095500" y="1431608"/>
                    <a:pt x="2100263" y="1426845"/>
                    <a:pt x="2105978" y="1426845"/>
                  </a:cubicBezTo>
                  <a:close/>
                  <a:moveTo>
                    <a:pt x="1887855" y="1426845"/>
                  </a:moveTo>
                  <a:cubicBezTo>
                    <a:pt x="1896427" y="1426845"/>
                    <a:pt x="1903095" y="1433512"/>
                    <a:pt x="1903095" y="1442085"/>
                  </a:cubicBezTo>
                  <a:cubicBezTo>
                    <a:pt x="1903095" y="1450658"/>
                    <a:pt x="1896427" y="1457325"/>
                    <a:pt x="1887855" y="1457325"/>
                  </a:cubicBezTo>
                  <a:cubicBezTo>
                    <a:pt x="1879282" y="1457325"/>
                    <a:pt x="1871662" y="1450658"/>
                    <a:pt x="1872615" y="1442085"/>
                  </a:cubicBezTo>
                  <a:cubicBezTo>
                    <a:pt x="1872615" y="1433512"/>
                    <a:pt x="1879282" y="1426845"/>
                    <a:pt x="1887855" y="1426845"/>
                  </a:cubicBezTo>
                  <a:close/>
                  <a:moveTo>
                    <a:pt x="311468" y="1421129"/>
                  </a:moveTo>
                  <a:cubicBezTo>
                    <a:pt x="320993" y="1421129"/>
                    <a:pt x="328613" y="1428749"/>
                    <a:pt x="328613" y="1438274"/>
                  </a:cubicBezTo>
                  <a:cubicBezTo>
                    <a:pt x="328613" y="1447799"/>
                    <a:pt x="320993" y="1455419"/>
                    <a:pt x="311468" y="1455419"/>
                  </a:cubicBezTo>
                  <a:cubicBezTo>
                    <a:pt x="301943" y="1455419"/>
                    <a:pt x="295275" y="1447799"/>
                    <a:pt x="294323" y="1438274"/>
                  </a:cubicBezTo>
                  <a:cubicBezTo>
                    <a:pt x="294323" y="1428749"/>
                    <a:pt x="301943" y="1421129"/>
                    <a:pt x="311468" y="1421129"/>
                  </a:cubicBezTo>
                  <a:close/>
                  <a:moveTo>
                    <a:pt x="213360" y="1416367"/>
                  </a:moveTo>
                  <a:cubicBezTo>
                    <a:pt x="217170" y="1416367"/>
                    <a:pt x="220980" y="1420177"/>
                    <a:pt x="220980" y="1423987"/>
                  </a:cubicBezTo>
                  <a:cubicBezTo>
                    <a:pt x="220980" y="1427797"/>
                    <a:pt x="217170" y="1431607"/>
                    <a:pt x="213360" y="1431607"/>
                  </a:cubicBezTo>
                  <a:cubicBezTo>
                    <a:pt x="209550" y="1431607"/>
                    <a:pt x="206693" y="1428750"/>
                    <a:pt x="205740" y="1423987"/>
                  </a:cubicBezTo>
                  <a:cubicBezTo>
                    <a:pt x="205740" y="1420177"/>
                    <a:pt x="209550" y="1416367"/>
                    <a:pt x="213360" y="1416367"/>
                  </a:cubicBezTo>
                  <a:close/>
                  <a:moveTo>
                    <a:pt x="1329691" y="1415415"/>
                  </a:moveTo>
                  <a:cubicBezTo>
                    <a:pt x="1332548" y="1415415"/>
                    <a:pt x="1334453" y="1417320"/>
                    <a:pt x="1334453" y="1420178"/>
                  </a:cubicBezTo>
                  <a:cubicBezTo>
                    <a:pt x="1334453" y="1423035"/>
                    <a:pt x="1332548" y="1424940"/>
                    <a:pt x="1329691" y="1424940"/>
                  </a:cubicBezTo>
                  <a:cubicBezTo>
                    <a:pt x="1326833" y="1424940"/>
                    <a:pt x="1324928" y="1422082"/>
                    <a:pt x="1324928" y="1420178"/>
                  </a:cubicBezTo>
                  <a:cubicBezTo>
                    <a:pt x="1324928" y="1417320"/>
                    <a:pt x="1326833" y="1415415"/>
                    <a:pt x="1329691" y="1415415"/>
                  </a:cubicBezTo>
                  <a:close/>
                  <a:moveTo>
                    <a:pt x="1271587" y="1413509"/>
                  </a:moveTo>
                  <a:cubicBezTo>
                    <a:pt x="1275397" y="1413509"/>
                    <a:pt x="1278255" y="1416367"/>
                    <a:pt x="1278255" y="1420177"/>
                  </a:cubicBezTo>
                  <a:cubicBezTo>
                    <a:pt x="1278255" y="1423987"/>
                    <a:pt x="1275397" y="1426844"/>
                    <a:pt x="1271587" y="1426844"/>
                  </a:cubicBezTo>
                  <a:cubicBezTo>
                    <a:pt x="1267778" y="1426844"/>
                    <a:pt x="1264920" y="1423034"/>
                    <a:pt x="1264920" y="1420177"/>
                  </a:cubicBezTo>
                  <a:cubicBezTo>
                    <a:pt x="1264920" y="1416367"/>
                    <a:pt x="1267778" y="1413509"/>
                    <a:pt x="1271587" y="1413509"/>
                  </a:cubicBezTo>
                  <a:close/>
                  <a:moveTo>
                    <a:pt x="975360" y="1412557"/>
                  </a:moveTo>
                  <a:cubicBezTo>
                    <a:pt x="983933" y="1412557"/>
                    <a:pt x="990600" y="1419224"/>
                    <a:pt x="990600" y="1427797"/>
                  </a:cubicBezTo>
                  <a:cubicBezTo>
                    <a:pt x="990600" y="1436370"/>
                    <a:pt x="983933" y="1443037"/>
                    <a:pt x="975360" y="1443037"/>
                  </a:cubicBezTo>
                  <a:cubicBezTo>
                    <a:pt x="966787" y="1443037"/>
                    <a:pt x="960120" y="1436370"/>
                    <a:pt x="960120" y="1427797"/>
                  </a:cubicBezTo>
                  <a:cubicBezTo>
                    <a:pt x="960120" y="1419224"/>
                    <a:pt x="966787" y="1412557"/>
                    <a:pt x="975360" y="1412557"/>
                  </a:cubicBezTo>
                  <a:close/>
                  <a:moveTo>
                    <a:pt x="2021205" y="1411604"/>
                  </a:moveTo>
                  <a:cubicBezTo>
                    <a:pt x="2027872" y="1411604"/>
                    <a:pt x="2033587" y="1417319"/>
                    <a:pt x="2033587" y="1423987"/>
                  </a:cubicBezTo>
                  <a:cubicBezTo>
                    <a:pt x="2033587" y="1430654"/>
                    <a:pt x="2027872" y="1436369"/>
                    <a:pt x="2021205" y="1436369"/>
                  </a:cubicBezTo>
                  <a:cubicBezTo>
                    <a:pt x="2014537" y="1436369"/>
                    <a:pt x="2009775" y="1431607"/>
                    <a:pt x="2008822" y="1423987"/>
                  </a:cubicBezTo>
                  <a:cubicBezTo>
                    <a:pt x="2008822" y="1417319"/>
                    <a:pt x="2014537" y="1411604"/>
                    <a:pt x="2021205" y="1411604"/>
                  </a:cubicBezTo>
                  <a:close/>
                  <a:moveTo>
                    <a:pt x="1386840" y="1409700"/>
                  </a:moveTo>
                  <a:cubicBezTo>
                    <a:pt x="1390650" y="1409700"/>
                    <a:pt x="1393507" y="1412558"/>
                    <a:pt x="1393507" y="1416367"/>
                  </a:cubicBezTo>
                  <a:cubicBezTo>
                    <a:pt x="1393507" y="1420178"/>
                    <a:pt x="1390650" y="1423035"/>
                    <a:pt x="1386840" y="1423035"/>
                  </a:cubicBezTo>
                  <a:cubicBezTo>
                    <a:pt x="1383030" y="1423035"/>
                    <a:pt x="1380172" y="1420178"/>
                    <a:pt x="1380172" y="1416367"/>
                  </a:cubicBezTo>
                  <a:cubicBezTo>
                    <a:pt x="1380172" y="1412558"/>
                    <a:pt x="1383030" y="1409700"/>
                    <a:pt x="1386840" y="1409700"/>
                  </a:cubicBezTo>
                  <a:close/>
                  <a:moveTo>
                    <a:pt x="1214437" y="1408747"/>
                  </a:moveTo>
                  <a:cubicBezTo>
                    <a:pt x="1218247" y="1408747"/>
                    <a:pt x="1222057" y="1412557"/>
                    <a:pt x="1222057" y="1416367"/>
                  </a:cubicBezTo>
                  <a:cubicBezTo>
                    <a:pt x="1222057" y="1420177"/>
                    <a:pt x="1218247" y="1423987"/>
                    <a:pt x="1214437" y="1423987"/>
                  </a:cubicBezTo>
                  <a:cubicBezTo>
                    <a:pt x="1209675" y="1423987"/>
                    <a:pt x="1206817" y="1420177"/>
                    <a:pt x="1206817" y="1416367"/>
                  </a:cubicBezTo>
                  <a:cubicBezTo>
                    <a:pt x="1206817" y="1412557"/>
                    <a:pt x="1210627" y="1408747"/>
                    <a:pt x="1214437" y="1408747"/>
                  </a:cubicBezTo>
                  <a:close/>
                  <a:moveTo>
                    <a:pt x="1797368" y="1407795"/>
                  </a:moveTo>
                  <a:cubicBezTo>
                    <a:pt x="1804035" y="1407795"/>
                    <a:pt x="1809750" y="1413510"/>
                    <a:pt x="1809750" y="1420178"/>
                  </a:cubicBezTo>
                  <a:cubicBezTo>
                    <a:pt x="1809750" y="1426845"/>
                    <a:pt x="1804035" y="1432560"/>
                    <a:pt x="1797368" y="1432560"/>
                  </a:cubicBezTo>
                  <a:cubicBezTo>
                    <a:pt x="1790700" y="1432560"/>
                    <a:pt x="1785938" y="1426845"/>
                    <a:pt x="1784985" y="1420178"/>
                  </a:cubicBezTo>
                  <a:cubicBezTo>
                    <a:pt x="1784985" y="1413510"/>
                    <a:pt x="1790700" y="1407795"/>
                    <a:pt x="1797368" y="1407795"/>
                  </a:cubicBezTo>
                  <a:close/>
                  <a:moveTo>
                    <a:pt x="1652588" y="1407795"/>
                  </a:moveTo>
                  <a:cubicBezTo>
                    <a:pt x="1658303" y="1407795"/>
                    <a:pt x="1662113" y="1411605"/>
                    <a:pt x="1662113" y="1417320"/>
                  </a:cubicBezTo>
                  <a:cubicBezTo>
                    <a:pt x="1662113" y="1423035"/>
                    <a:pt x="1657351" y="1426845"/>
                    <a:pt x="1652588" y="1426845"/>
                  </a:cubicBezTo>
                  <a:cubicBezTo>
                    <a:pt x="1647826" y="1426845"/>
                    <a:pt x="1643063" y="1423035"/>
                    <a:pt x="1643063" y="1417320"/>
                  </a:cubicBezTo>
                  <a:cubicBezTo>
                    <a:pt x="1643063" y="1411605"/>
                    <a:pt x="1647826" y="1407795"/>
                    <a:pt x="1652588" y="1407795"/>
                  </a:cubicBezTo>
                  <a:close/>
                  <a:moveTo>
                    <a:pt x="689610" y="1406842"/>
                  </a:moveTo>
                  <a:cubicBezTo>
                    <a:pt x="700087" y="1406842"/>
                    <a:pt x="708660" y="1415415"/>
                    <a:pt x="708660" y="1425892"/>
                  </a:cubicBezTo>
                  <a:cubicBezTo>
                    <a:pt x="708660" y="1436370"/>
                    <a:pt x="700087" y="1444942"/>
                    <a:pt x="689610" y="1444942"/>
                  </a:cubicBezTo>
                  <a:cubicBezTo>
                    <a:pt x="679133" y="1444942"/>
                    <a:pt x="670560" y="1436370"/>
                    <a:pt x="670560" y="1425892"/>
                  </a:cubicBezTo>
                  <a:cubicBezTo>
                    <a:pt x="670560" y="1415415"/>
                    <a:pt x="679133" y="1406842"/>
                    <a:pt x="689610" y="1406842"/>
                  </a:cubicBezTo>
                  <a:close/>
                  <a:moveTo>
                    <a:pt x="2228850" y="1405890"/>
                  </a:moveTo>
                  <a:cubicBezTo>
                    <a:pt x="2229803" y="1405890"/>
                    <a:pt x="2230755" y="1406842"/>
                    <a:pt x="2230755" y="1407795"/>
                  </a:cubicBezTo>
                  <a:cubicBezTo>
                    <a:pt x="2230755" y="1408747"/>
                    <a:pt x="2229803" y="1409700"/>
                    <a:pt x="2228850" y="1409700"/>
                  </a:cubicBezTo>
                  <a:cubicBezTo>
                    <a:pt x="2228850" y="1409700"/>
                    <a:pt x="2227897" y="1409700"/>
                    <a:pt x="2226945" y="1407795"/>
                  </a:cubicBezTo>
                  <a:cubicBezTo>
                    <a:pt x="2226945" y="1406842"/>
                    <a:pt x="2227897" y="1405890"/>
                    <a:pt x="2228850" y="1405890"/>
                  </a:cubicBezTo>
                  <a:close/>
                  <a:moveTo>
                    <a:pt x="579120" y="1405890"/>
                  </a:moveTo>
                  <a:cubicBezTo>
                    <a:pt x="589597" y="1405890"/>
                    <a:pt x="598170" y="1414462"/>
                    <a:pt x="598170" y="1424940"/>
                  </a:cubicBezTo>
                  <a:cubicBezTo>
                    <a:pt x="598170" y="1435417"/>
                    <a:pt x="589597" y="1443990"/>
                    <a:pt x="579120" y="1443990"/>
                  </a:cubicBezTo>
                  <a:cubicBezTo>
                    <a:pt x="568642" y="1443990"/>
                    <a:pt x="560070" y="1435417"/>
                    <a:pt x="560070" y="1424940"/>
                  </a:cubicBezTo>
                  <a:cubicBezTo>
                    <a:pt x="560070" y="1414462"/>
                    <a:pt x="568642" y="1405890"/>
                    <a:pt x="579120" y="1405890"/>
                  </a:cubicBezTo>
                  <a:close/>
                  <a:moveTo>
                    <a:pt x="1443990" y="1403032"/>
                  </a:moveTo>
                  <a:cubicBezTo>
                    <a:pt x="1446847" y="1403032"/>
                    <a:pt x="1449705" y="1405890"/>
                    <a:pt x="1449705" y="1408747"/>
                  </a:cubicBezTo>
                  <a:cubicBezTo>
                    <a:pt x="1449705" y="1411604"/>
                    <a:pt x="1446847" y="1414462"/>
                    <a:pt x="1443990" y="1414462"/>
                  </a:cubicBezTo>
                  <a:cubicBezTo>
                    <a:pt x="1441133" y="1414462"/>
                    <a:pt x="1438275" y="1411604"/>
                    <a:pt x="1438275" y="1408747"/>
                  </a:cubicBezTo>
                  <a:cubicBezTo>
                    <a:pt x="1438275" y="1405890"/>
                    <a:pt x="1441133" y="1403032"/>
                    <a:pt x="1443990" y="1403032"/>
                  </a:cubicBezTo>
                  <a:close/>
                  <a:moveTo>
                    <a:pt x="802958" y="1403032"/>
                  </a:moveTo>
                  <a:cubicBezTo>
                    <a:pt x="811530" y="1403032"/>
                    <a:pt x="819151" y="1410652"/>
                    <a:pt x="819151" y="1420177"/>
                  </a:cubicBezTo>
                  <a:cubicBezTo>
                    <a:pt x="819151" y="1429702"/>
                    <a:pt x="812483" y="1437322"/>
                    <a:pt x="802958" y="1437322"/>
                  </a:cubicBezTo>
                  <a:cubicBezTo>
                    <a:pt x="794386" y="1437322"/>
                    <a:pt x="786765" y="1429702"/>
                    <a:pt x="785813" y="1420177"/>
                  </a:cubicBezTo>
                  <a:cubicBezTo>
                    <a:pt x="785813" y="1410652"/>
                    <a:pt x="793433" y="1403032"/>
                    <a:pt x="802958" y="1403032"/>
                  </a:cubicBezTo>
                  <a:close/>
                  <a:moveTo>
                    <a:pt x="1157287" y="1401127"/>
                  </a:moveTo>
                  <a:cubicBezTo>
                    <a:pt x="1161097" y="1401127"/>
                    <a:pt x="1164907" y="1404937"/>
                    <a:pt x="1164907" y="1408747"/>
                  </a:cubicBezTo>
                  <a:cubicBezTo>
                    <a:pt x="1164907" y="1412557"/>
                    <a:pt x="1161097" y="1416367"/>
                    <a:pt x="1157287" y="1416367"/>
                  </a:cubicBezTo>
                  <a:cubicBezTo>
                    <a:pt x="1152525" y="1416367"/>
                    <a:pt x="1149667" y="1412557"/>
                    <a:pt x="1149667" y="1408747"/>
                  </a:cubicBezTo>
                  <a:cubicBezTo>
                    <a:pt x="1149667" y="1404937"/>
                    <a:pt x="1153477" y="1401127"/>
                    <a:pt x="1157287" y="1401127"/>
                  </a:cubicBezTo>
                  <a:close/>
                  <a:moveTo>
                    <a:pt x="473393" y="1399222"/>
                  </a:moveTo>
                  <a:cubicBezTo>
                    <a:pt x="484823" y="1399222"/>
                    <a:pt x="493395" y="1407795"/>
                    <a:pt x="493395" y="1419225"/>
                  </a:cubicBezTo>
                  <a:cubicBezTo>
                    <a:pt x="493395" y="1430655"/>
                    <a:pt x="484823" y="1439227"/>
                    <a:pt x="473393" y="1439227"/>
                  </a:cubicBezTo>
                  <a:cubicBezTo>
                    <a:pt x="462915" y="1439227"/>
                    <a:pt x="453390" y="1429702"/>
                    <a:pt x="453390" y="1419225"/>
                  </a:cubicBezTo>
                  <a:cubicBezTo>
                    <a:pt x="453390" y="1407795"/>
                    <a:pt x="461963" y="1399222"/>
                    <a:pt x="473393" y="1399222"/>
                  </a:cubicBezTo>
                  <a:close/>
                  <a:moveTo>
                    <a:pt x="1935480" y="1394459"/>
                  </a:moveTo>
                  <a:cubicBezTo>
                    <a:pt x="1943100" y="1394459"/>
                    <a:pt x="1949767" y="1401127"/>
                    <a:pt x="1949767" y="1408747"/>
                  </a:cubicBezTo>
                  <a:cubicBezTo>
                    <a:pt x="1949767" y="1416367"/>
                    <a:pt x="1943100" y="1423034"/>
                    <a:pt x="1935480" y="1423034"/>
                  </a:cubicBezTo>
                  <a:cubicBezTo>
                    <a:pt x="1927859" y="1423034"/>
                    <a:pt x="1921192" y="1417319"/>
                    <a:pt x="1921192" y="1408747"/>
                  </a:cubicBezTo>
                  <a:cubicBezTo>
                    <a:pt x="1921192" y="1401127"/>
                    <a:pt x="1927859" y="1394459"/>
                    <a:pt x="1935480" y="1394459"/>
                  </a:cubicBezTo>
                  <a:close/>
                  <a:moveTo>
                    <a:pt x="922021" y="1392554"/>
                  </a:moveTo>
                  <a:cubicBezTo>
                    <a:pt x="929640" y="1392554"/>
                    <a:pt x="936308" y="1399221"/>
                    <a:pt x="936308" y="1406842"/>
                  </a:cubicBezTo>
                  <a:cubicBezTo>
                    <a:pt x="936308" y="1414462"/>
                    <a:pt x="929640" y="1421129"/>
                    <a:pt x="922021" y="1421129"/>
                  </a:cubicBezTo>
                  <a:cubicBezTo>
                    <a:pt x="913448" y="1421129"/>
                    <a:pt x="907733" y="1414462"/>
                    <a:pt x="907733" y="1406842"/>
                  </a:cubicBezTo>
                  <a:cubicBezTo>
                    <a:pt x="907733" y="1399221"/>
                    <a:pt x="914400" y="1392554"/>
                    <a:pt x="922021" y="1392554"/>
                  </a:cubicBezTo>
                  <a:close/>
                  <a:moveTo>
                    <a:pt x="2147887" y="1391602"/>
                  </a:moveTo>
                  <a:cubicBezTo>
                    <a:pt x="2151697" y="1391602"/>
                    <a:pt x="2155507" y="1395412"/>
                    <a:pt x="2155507" y="1399222"/>
                  </a:cubicBezTo>
                  <a:cubicBezTo>
                    <a:pt x="2155507" y="1403032"/>
                    <a:pt x="2151697" y="1406842"/>
                    <a:pt x="2147887" y="1406842"/>
                  </a:cubicBezTo>
                  <a:cubicBezTo>
                    <a:pt x="2144077" y="1406842"/>
                    <a:pt x="2140267" y="1403032"/>
                    <a:pt x="2140267" y="1399222"/>
                  </a:cubicBezTo>
                  <a:cubicBezTo>
                    <a:pt x="2140267" y="1395412"/>
                    <a:pt x="2144077" y="1391602"/>
                    <a:pt x="2147887" y="1391602"/>
                  </a:cubicBezTo>
                  <a:close/>
                  <a:moveTo>
                    <a:pt x="1501140" y="1391602"/>
                  </a:moveTo>
                  <a:cubicBezTo>
                    <a:pt x="1503997" y="1391602"/>
                    <a:pt x="1506855" y="1394459"/>
                    <a:pt x="1506855" y="1397317"/>
                  </a:cubicBezTo>
                  <a:cubicBezTo>
                    <a:pt x="1506855" y="1400174"/>
                    <a:pt x="1503997" y="1403032"/>
                    <a:pt x="1501140" y="1403032"/>
                  </a:cubicBezTo>
                  <a:cubicBezTo>
                    <a:pt x="1497330" y="1403032"/>
                    <a:pt x="1495425" y="1400174"/>
                    <a:pt x="1495425" y="1397317"/>
                  </a:cubicBezTo>
                  <a:cubicBezTo>
                    <a:pt x="1495425" y="1394459"/>
                    <a:pt x="1498283" y="1391602"/>
                    <a:pt x="1501140" y="1391602"/>
                  </a:cubicBezTo>
                  <a:close/>
                  <a:moveTo>
                    <a:pt x="1100138" y="1388745"/>
                  </a:moveTo>
                  <a:cubicBezTo>
                    <a:pt x="1104900" y="1388745"/>
                    <a:pt x="1108710" y="1392555"/>
                    <a:pt x="1108710" y="1397317"/>
                  </a:cubicBezTo>
                  <a:cubicBezTo>
                    <a:pt x="1108710" y="1402080"/>
                    <a:pt x="1104900" y="1405890"/>
                    <a:pt x="1100138" y="1405890"/>
                  </a:cubicBezTo>
                  <a:cubicBezTo>
                    <a:pt x="1096328" y="1405890"/>
                    <a:pt x="1092517" y="1402080"/>
                    <a:pt x="1091565" y="1397317"/>
                  </a:cubicBezTo>
                  <a:cubicBezTo>
                    <a:pt x="1091565" y="1392555"/>
                    <a:pt x="1095375" y="1388745"/>
                    <a:pt x="1100138" y="1388745"/>
                  </a:cubicBezTo>
                  <a:close/>
                  <a:moveTo>
                    <a:pt x="371475" y="1387792"/>
                  </a:moveTo>
                  <a:cubicBezTo>
                    <a:pt x="383048" y="1387792"/>
                    <a:pt x="392430" y="1397174"/>
                    <a:pt x="392430" y="1408747"/>
                  </a:cubicBezTo>
                  <a:cubicBezTo>
                    <a:pt x="392430" y="1420320"/>
                    <a:pt x="383048" y="1429702"/>
                    <a:pt x="371475" y="1429702"/>
                  </a:cubicBezTo>
                  <a:cubicBezTo>
                    <a:pt x="359902" y="1429702"/>
                    <a:pt x="350520" y="1420320"/>
                    <a:pt x="350520" y="1408747"/>
                  </a:cubicBezTo>
                  <a:cubicBezTo>
                    <a:pt x="350520" y="1397174"/>
                    <a:pt x="359902" y="1387792"/>
                    <a:pt x="371475" y="1387792"/>
                  </a:cubicBezTo>
                  <a:close/>
                  <a:moveTo>
                    <a:pt x="1705927" y="1384935"/>
                  </a:moveTo>
                  <a:cubicBezTo>
                    <a:pt x="1711714" y="1384935"/>
                    <a:pt x="1716405" y="1389626"/>
                    <a:pt x="1716405" y="1395413"/>
                  </a:cubicBezTo>
                  <a:cubicBezTo>
                    <a:pt x="1716405" y="1401199"/>
                    <a:pt x="1711714" y="1405890"/>
                    <a:pt x="1705927" y="1405890"/>
                  </a:cubicBezTo>
                  <a:cubicBezTo>
                    <a:pt x="1700141" y="1405890"/>
                    <a:pt x="1695450" y="1401199"/>
                    <a:pt x="1695450" y="1395413"/>
                  </a:cubicBezTo>
                  <a:cubicBezTo>
                    <a:pt x="1695450" y="1389626"/>
                    <a:pt x="1700141" y="1384935"/>
                    <a:pt x="1705927" y="1384935"/>
                  </a:cubicBezTo>
                  <a:close/>
                  <a:moveTo>
                    <a:pt x="1847850" y="1381125"/>
                  </a:moveTo>
                  <a:cubicBezTo>
                    <a:pt x="1853565" y="1381125"/>
                    <a:pt x="1858327" y="1385888"/>
                    <a:pt x="1858327" y="1391603"/>
                  </a:cubicBezTo>
                  <a:cubicBezTo>
                    <a:pt x="1858327" y="1397317"/>
                    <a:pt x="1853565" y="1402080"/>
                    <a:pt x="1847850" y="1402080"/>
                  </a:cubicBezTo>
                  <a:cubicBezTo>
                    <a:pt x="1841182" y="1402080"/>
                    <a:pt x="1836420" y="1397317"/>
                    <a:pt x="1837372" y="1391603"/>
                  </a:cubicBezTo>
                  <a:cubicBezTo>
                    <a:pt x="1837372" y="1385888"/>
                    <a:pt x="1842135" y="1381125"/>
                    <a:pt x="1847850" y="1381125"/>
                  </a:cubicBezTo>
                  <a:close/>
                  <a:moveTo>
                    <a:pt x="273368" y="1374457"/>
                  </a:moveTo>
                  <a:cubicBezTo>
                    <a:pt x="284798" y="1374457"/>
                    <a:pt x="294323" y="1383982"/>
                    <a:pt x="294323" y="1395412"/>
                  </a:cubicBezTo>
                  <a:cubicBezTo>
                    <a:pt x="294323" y="1406842"/>
                    <a:pt x="284798" y="1416367"/>
                    <a:pt x="273368" y="1416367"/>
                  </a:cubicBezTo>
                  <a:cubicBezTo>
                    <a:pt x="261938" y="1416367"/>
                    <a:pt x="252413" y="1406842"/>
                    <a:pt x="252413" y="1395412"/>
                  </a:cubicBezTo>
                  <a:cubicBezTo>
                    <a:pt x="252413" y="1383982"/>
                    <a:pt x="261938" y="1374457"/>
                    <a:pt x="273368" y="1374457"/>
                  </a:cubicBezTo>
                  <a:close/>
                  <a:moveTo>
                    <a:pt x="2065973" y="1373504"/>
                  </a:moveTo>
                  <a:cubicBezTo>
                    <a:pt x="2073593" y="1373504"/>
                    <a:pt x="2080260" y="1380171"/>
                    <a:pt x="2080260" y="1387792"/>
                  </a:cubicBezTo>
                  <a:cubicBezTo>
                    <a:pt x="2080260" y="1395412"/>
                    <a:pt x="2073593" y="1402079"/>
                    <a:pt x="2065973" y="1402079"/>
                  </a:cubicBezTo>
                  <a:cubicBezTo>
                    <a:pt x="2058353" y="1402079"/>
                    <a:pt x="2051685" y="1395412"/>
                    <a:pt x="2051685" y="1387792"/>
                  </a:cubicBezTo>
                  <a:cubicBezTo>
                    <a:pt x="2051685" y="1380171"/>
                    <a:pt x="2058353" y="1373504"/>
                    <a:pt x="2065973" y="1373504"/>
                  </a:cubicBezTo>
                  <a:close/>
                  <a:moveTo>
                    <a:pt x="1556385" y="1373504"/>
                  </a:moveTo>
                  <a:cubicBezTo>
                    <a:pt x="1562100" y="1373504"/>
                    <a:pt x="1565910" y="1377314"/>
                    <a:pt x="1565910" y="1383029"/>
                  </a:cubicBezTo>
                  <a:cubicBezTo>
                    <a:pt x="1565910" y="1388744"/>
                    <a:pt x="1561148" y="1392554"/>
                    <a:pt x="1556385" y="1392554"/>
                  </a:cubicBezTo>
                  <a:cubicBezTo>
                    <a:pt x="1551623" y="1392554"/>
                    <a:pt x="1546860" y="1388744"/>
                    <a:pt x="1546860" y="1383029"/>
                  </a:cubicBezTo>
                  <a:cubicBezTo>
                    <a:pt x="1546860" y="1377314"/>
                    <a:pt x="1551623" y="1373504"/>
                    <a:pt x="1556385" y="1373504"/>
                  </a:cubicBezTo>
                  <a:close/>
                  <a:moveTo>
                    <a:pt x="641985" y="1373504"/>
                  </a:moveTo>
                  <a:cubicBezTo>
                    <a:pt x="652462" y="1373504"/>
                    <a:pt x="661035" y="1382077"/>
                    <a:pt x="661035" y="1392554"/>
                  </a:cubicBezTo>
                  <a:cubicBezTo>
                    <a:pt x="661035" y="1403032"/>
                    <a:pt x="652462" y="1411604"/>
                    <a:pt x="641985" y="1411604"/>
                  </a:cubicBezTo>
                  <a:cubicBezTo>
                    <a:pt x="631508" y="1411604"/>
                    <a:pt x="622935" y="1403032"/>
                    <a:pt x="622935" y="1392554"/>
                  </a:cubicBezTo>
                  <a:cubicBezTo>
                    <a:pt x="622935" y="1382077"/>
                    <a:pt x="631508" y="1373504"/>
                    <a:pt x="641985" y="1373504"/>
                  </a:cubicBezTo>
                  <a:close/>
                  <a:moveTo>
                    <a:pt x="1044892" y="1372552"/>
                  </a:moveTo>
                  <a:cubicBezTo>
                    <a:pt x="1050608" y="1372552"/>
                    <a:pt x="1055370" y="1377315"/>
                    <a:pt x="1055370" y="1383029"/>
                  </a:cubicBezTo>
                  <a:cubicBezTo>
                    <a:pt x="1055370" y="1388744"/>
                    <a:pt x="1050608" y="1393507"/>
                    <a:pt x="1044892" y="1393507"/>
                  </a:cubicBezTo>
                  <a:cubicBezTo>
                    <a:pt x="1039178" y="1393507"/>
                    <a:pt x="1034415" y="1388744"/>
                    <a:pt x="1034415" y="1383029"/>
                  </a:cubicBezTo>
                  <a:cubicBezTo>
                    <a:pt x="1034415" y="1377315"/>
                    <a:pt x="1039178" y="1372552"/>
                    <a:pt x="1044892" y="1372552"/>
                  </a:cubicBezTo>
                  <a:close/>
                  <a:moveTo>
                    <a:pt x="753428" y="1372552"/>
                  </a:moveTo>
                  <a:cubicBezTo>
                    <a:pt x="763905" y="1372552"/>
                    <a:pt x="771525" y="1381124"/>
                    <a:pt x="771525" y="1390649"/>
                  </a:cubicBezTo>
                  <a:cubicBezTo>
                    <a:pt x="771525" y="1401127"/>
                    <a:pt x="762953" y="1408747"/>
                    <a:pt x="753428" y="1408747"/>
                  </a:cubicBezTo>
                  <a:cubicBezTo>
                    <a:pt x="743903" y="1408747"/>
                    <a:pt x="735330" y="1401127"/>
                    <a:pt x="735330" y="1390649"/>
                  </a:cubicBezTo>
                  <a:cubicBezTo>
                    <a:pt x="735330" y="1380172"/>
                    <a:pt x="743903" y="1372552"/>
                    <a:pt x="753428" y="1372552"/>
                  </a:cubicBezTo>
                  <a:close/>
                  <a:moveTo>
                    <a:pt x="535304" y="1367790"/>
                  </a:moveTo>
                  <a:cubicBezTo>
                    <a:pt x="546735" y="1367790"/>
                    <a:pt x="555307" y="1377315"/>
                    <a:pt x="555307" y="1387792"/>
                  </a:cubicBezTo>
                  <a:cubicBezTo>
                    <a:pt x="555307" y="1399222"/>
                    <a:pt x="545782" y="1407795"/>
                    <a:pt x="535304" y="1407795"/>
                  </a:cubicBezTo>
                  <a:cubicBezTo>
                    <a:pt x="524827" y="1407795"/>
                    <a:pt x="515302" y="1398270"/>
                    <a:pt x="515302" y="1387792"/>
                  </a:cubicBezTo>
                  <a:cubicBezTo>
                    <a:pt x="515302" y="1376362"/>
                    <a:pt x="523875" y="1367790"/>
                    <a:pt x="535304" y="1367790"/>
                  </a:cubicBezTo>
                  <a:close/>
                  <a:moveTo>
                    <a:pt x="869633" y="1364932"/>
                  </a:moveTo>
                  <a:cubicBezTo>
                    <a:pt x="879158" y="1364932"/>
                    <a:pt x="886778" y="1372552"/>
                    <a:pt x="886778" y="1382077"/>
                  </a:cubicBezTo>
                  <a:cubicBezTo>
                    <a:pt x="886778" y="1391602"/>
                    <a:pt x="879158" y="1399222"/>
                    <a:pt x="869633" y="1399222"/>
                  </a:cubicBezTo>
                  <a:cubicBezTo>
                    <a:pt x="860108" y="1399222"/>
                    <a:pt x="852488" y="1391602"/>
                    <a:pt x="852488" y="1382077"/>
                  </a:cubicBezTo>
                  <a:cubicBezTo>
                    <a:pt x="852488" y="1372552"/>
                    <a:pt x="860108" y="1364932"/>
                    <a:pt x="869633" y="1364932"/>
                  </a:cubicBezTo>
                  <a:close/>
                  <a:moveTo>
                    <a:pt x="1981201" y="1360170"/>
                  </a:moveTo>
                  <a:cubicBezTo>
                    <a:pt x="1988821" y="1360170"/>
                    <a:pt x="1995488" y="1366837"/>
                    <a:pt x="1995488" y="1374458"/>
                  </a:cubicBezTo>
                  <a:cubicBezTo>
                    <a:pt x="1995488" y="1382078"/>
                    <a:pt x="1988821" y="1388745"/>
                    <a:pt x="1981201" y="1388745"/>
                  </a:cubicBezTo>
                  <a:cubicBezTo>
                    <a:pt x="1973580" y="1388745"/>
                    <a:pt x="1966913" y="1382078"/>
                    <a:pt x="1966913" y="1374458"/>
                  </a:cubicBezTo>
                  <a:cubicBezTo>
                    <a:pt x="1966913" y="1366837"/>
                    <a:pt x="1973580" y="1360170"/>
                    <a:pt x="1981201" y="1360170"/>
                  </a:cubicBezTo>
                  <a:close/>
                  <a:moveTo>
                    <a:pt x="432435" y="1357312"/>
                  </a:moveTo>
                  <a:cubicBezTo>
                    <a:pt x="444008" y="1357312"/>
                    <a:pt x="453390" y="1366694"/>
                    <a:pt x="453390" y="1378267"/>
                  </a:cubicBezTo>
                  <a:cubicBezTo>
                    <a:pt x="453390" y="1389840"/>
                    <a:pt x="444008" y="1399222"/>
                    <a:pt x="432435" y="1399222"/>
                  </a:cubicBezTo>
                  <a:cubicBezTo>
                    <a:pt x="420862" y="1399222"/>
                    <a:pt x="411480" y="1389840"/>
                    <a:pt x="411480" y="1378267"/>
                  </a:cubicBezTo>
                  <a:cubicBezTo>
                    <a:pt x="411480" y="1366694"/>
                    <a:pt x="420862" y="1357312"/>
                    <a:pt x="432435" y="1357312"/>
                  </a:cubicBezTo>
                  <a:close/>
                  <a:moveTo>
                    <a:pt x="1757363" y="1356359"/>
                  </a:moveTo>
                  <a:cubicBezTo>
                    <a:pt x="1764030" y="1356359"/>
                    <a:pt x="1769745" y="1362074"/>
                    <a:pt x="1769745" y="1368742"/>
                  </a:cubicBezTo>
                  <a:cubicBezTo>
                    <a:pt x="1769745" y="1375409"/>
                    <a:pt x="1764030" y="1381124"/>
                    <a:pt x="1757363" y="1381124"/>
                  </a:cubicBezTo>
                  <a:cubicBezTo>
                    <a:pt x="1750695" y="1381124"/>
                    <a:pt x="1744980" y="1376362"/>
                    <a:pt x="1744980" y="1368742"/>
                  </a:cubicBezTo>
                  <a:cubicBezTo>
                    <a:pt x="1744980" y="1362074"/>
                    <a:pt x="1750695" y="1356359"/>
                    <a:pt x="1757363" y="1356359"/>
                  </a:cubicBezTo>
                  <a:close/>
                  <a:moveTo>
                    <a:pt x="2188845" y="1354454"/>
                  </a:moveTo>
                  <a:cubicBezTo>
                    <a:pt x="2190750" y="1354454"/>
                    <a:pt x="2192655" y="1356359"/>
                    <a:pt x="2192655" y="1358264"/>
                  </a:cubicBezTo>
                  <a:cubicBezTo>
                    <a:pt x="2192655" y="1360169"/>
                    <a:pt x="2190750" y="1362074"/>
                    <a:pt x="2188845" y="1362074"/>
                  </a:cubicBezTo>
                  <a:cubicBezTo>
                    <a:pt x="2186940" y="1362074"/>
                    <a:pt x="2185035" y="1360169"/>
                    <a:pt x="2185035" y="1358264"/>
                  </a:cubicBezTo>
                  <a:cubicBezTo>
                    <a:pt x="2185035" y="1356359"/>
                    <a:pt x="2186940" y="1354454"/>
                    <a:pt x="2188845" y="1354454"/>
                  </a:cubicBezTo>
                  <a:close/>
                  <a:moveTo>
                    <a:pt x="1611630" y="1354454"/>
                  </a:moveTo>
                  <a:cubicBezTo>
                    <a:pt x="1617345" y="1354454"/>
                    <a:pt x="1621155" y="1359217"/>
                    <a:pt x="1621155" y="1363979"/>
                  </a:cubicBezTo>
                  <a:cubicBezTo>
                    <a:pt x="1621155" y="1369694"/>
                    <a:pt x="1616393" y="1373504"/>
                    <a:pt x="1611630" y="1373504"/>
                  </a:cubicBezTo>
                  <a:cubicBezTo>
                    <a:pt x="1605915" y="1373504"/>
                    <a:pt x="1602105" y="1369694"/>
                    <a:pt x="1602105" y="1363979"/>
                  </a:cubicBezTo>
                  <a:cubicBezTo>
                    <a:pt x="1602105" y="1358264"/>
                    <a:pt x="1605915" y="1354454"/>
                    <a:pt x="1611630" y="1354454"/>
                  </a:cubicBezTo>
                  <a:close/>
                  <a:moveTo>
                    <a:pt x="989648" y="1352550"/>
                  </a:moveTo>
                  <a:cubicBezTo>
                    <a:pt x="996315" y="1352550"/>
                    <a:pt x="1002030" y="1358265"/>
                    <a:pt x="1002030" y="1364933"/>
                  </a:cubicBezTo>
                  <a:cubicBezTo>
                    <a:pt x="1002030" y="1371600"/>
                    <a:pt x="996315" y="1377315"/>
                    <a:pt x="989648" y="1377315"/>
                  </a:cubicBezTo>
                  <a:cubicBezTo>
                    <a:pt x="982980" y="1377315"/>
                    <a:pt x="978217" y="1371600"/>
                    <a:pt x="977265" y="1364933"/>
                  </a:cubicBezTo>
                  <a:cubicBezTo>
                    <a:pt x="977265" y="1358265"/>
                    <a:pt x="982980" y="1352550"/>
                    <a:pt x="989648" y="1352550"/>
                  </a:cubicBezTo>
                  <a:close/>
                  <a:moveTo>
                    <a:pt x="1285875" y="1351597"/>
                  </a:moveTo>
                  <a:cubicBezTo>
                    <a:pt x="1287780" y="1351597"/>
                    <a:pt x="1289685" y="1353502"/>
                    <a:pt x="1289685" y="1355407"/>
                  </a:cubicBezTo>
                  <a:cubicBezTo>
                    <a:pt x="1289685" y="1357312"/>
                    <a:pt x="1287780" y="1359217"/>
                    <a:pt x="1285875" y="1359217"/>
                  </a:cubicBezTo>
                  <a:cubicBezTo>
                    <a:pt x="1283970" y="1359217"/>
                    <a:pt x="1283017" y="1357312"/>
                    <a:pt x="1282065" y="1355407"/>
                  </a:cubicBezTo>
                  <a:cubicBezTo>
                    <a:pt x="1282065" y="1353502"/>
                    <a:pt x="1283970" y="1351597"/>
                    <a:pt x="1285875" y="1351597"/>
                  </a:cubicBezTo>
                  <a:close/>
                  <a:moveTo>
                    <a:pt x="1343977" y="1350645"/>
                  </a:moveTo>
                  <a:cubicBezTo>
                    <a:pt x="1345882" y="1350645"/>
                    <a:pt x="1347787" y="1352550"/>
                    <a:pt x="1347787" y="1354455"/>
                  </a:cubicBezTo>
                  <a:cubicBezTo>
                    <a:pt x="1347787" y="1356360"/>
                    <a:pt x="1345882" y="1358265"/>
                    <a:pt x="1343977" y="1358265"/>
                  </a:cubicBezTo>
                  <a:cubicBezTo>
                    <a:pt x="1342072" y="1358265"/>
                    <a:pt x="1340167" y="1356360"/>
                    <a:pt x="1340167" y="1354455"/>
                  </a:cubicBezTo>
                  <a:cubicBezTo>
                    <a:pt x="1340167" y="1352550"/>
                    <a:pt x="1342072" y="1350645"/>
                    <a:pt x="1343977" y="1350645"/>
                  </a:cubicBezTo>
                  <a:close/>
                  <a:moveTo>
                    <a:pt x="1895475" y="1348740"/>
                  </a:moveTo>
                  <a:cubicBezTo>
                    <a:pt x="1901190" y="1348740"/>
                    <a:pt x="1905952" y="1353503"/>
                    <a:pt x="1905952" y="1359217"/>
                  </a:cubicBezTo>
                  <a:cubicBezTo>
                    <a:pt x="1905952" y="1364932"/>
                    <a:pt x="1901190" y="1369695"/>
                    <a:pt x="1895475" y="1369695"/>
                  </a:cubicBezTo>
                  <a:cubicBezTo>
                    <a:pt x="1889760" y="1369695"/>
                    <a:pt x="1884997" y="1364932"/>
                    <a:pt x="1884997" y="1359217"/>
                  </a:cubicBezTo>
                  <a:cubicBezTo>
                    <a:pt x="1884997" y="1353503"/>
                    <a:pt x="1889760" y="1348740"/>
                    <a:pt x="1895475" y="1348740"/>
                  </a:cubicBezTo>
                  <a:close/>
                  <a:moveTo>
                    <a:pt x="1228726" y="1347787"/>
                  </a:moveTo>
                  <a:cubicBezTo>
                    <a:pt x="1231583" y="1347787"/>
                    <a:pt x="1233488" y="1349692"/>
                    <a:pt x="1233488" y="1352550"/>
                  </a:cubicBezTo>
                  <a:cubicBezTo>
                    <a:pt x="1233488" y="1355407"/>
                    <a:pt x="1231583" y="1357312"/>
                    <a:pt x="1228726" y="1357312"/>
                  </a:cubicBezTo>
                  <a:cubicBezTo>
                    <a:pt x="1225868" y="1357312"/>
                    <a:pt x="1223963" y="1355407"/>
                    <a:pt x="1223963" y="1352550"/>
                  </a:cubicBezTo>
                  <a:cubicBezTo>
                    <a:pt x="1223963" y="1349692"/>
                    <a:pt x="1225868" y="1347787"/>
                    <a:pt x="1228726" y="1347787"/>
                  </a:cubicBezTo>
                  <a:close/>
                  <a:moveTo>
                    <a:pt x="1401128" y="1344929"/>
                  </a:moveTo>
                  <a:cubicBezTo>
                    <a:pt x="1403985" y="1344929"/>
                    <a:pt x="1405890" y="1346834"/>
                    <a:pt x="1405890" y="1349692"/>
                  </a:cubicBezTo>
                  <a:cubicBezTo>
                    <a:pt x="1405890" y="1352549"/>
                    <a:pt x="1403985" y="1354454"/>
                    <a:pt x="1401128" y="1354454"/>
                  </a:cubicBezTo>
                  <a:cubicBezTo>
                    <a:pt x="1398270" y="1354454"/>
                    <a:pt x="1396365" y="1352549"/>
                    <a:pt x="1396365" y="1349692"/>
                  </a:cubicBezTo>
                  <a:cubicBezTo>
                    <a:pt x="1396365" y="1346834"/>
                    <a:pt x="1398270" y="1344929"/>
                    <a:pt x="1401128" y="1344929"/>
                  </a:cubicBezTo>
                  <a:close/>
                  <a:moveTo>
                    <a:pt x="333375" y="1344929"/>
                  </a:moveTo>
                  <a:cubicBezTo>
                    <a:pt x="344805" y="1344929"/>
                    <a:pt x="354330" y="1354454"/>
                    <a:pt x="354330" y="1365884"/>
                  </a:cubicBezTo>
                  <a:cubicBezTo>
                    <a:pt x="354330" y="1377314"/>
                    <a:pt x="344805" y="1386839"/>
                    <a:pt x="333375" y="1386839"/>
                  </a:cubicBezTo>
                  <a:cubicBezTo>
                    <a:pt x="320993" y="1386839"/>
                    <a:pt x="312420" y="1377314"/>
                    <a:pt x="312420" y="1365884"/>
                  </a:cubicBezTo>
                  <a:cubicBezTo>
                    <a:pt x="312420" y="1354454"/>
                    <a:pt x="321945" y="1344929"/>
                    <a:pt x="333375" y="1344929"/>
                  </a:cubicBezTo>
                  <a:close/>
                  <a:moveTo>
                    <a:pt x="705802" y="1342072"/>
                  </a:moveTo>
                  <a:cubicBezTo>
                    <a:pt x="715327" y="1342072"/>
                    <a:pt x="721995" y="1349692"/>
                    <a:pt x="721995" y="1358265"/>
                  </a:cubicBezTo>
                  <a:cubicBezTo>
                    <a:pt x="721995" y="1367790"/>
                    <a:pt x="714375" y="1374457"/>
                    <a:pt x="705802" y="1374457"/>
                  </a:cubicBezTo>
                  <a:cubicBezTo>
                    <a:pt x="697230" y="1374457"/>
                    <a:pt x="689610" y="1367790"/>
                    <a:pt x="689610" y="1358265"/>
                  </a:cubicBezTo>
                  <a:cubicBezTo>
                    <a:pt x="689610" y="1348740"/>
                    <a:pt x="697230" y="1342072"/>
                    <a:pt x="705802" y="1342072"/>
                  </a:cubicBezTo>
                  <a:close/>
                  <a:moveTo>
                    <a:pt x="1171575" y="1340167"/>
                  </a:moveTo>
                  <a:cubicBezTo>
                    <a:pt x="1174433" y="1340167"/>
                    <a:pt x="1177290" y="1343025"/>
                    <a:pt x="1177290" y="1345882"/>
                  </a:cubicBezTo>
                  <a:cubicBezTo>
                    <a:pt x="1177290" y="1348740"/>
                    <a:pt x="1174433" y="1351597"/>
                    <a:pt x="1171575" y="1351597"/>
                  </a:cubicBezTo>
                  <a:cubicBezTo>
                    <a:pt x="1168718" y="1351597"/>
                    <a:pt x="1165860" y="1348740"/>
                    <a:pt x="1165860" y="1345882"/>
                  </a:cubicBezTo>
                  <a:cubicBezTo>
                    <a:pt x="1165860" y="1343025"/>
                    <a:pt x="1168718" y="1340167"/>
                    <a:pt x="1171575" y="1340167"/>
                  </a:cubicBezTo>
                  <a:close/>
                  <a:moveTo>
                    <a:pt x="819150" y="1340167"/>
                  </a:moveTo>
                  <a:cubicBezTo>
                    <a:pt x="827723" y="1340167"/>
                    <a:pt x="834390" y="1346834"/>
                    <a:pt x="834390" y="1355407"/>
                  </a:cubicBezTo>
                  <a:cubicBezTo>
                    <a:pt x="834390" y="1363980"/>
                    <a:pt x="827723" y="1370647"/>
                    <a:pt x="819150" y="1370647"/>
                  </a:cubicBezTo>
                  <a:cubicBezTo>
                    <a:pt x="810577" y="1370647"/>
                    <a:pt x="803910" y="1363980"/>
                    <a:pt x="803910" y="1355407"/>
                  </a:cubicBezTo>
                  <a:cubicBezTo>
                    <a:pt x="803910" y="1346834"/>
                    <a:pt x="810577" y="1340167"/>
                    <a:pt x="819150" y="1340167"/>
                  </a:cubicBezTo>
                  <a:close/>
                  <a:moveTo>
                    <a:pt x="597218" y="1339215"/>
                  </a:moveTo>
                  <a:cubicBezTo>
                    <a:pt x="606743" y="1339215"/>
                    <a:pt x="614363" y="1346835"/>
                    <a:pt x="614363" y="1356360"/>
                  </a:cubicBezTo>
                  <a:cubicBezTo>
                    <a:pt x="614363" y="1365885"/>
                    <a:pt x="606743" y="1373505"/>
                    <a:pt x="597218" y="1373505"/>
                  </a:cubicBezTo>
                  <a:cubicBezTo>
                    <a:pt x="587693" y="1373505"/>
                    <a:pt x="580073" y="1365885"/>
                    <a:pt x="580073" y="1356360"/>
                  </a:cubicBezTo>
                  <a:cubicBezTo>
                    <a:pt x="580073" y="1346835"/>
                    <a:pt x="587693" y="1339215"/>
                    <a:pt x="597218" y="1339215"/>
                  </a:cubicBezTo>
                  <a:close/>
                  <a:moveTo>
                    <a:pt x="1458278" y="1338262"/>
                  </a:moveTo>
                  <a:cubicBezTo>
                    <a:pt x="1460183" y="1338262"/>
                    <a:pt x="1461135" y="1339215"/>
                    <a:pt x="1461135" y="1341120"/>
                  </a:cubicBezTo>
                  <a:cubicBezTo>
                    <a:pt x="1461135" y="1343025"/>
                    <a:pt x="1460183" y="1343977"/>
                    <a:pt x="1458278" y="1343977"/>
                  </a:cubicBezTo>
                  <a:cubicBezTo>
                    <a:pt x="1456372" y="1343977"/>
                    <a:pt x="1455420" y="1342072"/>
                    <a:pt x="1455420" y="1341120"/>
                  </a:cubicBezTo>
                  <a:cubicBezTo>
                    <a:pt x="1455420" y="1339215"/>
                    <a:pt x="1456372" y="1338262"/>
                    <a:pt x="1458278" y="1338262"/>
                  </a:cubicBezTo>
                  <a:close/>
                  <a:moveTo>
                    <a:pt x="1664970" y="1336357"/>
                  </a:moveTo>
                  <a:cubicBezTo>
                    <a:pt x="1668780" y="1336357"/>
                    <a:pt x="1671638" y="1339215"/>
                    <a:pt x="1671638" y="1343024"/>
                  </a:cubicBezTo>
                  <a:cubicBezTo>
                    <a:pt x="1671638" y="1346834"/>
                    <a:pt x="1668780" y="1349692"/>
                    <a:pt x="1664970" y="1349692"/>
                  </a:cubicBezTo>
                  <a:cubicBezTo>
                    <a:pt x="1661160" y="1349692"/>
                    <a:pt x="1658303" y="1346834"/>
                    <a:pt x="1658303" y="1343024"/>
                  </a:cubicBezTo>
                  <a:cubicBezTo>
                    <a:pt x="1658303" y="1339215"/>
                    <a:pt x="1661160" y="1336357"/>
                    <a:pt x="1664970" y="1336357"/>
                  </a:cubicBezTo>
                  <a:close/>
                  <a:moveTo>
                    <a:pt x="2107883" y="1335404"/>
                  </a:moveTo>
                  <a:cubicBezTo>
                    <a:pt x="2114550" y="1335404"/>
                    <a:pt x="2120265" y="1341119"/>
                    <a:pt x="2120265" y="1347787"/>
                  </a:cubicBezTo>
                  <a:cubicBezTo>
                    <a:pt x="2120265" y="1354454"/>
                    <a:pt x="2114550" y="1360169"/>
                    <a:pt x="2107883" y="1360169"/>
                  </a:cubicBezTo>
                  <a:cubicBezTo>
                    <a:pt x="2101215" y="1360169"/>
                    <a:pt x="2096453" y="1355407"/>
                    <a:pt x="2095500" y="1347787"/>
                  </a:cubicBezTo>
                  <a:cubicBezTo>
                    <a:pt x="2095500" y="1341119"/>
                    <a:pt x="2101215" y="1335404"/>
                    <a:pt x="2107883" y="1335404"/>
                  </a:cubicBezTo>
                  <a:close/>
                  <a:moveTo>
                    <a:pt x="237172" y="1333500"/>
                  </a:moveTo>
                  <a:cubicBezTo>
                    <a:pt x="246697" y="1333500"/>
                    <a:pt x="254317" y="1341120"/>
                    <a:pt x="254317" y="1350645"/>
                  </a:cubicBezTo>
                  <a:cubicBezTo>
                    <a:pt x="254317" y="1360170"/>
                    <a:pt x="246697" y="1367790"/>
                    <a:pt x="237172" y="1367790"/>
                  </a:cubicBezTo>
                  <a:cubicBezTo>
                    <a:pt x="227647" y="1367790"/>
                    <a:pt x="220027" y="1360170"/>
                    <a:pt x="220027" y="1350645"/>
                  </a:cubicBezTo>
                  <a:cubicBezTo>
                    <a:pt x="220027" y="1341120"/>
                    <a:pt x="227647" y="1333500"/>
                    <a:pt x="237172" y="1333500"/>
                  </a:cubicBezTo>
                  <a:close/>
                  <a:moveTo>
                    <a:pt x="936308" y="1332547"/>
                  </a:moveTo>
                  <a:cubicBezTo>
                    <a:pt x="942023" y="1332547"/>
                    <a:pt x="946785" y="1337310"/>
                    <a:pt x="946785" y="1343025"/>
                  </a:cubicBezTo>
                  <a:cubicBezTo>
                    <a:pt x="946785" y="1348740"/>
                    <a:pt x="942023" y="1353502"/>
                    <a:pt x="936308" y="1353502"/>
                  </a:cubicBezTo>
                  <a:cubicBezTo>
                    <a:pt x="930593" y="1353502"/>
                    <a:pt x="926783" y="1348740"/>
                    <a:pt x="925830" y="1343025"/>
                  </a:cubicBezTo>
                  <a:cubicBezTo>
                    <a:pt x="925830" y="1337310"/>
                    <a:pt x="930593" y="1332547"/>
                    <a:pt x="936308" y="1332547"/>
                  </a:cubicBezTo>
                  <a:close/>
                  <a:moveTo>
                    <a:pt x="1806892" y="1331595"/>
                  </a:moveTo>
                  <a:cubicBezTo>
                    <a:pt x="1811655" y="1331595"/>
                    <a:pt x="1815465" y="1335405"/>
                    <a:pt x="1815465" y="1340167"/>
                  </a:cubicBezTo>
                  <a:cubicBezTo>
                    <a:pt x="1815465" y="1344930"/>
                    <a:pt x="1811655" y="1348740"/>
                    <a:pt x="1806892" y="1348740"/>
                  </a:cubicBezTo>
                  <a:cubicBezTo>
                    <a:pt x="1803083" y="1348740"/>
                    <a:pt x="1798320" y="1344930"/>
                    <a:pt x="1798320" y="1340167"/>
                  </a:cubicBezTo>
                  <a:cubicBezTo>
                    <a:pt x="1798320" y="1335405"/>
                    <a:pt x="1802130" y="1331595"/>
                    <a:pt x="1806892" y="1331595"/>
                  </a:cubicBezTo>
                  <a:close/>
                  <a:moveTo>
                    <a:pt x="493395" y="1330642"/>
                  </a:moveTo>
                  <a:cubicBezTo>
                    <a:pt x="502920" y="1330642"/>
                    <a:pt x="511493" y="1338262"/>
                    <a:pt x="511493" y="1348740"/>
                  </a:cubicBezTo>
                  <a:cubicBezTo>
                    <a:pt x="511493" y="1358265"/>
                    <a:pt x="503873" y="1366837"/>
                    <a:pt x="493395" y="1366837"/>
                  </a:cubicBezTo>
                  <a:cubicBezTo>
                    <a:pt x="482918" y="1366837"/>
                    <a:pt x="475298" y="1358265"/>
                    <a:pt x="475298" y="1348740"/>
                  </a:cubicBezTo>
                  <a:cubicBezTo>
                    <a:pt x="475298" y="1339215"/>
                    <a:pt x="482918" y="1330642"/>
                    <a:pt x="493395" y="1330642"/>
                  </a:cubicBezTo>
                  <a:close/>
                  <a:moveTo>
                    <a:pt x="143827" y="1330642"/>
                  </a:moveTo>
                  <a:cubicBezTo>
                    <a:pt x="144780" y="1330642"/>
                    <a:pt x="145732" y="1331595"/>
                    <a:pt x="145732" y="1332547"/>
                  </a:cubicBezTo>
                  <a:cubicBezTo>
                    <a:pt x="145732" y="1333500"/>
                    <a:pt x="144780" y="1334452"/>
                    <a:pt x="143827" y="1334452"/>
                  </a:cubicBezTo>
                  <a:cubicBezTo>
                    <a:pt x="142875" y="1334452"/>
                    <a:pt x="141922" y="1333500"/>
                    <a:pt x="141922" y="1332547"/>
                  </a:cubicBezTo>
                  <a:cubicBezTo>
                    <a:pt x="141922" y="1331595"/>
                    <a:pt x="142875" y="1330642"/>
                    <a:pt x="143827" y="1330642"/>
                  </a:cubicBezTo>
                  <a:close/>
                  <a:moveTo>
                    <a:pt x="1114426" y="1329690"/>
                  </a:moveTo>
                  <a:cubicBezTo>
                    <a:pt x="1117283" y="1329690"/>
                    <a:pt x="1119188" y="1331595"/>
                    <a:pt x="1119188" y="1334453"/>
                  </a:cubicBezTo>
                  <a:cubicBezTo>
                    <a:pt x="1119188" y="1337310"/>
                    <a:pt x="1117283" y="1339215"/>
                    <a:pt x="1114426" y="1339215"/>
                  </a:cubicBezTo>
                  <a:cubicBezTo>
                    <a:pt x="1112521" y="1339215"/>
                    <a:pt x="1109663" y="1337310"/>
                    <a:pt x="1109663" y="1334453"/>
                  </a:cubicBezTo>
                  <a:cubicBezTo>
                    <a:pt x="1109663" y="1331595"/>
                    <a:pt x="1111568" y="1329690"/>
                    <a:pt x="1114426" y="1329690"/>
                  </a:cubicBezTo>
                  <a:close/>
                  <a:moveTo>
                    <a:pt x="2025968" y="1326832"/>
                  </a:moveTo>
                  <a:cubicBezTo>
                    <a:pt x="2031683" y="1326832"/>
                    <a:pt x="2036445" y="1331595"/>
                    <a:pt x="2036445" y="1337309"/>
                  </a:cubicBezTo>
                  <a:cubicBezTo>
                    <a:pt x="2036445" y="1343024"/>
                    <a:pt x="2031683" y="1347787"/>
                    <a:pt x="2025968" y="1347787"/>
                  </a:cubicBezTo>
                  <a:cubicBezTo>
                    <a:pt x="2019300" y="1347787"/>
                    <a:pt x="2014538" y="1343024"/>
                    <a:pt x="2015490" y="1337309"/>
                  </a:cubicBezTo>
                  <a:cubicBezTo>
                    <a:pt x="2015490" y="1331595"/>
                    <a:pt x="2020253" y="1326832"/>
                    <a:pt x="2025968" y="1326832"/>
                  </a:cubicBezTo>
                  <a:close/>
                  <a:moveTo>
                    <a:pt x="1514475" y="1324927"/>
                  </a:moveTo>
                  <a:cubicBezTo>
                    <a:pt x="1516380" y="1324927"/>
                    <a:pt x="1518285" y="1326832"/>
                    <a:pt x="1518285" y="1328737"/>
                  </a:cubicBezTo>
                  <a:cubicBezTo>
                    <a:pt x="1518285" y="1330642"/>
                    <a:pt x="1516380" y="1332547"/>
                    <a:pt x="1514475" y="1332547"/>
                  </a:cubicBezTo>
                  <a:cubicBezTo>
                    <a:pt x="1512570" y="1332547"/>
                    <a:pt x="1510665" y="1330642"/>
                    <a:pt x="1510665" y="1328737"/>
                  </a:cubicBezTo>
                  <a:cubicBezTo>
                    <a:pt x="1510665" y="1326832"/>
                    <a:pt x="1512570" y="1324927"/>
                    <a:pt x="1514475" y="1324927"/>
                  </a:cubicBezTo>
                  <a:close/>
                  <a:moveTo>
                    <a:pt x="392431" y="1316355"/>
                  </a:moveTo>
                  <a:cubicBezTo>
                    <a:pt x="403478" y="1316355"/>
                    <a:pt x="412433" y="1325310"/>
                    <a:pt x="412433" y="1336358"/>
                  </a:cubicBezTo>
                  <a:cubicBezTo>
                    <a:pt x="412433" y="1347405"/>
                    <a:pt x="403478" y="1356360"/>
                    <a:pt x="392431" y="1356360"/>
                  </a:cubicBezTo>
                  <a:cubicBezTo>
                    <a:pt x="381383" y="1356360"/>
                    <a:pt x="372428" y="1347405"/>
                    <a:pt x="372428" y="1336358"/>
                  </a:cubicBezTo>
                  <a:cubicBezTo>
                    <a:pt x="372428" y="1325310"/>
                    <a:pt x="381383" y="1316355"/>
                    <a:pt x="392431" y="1316355"/>
                  </a:cubicBezTo>
                  <a:close/>
                  <a:moveTo>
                    <a:pt x="1941195" y="1314450"/>
                  </a:moveTo>
                  <a:cubicBezTo>
                    <a:pt x="1946909" y="1314450"/>
                    <a:pt x="1951672" y="1319213"/>
                    <a:pt x="1951672" y="1324928"/>
                  </a:cubicBezTo>
                  <a:cubicBezTo>
                    <a:pt x="1951672" y="1330642"/>
                    <a:pt x="1946909" y="1335405"/>
                    <a:pt x="1941195" y="1335405"/>
                  </a:cubicBezTo>
                  <a:cubicBezTo>
                    <a:pt x="1935480" y="1335405"/>
                    <a:pt x="1930717" y="1330642"/>
                    <a:pt x="1930717" y="1324928"/>
                  </a:cubicBezTo>
                  <a:cubicBezTo>
                    <a:pt x="1930717" y="1319213"/>
                    <a:pt x="1935480" y="1314450"/>
                    <a:pt x="1941195" y="1314450"/>
                  </a:cubicBezTo>
                  <a:close/>
                  <a:moveTo>
                    <a:pt x="1059180" y="1312545"/>
                  </a:moveTo>
                  <a:cubicBezTo>
                    <a:pt x="1062990" y="1312545"/>
                    <a:pt x="1066800" y="1316355"/>
                    <a:pt x="1066800" y="1320165"/>
                  </a:cubicBezTo>
                  <a:cubicBezTo>
                    <a:pt x="1066800" y="1323975"/>
                    <a:pt x="1062990" y="1327785"/>
                    <a:pt x="1059180" y="1327785"/>
                  </a:cubicBezTo>
                  <a:cubicBezTo>
                    <a:pt x="1054417" y="1327785"/>
                    <a:pt x="1051560" y="1323975"/>
                    <a:pt x="1051560" y="1320165"/>
                  </a:cubicBezTo>
                  <a:cubicBezTo>
                    <a:pt x="1051560" y="1316355"/>
                    <a:pt x="1055370" y="1312545"/>
                    <a:pt x="1059180" y="1312545"/>
                  </a:cubicBezTo>
                  <a:close/>
                  <a:moveTo>
                    <a:pt x="2226945" y="1311592"/>
                  </a:moveTo>
                  <a:cubicBezTo>
                    <a:pt x="2229049" y="1311592"/>
                    <a:pt x="2230755" y="1313298"/>
                    <a:pt x="2230755" y="1315402"/>
                  </a:cubicBezTo>
                  <a:cubicBezTo>
                    <a:pt x="2230755" y="1317506"/>
                    <a:pt x="2229049" y="1319212"/>
                    <a:pt x="2226945" y="1319212"/>
                  </a:cubicBezTo>
                  <a:cubicBezTo>
                    <a:pt x="2224841" y="1319212"/>
                    <a:pt x="2223135" y="1317506"/>
                    <a:pt x="2223135" y="1315402"/>
                  </a:cubicBezTo>
                  <a:cubicBezTo>
                    <a:pt x="2223135" y="1313298"/>
                    <a:pt x="2224841" y="1311592"/>
                    <a:pt x="2226945" y="1311592"/>
                  </a:cubicBezTo>
                  <a:close/>
                  <a:moveTo>
                    <a:pt x="1716405" y="1309687"/>
                  </a:moveTo>
                  <a:cubicBezTo>
                    <a:pt x="1721168" y="1309687"/>
                    <a:pt x="1724978" y="1313497"/>
                    <a:pt x="1724978" y="1318259"/>
                  </a:cubicBezTo>
                  <a:cubicBezTo>
                    <a:pt x="1724978" y="1323022"/>
                    <a:pt x="1721168" y="1326832"/>
                    <a:pt x="1716405" y="1326832"/>
                  </a:cubicBezTo>
                  <a:cubicBezTo>
                    <a:pt x="1711643" y="1326832"/>
                    <a:pt x="1707833" y="1323022"/>
                    <a:pt x="1707833" y="1318259"/>
                  </a:cubicBezTo>
                  <a:cubicBezTo>
                    <a:pt x="1707833" y="1313497"/>
                    <a:pt x="1711643" y="1309687"/>
                    <a:pt x="1716405" y="1309687"/>
                  </a:cubicBezTo>
                  <a:close/>
                  <a:moveTo>
                    <a:pt x="769620" y="1308734"/>
                  </a:moveTo>
                  <a:cubicBezTo>
                    <a:pt x="779145" y="1308734"/>
                    <a:pt x="785812" y="1316354"/>
                    <a:pt x="785812" y="1324927"/>
                  </a:cubicBezTo>
                  <a:cubicBezTo>
                    <a:pt x="785812" y="1334452"/>
                    <a:pt x="778192" y="1341119"/>
                    <a:pt x="769620" y="1341119"/>
                  </a:cubicBezTo>
                  <a:cubicBezTo>
                    <a:pt x="761047" y="1341119"/>
                    <a:pt x="753427" y="1333499"/>
                    <a:pt x="753427" y="1324927"/>
                  </a:cubicBezTo>
                  <a:cubicBezTo>
                    <a:pt x="753427" y="1315402"/>
                    <a:pt x="761047" y="1308734"/>
                    <a:pt x="769620" y="1308734"/>
                  </a:cubicBezTo>
                  <a:close/>
                  <a:moveTo>
                    <a:pt x="1569721" y="1306829"/>
                  </a:moveTo>
                  <a:cubicBezTo>
                    <a:pt x="1572578" y="1306829"/>
                    <a:pt x="1574483" y="1308734"/>
                    <a:pt x="1574483" y="1311592"/>
                  </a:cubicBezTo>
                  <a:cubicBezTo>
                    <a:pt x="1574483" y="1314449"/>
                    <a:pt x="1572578" y="1316354"/>
                    <a:pt x="1569721" y="1316354"/>
                  </a:cubicBezTo>
                  <a:cubicBezTo>
                    <a:pt x="1566863" y="1316354"/>
                    <a:pt x="1564958" y="1314449"/>
                    <a:pt x="1564958" y="1311592"/>
                  </a:cubicBezTo>
                  <a:cubicBezTo>
                    <a:pt x="1564958" y="1308734"/>
                    <a:pt x="1566863" y="1306829"/>
                    <a:pt x="1569721" y="1306829"/>
                  </a:cubicBezTo>
                  <a:close/>
                  <a:moveTo>
                    <a:pt x="660083" y="1306829"/>
                  </a:moveTo>
                  <a:cubicBezTo>
                    <a:pt x="669608" y="1306829"/>
                    <a:pt x="677228" y="1314449"/>
                    <a:pt x="677228" y="1323974"/>
                  </a:cubicBezTo>
                  <a:cubicBezTo>
                    <a:pt x="677228" y="1333499"/>
                    <a:pt x="669608" y="1341119"/>
                    <a:pt x="660083" y="1341119"/>
                  </a:cubicBezTo>
                  <a:cubicBezTo>
                    <a:pt x="650558" y="1341119"/>
                    <a:pt x="642938" y="1333499"/>
                    <a:pt x="642938" y="1323974"/>
                  </a:cubicBezTo>
                  <a:cubicBezTo>
                    <a:pt x="642938" y="1314449"/>
                    <a:pt x="650558" y="1306829"/>
                    <a:pt x="660083" y="1306829"/>
                  </a:cubicBezTo>
                  <a:close/>
                  <a:moveTo>
                    <a:pt x="884872" y="1303972"/>
                  </a:moveTo>
                  <a:cubicBezTo>
                    <a:pt x="892492" y="1303972"/>
                    <a:pt x="899160" y="1309687"/>
                    <a:pt x="899160" y="1318260"/>
                  </a:cubicBezTo>
                  <a:cubicBezTo>
                    <a:pt x="899160" y="1325880"/>
                    <a:pt x="893445" y="1332547"/>
                    <a:pt x="884872" y="1332547"/>
                  </a:cubicBezTo>
                  <a:cubicBezTo>
                    <a:pt x="876300" y="1332547"/>
                    <a:pt x="869632" y="1325880"/>
                    <a:pt x="870585" y="1318260"/>
                  </a:cubicBezTo>
                  <a:cubicBezTo>
                    <a:pt x="870585" y="1310640"/>
                    <a:pt x="876300" y="1303972"/>
                    <a:pt x="884872" y="1303972"/>
                  </a:cubicBezTo>
                  <a:close/>
                  <a:moveTo>
                    <a:pt x="296228" y="1301115"/>
                  </a:moveTo>
                  <a:cubicBezTo>
                    <a:pt x="307658" y="1301115"/>
                    <a:pt x="317183" y="1310640"/>
                    <a:pt x="317183" y="1322070"/>
                  </a:cubicBezTo>
                  <a:cubicBezTo>
                    <a:pt x="317183" y="1333500"/>
                    <a:pt x="307658" y="1343025"/>
                    <a:pt x="296228" y="1343025"/>
                  </a:cubicBezTo>
                  <a:cubicBezTo>
                    <a:pt x="284798" y="1343025"/>
                    <a:pt x="275273" y="1333500"/>
                    <a:pt x="275273" y="1322070"/>
                  </a:cubicBezTo>
                  <a:cubicBezTo>
                    <a:pt x="275273" y="1310640"/>
                    <a:pt x="284798" y="1301115"/>
                    <a:pt x="296228" y="1301115"/>
                  </a:cubicBezTo>
                  <a:close/>
                  <a:moveTo>
                    <a:pt x="554355" y="1300162"/>
                  </a:moveTo>
                  <a:cubicBezTo>
                    <a:pt x="563880" y="1300162"/>
                    <a:pt x="572453" y="1307782"/>
                    <a:pt x="572453" y="1318259"/>
                  </a:cubicBezTo>
                  <a:cubicBezTo>
                    <a:pt x="572453" y="1327784"/>
                    <a:pt x="564833" y="1336357"/>
                    <a:pt x="554355" y="1336357"/>
                  </a:cubicBezTo>
                  <a:cubicBezTo>
                    <a:pt x="543878" y="1336357"/>
                    <a:pt x="536258" y="1327784"/>
                    <a:pt x="536258" y="1318259"/>
                  </a:cubicBezTo>
                  <a:cubicBezTo>
                    <a:pt x="536258" y="1308734"/>
                    <a:pt x="544830" y="1300162"/>
                    <a:pt x="554355" y="1300162"/>
                  </a:cubicBezTo>
                  <a:close/>
                  <a:moveTo>
                    <a:pt x="1855470" y="1299209"/>
                  </a:moveTo>
                  <a:cubicBezTo>
                    <a:pt x="1860232" y="1299209"/>
                    <a:pt x="1864042" y="1303019"/>
                    <a:pt x="1864042" y="1307782"/>
                  </a:cubicBezTo>
                  <a:cubicBezTo>
                    <a:pt x="1864042" y="1312544"/>
                    <a:pt x="1860232" y="1316354"/>
                    <a:pt x="1855470" y="1316354"/>
                  </a:cubicBezTo>
                  <a:cubicBezTo>
                    <a:pt x="1850707" y="1316354"/>
                    <a:pt x="1846897" y="1313497"/>
                    <a:pt x="1846897" y="1307782"/>
                  </a:cubicBezTo>
                  <a:cubicBezTo>
                    <a:pt x="1846897" y="1303019"/>
                    <a:pt x="1850707" y="1299209"/>
                    <a:pt x="1855470" y="1299209"/>
                  </a:cubicBezTo>
                  <a:close/>
                  <a:moveTo>
                    <a:pt x="2147888" y="1296352"/>
                  </a:moveTo>
                  <a:cubicBezTo>
                    <a:pt x="2153603" y="1296352"/>
                    <a:pt x="2159318" y="1301115"/>
                    <a:pt x="2159318" y="1307782"/>
                  </a:cubicBezTo>
                  <a:cubicBezTo>
                    <a:pt x="2159318" y="1313497"/>
                    <a:pt x="2154555" y="1319212"/>
                    <a:pt x="2147888" y="1319212"/>
                  </a:cubicBezTo>
                  <a:cubicBezTo>
                    <a:pt x="2142173" y="1319212"/>
                    <a:pt x="2136458" y="1313497"/>
                    <a:pt x="2136458" y="1307782"/>
                  </a:cubicBezTo>
                  <a:cubicBezTo>
                    <a:pt x="2136458" y="1302067"/>
                    <a:pt x="2141221" y="1296352"/>
                    <a:pt x="2147888" y="1296352"/>
                  </a:cubicBezTo>
                  <a:close/>
                  <a:moveTo>
                    <a:pt x="1003935" y="1291590"/>
                  </a:moveTo>
                  <a:cubicBezTo>
                    <a:pt x="1009650" y="1291590"/>
                    <a:pt x="1013460" y="1295400"/>
                    <a:pt x="1013460" y="1301115"/>
                  </a:cubicBezTo>
                  <a:cubicBezTo>
                    <a:pt x="1013460" y="1306830"/>
                    <a:pt x="1008698" y="1310640"/>
                    <a:pt x="1003935" y="1310640"/>
                  </a:cubicBezTo>
                  <a:cubicBezTo>
                    <a:pt x="999173" y="1310640"/>
                    <a:pt x="994410" y="1306830"/>
                    <a:pt x="994410" y="1301115"/>
                  </a:cubicBezTo>
                  <a:cubicBezTo>
                    <a:pt x="994410" y="1295400"/>
                    <a:pt x="999173" y="1291590"/>
                    <a:pt x="1003935" y="1291590"/>
                  </a:cubicBezTo>
                  <a:close/>
                  <a:moveTo>
                    <a:pt x="2067878" y="1289684"/>
                  </a:moveTo>
                  <a:cubicBezTo>
                    <a:pt x="2072640" y="1289684"/>
                    <a:pt x="2076450" y="1293494"/>
                    <a:pt x="2076450" y="1298257"/>
                  </a:cubicBezTo>
                  <a:cubicBezTo>
                    <a:pt x="2076450" y="1303019"/>
                    <a:pt x="2072640" y="1306829"/>
                    <a:pt x="2067878" y="1306829"/>
                  </a:cubicBezTo>
                  <a:cubicBezTo>
                    <a:pt x="2063115" y="1306829"/>
                    <a:pt x="2059305" y="1303019"/>
                    <a:pt x="2059305" y="1298257"/>
                  </a:cubicBezTo>
                  <a:cubicBezTo>
                    <a:pt x="2059305" y="1293494"/>
                    <a:pt x="2063115" y="1289684"/>
                    <a:pt x="2067878" y="1289684"/>
                  </a:cubicBezTo>
                  <a:close/>
                  <a:moveTo>
                    <a:pt x="452438" y="1289684"/>
                  </a:moveTo>
                  <a:cubicBezTo>
                    <a:pt x="461963" y="1289684"/>
                    <a:pt x="470535" y="1297304"/>
                    <a:pt x="470535" y="1307782"/>
                  </a:cubicBezTo>
                  <a:cubicBezTo>
                    <a:pt x="470535" y="1317307"/>
                    <a:pt x="462915" y="1325879"/>
                    <a:pt x="452438" y="1325879"/>
                  </a:cubicBezTo>
                  <a:cubicBezTo>
                    <a:pt x="442913" y="1325879"/>
                    <a:pt x="434340" y="1317307"/>
                    <a:pt x="434340" y="1307782"/>
                  </a:cubicBezTo>
                  <a:cubicBezTo>
                    <a:pt x="434340" y="1298257"/>
                    <a:pt x="441960" y="1289684"/>
                    <a:pt x="452438" y="1289684"/>
                  </a:cubicBezTo>
                  <a:close/>
                  <a:moveTo>
                    <a:pt x="1300163" y="1288732"/>
                  </a:moveTo>
                  <a:cubicBezTo>
                    <a:pt x="1302068" y="1288732"/>
                    <a:pt x="1303020" y="1290637"/>
                    <a:pt x="1303020" y="1291590"/>
                  </a:cubicBezTo>
                  <a:cubicBezTo>
                    <a:pt x="1303020" y="1293495"/>
                    <a:pt x="1301115" y="1294447"/>
                    <a:pt x="1300163" y="1294447"/>
                  </a:cubicBezTo>
                  <a:cubicBezTo>
                    <a:pt x="1299210" y="1294447"/>
                    <a:pt x="1298258" y="1293495"/>
                    <a:pt x="1297305" y="1291590"/>
                  </a:cubicBezTo>
                  <a:cubicBezTo>
                    <a:pt x="1297305" y="1289684"/>
                    <a:pt x="1298258" y="1288732"/>
                    <a:pt x="1300163" y="1288732"/>
                  </a:cubicBezTo>
                  <a:close/>
                  <a:moveTo>
                    <a:pt x="201930" y="1286827"/>
                  </a:moveTo>
                  <a:cubicBezTo>
                    <a:pt x="211455" y="1286827"/>
                    <a:pt x="219075" y="1294447"/>
                    <a:pt x="219075" y="1303972"/>
                  </a:cubicBezTo>
                  <a:cubicBezTo>
                    <a:pt x="219075" y="1313497"/>
                    <a:pt x="211455" y="1321117"/>
                    <a:pt x="201930" y="1321117"/>
                  </a:cubicBezTo>
                  <a:cubicBezTo>
                    <a:pt x="193357" y="1321117"/>
                    <a:pt x="185738" y="1313497"/>
                    <a:pt x="184785" y="1303972"/>
                  </a:cubicBezTo>
                  <a:cubicBezTo>
                    <a:pt x="184785" y="1294447"/>
                    <a:pt x="192405" y="1286827"/>
                    <a:pt x="201930" y="1286827"/>
                  </a:cubicBezTo>
                  <a:close/>
                  <a:moveTo>
                    <a:pt x="1623060" y="1285875"/>
                  </a:moveTo>
                  <a:cubicBezTo>
                    <a:pt x="1625917" y="1285875"/>
                    <a:pt x="1627822" y="1287780"/>
                    <a:pt x="1627822" y="1290638"/>
                  </a:cubicBezTo>
                  <a:cubicBezTo>
                    <a:pt x="1627822" y="1293495"/>
                    <a:pt x="1625917" y="1295400"/>
                    <a:pt x="1623060" y="1295400"/>
                  </a:cubicBezTo>
                  <a:cubicBezTo>
                    <a:pt x="1621155" y="1295400"/>
                    <a:pt x="1619250" y="1293495"/>
                    <a:pt x="1618297" y="1290638"/>
                  </a:cubicBezTo>
                  <a:cubicBezTo>
                    <a:pt x="1618297" y="1287780"/>
                    <a:pt x="1620202" y="1285875"/>
                    <a:pt x="1623060" y="1285875"/>
                  </a:cubicBezTo>
                  <a:close/>
                  <a:moveTo>
                    <a:pt x="1358266" y="1285875"/>
                  </a:moveTo>
                  <a:cubicBezTo>
                    <a:pt x="1360171" y="1285875"/>
                    <a:pt x="1361123" y="1287780"/>
                    <a:pt x="1361123" y="1288733"/>
                  </a:cubicBezTo>
                  <a:cubicBezTo>
                    <a:pt x="1361123" y="1290638"/>
                    <a:pt x="1360171" y="1291590"/>
                    <a:pt x="1358266" y="1291590"/>
                  </a:cubicBezTo>
                  <a:cubicBezTo>
                    <a:pt x="1356360" y="1291590"/>
                    <a:pt x="1355408" y="1290638"/>
                    <a:pt x="1355408" y="1288733"/>
                  </a:cubicBezTo>
                  <a:cubicBezTo>
                    <a:pt x="1355408" y="1286828"/>
                    <a:pt x="1357313" y="1285875"/>
                    <a:pt x="1358266" y="1285875"/>
                  </a:cubicBezTo>
                  <a:close/>
                  <a:moveTo>
                    <a:pt x="1243013" y="1285875"/>
                  </a:moveTo>
                  <a:cubicBezTo>
                    <a:pt x="1244918" y="1285875"/>
                    <a:pt x="1246823" y="1287780"/>
                    <a:pt x="1246823" y="1289685"/>
                  </a:cubicBezTo>
                  <a:cubicBezTo>
                    <a:pt x="1246823" y="1291590"/>
                    <a:pt x="1244918" y="1293495"/>
                    <a:pt x="1243013" y="1293495"/>
                  </a:cubicBezTo>
                  <a:cubicBezTo>
                    <a:pt x="1241108" y="1293495"/>
                    <a:pt x="1239203" y="1291590"/>
                    <a:pt x="1239203" y="1289685"/>
                  </a:cubicBezTo>
                  <a:cubicBezTo>
                    <a:pt x="1239203" y="1287780"/>
                    <a:pt x="1241108" y="1285875"/>
                    <a:pt x="1243013" y="1285875"/>
                  </a:cubicBezTo>
                  <a:close/>
                  <a:moveTo>
                    <a:pt x="1766888" y="1283017"/>
                  </a:moveTo>
                  <a:cubicBezTo>
                    <a:pt x="1770570" y="1283017"/>
                    <a:pt x="1773555" y="1286002"/>
                    <a:pt x="1773555" y="1289684"/>
                  </a:cubicBezTo>
                  <a:cubicBezTo>
                    <a:pt x="1773555" y="1293367"/>
                    <a:pt x="1770570" y="1296352"/>
                    <a:pt x="1766888" y="1296352"/>
                  </a:cubicBezTo>
                  <a:cubicBezTo>
                    <a:pt x="1763205" y="1296352"/>
                    <a:pt x="1760220" y="1293367"/>
                    <a:pt x="1760220" y="1289684"/>
                  </a:cubicBezTo>
                  <a:cubicBezTo>
                    <a:pt x="1760220" y="1286002"/>
                    <a:pt x="1763205" y="1283017"/>
                    <a:pt x="1766888" y="1283017"/>
                  </a:cubicBezTo>
                  <a:close/>
                  <a:moveTo>
                    <a:pt x="1985962" y="1281112"/>
                  </a:moveTo>
                  <a:cubicBezTo>
                    <a:pt x="1988820" y="1281112"/>
                    <a:pt x="1991677" y="1283970"/>
                    <a:pt x="1991677" y="1286827"/>
                  </a:cubicBezTo>
                  <a:cubicBezTo>
                    <a:pt x="1991677" y="1290637"/>
                    <a:pt x="1988820" y="1292542"/>
                    <a:pt x="1985962" y="1292542"/>
                  </a:cubicBezTo>
                  <a:cubicBezTo>
                    <a:pt x="1982152" y="1292542"/>
                    <a:pt x="1980247" y="1289684"/>
                    <a:pt x="1980247" y="1286827"/>
                  </a:cubicBezTo>
                  <a:cubicBezTo>
                    <a:pt x="1980247" y="1283970"/>
                    <a:pt x="1983105" y="1281112"/>
                    <a:pt x="1985962" y="1281112"/>
                  </a:cubicBezTo>
                  <a:close/>
                  <a:moveTo>
                    <a:pt x="1185863" y="1280159"/>
                  </a:moveTo>
                  <a:cubicBezTo>
                    <a:pt x="1186815" y="1280159"/>
                    <a:pt x="1188720" y="1281112"/>
                    <a:pt x="1188720" y="1283017"/>
                  </a:cubicBezTo>
                  <a:cubicBezTo>
                    <a:pt x="1188720" y="1283969"/>
                    <a:pt x="1187768" y="1285874"/>
                    <a:pt x="1185863" y="1285874"/>
                  </a:cubicBezTo>
                  <a:cubicBezTo>
                    <a:pt x="1183958" y="1285874"/>
                    <a:pt x="1182053" y="1284922"/>
                    <a:pt x="1183005" y="1283017"/>
                  </a:cubicBezTo>
                  <a:cubicBezTo>
                    <a:pt x="1183005" y="1282064"/>
                    <a:pt x="1183958" y="1280159"/>
                    <a:pt x="1185863" y="1280159"/>
                  </a:cubicBezTo>
                  <a:close/>
                  <a:moveTo>
                    <a:pt x="1415415" y="1279207"/>
                  </a:moveTo>
                  <a:cubicBezTo>
                    <a:pt x="1417320" y="1279207"/>
                    <a:pt x="1419225" y="1281112"/>
                    <a:pt x="1419225" y="1283017"/>
                  </a:cubicBezTo>
                  <a:cubicBezTo>
                    <a:pt x="1419225" y="1284922"/>
                    <a:pt x="1417320" y="1286827"/>
                    <a:pt x="1415415" y="1286827"/>
                  </a:cubicBezTo>
                  <a:cubicBezTo>
                    <a:pt x="1413510" y="1286827"/>
                    <a:pt x="1411605" y="1284922"/>
                    <a:pt x="1411605" y="1283017"/>
                  </a:cubicBezTo>
                  <a:cubicBezTo>
                    <a:pt x="1411605" y="1281112"/>
                    <a:pt x="1413510" y="1279207"/>
                    <a:pt x="1415415" y="1279207"/>
                  </a:cubicBezTo>
                  <a:close/>
                  <a:moveTo>
                    <a:pt x="834390" y="1278254"/>
                  </a:moveTo>
                  <a:cubicBezTo>
                    <a:pt x="841058" y="1278254"/>
                    <a:pt x="846773" y="1283969"/>
                    <a:pt x="846773" y="1290637"/>
                  </a:cubicBezTo>
                  <a:cubicBezTo>
                    <a:pt x="846773" y="1297304"/>
                    <a:pt x="841058" y="1303019"/>
                    <a:pt x="834390" y="1303019"/>
                  </a:cubicBezTo>
                  <a:cubicBezTo>
                    <a:pt x="826770" y="1303019"/>
                    <a:pt x="821055" y="1297304"/>
                    <a:pt x="822008" y="1290637"/>
                  </a:cubicBezTo>
                  <a:cubicBezTo>
                    <a:pt x="822008" y="1283969"/>
                    <a:pt x="827723" y="1278254"/>
                    <a:pt x="834390" y="1278254"/>
                  </a:cubicBezTo>
                  <a:close/>
                  <a:moveTo>
                    <a:pt x="722948" y="1277302"/>
                  </a:moveTo>
                  <a:cubicBezTo>
                    <a:pt x="730838" y="1277302"/>
                    <a:pt x="737235" y="1283699"/>
                    <a:pt x="737235" y="1291590"/>
                  </a:cubicBezTo>
                  <a:cubicBezTo>
                    <a:pt x="737235" y="1299480"/>
                    <a:pt x="730838" y="1305877"/>
                    <a:pt x="722948" y="1305877"/>
                  </a:cubicBezTo>
                  <a:cubicBezTo>
                    <a:pt x="715057" y="1305877"/>
                    <a:pt x="708660" y="1299480"/>
                    <a:pt x="708660" y="1291590"/>
                  </a:cubicBezTo>
                  <a:cubicBezTo>
                    <a:pt x="708660" y="1283699"/>
                    <a:pt x="715057" y="1277302"/>
                    <a:pt x="722948" y="1277302"/>
                  </a:cubicBezTo>
                  <a:close/>
                  <a:moveTo>
                    <a:pt x="951547" y="1271587"/>
                  </a:moveTo>
                  <a:cubicBezTo>
                    <a:pt x="955357" y="1271587"/>
                    <a:pt x="959167" y="1275397"/>
                    <a:pt x="959167" y="1279207"/>
                  </a:cubicBezTo>
                  <a:cubicBezTo>
                    <a:pt x="959167" y="1283017"/>
                    <a:pt x="955357" y="1286827"/>
                    <a:pt x="951547" y="1286827"/>
                  </a:cubicBezTo>
                  <a:cubicBezTo>
                    <a:pt x="946785" y="1286827"/>
                    <a:pt x="943927" y="1283017"/>
                    <a:pt x="943927" y="1279207"/>
                  </a:cubicBezTo>
                  <a:cubicBezTo>
                    <a:pt x="943927" y="1275397"/>
                    <a:pt x="947737" y="1271587"/>
                    <a:pt x="951547" y="1271587"/>
                  </a:cubicBezTo>
                  <a:close/>
                  <a:moveTo>
                    <a:pt x="355283" y="1271587"/>
                  </a:moveTo>
                  <a:cubicBezTo>
                    <a:pt x="366856" y="1271587"/>
                    <a:pt x="376238" y="1280969"/>
                    <a:pt x="376238" y="1292542"/>
                  </a:cubicBezTo>
                  <a:cubicBezTo>
                    <a:pt x="376238" y="1304115"/>
                    <a:pt x="366856" y="1313497"/>
                    <a:pt x="355283" y="1313497"/>
                  </a:cubicBezTo>
                  <a:cubicBezTo>
                    <a:pt x="343710" y="1313497"/>
                    <a:pt x="334328" y="1304115"/>
                    <a:pt x="334328" y="1292542"/>
                  </a:cubicBezTo>
                  <a:cubicBezTo>
                    <a:pt x="334328" y="1280969"/>
                    <a:pt x="343710" y="1271587"/>
                    <a:pt x="355283" y="1271587"/>
                  </a:cubicBezTo>
                  <a:close/>
                  <a:moveTo>
                    <a:pt x="615315" y="1268730"/>
                  </a:moveTo>
                  <a:cubicBezTo>
                    <a:pt x="625310" y="1268730"/>
                    <a:pt x="633413" y="1276833"/>
                    <a:pt x="633413" y="1286828"/>
                  </a:cubicBezTo>
                  <a:cubicBezTo>
                    <a:pt x="633413" y="1296823"/>
                    <a:pt x="625310" y="1304925"/>
                    <a:pt x="615315" y="1304925"/>
                  </a:cubicBezTo>
                  <a:cubicBezTo>
                    <a:pt x="605321" y="1304925"/>
                    <a:pt x="597218" y="1296822"/>
                    <a:pt x="597218" y="1286828"/>
                  </a:cubicBezTo>
                  <a:cubicBezTo>
                    <a:pt x="597218" y="1276833"/>
                    <a:pt x="605321" y="1268730"/>
                    <a:pt x="615315" y="1268730"/>
                  </a:cubicBezTo>
                  <a:close/>
                  <a:moveTo>
                    <a:pt x="1901190" y="1268729"/>
                  </a:moveTo>
                  <a:cubicBezTo>
                    <a:pt x="1904047" y="1268729"/>
                    <a:pt x="1906905" y="1271587"/>
                    <a:pt x="1906905" y="1274444"/>
                  </a:cubicBezTo>
                  <a:cubicBezTo>
                    <a:pt x="1906905" y="1277302"/>
                    <a:pt x="1904047" y="1280159"/>
                    <a:pt x="1901190" y="1280159"/>
                  </a:cubicBezTo>
                  <a:cubicBezTo>
                    <a:pt x="1898333" y="1280159"/>
                    <a:pt x="1895475" y="1277302"/>
                    <a:pt x="1895475" y="1274444"/>
                  </a:cubicBezTo>
                  <a:cubicBezTo>
                    <a:pt x="1895475" y="1271587"/>
                    <a:pt x="1898333" y="1268729"/>
                    <a:pt x="1901190" y="1268729"/>
                  </a:cubicBezTo>
                  <a:close/>
                  <a:moveTo>
                    <a:pt x="1128712" y="1268729"/>
                  </a:moveTo>
                  <a:cubicBezTo>
                    <a:pt x="1130617" y="1268729"/>
                    <a:pt x="1132522" y="1270634"/>
                    <a:pt x="1132522" y="1272539"/>
                  </a:cubicBezTo>
                  <a:cubicBezTo>
                    <a:pt x="1132522" y="1274444"/>
                    <a:pt x="1130617" y="1276349"/>
                    <a:pt x="1128712" y="1276349"/>
                  </a:cubicBezTo>
                  <a:cubicBezTo>
                    <a:pt x="1126807" y="1276349"/>
                    <a:pt x="1124902" y="1274444"/>
                    <a:pt x="1124902" y="1272539"/>
                  </a:cubicBezTo>
                  <a:cubicBezTo>
                    <a:pt x="1124902" y="1270634"/>
                    <a:pt x="1126807" y="1268729"/>
                    <a:pt x="1128712" y="1268729"/>
                  </a:cubicBezTo>
                  <a:close/>
                  <a:moveTo>
                    <a:pt x="2264093" y="1267777"/>
                  </a:moveTo>
                  <a:cubicBezTo>
                    <a:pt x="2265046" y="1267777"/>
                    <a:pt x="2265998" y="1268729"/>
                    <a:pt x="2265998" y="1269682"/>
                  </a:cubicBezTo>
                  <a:cubicBezTo>
                    <a:pt x="2265998" y="1270634"/>
                    <a:pt x="2265046" y="1271587"/>
                    <a:pt x="2264093" y="1271587"/>
                  </a:cubicBezTo>
                  <a:cubicBezTo>
                    <a:pt x="2263141" y="1271587"/>
                    <a:pt x="2262188" y="1271587"/>
                    <a:pt x="2262188" y="1269682"/>
                  </a:cubicBezTo>
                  <a:cubicBezTo>
                    <a:pt x="2262188" y="1268729"/>
                    <a:pt x="2263141" y="1267777"/>
                    <a:pt x="2264093" y="1267777"/>
                  </a:cubicBezTo>
                  <a:close/>
                  <a:moveTo>
                    <a:pt x="1472565" y="1267777"/>
                  </a:moveTo>
                  <a:cubicBezTo>
                    <a:pt x="1474470" y="1267777"/>
                    <a:pt x="1476375" y="1269682"/>
                    <a:pt x="1476375" y="1271587"/>
                  </a:cubicBezTo>
                  <a:cubicBezTo>
                    <a:pt x="1476375" y="1273492"/>
                    <a:pt x="1474470" y="1275397"/>
                    <a:pt x="1472565" y="1275397"/>
                  </a:cubicBezTo>
                  <a:cubicBezTo>
                    <a:pt x="1470660" y="1275397"/>
                    <a:pt x="1468755" y="1274444"/>
                    <a:pt x="1468755" y="1271587"/>
                  </a:cubicBezTo>
                  <a:cubicBezTo>
                    <a:pt x="1468755" y="1269682"/>
                    <a:pt x="1470660" y="1267777"/>
                    <a:pt x="1472565" y="1267777"/>
                  </a:cubicBezTo>
                  <a:close/>
                  <a:moveTo>
                    <a:pt x="1675447" y="1260157"/>
                  </a:moveTo>
                  <a:cubicBezTo>
                    <a:pt x="1679258" y="1260157"/>
                    <a:pt x="1682115" y="1263015"/>
                    <a:pt x="1682115" y="1266824"/>
                  </a:cubicBezTo>
                  <a:cubicBezTo>
                    <a:pt x="1682115" y="1270634"/>
                    <a:pt x="1679258" y="1273492"/>
                    <a:pt x="1675447" y="1273492"/>
                  </a:cubicBezTo>
                  <a:cubicBezTo>
                    <a:pt x="1671638" y="1273492"/>
                    <a:pt x="1668780" y="1270634"/>
                    <a:pt x="1668780" y="1266824"/>
                  </a:cubicBezTo>
                  <a:cubicBezTo>
                    <a:pt x="1668780" y="1263015"/>
                    <a:pt x="1671638" y="1260157"/>
                    <a:pt x="1675447" y="1260157"/>
                  </a:cubicBezTo>
                  <a:close/>
                  <a:moveTo>
                    <a:pt x="513398" y="1260157"/>
                  </a:moveTo>
                  <a:cubicBezTo>
                    <a:pt x="522923" y="1260157"/>
                    <a:pt x="531495" y="1267777"/>
                    <a:pt x="531495" y="1278254"/>
                  </a:cubicBezTo>
                  <a:cubicBezTo>
                    <a:pt x="531495" y="1287779"/>
                    <a:pt x="523875" y="1296352"/>
                    <a:pt x="513398" y="1296352"/>
                  </a:cubicBezTo>
                  <a:cubicBezTo>
                    <a:pt x="502920" y="1296352"/>
                    <a:pt x="494348" y="1287779"/>
                    <a:pt x="495300" y="1278254"/>
                  </a:cubicBezTo>
                  <a:cubicBezTo>
                    <a:pt x="495300" y="1268729"/>
                    <a:pt x="502920" y="1260157"/>
                    <a:pt x="513398" y="1260157"/>
                  </a:cubicBezTo>
                  <a:close/>
                  <a:moveTo>
                    <a:pt x="2185987" y="1255395"/>
                  </a:moveTo>
                  <a:cubicBezTo>
                    <a:pt x="2190750" y="1255395"/>
                    <a:pt x="2194560" y="1259205"/>
                    <a:pt x="2194560" y="1263967"/>
                  </a:cubicBezTo>
                  <a:cubicBezTo>
                    <a:pt x="2194560" y="1268730"/>
                    <a:pt x="2190750" y="1272540"/>
                    <a:pt x="2185987" y="1272540"/>
                  </a:cubicBezTo>
                  <a:cubicBezTo>
                    <a:pt x="2181225" y="1272540"/>
                    <a:pt x="2177415" y="1268730"/>
                    <a:pt x="2177415" y="1263967"/>
                  </a:cubicBezTo>
                  <a:cubicBezTo>
                    <a:pt x="2177415" y="1259205"/>
                    <a:pt x="2181225" y="1255395"/>
                    <a:pt x="2185987" y="1255395"/>
                  </a:cubicBezTo>
                  <a:close/>
                  <a:moveTo>
                    <a:pt x="260985" y="1255395"/>
                  </a:moveTo>
                  <a:cubicBezTo>
                    <a:pt x="272415" y="1255395"/>
                    <a:pt x="281940" y="1264920"/>
                    <a:pt x="281940" y="1276350"/>
                  </a:cubicBezTo>
                  <a:cubicBezTo>
                    <a:pt x="281940" y="1287780"/>
                    <a:pt x="272415" y="1297305"/>
                    <a:pt x="260985" y="1297305"/>
                  </a:cubicBezTo>
                  <a:cubicBezTo>
                    <a:pt x="249555" y="1297305"/>
                    <a:pt x="240030" y="1287780"/>
                    <a:pt x="240030" y="1276350"/>
                  </a:cubicBezTo>
                  <a:cubicBezTo>
                    <a:pt x="240030" y="1264920"/>
                    <a:pt x="249555" y="1255395"/>
                    <a:pt x="260985" y="1255395"/>
                  </a:cubicBezTo>
                  <a:close/>
                  <a:moveTo>
                    <a:pt x="1527810" y="1254442"/>
                  </a:moveTo>
                  <a:cubicBezTo>
                    <a:pt x="1529716" y="1254442"/>
                    <a:pt x="1530668" y="1255395"/>
                    <a:pt x="1530668" y="1257300"/>
                  </a:cubicBezTo>
                  <a:cubicBezTo>
                    <a:pt x="1530668" y="1259205"/>
                    <a:pt x="1529716" y="1260157"/>
                    <a:pt x="1527810" y="1260157"/>
                  </a:cubicBezTo>
                  <a:cubicBezTo>
                    <a:pt x="1525905" y="1260157"/>
                    <a:pt x="1524953" y="1259205"/>
                    <a:pt x="1524953" y="1257300"/>
                  </a:cubicBezTo>
                  <a:cubicBezTo>
                    <a:pt x="1524953" y="1255395"/>
                    <a:pt x="1525905" y="1254442"/>
                    <a:pt x="1527810" y="1254442"/>
                  </a:cubicBezTo>
                  <a:close/>
                  <a:moveTo>
                    <a:pt x="1815466" y="1253490"/>
                  </a:moveTo>
                  <a:cubicBezTo>
                    <a:pt x="1818323" y="1253490"/>
                    <a:pt x="1820228" y="1255395"/>
                    <a:pt x="1820228" y="1258253"/>
                  </a:cubicBezTo>
                  <a:cubicBezTo>
                    <a:pt x="1820228" y="1261110"/>
                    <a:pt x="1818323" y="1263015"/>
                    <a:pt x="1815466" y="1263015"/>
                  </a:cubicBezTo>
                  <a:cubicBezTo>
                    <a:pt x="1812608" y="1263015"/>
                    <a:pt x="1810703" y="1261110"/>
                    <a:pt x="1810703" y="1258253"/>
                  </a:cubicBezTo>
                  <a:cubicBezTo>
                    <a:pt x="1810703" y="1255395"/>
                    <a:pt x="1812608" y="1253490"/>
                    <a:pt x="1815466" y="1253490"/>
                  </a:cubicBezTo>
                  <a:close/>
                  <a:moveTo>
                    <a:pt x="1073467" y="1251584"/>
                  </a:moveTo>
                  <a:cubicBezTo>
                    <a:pt x="1076325" y="1251584"/>
                    <a:pt x="1079182" y="1254442"/>
                    <a:pt x="1079182" y="1257299"/>
                  </a:cubicBezTo>
                  <a:cubicBezTo>
                    <a:pt x="1079182" y="1260157"/>
                    <a:pt x="1076325" y="1263014"/>
                    <a:pt x="1073467" y="1263014"/>
                  </a:cubicBezTo>
                  <a:cubicBezTo>
                    <a:pt x="1070610" y="1263014"/>
                    <a:pt x="1067752" y="1260157"/>
                    <a:pt x="1067752" y="1257299"/>
                  </a:cubicBezTo>
                  <a:cubicBezTo>
                    <a:pt x="1067752" y="1254442"/>
                    <a:pt x="1070610" y="1251584"/>
                    <a:pt x="1073467" y="1251584"/>
                  </a:cubicBezTo>
                  <a:close/>
                  <a:moveTo>
                    <a:pt x="2107883" y="1247775"/>
                  </a:moveTo>
                  <a:cubicBezTo>
                    <a:pt x="2112645" y="1247775"/>
                    <a:pt x="2116455" y="1251585"/>
                    <a:pt x="2116455" y="1256347"/>
                  </a:cubicBezTo>
                  <a:cubicBezTo>
                    <a:pt x="2116455" y="1261110"/>
                    <a:pt x="2112645" y="1264920"/>
                    <a:pt x="2107883" y="1264920"/>
                  </a:cubicBezTo>
                  <a:cubicBezTo>
                    <a:pt x="2103120" y="1264920"/>
                    <a:pt x="2099310" y="1261110"/>
                    <a:pt x="2099310" y="1256347"/>
                  </a:cubicBezTo>
                  <a:cubicBezTo>
                    <a:pt x="2099310" y="1251585"/>
                    <a:pt x="2103120" y="1247775"/>
                    <a:pt x="2107883" y="1247775"/>
                  </a:cubicBezTo>
                  <a:close/>
                  <a:moveTo>
                    <a:pt x="169544" y="1247775"/>
                  </a:moveTo>
                  <a:cubicBezTo>
                    <a:pt x="174307" y="1247775"/>
                    <a:pt x="178117" y="1251585"/>
                    <a:pt x="178117" y="1256347"/>
                  </a:cubicBezTo>
                  <a:cubicBezTo>
                    <a:pt x="178117" y="1261110"/>
                    <a:pt x="174307" y="1264920"/>
                    <a:pt x="169544" y="1264920"/>
                  </a:cubicBezTo>
                  <a:cubicBezTo>
                    <a:pt x="165735" y="1264920"/>
                    <a:pt x="161925" y="1261110"/>
                    <a:pt x="160972" y="1256347"/>
                  </a:cubicBezTo>
                  <a:cubicBezTo>
                    <a:pt x="160972" y="1251585"/>
                    <a:pt x="164782" y="1247775"/>
                    <a:pt x="169544" y="1247775"/>
                  </a:cubicBezTo>
                  <a:close/>
                  <a:moveTo>
                    <a:pt x="900112" y="1245870"/>
                  </a:moveTo>
                  <a:cubicBezTo>
                    <a:pt x="903922" y="1245870"/>
                    <a:pt x="907732" y="1249680"/>
                    <a:pt x="907732" y="1253490"/>
                  </a:cubicBezTo>
                  <a:cubicBezTo>
                    <a:pt x="907732" y="1257300"/>
                    <a:pt x="903922" y="1261110"/>
                    <a:pt x="900112" y="1261110"/>
                  </a:cubicBezTo>
                  <a:cubicBezTo>
                    <a:pt x="895350" y="1261110"/>
                    <a:pt x="892492" y="1257300"/>
                    <a:pt x="892492" y="1253490"/>
                  </a:cubicBezTo>
                  <a:cubicBezTo>
                    <a:pt x="892492" y="1249680"/>
                    <a:pt x="896302" y="1245870"/>
                    <a:pt x="900112" y="1245870"/>
                  </a:cubicBezTo>
                  <a:close/>
                  <a:moveTo>
                    <a:pt x="785812" y="1244917"/>
                  </a:moveTo>
                  <a:cubicBezTo>
                    <a:pt x="793432" y="1244917"/>
                    <a:pt x="799147" y="1250632"/>
                    <a:pt x="799147" y="1258252"/>
                  </a:cubicBezTo>
                  <a:cubicBezTo>
                    <a:pt x="799147" y="1265872"/>
                    <a:pt x="793432" y="1271587"/>
                    <a:pt x="785812" y="1271587"/>
                  </a:cubicBezTo>
                  <a:cubicBezTo>
                    <a:pt x="778192" y="1271587"/>
                    <a:pt x="772477" y="1265872"/>
                    <a:pt x="772477" y="1258252"/>
                  </a:cubicBezTo>
                  <a:cubicBezTo>
                    <a:pt x="772477" y="1250632"/>
                    <a:pt x="778192" y="1244917"/>
                    <a:pt x="785812" y="1244917"/>
                  </a:cubicBezTo>
                  <a:close/>
                  <a:moveTo>
                    <a:pt x="414338" y="1244917"/>
                  </a:moveTo>
                  <a:cubicBezTo>
                    <a:pt x="424815" y="1244917"/>
                    <a:pt x="433388" y="1253490"/>
                    <a:pt x="433388" y="1263967"/>
                  </a:cubicBezTo>
                  <a:cubicBezTo>
                    <a:pt x="433388" y="1274445"/>
                    <a:pt x="424815" y="1283017"/>
                    <a:pt x="414338" y="1283017"/>
                  </a:cubicBezTo>
                  <a:cubicBezTo>
                    <a:pt x="403861" y="1283017"/>
                    <a:pt x="395288" y="1274445"/>
                    <a:pt x="395288" y="1263967"/>
                  </a:cubicBezTo>
                  <a:cubicBezTo>
                    <a:pt x="395288" y="1253490"/>
                    <a:pt x="403861" y="1244917"/>
                    <a:pt x="414338" y="1244917"/>
                  </a:cubicBezTo>
                  <a:close/>
                  <a:moveTo>
                    <a:pt x="2026921" y="1241107"/>
                  </a:moveTo>
                  <a:cubicBezTo>
                    <a:pt x="2030603" y="1241107"/>
                    <a:pt x="2033588" y="1244092"/>
                    <a:pt x="2033588" y="1247775"/>
                  </a:cubicBezTo>
                  <a:cubicBezTo>
                    <a:pt x="2033588" y="1251457"/>
                    <a:pt x="2030603" y="1254442"/>
                    <a:pt x="2026921" y="1254442"/>
                  </a:cubicBezTo>
                  <a:cubicBezTo>
                    <a:pt x="2023238" y="1254442"/>
                    <a:pt x="2020253" y="1251457"/>
                    <a:pt x="2020253" y="1247775"/>
                  </a:cubicBezTo>
                  <a:cubicBezTo>
                    <a:pt x="2020253" y="1244092"/>
                    <a:pt x="2023238" y="1241107"/>
                    <a:pt x="2026921" y="1241107"/>
                  </a:cubicBezTo>
                  <a:close/>
                  <a:moveTo>
                    <a:pt x="677228" y="1239202"/>
                  </a:moveTo>
                  <a:cubicBezTo>
                    <a:pt x="686753" y="1239202"/>
                    <a:pt x="694373" y="1246822"/>
                    <a:pt x="694373" y="1256347"/>
                  </a:cubicBezTo>
                  <a:cubicBezTo>
                    <a:pt x="694373" y="1265872"/>
                    <a:pt x="686753" y="1273492"/>
                    <a:pt x="677228" y="1273492"/>
                  </a:cubicBezTo>
                  <a:cubicBezTo>
                    <a:pt x="667703" y="1273492"/>
                    <a:pt x="660083" y="1264919"/>
                    <a:pt x="660083" y="1256347"/>
                  </a:cubicBezTo>
                  <a:cubicBezTo>
                    <a:pt x="660083" y="1246822"/>
                    <a:pt x="667703" y="1239202"/>
                    <a:pt x="677228" y="1239202"/>
                  </a:cubicBezTo>
                  <a:close/>
                  <a:moveTo>
                    <a:pt x="1582102" y="1236345"/>
                  </a:moveTo>
                  <a:cubicBezTo>
                    <a:pt x="1583055" y="1236345"/>
                    <a:pt x="1584007" y="1237297"/>
                    <a:pt x="1584007" y="1238250"/>
                  </a:cubicBezTo>
                  <a:cubicBezTo>
                    <a:pt x="1584007" y="1239203"/>
                    <a:pt x="1583055" y="1240155"/>
                    <a:pt x="1582102" y="1240155"/>
                  </a:cubicBezTo>
                  <a:cubicBezTo>
                    <a:pt x="1581150" y="1240155"/>
                    <a:pt x="1580197" y="1239203"/>
                    <a:pt x="1580197" y="1238250"/>
                  </a:cubicBezTo>
                  <a:cubicBezTo>
                    <a:pt x="1580197" y="1237297"/>
                    <a:pt x="1581150" y="1236345"/>
                    <a:pt x="1582102" y="1236345"/>
                  </a:cubicBezTo>
                  <a:close/>
                  <a:moveTo>
                    <a:pt x="1726883" y="1232534"/>
                  </a:moveTo>
                  <a:cubicBezTo>
                    <a:pt x="1730693" y="1232534"/>
                    <a:pt x="1733550" y="1235392"/>
                    <a:pt x="1733550" y="1239202"/>
                  </a:cubicBezTo>
                  <a:cubicBezTo>
                    <a:pt x="1733550" y="1243012"/>
                    <a:pt x="1730693" y="1245869"/>
                    <a:pt x="1726883" y="1245869"/>
                  </a:cubicBezTo>
                  <a:cubicBezTo>
                    <a:pt x="1722120" y="1245869"/>
                    <a:pt x="1719263" y="1243012"/>
                    <a:pt x="1720216" y="1239202"/>
                  </a:cubicBezTo>
                  <a:cubicBezTo>
                    <a:pt x="1720216" y="1235392"/>
                    <a:pt x="1723073" y="1232534"/>
                    <a:pt x="1726883" y="1232534"/>
                  </a:cubicBezTo>
                  <a:close/>
                  <a:moveTo>
                    <a:pt x="1019175" y="1232534"/>
                  </a:moveTo>
                  <a:cubicBezTo>
                    <a:pt x="1022033" y="1232534"/>
                    <a:pt x="1024890" y="1235392"/>
                    <a:pt x="1024890" y="1238249"/>
                  </a:cubicBezTo>
                  <a:cubicBezTo>
                    <a:pt x="1024890" y="1241107"/>
                    <a:pt x="1022033" y="1243964"/>
                    <a:pt x="1019175" y="1243964"/>
                  </a:cubicBezTo>
                  <a:cubicBezTo>
                    <a:pt x="1016317" y="1243964"/>
                    <a:pt x="1013460" y="1241107"/>
                    <a:pt x="1013460" y="1238249"/>
                  </a:cubicBezTo>
                  <a:cubicBezTo>
                    <a:pt x="1013460" y="1235392"/>
                    <a:pt x="1016317" y="1232534"/>
                    <a:pt x="1019175" y="1232534"/>
                  </a:cubicBezTo>
                  <a:close/>
                  <a:moveTo>
                    <a:pt x="1945005" y="1230629"/>
                  </a:moveTo>
                  <a:cubicBezTo>
                    <a:pt x="1947862" y="1230629"/>
                    <a:pt x="1950720" y="1233487"/>
                    <a:pt x="1950720" y="1236344"/>
                  </a:cubicBezTo>
                  <a:cubicBezTo>
                    <a:pt x="1950720" y="1239202"/>
                    <a:pt x="1947862" y="1242059"/>
                    <a:pt x="1945005" y="1242059"/>
                  </a:cubicBezTo>
                  <a:cubicBezTo>
                    <a:pt x="1942147" y="1242059"/>
                    <a:pt x="1940242" y="1240154"/>
                    <a:pt x="1939290" y="1236344"/>
                  </a:cubicBezTo>
                  <a:cubicBezTo>
                    <a:pt x="1939290" y="1233487"/>
                    <a:pt x="1942147" y="1230629"/>
                    <a:pt x="1945005" y="1230629"/>
                  </a:cubicBezTo>
                  <a:close/>
                  <a:moveTo>
                    <a:pt x="573405" y="1229677"/>
                  </a:moveTo>
                  <a:cubicBezTo>
                    <a:pt x="582930" y="1229677"/>
                    <a:pt x="591503" y="1238249"/>
                    <a:pt x="591503" y="1247774"/>
                  </a:cubicBezTo>
                  <a:cubicBezTo>
                    <a:pt x="591503" y="1257299"/>
                    <a:pt x="583883" y="1265872"/>
                    <a:pt x="573405" y="1265872"/>
                  </a:cubicBezTo>
                  <a:cubicBezTo>
                    <a:pt x="563880" y="1265872"/>
                    <a:pt x="555308" y="1257299"/>
                    <a:pt x="555308" y="1247774"/>
                  </a:cubicBezTo>
                  <a:cubicBezTo>
                    <a:pt x="555308" y="1238249"/>
                    <a:pt x="562928" y="1229677"/>
                    <a:pt x="573405" y="1229677"/>
                  </a:cubicBezTo>
                  <a:close/>
                  <a:moveTo>
                    <a:pt x="320040" y="1226820"/>
                  </a:moveTo>
                  <a:cubicBezTo>
                    <a:pt x="331470" y="1226820"/>
                    <a:pt x="340995" y="1236345"/>
                    <a:pt x="340995" y="1247775"/>
                  </a:cubicBezTo>
                  <a:cubicBezTo>
                    <a:pt x="340995" y="1259205"/>
                    <a:pt x="331470" y="1268730"/>
                    <a:pt x="320040" y="1268730"/>
                  </a:cubicBezTo>
                  <a:cubicBezTo>
                    <a:pt x="307657" y="1268730"/>
                    <a:pt x="298132" y="1259205"/>
                    <a:pt x="299085" y="1247775"/>
                  </a:cubicBezTo>
                  <a:cubicBezTo>
                    <a:pt x="299085" y="1236345"/>
                    <a:pt x="308610" y="1226820"/>
                    <a:pt x="320040" y="1226820"/>
                  </a:cubicBezTo>
                  <a:close/>
                  <a:moveTo>
                    <a:pt x="1315403" y="1225867"/>
                  </a:moveTo>
                  <a:cubicBezTo>
                    <a:pt x="1316355" y="1225867"/>
                    <a:pt x="1317308" y="1226820"/>
                    <a:pt x="1317308" y="1227772"/>
                  </a:cubicBezTo>
                  <a:cubicBezTo>
                    <a:pt x="1317308" y="1228725"/>
                    <a:pt x="1316355" y="1229677"/>
                    <a:pt x="1315403" y="1229677"/>
                  </a:cubicBezTo>
                  <a:cubicBezTo>
                    <a:pt x="1313498" y="1229677"/>
                    <a:pt x="1312545" y="1228725"/>
                    <a:pt x="1313498" y="1227772"/>
                  </a:cubicBezTo>
                  <a:cubicBezTo>
                    <a:pt x="1313498" y="1226820"/>
                    <a:pt x="1314450" y="1225867"/>
                    <a:pt x="1315403" y="1225867"/>
                  </a:cubicBezTo>
                  <a:close/>
                  <a:moveTo>
                    <a:pt x="1257300" y="1223962"/>
                  </a:moveTo>
                  <a:cubicBezTo>
                    <a:pt x="1258352" y="1223962"/>
                    <a:pt x="1259205" y="1224815"/>
                    <a:pt x="1259205" y="1225867"/>
                  </a:cubicBezTo>
                  <a:cubicBezTo>
                    <a:pt x="1259205" y="1226919"/>
                    <a:pt x="1258352" y="1227772"/>
                    <a:pt x="1257300" y="1227772"/>
                  </a:cubicBezTo>
                  <a:cubicBezTo>
                    <a:pt x="1256248" y="1227772"/>
                    <a:pt x="1255395" y="1226919"/>
                    <a:pt x="1255395" y="1225867"/>
                  </a:cubicBezTo>
                  <a:cubicBezTo>
                    <a:pt x="1255395" y="1224815"/>
                    <a:pt x="1256248" y="1223962"/>
                    <a:pt x="1257300" y="1223962"/>
                  </a:cubicBezTo>
                  <a:close/>
                  <a:moveTo>
                    <a:pt x="1372552" y="1222057"/>
                  </a:moveTo>
                  <a:cubicBezTo>
                    <a:pt x="1373505" y="1222057"/>
                    <a:pt x="1374457" y="1223009"/>
                    <a:pt x="1374457" y="1223962"/>
                  </a:cubicBezTo>
                  <a:cubicBezTo>
                    <a:pt x="1374457" y="1224915"/>
                    <a:pt x="1373505" y="1225867"/>
                    <a:pt x="1372552" y="1225867"/>
                  </a:cubicBezTo>
                  <a:cubicBezTo>
                    <a:pt x="1371600" y="1225867"/>
                    <a:pt x="1370647" y="1224915"/>
                    <a:pt x="1370647" y="1223962"/>
                  </a:cubicBezTo>
                  <a:cubicBezTo>
                    <a:pt x="1370647" y="1223009"/>
                    <a:pt x="1371600" y="1222057"/>
                    <a:pt x="1372552" y="1222057"/>
                  </a:cubicBezTo>
                  <a:close/>
                  <a:moveTo>
                    <a:pt x="2298383" y="1221104"/>
                  </a:moveTo>
                  <a:cubicBezTo>
                    <a:pt x="2300288" y="1221104"/>
                    <a:pt x="2301240" y="1223009"/>
                    <a:pt x="2301240" y="1223962"/>
                  </a:cubicBezTo>
                  <a:cubicBezTo>
                    <a:pt x="2301240" y="1225867"/>
                    <a:pt x="2299335" y="1226819"/>
                    <a:pt x="2298383" y="1226819"/>
                  </a:cubicBezTo>
                  <a:cubicBezTo>
                    <a:pt x="2296478" y="1226819"/>
                    <a:pt x="2295525" y="1225867"/>
                    <a:pt x="2295525" y="1223962"/>
                  </a:cubicBezTo>
                  <a:cubicBezTo>
                    <a:pt x="2295525" y="1222057"/>
                    <a:pt x="2297430" y="1221104"/>
                    <a:pt x="2298383" y="1221104"/>
                  </a:cubicBezTo>
                  <a:close/>
                  <a:moveTo>
                    <a:pt x="1861185" y="1221104"/>
                  </a:moveTo>
                  <a:cubicBezTo>
                    <a:pt x="1863091" y="1221104"/>
                    <a:pt x="1864043" y="1222057"/>
                    <a:pt x="1864043" y="1223962"/>
                  </a:cubicBezTo>
                  <a:cubicBezTo>
                    <a:pt x="1864043" y="1225867"/>
                    <a:pt x="1863091" y="1226819"/>
                    <a:pt x="1861185" y="1226819"/>
                  </a:cubicBezTo>
                  <a:cubicBezTo>
                    <a:pt x="1860233" y="1226819"/>
                    <a:pt x="1858328" y="1225867"/>
                    <a:pt x="1858328" y="1223962"/>
                  </a:cubicBezTo>
                  <a:cubicBezTo>
                    <a:pt x="1858328" y="1222057"/>
                    <a:pt x="1859280" y="1221104"/>
                    <a:pt x="1861185" y="1221104"/>
                  </a:cubicBezTo>
                  <a:close/>
                  <a:moveTo>
                    <a:pt x="474345" y="1219200"/>
                  </a:moveTo>
                  <a:cubicBezTo>
                    <a:pt x="482917" y="1219200"/>
                    <a:pt x="490537" y="1225867"/>
                    <a:pt x="490537" y="1235392"/>
                  </a:cubicBezTo>
                  <a:cubicBezTo>
                    <a:pt x="490537" y="1243965"/>
                    <a:pt x="483870" y="1251585"/>
                    <a:pt x="474345" y="1251585"/>
                  </a:cubicBezTo>
                  <a:cubicBezTo>
                    <a:pt x="464820" y="1251585"/>
                    <a:pt x="458152" y="1243965"/>
                    <a:pt x="458152" y="1235392"/>
                  </a:cubicBezTo>
                  <a:cubicBezTo>
                    <a:pt x="458152" y="1226820"/>
                    <a:pt x="464820" y="1219200"/>
                    <a:pt x="474345" y="1219200"/>
                  </a:cubicBezTo>
                  <a:close/>
                  <a:moveTo>
                    <a:pt x="1200150" y="1218247"/>
                  </a:moveTo>
                  <a:cubicBezTo>
                    <a:pt x="1201103" y="1218247"/>
                    <a:pt x="1202055" y="1219200"/>
                    <a:pt x="1202055" y="1220152"/>
                  </a:cubicBezTo>
                  <a:cubicBezTo>
                    <a:pt x="1202055" y="1221105"/>
                    <a:pt x="1201103" y="1222057"/>
                    <a:pt x="1200150" y="1222057"/>
                  </a:cubicBezTo>
                  <a:cubicBezTo>
                    <a:pt x="1199197" y="1222057"/>
                    <a:pt x="1198245" y="1221105"/>
                    <a:pt x="1198245" y="1220152"/>
                  </a:cubicBezTo>
                  <a:cubicBezTo>
                    <a:pt x="1198245" y="1219200"/>
                    <a:pt x="1199197" y="1218247"/>
                    <a:pt x="1200150" y="1218247"/>
                  </a:cubicBezTo>
                  <a:close/>
                  <a:moveTo>
                    <a:pt x="850583" y="1215390"/>
                  </a:moveTo>
                  <a:cubicBezTo>
                    <a:pt x="855345" y="1215390"/>
                    <a:pt x="859155" y="1219200"/>
                    <a:pt x="859155" y="1223962"/>
                  </a:cubicBezTo>
                  <a:cubicBezTo>
                    <a:pt x="859155" y="1228725"/>
                    <a:pt x="855345" y="1232535"/>
                    <a:pt x="850583" y="1232535"/>
                  </a:cubicBezTo>
                  <a:cubicBezTo>
                    <a:pt x="845820" y="1232535"/>
                    <a:pt x="842010" y="1228725"/>
                    <a:pt x="842010" y="1223962"/>
                  </a:cubicBezTo>
                  <a:cubicBezTo>
                    <a:pt x="842010" y="1219200"/>
                    <a:pt x="845820" y="1215390"/>
                    <a:pt x="850583" y="1215390"/>
                  </a:cubicBezTo>
                  <a:close/>
                  <a:moveTo>
                    <a:pt x="228600" y="1213484"/>
                  </a:moveTo>
                  <a:cubicBezTo>
                    <a:pt x="237173" y="1213484"/>
                    <a:pt x="243840" y="1220152"/>
                    <a:pt x="243840" y="1228724"/>
                  </a:cubicBezTo>
                  <a:cubicBezTo>
                    <a:pt x="243840" y="1237297"/>
                    <a:pt x="237173" y="1243964"/>
                    <a:pt x="228600" y="1243964"/>
                  </a:cubicBezTo>
                  <a:cubicBezTo>
                    <a:pt x="220027" y="1243964"/>
                    <a:pt x="213360" y="1237297"/>
                    <a:pt x="213360" y="1228724"/>
                  </a:cubicBezTo>
                  <a:cubicBezTo>
                    <a:pt x="213360" y="1220152"/>
                    <a:pt x="220027" y="1213484"/>
                    <a:pt x="228600" y="1213484"/>
                  </a:cubicBezTo>
                  <a:close/>
                  <a:moveTo>
                    <a:pt x="1635443" y="1212532"/>
                  </a:moveTo>
                  <a:cubicBezTo>
                    <a:pt x="1636395" y="1212532"/>
                    <a:pt x="1638300" y="1213484"/>
                    <a:pt x="1638300" y="1215390"/>
                  </a:cubicBezTo>
                  <a:cubicBezTo>
                    <a:pt x="1638300" y="1216342"/>
                    <a:pt x="1637348" y="1218247"/>
                    <a:pt x="1635443" y="1218247"/>
                  </a:cubicBezTo>
                  <a:cubicBezTo>
                    <a:pt x="1633538" y="1218247"/>
                    <a:pt x="1631633" y="1217295"/>
                    <a:pt x="1632585" y="1215390"/>
                  </a:cubicBezTo>
                  <a:cubicBezTo>
                    <a:pt x="1632585" y="1214437"/>
                    <a:pt x="1633538" y="1212532"/>
                    <a:pt x="1635443" y="1212532"/>
                  </a:cubicBezTo>
                  <a:close/>
                  <a:moveTo>
                    <a:pt x="1429702" y="1212532"/>
                  </a:moveTo>
                  <a:cubicBezTo>
                    <a:pt x="1431281" y="1212532"/>
                    <a:pt x="1432560" y="1213811"/>
                    <a:pt x="1432560" y="1215390"/>
                  </a:cubicBezTo>
                  <a:cubicBezTo>
                    <a:pt x="1432560" y="1216968"/>
                    <a:pt x="1431281" y="1218247"/>
                    <a:pt x="1429702" y="1218247"/>
                  </a:cubicBezTo>
                  <a:cubicBezTo>
                    <a:pt x="1428124" y="1218247"/>
                    <a:pt x="1426845" y="1216968"/>
                    <a:pt x="1426845" y="1215390"/>
                  </a:cubicBezTo>
                  <a:cubicBezTo>
                    <a:pt x="1426845" y="1213811"/>
                    <a:pt x="1428124" y="1212532"/>
                    <a:pt x="1429702" y="1212532"/>
                  </a:cubicBezTo>
                  <a:close/>
                  <a:moveTo>
                    <a:pt x="740092" y="1212532"/>
                  </a:moveTo>
                  <a:cubicBezTo>
                    <a:pt x="745807" y="1212532"/>
                    <a:pt x="751522" y="1217295"/>
                    <a:pt x="751522" y="1223962"/>
                  </a:cubicBezTo>
                  <a:cubicBezTo>
                    <a:pt x="751522" y="1229677"/>
                    <a:pt x="746760" y="1235392"/>
                    <a:pt x="740092" y="1235392"/>
                  </a:cubicBezTo>
                  <a:cubicBezTo>
                    <a:pt x="733425" y="1235392"/>
                    <a:pt x="727710" y="1230629"/>
                    <a:pt x="728662" y="1223962"/>
                  </a:cubicBezTo>
                  <a:cubicBezTo>
                    <a:pt x="728662" y="1218247"/>
                    <a:pt x="733425" y="1212532"/>
                    <a:pt x="740092" y="1212532"/>
                  </a:cubicBezTo>
                  <a:close/>
                  <a:moveTo>
                    <a:pt x="965835" y="1211579"/>
                  </a:moveTo>
                  <a:cubicBezTo>
                    <a:pt x="967740" y="1211579"/>
                    <a:pt x="969645" y="1213484"/>
                    <a:pt x="969645" y="1215389"/>
                  </a:cubicBezTo>
                  <a:cubicBezTo>
                    <a:pt x="969645" y="1217294"/>
                    <a:pt x="967740" y="1219199"/>
                    <a:pt x="965835" y="1219199"/>
                  </a:cubicBezTo>
                  <a:cubicBezTo>
                    <a:pt x="963930" y="1219199"/>
                    <a:pt x="962025" y="1217294"/>
                    <a:pt x="962025" y="1215389"/>
                  </a:cubicBezTo>
                  <a:cubicBezTo>
                    <a:pt x="962025" y="1213484"/>
                    <a:pt x="963930" y="1211579"/>
                    <a:pt x="965835" y="1211579"/>
                  </a:cubicBezTo>
                  <a:close/>
                  <a:moveTo>
                    <a:pt x="2222183" y="1206817"/>
                  </a:moveTo>
                  <a:cubicBezTo>
                    <a:pt x="2228850" y="1206817"/>
                    <a:pt x="2233613" y="1212532"/>
                    <a:pt x="2233613" y="1218247"/>
                  </a:cubicBezTo>
                  <a:cubicBezTo>
                    <a:pt x="2233613" y="1224915"/>
                    <a:pt x="2227898" y="1229677"/>
                    <a:pt x="2222183" y="1229677"/>
                  </a:cubicBezTo>
                  <a:cubicBezTo>
                    <a:pt x="2216468" y="1229677"/>
                    <a:pt x="2211705" y="1224915"/>
                    <a:pt x="2210753" y="1218247"/>
                  </a:cubicBezTo>
                  <a:cubicBezTo>
                    <a:pt x="2210753" y="1211580"/>
                    <a:pt x="2216468" y="1206817"/>
                    <a:pt x="2222183" y="1206817"/>
                  </a:cubicBezTo>
                  <a:close/>
                  <a:moveTo>
                    <a:pt x="1143000" y="1206817"/>
                  </a:moveTo>
                  <a:cubicBezTo>
                    <a:pt x="1143952" y="1206817"/>
                    <a:pt x="1145857" y="1207770"/>
                    <a:pt x="1145857" y="1209675"/>
                  </a:cubicBezTo>
                  <a:cubicBezTo>
                    <a:pt x="1145857" y="1210627"/>
                    <a:pt x="1144905" y="1212532"/>
                    <a:pt x="1143000" y="1212532"/>
                  </a:cubicBezTo>
                  <a:cubicBezTo>
                    <a:pt x="1141095" y="1212532"/>
                    <a:pt x="1140142" y="1211580"/>
                    <a:pt x="1140142" y="1209675"/>
                  </a:cubicBezTo>
                  <a:cubicBezTo>
                    <a:pt x="1140142" y="1208722"/>
                    <a:pt x="1141095" y="1206817"/>
                    <a:pt x="1143000" y="1206817"/>
                  </a:cubicBezTo>
                  <a:close/>
                  <a:moveTo>
                    <a:pt x="1775460" y="1204912"/>
                  </a:moveTo>
                  <a:cubicBezTo>
                    <a:pt x="1777365" y="1204912"/>
                    <a:pt x="1779270" y="1206817"/>
                    <a:pt x="1779270" y="1208722"/>
                  </a:cubicBezTo>
                  <a:cubicBezTo>
                    <a:pt x="1779270" y="1210627"/>
                    <a:pt x="1777365" y="1212532"/>
                    <a:pt x="1775460" y="1212532"/>
                  </a:cubicBezTo>
                  <a:cubicBezTo>
                    <a:pt x="1772602" y="1212532"/>
                    <a:pt x="1770697" y="1210627"/>
                    <a:pt x="1771650" y="1208722"/>
                  </a:cubicBezTo>
                  <a:cubicBezTo>
                    <a:pt x="1771650" y="1206817"/>
                    <a:pt x="1773555" y="1204912"/>
                    <a:pt x="1775460" y="1204912"/>
                  </a:cubicBezTo>
                  <a:close/>
                  <a:moveTo>
                    <a:pt x="2145030" y="1203959"/>
                  </a:moveTo>
                  <a:cubicBezTo>
                    <a:pt x="2149793" y="1203959"/>
                    <a:pt x="2153603" y="1207769"/>
                    <a:pt x="2153603" y="1212532"/>
                  </a:cubicBezTo>
                  <a:cubicBezTo>
                    <a:pt x="2153603" y="1217294"/>
                    <a:pt x="2149793" y="1221104"/>
                    <a:pt x="2145030" y="1221104"/>
                  </a:cubicBezTo>
                  <a:cubicBezTo>
                    <a:pt x="2140268" y="1221104"/>
                    <a:pt x="2136458" y="1217294"/>
                    <a:pt x="2136458" y="1212532"/>
                  </a:cubicBezTo>
                  <a:cubicBezTo>
                    <a:pt x="2136458" y="1207769"/>
                    <a:pt x="2140268" y="1203959"/>
                    <a:pt x="2145030" y="1203959"/>
                  </a:cubicBezTo>
                  <a:close/>
                  <a:moveTo>
                    <a:pt x="1485900" y="1201102"/>
                  </a:moveTo>
                  <a:cubicBezTo>
                    <a:pt x="1486853" y="1201102"/>
                    <a:pt x="1487805" y="1202054"/>
                    <a:pt x="1487805" y="1203007"/>
                  </a:cubicBezTo>
                  <a:cubicBezTo>
                    <a:pt x="1487805" y="1203959"/>
                    <a:pt x="1486853" y="1204912"/>
                    <a:pt x="1485900" y="1204912"/>
                  </a:cubicBezTo>
                  <a:cubicBezTo>
                    <a:pt x="1484947" y="1204912"/>
                    <a:pt x="1483995" y="1203959"/>
                    <a:pt x="1483995" y="1203007"/>
                  </a:cubicBezTo>
                  <a:cubicBezTo>
                    <a:pt x="1483995" y="1202054"/>
                    <a:pt x="1484947" y="1201102"/>
                    <a:pt x="1485900" y="1201102"/>
                  </a:cubicBezTo>
                  <a:close/>
                  <a:moveTo>
                    <a:pt x="634365" y="1201102"/>
                  </a:moveTo>
                  <a:cubicBezTo>
                    <a:pt x="643890" y="1201102"/>
                    <a:pt x="650558" y="1208722"/>
                    <a:pt x="650558" y="1217294"/>
                  </a:cubicBezTo>
                  <a:cubicBezTo>
                    <a:pt x="650558" y="1226819"/>
                    <a:pt x="642938" y="1233487"/>
                    <a:pt x="634365" y="1233487"/>
                  </a:cubicBezTo>
                  <a:cubicBezTo>
                    <a:pt x="625793" y="1233487"/>
                    <a:pt x="619125" y="1225867"/>
                    <a:pt x="618173" y="1217294"/>
                  </a:cubicBezTo>
                  <a:cubicBezTo>
                    <a:pt x="618173" y="1207769"/>
                    <a:pt x="625793" y="1201102"/>
                    <a:pt x="634365" y="1201102"/>
                  </a:cubicBezTo>
                  <a:close/>
                  <a:moveTo>
                    <a:pt x="2066925" y="1200150"/>
                  </a:moveTo>
                  <a:cubicBezTo>
                    <a:pt x="2069783" y="1200150"/>
                    <a:pt x="2072640" y="1203008"/>
                    <a:pt x="2072640" y="1205865"/>
                  </a:cubicBezTo>
                  <a:cubicBezTo>
                    <a:pt x="2072640" y="1208722"/>
                    <a:pt x="2069783" y="1211580"/>
                    <a:pt x="2066925" y="1211580"/>
                  </a:cubicBezTo>
                  <a:cubicBezTo>
                    <a:pt x="2064068" y="1211580"/>
                    <a:pt x="2061210" y="1208722"/>
                    <a:pt x="2061210" y="1205865"/>
                  </a:cubicBezTo>
                  <a:cubicBezTo>
                    <a:pt x="2061210" y="1203008"/>
                    <a:pt x="2064068" y="1200150"/>
                    <a:pt x="2066925" y="1200150"/>
                  </a:cubicBezTo>
                  <a:close/>
                  <a:moveTo>
                    <a:pt x="379095" y="1199197"/>
                  </a:moveTo>
                  <a:cubicBezTo>
                    <a:pt x="390525" y="1199197"/>
                    <a:pt x="399098" y="1207770"/>
                    <a:pt x="399098" y="1219200"/>
                  </a:cubicBezTo>
                  <a:cubicBezTo>
                    <a:pt x="399098" y="1230630"/>
                    <a:pt x="390525" y="1239202"/>
                    <a:pt x="379095" y="1239202"/>
                  </a:cubicBezTo>
                  <a:cubicBezTo>
                    <a:pt x="367665" y="1239202"/>
                    <a:pt x="359093" y="1229677"/>
                    <a:pt x="359093" y="1219200"/>
                  </a:cubicBezTo>
                  <a:cubicBezTo>
                    <a:pt x="359093" y="1207770"/>
                    <a:pt x="367665" y="1199197"/>
                    <a:pt x="379095" y="1199197"/>
                  </a:cubicBezTo>
                  <a:close/>
                  <a:moveTo>
                    <a:pt x="139065" y="1195387"/>
                  </a:moveTo>
                  <a:cubicBezTo>
                    <a:pt x="145732" y="1195387"/>
                    <a:pt x="151447" y="1201102"/>
                    <a:pt x="151447" y="1207770"/>
                  </a:cubicBezTo>
                  <a:cubicBezTo>
                    <a:pt x="151447" y="1214437"/>
                    <a:pt x="145732" y="1220152"/>
                    <a:pt x="139065" y="1220152"/>
                  </a:cubicBezTo>
                  <a:cubicBezTo>
                    <a:pt x="132397" y="1220152"/>
                    <a:pt x="126682" y="1214437"/>
                    <a:pt x="126682" y="1207770"/>
                  </a:cubicBezTo>
                  <a:cubicBezTo>
                    <a:pt x="126682" y="1201102"/>
                    <a:pt x="132397" y="1195387"/>
                    <a:pt x="139065" y="1195387"/>
                  </a:cubicBezTo>
                  <a:close/>
                  <a:moveTo>
                    <a:pt x="1986916" y="1194434"/>
                  </a:moveTo>
                  <a:cubicBezTo>
                    <a:pt x="1987868" y="1194434"/>
                    <a:pt x="1989773" y="1195387"/>
                    <a:pt x="1989773" y="1197292"/>
                  </a:cubicBezTo>
                  <a:cubicBezTo>
                    <a:pt x="1989773" y="1198244"/>
                    <a:pt x="1988821" y="1200149"/>
                    <a:pt x="1986916" y="1200149"/>
                  </a:cubicBezTo>
                  <a:cubicBezTo>
                    <a:pt x="1985010" y="1200149"/>
                    <a:pt x="1984058" y="1199197"/>
                    <a:pt x="1984058" y="1197292"/>
                  </a:cubicBezTo>
                  <a:cubicBezTo>
                    <a:pt x="1984058" y="1196339"/>
                    <a:pt x="1985010" y="1194434"/>
                    <a:pt x="1986916" y="1194434"/>
                  </a:cubicBezTo>
                  <a:close/>
                  <a:moveTo>
                    <a:pt x="1087755" y="1190625"/>
                  </a:moveTo>
                  <a:cubicBezTo>
                    <a:pt x="1089660" y="1190625"/>
                    <a:pt x="1091565" y="1192530"/>
                    <a:pt x="1091565" y="1194435"/>
                  </a:cubicBezTo>
                  <a:cubicBezTo>
                    <a:pt x="1091565" y="1196340"/>
                    <a:pt x="1089660" y="1198245"/>
                    <a:pt x="1087755" y="1198245"/>
                  </a:cubicBezTo>
                  <a:cubicBezTo>
                    <a:pt x="1085850" y="1198245"/>
                    <a:pt x="1083945" y="1196340"/>
                    <a:pt x="1083945" y="1194435"/>
                  </a:cubicBezTo>
                  <a:cubicBezTo>
                    <a:pt x="1083945" y="1192530"/>
                    <a:pt x="1085850" y="1190625"/>
                    <a:pt x="1087755" y="1190625"/>
                  </a:cubicBezTo>
                  <a:close/>
                  <a:moveTo>
                    <a:pt x="534352" y="1186815"/>
                  </a:moveTo>
                  <a:cubicBezTo>
                    <a:pt x="544830" y="1186815"/>
                    <a:pt x="552450" y="1195387"/>
                    <a:pt x="552450" y="1204912"/>
                  </a:cubicBezTo>
                  <a:cubicBezTo>
                    <a:pt x="552450" y="1215390"/>
                    <a:pt x="543877" y="1223010"/>
                    <a:pt x="534352" y="1223010"/>
                  </a:cubicBezTo>
                  <a:cubicBezTo>
                    <a:pt x="523875" y="1223010"/>
                    <a:pt x="516255" y="1215390"/>
                    <a:pt x="516255" y="1204912"/>
                  </a:cubicBezTo>
                  <a:cubicBezTo>
                    <a:pt x="516255" y="1194435"/>
                    <a:pt x="524827" y="1186815"/>
                    <a:pt x="534352" y="1186815"/>
                  </a:cubicBezTo>
                  <a:close/>
                  <a:moveTo>
                    <a:pt x="1541145" y="1183957"/>
                  </a:moveTo>
                  <a:cubicBezTo>
                    <a:pt x="1542097" y="1183957"/>
                    <a:pt x="1543050" y="1184909"/>
                    <a:pt x="1543050" y="1185862"/>
                  </a:cubicBezTo>
                  <a:cubicBezTo>
                    <a:pt x="1543050" y="1186815"/>
                    <a:pt x="1542097" y="1187767"/>
                    <a:pt x="1541145" y="1187767"/>
                  </a:cubicBezTo>
                  <a:cubicBezTo>
                    <a:pt x="1539240" y="1187767"/>
                    <a:pt x="1538287" y="1186815"/>
                    <a:pt x="1539240" y="1185862"/>
                  </a:cubicBezTo>
                  <a:cubicBezTo>
                    <a:pt x="1539240" y="1184909"/>
                    <a:pt x="1540192" y="1183957"/>
                    <a:pt x="1541145" y="1183957"/>
                  </a:cubicBezTo>
                  <a:close/>
                  <a:moveTo>
                    <a:pt x="1905000" y="1183004"/>
                  </a:moveTo>
                  <a:cubicBezTo>
                    <a:pt x="1906905" y="1183004"/>
                    <a:pt x="1908810" y="1184909"/>
                    <a:pt x="1908810" y="1186814"/>
                  </a:cubicBezTo>
                  <a:cubicBezTo>
                    <a:pt x="1908810" y="1188719"/>
                    <a:pt x="1906905" y="1190624"/>
                    <a:pt x="1905000" y="1190624"/>
                  </a:cubicBezTo>
                  <a:cubicBezTo>
                    <a:pt x="1903095" y="1190624"/>
                    <a:pt x="1901190" y="1188719"/>
                    <a:pt x="1901190" y="1186814"/>
                  </a:cubicBezTo>
                  <a:cubicBezTo>
                    <a:pt x="1901190" y="1184909"/>
                    <a:pt x="1903095" y="1183004"/>
                    <a:pt x="1905000" y="1183004"/>
                  </a:cubicBezTo>
                  <a:close/>
                  <a:moveTo>
                    <a:pt x="1685926" y="1183004"/>
                  </a:moveTo>
                  <a:cubicBezTo>
                    <a:pt x="1688783" y="1183004"/>
                    <a:pt x="1690688" y="1184909"/>
                    <a:pt x="1690688" y="1187767"/>
                  </a:cubicBezTo>
                  <a:cubicBezTo>
                    <a:pt x="1690688" y="1190624"/>
                    <a:pt x="1688783" y="1192529"/>
                    <a:pt x="1685926" y="1192529"/>
                  </a:cubicBezTo>
                  <a:cubicBezTo>
                    <a:pt x="1683068" y="1192529"/>
                    <a:pt x="1681163" y="1190624"/>
                    <a:pt x="1681163" y="1187767"/>
                  </a:cubicBezTo>
                  <a:cubicBezTo>
                    <a:pt x="1681163" y="1184909"/>
                    <a:pt x="1683068" y="1183004"/>
                    <a:pt x="1685926" y="1183004"/>
                  </a:cubicBezTo>
                  <a:close/>
                  <a:moveTo>
                    <a:pt x="915353" y="1182052"/>
                  </a:moveTo>
                  <a:cubicBezTo>
                    <a:pt x="918211" y="1182052"/>
                    <a:pt x="921068" y="1184909"/>
                    <a:pt x="921068" y="1187767"/>
                  </a:cubicBezTo>
                  <a:cubicBezTo>
                    <a:pt x="921068" y="1190624"/>
                    <a:pt x="918211" y="1193482"/>
                    <a:pt x="915353" y="1193482"/>
                  </a:cubicBezTo>
                  <a:cubicBezTo>
                    <a:pt x="912496" y="1193482"/>
                    <a:pt x="909638" y="1191577"/>
                    <a:pt x="909638" y="1187767"/>
                  </a:cubicBezTo>
                  <a:cubicBezTo>
                    <a:pt x="909638" y="1184909"/>
                    <a:pt x="912496" y="1182052"/>
                    <a:pt x="915353" y="1182052"/>
                  </a:cubicBezTo>
                  <a:close/>
                  <a:moveTo>
                    <a:pt x="802958" y="1180147"/>
                  </a:moveTo>
                  <a:cubicBezTo>
                    <a:pt x="808673" y="1180147"/>
                    <a:pt x="813435" y="1184910"/>
                    <a:pt x="813435" y="1190625"/>
                  </a:cubicBezTo>
                  <a:cubicBezTo>
                    <a:pt x="813435" y="1196340"/>
                    <a:pt x="808673" y="1201102"/>
                    <a:pt x="802958" y="1201102"/>
                  </a:cubicBezTo>
                  <a:cubicBezTo>
                    <a:pt x="797243" y="1201102"/>
                    <a:pt x="792480" y="1197292"/>
                    <a:pt x="792480" y="1190625"/>
                  </a:cubicBezTo>
                  <a:cubicBezTo>
                    <a:pt x="792480" y="1184910"/>
                    <a:pt x="797243" y="1180147"/>
                    <a:pt x="802958" y="1180147"/>
                  </a:cubicBezTo>
                  <a:close/>
                  <a:moveTo>
                    <a:pt x="286702" y="1180147"/>
                  </a:moveTo>
                  <a:cubicBezTo>
                    <a:pt x="298132" y="1180147"/>
                    <a:pt x="306705" y="1188720"/>
                    <a:pt x="306705" y="1200150"/>
                  </a:cubicBezTo>
                  <a:cubicBezTo>
                    <a:pt x="306705" y="1211580"/>
                    <a:pt x="298132" y="1220152"/>
                    <a:pt x="286702" y="1220152"/>
                  </a:cubicBezTo>
                  <a:cubicBezTo>
                    <a:pt x="275273" y="1220152"/>
                    <a:pt x="266700" y="1211580"/>
                    <a:pt x="266700" y="1200150"/>
                  </a:cubicBezTo>
                  <a:cubicBezTo>
                    <a:pt x="266700" y="1188720"/>
                    <a:pt x="275273" y="1180147"/>
                    <a:pt x="286702" y="1180147"/>
                  </a:cubicBezTo>
                  <a:close/>
                  <a:moveTo>
                    <a:pt x="696277" y="1174432"/>
                  </a:moveTo>
                  <a:cubicBezTo>
                    <a:pt x="702945" y="1174432"/>
                    <a:pt x="708660" y="1180147"/>
                    <a:pt x="708660" y="1186815"/>
                  </a:cubicBezTo>
                  <a:cubicBezTo>
                    <a:pt x="708660" y="1193482"/>
                    <a:pt x="702945" y="1199197"/>
                    <a:pt x="696277" y="1199197"/>
                  </a:cubicBezTo>
                  <a:cubicBezTo>
                    <a:pt x="688658" y="1199197"/>
                    <a:pt x="683895" y="1193482"/>
                    <a:pt x="683895" y="1186815"/>
                  </a:cubicBezTo>
                  <a:cubicBezTo>
                    <a:pt x="683895" y="1180147"/>
                    <a:pt x="689610" y="1174432"/>
                    <a:pt x="696277" y="1174432"/>
                  </a:cubicBezTo>
                  <a:close/>
                  <a:moveTo>
                    <a:pt x="438150" y="1172527"/>
                  </a:moveTo>
                  <a:cubicBezTo>
                    <a:pt x="447675" y="1172527"/>
                    <a:pt x="456247" y="1180147"/>
                    <a:pt x="456247" y="1190624"/>
                  </a:cubicBezTo>
                  <a:cubicBezTo>
                    <a:pt x="456247" y="1200149"/>
                    <a:pt x="448627" y="1208722"/>
                    <a:pt x="438150" y="1208722"/>
                  </a:cubicBezTo>
                  <a:cubicBezTo>
                    <a:pt x="427672" y="1208722"/>
                    <a:pt x="420052" y="1200149"/>
                    <a:pt x="420052" y="1190624"/>
                  </a:cubicBezTo>
                  <a:cubicBezTo>
                    <a:pt x="420052" y="1181099"/>
                    <a:pt x="427672" y="1172527"/>
                    <a:pt x="438150" y="1172527"/>
                  </a:cubicBezTo>
                  <a:close/>
                  <a:moveTo>
                    <a:pt x="1033462" y="1171575"/>
                  </a:moveTo>
                  <a:cubicBezTo>
                    <a:pt x="1035367" y="1171575"/>
                    <a:pt x="1037272" y="1173480"/>
                    <a:pt x="1037272" y="1175385"/>
                  </a:cubicBezTo>
                  <a:cubicBezTo>
                    <a:pt x="1037272" y="1177290"/>
                    <a:pt x="1035367" y="1179195"/>
                    <a:pt x="1033462" y="1179195"/>
                  </a:cubicBezTo>
                  <a:cubicBezTo>
                    <a:pt x="1031557" y="1179195"/>
                    <a:pt x="1029652" y="1177290"/>
                    <a:pt x="1029652" y="1175385"/>
                  </a:cubicBezTo>
                  <a:cubicBezTo>
                    <a:pt x="1029652" y="1173480"/>
                    <a:pt x="1031557" y="1171575"/>
                    <a:pt x="1033462" y="1171575"/>
                  </a:cubicBezTo>
                  <a:close/>
                  <a:moveTo>
                    <a:pt x="1821180" y="1170622"/>
                  </a:moveTo>
                  <a:cubicBezTo>
                    <a:pt x="1823085" y="1170622"/>
                    <a:pt x="1824037" y="1171575"/>
                    <a:pt x="1824037" y="1173480"/>
                  </a:cubicBezTo>
                  <a:cubicBezTo>
                    <a:pt x="1824037" y="1175385"/>
                    <a:pt x="1823085" y="1176337"/>
                    <a:pt x="1821180" y="1176337"/>
                  </a:cubicBezTo>
                  <a:cubicBezTo>
                    <a:pt x="1820227" y="1176337"/>
                    <a:pt x="1818322" y="1175385"/>
                    <a:pt x="1818322" y="1173480"/>
                  </a:cubicBezTo>
                  <a:cubicBezTo>
                    <a:pt x="1818322" y="1171575"/>
                    <a:pt x="1819275" y="1170622"/>
                    <a:pt x="1821180" y="1170622"/>
                  </a:cubicBezTo>
                  <a:close/>
                  <a:moveTo>
                    <a:pt x="2256472" y="1168717"/>
                  </a:moveTo>
                  <a:cubicBezTo>
                    <a:pt x="2258378" y="1168717"/>
                    <a:pt x="2259330" y="1170622"/>
                    <a:pt x="2259330" y="1171575"/>
                  </a:cubicBezTo>
                  <a:cubicBezTo>
                    <a:pt x="2259330" y="1173480"/>
                    <a:pt x="2257425" y="1174432"/>
                    <a:pt x="2256472" y="1174432"/>
                  </a:cubicBezTo>
                  <a:cubicBezTo>
                    <a:pt x="2254567" y="1174432"/>
                    <a:pt x="2253615" y="1173480"/>
                    <a:pt x="2253615" y="1171575"/>
                  </a:cubicBezTo>
                  <a:cubicBezTo>
                    <a:pt x="2253615" y="1169670"/>
                    <a:pt x="2255520" y="1168717"/>
                    <a:pt x="2256472" y="1168717"/>
                  </a:cubicBezTo>
                  <a:close/>
                  <a:moveTo>
                    <a:pt x="197168" y="1163954"/>
                  </a:moveTo>
                  <a:cubicBezTo>
                    <a:pt x="205741" y="1163954"/>
                    <a:pt x="212408" y="1170621"/>
                    <a:pt x="212408" y="1179194"/>
                  </a:cubicBezTo>
                  <a:cubicBezTo>
                    <a:pt x="212408" y="1187767"/>
                    <a:pt x="205741" y="1194434"/>
                    <a:pt x="197168" y="1194434"/>
                  </a:cubicBezTo>
                  <a:cubicBezTo>
                    <a:pt x="189548" y="1194434"/>
                    <a:pt x="181928" y="1187767"/>
                    <a:pt x="181928" y="1179194"/>
                  </a:cubicBezTo>
                  <a:cubicBezTo>
                    <a:pt x="181928" y="1170621"/>
                    <a:pt x="188595" y="1163954"/>
                    <a:pt x="197168" y="1163954"/>
                  </a:cubicBezTo>
                  <a:close/>
                  <a:moveTo>
                    <a:pt x="2180273" y="1161097"/>
                  </a:moveTo>
                  <a:cubicBezTo>
                    <a:pt x="2183130" y="1161097"/>
                    <a:pt x="2185988" y="1163955"/>
                    <a:pt x="2185988" y="1166812"/>
                  </a:cubicBezTo>
                  <a:cubicBezTo>
                    <a:pt x="2185988" y="1169670"/>
                    <a:pt x="2183130" y="1172527"/>
                    <a:pt x="2180273" y="1172527"/>
                  </a:cubicBezTo>
                  <a:cubicBezTo>
                    <a:pt x="2177416" y="1172527"/>
                    <a:pt x="2175510" y="1170622"/>
                    <a:pt x="2174558" y="1166812"/>
                  </a:cubicBezTo>
                  <a:cubicBezTo>
                    <a:pt x="2174558" y="1163955"/>
                    <a:pt x="2177416" y="1161097"/>
                    <a:pt x="2180273" y="1161097"/>
                  </a:cubicBezTo>
                  <a:close/>
                  <a:moveTo>
                    <a:pt x="594360" y="1159192"/>
                  </a:moveTo>
                  <a:cubicBezTo>
                    <a:pt x="603885" y="1159192"/>
                    <a:pt x="610552" y="1166812"/>
                    <a:pt x="610552" y="1175384"/>
                  </a:cubicBezTo>
                  <a:cubicBezTo>
                    <a:pt x="610552" y="1184909"/>
                    <a:pt x="602932" y="1191577"/>
                    <a:pt x="594360" y="1191577"/>
                  </a:cubicBezTo>
                  <a:cubicBezTo>
                    <a:pt x="585787" y="1191577"/>
                    <a:pt x="578167" y="1184909"/>
                    <a:pt x="578167" y="1175384"/>
                  </a:cubicBezTo>
                  <a:cubicBezTo>
                    <a:pt x="578167" y="1165859"/>
                    <a:pt x="585787" y="1159192"/>
                    <a:pt x="594360" y="1159192"/>
                  </a:cubicBezTo>
                  <a:close/>
                  <a:moveTo>
                    <a:pt x="2104073" y="1157287"/>
                  </a:moveTo>
                  <a:cubicBezTo>
                    <a:pt x="2105978" y="1157287"/>
                    <a:pt x="2107883" y="1159192"/>
                    <a:pt x="2107883" y="1161097"/>
                  </a:cubicBezTo>
                  <a:cubicBezTo>
                    <a:pt x="2107883" y="1163002"/>
                    <a:pt x="2105978" y="1164907"/>
                    <a:pt x="2104073" y="1164907"/>
                  </a:cubicBezTo>
                  <a:cubicBezTo>
                    <a:pt x="2102168" y="1164907"/>
                    <a:pt x="2101216" y="1163954"/>
                    <a:pt x="2100263" y="1161097"/>
                  </a:cubicBezTo>
                  <a:cubicBezTo>
                    <a:pt x="2100263" y="1159192"/>
                    <a:pt x="2102168" y="1157287"/>
                    <a:pt x="2104073" y="1157287"/>
                  </a:cubicBezTo>
                  <a:close/>
                  <a:moveTo>
                    <a:pt x="1734503" y="1157287"/>
                  </a:moveTo>
                  <a:cubicBezTo>
                    <a:pt x="1734503" y="1157287"/>
                    <a:pt x="1735455" y="1157287"/>
                    <a:pt x="1735455" y="1158240"/>
                  </a:cubicBezTo>
                  <a:cubicBezTo>
                    <a:pt x="1735455" y="1158240"/>
                    <a:pt x="1735455" y="1159192"/>
                    <a:pt x="1734503" y="1159192"/>
                  </a:cubicBezTo>
                  <a:cubicBezTo>
                    <a:pt x="1734503" y="1159192"/>
                    <a:pt x="1733550" y="1158240"/>
                    <a:pt x="1733550" y="1158240"/>
                  </a:cubicBezTo>
                  <a:cubicBezTo>
                    <a:pt x="1733550" y="1158240"/>
                    <a:pt x="1733550" y="1157287"/>
                    <a:pt x="1734503" y="1157287"/>
                  </a:cubicBezTo>
                  <a:close/>
                  <a:moveTo>
                    <a:pt x="1386840" y="1156335"/>
                  </a:moveTo>
                  <a:cubicBezTo>
                    <a:pt x="1387366" y="1156335"/>
                    <a:pt x="1387793" y="1156761"/>
                    <a:pt x="1387793" y="1157288"/>
                  </a:cubicBezTo>
                  <a:cubicBezTo>
                    <a:pt x="1387793" y="1157813"/>
                    <a:pt x="1387367" y="1158240"/>
                    <a:pt x="1386840" y="1158240"/>
                  </a:cubicBezTo>
                  <a:cubicBezTo>
                    <a:pt x="1386314" y="1158240"/>
                    <a:pt x="1385888" y="1157814"/>
                    <a:pt x="1385888" y="1157288"/>
                  </a:cubicBezTo>
                  <a:cubicBezTo>
                    <a:pt x="1385888" y="1156762"/>
                    <a:pt x="1386314" y="1156335"/>
                    <a:pt x="1386840" y="1156335"/>
                  </a:cubicBezTo>
                  <a:close/>
                  <a:moveTo>
                    <a:pt x="865823" y="1153477"/>
                  </a:moveTo>
                  <a:cubicBezTo>
                    <a:pt x="867927" y="1153477"/>
                    <a:pt x="869633" y="1155183"/>
                    <a:pt x="869633" y="1157287"/>
                  </a:cubicBezTo>
                  <a:cubicBezTo>
                    <a:pt x="869633" y="1159391"/>
                    <a:pt x="867927" y="1161097"/>
                    <a:pt x="865823" y="1161097"/>
                  </a:cubicBezTo>
                  <a:cubicBezTo>
                    <a:pt x="863719" y="1161097"/>
                    <a:pt x="862013" y="1159391"/>
                    <a:pt x="862013" y="1157287"/>
                  </a:cubicBezTo>
                  <a:cubicBezTo>
                    <a:pt x="862013" y="1155183"/>
                    <a:pt x="863719" y="1153477"/>
                    <a:pt x="865823" y="1153477"/>
                  </a:cubicBezTo>
                  <a:close/>
                  <a:moveTo>
                    <a:pt x="111442" y="1153477"/>
                  </a:moveTo>
                  <a:cubicBezTo>
                    <a:pt x="113347" y="1153477"/>
                    <a:pt x="115252" y="1155382"/>
                    <a:pt x="115252" y="1157287"/>
                  </a:cubicBezTo>
                  <a:cubicBezTo>
                    <a:pt x="115252" y="1159192"/>
                    <a:pt x="113347" y="1161097"/>
                    <a:pt x="111442" y="1161097"/>
                  </a:cubicBezTo>
                  <a:cubicBezTo>
                    <a:pt x="108585" y="1161097"/>
                    <a:pt x="107632" y="1159192"/>
                    <a:pt x="107632" y="1157287"/>
                  </a:cubicBezTo>
                  <a:cubicBezTo>
                    <a:pt x="107632" y="1155382"/>
                    <a:pt x="109537" y="1153477"/>
                    <a:pt x="111442" y="1153477"/>
                  </a:cubicBezTo>
                  <a:close/>
                  <a:moveTo>
                    <a:pt x="2025968" y="1152525"/>
                  </a:moveTo>
                  <a:cubicBezTo>
                    <a:pt x="2026920" y="1152525"/>
                    <a:pt x="2028825" y="1153478"/>
                    <a:pt x="2028825" y="1155383"/>
                  </a:cubicBezTo>
                  <a:cubicBezTo>
                    <a:pt x="2028825" y="1156335"/>
                    <a:pt x="2027873" y="1158240"/>
                    <a:pt x="2025968" y="1158240"/>
                  </a:cubicBezTo>
                  <a:cubicBezTo>
                    <a:pt x="2024063" y="1158240"/>
                    <a:pt x="2023110" y="1156335"/>
                    <a:pt x="2023110" y="1155383"/>
                  </a:cubicBezTo>
                  <a:cubicBezTo>
                    <a:pt x="2023110" y="1154430"/>
                    <a:pt x="2024063" y="1152525"/>
                    <a:pt x="2025968" y="1152525"/>
                  </a:cubicBezTo>
                  <a:close/>
                  <a:moveTo>
                    <a:pt x="344805" y="1151572"/>
                  </a:moveTo>
                  <a:cubicBezTo>
                    <a:pt x="356235" y="1151572"/>
                    <a:pt x="364807" y="1160145"/>
                    <a:pt x="364807" y="1171575"/>
                  </a:cubicBezTo>
                  <a:cubicBezTo>
                    <a:pt x="364807" y="1183005"/>
                    <a:pt x="356235" y="1191577"/>
                    <a:pt x="344805" y="1191577"/>
                  </a:cubicBezTo>
                  <a:cubicBezTo>
                    <a:pt x="334327" y="1191577"/>
                    <a:pt x="324802" y="1183005"/>
                    <a:pt x="324802" y="1171575"/>
                  </a:cubicBezTo>
                  <a:cubicBezTo>
                    <a:pt x="324802" y="1160145"/>
                    <a:pt x="333375" y="1151572"/>
                    <a:pt x="344805" y="1151572"/>
                  </a:cubicBezTo>
                  <a:close/>
                  <a:moveTo>
                    <a:pt x="981075" y="1149667"/>
                  </a:moveTo>
                  <a:cubicBezTo>
                    <a:pt x="982027" y="1149667"/>
                    <a:pt x="982980" y="1150620"/>
                    <a:pt x="982980" y="1151572"/>
                  </a:cubicBezTo>
                  <a:cubicBezTo>
                    <a:pt x="982980" y="1152525"/>
                    <a:pt x="982027" y="1153477"/>
                    <a:pt x="981075" y="1153477"/>
                  </a:cubicBezTo>
                  <a:cubicBezTo>
                    <a:pt x="980122" y="1153477"/>
                    <a:pt x="979170" y="1152525"/>
                    <a:pt x="979170" y="1151572"/>
                  </a:cubicBezTo>
                  <a:cubicBezTo>
                    <a:pt x="979170" y="1150620"/>
                    <a:pt x="980122" y="1149667"/>
                    <a:pt x="981075" y="1149667"/>
                  </a:cubicBezTo>
                  <a:close/>
                  <a:moveTo>
                    <a:pt x="757238" y="1149667"/>
                  </a:moveTo>
                  <a:cubicBezTo>
                    <a:pt x="760096" y="1149667"/>
                    <a:pt x="762953" y="1152525"/>
                    <a:pt x="762953" y="1155382"/>
                  </a:cubicBezTo>
                  <a:cubicBezTo>
                    <a:pt x="762953" y="1158240"/>
                    <a:pt x="760096" y="1161097"/>
                    <a:pt x="757238" y="1161097"/>
                  </a:cubicBezTo>
                  <a:cubicBezTo>
                    <a:pt x="754380" y="1161097"/>
                    <a:pt x="752475" y="1158240"/>
                    <a:pt x="751523" y="1155382"/>
                  </a:cubicBezTo>
                  <a:cubicBezTo>
                    <a:pt x="751523" y="1152525"/>
                    <a:pt x="754380" y="1149667"/>
                    <a:pt x="757238" y="1149667"/>
                  </a:cubicBezTo>
                  <a:close/>
                  <a:moveTo>
                    <a:pt x="497205" y="1145857"/>
                  </a:moveTo>
                  <a:cubicBezTo>
                    <a:pt x="505778" y="1145857"/>
                    <a:pt x="512445" y="1152524"/>
                    <a:pt x="512445" y="1161097"/>
                  </a:cubicBezTo>
                  <a:cubicBezTo>
                    <a:pt x="512445" y="1169670"/>
                    <a:pt x="505778" y="1176337"/>
                    <a:pt x="497205" y="1176337"/>
                  </a:cubicBezTo>
                  <a:cubicBezTo>
                    <a:pt x="488633" y="1176337"/>
                    <a:pt x="481965" y="1169670"/>
                    <a:pt x="481965" y="1161097"/>
                  </a:cubicBezTo>
                  <a:cubicBezTo>
                    <a:pt x="481965" y="1152524"/>
                    <a:pt x="488633" y="1145857"/>
                    <a:pt x="497205" y="1145857"/>
                  </a:cubicBezTo>
                  <a:close/>
                  <a:moveTo>
                    <a:pt x="1946910" y="1143000"/>
                  </a:moveTo>
                  <a:cubicBezTo>
                    <a:pt x="1948816" y="1143000"/>
                    <a:pt x="1949768" y="1143953"/>
                    <a:pt x="1949768" y="1145858"/>
                  </a:cubicBezTo>
                  <a:cubicBezTo>
                    <a:pt x="1949768" y="1147763"/>
                    <a:pt x="1948816" y="1148715"/>
                    <a:pt x="1946910" y="1148715"/>
                  </a:cubicBezTo>
                  <a:cubicBezTo>
                    <a:pt x="1945005" y="1148715"/>
                    <a:pt x="1944053" y="1147763"/>
                    <a:pt x="1944053" y="1145858"/>
                  </a:cubicBezTo>
                  <a:cubicBezTo>
                    <a:pt x="1944053" y="1143953"/>
                    <a:pt x="1945005" y="1143000"/>
                    <a:pt x="1946910" y="1143000"/>
                  </a:cubicBezTo>
                  <a:close/>
                  <a:moveTo>
                    <a:pt x="255270" y="1138237"/>
                  </a:moveTo>
                  <a:cubicBezTo>
                    <a:pt x="262889" y="1138237"/>
                    <a:pt x="269557" y="1143952"/>
                    <a:pt x="269557" y="1152525"/>
                  </a:cubicBezTo>
                  <a:cubicBezTo>
                    <a:pt x="269557" y="1160145"/>
                    <a:pt x="263842" y="1166812"/>
                    <a:pt x="255270" y="1166812"/>
                  </a:cubicBezTo>
                  <a:cubicBezTo>
                    <a:pt x="247650" y="1166812"/>
                    <a:pt x="240982" y="1160145"/>
                    <a:pt x="240982" y="1152525"/>
                  </a:cubicBezTo>
                  <a:cubicBezTo>
                    <a:pt x="240982" y="1144904"/>
                    <a:pt x="246697" y="1138237"/>
                    <a:pt x="255270" y="1138237"/>
                  </a:cubicBezTo>
                  <a:close/>
                  <a:moveTo>
                    <a:pt x="1645920" y="1137284"/>
                  </a:moveTo>
                  <a:cubicBezTo>
                    <a:pt x="1645920" y="1137284"/>
                    <a:pt x="1646872" y="1138237"/>
                    <a:pt x="1646872" y="1138237"/>
                  </a:cubicBezTo>
                  <a:cubicBezTo>
                    <a:pt x="1646872" y="1138237"/>
                    <a:pt x="1646872" y="1139189"/>
                    <a:pt x="1645920" y="1139189"/>
                  </a:cubicBezTo>
                  <a:cubicBezTo>
                    <a:pt x="1644967" y="1139189"/>
                    <a:pt x="1644967" y="1138237"/>
                    <a:pt x="1644967" y="1138237"/>
                  </a:cubicBezTo>
                  <a:cubicBezTo>
                    <a:pt x="1644967" y="1138237"/>
                    <a:pt x="1644967" y="1137284"/>
                    <a:pt x="1645920" y="1137284"/>
                  </a:cubicBezTo>
                  <a:close/>
                  <a:moveTo>
                    <a:pt x="654367" y="1137284"/>
                  </a:moveTo>
                  <a:cubicBezTo>
                    <a:pt x="659130" y="1137284"/>
                    <a:pt x="662940" y="1141094"/>
                    <a:pt x="662940" y="1145857"/>
                  </a:cubicBezTo>
                  <a:cubicBezTo>
                    <a:pt x="662940" y="1150619"/>
                    <a:pt x="659130" y="1154429"/>
                    <a:pt x="654367" y="1154429"/>
                  </a:cubicBezTo>
                  <a:cubicBezTo>
                    <a:pt x="649605" y="1154429"/>
                    <a:pt x="646747" y="1150619"/>
                    <a:pt x="645795" y="1145857"/>
                  </a:cubicBezTo>
                  <a:cubicBezTo>
                    <a:pt x="645795" y="1141094"/>
                    <a:pt x="649605" y="1137284"/>
                    <a:pt x="654367" y="1137284"/>
                  </a:cubicBezTo>
                  <a:close/>
                  <a:moveTo>
                    <a:pt x="1864995" y="1135379"/>
                  </a:moveTo>
                  <a:cubicBezTo>
                    <a:pt x="1864995" y="1135379"/>
                    <a:pt x="1865947" y="1135379"/>
                    <a:pt x="1865947" y="1136332"/>
                  </a:cubicBezTo>
                  <a:cubicBezTo>
                    <a:pt x="1865947" y="1136332"/>
                    <a:pt x="1865947" y="1137284"/>
                    <a:pt x="1864995" y="1137284"/>
                  </a:cubicBezTo>
                  <a:cubicBezTo>
                    <a:pt x="1864042" y="1137284"/>
                    <a:pt x="1864042" y="1137284"/>
                    <a:pt x="1864042" y="1136332"/>
                  </a:cubicBezTo>
                  <a:cubicBezTo>
                    <a:pt x="1864042" y="1136332"/>
                    <a:pt x="1864042" y="1135379"/>
                    <a:pt x="1864995" y="1135379"/>
                  </a:cubicBezTo>
                  <a:close/>
                  <a:moveTo>
                    <a:pt x="403861" y="1126807"/>
                  </a:moveTo>
                  <a:cubicBezTo>
                    <a:pt x="413386" y="1126807"/>
                    <a:pt x="420053" y="1134427"/>
                    <a:pt x="420053" y="1142999"/>
                  </a:cubicBezTo>
                  <a:cubicBezTo>
                    <a:pt x="420053" y="1152524"/>
                    <a:pt x="412433" y="1159192"/>
                    <a:pt x="403861" y="1159192"/>
                  </a:cubicBezTo>
                  <a:cubicBezTo>
                    <a:pt x="395288" y="1159192"/>
                    <a:pt x="387668" y="1152524"/>
                    <a:pt x="387668" y="1142999"/>
                  </a:cubicBezTo>
                  <a:cubicBezTo>
                    <a:pt x="387668" y="1133474"/>
                    <a:pt x="395288" y="1126807"/>
                    <a:pt x="403861" y="1126807"/>
                  </a:cubicBezTo>
                  <a:close/>
                  <a:moveTo>
                    <a:pt x="1781175" y="1122997"/>
                  </a:moveTo>
                  <a:cubicBezTo>
                    <a:pt x="1781175" y="1122997"/>
                    <a:pt x="1782127" y="1122997"/>
                    <a:pt x="1782127" y="1123950"/>
                  </a:cubicBezTo>
                  <a:cubicBezTo>
                    <a:pt x="1782127" y="1123950"/>
                    <a:pt x="1782127" y="1124902"/>
                    <a:pt x="1781175" y="1124902"/>
                  </a:cubicBezTo>
                  <a:cubicBezTo>
                    <a:pt x="1780222" y="1124902"/>
                    <a:pt x="1780222" y="1123950"/>
                    <a:pt x="1780222" y="1123950"/>
                  </a:cubicBezTo>
                  <a:cubicBezTo>
                    <a:pt x="1780222" y="1123950"/>
                    <a:pt x="1780222" y="1122997"/>
                    <a:pt x="1781175" y="1122997"/>
                  </a:cubicBezTo>
                  <a:close/>
                  <a:moveTo>
                    <a:pt x="556260" y="1121092"/>
                  </a:moveTo>
                  <a:cubicBezTo>
                    <a:pt x="562928" y="1121092"/>
                    <a:pt x="567690" y="1125855"/>
                    <a:pt x="567690" y="1132522"/>
                  </a:cubicBezTo>
                  <a:cubicBezTo>
                    <a:pt x="567690" y="1139190"/>
                    <a:pt x="562928" y="1143952"/>
                    <a:pt x="556260" y="1143952"/>
                  </a:cubicBezTo>
                  <a:cubicBezTo>
                    <a:pt x="549593" y="1143952"/>
                    <a:pt x="544830" y="1139190"/>
                    <a:pt x="544830" y="1132522"/>
                  </a:cubicBezTo>
                  <a:cubicBezTo>
                    <a:pt x="544830" y="1125855"/>
                    <a:pt x="549593" y="1121092"/>
                    <a:pt x="556260" y="1121092"/>
                  </a:cubicBezTo>
                  <a:close/>
                  <a:moveTo>
                    <a:pt x="930592" y="1120140"/>
                  </a:moveTo>
                  <a:cubicBezTo>
                    <a:pt x="932498" y="1120140"/>
                    <a:pt x="933450" y="1121092"/>
                    <a:pt x="933450" y="1122997"/>
                  </a:cubicBezTo>
                  <a:cubicBezTo>
                    <a:pt x="933450" y="1124903"/>
                    <a:pt x="932498" y="1125855"/>
                    <a:pt x="930592" y="1125855"/>
                  </a:cubicBezTo>
                  <a:cubicBezTo>
                    <a:pt x="929640" y="1125855"/>
                    <a:pt x="927735" y="1124903"/>
                    <a:pt x="927735" y="1122997"/>
                  </a:cubicBezTo>
                  <a:cubicBezTo>
                    <a:pt x="927735" y="1121092"/>
                    <a:pt x="928687" y="1120140"/>
                    <a:pt x="930592" y="1120140"/>
                  </a:cubicBezTo>
                  <a:close/>
                  <a:moveTo>
                    <a:pt x="820103" y="1118234"/>
                  </a:moveTo>
                  <a:cubicBezTo>
                    <a:pt x="822960" y="1118234"/>
                    <a:pt x="824865" y="1120139"/>
                    <a:pt x="824865" y="1122997"/>
                  </a:cubicBezTo>
                  <a:cubicBezTo>
                    <a:pt x="824865" y="1125854"/>
                    <a:pt x="822960" y="1127759"/>
                    <a:pt x="820103" y="1127759"/>
                  </a:cubicBezTo>
                  <a:cubicBezTo>
                    <a:pt x="817245" y="1127759"/>
                    <a:pt x="815340" y="1125854"/>
                    <a:pt x="815340" y="1122997"/>
                  </a:cubicBezTo>
                  <a:cubicBezTo>
                    <a:pt x="815340" y="1120139"/>
                    <a:pt x="817245" y="1118234"/>
                    <a:pt x="820103" y="1118234"/>
                  </a:cubicBezTo>
                  <a:close/>
                  <a:moveTo>
                    <a:pt x="2286953" y="1116329"/>
                  </a:moveTo>
                  <a:cubicBezTo>
                    <a:pt x="2290763" y="1116329"/>
                    <a:pt x="2293620" y="1119187"/>
                    <a:pt x="2293620" y="1122996"/>
                  </a:cubicBezTo>
                  <a:cubicBezTo>
                    <a:pt x="2293620" y="1126807"/>
                    <a:pt x="2290763" y="1129664"/>
                    <a:pt x="2286953" y="1129664"/>
                  </a:cubicBezTo>
                  <a:cubicBezTo>
                    <a:pt x="2284095" y="1129664"/>
                    <a:pt x="2281238" y="1126807"/>
                    <a:pt x="2280285" y="1122996"/>
                  </a:cubicBezTo>
                  <a:cubicBezTo>
                    <a:pt x="2280285" y="1119187"/>
                    <a:pt x="2283143" y="1116329"/>
                    <a:pt x="2286953" y="1116329"/>
                  </a:cubicBezTo>
                  <a:close/>
                  <a:moveTo>
                    <a:pt x="169545" y="1116329"/>
                  </a:moveTo>
                  <a:cubicBezTo>
                    <a:pt x="177165" y="1116329"/>
                    <a:pt x="182880" y="1122044"/>
                    <a:pt x="182880" y="1129664"/>
                  </a:cubicBezTo>
                  <a:cubicBezTo>
                    <a:pt x="182880" y="1137284"/>
                    <a:pt x="177165" y="1142999"/>
                    <a:pt x="169545" y="1142999"/>
                  </a:cubicBezTo>
                  <a:cubicBezTo>
                    <a:pt x="161925" y="1142999"/>
                    <a:pt x="155257" y="1137284"/>
                    <a:pt x="156210" y="1129664"/>
                  </a:cubicBezTo>
                  <a:cubicBezTo>
                    <a:pt x="156210" y="1122044"/>
                    <a:pt x="161925" y="1116329"/>
                    <a:pt x="169545" y="1116329"/>
                  </a:cubicBezTo>
                  <a:close/>
                  <a:moveTo>
                    <a:pt x="2213610" y="1110615"/>
                  </a:moveTo>
                  <a:cubicBezTo>
                    <a:pt x="2218373" y="1110615"/>
                    <a:pt x="2223135" y="1114425"/>
                    <a:pt x="2223135" y="1120140"/>
                  </a:cubicBezTo>
                  <a:cubicBezTo>
                    <a:pt x="2223135" y="1124903"/>
                    <a:pt x="2219325" y="1129665"/>
                    <a:pt x="2213610" y="1129665"/>
                  </a:cubicBezTo>
                  <a:cubicBezTo>
                    <a:pt x="2207895" y="1129665"/>
                    <a:pt x="2204085" y="1125855"/>
                    <a:pt x="2204085" y="1120140"/>
                  </a:cubicBezTo>
                  <a:cubicBezTo>
                    <a:pt x="2204085" y="1115378"/>
                    <a:pt x="2207895" y="1110615"/>
                    <a:pt x="2213610" y="1110615"/>
                  </a:cubicBezTo>
                  <a:close/>
                  <a:moveTo>
                    <a:pt x="1047750" y="1110615"/>
                  </a:moveTo>
                  <a:cubicBezTo>
                    <a:pt x="1047750" y="1110615"/>
                    <a:pt x="1048703" y="1110615"/>
                    <a:pt x="1048703" y="1111567"/>
                  </a:cubicBezTo>
                  <a:cubicBezTo>
                    <a:pt x="1048703" y="1111567"/>
                    <a:pt x="1048703" y="1112520"/>
                    <a:pt x="1047750" y="1112520"/>
                  </a:cubicBezTo>
                  <a:cubicBezTo>
                    <a:pt x="1047750" y="1112520"/>
                    <a:pt x="1046798" y="1112520"/>
                    <a:pt x="1046798" y="1111567"/>
                  </a:cubicBezTo>
                  <a:cubicBezTo>
                    <a:pt x="1046798" y="1111567"/>
                    <a:pt x="1046798" y="1110615"/>
                    <a:pt x="1047750" y="1110615"/>
                  </a:cubicBezTo>
                  <a:close/>
                  <a:moveTo>
                    <a:pt x="715328" y="1110615"/>
                  </a:moveTo>
                  <a:cubicBezTo>
                    <a:pt x="718186" y="1110615"/>
                    <a:pt x="721043" y="1113472"/>
                    <a:pt x="721043" y="1116330"/>
                  </a:cubicBezTo>
                  <a:cubicBezTo>
                    <a:pt x="721043" y="1119187"/>
                    <a:pt x="718186" y="1122045"/>
                    <a:pt x="715328" y="1122045"/>
                  </a:cubicBezTo>
                  <a:cubicBezTo>
                    <a:pt x="712471" y="1122045"/>
                    <a:pt x="709613" y="1119187"/>
                    <a:pt x="709613" y="1116330"/>
                  </a:cubicBezTo>
                  <a:cubicBezTo>
                    <a:pt x="709613" y="1113472"/>
                    <a:pt x="712471" y="1110615"/>
                    <a:pt x="715328" y="1110615"/>
                  </a:cubicBezTo>
                  <a:close/>
                  <a:moveTo>
                    <a:pt x="2139315" y="1109662"/>
                  </a:moveTo>
                  <a:cubicBezTo>
                    <a:pt x="2142172" y="1109662"/>
                    <a:pt x="2145030" y="1112520"/>
                    <a:pt x="2145030" y="1115377"/>
                  </a:cubicBezTo>
                  <a:cubicBezTo>
                    <a:pt x="2145030" y="1118234"/>
                    <a:pt x="2142172" y="1121092"/>
                    <a:pt x="2139315" y="1121092"/>
                  </a:cubicBezTo>
                  <a:cubicBezTo>
                    <a:pt x="2135505" y="1121092"/>
                    <a:pt x="2133600" y="1118234"/>
                    <a:pt x="2133600" y="1115377"/>
                  </a:cubicBezTo>
                  <a:cubicBezTo>
                    <a:pt x="2133600" y="1112520"/>
                    <a:pt x="2136458" y="1109662"/>
                    <a:pt x="2139315" y="1109662"/>
                  </a:cubicBezTo>
                  <a:close/>
                  <a:moveTo>
                    <a:pt x="1694497" y="1106804"/>
                  </a:moveTo>
                  <a:cubicBezTo>
                    <a:pt x="1694497" y="1106804"/>
                    <a:pt x="1695450" y="1106804"/>
                    <a:pt x="1695450" y="1107757"/>
                  </a:cubicBezTo>
                  <a:cubicBezTo>
                    <a:pt x="1695450" y="1107757"/>
                    <a:pt x="1695450" y="1108709"/>
                    <a:pt x="1694497" y="1108709"/>
                  </a:cubicBezTo>
                  <a:cubicBezTo>
                    <a:pt x="1693545" y="1108709"/>
                    <a:pt x="1693545" y="1107757"/>
                    <a:pt x="1693545" y="1107757"/>
                  </a:cubicBezTo>
                  <a:cubicBezTo>
                    <a:pt x="1693545" y="1107757"/>
                    <a:pt x="1693545" y="1106804"/>
                    <a:pt x="1694497" y="1106804"/>
                  </a:cubicBezTo>
                  <a:close/>
                  <a:moveTo>
                    <a:pt x="2063115" y="1105852"/>
                  </a:moveTo>
                  <a:cubicBezTo>
                    <a:pt x="2065020" y="1105852"/>
                    <a:pt x="2066925" y="1107757"/>
                    <a:pt x="2066925" y="1109662"/>
                  </a:cubicBezTo>
                  <a:cubicBezTo>
                    <a:pt x="2066925" y="1111567"/>
                    <a:pt x="2065020" y="1113472"/>
                    <a:pt x="2063115" y="1113472"/>
                  </a:cubicBezTo>
                  <a:cubicBezTo>
                    <a:pt x="2061210" y="1113472"/>
                    <a:pt x="2059305" y="1112519"/>
                    <a:pt x="2059305" y="1109662"/>
                  </a:cubicBezTo>
                  <a:cubicBezTo>
                    <a:pt x="2059305" y="1107757"/>
                    <a:pt x="2061210" y="1105852"/>
                    <a:pt x="2063115" y="1105852"/>
                  </a:cubicBezTo>
                  <a:close/>
                  <a:moveTo>
                    <a:pt x="313372" y="1105852"/>
                  </a:moveTo>
                  <a:cubicBezTo>
                    <a:pt x="322897" y="1105852"/>
                    <a:pt x="330517" y="1113472"/>
                    <a:pt x="330517" y="1122997"/>
                  </a:cubicBezTo>
                  <a:cubicBezTo>
                    <a:pt x="330517" y="1132522"/>
                    <a:pt x="322897" y="1140142"/>
                    <a:pt x="313372" y="1140142"/>
                  </a:cubicBezTo>
                  <a:cubicBezTo>
                    <a:pt x="304800" y="1140142"/>
                    <a:pt x="297180" y="1132522"/>
                    <a:pt x="296227" y="1122997"/>
                  </a:cubicBezTo>
                  <a:cubicBezTo>
                    <a:pt x="296227" y="1113472"/>
                    <a:pt x="303847" y="1105852"/>
                    <a:pt x="313372" y="1105852"/>
                  </a:cubicBezTo>
                  <a:close/>
                  <a:moveTo>
                    <a:pt x="1985010" y="1102995"/>
                  </a:moveTo>
                  <a:cubicBezTo>
                    <a:pt x="1985010" y="1102995"/>
                    <a:pt x="1985963" y="1102995"/>
                    <a:pt x="1985963" y="1103947"/>
                  </a:cubicBezTo>
                  <a:cubicBezTo>
                    <a:pt x="1985963" y="1103947"/>
                    <a:pt x="1985963" y="1104900"/>
                    <a:pt x="1985010" y="1104900"/>
                  </a:cubicBezTo>
                  <a:cubicBezTo>
                    <a:pt x="1985010" y="1104900"/>
                    <a:pt x="1984058" y="1104900"/>
                    <a:pt x="1984058" y="1103947"/>
                  </a:cubicBezTo>
                  <a:cubicBezTo>
                    <a:pt x="1984058" y="1103947"/>
                    <a:pt x="1984058" y="1102995"/>
                    <a:pt x="1985010" y="1102995"/>
                  </a:cubicBezTo>
                  <a:close/>
                  <a:moveTo>
                    <a:pt x="461963" y="1100137"/>
                  </a:moveTo>
                  <a:cubicBezTo>
                    <a:pt x="470536" y="1100137"/>
                    <a:pt x="477203" y="1106804"/>
                    <a:pt x="477203" y="1115377"/>
                  </a:cubicBezTo>
                  <a:cubicBezTo>
                    <a:pt x="477203" y="1123950"/>
                    <a:pt x="470536" y="1130617"/>
                    <a:pt x="461963" y="1130617"/>
                  </a:cubicBezTo>
                  <a:cubicBezTo>
                    <a:pt x="454343" y="1130617"/>
                    <a:pt x="446723" y="1123950"/>
                    <a:pt x="446723" y="1115377"/>
                  </a:cubicBezTo>
                  <a:cubicBezTo>
                    <a:pt x="446723" y="1106804"/>
                    <a:pt x="453390" y="1100137"/>
                    <a:pt x="461963" y="1100137"/>
                  </a:cubicBezTo>
                  <a:close/>
                  <a:moveTo>
                    <a:pt x="615315" y="1097279"/>
                  </a:moveTo>
                  <a:cubicBezTo>
                    <a:pt x="619125" y="1097279"/>
                    <a:pt x="621983" y="1100137"/>
                    <a:pt x="621983" y="1103946"/>
                  </a:cubicBezTo>
                  <a:cubicBezTo>
                    <a:pt x="621983" y="1107757"/>
                    <a:pt x="619125" y="1110614"/>
                    <a:pt x="615315" y="1110614"/>
                  </a:cubicBezTo>
                  <a:cubicBezTo>
                    <a:pt x="611505" y="1110614"/>
                    <a:pt x="608648" y="1107757"/>
                    <a:pt x="608648" y="1103946"/>
                  </a:cubicBezTo>
                  <a:cubicBezTo>
                    <a:pt x="608648" y="1100137"/>
                    <a:pt x="611505" y="1097279"/>
                    <a:pt x="615315" y="1097279"/>
                  </a:cubicBezTo>
                  <a:close/>
                  <a:moveTo>
                    <a:pt x="84772" y="1097279"/>
                  </a:moveTo>
                  <a:cubicBezTo>
                    <a:pt x="89535" y="1097279"/>
                    <a:pt x="93345" y="1101089"/>
                    <a:pt x="93345" y="1105852"/>
                  </a:cubicBezTo>
                  <a:cubicBezTo>
                    <a:pt x="93345" y="1110614"/>
                    <a:pt x="89535" y="1114424"/>
                    <a:pt x="84772" y="1114424"/>
                  </a:cubicBezTo>
                  <a:cubicBezTo>
                    <a:pt x="80963" y="1114424"/>
                    <a:pt x="76200" y="1110614"/>
                    <a:pt x="76200" y="1105852"/>
                  </a:cubicBezTo>
                  <a:cubicBezTo>
                    <a:pt x="76200" y="1101089"/>
                    <a:pt x="80010" y="1097279"/>
                    <a:pt x="84772" y="1097279"/>
                  </a:cubicBezTo>
                  <a:close/>
                  <a:moveTo>
                    <a:pt x="1905952" y="1093470"/>
                  </a:moveTo>
                  <a:cubicBezTo>
                    <a:pt x="1906905" y="1093470"/>
                    <a:pt x="1907857" y="1094422"/>
                    <a:pt x="1907857" y="1095375"/>
                  </a:cubicBezTo>
                  <a:cubicBezTo>
                    <a:pt x="1907857" y="1096328"/>
                    <a:pt x="1906905" y="1097280"/>
                    <a:pt x="1905952" y="1097280"/>
                  </a:cubicBezTo>
                  <a:cubicBezTo>
                    <a:pt x="1905000" y="1097280"/>
                    <a:pt x="1905000" y="1096328"/>
                    <a:pt x="1904047" y="1095375"/>
                  </a:cubicBezTo>
                  <a:cubicBezTo>
                    <a:pt x="1904047" y="1094422"/>
                    <a:pt x="1905000" y="1093470"/>
                    <a:pt x="1905952" y="1093470"/>
                  </a:cubicBezTo>
                  <a:close/>
                  <a:moveTo>
                    <a:pt x="226695" y="1090612"/>
                  </a:moveTo>
                  <a:cubicBezTo>
                    <a:pt x="232410" y="1090612"/>
                    <a:pt x="238125" y="1095375"/>
                    <a:pt x="238125" y="1102042"/>
                  </a:cubicBezTo>
                  <a:cubicBezTo>
                    <a:pt x="238125" y="1107757"/>
                    <a:pt x="233363" y="1113472"/>
                    <a:pt x="226695" y="1113472"/>
                  </a:cubicBezTo>
                  <a:cubicBezTo>
                    <a:pt x="220980" y="1113472"/>
                    <a:pt x="215265" y="1107757"/>
                    <a:pt x="215265" y="1102042"/>
                  </a:cubicBezTo>
                  <a:cubicBezTo>
                    <a:pt x="215265" y="1096327"/>
                    <a:pt x="220028" y="1090612"/>
                    <a:pt x="226695" y="1090612"/>
                  </a:cubicBezTo>
                  <a:close/>
                  <a:moveTo>
                    <a:pt x="882967" y="1087754"/>
                  </a:moveTo>
                  <a:cubicBezTo>
                    <a:pt x="884873" y="1087754"/>
                    <a:pt x="885825" y="1089659"/>
                    <a:pt x="885825" y="1090612"/>
                  </a:cubicBezTo>
                  <a:cubicBezTo>
                    <a:pt x="885825" y="1092517"/>
                    <a:pt x="884873" y="1093469"/>
                    <a:pt x="882967" y="1093469"/>
                  </a:cubicBezTo>
                  <a:cubicBezTo>
                    <a:pt x="881062" y="1093469"/>
                    <a:pt x="880110" y="1092517"/>
                    <a:pt x="880110" y="1090612"/>
                  </a:cubicBezTo>
                  <a:cubicBezTo>
                    <a:pt x="880110" y="1088707"/>
                    <a:pt x="882015" y="1087754"/>
                    <a:pt x="882967" y="1087754"/>
                  </a:cubicBezTo>
                  <a:close/>
                  <a:moveTo>
                    <a:pt x="1824990" y="1083945"/>
                  </a:moveTo>
                  <a:cubicBezTo>
                    <a:pt x="1825943" y="1083945"/>
                    <a:pt x="1826895" y="1084897"/>
                    <a:pt x="1826895" y="1085850"/>
                  </a:cubicBezTo>
                  <a:cubicBezTo>
                    <a:pt x="1826895" y="1086803"/>
                    <a:pt x="1825943" y="1087755"/>
                    <a:pt x="1824990" y="1087755"/>
                  </a:cubicBezTo>
                  <a:cubicBezTo>
                    <a:pt x="1824038" y="1087755"/>
                    <a:pt x="1823085" y="1086803"/>
                    <a:pt x="1823085" y="1085850"/>
                  </a:cubicBezTo>
                  <a:cubicBezTo>
                    <a:pt x="1823085" y="1084897"/>
                    <a:pt x="1824038" y="1083945"/>
                    <a:pt x="1824990" y="1083945"/>
                  </a:cubicBezTo>
                  <a:close/>
                  <a:moveTo>
                    <a:pt x="776287" y="1082040"/>
                  </a:moveTo>
                  <a:cubicBezTo>
                    <a:pt x="778192" y="1082040"/>
                    <a:pt x="780097" y="1083945"/>
                    <a:pt x="780097" y="1085850"/>
                  </a:cubicBezTo>
                  <a:cubicBezTo>
                    <a:pt x="780097" y="1087755"/>
                    <a:pt x="778192" y="1089660"/>
                    <a:pt x="776287" y="1089660"/>
                  </a:cubicBezTo>
                  <a:cubicBezTo>
                    <a:pt x="774382" y="1089660"/>
                    <a:pt x="772477" y="1087755"/>
                    <a:pt x="772477" y="1085850"/>
                  </a:cubicBezTo>
                  <a:cubicBezTo>
                    <a:pt x="772477" y="1083945"/>
                    <a:pt x="774382" y="1082040"/>
                    <a:pt x="776287" y="1082040"/>
                  </a:cubicBezTo>
                  <a:close/>
                  <a:moveTo>
                    <a:pt x="372428" y="1081087"/>
                  </a:moveTo>
                  <a:cubicBezTo>
                    <a:pt x="380048" y="1081087"/>
                    <a:pt x="386715" y="1087754"/>
                    <a:pt x="386715" y="1095375"/>
                  </a:cubicBezTo>
                  <a:cubicBezTo>
                    <a:pt x="386715" y="1102995"/>
                    <a:pt x="380048" y="1109662"/>
                    <a:pt x="372428" y="1109662"/>
                  </a:cubicBezTo>
                  <a:cubicBezTo>
                    <a:pt x="364808" y="1109662"/>
                    <a:pt x="358140" y="1102995"/>
                    <a:pt x="358140" y="1095375"/>
                  </a:cubicBezTo>
                  <a:cubicBezTo>
                    <a:pt x="358140" y="1087754"/>
                    <a:pt x="364808" y="1081087"/>
                    <a:pt x="372428" y="1081087"/>
                  </a:cubicBezTo>
                  <a:close/>
                  <a:moveTo>
                    <a:pt x="521018" y="1077277"/>
                  </a:moveTo>
                  <a:cubicBezTo>
                    <a:pt x="526733" y="1077277"/>
                    <a:pt x="530543" y="1081087"/>
                    <a:pt x="530543" y="1086802"/>
                  </a:cubicBezTo>
                  <a:cubicBezTo>
                    <a:pt x="530543" y="1092517"/>
                    <a:pt x="525780" y="1096327"/>
                    <a:pt x="521018" y="1096327"/>
                  </a:cubicBezTo>
                  <a:cubicBezTo>
                    <a:pt x="516256" y="1096327"/>
                    <a:pt x="511493" y="1092517"/>
                    <a:pt x="511493" y="1086802"/>
                  </a:cubicBezTo>
                  <a:cubicBezTo>
                    <a:pt x="511493" y="1081087"/>
                    <a:pt x="516256" y="1077277"/>
                    <a:pt x="521018" y="1077277"/>
                  </a:cubicBezTo>
                  <a:close/>
                  <a:moveTo>
                    <a:pt x="675323" y="1069657"/>
                  </a:moveTo>
                  <a:cubicBezTo>
                    <a:pt x="678180" y="1069657"/>
                    <a:pt x="680085" y="1071562"/>
                    <a:pt x="680085" y="1074420"/>
                  </a:cubicBezTo>
                  <a:cubicBezTo>
                    <a:pt x="680085" y="1077277"/>
                    <a:pt x="678180" y="1079182"/>
                    <a:pt x="675323" y="1079182"/>
                  </a:cubicBezTo>
                  <a:cubicBezTo>
                    <a:pt x="673417" y="1079182"/>
                    <a:pt x="670560" y="1077277"/>
                    <a:pt x="670560" y="1074420"/>
                  </a:cubicBezTo>
                  <a:cubicBezTo>
                    <a:pt x="670560" y="1071562"/>
                    <a:pt x="672465" y="1069657"/>
                    <a:pt x="675323" y="1069657"/>
                  </a:cubicBezTo>
                  <a:close/>
                  <a:moveTo>
                    <a:pt x="142875" y="1065847"/>
                  </a:moveTo>
                  <a:cubicBezTo>
                    <a:pt x="149543" y="1065847"/>
                    <a:pt x="155258" y="1071562"/>
                    <a:pt x="155258" y="1078230"/>
                  </a:cubicBezTo>
                  <a:cubicBezTo>
                    <a:pt x="155258" y="1084897"/>
                    <a:pt x="149543" y="1090612"/>
                    <a:pt x="142875" y="1090612"/>
                  </a:cubicBezTo>
                  <a:cubicBezTo>
                    <a:pt x="136208" y="1090612"/>
                    <a:pt x="130493" y="1084897"/>
                    <a:pt x="130493" y="1078230"/>
                  </a:cubicBezTo>
                  <a:cubicBezTo>
                    <a:pt x="130493" y="1071562"/>
                    <a:pt x="136208" y="1065847"/>
                    <a:pt x="142875" y="1065847"/>
                  </a:cubicBezTo>
                  <a:close/>
                  <a:moveTo>
                    <a:pt x="2170748" y="1062990"/>
                  </a:moveTo>
                  <a:cubicBezTo>
                    <a:pt x="2173605" y="1062990"/>
                    <a:pt x="2175510" y="1064895"/>
                    <a:pt x="2175510" y="1067753"/>
                  </a:cubicBezTo>
                  <a:cubicBezTo>
                    <a:pt x="2175510" y="1070610"/>
                    <a:pt x="2173605" y="1072515"/>
                    <a:pt x="2170748" y="1072515"/>
                  </a:cubicBezTo>
                  <a:cubicBezTo>
                    <a:pt x="2167890" y="1072515"/>
                    <a:pt x="2165985" y="1070610"/>
                    <a:pt x="2165985" y="1067753"/>
                  </a:cubicBezTo>
                  <a:cubicBezTo>
                    <a:pt x="2165985" y="1064895"/>
                    <a:pt x="2167890" y="1062990"/>
                    <a:pt x="2170748" y="1062990"/>
                  </a:cubicBezTo>
                  <a:close/>
                  <a:moveTo>
                    <a:pt x="2244090" y="1062037"/>
                  </a:moveTo>
                  <a:cubicBezTo>
                    <a:pt x="2248853" y="1062037"/>
                    <a:pt x="2253615" y="1065847"/>
                    <a:pt x="2253615" y="1071562"/>
                  </a:cubicBezTo>
                  <a:cubicBezTo>
                    <a:pt x="2253615" y="1076325"/>
                    <a:pt x="2249805" y="1081087"/>
                    <a:pt x="2244090" y="1081087"/>
                  </a:cubicBezTo>
                  <a:cubicBezTo>
                    <a:pt x="2238375" y="1081087"/>
                    <a:pt x="2234565" y="1076325"/>
                    <a:pt x="2234565" y="1071562"/>
                  </a:cubicBezTo>
                  <a:cubicBezTo>
                    <a:pt x="2234565" y="1066800"/>
                    <a:pt x="2238375" y="1062037"/>
                    <a:pt x="2244090" y="1062037"/>
                  </a:cubicBezTo>
                  <a:close/>
                  <a:moveTo>
                    <a:pt x="2096452" y="1062037"/>
                  </a:moveTo>
                  <a:cubicBezTo>
                    <a:pt x="2097405" y="1062037"/>
                    <a:pt x="2098357" y="1062990"/>
                    <a:pt x="2098357" y="1063942"/>
                  </a:cubicBezTo>
                  <a:cubicBezTo>
                    <a:pt x="2098357" y="1064895"/>
                    <a:pt x="2097405" y="1065847"/>
                    <a:pt x="2096452" y="1065847"/>
                  </a:cubicBezTo>
                  <a:cubicBezTo>
                    <a:pt x="2095500" y="1065847"/>
                    <a:pt x="2094547" y="1064895"/>
                    <a:pt x="2094547" y="1063942"/>
                  </a:cubicBezTo>
                  <a:cubicBezTo>
                    <a:pt x="2094547" y="1062990"/>
                    <a:pt x="2095500" y="1062037"/>
                    <a:pt x="2096452" y="1062037"/>
                  </a:cubicBezTo>
                  <a:close/>
                  <a:moveTo>
                    <a:pt x="284798" y="1057275"/>
                  </a:moveTo>
                  <a:cubicBezTo>
                    <a:pt x="293370" y="1057275"/>
                    <a:pt x="300990" y="1064895"/>
                    <a:pt x="300990" y="1073467"/>
                  </a:cubicBezTo>
                  <a:cubicBezTo>
                    <a:pt x="300990" y="1082040"/>
                    <a:pt x="293370" y="1089660"/>
                    <a:pt x="284798" y="1089660"/>
                  </a:cubicBezTo>
                  <a:cubicBezTo>
                    <a:pt x="276225" y="1089660"/>
                    <a:pt x="268605" y="1082992"/>
                    <a:pt x="268605" y="1073467"/>
                  </a:cubicBezTo>
                  <a:cubicBezTo>
                    <a:pt x="268605" y="1064895"/>
                    <a:pt x="276225" y="1057275"/>
                    <a:pt x="284798" y="1057275"/>
                  </a:cubicBezTo>
                  <a:close/>
                  <a:moveTo>
                    <a:pt x="946785" y="1056322"/>
                  </a:moveTo>
                  <a:cubicBezTo>
                    <a:pt x="946785" y="1056322"/>
                    <a:pt x="947738" y="1056322"/>
                    <a:pt x="947738" y="1057275"/>
                  </a:cubicBezTo>
                  <a:cubicBezTo>
                    <a:pt x="947738" y="1057275"/>
                    <a:pt x="947738" y="1058227"/>
                    <a:pt x="946785" y="1058227"/>
                  </a:cubicBezTo>
                  <a:cubicBezTo>
                    <a:pt x="945833" y="1058227"/>
                    <a:pt x="945833" y="1057275"/>
                    <a:pt x="945833" y="1057275"/>
                  </a:cubicBezTo>
                  <a:cubicBezTo>
                    <a:pt x="945833" y="1057275"/>
                    <a:pt x="945833" y="1056322"/>
                    <a:pt x="946785" y="1056322"/>
                  </a:cubicBezTo>
                  <a:close/>
                  <a:moveTo>
                    <a:pt x="580073" y="1052512"/>
                  </a:moveTo>
                  <a:cubicBezTo>
                    <a:pt x="583883" y="1052512"/>
                    <a:pt x="586740" y="1055370"/>
                    <a:pt x="586740" y="1059179"/>
                  </a:cubicBezTo>
                  <a:cubicBezTo>
                    <a:pt x="586740" y="1062990"/>
                    <a:pt x="583883" y="1065847"/>
                    <a:pt x="580073" y="1065847"/>
                  </a:cubicBezTo>
                  <a:cubicBezTo>
                    <a:pt x="576263" y="1065847"/>
                    <a:pt x="573405" y="1062037"/>
                    <a:pt x="573405" y="1059179"/>
                  </a:cubicBezTo>
                  <a:cubicBezTo>
                    <a:pt x="573405" y="1055370"/>
                    <a:pt x="576263" y="1052512"/>
                    <a:pt x="580073" y="1052512"/>
                  </a:cubicBezTo>
                  <a:close/>
                  <a:moveTo>
                    <a:pt x="430530" y="1052512"/>
                  </a:moveTo>
                  <a:cubicBezTo>
                    <a:pt x="439103" y="1052512"/>
                    <a:pt x="445770" y="1059179"/>
                    <a:pt x="445770" y="1067752"/>
                  </a:cubicBezTo>
                  <a:cubicBezTo>
                    <a:pt x="445770" y="1076325"/>
                    <a:pt x="439103" y="1082992"/>
                    <a:pt x="430530" y="1082992"/>
                  </a:cubicBezTo>
                  <a:cubicBezTo>
                    <a:pt x="421958" y="1082992"/>
                    <a:pt x="415290" y="1076325"/>
                    <a:pt x="415290" y="1067752"/>
                  </a:cubicBezTo>
                  <a:cubicBezTo>
                    <a:pt x="415290" y="1059179"/>
                    <a:pt x="421958" y="1052512"/>
                    <a:pt x="430530" y="1052512"/>
                  </a:cubicBezTo>
                  <a:close/>
                  <a:moveTo>
                    <a:pt x="1944053" y="1051559"/>
                  </a:moveTo>
                  <a:cubicBezTo>
                    <a:pt x="1944053" y="1051559"/>
                    <a:pt x="1945005" y="1051559"/>
                    <a:pt x="1945005" y="1052512"/>
                  </a:cubicBezTo>
                  <a:cubicBezTo>
                    <a:pt x="1945005" y="1052512"/>
                    <a:pt x="1945005" y="1053464"/>
                    <a:pt x="1944053" y="1053464"/>
                  </a:cubicBezTo>
                  <a:cubicBezTo>
                    <a:pt x="1944053" y="1053464"/>
                    <a:pt x="1943100" y="1053464"/>
                    <a:pt x="1943100" y="1052512"/>
                  </a:cubicBezTo>
                  <a:cubicBezTo>
                    <a:pt x="1943100" y="1052512"/>
                    <a:pt x="1943100" y="1051559"/>
                    <a:pt x="1944053" y="1051559"/>
                  </a:cubicBezTo>
                  <a:close/>
                  <a:moveTo>
                    <a:pt x="838200" y="1051559"/>
                  </a:moveTo>
                  <a:cubicBezTo>
                    <a:pt x="840105" y="1051559"/>
                    <a:pt x="841057" y="1053464"/>
                    <a:pt x="841057" y="1054417"/>
                  </a:cubicBezTo>
                  <a:cubicBezTo>
                    <a:pt x="841057" y="1056322"/>
                    <a:pt x="839152" y="1057274"/>
                    <a:pt x="838200" y="1057274"/>
                  </a:cubicBezTo>
                  <a:cubicBezTo>
                    <a:pt x="836295" y="1057274"/>
                    <a:pt x="835342" y="1056322"/>
                    <a:pt x="835342" y="1054417"/>
                  </a:cubicBezTo>
                  <a:cubicBezTo>
                    <a:pt x="835342" y="1052512"/>
                    <a:pt x="836295" y="1051559"/>
                    <a:pt x="838200" y="1051559"/>
                  </a:cubicBezTo>
                  <a:close/>
                  <a:moveTo>
                    <a:pt x="1865947" y="1042987"/>
                  </a:moveTo>
                  <a:cubicBezTo>
                    <a:pt x="1866900" y="1042987"/>
                    <a:pt x="1867852" y="1043940"/>
                    <a:pt x="1867852" y="1044892"/>
                  </a:cubicBezTo>
                  <a:cubicBezTo>
                    <a:pt x="1867852" y="1045845"/>
                    <a:pt x="1866900" y="1046797"/>
                    <a:pt x="1865947" y="1046797"/>
                  </a:cubicBezTo>
                  <a:cubicBezTo>
                    <a:pt x="1864995" y="1046797"/>
                    <a:pt x="1864042" y="1045845"/>
                    <a:pt x="1864042" y="1044892"/>
                  </a:cubicBezTo>
                  <a:cubicBezTo>
                    <a:pt x="1864042" y="1043940"/>
                    <a:pt x="1864995" y="1042987"/>
                    <a:pt x="1865947" y="1042987"/>
                  </a:cubicBezTo>
                  <a:close/>
                  <a:moveTo>
                    <a:pt x="735330" y="1041082"/>
                  </a:moveTo>
                  <a:cubicBezTo>
                    <a:pt x="737235" y="1041082"/>
                    <a:pt x="739140" y="1042987"/>
                    <a:pt x="739140" y="1044892"/>
                  </a:cubicBezTo>
                  <a:cubicBezTo>
                    <a:pt x="739140" y="1046797"/>
                    <a:pt x="737235" y="1048702"/>
                    <a:pt x="735330" y="1048702"/>
                  </a:cubicBezTo>
                  <a:cubicBezTo>
                    <a:pt x="733425" y="1048702"/>
                    <a:pt x="732472" y="1046797"/>
                    <a:pt x="731520" y="1044892"/>
                  </a:cubicBezTo>
                  <a:cubicBezTo>
                    <a:pt x="731520" y="1042987"/>
                    <a:pt x="733425" y="1041082"/>
                    <a:pt x="735330" y="1041082"/>
                  </a:cubicBezTo>
                  <a:close/>
                  <a:moveTo>
                    <a:pt x="200977" y="1039177"/>
                  </a:moveTo>
                  <a:cubicBezTo>
                    <a:pt x="206692" y="1039177"/>
                    <a:pt x="212407" y="1043940"/>
                    <a:pt x="212407" y="1050607"/>
                  </a:cubicBezTo>
                  <a:cubicBezTo>
                    <a:pt x="212407" y="1056322"/>
                    <a:pt x="207645" y="1062037"/>
                    <a:pt x="200977" y="1062037"/>
                  </a:cubicBezTo>
                  <a:cubicBezTo>
                    <a:pt x="194310" y="1062037"/>
                    <a:pt x="188595" y="1057274"/>
                    <a:pt x="189547" y="1050607"/>
                  </a:cubicBezTo>
                  <a:cubicBezTo>
                    <a:pt x="189547" y="1044892"/>
                    <a:pt x="194310" y="1039177"/>
                    <a:pt x="200977" y="1039177"/>
                  </a:cubicBezTo>
                  <a:close/>
                  <a:moveTo>
                    <a:pt x="342901" y="1031557"/>
                  </a:moveTo>
                  <a:cubicBezTo>
                    <a:pt x="350520" y="1031557"/>
                    <a:pt x="357188" y="1038224"/>
                    <a:pt x="357188" y="1045845"/>
                  </a:cubicBezTo>
                  <a:cubicBezTo>
                    <a:pt x="357188" y="1053465"/>
                    <a:pt x="350520" y="1060132"/>
                    <a:pt x="342901" y="1060132"/>
                  </a:cubicBezTo>
                  <a:cubicBezTo>
                    <a:pt x="335281" y="1060132"/>
                    <a:pt x="328613" y="1053465"/>
                    <a:pt x="328613" y="1045845"/>
                  </a:cubicBezTo>
                  <a:cubicBezTo>
                    <a:pt x="328613" y="1038224"/>
                    <a:pt x="335281" y="1031557"/>
                    <a:pt x="342901" y="1031557"/>
                  </a:cubicBezTo>
                  <a:close/>
                  <a:moveTo>
                    <a:pt x="488633" y="1029652"/>
                  </a:moveTo>
                  <a:cubicBezTo>
                    <a:pt x="493894" y="1029652"/>
                    <a:pt x="498158" y="1033916"/>
                    <a:pt x="498158" y="1039177"/>
                  </a:cubicBezTo>
                  <a:cubicBezTo>
                    <a:pt x="498158" y="1044438"/>
                    <a:pt x="493894" y="1048702"/>
                    <a:pt x="488633" y="1048702"/>
                  </a:cubicBezTo>
                  <a:cubicBezTo>
                    <a:pt x="483372" y="1048702"/>
                    <a:pt x="479108" y="1044438"/>
                    <a:pt x="479108" y="1039177"/>
                  </a:cubicBezTo>
                  <a:cubicBezTo>
                    <a:pt x="479108" y="1033916"/>
                    <a:pt x="483372" y="1029652"/>
                    <a:pt x="488633" y="1029652"/>
                  </a:cubicBezTo>
                  <a:close/>
                  <a:moveTo>
                    <a:pt x="639128" y="1026795"/>
                  </a:moveTo>
                  <a:cubicBezTo>
                    <a:pt x="641033" y="1026795"/>
                    <a:pt x="642938" y="1028700"/>
                    <a:pt x="642938" y="1030605"/>
                  </a:cubicBezTo>
                  <a:cubicBezTo>
                    <a:pt x="642938" y="1032510"/>
                    <a:pt x="641033" y="1034415"/>
                    <a:pt x="639128" y="1034415"/>
                  </a:cubicBezTo>
                  <a:cubicBezTo>
                    <a:pt x="636270" y="1034415"/>
                    <a:pt x="634365" y="1032510"/>
                    <a:pt x="635318" y="1030605"/>
                  </a:cubicBezTo>
                  <a:cubicBezTo>
                    <a:pt x="635318" y="1028700"/>
                    <a:pt x="637223" y="1026795"/>
                    <a:pt x="639128" y="1026795"/>
                  </a:cubicBezTo>
                  <a:close/>
                  <a:moveTo>
                    <a:pt x="2342197" y="1020127"/>
                  </a:moveTo>
                  <a:cubicBezTo>
                    <a:pt x="2343150" y="1020127"/>
                    <a:pt x="2344102" y="1021079"/>
                    <a:pt x="2344102" y="1022032"/>
                  </a:cubicBezTo>
                  <a:cubicBezTo>
                    <a:pt x="2344102" y="1022984"/>
                    <a:pt x="2343150" y="1023937"/>
                    <a:pt x="2342197" y="1023937"/>
                  </a:cubicBezTo>
                  <a:cubicBezTo>
                    <a:pt x="2341245" y="1023937"/>
                    <a:pt x="2340292" y="1022984"/>
                    <a:pt x="2340292" y="1022032"/>
                  </a:cubicBezTo>
                  <a:cubicBezTo>
                    <a:pt x="2340292" y="1021079"/>
                    <a:pt x="2341245" y="1020127"/>
                    <a:pt x="2342197" y="1020127"/>
                  </a:cubicBezTo>
                  <a:close/>
                  <a:moveTo>
                    <a:pt x="119063" y="1015365"/>
                  </a:moveTo>
                  <a:cubicBezTo>
                    <a:pt x="124778" y="1015365"/>
                    <a:pt x="129540" y="1020128"/>
                    <a:pt x="129540" y="1025842"/>
                  </a:cubicBezTo>
                  <a:cubicBezTo>
                    <a:pt x="129540" y="1031557"/>
                    <a:pt x="124778" y="1036320"/>
                    <a:pt x="119063" y="1036320"/>
                  </a:cubicBezTo>
                  <a:cubicBezTo>
                    <a:pt x="113348" y="1036320"/>
                    <a:pt x="108585" y="1031557"/>
                    <a:pt x="108585" y="1025842"/>
                  </a:cubicBezTo>
                  <a:cubicBezTo>
                    <a:pt x="108585" y="1020128"/>
                    <a:pt x="113348" y="1015365"/>
                    <a:pt x="119063" y="1015365"/>
                  </a:cubicBezTo>
                  <a:close/>
                  <a:moveTo>
                    <a:pt x="259080" y="1013459"/>
                  </a:moveTo>
                  <a:cubicBezTo>
                    <a:pt x="263842" y="1013459"/>
                    <a:pt x="268605" y="1017269"/>
                    <a:pt x="268605" y="1022984"/>
                  </a:cubicBezTo>
                  <a:cubicBezTo>
                    <a:pt x="268605" y="1027747"/>
                    <a:pt x="264795" y="1032509"/>
                    <a:pt x="259080" y="1032509"/>
                  </a:cubicBezTo>
                  <a:cubicBezTo>
                    <a:pt x="253365" y="1032509"/>
                    <a:pt x="248602" y="1027747"/>
                    <a:pt x="249555" y="1022984"/>
                  </a:cubicBezTo>
                  <a:cubicBezTo>
                    <a:pt x="249555" y="1018222"/>
                    <a:pt x="253365" y="1013459"/>
                    <a:pt x="259080" y="1013459"/>
                  </a:cubicBezTo>
                  <a:close/>
                  <a:moveTo>
                    <a:pt x="795338" y="1012507"/>
                  </a:moveTo>
                  <a:cubicBezTo>
                    <a:pt x="797243" y="1012507"/>
                    <a:pt x="798195" y="1013459"/>
                    <a:pt x="798195" y="1015365"/>
                  </a:cubicBezTo>
                  <a:cubicBezTo>
                    <a:pt x="798195" y="1017270"/>
                    <a:pt x="797243" y="1018222"/>
                    <a:pt x="795338" y="1018222"/>
                  </a:cubicBezTo>
                  <a:cubicBezTo>
                    <a:pt x="794385" y="1018222"/>
                    <a:pt x="793433" y="1017270"/>
                    <a:pt x="792480" y="1015365"/>
                  </a:cubicBezTo>
                  <a:cubicBezTo>
                    <a:pt x="792480" y="1013459"/>
                    <a:pt x="793433" y="1012507"/>
                    <a:pt x="795338" y="1012507"/>
                  </a:cubicBezTo>
                  <a:close/>
                  <a:moveTo>
                    <a:pt x="2054542" y="1010602"/>
                  </a:moveTo>
                  <a:cubicBezTo>
                    <a:pt x="2054542" y="1010602"/>
                    <a:pt x="2055495" y="1010602"/>
                    <a:pt x="2055495" y="1011554"/>
                  </a:cubicBezTo>
                  <a:cubicBezTo>
                    <a:pt x="2055495" y="1011554"/>
                    <a:pt x="2055495" y="1012507"/>
                    <a:pt x="2054542" y="1012507"/>
                  </a:cubicBezTo>
                  <a:cubicBezTo>
                    <a:pt x="2053590" y="1012507"/>
                    <a:pt x="2052637" y="1012507"/>
                    <a:pt x="2053590" y="1011554"/>
                  </a:cubicBezTo>
                  <a:cubicBezTo>
                    <a:pt x="2053590" y="1011554"/>
                    <a:pt x="2054542" y="1010602"/>
                    <a:pt x="2054542" y="1010602"/>
                  </a:cubicBezTo>
                  <a:close/>
                  <a:moveTo>
                    <a:pt x="2127885" y="1009650"/>
                  </a:moveTo>
                  <a:cubicBezTo>
                    <a:pt x="2130742" y="1009650"/>
                    <a:pt x="2132647" y="1011555"/>
                    <a:pt x="2132647" y="1014413"/>
                  </a:cubicBezTo>
                  <a:cubicBezTo>
                    <a:pt x="2132647" y="1017270"/>
                    <a:pt x="2130742" y="1019175"/>
                    <a:pt x="2127885" y="1019175"/>
                  </a:cubicBezTo>
                  <a:cubicBezTo>
                    <a:pt x="2125027" y="1019175"/>
                    <a:pt x="2123122" y="1017270"/>
                    <a:pt x="2123122" y="1014413"/>
                  </a:cubicBezTo>
                  <a:cubicBezTo>
                    <a:pt x="2123122" y="1011555"/>
                    <a:pt x="2125027" y="1009650"/>
                    <a:pt x="2127885" y="1009650"/>
                  </a:cubicBezTo>
                  <a:close/>
                  <a:moveTo>
                    <a:pt x="2271713" y="1007745"/>
                  </a:moveTo>
                  <a:cubicBezTo>
                    <a:pt x="2278380" y="1007745"/>
                    <a:pt x="2284095" y="1013460"/>
                    <a:pt x="2284095" y="1020128"/>
                  </a:cubicBezTo>
                  <a:cubicBezTo>
                    <a:pt x="2284095" y="1026795"/>
                    <a:pt x="2278380" y="1032510"/>
                    <a:pt x="2271713" y="1032510"/>
                  </a:cubicBezTo>
                  <a:cubicBezTo>
                    <a:pt x="2265045" y="1032510"/>
                    <a:pt x="2259330" y="1026795"/>
                    <a:pt x="2259330" y="1020128"/>
                  </a:cubicBezTo>
                  <a:cubicBezTo>
                    <a:pt x="2259330" y="1013460"/>
                    <a:pt x="2265045" y="1007745"/>
                    <a:pt x="2271713" y="1007745"/>
                  </a:cubicBezTo>
                  <a:close/>
                  <a:moveTo>
                    <a:pt x="401002" y="1007745"/>
                  </a:moveTo>
                  <a:cubicBezTo>
                    <a:pt x="406717" y="1007745"/>
                    <a:pt x="411480" y="1012508"/>
                    <a:pt x="411480" y="1018222"/>
                  </a:cubicBezTo>
                  <a:cubicBezTo>
                    <a:pt x="411480" y="1023937"/>
                    <a:pt x="406717" y="1028700"/>
                    <a:pt x="401002" y="1028700"/>
                  </a:cubicBezTo>
                  <a:cubicBezTo>
                    <a:pt x="395287" y="1028700"/>
                    <a:pt x="389572" y="1023937"/>
                    <a:pt x="390525" y="1018222"/>
                  </a:cubicBezTo>
                  <a:cubicBezTo>
                    <a:pt x="390525" y="1012508"/>
                    <a:pt x="395287" y="1007745"/>
                    <a:pt x="401002" y="1007745"/>
                  </a:cubicBezTo>
                  <a:close/>
                  <a:moveTo>
                    <a:pt x="2200275" y="1006792"/>
                  </a:moveTo>
                  <a:cubicBezTo>
                    <a:pt x="2205990" y="1006792"/>
                    <a:pt x="2211705" y="1011555"/>
                    <a:pt x="2211705" y="1018222"/>
                  </a:cubicBezTo>
                  <a:cubicBezTo>
                    <a:pt x="2211705" y="1023937"/>
                    <a:pt x="2206942" y="1029652"/>
                    <a:pt x="2200275" y="1029652"/>
                  </a:cubicBezTo>
                  <a:cubicBezTo>
                    <a:pt x="2193608" y="1029652"/>
                    <a:pt x="2188845" y="1023937"/>
                    <a:pt x="2188845" y="1018222"/>
                  </a:cubicBezTo>
                  <a:cubicBezTo>
                    <a:pt x="2188845" y="1012507"/>
                    <a:pt x="2193608" y="1006792"/>
                    <a:pt x="2200275" y="1006792"/>
                  </a:cubicBezTo>
                  <a:close/>
                  <a:moveTo>
                    <a:pt x="1979295" y="1005840"/>
                  </a:moveTo>
                  <a:cubicBezTo>
                    <a:pt x="1979295" y="1005840"/>
                    <a:pt x="1980247" y="1005840"/>
                    <a:pt x="1980247" y="1006792"/>
                  </a:cubicBezTo>
                  <a:cubicBezTo>
                    <a:pt x="1980247" y="1006792"/>
                    <a:pt x="1980247" y="1007745"/>
                    <a:pt x="1979295" y="1007745"/>
                  </a:cubicBezTo>
                  <a:cubicBezTo>
                    <a:pt x="1979295" y="1007745"/>
                    <a:pt x="1978342" y="1007745"/>
                    <a:pt x="1978342" y="1006792"/>
                  </a:cubicBezTo>
                  <a:cubicBezTo>
                    <a:pt x="1978342" y="1006792"/>
                    <a:pt x="1979295" y="1005840"/>
                    <a:pt x="1979295" y="1005840"/>
                  </a:cubicBezTo>
                  <a:close/>
                  <a:moveTo>
                    <a:pt x="546735" y="1005840"/>
                  </a:moveTo>
                  <a:cubicBezTo>
                    <a:pt x="549592" y="1005840"/>
                    <a:pt x="552450" y="1008697"/>
                    <a:pt x="552450" y="1011555"/>
                  </a:cubicBezTo>
                  <a:cubicBezTo>
                    <a:pt x="552450" y="1014412"/>
                    <a:pt x="549592" y="1017270"/>
                    <a:pt x="546735" y="1017270"/>
                  </a:cubicBezTo>
                  <a:cubicBezTo>
                    <a:pt x="543877" y="1017270"/>
                    <a:pt x="541020" y="1014412"/>
                    <a:pt x="541020" y="1011555"/>
                  </a:cubicBezTo>
                  <a:cubicBezTo>
                    <a:pt x="541020" y="1008697"/>
                    <a:pt x="543877" y="1005840"/>
                    <a:pt x="546735" y="1005840"/>
                  </a:cubicBezTo>
                  <a:close/>
                  <a:moveTo>
                    <a:pt x="698183" y="1000125"/>
                  </a:moveTo>
                  <a:cubicBezTo>
                    <a:pt x="699135" y="1000125"/>
                    <a:pt x="700088" y="1001078"/>
                    <a:pt x="700088" y="1002030"/>
                  </a:cubicBezTo>
                  <a:cubicBezTo>
                    <a:pt x="700088" y="1002983"/>
                    <a:pt x="699135" y="1003935"/>
                    <a:pt x="698183" y="1003935"/>
                  </a:cubicBezTo>
                  <a:cubicBezTo>
                    <a:pt x="696278" y="1003935"/>
                    <a:pt x="695325" y="1002983"/>
                    <a:pt x="696278" y="1002030"/>
                  </a:cubicBezTo>
                  <a:cubicBezTo>
                    <a:pt x="696278" y="1001078"/>
                    <a:pt x="697230" y="1000125"/>
                    <a:pt x="698183" y="1000125"/>
                  </a:cubicBezTo>
                  <a:close/>
                  <a:moveTo>
                    <a:pt x="1824991" y="993457"/>
                  </a:moveTo>
                  <a:cubicBezTo>
                    <a:pt x="1824991" y="993457"/>
                    <a:pt x="1825943" y="993457"/>
                    <a:pt x="1825943" y="994409"/>
                  </a:cubicBezTo>
                  <a:cubicBezTo>
                    <a:pt x="1825943" y="994409"/>
                    <a:pt x="1825943" y="995362"/>
                    <a:pt x="1824991" y="995362"/>
                  </a:cubicBezTo>
                  <a:cubicBezTo>
                    <a:pt x="1824038" y="995362"/>
                    <a:pt x="1824038" y="995362"/>
                    <a:pt x="1824038" y="994409"/>
                  </a:cubicBezTo>
                  <a:cubicBezTo>
                    <a:pt x="1824038" y="994409"/>
                    <a:pt x="1824038" y="993457"/>
                    <a:pt x="1824991" y="993457"/>
                  </a:cubicBezTo>
                  <a:close/>
                  <a:moveTo>
                    <a:pt x="177166" y="989647"/>
                  </a:moveTo>
                  <a:cubicBezTo>
                    <a:pt x="181900" y="989647"/>
                    <a:pt x="185738" y="993485"/>
                    <a:pt x="185738" y="998220"/>
                  </a:cubicBezTo>
                  <a:cubicBezTo>
                    <a:pt x="185738" y="1002954"/>
                    <a:pt x="181900" y="1006792"/>
                    <a:pt x="177166" y="1006792"/>
                  </a:cubicBezTo>
                  <a:cubicBezTo>
                    <a:pt x="172431" y="1006792"/>
                    <a:pt x="168593" y="1002954"/>
                    <a:pt x="168593" y="998220"/>
                  </a:cubicBezTo>
                  <a:cubicBezTo>
                    <a:pt x="168593" y="993485"/>
                    <a:pt x="172431" y="989647"/>
                    <a:pt x="177166" y="989647"/>
                  </a:cubicBezTo>
                  <a:close/>
                  <a:moveTo>
                    <a:pt x="316230" y="984884"/>
                  </a:moveTo>
                  <a:cubicBezTo>
                    <a:pt x="320993" y="984884"/>
                    <a:pt x="325755" y="988694"/>
                    <a:pt x="325755" y="994409"/>
                  </a:cubicBezTo>
                  <a:cubicBezTo>
                    <a:pt x="325755" y="999172"/>
                    <a:pt x="321945" y="1003934"/>
                    <a:pt x="316230" y="1003934"/>
                  </a:cubicBezTo>
                  <a:cubicBezTo>
                    <a:pt x="311468" y="1003934"/>
                    <a:pt x="306705" y="1000124"/>
                    <a:pt x="306705" y="994409"/>
                  </a:cubicBezTo>
                  <a:cubicBezTo>
                    <a:pt x="306705" y="989647"/>
                    <a:pt x="310515" y="984884"/>
                    <a:pt x="316230" y="984884"/>
                  </a:cubicBezTo>
                  <a:close/>
                  <a:moveTo>
                    <a:pt x="856297" y="982979"/>
                  </a:moveTo>
                  <a:cubicBezTo>
                    <a:pt x="857250" y="982979"/>
                    <a:pt x="858202" y="983932"/>
                    <a:pt x="858202" y="984884"/>
                  </a:cubicBezTo>
                  <a:cubicBezTo>
                    <a:pt x="858202" y="985837"/>
                    <a:pt x="857250" y="986789"/>
                    <a:pt x="856297" y="986789"/>
                  </a:cubicBezTo>
                  <a:cubicBezTo>
                    <a:pt x="855345" y="986789"/>
                    <a:pt x="854392" y="985837"/>
                    <a:pt x="854392" y="984884"/>
                  </a:cubicBezTo>
                  <a:cubicBezTo>
                    <a:pt x="854392" y="983932"/>
                    <a:pt x="855345" y="982979"/>
                    <a:pt x="856297" y="982979"/>
                  </a:cubicBezTo>
                  <a:close/>
                  <a:moveTo>
                    <a:pt x="459105" y="981075"/>
                  </a:moveTo>
                  <a:cubicBezTo>
                    <a:pt x="463867" y="981075"/>
                    <a:pt x="468630" y="984885"/>
                    <a:pt x="468630" y="990600"/>
                  </a:cubicBezTo>
                  <a:cubicBezTo>
                    <a:pt x="468630" y="995363"/>
                    <a:pt x="464820" y="1000125"/>
                    <a:pt x="459105" y="1000125"/>
                  </a:cubicBezTo>
                  <a:cubicBezTo>
                    <a:pt x="453390" y="1000125"/>
                    <a:pt x="448627" y="995363"/>
                    <a:pt x="449580" y="990600"/>
                  </a:cubicBezTo>
                  <a:cubicBezTo>
                    <a:pt x="449580" y="985838"/>
                    <a:pt x="454342" y="981075"/>
                    <a:pt x="459105" y="981075"/>
                  </a:cubicBezTo>
                  <a:close/>
                  <a:moveTo>
                    <a:pt x="604837" y="979170"/>
                  </a:moveTo>
                  <a:cubicBezTo>
                    <a:pt x="606742" y="979170"/>
                    <a:pt x="608647" y="981075"/>
                    <a:pt x="608647" y="982980"/>
                  </a:cubicBezTo>
                  <a:cubicBezTo>
                    <a:pt x="608647" y="984885"/>
                    <a:pt x="606742" y="986790"/>
                    <a:pt x="604837" y="986790"/>
                  </a:cubicBezTo>
                  <a:cubicBezTo>
                    <a:pt x="602932" y="986790"/>
                    <a:pt x="601027" y="985837"/>
                    <a:pt x="601027" y="982980"/>
                  </a:cubicBezTo>
                  <a:cubicBezTo>
                    <a:pt x="601027" y="981075"/>
                    <a:pt x="602932" y="979170"/>
                    <a:pt x="604837" y="979170"/>
                  </a:cubicBezTo>
                  <a:close/>
                  <a:moveTo>
                    <a:pt x="757238" y="970597"/>
                  </a:moveTo>
                  <a:cubicBezTo>
                    <a:pt x="758190" y="970597"/>
                    <a:pt x="759143" y="971549"/>
                    <a:pt x="759143" y="972502"/>
                  </a:cubicBezTo>
                  <a:cubicBezTo>
                    <a:pt x="759143" y="973454"/>
                    <a:pt x="758190" y="974407"/>
                    <a:pt x="757238" y="974407"/>
                  </a:cubicBezTo>
                  <a:cubicBezTo>
                    <a:pt x="756285" y="974407"/>
                    <a:pt x="755333" y="973454"/>
                    <a:pt x="755333" y="972502"/>
                  </a:cubicBezTo>
                  <a:cubicBezTo>
                    <a:pt x="755333" y="971549"/>
                    <a:pt x="756285" y="970597"/>
                    <a:pt x="757238" y="970597"/>
                  </a:cubicBezTo>
                  <a:close/>
                  <a:moveTo>
                    <a:pt x="2366010" y="969645"/>
                  </a:moveTo>
                  <a:cubicBezTo>
                    <a:pt x="2366010" y="969645"/>
                    <a:pt x="2366962" y="969645"/>
                    <a:pt x="2366962" y="970597"/>
                  </a:cubicBezTo>
                  <a:cubicBezTo>
                    <a:pt x="2366962" y="970597"/>
                    <a:pt x="2366962" y="971550"/>
                    <a:pt x="2366010" y="971550"/>
                  </a:cubicBezTo>
                  <a:cubicBezTo>
                    <a:pt x="2365057" y="971550"/>
                    <a:pt x="2365057" y="970597"/>
                    <a:pt x="2365057" y="970597"/>
                  </a:cubicBezTo>
                  <a:cubicBezTo>
                    <a:pt x="2365057" y="970597"/>
                    <a:pt x="2365057" y="969645"/>
                    <a:pt x="2366010" y="969645"/>
                  </a:cubicBezTo>
                  <a:close/>
                  <a:moveTo>
                    <a:pt x="97156" y="962025"/>
                  </a:moveTo>
                  <a:cubicBezTo>
                    <a:pt x="102870" y="962025"/>
                    <a:pt x="107633" y="966788"/>
                    <a:pt x="107633" y="972502"/>
                  </a:cubicBezTo>
                  <a:cubicBezTo>
                    <a:pt x="107633" y="978217"/>
                    <a:pt x="102870" y="982980"/>
                    <a:pt x="97156" y="982980"/>
                  </a:cubicBezTo>
                  <a:cubicBezTo>
                    <a:pt x="91441" y="982980"/>
                    <a:pt x="86678" y="978217"/>
                    <a:pt x="86678" y="972502"/>
                  </a:cubicBezTo>
                  <a:cubicBezTo>
                    <a:pt x="86678" y="966788"/>
                    <a:pt x="91441" y="962025"/>
                    <a:pt x="97156" y="962025"/>
                  </a:cubicBezTo>
                  <a:close/>
                  <a:moveTo>
                    <a:pt x="2296478" y="961072"/>
                  </a:moveTo>
                  <a:cubicBezTo>
                    <a:pt x="2300288" y="961072"/>
                    <a:pt x="2304098" y="964882"/>
                    <a:pt x="2304098" y="968692"/>
                  </a:cubicBezTo>
                  <a:cubicBezTo>
                    <a:pt x="2304098" y="972502"/>
                    <a:pt x="2300288" y="976312"/>
                    <a:pt x="2296478" y="976312"/>
                  </a:cubicBezTo>
                  <a:cubicBezTo>
                    <a:pt x="2292668" y="976312"/>
                    <a:pt x="2288858" y="972502"/>
                    <a:pt x="2288858" y="968692"/>
                  </a:cubicBezTo>
                  <a:cubicBezTo>
                    <a:pt x="2288858" y="964882"/>
                    <a:pt x="2292668" y="961072"/>
                    <a:pt x="2296478" y="961072"/>
                  </a:cubicBezTo>
                  <a:close/>
                  <a:moveTo>
                    <a:pt x="235268" y="961072"/>
                  </a:moveTo>
                  <a:cubicBezTo>
                    <a:pt x="240030" y="961072"/>
                    <a:pt x="243840" y="964882"/>
                    <a:pt x="243840" y="969645"/>
                  </a:cubicBezTo>
                  <a:cubicBezTo>
                    <a:pt x="243840" y="974407"/>
                    <a:pt x="240030" y="978217"/>
                    <a:pt x="235268" y="978217"/>
                  </a:cubicBezTo>
                  <a:cubicBezTo>
                    <a:pt x="230505" y="978217"/>
                    <a:pt x="226695" y="974407"/>
                    <a:pt x="226695" y="969645"/>
                  </a:cubicBezTo>
                  <a:cubicBezTo>
                    <a:pt x="226695" y="964882"/>
                    <a:pt x="230505" y="961072"/>
                    <a:pt x="235268" y="961072"/>
                  </a:cubicBezTo>
                  <a:close/>
                  <a:moveTo>
                    <a:pt x="2155507" y="959167"/>
                  </a:moveTo>
                  <a:cubicBezTo>
                    <a:pt x="2158365" y="959167"/>
                    <a:pt x="2161222" y="962025"/>
                    <a:pt x="2161222" y="964882"/>
                  </a:cubicBezTo>
                  <a:cubicBezTo>
                    <a:pt x="2161222" y="967740"/>
                    <a:pt x="2158365" y="970597"/>
                    <a:pt x="2155507" y="970597"/>
                  </a:cubicBezTo>
                  <a:cubicBezTo>
                    <a:pt x="2152650" y="970597"/>
                    <a:pt x="2150745" y="967740"/>
                    <a:pt x="2149792" y="964882"/>
                  </a:cubicBezTo>
                  <a:cubicBezTo>
                    <a:pt x="2149792" y="962025"/>
                    <a:pt x="2152650" y="959167"/>
                    <a:pt x="2155507" y="959167"/>
                  </a:cubicBezTo>
                  <a:close/>
                  <a:moveTo>
                    <a:pt x="2226945" y="958214"/>
                  </a:moveTo>
                  <a:cubicBezTo>
                    <a:pt x="2231707" y="958214"/>
                    <a:pt x="2235517" y="962024"/>
                    <a:pt x="2235517" y="966787"/>
                  </a:cubicBezTo>
                  <a:cubicBezTo>
                    <a:pt x="2235517" y="971549"/>
                    <a:pt x="2231707" y="975359"/>
                    <a:pt x="2226945" y="975359"/>
                  </a:cubicBezTo>
                  <a:cubicBezTo>
                    <a:pt x="2222182" y="975359"/>
                    <a:pt x="2218372" y="971549"/>
                    <a:pt x="2218372" y="966787"/>
                  </a:cubicBezTo>
                  <a:cubicBezTo>
                    <a:pt x="2218372" y="962024"/>
                    <a:pt x="2222182" y="958214"/>
                    <a:pt x="2226945" y="958214"/>
                  </a:cubicBezTo>
                  <a:close/>
                  <a:moveTo>
                    <a:pt x="517208" y="957262"/>
                  </a:moveTo>
                  <a:cubicBezTo>
                    <a:pt x="520065" y="957262"/>
                    <a:pt x="521970" y="959167"/>
                    <a:pt x="521970" y="962025"/>
                  </a:cubicBezTo>
                  <a:cubicBezTo>
                    <a:pt x="521970" y="964882"/>
                    <a:pt x="520065" y="966787"/>
                    <a:pt x="517208" y="966787"/>
                  </a:cubicBezTo>
                  <a:cubicBezTo>
                    <a:pt x="514350" y="966787"/>
                    <a:pt x="512445" y="964882"/>
                    <a:pt x="512445" y="962025"/>
                  </a:cubicBezTo>
                  <a:cubicBezTo>
                    <a:pt x="512445" y="959167"/>
                    <a:pt x="514350" y="957262"/>
                    <a:pt x="517208" y="957262"/>
                  </a:cubicBezTo>
                  <a:close/>
                  <a:moveTo>
                    <a:pt x="374332" y="955357"/>
                  </a:moveTo>
                  <a:cubicBezTo>
                    <a:pt x="380047" y="955357"/>
                    <a:pt x="385762" y="960120"/>
                    <a:pt x="385762" y="966787"/>
                  </a:cubicBezTo>
                  <a:cubicBezTo>
                    <a:pt x="385762" y="972502"/>
                    <a:pt x="381000" y="978217"/>
                    <a:pt x="374332" y="978217"/>
                  </a:cubicBezTo>
                  <a:cubicBezTo>
                    <a:pt x="367665" y="978217"/>
                    <a:pt x="362902" y="973454"/>
                    <a:pt x="362902" y="966787"/>
                  </a:cubicBezTo>
                  <a:cubicBezTo>
                    <a:pt x="362902" y="961072"/>
                    <a:pt x="368617" y="955357"/>
                    <a:pt x="374332" y="955357"/>
                  </a:cubicBezTo>
                  <a:close/>
                  <a:moveTo>
                    <a:pt x="663892" y="951547"/>
                  </a:moveTo>
                  <a:cubicBezTo>
                    <a:pt x="665798" y="951547"/>
                    <a:pt x="666750" y="953452"/>
                    <a:pt x="666750" y="954404"/>
                  </a:cubicBezTo>
                  <a:cubicBezTo>
                    <a:pt x="666750" y="956310"/>
                    <a:pt x="665798" y="957262"/>
                    <a:pt x="663892" y="957262"/>
                  </a:cubicBezTo>
                  <a:cubicBezTo>
                    <a:pt x="661987" y="957262"/>
                    <a:pt x="661035" y="956310"/>
                    <a:pt x="661035" y="954404"/>
                  </a:cubicBezTo>
                  <a:cubicBezTo>
                    <a:pt x="661035" y="952499"/>
                    <a:pt x="662940" y="951547"/>
                    <a:pt x="663892" y="951547"/>
                  </a:cubicBezTo>
                  <a:close/>
                  <a:moveTo>
                    <a:pt x="20003" y="944879"/>
                  </a:moveTo>
                  <a:cubicBezTo>
                    <a:pt x="20003" y="944879"/>
                    <a:pt x="20955" y="944879"/>
                    <a:pt x="20955" y="945832"/>
                  </a:cubicBezTo>
                  <a:cubicBezTo>
                    <a:pt x="20955" y="945832"/>
                    <a:pt x="20955" y="946784"/>
                    <a:pt x="20003" y="946784"/>
                  </a:cubicBezTo>
                  <a:cubicBezTo>
                    <a:pt x="19050" y="946784"/>
                    <a:pt x="19050" y="946784"/>
                    <a:pt x="19050" y="945832"/>
                  </a:cubicBezTo>
                  <a:cubicBezTo>
                    <a:pt x="19050" y="945832"/>
                    <a:pt x="20003" y="944879"/>
                    <a:pt x="20003" y="944879"/>
                  </a:cubicBezTo>
                  <a:close/>
                  <a:moveTo>
                    <a:pt x="816293" y="941070"/>
                  </a:moveTo>
                  <a:cubicBezTo>
                    <a:pt x="817246" y="941070"/>
                    <a:pt x="818198" y="942022"/>
                    <a:pt x="818198" y="942975"/>
                  </a:cubicBezTo>
                  <a:cubicBezTo>
                    <a:pt x="818198" y="943927"/>
                    <a:pt x="817246" y="944880"/>
                    <a:pt x="816293" y="944880"/>
                  </a:cubicBezTo>
                  <a:cubicBezTo>
                    <a:pt x="816293" y="944880"/>
                    <a:pt x="814388" y="943927"/>
                    <a:pt x="814388" y="942975"/>
                  </a:cubicBezTo>
                  <a:cubicBezTo>
                    <a:pt x="814388" y="942022"/>
                    <a:pt x="815340" y="941070"/>
                    <a:pt x="816293" y="941070"/>
                  </a:cubicBezTo>
                  <a:close/>
                  <a:moveTo>
                    <a:pt x="156210" y="935354"/>
                  </a:moveTo>
                  <a:cubicBezTo>
                    <a:pt x="160973" y="935354"/>
                    <a:pt x="164783" y="939164"/>
                    <a:pt x="164783" y="943927"/>
                  </a:cubicBezTo>
                  <a:cubicBezTo>
                    <a:pt x="164783" y="948689"/>
                    <a:pt x="160973" y="952499"/>
                    <a:pt x="156210" y="952499"/>
                  </a:cubicBezTo>
                  <a:cubicBezTo>
                    <a:pt x="151448" y="952499"/>
                    <a:pt x="147638" y="948689"/>
                    <a:pt x="147638" y="943927"/>
                  </a:cubicBezTo>
                  <a:cubicBezTo>
                    <a:pt x="147638" y="939164"/>
                    <a:pt x="151448" y="935354"/>
                    <a:pt x="156210" y="935354"/>
                  </a:cubicBezTo>
                  <a:close/>
                  <a:moveTo>
                    <a:pt x="293370" y="931545"/>
                  </a:moveTo>
                  <a:cubicBezTo>
                    <a:pt x="299086" y="931545"/>
                    <a:pt x="303848" y="936308"/>
                    <a:pt x="303848" y="942022"/>
                  </a:cubicBezTo>
                  <a:cubicBezTo>
                    <a:pt x="303848" y="947737"/>
                    <a:pt x="299086" y="952500"/>
                    <a:pt x="293370" y="952500"/>
                  </a:cubicBezTo>
                  <a:cubicBezTo>
                    <a:pt x="286703" y="952500"/>
                    <a:pt x="282893" y="947737"/>
                    <a:pt x="282893" y="942022"/>
                  </a:cubicBezTo>
                  <a:cubicBezTo>
                    <a:pt x="282893" y="936308"/>
                    <a:pt x="287656" y="931545"/>
                    <a:pt x="293370" y="931545"/>
                  </a:cubicBezTo>
                  <a:close/>
                  <a:moveTo>
                    <a:pt x="575311" y="929639"/>
                  </a:moveTo>
                  <a:cubicBezTo>
                    <a:pt x="578168" y="929639"/>
                    <a:pt x="580073" y="931544"/>
                    <a:pt x="580073" y="934402"/>
                  </a:cubicBezTo>
                  <a:cubicBezTo>
                    <a:pt x="580073" y="937259"/>
                    <a:pt x="578168" y="939164"/>
                    <a:pt x="575311" y="939164"/>
                  </a:cubicBezTo>
                  <a:cubicBezTo>
                    <a:pt x="572453" y="939164"/>
                    <a:pt x="570548" y="936307"/>
                    <a:pt x="570548" y="934402"/>
                  </a:cubicBezTo>
                  <a:cubicBezTo>
                    <a:pt x="570548" y="931544"/>
                    <a:pt x="572453" y="929639"/>
                    <a:pt x="575311" y="929639"/>
                  </a:cubicBezTo>
                  <a:close/>
                  <a:moveTo>
                    <a:pt x="432436" y="929639"/>
                  </a:moveTo>
                  <a:cubicBezTo>
                    <a:pt x="437198" y="929639"/>
                    <a:pt x="441008" y="933449"/>
                    <a:pt x="441008" y="938212"/>
                  </a:cubicBezTo>
                  <a:cubicBezTo>
                    <a:pt x="441008" y="942974"/>
                    <a:pt x="437198" y="946784"/>
                    <a:pt x="432436" y="946784"/>
                  </a:cubicBezTo>
                  <a:cubicBezTo>
                    <a:pt x="427673" y="946784"/>
                    <a:pt x="423863" y="942974"/>
                    <a:pt x="423863" y="938212"/>
                  </a:cubicBezTo>
                  <a:cubicBezTo>
                    <a:pt x="423863" y="933449"/>
                    <a:pt x="427673" y="929639"/>
                    <a:pt x="432436" y="929639"/>
                  </a:cubicBezTo>
                  <a:close/>
                  <a:moveTo>
                    <a:pt x="721995" y="924877"/>
                  </a:moveTo>
                  <a:cubicBezTo>
                    <a:pt x="722948" y="924877"/>
                    <a:pt x="723900" y="925829"/>
                    <a:pt x="723900" y="926782"/>
                  </a:cubicBezTo>
                  <a:cubicBezTo>
                    <a:pt x="723900" y="927735"/>
                    <a:pt x="722948" y="928687"/>
                    <a:pt x="721995" y="928687"/>
                  </a:cubicBezTo>
                  <a:cubicBezTo>
                    <a:pt x="721042" y="928687"/>
                    <a:pt x="720090" y="927735"/>
                    <a:pt x="720090" y="926782"/>
                  </a:cubicBezTo>
                  <a:cubicBezTo>
                    <a:pt x="720090" y="925829"/>
                    <a:pt x="721042" y="924877"/>
                    <a:pt x="721995" y="924877"/>
                  </a:cubicBezTo>
                  <a:close/>
                  <a:moveTo>
                    <a:pt x="2319337" y="914400"/>
                  </a:moveTo>
                  <a:cubicBezTo>
                    <a:pt x="2319337" y="914400"/>
                    <a:pt x="2320290" y="914400"/>
                    <a:pt x="2320290" y="915352"/>
                  </a:cubicBezTo>
                  <a:cubicBezTo>
                    <a:pt x="2320290" y="915352"/>
                    <a:pt x="2320290" y="916305"/>
                    <a:pt x="2319337" y="916305"/>
                  </a:cubicBezTo>
                  <a:cubicBezTo>
                    <a:pt x="2318384" y="916305"/>
                    <a:pt x="2317432" y="916305"/>
                    <a:pt x="2318384" y="915352"/>
                  </a:cubicBezTo>
                  <a:cubicBezTo>
                    <a:pt x="2318384" y="915352"/>
                    <a:pt x="2318384" y="914400"/>
                    <a:pt x="2319337" y="914400"/>
                  </a:cubicBezTo>
                  <a:close/>
                  <a:moveTo>
                    <a:pt x="2181225" y="909637"/>
                  </a:moveTo>
                  <a:cubicBezTo>
                    <a:pt x="2183130" y="909637"/>
                    <a:pt x="2184082" y="911542"/>
                    <a:pt x="2184082" y="912495"/>
                  </a:cubicBezTo>
                  <a:cubicBezTo>
                    <a:pt x="2184082" y="914400"/>
                    <a:pt x="2182177" y="915352"/>
                    <a:pt x="2181225" y="915352"/>
                  </a:cubicBezTo>
                  <a:cubicBezTo>
                    <a:pt x="2179320" y="915352"/>
                    <a:pt x="2178367" y="914400"/>
                    <a:pt x="2178367" y="912495"/>
                  </a:cubicBezTo>
                  <a:cubicBezTo>
                    <a:pt x="2178367" y="910589"/>
                    <a:pt x="2180272" y="909637"/>
                    <a:pt x="2181225" y="909637"/>
                  </a:cubicBezTo>
                  <a:close/>
                  <a:moveTo>
                    <a:pt x="214313" y="907732"/>
                  </a:moveTo>
                  <a:cubicBezTo>
                    <a:pt x="219047" y="907732"/>
                    <a:pt x="222885" y="911570"/>
                    <a:pt x="222885" y="916304"/>
                  </a:cubicBezTo>
                  <a:cubicBezTo>
                    <a:pt x="222885" y="921039"/>
                    <a:pt x="219047" y="924877"/>
                    <a:pt x="214313" y="924877"/>
                  </a:cubicBezTo>
                  <a:cubicBezTo>
                    <a:pt x="209578" y="924877"/>
                    <a:pt x="205740" y="921039"/>
                    <a:pt x="205740" y="916304"/>
                  </a:cubicBezTo>
                  <a:cubicBezTo>
                    <a:pt x="205740" y="911570"/>
                    <a:pt x="209578" y="907732"/>
                    <a:pt x="214313" y="907732"/>
                  </a:cubicBezTo>
                  <a:close/>
                  <a:moveTo>
                    <a:pt x="78106" y="907732"/>
                  </a:moveTo>
                  <a:cubicBezTo>
                    <a:pt x="83820" y="907732"/>
                    <a:pt x="88583" y="912495"/>
                    <a:pt x="88583" y="918209"/>
                  </a:cubicBezTo>
                  <a:cubicBezTo>
                    <a:pt x="88583" y="923924"/>
                    <a:pt x="83820" y="928687"/>
                    <a:pt x="78106" y="928687"/>
                  </a:cubicBezTo>
                  <a:cubicBezTo>
                    <a:pt x="72391" y="928687"/>
                    <a:pt x="67628" y="923924"/>
                    <a:pt x="67628" y="918209"/>
                  </a:cubicBezTo>
                  <a:cubicBezTo>
                    <a:pt x="67628" y="912495"/>
                    <a:pt x="72391" y="907732"/>
                    <a:pt x="78106" y="907732"/>
                  </a:cubicBezTo>
                  <a:close/>
                  <a:moveTo>
                    <a:pt x="2249805" y="906779"/>
                  </a:moveTo>
                  <a:cubicBezTo>
                    <a:pt x="2253615" y="906779"/>
                    <a:pt x="2257425" y="910589"/>
                    <a:pt x="2257425" y="914399"/>
                  </a:cubicBezTo>
                  <a:cubicBezTo>
                    <a:pt x="2257425" y="918209"/>
                    <a:pt x="2253615" y="922019"/>
                    <a:pt x="2249805" y="922019"/>
                  </a:cubicBezTo>
                  <a:cubicBezTo>
                    <a:pt x="2245995" y="922019"/>
                    <a:pt x="2243138" y="918209"/>
                    <a:pt x="2242185" y="914399"/>
                  </a:cubicBezTo>
                  <a:cubicBezTo>
                    <a:pt x="2242185" y="910589"/>
                    <a:pt x="2245995" y="906779"/>
                    <a:pt x="2249805" y="906779"/>
                  </a:cubicBezTo>
                  <a:close/>
                  <a:moveTo>
                    <a:pt x="632460" y="904875"/>
                  </a:moveTo>
                  <a:cubicBezTo>
                    <a:pt x="633413" y="904875"/>
                    <a:pt x="634365" y="905827"/>
                    <a:pt x="634365" y="906780"/>
                  </a:cubicBezTo>
                  <a:cubicBezTo>
                    <a:pt x="634365" y="907733"/>
                    <a:pt x="633413" y="908685"/>
                    <a:pt x="632460" y="908685"/>
                  </a:cubicBezTo>
                  <a:cubicBezTo>
                    <a:pt x="631508" y="908685"/>
                    <a:pt x="630555" y="907733"/>
                    <a:pt x="630555" y="906780"/>
                  </a:cubicBezTo>
                  <a:cubicBezTo>
                    <a:pt x="630555" y="905827"/>
                    <a:pt x="631508" y="904875"/>
                    <a:pt x="632460" y="904875"/>
                  </a:cubicBezTo>
                  <a:close/>
                  <a:moveTo>
                    <a:pt x="490538" y="904875"/>
                  </a:moveTo>
                  <a:cubicBezTo>
                    <a:pt x="494348" y="904875"/>
                    <a:pt x="496253" y="907733"/>
                    <a:pt x="496253" y="910590"/>
                  </a:cubicBezTo>
                  <a:cubicBezTo>
                    <a:pt x="496253" y="913448"/>
                    <a:pt x="493395" y="916305"/>
                    <a:pt x="490538" y="916305"/>
                  </a:cubicBezTo>
                  <a:cubicBezTo>
                    <a:pt x="487680" y="916305"/>
                    <a:pt x="484823" y="913448"/>
                    <a:pt x="484823" y="910590"/>
                  </a:cubicBezTo>
                  <a:cubicBezTo>
                    <a:pt x="484823" y="907733"/>
                    <a:pt x="487680" y="904875"/>
                    <a:pt x="490538" y="904875"/>
                  </a:cubicBezTo>
                  <a:close/>
                  <a:moveTo>
                    <a:pt x="350520" y="902970"/>
                  </a:moveTo>
                  <a:cubicBezTo>
                    <a:pt x="356235" y="902970"/>
                    <a:pt x="361950" y="907733"/>
                    <a:pt x="361950" y="914400"/>
                  </a:cubicBezTo>
                  <a:cubicBezTo>
                    <a:pt x="361950" y="920115"/>
                    <a:pt x="357188" y="925830"/>
                    <a:pt x="350520" y="925830"/>
                  </a:cubicBezTo>
                  <a:cubicBezTo>
                    <a:pt x="344805" y="925830"/>
                    <a:pt x="339090" y="920115"/>
                    <a:pt x="339090" y="914400"/>
                  </a:cubicBezTo>
                  <a:cubicBezTo>
                    <a:pt x="339090" y="908685"/>
                    <a:pt x="343853" y="902970"/>
                    <a:pt x="350520" y="902970"/>
                  </a:cubicBezTo>
                  <a:close/>
                  <a:moveTo>
                    <a:pt x="2858" y="887729"/>
                  </a:moveTo>
                  <a:cubicBezTo>
                    <a:pt x="4763" y="887729"/>
                    <a:pt x="5715" y="888682"/>
                    <a:pt x="5715" y="890587"/>
                  </a:cubicBezTo>
                  <a:cubicBezTo>
                    <a:pt x="5715" y="892492"/>
                    <a:pt x="4763" y="893444"/>
                    <a:pt x="2858" y="893444"/>
                  </a:cubicBezTo>
                  <a:cubicBezTo>
                    <a:pt x="1905" y="893444"/>
                    <a:pt x="0" y="892492"/>
                    <a:pt x="0" y="890587"/>
                  </a:cubicBezTo>
                  <a:cubicBezTo>
                    <a:pt x="0" y="888682"/>
                    <a:pt x="953" y="887729"/>
                    <a:pt x="2858" y="887729"/>
                  </a:cubicBezTo>
                  <a:close/>
                  <a:moveTo>
                    <a:pt x="137160" y="882014"/>
                  </a:moveTo>
                  <a:cubicBezTo>
                    <a:pt x="140970" y="882014"/>
                    <a:pt x="144780" y="885824"/>
                    <a:pt x="144780" y="889634"/>
                  </a:cubicBezTo>
                  <a:cubicBezTo>
                    <a:pt x="144780" y="893444"/>
                    <a:pt x="140970" y="897254"/>
                    <a:pt x="137160" y="897254"/>
                  </a:cubicBezTo>
                  <a:cubicBezTo>
                    <a:pt x="133350" y="897254"/>
                    <a:pt x="129540" y="893444"/>
                    <a:pt x="129540" y="889634"/>
                  </a:cubicBezTo>
                  <a:cubicBezTo>
                    <a:pt x="129540" y="885824"/>
                    <a:pt x="133350" y="882014"/>
                    <a:pt x="137160" y="882014"/>
                  </a:cubicBezTo>
                  <a:close/>
                  <a:moveTo>
                    <a:pt x="547688" y="880110"/>
                  </a:moveTo>
                  <a:cubicBezTo>
                    <a:pt x="548640" y="880110"/>
                    <a:pt x="550545" y="881062"/>
                    <a:pt x="550545" y="882967"/>
                  </a:cubicBezTo>
                  <a:cubicBezTo>
                    <a:pt x="550545" y="883920"/>
                    <a:pt x="549593" y="885825"/>
                    <a:pt x="547688" y="885825"/>
                  </a:cubicBezTo>
                  <a:cubicBezTo>
                    <a:pt x="546735" y="885825"/>
                    <a:pt x="544830" y="884873"/>
                    <a:pt x="544830" y="882967"/>
                  </a:cubicBezTo>
                  <a:cubicBezTo>
                    <a:pt x="544830" y="882015"/>
                    <a:pt x="545783" y="880110"/>
                    <a:pt x="547688" y="880110"/>
                  </a:cubicBezTo>
                  <a:close/>
                  <a:moveTo>
                    <a:pt x="408623" y="880110"/>
                  </a:moveTo>
                  <a:cubicBezTo>
                    <a:pt x="412432" y="880110"/>
                    <a:pt x="415290" y="882967"/>
                    <a:pt x="415290" y="886777"/>
                  </a:cubicBezTo>
                  <a:cubicBezTo>
                    <a:pt x="415290" y="890587"/>
                    <a:pt x="412432" y="893445"/>
                    <a:pt x="408623" y="893445"/>
                  </a:cubicBezTo>
                  <a:cubicBezTo>
                    <a:pt x="404812" y="893445"/>
                    <a:pt x="401955" y="889635"/>
                    <a:pt x="401955" y="886777"/>
                  </a:cubicBezTo>
                  <a:cubicBezTo>
                    <a:pt x="401955" y="882967"/>
                    <a:pt x="404812" y="880110"/>
                    <a:pt x="408623" y="880110"/>
                  </a:cubicBezTo>
                  <a:close/>
                  <a:moveTo>
                    <a:pt x="272415" y="879157"/>
                  </a:moveTo>
                  <a:cubicBezTo>
                    <a:pt x="277178" y="879157"/>
                    <a:pt x="280988" y="882967"/>
                    <a:pt x="280988" y="887729"/>
                  </a:cubicBezTo>
                  <a:cubicBezTo>
                    <a:pt x="280988" y="892492"/>
                    <a:pt x="277178" y="896302"/>
                    <a:pt x="272415" y="896302"/>
                  </a:cubicBezTo>
                  <a:cubicBezTo>
                    <a:pt x="267653" y="896302"/>
                    <a:pt x="263843" y="892492"/>
                    <a:pt x="263843" y="887729"/>
                  </a:cubicBezTo>
                  <a:cubicBezTo>
                    <a:pt x="263843" y="882967"/>
                    <a:pt x="267653" y="879157"/>
                    <a:pt x="272415" y="879157"/>
                  </a:cubicBezTo>
                  <a:close/>
                  <a:moveTo>
                    <a:pt x="690563" y="875347"/>
                  </a:moveTo>
                  <a:cubicBezTo>
                    <a:pt x="692468" y="875347"/>
                    <a:pt x="693420" y="876299"/>
                    <a:pt x="693420" y="878204"/>
                  </a:cubicBezTo>
                  <a:cubicBezTo>
                    <a:pt x="693420" y="880110"/>
                    <a:pt x="691515" y="881062"/>
                    <a:pt x="690563" y="881062"/>
                  </a:cubicBezTo>
                  <a:cubicBezTo>
                    <a:pt x="689610" y="881062"/>
                    <a:pt x="688658" y="879157"/>
                    <a:pt x="687705" y="878204"/>
                  </a:cubicBezTo>
                  <a:cubicBezTo>
                    <a:pt x="687705" y="876299"/>
                    <a:pt x="689610" y="875347"/>
                    <a:pt x="690563" y="875347"/>
                  </a:cubicBezTo>
                  <a:close/>
                  <a:moveTo>
                    <a:pt x="2338388" y="860107"/>
                  </a:moveTo>
                  <a:cubicBezTo>
                    <a:pt x="2338388" y="860107"/>
                    <a:pt x="2339340" y="860107"/>
                    <a:pt x="2339340" y="861059"/>
                  </a:cubicBezTo>
                  <a:cubicBezTo>
                    <a:pt x="2339340" y="861059"/>
                    <a:pt x="2339340" y="862012"/>
                    <a:pt x="2338388" y="862012"/>
                  </a:cubicBezTo>
                  <a:cubicBezTo>
                    <a:pt x="2337435" y="862012"/>
                    <a:pt x="2337435" y="862012"/>
                    <a:pt x="2337435" y="861059"/>
                  </a:cubicBezTo>
                  <a:cubicBezTo>
                    <a:pt x="2337435" y="861059"/>
                    <a:pt x="2337435" y="860107"/>
                    <a:pt x="2338388" y="860107"/>
                  </a:cubicBezTo>
                  <a:close/>
                  <a:moveTo>
                    <a:pt x="61913" y="859154"/>
                  </a:moveTo>
                  <a:cubicBezTo>
                    <a:pt x="63818" y="859154"/>
                    <a:pt x="64770" y="860107"/>
                    <a:pt x="64770" y="862012"/>
                  </a:cubicBezTo>
                  <a:cubicBezTo>
                    <a:pt x="64770" y="863917"/>
                    <a:pt x="63818" y="864869"/>
                    <a:pt x="61913" y="864869"/>
                  </a:cubicBezTo>
                  <a:cubicBezTo>
                    <a:pt x="60008" y="864869"/>
                    <a:pt x="59055" y="863917"/>
                    <a:pt x="59055" y="862012"/>
                  </a:cubicBezTo>
                  <a:cubicBezTo>
                    <a:pt x="59055" y="860107"/>
                    <a:pt x="60008" y="859154"/>
                    <a:pt x="61913" y="859154"/>
                  </a:cubicBezTo>
                  <a:close/>
                  <a:moveTo>
                    <a:pt x="2270760" y="855345"/>
                  </a:moveTo>
                  <a:cubicBezTo>
                    <a:pt x="2273617" y="855345"/>
                    <a:pt x="2275522" y="857250"/>
                    <a:pt x="2275522" y="860108"/>
                  </a:cubicBezTo>
                  <a:cubicBezTo>
                    <a:pt x="2275522" y="862965"/>
                    <a:pt x="2273617" y="864870"/>
                    <a:pt x="2270760" y="864870"/>
                  </a:cubicBezTo>
                  <a:cubicBezTo>
                    <a:pt x="2267902" y="864870"/>
                    <a:pt x="2265997" y="862965"/>
                    <a:pt x="2265997" y="860108"/>
                  </a:cubicBezTo>
                  <a:cubicBezTo>
                    <a:pt x="2265997" y="857250"/>
                    <a:pt x="2267902" y="855345"/>
                    <a:pt x="2270760" y="855345"/>
                  </a:cubicBezTo>
                  <a:close/>
                  <a:moveTo>
                    <a:pt x="2134553" y="855345"/>
                  </a:moveTo>
                  <a:cubicBezTo>
                    <a:pt x="2136458" y="855345"/>
                    <a:pt x="2137410" y="857250"/>
                    <a:pt x="2137410" y="858202"/>
                  </a:cubicBezTo>
                  <a:cubicBezTo>
                    <a:pt x="2137410" y="860108"/>
                    <a:pt x="2135505" y="861060"/>
                    <a:pt x="2134553" y="861060"/>
                  </a:cubicBezTo>
                  <a:cubicBezTo>
                    <a:pt x="2132647" y="861060"/>
                    <a:pt x="2131695" y="860108"/>
                    <a:pt x="2131695" y="858202"/>
                  </a:cubicBezTo>
                  <a:cubicBezTo>
                    <a:pt x="2131695" y="856297"/>
                    <a:pt x="2132647" y="855345"/>
                    <a:pt x="2134553" y="855345"/>
                  </a:cubicBezTo>
                  <a:close/>
                  <a:moveTo>
                    <a:pt x="2203133" y="853439"/>
                  </a:moveTo>
                  <a:cubicBezTo>
                    <a:pt x="2206942" y="853439"/>
                    <a:pt x="2209800" y="856297"/>
                    <a:pt x="2209800" y="860107"/>
                  </a:cubicBezTo>
                  <a:cubicBezTo>
                    <a:pt x="2209800" y="863916"/>
                    <a:pt x="2206942" y="866774"/>
                    <a:pt x="2203133" y="866774"/>
                  </a:cubicBezTo>
                  <a:cubicBezTo>
                    <a:pt x="2199322" y="866774"/>
                    <a:pt x="2195512" y="862964"/>
                    <a:pt x="2196465" y="860107"/>
                  </a:cubicBezTo>
                  <a:cubicBezTo>
                    <a:pt x="2196465" y="856297"/>
                    <a:pt x="2199322" y="853439"/>
                    <a:pt x="2203133" y="853439"/>
                  </a:cubicBezTo>
                  <a:close/>
                  <a:moveTo>
                    <a:pt x="605790" y="853439"/>
                  </a:moveTo>
                  <a:cubicBezTo>
                    <a:pt x="606742" y="853439"/>
                    <a:pt x="607695" y="854391"/>
                    <a:pt x="607695" y="855344"/>
                  </a:cubicBezTo>
                  <a:cubicBezTo>
                    <a:pt x="607695" y="856297"/>
                    <a:pt x="606742" y="857249"/>
                    <a:pt x="605790" y="857249"/>
                  </a:cubicBezTo>
                  <a:cubicBezTo>
                    <a:pt x="604837" y="857249"/>
                    <a:pt x="603885" y="856297"/>
                    <a:pt x="603885" y="855344"/>
                  </a:cubicBezTo>
                  <a:cubicBezTo>
                    <a:pt x="603885" y="854391"/>
                    <a:pt x="604837" y="853439"/>
                    <a:pt x="605790" y="853439"/>
                  </a:cubicBezTo>
                  <a:close/>
                  <a:moveTo>
                    <a:pt x="466725" y="852487"/>
                  </a:moveTo>
                  <a:cubicBezTo>
                    <a:pt x="469582" y="852487"/>
                    <a:pt x="472440" y="855345"/>
                    <a:pt x="472440" y="858202"/>
                  </a:cubicBezTo>
                  <a:cubicBezTo>
                    <a:pt x="472440" y="861060"/>
                    <a:pt x="469582" y="863917"/>
                    <a:pt x="466725" y="863917"/>
                  </a:cubicBezTo>
                  <a:cubicBezTo>
                    <a:pt x="463867" y="863917"/>
                    <a:pt x="461962" y="861060"/>
                    <a:pt x="461010" y="858202"/>
                  </a:cubicBezTo>
                  <a:cubicBezTo>
                    <a:pt x="461010" y="855345"/>
                    <a:pt x="463867" y="852487"/>
                    <a:pt x="466725" y="852487"/>
                  </a:cubicBezTo>
                  <a:close/>
                  <a:moveTo>
                    <a:pt x="195262" y="852487"/>
                  </a:moveTo>
                  <a:cubicBezTo>
                    <a:pt x="200025" y="852487"/>
                    <a:pt x="203835" y="856297"/>
                    <a:pt x="203835" y="861060"/>
                  </a:cubicBezTo>
                  <a:cubicBezTo>
                    <a:pt x="203835" y="865822"/>
                    <a:pt x="200025" y="869632"/>
                    <a:pt x="195262" y="869632"/>
                  </a:cubicBezTo>
                  <a:cubicBezTo>
                    <a:pt x="190500" y="869632"/>
                    <a:pt x="187643" y="865822"/>
                    <a:pt x="186690" y="861060"/>
                  </a:cubicBezTo>
                  <a:cubicBezTo>
                    <a:pt x="186690" y="856297"/>
                    <a:pt x="190500" y="852487"/>
                    <a:pt x="195262" y="852487"/>
                  </a:cubicBezTo>
                  <a:close/>
                  <a:moveTo>
                    <a:pt x="330518" y="850582"/>
                  </a:moveTo>
                  <a:cubicBezTo>
                    <a:pt x="336233" y="850582"/>
                    <a:pt x="340043" y="855345"/>
                    <a:pt x="340043" y="860107"/>
                  </a:cubicBezTo>
                  <a:cubicBezTo>
                    <a:pt x="340043" y="865822"/>
                    <a:pt x="335281" y="869632"/>
                    <a:pt x="330518" y="869632"/>
                  </a:cubicBezTo>
                  <a:cubicBezTo>
                    <a:pt x="324803" y="869632"/>
                    <a:pt x="320993" y="865822"/>
                    <a:pt x="320993" y="860107"/>
                  </a:cubicBezTo>
                  <a:cubicBezTo>
                    <a:pt x="320993" y="854392"/>
                    <a:pt x="325756" y="850582"/>
                    <a:pt x="330518" y="850582"/>
                  </a:cubicBezTo>
                  <a:close/>
                  <a:moveTo>
                    <a:pt x="748665" y="847725"/>
                  </a:moveTo>
                  <a:cubicBezTo>
                    <a:pt x="749617" y="847725"/>
                    <a:pt x="750570" y="848677"/>
                    <a:pt x="750570" y="849630"/>
                  </a:cubicBezTo>
                  <a:cubicBezTo>
                    <a:pt x="750570" y="850583"/>
                    <a:pt x="749617" y="851535"/>
                    <a:pt x="748665" y="851535"/>
                  </a:cubicBezTo>
                  <a:cubicBezTo>
                    <a:pt x="748665" y="851535"/>
                    <a:pt x="747712" y="850583"/>
                    <a:pt x="746760" y="849630"/>
                  </a:cubicBezTo>
                  <a:cubicBezTo>
                    <a:pt x="746760" y="848677"/>
                    <a:pt x="747712" y="847725"/>
                    <a:pt x="748665" y="847725"/>
                  </a:cubicBezTo>
                  <a:close/>
                  <a:moveTo>
                    <a:pt x="524828" y="828675"/>
                  </a:moveTo>
                  <a:cubicBezTo>
                    <a:pt x="525780" y="828675"/>
                    <a:pt x="526733" y="829627"/>
                    <a:pt x="526733" y="830580"/>
                  </a:cubicBezTo>
                  <a:cubicBezTo>
                    <a:pt x="526733" y="831533"/>
                    <a:pt x="525780" y="832485"/>
                    <a:pt x="524828" y="832485"/>
                  </a:cubicBezTo>
                  <a:cubicBezTo>
                    <a:pt x="523875" y="832485"/>
                    <a:pt x="522923" y="831533"/>
                    <a:pt x="522923" y="830580"/>
                  </a:cubicBezTo>
                  <a:cubicBezTo>
                    <a:pt x="522923" y="829627"/>
                    <a:pt x="523875" y="828675"/>
                    <a:pt x="524828" y="828675"/>
                  </a:cubicBezTo>
                  <a:close/>
                  <a:moveTo>
                    <a:pt x="388620" y="826770"/>
                  </a:moveTo>
                  <a:cubicBezTo>
                    <a:pt x="391477" y="826770"/>
                    <a:pt x="394335" y="829627"/>
                    <a:pt x="394335" y="832485"/>
                  </a:cubicBezTo>
                  <a:cubicBezTo>
                    <a:pt x="394335" y="835342"/>
                    <a:pt x="391477" y="838200"/>
                    <a:pt x="388620" y="838200"/>
                  </a:cubicBezTo>
                  <a:cubicBezTo>
                    <a:pt x="385762" y="838200"/>
                    <a:pt x="382905" y="835342"/>
                    <a:pt x="382905" y="832485"/>
                  </a:cubicBezTo>
                  <a:cubicBezTo>
                    <a:pt x="382905" y="829627"/>
                    <a:pt x="385762" y="826770"/>
                    <a:pt x="388620" y="826770"/>
                  </a:cubicBezTo>
                  <a:close/>
                  <a:moveTo>
                    <a:pt x="254318" y="826770"/>
                  </a:moveTo>
                  <a:cubicBezTo>
                    <a:pt x="258127" y="826770"/>
                    <a:pt x="260985" y="829627"/>
                    <a:pt x="260985" y="833437"/>
                  </a:cubicBezTo>
                  <a:cubicBezTo>
                    <a:pt x="260985" y="837247"/>
                    <a:pt x="258127" y="840105"/>
                    <a:pt x="254318" y="840105"/>
                  </a:cubicBezTo>
                  <a:cubicBezTo>
                    <a:pt x="250507" y="840105"/>
                    <a:pt x="247650" y="837247"/>
                    <a:pt x="247650" y="833437"/>
                  </a:cubicBezTo>
                  <a:cubicBezTo>
                    <a:pt x="247650" y="829627"/>
                    <a:pt x="250507" y="826770"/>
                    <a:pt x="254318" y="826770"/>
                  </a:cubicBezTo>
                  <a:close/>
                  <a:moveTo>
                    <a:pt x="663893" y="825817"/>
                  </a:moveTo>
                  <a:cubicBezTo>
                    <a:pt x="664846" y="825817"/>
                    <a:pt x="665798" y="826770"/>
                    <a:pt x="665798" y="827722"/>
                  </a:cubicBezTo>
                  <a:cubicBezTo>
                    <a:pt x="665798" y="828675"/>
                    <a:pt x="664846" y="829627"/>
                    <a:pt x="663893" y="829627"/>
                  </a:cubicBezTo>
                  <a:cubicBezTo>
                    <a:pt x="662940" y="829627"/>
                    <a:pt x="661988" y="828675"/>
                    <a:pt x="661988" y="827722"/>
                  </a:cubicBezTo>
                  <a:cubicBezTo>
                    <a:pt x="661988" y="826770"/>
                    <a:pt x="662940" y="825817"/>
                    <a:pt x="663893" y="825817"/>
                  </a:cubicBezTo>
                  <a:close/>
                  <a:moveTo>
                    <a:pt x="120968" y="824864"/>
                  </a:moveTo>
                  <a:cubicBezTo>
                    <a:pt x="125730" y="824864"/>
                    <a:pt x="129540" y="828674"/>
                    <a:pt x="129540" y="833437"/>
                  </a:cubicBezTo>
                  <a:cubicBezTo>
                    <a:pt x="129540" y="838199"/>
                    <a:pt x="125730" y="842009"/>
                    <a:pt x="120968" y="842009"/>
                  </a:cubicBezTo>
                  <a:cubicBezTo>
                    <a:pt x="116205" y="842009"/>
                    <a:pt x="112395" y="839152"/>
                    <a:pt x="112395" y="833437"/>
                  </a:cubicBezTo>
                  <a:cubicBezTo>
                    <a:pt x="112395" y="828674"/>
                    <a:pt x="116205" y="824864"/>
                    <a:pt x="120968" y="824864"/>
                  </a:cubicBezTo>
                  <a:close/>
                  <a:moveTo>
                    <a:pt x="2354580" y="803910"/>
                  </a:moveTo>
                  <a:cubicBezTo>
                    <a:pt x="2355532" y="803910"/>
                    <a:pt x="2356485" y="804862"/>
                    <a:pt x="2356485" y="805815"/>
                  </a:cubicBezTo>
                  <a:cubicBezTo>
                    <a:pt x="2356485" y="806767"/>
                    <a:pt x="2355532" y="807720"/>
                    <a:pt x="2354580" y="807720"/>
                  </a:cubicBezTo>
                  <a:cubicBezTo>
                    <a:pt x="2353628" y="807720"/>
                    <a:pt x="2352675" y="806767"/>
                    <a:pt x="2352675" y="805815"/>
                  </a:cubicBezTo>
                  <a:cubicBezTo>
                    <a:pt x="2352675" y="804862"/>
                    <a:pt x="2353628" y="803910"/>
                    <a:pt x="2354580" y="803910"/>
                  </a:cubicBezTo>
                  <a:close/>
                  <a:moveTo>
                    <a:pt x="47625" y="802957"/>
                  </a:moveTo>
                  <a:cubicBezTo>
                    <a:pt x="49729" y="802957"/>
                    <a:pt x="51435" y="804663"/>
                    <a:pt x="51435" y="806767"/>
                  </a:cubicBezTo>
                  <a:cubicBezTo>
                    <a:pt x="51435" y="808871"/>
                    <a:pt x="49729" y="810577"/>
                    <a:pt x="47625" y="810577"/>
                  </a:cubicBezTo>
                  <a:cubicBezTo>
                    <a:pt x="45521" y="810577"/>
                    <a:pt x="43815" y="808871"/>
                    <a:pt x="43815" y="806767"/>
                  </a:cubicBezTo>
                  <a:cubicBezTo>
                    <a:pt x="43815" y="804663"/>
                    <a:pt x="45521" y="802957"/>
                    <a:pt x="47625" y="802957"/>
                  </a:cubicBezTo>
                  <a:close/>
                  <a:moveTo>
                    <a:pt x="2287905" y="802004"/>
                  </a:moveTo>
                  <a:cubicBezTo>
                    <a:pt x="2289810" y="802004"/>
                    <a:pt x="2290762" y="802957"/>
                    <a:pt x="2290762" y="804862"/>
                  </a:cubicBezTo>
                  <a:cubicBezTo>
                    <a:pt x="2290762" y="806767"/>
                    <a:pt x="2288857" y="807719"/>
                    <a:pt x="2287905" y="807719"/>
                  </a:cubicBezTo>
                  <a:cubicBezTo>
                    <a:pt x="2286952" y="807719"/>
                    <a:pt x="2285047" y="806767"/>
                    <a:pt x="2285047" y="804862"/>
                  </a:cubicBezTo>
                  <a:cubicBezTo>
                    <a:pt x="2285047" y="802957"/>
                    <a:pt x="2286952" y="802004"/>
                    <a:pt x="2287905" y="802004"/>
                  </a:cubicBezTo>
                  <a:close/>
                  <a:moveTo>
                    <a:pt x="2154555" y="802004"/>
                  </a:moveTo>
                  <a:cubicBezTo>
                    <a:pt x="2155508" y="802004"/>
                    <a:pt x="2156460" y="802957"/>
                    <a:pt x="2156460" y="803909"/>
                  </a:cubicBezTo>
                  <a:cubicBezTo>
                    <a:pt x="2156460" y="804862"/>
                    <a:pt x="2155508" y="805814"/>
                    <a:pt x="2154555" y="805814"/>
                  </a:cubicBezTo>
                  <a:cubicBezTo>
                    <a:pt x="2152650" y="805814"/>
                    <a:pt x="2152650" y="804862"/>
                    <a:pt x="2152650" y="803909"/>
                  </a:cubicBezTo>
                  <a:cubicBezTo>
                    <a:pt x="2152650" y="802957"/>
                    <a:pt x="2153603" y="802004"/>
                    <a:pt x="2154555" y="802004"/>
                  </a:cubicBezTo>
                  <a:close/>
                  <a:moveTo>
                    <a:pt x="2221230" y="801052"/>
                  </a:moveTo>
                  <a:cubicBezTo>
                    <a:pt x="2223135" y="801052"/>
                    <a:pt x="2225040" y="802957"/>
                    <a:pt x="2225040" y="804862"/>
                  </a:cubicBezTo>
                  <a:cubicBezTo>
                    <a:pt x="2225040" y="806767"/>
                    <a:pt x="2223135" y="808672"/>
                    <a:pt x="2221230" y="808672"/>
                  </a:cubicBezTo>
                  <a:cubicBezTo>
                    <a:pt x="2219325" y="808672"/>
                    <a:pt x="2217420" y="806767"/>
                    <a:pt x="2217420" y="804862"/>
                  </a:cubicBezTo>
                  <a:cubicBezTo>
                    <a:pt x="2217420" y="802957"/>
                    <a:pt x="2219325" y="801052"/>
                    <a:pt x="2221230" y="801052"/>
                  </a:cubicBezTo>
                  <a:close/>
                  <a:moveTo>
                    <a:pt x="582930" y="800100"/>
                  </a:moveTo>
                  <a:cubicBezTo>
                    <a:pt x="583883" y="800100"/>
                    <a:pt x="584835" y="801052"/>
                    <a:pt x="584835" y="802005"/>
                  </a:cubicBezTo>
                  <a:cubicBezTo>
                    <a:pt x="584835" y="802958"/>
                    <a:pt x="583883" y="803910"/>
                    <a:pt x="582930" y="803910"/>
                  </a:cubicBezTo>
                  <a:cubicBezTo>
                    <a:pt x="581977" y="803910"/>
                    <a:pt x="581025" y="802958"/>
                    <a:pt x="581025" y="802005"/>
                  </a:cubicBezTo>
                  <a:cubicBezTo>
                    <a:pt x="581025" y="801052"/>
                    <a:pt x="581977" y="800100"/>
                    <a:pt x="582930" y="800100"/>
                  </a:cubicBezTo>
                  <a:close/>
                  <a:moveTo>
                    <a:pt x="446722" y="798195"/>
                  </a:moveTo>
                  <a:cubicBezTo>
                    <a:pt x="449580" y="798195"/>
                    <a:pt x="452437" y="801052"/>
                    <a:pt x="452437" y="803910"/>
                  </a:cubicBezTo>
                  <a:cubicBezTo>
                    <a:pt x="452437" y="806767"/>
                    <a:pt x="449580" y="809625"/>
                    <a:pt x="446722" y="809625"/>
                  </a:cubicBezTo>
                  <a:cubicBezTo>
                    <a:pt x="443864" y="809625"/>
                    <a:pt x="441007" y="806767"/>
                    <a:pt x="441007" y="803910"/>
                  </a:cubicBezTo>
                  <a:cubicBezTo>
                    <a:pt x="441007" y="801052"/>
                    <a:pt x="443864" y="798195"/>
                    <a:pt x="446722" y="798195"/>
                  </a:cubicBezTo>
                  <a:close/>
                  <a:moveTo>
                    <a:pt x="180023" y="798195"/>
                  </a:moveTo>
                  <a:cubicBezTo>
                    <a:pt x="183833" y="798195"/>
                    <a:pt x="187643" y="802005"/>
                    <a:pt x="187643" y="805815"/>
                  </a:cubicBezTo>
                  <a:cubicBezTo>
                    <a:pt x="187643" y="809625"/>
                    <a:pt x="183833" y="813435"/>
                    <a:pt x="180023" y="813435"/>
                  </a:cubicBezTo>
                  <a:cubicBezTo>
                    <a:pt x="176213" y="813435"/>
                    <a:pt x="172403" y="810577"/>
                    <a:pt x="172403" y="805815"/>
                  </a:cubicBezTo>
                  <a:cubicBezTo>
                    <a:pt x="172403" y="802005"/>
                    <a:pt x="176213" y="798195"/>
                    <a:pt x="180023" y="798195"/>
                  </a:cubicBezTo>
                  <a:close/>
                  <a:moveTo>
                    <a:pt x="312420" y="794385"/>
                  </a:moveTo>
                  <a:cubicBezTo>
                    <a:pt x="318136" y="794385"/>
                    <a:pt x="322898" y="799148"/>
                    <a:pt x="322898" y="804862"/>
                  </a:cubicBezTo>
                  <a:cubicBezTo>
                    <a:pt x="322898" y="810577"/>
                    <a:pt x="318136" y="815340"/>
                    <a:pt x="312420" y="815340"/>
                  </a:cubicBezTo>
                  <a:cubicBezTo>
                    <a:pt x="306706" y="815340"/>
                    <a:pt x="302895" y="810577"/>
                    <a:pt x="301943" y="804862"/>
                  </a:cubicBezTo>
                  <a:cubicBezTo>
                    <a:pt x="301943" y="799148"/>
                    <a:pt x="306706" y="794385"/>
                    <a:pt x="312420" y="794385"/>
                  </a:cubicBezTo>
                  <a:close/>
                  <a:moveTo>
                    <a:pt x="641032" y="772477"/>
                  </a:moveTo>
                  <a:cubicBezTo>
                    <a:pt x="641985" y="772477"/>
                    <a:pt x="642937" y="773429"/>
                    <a:pt x="642937" y="774382"/>
                  </a:cubicBezTo>
                  <a:cubicBezTo>
                    <a:pt x="642937" y="775335"/>
                    <a:pt x="641985" y="776287"/>
                    <a:pt x="641032" y="776287"/>
                  </a:cubicBezTo>
                  <a:cubicBezTo>
                    <a:pt x="640079" y="776287"/>
                    <a:pt x="639127" y="775335"/>
                    <a:pt x="639127" y="774382"/>
                  </a:cubicBezTo>
                  <a:cubicBezTo>
                    <a:pt x="639127" y="773429"/>
                    <a:pt x="640079" y="772477"/>
                    <a:pt x="641032" y="772477"/>
                  </a:cubicBezTo>
                  <a:close/>
                  <a:moveTo>
                    <a:pt x="505777" y="772477"/>
                  </a:moveTo>
                  <a:cubicBezTo>
                    <a:pt x="507683" y="772477"/>
                    <a:pt x="508635" y="774382"/>
                    <a:pt x="508635" y="775335"/>
                  </a:cubicBezTo>
                  <a:cubicBezTo>
                    <a:pt x="508635" y="777240"/>
                    <a:pt x="506730" y="778192"/>
                    <a:pt x="505777" y="778192"/>
                  </a:cubicBezTo>
                  <a:cubicBezTo>
                    <a:pt x="503873" y="778192"/>
                    <a:pt x="502920" y="777240"/>
                    <a:pt x="502920" y="775335"/>
                  </a:cubicBezTo>
                  <a:cubicBezTo>
                    <a:pt x="502920" y="773429"/>
                    <a:pt x="504825" y="772477"/>
                    <a:pt x="505777" y="772477"/>
                  </a:cubicBezTo>
                  <a:close/>
                  <a:moveTo>
                    <a:pt x="239078" y="771525"/>
                  </a:moveTo>
                  <a:cubicBezTo>
                    <a:pt x="242888" y="771525"/>
                    <a:pt x="244793" y="774383"/>
                    <a:pt x="244793" y="777240"/>
                  </a:cubicBezTo>
                  <a:cubicBezTo>
                    <a:pt x="244793" y="780098"/>
                    <a:pt x="241936" y="782955"/>
                    <a:pt x="239078" y="782955"/>
                  </a:cubicBezTo>
                  <a:cubicBezTo>
                    <a:pt x="236220" y="782955"/>
                    <a:pt x="233363" y="781050"/>
                    <a:pt x="233363" y="777240"/>
                  </a:cubicBezTo>
                  <a:cubicBezTo>
                    <a:pt x="233363" y="774383"/>
                    <a:pt x="236220" y="771525"/>
                    <a:pt x="239078" y="771525"/>
                  </a:cubicBezTo>
                  <a:close/>
                  <a:moveTo>
                    <a:pt x="371475" y="770572"/>
                  </a:moveTo>
                  <a:cubicBezTo>
                    <a:pt x="375285" y="770572"/>
                    <a:pt x="378142" y="773429"/>
                    <a:pt x="378142" y="777239"/>
                  </a:cubicBezTo>
                  <a:cubicBezTo>
                    <a:pt x="378142" y="781049"/>
                    <a:pt x="375285" y="783907"/>
                    <a:pt x="371475" y="783907"/>
                  </a:cubicBezTo>
                  <a:cubicBezTo>
                    <a:pt x="367664" y="783907"/>
                    <a:pt x="364807" y="781049"/>
                    <a:pt x="364807" y="777239"/>
                  </a:cubicBezTo>
                  <a:cubicBezTo>
                    <a:pt x="364807" y="773429"/>
                    <a:pt x="367664" y="770572"/>
                    <a:pt x="371475" y="770572"/>
                  </a:cubicBezTo>
                  <a:close/>
                  <a:moveTo>
                    <a:pt x="107633" y="770572"/>
                  </a:moveTo>
                  <a:cubicBezTo>
                    <a:pt x="111443" y="770572"/>
                    <a:pt x="115253" y="774382"/>
                    <a:pt x="115253" y="778192"/>
                  </a:cubicBezTo>
                  <a:cubicBezTo>
                    <a:pt x="115253" y="782002"/>
                    <a:pt x="111443" y="785812"/>
                    <a:pt x="107633" y="785812"/>
                  </a:cubicBezTo>
                  <a:cubicBezTo>
                    <a:pt x="102870" y="785812"/>
                    <a:pt x="100013" y="782002"/>
                    <a:pt x="100013" y="778192"/>
                  </a:cubicBezTo>
                  <a:cubicBezTo>
                    <a:pt x="100013" y="774382"/>
                    <a:pt x="103823" y="770572"/>
                    <a:pt x="107633" y="770572"/>
                  </a:cubicBezTo>
                  <a:close/>
                  <a:moveTo>
                    <a:pt x="2236470" y="748664"/>
                  </a:moveTo>
                  <a:cubicBezTo>
                    <a:pt x="2236470" y="748664"/>
                    <a:pt x="2237422" y="748664"/>
                    <a:pt x="2237422" y="749616"/>
                  </a:cubicBezTo>
                  <a:cubicBezTo>
                    <a:pt x="2237422" y="749616"/>
                    <a:pt x="2237422" y="750569"/>
                    <a:pt x="2236470" y="750569"/>
                  </a:cubicBezTo>
                  <a:cubicBezTo>
                    <a:pt x="2236470" y="750569"/>
                    <a:pt x="2235517" y="749616"/>
                    <a:pt x="2235517" y="749616"/>
                  </a:cubicBezTo>
                  <a:cubicBezTo>
                    <a:pt x="2235517" y="749616"/>
                    <a:pt x="2235517" y="748664"/>
                    <a:pt x="2236470" y="748664"/>
                  </a:cubicBezTo>
                  <a:close/>
                  <a:moveTo>
                    <a:pt x="2368868" y="747712"/>
                  </a:moveTo>
                  <a:cubicBezTo>
                    <a:pt x="2369820" y="747712"/>
                    <a:pt x="2370773" y="748664"/>
                    <a:pt x="2370773" y="749617"/>
                  </a:cubicBezTo>
                  <a:cubicBezTo>
                    <a:pt x="2370773" y="750570"/>
                    <a:pt x="2369820" y="751522"/>
                    <a:pt x="2368868" y="751522"/>
                  </a:cubicBezTo>
                  <a:cubicBezTo>
                    <a:pt x="2366963" y="751522"/>
                    <a:pt x="2366010" y="750570"/>
                    <a:pt x="2366963" y="749617"/>
                  </a:cubicBezTo>
                  <a:cubicBezTo>
                    <a:pt x="2366963" y="748664"/>
                    <a:pt x="2367915" y="747712"/>
                    <a:pt x="2368868" y="747712"/>
                  </a:cubicBezTo>
                  <a:close/>
                  <a:moveTo>
                    <a:pt x="2303145" y="746760"/>
                  </a:moveTo>
                  <a:cubicBezTo>
                    <a:pt x="2304097" y="746760"/>
                    <a:pt x="2305050" y="747712"/>
                    <a:pt x="2305050" y="748665"/>
                  </a:cubicBezTo>
                  <a:cubicBezTo>
                    <a:pt x="2305050" y="749617"/>
                    <a:pt x="2304097" y="750570"/>
                    <a:pt x="2303145" y="750570"/>
                  </a:cubicBezTo>
                  <a:cubicBezTo>
                    <a:pt x="2302192" y="750570"/>
                    <a:pt x="2301240" y="750570"/>
                    <a:pt x="2301240" y="748665"/>
                  </a:cubicBezTo>
                  <a:cubicBezTo>
                    <a:pt x="2301240" y="747712"/>
                    <a:pt x="2302192" y="746760"/>
                    <a:pt x="2303145" y="746760"/>
                  </a:cubicBezTo>
                  <a:close/>
                  <a:moveTo>
                    <a:pt x="36196" y="746760"/>
                  </a:moveTo>
                  <a:cubicBezTo>
                    <a:pt x="38101" y="746760"/>
                    <a:pt x="39053" y="748665"/>
                    <a:pt x="39053" y="749617"/>
                  </a:cubicBezTo>
                  <a:cubicBezTo>
                    <a:pt x="39053" y="751523"/>
                    <a:pt x="37148" y="752475"/>
                    <a:pt x="36196" y="752475"/>
                  </a:cubicBezTo>
                  <a:cubicBezTo>
                    <a:pt x="35243" y="752475"/>
                    <a:pt x="33338" y="751523"/>
                    <a:pt x="33338" y="749617"/>
                  </a:cubicBezTo>
                  <a:cubicBezTo>
                    <a:pt x="33338" y="747712"/>
                    <a:pt x="35243" y="746760"/>
                    <a:pt x="36196" y="746760"/>
                  </a:cubicBezTo>
                  <a:close/>
                  <a:moveTo>
                    <a:pt x="699135" y="745807"/>
                  </a:moveTo>
                  <a:cubicBezTo>
                    <a:pt x="699135" y="745807"/>
                    <a:pt x="700088" y="745807"/>
                    <a:pt x="700088" y="746759"/>
                  </a:cubicBezTo>
                  <a:cubicBezTo>
                    <a:pt x="700088" y="746759"/>
                    <a:pt x="700088" y="747712"/>
                    <a:pt x="699135" y="747712"/>
                  </a:cubicBezTo>
                  <a:cubicBezTo>
                    <a:pt x="698183" y="747712"/>
                    <a:pt x="698183" y="746759"/>
                    <a:pt x="698183" y="746759"/>
                  </a:cubicBezTo>
                  <a:cubicBezTo>
                    <a:pt x="698183" y="746759"/>
                    <a:pt x="698183" y="745807"/>
                    <a:pt x="699135" y="745807"/>
                  </a:cubicBezTo>
                  <a:close/>
                  <a:moveTo>
                    <a:pt x="563880" y="745807"/>
                  </a:moveTo>
                  <a:cubicBezTo>
                    <a:pt x="564833" y="745807"/>
                    <a:pt x="565785" y="746759"/>
                    <a:pt x="565785" y="747712"/>
                  </a:cubicBezTo>
                  <a:cubicBezTo>
                    <a:pt x="565785" y="748664"/>
                    <a:pt x="564833" y="749617"/>
                    <a:pt x="563880" y="749617"/>
                  </a:cubicBezTo>
                  <a:cubicBezTo>
                    <a:pt x="562927" y="749617"/>
                    <a:pt x="561975" y="748664"/>
                    <a:pt x="561975" y="747712"/>
                  </a:cubicBezTo>
                  <a:cubicBezTo>
                    <a:pt x="561975" y="746759"/>
                    <a:pt x="562927" y="745807"/>
                    <a:pt x="563880" y="745807"/>
                  </a:cubicBezTo>
                  <a:close/>
                  <a:moveTo>
                    <a:pt x="430530" y="744854"/>
                  </a:moveTo>
                  <a:cubicBezTo>
                    <a:pt x="432435" y="744854"/>
                    <a:pt x="434340" y="746759"/>
                    <a:pt x="434340" y="748664"/>
                  </a:cubicBezTo>
                  <a:cubicBezTo>
                    <a:pt x="434340" y="750569"/>
                    <a:pt x="432435" y="752474"/>
                    <a:pt x="430530" y="752474"/>
                  </a:cubicBezTo>
                  <a:cubicBezTo>
                    <a:pt x="428625" y="752474"/>
                    <a:pt x="426720" y="751522"/>
                    <a:pt x="426720" y="748664"/>
                  </a:cubicBezTo>
                  <a:cubicBezTo>
                    <a:pt x="426720" y="746759"/>
                    <a:pt x="428625" y="744854"/>
                    <a:pt x="430530" y="744854"/>
                  </a:cubicBezTo>
                  <a:close/>
                  <a:moveTo>
                    <a:pt x="166688" y="742950"/>
                  </a:moveTo>
                  <a:cubicBezTo>
                    <a:pt x="170498" y="742950"/>
                    <a:pt x="173355" y="745808"/>
                    <a:pt x="173355" y="749617"/>
                  </a:cubicBezTo>
                  <a:cubicBezTo>
                    <a:pt x="173355" y="753427"/>
                    <a:pt x="170498" y="756285"/>
                    <a:pt x="166688" y="756285"/>
                  </a:cubicBezTo>
                  <a:cubicBezTo>
                    <a:pt x="163830" y="756285"/>
                    <a:pt x="160020" y="753427"/>
                    <a:pt x="160020" y="749617"/>
                  </a:cubicBezTo>
                  <a:cubicBezTo>
                    <a:pt x="160020" y="745808"/>
                    <a:pt x="162878" y="742950"/>
                    <a:pt x="166688" y="742950"/>
                  </a:cubicBezTo>
                  <a:close/>
                  <a:moveTo>
                    <a:pt x="298133" y="741997"/>
                  </a:moveTo>
                  <a:cubicBezTo>
                    <a:pt x="301943" y="741997"/>
                    <a:pt x="305753" y="745807"/>
                    <a:pt x="305753" y="749617"/>
                  </a:cubicBezTo>
                  <a:cubicBezTo>
                    <a:pt x="305753" y="753427"/>
                    <a:pt x="301943" y="757237"/>
                    <a:pt x="298133" y="757237"/>
                  </a:cubicBezTo>
                  <a:cubicBezTo>
                    <a:pt x="294323" y="757237"/>
                    <a:pt x="290513" y="753427"/>
                    <a:pt x="290513" y="749617"/>
                  </a:cubicBezTo>
                  <a:cubicBezTo>
                    <a:pt x="290513" y="745807"/>
                    <a:pt x="294323" y="741997"/>
                    <a:pt x="298133" y="741997"/>
                  </a:cubicBezTo>
                  <a:close/>
                  <a:moveTo>
                    <a:pt x="622935" y="717232"/>
                  </a:moveTo>
                  <a:cubicBezTo>
                    <a:pt x="623888" y="717232"/>
                    <a:pt x="624840" y="718184"/>
                    <a:pt x="624840" y="719137"/>
                  </a:cubicBezTo>
                  <a:cubicBezTo>
                    <a:pt x="624840" y="720089"/>
                    <a:pt x="623888" y="721042"/>
                    <a:pt x="622935" y="721042"/>
                  </a:cubicBezTo>
                  <a:cubicBezTo>
                    <a:pt x="621983" y="721042"/>
                    <a:pt x="621030" y="720089"/>
                    <a:pt x="621030" y="719137"/>
                  </a:cubicBezTo>
                  <a:cubicBezTo>
                    <a:pt x="621030" y="718184"/>
                    <a:pt x="621983" y="717232"/>
                    <a:pt x="622935" y="717232"/>
                  </a:cubicBezTo>
                  <a:close/>
                  <a:moveTo>
                    <a:pt x="489585" y="717232"/>
                  </a:moveTo>
                  <a:cubicBezTo>
                    <a:pt x="491490" y="717232"/>
                    <a:pt x="492442" y="718184"/>
                    <a:pt x="492442" y="720089"/>
                  </a:cubicBezTo>
                  <a:cubicBezTo>
                    <a:pt x="492442" y="721995"/>
                    <a:pt x="490537" y="722947"/>
                    <a:pt x="489585" y="722947"/>
                  </a:cubicBezTo>
                  <a:cubicBezTo>
                    <a:pt x="488632" y="722947"/>
                    <a:pt x="486727" y="721995"/>
                    <a:pt x="486727" y="720089"/>
                  </a:cubicBezTo>
                  <a:cubicBezTo>
                    <a:pt x="486727" y="718184"/>
                    <a:pt x="487680" y="717232"/>
                    <a:pt x="489585" y="717232"/>
                  </a:cubicBezTo>
                  <a:close/>
                  <a:moveTo>
                    <a:pt x="358140" y="716279"/>
                  </a:moveTo>
                  <a:cubicBezTo>
                    <a:pt x="360997" y="716279"/>
                    <a:pt x="362902" y="718184"/>
                    <a:pt x="362902" y="721042"/>
                  </a:cubicBezTo>
                  <a:cubicBezTo>
                    <a:pt x="362902" y="723899"/>
                    <a:pt x="360997" y="725804"/>
                    <a:pt x="358140" y="725804"/>
                  </a:cubicBezTo>
                  <a:cubicBezTo>
                    <a:pt x="355282" y="725804"/>
                    <a:pt x="353377" y="723899"/>
                    <a:pt x="353377" y="721042"/>
                  </a:cubicBezTo>
                  <a:cubicBezTo>
                    <a:pt x="353377" y="718184"/>
                    <a:pt x="355282" y="716279"/>
                    <a:pt x="358140" y="716279"/>
                  </a:cubicBezTo>
                  <a:close/>
                  <a:moveTo>
                    <a:pt x="226695" y="715327"/>
                  </a:moveTo>
                  <a:cubicBezTo>
                    <a:pt x="229552" y="715327"/>
                    <a:pt x="232410" y="718185"/>
                    <a:pt x="232410" y="721042"/>
                  </a:cubicBezTo>
                  <a:cubicBezTo>
                    <a:pt x="232410" y="723900"/>
                    <a:pt x="229552" y="726757"/>
                    <a:pt x="226695" y="726757"/>
                  </a:cubicBezTo>
                  <a:cubicBezTo>
                    <a:pt x="223837" y="726757"/>
                    <a:pt x="221932" y="723900"/>
                    <a:pt x="220980" y="721042"/>
                  </a:cubicBezTo>
                  <a:cubicBezTo>
                    <a:pt x="220980" y="718185"/>
                    <a:pt x="223837" y="715327"/>
                    <a:pt x="226695" y="715327"/>
                  </a:cubicBezTo>
                  <a:close/>
                  <a:moveTo>
                    <a:pt x="96202" y="713422"/>
                  </a:moveTo>
                  <a:cubicBezTo>
                    <a:pt x="100965" y="713422"/>
                    <a:pt x="103822" y="717232"/>
                    <a:pt x="103822" y="721042"/>
                  </a:cubicBezTo>
                  <a:cubicBezTo>
                    <a:pt x="103822" y="724852"/>
                    <a:pt x="100012" y="728662"/>
                    <a:pt x="96202" y="728662"/>
                  </a:cubicBezTo>
                  <a:cubicBezTo>
                    <a:pt x="92392" y="728662"/>
                    <a:pt x="89535" y="725804"/>
                    <a:pt x="88582" y="721042"/>
                  </a:cubicBezTo>
                  <a:cubicBezTo>
                    <a:pt x="88582" y="717232"/>
                    <a:pt x="92392" y="713422"/>
                    <a:pt x="96202" y="713422"/>
                  </a:cubicBezTo>
                  <a:close/>
                  <a:moveTo>
                    <a:pt x="27622" y="691514"/>
                  </a:moveTo>
                  <a:cubicBezTo>
                    <a:pt x="28575" y="691514"/>
                    <a:pt x="29527" y="692466"/>
                    <a:pt x="29527" y="693419"/>
                  </a:cubicBezTo>
                  <a:cubicBezTo>
                    <a:pt x="29527" y="694372"/>
                    <a:pt x="28575" y="695324"/>
                    <a:pt x="27622" y="695324"/>
                  </a:cubicBezTo>
                  <a:cubicBezTo>
                    <a:pt x="26670" y="695324"/>
                    <a:pt x="25717" y="694372"/>
                    <a:pt x="25717" y="693419"/>
                  </a:cubicBezTo>
                  <a:cubicBezTo>
                    <a:pt x="25717" y="692466"/>
                    <a:pt x="26670" y="691514"/>
                    <a:pt x="27622" y="691514"/>
                  </a:cubicBezTo>
                  <a:close/>
                  <a:moveTo>
                    <a:pt x="2313622" y="690562"/>
                  </a:moveTo>
                  <a:cubicBezTo>
                    <a:pt x="2314575" y="690562"/>
                    <a:pt x="2315527" y="691514"/>
                    <a:pt x="2315527" y="692467"/>
                  </a:cubicBezTo>
                  <a:cubicBezTo>
                    <a:pt x="2315527" y="693420"/>
                    <a:pt x="2314575" y="694372"/>
                    <a:pt x="2313622" y="694372"/>
                  </a:cubicBezTo>
                  <a:cubicBezTo>
                    <a:pt x="2312670" y="694372"/>
                    <a:pt x="2311717" y="694372"/>
                    <a:pt x="2311717" y="692467"/>
                  </a:cubicBezTo>
                  <a:cubicBezTo>
                    <a:pt x="2311717" y="691514"/>
                    <a:pt x="2312670" y="690562"/>
                    <a:pt x="2313622" y="690562"/>
                  </a:cubicBezTo>
                  <a:close/>
                  <a:moveTo>
                    <a:pt x="2248852" y="690562"/>
                  </a:moveTo>
                  <a:cubicBezTo>
                    <a:pt x="2249805" y="690562"/>
                    <a:pt x="2250757" y="691514"/>
                    <a:pt x="2250757" y="692467"/>
                  </a:cubicBezTo>
                  <a:cubicBezTo>
                    <a:pt x="2250757" y="693420"/>
                    <a:pt x="2249805" y="694372"/>
                    <a:pt x="2248852" y="694372"/>
                  </a:cubicBezTo>
                  <a:cubicBezTo>
                    <a:pt x="2247900" y="694372"/>
                    <a:pt x="2246947" y="693420"/>
                    <a:pt x="2246947" y="692467"/>
                  </a:cubicBezTo>
                  <a:cubicBezTo>
                    <a:pt x="2246947" y="691514"/>
                    <a:pt x="2247900" y="690562"/>
                    <a:pt x="2248852" y="690562"/>
                  </a:cubicBezTo>
                  <a:close/>
                  <a:moveTo>
                    <a:pt x="548640" y="690562"/>
                  </a:moveTo>
                  <a:cubicBezTo>
                    <a:pt x="549592" y="690562"/>
                    <a:pt x="550545" y="691514"/>
                    <a:pt x="550545" y="692467"/>
                  </a:cubicBezTo>
                  <a:cubicBezTo>
                    <a:pt x="550545" y="693420"/>
                    <a:pt x="549592" y="694372"/>
                    <a:pt x="548640" y="694372"/>
                  </a:cubicBezTo>
                  <a:cubicBezTo>
                    <a:pt x="547687" y="694372"/>
                    <a:pt x="546735" y="693420"/>
                    <a:pt x="546735" y="692467"/>
                  </a:cubicBezTo>
                  <a:cubicBezTo>
                    <a:pt x="546735" y="691514"/>
                    <a:pt x="547687" y="690562"/>
                    <a:pt x="548640" y="690562"/>
                  </a:cubicBezTo>
                  <a:close/>
                  <a:moveTo>
                    <a:pt x="418148" y="688657"/>
                  </a:moveTo>
                  <a:cubicBezTo>
                    <a:pt x="420252" y="688657"/>
                    <a:pt x="421958" y="690363"/>
                    <a:pt x="421958" y="692467"/>
                  </a:cubicBezTo>
                  <a:cubicBezTo>
                    <a:pt x="421958" y="694571"/>
                    <a:pt x="420252" y="696277"/>
                    <a:pt x="418148" y="696277"/>
                  </a:cubicBezTo>
                  <a:cubicBezTo>
                    <a:pt x="416044" y="696277"/>
                    <a:pt x="414338" y="694571"/>
                    <a:pt x="414338" y="692467"/>
                  </a:cubicBezTo>
                  <a:cubicBezTo>
                    <a:pt x="414338" y="690363"/>
                    <a:pt x="416044" y="688657"/>
                    <a:pt x="418148" y="688657"/>
                  </a:cubicBezTo>
                  <a:close/>
                  <a:moveTo>
                    <a:pt x="157163" y="688657"/>
                  </a:moveTo>
                  <a:cubicBezTo>
                    <a:pt x="159793" y="688657"/>
                    <a:pt x="161925" y="690789"/>
                    <a:pt x="161925" y="693420"/>
                  </a:cubicBezTo>
                  <a:cubicBezTo>
                    <a:pt x="161925" y="696050"/>
                    <a:pt x="159793" y="698182"/>
                    <a:pt x="157163" y="698182"/>
                  </a:cubicBezTo>
                  <a:cubicBezTo>
                    <a:pt x="154532" y="698182"/>
                    <a:pt x="152400" y="696050"/>
                    <a:pt x="152400" y="693420"/>
                  </a:cubicBezTo>
                  <a:cubicBezTo>
                    <a:pt x="152400" y="690789"/>
                    <a:pt x="154532" y="688657"/>
                    <a:pt x="157163" y="688657"/>
                  </a:cubicBezTo>
                  <a:close/>
                  <a:moveTo>
                    <a:pt x="287655" y="686752"/>
                  </a:moveTo>
                  <a:cubicBezTo>
                    <a:pt x="291465" y="686752"/>
                    <a:pt x="294322" y="689610"/>
                    <a:pt x="294322" y="693420"/>
                  </a:cubicBezTo>
                  <a:cubicBezTo>
                    <a:pt x="294322" y="697229"/>
                    <a:pt x="291465" y="700087"/>
                    <a:pt x="287655" y="700087"/>
                  </a:cubicBezTo>
                  <a:cubicBezTo>
                    <a:pt x="283845" y="700087"/>
                    <a:pt x="280035" y="696277"/>
                    <a:pt x="280987" y="693420"/>
                  </a:cubicBezTo>
                  <a:cubicBezTo>
                    <a:pt x="280987" y="689610"/>
                    <a:pt x="283845" y="686752"/>
                    <a:pt x="287655" y="686752"/>
                  </a:cubicBezTo>
                  <a:close/>
                  <a:moveTo>
                    <a:pt x="608647" y="661987"/>
                  </a:moveTo>
                  <a:cubicBezTo>
                    <a:pt x="609600" y="661987"/>
                    <a:pt x="610552" y="662939"/>
                    <a:pt x="610552" y="663892"/>
                  </a:cubicBezTo>
                  <a:cubicBezTo>
                    <a:pt x="610552" y="664845"/>
                    <a:pt x="609600" y="665797"/>
                    <a:pt x="608647" y="665797"/>
                  </a:cubicBezTo>
                  <a:cubicBezTo>
                    <a:pt x="607695" y="665797"/>
                    <a:pt x="606742" y="664845"/>
                    <a:pt x="606742" y="663892"/>
                  </a:cubicBezTo>
                  <a:cubicBezTo>
                    <a:pt x="606742" y="662939"/>
                    <a:pt x="607695" y="661987"/>
                    <a:pt x="608647" y="661987"/>
                  </a:cubicBezTo>
                  <a:close/>
                  <a:moveTo>
                    <a:pt x="478155" y="661035"/>
                  </a:moveTo>
                  <a:cubicBezTo>
                    <a:pt x="480061" y="661035"/>
                    <a:pt x="481013" y="662940"/>
                    <a:pt x="481013" y="663892"/>
                  </a:cubicBezTo>
                  <a:cubicBezTo>
                    <a:pt x="481013" y="665798"/>
                    <a:pt x="479108" y="666750"/>
                    <a:pt x="478155" y="666750"/>
                  </a:cubicBezTo>
                  <a:cubicBezTo>
                    <a:pt x="476250" y="666750"/>
                    <a:pt x="475298" y="665798"/>
                    <a:pt x="475298" y="663892"/>
                  </a:cubicBezTo>
                  <a:cubicBezTo>
                    <a:pt x="475298" y="661987"/>
                    <a:pt x="476250" y="661035"/>
                    <a:pt x="478155" y="661035"/>
                  </a:cubicBezTo>
                  <a:close/>
                  <a:moveTo>
                    <a:pt x="347663" y="659129"/>
                  </a:moveTo>
                  <a:cubicBezTo>
                    <a:pt x="350520" y="659129"/>
                    <a:pt x="352425" y="661034"/>
                    <a:pt x="352425" y="663892"/>
                  </a:cubicBezTo>
                  <a:cubicBezTo>
                    <a:pt x="352425" y="666749"/>
                    <a:pt x="350520" y="668654"/>
                    <a:pt x="347663" y="668654"/>
                  </a:cubicBezTo>
                  <a:cubicBezTo>
                    <a:pt x="344805" y="668654"/>
                    <a:pt x="342900" y="666749"/>
                    <a:pt x="342900" y="663892"/>
                  </a:cubicBezTo>
                  <a:cubicBezTo>
                    <a:pt x="342900" y="661034"/>
                    <a:pt x="344805" y="659129"/>
                    <a:pt x="347663" y="659129"/>
                  </a:cubicBezTo>
                  <a:close/>
                  <a:moveTo>
                    <a:pt x="88582" y="658177"/>
                  </a:moveTo>
                  <a:cubicBezTo>
                    <a:pt x="92393" y="658177"/>
                    <a:pt x="95250" y="661035"/>
                    <a:pt x="95250" y="664845"/>
                  </a:cubicBezTo>
                  <a:cubicBezTo>
                    <a:pt x="95250" y="668654"/>
                    <a:pt x="92393" y="671512"/>
                    <a:pt x="88582" y="671512"/>
                  </a:cubicBezTo>
                  <a:cubicBezTo>
                    <a:pt x="84772" y="671512"/>
                    <a:pt x="81915" y="668654"/>
                    <a:pt x="81915" y="664845"/>
                  </a:cubicBezTo>
                  <a:cubicBezTo>
                    <a:pt x="81915" y="661035"/>
                    <a:pt x="84772" y="658177"/>
                    <a:pt x="88582" y="658177"/>
                  </a:cubicBezTo>
                  <a:close/>
                  <a:moveTo>
                    <a:pt x="218123" y="657225"/>
                  </a:moveTo>
                  <a:cubicBezTo>
                    <a:pt x="221933" y="657225"/>
                    <a:pt x="225743" y="660083"/>
                    <a:pt x="225743" y="663892"/>
                  </a:cubicBezTo>
                  <a:cubicBezTo>
                    <a:pt x="225743" y="667702"/>
                    <a:pt x="221933" y="671513"/>
                    <a:pt x="218123" y="671513"/>
                  </a:cubicBezTo>
                  <a:cubicBezTo>
                    <a:pt x="213360" y="671513"/>
                    <a:pt x="210503" y="668655"/>
                    <a:pt x="210503" y="664845"/>
                  </a:cubicBezTo>
                  <a:cubicBezTo>
                    <a:pt x="210503" y="661035"/>
                    <a:pt x="214313" y="657225"/>
                    <a:pt x="218123" y="657225"/>
                  </a:cubicBezTo>
                  <a:close/>
                  <a:moveTo>
                    <a:pt x="2322195" y="635317"/>
                  </a:moveTo>
                  <a:cubicBezTo>
                    <a:pt x="2322195" y="635317"/>
                    <a:pt x="2323147" y="635317"/>
                    <a:pt x="2323147" y="636270"/>
                  </a:cubicBezTo>
                  <a:cubicBezTo>
                    <a:pt x="2323147" y="636270"/>
                    <a:pt x="2323147" y="637222"/>
                    <a:pt x="2322195" y="637222"/>
                  </a:cubicBezTo>
                  <a:cubicBezTo>
                    <a:pt x="2321242" y="637222"/>
                    <a:pt x="2320290" y="636270"/>
                    <a:pt x="2321242" y="636270"/>
                  </a:cubicBezTo>
                  <a:cubicBezTo>
                    <a:pt x="2321242" y="636270"/>
                    <a:pt x="2322195" y="635317"/>
                    <a:pt x="2322195" y="635317"/>
                  </a:cubicBezTo>
                  <a:close/>
                  <a:moveTo>
                    <a:pt x="20955" y="635317"/>
                  </a:moveTo>
                  <a:cubicBezTo>
                    <a:pt x="20955" y="635317"/>
                    <a:pt x="21908" y="635317"/>
                    <a:pt x="21908" y="636270"/>
                  </a:cubicBezTo>
                  <a:cubicBezTo>
                    <a:pt x="21908" y="636270"/>
                    <a:pt x="21908" y="637222"/>
                    <a:pt x="20955" y="637222"/>
                  </a:cubicBezTo>
                  <a:cubicBezTo>
                    <a:pt x="20003" y="637222"/>
                    <a:pt x="20003" y="636270"/>
                    <a:pt x="20003" y="636270"/>
                  </a:cubicBezTo>
                  <a:cubicBezTo>
                    <a:pt x="20003" y="636270"/>
                    <a:pt x="20003" y="635317"/>
                    <a:pt x="20955" y="635317"/>
                  </a:cubicBezTo>
                  <a:close/>
                  <a:moveTo>
                    <a:pt x="2192655" y="634365"/>
                  </a:moveTo>
                  <a:cubicBezTo>
                    <a:pt x="2193181" y="634365"/>
                    <a:pt x="2193608" y="634791"/>
                    <a:pt x="2193608" y="635317"/>
                  </a:cubicBezTo>
                  <a:cubicBezTo>
                    <a:pt x="2193608" y="635844"/>
                    <a:pt x="2193182" y="636270"/>
                    <a:pt x="2192655" y="636270"/>
                  </a:cubicBezTo>
                  <a:cubicBezTo>
                    <a:pt x="2192129" y="636270"/>
                    <a:pt x="2191703" y="635844"/>
                    <a:pt x="2191703" y="635317"/>
                  </a:cubicBezTo>
                  <a:cubicBezTo>
                    <a:pt x="2191703" y="634791"/>
                    <a:pt x="2192129" y="634365"/>
                    <a:pt x="2192655" y="634365"/>
                  </a:cubicBezTo>
                  <a:close/>
                  <a:moveTo>
                    <a:pt x="2257425" y="633412"/>
                  </a:moveTo>
                  <a:cubicBezTo>
                    <a:pt x="2258378" y="633412"/>
                    <a:pt x="2259330" y="634364"/>
                    <a:pt x="2259330" y="635317"/>
                  </a:cubicBezTo>
                  <a:cubicBezTo>
                    <a:pt x="2259330" y="636270"/>
                    <a:pt x="2258378" y="637222"/>
                    <a:pt x="2257425" y="637222"/>
                  </a:cubicBezTo>
                  <a:cubicBezTo>
                    <a:pt x="2256472" y="637222"/>
                    <a:pt x="2255520" y="636270"/>
                    <a:pt x="2255520" y="635317"/>
                  </a:cubicBezTo>
                  <a:cubicBezTo>
                    <a:pt x="2255520" y="634364"/>
                    <a:pt x="2256472" y="633412"/>
                    <a:pt x="2257425" y="633412"/>
                  </a:cubicBezTo>
                  <a:close/>
                  <a:moveTo>
                    <a:pt x="538163" y="633412"/>
                  </a:moveTo>
                  <a:cubicBezTo>
                    <a:pt x="539115" y="633412"/>
                    <a:pt x="540068" y="634364"/>
                    <a:pt x="540068" y="635317"/>
                  </a:cubicBezTo>
                  <a:cubicBezTo>
                    <a:pt x="540068" y="636270"/>
                    <a:pt x="539115" y="637222"/>
                    <a:pt x="538163" y="637222"/>
                  </a:cubicBezTo>
                  <a:cubicBezTo>
                    <a:pt x="537210" y="637222"/>
                    <a:pt x="536258" y="636270"/>
                    <a:pt x="536258" y="635317"/>
                  </a:cubicBezTo>
                  <a:cubicBezTo>
                    <a:pt x="536258" y="634364"/>
                    <a:pt x="537210" y="633412"/>
                    <a:pt x="538163" y="633412"/>
                  </a:cubicBezTo>
                  <a:close/>
                  <a:moveTo>
                    <a:pt x="408623" y="630554"/>
                  </a:moveTo>
                  <a:cubicBezTo>
                    <a:pt x="411480" y="630554"/>
                    <a:pt x="413385" y="632459"/>
                    <a:pt x="413385" y="635317"/>
                  </a:cubicBezTo>
                  <a:cubicBezTo>
                    <a:pt x="413385" y="638174"/>
                    <a:pt x="411480" y="640079"/>
                    <a:pt x="408623" y="640079"/>
                  </a:cubicBezTo>
                  <a:cubicBezTo>
                    <a:pt x="405765" y="640079"/>
                    <a:pt x="403860" y="638174"/>
                    <a:pt x="403860" y="635317"/>
                  </a:cubicBezTo>
                  <a:cubicBezTo>
                    <a:pt x="403860" y="632459"/>
                    <a:pt x="405765" y="630554"/>
                    <a:pt x="408623" y="630554"/>
                  </a:cubicBezTo>
                  <a:close/>
                  <a:moveTo>
                    <a:pt x="279083" y="629602"/>
                  </a:moveTo>
                  <a:cubicBezTo>
                    <a:pt x="282893" y="629602"/>
                    <a:pt x="285750" y="632460"/>
                    <a:pt x="285750" y="636270"/>
                  </a:cubicBezTo>
                  <a:cubicBezTo>
                    <a:pt x="285750" y="640079"/>
                    <a:pt x="282893" y="642937"/>
                    <a:pt x="279083" y="642937"/>
                  </a:cubicBezTo>
                  <a:cubicBezTo>
                    <a:pt x="275273" y="642937"/>
                    <a:pt x="272415" y="640079"/>
                    <a:pt x="272415" y="636270"/>
                  </a:cubicBezTo>
                  <a:cubicBezTo>
                    <a:pt x="272415" y="632460"/>
                    <a:pt x="275273" y="629602"/>
                    <a:pt x="279083" y="629602"/>
                  </a:cubicBezTo>
                  <a:close/>
                  <a:moveTo>
                    <a:pt x="149543" y="629602"/>
                  </a:moveTo>
                  <a:cubicBezTo>
                    <a:pt x="152400" y="629602"/>
                    <a:pt x="155258" y="632460"/>
                    <a:pt x="155258" y="635317"/>
                  </a:cubicBezTo>
                  <a:cubicBezTo>
                    <a:pt x="155258" y="639127"/>
                    <a:pt x="152400" y="641032"/>
                    <a:pt x="149543" y="641032"/>
                  </a:cubicBezTo>
                  <a:cubicBezTo>
                    <a:pt x="146685" y="641032"/>
                    <a:pt x="144781" y="639127"/>
                    <a:pt x="143828" y="635317"/>
                  </a:cubicBezTo>
                  <a:cubicBezTo>
                    <a:pt x="143828" y="632460"/>
                    <a:pt x="146685" y="629602"/>
                    <a:pt x="149543" y="629602"/>
                  </a:cubicBezTo>
                  <a:close/>
                  <a:moveTo>
                    <a:pt x="599122" y="606742"/>
                  </a:moveTo>
                  <a:cubicBezTo>
                    <a:pt x="599122" y="606742"/>
                    <a:pt x="600075" y="606742"/>
                    <a:pt x="600075" y="607695"/>
                  </a:cubicBezTo>
                  <a:cubicBezTo>
                    <a:pt x="600075" y="607695"/>
                    <a:pt x="600075" y="608647"/>
                    <a:pt x="599122" y="608647"/>
                  </a:cubicBezTo>
                  <a:cubicBezTo>
                    <a:pt x="598170" y="608647"/>
                    <a:pt x="598170" y="607695"/>
                    <a:pt x="598170" y="607695"/>
                  </a:cubicBezTo>
                  <a:cubicBezTo>
                    <a:pt x="598170" y="607695"/>
                    <a:pt x="598170" y="606742"/>
                    <a:pt x="599122" y="606742"/>
                  </a:cubicBezTo>
                  <a:close/>
                  <a:moveTo>
                    <a:pt x="469582" y="605789"/>
                  </a:moveTo>
                  <a:cubicBezTo>
                    <a:pt x="470535" y="605789"/>
                    <a:pt x="471487" y="606741"/>
                    <a:pt x="471487" y="607694"/>
                  </a:cubicBezTo>
                  <a:cubicBezTo>
                    <a:pt x="471487" y="608647"/>
                    <a:pt x="470535" y="609599"/>
                    <a:pt x="469582" y="609599"/>
                  </a:cubicBezTo>
                  <a:cubicBezTo>
                    <a:pt x="468630" y="609599"/>
                    <a:pt x="467677" y="608647"/>
                    <a:pt x="467677" y="607694"/>
                  </a:cubicBezTo>
                  <a:cubicBezTo>
                    <a:pt x="467677" y="606741"/>
                    <a:pt x="468630" y="605789"/>
                    <a:pt x="469582" y="605789"/>
                  </a:cubicBezTo>
                  <a:close/>
                  <a:moveTo>
                    <a:pt x="340995" y="601979"/>
                  </a:moveTo>
                  <a:cubicBezTo>
                    <a:pt x="343852" y="601979"/>
                    <a:pt x="345757" y="603884"/>
                    <a:pt x="345757" y="606742"/>
                  </a:cubicBezTo>
                  <a:cubicBezTo>
                    <a:pt x="345757" y="609599"/>
                    <a:pt x="343852" y="611504"/>
                    <a:pt x="340995" y="611504"/>
                  </a:cubicBezTo>
                  <a:cubicBezTo>
                    <a:pt x="338137" y="611504"/>
                    <a:pt x="336232" y="609599"/>
                    <a:pt x="336232" y="606742"/>
                  </a:cubicBezTo>
                  <a:cubicBezTo>
                    <a:pt x="336232" y="603884"/>
                    <a:pt x="338137" y="601979"/>
                    <a:pt x="340995" y="601979"/>
                  </a:cubicBezTo>
                  <a:close/>
                  <a:moveTo>
                    <a:pt x="211455" y="601979"/>
                  </a:moveTo>
                  <a:cubicBezTo>
                    <a:pt x="214312" y="601979"/>
                    <a:pt x="217170" y="604837"/>
                    <a:pt x="217170" y="607694"/>
                  </a:cubicBezTo>
                  <a:cubicBezTo>
                    <a:pt x="217170" y="610552"/>
                    <a:pt x="214312" y="613409"/>
                    <a:pt x="211455" y="613409"/>
                  </a:cubicBezTo>
                  <a:cubicBezTo>
                    <a:pt x="208597" y="613409"/>
                    <a:pt x="205740" y="610552"/>
                    <a:pt x="205740" y="607694"/>
                  </a:cubicBezTo>
                  <a:cubicBezTo>
                    <a:pt x="205740" y="604837"/>
                    <a:pt x="208597" y="601979"/>
                    <a:pt x="211455" y="601979"/>
                  </a:cubicBezTo>
                  <a:close/>
                  <a:moveTo>
                    <a:pt x="82868" y="601027"/>
                  </a:moveTo>
                  <a:cubicBezTo>
                    <a:pt x="86678" y="601027"/>
                    <a:pt x="89535" y="603885"/>
                    <a:pt x="89535" y="607695"/>
                  </a:cubicBezTo>
                  <a:cubicBezTo>
                    <a:pt x="89535" y="611504"/>
                    <a:pt x="86678" y="614362"/>
                    <a:pt x="82868" y="614362"/>
                  </a:cubicBezTo>
                  <a:cubicBezTo>
                    <a:pt x="79057" y="614362"/>
                    <a:pt x="76200" y="610552"/>
                    <a:pt x="76200" y="607695"/>
                  </a:cubicBezTo>
                  <a:cubicBezTo>
                    <a:pt x="76200" y="603885"/>
                    <a:pt x="79057" y="601027"/>
                    <a:pt x="82868" y="601027"/>
                  </a:cubicBezTo>
                  <a:close/>
                  <a:moveTo>
                    <a:pt x="2262188" y="576262"/>
                  </a:moveTo>
                  <a:cubicBezTo>
                    <a:pt x="2263141" y="576262"/>
                    <a:pt x="2264093" y="577214"/>
                    <a:pt x="2264093" y="578167"/>
                  </a:cubicBezTo>
                  <a:cubicBezTo>
                    <a:pt x="2264093" y="579120"/>
                    <a:pt x="2263141" y="580072"/>
                    <a:pt x="2262188" y="580072"/>
                  </a:cubicBezTo>
                  <a:cubicBezTo>
                    <a:pt x="2261235" y="580072"/>
                    <a:pt x="2260283" y="579120"/>
                    <a:pt x="2260283" y="578167"/>
                  </a:cubicBezTo>
                  <a:cubicBezTo>
                    <a:pt x="2260283" y="577214"/>
                    <a:pt x="2261235" y="576262"/>
                    <a:pt x="2262188" y="576262"/>
                  </a:cubicBezTo>
                  <a:close/>
                  <a:moveTo>
                    <a:pt x="531495" y="576262"/>
                  </a:moveTo>
                  <a:cubicBezTo>
                    <a:pt x="532448" y="576262"/>
                    <a:pt x="533400" y="577214"/>
                    <a:pt x="533400" y="578167"/>
                  </a:cubicBezTo>
                  <a:cubicBezTo>
                    <a:pt x="533400" y="579120"/>
                    <a:pt x="532448" y="580072"/>
                    <a:pt x="531495" y="580072"/>
                  </a:cubicBezTo>
                  <a:cubicBezTo>
                    <a:pt x="530542" y="580072"/>
                    <a:pt x="529590" y="579120"/>
                    <a:pt x="529590" y="578167"/>
                  </a:cubicBezTo>
                  <a:cubicBezTo>
                    <a:pt x="529590" y="577214"/>
                    <a:pt x="530542" y="576262"/>
                    <a:pt x="531495" y="576262"/>
                  </a:cubicBezTo>
                  <a:close/>
                  <a:moveTo>
                    <a:pt x="402908" y="574357"/>
                  </a:moveTo>
                  <a:cubicBezTo>
                    <a:pt x="404813" y="574357"/>
                    <a:pt x="406718" y="576262"/>
                    <a:pt x="406718" y="578167"/>
                  </a:cubicBezTo>
                  <a:cubicBezTo>
                    <a:pt x="406718" y="580072"/>
                    <a:pt x="404813" y="581977"/>
                    <a:pt x="402908" y="581977"/>
                  </a:cubicBezTo>
                  <a:cubicBezTo>
                    <a:pt x="401003" y="581977"/>
                    <a:pt x="400050" y="580072"/>
                    <a:pt x="399098" y="578167"/>
                  </a:cubicBezTo>
                  <a:cubicBezTo>
                    <a:pt x="399098" y="576262"/>
                    <a:pt x="401003" y="574357"/>
                    <a:pt x="402908" y="574357"/>
                  </a:cubicBezTo>
                  <a:close/>
                  <a:moveTo>
                    <a:pt x="145732" y="573405"/>
                  </a:moveTo>
                  <a:cubicBezTo>
                    <a:pt x="148363" y="573405"/>
                    <a:pt x="150495" y="575537"/>
                    <a:pt x="150495" y="578167"/>
                  </a:cubicBezTo>
                  <a:cubicBezTo>
                    <a:pt x="150495" y="580798"/>
                    <a:pt x="148363" y="582930"/>
                    <a:pt x="145732" y="582930"/>
                  </a:cubicBezTo>
                  <a:cubicBezTo>
                    <a:pt x="143102" y="582930"/>
                    <a:pt x="140970" y="580798"/>
                    <a:pt x="140970" y="578167"/>
                  </a:cubicBezTo>
                  <a:cubicBezTo>
                    <a:pt x="140970" y="575537"/>
                    <a:pt x="143102" y="573405"/>
                    <a:pt x="145732" y="573405"/>
                  </a:cubicBezTo>
                  <a:close/>
                  <a:moveTo>
                    <a:pt x="274320" y="571500"/>
                  </a:moveTo>
                  <a:cubicBezTo>
                    <a:pt x="278130" y="571500"/>
                    <a:pt x="280987" y="574358"/>
                    <a:pt x="280987" y="578167"/>
                  </a:cubicBezTo>
                  <a:cubicBezTo>
                    <a:pt x="280987" y="581977"/>
                    <a:pt x="278130" y="584835"/>
                    <a:pt x="274320" y="584835"/>
                  </a:cubicBezTo>
                  <a:cubicBezTo>
                    <a:pt x="270510" y="584835"/>
                    <a:pt x="267652" y="581977"/>
                    <a:pt x="267652" y="578167"/>
                  </a:cubicBezTo>
                  <a:cubicBezTo>
                    <a:pt x="267652" y="574358"/>
                    <a:pt x="270510" y="571500"/>
                    <a:pt x="274320" y="571500"/>
                  </a:cubicBezTo>
                  <a:close/>
                  <a:moveTo>
                    <a:pt x="465773" y="548639"/>
                  </a:moveTo>
                  <a:cubicBezTo>
                    <a:pt x="465773" y="548639"/>
                    <a:pt x="466725" y="548639"/>
                    <a:pt x="466725" y="549591"/>
                  </a:cubicBezTo>
                  <a:cubicBezTo>
                    <a:pt x="466725" y="549591"/>
                    <a:pt x="466725" y="550544"/>
                    <a:pt x="465773" y="550544"/>
                  </a:cubicBezTo>
                  <a:cubicBezTo>
                    <a:pt x="464820" y="550544"/>
                    <a:pt x="464820" y="550544"/>
                    <a:pt x="464820" y="549591"/>
                  </a:cubicBezTo>
                  <a:cubicBezTo>
                    <a:pt x="464820" y="549591"/>
                    <a:pt x="464820" y="548639"/>
                    <a:pt x="465773" y="548639"/>
                  </a:cubicBezTo>
                  <a:close/>
                  <a:moveTo>
                    <a:pt x="337186" y="544829"/>
                  </a:moveTo>
                  <a:cubicBezTo>
                    <a:pt x="340043" y="544829"/>
                    <a:pt x="341948" y="546734"/>
                    <a:pt x="341948" y="549592"/>
                  </a:cubicBezTo>
                  <a:cubicBezTo>
                    <a:pt x="341948" y="552449"/>
                    <a:pt x="340043" y="554354"/>
                    <a:pt x="337186" y="554354"/>
                  </a:cubicBezTo>
                  <a:cubicBezTo>
                    <a:pt x="335280" y="554354"/>
                    <a:pt x="332423" y="552449"/>
                    <a:pt x="332423" y="549592"/>
                  </a:cubicBezTo>
                  <a:cubicBezTo>
                    <a:pt x="332423" y="546734"/>
                    <a:pt x="334328" y="544829"/>
                    <a:pt x="337186" y="544829"/>
                  </a:cubicBezTo>
                  <a:close/>
                  <a:moveTo>
                    <a:pt x="80010" y="544829"/>
                  </a:moveTo>
                  <a:cubicBezTo>
                    <a:pt x="82867" y="544829"/>
                    <a:pt x="84772" y="546734"/>
                    <a:pt x="84772" y="549592"/>
                  </a:cubicBezTo>
                  <a:cubicBezTo>
                    <a:pt x="84772" y="552449"/>
                    <a:pt x="82867" y="554354"/>
                    <a:pt x="80010" y="554354"/>
                  </a:cubicBezTo>
                  <a:cubicBezTo>
                    <a:pt x="78105" y="554354"/>
                    <a:pt x="76200" y="552449"/>
                    <a:pt x="75247" y="549592"/>
                  </a:cubicBezTo>
                  <a:cubicBezTo>
                    <a:pt x="75247" y="546734"/>
                    <a:pt x="77152" y="544829"/>
                    <a:pt x="80010" y="544829"/>
                  </a:cubicBezTo>
                  <a:close/>
                  <a:moveTo>
                    <a:pt x="208597" y="543877"/>
                  </a:moveTo>
                  <a:cubicBezTo>
                    <a:pt x="211455" y="543877"/>
                    <a:pt x="214312" y="546735"/>
                    <a:pt x="214312" y="549592"/>
                  </a:cubicBezTo>
                  <a:cubicBezTo>
                    <a:pt x="214312" y="552450"/>
                    <a:pt x="211455" y="555307"/>
                    <a:pt x="208597" y="555307"/>
                  </a:cubicBezTo>
                  <a:cubicBezTo>
                    <a:pt x="205740" y="555307"/>
                    <a:pt x="203835" y="552450"/>
                    <a:pt x="202882" y="549592"/>
                  </a:cubicBezTo>
                  <a:cubicBezTo>
                    <a:pt x="202882" y="546735"/>
                    <a:pt x="205740" y="543877"/>
                    <a:pt x="208597" y="543877"/>
                  </a:cubicBezTo>
                  <a:close/>
                  <a:moveTo>
                    <a:pt x="529590" y="520064"/>
                  </a:moveTo>
                  <a:cubicBezTo>
                    <a:pt x="529590" y="520064"/>
                    <a:pt x="530543" y="521016"/>
                    <a:pt x="530543" y="521016"/>
                  </a:cubicBezTo>
                  <a:cubicBezTo>
                    <a:pt x="530543" y="521016"/>
                    <a:pt x="530543" y="521969"/>
                    <a:pt x="529590" y="521969"/>
                  </a:cubicBezTo>
                  <a:cubicBezTo>
                    <a:pt x="528638" y="521969"/>
                    <a:pt x="528638" y="521016"/>
                    <a:pt x="528638" y="521016"/>
                  </a:cubicBezTo>
                  <a:cubicBezTo>
                    <a:pt x="528638" y="521016"/>
                    <a:pt x="528638" y="520064"/>
                    <a:pt x="529590" y="520064"/>
                  </a:cubicBezTo>
                  <a:close/>
                  <a:moveTo>
                    <a:pt x="401002" y="518160"/>
                  </a:moveTo>
                  <a:cubicBezTo>
                    <a:pt x="401955" y="518160"/>
                    <a:pt x="403860" y="519112"/>
                    <a:pt x="403860" y="521017"/>
                  </a:cubicBezTo>
                  <a:cubicBezTo>
                    <a:pt x="403860" y="521970"/>
                    <a:pt x="402908" y="523875"/>
                    <a:pt x="401002" y="523875"/>
                  </a:cubicBezTo>
                  <a:cubicBezTo>
                    <a:pt x="399098" y="523875"/>
                    <a:pt x="398145" y="522923"/>
                    <a:pt x="398145" y="521017"/>
                  </a:cubicBezTo>
                  <a:cubicBezTo>
                    <a:pt x="398145" y="520065"/>
                    <a:pt x="399098" y="518160"/>
                    <a:pt x="401002" y="518160"/>
                  </a:cubicBezTo>
                  <a:close/>
                  <a:moveTo>
                    <a:pt x="143828" y="516254"/>
                  </a:moveTo>
                  <a:cubicBezTo>
                    <a:pt x="146685" y="516254"/>
                    <a:pt x="148590" y="518159"/>
                    <a:pt x="148590" y="521017"/>
                  </a:cubicBezTo>
                  <a:cubicBezTo>
                    <a:pt x="148590" y="523874"/>
                    <a:pt x="146685" y="525779"/>
                    <a:pt x="143828" y="525779"/>
                  </a:cubicBezTo>
                  <a:cubicBezTo>
                    <a:pt x="141922" y="525779"/>
                    <a:pt x="139065" y="522922"/>
                    <a:pt x="139065" y="521017"/>
                  </a:cubicBezTo>
                  <a:cubicBezTo>
                    <a:pt x="139065" y="518159"/>
                    <a:pt x="140970" y="516254"/>
                    <a:pt x="143828" y="516254"/>
                  </a:cubicBezTo>
                  <a:close/>
                  <a:moveTo>
                    <a:pt x="272415" y="514350"/>
                  </a:moveTo>
                  <a:cubicBezTo>
                    <a:pt x="276225" y="514350"/>
                    <a:pt x="279083" y="517208"/>
                    <a:pt x="279083" y="521017"/>
                  </a:cubicBezTo>
                  <a:cubicBezTo>
                    <a:pt x="279083" y="524827"/>
                    <a:pt x="276225" y="527685"/>
                    <a:pt x="272415" y="527685"/>
                  </a:cubicBezTo>
                  <a:cubicBezTo>
                    <a:pt x="268605" y="527685"/>
                    <a:pt x="265748" y="524827"/>
                    <a:pt x="265748" y="521017"/>
                  </a:cubicBezTo>
                  <a:cubicBezTo>
                    <a:pt x="265748" y="517208"/>
                    <a:pt x="268605" y="514350"/>
                    <a:pt x="272415" y="514350"/>
                  </a:cubicBezTo>
                  <a:close/>
                  <a:moveTo>
                    <a:pt x="465773" y="489585"/>
                  </a:moveTo>
                  <a:cubicBezTo>
                    <a:pt x="466725" y="489585"/>
                    <a:pt x="467678" y="490537"/>
                    <a:pt x="467678" y="491490"/>
                  </a:cubicBezTo>
                  <a:cubicBezTo>
                    <a:pt x="467678" y="492442"/>
                    <a:pt x="466725" y="493395"/>
                    <a:pt x="465773" y="493395"/>
                  </a:cubicBezTo>
                  <a:cubicBezTo>
                    <a:pt x="464820" y="493395"/>
                    <a:pt x="463868" y="493395"/>
                    <a:pt x="463868" y="491490"/>
                  </a:cubicBezTo>
                  <a:cubicBezTo>
                    <a:pt x="463868" y="490537"/>
                    <a:pt x="464820" y="489585"/>
                    <a:pt x="465773" y="489585"/>
                  </a:cubicBezTo>
                  <a:close/>
                  <a:moveTo>
                    <a:pt x="337185" y="488632"/>
                  </a:moveTo>
                  <a:cubicBezTo>
                    <a:pt x="339090" y="488632"/>
                    <a:pt x="340995" y="490537"/>
                    <a:pt x="340995" y="492442"/>
                  </a:cubicBezTo>
                  <a:cubicBezTo>
                    <a:pt x="340995" y="494347"/>
                    <a:pt x="339090" y="496252"/>
                    <a:pt x="337185" y="496252"/>
                  </a:cubicBezTo>
                  <a:cubicBezTo>
                    <a:pt x="335280" y="496252"/>
                    <a:pt x="333375" y="494347"/>
                    <a:pt x="333375" y="492442"/>
                  </a:cubicBezTo>
                  <a:cubicBezTo>
                    <a:pt x="333375" y="490537"/>
                    <a:pt x="335280" y="488632"/>
                    <a:pt x="337185" y="488632"/>
                  </a:cubicBezTo>
                  <a:close/>
                  <a:moveTo>
                    <a:pt x="80010" y="487679"/>
                  </a:moveTo>
                  <a:cubicBezTo>
                    <a:pt x="81915" y="487679"/>
                    <a:pt x="83820" y="489584"/>
                    <a:pt x="83820" y="491489"/>
                  </a:cubicBezTo>
                  <a:cubicBezTo>
                    <a:pt x="83820" y="493394"/>
                    <a:pt x="81915" y="495299"/>
                    <a:pt x="80010" y="495299"/>
                  </a:cubicBezTo>
                  <a:cubicBezTo>
                    <a:pt x="78105" y="495299"/>
                    <a:pt x="76200" y="494347"/>
                    <a:pt x="76200" y="491489"/>
                  </a:cubicBezTo>
                  <a:cubicBezTo>
                    <a:pt x="76200" y="489584"/>
                    <a:pt x="78105" y="487679"/>
                    <a:pt x="80010" y="487679"/>
                  </a:cubicBezTo>
                  <a:close/>
                  <a:moveTo>
                    <a:pt x="208597" y="485775"/>
                  </a:moveTo>
                  <a:cubicBezTo>
                    <a:pt x="211455" y="485775"/>
                    <a:pt x="214312" y="488633"/>
                    <a:pt x="214312" y="491490"/>
                  </a:cubicBezTo>
                  <a:cubicBezTo>
                    <a:pt x="214312" y="494348"/>
                    <a:pt x="211455" y="497205"/>
                    <a:pt x="208597" y="497205"/>
                  </a:cubicBezTo>
                  <a:cubicBezTo>
                    <a:pt x="205740" y="497205"/>
                    <a:pt x="202882" y="495300"/>
                    <a:pt x="202882" y="491490"/>
                  </a:cubicBezTo>
                  <a:cubicBezTo>
                    <a:pt x="202882" y="488633"/>
                    <a:pt x="205740" y="485775"/>
                    <a:pt x="208597" y="485775"/>
                  </a:cubicBezTo>
                  <a:close/>
                  <a:moveTo>
                    <a:pt x="402907" y="460057"/>
                  </a:moveTo>
                  <a:cubicBezTo>
                    <a:pt x="404813" y="460057"/>
                    <a:pt x="405765" y="461009"/>
                    <a:pt x="405765" y="462914"/>
                  </a:cubicBezTo>
                  <a:cubicBezTo>
                    <a:pt x="405765" y="464820"/>
                    <a:pt x="404813" y="465772"/>
                    <a:pt x="402907" y="465772"/>
                  </a:cubicBezTo>
                  <a:cubicBezTo>
                    <a:pt x="401002" y="465772"/>
                    <a:pt x="400050" y="464820"/>
                    <a:pt x="400050" y="462914"/>
                  </a:cubicBezTo>
                  <a:cubicBezTo>
                    <a:pt x="400050" y="461009"/>
                    <a:pt x="401002" y="460057"/>
                    <a:pt x="402907" y="460057"/>
                  </a:cubicBezTo>
                  <a:close/>
                  <a:moveTo>
                    <a:pt x="145733" y="458152"/>
                  </a:moveTo>
                  <a:cubicBezTo>
                    <a:pt x="148590" y="458152"/>
                    <a:pt x="150495" y="460057"/>
                    <a:pt x="150495" y="462915"/>
                  </a:cubicBezTo>
                  <a:cubicBezTo>
                    <a:pt x="150495" y="465772"/>
                    <a:pt x="148590" y="467677"/>
                    <a:pt x="145733" y="467677"/>
                  </a:cubicBezTo>
                  <a:cubicBezTo>
                    <a:pt x="142875" y="467677"/>
                    <a:pt x="140970" y="465772"/>
                    <a:pt x="140970" y="462915"/>
                  </a:cubicBezTo>
                  <a:cubicBezTo>
                    <a:pt x="140970" y="460057"/>
                    <a:pt x="142875" y="458152"/>
                    <a:pt x="145733" y="458152"/>
                  </a:cubicBezTo>
                  <a:close/>
                  <a:moveTo>
                    <a:pt x="274320" y="457200"/>
                  </a:moveTo>
                  <a:cubicBezTo>
                    <a:pt x="277177" y="457200"/>
                    <a:pt x="280035" y="460058"/>
                    <a:pt x="280035" y="462915"/>
                  </a:cubicBezTo>
                  <a:cubicBezTo>
                    <a:pt x="280035" y="466725"/>
                    <a:pt x="277177" y="468630"/>
                    <a:pt x="274320" y="468630"/>
                  </a:cubicBezTo>
                  <a:cubicBezTo>
                    <a:pt x="271462" y="468630"/>
                    <a:pt x="268605" y="465773"/>
                    <a:pt x="268605" y="462915"/>
                  </a:cubicBezTo>
                  <a:cubicBezTo>
                    <a:pt x="268605" y="460058"/>
                    <a:pt x="271462" y="457200"/>
                    <a:pt x="274320" y="457200"/>
                  </a:cubicBezTo>
                  <a:close/>
                  <a:moveTo>
                    <a:pt x="469582" y="432435"/>
                  </a:moveTo>
                  <a:cubicBezTo>
                    <a:pt x="470535" y="432435"/>
                    <a:pt x="471487" y="433387"/>
                    <a:pt x="471487" y="434340"/>
                  </a:cubicBezTo>
                  <a:cubicBezTo>
                    <a:pt x="471487" y="435292"/>
                    <a:pt x="470535" y="436245"/>
                    <a:pt x="469582" y="436245"/>
                  </a:cubicBezTo>
                  <a:cubicBezTo>
                    <a:pt x="468630" y="436245"/>
                    <a:pt x="467677" y="435292"/>
                    <a:pt x="467677" y="434340"/>
                  </a:cubicBezTo>
                  <a:cubicBezTo>
                    <a:pt x="467677" y="433387"/>
                    <a:pt x="468630" y="432435"/>
                    <a:pt x="469582" y="432435"/>
                  </a:cubicBezTo>
                  <a:close/>
                  <a:moveTo>
                    <a:pt x="82868" y="432435"/>
                  </a:moveTo>
                  <a:cubicBezTo>
                    <a:pt x="83820" y="432435"/>
                    <a:pt x="84773" y="433387"/>
                    <a:pt x="84773" y="434340"/>
                  </a:cubicBezTo>
                  <a:cubicBezTo>
                    <a:pt x="84773" y="435292"/>
                    <a:pt x="83820" y="436245"/>
                    <a:pt x="82868" y="436245"/>
                  </a:cubicBezTo>
                  <a:cubicBezTo>
                    <a:pt x="81916" y="436245"/>
                    <a:pt x="80963" y="435292"/>
                    <a:pt x="80963" y="434340"/>
                  </a:cubicBezTo>
                  <a:cubicBezTo>
                    <a:pt x="80963" y="433387"/>
                    <a:pt x="81916" y="432435"/>
                    <a:pt x="82868" y="432435"/>
                  </a:cubicBezTo>
                  <a:close/>
                  <a:moveTo>
                    <a:pt x="340995" y="431482"/>
                  </a:moveTo>
                  <a:cubicBezTo>
                    <a:pt x="342900" y="431482"/>
                    <a:pt x="343852" y="432434"/>
                    <a:pt x="343852" y="434339"/>
                  </a:cubicBezTo>
                  <a:cubicBezTo>
                    <a:pt x="343852" y="435292"/>
                    <a:pt x="342900" y="437197"/>
                    <a:pt x="340995" y="437197"/>
                  </a:cubicBezTo>
                  <a:cubicBezTo>
                    <a:pt x="339090" y="437197"/>
                    <a:pt x="337185" y="436245"/>
                    <a:pt x="338137" y="434339"/>
                  </a:cubicBezTo>
                  <a:cubicBezTo>
                    <a:pt x="338137" y="433387"/>
                    <a:pt x="339090" y="431482"/>
                    <a:pt x="340995" y="431482"/>
                  </a:cubicBezTo>
                  <a:close/>
                  <a:moveTo>
                    <a:pt x="211456" y="429577"/>
                  </a:moveTo>
                  <a:cubicBezTo>
                    <a:pt x="214313" y="429577"/>
                    <a:pt x="216218" y="431482"/>
                    <a:pt x="216218" y="434340"/>
                  </a:cubicBezTo>
                  <a:cubicBezTo>
                    <a:pt x="216218" y="437197"/>
                    <a:pt x="214313" y="439102"/>
                    <a:pt x="211456" y="439102"/>
                  </a:cubicBezTo>
                  <a:cubicBezTo>
                    <a:pt x="209550" y="439102"/>
                    <a:pt x="206693" y="437197"/>
                    <a:pt x="206693" y="434340"/>
                  </a:cubicBezTo>
                  <a:cubicBezTo>
                    <a:pt x="206693" y="431482"/>
                    <a:pt x="208598" y="429577"/>
                    <a:pt x="211456" y="429577"/>
                  </a:cubicBezTo>
                  <a:close/>
                  <a:moveTo>
                    <a:pt x="408623" y="402907"/>
                  </a:moveTo>
                  <a:cubicBezTo>
                    <a:pt x="410528" y="402907"/>
                    <a:pt x="411480" y="403859"/>
                    <a:pt x="411480" y="405764"/>
                  </a:cubicBezTo>
                  <a:cubicBezTo>
                    <a:pt x="411480" y="407670"/>
                    <a:pt x="410528" y="408622"/>
                    <a:pt x="408623" y="408622"/>
                  </a:cubicBezTo>
                  <a:cubicBezTo>
                    <a:pt x="406718" y="408622"/>
                    <a:pt x="405765" y="407670"/>
                    <a:pt x="405765" y="405764"/>
                  </a:cubicBezTo>
                  <a:cubicBezTo>
                    <a:pt x="405765" y="403859"/>
                    <a:pt x="406718" y="402907"/>
                    <a:pt x="408623" y="402907"/>
                  </a:cubicBezTo>
                  <a:close/>
                  <a:moveTo>
                    <a:pt x="149543" y="401002"/>
                  </a:moveTo>
                  <a:cubicBezTo>
                    <a:pt x="152400" y="401002"/>
                    <a:pt x="154305" y="402907"/>
                    <a:pt x="154305" y="405765"/>
                  </a:cubicBezTo>
                  <a:cubicBezTo>
                    <a:pt x="154305" y="408622"/>
                    <a:pt x="152400" y="410527"/>
                    <a:pt x="149543" y="410527"/>
                  </a:cubicBezTo>
                  <a:cubicBezTo>
                    <a:pt x="147637" y="410527"/>
                    <a:pt x="145732" y="407670"/>
                    <a:pt x="144780" y="405765"/>
                  </a:cubicBezTo>
                  <a:cubicBezTo>
                    <a:pt x="144780" y="402907"/>
                    <a:pt x="146685" y="401002"/>
                    <a:pt x="149543" y="401002"/>
                  </a:cubicBezTo>
                  <a:close/>
                  <a:moveTo>
                    <a:pt x="279083" y="400050"/>
                  </a:moveTo>
                  <a:cubicBezTo>
                    <a:pt x="281940" y="400050"/>
                    <a:pt x="284798" y="401955"/>
                    <a:pt x="284798" y="404813"/>
                  </a:cubicBezTo>
                  <a:cubicBezTo>
                    <a:pt x="284798" y="407670"/>
                    <a:pt x="281940" y="410527"/>
                    <a:pt x="279083" y="410527"/>
                  </a:cubicBezTo>
                  <a:cubicBezTo>
                    <a:pt x="276225" y="410527"/>
                    <a:pt x="273368" y="408623"/>
                    <a:pt x="273368" y="405765"/>
                  </a:cubicBezTo>
                  <a:cubicBezTo>
                    <a:pt x="273368" y="402908"/>
                    <a:pt x="276225" y="400050"/>
                    <a:pt x="279083" y="400050"/>
                  </a:cubicBezTo>
                  <a:close/>
                  <a:moveTo>
                    <a:pt x="347662" y="372427"/>
                  </a:moveTo>
                  <a:cubicBezTo>
                    <a:pt x="349567" y="372427"/>
                    <a:pt x="351472" y="374332"/>
                    <a:pt x="351472" y="376237"/>
                  </a:cubicBezTo>
                  <a:cubicBezTo>
                    <a:pt x="351472" y="378142"/>
                    <a:pt x="349567" y="380047"/>
                    <a:pt x="347662" y="380047"/>
                  </a:cubicBezTo>
                  <a:cubicBezTo>
                    <a:pt x="345757" y="380047"/>
                    <a:pt x="343852" y="379095"/>
                    <a:pt x="343852" y="376237"/>
                  </a:cubicBezTo>
                  <a:cubicBezTo>
                    <a:pt x="343852" y="374332"/>
                    <a:pt x="345757" y="372427"/>
                    <a:pt x="347662" y="372427"/>
                  </a:cubicBezTo>
                  <a:close/>
                  <a:moveTo>
                    <a:pt x="218122" y="370522"/>
                  </a:moveTo>
                  <a:cubicBezTo>
                    <a:pt x="221805" y="370522"/>
                    <a:pt x="224790" y="373507"/>
                    <a:pt x="224790" y="377189"/>
                  </a:cubicBezTo>
                  <a:cubicBezTo>
                    <a:pt x="224790" y="380872"/>
                    <a:pt x="221805" y="383857"/>
                    <a:pt x="218122" y="383857"/>
                  </a:cubicBezTo>
                  <a:cubicBezTo>
                    <a:pt x="214440" y="383857"/>
                    <a:pt x="211455" y="380872"/>
                    <a:pt x="211455" y="377189"/>
                  </a:cubicBezTo>
                  <a:cubicBezTo>
                    <a:pt x="211455" y="373507"/>
                    <a:pt x="214440" y="370522"/>
                    <a:pt x="218122" y="370522"/>
                  </a:cubicBezTo>
                  <a:close/>
                  <a:moveTo>
                    <a:pt x="418148" y="346710"/>
                  </a:moveTo>
                  <a:cubicBezTo>
                    <a:pt x="419100" y="346710"/>
                    <a:pt x="420053" y="347662"/>
                    <a:pt x="420053" y="348615"/>
                  </a:cubicBezTo>
                  <a:cubicBezTo>
                    <a:pt x="420053" y="349567"/>
                    <a:pt x="419100" y="350520"/>
                    <a:pt x="418148" y="350520"/>
                  </a:cubicBezTo>
                  <a:cubicBezTo>
                    <a:pt x="416243" y="350520"/>
                    <a:pt x="415290" y="349567"/>
                    <a:pt x="416243" y="348615"/>
                  </a:cubicBezTo>
                  <a:cubicBezTo>
                    <a:pt x="416243" y="347662"/>
                    <a:pt x="417195" y="346710"/>
                    <a:pt x="418148" y="346710"/>
                  </a:cubicBezTo>
                  <a:close/>
                  <a:moveTo>
                    <a:pt x="157163" y="344805"/>
                  </a:moveTo>
                  <a:cubicBezTo>
                    <a:pt x="159267" y="344805"/>
                    <a:pt x="160973" y="346511"/>
                    <a:pt x="160973" y="348615"/>
                  </a:cubicBezTo>
                  <a:cubicBezTo>
                    <a:pt x="160973" y="350719"/>
                    <a:pt x="159267" y="352425"/>
                    <a:pt x="157163" y="352425"/>
                  </a:cubicBezTo>
                  <a:cubicBezTo>
                    <a:pt x="155059" y="352425"/>
                    <a:pt x="153353" y="350719"/>
                    <a:pt x="153353" y="348615"/>
                  </a:cubicBezTo>
                  <a:cubicBezTo>
                    <a:pt x="153353" y="346511"/>
                    <a:pt x="155059" y="344805"/>
                    <a:pt x="157163" y="344805"/>
                  </a:cubicBezTo>
                  <a:close/>
                  <a:moveTo>
                    <a:pt x="287655" y="342900"/>
                  </a:moveTo>
                  <a:cubicBezTo>
                    <a:pt x="291465" y="342900"/>
                    <a:pt x="293370" y="345757"/>
                    <a:pt x="293370" y="348615"/>
                  </a:cubicBezTo>
                  <a:cubicBezTo>
                    <a:pt x="293370" y="351473"/>
                    <a:pt x="290513" y="354330"/>
                    <a:pt x="287655" y="354330"/>
                  </a:cubicBezTo>
                  <a:cubicBezTo>
                    <a:pt x="283845" y="354330"/>
                    <a:pt x="281940" y="351473"/>
                    <a:pt x="281940" y="348615"/>
                  </a:cubicBezTo>
                  <a:cubicBezTo>
                    <a:pt x="281940" y="344805"/>
                    <a:pt x="284798" y="342900"/>
                    <a:pt x="287655" y="342900"/>
                  </a:cubicBezTo>
                  <a:close/>
                  <a:moveTo>
                    <a:pt x="489585" y="320039"/>
                  </a:moveTo>
                  <a:cubicBezTo>
                    <a:pt x="489585" y="320039"/>
                    <a:pt x="490537" y="320039"/>
                    <a:pt x="490537" y="320992"/>
                  </a:cubicBezTo>
                  <a:cubicBezTo>
                    <a:pt x="490537" y="320992"/>
                    <a:pt x="490537" y="321944"/>
                    <a:pt x="489585" y="321944"/>
                  </a:cubicBezTo>
                  <a:cubicBezTo>
                    <a:pt x="488632" y="321944"/>
                    <a:pt x="488632" y="321944"/>
                    <a:pt x="488632" y="320992"/>
                  </a:cubicBezTo>
                  <a:cubicBezTo>
                    <a:pt x="488632" y="320992"/>
                    <a:pt x="489585" y="320039"/>
                    <a:pt x="489585" y="320039"/>
                  </a:cubicBezTo>
                  <a:close/>
                  <a:moveTo>
                    <a:pt x="358140" y="318135"/>
                  </a:moveTo>
                  <a:cubicBezTo>
                    <a:pt x="359092" y="318135"/>
                    <a:pt x="360997" y="319087"/>
                    <a:pt x="360997" y="320992"/>
                  </a:cubicBezTo>
                  <a:cubicBezTo>
                    <a:pt x="360997" y="321945"/>
                    <a:pt x="360045" y="323850"/>
                    <a:pt x="358140" y="323850"/>
                  </a:cubicBezTo>
                  <a:cubicBezTo>
                    <a:pt x="356235" y="323850"/>
                    <a:pt x="354330" y="321945"/>
                    <a:pt x="355282" y="320992"/>
                  </a:cubicBezTo>
                  <a:cubicBezTo>
                    <a:pt x="355282" y="320040"/>
                    <a:pt x="356235" y="318135"/>
                    <a:pt x="358140" y="318135"/>
                  </a:cubicBezTo>
                  <a:close/>
                  <a:moveTo>
                    <a:pt x="226695" y="315277"/>
                  </a:moveTo>
                  <a:cubicBezTo>
                    <a:pt x="229552" y="315277"/>
                    <a:pt x="231457" y="317182"/>
                    <a:pt x="231457" y="320040"/>
                  </a:cubicBezTo>
                  <a:cubicBezTo>
                    <a:pt x="231457" y="322897"/>
                    <a:pt x="229552" y="324802"/>
                    <a:pt x="226695" y="324802"/>
                  </a:cubicBezTo>
                  <a:cubicBezTo>
                    <a:pt x="223837" y="324802"/>
                    <a:pt x="221932" y="322897"/>
                    <a:pt x="221932" y="320040"/>
                  </a:cubicBezTo>
                  <a:cubicBezTo>
                    <a:pt x="221932" y="317182"/>
                    <a:pt x="223837" y="315277"/>
                    <a:pt x="226695" y="315277"/>
                  </a:cubicBezTo>
                  <a:close/>
                  <a:moveTo>
                    <a:pt x="430530" y="292417"/>
                  </a:moveTo>
                  <a:cubicBezTo>
                    <a:pt x="430530" y="292417"/>
                    <a:pt x="431482" y="293369"/>
                    <a:pt x="431482" y="293369"/>
                  </a:cubicBezTo>
                  <a:cubicBezTo>
                    <a:pt x="431482" y="293369"/>
                    <a:pt x="431482" y="294322"/>
                    <a:pt x="430530" y="294322"/>
                  </a:cubicBezTo>
                  <a:cubicBezTo>
                    <a:pt x="429577" y="294322"/>
                    <a:pt x="429577" y="293369"/>
                    <a:pt x="429577" y="293369"/>
                  </a:cubicBezTo>
                  <a:cubicBezTo>
                    <a:pt x="429577" y="293369"/>
                    <a:pt x="429577" y="292417"/>
                    <a:pt x="430530" y="292417"/>
                  </a:cubicBezTo>
                  <a:close/>
                  <a:moveTo>
                    <a:pt x="166687" y="289560"/>
                  </a:moveTo>
                  <a:cubicBezTo>
                    <a:pt x="167640" y="289560"/>
                    <a:pt x="168592" y="290512"/>
                    <a:pt x="168592" y="291465"/>
                  </a:cubicBezTo>
                  <a:cubicBezTo>
                    <a:pt x="168592" y="292417"/>
                    <a:pt x="167640" y="293370"/>
                    <a:pt x="166687" y="293370"/>
                  </a:cubicBezTo>
                  <a:cubicBezTo>
                    <a:pt x="165735" y="293370"/>
                    <a:pt x="164782" y="292417"/>
                    <a:pt x="164782" y="291465"/>
                  </a:cubicBezTo>
                  <a:cubicBezTo>
                    <a:pt x="164782" y="290512"/>
                    <a:pt x="165735" y="289560"/>
                    <a:pt x="166687" y="289560"/>
                  </a:cubicBezTo>
                  <a:close/>
                  <a:moveTo>
                    <a:pt x="298133" y="288607"/>
                  </a:moveTo>
                  <a:cubicBezTo>
                    <a:pt x="300237" y="288607"/>
                    <a:pt x="301943" y="290313"/>
                    <a:pt x="301943" y="292417"/>
                  </a:cubicBezTo>
                  <a:cubicBezTo>
                    <a:pt x="301943" y="294521"/>
                    <a:pt x="300237" y="296227"/>
                    <a:pt x="298133" y="296227"/>
                  </a:cubicBezTo>
                  <a:cubicBezTo>
                    <a:pt x="296029" y="296227"/>
                    <a:pt x="294323" y="294521"/>
                    <a:pt x="294323" y="292417"/>
                  </a:cubicBezTo>
                  <a:cubicBezTo>
                    <a:pt x="294323" y="290313"/>
                    <a:pt x="296029" y="288607"/>
                    <a:pt x="298133" y="288607"/>
                  </a:cubicBezTo>
                  <a:close/>
                  <a:moveTo>
                    <a:pt x="371475" y="261937"/>
                  </a:moveTo>
                  <a:cubicBezTo>
                    <a:pt x="372428" y="261937"/>
                    <a:pt x="374333" y="262889"/>
                    <a:pt x="374333" y="264794"/>
                  </a:cubicBezTo>
                  <a:cubicBezTo>
                    <a:pt x="374333" y="265747"/>
                    <a:pt x="373381" y="267652"/>
                    <a:pt x="371475" y="267652"/>
                  </a:cubicBezTo>
                  <a:cubicBezTo>
                    <a:pt x="369570" y="267652"/>
                    <a:pt x="368618" y="265747"/>
                    <a:pt x="368618" y="264794"/>
                  </a:cubicBezTo>
                  <a:cubicBezTo>
                    <a:pt x="368618" y="263842"/>
                    <a:pt x="369570" y="261937"/>
                    <a:pt x="371475" y="261937"/>
                  </a:cubicBezTo>
                  <a:close/>
                  <a:moveTo>
                    <a:pt x="239077" y="260985"/>
                  </a:moveTo>
                  <a:cubicBezTo>
                    <a:pt x="240030" y="260985"/>
                    <a:pt x="241935" y="261937"/>
                    <a:pt x="241935" y="263842"/>
                  </a:cubicBezTo>
                  <a:cubicBezTo>
                    <a:pt x="241935" y="264795"/>
                    <a:pt x="240983" y="266700"/>
                    <a:pt x="239077" y="266700"/>
                  </a:cubicBezTo>
                  <a:cubicBezTo>
                    <a:pt x="237173" y="266700"/>
                    <a:pt x="236220" y="265748"/>
                    <a:pt x="236220" y="263842"/>
                  </a:cubicBezTo>
                  <a:cubicBezTo>
                    <a:pt x="236220" y="262890"/>
                    <a:pt x="237173" y="260985"/>
                    <a:pt x="239077" y="260985"/>
                  </a:cubicBezTo>
                  <a:close/>
                  <a:moveTo>
                    <a:pt x="446723" y="235267"/>
                  </a:moveTo>
                  <a:cubicBezTo>
                    <a:pt x="447775" y="235267"/>
                    <a:pt x="448628" y="236120"/>
                    <a:pt x="448628" y="237172"/>
                  </a:cubicBezTo>
                  <a:cubicBezTo>
                    <a:pt x="448628" y="238224"/>
                    <a:pt x="447775" y="239077"/>
                    <a:pt x="446723" y="239077"/>
                  </a:cubicBezTo>
                  <a:cubicBezTo>
                    <a:pt x="445671" y="239077"/>
                    <a:pt x="444818" y="238224"/>
                    <a:pt x="444818" y="237172"/>
                  </a:cubicBezTo>
                  <a:cubicBezTo>
                    <a:pt x="444818" y="236120"/>
                    <a:pt x="445671" y="235267"/>
                    <a:pt x="446723" y="235267"/>
                  </a:cubicBezTo>
                  <a:close/>
                  <a:moveTo>
                    <a:pt x="312420" y="231457"/>
                  </a:moveTo>
                  <a:cubicBezTo>
                    <a:pt x="315277" y="231457"/>
                    <a:pt x="317182" y="233362"/>
                    <a:pt x="317182" y="236220"/>
                  </a:cubicBezTo>
                  <a:cubicBezTo>
                    <a:pt x="317182" y="239077"/>
                    <a:pt x="315277" y="240982"/>
                    <a:pt x="312420" y="240982"/>
                  </a:cubicBezTo>
                  <a:cubicBezTo>
                    <a:pt x="310514" y="240982"/>
                    <a:pt x="307657" y="239077"/>
                    <a:pt x="307657" y="236220"/>
                  </a:cubicBezTo>
                  <a:cubicBezTo>
                    <a:pt x="307657" y="233362"/>
                    <a:pt x="309562" y="231457"/>
                    <a:pt x="312420" y="231457"/>
                  </a:cubicBezTo>
                  <a:close/>
                  <a:moveTo>
                    <a:pt x="388620" y="207644"/>
                  </a:moveTo>
                  <a:cubicBezTo>
                    <a:pt x="389573" y="207644"/>
                    <a:pt x="390525" y="208597"/>
                    <a:pt x="390525" y="209549"/>
                  </a:cubicBezTo>
                  <a:cubicBezTo>
                    <a:pt x="390525" y="210501"/>
                    <a:pt x="389573" y="211454"/>
                    <a:pt x="388620" y="211454"/>
                  </a:cubicBezTo>
                  <a:cubicBezTo>
                    <a:pt x="387668" y="211454"/>
                    <a:pt x="386715" y="210501"/>
                    <a:pt x="386715" y="209549"/>
                  </a:cubicBezTo>
                  <a:cubicBezTo>
                    <a:pt x="386715" y="208597"/>
                    <a:pt x="387668" y="207644"/>
                    <a:pt x="388620" y="207644"/>
                  </a:cubicBezTo>
                  <a:close/>
                  <a:moveTo>
                    <a:pt x="254318" y="205739"/>
                  </a:moveTo>
                  <a:cubicBezTo>
                    <a:pt x="255270" y="205739"/>
                    <a:pt x="257175" y="206692"/>
                    <a:pt x="257175" y="208597"/>
                  </a:cubicBezTo>
                  <a:cubicBezTo>
                    <a:pt x="257175" y="209549"/>
                    <a:pt x="256223" y="211454"/>
                    <a:pt x="254318" y="211454"/>
                  </a:cubicBezTo>
                  <a:cubicBezTo>
                    <a:pt x="252413" y="211454"/>
                    <a:pt x="250508" y="209549"/>
                    <a:pt x="251460" y="208597"/>
                  </a:cubicBezTo>
                  <a:cubicBezTo>
                    <a:pt x="251460" y="207644"/>
                    <a:pt x="252413" y="205739"/>
                    <a:pt x="254318" y="205739"/>
                  </a:cubicBezTo>
                  <a:close/>
                  <a:moveTo>
                    <a:pt x="330517" y="178117"/>
                  </a:moveTo>
                  <a:cubicBezTo>
                    <a:pt x="332423" y="178117"/>
                    <a:pt x="333375" y="179069"/>
                    <a:pt x="333375" y="180974"/>
                  </a:cubicBezTo>
                  <a:cubicBezTo>
                    <a:pt x="333375" y="182880"/>
                    <a:pt x="332423" y="183832"/>
                    <a:pt x="330517" y="183832"/>
                  </a:cubicBezTo>
                  <a:cubicBezTo>
                    <a:pt x="328612" y="183832"/>
                    <a:pt x="327660" y="182880"/>
                    <a:pt x="327660" y="180974"/>
                  </a:cubicBezTo>
                  <a:cubicBezTo>
                    <a:pt x="327660" y="179069"/>
                    <a:pt x="328612" y="178117"/>
                    <a:pt x="330517" y="178117"/>
                  </a:cubicBezTo>
                  <a:close/>
                  <a:moveTo>
                    <a:pt x="408623" y="152400"/>
                  </a:moveTo>
                  <a:cubicBezTo>
                    <a:pt x="410528" y="152400"/>
                    <a:pt x="411480" y="153352"/>
                    <a:pt x="411480" y="155257"/>
                  </a:cubicBezTo>
                  <a:cubicBezTo>
                    <a:pt x="411480" y="157163"/>
                    <a:pt x="409575" y="158115"/>
                    <a:pt x="408623" y="158115"/>
                  </a:cubicBezTo>
                  <a:cubicBezTo>
                    <a:pt x="407670" y="158115"/>
                    <a:pt x="405765" y="157163"/>
                    <a:pt x="405765" y="155257"/>
                  </a:cubicBezTo>
                  <a:cubicBezTo>
                    <a:pt x="405765" y="153352"/>
                    <a:pt x="407670" y="152400"/>
                    <a:pt x="408623" y="152400"/>
                  </a:cubicBezTo>
                  <a:close/>
                  <a:moveTo>
                    <a:pt x="272415" y="150494"/>
                  </a:moveTo>
                  <a:cubicBezTo>
                    <a:pt x="273367" y="150494"/>
                    <a:pt x="275272" y="151447"/>
                    <a:pt x="275272" y="153351"/>
                  </a:cubicBezTo>
                  <a:cubicBezTo>
                    <a:pt x="275272" y="154304"/>
                    <a:pt x="274320" y="156209"/>
                    <a:pt x="272415" y="156209"/>
                  </a:cubicBezTo>
                  <a:cubicBezTo>
                    <a:pt x="270510" y="156209"/>
                    <a:pt x="268605" y="155257"/>
                    <a:pt x="269557" y="153351"/>
                  </a:cubicBezTo>
                  <a:cubicBezTo>
                    <a:pt x="269557" y="152399"/>
                    <a:pt x="270510" y="150494"/>
                    <a:pt x="272415" y="150494"/>
                  </a:cubicBezTo>
                  <a:close/>
                  <a:moveTo>
                    <a:pt x="490537" y="129539"/>
                  </a:moveTo>
                  <a:cubicBezTo>
                    <a:pt x="490537" y="129539"/>
                    <a:pt x="491490" y="129539"/>
                    <a:pt x="491490" y="130492"/>
                  </a:cubicBezTo>
                  <a:cubicBezTo>
                    <a:pt x="491490" y="130492"/>
                    <a:pt x="491490" y="131444"/>
                    <a:pt x="490537" y="131444"/>
                  </a:cubicBezTo>
                  <a:cubicBezTo>
                    <a:pt x="489585" y="131444"/>
                    <a:pt x="488632" y="131444"/>
                    <a:pt x="489585" y="130492"/>
                  </a:cubicBezTo>
                  <a:cubicBezTo>
                    <a:pt x="489585" y="130492"/>
                    <a:pt x="490537" y="129539"/>
                    <a:pt x="490537" y="129539"/>
                  </a:cubicBezTo>
                  <a:close/>
                  <a:moveTo>
                    <a:pt x="350520" y="125730"/>
                  </a:moveTo>
                  <a:cubicBezTo>
                    <a:pt x="351473" y="125730"/>
                    <a:pt x="352425" y="126682"/>
                    <a:pt x="352425" y="127635"/>
                  </a:cubicBezTo>
                  <a:cubicBezTo>
                    <a:pt x="352425" y="128587"/>
                    <a:pt x="351473" y="129540"/>
                    <a:pt x="350520" y="129540"/>
                  </a:cubicBezTo>
                  <a:cubicBezTo>
                    <a:pt x="349568" y="129540"/>
                    <a:pt x="348615" y="128587"/>
                    <a:pt x="348615" y="127635"/>
                  </a:cubicBezTo>
                  <a:cubicBezTo>
                    <a:pt x="348615" y="126682"/>
                    <a:pt x="349568" y="125730"/>
                    <a:pt x="350520" y="125730"/>
                  </a:cubicBezTo>
                  <a:close/>
                  <a:moveTo>
                    <a:pt x="432435" y="99060"/>
                  </a:moveTo>
                  <a:cubicBezTo>
                    <a:pt x="434340" y="99060"/>
                    <a:pt x="436245" y="100965"/>
                    <a:pt x="436245" y="102870"/>
                  </a:cubicBezTo>
                  <a:cubicBezTo>
                    <a:pt x="436245" y="104775"/>
                    <a:pt x="434340" y="106680"/>
                    <a:pt x="432435" y="106680"/>
                  </a:cubicBezTo>
                  <a:cubicBezTo>
                    <a:pt x="430530" y="106680"/>
                    <a:pt x="428625" y="104775"/>
                    <a:pt x="428625" y="102870"/>
                  </a:cubicBezTo>
                  <a:cubicBezTo>
                    <a:pt x="428625" y="100965"/>
                    <a:pt x="430530" y="99060"/>
                    <a:pt x="432435" y="99060"/>
                  </a:cubicBezTo>
                  <a:close/>
                  <a:moveTo>
                    <a:pt x="293370" y="97155"/>
                  </a:moveTo>
                  <a:cubicBezTo>
                    <a:pt x="294323" y="97155"/>
                    <a:pt x="295275" y="98107"/>
                    <a:pt x="295275" y="99060"/>
                  </a:cubicBezTo>
                  <a:cubicBezTo>
                    <a:pt x="295275" y="100012"/>
                    <a:pt x="294323" y="100965"/>
                    <a:pt x="293370" y="100965"/>
                  </a:cubicBezTo>
                  <a:cubicBezTo>
                    <a:pt x="292418" y="100965"/>
                    <a:pt x="291465" y="100012"/>
                    <a:pt x="291465" y="99060"/>
                  </a:cubicBezTo>
                  <a:cubicBezTo>
                    <a:pt x="291465" y="98107"/>
                    <a:pt x="292418" y="97155"/>
                    <a:pt x="293370" y="97155"/>
                  </a:cubicBezTo>
                  <a:close/>
                  <a:moveTo>
                    <a:pt x="374332" y="71437"/>
                  </a:moveTo>
                  <a:cubicBezTo>
                    <a:pt x="376238" y="71437"/>
                    <a:pt x="377190" y="72389"/>
                    <a:pt x="377190" y="74294"/>
                  </a:cubicBezTo>
                  <a:cubicBezTo>
                    <a:pt x="377190" y="76200"/>
                    <a:pt x="376238" y="77152"/>
                    <a:pt x="374332" y="77152"/>
                  </a:cubicBezTo>
                  <a:cubicBezTo>
                    <a:pt x="373380" y="77152"/>
                    <a:pt x="371475" y="76200"/>
                    <a:pt x="371475" y="74294"/>
                  </a:cubicBezTo>
                  <a:cubicBezTo>
                    <a:pt x="371475" y="72389"/>
                    <a:pt x="372427" y="71437"/>
                    <a:pt x="374332" y="71437"/>
                  </a:cubicBezTo>
                  <a:close/>
                  <a:moveTo>
                    <a:pt x="459105" y="49530"/>
                  </a:moveTo>
                  <a:cubicBezTo>
                    <a:pt x="460057" y="49530"/>
                    <a:pt x="461010" y="50482"/>
                    <a:pt x="461010" y="51435"/>
                  </a:cubicBezTo>
                  <a:cubicBezTo>
                    <a:pt x="461010" y="52387"/>
                    <a:pt x="460057" y="53340"/>
                    <a:pt x="459105" y="53340"/>
                  </a:cubicBezTo>
                  <a:cubicBezTo>
                    <a:pt x="458152" y="53340"/>
                    <a:pt x="457200" y="52387"/>
                    <a:pt x="457200" y="51435"/>
                  </a:cubicBezTo>
                  <a:cubicBezTo>
                    <a:pt x="457200" y="50482"/>
                    <a:pt x="458152" y="49530"/>
                    <a:pt x="459105" y="49530"/>
                  </a:cubicBezTo>
                  <a:close/>
                  <a:moveTo>
                    <a:pt x="546735" y="29527"/>
                  </a:moveTo>
                  <a:cubicBezTo>
                    <a:pt x="546735" y="29527"/>
                    <a:pt x="547688" y="29527"/>
                    <a:pt x="547688" y="30480"/>
                  </a:cubicBezTo>
                  <a:cubicBezTo>
                    <a:pt x="547688" y="30480"/>
                    <a:pt x="547688" y="31432"/>
                    <a:pt x="546735" y="31432"/>
                  </a:cubicBezTo>
                  <a:cubicBezTo>
                    <a:pt x="545783" y="31432"/>
                    <a:pt x="545783" y="30480"/>
                    <a:pt x="545783" y="30480"/>
                  </a:cubicBezTo>
                  <a:cubicBezTo>
                    <a:pt x="545783" y="30480"/>
                    <a:pt x="545783" y="29527"/>
                    <a:pt x="546735" y="29527"/>
                  </a:cubicBezTo>
                  <a:close/>
                  <a:moveTo>
                    <a:pt x="401002" y="20955"/>
                  </a:moveTo>
                  <a:cubicBezTo>
                    <a:pt x="402908" y="20955"/>
                    <a:pt x="403860" y="21907"/>
                    <a:pt x="403860" y="23812"/>
                  </a:cubicBezTo>
                  <a:cubicBezTo>
                    <a:pt x="403860" y="25718"/>
                    <a:pt x="402908" y="26670"/>
                    <a:pt x="401002" y="26670"/>
                  </a:cubicBezTo>
                  <a:cubicBezTo>
                    <a:pt x="399098" y="26670"/>
                    <a:pt x="398145" y="24765"/>
                    <a:pt x="398145" y="23812"/>
                  </a:cubicBezTo>
                  <a:cubicBezTo>
                    <a:pt x="398145" y="21907"/>
                    <a:pt x="399098" y="20955"/>
                    <a:pt x="401002" y="20955"/>
                  </a:cubicBezTo>
                  <a:close/>
                  <a:moveTo>
                    <a:pt x="488632" y="0"/>
                  </a:moveTo>
                  <a:cubicBezTo>
                    <a:pt x="489585" y="0"/>
                    <a:pt x="490537" y="953"/>
                    <a:pt x="490537" y="1905"/>
                  </a:cubicBezTo>
                  <a:cubicBezTo>
                    <a:pt x="490537" y="2857"/>
                    <a:pt x="489585" y="3810"/>
                    <a:pt x="488632" y="3810"/>
                  </a:cubicBezTo>
                  <a:cubicBezTo>
                    <a:pt x="487680" y="3810"/>
                    <a:pt x="486727" y="2857"/>
                    <a:pt x="486727" y="1905"/>
                  </a:cubicBezTo>
                  <a:cubicBezTo>
                    <a:pt x="486727" y="953"/>
                    <a:pt x="487680" y="0"/>
                    <a:pt x="488632" y="0"/>
                  </a:cubicBezTo>
                  <a:close/>
                </a:path>
              </a:pathLst>
            </a:custGeom>
            <a:gradFill flip="none" rotWithShape="1">
              <a:gsLst>
                <a:gs pos="24000">
                  <a:schemeClr val="bg2">
                    <a:alpha val="0"/>
                  </a:schemeClr>
                </a:gs>
                <a:gs pos="60000">
                  <a:schemeClr val="accent1"/>
                </a:gs>
                <a:gs pos="100000">
                  <a:schemeClr val="tx1"/>
                </a:gs>
              </a:gsLst>
              <a:lin ang="6000000" scaled="0"/>
              <a:tileRect/>
            </a:gradFill>
            <a:ln w="9525" cap="flat">
              <a:noFill/>
              <a:prstDash val="solid"/>
              <a:miter/>
            </a:ln>
          </p:spPr>
          <p:txBody>
            <a:bodyPr rtlCol="0" anchor="ctr"/>
            <a:lstStyle/>
            <a:p>
              <a:endParaRPr lang="en-US" sz="1765"/>
            </a:p>
          </p:txBody>
        </p:sp>
        <p:sp>
          <p:nvSpPr>
            <p:cNvPr id="20" name="Arc 19">
              <a:extLst>
                <a:ext uri="{FF2B5EF4-FFF2-40B4-BE49-F238E27FC236}">
                  <a16:creationId xmlns:a16="http://schemas.microsoft.com/office/drawing/2014/main" id="{1B97DF40-6A86-422B-BB89-890185F87C7C}"/>
                </a:ext>
              </a:extLst>
            </p:cNvPr>
            <p:cNvSpPr/>
            <p:nvPr/>
          </p:nvSpPr>
          <p:spPr>
            <a:xfrm>
              <a:off x="8626032" y="3004457"/>
              <a:ext cx="3380472" cy="3380468"/>
            </a:xfrm>
            <a:prstGeom prst="arc">
              <a:avLst>
                <a:gd name="adj1" fmla="val 19456930"/>
                <a:gd name="adj2" fmla="val 15711231"/>
              </a:avLst>
            </a:prstGeom>
            <a:ln w="28575">
              <a:gradFill flip="none" rotWithShape="1">
                <a:gsLst>
                  <a:gs pos="0">
                    <a:schemeClr val="accent1">
                      <a:lumMod val="5000"/>
                      <a:lumOff val="95000"/>
                      <a:alpha val="18000"/>
                    </a:schemeClr>
                  </a:gs>
                  <a:gs pos="80000">
                    <a:schemeClr val="tx1">
                      <a:alpha val="0"/>
                    </a:schemeClr>
                  </a:gs>
                </a:gsLst>
                <a:lin ang="17400000" scaled="0"/>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21" name="Arc 20">
              <a:extLst>
                <a:ext uri="{FF2B5EF4-FFF2-40B4-BE49-F238E27FC236}">
                  <a16:creationId xmlns:a16="http://schemas.microsoft.com/office/drawing/2014/main" id="{712E344D-4A4F-424D-A7F9-27CC87CD8050}"/>
                </a:ext>
              </a:extLst>
            </p:cNvPr>
            <p:cNvSpPr/>
            <p:nvPr/>
          </p:nvSpPr>
          <p:spPr>
            <a:xfrm>
              <a:off x="9137222" y="3515646"/>
              <a:ext cx="2358092" cy="2358090"/>
            </a:xfrm>
            <a:prstGeom prst="arc">
              <a:avLst>
                <a:gd name="adj1" fmla="val 20014949"/>
                <a:gd name="adj2" fmla="val 15711231"/>
              </a:avLst>
            </a:prstGeom>
            <a:ln w="19050">
              <a:gradFill flip="none" rotWithShape="1">
                <a:gsLst>
                  <a:gs pos="0">
                    <a:schemeClr val="accent1">
                      <a:lumMod val="5000"/>
                      <a:lumOff val="95000"/>
                      <a:alpha val="56000"/>
                    </a:schemeClr>
                  </a:gs>
                  <a:gs pos="80000">
                    <a:schemeClr val="tx1">
                      <a:alpha val="0"/>
                    </a:schemeClr>
                  </a:gs>
                </a:gsLst>
                <a:lin ang="17400000" scaled="0"/>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sp>
        <p:nvSpPr>
          <p:cNvPr id="4290" name="Freeform: Shape 4289">
            <a:extLst>
              <a:ext uri="{FF2B5EF4-FFF2-40B4-BE49-F238E27FC236}">
                <a16:creationId xmlns:a16="http://schemas.microsoft.com/office/drawing/2014/main" id="{10F9628C-3C9D-48EA-B9F4-10EBF3662526}"/>
              </a:ext>
              <a:ext uri="{C183D7F6-B498-43B3-948B-1728B52AA6E4}">
                <adec:decorative xmlns:adec="http://schemas.microsoft.com/office/drawing/2017/decorative" val="1"/>
              </a:ext>
            </a:extLst>
          </p:cNvPr>
          <p:cNvSpPr/>
          <p:nvPr/>
        </p:nvSpPr>
        <p:spPr>
          <a:xfrm>
            <a:off x="-14861" y="2"/>
            <a:ext cx="3828888" cy="3337197"/>
          </a:xfrm>
          <a:custGeom>
            <a:avLst/>
            <a:gdLst>
              <a:gd name="connsiteX0" fmla="*/ 59039 w 3905665"/>
              <a:gd name="connsiteY0" fmla="*/ 3396225 h 3403632"/>
              <a:gd name="connsiteX1" fmla="*/ 62742 w 3905665"/>
              <a:gd name="connsiteY1" fmla="*/ 3399928 h 3403632"/>
              <a:gd name="connsiteX2" fmla="*/ 59039 w 3905665"/>
              <a:gd name="connsiteY2" fmla="*/ 3403632 h 3403632"/>
              <a:gd name="connsiteX3" fmla="*/ 55336 w 3905665"/>
              <a:gd name="connsiteY3" fmla="*/ 3399928 h 3403632"/>
              <a:gd name="connsiteX4" fmla="*/ 59039 w 3905665"/>
              <a:gd name="connsiteY4" fmla="*/ 3396225 h 3403632"/>
              <a:gd name="connsiteX5" fmla="*/ 175052 w 3905665"/>
              <a:gd name="connsiteY5" fmla="*/ 3387585 h 3403632"/>
              <a:gd name="connsiteX6" fmla="*/ 179001 w 3905665"/>
              <a:gd name="connsiteY6" fmla="*/ 3391534 h 3403632"/>
              <a:gd name="connsiteX7" fmla="*/ 175052 w 3905665"/>
              <a:gd name="connsiteY7" fmla="*/ 3395484 h 3403632"/>
              <a:gd name="connsiteX8" fmla="*/ 171103 w 3905665"/>
              <a:gd name="connsiteY8" fmla="*/ 3391534 h 3403632"/>
              <a:gd name="connsiteX9" fmla="*/ 175052 w 3905665"/>
              <a:gd name="connsiteY9" fmla="*/ 3387585 h 3403632"/>
              <a:gd name="connsiteX10" fmla="*/ 290815 w 3905665"/>
              <a:gd name="connsiteY10" fmla="*/ 3375737 h 3403632"/>
              <a:gd name="connsiteX11" fmla="*/ 295013 w 3905665"/>
              <a:gd name="connsiteY11" fmla="*/ 3379933 h 3403632"/>
              <a:gd name="connsiteX12" fmla="*/ 290815 w 3905665"/>
              <a:gd name="connsiteY12" fmla="*/ 3384128 h 3403632"/>
              <a:gd name="connsiteX13" fmla="*/ 286620 w 3905665"/>
              <a:gd name="connsiteY13" fmla="*/ 3379933 h 3403632"/>
              <a:gd name="connsiteX14" fmla="*/ 290815 w 3905665"/>
              <a:gd name="connsiteY14" fmla="*/ 3375737 h 3403632"/>
              <a:gd name="connsiteX15" fmla="*/ 406333 w 3905665"/>
              <a:gd name="connsiteY15" fmla="*/ 3360435 h 3403632"/>
              <a:gd name="connsiteX16" fmla="*/ 410777 w 3905665"/>
              <a:gd name="connsiteY16" fmla="*/ 3364877 h 3403632"/>
              <a:gd name="connsiteX17" fmla="*/ 406333 w 3905665"/>
              <a:gd name="connsiteY17" fmla="*/ 3369321 h 3403632"/>
              <a:gd name="connsiteX18" fmla="*/ 401891 w 3905665"/>
              <a:gd name="connsiteY18" fmla="*/ 3364877 h 3403632"/>
              <a:gd name="connsiteX19" fmla="*/ 406333 w 3905665"/>
              <a:gd name="connsiteY19" fmla="*/ 3360435 h 3403632"/>
              <a:gd name="connsiteX20" fmla="*/ 521111 w 3905665"/>
              <a:gd name="connsiteY20" fmla="*/ 3341921 h 3403632"/>
              <a:gd name="connsiteX21" fmla="*/ 525799 w 3905665"/>
              <a:gd name="connsiteY21" fmla="*/ 3346611 h 3403632"/>
              <a:gd name="connsiteX22" fmla="*/ 521111 w 3905665"/>
              <a:gd name="connsiteY22" fmla="*/ 3351302 h 3403632"/>
              <a:gd name="connsiteX23" fmla="*/ 516421 w 3905665"/>
              <a:gd name="connsiteY23" fmla="*/ 3346611 h 3403632"/>
              <a:gd name="connsiteX24" fmla="*/ 521111 w 3905665"/>
              <a:gd name="connsiteY24" fmla="*/ 3341921 h 3403632"/>
              <a:gd name="connsiteX25" fmla="*/ 635402 w 3905665"/>
              <a:gd name="connsiteY25" fmla="*/ 3319951 h 3403632"/>
              <a:gd name="connsiteX26" fmla="*/ 640337 w 3905665"/>
              <a:gd name="connsiteY26" fmla="*/ 3324888 h 3403632"/>
              <a:gd name="connsiteX27" fmla="*/ 635402 w 3905665"/>
              <a:gd name="connsiteY27" fmla="*/ 3329825 h 3403632"/>
              <a:gd name="connsiteX28" fmla="*/ 630464 w 3905665"/>
              <a:gd name="connsiteY28" fmla="*/ 3324888 h 3403632"/>
              <a:gd name="connsiteX29" fmla="*/ 635402 w 3905665"/>
              <a:gd name="connsiteY29" fmla="*/ 3319951 h 3403632"/>
              <a:gd name="connsiteX30" fmla="*/ 749190 w 3905665"/>
              <a:gd name="connsiteY30" fmla="*/ 3295022 h 3403632"/>
              <a:gd name="connsiteX31" fmla="*/ 754377 w 3905665"/>
              <a:gd name="connsiteY31" fmla="*/ 3300205 h 3403632"/>
              <a:gd name="connsiteX32" fmla="*/ 749190 w 3905665"/>
              <a:gd name="connsiteY32" fmla="*/ 3305388 h 3403632"/>
              <a:gd name="connsiteX33" fmla="*/ 744008 w 3905665"/>
              <a:gd name="connsiteY33" fmla="*/ 3300205 h 3403632"/>
              <a:gd name="connsiteX34" fmla="*/ 749190 w 3905665"/>
              <a:gd name="connsiteY34" fmla="*/ 3295022 h 3403632"/>
              <a:gd name="connsiteX35" fmla="*/ 58542 w 3905665"/>
              <a:gd name="connsiteY35" fmla="*/ 3287864 h 3403632"/>
              <a:gd name="connsiteX36" fmla="*/ 61999 w 3905665"/>
              <a:gd name="connsiteY36" fmla="*/ 3291319 h 3403632"/>
              <a:gd name="connsiteX37" fmla="*/ 58542 w 3905665"/>
              <a:gd name="connsiteY37" fmla="*/ 3294776 h 3403632"/>
              <a:gd name="connsiteX38" fmla="*/ 55087 w 3905665"/>
              <a:gd name="connsiteY38" fmla="*/ 3291319 h 3403632"/>
              <a:gd name="connsiteX39" fmla="*/ 58542 w 3905665"/>
              <a:gd name="connsiteY39" fmla="*/ 3287864 h 3403632"/>
              <a:gd name="connsiteX40" fmla="*/ 174803 w 3905665"/>
              <a:gd name="connsiteY40" fmla="*/ 3278732 h 3403632"/>
              <a:gd name="connsiteX41" fmla="*/ 178507 w 3905665"/>
              <a:gd name="connsiteY41" fmla="*/ 3282435 h 3403632"/>
              <a:gd name="connsiteX42" fmla="*/ 174803 w 3905665"/>
              <a:gd name="connsiteY42" fmla="*/ 3286136 h 3403632"/>
              <a:gd name="connsiteX43" fmla="*/ 171100 w 3905665"/>
              <a:gd name="connsiteY43" fmla="*/ 3282435 h 3403632"/>
              <a:gd name="connsiteX44" fmla="*/ 174803 w 3905665"/>
              <a:gd name="connsiteY44" fmla="*/ 3278732 h 3403632"/>
              <a:gd name="connsiteX45" fmla="*/ 290567 w 3905665"/>
              <a:gd name="connsiteY45" fmla="*/ 3266884 h 3403632"/>
              <a:gd name="connsiteX46" fmla="*/ 294270 w 3905665"/>
              <a:gd name="connsiteY46" fmla="*/ 3270587 h 3403632"/>
              <a:gd name="connsiteX47" fmla="*/ 290567 w 3905665"/>
              <a:gd name="connsiteY47" fmla="*/ 3274288 h 3403632"/>
              <a:gd name="connsiteX48" fmla="*/ 286864 w 3905665"/>
              <a:gd name="connsiteY48" fmla="*/ 3270587 h 3403632"/>
              <a:gd name="connsiteX49" fmla="*/ 290567 w 3905665"/>
              <a:gd name="connsiteY49" fmla="*/ 3266884 h 3403632"/>
              <a:gd name="connsiteX50" fmla="*/ 861997 w 3905665"/>
              <a:gd name="connsiteY50" fmla="*/ 3266635 h 3403632"/>
              <a:gd name="connsiteX51" fmla="*/ 867426 w 3905665"/>
              <a:gd name="connsiteY51" fmla="*/ 3272067 h 3403632"/>
              <a:gd name="connsiteX52" fmla="*/ 861997 w 3905665"/>
              <a:gd name="connsiteY52" fmla="*/ 3277496 h 3403632"/>
              <a:gd name="connsiteX53" fmla="*/ 856564 w 3905665"/>
              <a:gd name="connsiteY53" fmla="*/ 3272067 h 3403632"/>
              <a:gd name="connsiteX54" fmla="*/ 861997 w 3905665"/>
              <a:gd name="connsiteY54" fmla="*/ 3266635 h 3403632"/>
              <a:gd name="connsiteX55" fmla="*/ 406084 w 3905665"/>
              <a:gd name="connsiteY55" fmla="*/ 3251333 h 3403632"/>
              <a:gd name="connsiteX56" fmla="*/ 409785 w 3905665"/>
              <a:gd name="connsiteY56" fmla="*/ 3255036 h 3403632"/>
              <a:gd name="connsiteX57" fmla="*/ 406084 w 3905665"/>
              <a:gd name="connsiteY57" fmla="*/ 3258737 h 3403632"/>
              <a:gd name="connsiteX58" fmla="*/ 402381 w 3905665"/>
              <a:gd name="connsiteY58" fmla="*/ 3255036 h 3403632"/>
              <a:gd name="connsiteX59" fmla="*/ 406084 w 3905665"/>
              <a:gd name="connsiteY59" fmla="*/ 3251333 h 3403632"/>
              <a:gd name="connsiteX60" fmla="*/ 974058 w 3905665"/>
              <a:gd name="connsiteY60" fmla="*/ 3235040 h 3403632"/>
              <a:gd name="connsiteX61" fmla="*/ 979734 w 3905665"/>
              <a:gd name="connsiteY61" fmla="*/ 3240718 h 3403632"/>
              <a:gd name="connsiteX62" fmla="*/ 974058 w 3905665"/>
              <a:gd name="connsiteY62" fmla="*/ 3246396 h 3403632"/>
              <a:gd name="connsiteX63" fmla="*/ 968380 w 3905665"/>
              <a:gd name="connsiteY63" fmla="*/ 3240718 h 3403632"/>
              <a:gd name="connsiteX64" fmla="*/ 974058 w 3905665"/>
              <a:gd name="connsiteY64" fmla="*/ 3235040 h 3403632"/>
              <a:gd name="connsiteX65" fmla="*/ 520860 w 3905665"/>
              <a:gd name="connsiteY65" fmla="*/ 3232327 h 3403632"/>
              <a:gd name="connsiteX66" fmla="*/ 524809 w 3905665"/>
              <a:gd name="connsiteY66" fmla="*/ 3236277 h 3403632"/>
              <a:gd name="connsiteX67" fmla="*/ 520860 w 3905665"/>
              <a:gd name="connsiteY67" fmla="*/ 3240226 h 3403632"/>
              <a:gd name="connsiteX68" fmla="*/ 516910 w 3905665"/>
              <a:gd name="connsiteY68" fmla="*/ 3236277 h 3403632"/>
              <a:gd name="connsiteX69" fmla="*/ 520860 w 3905665"/>
              <a:gd name="connsiteY69" fmla="*/ 3232327 h 3403632"/>
              <a:gd name="connsiteX70" fmla="*/ 635153 w 3905665"/>
              <a:gd name="connsiteY70" fmla="*/ 3210357 h 3403632"/>
              <a:gd name="connsiteX71" fmla="*/ 639099 w 3905665"/>
              <a:gd name="connsiteY71" fmla="*/ 3214307 h 3403632"/>
              <a:gd name="connsiteX72" fmla="*/ 635153 w 3905665"/>
              <a:gd name="connsiteY72" fmla="*/ 3218256 h 3403632"/>
              <a:gd name="connsiteX73" fmla="*/ 631202 w 3905665"/>
              <a:gd name="connsiteY73" fmla="*/ 3214307 h 3403632"/>
              <a:gd name="connsiteX74" fmla="*/ 635153 w 3905665"/>
              <a:gd name="connsiteY74" fmla="*/ 3210357 h 3403632"/>
              <a:gd name="connsiteX75" fmla="*/ 1085117 w 3905665"/>
              <a:gd name="connsiteY75" fmla="*/ 3200237 h 3403632"/>
              <a:gd name="connsiteX76" fmla="*/ 1091041 w 3905665"/>
              <a:gd name="connsiteY76" fmla="*/ 3206161 h 3403632"/>
              <a:gd name="connsiteX77" fmla="*/ 1085117 w 3905665"/>
              <a:gd name="connsiteY77" fmla="*/ 3212085 h 3403632"/>
              <a:gd name="connsiteX78" fmla="*/ 1079193 w 3905665"/>
              <a:gd name="connsiteY78" fmla="*/ 3206161 h 3403632"/>
              <a:gd name="connsiteX79" fmla="*/ 1085117 w 3905665"/>
              <a:gd name="connsiteY79" fmla="*/ 3200237 h 3403632"/>
              <a:gd name="connsiteX80" fmla="*/ 748941 w 3905665"/>
              <a:gd name="connsiteY80" fmla="*/ 3184440 h 3403632"/>
              <a:gd name="connsiteX81" fmla="*/ 752890 w 3905665"/>
              <a:gd name="connsiteY81" fmla="*/ 3188636 h 3403632"/>
              <a:gd name="connsiteX82" fmla="*/ 748941 w 3905665"/>
              <a:gd name="connsiteY82" fmla="*/ 3192831 h 3403632"/>
              <a:gd name="connsiteX83" fmla="*/ 744746 w 3905665"/>
              <a:gd name="connsiteY83" fmla="*/ 3188636 h 3403632"/>
              <a:gd name="connsiteX84" fmla="*/ 748941 w 3905665"/>
              <a:gd name="connsiteY84" fmla="*/ 3184440 h 3403632"/>
              <a:gd name="connsiteX85" fmla="*/ 58788 w 3905665"/>
              <a:gd name="connsiteY85" fmla="*/ 3178269 h 3403632"/>
              <a:gd name="connsiteX86" fmla="*/ 62984 w 3905665"/>
              <a:gd name="connsiteY86" fmla="*/ 3182465 h 3403632"/>
              <a:gd name="connsiteX87" fmla="*/ 58788 w 3905665"/>
              <a:gd name="connsiteY87" fmla="*/ 3186660 h 3403632"/>
              <a:gd name="connsiteX88" fmla="*/ 54593 w 3905665"/>
              <a:gd name="connsiteY88" fmla="*/ 3182465 h 3403632"/>
              <a:gd name="connsiteX89" fmla="*/ 58788 w 3905665"/>
              <a:gd name="connsiteY89" fmla="*/ 3178269 h 3403632"/>
              <a:gd name="connsiteX90" fmla="*/ 174798 w 3905665"/>
              <a:gd name="connsiteY90" fmla="*/ 3169137 h 3403632"/>
              <a:gd name="connsiteX91" fmla="*/ 179242 w 3905665"/>
              <a:gd name="connsiteY91" fmla="*/ 3173579 h 3403632"/>
              <a:gd name="connsiteX92" fmla="*/ 174798 w 3905665"/>
              <a:gd name="connsiteY92" fmla="*/ 3178023 h 3403632"/>
              <a:gd name="connsiteX93" fmla="*/ 170356 w 3905665"/>
              <a:gd name="connsiteY93" fmla="*/ 3173579 h 3403632"/>
              <a:gd name="connsiteX94" fmla="*/ 174798 w 3905665"/>
              <a:gd name="connsiteY94" fmla="*/ 3169137 h 3403632"/>
              <a:gd name="connsiteX95" fmla="*/ 1195210 w 3905665"/>
              <a:gd name="connsiteY95" fmla="*/ 3162472 h 3403632"/>
              <a:gd name="connsiteX96" fmla="*/ 1201383 w 3905665"/>
              <a:gd name="connsiteY96" fmla="*/ 3168642 h 3403632"/>
              <a:gd name="connsiteX97" fmla="*/ 1195210 w 3905665"/>
              <a:gd name="connsiteY97" fmla="*/ 3174815 h 3403632"/>
              <a:gd name="connsiteX98" fmla="*/ 1189040 w 3905665"/>
              <a:gd name="connsiteY98" fmla="*/ 3168642 h 3403632"/>
              <a:gd name="connsiteX99" fmla="*/ 1195210 w 3905665"/>
              <a:gd name="connsiteY99" fmla="*/ 3162472 h 3403632"/>
              <a:gd name="connsiteX100" fmla="*/ 290810 w 3905665"/>
              <a:gd name="connsiteY100" fmla="*/ 3156302 h 3403632"/>
              <a:gd name="connsiteX101" fmla="*/ 295746 w 3905665"/>
              <a:gd name="connsiteY101" fmla="*/ 3161239 h 3403632"/>
              <a:gd name="connsiteX102" fmla="*/ 290810 w 3905665"/>
              <a:gd name="connsiteY102" fmla="*/ 3166175 h 3403632"/>
              <a:gd name="connsiteX103" fmla="*/ 285873 w 3905665"/>
              <a:gd name="connsiteY103" fmla="*/ 3161239 h 3403632"/>
              <a:gd name="connsiteX104" fmla="*/ 290810 w 3905665"/>
              <a:gd name="connsiteY104" fmla="*/ 3156302 h 3403632"/>
              <a:gd name="connsiteX105" fmla="*/ 861745 w 3905665"/>
              <a:gd name="connsiteY105" fmla="*/ 3155561 h 3403632"/>
              <a:gd name="connsiteX106" fmla="*/ 865941 w 3905665"/>
              <a:gd name="connsiteY106" fmla="*/ 3159757 h 3403632"/>
              <a:gd name="connsiteX107" fmla="*/ 861745 w 3905665"/>
              <a:gd name="connsiteY107" fmla="*/ 3163952 h 3403632"/>
              <a:gd name="connsiteX108" fmla="*/ 857549 w 3905665"/>
              <a:gd name="connsiteY108" fmla="*/ 3159757 h 3403632"/>
              <a:gd name="connsiteX109" fmla="*/ 861745 w 3905665"/>
              <a:gd name="connsiteY109" fmla="*/ 3155561 h 3403632"/>
              <a:gd name="connsiteX110" fmla="*/ 406328 w 3905665"/>
              <a:gd name="connsiteY110" fmla="*/ 3140256 h 3403632"/>
              <a:gd name="connsiteX111" fmla="*/ 411514 w 3905665"/>
              <a:gd name="connsiteY111" fmla="*/ 3145439 h 3403632"/>
              <a:gd name="connsiteX112" fmla="*/ 406328 w 3905665"/>
              <a:gd name="connsiteY112" fmla="*/ 3150625 h 3403632"/>
              <a:gd name="connsiteX113" fmla="*/ 401145 w 3905665"/>
              <a:gd name="connsiteY113" fmla="*/ 3145439 h 3403632"/>
              <a:gd name="connsiteX114" fmla="*/ 406328 w 3905665"/>
              <a:gd name="connsiteY114" fmla="*/ 3140256 h 3403632"/>
              <a:gd name="connsiteX115" fmla="*/ 973560 w 3905665"/>
              <a:gd name="connsiteY115" fmla="*/ 3123473 h 3403632"/>
              <a:gd name="connsiteX116" fmla="*/ 977756 w 3905665"/>
              <a:gd name="connsiteY116" fmla="*/ 3127669 h 3403632"/>
              <a:gd name="connsiteX117" fmla="*/ 973560 w 3905665"/>
              <a:gd name="connsiteY117" fmla="*/ 3131864 h 3403632"/>
              <a:gd name="connsiteX118" fmla="*/ 969364 w 3905665"/>
              <a:gd name="connsiteY118" fmla="*/ 3127669 h 3403632"/>
              <a:gd name="connsiteX119" fmla="*/ 973560 w 3905665"/>
              <a:gd name="connsiteY119" fmla="*/ 3123473 h 3403632"/>
              <a:gd name="connsiteX120" fmla="*/ 1304315 w 3905665"/>
              <a:gd name="connsiteY120" fmla="*/ 3121496 h 3403632"/>
              <a:gd name="connsiteX121" fmla="*/ 1310732 w 3905665"/>
              <a:gd name="connsiteY121" fmla="*/ 3127915 h 3403632"/>
              <a:gd name="connsiteX122" fmla="*/ 1304315 w 3905665"/>
              <a:gd name="connsiteY122" fmla="*/ 3134086 h 3403632"/>
              <a:gd name="connsiteX123" fmla="*/ 1297897 w 3905665"/>
              <a:gd name="connsiteY123" fmla="*/ 3127915 h 3403632"/>
              <a:gd name="connsiteX124" fmla="*/ 1304315 w 3905665"/>
              <a:gd name="connsiteY124" fmla="*/ 3121496 h 3403632"/>
              <a:gd name="connsiteX125" fmla="*/ 521104 w 3905665"/>
              <a:gd name="connsiteY125" fmla="*/ 3120263 h 3403632"/>
              <a:gd name="connsiteX126" fmla="*/ 526782 w 3905665"/>
              <a:gd name="connsiteY126" fmla="*/ 3125941 h 3403632"/>
              <a:gd name="connsiteX127" fmla="*/ 521104 w 3905665"/>
              <a:gd name="connsiteY127" fmla="*/ 3131616 h 3403632"/>
              <a:gd name="connsiteX128" fmla="*/ 515426 w 3905665"/>
              <a:gd name="connsiteY128" fmla="*/ 3125941 h 3403632"/>
              <a:gd name="connsiteX129" fmla="*/ 521104 w 3905665"/>
              <a:gd name="connsiteY129" fmla="*/ 3120263 h 3403632"/>
              <a:gd name="connsiteX130" fmla="*/ 635396 w 3905665"/>
              <a:gd name="connsiteY130" fmla="*/ 3096813 h 3403632"/>
              <a:gd name="connsiteX131" fmla="*/ 641319 w 3905665"/>
              <a:gd name="connsiteY131" fmla="*/ 3102983 h 3403632"/>
              <a:gd name="connsiteX132" fmla="*/ 635396 w 3905665"/>
              <a:gd name="connsiteY132" fmla="*/ 3109156 h 3403632"/>
              <a:gd name="connsiteX133" fmla="*/ 629226 w 3905665"/>
              <a:gd name="connsiteY133" fmla="*/ 3102983 h 3403632"/>
              <a:gd name="connsiteX134" fmla="*/ 635396 w 3905665"/>
              <a:gd name="connsiteY134" fmla="*/ 3096813 h 3403632"/>
              <a:gd name="connsiteX135" fmla="*/ 1084377 w 3905665"/>
              <a:gd name="connsiteY135" fmla="*/ 3087681 h 3403632"/>
              <a:gd name="connsiteX136" fmla="*/ 1088818 w 3905665"/>
              <a:gd name="connsiteY136" fmla="*/ 3092125 h 3403632"/>
              <a:gd name="connsiteX137" fmla="*/ 1084377 w 3905665"/>
              <a:gd name="connsiteY137" fmla="*/ 3096567 h 3403632"/>
              <a:gd name="connsiteX138" fmla="*/ 1079932 w 3905665"/>
              <a:gd name="connsiteY138" fmla="*/ 3092125 h 3403632"/>
              <a:gd name="connsiteX139" fmla="*/ 1084377 w 3905665"/>
              <a:gd name="connsiteY139" fmla="*/ 3087681 h 3403632"/>
              <a:gd name="connsiteX140" fmla="*/ 1411939 w 3905665"/>
              <a:gd name="connsiteY140" fmla="*/ 3077066 h 3403632"/>
              <a:gd name="connsiteX141" fmla="*/ 1418602 w 3905665"/>
              <a:gd name="connsiteY141" fmla="*/ 3083731 h 3403632"/>
              <a:gd name="connsiteX142" fmla="*/ 1411939 w 3905665"/>
              <a:gd name="connsiteY142" fmla="*/ 3090397 h 3403632"/>
              <a:gd name="connsiteX143" fmla="*/ 1405274 w 3905665"/>
              <a:gd name="connsiteY143" fmla="*/ 3083731 h 3403632"/>
              <a:gd name="connsiteX144" fmla="*/ 1411939 w 3905665"/>
              <a:gd name="connsiteY144" fmla="*/ 3077066 h 3403632"/>
              <a:gd name="connsiteX145" fmla="*/ 748939 w 3905665"/>
              <a:gd name="connsiteY145" fmla="*/ 3070650 h 3403632"/>
              <a:gd name="connsiteX146" fmla="*/ 755356 w 3905665"/>
              <a:gd name="connsiteY146" fmla="*/ 3077069 h 3403632"/>
              <a:gd name="connsiteX147" fmla="*/ 748939 w 3905665"/>
              <a:gd name="connsiteY147" fmla="*/ 3083485 h 3403632"/>
              <a:gd name="connsiteX148" fmla="*/ 742520 w 3905665"/>
              <a:gd name="connsiteY148" fmla="*/ 3077069 h 3403632"/>
              <a:gd name="connsiteX149" fmla="*/ 748939 w 3905665"/>
              <a:gd name="connsiteY149" fmla="*/ 3070650 h 3403632"/>
              <a:gd name="connsiteX150" fmla="*/ 57552 w 3905665"/>
              <a:gd name="connsiteY150" fmla="*/ 3069662 h 3403632"/>
              <a:gd name="connsiteX151" fmla="*/ 61502 w 3905665"/>
              <a:gd name="connsiteY151" fmla="*/ 3073611 h 3403632"/>
              <a:gd name="connsiteX152" fmla="*/ 57552 w 3905665"/>
              <a:gd name="connsiteY152" fmla="*/ 3077561 h 3403632"/>
              <a:gd name="connsiteX153" fmla="*/ 53603 w 3905665"/>
              <a:gd name="connsiteY153" fmla="*/ 3073611 h 3403632"/>
              <a:gd name="connsiteX154" fmla="*/ 57552 w 3905665"/>
              <a:gd name="connsiteY154" fmla="*/ 3069662 h 3403632"/>
              <a:gd name="connsiteX155" fmla="*/ 173069 w 3905665"/>
              <a:gd name="connsiteY155" fmla="*/ 3060530 h 3403632"/>
              <a:gd name="connsiteX156" fmla="*/ 177265 w 3905665"/>
              <a:gd name="connsiteY156" fmla="*/ 3064726 h 3403632"/>
              <a:gd name="connsiteX157" fmla="*/ 173069 w 3905665"/>
              <a:gd name="connsiteY157" fmla="*/ 3068921 h 3403632"/>
              <a:gd name="connsiteX158" fmla="*/ 168874 w 3905665"/>
              <a:gd name="connsiteY158" fmla="*/ 3064726 h 3403632"/>
              <a:gd name="connsiteX159" fmla="*/ 173069 w 3905665"/>
              <a:gd name="connsiteY159" fmla="*/ 3060530 h 3403632"/>
              <a:gd name="connsiteX160" fmla="*/ 1194221 w 3905665"/>
              <a:gd name="connsiteY160" fmla="*/ 3049174 h 3403632"/>
              <a:gd name="connsiteX161" fmla="*/ 1198665 w 3905665"/>
              <a:gd name="connsiteY161" fmla="*/ 3053616 h 3403632"/>
              <a:gd name="connsiteX162" fmla="*/ 1194221 w 3905665"/>
              <a:gd name="connsiteY162" fmla="*/ 3058060 h 3403632"/>
              <a:gd name="connsiteX163" fmla="*/ 1189779 w 3905665"/>
              <a:gd name="connsiteY163" fmla="*/ 3053616 h 3403632"/>
              <a:gd name="connsiteX164" fmla="*/ 1194221 w 3905665"/>
              <a:gd name="connsiteY164" fmla="*/ 3049174 h 3403632"/>
              <a:gd name="connsiteX165" fmla="*/ 288585 w 3905665"/>
              <a:gd name="connsiteY165" fmla="*/ 3047695 h 3403632"/>
              <a:gd name="connsiteX166" fmla="*/ 293029 w 3905665"/>
              <a:gd name="connsiteY166" fmla="*/ 3052137 h 3403632"/>
              <a:gd name="connsiteX167" fmla="*/ 288585 w 3905665"/>
              <a:gd name="connsiteY167" fmla="*/ 3056581 h 3403632"/>
              <a:gd name="connsiteX168" fmla="*/ 284143 w 3905665"/>
              <a:gd name="connsiteY168" fmla="*/ 3052137 h 3403632"/>
              <a:gd name="connsiteX169" fmla="*/ 288585 w 3905665"/>
              <a:gd name="connsiteY169" fmla="*/ 3047695 h 3403632"/>
              <a:gd name="connsiteX170" fmla="*/ 861496 w 3905665"/>
              <a:gd name="connsiteY170" fmla="*/ 3040288 h 3403632"/>
              <a:gd name="connsiteX171" fmla="*/ 868407 w 3905665"/>
              <a:gd name="connsiteY171" fmla="*/ 3047199 h 3403632"/>
              <a:gd name="connsiteX172" fmla="*/ 861496 w 3905665"/>
              <a:gd name="connsiteY172" fmla="*/ 3054111 h 3403632"/>
              <a:gd name="connsiteX173" fmla="*/ 854584 w 3905665"/>
              <a:gd name="connsiteY173" fmla="*/ 3047199 h 3403632"/>
              <a:gd name="connsiteX174" fmla="*/ 861496 w 3905665"/>
              <a:gd name="connsiteY174" fmla="*/ 3040288 h 3403632"/>
              <a:gd name="connsiteX175" fmla="*/ 403364 w 3905665"/>
              <a:gd name="connsiteY175" fmla="*/ 3031402 h 3403632"/>
              <a:gd name="connsiteX176" fmla="*/ 408054 w 3905665"/>
              <a:gd name="connsiteY176" fmla="*/ 3036092 h 3403632"/>
              <a:gd name="connsiteX177" fmla="*/ 403364 w 3905665"/>
              <a:gd name="connsiteY177" fmla="*/ 3040783 h 3403632"/>
              <a:gd name="connsiteX178" fmla="*/ 398673 w 3905665"/>
              <a:gd name="connsiteY178" fmla="*/ 3036092 h 3403632"/>
              <a:gd name="connsiteX179" fmla="*/ 403364 w 3905665"/>
              <a:gd name="connsiteY179" fmla="*/ 3031402 h 3403632"/>
              <a:gd name="connsiteX180" fmla="*/ 1518326 w 3905665"/>
              <a:gd name="connsiteY180" fmla="*/ 3030169 h 3403632"/>
              <a:gd name="connsiteX181" fmla="*/ 1524991 w 3905665"/>
              <a:gd name="connsiteY181" fmla="*/ 3036834 h 3403632"/>
              <a:gd name="connsiteX182" fmla="*/ 1518326 w 3905665"/>
              <a:gd name="connsiteY182" fmla="*/ 3043746 h 3403632"/>
              <a:gd name="connsiteX183" fmla="*/ 1511414 w 3905665"/>
              <a:gd name="connsiteY183" fmla="*/ 3036834 h 3403632"/>
              <a:gd name="connsiteX184" fmla="*/ 1518326 w 3905665"/>
              <a:gd name="connsiteY184" fmla="*/ 3030169 h 3403632"/>
              <a:gd name="connsiteX185" fmla="*/ 517648 w 3905665"/>
              <a:gd name="connsiteY185" fmla="*/ 3011163 h 3403632"/>
              <a:gd name="connsiteX186" fmla="*/ 522831 w 3905665"/>
              <a:gd name="connsiteY186" fmla="*/ 3016100 h 3403632"/>
              <a:gd name="connsiteX187" fmla="*/ 517648 w 3905665"/>
              <a:gd name="connsiteY187" fmla="*/ 3021283 h 3403632"/>
              <a:gd name="connsiteX188" fmla="*/ 512465 w 3905665"/>
              <a:gd name="connsiteY188" fmla="*/ 3016100 h 3403632"/>
              <a:gd name="connsiteX189" fmla="*/ 517648 w 3905665"/>
              <a:gd name="connsiteY189" fmla="*/ 3011163 h 3403632"/>
              <a:gd name="connsiteX190" fmla="*/ 973311 w 3905665"/>
              <a:gd name="connsiteY190" fmla="*/ 3006968 h 3403632"/>
              <a:gd name="connsiteX191" fmla="*/ 980472 w 3905665"/>
              <a:gd name="connsiteY191" fmla="*/ 3014126 h 3403632"/>
              <a:gd name="connsiteX192" fmla="*/ 973311 w 3905665"/>
              <a:gd name="connsiteY192" fmla="*/ 3021283 h 3403632"/>
              <a:gd name="connsiteX193" fmla="*/ 966154 w 3905665"/>
              <a:gd name="connsiteY193" fmla="*/ 3014126 h 3403632"/>
              <a:gd name="connsiteX194" fmla="*/ 973311 w 3905665"/>
              <a:gd name="connsiteY194" fmla="*/ 3006968 h 3403632"/>
              <a:gd name="connsiteX195" fmla="*/ 1302830 w 3905665"/>
              <a:gd name="connsiteY195" fmla="*/ 3006719 h 3403632"/>
              <a:gd name="connsiteX196" fmla="*/ 1307518 w 3905665"/>
              <a:gd name="connsiteY196" fmla="*/ 3011409 h 3403632"/>
              <a:gd name="connsiteX197" fmla="*/ 1302830 w 3905665"/>
              <a:gd name="connsiteY197" fmla="*/ 3016100 h 3403632"/>
              <a:gd name="connsiteX198" fmla="*/ 1298140 w 3905665"/>
              <a:gd name="connsiteY198" fmla="*/ 3011409 h 3403632"/>
              <a:gd name="connsiteX199" fmla="*/ 1302830 w 3905665"/>
              <a:gd name="connsiteY199" fmla="*/ 3006719 h 3403632"/>
              <a:gd name="connsiteX200" fmla="*/ 631443 w 3905665"/>
              <a:gd name="connsiteY200" fmla="*/ 2987467 h 3403632"/>
              <a:gd name="connsiteX201" fmla="*/ 636873 w 3905665"/>
              <a:gd name="connsiteY201" fmla="*/ 2992899 h 3403632"/>
              <a:gd name="connsiteX202" fmla="*/ 631443 w 3905665"/>
              <a:gd name="connsiteY202" fmla="*/ 2998328 h 3403632"/>
              <a:gd name="connsiteX203" fmla="*/ 626012 w 3905665"/>
              <a:gd name="connsiteY203" fmla="*/ 2992899 h 3403632"/>
              <a:gd name="connsiteX204" fmla="*/ 631443 w 3905665"/>
              <a:gd name="connsiteY204" fmla="*/ 2987467 h 3403632"/>
              <a:gd name="connsiteX205" fmla="*/ 1623482 w 3905665"/>
              <a:gd name="connsiteY205" fmla="*/ 2980061 h 3403632"/>
              <a:gd name="connsiteX206" fmla="*/ 1630639 w 3905665"/>
              <a:gd name="connsiteY206" fmla="*/ 2986973 h 3403632"/>
              <a:gd name="connsiteX207" fmla="*/ 1623482 w 3905665"/>
              <a:gd name="connsiteY207" fmla="*/ 2994130 h 3403632"/>
              <a:gd name="connsiteX208" fmla="*/ 1616570 w 3905665"/>
              <a:gd name="connsiteY208" fmla="*/ 2986973 h 3403632"/>
              <a:gd name="connsiteX209" fmla="*/ 1623482 w 3905665"/>
              <a:gd name="connsiteY209" fmla="*/ 2980061 h 3403632"/>
              <a:gd name="connsiteX210" fmla="*/ 1083879 w 3905665"/>
              <a:gd name="connsiteY210" fmla="*/ 2969941 h 3403632"/>
              <a:gd name="connsiteX211" fmla="*/ 1091530 w 3905665"/>
              <a:gd name="connsiteY211" fmla="*/ 2977593 h 3403632"/>
              <a:gd name="connsiteX212" fmla="*/ 1083879 w 3905665"/>
              <a:gd name="connsiteY212" fmla="*/ 2985243 h 3403632"/>
              <a:gd name="connsiteX213" fmla="*/ 1076228 w 3905665"/>
              <a:gd name="connsiteY213" fmla="*/ 2977593 h 3403632"/>
              <a:gd name="connsiteX214" fmla="*/ 1083879 w 3905665"/>
              <a:gd name="connsiteY214" fmla="*/ 2969941 h 3403632"/>
              <a:gd name="connsiteX215" fmla="*/ 1410208 w 3905665"/>
              <a:gd name="connsiteY215" fmla="*/ 2961796 h 3403632"/>
              <a:gd name="connsiteX216" fmla="*/ 1414898 w 3905665"/>
              <a:gd name="connsiteY216" fmla="*/ 2966484 h 3403632"/>
              <a:gd name="connsiteX217" fmla="*/ 1410208 w 3905665"/>
              <a:gd name="connsiteY217" fmla="*/ 2971174 h 3403632"/>
              <a:gd name="connsiteX218" fmla="*/ 1405517 w 3905665"/>
              <a:gd name="connsiteY218" fmla="*/ 2966484 h 3403632"/>
              <a:gd name="connsiteX219" fmla="*/ 1410208 w 3905665"/>
              <a:gd name="connsiteY219" fmla="*/ 2961796 h 3403632"/>
              <a:gd name="connsiteX220" fmla="*/ 57055 w 3905665"/>
              <a:gd name="connsiteY220" fmla="*/ 2961550 h 3403632"/>
              <a:gd name="connsiteX221" fmla="*/ 60758 w 3905665"/>
              <a:gd name="connsiteY221" fmla="*/ 2965005 h 3403632"/>
              <a:gd name="connsiteX222" fmla="*/ 57055 w 3905665"/>
              <a:gd name="connsiteY222" fmla="*/ 2968708 h 3403632"/>
              <a:gd name="connsiteX223" fmla="*/ 53352 w 3905665"/>
              <a:gd name="connsiteY223" fmla="*/ 2965005 h 3403632"/>
              <a:gd name="connsiteX224" fmla="*/ 57055 w 3905665"/>
              <a:gd name="connsiteY224" fmla="*/ 2961550 h 3403632"/>
              <a:gd name="connsiteX225" fmla="*/ 744248 w 3905665"/>
              <a:gd name="connsiteY225" fmla="*/ 2960314 h 3403632"/>
              <a:gd name="connsiteX226" fmla="*/ 749923 w 3905665"/>
              <a:gd name="connsiteY226" fmla="*/ 2965992 h 3403632"/>
              <a:gd name="connsiteX227" fmla="*/ 744248 w 3905665"/>
              <a:gd name="connsiteY227" fmla="*/ 2971670 h 3403632"/>
              <a:gd name="connsiteX228" fmla="*/ 738570 w 3905665"/>
              <a:gd name="connsiteY228" fmla="*/ 2965992 h 3403632"/>
              <a:gd name="connsiteX229" fmla="*/ 744248 w 3905665"/>
              <a:gd name="connsiteY229" fmla="*/ 2960314 h 3403632"/>
              <a:gd name="connsiteX230" fmla="*/ 172821 w 3905665"/>
              <a:gd name="connsiteY230" fmla="*/ 2951923 h 3403632"/>
              <a:gd name="connsiteX231" fmla="*/ 176524 w 3905665"/>
              <a:gd name="connsiteY231" fmla="*/ 2955626 h 3403632"/>
              <a:gd name="connsiteX232" fmla="*/ 172821 w 3905665"/>
              <a:gd name="connsiteY232" fmla="*/ 2959330 h 3403632"/>
              <a:gd name="connsiteX233" fmla="*/ 169118 w 3905665"/>
              <a:gd name="connsiteY233" fmla="*/ 2955626 h 3403632"/>
              <a:gd name="connsiteX234" fmla="*/ 172821 w 3905665"/>
              <a:gd name="connsiteY234" fmla="*/ 2951923 h 3403632"/>
              <a:gd name="connsiteX235" fmla="*/ 288336 w 3905665"/>
              <a:gd name="connsiteY235" fmla="*/ 2938592 h 3403632"/>
              <a:gd name="connsiteX236" fmla="*/ 292286 w 3905665"/>
              <a:gd name="connsiteY236" fmla="*/ 2942541 h 3403632"/>
              <a:gd name="connsiteX237" fmla="*/ 288336 w 3905665"/>
              <a:gd name="connsiteY237" fmla="*/ 2946491 h 3403632"/>
              <a:gd name="connsiteX238" fmla="*/ 284387 w 3905665"/>
              <a:gd name="connsiteY238" fmla="*/ 2942541 h 3403632"/>
              <a:gd name="connsiteX239" fmla="*/ 288336 w 3905665"/>
              <a:gd name="connsiteY239" fmla="*/ 2938592 h 3403632"/>
              <a:gd name="connsiteX240" fmla="*/ 1193231 w 3905665"/>
              <a:gd name="connsiteY240" fmla="*/ 2929955 h 3403632"/>
              <a:gd name="connsiteX241" fmla="*/ 1201376 w 3905665"/>
              <a:gd name="connsiteY241" fmla="*/ 2937854 h 3403632"/>
              <a:gd name="connsiteX242" fmla="*/ 1193231 w 3905665"/>
              <a:gd name="connsiteY242" fmla="*/ 2945999 h 3403632"/>
              <a:gd name="connsiteX243" fmla="*/ 1185332 w 3905665"/>
              <a:gd name="connsiteY243" fmla="*/ 2937854 h 3403632"/>
              <a:gd name="connsiteX244" fmla="*/ 1193231 w 3905665"/>
              <a:gd name="connsiteY244" fmla="*/ 2929955 h 3403632"/>
              <a:gd name="connsiteX245" fmla="*/ 856310 w 3905665"/>
              <a:gd name="connsiteY245" fmla="*/ 2929955 h 3403632"/>
              <a:gd name="connsiteX246" fmla="*/ 862235 w 3905665"/>
              <a:gd name="connsiteY246" fmla="*/ 2935879 h 3403632"/>
              <a:gd name="connsiteX247" fmla="*/ 856310 w 3905665"/>
              <a:gd name="connsiteY247" fmla="*/ 2941803 h 3403632"/>
              <a:gd name="connsiteX248" fmla="*/ 850386 w 3905665"/>
              <a:gd name="connsiteY248" fmla="*/ 2935879 h 3403632"/>
              <a:gd name="connsiteX249" fmla="*/ 856310 w 3905665"/>
              <a:gd name="connsiteY249" fmla="*/ 2929955 h 3403632"/>
              <a:gd name="connsiteX250" fmla="*/ 1726904 w 3905665"/>
              <a:gd name="connsiteY250" fmla="*/ 2926993 h 3403632"/>
              <a:gd name="connsiteX251" fmla="*/ 1734063 w 3905665"/>
              <a:gd name="connsiteY251" fmla="*/ 2934151 h 3403632"/>
              <a:gd name="connsiteX252" fmla="*/ 1726904 w 3905665"/>
              <a:gd name="connsiteY252" fmla="*/ 2941308 h 3403632"/>
              <a:gd name="connsiteX253" fmla="*/ 1719746 w 3905665"/>
              <a:gd name="connsiteY253" fmla="*/ 2934151 h 3403632"/>
              <a:gd name="connsiteX254" fmla="*/ 1726904 w 3905665"/>
              <a:gd name="connsiteY254" fmla="*/ 2926993 h 3403632"/>
              <a:gd name="connsiteX255" fmla="*/ 403115 w 3905665"/>
              <a:gd name="connsiteY255" fmla="*/ 2922054 h 3403632"/>
              <a:gd name="connsiteX256" fmla="*/ 407064 w 3905665"/>
              <a:gd name="connsiteY256" fmla="*/ 2926004 h 3403632"/>
              <a:gd name="connsiteX257" fmla="*/ 403115 w 3905665"/>
              <a:gd name="connsiteY257" fmla="*/ 2929953 h 3403632"/>
              <a:gd name="connsiteX258" fmla="*/ 399166 w 3905665"/>
              <a:gd name="connsiteY258" fmla="*/ 2926004 h 3403632"/>
              <a:gd name="connsiteX259" fmla="*/ 403115 w 3905665"/>
              <a:gd name="connsiteY259" fmla="*/ 2922054 h 3403632"/>
              <a:gd name="connsiteX260" fmla="*/ 1516102 w 3905665"/>
              <a:gd name="connsiteY260" fmla="*/ 2913417 h 3403632"/>
              <a:gd name="connsiteX261" fmla="*/ 1520793 w 3905665"/>
              <a:gd name="connsiteY261" fmla="*/ 2918108 h 3403632"/>
              <a:gd name="connsiteX262" fmla="*/ 1516102 w 3905665"/>
              <a:gd name="connsiteY262" fmla="*/ 2923045 h 3403632"/>
              <a:gd name="connsiteX263" fmla="*/ 1511165 w 3905665"/>
              <a:gd name="connsiteY263" fmla="*/ 2918108 h 3403632"/>
              <a:gd name="connsiteX264" fmla="*/ 1516102 w 3905665"/>
              <a:gd name="connsiteY264" fmla="*/ 2913417 h 3403632"/>
              <a:gd name="connsiteX265" fmla="*/ 517396 w 3905665"/>
              <a:gd name="connsiteY265" fmla="*/ 2901569 h 3403632"/>
              <a:gd name="connsiteX266" fmla="*/ 521592 w 3905665"/>
              <a:gd name="connsiteY266" fmla="*/ 2905765 h 3403632"/>
              <a:gd name="connsiteX267" fmla="*/ 517396 w 3905665"/>
              <a:gd name="connsiteY267" fmla="*/ 2909960 h 3403632"/>
              <a:gd name="connsiteX268" fmla="*/ 513201 w 3905665"/>
              <a:gd name="connsiteY268" fmla="*/ 2905765 h 3403632"/>
              <a:gd name="connsiteX269" fmla="*/ 517396 w 3905665"/>
              <a:gd name="connsiteY269" fmla="*/ 2901569 h 3403632"/>
              <a:gd name="connsiteX270" fmla="*/ 967385 w 3905665"/>
              <a:gd name="connsiteY270" fmla="*/ 2896137 h 3403632"/>
              <a:gd name="connsiteX271" fmla="*/ 973557 w 3905665"/>
              <a:gd name="connsiteY271" fmla="*/ 2902307 h 3403632"/>
              <a:gd name="connsiteX272" fmla="*/ 967385 w 3905665"/>
              <a:gd name="connsiteY272" fmla="*/ 2908480 h 3403632"/>
              <a:gd name="connsiteX273" fmla="*/ 961215 w 3905665"/>
              <a:gd name="connsiteY273" fmla="*/ 2902307 h 3403632"/>
              <a:gd name="connsiteX274" fmla="*/ 967385 w 3905665"/>
              <a:gd name="connsiteY274" fmla="*/ 2896137 h 3403632"/>
              <a:gd name="connsiteX275" fmla="*/ 1301595 w 3905665"/>
              <a:gd name="connsiteY275" fmla="*/ 2886510 h 3403632"/>
              <a:gd name="connsiteX276" fmla="*/ 1309986 w 3905665"/>
              <a:gd name="connsiteY276" fmla="*/ 2894901 h 3403632"/>
              <a:gd name="connsiteX277" fmla="*/ 1301595 w 3905665"/>
              <a:gd name="connsiteY277" fmla="*/ 2903295 h 3403632"/>
              <a:gd name="connsiteX278" fmla="*/ 1293201 w 3905665"/>
              <a:gd name="connsiteY278" fmla="*/ 2894901 h 3403632"/>
              <a:gd name="connsiteX279" fmla="*/ 1301595 w 3905665"/>
              <a:gd name="connsiteY279" fmla="*/ 2886510 h 3403632"/>
              <a:gd name="connsiteX280" fmla="*/ 630946 w 3905665"/>
              <a:gd name="connsiteY280" fmla="*/ 2877626 h 3403632"/>
              <a:gd name="connsiteX281" fmla="*/ 635391 w 3905665"/>
              <a:gd name="connsiteY281" fmla="*/ 2881822 h 3403632"/>
              <a:gd name="connsiteX282" fmla="*/ 630946 w 3905665"/>
              <a:gd name="connsiteY282" fmla="*/ 2886017 h 3403632"/>
              <a:gd name="connsiteX283" fmla="*/ 626750 w 3905665"/>
              <a:gd name="connsiteY283" fmla="*/ 2881822 h 3403632"/>
              <a:gd name="connsiteX284" fmla="*/ 630946 w 3905665"/>
              <a:gd name="connsiteY284" fmla="*/ 2877626 h 3403632"/>
              <a:gd name="connsiteX285" fmla="*/ 1829091 w 3905665"/>
              <a:gd name="connsiteY285" fmla="*/ 2870961 h 3403632"/>
              <a:gd name="connsiteX286" fmla="*/ 1836491 w 3905665"/>
              <a:gd name="connsiteY286" fmla="*/ 2878367 h 3403632"/>
              <a:gd name="connsiteX287" fmla="*/ 1829091 w 3905665"/>
              <a:gd name="connsiteY287" fmla="*/ 2885771 h 3403632"/>
              <a:gd name="connsiteX288" fmla="*/ 1821682 w 3905665"/>
              <a:gd name="connsiteY288" fmla="*/ 2878367 h 3403632"/>
              <a:gd name="connsiteX289" fmla="*/ 1829091 w 3905665"/>
              <a:gd name="connsiteY289" fmla="*/ 2870961 h 3403632"/>
              <a:gd name="connsiteX290" fmla="*/ 1620517 w 3905665"/>
              <a:gd name="connsiteY290" fmla="*/ 2862075 h 3403632"/>
              <a:gd name="connsiteX291" fmla="*/ 1625454 w 3905665"/>
              <a:gd name="connsiteY291" fmla="*/ 2867012 h 3403632"/>
              <a:gd name="connsiteX292" fmla="*/ 1620517 w 3905665"/>
              <a:gd name="connsiteY292" fmla="*/ 2871949 h 3403632"/>
              <a:gd name="connsiteX293" fmla="*/ 1615580 w 3905665"/>
              <a:gd name="connsiteY293" fmla="*/ 2867012 h 3403632"/>
              <a:gd name="connsiteX294" fmla="*/ 1620517 w 3905665"/>
              <a:gd name="connsiteY294" fmla="*/ 2862075 h 3403632"/>
              <a:gd name="connsiteX295" fmla="*/ 1077215 w 3905665"/>
              <a:gd name="connsiteY295" fmla="*/ 2858372 h 3403632"/>
              <a:gd name="connsiteX296" fmla="*/ 1083879 w 3905665"/>
              <a:gd name="connsiteY296" fmla="*/ 2865038 h 3403632"/>
              <a:gd name="connsiteX297" fmla="*/ 1077215 w 3905665"/>
              <a:gd name="connsiteY297" fmla="*/ 2871454 h 3403632"/>
              <a:gd name="connsiteX298" fmla="*/ 1070550 w 3905665"/>
              <a:gd name="connsiteY298" fmla="*/ 2865038 h 3403632"/>
              <a:gd name="connsiteX299" fmla="*/ 1077215 w 3905665"/>
              <a:gd name="connsiteY299" fmla="*/ 2858372 h 3403632"/>
              <a:gd name="connsiteX300" fmla="*/ 56804 w 3905665"/>
              <a:gd name="connsiteY300" fmla="*/ 2852943 h 3403632"/>
              <a:gd name="connsiteX301" fmla="*/ 60014 w 3905665"/>
              <a:gd name="connsiteY301" fmla="*/ 2856152 h 3403632"/>
              <a:gd name="connsiteX302" fmla="*/ 56804 w 3905665"/>
              <a:gd name="connsiteY302" fmla="*/ 2859609 h 3403632"/>
              <a:gd name="connsiteX303" fmla="*/ 53349 w 3905665"/>
              <a:gd name="connsiteY303" fmla="*/ 2856152 h 3403632"/>
              <a:gd name="connsiteX304" fmla="*/ 56804 w 3905665"/>
              <a:gd name="connsiteY304" fmla="*/ 2852943 h 3403632"/>
              <a:gd name="connsiteX305" fmla="*/ 743749 w 3905665"/>
              <a:gd name="connsiteY305" fmla="*/ 2849732 h 3403632"/>
              <a:gd name="connsiteX306" fmla="*/ 748193 w 3905665"/>
              <a:gd name="connsiteY306" fmla="*/ 2854174 h 3403632"/>
              <a:gd name="connsiteX307" fmla="*/ 743749 w 3905665"/>
              <a:gd name="connsiteY307" fmla="*/ 2858618 h 3403632"/>
              <a:gd name="connsiteX308" fmla="*/ 739307 w 3905665"/>
              <a:gd name="connsiteY308" fmla="*/ 2854174 h 3403632"/>
              <a:gd name="connsiteX309" fmla="*/ 743749 w 3905665"/>
              <a:gd name="connsiteY309" fmla="*/ 2849732 h 3403632"/>
              <a:gd name="connsiteX310" fmla="*/ 172570 w 3905665"/>
              <a:gd name="connsiteY310" fmla="*/ 2843067 h 3403632"/>
              <a:gd name="connsiteX311" fmla="*/ 176027 w 3905665"/>
              <a:gd name="connsiteY311" fmla="*/ 2846524 h 3403632"/>
              <a:gd name="connsiteX312" fmla="*/ 172570 w 3905665"/>
              <a:gd name="connsiteY312" fmla="*/ 2849979 h 3403632"/>
              <a:gd name="connsiteX313" fmla="*/ 169115 w 3905665"/>
              <a:gd name="connsiteY313" fmla="*/ 2846524 h 3403632"/>
              <a:gd name="connsiteX314" fmla="*/ 172570 w 3905665"/>
              <a:gd name="connsiteY314" fmla="*/ 2843067 h 3403632"/>
              <a:gd name="connsiteX315" fmla="*/ 1408477 w 3905665"/>
              <a:gd name="connsiteY315" fmla="*/ 2839612 h 3403632"/>
              <a:gd name="connsiteX316" fmla="*/ 1417363 w 3905665"/>
              <a:gd name="connsiteY316" fmla="*/ 2848498 h 3403632"/>
              <a:gd name="connsiteX317" fmla="*/ 1408477 w 3905665"/>
              <a:gd name="connsiteY317" fmla="*/ 2857384 h 3403632"/>
              <a:gd name="connsiteX318" fmla="*/ 1399591 w 3905665"/>
              <a:gd name="connsiteY318" fmla="*/ 2848498 h 3403632"/>
              <a:gd name="connsiteX319" fmla="*/ 1408477 w 3905665"/>
              <a:gd name="connsiteY319" fmla="*/ 2839612 h 3403632"/>
              <a:gd name="connsiteX320" fmla="*/ 288088 w 3905665"/>
              <a:gd name="connsiteY320" fmla="*/ 2829739 h 3403632"/>
              <a:gd name="connsiteX321" fmla="*/ 291545 w 3905665"/>
              <a:gd name="connsiteY321" fmla="*/ 2833194 h 3403632"/>
              <a:gd name="connsiteX322" fmla="*/ 288088 w 3905665"/>
              <a:gd name="connsiteY322" fmla="*/ 2836651 h 3403632"/>
              <a:gd name="connsiteX323" fmla="*/ 284633 w 3905665"/>
              <a:gd name="connsiteY323" fmla="*/ 2833194 h 3403632"/>
              <a:gd name="connsiteX324" fmla="*/ 288088 w 3905665"/>
              <a:gd name="connsiteY324" fmla="*/ 2829739 h 3403632"/>
              <a:gd name="connsiteX325" fmla="*/ 855566 w 3905665"/>
              <a:gd name="connsiteY325" fmla="*/ 2818383 h 3403632"/>
              <a:gd name="connsiteX326" fmla="*/ 860008 w 3905665"/>
              <a:gd name="connsiteY326" fmla="*/ 2822827 h 3403632"/>
              <a:gd name="connsiteX327" fmla="*/ 855566 w 3905665"/>
              <a:gd name="connsiteY327" fmla="*/ 2827515 h 3403632"/>
              <a:gd name="connsiteX328" fmla="*/ 850876 w 3905665"/>
              <a:gd name="connsiteY328" fmla="*/ 2822827 h 3403632"/>
              <a:gd name="connsiteX329" fmla="*/ 855566 w 3905665"/>
              <a:gd name="connsiteY329" fmla="*/ 2818383 h 3403632"/>
              <a:gd name="connsiteX330" fmla="*/ 1185825 w 3905665"/>
              <a:gd name="connsiteY330" fmla="*/ 2817399 h 3403632"/>
              <a:gd name="connsiteX331" fmla="*/ 1192737 w 3905665"/>
              <a:gd name="connsiteY331" fmla="*/ 2824310 h 3403632"/>
              <a:gd name="connsiteX332" fmla="*/ 1185825 w 3905665"/>
              <a:gd name="connsiteY332" fmla="*/ 2831222 h 3403632"/>
              <a:gd name="connsiteX333" fmla="*/ 1178914 w 3905665"/>
              <a:gd name="connsiteY333" fmla="*/ 2824310 h 3403632"/>
              <a:gd name="connsiteX334" fmla="*/ 1185825 w 3905665"/>
              <a:gd name="connsiteY334" fmla="*/ 2817399 h 3403632"/>
              <a:gd name="connsiteX335" fmla="*/ 402864 w 3905665"/>
              <a:gd name="connsiteY335" fmla="*/ 2812459 h 3403632"/>
              <a:gd name="connsiteX336" fmla="*/ 406321 w 3905665"/>
              <a:gd name="connsiteY336" fmla="*/ 2815916 h 3403632"/>
              <a:gd name="connsiteX337" fmla="*/ 402864 w 3905665"/>
              <a:gd name="connsiteY337" fmla="*/ 2819371 h 3403632"/>
              <a:gd name="connsiteX338" fmla="*/ 399409 w 3905665"/>
              <a:gd name="connsiteY338" fmla="*/ 2815916 h 3403632"/>
              <a:gd name="connsiteX339" fmla="*/ 402864 w 3905665"/>
              <a:gd name="connsiteY339" fmla="*/ 2812459 h 3403632"/>
              <a:gd name="connsiteX340" fmla="*/ 1929299 w 3905665"/>
              <a:gd name="connsiteY340" fmla="*/ 2811967 h 3403632"/>
              <a:gd name="connsiteX341" fmla="*/ 1936943 w 3905665"/>
              <a:gd name="connsiteY341" fmla="*/ 2819619 h 3403632"/>
              <a:gd name="connsiteX342" fmla="*/ 1929299 w 3905665"/>
              <a:gd name="connsiteY342" fmla="*/ 2827269 h 3403632"/>
              <a:gd name="connsiteX343" fmla="*/ 1921652 w 3905665"/>
              <a:gd name="connsiteY343" fmla="*/ 2819619 h 3403632"/>
              <a:gd name="connsiteX344" fmla="*/ 1929299 w 3905665"/>
              <a:gd name="connsiteY344" fmla="*/ 2811967 h 3403632"/>
              <a:gd name="connsiteX345" fmla="*/ 1723447 w 3905665"/>
              <a:gd name="connsiteY345" fmla="*/ 2807771 h 3403632"/>
              <a:gd name="connsiteX346" fmla="*/ 1728381 w 3905665"/>
              <a:gd name="connsiteY346" fmla="*/ 2812708 h 3403632"/>
              <a:gd name="connsiteX347" fmla="*/ 1723447 w 3905665"/>
              <a:gd name="connsiteY347" fmla="*/ 2817645 h 3403632"/>
              <a:gd name="connsiteX348" fmla="*/ 1718509 w 3905665"/>
              <a:gd name="connsiteY348" fmla="*/ 2812708 h 3403632"/>
              <a:gd name="connsiteX349" fmla="*/ 1723447 w 3905665"/>
              <a:gd name="connsiteY349" fmla="*/ 2807771 h 3403632"/>
              <a:gd name="connsiteX350" fmla="*/ 517148 w 3905665"/>
              <a:gd name="connsiteY350" fmla="*/ 2791728 h 3403632"/>
              <a:gd name="connsiteX351" fmla="*/ 520605 w 3905665"/>
              <a:gd name="connsiteY351" fmla="*/ 2795185 h 3403632"/>
              <a:gd name="connsiteX352" fmla="*/ 517148 w 3905665"/>
              <a:gd name="connsiteY352" fmla="*/ 2798640 h 3403632"/>
              <a:gd name="connsiteX353" fmla="*/ 513693 w 3905665"/>
              <a:gd name="connsiteY353" fmla="*/ 2795185 h 3403632"/>
              <a:gd name="connsiteX354" fmla="*/ 517148 w 3905665"/>
              <a:gd name="connsiteY354" fmla="*/ 2791728 h 3403632"/>
              <a:gd name="connsiteX355" fmla="*/ 1513876 w 3905665"/>
              <a:gd name="connsiteY355" fmla="*/ 2789999 h 3403632"/>
              <a:gd name="connsiteX356" fmla="*/ 1523011 w 3905665"/>
              <a:gd name="connsiteY356" fmla="*/ 2799131 h 3403632"/>
              <a:gd name="connsiteX357" fmla="*/ 1513876 w 3905665"/>
              <a:gd name="connsiteY357" fmla="*/ 2808266 h 3403632"/>
              <a:gd name="connsiteX358" fmla="*/ 1504743 w 3905665"/>
              <a:gd name="connsiteY358" fmla="*/ 2799131 h 3403632"/>
              <a:gd name="connsiteX359" fmla="*/ 1513876 w 3905665"/>
              <a:gd name="connsiteY359" fmla="*/ 2789999 h 3403632"/>
              <a:gd name="connsiteX360" fmla="*/ 966395 w 3905665"/>
              <a:gd name="connsiteY360" fmla="*/ 2783580 h 3403632"/>
              <a:gd name="connsiteX361" fmla="*/ 971085 w 3905665"/>
              <a:gd name="connsiteY361" fmla="*/ 2788268 h 3403632"/>
              <a:gd name="connsiteX362" fmla="*/ 966395 w 3905665"/>
              <a:gd name="connsiteY362" fmla="*/ 2792958 h 3403632"/>
              <a:gd name="connsiteX363" fmla="*/ 961704 w 3905665"/>
              <a:gd name="connsiteY363" fmla="*/ 2788268 h 3403632"/>
              <a:gd name="connsiteX364" fmla="*/ 966395 w 3905665"/>
              <a:gd name="connsiteY364" fmla="*/ 2783580 h 3403632"/>
              <a:gd name="connsiteX365" fmla="*/ 1293199 w 3905665"/>
              <a:gd name="connsiteY365" fmla="*/ 2773215 h 3403632"/>
              <a:gd name="connsiteX366" fmla="*/ 1300359 w 3905665"/>
              <a:gd name="connsiteY366" fmla="*/ 2780373 h 3403632"/>
              <a:gd name="connsiteX367" fmla="*/ 1293199 w 3905665"/>
              <a:gd name="connsiteY367" fmla="*/ 2787530 h 3403632"/>
              <a:gd name="connsiteX368" fmla="*/ 1286042 w 3905665"/>
              <a:gd name="connsiteY368" fmla="*/ 2780373 h 3403632"/>
              <a:gd name="connsiteX369" fmla="*/ 1293199 w 3905665"/>
              <a:gd name="connsiteY369" fmla="*/ 2773215 h 3403632"/>
              <a:gd name="connsiteX370" fmla="*/ 630697 w 3905665"/>
              <a:gd name="connsiteY370" fmla="*/ 2767044 h 3403632"/>
              <a:gd name="connsiteX371" fmla="*/ 634156 w 3905665"/>
              <a:gd name="connsiteY371" fmla="*/ 2770501 h 3403632"/>
              <a:gd name="connsiteX372" fmla="*/ 630697 w 3905665"/>
              <a:gd name="connsiteY372" fmla="*/ 2773956 h 3403632"/>
              <a:gd name="connsiteX373" fmla="*/ 627243 w 3905665"/>
              <a:gd name="connsiteY373" fmla="*/ 2770501 h 3403632"/>
              <a:gd name="connsiteX374" fmla="*/ 630697 w 3905665"/>
              <a:gd name="connsiteY374" fmla="*/ 2767044 h 3403632"/>
              <a:gd name="connsiteX375" fmla="*/ 1824888 w 3905665"/>
              <a:gd name="connsiteY375" fmla="*/ 2750260 h 3403632"/>
              <a:gd name="connsiteX376" fmla="*/ 1830073 w 3905665"/>
              <a:gd name="connsiteY376" fmla="*/ 2755443 h 3403632"/>
              <a:gd name="connsiteX377" fmla="*/ 1824888 w 3905665"/>
              <a:gd name="connsiteY377" fmla="*/ 2760626 h 3403632"/>
              <a:gd name="connsiteX378" fmla="*/ 1819690 w 3905665"/>
              <a:gd name="connsiteY378" fmla="*/ 2755443 h 3403632"/>
              <a:gd name="connsiteX379" fmla="*/ 1824888 w 3905665"/>
              <a:gd name="connsiteY379" fmla="*/ 2750260 h 3403632"/>
              <a:gd name="connsiteX380" fmla="*/ 2027996 w 3905665"/>
              <a:gd name="connsiteY380" fmla="*/ 2749518 h 3403632"/>
              <a:gd name="connsiteX381" fmla="*/ 2036387 w 3905665"/>
              <a:gd name="connsiteY381" fmla="*/ 2757909 h 3403632"/>
              <a:gd name="connsiteX382" fmla="*/ 2027996 w 3905665"/>
              <a:gd name="connsiteY382" fmla="*/ 2766303 h 3403632"/>
              <a:gd name="connsiteX383" fmla="*/ 2019602 w 3905665"/>
              <a:gd name="connsiteY383" fmla="*/ 2757909 h 3403632"/>
              <a:gd name="connsiteX384" fmla="*/ 2027996 w 3905665"/>
              <a:gd name="connsiteY384" fmla="*/ 2749518 h 3403632"/>
              <a:gd name="connsiteX385" fmla="*/ 1075977 w 3905665"/>
              <a:gd name="connsiteY385" fmla="*/ 2745074 h 3403632"/>
              <a:gd name="connsiteX386" fmla="*/ 1080914 w 3905665"/>
              <a:gd name="connsiteY386" fmla="*/ 2750011 h 3403632"/>
              <a:gd name="connsiteX387" fmla="*/ 1075977 w 3905665"/>
              <a:gd name="connsiteY387" fmla="*/ 2754947 h 3403632"/>
              <a:gd name="connsiteX388" fmla="*/ 1071040 w 3905665"/>
              <a:gd name="connsiteY388" fmla="*/ 2750011 h 3403632"/>
              <a:gd name="connsiteX389" fmla="*/ 1075977 w 3905665"/>
              <a:gd name="connsiteY389" fmla="*/ 2745074 h 3403632"/>
              <a:gd name="connsiteX390" fmla="*/ 56804 w 3905665"/>
              <a:gd name="connsiteY390" fmla="*/ 2744333 h 3403632"/>
              <a:gd name="connsiteX391" fmla="*/ 59765 w 3905665"/>
              <a:gd name="connsiteY391" fmla="*/ 2747295 h 3403632"/>
              <a:gd name="connsiteX392" fmla="*/ 56804 w 3905665"/>
              <a:gd name="connsiteY392" fmla="*/ 2750257 h 3403632"/>
              <a:gd name="connsiteX393" fmla="*/ 54088 w 3905665"/>
              <a:gd name="connsiteY393" fmla="*/ 2747295 h 3403632"/>
              <a:gd name="connsiteX394" fmla="*/ 56804 w 3905665"/>
              <a:gd name="connsiteY394" fmla="*/ 2744333 h 3403632"/>
              <a:gd name="connsiteX395" fmla="*/ 743255 w 3905665"/>
              <a:gd name="connsiteY395" fmla="*/ 2738409 h 3403632"/>
              <a:gd name="connsiteX396" fmla="*/ 746711 w 3905665"/>
              <a:gd name="connsiteY396" fmla="*/ 2741866 h 3403632"/>
              <a:gd name="connsiteX397" fmla="*/ 743255 w 3905665"/>
              <a:gd name="connsiteY397" fmla="*/ 2745321 h 3403632"/>
              <a:gd name="connsiteX398" fmla="*/ 739799 w 3905665"/>
              <a:gd name="connsiteY398" fmla="*/ 2741866 h 3403632"/>
              <a:gd name="connsiteX399" fmla="*/ 743255 w 3905665"/>
              <a:gd name="connsiteY399" fmla="*/ 2738409 h 3403632"/>
              <a:gd name="connsiteX400" fmla="*/ 1617798 w 3905665"/>
              <a:gd name="connsiteY400" fmla="*/ 2736683 h 3403632"/>
              <a:gd name="connsiteX401" fmla="*/ 1627423 w 3905665"/>
              <a:gd name="connsiteY401" fmla="*/ 2746310 h 3403632"/>
              <a:gd name="connsiteX402" fmla="*/ 1617798 w 3905665"/>
              <a:gd name="connsiteY402" fmla="*/ 2755935 h 3403632"/>
              <a:gd name="connsiteX403" fmla="*/ 1608170 w 3905665"/>
              <a:gd name="connsiteY403" fmla="*/ 2746310 h 3403632"/>
              <a:gd name="connsiteX404" fmla="*/ 1617798 w 3905665"/>
              <a:gd name="connsiteY404" fmla="*/ 2736683 h 3403632"/>
              <a:gd name="connsiteX405" fmla="*/ 172570 w 3905665"/>
              <a:gd name="connsiteY405" fmla="*/ 2734708 h 3403632"/>
              <a:gd name="connsiteX406" fmla="*/ 175283 w 3905665"/>
              <a:gd name="connsiteY406" fmla="*/ 2737424 h 3403632"/>
              <a:gd name="connsiteX407" fmla="*/ 172570 w 3905665"/>
              <a:gd name="connsiteY407" fmla="*/ 2740140 h 3403632"/>
              <a:gd name="connsiteX408" fmla="*/ 170100 w 3905665"/>
              <a:gd name="connsiteY408" fmla="*/ 2737424 h 3403632"/>
              <a:gd name="connsiteX409" fmla="*/ 172570 w 3905665"/>
              <a:gd name="connsiteY409" fmla="*/ 2734708 h 3403632"/>
              <a:gd name="connsiteX410" fmla="*/ 1399096 w 3905665"/>
              <a:gd name="connsiteY410" fmla="*/ 2726068 h 3403632"/>
              <a:gd name="connsiteX411" fmla="*/ 1406499 w 3905665"/>
              <a:gd name="connsiteY411" fmla="*/ 2733474 h 3403632"/>
              <a:gd name="connsiteX412" fmla="*/ 1399096 w 3905665"/>
              <a:gd name="connsiteY412" fmla="*/ 2740878 h 3403632"/>
              <a:gd name="connsiteX413" fmla="*/ 1391689 w 3905665"/>
              <a:gd name="connsiteY413" fmla="*/ 2733474 h 3403632"/>
              <a:gd name="connsiteX414" fmla="*/ 1399096 w 3905665"/>
              <a:gd name="connsiteY414" fmla="*/ 2726068 h 3403632"/>
              <a:gd name="connsiteX415" fmla="*/ 288088 w 3905665"/>
              <a:gd name="connsiteY415" fmla="*/ 2721132 h 3403632"/>
              <a:gd name="connsiteX416" fmla="*/ 290555 w 3905665"/>
              <a:gd name="connsiteY416" fmla="*/ 2723599 h 3403632"/>
              <a:gd name="connsiteX417" fmla="*/ 288088 w 3905665"/>
              <a:gd name="connsiteY417" fmla="*/ 2726069 h 3403632"/>
              <a:gd name="connsiteX418" fmla="*/ 285618 w 3905665"/>
              <a:gd name="connsiteY418" fmla="*/ 2723599 h 3403632"/>
              <a:gd name="connsiteX419" fmla="*/ 288088 w 3905665"/>
              <a:gd name="connsiteY419" fmla="*/ 2721132 h 3403632"/>
              <a:gd name="connsiteX420" fmla="*/ 855068 w 3905665"/>
              <a:gd name="connsiteY420" fmla="*/ 2706322 h 3403632"/>
              <a:gd name="connsiteX421" fmla="*/ 858526 w 3905665"/>
              <a:gd name="connsiteY421" fmla="*/ 2709777 h 3403632"/>
              <a:gd name="connsiteX422" fmla="*/ 855068 w 3905665"/>
              <a:gd name="connsiteY422" fmla="*/ 2713234 h 3403632"/>
              <a:gd name="connsiteX423" fmla="*/ 851614 w 3905665"/>
              <a:gd name="connsiteY423" fmla="*/ 2709777 h 3403632"/>
              <a:gd name="connsiteX424" fmla="*/ 855068 w 3905665"/>
              <a:gd name="connsiteY424" fmla="*/ 2706322 h 3403632"/>
              <a:gd name="connsiteX425" fmla="*/ 403108 w 3905665"/>
              <a:gd name="connsiteY425" fmla="*/ 2703606 h 3403632"/>
              <a:gd name="connsiteX426" fmla="*/ 405332 w 3905665"/>
              <a:gd name="connsiteY426" fmla="*/ 2705827 h 3403632"/>
              <a:gd name="connsiteX427" fmla="*/ 403108 w 3905665"/>
              <a:gd name="connsiteY427" fmla="*/ 2708048 h 3403632"/>
              <a:gd name="connsiteX428" fmla="*/ 400887 w 3905665"/>
              <a:gd name="connsiteY428" fmla="*/ 2705827 h 3403632"/>
              <a:gd name="connsiteX429" fmla="*/ 403108 w 3905665"/>
              <a:gd name="connsiteY429" fmla="*/ 2703606 h 3403632"/>
              <a:gd name="connsiteX430" fmla="*/ 1184341 w 3905665"/>
              <a:gd name="connsiteY430" fmla="*/ 2703360 h 3403632"/>
              <a:gd name="connsiteX431" fmla="*/ 1189278 w 3905665"/>
              <a:gd name="connsiteY431" fmla="*/ 2708297 h 3403632"/>
              <a:gd name="connsiteX432" fmla="*/ 1184341 w 3905665"/>
              <a:gd name="connsiteY432" fmla="*/ 2713234 h 3403632"/>
              <a:gd name="connsiteX433" fmla="*/ 1179404 w 3905665"/>
              <a:gd name="connsiteY433" fmla="*/ 2708297 h 3403632"/>
              <a:gd name="connsiteX434" fmla="*/ 1184341 w 3905665"/>
              <a:gd name="connsiteY434" fmla="*/ 2703360 h 3403632"/>
              <a:gd name="connsiteX435" fmla="*/ 1924364 w 3905665"/>
              <a:gd name="connsiteY435" fmla="*/ 2689783 h 3403632"/>
              <a:gd name="connsiteX436" fmla="*/ 1930034 w 3905665"/>
              <a:gd name="connsiteY436" fmla="*/ 2695215 h 3403632"/>
              <a:gd name="connsiteX437" fmla="*/ 1924364 w 3905665"/>
              <a:gd name="connsiteY437" fmla="*/ 2700644 h 3403632"/>
              <a:gd name="connsiteX438" fmla="*/ 1918936 w 3905665"/>
              <a:gd name="connsiteY438" fmla="*/ 2695215 h 3403632"/>
              <a:gd name="connsiteX439" fmla="*/ 1924364 w 3905665"/>
              <a:gd name="connsiteY439" fmla="*/ 2689783 h 3403632"/>
              <a:gd name="connsiteX440" fmla="*/ 2125001 w 3905665"/>
              <a:gd name="connsiteY440" fmla="*/ 2684600 h 3403632"/>
              <a:gd name="connsiteX441" fmla="*/ 2134133 w 3905665"/>
              <a:gd name="connsiteY441" fmla="*/ 2693732 h 3403632"/>
              <a:gd name="connsiteX442" fmla="*/ 2125001 w 3905665"/>
              <a:gd name="connsiteY442" fmla="*/ 2702864 h 3403632"/>
              <a:gd name="connsiteX443" fmla="*/ 2115869 w 3905665"/>
              <a:gd name="connsiteY443" fmla="*/ 2693732 h 3403632"/>
              <a:gd name="connsiteX444" fmla="*/ 2125001 w 3905665"/>
              <a:gd name="connsiteY444" fmla="*/ 2684600 h 3403632"/>
              <a:gd name="connsiteX445" fmla="*/ 517146 w 3905665"/>
              <a:gd name="connsiteY445" fmla="*/ 2682379 h 3403632"/>
              <a:gd name="connsiteX446" fmla="*/ 519120 w 3905665"/>
              <a:gd name="connsiteY446" fmla="*/ 2684354 h 3403632"/>
              <a:gd name="connsiteX447" fmla="*/ 517146 w 3905665"/>
              <a:gd name="connsiteY447" fmla="*/ 2686328 h 3403632"/>
              <a:gd name="connsiteX448" fmla="*/ 515172 w 3905665"/>
              <a:gd name="connsiteY448" fmla="*/ 2684354 h 3403632"/>
              <a:gd name="connsiteX449" fmla="*/ 517146 w 3905665"/>
              <a:gd name="connsiteY449" fmla="*/ 2682379 h 3403632"/>
              <a:gd name="connsiteX450" fmla="*/ 1719988 w 3905665"/>
              <a:gd name="connsiteY450" fmla="*/ 2680405 h 3403632"/>
              <a:gd name="connsiteX451" fmla="*/ 1730110 w 3905665"/>
              <a:gd name="connsiteY451" fmla="*/ 2690525 h 3403632"/>
              <a:gd name="connsiteX452" fmla="*/ 1719988 w 3905665"/>
              <a:gd name="connsiteY452" fmla="*/ 2700398 h 3403632"/>
              <a:gd name="connsiteX453" fmla="*/ 1710116 w 3905665"/>
              <a:gd name="connsiteY453" fmla="*/ 2690525 h 3403632"/>
              <a:gd name="connsiteX454" fmla="*/ 1719988 w 3905665"/>
              <a:gd name="connsiteY454" fmla="*/ 2680405 h 3403632"/>
              <a:gd name="connsiteX455" fmla="*/ 1503507 w 3905665"/>
              <a:gd name="connsiteY455" fmla="*/ 2675219 h 3403632"/>
              <a:gd name="connsiteX456" fmla="*/ 1511157 w 3905665"/>
              <a:gd name="connsiteY456" fmla="*/ 2682871 h 3403632"/>
              <a:gd name="connsiteX457" fmla="*/ 1503507 w 3905665"/>
              <a:gd name="connsiteY457" fmla="*/ 2690521 h 3403632"/>
              <a:gd name="connsiteX458" fmla="*/ 1495855 w 3905665"/>
              <a:gd name="connsiteY458" fmla="*/ 2682871 h 3403632"/>
              <a:gd name="connsiteX459" fmla="*/ 1503507 w 3905665"/>
              <a:gd name="connsiteY459" fmla="*/ 2675219 h 3403632"/>
              <a:gd name="connsiteX460" fmla="*/ 965405 w 3905665"/>
              <a:gd name="connsiteY460" fmla="*/ 2670531 h 3403632"/>
              <a:gd name="connsiteX461" fmla="*/ 968862 w 3905665"/>
              <a:gd name="connsiteY461" fmla="*/ 2673988 h 3403632"/>
              <a:gd name="connsiteX462" fmla="*/ 965405 w 3905665"/>
              <a:gd name="connsiteY462" fmla="*/ 2677443 h 3403632"/>
              <a:gd name="connsiteX463" fmla="*/ 961951 w 3905665"/>
              <a:gd name="connsiteY463" fmla="*/ 2673988 h 3403632"/>
              <a:gd name="connsiteX464" fmla="*/ 965405 w 3905665"/>
              <a:gd name="connsiteY464" fmla="*/ 2670531 h 3403632"/>
              <a:gd name="connsiteX465" fmla="*/ 1291222 w 3905665"/>
              <a:gd name="connsiteY465" fmla="*/ 2657942 h 3403632"/>
              <a:gd name="connsiteX466" fmla="*/ 1296406 w 3905665"/>
              <a:gd name="connsiteY466" fmla="*/ 2663125 h 3403632"/>
              <a:gd name="connsiteX467" fmla="*/ 1291222 w 3905665"/>
              <a:gd name="connsiteY467" fmla="*/ 2668311 h 3403632"/>
              <a:gd name="connsiteX468" fmla="*/ 1286039 w 3905665"/>
              <a:gd name="connsiteY468" fmla="*/ 2663125 h 3403632"/>
              <a:gd name="connsiteX469" fmla="*/ 1291222 w 3905665"/>
              <a:gd name="connsiteY469" fmla="*/ 2657942 h 3403632"/>
              <a:gd name="connsiteX470" fmla="*/ 630698 w 3905665"/>
              <a:gd name="connsiteY470" fmla="*/ 2656955 h 3403632"/>
              <a:gd name="connsiteX471" fmla="*/ 632424 w 3905665"/>
              <a:gd name="connsiteY471" fmla="*/ 2658683 h 3403632"/>
              <a:gd name="connsiteX472" fmla="*/ 630698 w 3905665"/>
              <a:gd name="connsiteY472" fmla="*/ 2660409 h 3403632"/>
              <a:gd name="connsiteX473" fmla="*/ 628969 w 3905665"/>
              <a:gd name="connsiteY473" fmla="*/ 2658683 h 3403632"/>
              <a:gd name="connsiteX474" fmla="*/ 630698 w 3905665"/>
              <a:gd name="connsiteY474" fmla="*/ 2656955 h 3403632"/>
              <a:gd name="connsiteX475" fmla="*/ 56060 w 3905665"/>
              <a:gd name="connsiteY475" fmla="*/ 2635974 h 3403632"/>
              <a:gd name="connsiteX476" fmla="*/ 58776 w 3905665"/>
              <a:gd name="connsiteY476" fmla="*/ 2638690 h 3403632"/>
              <a:gd name="connsiteX477" fmla="*/ 56060 w 3905665"/>
              <a:gd name="connsiteY477" fmla="*/ 2641406 h 3403632"/>
              <a:gd name="connsiteX478" fmla="*/ 53345 w 3905665"/>
              <a:gd name="connsiteY478" fmla="*/ 2638690 h 3403632"/>
              <a:gd name="connsiteX479" fmla="*/ 56060 w 3905665"/>
              <a:gd name="connsiteY479" fmla="*/ 2635974 h 3403632"/>
              <a:gd name="connsiteX480" fmla="*/ 1074743 w 3905665"/>
              <a:gd name="connsiteY480" fmla="*/ 2631038 h 3403632"/>
              <a:gd name="connsiteX481" fmla="*/ 1078197 w 3905665"/>
              <a:gd name="connsiteY481" fmla="*/ 2634495 h 3403632"/>
              <a:gd name="connsiteX482" fmla="*/ 1074743 w 3905665"/>
              <a:gd name="connsiteY482" fmla="*/ 2638196 h 3403632"/>
              <a:gd name="connsiteX483" fmla="*/ 1071039 w 3905665"/>
              <a:gd name="connsiteY483" fmla="*/ 2634495 h 3403632"/>
              <a:gd name="connsiteX484" fmla="*/ 1074743 w 3905665"/>
              <a:gd name="connsiteY484" fmla="*/ 2631038 h 3403632"/>
              <a:gd name="connsiteX485" fmla="*/ 743006 w 3905665"/>
              <a:gd name="connsiteY485" fmla="*/ 2628076 h 3403632"/>
              <a:gd name="connsiteX486" fmla="*/ 744487 w 3905665"/>
              <a:gd name="connsiteY486" fmla="*/ 2629556 h 3403632"/>
              <a:gd name="connsiteX487" fmla="*/ 743006 w 3905665"/>
              <a:gd name="connsiteY487" fmla="*/ 2631038 h 3403632"/>
              <a:gd name="connsiteX488" fmla="*/ 741522 w 3905665"/>
              <a:gd name="connsiteY488" fmla="*/ 2629556 h 3403632"/>
              <a:gd name="connsiteX489" fmla="*/ 743006 w 3905665"/>
              <a:gd name="connsiteY489" fmla="*/ 2628076 h 3403632"/>
              <a:gd name="connsiteX490" fmla="*/ 2022072 w 3905665"/>
              <a:gd name="connsiteY490" fmla="*/ 2626101 h 3403632"/>
              <a:gd name="connsiteX491" fmla="*/ 2027996 w 3905665"/>
              <a:gd name="connsiteY491" fmla="*/ 2632025 h 3403632"/>
              <a:gd name="connsiteX492" fmla="*/ 2022072 w 3905665"/>
              <a:gd name="connsiteY492" fmla="*/ 2637949 h 3403632"/>
              <a:gd name="connsiteX493" fmla="*/ 2016148 w 3905665"/>
              <a:gd name="connsiteY493" fmla="*/ 2632025 h 3403632"/>
              <a:gd name="connsiteX494" fmla="*/ 2022072 w 3905665"/>
              <a:gd name="connsiteY494" fmla="*/ 2626101 h 3403632"/>
              <a:gd name="connsiteX495" fmla="*/ 172070 w 3905665"/>
              <a:gd name="connsiteY495" fmla="*/ 2626101 h 3403632"/>
              <a:gd name="connsiteX496" fmla="*/ 174539 w 3905665"/>
              <a:gd name="connsiteY496" fmla="*/ 2628571 h 3403632"/>
              <a:gd name="connsiteX497" fmla="*/ 172070 w 3905665"/>
              <a:gd name="connsiteY497" fmla="*/ 2631038 h 3403632"/>
              <a:gd name="connsiteX498" fmla="*/ 169603 w 3905665"/>
              <a:gd name="connsiteY498" fmla="*/ 2628571 h 3403632"/>
              <a:gd name="connsiteX499" fmla="*/ 172070 w 3905665"/>
              <a:gd name="connsiteY499" fmla="*/ 2626101 h 3403632"/>
              <a:gd name="connsiteX500" fmla="*/ 1820442 w 3905665"/>
              <a:gd name="connsiteY500" fmla="*/ 2621411 h 3403632"/>
              <a:gd name="connsiteX501" fmla="*/ 1830813 w 3905665"/>
              <a:gd name="connsiteY501" fmla="*/ 2631777 h 3403632"/>
              <a:gd name="connsiteX502" fmla="*/ 1820442 w 3905665"/>
              <a:gd name="connsiteY502" fmla="*/ 2642146 h 3403632"/>
              <a:gd name="connsiteX503" fmla="*/ 1810081 w 3905665"/>
              <a:gd name="connsiteY503" fmla="*/ 2631777 h 3403632"/>
              <a:gd name="connsiteX504" fmla="*/ 1820442 w 3905665"/>
              <a:gd name="connsiteY504" fmla="*/ 2621411 h 3403632"/>
              <a:gd name="connsiteX505" fmla="*/ 1606442 w 3905665"/>
              <a:gd name="connsiteY505" fmla="*/ 2621164 h 3403632"/>
              <a:gd name="connsiteX506" fmla="*/ 1614588 w 3905665"/>
              <a:gd name="connsiteY506" fmla="*/ 2629309 h 3403632"/>
              <a:gd name="connsiteX507" fmla="*/ 1606442 w 3905665"/>
              <a:gd name="connsiteY507" fmla="*/ 2637208 h 3403632"/>
              <a:gd name="connsiteX508" fmla="*/ 1598543 w 3905665"/>
              <a:gd name="connsiteY508" fmla="*/ 2629309 h 3403632"/>
              <a:gd name="connsiteX509" fmla="*/ 1606442 w 3905665"/>
              <a:gd name="connsiteY509" fmla="*/ 2621164 h 3403632"/>
              <a:gd name="connsiteX510" fmla="*/ 2220032 w 3905665"/>
              <a:gd name="connsiteY510" fmla="*/ 2616228 h 3403632"/>
              <a:gd name="connsiteX511" fmla="*/ 2230154 w 3905665"/>
              <a:gd name="connsiteY511" fmla="*/ 2626348 h 3403632"/>
              <a:gd name="connsiteX512" fmla="*/ 2220032 w 3905665"/>
              <a:gd name="connsiteY512" fmla="*/ 2636467 h 3403632"/>
              <a:gd name="connsiteX513" fmla="*/ 2209912 w 3905665"/>
              <a:gd name="connsiteY513" fmla="*/ 2626348 h 3403632"/>
              <a:gd name="connsiteX514" fmla="*/ 2220032 w 3905665"/>
              <a:gd name="connsiteY514" fmla="*/ 2616228 h 3403632"/>
              <a:gd name="connsiteX515" fmla="*/ 287591 w 3905665"/>
              <a:gd name="connsiteY515" fmla="*/ 2612032 h 3403632"/>
              <a:gd name="connsiteX516" fmla="*/ 289812 w 3905665"/>
              <a:gd name="connsiteY516" fmla="*/ 2614253 h 3403632"/>
              <a:gd name="connsiteX517" fmla="*/ 287591 w 3905665"/>
              <a:gd name="connsiteY517" fmla="*/ 2616474 h 3403632"/>
              <a:gd name="connsiteX518" fmla="*/ 285370 w 3905665"/>
              <a:gd name="connsiteY518" fmla="*/ 2614253 h 3403632"/>
              <a:gd name="connsiteX519" fmla="*/ 287591 w 3905665"/>
              <a:gd name="connsiteY519" fmla="*/ 2612032 h 3403632"/>
              <a:gd name="connsiteX520" fmla="*/ 1396624 w 3905665"/>
              <a:gd name="connsiteY520" fmla="*/ 2609316 h 3403632"/>
              <a:gd name="connsiteX521" fmla="*/ 1402053 w 3905665"/>
              <a:gd name="connsiteY521" fmla="*/ 2614748 h 3403632"/>
              <a:gd name="connsiteX522" fmla="*/ 1396624 w 3905665"/>
              <a:gd name="connsiteY522" fmla="*/ 2619931 h 3403632"/>
              <a:gd name="connsiteX523" fmla="*/ 1391192 w 3905665"/>
              <a:gd name="connsiteY523" fmla="*/ 2614748 h 3403632"/>
              <a:gd name="connsiteX524" fmla="*/ 1396624 w 3905665"/>
              <a:gd name="connsiteY524" fmla="*/ 2609316 h 3403632"/>
              <a:gd name="connsiteX525" fmla="*/ 402367 w 3905665"/>
              <a:gd name="connsiteY525" fmla="*/ 2593765 h 3403632"/>
              <a:gd name="connsiteX526" fmla="*/ 404341 w 3905665"/>
              <a:gd name="connsiteY526" fmla="*/ 2595740 h 3403632"/>
              <a:gd name="connsiteX527" fmla="*/ 402367 w 3905665"/>
              <a:gd name="connsiteY527" fmla="*/ 2597714 h 3403632"/>
              <a:gd name="connsiteX528" fmla="*/ 400392 w 3905665"/>
              <a:gd name="connsiteY528" fmla="*/ 2595740 h 3403632"/>
              <a:gd name="connsiteX529" fmla="*/ 402367 w 3905665"/>
              <a:gd name="connsiteY529" fmla="*/ 2593765 h 3403632"/>
              <a:gd name="connsiteX530" fmla="*/ 854575 w 3905665"/>
              <a:gd name="connsiteY530" fmla="*/ 2592778 h 3403632"/>
              <a:gd name="connsiteX531" fmla="*/ 858032 w 3905665"/>
              <a:gd name="connsiteY531" fmla="*/ 2596233 h 3403632"/>
              <a:gd name="connsiteX532" fmla="*/ 854575 w 3905665"/>
              <a:gd name="connsiteY532" fmla="*/ 2599690 h 3403632"/>
              <a:gd name="connsiteX533" fmla="*/ 851120 w 3905665"/>
              <a:gd name="connsiteY533" fmla="*/ 2596233 h 3403632"/>
              <a:gd name="connsiteX534" fmla="*/ 854575 w 3905665"/>
              <a:gd name="connsiteY534" fmla="*/ 2592778 h 3403632"/>
              <a:gd name="connsiteX535" fmla="*/ 1182613 w 3905665"/>
              <a:gd name="connsiteY535" fmla="*/ 2588087 h 3403632"/>
              <a:gd name="connsiteX536" fmla="*/ 1186068 w 3905665"/>
              <a:gd name="connsiteY536" fmla="*/ 2591791 h 3403632"/>
              <a:gd name="connsiteX537" fmla="*/ 1182613 w 3905665"/>
              <a:gd name="connsiteY537" fmla="*/ 2595245 h 3403632"/>
              <a:gd name="connsiteX538" fmla="*/ 1178910 w 3905665"/>
              <a:gd name="connsiteY538" fmla="*/ 2591791 h 3403632"/>
              <a:gd name="connsiteX539" fmla="*/ 1182613 w 3905665"/>
              <a:gd name="connsiteY539" fmla="*/ 2588087 h 3403632"/>
              <a:gd name="connsiteX540" fmla="*/ 516652 w 3905665"/>
              <a:gd name="connsiteY540" fmla="*/ 2571798 h 3403632"/>
              <a:gd name="connsiteX541" fmla="*/ 518378 w 3905665"/>
              <a:gd name="connsiteY541" fmla="*/ 2573526 h 3403632"/>
              <a:gd name="connsiteX542" fmla="*/ 516652 w 3905665"/>
              <a:gd name="connsiteY542" fmla="*/ 2575255 h 3403632"/>
              <a:gd name="connsiteX543" fmla="*/ 514924 w 3905665"/>
              <a:gd name="connsiteY543" fmla="*/ 2573526 h 3403632"/>
              <a:gd name="connsiteX544" fmla="*/ 516652 w 3905665"/>
              <a:gd name="connsiteY544" fmla="*/ 2571798 h 3403632"/>
              <a:gd name="connsiteX545" fmla="*/ 1707644 w 3905665"/>
              <a:gd name="connsiteY545" fmla="*/ 2563899 h 3403632"/>
              <a:gd name="connsiteX546" fmla="*/ 1716037 w 3905665"/>
              <a:gd name="connsiteY546" fmla="*/ 2572290 h 3403632"/>
              <a:gd name="connsiteX547" fmla="*/ 1707644 w 3905665"/>
              <a:gd name="connsiteY547" fmla="*/ 2580684 h 3403632"/>
              <a:gd name="connsiteX548" fmla="*/ 1699253 w 3905665"/>
              <a:gd name="connsiteY548" fmla="*/ 2572290 h 3403632"/>
              <a:gd name="connsiteX549" fmla="*/ 1707644 w 3905665"/>
              <a:gd name="connsiteY549" fmla="*/ 2563899 h 3403632"/>
              <a:gd name="connsiteX550" fmla="*/ 2118090 w 3905665"/>
              <a:gd name="connsiteY550" fmla="*/ 2559703 h 3403632"/>
              <a:gd name="connsiteX551" fmla="*/ 2124507 w 3905665"/>
              <a:gd name="connsiteY551" fmla="*/ 2566120 h 3403632"/>
              <a:gd name="connsiteX552" fmla="*/ 2118090 w 3905665"/>
              <a:gd name="connsiteY552" fmla="*/ 2572539 h 3403632"/>
              <a:gd name="connsiteX553" fmla="*/ 2111671 w 3905665"/>
              <a:gd name="connsiteY553" fmla="*/ 2566120 h 3403632"/>
              <a:gd name="connsiteX554" fmla="*/ 2118090 w 3905665"/>
              <a:gd name="connsiteY554" fmla="*/ 2559703 h 3403632"/>
              <a:gd name="connsiteX555" fmla="*/ 1919180 w 3905665"/>
              <a:gd name="connsiteY555" fmla="*/ 2558713 h 3403632"/>
              <a:gd name="connsiteX556" fmla="*/ 1930281 w 3905665"/>
              <a:gd name="connsiteY556" fmla="*/ 2569820 h 3403632"/>
              <a:gd name="connsiteX557" fmla="*/ 1919180 w 3905665"/>
              <a:gd name="connsiteY557" fmla="*/ 2580927 h 3403632"/>
              <a:gd name="connsiteX558" fmla="*/ 1908080 w 3905665"/>
              <a:gd name="connsiteY558" fmla="*/ 2569820 h 3403632"/>
              <a:gd name="connsiteX559" fmla="*/ 1919180 w 3905665"/>
              <a:gd name="connsiteY559" fmla="*/ 2558713 h 3403632"/>
              <a:gd name="connsiteX560" fmla="*/ 1500545 w 3905665"/>
              <a:gd name="connsiteY560" fmla="*/ 2557234 h 3403632"/>
              <a:gd name="connsiteX561" fmla="*/ 1505975 w 3905665"/>
              <a:gd name="connsiteY561" fmla="*/ 2562666 h 3403632"/>
              <a:gd name="connsiteX562" fmla="*/ 1500545 w 3905665"/>
              <a:gd name="connsiteY562" fmla="*/ 2568095 h 3403632"/>
              <a:gd name="connsiteX563" fmla="*/ 1495113 w 3905665"/>
              <a:gd name="connsiteY563" fmla="*/ 2562666 h 3403632"/>
              <a:gd name="connsiteX564" fmla="*/ 1500545 w 3905665"/>
              <a:gd name="connsiteY564" fmla="*/ 2557234 h 3403632"/>
              <a:gd name="connsiteX565" fmla="*/ 964662 w 3905665"/>
              <a:gd name="connsiteY565" fmla="*/ 2556000 h 3403632"/>
              <a:gd name="connsiteX566" fmla="*/ 967869 w 3905665"/>
              <a:gd name="connsiteY566" fmla="*/ 2559208 h 3403632"/>
              <a:gd name="connsiteX567" fmla="*/ 964662 w 3905665"/>
              <a:gd name="connsiteY567" fmla="*/ 2562416 h 3403632"/>
              <a:gd name="connsiteX568" fmla="*/ 961453 w 3905665"/>
              <a:gd name="connsiteY568" fmla="*/ 2559208 h 3403632"/>
              <a:gd name="connsiteX569" fmla="*/ 964662 w 3905665"/>
              <a:gd name="connsiteY569" fmla="*/ 2556000 h 3403632"/>
              <a:gd name="connsiteX570" fmla="*/ 2313088 w 3905665"/>
              <a:gd name="connsiteY570" fmla="*/ 2545881 h 3403632"/>
              <a:gd name="connsiteX571" fmla="*/ 2323948 w 3905665"/>
              <a:gd name="connsiteY571" fmla="*/ 2556742 h 3403632"/>
              <a:gd name="connsiteX572" fmla="*/ 2313088 w 3905665"/>
              <a:gd name="connsiteY572" fmla="*/ 2567602 h 3403632"/>
              <a:gd name="connsiteX573" fmla="*/ 2302227 w 3905665"/>
              <a:gd name="connsiteY573" fmla="*/ 2556742 h 3403632"/>
              <a:gd name="connsiteX574" fmla="*/ 2313088 w 3905665"/>
              <a:gd name="connsiteY574" fmla="*/ 2545881 h 3403632"/>
              <a:gd name="connsiteX575" fmla="*/ 629951 w 3905665"/>
              <a:gd name="connsiteY575" fmla="*/ 2545632 h 3403632"/>
              <a:gd name="connsiteX576" fmla="*/ 631433 w 3905665"/>
              <a:gd name="connsiteY576" fmla="*/ 2547112 h 3403632"/>
              <a:gd name="connsiteX577" fmla="*/ 629951 w 3905665"/>
              <a:gd name="connsiteY577" fmla="*/ 2548594 h 3403632"/>
              <a:gd name="connsiteX578" fmla="*/ 628472 w 3905665"/>
              <a:gd name="connsiteY578" fmla="*/ 2547112 h 3403632"/>
              <a:gd name="connsiteX579" fmla="*/ 629951 w 3905665"/>
              <a:gd name="connsiteY579" fmla="*/ 2545632 h 3403632"/>
              <a:gd name="connsiteX580" fmla="*/ 1289000 w 3905665"/>
              <a:gd name="connsiteY580" fmla="*/ 2541190 h 3403632"/>
              <a:gd name="connsiteX581" fmla="*/ 1292703 w 3905665"/>
              <a:gd name="connsiteY581" fmla="*/ 2544893 h 3403632"/>
              <a:gd name="connsiteX582" fmla="*/ 1289000 w 3905665"/>
              <a:gd name="connsiteY582" fmla="*/ 2548594 h 3403632"/>
              <a:gd name="connsiteX583" fmla="*/ 1285296 w 3905665"/>
              <a:gd name="connsiteY583" fmla="*/ 2544893 h 3403632"/>
              <a:gd name="connsiteX584" fmla="*/ 1289000 w 3905665"/>
              <a:gd name="connsiteY584" fmla="*/ 2541190 h 3403632"/>
              <a:gd name="connsiteX585" fmla="*/ 56799 w 3905665"/>
              <a:gd name="connsiteY585" fmla="*/ 2526872 h 3403632"/>
              <a:gd name="connsiteX586" fmla="*/ 59761 w 3905665"/>
              <a:gd name="connsiteY586" fmla="*/ 2529834 h 3403632"/>
              <a:gd name="connsiteX587" fmla="*/ 56799 w 3905665"/>
              <a:gd name="connsiteY587" fmla="*/ 2532796 h 3403632"/>
              <a:gd name="connsiteX588" fmla="*/ 53838 w 3905665"/>
              <a:gd name="connsiteY588" fmla="*/ 2529834 h 3403632"/>
              <a:gd name="connsiteX589" fmla="*/ 56799 w 3905665"/>
              <a:gd name="connsiteY589" fmla="*/ 2526872 h 3403632"/>
              <a:gd name="connsiteX590" fmla="*/ 172812 w 3905665"/>
              <a:gd name="connsiteY590" fmla="*/ 2516507 h 3403632"/>
              <a:gd name="connsiteX591" fmla="*/ 175527 w 3905665"/>
              <a:gd name="connsiteY591" fmla="*/ 2519223 h 3403632"/>
              <a:gd name="connsiteX592" fmla="*/ 172812 w 3905665"/>
              <a:gd name="connsiteY592" fmla="*/ 2521939 h 3403632"/>
              <a:gd name="connsiteX593" fmla="*/ 170096 w 3905665"/>
              <a:gd name="connsiteY593" fmla="*/ 2519223 h 3403632"/>
              <a:gd name="connsiteX594" fmla="*/ 172812 w 3905665"/>
              <a:gd name="connsiteY594" fmla="*/ 2516507 h 3403632"/>
              <a:gd name="connsiteX595" fmla="*/ 1073753 w 3905665"/>
              <a:gd name="connsiteY595" fmla="*/ 2515765 h 3403632"/>
              <a:gd name="connsiteX596" fmla="*/ 1076715 w 3905665"/>
              <a:gd name="connsiteY596" fmla="*/ 2518727 h 3403632"/>
              <a:gd name="connsiteX597" fmla="*/ 1073753 w 3905665"/>
              <a:gd name="connsiteY597" fmla="*/ 2521689 h 3403632"/>
              <a:gd name="connsiteX598" fmla="*/ 1070792 w 3905665"/>
              <a:gd name="connsiteY598" fmla="*/ 2518727 h 3403632"/>
              <a:gd name="connsiteX599" fmla="*/ 1073753 w 3905665"/>
              <a:gd name="connsiteY599" fmla="*/ 2515765 h 3403632"/>
              <a:gd name="connsiteX600" fmla="*/ 742260 w 3905665"/>
              <a:gd name="connsiteY600" fmla="*/ 2513545 h 3403632"/>
              <a:gd name="connsiteX601" fmla="*/ 745471 w 3905665"/>
              <a:gd name="connsiteY601" fmla="*/ 2517000 h 3403632"/>
              <a:gd name="connsiteX602" fmla="*/ 742260 w 3905665"/>
              <a:gd name="connsiteY602" fmla="*/ 2520211 h 3403632"/>
              <a:gd name="connsiteX603" fmla="*/ 739053 w 3905665"/>
              <a:gd name="connsiteY603" fmla="*/ 2517000 h 3403632"/>
              <a:gd name="connsiteX604" fmla="*/ 742260 w 3905665"/>
              <a:gd name="connsiteY604" fmla="*/ 2513545 h 3403632"/>
              <a:gd name="connsiteX605" fmla="*/ 1806867 w 3905665"/>
              <a:gd name="connsiteY605" fmla="*/ 2503671 h 3403632"/>
              <a:gd name="connsiteX606" fmla="*/ 1815753 w 3905665"/>
              <a:gd name="connsiteY606" fmla="*/ 2512557 h 3403632"/>
              <a:gd name="connsiteX607" fmla="*/ 1806867 w 3905665"/>
              <a:gd name="connsiteY607" fmla="*/ 2521443 h 3403632"/>
              <a:gd name="connsiteX608" fmla="*/ 1797989 w 3905665"/>
              <a:gd name="connsiteY608" fmla="*/ 2512557 h 3403632"/>
              <a:gd name="connsiteX609" fmla="*/ 1806867 w 3905665"/>
              <a:gd name="connsiteY609" fmla="*/ 2503671 h 3403632"/>
              <a:gd name="connsiteX610" fmla="*/ 288330 w 3905665"/>
              <a:gd name="connsiteY610" fmla="*/ 2501943 h 3403632"/>
              <a:gd name="connsiteX611" fmla="*/ 290797 w 3905665"/>
              <a:gd name="connsiteY611" fmla="*/ 2504410 h 3403632"/>
              <a:gd name="connsiteX612" fmla="*/ 288330 w 3905665"/>
              <a:gd name="connsiteY612" fmla="*/ 2506880 h 3403632"/>
              <a:gd name="connsiteX613" fmla="*/ 285860 w 3905665"/>
              <a:gd name="connsiteY613" fmla="*/ 2504410 h 3403632"/>
              <a:gd name="connsiteX614" fmla="*/ 288330 w 3905665"/>
              <a:gd name="connsiteY614" fmla="*/ 2501943 h 3403632"/>
              <a:gd name="connsiteX615" fmla="*/ 1602490 w 3905665"/>
              <a:gd name="connsiteY615" fmla="*/ 2501696 h 3403632"/>
              <a:gd name="connsiteX616" fmla="*/ 1608168 w 3905665"/>
              <a:gd name="connsiteY616" fmla="*/ 2507374 h 3403632"/>
              <a:gd name="connsiteX617" fmla="*/ 1602490 w 3905665"/>
              <a:gd name="connsiteY617" fmla="*/ 2513049 h 3403632"/>
              <a:gd name="connsiteX618" fmla="*/ 1596812 w 3905665"/>
              <a:gd name="connsiteY618" fmla="*/ 2507374 h 3403632"/>
              <a:gd name="connsiteX619" fmla="*/ 1602490 w 3905665"/>
              <a:gd name="connsiteY619" fmla="*/ 2501696 h 3403632"/>
              <a:gd name="connsiteX620" fmla="*/ 2015899 w 3905665"/>
              <a:gd name="connsiteY620" fmla="*/ 2493057 h 3403632"/>
              <a:gd name="connsiteX621" fmla="*/ 2027996 w 3905665"/>
              <a:gd name="connsiteY621" fmla="*/ 2505151 h 3403632"/>
              <a:gd name="connsiteX622" fmla="*/ 2015899 w 3905665"/>
              <a:gd name="connsiteY622" fmla="*/ 2517248 h 3403632"/>
              <a:gd name="connsiteX623" fmla="*/ 2003805 w 3905665"/>
              <a:gd name="connsiteY623" fmla="*/ 2505151 h 3403632"/>
              <a:gd name="connsiteX624" fmla="*/ 2015899 w 3905665"/>
              <a:gd name="connsiteY624" fmla="*/ 2493057 h 3403632"/>
              <a:gd name="connsiteX625" fmla="*/ 1393908 w 3905665"/>
              <a:gd name="connsiteY625" fmla="*/ 2491328 h 3403632"/>
              <a:gd name="connsiteX626" fmla="*/ 1397611 w 3905665"/>
              <a:gd name="connsiteY626" fmla="*/ 2495031 h 3403632"/>
              <a:gd name="connsiteX627" fmla="*/ 1393908 w 3905665"/>
              <a:gd name="connsiteY627" fmla="*/ 2498735 h 3403632"/>
              <a:gd name="connsiteX628" fmla="*/ 1390205 w 3905665"/>
              <a:gd name="connsiteY628" fmla="*/ 2495031 h 3403632"/>
              <a:gd name="connsiteX629" fmla="*/ 1393908 w 3905665"/>
              <a:gd name="connsiteY629" fmla="*/ 2491328 h 3403632"/>
              <a:gd name="connsiteX630" fmla="*/ 2211887 w 3905665"/>
              <a:gd name="connsiteY630" fmla="*/ 2490587 h 3403632"/>
              <a:gd name="connsiteX631" fmla="*/ 2218799 w 3905665"/>
              <a:gd name="connsiteY631" fmla="*/ 2497498 h 3403632"/>
              <a:gd name="connsiteX632" fmla="*/ 2211887 w 3905665"/>
              <a:gd name="connsiteY632" fmla="*/ 2504410 h 3403632"/>
              <a:gd name="connsiteX633" fmla="*/ 2204976 w 3905665"/>
              <a:gd name="connsiteY633" fmla="*/ 2497498 h 3403632"/>
              <a:gd name="connsiteX634" fmla="*/ 2211887 w 3905665"/>
              <a:gd name="connsiteY634" fmla="*/ 2490587 h 3403632"/>
              <a:gd name="connsiteX635" fmla="*/ 403353 w 3905665"/>
              <a:gd name="connsiteY635" fmla="*/ 2483183 h 3403632"/>
              <a:gd name="connsiteX636" fmla="*/ 405577 w 3905665"/>
              <a:gd name="connsiteY636" fmla="*/ 2485404 h 3403632"/>
              <a:gd name="connsiteX637" fmla="*/ 403353 w 3905665"/>
              <a:gd name="connsiteY637" fmla="*/ 2487625 h 3403632"/>
              <a:gd name="connsiteX638" fmla="*/ 401132 w 3905665"/>
              <a:gd name="connsiteY638" fmla="*/ 2485404 h 3403632"/>
              <a:gd name="connsiteX639" fmla="*/ 403353 w 3905665"/>
              <a:gd name="connsiteY639" fmla="*/ 2483183 h 3403632"/>
              <a:gd name="connsiteX640" fmla="*/ 853339 w 3905665"/>
              <a:gd name="connsiteY640" fmla="*/ 2479726 h 3403632"/>
              <a:gd name="connsiteX641" fmla="*/ 856301 w 3905665"/>
              <a:gd name="connsiteY641" fmla="*/ 2482688 h 3403632"/>
              <a:gd name="connsiteX642" fmla="*/ 853339 w 3905665"/>
              <a:gd name="connsiteY642" fmla="*/ 2485650 h 3403632"/>
              <a:gd name="connsiteX643" fmla="*/ 850377 w 3905665"/>
              <a:gd name="connsiteY643" fmla="*/ 2482688 h 3403632"/>
              <a:gd name="connsiteX644" fmla="*/ 853339 w 3905665"/>
              <a:gd name="connsiteY644" fmla="*/ 2479726 h 3403632"/>
              <a:gd name="connsiteX645" fmla="*/ 2404172 w 3905665"/>
              <a:gd name="connsiteY645" fmla="*/ 2472815 h 3403632"/>
              <a:gd name="connsiteX646" fmla="*/ 2415774 w 3905665"/>
              <a:gd name="connsiteY646" fmla="*/ 2484417 h 3403632"/>
              <a:gd name="connsiteX647" fmla="*/ 2404172 w 3905665"/>
              <a:gd name="connsiteY647" fmla="*/ 2496019 h 3403632"/>
              <a:gd name="connsiteX648" fmla="*/ 2392570 w 3905665"/>
              <a:gd name="connsiteY648" fmla="*/ 2484417 h 3403632"/>
              <a:gd name="connsiteX649" fmla="*/ 2404172 w 3905665"/>
              <a:gd name="connsiteY649" fmla="*/ 2472815 h 3403632"/>
              <a:gd name="connsiteX650" fmla="*/ 1181129 w 3905665"/>
              <a:gd name="connsiteY650" fmla="*/ 2471581 h 3403632"/>
              <a:gd name="connsiteX651" fmla="*/ 1183845 w 3905665"/>
              <a:gd name="connsiteY651" fmla="*/ 2474297 h 3403632"/>
              <a:gd name="connsiteX652" fmla="*/ 1181129 w 3905665"/>
              <a:gd name="connsiteY652" fmla="*/ 2477013 h 3403632"/>
              <a:gd name="connsiteX653" fmla="*/ 1178413 w 3905665"/>
              <a:gd name="connsiteY653" fmla="*/ 2474297 h 3403632"/>
              <a:gd name="connsiteX654" fmla="*/ 1181129 w 3905665"/>
              <a:gd name="connsiteY654" fmla="*/ 2471581 h 3403632"/>
              <a:gd name="connsiteX655" fmla="*/ 517388 w 3905665"/>
              <a:gd name="connsiteY655" fmla="*/ 2460228 h 3403632"/>
              <a:gd name="connsiteX656" fmla="*/ 519363 w 3905665"/>
              <a:gd name="connsiteY656" fmla="*/ 2462203 h 3403632"/>
              <a:gd name="connsiteX657" fmla="*/ 517388 w 3905665"/>
              <a:gd name="connsiteY657" fmla="*/ 2464424 h 3403632"/>
              <a:gd name="connsiteX658" fmla="*/ 515414 w 3905665"/>
              <a:gd name="connsiteY658" fmla="*/ 2462203 h 3403632"/>
              <a:gd name="connsiteX659" fmla="*/ 517388 w 3905665"/>
              <a:gd name="connsiteY659" fmla="*/ 2460228 h 3403632"/>
              <a:gd name="connsiteX660" fmla="*/ 1702954 w 3905665"/>
              <a:gd name="connsiteY660" fmla="*/ 2443444 h 3403632"/>
              <a:gd name="connsiteX661" fmla="*/ 1708629 w 3905665"/>
              <a:gd name="connsiteY661" fmla="*/ 2449122 h 3403632"/>
              <a:gd name="connsiteX662" fmla="*/ 1702954 w 3905665"/>
              <a:gd name="connsiteY662" fmla="*/ 2454797 h 3403632"/>
              <a:gd name="connsiteX663" fmla="*/ 1697276 w 3905665"/>
              <a:gd name="connsiteY663" fmla="*/ 2449122 h 3403632"/>
              <a:gd name="connsiteX664" fmla="*/ 1702954 w 3905665"/>
              <a:gd name="connsiteY664" fmla="*/ 2443444 h 3403632"/>
              <a:gd name="connsiteX665" fmla="*/ 963428 w 3905665"/>
              <a:gd name="connsiteY665" fmla="*/ 2441715 h 3403632"/>
              <a:gd name="connsiteX666" fmla="*/ 966141 w 3905665"/>
              <a:gd name="connsiteY666" fmla="*/ 2444431 h 3403632"/>
              <a:gd name="connsiteX667" fmla="*/ 963428 w 3905665"/>
              <a:gd name="connsiteY667" fmla="*/ 2447147 h 3403632"/>
              <a:gd name="connsiteX668" fmla="*/ 960712 w 3905665"/>
              <a:gd name="connsiteY668" fmla="*/ 2444431 h 3403632"/>
              <a:gd name="connsiteX669" fmla="*/ 963428 w 3905665"/>
              <a:gd name="connsiteY669" fmla="*/ 2441715 h 3403632"/>
              <a:gd name="connsiteX670" fmla="*/ 1904378 w 3905665"/>
              <a:gd name="connsiteY670" fmla="*/ 2440235 h 3403632"/>
              <a:gd name="connsiteX671" fmla="*/ 1913997 w 3905665"/>
              <a:gd name="connsiteY671" fmla="*/ 2449862 h 3403632"/>
              <a:gd name="connsiteX672" fmla="*/ 1904378 w 3905665"/>
              <a:gd name="connsiteY672" fmla="*/ 2459487 h 3403632"/>
              <a:gd name="connsiteX673" fmla="*/ 1894743 w 3905665"/>
              <a:gd name="connsiteY673" fmla="*/ 2449862 h 3403632"/>
              <a:gd name="connsiteX674" fmla="*/ 1904378 w 3905665"/>
              <a:gd name="connsiteY674" fmla="*/ 2440235 h 3403632"/>
              <a:gd name="connsiteX675" fmla="*/ 1497086 w 3905665"/>
              <a:gd name="connsiteY675" fmla="*/ 2438012 h 3403632"/>
              <a:gd name="connsiteX676" fmla="*/ 1500790 w 3905665"/>
              <a:gd name="connsiteY676" fmla="*/ 2441715 h 3403632"/>
              <a:gd name="connsiteX677" fmla="*/ 1497086 w 3905665"/>
              <a:gd name="connsiteY677" fmla="*/ 2445416 h 3403632"/>
              <a:gd name="connsiteX678" fmla="*/ 1493383 w 3905665"/>
              <a:gd name="connsiteY678" fmla="*/ 2441715 h 3403632"/>
              <a:gd name="connsiteX679" fmla="*/ 1497086 w 3905665"/>
              <a:gd name="connsiteY679" fmla="*/ 2438012 h 3403632"/>
              <a:gd name="connsiteX680" fmla="*/ 630444 w 3905665"/>
              <a:gd name="connsiteY680" fmla="*/ 2432829 h 3403632"/>
              <a:gd name="connsiteX681" fmla="*/ 632419 w 3905665"/>
              <a:gd name="connsiteY681" fmla="*/ 2434804 h 3403632"/>
              <a:gd name="connsiteX682" fmla="*/ 630444 w 3905665"/>
              <a:gd name="connsiteY682" fmla="*/ 2436778 h 3403632"/>
              <a:gd name="connsiteX683" fmla="*/ 628470 w 3905665"/>
              <a:gd name="connsiteY683" fmla="*/ 2434804 h 3403632"/>
              <a:gd name="connsiteX684" fmla="*/ 630444 w 3905665"/>
              <a:gd name="connsiteY684" fmla="*/ 2432829 h 3403632"/>
              <a:gd name="connsiteX685" fmla="*/ 2110684 w 3905665"/>
              <a:gd name="connsiteY685" fmla="*/ 2424435 h 3403632"/>
              <a:gd name="connsiteX686" fmla="*/ 2123765 w 3905665"/>
              <a:gd name="connsiteY686" fmla="*/ 2437517 h 3403632"/>
              <a:gd name="connsiteX687" fmla="*/ 2110684 w 3905665"/>
              <a:gd name="connsiteY687" fmla="*/ 2450598 h 3403632"/>
              <a:gd name="connsiteX688" fmla="*/ 2097602 w 3905665"/>
              <a:gd name="connsiteY688" fmla="*/ 2437517 h 3403632"/>
              <a:gd name="connsiteX689" fmla="*/ 2110684 w 3905665"/>
              <a:gd name="connsiteY689" fmla="*/ 2424435 h 3403632"/>
              <a:gd name="connsiteX690" fmla="*/ 1287022 w 3905665"/>
              <a:gd name="connsiteY690" fmla="*/ 2423943 h 3403632"/>
              <a:gd name="connsiteX691" fmla="*/ 1289492 w 3905665"/>
              <a:gd name="connsiteY691" fmla="*/ 2426413 h 3403632"/>
              <a:gd name="connsiteX692" fmla="*/ 1287022 w 3905665"/>
              <a:gd name="connsiteY692" fmla="*/ 2428880 h 3403632"/>
              <a:gd name="connsiteX693" fmla="*/ 1284555 w 3905665"/>
              <a:gd name="connsiteY693" fmla="*/ 2426413 h 3403632"/>
              <a:gd name="connsiteX694" fmla="*/ 1287022 w 3905665"/>
              <a:gd name="connsiteY694" fmla="*/ 2423943 h 3403632"/>
              <a:gd name="connsiteX695" fmla="*/ 2303955 w 3905665"/>
              <a:gd name="connsiteY695" fmla="*/ 2418760 h 3403632"/>
              <a:gd name="connsiteX696" fmla="*/ 2311359 w 3905665"/>
              <a:gd name="connsiteY696" fmla="*/ 2425918 h 3403632"/>
              <a:gd name="connsiteX697" fmla="*/ 2303955 w 3905665"/>
              <a:gd name="connsiteY697" fmla="*/ 2433324 h 3403632"/>
              <a:gd name="connsiteX698" fmla="*/ 2296549 w 3905665"/>
              <a:gd name="connsiteY698" fmla="*/ 2425918 h 3403632"/>
              <a:gd name="connsiteX699" fmla="*/ 2303955 w 3905665"/>
              <a:gd name="connsiteY699" fmla="*/ 2418760 h 3403632"/>
              <a:gd name="connsiteX700" fmla="*/ 57043 w 3905665"/>
              <a:gd name="connsiteY700" fmla="*/ 2418019 h 3403632"/>
              <a:gd name="connsiteX701" fmla="*/ 60005 w 3905665"/>
              <a:gd name="connsiteY701" fmla="*/ 2420981 h 3403632"/>
              <a:gd name="connsiteX702" fmla="*/ 57043 w 3905665"/>
              <a:gd name="connsiteY702" fmla="*/ 2423943 h 3403632"/>
              <a:gd name="connsiteX703" fmla="*/ 54081 w 3905665"/>
              <a:gd name="connsiteY703" fmla="*/ 2420981 h 3403632"/>
              <a:gd name="connsiteX704" fmla="*/ 57043 w 3905665"/>
              <a:gd name="connsiteY704" fmla="*/ 2418019 h 3403632"/>
              <a:gd name="connsiteX705" fmla="*/ 173057 w 3905665"/>
              <a:gd name="connsiteY705" fmla="*/ 2407158 h 3403632"/>
              <a:gd name="connsiteX706" fmla="*/ 175772 w 3905665"/>
              <a:gd name="connsiteY706" fmla="*/ 2409874 h 3403632"/>
              <a:gd name="connsiteX707" fmla="*/ 173057 w 3905665"/>
              <a:gd name="connsiteY707" fmla="*/ 2412590 h 3403632"/>
              <a:gd name="connsiteX708" fmla="*/ 170341 w 3905665"/>
              <a:gd name="connsiteY708" fmla="*/ 2409874 h 3403632"/>
              <a:gd name="connsiteX709" fmla="*/ 173057 w 3905665"/>
              <a:gd name="connsiteY709" fmla="*/ 2407158 h 3403632"/>
              <a:gd name="connsiteX710" fmla="*/ 742755 w 3905665"/>
              <a:gd name="connsiteY710" fmla="*/ 2401729 h 3403632"/>
              <a:gd name="connsiteX711" fmla="*/ 744479 w 3905665"/>
              <a:gd name="connsiteY711" fmla="*/ 2403457 h 3403632"/>
              <a:gd name="connsiteX712" fmla="*/ 742755 w 3905665"/>
              <a:gd name="connsiteY712" fmla="*/ 2405183 h 3403632"/>
              <a:gd name="connsiteX713" fmla="*/ 741024 w 3905665"/>
              <a:gd name="connsiteY713" fmla="*/ 2403457 h 3403632"/>
              <a:gd name="connsiteX714" fmla="*/ 742755 w 3905665"/>
              <a:gd name="connsiteY714" fmla="*/ 2401729 h 3403632"/>
              <a:gd name="connsiteX715" fmla="*/ 1071779 w 3905665"/>
              <a:gd name="connsiteY715" fmla="*/ 2400001 h 3403632"/>
              <a:gd name="connsiteX716" fmla="*/ 1074246 w 3905665"/>
              <a:gd name="connsiteY716" fmla="*/ 2402471 h 3403632"/>
              <a:gd name="connsiteX717" fmla="*/ 1071779 w 3905665"/>
              <a:gd name="connsiteY717" fmla="*/ 2404938 h 3403632"/>
              <a:gd name="connsiteX718" fmla="*/ 1069310 w 3905665"/>
              <a:gd name="connsiteY718" fmla="*/ 2402471 h 3403632"/>
              <a:gd name="connsiteX719" fmla="*/ 1071779 w 3905665"/>
              <a:gd name="connsiteY719" fmla="*/ 2400001 h 3403632"/>
              <a:gd name="connsiteX720" fmla="*/ 2493273 w 3905665"/>
              <a:gd name="connsiteY720" fmla="*/ 2397285 h 3403632"/>
              <a:gd name="connsiteX721" fmla="*/ 2505616 w 3905665"/>
              <a:gd name="connsiteY721" fmla="*/ 2409625 h 3403632"/>
              <a:gd name="connsiteX722" fmla="*/ 2493273 w 3905665"/>
              <a:gd name="connsiteY722" fmla="*/ 2421968 h 3403632"/>
              <a:gd name="connsiteX723" fmla="*/ 2480933 w 3905665"/>
              <a:gd name="connsiteY723" fmla="*/ 2409625 h 3403632"/>
              <a:gd name="connsiteX724" fmla="*/ 2493273 w 3905665"/>
              <a:gd name="connsiteY724" fmla="*/ 2397285 h 3403632"/>
              <a:gd name="connsiteX725" fmla="*/ 288571 w 3905665"/>
              <a:gd name="connsiteY725" fmla="*/ 2392102 h 3403632"/>
              <a:gd name="connsiteX726" fmla="*/ 291041 w 3905665"/>
              <a:gd name="connsiteY726" fmla="*/ 2394572 h 3403632"/>
              <a:gd name="connsiteX727" fmla="*/ 288571 w 3905665"/>
              <a:gd name="connsiteY727" fmla="*/ 2397039 h 3403632"/>
              <a:gd name="connsiteX728" fmla="*/ 286104 w 3905665"/>
              <a:gd name="connsiteY728" fmla="*/ 2394572 h 3403632"/>
              <a:gd name="connsiteX729" fmla="*/ 288571 w 3905665"/>
              <a:gd name="connsiteY729" fmla="*/ 2392102 h 3403632"/>
              <a:gd name="connsiteX730" fmla="*/ 1801188 w 3905665"/>
              <a:gd name="connsiteY730" fmla="*/ 2381241 h 3403632"/>
              <a:gd name="connsiteX731" fmla="*/ 1807603 w 3905665"/>
              <a:gd name="connsiteY731" fmla="*/ 2387660 h 3403632"/>
              <a:gd name="connsiteX732" fmla="*/ 1801188 w 3905665"/>
              <a:gd name="connsiteY732" fmla="*/ 2393831 h 3403632"/>
              <a:gd name="connsiteX733" fmla="*/ 1794772 w 3905665"/>
              <a:gd name="connsiteY733" fmla="*/ 2387660 h 3403632"/>
              <a:gd name="connsiteX734" fmla="*/ 1801188 w 3905665"/>
              <a:gd name="connsiteY734" fmla="*/ 2381241 h 3403632"/>
              <a:gd name="connsiteX735" fmla="*/ 1598289 w 3905665"/>
              <a:gd name="connsiteY735" fmla="*/ 2381241 h 3403632"/>
              <a:gd name="connsiteX736" fmla="*/ 1601993 w 3905665"/>
              <a:gd name="connsiteY736" fmla="*/ 2384944 h 3403632"/>
              <a:gd name="connsiteX737" fmla="*/ 1598289 w 3905665"/>
              <a:gd name="connsiteY737" fmla="*/ 2388648 h 3403632"/>
              <a:gd name="connsiteX738" fmla="*/ 1594586 w 3905665"/>
              <a:gd name="connsiteY738" fmla="*/ 2384944 h 3403632"/>
              <a:gd name="connsiteX739" fmla="*/ 1598289 w 3905665"/>
              <a:gd name="connsiteY739" fmla="*/ 2381241 h 3403632"/>
              <a:gd name="connsiteX740" fmla="*/ 1999855 w 3905665"/>
              <a:gd name="connsiteY740" fmla="*/ 2373342 h 3403632"/>
              <a:gd name="connsiteX741" fmla="*/ 2010467 w 3905665"/>
              <a:gd name="connsiteY741" fmla="*/ 2383957 h 3403632"/>
              <a:gd name="connsiteX742" fmla="*/ 1999855 w 3905665"/>
              <a:gd name="connsiteY742" fmla="*/ 2394322 h 3403632"/>
              <a:gd name="connsiteX743" fmla="*/ 1989241 w 3905665"/>
              <a:gd name="connsiteY743" fmla="*/ 2383957 h 3403632"/>
              <a:gd name="connsiteX744" fmla="*/ 1999855 w 3905665"/>
              <a:gd name="connsiteY744" fmla="*/ 2373342 h 3403632"/>
              <a:gd name="connsiteX745" fmla="*/ 403352 w 3905665"/>
              <a:gd name="connsiteY745" fmla="*/ 2372848 h 3403632"/>
              <a:gd name="connsiteX746" fmla="*/ 405575 w 3905665"/>
              <a:gd name="connsiteY746" fmla="*/ 2375069 h 3403632"/>
              <a:gd name="connsiteX747" fmla="*/ 403352 w 3905665"/>
              <a:gd name="connsiteY747" fmla="*/ 2377290 h 3403632"/>
              <a:gd name="connsiteX748" fmla="*/ 401131 w 3905665"/>
              <a:gd name="connsiteY748" fmla="*/ 2375069 h 3403632"/>
              <a:gd name="connsiteX749" fmla="*/ 403352 w 3905665"/>
              <a:gd name="connsiteY749" fmla="*/ 2372848 h 3403632"/>
              <a:gd name="connsiteX750" fmla="*/ 1391187 w 3905665"/>
              <a:gd name="connsiteY750" fmla="*/ 2372601 h 3403632"/>
              <a:gd name="connsiteX751" fmla="*/ 1393411 w 3905665"/>
              <a:gd name="connsiteY751" fmla="*/ 2374822 h 3403632"/>
              <a:gd name="connsiteX752" fmla="*/ 1391187 w 3905665"/>
              <a:gd name="connsiteY752" fmla="*/ 2377046 h 3403632"/>
              <a:gd name="connsiteX753" fmla="*/ 1388967 w 3905665"/>
              <a:gd name="connsiteY753" fmla="*/ 2374822 h 3403632"/>
              <a:gd name="connsiteX754" fmla="*/ 1391187 w 3905665"/>
              <a:gd name="connsiteY754" fmla="*/ 2372601 h 3403632"/>
              <a:gd name="connsiteX755" fmla="*/ 853579 w 3905665"/>
              <a:gd name="connsiteY755" fmla="*/ 2366677 h 3403632"/>
              <a:gd name="connsiteX756" fmla="*/ 855061 w 3905665"/>
              <a:gd name="connsiteY756" fmla="*/ 2368157 h 3403632"/>
              <a:gd name="connsiteX757" fmla="*/ 853579 w 3905665"/>
              <a:gd name="connsiteY757" fmla="*/ 2369639 h 3403632"/>
              <a:gd name="connsiteX758" fmla="*/ 852099 w 3905665"/>
              <a:gd name="connsiteY758" fmla="*/ 2368157 h 3403632"/>
              <a:gd name="connsiteX759" fmla="*/ 853579 w 3905665"/>
              <a:gd name="connsiteY759" fmla="*/ 2366677 h 3403632"/>
              <a:gd name="connsiteX760" fmla="*/ 1178658 w 3905665"/>
              <a:gd name="connsiteY760" fmla="*/ 2354583 h 3403632"/>
              <a:gd name="connsiteX761" fmla="*/ 1180881 w 3905665"/>
              <a:gd name="connsiteY761" fmla="*/ 2356804 h 3403632"/>
              <a:gd name="connsiteX762" fmla="*/ 1178658 w 3905665"/>
              <a:gd name="connsiteY762" fmla="*/ 2359025 h 3403632"/>
              <a:gd name="connsiteX763" fmla="*/ 1176437 w 3905665"/>
              <a:gd name="connsiteY763" fmla="*/ 2356804 h 3403632"/>
              <a:gd name="connsiteX764" fmla="*/ 1178658 w 3905665"/>
              <a:gd name="connsiteY764" fmla="*/ 2354583 h 3403632"/>
              <a:gd name="connsiteX765" fmla="*/ 2203494 w 3905665"/>
              <a:gd name="connsiteY765" fmla="*/ 2353347 h 3403632"/>
              <a:gd name="connsiteX766" fmla="*/ 2217317 w 3905665"/>
              <a:gd name="connsiteY766" fmla="*/ 2367170 h 3403632"/>
              <a:gd name="connsiteX767" fmla="*/ 2203494 w 3905665"/>
              <a:gd name="connsiteY767" fmla="*/ 2380993 h 3403632"/>
              <a:gd name="connsiteX768" fmla="*/ 2189671 w 3905665"/>
              <a:gd name="connsiteY768" fmla="*/ 2367170 h 3403632"/>
              <a:gd name="connsiteX769" fmla="*/ 2203494 w 3905665"/>
              <a:gd name="connsiteY769" fmla="*/ 2353347 h 3403632"/>
              <a:gd name="connsiteX770" fmla="*/ 517387 w 3905665"/>
              <a:gd name="connsiteY770" fmla="*/ 2348659 h 3403632"/>
              <a:gd name="connsiteX771" fmla="*/ 519362 w 3905665"/>
              <a:gd name="connsiteY771" fmla="*/ 2350883 h 3403632"/>
              <a:gd name="connsiteX772" fmla="*/ 517387 w 3905665"/>
              <a:gd name="connsiteY772" fmla="*/ 2353104 h 3403632"/>
              <a:gd name="connsiteX773" fmla="*/ 515412 w 3905665"/>
              <a:gd name="connsiteY773" fmla="*/ 2350883 h 3403632"/>
              <a:gd name="connsiteX774" fmla="*/ 517387 w 3905665"/>
              <a:gd name="connsiteY774" fmla="*/ 2348659 h 3403632"/>
              <a:gd name="connsiteX775" fmla="*/ 2393804 w 3905665"/>
              <a:gd name="connsiteY775" fmla="*/ 2344463 h 3403632"/>
              <a:gd name="connsiteX776" fmla="*/ 2401703 w 3905665"/>
              <a:gd name="connsiteY776" fmla="*/ 2352115 h 3403632"/>
              <a:gd name="connsiteX777" fmla="*/ 2393804 w 3905665"/>
              <a:gd name="connsiteY777" fmla="*/ 2359765 h 3403632"/>
              <a:gd name="connsiteX778" fmla="*/ 2386151 w 3905665"/>
              <a:gd name="connsiteY778" fmla="*/ 2352115 h 3403632"/>
              <a:gd name="connsiteX779" fmla="*/ 2393804 w 3905665"/>
              <a:gd name="connsiteY779" fmla="*/ 2344463 h 3403632"/>
              <a:gd name="connsiteX780" fmla="*/ 963174 w 3905665"/>
              <a:gd name="connsiteY780" fmla="*/ 2325209 h 3403632"/>
              <a:gd name="connsiteX781" fmla="*/ 966631 w 3905665"/>
              <a:gd name="connsiteY781" fmla="*/ 2328664 h 3403632"/>
              <a:gd name="connsiteX782" fmla="*/ 963174 w 3905665"/>
              <a:gd name="connsiteY782" fmla="*/ 2332121 h 3403632"/>
              <a:gd name="connsiteX783" fmla="*/ 959720 w 3905665"/>
              <a:gd name="connsiteY783" fmla="*/ 2328664 h 3403632"/>
              <a:gd name="connsiteX784" fmla="*/ 963174 w 3905665"/>
              <a:gd name="connsiteY784" fmla="*/ 2325209 h 3403632"/>
              <a:gd name="connsiteX785" fmla="*/ 1697765 w 3905665"/>
              <a:gd name="connsiteY785" fmla="*/ 2320767 h 3403632"/>
              <a:gd name="connsiteX786" fmla="*/ 1701962 w 3905665"/>
              <a:gd name="connsiteY786" fmla="*/ 2324963 h 3403632"/>
              <a:gd name="connsiteX787" fmla="*/ 1697765 w 3905665"/>
              <a:gd name="connsiteY787" fmla="*/ 2329161 h 3403632"/>
              <a:gd name="connsiteX788" fmla="*/ 1693570 w 3905665"/>
              <a:gd name="connsiteY788" fmla="*/ 2324963 h 3403632"/>
              <a:gd name="connsiteX789" fmla="*/ 1697765 w 3905665"/>
              <a:gd name="connsiteY789" fmla="*/ 2320767 h 3403632"/>
              <a:gd name="connsiteX790" fmla="*/ 630442 w 3905665"/>
              <a:gd name="connsiteY790" fmla="*/ 2320519 h 3403632"/>
              <a:gd name="connsiteX791" fmla="*/ 632417 w 3905665"/>
              <a:gd name="connsiteY791" fmla="*/ 2322494 h 3403632"/>
              <a:gd name="connsiteX792" fmla="*/ 630442 w 3905665"/>
              <a:gd name="connsiteY792" fmla="*/ 2324468 h 3403632"/>
              <a:gd name="connsiteX793" fmla="*/ 628468 w 3905665"/>
              <a:gd name="connsiteY793" fmla="*/ 2322494 h 3403632"/>
              <a:gd name="connsiteX794" fmla="*/ 630442 w 3905665"/>
              <a:gd name="connsiteY794" fmla="*/ 2320519 h 3403632"/>
              <a:gd name="connsiteX795" fmla="*/ 2580162 w 3905665"/>
              <a:gd name="connsiteY795" fmla="*/ 2319285 h 3403632"/>
              <a:gd name="connsiteX796" fmla="*/ 2593243 w 3905665"/>
              <a:gd name="connsiteY796" fmla="*/ 2332369 h 3403632"/>
              <a:gd name="connsiteX797" fmla="*/ 2580162 w 3905665"/>
              <a:gd name="connsiteY797" fmla="*/ 2345451 h 3403632"/>
              <a:gd name="connsiteX798" fmla="*/ 2567080 w 3905665"/>
              <a:gd name="connsiteY798" fmla="*/ 2332369 h 3403632"/>
              <a:gd name="connsiteX799" fmla="*/ 2580162 w 3905665"/>
              <a:gd name="connsiteY799" fmla="*/ 2319285 h 3403632"/>
              <a:gd name="connsiteX800" fmla="*/ 1493381 w 3905665"/>
              <a:gd name="connsiteY800" fmla="*/ 2318052 h 3403632"/>
              <a:gd name="connsiteX801" fmla="*/ 1495355 w 3905665"/>
              <a:gd name="connsiteY801" fmla="*/ 2320027 h 3403632"/>
              <a:gd name="connsiteX802" fmla="*/ 1493381 w 3905665"/>
              <a:gd name="connsiteY802" fmla="*/ 2322001 h 3403632"/>
              <a:gd name="connsiteX803" fmla="*/ 1491406 w 3905665"/>
              <a:gd name="connsiteY803" fmla="*/ 2320027 h 3403632"/>
              <a:gd name="connsiteX804" fmla="*/ 1493381 w 3905665"/>
              <a:gd name="connsiteY804" fmla="*/ 2318052 h 3403632"/>
              <a:gd name="connsiteX805" fmla="*/ 1897702 w 3905665"/>
              <a:gd name="connsiteY805" fmla="*/ 2315831 h 3403632"/>
              <a:gd name="connsiteX806" fmla="*/ 1904619 w 3905665"/>
              <a:gd name="connsiteY806" fmla="*/ 2322989 h 3403632"/>
              <a:gd name="connsiteX807" fmla="*/ 1897702 w 3905665"/>
              <a:gd name="connsiteY807" fmla="*/ 2330146 h 3403632"/>
              <a:gd name="connsiteX808" fmla="*/ 1890543 w 3905665"/>
              <a:gd name="connsiteY808" fmla="*/ 2322989 h 3403632"/>
              <a:gd name="connsiteX809" fmla="*/ 1897702 w 3905665"/>
              <a:gd name="connsiteY809" fmla="*/ 2315831 h 3403632"/>
              <a:gd name="connsiteX810" fmla="*/ 55069 w 3905665"/>
              <a:gd name="connsiteY810" fmla="*/ 2309658 h 3403632"/>
              <a:gd name="connsiteX811" fmla="*/ 57536 w 3905665"/>
              <a:gd name="connsiteY811" fmla="*/ 2312128 h 3403632"/>
              <a:gd name="connsiteX812" fmla="*/ 55069 w 3905665"/>
              <a:gd name="connsiteY812" fmla="*/ 2314595 h 3403632"/>
              <a:gd name="connsiteX813" fmla="*/ 52599 w 3905665"/>
              <a:gd name="connsiteY813" fmla="*/ 2312128 h 3403632"/>
              <a:gd name="connsiteX814" fmla="*/ 55069 w 3905665"/>
              <a:gd name="connsiteY814" fmla="*/ 2309658 h 3403632"/>
              <a:gd name="connsiteX815" fmla="*/ 1284059 w 3905665"/>
              <a:gd name="connsiteY815" fmla="*/ 2305216 h 3403632"/>
              <a:gd name="connsiteX816" fmla="*/ 1286033 w 3905665"/>
              <a:gd name="connsiteY816" fmla="*/ 2307191 h 3403632"/>
              <a:gd name="connsiteX817" fmla="*/ 1284059 w 3905665"/>
              <a:gd name="connsiteY817" fmla="*/ 2309165 h 3403632"/>
              <a:gd name="connsiteX818" fmla="*/ 1282084 w 3905665"/>
              <a:gd name="connsiteY818" fmla="*/ 2307191 h 3403632"/>
              <a:gd name="connsiteX819" fmla="*/ 1284059 w 3905665"/>
              <a:gd name="connsiteY819" fmla="*/ 2305216 h 3403632"/>
              <a:gd name="connsiteX820" fmla="*/ 2093158 w 3905665"/>
              <a:gd name="connsiteY820" fmla="*/ 2303734 h 3403632"/>
              <a:gd name="connsiteX821" fmla="*/ 2104514 w 3905665"/>
              <a:gd name="connsiteY821" fmla="*/ 2315087 h 3403632"/>
              <a:gd name="connsiteX822" fmla="*/ 2093158 w 3905665"/>
              <a:gd name="connsiteY822" fmla="*/ 2326443 h 3403632"/>
              <a:gd name="connsiteX823" fmla="*/ 2081805 w 3905665"/>
              <a:gd name="connsiteY823" fmla="*/ 2315087 h 3403632"/>
              <a:gd name="connsiteX824" fmla="*/ 2093158 w 3905665"/>
              <a:gd name="connsiteY824" fmla="*/ 2303734 h 3403632"/>
              <a:gd name="connsiteX825" fmla="*/ 170584 w 3905665"/>
              <a:gd name="connsiteY825" fmla="*/ 2299046 h 3403632"/>
              <a:gd name="connsiteX826" fmla="*/ 172559 w 3905665"/>
              <a:gd name="connsiteY826" fmla="*/ 2301021 h 3403632"/>
              <a:gd name="connsiteX827" fmla="*/ 170584 w 3905665"/>
              <a:gd name="connsiteY827" fmla="*/ 2302995 h 3403632"/>
              <a:gd name="connsiteX828" fmla="*/ 168610 w 3905665"/>
              <a:gd name="connsiteY828" fmla="*/ 2301021 h 3403632"/>
              <a:gd name="connsiteX829" fmla="*/ 170584 w 3905665"/>
              <a:gd name="connsiteY829" fmla="*/ 2299046 h 3403632"/>
              <a:gd name="connsiteX830" fmla="*/ 742506 w 3905665"/>
              <a:gd name="connsiteY830" fmla="*/ 2288431 h 3403632"/>
              <a:gd name="connsiteX831" fmla="*/ 744232 w 3905665"/>
              <a:gd name="connsiteY831" fmla="*/ 2290159 h 3403632"/>
              <a:gd name="connsiteX832" fmla="*/ 742506 w 3905665"/>
              <a:gd name="connsiteY832" fmla="*/ 2291888 h 3403632"/>
              <a:gd name="connsiteX833" fmla="*/ 740777 w 3905665"/>
              <a:gd name="connsiteY833" fmla="*/ 2290159 h 3403632"/>
              <a:gd name="connsiteX834" fmla="*/ 742506 w 3905665"/>
              <a:gd name="connsiteY834" fmla="*/ 2288431 h 3403632"/>
              <a:gd name="connsiteX835" fmla="*/ 285365 w 3905665"/>
              <a:gd name="connsiteY835" fmla="*/ 2283495 h 3403632"/>
              <a:gd name="connsiteX836" fmla="*/ 287090 w 3905665"/>
              <a:gd name="connsiteY836" fmla="*/ 2285224 h 3403632"/>
              <a:gd name="connsiteX837" fmla="*/ 285365 w 3905665"/>
              <a:gd name="connsiteY837" fmla="*/ 2286703 h 3403632"/>
              <a:gd name="connsiteX838" fmla="*/ 283882 w 3905665"/>
              <a:gd name="connsiteY838" fmla="*/ 2285224 h 3403632"/>
              <a:gd name="connsiteX839" fmla="*/ 285365 w 3905665"/>
              <a:gd name="connsiteY839" fmla="*/ 2283495 h 3403632"/>
              <a:gd name="connsiteX840" fmla="*/ 1071034 w 3905665"/>
              <a:gd name="connsiteY840" fmla="*/ 2282012 h 3403632"/>
              <a:gd name="connsiteX841" fmla="*/ 1074242 w 3905665"/>
              <a:gd name="connsiteY841" fmla="*/ 2285220 h 3403632"/>
              <a:gd name="connsiteX842" fmla="*/ 1071034 w 3905665"/>
              <a:gd name="connsiteY842" fmla="*/ 2288428 h 3403632"/>
              <a:gd name="connsiteX843" fmla="*/ 1067826 w 3905665"/>
              <a:gd name="connsiteY843" fmla="*/ 2285220 h 3403632"/>
              <a:gd name="connsiteX844" fmla="*/ 1071034 w 3905665"/>
              <a:gd name="connsiteY844" fmla="*/ 2282012 h 3403632"/>
              <a:gd name="connsiteX845" fmla="*/ 2294328 w 3905665"/>
              <a:gd name="connsiteY845" fmla="*/ 2279050 h 3403632"/>
              <a:gd name="connsiteX846" fmla="*/ 2309139 w 3905665"/>
              <a:gd name="connsiteY846" fmla="*/ 2293860 h 3403632"/>
              <a:gd name="connsiteX847" fmla="*/ 2294328 w 3905665"/>
              <a:gd name="connsiteY847" fmla="*/ 2308671 h 3403632"/>
              <a:gd name="connsiteX848" fmla="*/ 2279518 w 3905665"/>
              <a:gd name="connsiteY848" fmla="*/ 2293860 h 3403632"/>
              <a:gd name="connsiteX849" fmla="*/ 2294328 w 3905665"/>
              <a:gd name="connsiteY849" fmla="*/ 2279050 h 3403632"/>
              <a:gd name="connsiteX850" fmla="*/ 2481425 w 3905665"/>
              <a:gd name="connsiteY850" fmla="*/ 2267202 h 3403632"/>
              <a:gd name="connsiteX851" fmla="*/ 2489573 w 3905665"/>
              <a:gd name="connsiteY851" fmla="*/ 2275347 h 3403632"/>
              <a:gd name="connsiteX852" fmla="*/ 2481425 w 3905665"/>
              <a:gd name="connsiteY852" fmla="*/ 2283495 h 3403632"/>
              <a:gd name="connsiteX853" fmla="*/ 2473280 w 3905665"/>
              <a:gd name="connsiteY853" fmla="*/ 2275347 h 3403632"/>
              <a:gd name="connsiteX854" fmla="*/ 2481425 w 3905665"/>
              <a:gd name="connsiteY854" fmla="*/ 2267202 h 3403632"/>
              <a:gd name="connsiteX855" fmla="*/ 399646 w 3905665"/>
              <a:gd name="connsiteY855" fmla="*/ 2262019 h 3403632"/>
              <a:gd name="connsiteX856" fmla="*/ 402854 w 3905665"/>
              <a:gd name="connsiteY856" fmla="*/ 2265227 h 3403632"/>
              <a:gd name="connsiteX857" fmla="*/ 399646 w 3905665"/>
              <a:gd name="connsiteY857" fmla="*/ 2268435 h 3403632"/>
              <a:gd name="connsiteX858" fmla="*/ 396438 w 3905665"/>
              <a:gd name="connsiteY858" fmla="*/ 2265227 h 3403632"/>
              <a:gd name="connsiteX859" fmla="*/ 399646 w 3905665"/>
              <a:gd name="connsiteY859" fmla="*/ 2262019 h 3403632"/>
              <a:gd name="connsiteX860" fmla="*/ 1593845 w 3905665"/>
              <a:gd name="connsiteY860" fmla="*/ 2258562 h 3403632"/>
              <a:gd name="connsiteX861" fmla="*/ 1596560 w 3905665"/>
              <a:gd name="connsiteY861" fmla="*/ 2261278 h 3403632"/>
              <a:gd name="connsiteX862" fmla="*/ 1593845 w 3905665"/>
              <a:gd name="connsiteY862" fmla="*/ 2263994 h 3403632"/>
              <a:gd name="connsiteX863" fmla="*/ 1591129 w 3905665"/>
              <a:gd name="connsiteY863" fmla="*/ 2261278 h 3403632"/>
              <a:gd name="connsiteX864" fmla="*/ 1593845 w 3905665"/>
              <a:gd name="connsiteY864" fmla="*/ 2258562 h 3403632"/>
              <a:gd name="connsiteX865" fmla="*/ 1795267 w 3905665"/>
              <a:gd name="connsiteY865" fmla="*/ 2256837 h 3403632"/>
              <a:gd name="connsiteX866" fmla="*/ 1799956 w 3905665"/>
              <a:gd name="connsiteY866" fmla="*/ 2261527 h 3403632"/>
              <a:gd name="connsiteX867" fmla="*/ 1795267 w 3905665"/>
              <a:gd name="connsiteY867" fmla="*/ 2266218 h 3403632"/>
              <a:gd name="connsiteX868" fmla="*/ 1790575 w 3905665"/>
              <a:gd name="connsiteY868" fmla="*/ 2261527 h 3403632"/>
              <a:gd name="connsiteX869" fmla="*/ 1795267 w 3905665"/>
              <a:gd name="connsiteY869" fmla="*/ 2256837 h 3403632"/>
              <a:gd name="connsiteX870" fmla="*/ 1387485 w 3905665"/>
              <a:gd name="connsiteY870" fmla="*/ 2252392 h 3403632"/>
              <a:gd name="connsiteX871" fmla="*/ 1389213 w 3905665"/>
              <a:gd name="connsiteY871" fmla="*/ 2254120 h 3403632"/>
              <a:gd name="connsiteX872" fmla="*/ 1387485 w 3905665"/>
              <a:gd name="connsiteY872" fmla="*/ 2255849 h 3403632"/>
              <a:gd name="connsiteX873" fmla="*/ 1385756 w 3905665"/>
              <a:gd name="connsiteY873" fmla="*/ 2254120 h 3403632"/>
              <a:gd name="connsiteX874" fmla="*/ 1387485 w 3905665"/>
              <a:gd name="connsiteY874" fmla="*/ 2252392 h 3403632"/>
              <a:gd name="connsiteX875" fmla="*/ 853088 w 3905665"/>
              <a:gd name="connsiteY875" fmla="*/ 2251900 h 3403632"/>
              <a:gd name="connsiteX876" fmla="*/ 854568 w 3905665"/>
              <a:gd name="connsiteY876" fmla="*/ 2253380 h 3403632"/>
              <a:gd name="connsiteX877" fmla="*/ 853088 w 3905665"/>
              <a:gd name="connsiteY877" fmla="*/ 2254862 h 3403632"/>
              <a:gd name="connsiteX878" fmla="*/ 851605 w 3905665"/>
              <a:gd name="connsiteY878" fmla="*/ 2253380 h 3403632"/>
              <a:gd name="connsiteX879" fmla="*/ 853088 w 3905665"/>
              <a:gd name="connsiteY879" fmla="*/ 2251900 h 3403632"/>
              <a:gd name="connsiteX880" fmla="*/ 1991957 w 3905665"/>
              <a:gd name="connsiteY880" fmla="*/ 2247456 h 3403632"/>
              <a:gd name="connsiteX881" fmla="*/ 1999856 w 3905665"/>
              <a:gd name="connsiteY881" fmla="*/ 2255355 h 3403632"/>
              <a:gd name="connsiteX882" fmla="*/ 1991957 w 3905665"/>
              <a:gd name="connsiteY882" fmla="*/ 2263254 h 3403632"/>
              <a:gd name="connsiteX883" fmla="*/ 1984058 w 3905665"/>
              <a:gd name="connsiteY883" fmla="*/ 2255355 h 3403632"/>
              <a:gd name="connsiteX884" fmla="*/ 1991957 w 3905665"/>
              <a:gd name="connsiteY884" fmla="*/ 2247456 h 3403632"/>
              <a:gd name="connsiteX885" fmla="*/ 2664827 w 3905665"/>
              <a:gd name="connsiteY885" fmla="*/ 2238569 h 3403632"/>
              <a:gd name="connsiteX886" fmla="*/ 2678650 w 3905665"/>
              <a:gd name="connsiteY886" fmla="*/ 2252638 h 3403632"/>
              <a:gd name="connsiteX887" fmla="*/ 2664827 w 3905665"/>
              <a:gd name="connsiteY887" fmla="*/ 2266461 h 3403632"/>
              <a:gd name="connsiteX888" fmla="*/ 2651004 w 3905665"/>
              <a:gd name="connsiteY888" fmla="*/ 2252638 h 3403632"/>
              <a:gd name="connsiteX889" fmla="*/ 2664827 w 3905665"/>
              <a:gd name="connsiteY889" fmla="*/ 2238569 h 3403632"/>
              <a:gd name="connsiteX890" fmla="*/ 512943 w 3905665"/>
              <a:gd name="connsiteY890" fmla="*/ 2237336 h 3403632"/>
              <a:gd name="connsiteX891" fmla="*/ 515905 w 3905665"/>
              <a:gd name="connsiteY891" fmla="*/ 2240298 h 3403632"/>
              <a:gd name="connsiteX892" fmla="*/ 512943 w 3905665"/>
              <a:gd name="connsiteY892" fmla="*/ 2243260 h 3403632"/>
              <a:gd name="connsiteX893" fmla="*/ 509981 w 3905665"/>
              <a:gd name="connsiteY893" fmla="*/ 2240298 h 3403632"/>
              <a:gd name="connsiteX894" fmla="*/ 512943 w 3905665"/>
              <a:gd name="connsiteY894" fmla="*/ 2237336 h 3403632"/>
              <a:gd name="connsiteX895" fmla="*/ 1177423 w 3905665"/>
              <a:gd name="connsiteY895" fmla="*/ 2235115 h 3403632"/>
              <a:gd name="connsiteX896" fmla="*/ 1180385 w 3905665"/>
              <a:gd name="connsiteY896" fmla="*/ 2238077 h 3403632"/>
              <a:gd name="connsiteX897" fmla="*/ 1177423 w 3905665"/>
              <a:gd name="connsiteY897" fmla="*/ 2241039 h 3403632"/>
              <a:gd name="connsiteX898" fmla="*/ 1174461 w 3905665"/>
              <a:gd name="connsiteY898" fmla="*/ 2238077 h 3403632"/>
              <a:gd name="connsiteX899" fmla="*/ 1177423 w 3905665"/>
              <a:gd name="connsiteY899" fmla="*/ 2235115 h 3403632"/>
              <a:gd name="connsiteX900" fmla="*/ 2184488 w 3905665"/>
              <a:gd name="connsiteY900" fmla="*/ 2231412 h 3403632"/>
              <a:gd name="connsiteX901" fmla="*/ 2196585 w 3905665"/>
              <a:gd name="connsiteY901" fmla="*/ 2243506 h 3403632"/>
              <a:gd name="connsiteX902" fmla="*/ 2184488 w 3905665"/>
              <a:gd name="connsiteY902" fmla="*/ 2255603 h 3403632"/>
              <a:gd name="connsiteX903" fmla="*/ 2172394 w 3905665"/>
              <a:gd name="connsiteY903" fmla="*/ 2243506 h 3403632"/>
              <a:gd name="connsiteX904" fmla="*/ 2184488 w 3905665"/>
              <a:gd name="connsiteY904" fmla="*/ 2231412 h 3403632"/>
              <a:gd name="connsiteX905" fmla="*/ 962188 w 3905665"/>
              <a:gd name="connsiteY905" fmla="*/ 2209196 h 3403632"/>
              <a:gd name="connsiteX906" fmla="*/ 965645 w 3905665"/>
              <a:gd name="connsiteY906" fmla="*/ 2212653 h 3403632"/>
              <a:gd name="connsiteX907" fmla="*/ 962188 w 3905665"/>
              <a:gd name="connsiteY907" fmla="*/ 2216108 h 3403632"/>
              <a:gd name="connsiteX908" fmla="*/ 958734 w 3905665"/>
              <a:gd name="connsiteY908" fmla="*/ 2212653 h 3403632"/>
              <a:gd name="connsiteX909" fmla="*/ 962188 w 3905665"/>
              <a:gd name="connsiteY909" fmla="*/ 2209196 h 3403632"/>
              <a:gd name="connsiteX910" fmla="*/ 625011 w 3905665"/>
              <a:gd name="connsiteY910" fmla="*/ 2208949 h 3403632"/>
              <a:gd name="connsiteX911" fmla="*/ 627479 w 3905665"/>
              <a:gd name="connsiteY911" fmla="*/ 2211416 h 3403632"/>
              <a:gd name="connsiteX912" fmla="*/ 625011 w 3905665"/>
              <a:gd name="connsiteY912" fmla="*/ 2213886 h 3403632"/>
              <a:gd name="connsiteX913" fmla="*/ 622542 w 3905665"/>
              <a:gd name="connsiteY913" fmla="*/ 2211416 h 3403632"/>
              <a:gd name="connsiteX914" fmla="*/ 625011 w 3905665"/>
              <a:gd name="connsiteY914" fmla="*/ 2208949 h 3403632"/>
              <a:gd name="connsiteX915" fmla="*/ 2382696 w 3905665"/>
              <a:gd name="connsiteY915" fmla="*/ 2202284 h 3403632"/>
              <a:gd name="connsiteX916" fmla="*/ 2398494 w 3905665"/>
              <a:gd name="connsiteY916" fmla="*/ 2218081 h 3403632"/>
              <a:gd name="connsiteX917" fmla="*/ 2382696 w 3905665"/>
              <a:gd name="connsiteY917" fmla="*/ 2233879 h 3403632"/>
              <a:gd name="connsiteX918" fmla="*/ 2366899 w 3905665"/>
              <a:gd name="connsiteY918" fmla="*/ 2218081 h 3403632"/>
              <a:gd name="connsiteX919" fmla="*/ 2382696 w 3905665"/>
              <a:gd name="connsiteY919" fmla="*/ 2202284 h 3403632"/>
              <a:gd name="connsiteX920" fmla="*/ 55067 w 3905665"/>
              <a:gd name="connsiteY920" fmla="*/ 2201297 h 3403632"/>
              <a:gd name="connsiteX921" fmla="*/ 57288 w 3905665"/>
              <a:gd name="connsiteY921" fmla="*/ 2203521 h 3403632"/>
              <a:gd name="connsiteX922" fmla="*/ 55067 w 3905665"/>
              <a:gd name="connsiteY922" fmla="*/ 2205742 h 3403632"/>
              <a:gd name="connsiteX923" fmla="*/ 52598 w 3905665"/>
              <a:gd name="connsiteY923" fmla="*/ 2203521 h 3403632"/>
              <a:gd name="connsiteX924" fmla="*/ 55067 w 3905665"/>
              <a:gd name="connsiteY924" fmla="*/ 2201297 h 3403632"/>
              <a:gd name="connsiteX925" fmla="*/ 1692331 w 3905665"/>
              <a:gd name="connsiteY925" fmla="*/ 2196363 h 3403632"/>
              <a:gd name="connsiteX926" fmla="*/ 1695540 w 3905665"/>
              <a:gd name="connsiteY926" fmla="*/ 2199571 h 3403632"/>
              <a:gd name="connsiteX927" fmla="*/ 1692331 w 3905665"/>
              <a:gd name="connsiteY927" fmla="*/ 2202782 h 3403632"/>
              <a:gd name="connsiteX928" fmla="*/ 1689123 w 3905665"/>
              <a:gd name="connsiteY928" fmla="*/ 2199571 h 3403632"/>
              <a:gd name="connsiteX929" fmla="*/ 1692331 w 3905665"/>
              <a:gd name="connsiteY929" fmla="*/ 2196363 h 3403632"/>
              <a:gd name="connsiteX930" fmla="*/ 1488934 w 3905665"/>
              <a:gd name="connsiteY930" fmla="*/ 2195373 h 3403632"/>
              <a:gd name="connsiteX931" fmla="*/ 1490909 w 3905665"/>
              <a:gd name="connsiteY931" fmla="*/ 2197348 h 3403632"/>
              <a:gd name="connsiteX932" fmla="*/ 1488934 w 3905665"/>
              <a:gd name="connsiteY932" fmla="*/ 2199322 h 3403632"/>
              <a:gd name="connsiteX933" fmla="*/ 1486959 w 3905665"/>
              <a:gd name="connsiteY933" fmla="*/ 2197348 h 3403632"/>
              <a:gd name="connsiteX934" fmla="*/ 1488934 w 3905665"/>
              <a:gd name="connsiteY934" fmla="*/ 2195373 h 3403632"/>
              <a:gd name="connsiteX935" fmla="*/ 1890541 w 3905665"/>
              <a:gd name="connsiteY935" fmla="*/ 2189944 h 3403632"/>
              <a:gd name="connsiteX936" fmla="*/ 1895477 w 3905665"/>
              <a:gd name="connsiteY936" fmla="*/ 2195127 h 3403632"/>
              <a:gd name="connsiteX937" fmla="*/ 1890541 w 3905665"/>
              <a:gd name="connsiteY937" fmla="*/ 2200313 h 3403632"/>
              <a:gd name="connsiteX938" fmla="*/ 1885359 w 3905665"/>
              <a:gd name="connsiteY938" fmla="*/ 2195127 h 3403632"/>
              <a:gd name="connsiteX939" fmla="*/ 1890541 w 3905665"/>
              <a:gd name="connsiteY939" fmla="*/ 2189944 h 3403632"/>
              <a:gd name="connsiteX940" fmla="*/ 170586 w 3905665"/>
              <a:gd name="connsiteY940" fmla="*/ 2189698 h 3403632"/>
              <a:gd name="connsiteX941" fmla="*/ 172561 w 3905665"/>
              <a:gd name="connsiteY941" fmla="*/ 2191427 h 3403632"/>
              <a:gd name="connsiteX942" fmla="*/ 170586 w 3905665"/>
              <a:gd name="connsiteY942" fmla="*/ 2193402 h 3403632"/>
              <a:gd name="connsiteX943" fmla="*/ 168857 w 3905665"/>
              <a:gd name="connsiteY943" fmla="*/ 2191427 h 3403632"/>
              <a:gd name="connsiteX944" fmla="*/ 170586 w 3905665"/>
              <a:gd name="connsiteY944" fmla="*/ 2189698 h 3403632"/>
              <a:gd name="connsiteX945" fmla="*/ 2566831 w 3905665"/>
              <a:gd name="connsiteY945" fmla="*/ 2187723 h 3403632"/>
              <a:gd name="connsiteX946" fmla="*/ 2575471 w 3905665"/>
              <a:gd name="connsiteY946" fmla="*/ 2196363 h 3403632"/>
              <a:gd name="connsiteX947" fmla="*/ 2566831 w 3905665"/>
              <a:gd name="connsiteY947" fmla="*/ 2205003 h 3403632"/>
              <a:gd name="connsiteX948" fmla="*/ 2558191 w 3905665"/>
              <a:gd name="connsiteY948" fmla="*/ 2196363 h 3403632"/>
              <a:gd name="connsiteX949" fmla="*/ 2566831 w 3905665"/>
              <a:gd name="connsiteY949" fmla="*/ 2187723 h 3403632"/>
              <a:gd name="connsiteX950" fmla="*/ 1282082 w 3905665"/>
              <a:gd name="connsiteY950" fmla="*/ 2184266 h 3403632"/>
              <a:gd name="connsiteX951" fmla="*/ 1284799 w 3905665"/>
              <a:gd name="connsiteY951" fmla="*/ 2186982 h 3403632"/>
              <a:gd name="connsiteX952" fmla="*/ 1282082 w 3905665"/>
              <a:gd name="connsiteY952" fmla="*/ 2189695 h 3403632"/>
              <a:gd name="connsiteX953" fmla="*/ 1279367 w 3905665"/>
              <a:gd name="connsiteY953" fmla="*/ 2186982 h 3403632"/>
              <a:gd name="connsiteX954" fmla="*/ 1282082 w 3905665"/>
              <a:gd name="connsiteY954" fmla="*/ 2184266 h 3403632"/>
              <a:gd name="connsiteX955" fmla="*/ 736084 w 3905665"/>
              <a:gd name="connsiteY955" fmla="*/ 2176367 h 3403632"/>
              <a:gd name="connsiteX956" fmla="*/ 738059 w 3905665"/>
              <a:gd name="connsiteY956" fmla="*/ 2178342 h 3403632"/>
              <a:gd name="connsiteX957" fmla="*/ 736084 w 3905665"/>
              <a:gd name="connsiteY957" fmla="*/ 2180316 h 3403632"/>
              <a:gd name="connsiteX958" fmla="*/ 734111 w 3905665"/>
              <a:gd name="connsiteY958" fmla="*/ 2178342 h 3403632"/>
              <a:gd name="connsiteX959" fmla="*/ 736084 w 3905665"/>
              <a:gd name="connsiteY959" fmla="*/ 2176367 h 3403632"/>
              <a:gd name="connsiteX960" fmla="*/ 2084274 w 3905665"/>
              <a:gd name="connsiteY960" fmla="*/ 2176121 h 3403632"/>
              <a:gd name="connsiteX961" fmla="*/ 2092911 w 3905665"/>
              <a:gd name="connsiteY961" fmla="*/ 2184761 h 3403632"/>
              <a:gd name="connsiteX962" fmla="*/ 2084274 w 3905665"/>
              <a:gd name="connsiteY962" fmla="*/ 2193401 h 3403632"/>
              <a:gd name="connsiteX963" fmla="*/ 2075634 w 3905665"/>
              <a:gd name="connsiteY963" fmla="*/ 2184761 h 3403632"/>
              <a:gd name="connsiteX964" fmla="*/ 2084274 w 3905665"/>
              <a:gd name="connsiteY964" fmla="*/ 2176121 h 3403632"/>
              <a:gd name="connsiteX965" fmla="*/ 285360 w 3905665"/>
              <a:gd name="connsiteY965" fmla="*/ 2171925 h 3403632"/>
              <a:gd name="connsiteX966" fmla="*/ 288817 w 3905665"/>
              <a:gd name="connsiteY966" fmla="*/ 2175380 h 3403632"/>
              <a:gd name="connsiteX967" fmla="*/ 285360 w 3905665"/>
              <a:gd name="connsiteY967" fmla="*/ 2178837 h 3403632"/>
              <a:gd name="connsiteX968" fmla="*/ 281906 w 3905665"/>
              <a:gd name="connsiteY968" fmla="*/ 2175380 h 3403632"/>
              <a:gd name="connsiteX969" fmla="*/ 285360 w 3905665"/>
              <a:gd name="connsiteY969" fmla="*/ 2171925 h 3403632"/>
              <a:gd name="connsiteX970" fmla="*/ 1069553 w 3905665"/>
              <a:gd name="connsiteY970" fmla="*/ 2164519 h 3403632"/>
              <a:gd name="connsiteX971" fmla="*/ 1072761 w 3905665"/>
              <a:gd name="connsiteY971" fmla="*/ 2167727 h 3403632"/>
              <a:gd name="connsiteX972" fmla="*/ 1069553 w 3905665"/>
              <a:gd name="connsiteY972" fmla="*/ 2170938 h 3403632"/>
              <a:gd name="connsiteX973" fmla="*/ 1066345 w 3905665"/>
              <a:gd name="connsiteY973" fmla="*/ 2167727 h 3403632"/>
              <a:gd name="connsiteX974" fmla="*/ 1069553 w 3905665"/>
              <a:gd name="connsiteY974" fmla="*/ 2164519 h 3403632"/>
              <a:gd name="connsiteX975" fmla="*/ 2273595 w 3905665"/>
              <a:gd name="connsiteY975" fmla="*/ 2156620 h 3403632"/>
              <a:gd name="connsiteX976" fmla="*/ 2286430 w 3905665"/>
              <a:gd name="connsiteY976" fmla="*/ 2169456 h 3403632"/>
              <a:gd name="connsiteX977" fmla="*/ 2273595 w 3905665"/>
              <a:gd name="connsiteY977" fmla="*/ 2182291 h 3403632"/>
              <a:gd name="connsiteX978" fmla="*/ 2260759 w 3905665"/>
              <a:gd name="connsiteY978" fmla="*/ 2169456 h 3403632"/>
              <a:gd name="connsiteX979" fmla="*/ 2273595 w 3905665"/>
              <a:gd name="connsiteY979" fmla="*/ 2156620 h 3403632"/>
              <a:gd name="connsiteX980" fmla="*/ 2747268 w 3905665"/>
              <a:gd name="connsiteY980" fmla="*/ 2155633 h 3403632"/>
              <a:gd name="connsiteX981" fmla="*/ 2762078 w 3905665"/>
              <a:gd name="connsiteY981" fmla="*/ 2170443 h 3403632"/>
              <a:gd name="connsiteX982" fmla="*/ 2747268 w 3905665"/>
              <a:gd name="connsiteY982" fmla="*/ 2185254 h 3403632"/>
              <a:gd name="connsiteX983" fmla="*/ 2732458 w 3905665"/>
              <a:gd name="connsiteY983" fmla="*/ 2170443 h 3403632"/>
              <a:gd name="connsiteX984" fmla="*/ 2747268 w 3905665"/>
              <a:gd name="connsiteY984" fmla="*/ 2155633 h 3403632"/>
              <a:gd name="connsiteX985" fmla="*/ 399644 w 3905665"/>
              <a:gd name="connsiteY985" fmla="*/ 2151438 h 3403632"/>
              <a:gd name="connsiteX986" fmla="*/ 402606 w 3905665"/>
              <a:gd name="connsiteY986" fmla="*/ 2154400 h 3403632"/>
              <a:gd name="connsiteX987" fmla="*/ 399644 w 3905665"/>
              <a:gd name="connsiteY987" fmla="*/ 2157362 h 3403632"/>
              <a:gd name="connsiteX988" fmla="*/ 396682 w 3905665"/>
              <a:gd name="connsiteY988" fmla="*/ 2154400 h 3403632"/>
              <a:gd name="connsiteX989" fmla="*/ 399644 w 3905665"/>
              <a:gd name="connsiteY989" fmla="*/ 2151438 h 3403632"/>
              <a:gd name="connsiteX990" fmla="*/ 845679 w 3905665"/>
              <a:gd name="connsiteY990" fmla="*/ 2139094 h 3403632"/>
              <a:gd name="connsiteX991" fmla="*/ 847408 w 3905665"/>
              <a:gd name="connsiteY991" fmla="*/ 2140574 h 3403632"/>
              <a:gd name="connsiteX992" fmla="*/ 845679 w 3905665"/>
              <a:gd name="connsiteY992" fmla="*/ 2142302 h 3403632"/>
              <a:gd name="connsiteX993" fmla="*/ 844200 w 3905665"/>
              <a:gd name="connsiteY993" fmla="*/ 2140574 h 3403632"/>
              <a:gd name="connsiteX994" fmla="*/ 845679 w 3905665"/>
              <a:gd name="connsiteY994" fmla="*/ 2139094 h 3403632"/>
              <a:gd name="connsiteX995" fmla="*/ 1588411 w 3905665"/>
              <a:gd name="connsiteY995" fmla="*/ 2135145 h 3403632"/>
              <a:gd name="connsiteX996" fmla="*/ 1590632 w 3905665"/>
              <a:gd name="connsiteY996" fmla="*/ 2137366 h 3403632"/>
              <a:gd name="connsiteX997" fmla="*/ 1588411 w 3905665"/>
              <a:gd name="connsiteY997" fmla="*/ 2139587 h 3403632"/>
              <a:gd name="connsiteX998" fmla="*/ 1586190 w 3905665"/>
              <a:gd name="connsiteY998" fmla="*/ 2137366 h 3403632"/>
              <a:gd name="connsiteX999" fmla="*/ 1588411 w 3905665"/>
              <a:gd name="connsiteY999" fmla="*/ 2135145 h 3403632"/>
              <a:gd name="connsiteX1000" fmla="*/ 1788597 w 3905665"/>
              <a:gd name="connsiteY1000" fmla="*/ 2132678 h 3403632"/>
              <a:gd name="connsiteX1001" fmla="*/ 1790326 w 3905665"/>
              <a:gd name="connsiteY1001" fmla="*/ 2134406 h 3403632"/>
              <a:gd name="connsiteX1002" fmla="*/ 1788597 w 3905665"/>
              <a:gd name="connsiteY1002" fmla="*/ 2136135 h 3403632"/>
              <a:gd name="connsiteX1003" fmla="*/ 1786869 w 3905665"/>
              <a:gd name="connsiteY1003" fmla="*/ 2134406 h 3403632"/>
              <a:gd name="connsiteX1004" fmla="*/ 1788597 w 3905665"/>
              <a:gd name="connsiteY1004" fmla="*/ 2132678 h 3403632"/>
              <a:gd name="connsiteX1005" fmla="*/ 1384767 w 3905665"/>
              <a:gd name="connsiteY1005" fmla="*/ 2129470 h 3403632"/>
              <a:gd name="connsiteX1006" fmla="*/ 1387481 w 3905665"/>
              <a:gd name="connsiteY1006" fmla="*/ 2131937 h 3403632"/>
              <a:gd name="connsiteX1007" fmla="*/ 1384767 w 3905665"/>
              <a:gd name="connsiteY1007" fmla="*/ 2134653 h 3403632"/>
              <a:gd name="connsiteX1008" fmla="*/ 1382298 w 3905665"/>
              <a:gd name="connsiteY1008" fmla="*/ 2131937 h 3403632"/>
              <a:gd name="connsiteX1009" fmla="*/ 1384767 w 3905665"/>
              <a:gd name="connsiteY1009" fmla="*/ 2129470 h 3403632"/>
              <a:gd name="connsiteX1010" fmla="*/ 512692 w 3905665"/>
              <a:gd name="connsiteY1010" fmla="*/ 2126508 h 3403632"/>
              <a:gd name="connsiteX1011" fmla="*/ 515162 w 3905665"/>
              <a:gd name="connsiteY1011" fmla="*/ 2128978 h 3403632"/>
              <a:gd name="connsiteX1012" fmla="*/ 512692 w 3905665"/>
              <a:gd name="connsiteY1012" fmla="*/ 2131445 h 3403632"/>
              <a:gd name="connsiteX1013" fmla="*/ 510225 w 3905665"/>
              <a:gd name="connsiteY1013" fmla="*/ 2128978 h 3403632"/>
              <a:gd name="connsiteX1014" fmla="*/ 512692 w 3905665"/>
              <a:gd name="connsiteY1014" fmla="*/ 2126508 h 3403632"/>
              <a:gd name="connsiteX1015" fmla="*/ 2468839 w 3905665"/>
              <a:gd name="connsiteY1015" fmla="*/ 2122805 h 3403632"/>
              <a:gd name="connsiteX1016" fmla="*/ 2485624 w 3905665"/>
              <a:gd name="connsiteY1016" fmla="*/ 2139590 h 3403632"/>
              <a:gd name="connsiteX1017" fmla="*/ 2468839 w 3905665"/>
              <a:gd name="connsiteY1017" fmla="*/ 2156375 h 3403632"/>
              <a:gd name="connsiteX1018" fmla="*/ 2452054 w 3905665"/>
              <a:gd name="connsiteY1018" fmla="*/ 2139590 h 3403632"/>
              <a:gd name="connsiteX1019" fmla="*/ 2468839 w 3905665"/>
              <a:gd name="connsiteY1019" fmla="*/ 2122805 h 3403632"/>
              <a:gd name="connsiteX1020" fmla="*/ 1983566 w 3905665"/>
              <a:gd name="connsiteY1020" fmla="*/ 2120584 h 3403632"/>
              <a:gd name="connsiteX1021" fmla="*/ 1988995 w 3905665"/>
              <a:gd name="connsiteY1021" fmla="*/ 2126016 h 3403632"/>
              <a:gd name="connsiteX1022" fmla="*/ 1983566 w 3905665"/>
              <a:gd name="connsiteY1022" fmla="*/ 2131445 h 3403632"/>
              <a:gd name="connsiteX1023" fmla="*/ 1978134 w 3905665"/>
              <a:gd name="connsiteY1023" fmla="*/ 2126016 h 3403632"/>
              <a:gd name="connsiteX1024" fmla="*/ 1983566 w 3905665"/>
              <a:gd name="connsiteY1024" fmla="*/ 2120584 h 3403632"/>
              <a:gd name="connsiteX1025" fmla="*/ 1175447 w 3905665"/>
              <a:gd name="connsiteY1025" fmla="*/ 2115893 h 3403632"/>
              <a:gd name="connsiteX1026" fmla="*/ 1178408 w 3905665"/>
              <a:gd name="connsiteY1026" fmla="*/ 2118855 h 3403632"/>
              <a:gd name="connsiteX1027" fmla="*/ 1175447 w 3905665"/>
              <a:gd name="connsiteY1027" fmla="*/ 2121817 h 3403632"/>
              <a:gd name="connsiteX1028" fmla="*/ 1172484 w 3905665"/>
              <a:gd name="connsiteY1028" fmla="*/ 2118855 h 3403632"/>
              <a:gd name="connsiteX1029" fmla="*/ 1175447 w 3905665"/>
              <a:gd name="connsiteY1029" fmla="*/ 2115893 h 3403632"/>
              <a:gd name="connsiteX1030" fmla="*/ 2649770 w 3905665"/>
              <a:gd name="connsiteY1030" fmla="*/ 2105279 h 3403632"/>
              <a:gd name="connsiteX1031" fmla="*/ 2659149 w 3905665"/>
              <a:gd name="connsiteY1031" fmla="*/ 2114660 h 3403632"/>
              <a:gd name="connsiteX1032" fmla="*/ 2649770 w 3905665"/>
              <a:gd name="connsiteY1032" fmla="*/ 2124038 h 3403632"/>
              <a:gd name="connsiteX1033" fmla="*/ 2640389 w 3905665"/>
              <a:gd name="connsiteY1033" fmla="*/ 2114660 h 3403632"/>
              <a:gd name="connsiteX1034" fmla="*/ 2649770 w 3905665"/>
              <a:gd name="connsiteY1034" fmla="*/ 2105279 h 3403632"/>
              <a:gd name="connsiteX1035" fmla="*/ 2174122 w 3905665"/>
              <a:gd name="connsiteY1035" fmla="*/ 2102071 h 3403632"/>
              <a:gd name="connsiteX1036" fmla="*/ 2183500 w 3905665"/>
              <a:gd name="connsiteY1036" fmla="*/ 2111452 h 3403632"/>
              <a:gd name="connsiteX1037" fmla="*/ 2174122 w 3905665"/>
              <a:gd name="connsiteY1037" fmla="*/ 2120830 h 3403632"/>
              <a:gd name="connsiteX1038" fmla="*/ 2164741 w 3905665"/>
              <a:gd name="connsiteY1038" fmla="*/ 2111452 h 3403632"/>
              <a:gd name="connsiteX1039" fmla="*/ 2174122 w 3905665"/>
              <a:gd name="connsiteY1039" fmla="*/ 2102071 h 3403632"/>
              <a:gd name="connsiteX1040" fmla="*/ 953792 w 3905665"/>
              <a:gd name="connsiteY1040" fmla="*/ 2097629 h 3403632"/>
              <a:gd name="connsiteX1041" fmla="*/ 955026 w 3905665"/>
              <a:gd name="connsiteY1041" fmla="*/ 2098863 h 3403632"/>
              <a:gd name="connsiteX1042" fmla="*/ 953792 w 3905665"/>
              <a:gd name="connsiteY1042" fmla="*/ 2100099 h 3403632"/>
              <a:gd name="connsiteX1043" fmla="*/ 952559 w 3905665"/>
              <a:gd name="connsiteY1043" fmla="*/ 2098863 h 3403632"/>
              <a:gd name="connsiteX1044" fmla="*/ 953792 w 3905665"/>
              <a:gd name="connsiteY1044" fmla="*/ 2097629 h 3403632"/>
              <a:gd name="connsiteX1045" fmla="*/ 624760 w 3905665"/>
              <a:gd name="connsiteY1045" fmla="*/ 2096888 h 3403632"/>
              <a:gd name="connsiteX1046" fmla="*/ 626735 w 3905665"/>
              <a:gd name="connsiteY1046" fmla="*/ 2098863 h 3403632"/>
              <a:gd name="connsiteX1047" fmla="*/ 624760 w 3905665"/>
              <a:gd name="connsiteY1047" fmla="*/ 2100837 h 3403632"/>
              <a:gd name="connsiteX1048" fmla="*/ 622785 w 3905665"/>
              <a:gd name="connsiteY1048" fmla="*/ 2098863 h 3403632"/>
              <a:gd name="connsiteX1049" fmla="*/ 624760 w 3905665"/>
              <a:gd name="connsiteY1049" fmla="*/ 2096888 h 3403632"/>
              <a:gd name="connsiteX1050" fmla="*/ 54817 w 3905665"/>
              <a:gd name="connsiteY1050" fmla="*/ 2091705 h 3403632"/>
              <a:gd name="connsiteX1051" fmla="*/ 57532 w 3905665"/>
              <a:gd name="connsiteY1051" fmla="*/ 2094421 h 3403632"/>
              <a:gd name="connsiteX1052" fmla="*/ 54817 w 3905665"/>
              <a:gd name="connsiteY1052" fmla="*/ 2097134 h 3403632"/>
              <a:gd name="connsiteX1053" fmla="*/ 52101 w 3905665"/>
              <a:gd name="connsiteY1053" fmla="*/ 2094421 h 3403632"/>
              <a:gd name="connsiteX1054" fmla="*/ 54817 w 3905665"/>
              <a:gd name="connsiteY1054" fmla="*/ 2091705 h 3403632"/>
              <a:gd name="connsiteX1055" fmla="*/ 170335 w 3905665"/>
              <a:gd name="connsiteY1055" fmla="*/ 2079857 h 3403632"/>
              <a:gd name="connsiteX1056" fmla="*/ 172556 w 3905665"/>
              <a:gd name="connsiteY1056" fmla="*/ 2082327 h 3403632"/>
              <a:gd name="connsiteX1057" fmla="*/ 170335 w 3905665"/>
              <a:gd name="connsiteY1057" fmla="*/ 2084548 h 3403632"/>
              <a:gd name="connsiteX1058" fmla="*/ 167865 w 3905665"/>
              <a:gd name="connsiteY1058" fmla="*/ 2082327 h 3403632"/>
              <a:gd name="connsiteX1059" fmla="*/ 170335 w 3905665"/>
              <a:gd name="connsiteY1059" fmla="*/ 2079857 h 3403632"/>
              <a:gd name="connsiteX1060" fmla="*/ 2360234 w 3905665"/>
              <a:gd name="connsiteY1060" fmla="*/ 2078374 h 3403632"/>
              <a:gd name="connsiteX1061" fmla="*/ 2374057 w 3905665"/>
              <a:gd name="connsiteY1061" fmla="*/ 2092197 h 3403632"/>
              <a:gd name="connsiteX1062" fmla="*/ 2360234 w 3905665"/>
              <a:gd name="connsiteY1062" fmla="*/ 2106020 h 3403632"/>
              <a:gd name="connsiteX1063" fmla="*/ 2346411 w 3905665"/>
              <a:gd name="connsiteY1063" fmla="*/ 2092197 h 3403632"/>
              <a:gd name="connsiteX1064" fmla="*/ 2360234 w 3905665"/>
              <a:gd name="connsiteY1064" fmla="*/ 2078374 h 3403632"/>
              <a:gd name="connsiteX1065" fmla="*/ 1485231 w 3905665"/>
              <a:gd name="connsiteY1065" fmla="*/ 2070968 h 3403632"/>
              <a:gd name="connsiteX1066" fmla="*/ 1487698 w 3905665"/>
              <a:gd name="connsiteY1066" fmla="*/ 2073438 h 3403632"/>
              <a:gd name="connsiteX1067" fmla="*/ 1485231 w 3905665"/>
              <a:gd name="connsiteY1067" fmla="*/ 2075905 h 3403632"/>
              <a:gd name="connsiteX1068" fmla="*/ 1482761 w 3905665"/>
              <a:gd name="connsiteY1068" fmla="*/ 2073438 h 3403632"/>
              <a:gd name="connsiteX1069" fmla="*/ 1485231 w 3905665"/>
              <a:gd name="connsiteY1069" fmla="*/ 2070968 h 3403632"/>
              <a:gd name="connsiteX1070" fmla="*/ 1685913 w 3905665"/>
              <a:gd name="connsiteY1070" fmla="*/ 2070722 h 3403632"/>
              <a:gd name="connsiteX1071" fmla="*/ 1688628 w 3905665"/>
              <a:gd name="connsiteY1071" fmla="*/ 2073438 h 3403632"/>
              <a:gd name="connsiteX1072" fmla="*/ 1685913 w 3905665"/>
              <a:gd name="connsiteY1072" fmla="*/ 2076154 h 3403632"/>
              <a:gd name="connsiteX1073" fmla="*/ 1683196 w 3905665"/>
              <a:gd name="connsiteY1073" fmla="*/ 2073438 h 3403632"/>
              <a:gd name="connsiteX1074" fmla="*/ 1685913 w 3905665"/>
              <a:gd name="connsiteY1074" fmla="*/ 2070722 h 3403632"/>
              <a:gd name="connsiteX1075" fmla="*/ 2827242 w 3905665"/>
              <a:gd name="connsiteY1075" fmla="*/ 2070476 h 3403632"/>
              <a:gd name="connsiteX1076" fmla="*/ 2842791 w 3905665"/>
              <a:gd name="connsiteY1076" fmla="*/ 2086027 h 3403632"/>
              <a:gd name="connsiteX1077" fmla="*/ 2827242 w 3905665"/>
              <a:gd name="connsiteY1077" fmla="*/ 2101579 h 3403632"/>
              <a:gd name="connsiteX1078" fmla="*/ 2811691 w 3905665"/>
              <a:gd name="connsiteY1078" fmla="*/ 2086027 h 3403632"/>
              <a:gd name="connsiteX1079" fmla="*/ 2827242 w 3905665"/>
              <a:gd name="connsiteY1079" fmla="*/ 2070476 h 3403632"/>
              <a:gd name="connsiteX1080" fmla="*/ 1882639 w 3905665"/>
              <a:gd name="connsiteY1080" fmla="*/ 2064057 h 3403632"/>
              <a:gd name="connsiteX1081" fmla="*/ 1884862 w 3905665"/>
              <a:gd name="connsiteY1081" fmla="*/ 2066278 h 3403632"/>
              <a:gd name="connsiteX1082" fmla="*/ 1882639 w 3905665"/>
              <a:gd name="connsiteY1082" fmla="*/ 2068502 h 3403632"/>
              <a:gd name="connsiteX1083" fmla="*/ 1880419 w 3905665"/>
              <a:gd name="connsiteY1083" fmla="*/ 2066278 h 3403632"/>
              <a:gd name="connsiteX1084" fmla="*/ 1882639 w 3905665"/>
              <a:gd name="connsiteY1084" fmla="*/ 2064057 h 3403632"/>
              <a:gd name="connsiteX1085" fmla="*/ 285111 w 3905665"/>
              <a:gd name="connsiteY1085" fmla="*/ 2063318 h 3403632"/>
              <a:gd name="connsiteX1086" fmla="*/ 287086 w 3905665"/>
              <a:gd name="connsiteY1086" fmla="*/ 2065293 h 3403632"/>
              <a:gd name="connsiteX1087" fmla="*/ 285111 w 3905665"/>
              <a:gd name="connsiteY1087" fmla="*/ 2067267 h 3403632"/>
              <a:gd name="connsiteX1088" fmla="*/ 283137 w 3905665"/>
              <a:gd name="connsiteY1088" fmla="*/ 2065293 h 3403632"/>
              <a:gd name="connsiteX1089" fmla="*/ 285111 w 3905665"/>
              <a:gd name="connsiteY1089" fmla="*/ 2063318 h 3403632"/>
              <a:gd name="connsiteX1090" fmla="*/ 1279119 w 3905665"/>
              <a:gd name="connsiteY1090" fmla="*/ 2063072 h 3403632"/>
              <a:gd name="connsiteX1091" fmla="*/ 1282081 w 3905665"/>
              <a:gd name="connsiteY1091" fmla="*/ 2066034 h 3403632"/>
              <a:gd name="connsiteX1092" fmla="*/ 1279119 w 3905665"/>
              <a:gd name="connsiteY1092" fmla="*/ 2068750 h 3403632"/>
              <a:gd name="connsiteX1093" fmla="*/ 1276403 w 3905665"/>
              <a:gd name="connsiteY1093" fmla="*/ 2066034 h 3403632"/>
              <a:gd name="connsiteX1094" fmla="*/ 1279119 w 3905665"/>
              <a:gd name="connsiteY1094" fmla="*/ 2063072 h 3403632"/>
              <a:gd name="connsiteX1095" fmla="*/ 735587 w 3905665"/>
              <a:gd name="connsiteY1095" fmla="*/ 2062823 h 3403632"/>
              <a:gd name="connsiteX1096" fmla="*/ 737069 w 3905665"/>
              <a:gd name="connsiteY1096" fmla="*/ 2064303 h 3403632"/>
              <a:gd name="connsiteX1097" fmla="*/ 735587 w 3905665"/>
              <a:gd name="connsiteY1097" fmla="*/ 2065785 h 3403632"/>
              <a:gd name="connsiteX1098" fmla="*/ 734109 w 3905665"/>
              <a:gd name="connsiteY1098" fmla="*/ 2064303 h 3403632"/>
              <a:gd name="connsiteX1099" fmla="*/ 735587 w 3905665"/>
              <a:gd name="connsiteY1099" fmla="*/ 2062823 h 3403632"/>
              <a:gd name="connsiteX1100" fmla="*/ 1060176 w 3905665"/>
              <a:gd name="connsiteY1100" fmla="*/ 2051716 h 3403632"/>
              <a:gd name="connsiteX1101" fmla="*/ 1061164 w 3905665"/>
              <a:gd name="connsiteY1101" fmla="*/ 2052704 h 3403632"/>
              <a:gd name="connsiteX1102" fmla="*/ 1060176 w 3905665"/>
              <a:gd name="connsiteY1102" fmla="*/ 2053691 h 3403632"/>
              <a:gd name="connsiteX1103" fmla="*/ 1059189 w 3905665"/>
              <a:gd name="connsiteY1103" fmla="*/ 2052704 h 3403632"/>
              <a:gd name="connsiteX1104" fmla="*/ 1060176 w 3905665"/>
              <a:gd name="connsiteY1104" fmla="*/ 2051716 h 3403632"/>
              <a:gd name="connsiteX1105" fmla="*/ 2074398 w 3905665"/>
              <a:gd name="connsiteY1105" fmla="*/ 2047521 h 3403632"/>
              <a:gd name="connsiteX1106" fmla="*/ 2080322 w 3905665"/>
              <a:gd name="connsiteY1106" fmla="*/ 2053445 h 3403632"/>
              <a:gd name="connsiteX1107" fmla="*/ 2074398 w 3905665"/>
              <a:gd name="connsiteY1107" fmla="*/ 2059369 h 3403632"/>
              <a:gd name="connsiteX1108" fmla="*/ 2068474 w 3905665"/>
              <a:gd name="connsiteY1108" fmla="*/ 2053445 h 3403632"/>
              <a:gd name="connsiteX1109" fmla="*/ 2074398 w 3905665"/>
              <a:gd name="connsiteY1109" fmla="*/ 2047521 h 3403632"/>
              <a:gd name="connsiteX1110" fmla="*/ 399150 w 3905665"/>
              <a:gd name="connsiteY1110" fmla="*/ 2041843 h 3403632"/>
              <a:gd name="connsiteX1111" fmla="*/ 400875 w 3905665"/>
              <a:gd name="connsiteY1111" fmla="*/ 2043571 h 3403632"/>
              <a:gd name="connsiteX1112" fmla="*/ 399150 w 3905665"/>
              <a:gd name="connsiteY1112" fmla="*/ 2045300 h 3403632"/>
              <a:gd name="connsiteX1113" fmla="*/ 397421 w 3905665"/>
              <a:gd name="connsiteY1113" fmla="*/ 2043571 h 3403632"/>
              <a:gd name="connsiteX1114" fmla="*/ 399150 w 3905665"/>
              <a:gd name="connsiteY1114" fmla="*/ 2041843 h 3403632"/>
              <a:gd name="connsiteX1115" fmla="*/ 2552516 w 3905665"/>
              <a:gd name="connsiteY1115" fmla="*/ 2041102 h 3403632"/>
              <a:gd name="connsiteX1116" fmla="*/ 2570288 w 3905665"/>
              <a:gd name="connsiteY1116" fmla="*/ 2058628 h 3403632"/>
              <a:gd name="connsiteX1117" fmla="*/ 2552516 w 3905665"/>
              <a:gd name="connsiteY1117" fmla="*/ 2076400 h 3403632"/>
              <a:gd name="connsiteX1118" fmla="*/ 2534744 w 3905665"/>
              <a:gd name="connsiteY1118" fmla="*/ 2058628 h 3403632"/>
              <a:gd name="connsiteX1119" fmla="*/ 2552516 w 3905665"/>
              <a:gd name="connsiteY1119" fmla="*/ 2041102 h 3403632"/>
              <a:gd name="connsiteX1120" fmla="*/ 2261747 w 3905665"/>
              <a:gd name="connsiteY1120" fmla="*/ 2025058 h 3403632"/>
              <a:gd name="connsiteX1121" fmla="*/ 2271866 w 3905665"/>
              <a:gd name="connsiteY1121" fmla="*/ 2035178 h 3403632"/>
              <a:gd name="connsiteX1122" fmla="*/ 2261747 w 3905665"/>
              <a:gd name="connsiteY1122" fmla="*/ 2045300 h 3403632"/>
              <a:gd name="connsiteX1123" fmla="*/ 2251627 w 3905665"/>
              <a:gd name="connsiteY1123" fmla="*/ 2035178 h 3403632"/>
              <a:gd name="connsiteX1124" fmla="*/ 2261747 w 3905665"/>
              <a:gd name="connsiteY1124" fmla="*/ 2025058 h 3403632"/>
              <a:gd name="connsiteX1125" fmla="*/ 844690 w 3905665"/>
              <a:gd name="connsiteY1125" fmla="*/ 2024317 h 3403632"/>
              <a:gd name="connsiteX1126" fmla="*/ 845678 w 3905665"/>
              <a:gd name="connsiteY1126" fmla="*/ 2025304 h 3403632"/>
              <a:gd name="connsiteX1127" fmla="*/ 844690 w 3905665"/>
              <a:gd name="connsiteY1127" fmla="*/ 2026292 h 3403632"/>
              <a:gd name="connsiteX1128" fmla="*/ 843703 w 3905665"/>
              <a:gd name="connsiteY1128" fmla="*/ 2025304 h 3403632"/>
              <a:gd name="connsiteX1129" fmla="*/ 844690 w 3905665"/>
              <a:gd name="connsiteY1129" fmla="*/ 2024317 h 3403632"/>
              <a:gd name="connsiteX1130" fmla="*/ 2730484 w 3905665"/>
              <a:gd name="connsiteY1130" fmla="*/ 2020368 h 3403632"/>
              <a:gd name="connsiteX1131" fmla="*/ 2740850 w 3905665"/>
              <a:gd name="connsiteY1131" fmla="*/ 2030737 h 3403632"/>
              <a:gd name="connsiteX1132" fmla="*/ 2730484 w 3905665"/>
              <a:gd name="connsiteY1132" fmla="*/ 2041103 h 3403632"/>
              <a:gd name="connsiteX1133" fmla="*/ 2720115 w 3905665"/>
              <a:gd name="connsiteY1133" fmla="*/ 2030737 h 3403632"/>
              <a:gd name="connsiteX1134" fmla="*/ 2730484 w 3905665"/>
              <a:gd name="connsiteY1134" fmla="*/ 2020368 h 3403632"/>
              <a:gd name="connsiteX1135" fmla="*/ 512199 w 3905665"/>
              <a:gd name="connsiteY1135" fmla="*/ 2013705 h 3403632"/>
              <a:gd name="connsiteX1136" fmla="*/ 515654 w 3905665"/>
              <a:gd name="connsiteY1136" fmla="*/ 2017160 h 3403632"/>
              <a:gd name="connsiteX1137" fmla="*/ 512199 w 3905665"/>
              <a:gd name="connsiteY1137" fmla="*/ 2020617 h 3403632"/>
              <a:gd name="connsiteX1138" fmla="*/ 508496 w 3905665"/>
              <a:gd name="connsiteY1138" fmla="*/ 2017160 h 3403632"/>
              <a:gd name="connsiteX1139" fmla="*/ 512199 w 3905665"/>
              <a:gd name="connsiteY1139" fmla="*/ 2013705 h 3403632"/>
              <a:gd name="connsiteX1140" fmla="*/ 1583718 w 3905665"/>
              <a:gd name="connsiteY1140" fmla="*/ 2009015 h 3403632"/>
              <a:gd name="connsiteX1141" fmla="*/ 1585939 w 3905665"/>
              <a:gd name="connsiteY1141" fmla="*/ 2011236 h 3403632"/>
              <a:gd name="connsiteX1142" fmla="*/ 1583718 w 3905665"/>
              <a:gd name="connsiteY1142" fmla="*/ 2013457 h 3403632"/>
              <a:gd name="connsiteX1143" fmla="*/ 1581497 w 3905665"/>
              <a:gd name="connsiteY1143" fmla="*/ 2011236 h 3403632"/>
              <a:gd name="connsiteX1144" fmla="*/ 1583718 w 3905665"/>
              <a:gd name="connsiteY1144" fmla="*/ 2009015 h 3403632"/>
              <a:gd name="connsiteX1145" fmla="*/ 1381064 w 3905665"/>
              <a:gd name="connsiteY1145" fmla="*/ 2006299 h 3403632"/>
              <a:gd name="connsiteX1146" fmla="*/ 1383780 w 3905665"/>
              <a:gd name="connsiteY1146" fmla="*/ 2009015 h 3403632"/>
              <a:gd name="connsiteX1147" fmla="*/ 1381064 w 3905665"/>
              <a:gd name="connsiteY1147" fmla="*/ 2011731 h 3403632"/>
              <a:gd name="connsiteX1148" fmla="*/ 1378349 w 3905665"/>
              <a:gd name="connsiteY1148" fmla="*/ 2009015 h 3403632"/>
              <a:gd name="connsiteX1149" fmla="*/ 1381064 w 3905665"/>
              <a:gd name="connsiteY1149" fmla="*/ 2006299 h 3403632"/>
              <a:gd name="connsiteX1150" fmla="*/ 1780944 w 3905665"/>
              <a:gd name="connsiteY1150" fmla="*/ 2003583 h 3403632"/>
              <a:gd name="connsiteX1151" fmla="*/ 1783905 w 3905665"/>
              <a:gd name="connsiteY1151" fmla="*/ 2006545 h 3403632"/>
              <a:gd name="connsiteX1152" fmla="*/ 1780944 w 3905665"/>
              <a:gd name="connsiteY1152" fmla="*/ 2009507 h 3403632"/>
              <a:gd name="connsiteX1153" fmla="*/ 1777982 w 3905665"/>
              <a:gd name="connsiteY1153" fmla="*/ 2006545 h 3403632"/>
              <a:gd name="connsiteX1154" fmla="*/ 1780944 w 3905665"/>
              <a:gd name="connsiteY1154" fmla="*/ 2003583 h 3403632"/>
              <a:gd name="connsiteX1155" fmla="*/ 1164830 w 3905665"/>
              <a:gd name="connsiteY1155" fmla="*/ 2001857 h 3403632"/>
              <a:gd name="connsiteX1156" fmla="*/ 1165818 w 3905665"/>
              <a:gd name="connsiteY1156" fmla="*/ 2002844 h 3403632"/>
              <a:gd name="connsiteX1157" fmla="*/ 1164830 w 3905665"/>
              <a:gd name="connsiteY1157" fmla="*/ 2003832 h 3403632"/>
              <a:gd name="connsiteX1158" fmla="*/ 1163843 w 3905665"/>
              <a:gd name="connsiteY1158" fmla="*/ 2002844 h 3403632"/>
              <a:gd name="connsiteX1159" fmla="*/ 1164830 w 3905665"/>
              <a:gd name="connsiteY1159" fmla="*/ 2001857 h 3403632"/>
              <a:gd name="connsiteX1160" fmla="*/ 2444650 w 3905665"/>
              <a:gd name="connsiteY1160" fmla="*/ 1998154 h 3403632"/>
              <a:gd name="connsiteX1161" fmla="*/ 2459214 w 3905665"/>
              <a:gd name="connsiteY1161" fmla="*/ 2012718 h 3403632"/>
              <a:gd name="connsiteX1162" fmla="*/ 2444650 w 3905665"/>
              <a:gd name="connsiteY1162" fmla="*/ 2027279 h 3403632"/>
              <a:gd name="connsiteX1163" fmla="*/ 2430086 w 3905665"/>
              <a:gd name="connsiteY1163" fmla="*/ 2012718 h 3403632"/>
              <a:gd name="connsiteX1164" fmla="*/ 2444650 w 3905665"/>
              <a:gd name="connsiteY1164" fmla="*/ 1998154 h 3403632"/>
              <a:gd name="connsiteX1165" fmla="*/ 1974437 w 3905665"/>
              <a:gd name="connsiteY1165" fmla="*/ 1991735 h 3403632"/>
              <a:gd name="connsiteX1166" fmla="*/ 1977401 w 3905665"/>
              <a:gd name="connsiteY1166" fmla="*/ 1994697 h 3403632"/>
              <a:gd name="connsiteX1167" fmla="*/ 1974437 w 3905665"/>
              <a:gd name="connsiteY1167" fmla="*/ 1997659 h 3403632"/>
              <a:gd name="connsiteX1168" fmla="*/ 1971473 w 3905665"/>
              <a:gd name="connsiteY1168" fmla="*/ 1994697 h 3403632"/>
              <a:gd name="connsiteX1169" fmla="*/ 1974437 w 3905665"/>
              <a:gd name="connsiteY1169" fmla="*/ 1991735 h 3403632"/>
              <a:gd name="connsiteX1170" fmla="*/ 2904996 w 3905665"/>
              <a:gd name="connsiteY1170" fmla="*/ 1983095 h 3403632"/>
              <a:gd name="connsiteX1171" fmla="*/ 2921286 w 3905665"/>
              <a:gd name="connsiteY1171" fmla="*/ 1999387 h 3403632"/>
              <a:gd name="connsiteX1172" fmla="*/ 2904996 w 3905665"/>
              <a:gd name="connsiteY1172" fmla="*/ 2015677 h 3403632"/>
              <a:gd name="connsiteX1173" fmla="*/ 2888704 w 3905665"/>
              <a:gd name="connsiteY1173" fmla="*/ 1999387 h 3403632"/>
              <a:gd name="connsiteX1174" fmla="*/ 2904996 w 3905665"/>
              <a:gd name="connsiteY1174" fmla="*/ 1983095 h 3403632"/>
              <a:gd name="connsiteX1175" fmla="*/ 624017 w 3905665"/>
              <a:gd name="connsiteY1175" fmla="*/ 1982603 h 3403632"/>
              <a:gd name="connsiteX1176" fmla="*/ 627225 w 3905665"/>
              <a:gd name="connsiteY1176" fmla="*/ 1985811 h 3403632"/>
              <a:gd name="connsiteX1177" fmla="*/ 624017 w 3905665"/>
              <a:gd name="connsiteY1177" fmla="*/ 1989022 h 3403632"/>
              <a:gd name="connsiteX1178" fmla="*/ 620809 w 3905665"/>
              <a:gd name="connsiteY1178" fmla="*/ 1985811 h 3403632"/>
              <a:gd name="connsiteX1179" fmla="*/ 624017 w 3905665"/>
              <a:gd name="connsiteY1179" fmla="*/ 1982603 h 3403632"/>
              <a:gd name="connsiteX1180" fmla="*/ 54569 w 3905665"/>
              <a:gd name="connsiteY1180" fmla="*/ 1982603 h 3403632"/>
              <a:gd name="connsiteX1181" fmla="*/ 57285 w 3905665"/>
              <a:gd name="connsiteY1181" fmla="*/ 1985319 h 3403632"/>
              <a:gd name="connsiteX1182" fmla="*/ 54569 w 3905665"/>
              <a:gd name="connsiteY1182" fmla="*/ 1988035 h 3403632"/>
              <a:gd name="connsiteX1183" fmla="*/ 51853 w 3905665"/>
              <a:gd name="connsiteY1183" fmla="*/ 1985319 h 3403632"/>
              <a:gd name="connsiteX1184" fmla="*/ 54569 w 3905665"/>
              <a:gd name="connsiteY1184" fmla="*/ 1982603 h 3403632"/>
              <a:gd name="connsiteX1185" fmla="*/ 952310 w 3905665"/>
              <a:gd name="connsiteY1185" fmla="*/ 1981123 h 3403632"/>
              <a:gd name="connsiteX1186" fmla="*/ 953049 w 3905665"/>
              <a:gd name="connsiteY1186" fmla="*/ 1981864 h 3403632"/>
              <a:gd name="connsiteX1187" fmla="*/ 952310 w 3905665"/>
              <a:gd name="connsiteY1187" fmla="*/ 1982603 h 3403632"/>
              <a:gd name="connsiteX1188" fmla="*/ 951569 w 3905665"/>
              <a:gd name="connsiteY1188" fmla="*/ 1981864 h 3403632"/>
              <a:gd name="connsiteX1189" fmla="*/ 952310 w 3905665"/>
              <a:gd name="connsiteY1189" fmla="*/ 1981123 h 3403632"/>
              <a:gd name="connsiteX1190" fmla="*/ 2162766 w 3905665"/>
              <a:gd name="connsiteY1190" fmla="*/ 1971742 h 3403632"/>
              <a:gd name="connsiteX1191" fmla="*/ 2169182 w 3905665"/>
              <a:gd name="connsiteY1191" fmla="*/ 1978161 h 3403632"/>
              <a:gd name="connsiteX1192" fmla="*/ 2162766 w 3905665"/>
              <a:gd name="connsiteY1192" fmla="*/ 1984332 h 3403632"/>
              <a:gd name="connsiteX1193" fmla="*/ 2156347 w 3905665"/>
              <a:gd name="connsiteY1193" fmla="*/ 1978161 h 3403632"/>
              <a:gd name="connsiteX1194" fmla="*/ 2162766 w 3905665"/>
              <a:gd name="connsiteY1194" fmla="*/ 1971742 h 3403632"/>
              <a:gd name="connsiteX1195" fmla="*/ 170333 w 3905665"/>
              <a:gd name="connsiteY1195" fmla="*/ 1970508 h 3403632"/>
              <a:gd name="connsiteX1196" fmla="*/ 172554 w 3905665"/>
              <a:gd name="connsiteY1196" fmla="*/ 1972729 h 3403632"/>
              <a:gd name="connsiteX1197" fmla="*/ 170333 w 3905665"/>
              <a:gd name="connsiteY1197" fmla="*/ 1975199 h 3403632"/>
              <a:gd name="connsiteX1198" fmla="*/ 167864 w 3905665"/>
              <a:gd name="connsiteY1198" fmla="*/ 1972729 h 3403632"/>
              <a:gd name="connsiteX1199" fmla="*/ 170333 w 3905665"/>
              <a:gd name="connsiteY1199" fmla="*/ 1970508 h 3403632"/>
              <a:gd name="connsiteX1200" fmla="*/ 2633973 w 3905665"/>
              <a:gd name="connsiteY1200" fmla="*/ 1956932 h 3403632"/>
              <a:gd name="connsiteX1201" fmla="*/ 2652487 w 3905665"/>
              <a:gd name="connsiteY1201" fmla="*/ 1975445 h 3403632"/>
              <a:gd name="connsiteX1202" fmla="*/ 2633973 w 3905665"/>
              <a:gd name="connsiteY1202" fmla="*/ 1993959 h 3403632"/>
              <a:gd name="connsiteX1203" fmla="*/ 2615460 w 3905665"/>
              <a:gd name="connsiteY1203" fmla="*/ 1975445 h 3403632"/>
              <a:gd name="connsiteX1204" fmla="*/ 2633973 w 3905665"/>
              <a:gd name="connsiteY1204" fmla="*/ 1956932 h 3403632"/>
              <a:gd name="connsiteX1205" fmla="*/ 285110 w 3905665"/>
              <a:gd name="connsiteY1205" fmla="*/ 1953229 h 3403632"/>
              <a:gd name="connsiteX1206" fmla="*/ 287084 w 3905665"/>
              <a:gd name="connsiteY1206" fmla="*/ 1955204 h 3403632"/>
              <a:gd name="connsiteX1207" fmla="*/ 285110 w 3905665"/>
              <a:gd name="connsiteY1207" fmla="*/ 1957178 h 3403632"/>
              <a:gd name="connsiteX1208" fmla="*/ 283135 w 3905665"/>
              <a:gd name="connsiteY1208" fmla="*/ 1955204 h 3403632"/>
              <a:gd name="connsiteX1209" fmla="*/ 285110 w 3905665"/>
              <a:gd name="connsiteY1209" fmla="*/ 1953229 h 3403632"/>
              <a:gd name="connsiteX1210" fmla="*/ 1267269 w 3905665"/>
              <a:gd name="connsiteY1210" fmla="*/ 1947800 h 3403632"/>
              <a:gd name="connsiteX1211" fmla="*/ 1268256 w 3905665"/>
              <a:gd name="connsiteY1211" fmla="*/ 1948788 h 3403632"/>
              <a:gd name="connsiteX1212" fmla="*/ 1267269 w 3905665"/>
              <a:gd name="connsiteY1212" fmla="*/ 1949775 h 3403632"/>
              <a:gd name="connsiteX1213" fmla="*/ 1266281 w 3905665"/>
              <a:gd name="connsiteY1213" fmla="*/ 1948788 h 3403632"/>
              <a:gd name="connsiteX1214" fmla="*/ 1267269 w 3905665"/>
              <a:gd name="connsiteY1214" fmla="*/ 1947800 h 3403632"/>
              <a:gd name="connsiteX1215" fmla="*/ 734352 w 3905665"/>
              <a:gd name="connsiteY1215" fmla="*/ 1946812 h 3403632"/>
              <a:gd name="connsiteX1216" fmla="*/ 737314 w 3905665"/>
              <a:gd name="connsiteY1216" fmla="*/ 1949774 h 3403632"/>
              <a:gd name="connsiteX1217" fmla="*/ 734352 w 3905665"/>
              <a:gd name="connsiteY1217" fmla="*/ 1952736 h 3403632"/>
              <a:gd name="connsiteX1218" fmla="*/ 731390 w 3905665"/>
              <a:gd name="connsiteY1218" fmla="*/ 1949774 h 3403632"/>
              <a:gd name="connsiteX1219" fmla="*/ 734352 w 3905665"/>
              <a:gd name="connsiteY1219" fmla="*/ 1946812 h 3403632"/>
              <a:gd name="connsiteX1220" fmla="*/ 1480539 w 3905665"/>
              <a:gd name="connsiteY1220" fmla="*/ 1946317 h 3403632"/>
              <a:gd name="connsiteX1221" fmla="*/ 1483006 w 3905665"/>
              <a:gd name="connsiteY1221" fmla="*/ 1948787 h 3403632"/>
              <a:gd name="connsiteX1222" fmla="*/ 1480539 w 3905665"/>
              <a:gd name="connsiteY1222" fmla="*/ 1951254 h 3403632"/>
              <a:gd name="connsiteX1223" fmla="*/ 1478069 w 3905665"/>
              <a:gd name="connsiteY1223" fmla="*/ 1948787 h 3403632"/>
              <a:gd name="connsiteX1224" fmla="*/ 1480539 w 3905665"/>
              <a:gd name="connsiteY1224" fmla="*/ 1946317 h 3403632"/>
              <a:gd name="connsiteX1225" fmla="*/ 2346658 w 3905665"/>
              <a:gd name="connsiteY1225" fmla="*/ 1945579 h 3403632"/>
              <a:gd name="connsiteX1226" fmla="*/ 2357519 w 3905665"/>
              <a:gd name="connsiteY1226" fmla="*/ 1956440 h 3403632"/>
              <a:gd name="connsiteX1227" fmla="*/ 2346658 w 3905665"/>
              <a:gd name="connsiteY1227" fmla="*/ 1967300 h 3403632"/>
              <a:gd name="connsiteX1228" fmla="*/ 2335797 w 3905665"/>
              <a:gd name="connsiteY1228" fmla="*/ 1956440 h 3403632"/>
              <a:gd name="connsiteX1229" fmla="*/ 2346658 w 3905665"/>
              <a:gd name="connsiteY1229" fmla="*/ 1945579 h 3403632"/>
              <a:gd name="connsiteX1230" fmla="*/ 1679740 w 3905665"/>
              <a:gd name="connsiteY1230" fmla="*/ 1943604 h 3403632"/>
              <a:gd name="connsiteX1231" fmla="*/ 1681715 w 3905665"/>
              <a:gd name="connsiteY1231" fmla="*/ 1945579 h 3403632"/>
              <a:gd name="connsiteX1232" fmla="*/ 1679740 w 3905665"/>
              <a:gd name="connsiteY1232" fmla="*/ 1947554 h 3403632"/>
              <a:gd name="connsiteX1233" fmla="*/ 1677766 w 3905665"/>
              <a:gd name="connsiteY1233" fmla="*/ 1945579 h 3403632"/>
              <a:gd name="connsiteX1234" fmla="*/ 1679740 w 3905665"/>
              <a:gd name="connsiteY1234" fmla="*/ 1943604 h 3403632"/>
              <a:gd name="connsiteX1235" fmla="*/ 2808729 w 3905665"/>
              <a:gd name="connsiteY1235" fmla="*/ 1933728 h 3403632"/>
              <a:gd name="connsiteX1236" fmla="*/ 2819836 w 3905665"/>
              <a:gd name="connsiteY1236" fmla="*/ 1944835 h 3403632"/>
              <a:gd name="connsiteX1237" fmla="*/ 2808729 w 3905665"/>
              <a:gd name="connsiteY1237" fmla="*/ 1955945 h 3403632"/>
              <a:gd name="connsiteX1238" fmla="*/ 2797622 w 3905665"/>
              <a:gd name="connsiteY1238" fmla="*/ 1944835 h 3403632"/>
              <a:gd name="connsiteX1239" fmla="*/ 2808729 w 3905665"/>
              <a:gd name="connsiteY1239" fmla="*/ 1933728 h 3403632"/>
              <a:gd name="connsiteX1240" fmla="*/ 1058203 w 3905665"/>
              <a:gd name="connsiteY1240" fmla="*/ 1933482 h 3403632"/>
              <a:gd name="connsiteX1241" fmla="*/ 1058941 w 3905665"/>
              <a:gd name="connsiteY1241" fmla="*/ 1934223 h 3403632"/>
              <a:gd name="connsiteX1242" fmla="*/ 1058203 w 3905665"/>
              <a:gd name="connsiteY1242" fmla="*/ 1934962 h 3403632"/>
              <a:gd name="connsiteX1243" fmla="*/ 1057461 w 3905665"/>
              <a:gd name="connsiteY1243" fmla="*/ 1934223 h 3403632"/>
              <a:gd name="connsiteX1244" fmla="*/ 1058203 w 3905665"/>
              <a:gd name="connsiteY1244" fmla="*/ 1933482 h 3403632"/>
              <a:gd name="connsiteX1245" fmla="*/ 1873751 w 3905665"/>
              <a:gd name="connsiteY1245" fmla="*/ 1932743 h 3403632"/>
              <a:gd name="connsiteX1246" fmla="*/ 1877208 w 3905665"/>
              <a:gd name="connsiteY1246" fmla="*/ 1936198 h 3403632"/>
              <a:gd name="connsiteX1247" fmla="*/ 1873751 w 3905665"/>
              <a:gd name="connsiteY1247" fmla="*/ 1939655 h 3403632"/>
              <a:gd name="connsiteX1248" fmla="*/ 1870294 w 3905665"/>
              <a:gd name="connsiteY1248" fmla="*/ 1936198 h 3403632"/>
              <a:gd name="connsiteX1249" fmla="*/ 1873751 w 3905665"/>
              <a:gd name="connsiteY1249" fmla="*/ 1932743 h 3403632"/>
              <a:gd name="connsiteX1250" fmla="*/ 399148 w 3905665"/>
              <a:gd name="connsiteY1250" fmla="*/ 1930766 h 3403632"/>
              <a:gd name="connsiteX1251" fmla="*/ 400874 w 3905665"/>
              <a:gd name="connsiteY1251" fmla="*/ 1932494 h 3403632"/>
              <a:gd name="connsiteX1252" fmla="*/ 399148 w 3905665"/>
              <a:gd name="connsiteY1252" fmla="*/ 1934223 h 3403632"/>
              <a:gd name="connsiteX1253" fmla="*/ 397420 w 3905665"/>
              <a:gd name="connsiteY1253" fmla="*/ 1932494 h 3403632"/>
              <a:gd name="connsiteX1254" fmla="*/ 399148 w 3905665"/>
              <a:gd name="connsiteY1254" fmla="*/ 1930766 h 3403632"/>
              <a:gd name="connsiteX1255" fmla="*/ 2063784 w 3905665"/>
              <a:gd name="connsiteY1255" fmla="*/ 1917192 h 3403632"/>
              <a:gd name="connsiteX1256" fmla="*/ 2067241 w 3905665"/>
              <a:gd name="connsiteY1256" fmla="*/ 1920647 h 3403632"/>
              <a:gd name="connsiteX1257" fmla="*/ 2063784 w 3905665"/>
              <a:gd name="connsiteY1257" fmla="*/ 1924104 h 3403632"/>
              <a:gd name="connsiteX1258" fmla="*/ 2060329 w 3905665"/>
              <a:gd name="connsiteY1258" fmla="*/ 1920647 h 3403632"/>
              <a:gd name="connsiteX1259" fmla="*/ 2063784 w 3905665"/>
              <a:gd name="connsiteY1259" fmla="*/ 1917192 h 3403632"/>
              <a:gd name="connsiteX1260" fmla="*/ 2526597 w 3905665"/>
              <a:gd name="connsiteY1260" fmla="*/ 1915217 h 3403632"/>
              <a:gd name="connsiteX1261" fmla="*/ 2541902 w 3905665"/>
              <a:gd name="connsiteY1261" fmla="*/ 1930519 h 3403632"/>
              <a:gd name="connsiteX1262" fmla="*/ 2526597 w 3905665"/>
              <a:gd name="connsiteY1262" fmla="*/ 1945824 h 3403632"/>
              <a:gd name="connsiteX1263" fmla="*/ 2511294 w 3905665"/>
              <a:gd name="connsiteY1263" fmla="*/ 1930519 h 3403632"/>
              <a:gd name="connsiteX1264" fmla="*/ 2526597 w 3905665"/>
              <a:gd name="connsiteY1264" fmla="*/ 1915217 h 3403632"/>
              <a:gd name="connsiteX1265" fmla="*/ 843209 w 3905665"/>
              <a:gd name="connsiteY1265" fmla="*/ 1907073 h 3403632"/>
              <a:gd name="connsiteX1266" fmla="*/ 845676 w 3905665"/>
              <a:gd name="connsiteY1266" fmla="*/ 1909543 h 3403632"/>
              <a:gd name="connsiteX1267" fmla="*/ 843209 w 3905665"/>
              <a:gd name="connsiteY1267" fmla="*/ 1912010 h 3403632"/>
              <a:gd name="connsiteX1268" fmla="*/ 840493 w 3905665"/>
              <a:gd name="connsiteY1268" fmla="*/ 1909543 h 3403632"/>
              <a:gd name="connsiteX1269" fmla="*/ 843209 w 3905665"/>
              <a:gd name="connsiteY1269" fmla="*/ 1907073 h 3403632"/>
              <a:gd name="connsiteX1270" fmla="*/ 511949 w 3905665"/>
              <a:gd name="connsiteY1270" fmla="*/ 1901395 h 3403632"/>
              <a:gd name="connsiteX1271" fmla="*/ 515406 w 3905665"/>
              <a:gd name="connsiteY1271" fmla="*/ 1904852 h 3403632"/>
              <a:gd name="connsiteX1272" fmla="*/ 511949 w 3905665"/>
              <a:gd name="connsiteY1272" fmla="*/ 1908307 h 3403632"/>
              <a:gd name="connsiteX1273" fmla="*/ 508494 w 3905665"/>
              <a:gd name="connsiteY1273" fmla="*/ 1904852 h 3403632"/>
              <a:gd name="connsiteX1274" fmla="*/ 511949 w 3905665"/>
              <a:gd name="connsiteY1274" fmla="*/ 1901395 h 3403632"/>
              <a:gd name="connsiteX1275" fmla="*/ 2980280 w 3905665"/>
              <a:gd name="connsiteY1275" fmla="*/ 1893742 h 3403632"/>
              <a:gd name="connsiteX1276" fmla="*/ 2997314 w 3905665"/>
              <a:gd name="connsiteY1276" fmla="*/ 1910773 h 3403632"/>
              <a:gd name="connsiteX1277" fmla="*/ 2980280 w 3905665"/>
              <a:gd name="connsiteY1277" fmla="*/ 1927807 h 3403632"/>
              <a:gd name="connsiteX1278" fmla="*/ 2963249 w 3905665"/>
              <a:gd name="connsiteY1278" fmla="*/ 1910773 h 3403632"/>
              <a:gd name="connsiteX1279" fmla="*/ 2980280 w 3905665"/>
              <a:gd name="connsiteY1279" fmla="*/ 1893742 h 3403632"/>
              <a:gd name="connsiteX1280" fmla="*/ 2248665 w 3905665"/>
              <a:gd name="connsiteY1280" fmla="*/ 1893250 h 3403632"/>
              <a:gd name="connsiteX1281" fmla="*/ 2255576 w 3905665"/>
              <a:gd name="connsiteY1281" fmla="*/ 1899915 h 3403632"/>
              <a:gd name="connsiteX1282" fmla="*/ 2248665 w 3905665"/>
              <a:gd name="connsiteY1282" fmla="*/ 1906581 h 3403632"/>
              <a:gd name="connsiteX1283" fmla="*/ 2241753 w 3905665"/>
              <a:gd name="connsiteY1283" fmla="*/ 1899915 h 3403632"/>
              <a:gd name="connsiteX1284" fmla="*/ 2248665 w 3905665"/>
              <a:gd name="connsiteY1284" fmla="*/ 1893250 h 3403632"/>
              <a:gd name="connsiteX1285" fmla="*/ 1367732 w 3905665"/>
              <a:gd name="connsiteY1285" fmla="*/ 1890039 h 3403632"/>
              <a:gd name="connsiteX1286" fmla="*/ 1368720 w 3905665"/>
              <a:gd name="connsiteY1286" fmla="*/ 1891026 h 3403632"/>
              <a:gd name="connsiteX1287" fmla="*/ 1367732 w 3905665"/>
              <a:gd name="connsiteY1287" fmla="*/ 1892014 h 3403632"/>
              <a:gd name="connsiteX1288" fmla="*/ 1366745 w 3905665"/>
              <a:gd name="connsiteY1288" fmla="*/ 1891026 h 3403632"/>
              <a:gd name="connsiteX1289" fmla="*/ 1367732 w 3905665"/>
              <a:gd name="connsiteY1289" fmla="*/ 1890039 h 3403632"/>
              <a:gd name="connsiteX1290" fmla="*/ 1577792 w 3905665"/>
              <a:gd name="connsiteY1290" fmla="*/ 1882389 h 3403632"/>
              <a:gd name="connsiteX1291" fmla="*/ 1580016 w 3905665"/>
              <a:gd name="connsiteY1291" fmla="*/ 1884610 h 3403632"/>
              <a:gd name="connsiteX1292" fmla="*/ 1577792 w 3905665"/>
              <a:gd name="connsiteY1292" fmla="*/ 1886831 h 3403632"/>
              <a:gd name="connsiteX1293" fmla="*/ 1575571 w 3905665"/>
              <a:gd name="connsiteY1293" fmla="*/ 1884610 h 3403632"/>
              <a:gd name="connsiteX1294" fmla="*/ 1577792 w 3905665"/>
              <a:gd name="connsiteY1294" fmla="*/ 1882389 h 3403632"/>
              <a:gd name="connsiteX1295" fmla="*/ 1161869 w 3905665"/>
              <a:gd name="connsiteY1295" fmla="*/ 1881894 h 3403632"/>
              <a:gd name="connsiteX1296" fmla="*/ 1162361 w 3905665"/>
              <a:gd name="connsiteY1296" fmla="*/ 1882387 h 3403632"/>
              <a:gd name="connsiteX1297" fmla="*/ 1161869 w 3905665"/>
              <a:gd name="connsiteY1297" fmla="*/ 1882882 h 3403632"/>
              <a:gd name="connsiteX1298" fmla="*/ 1161374 w 3905665"/>
              <a:gd name="connsiteY1298" fmla="*/ 1882387 h 3403632"/>
              <a:gd name="connsiteX1299" fmla="*/ 1161869 w 3905665"/>
              <a:gd name="connsiteY1299" fmla="*/ 1881894 h 3403632"/>
              <a:gd name="connsiteX1300" fmla="*/ 1773533 w 3905665"/>
              <a:gd name="connsiteY1300" fmla="*/ 1874983 h 3403632"/>
              <a:gd name="connsiteX1301" fmla="*/ 1775260 w 3905665"/>
              <a:gd name="connsiteY1301" fmla="*/ 1876711 h 3403632"/>
              <a:gd name="connsiteX1302" fmla="*/ 1773533 w 3905665"/>
              <a:gd name="connsiteY1302" fmla="*/ 1878440 h 3403632"/>
              <a:gd name="connsiteX1303" fmla="*/ 1771807 w 3905665"/>
              <a:gd name="connsiteY1303" fmla="*/ 1876711 h 3403632"/>
              <a:gd name="connsiteX1304" fmla="*/ 1773533 w 3905665"/>
              <a:gd name="connsiteY1304" fmla="*/ 1874983 h 3403632"/>
              <a:gd name="connsiteX1305" fmla="*/ 56293 w 3905665"/>
              <a:gd name="connsiteY1305" fmla="*/ 1873500 h 3403632"/>
              <a:gd name="connsiteX1306" fmla="*/ 59255 w 3905665"/>
              <a:gd name="connsiteY1306" fmla="*/ 1876462 h 3403632"/>
              <a:gd name="connsiteX1307" fmla="*/ 56293 w 3905665"/>
              <a:gd name="connsiteY1307" fmla="*/ 1879424 h 3403632"/>
              <a:gd name="connsiteX1308" fmla="*/ 53331 w 3905665"/>
              <a:gd name="connsiteY1308" fmla="*/ 1876462 h 3403632"/>
              <a:gd name="connsiteX1309" fmla="*/ 56293 w 3905665"/>
              <a:gd name="connsiteY1309" fmla="*/ 1873500 h 3403632"/>
              <a:gd name="connsiteX1310" fmla="*/ 2712712 w 3905665"/>
              <a:gd name="connsiteY1310" fmla="*/ 1870046 h 3403632"/>
              <a:gd name="connsiteX1311" fmla="*/ 2732213 w 3905665"/>
              <a:gd name="connsiteY1311" fmla="*/ 1889547 h 3403632"/>
              <a:gd name="connsiteX1312" fmla="*/ 2712712 w 3905665"/>
              <a:gd name="connsiteY1312" fmla="*/ 1909045 h 3403632"/>
              <a:gd name="connsiteX1313" fmla="*/ 2693211 w 3905665"/>
              <a:gd name="connsiteY1313" fmla="*/ 1889547 h 3403632"/>
              <a:gd name="connsiteX1314" fmla="*/ 2712712 w 3905665"/>
              <a:gd name="connsiteY1314" fmla="*/ 1870046 h 3403632"/>
              <a:gd name="connsiteX1315" fmla="*/ 623523 w 3905665"/>
              <a:gd name="connsiteY1315" fmla="*/ 1869059 h 3403632"/>
              <a:gd name="connsiteX1316" fmla="*/ 626731 w 3905665"/>
              <a:gd name="connsiteY1316" fmla="*/ 1872267 h 3403632"/>
              <a:gd name="connsiteX1317" fmla="*/ 623523 w 3905665"/>
              <a:gd name="connsiteY1317" fmla="*/ 1875478 h 3403632"/>
              <a:gd name="connsiteX1318" fmla="*/ 620315 w 3905665"/>
              <a:gd name="connsiteY1318" fmla="*/ 1872267 h 3403632"/>
              <a:gd name="connsiteX1319" fmla="*/ 623523 w 3905665"/>
              <a:gd name="connsiteY1319" fmla="*/ 1869059 h 3403632"/>
              <a:gd name="connsiteX1320" fmla="*/ 2429345 w 3905665"/>
              <a:gd name="connsiteY1320" fmla="*/ 1863135 h 3403632"/>
              <a:gd name="connsiteX1321" fmla="*/ 2440947 w 3905665"/>
              <a:gd name="connsiteY1321" fmla="*/ 1874737 h 3403632"/>
              <a:gd name="connsiteX1322" fmla="*/ 2429345 w 3905665"/>
              <a:gd name="connsiteY1322" fmla="*/ 1886339 h 3403632"/>
              <a:gd name="connsiteX1323" fmla="*/ 2417743 w 3905665"/>
              <a:gd name="connsiteY1323" fmla="*/ 1874737 h 3403632"/>
              <a:gd name="connsiteX1324" fmla="*/ 2429345 w 3905665"/>
              <a:gd name="connsiteY1324" fmla="*/ 1863135 h 3403632"/>
              <a:gd name="connsiteX1325" fmla="*/ 950334 w 3905665"/>
              <a:gd name="connsiteY1325" fmla="*/ 1862147 h 3403632"/>
              <a:gd name="connsiteX1326" fmla="*/ 952558 w 3905665"/>
              <a:gd name="connsiteY1326" fmla="*/ 1864368 h 3403632"/>
              <a:gd name="connsiteX1327" fmla="*/ 950334 w 3905665"/>
              <a:gd name="connsiteY1327" fmla="*/ 1866589 h 3403632"/>
              <a:gd name="connsiteX1328" fmla="*/ 948113 w 3905665"/>
              <a:gd name="connsiteY1328" fmla="*/ 1864368 h 3403632"/>
              <a:gd name="connsiteX1329" fmla="*/ 950334 w 3905665"/>
              <a:gd name="connsiteY1329" fmla="*/ 1862147 h 3403632"/>
              <a:gd name="connsiteX1330" fmla="*/ 1963828 w 3905665"/>
              <a:gd name="connsiteY1330" fmla="*/ 1861406 h 3403632"/>
              <a:gd name="connsiteX1331" fmla="*/ 1965306 w 3905665"/>
              <a:gd name="connsiteY1331" fmla="*/ 1862886 h 3403632"/>
              <a:gd name="connsiteX1332" fmla="*/ 1963828 w 3905665"/>
              <a:gd name="connsiteY1332" fmla="*/ 1864614 h 3403632"/>
              <a:gd name="connsiteX1333" fmla="*/ 1962102 w 3905665"/>
              <a:gd name="connsiteY1333" fmla="*/ 1862886 h 3403632"/>
              <a:gd name="connsiteX1334" fmla="*/ 1963828 w 3905665"/>
              <a:gd name="connsiteY1334" fmla="*/ 1861406 h 3403632"/>
              <a:gd name="connsiteX1335" fmla="*/ 171814 w 3905665"/>
              <a:gd name="connsiteY1335" fmla="*/ 1859927 h 3403632"/>
              <a:gd name="connsiteX1336" fmla="*/ 174776 w 3905665"/>
              <a:gd name="connsiteY1336" fmla="*/ 1862889 h 3403632"/>
              <a:gd name="connsiteX1337" fmla="*/ 171814 w 3905665"/>
              <a:gd name="connsiteY1337" fmla="*/ 1865851 h 3403632"/>
              <a:gd name="connsiteX1338" fmla="*/ 168852 w 3905665"/>
              <a:gd name="connsiteY1338" fmla="*/ 1862889 h 3403632"/>
              <a:gd name="connsiteX1339" fmla="*/ 171814 w 3905665"/>
              <a:gd name="connsiteY1339" fmla="*/ 1859927 h 3403632"/>
              <a:gd name="connsiteX1340" fmla="*/ 2884508 w 3905665"/>
              <a:gd name="connsiteY1340" fmla="*/ 1844129 h 3403632"/>
              <a:gd name="connsiteX1341" fmla="*/ 2896605 w 3905665"/>
              <a:gd name="connsiteY1341" fmla="*/ 1856223 h 3403632"/>
              <a:gd name="connsiteX1342" fmla="*/ 2884508 w 3905665"/>
              <a:gd name="connsiteY1342" fmla="*/ 1868320 h 3403632"/>
              <a:gd name="connsiteX1343" fmla="*/ 2872414 w 3905665"/>
              <a:gd name="connsiteY1343" fmla="*/ 1856223 h 3403632"/>
              <a:gd name="connsiteX1344" fmla="*/ 2884508 w 3905665"/>
              <a:gd name="connsiteY1344" fmla="*/ 1844129 h 3403632"/>
              <a:gd name="connsiteX1345" fmla="*/ 286591 w 3905665"/>
              <a:gd name="connsiteY1345" fmla="*/ 1841906 h 3403632"/>
              <a:gd name="connsiteX1346" fmla="*/ 289307 w 3905665"/>
              <a:gd name="connsiteY1346" fmla="*/ 1844622 h 3403632"/>
              <a:gd name="connsiteX1347" fmla="*/ 286591 w 3905665"/>
              <a:gd name="connsiteY1347" fmla="*/ 1847338 h 3403632"/>
              <a:gd name="connsiteX1348" fmla="*/ 283876 w 3905665"/>
              <a:gd name="connsiteY1348" fmla="*/ 1844622 h 3403632"/>
              <a:gd name="connsiteX1349" fmla="*/ 286591 w 3905665"/>
              <a:gd name="connsiteY1349" fmla="*/ 1841906 h 3403632"/>
              <a:gd name="connsiteX1350" fmla="*/ 2150424 w 3905665"/>
              <a:gd name="connsiteY1350" fmla="*/ 1838944 h 3403632"/>
              <a:gd name="connsiteX1351" fmla="*/ 2154619 w 3905665"/>
              <a:gd name="connsiteY1351" fmla="*/ 1843140 h 3403632"/>
              <a:gd name="connsiteX1352" fmla="*/ 2150424 w 3905665"/>
              <a:gd name="connsiteY1352" fmla="*/ 1847335 h 3403632"/>
              <a:gd name="connsiteX1353" fmla="*/ 2146228 w 3905665"/>
              <a:gd name="connsiteY1353" fmla="*/ 1843140 h 3403632"/>
              <a:gd name="connsiteX1354" fmla="*/ 2150424 w 3905665"/>
              <a:gd name="connsiteY1354" fmla="*/ 1838944 h 3403632"/>
              <a:gd name="connsiteX1355" fmla="*/ 733609 w 3905665"/>
              <a:gd name="connsiteY1355" fmla="*/ 1832032 h 3403632"/>
              <a:gd name="connsiteX1356" fmla="*/ 736572 w 3905665"/>
              <a:gd name="connsiteY1356" fmla="*/ 1834748 h 3403632"/>
              <a:gd name="connsiteX1357" fmla="*/ 733609 w 3905665"/>
              <a:gd name="connsiteY1357" fmla="*/ 1837710 h 3403632"/>
              <a:gd name="connsiteX1358" fmla="*/ 730647 w 3905665"/>
              <a:gd name="connsiteY1358" fmla="*/ 1834748 h 3403632"/>
              <a:gd name="connsiteX1359" fmla="*/ 733609 w 3905665"/>
              <a:gd name="connsiteY1359" fmla="*/ 1832032 h 3403632"/>
              <a:gd name="connsiteX1360" fmla="*/ 2605830 w 3905665"/>
              <a:gd name="connsiteY1360" fmla="*/ 1829565 h 3403632"/>
              <a:gd name="connsiteX1361" fmla="*/ 2621876 w 3905665"/>
              <a:gd name="connsiteY1361" fmla="*/ 1845857 h 3403632"/>
              <a:gd name="connsiteX1362" fmla="*/ 2605830 w 3905665"/>
              <a:gd name="connsiteY1362" fmla="*/ 1862147 h 3403632"/>
              <a:gd name="connsiteX1363" fmla="*/ 2589540 w 3905665"/>
              <a:gd name="connsiteY1363" fmla="*/ 1845857 h 3403632"/>
              <a:gd name="connsiteX1364" fmla="*/ 2605830 w 3905665"/>
              <a:gd name="connsiteY1364" fmla="*/ 1829565 h 3403632"/>
              <a:gd name="connsiteX1365" fmla="*/ 1465727 w 3905665"/>
              <a:gd name="connsiteY1365" fmla="*/ 1827837 h 3403632"/>
              <a:gd name="connsiteX1366" fmla="*/ 1466963 w 3905665"/>
              <a:gd name="connsiteY1366" fmla="*/ 1829071 h 3403632"/>
              <a:gd name="connsiteX1367" fmla="*/ 1465727 w 3905665"/>
              <a:gd name="connsiteY1367" fmla="*/ 1830304 h 3403632"/>
              <a:gd name="connsiteX1368" fmla="*/ 1464493 w 3905665"/>
              <a:gd name="connsiteY1368" fmla="*/ 1829071 h 3403632"/>
              <a:gd name="connsiteX1369" fmla="*/ 1465727 w 3905665"/>
              <a:gd name="connsiteY1369" fmla="*/ 1827837 h 3403632"/>
              <a:gd name="connsiteX1370" fmla="*/ 1263318 w 3905665"/>
              <a:gd name="connsiteY1370" fmla="*/ 1825862 h 3403632"/>
              <a:gd name="connsiteX1371" fmla="*/ 1263810 w 3905665"/>
              <a:gd name="connsiteY1371" fmla="*/ 1826357 h 3403632"/>
              <a:gd name="connsiteX1372" fmla="*/ 1263318 w 3905665"/>
              <a:gd name="connsiteY1372" fmla="*/ 1826849 h 3403632"/>
              <a:gd name="connsiteX1373" fmla="*/ 1262823 w 3905665"/>
              <a:gd name="connsiteY1373" fmla="*/ 1826357 h 3403632"/>
              <a:gd name="connsiteX1374" fmla="*/ 1263318 w 3905665"/>
              <a:gd name="connsiteY1374" fmla="*/ 1825862 h 3403632"/>
              <a:gd name="connsiteX1375" fmla="*/ 400380 w 3905665"/>
              <a:gd name="connsiteY1375" fmla="*/ 1818458 h 3403632"/>
              <a:gd name="connsiteX1376" fmla="*/ 402850 w 3905665"/>
              <a:gd name="connsiteY1376" fmla="*/ 1820928 h 3403632"/>
              <a:gd name="connsiteX1377" fmla="*/ 400380 w 3905665"/>
              <a:gd name="connsiteY1377" fmla="*/ 1823395 h 3403632"/>
              <a:gd name="connsiteX1378" fmla="*/ 397913 w 3905665"/>
              <a:gd name="connsiteY1378" fmla="*/ 1820928 h 3403632"/>
              <a:gd name="connsiteX1379" fmla="*/ 400380 w 3905665"/>
              <a:gd name="connsiteY1379" fmla="*/ 1818458 h 3403632"/>
              <a:gd name="connsiteX1380" fmla="*/ 1672580 w 3905665"/>
              <a:gd name="connsiteY1380" fmla="*/ 1815001 h 3403632"/>
              <a:gd name="connsiteX1381" fmla="*/ 1674554 w 3905665"/>
              <a:gd name="connsiteY1381" fmla="*/ 1816976 h 3403632"/>
              <a:gd name="connsiteX1382" fmla="*/ 1672580 w 3905665"/>
              <a:gd name="connsiteY1382" fmla="*/ 1818950 h 3403632"/>
              <a:gd name="connsiteX1383" fmla="*/ 1670605 w 3905665"/>
              <a:gd name="connsiteY1383" fmla="*/ 1816976 h 3403632"/>
              <a:gd name="connsiteX1384" fmla="*/ 1672580 w 3905665"/>
              <a:gd name="connsiteY1384" fmla="*/ 1815001 h 3403632"/>
              <a:gd name="connsiteX1385" fmla="*/ 1055237 w 3905665"/>
              <a:gd name="connsiteY1385" fmla="*/ 1812780 h 3403632"/>
              <a:gd name="connsiteX1386" fmla="*/ 1057211 w 3905665"/>
              <a:gd name="connsiteY1386" fmla="*/ 1814755 h 3403632"/>
              <a:gd name="connsiteX1387" fmla="*/ 1055237 w 3905665"/>
              <a:gd name="connsiteY1387" fmla="*/ 1816729 h 3403632"/>
              <a:gd name="connsiteX1388" fmla="*/ 1053262 w 3905665"/>
              <a:gd name="connsiteY1388" fmla="*/ 1814755 h 3403632"/>
              <a:gd name="connsiteX1389" fmla="*/ 1055237 w 3905665"/>
              <a:gd name="connsiteY1389" fmla="*/ 1812780 h 3403632"/>
              <a:gd name="connsiteX1390" fmla="*/ 2331849 w 3905665"/>
              <a:gd name="connsiteY1390" fmla="*/ 1811298 h 3403632"/>
              <a:gd name="connsiteX1391" fmla="*/ 2339499 w 3905665"/>
              <a:gd name="connsiteY1391" fmla="*/ 1818950 h 3403632"/>
              <a:gd name="connsiteX1392" fmla="*/ 2331849 w 3905665"/>
              <a:gd name="connsiteY1392" fmla="*/ 1826600 h 3403632"/>
              <a:gd name="connsiteX1393" fmla="*/ 2324197 w 3905665"/>
              <a:gd name="connsiteY1393" fmla="*/ 1818950 h 3403632"/>
              <a:gd name="connsiteX1394" fmla="*/ 2331849 w 3905665"/>
              <a:gd name="connsiteY1394" fmla="*/ 1811298 h 3403632"/>
              <a:gd name="connsiteX1395" fmla="*/ 1864864 w 3905665"/>
              <a:gd name="connsiteY1395" fmla="*/ 1802661 h 3403632"/>
              <a:gd name="connsiteX1396" fmla="*/ 1866346 w 3905665"/>
              <a:gd name="connsiteY1396" fmla="*/ 1804389 h 3403632"/>
              <a:gd name="connsiteX1397" fmla="*/ 1864864 w 3905665"/>
              <a:gd name="connsiteY1397" fmla="*/ 1805869 h 3403632"/>
              <a:gd name="connsiteX1398" fmla="*/ 1863385 w 3905665"/>
              <a:gd name="connsiteY1398" fmla="*/ 1804389 h 3403632"/>
              <a:gd name="connsiteX1399" fmla="*/ 1864864 w 3905665"/>
              <a:gd name="connsiteY1399" fmla="*/ 1802661 h 3403632"/>
              <a:gd name="connsiteX1400" fmla="*/ 3052850 w 3905665"/>
              <a:gd name="connsiteY1400" fmla="*/ 1802166 h 3403632"/>
              <a:gd name="connsiteX1401" fmla="*/ 3070622 w 3905665"/>
              <a:gd name="connsiteY1401" fmla="*/ 1819938 h 3403632"/>
              <a:gd name="connsiteX1402" fmla="*/ 3052850 w 3905665"/>
              <a:gd name="connsiteY1402" fmla="*/ 1837710 h 3403632"/>
              <a:gd name="connsiteX1403" fmla="*/ 3035078 w 3905665"/>
              <a:gd name="connsiteY1403" fmla="*/ 1819938 h 3403632"/>
              <a:gd name="connsiteX1404" fmla="*/ 3052850 w 3905665"/>
              <a:gd name="connsiteY1404" fmla="*/ 1802166 h 3403632"/>
              <a:gd name="connsiteX1405" fmla="*/ 841725 w 3905665"/>
              <a:gd name="connsiteY1405" fmla="*/ 1790072 h 3403632"/>
              <a:gd name="connsiteX1406" fmla="*/ 844441 w 3905665"/>
              <a:gd name="connsiteY1406" fmla="*/ 1792788 h 3403632"/>
              <a:gd name="connsiteX1407" fmla="*/ 841725 w 3905665"/>
              <a:gd name="connsiteY1407" fmla="*/ 1795501 h 3403632"/>
              <a:gd name="connsiteX1408" fmla="*/ 839009 w 3905665"/>
              <a:gd name="connsiteY1408" fmla="*/ 1792788 h 3403632"/>
              <a:gd name="connsiteX1409" fmla="*/ 841725 w 3905665"/>
              <a:gd name="connsiteY1409" fmla="*/ 1790072 h 3403632"/>
              <a:gd name="connsiteX1410" fmla="*/ 513186 w 3905665"/>
              <a:gd name="connsiteY1410" fmla="*/ 1789331 h 3403632"/>
              <a:gd name="connsiteX1411" fmla="*/ 515653 w 3905665"/>
              <a:gd name="connsiteY1411" fmla="*/ 1791798 h 3403632"/>
              <a:gd name="connsiteX1412" fmla="*/ 513186 w 3905665"/>
              <a:gd name="connsiteY1412" fmla="*/ 1794268 h 3403632"/>
              <a:gd name="connsiteX1413" fmla="*/ 510716 w 3905665"/>
              <a:gd name="connsiteY1413" fmla="*/ 1791798 h 3403632"/>
              <a:gd name="connsiteX1414" fmla="*/ 513186 w 3905665"/>
              <a:gd name="connsiteY1414" fmla="*/ 1789331 h 3403632"/>
              <a:gd name="connsiteX1415" fmla="*/ 2051444 w 3905665"/>
              <a:gd name="connsiteY1415" fmla="*/ 1784394 h 3403632"/>
              <a:gd name="connsiteX1416" fmla="*/ 2053418 w 3905665"/>
              <a:gd name="connsiteY1416" fmla="*/ 1786369 h 3403632"/>
              <a:gd name="connsiteX1417" fmla="*/ 2051444 w 3905665"/>
              <a:gd name="connsiteY1417" fmla="*/ 1788343 h 3403632"/>
              <a:gd name="connsiteX1418" fmla="*/ 2049469 w 3905665"/>
              <a:gd name="connsiteY1418" fmla="*/ 1786369 h 3403632"/>
              <a:gd name="connsiteX1419" fmla="*/ 2051444 w 3905665"/>
              <a:gd name="connsiteY1419" fmla="*/ 1784394 h 3403632"/>
              <a:gd name="connsiteX1420" fmla="*/ 2788736 w 3905665"/>
              <a:gd name="connsiteY1420" fmla="*/ 1780939 h 3403632"/>
              <a:gd name="connsiteX1421" fmla="*/ 2809224 w 3905665"/>
              <a:gd name="connsiteY1421" fmla="*/ 1801427 h 3403632"/>
              <a:gd name="connsiteX1422" fmla="*/ 2788736 w 3905665"/>
              <a:gd name="connsiteY1422" fmla="*/ 1821915 h 3403632"/>
              <a:gd name="connsiteX1423" fmla="*/ 2768248 w 3905665"/>
              <a:gd name="connsiteY1423" fmla="*/ 1801427 h 3403632"/>
              <a:gd name="connsiteX1424" fmla="*/ 2788736 w 3905665"/>
              <a:gd name="connsiteY1424" fmla="*/ 1780939 h 3403632"/>
              <a:gd name="connsiteX1425" fmla="*/ 2509322 w 3905665"/>
              <a:gd name="connsiteY1425" fmla="*/ 1778470 h 3403632"/>
              <a:gd name="connsiteX1426" fmla="*/ 2521662 w 3905665"/>
              <a:gd name="connsiteY1426" fmla="*/ 1790813 h 3403632"/>
              <a:gd name="connsiteX1427" fmla="*/ 2509322 w 3905665"/>
              <a:gd name="connsiteY1427" fmla="*/ 1803153 h 3403632"/>
              <a:gd name="connsiteX1428" fmla="*/ 2496979 w 3905665"/>
              <a:gd name="connsiteY1428" fmla="*/ 1790813 h 3403632"/>
              <a:gd name="connsiteX1429" fmla="*/ 2509322 w 3905665"/>
              <a:gd name="connsiteY1429" fmla="*/ 1778470 h 3403632"/>
              <a:gd name="connsiteX1430" fmla="*/ 1362794 w 3905665"/>
              <a:gd name="connsiteY1430" fmla="*/ 1765883 h 3403632"/>
              <a:gd name="connsiteX1431" fmla="*/ 1363286 w 3905665"/>
              <a:gd name="connsiteY1431" fmla="*/ 1766375 h 3403632"/>
              <a:gd name="connsiteX1432" fmla="*/ 1362794 w 3905665"/>
              <a:gd name="connsiteY1432" fmla="*/ 1766870 h 3403632"/>
              <a:gd name="connsiteX1433" fmla="*/ 1362299 w 3905665"/>
              <a:gd name="connsiteY1433" fmla="*/ 1766375 h 3403632"/>
              <a:gd name="connsiteX1434" fmla="*/ 1362794 w 3905665"/>
              <a:gd name="connsiteY1434" fmla="*/ 1765883 h 3403632"/>
              <a:gd name="connsiteX1435" fmla="*/ 56540 w 3905665"/>
              <a:gd name="connsiteY1435" fmla="*/ 1762672 h 3403632"/>
              <a:gd name="connsiteX1436" fmla="*/ 61230 w 3905665"/>
              <a:gd name="connsiteY1436" fmla="*/ 1767362 h 3403632"/>
              <a:gd name="connsiteX1437" fmla="*/ 56540 w 3905665"/>
              <a:gd name="connsiteY1437" fmla="*/ 1772053 h 3403632"/>
              <a:gd name="connsiteX1438" fmla="*/ 51850 w 3905665"/>
              <a:gd name="connsiteY1438" fmla="*/ 1767362 h 3403632"/>
              <a:gd name="connsiteX1439" fmla="*/ 56540 w 3905665"/>
              <a:gd name="connsiteY1439" fmla="*/ 1762672 h 3403632"/>
              <a:gd name="connsiteX1440" fmla="*/ 1561254 w 3905665"/>
              <a:gd name="connsiteY1440" fmla="*/ 1762426 h 3403632"/>
              <a:gd name="connsiteX1441" fmla="*/ 1562488 w 3905665"/>
              <a:gd name="connsiteY1441" fmla="*/ 1763660 h 3403632"/>
              <a:gd name="connsiteX1442" fmla="*/ 1561254 w 3905665"/>
              <a:gd name="connsiteY1442" fmla="*/ 1764896 h 3403632"/>
              <a:gd name="connsiteX1443" fmla="*/ 1560021 w 3905665"/>
              <a:gd name="connsiteY1443" fmla="*/ 1763660 h 3403632"/>
              <a:gd name="connsiteX1444" fmla="*/ 1561254 w 3905665"/>
              <a:gd name="connsiteY1444" fmla="*/ 1762426 h 3403632"/>
              <a:gd name="connsiteX1445" fmla="*/ 1158165 w 3905665"/>
              <a:gd name="connsiteY1445" fmla="*/ 1759218 h 3403632"/>
              <a:gd name="connsiteX1446" fmla="*/ 1159891 w 3905665"/>
              <a:gd name="connsiteY1446" fmla="*/ 1760946 h 3403632"/>
              <a:gd name="connsiteX1447" fmla="*/ 1158165 w 3905665"/>
              <a:gd name="connsiteY1447" fmla="*/ 1762672 h 3403632"/>
              <a:gd name="connsiteX1448" fmla="*/ 1156683 w 3905665"/>
              <a:gd name="connsiteY1448" fmla="*/ 1760946 h 3403632"/>
              <a:gd name="connsiteX1449" fmla="*/ 1158165 w 3905665"/>
              <a:gd name="connsiteY1449" fmla="*/ 1759218 h 3403632"/>
              <a:gd name="connsiteX1450" fmla="*/ 2234595 w 3905665"/>
              <a:gd name="connsiteY1450" fmla="*/ 1758231 h 3403632"/>
              <a:gd name="connsiteX1451" fmla="*/ 2239286 w 3905665"/>
              <a:gd name="connsiteY1451" fmla="*/ 1762921 h 3403632"/>
              <a:gd name="connsiteX1452" fmla="*/ 2234595 w 3905665"/>
              <a:gd name="connsiteY1452" fmla="*/ 1767612 h 3403632"/>
              <a:gd name="connsiteX1453" fmla="*/ 2229905 w 3905665"/>
              <a:gd name="connsiteY1453" fmla="*/ 1762921 h 3403632"/>
              <a:gd name="connsiteX1454" fmla="*/ 2234595 w 3905665"/>
              <a:gd name="connsiteY1454" fmla="*/ 1758231 h 3403632"/>
              <a:gd name="connsiteX1455" fmla="*/ 624262 w 3905665"/>
              <a:gd name="connsiteY1455" fmla="*/ 1755761 h 3403632"/>
              <a:gd name="connsiteX1456" fmla="*/ 626483 w 3905665"/>
              <a:gd name="connsiteY1456" fmla="*/ 1757982 h 3403632"/>
              <a:gd name="connsiteX1457" fmla="*/ 624262 w 3905665"/>
              <a:gd name="connsiteY1457" fmla="*/ 1760203 h 3403632"/>
              <a:gd name="connsiteX1458" fmla="*/ 622041 w 3905665"/>
              <a:gd name="connsiteY1458" fmla="*/ 1757982 h 3403632"/>
              <a:gd name="connsiteX1459" fmla="*/ 624262 w 3905665"/>
              <a:gd name="connsiteY1459" fmla="*/ 1755761 h 3403632"/>
              <a:gd name="connsiteX1460" fmla="*/ 2957571 w 3905665"/>
              <a:gd name="connsiteY1460" fmla="*/ 1752553 h 3403632"/>
              <a:gd name="connsiteX1461" fmla="*/ 2970655 w 3905665"/>
              <a:gd name="connsiteY1461" fmla="*/ 1765635 h 3403632"/>
              <a:gd name="connsiteX1462" fmla="*/ 2957571 w 3905665"/>
              <a:gd name="connsiteY1462" fmla="*/ 1778716 h 3403632"/>
              <a:gd name="connsiteX1463" fmla="*/ 2944489 w 3905665"/>
              <a:gd name="connsiteY1463" fmla="*/ 1765635 h 3403632"/>
              <a:gd name="connsiteX1464" fmla="*/ 2957571 w 3905665"/>
              <a:gd name="connsiteY1464" fmla="*/ 1752553 h 3403632"/>
              <a:gd name="connsiteX1465" fmla="*/ 172058 w 3905665"/>
              <a:gd name="connsiteY1465" fmla="*/ 1747862 h 3403632"/>
              <a:gd name="connsiteX1466" fmla="*/ 177488 w 3905665"/>
              <a:gd name="connsiteY1466" fmla="*/ 1753294 h 3403632"/>
              <a:gd name="connsiteX1467" fmla="*/ 172058 w 3905665"/>
              <a:gd name="connsiteY1467" fmla="*/ 1758723 h 3403632"/>
              <a:gd name="connsiteX1468" fmla="*/ 166627 w 3905665"/>
              <a:gd name="connsiteY1468" fmla="*/ 1753294 h 3403632"/>
              <a:gd name="connsiteX1469" fmla="*/ 172058 w 3905665"/>
              <a:gd name="connsiteY1469" fmla="*/ 1747862 h 3403632"/>
              <a:gd name="connsiteX1470" fmla="*/ 1764894 w 3905665"/>
              <a:gd name="connsiteY1470" fmla="*/ 1743913 h 3403632"/>
              <a:gd name="connsiteX1471" fmla="*/ 1766621 w 3905665"/>
              <a:gd name="connsiteY1471" fmla="*/ 1745888 h 3403632"/>
              <a:gd name="connsiteX1472" fmla="*/ 1764894 w 3905665"/>
              <a:gd name="connsiteY1472" fmla="*/ 1747617 h 3403632"/>
              <a:gd name="connsiteX1473" fmla="*/ 1763165 w 3905665"/>
              <a:gd name="connsiteY1473" fmla="*/ 1745888 h 3403632"/>
              <a:gd name="connsiteX1474" fmla="*/ 1764894 w 3905665"/>
              <a:gd name="connsiteY1474" fmla="*/ 1743913 h 3403632"/>
              <a:gd name="connsiteX1475" fmla="*/ 948111 w 3905665"/>
              <a:gd name="connsiteY1475" fmla="*/ 1743421 h 3403632"/>
              <a:gd name="connsiteX1476" fmla="*/ 950827 w 3905665"/>
              <a:gd name="connsiteY1476" fmla="*/ 1746137 h 3403632"/>
              <a:gd name="connsiteX1477" fmla="*/ 948111 w 3905665"/>
              <a:gd name="connsiteY1477" fmla="*/ 1748853 h 3403632"/>
              <a:gd name="connsiteX1478" fmla="*/ 945395 w 3905665"/>
              <a:gd name="connsiteY1478" fmla="*/ 1746137 h 3403632"/>
              <a:gd name="connsiteX1479" fmla="*/ 948111 w 3905665"/>
              <a:gd name="connsiteY1479" fmla="*/ 1743421 h 3403632"/>
              <a:gd name="connsiteX1480" fmla="*/ 2682596 w 3905665"/>
              <a:gd name="connsiteY1480" fmla="*/ 1741692 h 3403632"/>
              <a:gd name="connsiteX1481" fmla="*/ 2699630 w 3905665"/>
              <a:gd name="connsiteY1481" fmla="*/ 1758723 h 3403632"/>
              <a:gd name="connsiteX1482" fmla="*/ 2682596 w 3905665"/>
              <a:gd name="connsiteY1482" fmla="*/ 1775757 h 3403632"/>
              <a:gd name="connsiteX1483" fmla="*/ 2665565 w 3905665"/>
              <a:gd name="connsiteY1483" fmla="*/ 1758723 h 3403632"/>
              <a:gd name="connsiteX1484" fmla="*/ 2682596 w 3905665"/>
              <a:gd name="connsiteY1484" fmla="*/ 1741692 h 3403632"/>
              <a:gd name="connsiteX1485" fmla="*/ 287082 w 3905665"/>
              <a:gd name="connsiteY1485" fmla="*/ 1727869 h 3403632"/>
              <a:gd name="connsiteX1486" fmla="*/ 293255 w 3905665"/>
              <a:gd name="connsiteY1486" fmla="*/ 1734039 h 3403632"/>
              <a:gd name="connsiteX1487" fmla="*/ 287082 w 3905665"/>
              <a:gd name="connsiteY1487" fmla="*/ 1740212 h 3403632"/>
              <a:gd name="connsiteX1488" fmla="*/ 280912 w 3905665"/>
              <a:gd name="connsiteY1488" fmla="*/ 1734039 h 3403632"/>
              <a:gd name="connsiteX1489" fmla="*/ 287082 w 3905665"/>
              <a:gd name="connsiteY1489" fmla="*/ 1727869 h 3403632"/>
              <a:gd name="connsiteX1490" fmla="*/ 1953224 w 3905665"/>
              <a:gd name="connsiteY1490" fmla="*/ 1727377 h 3403632"/>
              <a:gd name="connsiteX1491" fmla="*/ 1954704 w 3905665"/>
              <a:gd name="connsiteY1491" fmla="*/ 1728857 h 3403632"/>
              <a:gd name="connsiteX1492" fmla="*/ 1953224 w 3905665"/>
              <a:gd name="connsiteY1492" fmla="*/ 1730093 h 3403632"/>
              <a:gd name="connsiteX1493" fmla="*/ 1951743 w 3905665"/>
              <a:gd name="connsiteY1493" fmla="*/ 1728857 h 3403632"/>
              <a:gd name="connsiteX1494" fmla="*/ 1953224 w 3905665"/>
              <a:gd name="connsiteY1494" fmla="*/ 1727377 h 3403632"/>
              <a:gd name="connsiteX1495" fmla="*/ 2412563 w 3905665"/>
              <a:gd name="connsiteY1495" fmla="*/ 1726882 h 3403632"/>
              <a:gd name="connsiteX1496" fmla="*/ 2421203 w 3905665"/>
              <a:gd name="connsiteY1496" fmla="*/ 1735522 h 3403632"/>
              <a:gd name="connsiteX1497" fmla="*/ 2412563 w 3905665"/>
              <a:gd name="connsiteY1497" fmla="*/ 1744162 h 3403632"/>
              <a:gd name="connsiteX1498" fmla="*/ 2403923 w 3905665"/>
              <a:gd name="connsiteY1498" fmla="*/ 1735522 h 3403632"/>
              <a:gd name="connsiteX1499" fmla="*/ 2412563 w 3905665"/>
              <a:gd name="connsiteY1499" fmla="*/ 1726882 h 3403632"/>
              <a:gd name="connsiteX1500" fmla="*/ 733854 w 3905665"/>
              <a:gd name="connsiteY1500" fmla="*/ 1716762 h 3403632"/>
              <a:gd name="connsiteX1501" fmla="*/ 735828 w 3905665"/>
              <a:gd name="connsiteY1501" fmla="*/ 1718737 h 3403632"/>
              <a:gd name="connsiteX1502" fmla="*/ 733854 w 3905665"/>
              <a:gd name="connsiteY1502" fmla="*/ 1720958 h 3403632"/>
              <a:gd name="connsiteX1503" fmla="*/ 731632 w 3905665"/>
              <a:gd name="connsiteY1503" fmla="*/ 1718737 h 3403632"/>
              <a:gd name="connsiteX1504" fmla="*/ 733854 w 3905665"/>
              <a:gd name="connsiteY1504" fmla="*/ 1716762 h 3403632"/>
              <a:gd name="connsiteX1505" fmla="*/ 3122950 w 3905665"/>
              <a:gd name="connsiteY1505" fmla="*/ 1708369 h 3403632"/>
              <a:gd name="connsiteX1506" fmla="*/ 3141709 w 3905665"/>
              <a:gd name="connsiteY1506" fmla="*/ 1726882 h 3403632"/>
              <a:gd name="connsiteX1507" fmla="*/ 3122950 w 3905665"/>
              <a:gd name="connsiteY1507" fmla="*/ 1745642 h 3403632"/>
              <a:gd name="connsiteX1508" fmla="*/ 3104190 w 3905665"/>
              <a:gd name="connsiteY1508" fmla="*/ 1726882 h 3403632"/>
              <a:gd name="connsiteX1509" fmla="*/ 3122950 w 3905665"/>
              <a:gd name="connsiteY1509" fmla="*/ 1708369 h 3403632"/>
              <a:gd name="connsiteX1510" fmla="*/ 2136355 w 3905665"/>
              <a:gd name="connsiteY1510" fmla="*/ 1704666 h 3403632"/>
              <a:gd name="connsiteX1511" fmla="*/ 2138576 w 3905665"/>
              <a:gd name="connsiteY1511" fmla="*/ 1706887 h 3403632"/>
              <a:gd name="connsiteX1512" fmla="*/ 2136355 w 3905665"/>
              <a:gd name="connsiteY1512" fmla="*/ 1709357 h 3403632"/>
              <a:gd name="connsiteX1513" fmla="*/ 2134134 w 3905665"/>
              <a:gd name="connsiteY1513" fmla="*/ 1706887 h 3403632"/>
              <a:gd name="connsiteX1514" fmla="*/ 2136355 w 3905665"/>
              <a:gd name="connsiteY1514" fmla="*/ 1704666 h 3403632"/>
              <a:gd name="connsiteX1515" fmla="*/ 400871 w 3905665"/>
              <a:gd name="connsiteY1515" fmla="*/ 1702199 h 3403632"/>
              <a:gd name="connsiteX1516" fmla="*/ 407782 w 3905665"/>
              <a:gd name="connsiteY1516" fmla="*/ 1709111 h 3403632"/>
              <a:gd name="connsiteX1517" fmla="*/ 400871 w 3905665"/>
              <a:gd name="connsiteY1517" fmla="*/ 1716022 h 3403632"/>
              <a:gd name="connsiteX1518" fmla="*/ 393960 w 3905665"/>
              <a:gd name="connsiteY1518" fmla="*/ 1709111 h 3403632"/>
              <a:gd name="connsiteX1519" fmla="*/ 400871 w 3905665"/>
              <a:gd name="connsiteY1519" fmla="*/ 1702199 h 3403632"/>
              <a:gd name="connsiteX1520" fmla="*/ 1459554 w 3905665"/>
              <a:gd name="connsiteY1520" fmla="*/ 1701952 h 3403632"/>
              <a:gd name="connsiteX1521" fmla="*/ 1460046 w 3905665"/>
              <a:gd name="connsiteY1521" fmla="*/ 1702444 h 3403632"/>
              <a:gd name="connsiteX1522" fmla="*/ 1459554 w 3905665"/>
              <a:gd name="connsiteY1522" fmla="*/ 1702939 h 3403632"/>
              <a:gd name="connsiteX1523" fmla="*/ 1459059 w 3905665"/>
              <a:gd name="connsiteY1523" fmla="*/ 1702444 h 3403632"/>
              <a:gd name="connsiteX1524" fmla="*/ 1459554 w 3905665"/>
              <a:gd name="connsiteY1524" fmla="*/ 1701952 h 3403632"/>
              <a:gd name="connsiteX1525" fmla="*/ 1258625 w 3905665"/>
              <a:gd name="connsiteY1525" fmla="*/ 1701952 h 3403632"/>
              <a:gd name="connsiteX1526" fmla="*/ 1259862 w 3905665"/>
              <a:gd name="connsiteY1526" fmla="*/ 1703186 h 3403632"/>
              <a:gd name="connsiteX1527" fmla="*/ 1258625 w 3905665"/>
              <a:gd name="connsiteY1527" fmla="*/ 1704422 h 3403632"/>
              <a:gd name="connsiteX1528" fmla="*/ 1257392 w 3905665"/>
              <a:gd name="connsiteY1528" fmla="*/ 1703186 h 3403632"/>
              <a:gd name="connsiteX1529" fmla="*/ 1258625 w 3905665"/>
              <a:gd name="connsiteY1529" fmla="*/ 1701952 h 3403632"/>
              <a:gd name="connsiteX1530" fmla="*/ 1654311 w 3905665"/>
              <a:gd name="connsiteY1530" fmla="*/ 1693312 h 3403632"/>
              <a:gd name="connsiteX1531" fmla="*/ 1655547 w 3905665"/>
              <a:gd name="connsiteY1531" fmla="*/ 1694546 h 3403632"/>
              <a:gd name="connsiteX1532" fmla="*/ 1654311 w 3905665"/>
              <a:gd name="connsiteY1532" fmla="*/ 1695782 h 3403632"/>
              <a:gd name="connsiteX1533" fmla="*/ 1653078 w 3905665"/>
              <a:gd name="connsiteY1533" fmla="*/ 1694546 h 3403632"/>
              <a:gd name="connsiteX1534" fmla="*/ 1654311 w 3905665"/>
              <a:gd name="connsiteY1534" fmla="*/ 1693312 h 3403632"/>
              <a:gd name="connsiteX1535" fmla="*/ 1052273 w 3905665"/>
              <a:gd name="connsiteY1535" fmla="*/ 1692079 h 3403632"/>
              <a:gd name="connsiteX1536" fmla="*/ 1054989 w 3905665"/>
              <a:gd name="connsiteY1536" fmla="*/ 1694795 h 3403632"/>
              <a:gd name="connsiteX1537" fmla="*/ 1052273 w 3905665"/>
              <a:gd name="connsiteY1537" fmla="*/ 1697511 h 3403632"/>
              <a:gd name="connsiteX1538" fmla="*/ 1049311 w 3905665"/>
              <a:gd name="connsiteY1538" fmla="*/ 1694795 h 3403632"/>
              <a:gd name="connsiteX1539" fmla="*/ 1052273 w 3905665"/>
              <a:gd name="connsiteY1539" fmla="*/ 1692079 h 3403632"/>
              <a:gd name="connsiteX1540" fmla="*/ 2586578 w 3905665"/>
              <a:gd name="connsiteY1540" fmla="*/ 1691092 h 3403632"/>
              <a:gd name="connsiteX1541" fmla="*/ 2599659 w 3905665"/>
              <a:gd name="connsiteY1541" fmla="*/ 1704174 h 3403632"/>
              <a:gd name="connsiteX1542" fmla="*/ 2586578 w 3905665"/>
              <a:gd name="connsiteY1542" fmla="*/ 1717255 h 3403632"/>
              <a:gd name="connsiteX1543" fmla="*/ 2573496 w 3905665"/>
              <a:gd name="connsiteY1543" fmla="*/ 1704174 h 3403632"/>
              <a:gd name="connsiteX1544" fmla="*/ 2586578 w 3905665"/>
              <a:gd name="connsiteY1544" fmla="*/ 1691092 h 3403632"/>
              <a:gd name="connsiteX1545" fmla="*/ 2862294 w 3905665"/>
              <a:gd name="connsiteY1545" fmla="*/ 1689609 h 3403632"/>
              <a:gd name="connsiteX1546" fmla="*/ 2883767 w 3905665"/>
              <a:gd name="connsiteY1546" fmla="*/ 1711084 h 3403632"/>
              <a:gd name="connsiteX1547" fmla="*/ 2862294 w 3905665"/>
              <a:gd name="connsiteY1547" fmla="*/ 1732557 h 3403632"/>
              <a:gd name="connsiteX1548" fmla="*/ 2840819 w 3905665"/>
              <a:gd name="connsiteY1548" fmla="*/ 1711084 h 3403632"/>
              <a:gd name="connsiteX1549" fmla="*/ 2862294 w 3905665"/>
              <a:gd name="connsiteY1549" fmla="*/ 1689609 h 3403632"/>
              <a:gd name="connsiteX1550" fmla="*/ 2315804 w 3905665"/>
              <a:gd name="connsiteY1550" fmla="*/ 1674553 h 3403632"/>
              <a:gd name="connsiteX1551" fmla="*/ 2321236 w 3905665"/>
              <a:gd name="connsiteY1551" fmla="*/ 1679736 h 3403632"/>
              <a:gd name="connsiteX1552" fmla="*/ 2315804 w 3905665"/>
              <a:gd name="connsiteY1552" fmla="*/ 1685168 h 3403632"/>
              <a:gd name="connsiteX1553" fmla="*/ 2310621 w 3905665"/>
              <a:gd name="connsiteY1553" fmla="*/ 1679736 h 3403632"/>
              <a:gd name="connsiteX1554" fmla="*/ 2315804 w 3905665"/>
              <a:gd name="connsiteY1554" fmla="*/ 1674553 h 3403632"/>
              <a:gd name="connsiteX1555" fmla="*/ 841475 w 3905665"/>
              <a:gd name="connsiteY1555" fmla="*/ 1672825 h 3403632"/>
              <a:gd name="connsiteX1556" fmla="*/ 843698 w 3905665"/>
              <a:gd name="connsiteY1556" fmla="*/ 1675046 h 3403632"/>
              <a:gd name="connsiteX1557" fmla="*/ 841475 w 3905665"/>
              <a:gd name="connsiteY1557" fmla="*/ 1677267 h 3403632"/>
              <a:gd name="connsiteX1558" fmla="*/ 839254 w 3905665"/>
              <a:gd name="connsiteY1558" fmla="*/ 1675046 h 3403632"/>
              <a:gd name="connsiteX1559" fmla="*/ 841475 w 3905665"/>
              <a:gd name="connsiteY1559" fmla="*/ 1672825 h 3403632"/>
              <a:gd name="connsiteX1560" fmla="*/ 513184 w 3905665"/>
              <a:gd name="connsiteY1560" fmla="*/ 1671345 h 3403632"/>
              <a:gd name="connsiteX1561" fmla="*/ 520834 w 3905665"/>
              <a:gd name="connsiteY1561" fmla="*/ 1678997 h 3403632"/>
              <a:gd name="connsiteX1562" fmla="*/ 513184 w 3905665"/>
              <a:gd name="connsiteY1562" fmla="*/ 1686650 h 3403632"/>
              <a:gd name="connsiteX1563" fmla="*/ 505532 w 3905665"/>
              <a:gd name="connsiteY1563" fmla="*/ 1678997 h 3403632"/>
              <a:gd name="connsiteX1564" fmla="*/ 513184 w 3905665"/>
              <a:gd name="connsiteY1564" fmla="*/ 1671345 h 3403632"/>
              <a:gd name="connsiteX1565" fmla="*/ 1854497 w 3905665"/>
              <a:gd name="connsiteY1565" fmla="*/ 1669370 h 3403632"/>
              <a:gd name="connsiteX1566" fmla="*/ 1856222 w 3905665"/>
              <a:gd name="connsiteY1566" fmla="*/ 1671098 h 3403632"/>
              <a:gd name="connsiteX1567" fmla="*/ 1854497 w 3905665"/>
              <a:gd name="connsiteY1567" fmla="*/ 1672827 h 3403632"/>
              <a:gd name="connsiteX1568" fmla="*/ 1852771 w 3905665"/>
              <a:gd name="connsiteY1568" fmla="*/ 1671098 h 3403632"/>
              <a:gd name="connsiteX1569" fmla="*/ 1854497 w 3905665"/>
              <a:gd name="connsiteY1569" fmla="*/ 1669370 h 3403632"/>
              <a:gd name="connsiteX1570" fmla="*/ 3027918 w 3905665"/>
              <a:gd name="connsiteY1570" fmla="*/ 1659002 h 3403632"/>
              <a:gd name="connsiteX1571" fmla="*/ 3041741 w 3905665"/>
              <a:gd name="connsiteY1571" fmla="*/ 1673071 h 3403632"/>
              <a:gd name="connsiteX1572" fmla="*/ 3027918 w 3905665"/>
              <a:gd name="connsiteY1572" fmla="*/ 1686894 h 3403632"/>
              <a:gd name="connsiteX1573" fmla="*/ 3013849 w 3905665"/>
              <a:gd name="connsiteY1573" fmla="*/ 1673071 h 3403632"/>
              <a:gd name="connsiteX1574" fmla="*/ 3027918 w 3905665"/>
              <a:gd name="connsiteY1574" fmla="*/ 1659002 h 3403632"/>
              <a:gd name="connsiteX1575" fmla="*/ 57772 w 3905665"/>
              <a:gd name="connsiteY1575" fmla="*/ 1655299 h 3403632"/>
              <a:gd name="connsiteX1576" fmla="*/ 60488 w 3905665"/>
              <a:gd name="connsiteY1576" fmla="*/ 1658015 h 3403632"/>
              <a:gd name="connsiteX1577" fmla="*/ 57772 w 3905665"/>
              <a:gd name="connsiteY1577" fmla="*/ 1660731 h 3403632"/>
              <a:gd name="connsiteX1578" fmla="*/ 55056 w 3905665"/>
              <a:gd name="connsiteY1578" fmla="*/ 1658015 h 3403632"/>
              <a:gd name="connsiteX1579" fmla="*/ 57772 w 3905665"/>
              <a:gd name="connsiteY1579" fmla="*/ 1655299 h 3403632"/>
              <a:gd name="connsiteX1580" fmla="*/ 2756649 w 3905665"/>
              <a:gd name="connsiteY1580" fmla="*/ 1651844 h 3403632"/>
              <a:gd name="connsiteX1581" fmla="*/ 2774421 w 3905665"/>
              <a:gd name="connsiteY1581" fmla="*/ 1669616 h 3403632"/>
              <a:gd name="connsiteX1582" fmla="*/ 2756649 w 3905665"/>
              <a:gd name="connsiteY1582" fmla="*/ 1687388 h 3403632"/>
              <a:gd name="connsiteX1583" fmla="*/ 2738877 w 3905665"/>
              <a:gd name="connsiteY1583" fmla="*/ 1669616 h 3403632"/>
              <a:gd name="connsiteX1584" fmla="*/ 2756649 w 3905665"/>
              <a:gd name="connsiteY1584" fmla="*/ 1651844 h 3403632"/>
              <a:gd name="connsiteX1585" fmla="*/ 2039103 w 3905665"/>
              <a:gd name="connsiteY1585" fmla="*/ 1648636 h 3403632"/>
              <a:gd name="connsiteX1586" fmla="*/ 2040339 w 3905665"/>
              <a:gd name="connsiteY1586" fmla="*/ 1649870 h 3403632"/>
              <a:gd name="connsiteX1587" fmla="*/ 2039103 w 3905665"/>
              <a:gd name="connsiteY1587" fmla="*/ 1651106 h 3403632"/>
              <a:gd name="connsiteX1588" fmla="*/ 2037869 w 3905665"/>
              <a:gd name="connsiteY1588" fmla="*/ 1649870 h 3403632"/>
              <a:gd name="connsiteX1589" fmla="*/ 2039103 w 3905665"/>
              <a:gd name="connsiteY1589" fmla="*/ 1648636 h 3403632"/>
              <a:gd name="connsiteX1590" fmla="*/ 173291 w 3905665"/>
              <a:gd name="connsiteY1590" fmla="*/ 1640984 h 3403632"/>
              <a:gd name="connsiteX1591" fmla="*/ 175761 w 3905665"/>
              <a:gd name="connsiteY1591" fmla="*/ 1643454 h 3403632"/>
              <a:gd name="connsiteX1592" fmla="*/ 173291 w 3905665"/>
              <a:gd name="connsiteY1592" fmla="*/ 1645921 h 3403632"/>
              <a:gd name="connsiteX1593" fmla="*/ 170824 w 3905665"/>
              <a:gd name="connsiteY1593" fmla="*/ 1643454 h 3403632"/>
              <a:gd name="connsiteX1594" fmla="*/ 173291 w 3905665"/>
              <a:gd name="connsiteY1594" fmla="*/ 1640984 h 3403632"/>
              <a:gd name="connsiteX1595" fmla="*/ 1356869 w 3905665"/>
              <a:gd name="connsiteY1595" fmla="*/ 1639996 h 3403632"/>
              <a:gd name="connsiteX1596" fmla="*/ 1357856 w 3905665"/>
              <a:gd name="connsiteY1596" fmla="*/ 1640984 h 3403632"/>
              <a:gd name="connsiteX1597" fmla="*/ 1356869 w 3905665"/>
              <a:gd name="connsiteY1597" fmla="*/ 1641971 h 3403632"/>
              <a:gd name="connsiteX1598" fmla="*/ 1355881 w 3905665"/>
              <a:gd name="connsiteY1598" fmla="*/ 1640984 h 3403632"/>
              <a:gd name="connsiteX1599" fmla="*/ 1356869 w 3905665"/>
              <a:gd name="connsiteY1599" fmla="*/ 1639996 h 3403632"/>
              <a:gd name="connsiteX1600" fmla="*/ 2490560 w 3905665"/>
              <a:gd name="connsiteY1600" fmla="*/ 1639750 h 3403632"/>
              <a:gd name="connsiteX1601" fmla="*/ 2500185 w 3905665"/>
              <a:gd name="connsiteY1601" fmla="*/ 1649377 h 3403632"/>
              <a:gd name="connsiteX1602" fmla="*/ 2490560 w 3905665"/>
              <a:gd name="connsiteY1602" fmla="*/ 1659002 h 3403632"/>
              <a:gd name="connsiteX1603" fmla="*/ 2480933 w 3905665"/>
              <a:gd name="connsiteY1603" fmla="*/ 1649377 h 3403632"/>
              <a:gd name="connsiteX1604" fmla="*/ 2490560 w 3905665"/>
              <a:gd name="connsiteY1604" fmla="*/ 1639750 h 3403632"/>
              <a:gd name="connsiteX1605" fmla="*/ 1154214 w 3905665"/>
              <a:gd name="connsiteY1605" fmla="*/ 1636293 h 3403632"/>
              <a:gd name="connsiteX1606" fmla="*/ 1156930 w 3905665"/>
              <a:gd name="connsiteY1606" fmla="*/ 1639009 h 3403632"/>
              <a:gd name="connsiteX1607" fmla="*/ 1154214 w 3905665"/>
              <a:gd name="connsiteY1607" fmla="*/ 1641725 h 3403632"/>
              <a:gd name="connsiteX1608" fmla="*/ 1151499 w 3905665"/>
              <a:gd name="connsiteY1608" fmla="*/ 1639009 h 3403632"/>
              <a:gd name="connsiteX1609" fmla="*/ 1154214 w 3905665"/>
              <a:gd name="connsiteY1609" fmla="*/ 1636293 h 3403632"/>
              <a:gd name="connsiteX1610" fmla="*/ 624015 w 3905665"/>
              <a:gd name="connsiteY1610" fmla="*/ 1635060 h 3403632"/>
              <a:gd name="connsiteX1611" fmla="*/ 632406 w 3905665"/>
              <a:gd name="connsiteY1611" fmla="*/ 1643451 h 3403632"/>
              <a:gd name="connsiteX1612" fmla="*/ 624015 w 3905665"/>
              <a:gd name="connsiteY1612" fmla="*/ 1651845 h 3403632"/>
              <a:gd name="connsiteX1613" fmla="*/ 615620 w 3905665"/>
              <a:gd name="connsiteY1613" fmla="*/ 1643451 h 3403632"/>
              <a:gd name="connsiteX1614" fmla="*/ 624015 w 3905665"/>
              <a:gd name="connsiteY1614" fmla="*/ 1635060 h 3403632"/>
              <a:gd name="connsiteX1615" fmla="*/ 1553599 w 3905665"/>
              <a:gd name="connsiteY1615" fmla="*/ 1634318 h 3403632"/>
              <a:gd name="connsiteX1616" fmla="*/ 1554094 w 3905665"/>
              <a:gd name="connsiteY1616" fmla="*/ 1634813 h 3403632"/>
              <a:gd name="connsiteX1617" fmla="*/ 1553599 w 3905665"/>
              <a:gd name="connsiteY1617" fmla="*/ 1635305 h 3403632"/>
              <a:gd name="connsiteX1618" fmla="*/ 1553107 w 3905665"/>
              <a:gd name="connsiteY1618" fmla="*/ 1634813 h 3403632"/>
              <a:gd name="connsiteX1619" fmla="*/ 1553599 w 3905665"/>
              <a:gd name="connsiteY1619" fmla="*/ 1634318 h 3403632"/>
              <a:gd name="connsiteX1620" fmla="*/ 947120 w 3905665"/>
              <a:gd name="connsiteY1620" fmla="*/ 1623706 h 3403632"/>
              <a:gd name="connsiteX1621" fmla="*/ 949589 w 3905665"/>
              <a:gd name="connsiteY1621" fmla="*/ 1626173 h 3403632"/>
              <a:gd name="connsiteX1622" fmla="*/ 947120 w 3905665"/>
              <a:gd name="connsiteY1622" fmla="*/ 1628643 h 3403632"/>
              <a:gd name="connsiteX1623" fmla="*/ 944653 w 3905665"/>
              <a:gd name="connsiteY1623" fmla="*/ 1626173 h 3403632"/>
              <a:gd name="connsiteX1624" fmla="*/ 947120 w 3905665"/>
              <a:gd name="connsiteY1624" fmla="*/ 1623706 h 3403632"/>
              <a:gd name="connsiteX1625" fmla="*/ 2218552 w 3905665"/>
              <a:gd name="connsiteY1625" fmla="*/ 1621978 h 3403632"/>
              <a:gd name="connsiteX1626" fmla="*/ 2221268 w 3905665"/>
              <a:gd name="connsiteY1626" fmla="*/ 1624694 h 3403632"/>
              <a:gd name="connsiteX1627" fmla="*/ 2218552 w 3905665"/>
              <a:gd name="connsiteY1627" fmla="*/ 1627410 h 3403632"/>
              <a:gd name="connsiteX1628" fmla="*/ 2215836 w 3905665"/>
              <a:gd name="connsiteY1628" fmla="*/ 1624694 h 3403632"/>
              <a:gd name="connsiteX1629" fmla="*/ 2218552 w 3905665"/>
              <a:gd name="connsiteY1629" fmla="*/ 1621978 h 3403632"/>
              <a:gd name="connsiteX1630" fmla="*/ 288068 w 3905665"/>
              <a:gd name="connsiteY1630" fmla="*/ 1621237 h 3403632"/>
              <a:gd name="connsiteX1631" fmla="*/ 290043 w 3905665"/>
              <a:gd name="connsiteY1631" fmla="*/ 1623212 h 3403632"/>
              <a:gd name="connsiteX1632" fmla="*/ 288068 w 3905665"/>
              <a:gd name="connsiteY1632" fmla="*/ 1625186 h 3403632"/>
              <a:gd name="connsiteX1633" fmla="*/ 286093 w 3905665"/>
              <a:gd name="connsiteY1633" fmla="*/ 1623212 h 3403632"/>
              <a:gd name="connsiteX1634" fmla="*/ 288068 w 3905665"/>
              <a:gd name="connsiteY1634" fmla="*/ 1621237 h 3403632"/>
              <a:gd name="connsiteX1635" fmla="*/ 1744648 w 3905665"/>
              <a:gd name="connsiteY1635" fmla="*/ 1620496 h 3403632"/>
              <a:gd name="connsiteX1636" fmla="*/ 1746132 w 3905665"/>
              <a:gd name="connsiteY1636" fmla="*/ 1621729 h 3403632"/>
              <a:gd name="connsiteX1637" fmla="*/ 1744648 w 3905665"/>
              <a:gd name="connsiteY1637" fmla="*/ 1623212 h 3403632"/>
              <a:gd name="connsiteX1638" fmla="*/ 1743415 w 3905665"/>
              <a:gd name="connsiteY1638" fmla="*/ 1621729 h 3403632"/>
              <a:gd name="connsiteX1639" fmla="*/ 1744648 w 3905665"/>
              <a:gd name="connsiteY1639" fmla="*/ 1620496 h 3403632"/>
              <a:gd name="connsiteX1640" fmla="*/ 3190337 w 3905665"/>
              <a:gd name="connsiteY1640" fmla="*/ 1612597 h 3403632"/>
              <a:gd name="connsiteX1641" fmla="*/ 3209835 w 3905665"/>
              <a:gd name="connsiteY1641" fmla="*/ 1632098 h 3403632"/>
              <a:gd name="connsiteX1642" fmla="*/ 3190337 w 3905665"/>
              <a:gd name="connsiteY1642" fmla="*/ 1651596 h 3403632"/>
              <a:gd name="connsiteX1643" fmla="*/ 3170836 w 3905665"/>
              <a:gd name="connsiteY1643" fmla="*/ 1632098 h 3403632"/>
              <a:gd name="connsiteX1644" fmla="*/ 3190337 w 3905665"/>
              <a:gd name="connsiteY1644" fmla="*/ 1612597 h 3403632"/>
              <a:gd name="connsiteX1645" fmla="*/ 2661124 w 3905665"/>
              <a:gd name="connsiteY1645" fmla="*/ 1601523 h 3403632"/>
              <a:gd name="connsiteX1646" fmla="*/ 2674947 w 3905665"/>
              <a:gd name="connsiteY1646" fmla="*/ 1615313 h 3403632"/>
              <a:gd name="connsiteX1647" fmla="*/ 2661124 w 3905665"/>
              <a:gd name="connsiteY1647" fmla="*/ 1629136 h 3403632"/>
              <a:gd name="connsiteX1648" fmla="*/ 2647301 w 3905665"/>
              <a:gd name="connsiteY1648" fmla="*/ 1615313 h 3403632"/>
              <a:gd name="connsiteX1649" fmla="*/ 2661124 w 3905665"/>
              <a:gd name="connsiteY1649" fmla="*/ 1601523 h 3403632"/>
              <a:gd name="connsiteX1650" fmla="*/ 2933134 w 3905665"/>
              <a:gd name="connsiteY1650" fmla="*/ 1596098 h 3403632"/>
              <a:gd name="connsiteX1651" fmla="*/ 2955347 w 3905665"/>
              <a:gd name="connsiteY1651" fmla="*/ 1618521 h 3403632"/>
              <a:gd name="connsiteX1652" fmla="*/ 2933134 w 3905665"/>
              <a:gd name="connsiteY1652" fmla="*/ 1640984 h 3403632"/>
              <a:gd name="connsiteX1653" fmla="*/ 2910671 w 3905665"/>
              <a:gd name="connsiteY1653" fmla="*/ 1618521 h 3403632"/>
              <a:gd name="connsiteX1654" fmla="*/ 2933134 w 3905665"/>
              <a:gd name="connsiteY1654" fmla="*/ 1596098 h 3403632"/>
              <a:gd name="connsiteX1655" fmla="*/ 401614 w 3905665"/>
              <a:gd name="connsiteY1655" fmla="*/ 1595331 h 3403632"/>
              <a:gd name="connsiteX1656" fmla="*/ 403340 w 3905665"/>
              <a:gd name="connsiteY1656" fmla="*/ 1597059 h 3403632"/>
              <a:gd name="connsiteX1657" fmla="*/ 401614 w 3905665"/>
              <a:gd name="connsiteY1657" fmla="*/ 1598788 h 3403632"/>
              <a:gd name="connsiteX1658" fmla="*/ 399886 w 3905665"/>
              <a:gd name="connsiteY1658" fmla="*/ 1597059 h 3403632"/>
              <a:gd name="connsiteX1659" fmla="*/ 401614 w 3905665"/>
              <a:gd name="connsiteY1659" fmla="*/ 1595331 h 3403632"/>
              <a:gd name="connsiteX1660" fmla="*/ 733113 w 3905665"/>
              <a:gd name="connsiteY1660" fmla="*/ 1593603 h 3403632"/>
              <a:gd name="connsiteX1661" fmla="*/ 742248 w 3905665"/>
              <a:gd name="connsiteY1661" fmla="*/ 1602723 h 3403632"/>
              <a:gd name="connsiteX1662" fmla="*/ 733113 w 3905665"/>
              <a:gd name="connsiteY1662" fmla="*/ 1611858 h 3403632"/>
              <a:gd name="connsiteX1663" fmla="*/ 723981 w 3905665"/>
              <a:gd name="connsiteY1663" fmla="*/ 1602723 h 3403632"/>
              <a:gd name="connsiteX1664" fmla="*/ 733113 w 3905665"/>
              <a:gd name="connsiteY1664" fmla="*/ 1593603 h 3403632"/>
              <a:gd name="connsiteX1665" fmla="*/ 1941123 w 3905665"/>
              <a:gd name="connsiteY1665" fmla="*/ 1591888 h 3403632"/>
              <a:gd name="connsiteX1666" fmla="*/ 1942604 w 3905665"/>
              <a:gd name="connsiteY1666" fmla="*/ 1593366 h 3403632"/>
              <a:gd name="connsiteX1667" fmla="*/ 1941123 w 3905665"/>
              <a:gd name="connsiteY1667" fmla="*/ 1594847 h 3403632"/>
              <a:gd name="connsiteX1668" fmla="*/ 1939644 w 3905665"/>
              <a:gd name="connsiteY1668" fmla="*/ 1593366 h 3403632"/>
              <a:gd name="connsiteX1669" fmla="*/ 1941123 w 3905665"/>
              <a:gd name="connsiteY1669" fmla="*/ 1591888 h 3403632"/>
              <a:gd name="connsiteX1670" fmla="*/ 2394545 w 3905665"/>
              <a:gd name="connsiteY1670" fmla="*/ 1588190 h 3403632"/>
              <a:gd name="connsiteX1671" fmla="*/ 2400469 w 3905665"/>
              <a:gd name="connsiteY1671" fmla="*/ 1594113 h 3403632"/>
              <a:gd name="connsiteX1672" fmla="*/ 2394545 w 3905665"/>
              <a:gd name="connsiteY1672" fmla="*/ 1600035 h 3403632"/>
              <a:gd name="connsiteX1673" fmla="*/ 2388621 w 3905665"/>
              <a:gd name="connsiteY1673" fmla="*/ 1594113 h 3403632"/>
              <a:gd name="connsiteX1674" fmla="*/ 2394545 w 3905665"/>
              <a:gd name="connsiteY1674" fmla="*/ 1588190 h 3403632"/>
              <a:gd name="connsiteX1675" fmla="*/ 1253690 w 3905665"/>
              <a:gd name="connsiteY1675" fmla="*/ 1575835 h 3403632"/>
              <a:gd name="connsiteX1676" fmla="*/ 1256652 w 3905665"/>
              <a:gd name="connsiteY1676" fmla="*/ 1578797 h 3403632"/>
              <a:gd name="connsiteX1677" fmla="*/ 1253690 w 3905665"/>
              <a:gd name="connsiteY1677" fmla="*/ 1581514 h 3403632"/>
              <a:gd name="connsiteX1678" fmla="*/ 1250975 w 3905665"/>
              <a:gd name="connsiteY1678" fmla="*/ 1578797 h 3403632"/>
              <a:gd name="connsiteX1679" fmla="*/ 1253690 w 3905665"/>
              <a:gd name="connsiteY1679" fmla="*/ 1575835 h 3403632"/>
              <a:gd name="connsiteX1680" fmla="*/ 1452147 w 3905665"/>
              <a:gd name="connsiteY1680" fmla="*/ 1574110 h 3403632"/>
              <a:gd name="connsiteX1681" fmla="*/ 1452885 w 3905665"/>
              <a:gd name="connsiteY1681" fmla="*/ 1574851 h 3403632"/>
              <a:gd name="connsiteX1682" fmla="*/ 1452147 w 3905665"/>
              <a:gd name="connsiteY1682" fmla="*/ 1575589 h 3403632"/>
              <a:gd name="connsiteX1683" fmla="*/ 1451405 w 3905665"/>
              <a:gd name="connsiteY1683" fmla="*/ 1574851 h 3403632"/>
              <a:gd name="connsiteX1684" fmla="*/ 1452147 w 3905665"/>
              <a:gd name="connsiteY1684" fmla="*/ 1574110 h 3403632"/>
              <a:gd name="connsiteX1685" fmla="*/ 1050297 w 3905665"/>
              <a:gd name="connsiteY1685" fmla="*/ 1570403 h 3403632"/>
              <a:gd name="connsiteX1686" fmla="*/ 1052767 w 3905665"/>
              <a:gd name="connsiteY1686" fmla="*/ 1572873 h 3403632"/>
              <a:gd name="connsiteX1687" fmla="*/ 1050297 w 3905665"/>
              <a:gd name="connsiteY1687" fmla="*/ 1575339 h 3403632"/>
              <a:gd name="connsiteX1688" fmla="*/ 1047830 w 3905665"/>
              <a:gd name="connsiteY1688" fmla="*/ 1572873 h 3403632"/>
              <a:gd name="connsiteX1689" fmla="*/ 1050297 w 3905665"/>
              <a:gd name="connsiteY1689" fmla="*/ 1570403 h 3403632"/>
              <a:gd name="connsiteX1690" fmla="*/ 2122039 w 3905665"/>
              <a:gd name="connsiteY1690" fmla="*/ 1567453 h 3403632"/>
              <a:gd name="connsiteX1691" fmla="*/ 2123027 w 3905665"/>
              <a:gd name="connsiteY1691" fmla="*/ 1568440 h 3403632"/>
              <a:gd name="connsiteX1692" fmla="*/ 2122039 w 3905665"/>
              <a:gd name="connsiteY1692" fmla="*/ 1569428 h 3403632"/>
              <a:gd name="connsiteX1693" fmla="*/ 2121052 w 3905665"/>
              <a:gd name="connsiteY1693" fmla="*/ 1568440 h 3403632"/>
              <a:gd name="connsiteX1694" fmla="*/ 2122039 w 3905665"/>
              <a:gd name="connsiteY1694" fmla="*/ 1567453 h 3403632"/>
              <a:gd name="connsiteX1695" fmla="*/ 513922 w 3905665"/>
              <a:gd name="connsiteY1695" fmla="*/ 1563984 h 3403632"/>
              <a:gd name="connsiteX1696" fmla="*/ 515404 w 3905665"/>
              <a:gd name="connsiteY1696" fmla="*/ 1565463 h 3403632"/>
              <a:gd name="connsiteX1697" fmla="*/ 513922 w 3905665"/>
              <a:gd name="connsiteY1697" fmla="*/ 1566945 h 3403632"/>
              <a:gd name="connsiteX1698" fmla="*/ 512442 w 3905665"/>
              <a:gd name="connsiteY1698" fmla="*/ 1565463 h 3403632"/>
              <a:gd name="connsiteX1699" fmla="*/ 513922 w 3905665"/>
              <a:gd name="connsiteY1699" fmla="*/ 1563984 h 3403632"/>
              <a:gd name="connsiteX1700" fmla="*/ 3095798 w 3905665"/>
              <a:gd name="connsiteY1700" fmla="*/ 1563524 h 3403632"/>
              <a:gd name="connsiteX1701" fmla="*/ 3110608 w 3905665"/>
              <a:gd name="connsiteY1701" fmla="*/ 1578329 h 3403632"/>
              <a:gd name="connsiteX1702" fmla="*/ 3095798 w 3905665"/>
              <a:gd name="connsiteY1702" fmla="*/ 1593137 h 3403632"/>
              <a:gd name="connsiteX1703" fmla="*/ 3080988 w 3905665"/>
              <a:gd name="connsiteY1703" fmla="*/ 1578329 h 3403632"/>
              <a:gd name="connsiteX1704" fmla="*/ 3095798 w 3905665"/>
              <a:gd name="connsiteY1704" fmla="*/ 1563524 h 3403632"/>
              <a:gd name="connsiteX1705" fmla="*/ 1645174 w 3905665"/>
              <a:gd name="connsiteY1705" fmla="*/ 1563251 h 3403632"/>
              <a:gd name="connsiteX1706" fmla="*/ 1645422 w 3905665"/>
              <a:gd name="connsiteY1706" fmla="*/ 1563498 h 3403632"/>
              <a:gd name="connsiteX1707" fmla="*/ 1645174 w 3905665"/>
              <a:gd name="connsiteY1707" fmla="*/ 1563743 h 3403632"/>
              <a:gd name="connsiteX1708" fmla="*/ 1644928 w 3905665"/>
              <a:gd name="connsiteY1708" fmla="*/ 1563498 h 3403632"/>
              <a:gd name="connsiteX1709" fmla="*/ 1645174 w 3905665"/>
              <a:gd name="connsiteY1709" fmla="*/ 1563251 h 3403632"/>
              <a:gd name="connsiteX1710" fmla="*/ 2827983 w 3905665"/>
              <a:gd name="connsiteY1710" fmla="*/ 1559323 h 3403632"/>
              <a:gd name="connsiteX1711" fmla="*/ 2846497 w 3905665"/>
              <a:gd name="connsiteY1711" fmla="*/ 1578080 h 3403632"/>
              <a:gd name="connsiteX1712" fmla="*/ 2827983 w 3905665"/>
              <a:gd name="connsiteY1712" fmla="*/ 1596594 h 3403632"/>
              <a:gd name="connsiteX1713" fmla="*/ 2809470 w 3905665"/>
              <a:gd name="connsiteY1713" fmla="*/ 1578080 h 3403632"/>
              <a:gd name="connsiteX1714" fmla="*/ 2827983 w 3905665"/>
              <a:gd name="connsiteY1714" fmla="*/ 1559323 h 3403632"/>
              <a:gd name="connsiteX1715" fmla="*/ 2565598 w 3905665"/>
              <a:gd name="connsiteY1715" fmla="*/ 1549930 h 3403632"/>
              <a:gd name="connsiteX1716" fmla="*/ 2576212 w 3905665"/>
              <a:gd name="connsiteY1716" fmla="*/ 1560798 h 3403632"/>
              <a:gd name="connsiteX1717" fmla="*/ 2565598 w 3905665"/>
              <a:gd name="connsiteY1717" fmla="*/ 1571410 h 3403632"/>
              <a:gd name="connsiteX1718" fmla="*/ 2554983 w 3905665"/>
              <a:gd name="connsiteY1718" fmla="*/ 1560798 h 3403632"/>
              <a:gd name="connsiteX1719" fmla="*/ 2565598 w 3905665"/>
              <a:gd name="connsiteY1719" fmla="*/ 1549930 h 3403632"/>
              <a:gd name="connsiteX1720" fmla="*/ 839993 w 3905665"/>
              <a:gd name="connsiteY1720" fmla="*/ 1547199 h 3403632"/>
              <a:gd name="connsiteX1721" fmla="*/ 849866 w 3905665"/>
              <a:gd name="connsiteY1721" fmla="*/ 1556829 h 3403632"/>
              <a:gd name="connsiteX1722" fmla="*/ 839993 w 3905665"/>
              <a:gd name="connsiteY1722" fmla="*/ 1566700 h 3403632"/>
              <a:gd name="connsiteX1723" fmla="*/ 830366 w 3905665"/>
              <a:gd name="connsiteY1723" fmla="*/ 1556829 h 3403632"/>
              <a:gd name="connsiteX1724" fmla="*/ 839993 w 3905665"/>
              <a:gd name="connsiteY1724" fmla="*/ 1547199 h 3403632"/>
              <a:gd name="connsiteX1725" fmla="*/ 57771 w 3905665"/>
              <a:gd name="connsiteY1725" fmla="*/ 1545222 h 3403632"/>
              <a:gd name="connsiteX1726" fmla="*/ 61475 w 3905665"/>
              <a:gd name="connsiteY1726" fmla="*/ 1548926 h 3403632"/>
              <a:gd name="connsiteX1727" fmla="*/ 57771 w 3905665"/>
              <a:gd name="connsiteY1727" fmla="*/ 1552622 h 3403632"/>
              <a:gd name="connsiteX1728" fmla="*/ 54068 w 3905665"/>
              <a:gd name="connsiteY1728" fmla="*/ 1548926 h 3403632"/>
              <a:gd name="connsiteX1729" fmla="*/ 57771 w 3905665"/>
              <a:gd name="connsiteY1729" fmla="*/ 1545222 h 3403632"/>
              <a:gd name="connsiteX1730" fmla="*/ 1832279 w 3905665"/>
              <a:gd name="connsiteY1730" fmla="*/ 1544495 h 3403632"/>
              <a:gd name="connsiteX1731" fmla="*/ 1833756 w 3905665"/>
              <a:gd name="connsiteY1731" fmla="*/ 1545974 h 3403632"/>
              <a:gd name="connsiteX1732" fmla="*/ 1832279 w 3905665"/>
              <a:gd name="connsiteY1732" fmla="*/ 1547455 h 3403632"/>
              <a:gd name="connsiteX1733" fmla="*/ 1830795 w 3905665"/>
              <a:gd name="connsiteY1733" fmla="*/ 1545974 h 3403632"/>
              <a:gd name="connsiteX1734" fmla="*/ 1832279 w 3905665"/>
              <a:gd name="connsiteY1734" fmla="*/ 1544495 h 3403632"/>
              <a:gd name="connsiteX1735" fmla="*/ 2297785 w 3905665"/>
              <a:gd name="connsiteY1735" fmla="*/ 1536605 h 3403632"/>
              <a:gd name="connsiteX1736" fmla="*/ 2300747 w 3905665"/>
              <a:gd name="connsiteY1736" fmla="*/ 1539566 h 3403632"/>
              <a:gd name="connsiteX1737" fmla="*/ 2297785 w 3905665"/>
              <a:gd name="connsiteY1737" fmla="*/ 1542528 h 3403632"/>
              <a:gd name="connsiteX1738" fmla="*/ 2294823 w 3905665"/>
              <a:gd name="connsiteY1738" fmla="*/ 1539566 h 3403632"/>
              <a:gd name="connsiteX1739" fmla="*/ 2297785 w 3905665"/>
              <a:gd name="connsiteY1739" fmla="*/ 1536605 h 3403632"/>
              <a:gd name="connsiteX1740" fmla="*/ 173535 w 3905665"/>
              <a:gd name="connsiteY1740" fmla="*/ 1529673 h 3403632"/>
              <a:gd name="connsiteX1741" fmla="*/ 177484 w 3905665"/>
              <a:gd name="connsiteY1741" fmla="*/ 1533622 h 3403632"/>
              <a:gd name="connsiteX1742" fmla="*/ 173535 w 3905665"/>
              <a:gd name="connsiteY1742" fmla="*/ 1537325 h 3403632"/>
              <a:gd name="connsiteX1743" fmla="*/ 169586 w 3905665"/>
              <a:gd name="connsiteY1743" fmla="*/ 1533622 h 3403632"/>
              <a:gd name="connsiteX1744" fmla="*/ 173535 w 3905665"/>
              <a:gd name="connsiteY1744" fmla="*/ 1529673 h 3403632"/>
              <a:gd name="connsiteX1745" fmla="*/ 624256 w 3905665"/>
              <a:gd name="connsiteY1745" fmla="*/ 1524985 h 3403632"/>
              <a:gd name="connsiteX1746" fmla="*/ 627467 w 3905665"/>
              <a:gd name="connsiteY1746" fmla="*/ 1528192 h 3403632"/>
              <a:gd name="connsiteX1747" fmla="*/ 624256 w 3905665"/>
              <a:gd name="connsiteY1747" fmla="*/ 1531402 h 3403632"/>
              <a:gd name="connsiteX1748" fmla="*/ 621048 w 3905665"/>
              <a:gd name="connsiteY1748" fmla="*/ 1528192 h 3403632"/>
              <a:gd name="connsiteX1749" fmla="*/ 624256 w 3905665"/>
              <a:gd name="connsiteY1749" fmla="*/ 1524985 h 3403632"/>
              <a:gd name="connsiteX1750" fmla="*/ 3255009 w 3905665"/>
              <a:gd name="connsiteY1750" fmla="*/ 1515157 h 3403632"/>
              <a:gd name="connsiteX1751" fmla="*/ 3275248 w 3905665"/>
              <a:gd name="connsiteY1751" fmla="*/ 1535390 h 3403632"/>
              <a:gd name="connsiteX1752" fmla="*/ 3255009 w 3905665"/>
              <a:gd name="connsiteY1752" fmla="*/ 1555632 h 3403632"/>
              <a:gd name="connsiteX1753" fmla="*/ 3234767 w 3905665"/>
              <a:gd name="connsiteY1753" fmla="*/ 1535390 h 3403632"/>
              <a:gd name="connsiteX1754" fmla="*/ 3255009 w 3905665"/>
              <a:gd name="connsiteY1754" fmla="*/ 1515157 h 3403632"/>
              <a:gd name="connsiteX1755" fmla="*/ 1151002 w 3905665"/>
              <a:gd name="connsiteY1755" fmla="*/ 1511908 h 3403632"/>
              <a:gd name="connsiteX1756" fmla="*/ 1153718 w 3905665"/>
              <a:gd name="connsiteY1756" fmla="*/ 1514624 h 3403632"/>
              <a:gd name="connsiteX1757" fmla="*/ 1151002 w 3905665"/>
              <a:gd name="connsiteY1757" fmla="*/ 1517339 h 3403632"/>
              <a:gd name="connsiteX1758" fmla="*/ 1148286 w 3905665"/>
              <a:gd name="connsiteY1758" fmla="*/ 1514624 h 3403632"/>
              <a:gd name="connsiteX1759" fmla="*/ 1151002 w 3905665"/>
              <a:gd name="connsiteY1759" fmla="*/ 1511908 h 3403632"/>
              <a:gd name="connsiteX1760" fmla="*/ 1350202 w 3905665"/>
              <a:gd name="connsiteY1760" fmla="*/ 1511418 h 3403632"/>
              <a:gd name="connsiteX1761" fmla="*/ 1353164 w 3905665"/>
              <a:gd name="connsiteY1761" fmla="*/ 1514380 h 3403632"/>
              <a:gd name="connsiteX1762" fmla="*/ 1350202 w 3905665"/>
              <a:gd name="connsiteY1762" fmla="*/ 1517096 h 3403632"/>
              <a:gd name="connsiteX1763" fmla="*/ 1347239 w 3905665"/>
              <a:gd name="connsiteY1763" fmla="*/ 1514380 h 3403632"/>
              <a:gd name="connsiteX1764" fmla="*/ 1350202 w 3905665"/>
              <a:gd name="connsiteY1764" fmla="*/ 1511418 h 3403632"/>
              <a:gd name="connsiteX1765" fmla="*/ 2024786 w 3905665"/>
              <a:gd name="connsiteY1765" fmla="*/ 1511179 h 3403632"/>
              <a:gd name="connsiteX1766" fmla="*/ 2026022 w 3905665"/>
              <a:gd name="connsiteY1766" fmla="*/ 1512413 h 3403632"/>
              <a:gd name="connsiteX1767" fmla="*/ 2024786 w 3905665"/>
              <a:gd name="connsiteY1767" fmla="*/ 1513649 h 3403632"/>
              <a:gd name="connsiteX1768" fmla="*/ 2023552 w 3905665"/>
              <a:gd name="connsiteY1768" fmla="*/ 1512413 h 3403632"/>
              <a:gd name="connsiteX1769" fmla="*/ 2024786 w 3905665"/>
              <a:gd name="connsiteY1769" fmla="*/ 1511179 h 3403632"/>
              <a:gd name="connsiteX1770" fmla="*/ 2732953 w 3905665"/>
              <a:gd name="connsiteY1770" fmla="*/ 1509467 h 3403632"/>
              <a:gd name="connsiteX1771" fmla="*/ 2747514 w 3905665"/>
              <a:gd name="connsiteY1771" fmla="*/ 1524030 h 3403632"/>
              <a:gd name="connsiteX1772" fmla="*/ 2732953 w 3905665"/>
              <a:gd name="connsiteY1772" fmla="*/ 1538589 h 3403632"/>
              <a:gd name="connsiteX1773" fmla="*/ 2718389 w 3905665"/>
              <a:gd name="connsiteY1773" fmla="*/ 1524030 h 3403632"/>
              <a:gd name="connsiteX1774" fmla="*/ 2732953 w 3905665"/>
              <a:gd name="connsiteY1774" fmla="*/ 1509467 h 3403632"/>
              <a:gd name="connsiteX1775" fmla="*/ 288313 w 3905665"/>
              <a:gd name="connsiteY1775" fmla="*/ 1508201 h 3403632"/>
              <a:gd name="connsiteX1776" fmla="*/ 292263 w 3905665"/>
              <a:gd name="connsiteY1776" fmla="*/ 1512151 h 3403632"/>
              <a:gd name="connsiteX1777" fmla="*/ 288313 w 3905665"/>
              <a:gd name="connsiteY1777" fmla="*/ 1516100 h 3403632"/>
              <a:gd name="connsiteX1778" fmla="*/ 284364 w 3905665"/>
              <a:gd name="connsiteY1778" fmla="*/ 1512151 h 3403632"/>
              <a:gd name="connsiteX1779" fmla="*/ 288313 w 3905665"/>
              <a:gd name="connsiteY1779" fmla="*/ 1508201 h 3403632"/>
              <a:gd name="connsiteX1780" fmla="*/ 1544711 w 3905665"/>
              <a:gd name="connsiteY1780" fmla="*/ 1504259 h 3403632"/>
              <a:gd name="connsiteX1781" fmla="*/ 1544960 w 3905665"/>
              <a:gd name="connsiteY1781" fmla="*/ 1504754 h 3403632"/>
              <a:gd name="connsiteX1782" fmla="*/ 1544711 w 3905665"/>
              <a:gd name="connsiteY1782" fmla="*/ 1505246 h 3403632"/>
              <a:gd name="connsiteX1783" fmla="*/ 1544219 w 3905665"/>
              <a:gd name="connsiteY1783" fmla="*/ 1504754 h 3403632"/>
              <a:gd name="connsiteX1784" fmla="*/ 1544711 w 3905665"/>
              <a:gd name="connsiteY1784" fmla="*/ 1504259 h 3403632"/>
              <a:gd name="connsiteX1785" fmla="*/ 3001263 w 3905665"/>
              <a:gd name="connsiteY1785" fmla="*/ 1500833 h 3403632"/>
              <a:gd name="connsiteX1786" fmla="*/ 3024464 w 3905665"/>
              <a:gd name="connsiteY1786" fmla="*/ 1524037 h 3403632"/>
              <a:gd name="connsiteX1787" fmla="*/ 3001263 w 3905665"/>
              <a:gd name="connsiteY1787" fmla="*/ 1547229 h 3403632"/>
              <a:gd name="connsiteX1788" fmla="*/ 2978059 w 3905665"/>
              <a:gd name="connsiteY1788" fmla="*/ 1524037 h 3403632"/>
              <a:gd name="connsiteX1789" fmla="*/ 3001263 w 3905665"/>
              <a:gd name="connsiteY1789" fmla="*/ 1500833 h 3403632"/>
              <a:gd name="connsiteX1790" fmla="*/ 2470073 w 3905665"/>
              <a:gd name="connsiteY1790" fmla="*/ 1499586 h 3403632"/>
              <a:gd name="connsiteX1791" fmla="*/ 2476492 w 3905665"/>
              <a:gd name="connsiteY1791" fmla="*/ 1506005 h 3403632"/>
              <a:gd name="connsiteX1792" fmla="*/ 2470073 w 3905665"/>
              <a:gd name="connsiteY1792" fmla="*/ 1512424 h 3403632"/>
              <a:gd name="connsiteX1793" fmla="*/ 2463656 w 3905665"/>
              <a:gd name="connsiteY1793" fmla="*/ 1506005 h 3403632"/>
              <a:gd name="connsiteX1794" fmla="*/ 2470073 w 3905665"/>
              <a:gd name="connsiteY1794" fmla="*/ 1499586 h 3403632"/>
              <a:gd name="connsiteX1795" fmla="*/ 944651 w 3905665"/>
              <a:gd name="connsiteY1795" fmla="*/ 1495615 h 3403632"/>
              <a:gd name="connsiteX1796" fmla="*/ 955019 w 3905665"/>
              <a:gd name="connsiteY1796" fmla="*/ 1505982 h 3403632"/>
              <a:gd name="connsiteX1797" fmla="*/ 944651 w 3905665"/>
              <a:gd name="connsiteY1797" fmla="*/ 1516351 h 3403632"/>
              <a:gd name="connsiteX1798" fmla="*/ 934285 w 3905665"/>
              <a:gd name="connsiteY1798" fmla="*/ 1505982 h 3403632"/>
              <a:gd name="connsiteX1799" fmla="*/ 944651 w 3905665"/>
              <a:gd name="connsiteY1799" fmla="*/ 1495615 h 3403632"/>
              <a:gd name="connsiteX1800" fmla="*/ 1733542 w 3905665"/>
              <a:gd name="connsiteY1800" fmla="*/ 1488215 h 3403632"/>
              <a:gd name="connsiteX1801" fmla="*/ 1733790 w 3905665"/>
              <a:gd name="connsiteY1801" fmla="*/ 1488461 h 3403632"/>
              <a:gd name="connsiteX1802" fmla="*/ 1733542 w 3905665"/>
              <a:gd name="connsiteY1802" fmla="*/ 1488710 h 3403632"/>
              <a:gd name="connsiteX1803" fmla="*/ 1733296 w 3905665"/>
              <a:gd name="connsiteY1803" fmla="*/ 1488461 h 3403632"/>
              <a:gd name="connsiteX1804" fmla="*/ 1733542 w 3905665"/>
              <a:gd name="connsiteY1804" fmla="*/ 1488215 h 3403632"/>
              <a:gd name="connsiteX1805" fmla="*/ 2202014 w 3905665"/>
              <a:gd name="connsiteY1805" fmla="*/ 1483039 h 3403632"/>
              <a:gd name="connsiteX1806" fmla="*/ 2202753 w 3905665"/>
              <a:gd name="connsiteY1806" fmla="*/ 1483779 h 3403632"/>
              <a:gd name="connsiteX1807" fmla="*/ 2202014 w 3905665"/>
              <a:gd name="connsiteY1807" fmla="*/ 1484518 h 3403632"/>
              <a:gd name="connsiteX1808" fmla="*/ 2201273 w 3905665"/>
              <a:gd name="connsiteY1808" fmla="*/ 1483779 h 3403632"/>
              <a:gd name="connsiteX1809" fmla="*/ 2202014 w 3905665"/>
              <a:gd name="connsiteY1809" fmla="*/ 1483039 h 3403632"/>
              <a:gd name="connsiteX1810" fmla="*/ 732866 w 3905665"/>
              <a:gd name="connsiteY1810" fmla="*/ 1482530 h 3403632"/>
              <a:gd name="connsiteX1811" fmla="*/ 735828 w 3905665"/>
              <a:gd name="connsiteY1811" fmla="*/ 1485492 h 3403632"/>
              <a:gd name="connsiteX1812" fmla="*/ 732866 w 3905665"/>
              <a:gd name="connsiteY1812" fmla="*/ 1488454 h 3403632"/>
              <a:gd name="connsiteX1813" fmla="*/ 729904 w 3905665"/>
              <a:gd name="connsiteY1813" fmla="*/ 1485492 h 3403632"/>
              <a:gd name="connsiteX1814" fmla="*/ 732866 w 3905665"/>
              <a:gd name="connsiteY1814" fmla="*/ 1482530 h 3403632"/>
              <a:gd name="connsiteX1815" fmla="*/ 401610 w 3905665"/>
              <a:gd name="connsiteY1815" fmla="*/ 1480554 h 3403632"/>
              <a:gd name="connsiteX1816" fmla="*/ 405805 w 3905665"/>
              <a:gd name="connsiteY1816" fmla="*/ 1484749 h 3403632"/>
              <a:gd name="connsiteX1817" fmla="*/ 401610 w 3905665"/>
              <a:gd name="connsiteY1817" fmla="*/ 1488945 h 3403632"/>
              <a:gd name="connsiteX1818" fmla="*/ 397414 w 3905665"/>
              <a:gd name="connsiteY1818" fmla="*/ 1484749 h 3403632"/>
              <a:gd name="connsiteX1819" fmla="*/ 401610 w 3905665"/>
              <a:gd name="connsiteY1819" fmla="*/ 1480554 h 3403632"/>
              <a:gd name="connsiteX1820" fmla="*/ 3160716 w 3905665"/>
              <a:gd name="connsiteY1820" fmla="*/ 1465777 h 3403632"/>
              <a:gd name="connsiteX1821" fmla="*/ 3176514 w 3905665"/>
              <a:gd name="connsiteY1821" fmla="*/ 1481575 h 3403632"/>
              <a:gd name="connsiteX1822" fmla="*/ 3160716 w 3905665"/>
              <a:gd name="connsiteY1822" fmla="*/ 1497378 h 3403632"/>
              <a:gd name="connsiteX1823" fmla="*/ 3144919 w 3905665"/>
              <a:gd name="connsiteY1823" fmla="*/ 1481575 h 3403632"/>
              <a:gd name="connsiteX1824" fmla="*/ 3160716 w 3905665"/>
              <a:gd name="connsiteY1824" fmla="*/ 1465777 h 3403632"/>
              <a:gd name="connsiteX1825" fmla="*/ 1916693 w 3905665"/>
              <a:gd name="connsiteY1825" fmla="*/ 1465260 h 3403632"/>
              <a:gd name="connsiteX1826" fmla="*/ 1918175 w 3905665"/>
              <a:gd name="connsiteY1826" fmla="*/ 1466746 h 3403632"/>
              <a:gd name="connsiteX1827" fmla="*/ 1916693 w 3905665"/>
              <a:gd name="connsiteY1827" fmla="*/ 1468226 h 3403632"/>
              <a:gd name="connsiteX1828" fmla="*/ 1915214 w 3905665"/>
              <a:gd name="connsiteY1828" fmla="*/ 1466746 h 3403632"/>
              <a:gd name="connsiteX1829" fmla="*/ 1916693 w 3905665"/>
              <a:gd name="connsiteY1829" fmla="*/ 1465260 h 3403632"/>
              <a:gd name="connsiteX1830" fmla="*/ 2896357 w 3905665"/>
              <a:gd name="connsiteY1830" fmla="*/ 1464782 h 3403632"/>
              <a:gd name="connsiteX1831" fmla="*/ 2915858 w 3905665"/>
              <a:gd name="connsiteY1831" fmla="*/ 1484288 h 3403632"/>
              <a:gd name="connsiteX1832" fmla="*/ 2896357 w 3905665"/>
              <a:gd name="connsiteY1832" fmla="*/ 1503795 h 3403632"/>
              <a:gd name="connsiteX1833" fmla="*/ 2876856 w 3905665"/>
              <a:gd name="connsiteY1833" fmla="*/ 1484288 h 3403632"/>
              <a:gd name="connsiteX1834" fmla="*/ 2896357 w 3905665"/>
              <a:gd name="connsiteY1834" fmla="*/ 1464782 h 3403632"/>
              <a:gd name="connsiteX1835" fmla="*/ 2637674 w 3905665"/>
              <a:gd name="connsiteY1835" fmla="*/ 1457875 h 3403632"/>
              <a:gd name="connsiteX1836" fmla="*/ 2649522 w 3905665"/>
              <a:gd name="connsiteY1836" fmla="*/ 1469473 h 3403632"/>
              <a:gd name="connsiteX1837" fmla="*/ 2637674 w 3905665"/>
              <a:gd name="connsiteY1837" fmla="*/ 1481320 h 3403632"/>
              <a:gd name="connsiteX1838" fmla="*/ 2626072 w 3905665"/>
              <a:gd name="connsiteY1838" fmla="*/ 1469473 h 3403632"/>
              <a:gd name="connsiteX1839" fmla="*/ 2637674 w 3905665"/>
              <a:gd name="connsiteY1839" fmla="*/ 1457875 h 3403632"/>
              <a:gd name="connsiteX1840" fmla="*/ 2374057 w 3905665"/>
              <a:gd name="connsiteY1840" fmla="*/ 1448236 h 3403632"/>
              <a:gd name="connsiteX1841" fmla="*/ 2377512 w 3905665"/>
              <a:gd name="connsiteY1841" fmla="*/ 1451687 h 3403632"/>
              <a:gd name="connsiteX1842" fmla="*/ 2374057 w 3905665"/>
              <a:gd name="connsiteY1842" fmla="*/ 1455155 h 3403632"/>
              <a:gd name="connsiteX1843" fmla="*/ 2370600 w 3905665"/>
              <a:gd name="connsiteY1843" fmla="*/ 1451687 h 3403632"/>
              <a:gd name="connsiteX1844" fmla="*/ 2374057 w 3905665"/>
              <a:gd name="connsiteY1844" fmla="*/ 1448236 h 3403632"/>
              <a:gd name="connsiteX1845" fmla="*/ 1248999 w 3905665"/>
              <a:gd name="connsiteY1845" fmla="*/ 1448220 h 3403632"/>
              <a:gd name="connsiteX1846" fmla="*/ 1252699 w 3905665"/>
              <a:gd name="connsiteY1846" fmla="*/ 1451924 h 3403632"/>
              <a:gd name="connsiteX1847" fmla="*/ 1248999 w 3905665"/>
              <a:gd name="connsiteY1847" fmla="*/ 1455628 h 3403632"/>
              <a:gd name="connsiteX1848" fmla="*/ 1245295 w 3905665"/>
              <a:gd name="connsiteY1848" fmla="*/ 1451924 h 3403632"/>
              <a:gd name="connsiteX1849" fmla="*/ 1248999 w 3905665"/>
              <a:gd name="connsiteY1849" fmla="*/ 1448220 h 3403632"/>
              <a:gd name="connsiteX1850" fmla="*/ 513426 w 3905665"/>
              <a:gd name="connsiteY1850" fmla="*/ 1446986 h 3403632"/>
              <a:gd name="connsiteX1851" fmla="*/ 517870 w 3905665"/>
              <a:gd name="connsiteY1851" fmla="*/ 1451425 h 3403632"/>
              <a:gd name="connsiteX1852" fmla="*/ 513426 w 3905665"/>
              <a:gd name="connsiteY1852" fmla="*/ 1455873 h 3403632"/>
              <a:gd name="connsiteX1853" fmla="*/ 508984 w 3905665"/>
              <a:gd name="connsiteY1853" fmla="*/ 1451425 h 3403632"/>
              <a:gd name="connsiteX1854" fmla="*/ 513426 w 3905665"/>
              <a:gd name="connsiteY1854" fmla="*/ 1446986 h 3403632"/>
              <a:gd name="connsiteX1855" fmla="*/ 1444000 w 3905665"/>
              <a:gd name="connsiteY1855" fmla="*/ 1442548 h 3403632"/>
              <a:gd name="connsiteX1856" fmla="*/ 1446715 w 3905665"/>
              <a:gd name="connsiteY1856" fmla="*/ 1445510 h 3403632"/>
              <a:gd name="connsiteX1857" fmla="*/ 1444000 w 3905665"/>
              <a:gd name="connsiteY1857" fmla="*/ 1448470 h 3403632"/>
              <a:gd name="connsiteX1858" fmla="*/ 1441038 w 3905665"/>
              <a:gd name="connsiteY1858" fmla="*/ 1445510 h 3403632"/>
              <a:gd name="connsiteX1859" fmla="*/ 1444000 w 3905665"/>
              <a:gd name="connsiteY1859" fmla="*/ 1442548 h 3403632"/>
              <a:gd name="connsiteX1860" fmla="*/ 1046839 w 3905665"/>
              <a:gd name="connsiteY1860" fmla="*/ 1439086 h 3403632"/>
              <a:gd name="connsiteX1861" fmla="*/ 1057945 w 3905665"/>
              <a:gd name="connsiteY1861" fmla="*/ 1450193 h 3403632"/>
              <a:gd name="connsiteX1862" fmla="*/ 1046839 w 3905665"/>
              <a:gd name="connsiteY1862" fmla="*/ 1461303 h 3403632"/>
              <a:gd name="connsiteX1863" fmla="*/ 1035732 w 3905665"/>
              <a:gd name="connsiteY1863" fmla="*/ 1450193 h 3403632"/>
              <a:gd name="connsiteX1864" fmla="*/ 1046839 w 3905665"/>
              <a:gd name="connsiteY1864" fmla="*/ 1439086 h 3403632"/>
              <a:gd name="connsiteX1865" fmla="*/ 839004 w 3905665"/>
              <a:gd name="connsiteY1865" fmla="*/ 1434644 h 3403632"/>
              <a:gd name="connsiteX1866" fmla="*/ 841720 w 3905665"/>
              <a:gd name="connsiteY1866" fmla="*/ 1437359 h 3403632"/>
              <a:gd name="connsiteX1867" fmla="*/ 839004 w 3905665"/>
              <a:gd name="connsiteY1867" fmla="*/ 1440074 h 3403632"/>
              <a:gd name="connsiteX1868" fmla="*/ 836289 w 3905665"/>
              <a:gd name="connsiteY1868" fmla="*/ 1437359 h 3403632"/>
              <a:gd name="connsiteX1869" fmla="*/ 839004 w 3905665"/>
              <a:gd name="connsiteY1869" fmla="*/ 1434644 h 3403632"/>
              <a:gd name="connsiteX1870" fmla="*/ 1634314 w 3905665"/>
              <a:gd name="connsiteY1870" fmla="*/ 1430946 h 3403632"/>
              <a:gd name="connsiteX1871" fmla="*/ 1634560 w 3905665"/>
              <a:gd name="connsiteY1871" fmla="*/ 1431191 h 3403632"/>
              <a:gd name="connsiteX1872" fmla="*/ 1634314 w 3905665"/>
              <a:gd name="connsiteY1872" fmla="*/ 1431191 h 3403632"/>
              <a:gd name="connsiteX1873" fmla="*/ 2105501 w 3905665"/>
              <a:gd name="connsiteY1873" fmla="*/ 1427501 h 3403632"/>
              <a:gd name="connsiteX1874" fmla="*/ 2106488 w 3905665"/>
              <a:gd name="connsiteY1874" fmla="*/ 1428488 h 3403632"/>
              <a:gd name="connsiteX1875" fmla="*/ 2105501 w 3905665"/>
              <a:gd name="connsiteY1875" fmla="*/ 1429469 h 3403632"/>
              <a:gd name="connsiteX1876" fmla="*/ 2104513 w 3905665"/>
              <a:gd name="connsiteY1876" fmla="*/ 1428488 h 3403632"/>
              <a:gd name="connsiteX1877" fmla="*/ 2105501 w 3905665"/>
              <a:gd name="connsiteY1877" fmla="*/ 1427501 h 3403632"/>
              <a:gd name="connsiteX1878" fmla="*/ 3316963 w 3905665"/>
              <a:gd name="connsiteY1878" fmla="*/ 1415921 h 3403632"/>
              <a:gd name="connsiteX1879" fmla="*/ 3337943 w 3905665"/>
              <a:gd name="connsiteY1879" fmla="*/ 1436901 h 3403632"/>
              <a:gd name="connsiteX1880" fmla="*/ 3316963 w 3905665"/>
              <a:gd name="connsiteY1880" fmla="*/ 1457887 h 3403632"/>
              <a:gd name="connsiteX1881" fmla="*/ 3295982 w 3905665"/>
              <a:gd name="connsiteY1881" fmla="*/ 1436901 h 3403632"/>
              <a:gd name="connsiteX1882" fmla="*/ 3316963 w 3905665"/>
              <a:gd name="connsiteY1882" fmla="*/ 1415921 h 3403632"/>
              <a:gd name="connsiteX1883" fmla="*/ 2801817 w 3905665"/>
              <a:gd name="connsiteY1883" fmla="*/ 1415170 h 3403632"/>
              <a:gd name="connsiteX1884" fmla="*/ 2817122 w 3905665"/>
              <a:gd name="connsiteY1884" fmla="*/ 1430474 h 3403632"/>
              <a:gd name="connsiteX1885" fmla="*/ 2801817 w 3905665"/>
              <a:gd name="connsiteY1885" fmla="*/ 1445777 h 3403632"/>
              <a:gd name="connsiteX1886" fmla="*/ 2786515 w 3905665"/>
              <a:gd name="connsiteY1886" fmla="*/ 1430474 h 3403632"/>
              <a:gd name="connsiteX1887" fmla="*/ 2801817 w 3905665"/>
              <a:gd name="connsiteY1887" fmla="*/ 1415170 h 3403632"/>
              <a:gd name="connsiteX1888" fmla="*/ 623516 w 3905665"/>
              <a:gd name="connsiteY1888" fmla="*/ 1408229 h 3403632"/>
              <a:gd name="connsiteX1889" fmla="*/ 627958 w 3905665"/>
              <a:gd name="connsiteY1889" fmla="*/ 1412674 h 3403632"/>
              <a:gd name="connsiteX1890" fmla="*/ 623516 w 3905665"/>
              <a:gd name="connsiteY1890" fmla="*/ 1417116 h 3403632"/>
              <a:gd name="connsiteX1891" fmla="*/ 618826 w 3905665"/>
              <a:gd name="connsiteY1891" fmla="*/ 1412674 h 3403632"/>
              <a:gd name="connsiteX1892" fmla="*/ 623516 w 3905665"/>
              <a:gd name="connsiteY1892" fmla="*/ 1408229 h 3403632"/>
              <a:gd name="connsiteX1893" fmla="*/ 2542643 w 3905665"/>
              <a:gd name="connsiteY1893" fmla="*/ 1408007 h 3403632"/>
              <a:gd name="connsiteX1894" fmla="*/ 2549800 w 3905665"/>
              <a:gd name="connsiteY1894" fmla="*/ 1415166 h 3403632"/>
              <a:gd name="connsiteX1895" fmla="*/ 2542643 w 3905665"/>
              <a:gd name="connsiteY1895" fmla="*/ 1422326 h 3403632"/>
              <a:gd name="connsiteX1896" fmla="*/ 2535485 w 3905665"/>
              <a:gd name="connsiteY1896" fmla="*/ 1415166 h 3403632"/>
              <a:gd name="connsiteX1897" fmla="*/ 2542643 w 3905665"/>
              <a:gd name="connsiteY1897" fmla="*/ 1408007 h 3403632"/>
              <a:gd name="connsiteX1898" fmla="*/ 3066425 w 3905665"/>
              <a:gd name="connsiteY1898" fmla="*/ 1403327 h 3403632"/>
              <a:gd name="connsiteX1899" fmla="*/ 3090616 w 3905665"/>
              <a:gd name="connsiteY1899" fmla="*/ 1427517 h 3403632"/>
              <a:gd name="connsiteX1900" fmla="*/ 3066425 w 3905665"/>
              <a:gd name="connsiteY1900" fmla="*/ 1451699 h 3403632"/>
              <a:gd name="connsiteX1901" fmla="*/ 3042236 w 3905665"/>
              <a:gd name="connsiteY1901" fmla="*/ 1427517 h 3403632"/>
              <a:gd name="connsiteX1902" fmla="*/ 3066425 w 3905665"/>
              <a:gd name="connsiteY1902" fmla="*/ 1403327 h 3403632"/>
              <a:gd name="connsiteX1903" fmla="*/ 2278777 w 3905665"/>
              <a:gd name="connsiteY1903" fmla="*/ 1395906 h 3403632"/>
              <a:gd name="connsiteX1904" fmla="*/ 2279272 w 3905665"/>
              <a:gd name="connsiteY1904" fmla="*/ 1396402 h 3403632"/>
              <a:gd name="connsiteX1905" fmla="*/ 2278777 w 3905665"/>
              <a:gd name="connsiteY1905" fmla="*/ 1396893 h 3403632"/>
              <a:gd name="connsiteX1906" fmla="*/ 2278285 w 3905665"/>
              <a:gd name="connsiteY1906" fmla="*/ 1396402 h 3403632"/>
              <a:gd name="connsiteX1907" fmla="*/ 2278777 w 3905665"/>
              <a:gd name="connsiteY1907" fmla="*/ 1395906 h 3403632"/>
              <a:gd name="connsiteX1908" fmla="*/ 1998373 w 3905665"/>
              <a:gd name="connsiteY1908" fmla="*/ 1382818 h 3403632"/>
              <a:gd name="connsiteX1909" fmla="*/ 1999855 w 3905665"/>
              <a:gd name="connsiteY1909" fmla="*/ 1384298 h 3403632"/>
              <a:gd name="connsiteX1910" fmla="*/ 1998373 w 3905665"/>
              <a:gd name="connsiteY1910" fmla="*/ 1385779 h 3403632"/>
              <a:gd name="connsiteX1911" fmla="*/ 1996893 w 3905665"/>
              <a:gd name="connsiteY1911" fmla="*/ 1384298 h 3403632"/>
              <a:gd name="connsiteX1912" fmla="*/ 1998373 w 3905665"/>
              <a:gd name="connsiteY1912" fmla="*/ 1382818 h 3403632"/>
              <a:gd name="connsiteX1913" fmla="*/ 942675 w 3905665"/>
              <a:gd name="connsiteY1913" fmla="*/ 1381822 h 3403632"/>
              <a:gd name="connsiteX1914" fmla="*/ 944898 w 3905665"/>
              <a:gd name="connsiteY1914" fmla="*/ 1384043 h 3403632"/>
              <a:gd name="connsiteX1915" fmla="*/ 942675 w 3905665"/>
              <a:gd name="connsiteY1915" fmla="*/ 1386512 h 3403632"/>
              <a:gd name="connsiteX1916" fmla="*/ 940453 w 3905665"/>
              <a:gd name="connsiteY1916" fmla="*/ 1384043 h 3403632"/>
              <a:gd name="connsiteX1917" fmla="*/ 942675 w 3905665"/>
              <a:gd name="connsiteY1917" fmla="*/ 1381822 h 3403632"/>
              <a:gd name="connsiteX1918" fmla="*/ 1344276 w 3905665"/>
              <a:gd name="connsiteY1918" fmla="*/ 1380588 h 3403632"/>
              <a:gd name="connsiteX1919" fmla="*/ 1348720 w 3905665"/>
              <a:gd name="connsiteY1919" fmla="*/ 1385030 h 3403632"/>
              <a:gd name="connsiteX1920" fmla="*/ 1344276 w 3905665"/>
              <a:gd name="connsiteY1920" fmla="*/ 1389475 h 3403632"/>
              <a:gd name="connsiteX1921" fmla="*/ 1339834 w 3905665"/>
              <a:gd name="connsiteY1921" fmla="*/ 1385030 h 3403632"/>
              <a:gd name="connsiteX1922" fmla="*/ 1344276 w 3905665"/>
              <a:gd name="connsiteY1922" fmla="*/ 1380588 h 3403632"/>
              <a:gd name="connsiteX1923" fmla="*/ 1146310 w 3905665"/>
              <a:gd name="connsiteY1923" fmla="*/ 1377874 h 3403632"/>
              <a:gd name="connsiteX1924" fmla="*/ 1158158 w 3905665"/>
              <a:gd name="connsiteY1924" fmla="*/ 1389723 h 3403632"/>
              <a:gd name="connsiteX1925" fmla="*/ 1146310 w 3905665"/>
              <a:gd name="connsiteY1925" fmla="*/ 1401570 h 3403632"/>
              <a:gd name="connsiteX1926" fmla="*/ 1134462 w 3905665"/>
              <a:gd name="connsiteY1926" fmla="*/ 1389723 h 3403632"/>
              <a:gd name="connsiteX1927" fmla="*/ 1146310 w 3905665"/>
              <a:gd name="connsiteY1927" fmla="*/ 1377874 h 3403632"/>
              <a:gd name="connsiteX1928" fmla="*/ 1534836 w 3905665"/>
              <a:gd name="connsiteY1928" fmla="*/ 1370225 h 3403632"/>
              <a:gd name="connsiteX1929" fmla="*/ 1537798 w 3905665"/>
              <a:gd name="connsiteY1929" fmla="*/ 1372941 h 3403632"/>
              <a:gd name="connsiteX1930" fmla="*/ 1534836 w 3905665"/>
              <a:gd name="connsiteY1930" fmla="*/ 1375903 h 3403632"/>
              <a:gd name="connsiteX1931" fmla="*/ 1531874 w 3905665"/>
              <a:gd name="connsiteY1931" fmla="*/ 1372941 h 3403632"/>
              <a:gd name="connsiteX1932" fmla="*/ 1534836 w 3905665"/>
              <a:gd name="connsiteY1932" fmla="*/ 1370225 h 3403632"/>
              <a:gd name="connsiteX1933" fmla="*/ 2962016 w 3905665"/>
              <a:gd name="connsiteY1933" fmla="*/ 1368519 h 3403632"/>
              <a:gd name="connsiteX1934" fmla="*/ 2982255 w 3905665"/>
              <a:gd name="connsiteY1934" fmla="*/ 1388762 h 3403632"/>
              <a:gd name="connsiteX1935" fmla="*/ 2962016 w 3905665"/>
              <a:gd name="connsiteY1935" fmla="*/ 1409002 h 3403632"/>
              <a:gd name="connsiteX1936" fmla="*/ 2941774 w 3905665"/>
              <a:gd name="connsiteY1936" fmla="*/ 1388762 h 3403632"/>
              <a:gd name="connsiteX1937" fmla="*/ 2962016 w 3905665"/>
              <a:gd name="connsiteY1937" fmla="*/ 1368519 h 3403632"/>
              <a:gd name="connsiteX1938" fmla="*/ 3222673 w 3905665"/>
              <a:gd name="connsiteY1938" fmla="*/ 1366303 h 3403632"/>
              <a:gd name="connsiteX1939" fmla="*/ 3239458 w 3905665"/>
              <a:gd name="connsiteY1939" fmla="*/ 1383090 h 3403632"/>
              <a:gd name="connsiteX1940" fmla="*/ 3222673 w 3905665"/>
              <a:gd name="connsiteY1940" fmla="*/ 1399629 h 3403632"/>
              <a:gd name="connsiteX1941" fmla="*/ 3206134 w 3905665"/>
              <a:gd name="connsiteY1941" fmla="*/ 1383090 h 3403632"/>
              <a:gd name="connsiteX1942" fmla="*/ 3222673 w 3905665"/>
              <a:gd name="connsiteY1942" fmla="*/ 1366303 h 3403632"/>
              <a:gd name="connsiteX1943" fmla="*/ 2707034 w 3905665"/>
              <a:gd name="connsiteY1943" fmla="*/ 1363576 h 3403632"/>
              <a:gd name="connsiteX1944" fmla="*/ 2719869 w 3905665"/>
              <a:gd name="connsiteY1944" fmla="*/ 1376167 h 3403632"/>
              <a:gd name="connsiteX1945" fmla="*/ 2707034 w 3905665"/>
              <a:gd name="connsiteY1945" fmla="*/ 1389003 h 3403632"/>
              <a:gd name="connsiteX1946" fmla="*/ 2694198 w 3905665"/>
              <a:gd name="connsiteY1946" fmla="*/ 1376167 h 3403632"/>
              <a:gd name="connsiteX1947" fmla="*/ 2707034 w 3905665"/>
              <a:gd name="connsiteY1947" fmla="*/ 1363576 h 3403632"/>
              <a:gd name="connsiteX1948" fmla="*/ 731136 w 3905665"/>
              <a:gd name="connsiteY1948" fmla="*/ 1363058 h 3403632"/>
              <a:gd name="connsiteX1949" fmla="*/ 735827 w 3905665"/>
              <a:gd name="connsiteY1949" fmla="*/ 1367748 h 3403632"/>
              <a:gd name="connsiteX1950" fmla="*/ 731136 w 3905665"/>
              <a:gd name="connsiteY1950" fmla="*/ 1372439 h 3403632"/>
              <a:gd name="connsiteX1951" fmla="*/ 726445 w 3905665"/>
              <a:gd name="connsiteY1951" fmla="*/ 1367748 h 3403632"/>
              <a:gd name="connsiteX1952" fmla="*/ 731136 w 3905665"/>
              <a:gd name="connsiteY1952" fmla="*/ 1363058 h 3403632"/>
              <a:gd name="connsiteX1953" fmla="*/ 2447364 w 3905665"/>
              <a:gd name="connsiteY1953" fmla="*/ 1357647 h 3403632"/>
              <a:gd name="connsiteX1954" fmla="*/ 2451067 w 3905665"/>
              <a:gd name="connsiteY1954" fmla="*/ 1361350 h 3403632"/>
              <a:gd name="connsiteX1955" fmla="*/ 2447364 w 3905665"/>
              <a:gd name="connsiteY1955" fmla="*/ 1365054 h 3403632"/>
              <a:gd name="connsiteX1956" fmla="*/ 2443414 w 3905665"/>
              <a:gd name="connsiteY1956" fmla="*/ 1361350 h 3403632"/>
              <a:gd name="connsiteX1957" fmla="*/ 2447364 w 3905665"/>
              <a:gd name="connsiteY1957" fmla="*/ 1357647 h 3403632"/>
              <a:gd name="connsiteX1958" fmla="*/ 1720953 w 3905665"/>
              <a:gd name="connsiteY1958" fmla="*/ 1352946 h 3403632"/>
              <a:gd name="connsiteX1959" fmla="*/ 1721693 w 3905665"/>
              <a:gd name="connsiteY1959" fmla="*/ 1353687 h 3403632"/>
              <a:gd name="connsiteX1960" fmla="*/ 1720953 w 3905665"/>
              <a:gd name="connsiteY1960" fmla="*/ 1354426 h 3403632"/>
              <a:gd name="connsiteX1961" fmla="*/ 1720213 w 3905665"/>
              <a:gd name="connsiteY1961" fmla="*/ 1353687 h 3403632"/>
              <a:gd name="connsiteX1962" fmla="*/ 1720953 w 3905665"/>
              <a:gd name="connsiteY1962" fmla="*/ 1352946 h 3403632"/>
              <a:gd name="connsiteX1963" fmla="*/ 2183008 w 3905665"/>
              <a:gd name="connsiteY1963" fmla="*/ 1340609 h 3403632"/>
              <a:gd name="connsiteX1964" fmla="*/ 2183746 w 3905665"/>
              <a:gd name="connsiteY1964" fmla="*/ 1341351 h 3403632"/>
              <a:gd name="connsiteX1965" fmla="*/ 2183008 w 3905665"/>
              <a:gd name="connsiteY1965" fmla="*/ 1342090 h 3403632"/>
              <a:gd name="connsiteX1966" fmla="*/ 2182267 w 3905665"/>
              <a:gd name="connsiteY1966" fmla="*/ 1341351 h 3403632"/>
              <a:gd name="connsiteX1967" fmla="*/ 2183008 w 3905665"/>
              <a:gd name="connsiteY1967" fmla="*/ 1340609 h 3403632"/>
              <a:gd name="connsiteX1968" fmla="*/ 55795 w 3905665"/>
              <a:gd name="connsiteY1968" fmla="*/ 1328004 h 3403632"/>
              <a:gd name="connsiteX1969" fmla="*/ 58510 w 3905665"/>
              <a:gd name="connsiteY1969" fmla="*/ 1330720 h 3403632"/>
              <a:gd name="connsiteX1970" fmla="*/ 55795 w 3905665"/>
              <a:gd name="connsiteY1970" fmla="*/ 1333436 h 3403632"/>
              <a:gd name="connsiteX1971" fmla="*/ 53079 w 3905665"/>
              <a:gd name="connsiteY1971" fmla="*/ 1330720 h 3403632"/>
              <a:gd name="connsiteX1972" fmla="*/ 55795 w 3905665"/>
              <a:gd name="connsiteY1972" fmla="*/ 1328004 h 3403632"/>
              <a:gd name="connsiteX1973" fmla="*/ 1901392 w 3905665"/>
              <a:gd name="connsiteY1973" fmla="*/ 1327275 h 3403632"/>
              <a:gd name="connsiteX1974" fmla="*/ 1902380 w 3905665"/>
              <a:gd name="connsiteY1974" fmla="*/ 1328262 h 3403632"/>
              <a:gd name="connsiteX1975" fmla="*/ 1901392 w 3905665"/>
              <a:gd name="connsiteY1975" fmla="*/ 1329250 h 3403632"/>
              <a:gd name="connsiteX1976" fmla="*/ 1900404 w 3905665"/>
              <a:gd name="connsiteY1976" fmla="*/ 1328262 h 3403632"/>
              <a:gd name="connsiteX1977" fmla="*/ 1901392 w 3905665"/>
              <a:gd name="connsiteY1977" fmla="*/ 1327275 h 3403632"/>
              <a:gd name="connsiteX1978" fmla="*/ 1043383 w 3905665"/>
              <a:gd name="connsiteY1978" fmla="*/ 1324059 h 3403632"/>
              <a:gd name="connsiteX1979" fmla="*/ 1045358 w 3905665"/>
              <a:gd name="connsiteY1979" fmla="*/ 1326033 h 3403632"/>
              <a:gd name="connsiteX1980" fmla="*/ 1043383 w 3905665"/>
              <a:gd name="connsiteY1980" fmla="*/ 1328008 h 3403632"/>
              <a:gd name="connsiteX1981" fmla="*/ 1041408 w 3905665"/>
              <a:gd name="connsiteY1981" fmla="*/ 1326033 h 3403632"/>
              <a:gd name="connsiteX1982" fmla="*/ 1043383 w 3905665"/>
              <a:gd name="connsiteY1982" fmla="*/ 1324059 h 3403632"/>
              <a:gd name="connsiteX1983" fmla="*/ 2867475 w 3905665"/>
              <a:gd name="connsiteY1983" fmla="*/ 1318651 h 3403632"/>
              <a:gd name="connsiteX1984" fmla="*/ 2883518 w 3905665"/>
              <a:gd name="connsiteY1984" fmla="*/ 1334696 h 3403632"/>
              <a:gd name="connsiteX1985" fmla="*/ 2867475 w 3905665"/>
              <a:gd name="connsiteY1985" fmla="*/ 1350991 h 3403632"/>
              <a:gd name="connsiteX1986" fmla="*/ 2851431 w 3905665"/>
              <a:gd name="connsiteY1986" fmla="*/ 1334696 h 3403632"/>
              <a:gd name="connsiteX1987" fmla="*/ 2867475 w 3905665"/>
              <a:gd name="connsiteY1987" fmla="*/ 1318651 h 3403632"/>
              <a:gd name="connsiteX1988" fmla="*/ 3376203 w 3905665"/>
              <a:gd name="connsiteY1988" fmla="*/ 1314957 h 3403632"/>
              <a:gd name="connsiteX1989" fmla="*/ 3397924 w 3905665"/>
              <a:gd name="connsiteY1989" fmla="*/ 1336680 h 3403632"/>
              <a:gd name="connsiteX1990" fmla="*/ 3376203 w 3905665"/>
              <a:gd name="connsiteY1990" fmla="*/ 1358404 h 3403632"/>
              <a:gd name="connsiteX1991" fmla="*/ 3354481 w 3905665"/>
              <a:gd name="connsiteY1991" fmla="*/ 1336680 h 3403632"/>
              <a:gd name="connsiteX1992" fmla="*/ 3376203 w 3905665"/>
              <a:gd name="connsiteY1992" fmla="*/ 1314957 h 3403632"/>
              <a:gd name="connsiteX1993" fmla="*/ 2612248 w 3905665"/>
              <a:gd name="connsiteY1993" fmla="*/ 1314449 h 3403632"/>
              <a:gd name="connsiteX1994" fmla="*/ 2619898 w 3905665"/>
              <a:gd name="connsiteY1994" fmla="*/ 1322101 h 3403632"/>
              <a:gd name="connsiteX1995" fmla="*/ 2612248 w 3905665"/>
              <a:gd name="connsiteY1995" fmla="*/ 1329754 h 3403632"/>
              <a:gd name="connsiteX1996" fmla="*/ 2604596 w 3905665"/>
              <a:gd name="connsiteY1996" fmla="*/ 1322101 h 3403632"/>
              <a:gd name="connsiteX1997" fmla="*/ 2612248 w 3905665"/>
              <a:gd name="connsiteY1997" fmla="*/ 1314449 h 3403632"/>
              <a:gd name="connsiteX1998" fmla="*/ 836536 w 3905665"/>
              <a:gd name="connsiteY1998" fmla="*/ 1312455 h 3403632"/>
              <a:gd name="connsiteX1999" fmla="*/ 841473 w 3905665"/>
              <a:gd name="connsiteY1999" fmla="*/ 1317638 h 3403632"/>
              <a:gd name="connsiteX2000" fmla="*/ 836536 w 3905665"/>
              <a:gd name="connsiteY2000" fmla="*/ 1322575 h 3403632"/>
              <a:gd name="connsiteX2001" fmla="*/ 831353 w 3905665"/>
              <a:gd name="connsiteY2001" fmla="*/ 1317638 h 3403632"/>
              <a:gd name="connsiteX2002" fmla="*/ 836536 w 3905665"/>
              <a:gd name="connsiteY2002" fmla="*/ 1312455 h 3403632"/>
              <a:gd name="connsiteX2003" fmla="*/ 170571 w 3905665"/>
              <a:gd name="connsiteY2003" fmla="*/ 1312453 h 3403632"/>
              <a:gd name="connsiteX2004" fmla="*/ 172053 w 3905665"/>
              <a:gd name="connsiteY2004" fmla="*/ 1313932 h 3403632"/>
              <a:gd name="connsiteX2005" fmla="*/ 170571 w 3905665"/>
              <a:gd name="connsiteY2005" fmla="*/ 1315414 h 3403632"/>
              <a:gd name="connsiteX2006" fmla="*/ 169092 w 3905665"/>
              <a:gd name="connsiteY2006" fmla="*/ 1313932 h 3403632"/>
              <a:gd name="connsiteX2007" fmla="*/ 170571 w 3905665"/>
              <a:gd name="connsiteY2007" fmla="*/ 1312453 h 3403632"/>
              <a:gd name="connsiteX2008" fmla="*/ 1242827 w 3905665"/>
              <a:gd name="connsiteY2008" fmla="*/ 1311966 h 3403632"/>
              <a:gd name="connsiteX2009" fmla="*/ 1255414 w 3905665"/>
              <a:gd name="connsiteY2009" fmla="*/ 1324555 h 3403632"/>
              <a:gd name="connsiteX2010" fmla="*/ 1242827 w 3905665"/>
              <a:gd name="connsiteY2010" fmla="*/ 1337146 h 3403632"/>
              <a:gd name="connsiteX2011" fmla="*/ 1230238 w 3905665"/>
              <a:gd name="connsiteY2011" fmla="*/ 1324555 h 3403632"/>
              <a:gd name="connsiteX2012" fmla="*/ 1242827 w 3905665"/>
              <a:gd name="connsiteY2012" fmla="*/ 1311966 h 3403632"/>
              <a:gd name="connsiteX2013" fmla="*/ 1436099 w 3905665"/>
              <a:gd name="connsiteY2013" fmla="*/ 1308756 h 3403632"/>
              <a:gd name="connsiteX2014" fmla="*/ 1441282 w 3905665"/>
              <a:gd name="connsiteY2014" fmla="*/ 1313939 h 3403632"/>
              <a:gd name="connsiteX2015" fmla="*/ 1436099 w 3905665"/>
              <a:gd name="connsiteY2015" fmla="*/ 1319123 h 3403632"/>
              <a:gd name="connsiteX2016" fmla="*/ 1430916 w 3905665"/>
              <a:gd name="connsiteY2016" fmla="*/ 1313939 h 3403632"/>
              <a:gd name="connsiteX2017" fmla="*/ 1436099 w 3905665"/>
              <a:gd name="connsiteY2017" fmla="*/ 1308756 h 3403632"/>
              <a:gd name="connsiteX2018" fmla="*/ 2352581 w 3905665"/>
              <a:gd name="connsiteY2018" fmla="*/ 1305807 h 3403632"/>
              <a:gd name="connsiteX2019" fmla="*/ 2352827 w 3905665"/>
              <a:gd name="connsiteY2019" fmla="*/ 1306053 h 3403632"/>
              <a:gd name="connsiteX2020" fmla="*/ 2352581 w 3905665"/>
              <a:gd name="connsiteY2020" fmla="*/ 1306549 h 3403632"/>
              <a:gd name="connsiteX2021" fmla="*/ 2352335 w 3905665"/>
              <a:gd name="connsiteY2021" fmla="*/ 1306053 h 3403632"/>
              <a:gd name="connsiteX2022" fmla="*/ 2352581 w 3905665"/>
              <a:gd name="connsiteY2022" fmla="*/ 1305807 h 3403632"/>
              <a:gd name="connsiteX2023" fmla="*/ 3128629 w 3905665"/>
              <a:gd name="connsiteY2023" fmla="*/ 1303597 h 3403632"/>
              <a:gd name="connsiteX2024" fmla="*/ 3153805 w 3905665"/>
              <a:gd name="connsiteY2024" fmla="*/ 1328774 h 3403632"/>
              <a:gd name="connsiteX2025" fmla="*/ 3128629 w 3905665"/>
              <a:gd name="connsiteY2025" fmla="*/ 1353956 h 3403632"/>
              <a:gd name="connsiteX2026" fmla="*/ 3103451 w 3905665"/>
              <a:gd name="connsiteY2026" fmla="*/ 1328774 h 3403632"/>
              <a:gd name="connsiteX2027" fmla="*/ 3128629 w 3905665"/>
              <a:gd name="connsiteY2027" fmla="*/ 1303597 h 3403632"/>
              <a:gd name="connsiteX2028" fmla="*/ 616109 w 3905665"/>
              <a:gd name="connsiteY2028" fmla="*/ 1298633 h 3403632"/>
              <a:gd name="connsiteX2029" fmla="*/ 616354 w 3905665"/>
              <a:gd name="connsiteY2029" fmla="*/ 1298877 h 3403632"/>
              <a:gd name="connsiteX2030" fmla="*/ 616109 w 3905665"/>
              <a:gd name="connsiteY2030" fmla="*/ 1299126 h 3403632"/>
              <a:gd name="connsiteX2031" fmla="*/ 615863 w 3905665"/>
              <a:gd name="connsiteY2031" fmla="*/ 1298877 h 3403632"/>
              <a:gd name="connsiteX2032" fmla="*/ 616109 w 3905665"/>
              <a:gd name="connsiteY2032" fmla="*/ 1298633 h 3403632"/>
              <a:gd name="connsiteX2033" fmla="*/ 2076373 w 3905665"/>
              <a:gd name="connsiteY2033" fmla="*/ 1296667 h 3403632"/>
              <a:gd name="connsiteX2034" fmla="*/ 2078347 w 3905665"/>
              <a:gd name="connsiteY2034" fmla="*/ 1298645 h 3403632"/>
              <a:gd name="connsiteX2035" fmla="*/ 2076373 w 3905665"/>
              <a:gd name="connsiteY2035" fmla="*/ 1300618 h 3403632"/>
              <a:gd name="connsiteX2036" fmla="*/ 2074398 w 3905665"/>
              <a:gd name="connsiteY2036" fmla="*/ 1298645 h 3403632"/>
              <a:gd name="connsiteX2037" fmla="*/ 2076373 w 3905665"/>
              <a:gd name="connsiteY2037" fmla="*/ 1296667 h 3403632"/>
              <a:gd name="connsiteX2038" fmla="*/ 1622461 w 3905665"/>
              <a:gd name="connsiteY2038" fmla="*/ 1293702 h 3403632"/>
              <a:gd name="connsiteX2039" fmla="*/ 1625669 w 3905665"/>
              <a:gd name="connsiteY2039" fmla="*/ 1296908 h 3403632"/>
              <a:gd name="connsiteX2040" fmla="*/ 1622461 w 3905665"/>
              <a:gd name="connsiteY2040" fmla="*/ 1300121 h 3403632"/>
              <a:gd name="connsiteX2041" fmla="*/ 1619253 w 3905665"/>
              <a:gd name="connsiteY2041" fmla="*/ 1296908 h 3403632"/>
              <a:gd name="connsiteX2042" fmla="*/ 1622461 w 3905665"/>
              <a:gd name="connsiteY2042" fmla="*/ 1293702 h 3403632"/>
              <a:gd name="connsiteX2043" fmla="*/ 284118 w 3905665"/>
              <a:gd name="connsiteY2043" fmla="*/ 1289993 h 3403632"/>
              <a:gd name="connsiteX2044" fmla="*/ 284856 w 3905665"/>
              <a:gd name="connsiteY2044" fmla="*/ 1290734 h 3403632"/>
              <a:gd name="connsiteX2045" fmla="*/ 284118 w 3905665"/>
              <a:gd name="connsiteY2045" fmla="*/ 1291473 h 3403632"/>
              <a:gd name="connsiteX2046" fmla="*/ 283377 w 3905665"/>
              <a:gd name="connsiteY2046" fmla="*/ 1290734 h 3403632"/>
              <a:gd name="connsiteX2047" fmla="*/ 284118 w 3905665"/>
              <a:gd name="connsiteY2047" fmla="*/ 1289993 h 3403632"/>
              <a:gd name="connsiteX2048" fmla="*/ 1804134 w 3905665"/>
              <a:gd name="connsiteY2048" fmla="*/ 1270997 h 3403632"/>
              <a:gd name="connsiteX2049" fmla="*/ 1805860 w 3905665"/>
              <a:gd name="connsiteY2049" fmla="*/ 1272725 h 3403632"/>
              <a:gd name="connsiteX2050" fmla="*/ 1804134 w 3905665"/>
              <a:gd name="connsiteY2050" fmla="*/ 1274450 h 3403632"/>
              <a:gd name="connsiteX2051" fmla="*/ 1802407 w 3905665"/>
              <a:gd name="connsiteY2051" fmla="*/ 1272725 h 3403632"/>
              <a:gd name="connsiteX2052" fmla="*/ 1804134 w 3905665"/>
              <a:gd name="connsiteY2052" fmla="*/ 1270997 h 3403632"/>
              <a:gd name="connsiteX2053" fmla="*/ 3024711 w 3905665"/>
              <a:gd name="connsiteY2053" fmla="*/ 1270030 h 3403632"/>
              <a:gd name="connsiteX2054" fmla="*/ 3045694 w 3905665"/>
              <a:gd name="connsiteY2054" fmla="*/ 1291005 h 3403632"/>
              <a:gd name="connsiteX2055" fmla="*/ 3024711 w 3905665"/>
              <a:gd name="connsiteY2055" fmla="*/ 1311987 h 3403632"/>
              <a:gd name="connsiteX2056" fmla="*/ 3003484 w 3905665"/>
              <a:gd name="connsiteY2056" fmla="*/ 1291005 h 3403632"/>
              <a:gd name="connsiteX2057" fmla="*/ 3024711 w 3905665"/>
              <a:gd name="connsiteY2057" fmla="*/ 1270030 h 3403632"/>
              <a:gd name="connsiteX2058" fmla="*/ 2773185 w 3905665"/>
              <a:gd name="connsiteY2058" fmla="*/ 1266817 h 3403632"/>
              <a:gd name="connsiteX2059" fmla="*/ 2786762 w 3905665"/>
              <a:gd name="connsiteY2059" fmla="*/ 1280636 h 3403632"/>
              <a:gd name="connsiteX2060" fmla="*/ 2773185 w 3905665"/>
              <a:gd name="connsiteY2060" fmla="*/ 1294456 h 3403632"/>
              <a:gd name="connsiteX2061" fmla="*/ 2759362 w 3905665"/>
              <a:gd name="connsiteY2061" fmla="*/ 1280636 h 3403632"/>
              <a:gd name="connsiteX2062" fmla="*/ 2773185 w 3905665"/>
              <a:gd name="connsiteY2062" fmla="*/ 1266817 h 3403632"/>
              <a:gd name="connsiteX2063" fmla="*/ 3281913 w 3905665"/>
              <a:gd name="connsiteY2063" fmla="*/ 1265349 h 3403632"/>
              <a:gd name="connsiteX2064" fmla="*/ 3299436 w 3905665"/>
              <a:gd name="connsiteY2064" fmla="*/ 1282869 h 3403632"/>
              <a:gd name="connsiteX2065" fmla="*/ 3281913 w 3905665"/>
              <a:gd name="connsiteY2065" fmla="*/ 1300391 h 3403632"/>
              <a:gd name="connsiteX2066" fmla="*/ 3264387 w 3905665"/>
              <a:gd name="connsiteY2066" fmla="*/ 1282869 h 3403632"/>
              <a:gd name="connsiteX2067" fmla="*/ 3281913 w 3905665"/>
              <a:gd name="connsiteY2067" fmla="*/ 1265349 h 3403632"/>
              <a:gd name="connsiteX2068" fmla="*/ 2517219 w 3905665"/>
              <a:gd name="connsiteY2068" fmla="*/ 1264097 h 3403632"/>
              <a:gd name="connsiteX2069" fmla="*/ 2521414 w 3905665"/>
              <a:gd name="connsiteY2069" fmla="*/ 1268291 h 3403632"/>
              <a:gd name="connsiteX2070" fmla="*/ 2517219 w 3905665"/>
              <a:gd name="connsiteY2070" fmla="*/ 1272486 h 3403632"/>
              <a:gd name="connsiteX2071" fmla="*/ 2513023 w 3905665"/>
              <a:gd name="connsiteY2071" fmla="*/ 1268291 h 3403632"/>
              <a:gd name="connsiteX2072" fmla="*/ 2517219 w 3905665"/>
              <a:gd name="connsiteY2072" fmla="*/ 1264097 h 3403632"/>
              <a:gd name="connsiteX2073" fmla="*/ 1141375 w 3905665"/>
              <a:gd name="connsiteY2073" fmla="*/ 1261117 h 3403632"/>
              <a:gd name="connsiteX2074" fmla="*/ 1143101 w 3905665"/>
              <a:gd name="connsiteY2074" fmla="*/ 1262845 h 3403632"/>
              <a:gd name="connsiteX2075" fmla="*/ 1141375 w 3905665"/>
              <a:gd name="connsiteY2075" fmla="*/ 1264571 h 3403632"/>
              <a:gd name="connsiteX2076" fmla="*/ 1139647 w 3905665"/>
              <a:gd name="connsiteY2076" fmla="*/ 1262845 h 3403632"/>
              <a:gd name="connsiteX2077" fmla="*/ 1141375 w 3905665"/>
              <a:gd name="connsiteY2077" fmla="*/ 1261117 h 3403632"/>
              <a:gd name="connsiteX2078" fmla="*/ 396177 w 3905665"/>
              <a:gd name="connsiteY2078" fmla="*/ 1260375 h 3403632"/>
              <a:gd name="connsiteX2079" fmla="*/ 396672 w 3905665"/>
              <a:gd name="connsiteY2079" fmla="*/ 1260867 h 3403632"/>
              <a:gd name="connsiteX2080" fmla="*/ 396177 w 3905665"/>
              <a:gd name="connsiteY2080" fmla="*/ 1261362 h 3403632"/>
              <a:gd name="connsiteX2081" fmla="*/ 395684 w 3905665"/>
              <a:gd name="connsiteY2081" fmla="*/ 1260867 h 3403632"/>
              <a:gd name="connsiteX2082" fmla="*/ 396177 w 3905665"/>
              <a:gd name="connsiteY2082" fmla="*/ 1260375 h 3403632"/>
              <a:gd name="connsiteX2083" fmla="*/ 938973 w 3905665"/>
              <a:gd name="connsiteY2083" fmla="*/ 1256180 h 3403632"/>
              <a:gd name="connsiteX2084" fmla="*/ 944648 w 3905665"/>
              <a:gd name="connsiteY2084" fmla="*/ 1261857 h 3403632"/>
              <a:gd name="connsiteX2085" fmla="*/ 938973 w 3905665"/>
              <a:gd name="connsiteY2085" fmla="*/ 1267534 h 3403632"/>
              <a:gd name="connsiteX2086" fmla="*/ 933295 w 3905665"/>
              <a:gd name="connsiteY2086" fmla="*/ 1261857 h 3403632"/>
              <a:gd name="connsiteX2087" fmla="*/ 938973 w 3905665"/>
              <a:gd name="connsiteY2087" fmla="*/ 1256180 h 3403632"/>
              <a:gd name="connsiteX2088" fmla="*/ 722495 w 3905665"/>
              <a:gd name="connsiteY2088" fmla="*/ 1251736 h 3403632"/>
              <a:gd name="connsiteX2089" fmla="*/ 723234 w 3905665"/>
              <a:gd name="connsiteY2089" fmla="*/ 1252478 h 3403632"/>
              <a:gd name="connsiteX2090" fmla="*/ 722495 w 3905665"/>
              <a:gd name="connsiteY2090" fmla="*/ 1253216 h 3403632"/>
              <a:gd name="connsiteX2091" fmla="*/ 721754 w 3905665"/>
              <a:gd name="connsiteY2091" fmla="*/ 1252478 h 3403632"/>
              <a:gd name="connsiteX2092" fmla="*/ 722495 w 3905665"/>
              <a:gd name="connsiteY2092" fmla="*/ 1251736 h 3403632"/>
              <a:gd name="connsiteX2093" fmla="*/ 2257304 w 3905665"/>
              <a:gd name="connsiteY2093" fmla="*/ 1250768 h 3403632"/>
              <a:gd name="connsiteX2094" fmla="*/ 2258043 w 3905665"/>
              <a:gd name="connsiteY2094" fmla="*/ 1251509 h 3403632"/>
              <a:gd name="connsiteX2095" fmla="*/ 2257304 w 3905665"/>
              <a:gd name="connsiteY2095" fmla="*/ 1252247 h 3403632"/>
              <a:gd name="connsiteX2096" fmla="*/ 2256563 w 3905665"/>
              <a:gd name="connsiteY2096" fmla="*/ 1251509 h 3403632"/>
              <a:gd name="connsiteX2097" fmla="*/ 2257304 w 3905665"/>
              <a:gd name="connsiteY2097" fmla="*/ 1250768 h 3403632"/>
              <a:gd name="connsiteX2098" fmla="*/ 1980355 w 3905665"/>
              <a:gd name="connsiteY2098" fmla="*/ 1241627 h 3403632"/>
              <a:gd name="connsiteX2099" fmla="*/ 1982329 w 3905665"/>
              <a:gd name="connsiteY2099" fmla="*/ 1243602 h 3403632"/>
              <a:gd name="connsiteX2100" fmla="*/ 1980355 w 3905665"/>
              <a:gd name="connsiteY2100" fmla="*/ 1245577 h 3403632"/>
              <a:gd name="connsiteX2101" fmla="*/ 1978380 w 3905665"/>
              <a:gd name="connsiteY2101" fmla="*/ 1243602 h 3403632"/>
              <a:gd name="connsiteX2102" fmla="*/ 1980355 w 3905665"/>
              <a:gd name="connsiteY2102" fmla="*/ 1241627 h 3403632"/>
              <a:gd name="connsiteX2103" fmla="*/ 1336128 w 3905665"/>
              <a:gd name="connsiteY2103" fmla="*/ 1241619 h 3403632"/>
              <a:gd name="connsiteX2104" fmla="*/ 1349458 w 3905665"/>
              <a:gd name="connsiteY2104" fmla="*/ 1254949 h 3403632"/>
              <a:gd name="connsiteX2105" fmla="*/ 1336128 w 3905665"/>
              <a:gd name="connsiteY2105" fmla="*/ 1268276 h 3403632"/>
              <a:gd name="connsiteX2106" fmla="*/ 1322800 w 3905665"/>
              <a:gd name="connsiteY2106" fmla="*/ 1254949 h 3403632"/>
              <a:gd name="connsiteX2107" fmla="*/ 1336128 w 3905665"/>
              <a:gd name="connsiteY2107" fmla="*/ 1241619 h 3403632"/>
              <a:gd name="connsiteX2108" fmla="*/ 1524712 w 3905665"/>
              <a:gd name="connsiteY2108" fmla="*/ 1232488 h 3403632"/>
              <a:gd name="connsiteX2109" fmla="*/ 1530885 w 3905665"/>
              <a:gd name="connsiteY2109" fmla="*/ 1238659 h 3403632"/>
              <a:gd name="connsiteX2110" fmla="*/ 1524712 w 3905665"/>
              <a:gd name="connsiteY2110" fmla="*/ 1244832 h 3403632"/>
              <a:gd name="connsiteX2111" fmla="*/ 1518542 w 3905665"/>
              <a:gd name="connsiteY2111" fmla="*/ 1238659 h 3403632"/>
              <a:gd name="connsiteX2112" fmla="*/ 1524712 w 3905665"/>
              <a:gd name="connsiteY2112" fmla="*/ 1232488 h 3403632"/>
              <a:gd name="connsiteX2113" fmla="*/ 2930172 w 3905665"/>
              <a:gd name="connsiteY2113" fmla="*/ 1220412 h 3403632"/>
              <a:gd name="connsiteX2114" fmla="*/ 2947203 w 3905665"/>
              <a:gd name="connsiteY2114" fmla="*/ 1237202 h 3403632"/>
              <a:gd name="connsiteX2115" fmla="*/ 2930172 w 3905665"/>
              <a:gd name="connsiteY2115" fmla="*/ 1253988 h 3403632"/>
              <a:gd name="connsiteX2116" fmla="*/ 2913387 w 3905665"/>
              <a:gd name="connsiteY2116" fmla="*/ 1237202 h 3403632"/>
              <a:gd name="connsiteX2117" fmla="*/ 2930172 w 3905665"/>
              <a:gd name="connsiteY2117" fmla="*/ 1220412 h 3403632"/>
              <a:gd name="connsiteX2118" fmla="*/ 2678647 w 3905665"/>
              <a:gd name="connsiteY2118" fmla="*/ 1218433 h 3403632"/>
              <a:gd name="connsiteX2119" fmla="*/ 2687041 w 3905665"/>
              <a:gd name="connsiteY2119" fmla="*/ 1226828 h 3403632"/>
              <a:gd name="connsiteX2120" fmla="*/ 2678647 w 3905665"/>
              <a:gd name="connsiteY2120" fmla="*/ 1234975 h 3403632"/>
              <a:gd name="connsiteX2121" fmla="*/ 2670502 w 3905665"/>
              <a:gd name="connsiteY2121" fmla="*/ 1226828 h 3403632"/>
              <a:gd name="connsiteX2122" fmla="*/ 2678647 w 3905665"/>
              <a:gd name="connsiteY2122" fmla="*/ 1218433 h 3403632"/>
              <a:gd name="connsiteX2123" fmla="*/ 56040 w 3905665"/>
              <a:gd name="connsiteY2123" fmla="*/ 1218410 h 3403632"/>
              <a:gd name="connsiteX2124" fmla="*/ 58755 w 3905665"/>
              <a:gd name="connsiteY2124" fmla="*/ 1221125 h 3403632"/>
              <a:gd name="connsiteX2125" fmla="*/ 56040 w 3905665"/>
              <a:gd name="connsiteY2125" fmla="*/ 1224087 h 3403632"/>
              <a:gd name="connsiteX2126" fmla="*/ 53078 w 3905665"/>
              <a:gd name="connsiteY2126" fmla="*/ 1221125 h 3403632"/>
              <a:gd name="connsiteX2127" fmla="*/ 56040 w 3905665"/>
              <a:gd name="connsiteY2127" fmla="*/ 1218410 h 3403632"/>
              <a:gd name="connsiteX2128" fmla="*/ 1706632 w 3905665"/>
              <a:gd name="connsiteY2128" fmla="*/ 1214470 h 3403632"/>
              <a:gd name="connsiteX2129" fmla="*/ 1708858 w 3905665"/>
              <a:gd name="connsiteY2129" fmla="*/ 1216691 h 3403632"/>
              <a:gd name="connsiteX2130" fmla="*/ 1706632 w 3905665"/>
              <a:gd name="connsiteY2130" fmla="*/ 1218911 h 3403632"/>
              <a:gd name="connsiteX2131" fmla="*/ 1704413 w 3905665"/>
              <a:gd name="connsiteY2131" fmla="*/ 1216691 h 3403632"/>
              <a:gd name="connsiteX2132" fmla="*/ 1706632 w 3905665"/>
              <a:gd name="connsiteY2132" fmla="*/ 1214470 h 3403632"/>
              <a:gd name="connsiteX2133" fmla="*/ 2422929 w 3905665"/>
              <a:gd name="connsiteY2133" fmla="*/ 1213248 h 3403632"/>
              <a:gd name="connsiteX2134" fmla="*/ 2423175 w 3905665"/>
              <a:gd name="connsiteY2134" fmla="*/ 1213494 h 3403632"/>
              <a:gd name="connsiteX2135" fmla="*/ 2422929 w 3905665"/>
              <a:gd name="connsiteY2135" fmla="*/ 1213742 h 3403632"/>
              <a:gd name="connsiteX2136" fmla="*/ 2422929 w 3905665"/>
              <a:gd name="connsiteY2136" fmla="*/ 1213494 h 3403632"/>
              <a:gd name="connsiteX2137" fmla="*/ 3432481 w 3905665"/>
              <a:gd name="connsiteY2137" fmla="*/ 1212281 h 3403632"/>
              <a:gd name="connsiteX2138" fmla="*/ 3454944 w 3905665"/>
              <a:gd name="connsiteY2138" fmla="*/ 1234744 h 3403632"/>
              <a:gd name="connsiteX2139" fmla="*/ 3432481 w 3905665"/>
              <a:gd name="connsiteY2139" fmla="*/ 1257456 h 3403632"/>
              <a:gd name="connsiteX2140" fmla="*/ 3410018 w 3905665"/>
              <a:gd name="connsiteY2140" fmla="*/ 1234744 h 3403632"/>
              <a:gd name="connsiteX2141" fmla="*/ 3432481 w 3905665"/>
              <a:gd name="connsiteY2141" fmla="*/ 1212281 h 3403632"/>
              <a:gd name="connsiteX2142" fmla="*/ 2151413 w 3905665"/>
              <a:gd name="connsiteY2142" fmla="*/ 1207567 h 3403632"/>
              <a:gd name="connsiteX2143" fmla="*/ 2154129 w 3905665"/>
              <a:gd name="connsiteY2143" fmla="*/ 1210282 h 3403632"/>
              <a:gd name="connsiteX2144" fmla="*/ 2151413 w 3905665"/>
              <a:gd name="connsiteY2144" fmla="*/ 1212995 h 3403632"/>
              <a:gd name="connsiteX2145" fmla="*/ 2148697 w 3905665"/>
              <a:gd name="connsiteY2145" fmla="*/ 1210282 h 3403632"/>
              <a:gd name="connsiteX2146" fmla="*/ 2151413 w 3905665"/>
              <a:gd name="connsiteY2146" fmla="*/ 1207567 h 3403632"/>
              <a:gd name="connsiteX2147" fmla="*/ 3187867 w 3905665"/>
              <a:gd name="connsiteY2147" fmla="*/ 1202405 h 3403632"/>
              <a:gd name="connsiteX2148" fmla="*/ 3214033 w 3905665"/>
              <a:gd name="connsiteY2148" fmla="*/ 1228564 h 3403632"/>
              <a:gd name="connsiteX2149" fmla="*/ 3187867 w 3905665"/>
              <a:gd name="connsiteY2149" fmla="*/ 1254735 h 3403632"/>
              <a:gd name="connsiteX2150" fmla="*/ 3161704 w 3905665"/>
              <a:gd name="connsiteY2150" fmla="*/ 1228564 h 3403632"/>
              <a:gd name="connsiteX2151" fmla="*/ 3187867 w 3905665"/>
              <a:gd name="connsiteY2151" fmla="*/ 1202405 h 3403632"/>
              <a:gd name="connsiteX2152" fmla="*/ 825920 w 3905665"/>
              <a:gd name="connsiteY2152" fmla="*/ 1199406 h 3403632"/>
              <a:gd name="connsiteX2153" fmla="*/ 827156 w 3905665"/>
              <a:gd name="connsiteY2153" fmla="*/ 1200640 h 3403632"/>
              <a:gd name="connsiteX2154" fmla="*/ 825920 w 3905665"/>
              <a:gd name="connsiteY2154" fmla="*/ 1201874 h 3403632"/>
              <a:gd name="connsiteX2155" fmla="*/ 824441 w 3905665"/>
              <a:gd name="connsiteY2155" fmla="*/ 1200640 h 3403632"/>
              <a:gd name="connsiteX2156" fmla="*/ 825920 w 3905665"/>
              <a:gd name="connsiteY2156" fmla="*/ 1199406 h 3403632"/>
              <a:gd name="connsiteX2157" fmla="*/ 170819 w 3905665"/>
              <a:gd name="connsiteY2157" fmla="*/ 1198909 h 3403632"/>
              <a:gd name="connsiteX2158" fmla="*/ 175507 w 3905665"/>
              <a:gd name="connsiteY2158" fmla="*/ 1203600 h 3403632"/>
              <a:gd name="connsiteX2159" fmla="*/ 170819 w 3905665"/>
              <a:gd name="connsiteY2159" fmla="*/ 1208290 h 3403632"/>
              <a:gd name="connsiteX2160" fmla="*/ 166129 w 3905665"/>
              <a:gd name="connsiteY2160" fmla="*/ 1203600 h 3403632"/>
              <a:gd name="connsiteX2161" fmla="*/ 170819 w 3905665"/>
              <a:gd name="connsiteY2161" fmla="*/ 1198909 h 3403632"/>
              <a:gd name="connsiteX2162" fmla="*/ 1038445 w 3905665"/>
              <a:gd name="connsiteY2162" fmla="*/ 1194718 h 3403632"/>
              <a:gd name="connsiteX2163" fmla="*/ 1044617 w 3905665"/>
              <a:gd name="connsiteY2163" fmla="*/ 1200888 h 3403632"/>
              <a:gd name="connsiteX2164" fmla="*/ 1038445 w 3905665"/>
              <a:gd name="connsiteY2164" fmla="*/ 1207062 h 3403632"/>
              <a:gd name="connsiteX2165" fmla="*/ 1032275 w 3905665"/>
              <a:gd name="connsiteY2165" fmla="*/ 1200888 h 3403632"/>
              <a:gd name="connsiteX2166" fmla="*/ 1038445 w 3905665"/>
              <a:gd name="connsiteY2166" fmla="*/ 1194718 h 3403632"/>
              <a:gd name="connsiteX2167" fmla="*/ 1236157 w 3905665"/>
              <a:gd name="connsiteY2167" fmla="*/ 1193485 h 3403632"/>
              <a:gd name="connsiteX2168" fmla="*/ 1237639 w 3905665"/>
              <a:gd name="connsiteY2168" fmla="*/ 1194965 h 3403632"/>
              <a:gd name="connsiteX2169" fmla="*/ 1236157 w 3905665"/>
              <a:gd name="connsiteY2169" fmla="*/ 1196201 h 3403632"/>
              <a:gd name="connsiteX2170" fmla="*/ 1234678 w 3905665"/>
              <a:gd name="connsiteY2170" fmla="*/ 1194965 h 3403632"/>
              <a:gd name="connsiteX2171" fmla="*/ 1236157 w 3905665"/>
              <a:gd name="connsiteY2171" fmla="*/ 1193485 h 3403632"/>
              <a:gd name="connsiteX2172" fmla="*/ 1883864 w 3905665"/>
              <a:gd name="connsiteY2172" fmla="*/ 1185841 h 3403632"/>
              <a:gd name="connsiteX2173" fmla="*/ 1886580 w 3905665"/>
              <a:gd name="connsiteY2173" fmla="*/ 1188558 h 3403632"/>
              <a:gd name="connsiteX2174" fmla="*/ 1883864 w 3905665"/>
              <a:gd name="connsiteY2174" fmla="*/ 1191272 h 3403632"/>
              <a:gd name="connsiteX2175" fmla="*/ 1881147 w 3905665"/>
              <a:gd name="connsiteY2175" fmla="*/ 1188558 h 3403632"/>
              <a:gd name="connsiteX2176" fmla="*/ 1883864 w 3905665"/>
              <a:gd name="connsiteY2176" fmla="*/ 1185841 h 3403632"/>
              <a:gd name="connsiteX2177" fmla="*/ 614379 w 3905665"/>
              <a:gd name="connsiteY2177" fmla="*/ 1181879 h 3403632"/>
              <a:gd name="connsiteX2178" fmla="*/ 614628 w 3905665"/>
              <a:gd name="connsiteY2178" fmla="*/ 1182125 h 3403632"/>
              <a:gd name="connsiteX2179" fmla="*/ 614379 w 3905665"/>
              <a:gd name="connsiteY2179" fmla="*/ 1182374 h 3403632"/>
              <a:gd name="connsiteX2180" fmla="*/ 614133 w 3905665"/>
              <a:gd name="connsiteY2180" fmla="*/ 1182125 h 3403632"/>
              <a:gd name="connsiteX2181" fmla="*/ 614379 w 3905665"/>
              <a:gd name="connsiteY2181" fmla="*/ 1181879 h 3403632"/>
              <a:gd name="connsiteX2182" fmla="*/ 284114 w 3905665"/>
              <a:gd name="connsiteY2182" fmla="*/ 1172005 h 3403632"/>
              <a:gd name="connsiteX2183" fmla="*/ 291025 w 3905665"/>
              <a:gd name="connsiteY2183" fmla="*/ 1178917 h 3403632"/>
              <a:gd name="connsiteX2184" fmla="*/ 284114 w 3905665"/>
              <a:gd name="connsiteY2184" fmla="*/ 1185828 h 3403632"/>
              <a:gd name="connsiteX2185" fmla="*/ 277202 w 3905665"/>
              <a:gd name="connsiteY2185" fmla="*/ 1178917 h 3403632"/>
              <a:gd name="connsiteX2186" fmla="*/ 284114 w 3905665"/>
              <a:gd name="connsiteY2186" fmla="*/ 1172005 h 3403632"/>
              <a:gd name="connsiteX2187" fmla="*/ 3084197 w 3905665"/>
              <a:gd name="connsiteY2187" fmla="*/ 1169321 h 3403632"/>
              <a:gd name="connsiteX2188" fmla="*/ 3106164 w 3905665"/>
              <a:gd name="connsiteY2188" fmla="*/ 1191291 h 3403632"/>
              <a:gd name="connsiteX2189" fmla="*/ 3084197 w 3905665"/>
              <a:gd name="connsiteY2189" fmla="*/ 1213257 h 3403632"/>
              <a:gd name="connsiteX2190" fmla="*/ 3062229 w 3905665"/>
              <a:gd name="connsiteY2190" fmla="*/ 1191291 h 3403632"/>
              <a:gd name="connsiteX2191" fmla="*/ 3084197 w 3905665"/>
              <a:gd name="connsiteY2191" fmla="*/ 1169321 h 3403632"/>
              <a:gd name="connsiteX2192" fmla="*/ 2584111 w 3905665"/>
              <a:gd name="connsiteY2192" fmla="*/ 1168573 h 3403632"/>
              <a:gd name="connsiteX2193" fmla="*/ 2588553 w 3905665"/>
              <a:gd name="connsiteY2193" fmla="*/ 1173014 h 3403632"/>
              <a:gd name="connsiteX2194" fmla="*/ 2584111 w 3905665"/>
              <a:gd name="connsiteY2194" fmla="*/ 1177459 h 3403632"/>
              <a:gd name="connsiteX2195" fmla="*/ 2579667 w 3905665"/>
              <a:gd name="connsiteY2195" fmla="*/ 1173014 h 3403632"/>
              <a:gd name="connsiteX2196" fmla="*/ 2584111 w 3905665"/>
              <a:gd name="connsiteY2196" fmla="*/ 1168573 h 3403632"/>
              <a:gd name="connsiteX2197" fmla="*/ 2836128 w 3905665"/>
              <a:gd name="connsiteY2197" fmla="*/ 1168329 h 3403632"/>
              <a:gd name="connsiteX2198" fmla="*/ 2850938 w 3905665"/>
              <a:gd name="connsiteY2198" fmla="*/ 1183140 h 3403632"/>
              <a:gd name="connsiteX2199" fmla="*/ 2836128 w 3905665"/>
              <a:gd name="connsiteY2199" fmla="*/ 1197951 h 3403632"/>
              <a:gd name="connsiteX2200" fmla="*/ 2821318 w 3905665"/>
              <a:gd name="connsiteY2200" fmla="*/ 1183140 h 3403632"/>
              <a:gd name="connsiteX2201" fmla="*/ 2836128 w 3905665"/>
              <a:gd name="connsiteY2201" fmla="*/ 1168329 h 3403632"/>
              <a:gd name="connsiteX2202" fmla="*/ 1425979 w 3905665"/>
              <a:gd name="connsiteY2202" fmla="*/ 1166829 h 3403632"/>
              <a:gd name="connsiteX2203" fmla="*/ 1440048 w 3905665"/>
              <a:gd name="connsiteY2203" fmla="*/ 1180898 h 3403632"/>
              <a:gd name="connsiteX2204" fmla="*/ 1425979 w 3905665"/>
              <a:gd name="connsiteY2204" fmla="*/ 1194967 h 3403632"/>
              <a:gd name="connsiteX2205" fmla="*/ 1411910 w 3905665"/>
              <a:gd name="connsiteY2205" fmla="*/ 1180898 h 3403632"/>
              <a:gd name="connsiteX2206" fmla="*/ 1425979 w 3905665"/>
              <a:gd name="connsiteY2206" fmla="*/ 1166829 h 3403632"/>
              <a:gd name="connsiteX2207" fmla="*/ 3338192 w 3905665"/>
              <a:gd name="connsiteY2207" fmla="*/ 1161182 h 3403632"/>
              <a:gd name="connsiteX2208" fmla="*/ 3357939 w 3905665"/>
              <a:gd name="connsiteY2208" fmla="*/ 1180929 h 3403632"/>
              <a:gd name="connsiteX2209" fmla="*/ 3338192 w 3905665"/>
              <a:gd name="connsiteY2209" fmla="*/ 1200678 h 3403632"/>
              <a:gd name="connsiteX2210" fmla="*/ 3318445 w 3905665"/>
              <a:gd name="connsiteY2210" fmla="*/ 1180929 h 3403632"/>
              <a:gd name="connsiteX2211" fmla="*/ 3338192 w 3905665"/>
              <a:gd name="connsiteY2211" fmla="*/ 1161182 h 3403632"/>
              <a:gd name="connsiteX2212" fmla="*/ 2328390 w 3905665"/>
              <a:gd name="connsiteY2212" fmla="*/ 1158445 h 3403632"/>
              <a:gd name="connsiteX2213" fmla="*/ 2328885 w 3905665"/>
              <a:gd name="connsiteY2213" fmla="*/ 1158941 h 3403632"/>
              <a:gd name="connsiteX2214" fmla="*/ 2328390 w 3905665"/>
              <a:gd name="connsiteY2214" fmla="*/ 1159433 h 3403632"/>
              <a:gd name="connsiteX2215" fmla="*/ 2327898 w 3905665"/>
              <a:gd name="connsiteY2215" fmla="*/ 1158941 h 3403632"/>
              <a:gd name="connsiteX2216" fmla="*/ 2328390 w 3905665"/>
              <a:gd name="connsiteY2216" fmla="*/ 1158445 h 3403632"/>
              <a:gd name="connsiteX2217" fmla="*/ 2055888 w 3905665"/>
              <a:gd name="connsiteY2217" fmla="*/ 1153506 h 3403632"/>
              <a:gd name="connsiteX2218" fmla="*/ 2057862 w 3905665"/>
              <a:gd name="connsiteY2218" fmla="*/ 1155481 h 3403632"/>
              <a:gd name="connsiteX2219" fmla="*/ 2055888 w 3905665"/>
              <a:gd name="connsiteY2219" fmla="*/ 1157455 h 3403632"/>
              <a:gd name="connsiteX2220" fmla="*/ 2053913 w 3905665"/>
              <a:gd name="connsiteY2220" fmla="*/ 1155481 h 3403632"/>
              <a:gd name="connsiteX2221" fmla="*/ 2055888 w 3905665"/>
              <a:gd name="connsiteY2221" fmla="*/ 1153506 h 3403632"/>
              <a:gd name="connsiteX2222" fmla="*/ 1610121 w 3905665"/>
              <a:gd name="connsiteY2222" fmla="*/ 1151771 h 3403632"/>
              <a:gd name="connsiteX2223" fmla="*/ 1617771 w 3905665"/>
              <a:gd name="connsiteY2223" fmla="*/ 1159424 h 3403632"/>
              <a:gd name="connsiteX2224" fmla="*/ 1610121 w 3905665"/>
              <a:gd name="connsiteY2224" fmla="*/ 1167073 h 3403632"/>
              <a:gd name="connsiteX2225" fmla="*/ 1602469 w 3905665"/>
              <a:gd name="connsiteY2225" fmla="*/ 1159424 h 3403632"/>
              <a:gd name="connsiteX2226" fmla="*/ 1610121 w 3905665"/>
              <a:gd name="connsiteY2226" fmla="*/ 1151771 h 3403632"/>
              <a:gd name="connsiteX2227" fmla="*/ 926380 w 3905665"/>
              <a:gd name="connsiteY2227" fmla="*/ 1140656 h 3403632"/>
              <a:gd name="connsiteX2228" fmla="*/ 928849 w 3905665"/>
              <a:gd name="connsiteY2228" fmla="*/ 1143128 h 3403632"/>
              <a:gd name="connsiteX2229" fmla="*/ 926380 w 3905665"/>
              <a:gd name="connsiteY2229" fmla="*/ 1145350 h 3403632"/>
              <a:gd name="connsiteX2230" fmla="*/ 924159 w 3905665"/>
              <a:gd name="connsiteY2230" fmla="*/ 1143128 h 3403632"/>
              <a:gd name="connsiteX2231" fmla="*/ 926380 w 3905665"/>
              <a:gd name="connsiteY2231" fmla="*/ 1140656 h 3403632"/>
              <a:gd name="connsiteX2232" fmla="*/ 395933 w 3905665"/>
              <a:gd name="connsiteY2232" fmla="*/ 1137694 h 3403632"/>
              <a:gd name="connsiteX2233" fmla="*/ 405557 w 3905665"/>
              <a:gd name="connsiteY2233" fmla="*/ 1147321 h 3403632"/>
              <a:gd name="connsiteX2234" fmla="*/ 395933 w 3905665"/>
              <a:gd name="connsiteY2234" fmla="*/ 1156946 h 3403632"/>
              <a:gd name="connsiteX2235" fmla="*/ 386305 w 3905665"/>
              <a:gd name="connsiteY2235" fmla="*/ 1147321 h 3403632"/>
              <a:gd name="connsiteX2236" fmla="*/ 395933 w 3905665"/>
              <a:gd name="connsiteY2236" fmla="*/ 1137694 h 3403632"/>
              <a:gd name="connsiteX2237" fmla="*/ 719535 w 3905665"/>
              <a:gd name="connsiteY2237" fmla="*/ 1130784 h 3403632"/>
              <a:gd name="connsiteX2238" fmla="*/ 722002 w 3905665"/>
              <a:gd name="connsiteY2238" fmla="*/ 1133250 h 3403632"/>
              <a:gd name="connsiteX2239" fmla="*/ 719535 w 3905665"/>
              <a:gd name="connsiteY2239" fmla="*/ 1135719 h 3403632"/>
              <a:gd name="connsiteX2240" fmla="*/ 717065 w 3905665"/>
              <a:gd name="connsiteY2240" fmla="*/ 1133250 h 3403632"/>
              <a:gd name="connsiteX2241" fmla="*/ 719535 w 3905665"/>
              <a:gd name="connsiteY2241" fmla="*/ 1130784 h 3403632"/>
              <a:gd name="connsiteX2242" fmla="*/ 1787348 w 3905665"/>
              <a:gd name="connsiteY2242" fmla="*/ 1130051 h 3403632"/>
              <a:gd name="connsiteX2243" fmla="*/ 1790557 w 3905665"/>
              <a:gd name="connsiteY2243" fmla="*/ 1133255 h 3403632"/>
              <a:gd name="connsiteX2244" fmla="*/ 1787348 w 3905665"/>
              <a:gd name="connsiteY2244" fmla="*/ 1136461 h 3403632"/>
              <a:gd name="connsiteX2245" fmla="*/ 1784141 w 3905665"/>
              <a:gd name="connsiteY2245" fmla="*/ 1133255 h 3403632"/>
              <a:gd name="connsiteX2246" fmla="*/ 1787348 w 3905665"/>
              <a:gd name="connsiteY2246" fmla="*/ 1130051 h 3403632"/>
              <a:gd name="connsiteX2247" fmla="*/ 1134709 w 3905665"/>
              <a:gd name="connsiteY2247" fmla="*/ 1128318 h 3403632"/>
              <a:gd name="connsiteX2248" fmla="*/ 1141372 w 3905665"/>
              <a:gd name="connsiteY2248" fmla="*/ 1134978 h 3403632"/>
              <a:gd name="connsiteX2249" fmla="*/ 1134709 w 3905665"/>
              <a:gd name="connsiteY2249" fmla="*/ 1141649 h 3403632"/>
              <a:gd name="connsiteX2250" fmla="*/ 1128044 w 3905665"/>
              <a:gd name="connsiteY2250" fmla="*/ 1134978 h 3403632"/>
              <a:gd name="connsiteX2251" fmla="*/ 1134709 w 3905665"/>
              <a:gd name="connsiteY2251" fmla="*/ 1128318 h 3403632"/>
              <a:gd name="connsiteX2252" fmla="*/ 1327243 w 3905665"/>
              <a:gd name="connsiteY2252" fmla="*/ 1121407 h 3403632"/>
              <a:gd name="connsiteX2253" fmla="*/ 1328230 w 3905665"/>
              <a:gd name="connsiteY2253" fmla="*/ 1122396 h 3403632"/>
              <a:gd name="connsiteX2254" fmla="*/ 1327243 w 3905665"/>
              <a:gd name="connsiteY2254" fmla="*/ 1123383 h 3403632"/>
              <a:gd name="connsiteX2255" fmla="*/ 1326255 w 3905665"/>
              <a:gd name="connsiteY2255" fmla="*/ 1122396 h 3403632"/>
              <a:gd name="connsiteX2256" fmla="*/ 1327243 w 3905665"/>
              <a:gd name="connsiteY2256" fmla="*/ 1121407 h 3403632"/>
              <a:gd name="connsiteX2257" fmla="*/ 2741839 w 3905665"/>
              <a:gd name="connsiteY2257" fmla="*/ 1120190 h 3403632"/>
              <a:gd name="connsiteX2258" fmla="*/ 2750725 w 3905665"/>
              <a:gd name="connsiteY2258" fmla="*/ 1129075 h 3403632"/>
              <a:gd name="connsiteX2259" fmla="*/ 2741839 w 3905665"/>
              <a:gd name="connsiteY2259" fmla="*/ 1137947 h 3403632"/>
              <a:gd name="connsiteX2260" fmla="*/ 2732953 w 3905665"/>
              <a:gd name="connsiteY2260" fmla="*/ 1129075 h 3403632"/>
              <a:gd name="connsiteX2261" fmla="*/ 2741839 w 3905665"/>
              <a:gd name="connsiteY2261" fmla="*/ 1120190 h 3403632"/>
              <a:gd name="connsiteX2262" fmla="*/ 2989907 w 3905665"/>
              <a:gd name="connsiteY2262" fmla="*/ 1119947 h 3403632"/>
              <a:gd name="connsiteX2263" fmla="*/ 3007679 w 3905665"/>
              <a:gd name="connsiteY2263" fmla="*/ 1137457 h 3403632"/>
              <a:gd name="connsiteX2264" fmla="*/ 2989907 w 3905665"/>
              <a:gd name="connsiteY2264" fmla="*/ 1155000 h 3403632"/>
              <a:gd name="connsiteX2265" fmla="*/ 2972381 w 3905665"/>
              <a:gd name="connsiteY2265" fmla="*/ 1137457 h 3403632"/>
              <a:gd name="connsiteX2266" fmla="*/ 2989907 w 3905665"/>
              <a:gd name="connsiteY2266" fmla="*/ 1119947 h 3403632"/>
              <a:gd name="connsiteX2267" fmla="*/ 2490065 w 3905665"/>
              <a:gd name="connsiteY2267" fmla="*/ 1118210 h 3403632"/>
              <a:gd name="connsiteX2268" fmla="*/ 2490561 w 3905665"/>
              <a:gd name="connsiteY2268" fmla="*/ 1118456 h 3403632"/>
              <a:gd name="connsiteX2269" fmla="*/ 2490065 w 3905665"/>
              <a:gd name="connsiteY2269" fmla="*/ 1118707 h 3403632"/>
              <a:gd name="connsiteX2270" fmla="*/ 2489819 w 3905665"/>
              <a:gd name="connsiteY2270" fmla="*/ 1118456 h 3403632"/>
              <a:gd name="connsiteX2271" fmla="*/ 2490065 w 3905665"/>
              <a:gd name="connsiteY2271" fmla="*/ 1118210 h 3403632"/>
              <a:gd name="connsiteX2272" fmla="*/ 2222994 w 3905665"/>
              <a:gd name="connsiteY2272" fmla="*/ 1116484 h 3403632"/>
              <a:gd name="connsiteX2273" fmla="*/ 2225461 w 3905665"/>
              <a:gd name="connsiteY2273" fmla="*/ 1118949 h 3403632"/>
              <a:gd name="connsiteX2274" fmla="*/ 2222994 w 3905665"/>
              <a:gd name="connsiteY2274" fmla="*/ 1121417 h 3403632"/>
              <a:gd name="connsiteX2275" fmla="*/ 2220524 w 3905665"/>
              <a:gd name="connsiteY2275" fmla="*/ 1118949 h 3403632"/>
              <a:gd name="connsiteX2276" fmla="*/ 2222994 w 3905665"/>
              <a:gd name="connsiteY2276" fmla="*/ 1116484 h 3403632"/>
              <a:gd name="connsiteX2277" fmla="*/ 55051 w 3905665"/>
              <a:gd name="connsiteY2277" fmla="*/ 1111776 h 3403632"/>
              <a:gd name="connsiteX2278" fmla="*/ 55297 w 3905665"/>
              <a:gd name="connsiteY2278" fmla="*/ 1112021 h 3403632"/>
              <a:gd name="connsiteX2279" fmla="*/ 55051 w 3905665"/>
              <a:gd name="connsiteY2279" fmla="*/ 1112021 h 3403632"/>
              <a:gd name="connsiteX2280" fmla="*/ 3485797 w 3905665"/>
              <a:gd name="connsiteY2280" fmla="*/ 1107124 h 3403632"/>
              <a:gd name="connsiteX2281" fmla="*/ 3510235 w 3905665"/>
              <a:gd name="connsiteY2281" fmla="*/ 1131556 h 3403632"/>
              <a:gd name="connsiteX2282" fmla="*/ 3485797 w 3905665"/>
              <a:gd name="connsiteY2282" fmla="*/ 1155997 h 3403632"/>
              <a:gd name="connsiteX2283" fmla="*/ 3461360 w 3905665"/>
              <a:gd name="connsiteY2283" fmla="*/ 1131556 h 3403632"/>
              <a:gd name="connsiteX2284" fmla="*/ 3485797 w 3905665"/>
              <a:gd name="connsiteY2284" fmla="*/ 1107124 h 3403632"/>
              <a:gd name="connsiteX2285" fmla="*/ 3244145 w 3905665"/>
              <a:gd name="connsiteY2285" fmla="*/ 1099716 h 3403632"/>
              <a:gd name="connsiteX2286" fmla="*/ 3271050 w 3905665"/>
              <a:gd name="connsiteY2286" fmla="*/ 1126614 h 3403632"/>
              <a:gd name="connsiteX2287" fmla="*/ 3244145 w 3905665"/>
              <a:gd name="connsiteY2287" fmla="*/ 1153529 h 3403632"/>
              <a:gd name="connsiteX2288" fmla="*/ 3217241 w 3905665"/>
              <a:gd name="connsiteY2288" fmla="*/ 1126614 h 3403632"/>
              <a:gd name="connsiteX2289" fmla="*/ 3244145 w 3905665"/>
              <a:gd name="connsiteY2289" fmla="*/ 1099716 h 3403632"/>
              <a:gd name="connsiteX2290" fmla="*/ 1960124 w 3905665"/>
              <a:gd name="connsiteY2290" fmla="*/ 1097474 h 3403632"/>
              <a:gd name="connsiteX2291" fmla="*/ 1963578 w 3905665"/>
              <a:gd name="connsiteY2291" fmla="*/ 1100931 h 3403632"/>
              <a:gd name="connsiteX2292" fmla="*/ 1960124 w 3905665"/>
              <a:gd name="connsiteY2292" fmla="*/ 1104385 h 3403632"/>
              <a:gd name="connsiteX2293" fmla="*/ 1956672 w 3905665"/>
              <a:gd name="connsiteY2293" fmla="*/ 1100931 h 3403632"/>
              <a:gd name="connsiteX2294" fmla="*/ 1960124 w 3905665"/>
              <a:gd name="connsiteY2294" fmla="*/ 1097474 h 3403632"/>
              <a:gd name="connsiteX2295" fmla="*/ 505526 w 3905665"/>
              <a:gd name="connsiteY2295" fmla="*/ 1096721 h 3403632"/>
              <a:gd name="connsiteX2296" fmla="*/ 517866 w 3905665"/>
              <a:gd name="connsiteY2296" fmla="*/ 1109064 h 3403632"/>
              <a:gd name="connsiteX2297" fmla="*/ 505526 w 3905665"/>
              <a:gd name="connsiteY2297" fmla="*/ 1121402 h 3403632"/>
              <a:gd name="connsiteX2298" fmla="*/ 493183 w 3905665"/>
              <a:gd name="connsiteY2298" fmla="*/ 1109064 h 3403632"/>
              <a:gd name="connsiteX2299" fmla="*/ 505526 w 3905665"/>
              <a:gd name="connsiteY2299" fmla="*/ 1096721 h 3403632"/>
              <a:gd name="connsiteX2300" fmla="*/ 169831 w 3905665"/>
              <a:gd name="connsiteY2300" fmla="*/ 1092275 h 3403632"/>
              <a:gd name="connsiteX2301" fmla="*/ 170818 w 3905665"/>
              <a:gd name="connsiteY2301" fmla="*/ 1093263 h 3403632"/>
              <a:gd name="connsiteX2302" fmla="*/ 169831 w 3905665"/>
              <a:gd name="connsiteY2302" fmla="*/ 1094251 h 3403632"/>
              <a:gd name="connsiteX2303" fmla="*/ 168844 w 3905665"/>
              <a:gd name="connsiteY2303" fmla="*/ 1093263 h 3403632"/>
              <a:gd name="connsiteX2304" fmla="*/ 169831 w 3905665"/>
              <a:gd name="connsiteY2304" fmla="*/ 1092275 h 3403632"/>
              <a:gd name="connsiteX2305" fmla="*/ 1512370 w 3905665"/>
              <a:gd name="connsiteY2305" fmla="*/ 1088087 h 3403632"/>
              <a:gd name="connsiteX2306" fmla="*/ 1527180 w 3905665"/>
              <a:gd name="connsiteY2306" fmla="*/ 1102898 h 3403632"/>
              <a:gd name="connsiteX2307" fmla="*/ 1512370 w 3905665"/>
              <a:gd name="connsiteY2307" fmla="*/ 1117707 h 3403632"/>
              <a:gd name="connsiteX2308" fmla="*/ 1497559 w 3905665"/>
              <a:gd name="connsiteY2308" fmla="*/ 1102898 h 3403632"/>
              <a:gd name="connsiteX2309" fmla="*/ 1512370 w 3905665"/>
              <a:gd name="connsiteY2309" fmla="*/ 1088087 h 3403632"/>
              <a:gd name="connsiteX2310" fmla="*/ 1023882 w 3905665"/>
              <a:gd name="connsiteY2310" fmla="*/ 1078456 h 3403632"/>
              <a:gd name="connsiteX2311" fmla="*/ 1025857 w 3905665"/>
              <a:gd name="connsiteY2311" fmla="*/ 1080431 h 3403632"/>
              <a:gd name="connsiteX2312" fmla="*/ 1023882 w 3905665"/>
              <a:gd name="connsiteY2312" fmla="*/ 1082405 h 3403632"/>
              <a:gd name="connsiteX2313" fmla="*/ 1021908 w 3905665"/>
              <a:gd name="connsiteY2313" fmla="*/ 1080431 h 3403632"/>
              <a:gd name="connsiteX2314" fmla="*/ 1023882 w 3905665"/>
              <a:gd name="connsiteY2314" fmla="*/ 1078456 h 3403632"/>
              <a:gd name="connsiteX2315" fmla="*/ 821724 w 3905665"/>
              <a:gd name="connsiteY2315" fmla="*/ 1073764 h 3403632"/>
              <a:gd name="connsiteX2316" fmla="*/ 826414 w 3905665"/>
              <a:gd name="connsiteY2316" fmla="*/ 1078701 h 3403632"/>
              <a:gd name="connsiteX2317" fmla="*/ 821724 w 3905665"/>
              <a:gd name="connsiteY2317" fmla="*/ 1083637 h 3403632"/>
              <a:gd name="connsiteX2318" fmla="*/ 816787 w 3905665"/>
              <a:gd name="connsiteY2318" fmla="*/ 1078701 h 3403632"/>
              <a:gd name="connsiteX2319" fmla="*/ 821724 w 3905665"/>
              <a:gd name="connsiteY2319" fmla="*/ 1073764 h 3403632"/>
              <a:gd name="connsiteX2320" fmla="*/ 2647547 w 3905665"/>
              <a:gd name="connsiteY2320" fmla="*/ 1070085 h 3403632"/>
              <a:gd name="connsiteX2321" fmla="*/ 2652976 w 3905665"/>
              <a:gd name="connsiteY2321" fmla="*/ 1075516 h 3403632"/>
              <a:gd name="connsiteX2322" fmla="*/ 2647547 w 3905665"/>
              <a:gd name="connsiteY2322" fmla="*/ 1080945 h 3403632"/>
              <a:gd name="connsiteX2323" fmla="*/ 2642115 w 3905665"/>
              <a:gd name="connsiteY2323" fmla="*/ 1075516 h 3403632"/>
              <a:gd name="connsiteX2324" fmla="*/ 2647547 w 3905665"/>
              <a:gd name="connsiteY2324" fmla="*/ 1070085 h 3403632"/>
              <a:gd name="connsiteX2325" fmla="*/ 2895862 w 3905665"/>
              <a:gd name="connsiteY2325" fmla="*/ 1067373 h 3403632"/>
              <a:gd name="connsiteX2326" fmla="*/ 2912154 w 3905665"/>
              <a:gd name="connsiteY2326" fmla="*/ 1083666 h 3403632"/>
              <a:gd name="connsiteX2327" fmla="*/ 2895862 w 3905665"/>
              <a:gd name="connsiteY2327" fmla="*/ 1099709 h 3403632"/>
              <a:gd name="connsiteX2328" fmla="*/ 2879818 w 3905665"/>
              <a:gd name="connsiteY2328" fmla="*/ 1083666 h 3403632"/>
              <a:gd name="connsiteX2329" fmla="*/ 2895862 w 3905665"/>
              <a:gd name="connsiteY2329" fmla="*/ 1067373 h 3403632"/>
              <a:gd name="connsiteX2330" fmla="*/ 1691576 w 3905665"/>
              <a:gd name="connsiteY2330" fmla="*/ 1067355 h 3403632"/>
              <a:gd name="connsiteX2331" fmla="*/ 1700955 w 3905665"/>
              <a:gd name="connsiteY2331" fmla="*/ 1076736 h 3403632"/>
              <a:gd name="connsiteX2332" fmla="*/ 1691576 w 3905665"/>
              <a:gd name="connsiteY2332" fmla="*/ 1086115 h 3403632"/>
              <a:gd name="connsiteX2333" fmla="*/ 1682195 w 3905665"/>
              <a:gd name="connsiteY2333" fmla="*/ 1076736 h 3403632"/>
              <a:gd name="connsiteX2334" fmla="*/ 1691576 w 3905665"/>
              <a:gd name="connsiteY2334" fmla="*/ 1067355 h 3403632"/>
              <a:gd name="connsiteX2335" fmla="*/ 3140721 w 3905665"/>
              <a:gd name="connsiteY2335" fmla="*/ 1066883 h 3403632"/>
              <a:gd name="connsiteX2336" fmla="*/ 3163676 w 3905665"/>
              <a:gd name="connsiteY2336" fmla="*/ 1089838 h 3403632"/>
              <a:gd name="connsiteX2337" fmla="*/ 3140721 w 3905665"/>
              <a:gd name="connsiteY2337" fmla="*/ 1112796 h 3403632"/>
              <a:gd name="connsiteX2338" fmla="*/ 3117766 w 3905665"/>
              <a:gd name="connsiteY2338" fmla="*/ 1089838 h 3403632"/>
              <a:gd name="connsiteX2339" fmla="*/ 3140721 w 3905665"/>
              <a:gd name="connsiteY2339" fmla="*/ 1066883 h 3403632"/>
              <a:gd name="connsiteX2340" fmla="*/ 283127 w 3905665"/>
              <a:gd name="connsiteY2340" fmla="*/ 1064876 h 3403632"/>
              <a:gd name="connsiteX2341" fmla="*/ 285350 w 3905665"/>
              <a:gd name="connsiteY2341" fmla="*/ 1067097 h 3403632"/>
              <a:gd name="connsiteX2342" fmla="*/ 283127 w 3905665"/>
              <a:gd name="connsiteY2342" fmla="*/ 1069321 h 3403632"/>
              <a:gd name="connsiteX2343" fmla="*/ 280906 w 3905665"/>
              <a:gd name="connsiteY2343" fmla="*/ 1067097 h 3403632"/>
              <a:gd name="connsiteX2344" fmla="*/ 283127 w 3905665"/>
              <a:gd name="connsiteY2344" fmla="*/ 1064876 h 3403632"/>
              <a:gd name="connsiteX2345" fmla="*/ 2395781 w 3905665"/>
              <a:gd name="connsiteY2345" fmla="*/ 1063662 h 3403632"/>
              <a:gd name="connsiteX2346" fmla="*/ 2396027 w 3905665"/>
              <a:gd name="connsiteY2346" fmla="*/ 1063908 h 3403632"/>
              <a:gd name="connsiteX2347" fmla="*/ 2395781 w 3905665"/>
              <a:gd name="connsiteY2347" fmla="*/ 1064154 h 3403632"/>
              <a:gd name="connsiteX2348" fmla="*/ 2395781 w 3905665"/>
              <a:gd name="connsiteY2348" fmla="*/ 1063662 h 3403632"/>
              <a:gd name="connsiteX2349" fmla="*/ 2127963 w 3905665"/>
              <a:gd name="connsiteY2349" fmla="*/ 1059215 h 3403632"/>
              <a:gd name="connsiteX2350" fmla="*/ 2133146 w 3905665"/>
              <a:gd name="connsiteY2350" fmla="*/ 1064399 h 3403632"/>
              <a:gd name="connsiteX2351" fmla="*/ 2127963 w 3905665"/>
              <a:gd name="connsiteY2351" fmla="*/ 1069830 h 3403632"/>
              <a:gd name="connsiteX2352" fmla="*/ 2122780 w 3905665"/>
              <a:gd name="connsiteY2352" fmla="*/ 1064399 h 3403632"/>
              <a:gd name="connsiteX2353" fmla="*/ 2127963 w 3905665"/>
              <a:gd name="connsiteY2353" fmla="*/ 1059215 h 3403632"/>
              <a:gd name="connsiteX2354" fmla="*/ 1227273 w 3905665"/>
              <a:gd name="connsiteY2354" fmla="*/ 1056244 h 3403632"/>
              <a:gd name="connsiteX2355" fmla="*/ 1234925 w 3905665"/>
              <a:gd name="connsiteY2355" fmla="*/ 1063896 h 3403632"/>
              <a:gd name="connsiteX2356" fmla="*/ 1227273 w 3905665"/>
              <a:gd name="connsiteY2356" fmla="*/ 1071546 h 3403632"/>
              <a:gd name="connsiteX2357" fmla="*/ 1219620 w 3905665"/>
              <a:gd name="connsiteY2357" fmla="*/ 1063896 h 3403632"/>
              <a:gd name="connsiteX2358" fmla="*/ 1227273 w 3905665"/>
              <a:gd name="connsiteY2358" fmla="*/ 1056244 h 3403632"/>
              <a:gd name="connsiteX2359" fmla="*/ 3391507 w 3905665"/>
              <a:gd name="connsiteY2359" fmla="*/ 1053065 h 3403632"/>
              <a:gd name="connsiteX2360" fmla="*/ 3415696 w 3905665"/>
              <a:gd name="connsiteY2360" fmla="*/ 1077254 h 3403632"/>
              <a:gd name="connsiteX2361" fmla="*/ 3391507 w 3905665"/>
              <a:gd name="connsiteY2361" fmla="*/ 1101446 h 3403632"/>
              <a:gd name="connsiteX2362" fmla="*/ 3367316 w 3905665"/>
              <a:gd name="connsiteY2362" fmla="*/ 1077254 h 3403632"/>
              <a:gd name="connsiteX2363" fmla="*/ 3391507 w 3905665"/>
              <a:gd name="connsiteY2363" fmla="*/ 1053065 h 3403632"/>
              <a:gd name="connsiteX2364" fmla="*/ 612653 w 3905665"/>
              <a:gd name="connsiteY2364" fmla="*/ 1049080 h 3403632"/>
              <a:gd name="connsiteX2365" fmla="*/ 627712 w 3905665"/>
              <a:gd name="connsiteY2365" fmla="*/ 1064137 h 3403632"/>
              <a:gd name="connsiteX2366" fmla="*/ 612653 w 3905665"/>
              <a:gd name="connsiteY2366" fmla="*/ 1079195 h 3403632"/>
              <a:gd name="connsiteX2367" fmla="*/ 597596 w 3905665"/>
              <a:gd name="connsiteY2367" fmla="*/ 1064137 h 3403632"/>
              <a:gd name="connsiteX2368" fmla="*/ 612653 w 3905665"/>
              <a:gd name="connsiteY2368" fmla="*/ 1049080 h 3403632"/>
              <a:gd name="connsiteX2369" fmla="*/ 1414870 w 3905665"/>
              <a:gd name="connsiteY2369" fmla="*/ 1044643 h 3403632"/>
              <a:gd name="connsiteX2370" fmla="*/ 1415609 w 3905665"/>
              <a:gd name="connsiteY2370" fmla="*/ 1045384 h 3403632"/>
              <a:gd name="connsiteX2371" fmla="*/ 1414870 w 3905665"/>
              <a:gd name="connsiteY2371" fmla="*/ 1046123 h 3403632"/>
              <a:gd name="connsiteX2372" fmla="*/ 1414129 w 3905665"/>
              <a:gd name="connsiteY2372" fmla="*/ 1045384 h 3403632"/>
              <a:gd name="connsiteX2373" fmla="*/ 1414870 w 3905665"/>
              <a:gd name="connsiteY2373" fmla="*/ 1044643 h 3403632"/>
              <a:gd name="connsiteX2374" fmla="*/ 1864608 w 3905665"/>
              <a:gd name="connsiteY2374" fmla="*/ 1041194 h 3403632"/>
              <a:gd name="connsiteX2375" fmla="*/ 1869541 w 3905665"/>
              <a:gd name="connsiteY2375" fmla="*/ 1046131 h 3403632"/>
              <a:gd name="connsiteX2376" fmla="*/ 1864608 w 3905665"/>
              <a:gd name="connsiteY2376" fmla="*/ 1051068 h 3403632"/>
              <a:gd name="connsiteX2377" fmla="*/ 1859671 w 3905665"/>
              <a:gd name="connsiteY2377" fmla="*/ 1046131 h 3403632"/>
              <a:gd name="connsiteX2378" fmla="*/ 1864608 w 3905665"/>
              <a:gd name="connsiteY2378" fmla="*/ 1041194 h 3403632"/>
              <a:gd name="connsiteX2379" fmla="*/ 394448 w 3905665"/>
              <a:gd name="connsiteY2379" fmla="*/ 1030319 h 3403632"/>
              <a:gd name="connsiteX2380" fmla="*/ 397656 w 3905665"/>
              <a:gd name="connsiteY2380" fmla="*/ 1033527 h 3403632"/>
              <a:gd name="connsiteX2381" fmla="*/ 394448 w 3905665"/>
              <a:gd name="connsiteY2381" fmla="*/ 1036735 h 3403632"/>
              <a:gd name="connsiteX2382" fmla="*/ 391240 w 3905665"/>
              <a:gd name="connsiteY2382" fmla="*/ 1033527 h 3403632"/>
              <a:gd name="connsiteX2383" fmla="*/ 394448 w 3905665"/>
              <a:gd name="connsiteY2383" fmla="*/ 1030319 h 3403632"/>
              <a:gd name="connsiteX2384" fmla="*/ 2290874 w 3905665"/>
              <a:gd name="connsiteY2384" fmla="*/ 1019725 h 3403632"/>
              <a:gd name="connsiteX2385" fmla="*/ 2296057 w 3905665"/>
              <a:gd name="connsiteY2385" fmla="*/ 1024907 h 3403632"/>
              <a:gd name="connsiteX2386" fmla="*/ 2290874 w 3905665"/>
              <a:gd name="connsiteY2386" fmla="*/ 1030090 h 3403632"/>
              <a:gd name="connsiteX2387" fmla="*/ 2285691 w 3905665"/>
              <a:gd name="connsiteY2387" fmla="*/ 1024907 h 3403632"/>
              <a:gd name="connsiteX2388" fmla="*/ 2290874 w 3905665"/>
              <a:gd name="connsiteY2388" fmla="*/ 1019725 h 3403632"/>
              <a:gd name="connsiteX2389" fmla="*/ 2553750 w 3905665"/>
              <a:gd name="connsiteY2389" fmla="*/ 1018246 h 3403632"/>
              <a:gd name="connsiteX2390" fmla="*/ 2556217 w 3905665"/>
              <a:gd name="connsiteY2390" fmla="*/ 1020962 h 3403632"/>
              <a:gd name="connsiteX2391" fmla="*/ 2553750 w 3905665"/>
              <a:gd name="connsiteY2391" fmla="*/ 1023429 h 3403632"/>
              <a:gd name="connsiteX2392" fmla="*/ 2551280 w 3905665"/>
              <a:gd name="connsiteY2392" fmla="*/ 1020962 h 3403632"/>
              <a:gd name="connsiteX2393" fmla="*/ 2553750 w 3905665"/>
              <a:gd name="connsiteY2393" fmla="*/ 1018246 h 3403632"/>
              <a:gd name="connsiteX2394" fmla="*/ 2801818 w 3905665"/>
              <a:gd name="connsiteY2394" fmla="*/ 1018004 h 3403632"/>
              <a:gd name="connsiteX2395" fmla="*/ 2813420 w 3905665"/>
              <a:gd name="connsiteY2395" fmla="*/ 1029360 h 3403632"/>
              <a:gd name="connsiteX2396" fmla="*/ 2801818 w 3905665"/>
              <a:gd name="connsiteY2396" fmla="*/ 1040713 h 3403632"/>
              <a:gd name="connsiteX2397" fmla="*/ 2790465 w 3905665"/>
              <a:gd name="connsiteY2397" fmla="*/ 1029360 h 3403632"/>
              <a:gd name="connsiteX2398" fmla="*/ 2801818 w 3905665"/>
              <a:gd name="connsiteY2398" fmla="*/ 1018004 h 3403632"/>
              <a:gd name="connsiteX2399" fmla="*/ 3046432 w 3905665"/>
              <a:gd name="connsiteY2399" fmla="*/ 1017269 h 3403632"/>
              <a:gd name="connsiteX2400" fmla="*/ 3064945 w 3905665"/>
              <a:gd name="connsiteY2400" fmla="*/ 1035781 h 3403632"/>
              <a:gd name="connsiteX2401" fmla="*/ 3046432 w 3905665"/>
              <a:gd name="connsiteY2401" fmla="*/ 1054295 h 3403632"/>
              <a:gd name="connsiteX2402" fmla="*/ 3028167 w 3905665"/>
              <a:gd name="connsiteY2402" fmla="*/ 1035781 h 3403632"/>
              <a:gd name="connsiteX2403" fmla="*/ 3046432 w 3905665"/>
              <a:gd name="connsiteY2403" fmla="*/ 1017269 h 3403632"/>
              <a:gd name="connsiteX2404" fmla="*/ 1117677 w 3905665"/>
              <a:gd name="connsiteY2404" fmla="*/ 1008601 h 3403632"/>
              <a:gd name="connsiteX2405" fmla="*/ 1121381 w 3905665"/>
              <a:gd name="connsiteY2405" fmla="*/ 1012305 h 3403632"/>
              <a:gd name="connsiteX2406" fmla="*/ 1117677 w 3905665"/>
              <a:gd name="connsiteY2406" fmla="*/ 1016008 h 3403632"/>
              <a:gd name="connsiteX2407" fmla="*/ 1113974 w 3905665"/>
              <a:gd name="connsiteY2407" fmla="*/ 1012305 h 3403632"/>
              <a:gd name="connsiteX2408" fmla="*/ 1117677 w 3905665"/>
              <a:gd name="connsiteY2408" fmla="*/ 1008601 h 3403632"/>
              <a:gd name="connsiteX2409" fmla="*/ 920704 w 3905665"/>
              <a:gd name="connsiteY2409" fmla="*/ 1006874 h 3403632"/>
              <a:gd name="connsiteX2410" fmla="*/ 932305 w 3905665"/>
              <a:gd name="connsiteY2410" fmla="*/ 1018476 h 3403632"/>
              <a:gd name="connsiteX2411" fmla="*/ 920704 w 3905665"/>
              <a:gd name="connsiteY2411" fmla="*/ 1030078 h 3403632"/>
              <a:gd name="connsiteX2412" fmla="*/ 909102 w 3905665"/>
              <a:gd name="connsiteY2412" fmla="*/ 1018476 h 3403632"/>
              <a:gd name="connsiteX2413" fmla="*/ 920704 w 3905665"/>
              <a:gd name="connsiteY2413" fmla="*/ 1006874 h 3403632"/>
              <a:gd name="connsiteX2414" fmla="*/ 1595061 w 3905665"/>
              <a:gd name="connsiteY2414" fmla="*/ 1005397 h 3403632"/>
              <a:gd name="connsiteX2415" fmla="*/ 1610610 w 3905665"/>
              <a:gd name="connsiteY2415" fmla="*/ 1020949 h 3403632"/>
              <a:gd name="connsiteX2416" fmla="*/ 1595061 w 3905665"/>
              <a:gd name="connsiteY2416" fmla="*/ 1036498 h 3403632"/>
              <a:gd name="connsiteX2417" fmla="*/ 1579510 w 3905665"/>
              <a:gd name="connsiteY2417" fmla="*/ 1020949 h 3403632"/>
              <a:gd name="connsiteX2418" fmla="*/ 1595061 w 3905665"/>
              <a:gd name="connsiteY2418" fmla="*/ 1005397 h 3403632"/>
              <a:gd name="connsiteX2419" fmla="*/ 2032931 w 3905665"/>
              <a:gd name="connsiteY2419" fmla="*/ 1003922 h 3403632"/>
              <a:gd name="connsiteX2420" fmla="*/ 2039350 w 3905665"/>
              <a:gd name="connsiteY2420" fmla="*/ 1010339 h 3403632"/>
              <a:gd name="connsiteX2421" fmla="*/ 2032931 w 3905665"/>
              <a:gd name="connsiteY2421" fmla="*/ 1016758 h 3403632"/>
              <a:gd name="connsiteX2422" fmla="*/ 2026514 w 3905665"/>
              <a:gd name="connsiteY2422" fmla="*/ 1010339 h 3403632"/>
              <a:gd name="connsiteX2423" fmla="*/ 2032931 w 3905665"/>
              <a:gd name="connsiteY2423" fmla="*/ 1003922 h 3403632"/>
              <a:gd name="connsiteX2424" fmla="*/ 3536149 w 3905665"/>
              <a:gd name="connsiteY2424" fmla="*/ 997532 h 3403632"/>
              <a:gd name="connsiteX2425" fmla="*/ 3565277 w 3905665"/>
              <a:gd name="connsiteY2425" fmla="*/ 1026659 h 3403632"/>
              <a:gd name="connsiteX2426" fmla="*/ 3536149 w 3905665"/>
              <a:gd name="connsiteY2426" fmla="*/ 1055783 h 3403632"/>
              <a:gd name="connsiteX2427" fmla="*/ 3507024 w 3905665"/>
              <a:gd name="connsiteY2427" fmla="*/ 1026659 h 3403632"/>
              <a:gd name="connsiteX2428" fmla="*/ 3536149 w 3905665"/>
              <a:gd name="connsiteY2428" fmla="*/ 997532 h 3403632"/>
              <a:gd name="connsiteX2429" fmla="*/ 716816 w 3905665"/>
              <a:gd name="connsiteY2429" fmla="*/ 994779 h 3403632"/>
              <a:gd name="connsiteX2430" fmla="*/ 734834 w 3905665"/>
              <a:gd name="connsiteY2430" fmla="*/ 1012798 h 3403632"/>
              <a:gd name="connsiteX2431" fmla="*/ 716816 w 3905665"/>
              <a:gd name="connsiteY2431" fmla="*/ 1030816 h 3403632"/>
              <a:gd name="connsiteX2432" fmla="*/ 698798 w 3905665"/>
              <a:gd name="connsiteY2432" fmla="*/ 1012798 h 3403632"/>
              <a:gd name="connsiteX2433" fmla="*/ 716816 w 3905665"/>
              <a:gd name="connsiteY2433" fmla="*/ 994779 h 3403632"/>
              <a:gd name="connsiteX2434" fmla="*/ 3297216 w 3905665"/>
              <a:gd name="connsiteY2434" fmla="*/ 994565 h 3403632"/>
              <a:gd name="connsiteX2435" fmla="*/ 3325357 w 3905665"/>
              <a:gd name="connsiteY2435" fmla="*/ 1022704 h 3403632"/>
              <a:gd name="connsiteX2436" fmla="*/ 3297216 w 3905665"/>
              <a:gd name="connsiteY2436" fmla="*/ 1050842 h 3403632"/>
              <a:gd name="connsiteX2437" fmla="*/ 3269078 w 3905665"/>
              <a:gd name="connsiteY2437" fmla="*/ 1022704 h 3403632"/>
              <a:gd name="connsiteX2438" fmla="*/ 3297216 w 3905665"/>
              <a:gd name="connsiteY2438" fmla="*/ 994565 h 3403632"/>
              <a:gd name="connsiteX2439" fmla="*/ 503551 w 3905665"/>
              <a:gd name="connsiteY2439" fmla="*/ 986138 h 3403632"/>
              <a:gd name="connsiteX2440" fmla="*/ 510462 w 3905665"/>
              <a:gd name="connsiteY2440" fmla="*/ 993049 h 3403632"/>
              <a:gd name="connsiteX2441" fmla="*/ 503551 w 3905665"/>
              <a:gd name="connsiteY2441" fmla="*/ 999961 h 3403632"/>
              <a:gd name="connsiteX2442" fmla="*/ 496639 w 3905665"/>
              <a:gd name="connsiteY2442" fmla="*/ 993049 h 3403632"/>
              <a:gd name="connsiteX2443" fmla="*/ 503551 w 3905665"/>
              <a:gd name="connsiteY2443" fmla="*/ 986138 h 3403632"/>
              <a:gd name="connsiteX2444" fmla="*/ 54804 w 3905665"/>
              <a:gd name="connsiteY2444" fmla="*/ 984162 h 3403632"/>
              <a:gd name="connsiteX2445" fmla="*/ 73317 w 3905665"/>
              <a:gd name="connsiteY2445" fmla="*/ 1002675 h 3403632"/>
              <a:gd name="connsiteX2446" fmla="*/ 54804 w 3905665"/>
              <a:gd name="connsiteY2446" fmla="*/ 1021188 h 3403632"/>
              <a:gd name="connsiteX2447" fmla="*/ 36291 w 3905665"/>
              <a:gd name="connsiteY2447" fmla="*/ 1002675 h 3403632"/>
              <a:gd name="connsiteX2448" fmla="*/ 54804 w 3905665"/>
              <a:gd name="connsiteY2448" fmla="*/ 984162 h 3403632"/>
              <a:gd name="connsiteX2449" fmla="*/ 1316380 w 3905665"/>
              <a:gd name="connsiteY2449" fmla="*/ 979477 h 3403632"/>
              <a:gd name="connsiteX2450" fmla="*/ 1325266 w 3905665"/>
              <a:gd name="connsiteY2450" fmla="*/ 988364 h 3403632"/>
              <a:gd name="connsiteX2451" fmla="*/ 1316380 w 3905665"/>
              <a:gd name="connsiteY2451" fmla="*/ 997250 h 3403632"/>
              <a:gd name="connsiteX2452" fmla="*/ 1307494 w 3905665"/>
              <a:gd name="connsiteY2452" fmla="*/ 988364 h 3403632"/>
              <a:gd name="connsiteX2453" fmla="*/ 1316380 w 3905665"/>
              <a:gd name="connsiteY2453" fmla="*/ 979477 h 3403632"/>
              <a:gd name="connsiteX2454" fmla="*/ 1769573 w 3905665"/>
              <a:gd name="connsiteY2454" fmla="*/ 978741 h 3403632"/>
              <a:gd name="connsiteX2455" fmla="*/ 1781178 w 3905665"/>
              <a:gd name="connsiteY2455" fmla="*/ 990344 h 3403632"/>
              <a:gd name="connsiteX2456" fmla="*/ 1769573 w 3905665"/>
              <a:gd name="connsiteY2456" fmla="*/ 1001945 h 3403632"/>
              <a:gd name="connsiteX2457" fmla="*/ 1757974 w 3905665"/>
              <a:gd name="connsiteY2457" fmla="*/ 990344 h 3403632"/>
              <a:gd name="connsiteX2458" fmla="*/ 1769573 w 3905665"/>
              <a:gd name="connsiteY2458" fmla="*/ 978741 h 3403632"/>
              <a:gd name="connsiteX2459" fmla="*/ 2707529 w 3905665"/>
              <a:gd name="connsiteY2459" fmla="*/ 967894 h 3403632"/>
              <a:gd name="connsiteX2460" fmla="*/ 2715428 w 3905665"/>
              <a:gd name="connsiteY2460" fmla="*/ 975792 h 3403632"/>
              <a:gd name="connsiteX2461" fmla="*/ 2707529 w 3905665"/>
              <a:gd name="connsiteY2461" fmla="*/ 983692 h 3403632"/>
              <a:gd name="connsiteX2462" fmla="*/ 2699630 w 3905665"/>
              <a:gd name="connsiteY2462" fmla="*/ 975792 h 3403632"/>
              <a:gd name="connsiteX2463" fmla="*/ 2707529 w 3905665"/>
              <a:gd name="connsiteY2463" fmla="*/ 967894 h 3403632"/>
              <a:gd name="connsiteX2464" fmla="*/ 2459458 w 3905665"/>
              <a:gd name="connsiteY2464" fmla="*/ 966409 h 3403632"/>
              <a:gd name="connsiteX2465" fmla="*/ 2459704 w 3905665"/>
              <a:gd name="connsiteY2465" fmla="*/ 966409 h 3403632"/>
              <a:gd name="connsiteX2466" fmla="*/ 2459458 w 3905665"/>
              <a:gd name="connsiteY2466" fmla="*/ 966655 h 3403632"/>
              <a:gd name="connsiteX2467" fmla="*/ 1498548 w 3905665"/>
              <a:gd name="connsiteY2467" fmla="*/ 963927 h 3403632"/>
              <a:gd name="connsiteX2468" fmla="*/ 1499040 w 3905665"/>
              <a:gd name="connsiteY2468" fmla="*/ 964422 h 3403632"/>
              <a:gd name="connsiteX2469" fmla="*/ 1498548 w 3905665"/>
              <a:gd name="connsiteY2469" fmla="*/ 964915 h 3403632"/>
              <a:gd name="connsiteX2470" fmla="*/ 1498053 w 3905665"/>
              <a:gd name="connsiteY2470" fmla="*/ 964422 h 3403632"/>
              <a:gd name="connsiteX2471" fmla="*/ 1498548 w 3905665"/>
              <a:gd name="connsiteY2471" fmla="*/ 963927 h 3403632"/>
              <a:gd name="connsiteX2472" fmla="*/ 2952140 w 3905665"/>
              <a:gd name="connsiteY2472" fmla="*/ 962961 h 3403632"/>
              <a:gd name="connsiteX2473" fmla="*/ 2971148 w 3905665"/>
              <a:gd name="connsiteY2473" fmla="*/ 981967 h 3403632"/>
              <a:gd name="connsiteX2474" fmla="*/ 2952140 w 3905665"/>
              <a:gd name="connsiteY2474" fmla="*/ 1000973 h 3403632"/>
              <a:gd name="connsiteX2475" fmla="*/ 2933134 w 3905665"/>
              <a:gd name="connsiteY2475" fmla="*/ 981967 h 3403632"/>
              <a:gd name="connsiteX2476" fmla="*/ 2952140 w 3905665"/>
              <a:gd name="connsiteY2476" fmla="*/ 962961 h 3403632"/>
              <a:gd name="connsiteX2477" fmla="*/ 169335 w 3905665"/>
              <a:gd name="connsiteY2477" fmla="*/ 961700 h 3403632"/>
              <a:gd name="connsiteX2478" fmla="*/ 190316 w 3905665"/>
              <a:gd name="connsiteY2478" fmla="*/ 982680 h 3403632"/>
              <a:gd name="connsiteX2479" fmla="*/ 169335 w 3905665"/>
              <a:gd name="connsiteY2479" fmla="*/ 1003414 h 3403632"/>
              <a:gd name="connsiteX2480" fmla="*/ 148355 w 3905665"/>
              <a:gd name="connsiteY2480" fmla="*/ 982680 h 3403632"/>
              <a:gd name="connsiteX2481" fmla="*/ 169335 w 3905665"/>
              <a:gd name="connsiteY2481" fmla="*/ 961700 h 3403632"/>
              <a:gd name="connsiteX2482" fmla="*/ 2196336 w 3905665"/>
              <a:gd name="connsiteY2482" fmla="*/ 961469 h 3403632"/>
              <a:gd name="connsiteX2483" fmla="*/ 2205717 w 3905665"/>
              <a:gd name="connsiteY2483" fmla="*/ 970848 h 3403632"/>
              <a:gd name="connsiteX2484" fmla="*/ 2196336 w 3905665"/>
              <a:gd name="connsiteY2484" fmla="*/ 980229 h 3403632"/>
              <a:gd name="connsiteX2485" fmla="*/ 2186957 w 3905665"/>
              <a:gd name="connsiteY2485" fmla="*/ 970848 h 3403632"/>
              <a:gd name="connsiteX2486" fmla="*/ 2196336 w 3905665"/>
              <a:gd name="connsiteY2486" fmla="*/ 961469 h 3403632"/>
              <a:gd name="connsiteX2487" fmla="*/ 3194037 w 3905665"/>
              <a:gd name="connsiteY2487" fmla="*/ 960747 h 3403632"/>
              <a:gd name="connsiteX2488" fmla="*/ 3219954 w 3905665"/>
              <a:gd name="connsiteY2488" fmla="*/ 986664 h 3403632"/>
              <a:gd name="connsiteX2489" fmla="*/ 3194037 w 3905665"/>
              <a:gd name="connsiteY2489" fmla="*/ 1012828 h 3403632"/>
              <a:gd name="connsiteX2490" fmla="*/ 3168120 w 3905665"/>
              <a:gd name="connsiteY2490" fmla="*/ 986664 h 3403632"/>
              <a:gd name="connsiteX2491" fmla="*/ 3194037 w 3905665"/>
              <a:gd name="connsiteY2491" fmla="*/ 960747 h 3403632"/>
              <a:gd name="connsiteX2492" fmla="*/ 1937665 w 3905665"/>
              <a:gd name="connsiteY2492" fmla="*/ 948630 h 3403632"/>
              <a:gd name="connsiteX2493" fmla="*/ 1945070 w 3905665"/>
              <a:gd name="connsiteY2493" fmla="*/ 956036 h 3403632"/>
              <a:gd name="connsiteX2494" fmla="*/ 1937665 w 3905665"/>
              <a:gd name="connsiteY2494" fmla="*/ 963439 h 3403632"/>
              <a:gd name="connsiteX2495" fmla="*/ 1930263 w 3905665"/>
              <a:gd name="connsiteY2495" fmla="*/ 956036 h 3403632"/>
              <a:gd name="connsiteX2496" fmla="*/ 1937665 w 3905665"/>
              <a:gd name="connsiteY2496" fmla="*/ 948630 h 3403632"/>
              <a:gd name="connsiteX2497" fmla="*/ 3441615 w 3905665"/>
              <a:gd name="connsiteY2497" fmla="*/ 941005 h 3403632"/>
              <a:gd name="connsiteX2498" fmla="*/ 3472715 w 3905665"/>
              <a:gd name="connsiteY2498" fmla="*/ 972105 h 3403632"/>
              <a:gd name="connsiteX2499" fmla="*/ 3441615 w 3905665"/>
              <a:gd name="connsiteY2499" fmla="*/ 1003207 h 3403632"/>
              <a:gd name="connsiteX2500" fmla="*/ 3410513 w 3905665"/>
              <a:gd name="connsiteY2500" fmla="*/ 972105 h 3403632"/>
              <a:gd name="connsiteX2501" fmla="*/ 3441615 w 3905665"/>
              <a:gd name="connsiteY2501" fmla="*/ 941005 h 3403632"/>
              <a:gd name="connsiteX2502" fmla="*/ 817527 w 3905665"/>
              <a:gd name="connsiteY2502" fmla="*/ 934797 h 3403632"/>
              <a:gd name="connsiteX2503" fmla="*/ 838261 w 3905665"/>
              <a:gd name="connsiteY2503" fmla="*/ 955532 h 3403632"/>
              <a:gd name="connsiteX2504" fmla="*/ 817527 w 3905665"/>
              <a:gd name="connsiteY2504" fmla="*/ 976266 h 3403632"/>
              <a:gd name="connsiteX2505" fmla="*/ 796792 w 3905665"/>
              <a:gd name="connsiteY2505" fmla="*/ 955532 h 3403632"/>
              <a:gd name="connsiteX2506" fmla="*/ 817527 w 3905665"/>
              <a:gd name="connsiteY2506" fmla="*/ 934797 h 3403632"/>
              <a:gd name="connsiteX2507" fmla="*/ 1016229 w 3905665"/>
              <a:gd name="connsiteY2507" fmla="*/ 933811 h 3403632"/>
              <a:gd name="connsiteX2508" fmla="*/ 1035235 w 3905665"/>
              <a:gd name="connsiteY2508" fmla="*/ 952817 h 3403632"/>
              <a:gd name="connsiteX2509" fmla="*/ 1016229 w 3905665"/>
              <a:gd name="connsiteY2509" fmla="*/ 971825 h 3403632"/>
              <a:gd name="connsiteX2510" fmla="*/ 997224 w 3905665"/>
              <a:gd name="connsiteY2510" fmla="*/ 952817 h 3403632"/>
              <a:gd name="connsiteX2511" fmla="*/ 1016229 w 3905665"/>
              <a:gd name="connsiteY2511" fmla="*/ 933811 h 3403632"/>
              <a:gd name="connsiteX2512" fmla="*/ 609689 w 3905665"/>
              <a:gd name="connsiteY2512" fmla="*/ 933809 h 3403632"/>
              <a:gd name="connsiteX2513" fmla="*/ 621537 w 3905665"/>
              <a:gd name="connsiteY2513" fmla="*/ 945411 h 3403632"/>
              <a:gd name="connsiteX2514" fmla="*/ 609689 w 3905665"/>
              <a:gd name="connsiteY2514" fmla="*/ 957258 h 3403632"/>
              <a:gd name="connsiteX2515" fmla="*/ 598087 w 3905665"/>
              <a:gd name="connsiteY2515" fmla="*/ 945411 h 3403632"/>
              <a:gd name="connsiteX2516" fmla="*/ 609689 w 3905665"/>
              <a:gd name="connsiteY2516" fmla="*/ 933809 h 3403632"/>
              <a:gd name="connsiteX2517" fmla="*/ 1207525 w 3905665"/>
              <a:gd name="connsiteY2517" fmla="*/ 932825 h 3403632"/>
              <a:gd name="connsiteX2518" fmla="*/ 1213941 w 3905665"/>
              <a:gd name="connsiteY2518" fmla="*/ 939241 h 3403632"/>
              <a:gd name="connsiteX2519" fmla="*/ 1207525 w 3905665"/>
              <a:gd name="connsiteY2519" fmla="*/ 945660 h 3403632"/>
              <a:gd name="connsiteX2520" fmla="*/ 1201106 w 3905665"/>
              <a:gd name="connsiteY2520" fmla="*/ 939241 h 3403632"/>
              <a:gd name="connsiteX2521" fmla="*/ 1207525 w 3905665"/>
              <a:gd name="connsiteY2521" fmla="*/ 932825 h 3403632"/>
              <a:gd name="connsiteX2522" fmla="*/ 282384 w 3905665"/>
              <a:gd name="connsiteY2522" fmla="*/ 930351 h 3403632"/>
              <a:gd name="connsiteX2523" fmla="*/ 306576 w 3905665"/>
              <a:gd name="connsiteY2523" fmla="*/ 954542 h 3403632"/>
              <a:gd name="connsiteX2524" fmla="*/ 282384 w 3905665"/>
              <a:gd name="connsiteY2524" fmla="*/ 978731 h 3403632"/>
              <a:gd name="connsiteX2525" fmla="*/ 258196 w 3905665"/>
              <a:gd name="connsiteY2525" fmla="*/ 954542 h 3403632"/>
              <a:gd name="connsiteX2526" fmla="*/ 282384 w 3905665"/>
              <a:gd name="connsiteY2526" fmla="*/ 930351 h 3403632"/>
              <a:gd name="connsiteX2527" fmla="*/ 2355051 w 3905665"/>
              <a:gd name="connsiteY2527" fmla="*/ 919756 h 3403632"/>
              <a:gd name="connsiteX2528" fmla="*/ 2363937 w 3905665"/>
              <a:gd name="connsiteY2528" fmla="*/ 928642 h 3403632"/>
              <a:gd name="connsiteX2529" fmla="*/ 2355051 w 3905665"/>
              <a:gd name="connsiteY2529" fmla="*/ 937530 h 3403632"/>
              <a:gd name="connsiteX2530" fmla="*/ 2346165 w 3905665"/>
              <a:gd name="connsiteY2530" fmla="*/ 928642 h 3403632"/>
              <a:gd name="connsiteX2531" fmla="*/ 2355051 w 3905665"/>
              <a:gd name="connsiteY2531" fmla="*/ 919756 h 3403632"/>
              <a:gd name="connsiteX2532" fmla="*/ 1673803 w 3905665"/>
              <a:gd name="connsiteY2532" fmla="*/ 918757 h 3403632"/>
              <a:gd name="connsiteX2533" fmla="*/ 1690092 w 3905665"/>
              <a:gd name="connsiteY2533" fmla="*/ 935049 h 3403632"/>
              <a:gd name="connsiteX2534" fmla="*/ 1673803 w 3905665"/>
              <a:gd name="connsiteY2534" fmla="*/ 951340 h 3403632"/>
              <a:gd name="connsiteX2535" fmla="*/ 1657510 w 3905665"/>
              <a:gd name="connsiteY2535" fmla="*/ 935049 h 3403632"/>
              <a:gd name="connsiteX2536" fmla="*/ 1673803 w 3905665"/>
              <a:gd name="connsiteY2536" fmla="*/ 918757 h 3403632"/>
              <a:gd name="connsiteX2537" fmla="*/ 2613731 w 3905665"/>
              <a:gd name="connsiteY2537" fmla="*/ 915069 h 3403632"/>
              <a:gd name="connsiteX2538" fmla="*/ 2619655 w 3905665"/>
              <a:gd name="connsiteY2538" fmla="*/ 920994 h 3403632"/>
              <a:gd name="connsiteX2539" fmla="*/ 2613731 w 3905665"/>
              <a:gd name="connsiteY2539" fmla="*/ 926918 h 3403632"/>
              <a:gd name="connsiteX2540" fmla="*/ 2607807 w 3905665"/>
              <a:gd name="connsiteY2540" fmla="*/ 920994 h 3403632"/>
              <a:gd name="connsiteX2541" fmla="*/ 2613731 w 3905665"/>
              <a:gd name="connsiteY2541" fmla="*/ 915069 h 3403632"/>
              <a:gd name="connsiteX2542" fmla="*/ 3099748 w 3905665"/>
              <a:gd name="connsiteY2542" fmla="*/ 913102 h 3403632"/>
              <a:gd name="connsiteX2543" fmla="*/ 3119495 w 3905665"/>
              <a:gd name="connsiteY2543" fmla="*/ 932851 h 3403632"/>
              <a:gd name="connsiteX2544" fmla="*/ 3099748 w 3905665"/>
              <a:gd name="connsiteY2544" fmla="*/ 952599 h 3403632"/>
              <a:gd name="connsiteX2545" fmla="*/ 3080001 w 3905665"/>
              <a:gd name="connsiteY2545" fmla="*/ 932851 h 3403632"/>
              <a:gd name="connsiteX2546" fmla="*/ 3099748 w 3905665"/>
              <a:gd name="connsiteY2546" fmla="*/ 913102 h 3403632"/>
              <a:gd name="connsiteX2547" fmla="*/ 2858096 w 3905665"/>
              <a:gd name="connsiteY2547" fmla="*/ 910382 h 3403632"/>
              <a:gd name="connsiteX2548" fmla="*/ 2875376 w 3905665"/>
              <a:gd name="connsiteY2548" fmla="*/ 927660 h 3403632"/>
              <a:gd name="connsiteX2549" fmla="*/ 2858096 w 3905665"/>
              <a:gd name="connsiteY2549" fmla="*/ 944940 h 3403632"/>
              <a:gd name="connsiteX2550" fmla="*/ 2840819 w 3905665"/>
              <a:gd name="connsiteY2550" fmla="*/ 927660 h 3403632"/>
              <a:gd name="connsiteX2551" fmla="*/ 2858096 w 3905665"/>
              <a:gd name="connsiteY2551" fmla="*/ 910382 h 3403632"/>
              <a:gd name="connsiteX2552" fmla="*/ 2101551 w 3905665"/>
              <a:gd name="connsiteY2552" fmla="*/ 907164 h 3403632"/>
              <a:gd name="connsiteX2553" fmla="*/ 2111425 w 3905665"/>
              <a:gd name="connsiteY2553" fmla="*/ 916790 h 3403632"/>
              <a:gd name="connsiteX2554" fmla="*/ 2101551 w 3905665"/>
              <a:gd name="connsiteY2554" fmla="*/ 926664 h 3403632"/>
              <a:gd name="connsiteX2555" fmla="*/ 2091678 w 3905665"/>
              <a:gd name="connsiteY2555" fmla="*/ 916790 h 3403632"/>
              <a:gd name="connsiteX2556" fmla="*/ 2101551 w 3905665"/>
              <a:gd name="connsiteY2556" fmla="*/ 907164 h 3403632"/>
              <a:gd name="connsiteX2557" fmla="*/ 1401289 w 3905665"/>
              <a:gd name="connsiteY2557" fmla="*/ 898270 h 3403632"/>
              <a:gd name="connsiteX2558" fmla="*/ 1411411 w 3905665"/>
              <a:gd name="connsiteY2558" fmla="*/ 908389 h 3403632"/>
              <a:gd name="connsiteX2559" fmla="*/ 1401289 w 3905665"/>
              <a:gd name="connsiteY2559" fmla="*/ 918511 h 3403632"/>
              <a:gd name="connsiteX2560" fmla="*/ 1391170 w 3905665"/>
              <a:gd name="connsiteY2560" fmla="*/ 908389 h 3403632"/>
              <a:gd name="connsiteX2561" fmla="*/ 1401289 w 3905665"/>
              <a:gd name="connsiteY2561" fmla="*/ 898270 h 3403632"/>
              <a:gd name="connsiteX2562" fmla="*/ 393460 w 3905665"/>
              <a:gd name="connsiteY2562" fmla="*/ 891353 h 3403632"/>
              <a:gd name="connsiteX2563" fmla="*/ 421352 w 3905665"/>
              <a:gd name="connsiteY2563" fmla="*/ 919244 h 3403632"/>
              <a:gd name="connsiteX2564" fmla="*/ 393460 w 3905665"/>
              <a:gd name="connsiteY2564" fmla="*/ 947138 h 3403632"/>
              <a:gd name="connsiteX2565" fmla="*/ 365569 w 3905665"/>
              <a:gd name="connsiteY2565" fmla="*/ 919244 h 3403632"/>
              <a:gd name="connsiteX2566" fmla="*/ 393460 w 3905665"/>
              <a:gd name="connsiteY2566" fmla="*/ 891353 h 3403632"/>
              <a:gd name="connsiteX2567" fmla="*/ 54064 w 3905665"/>
              <a:gd name="connsiteY2567" fmla="*/ 887402 h 3403632"/>
              <a:gd name="connsiteX2568" fmla="*/ 59493 w 3905665"/>
              <a:gd name="connsiteY2568" fmla="*/ 893080 h 3403632"/>
              <a:gd name="connsiteX2569" fmla="*/ 54064 w 3905665"/>
              <a:gd name="connsiteY2569" fmla="*/ 898509 h 3403632"/>
              <a:gd name="connsiteX2570" fmla="*/ 48633 w 3905665"/>
              <a:gd name="connsiteY2570" fmla="*/ 893080 h 3403632"/>
              <a:gd name="connsiteX2571" fmla="*/ 54064 w 3905665"/>
              <a:gd name="connsiteY2571" fmla="*/ 887402 h 3403632"/>
              <a:gd name="connsiteX2572" fmla="*/ 3347324 w 3905665"/>
              <a:gd name="connsiteY2572" fmla="*/ 885957 h 3403632"/>
              <a:gd name="connsiteX2573" fmla="*/ 3378673 w 3905665"/>
              <a:gd name="connsiteY2573" fmla="*/ 917551 h 3403632"/>
              <a:gd name="connsiteX2574" fmla="*/ 3347324 w 3905665"/>
              <a:gd name="connsiteY2574" fmla="*/ 949147 h 3403632"/>
              <a:gd name="connsiteX2575" fmla="*/ 3315729 w 3905665"/>
              <a:gd name="connsiteY2575" fmla="*/ 917551 h 3403632"/>
              <a:gd name="connsiteX2576" fmla="*/ 3347324 w 3905665"/>
              <a:gd name="connsiteY2576" fmla="*/ 885957 h 3403632"/>
              <a:gd name="connsiteX2577" fmla="*/ 1843380 w 3905665"/>
              <a:gd name="connsiteY2577" fmla="*/ 885685 h 3403632"/>
              <a:gd name="connsiteX2578" fmla="*/ 1857941 w 3905665"/>
              <a:gd name="connsiteY2578" fmla="*/ 900249 h 3403632"/>
              <a:gd name="connsiteX2579" fmla="*/ 1843380 w 3905665"/>
              <a:gd name="connsiteY2579" fmla="*/ 914811 h 3403632"/>
              <a:gd name="connsiteX2580" fmla="*/ 1828815 w 3905665"/>
              <a:gd name="connsiteY2580" fmla="*/ 900249 h 3403632"/>
              <a:gd name="connsiteX2581" fmla="*/ 1843380 w 3905665"/>
              <a:gd name="connsiteY2581" fmla="*/ 885685 h 3403632"/>
              <a:gd name="connsiteX2582" fmla="*/ 3583544 w 3905665"/>
              <a:gd name="connsiteY2582" fmla="*/ 883987 h 3403632"/>
              <a:gd name="connsiteX2583" fmla="*/ 3619583 w 3905665"/>
              <a:gd name="connsiteY2583" fmla="*/ 920022 h 3403632"/>
              <a:gd name="connsiteX2584" fmla="*/ 3583544 w 3905665"/>
              <a:gd name="connsiteY2584" fmla="*/ 956063 h 3403632"/>
              <a:gd name="connsiteX2585" fmla="*/ 3547507 w 3905665"/>
              <a:gd name="connsiteY2585" fmla="*/ 920022 h 3403632"/>
              <a:gd name="connsiteX2586" fmla="*/ 3583544 w 3905665"/>
              <a:gd name="connsiteY2586" fmla="*/ 883987 h 3403632"/>
              <a:gd name="connsiteX2587" fmla="*/ 1578029 w 3905665"/>
              <a:gd name="connsiteY2587" fmla="*/ 879265 h 3403632"/>
              <a:gd name="connsiteX2588" fmla="*/ 1578275 w 3905665"/>
              <a:gd name="connsiteY2588" fmla="*/ 879265 h 3403632"/>
              <a:gd name="connsiteX2589" fmla="*/ 1578523 w 3905665"/>
              <a:gd name="connsiteY2589" fmla="*/ 879265 h 3403632"/>
              <a:gd name="connsiteX2590" fmla="*/ 1578275 w 3905665"/>
              <a:gd name="connsiteY2590" fmla="*/ 879511 h 3403632"/>
              <a:gd name="connsiteX2591" fmla="*/ 712373 w 3905665"/>
              <a:gd name="connsiteY2591" fmla="*/ 874815 h 3403632"/>
              <a:gd name="connsiteX2592" fmla="*/ 728912 w 3905665"/>
              <a:gd name="connsiteY2592" fmla="*/ 891354 h 3403632"/>
              <a:gd name="connsiteX2593" fmla="*/ 712373 w 3905665"/>
              <a:gd name="connsiteY2593" fmla="*/ 907890 h 3403632"/>
              <a:gd name="connsiteX2594" fmla="*/ 695834 w 3905665"/>
              <a:gd name="connsiteY2594" fmla="*/ 891354 h 3403632"/>
              <a:gd name="connsiteX2595" fmla="*/ 712373 w 3905665"/>
              <a:gd name="connsiteY2595" fmla="*/ 874815 h 3403632"/>
              <a:gd name="connsiteX2596" fmla="*/ 168842 w 3905665"/>
              <a:gd name="connsiteY2596" fmla="*/ 871110 h 3403632"/>
              <a:gd name="connsiteX2597" fmla="*/ 169335 w 3905665"/>
              <a:gd name="connsiteY2597" fmla="*/ 871605 h 3403632"/>
              <a:gd name="connsiteX2598" fmla="*/ 168842 w 3905665"/>
              <a:gd name="connsiteY2598" fmla="*/ 872098 h 3403632"/>
              <a:gd name="connsiteX2599" fmla="*/ 168347 w 3905665"/>
              <a:gd name="connsiteY2599" fmla="*/ 871605 h 3403632"/>
              <a:gd name="connsiteX2600" fmla="*/ 168842 w 3905665"/>
              <a:gd name="connsiteY2600" fmla="*/ 871110 h 3403632"/>
              <a:gd name="connsiteX2601" fmla="*/ 914779 w 3905665"/>
              <a:gd name="connsiteY2601" fmla="*/ 868151 h 3403632"/>
              <a:gd name="connsiteX2602" fmla="*/ 938475 w 3905665"/>
              <a:gd name="connsiteY2602" fmla="*/ 891848 h 3403632"/>
              <a:gd name="connsiteX2603" fmla="*/ 914779 w 3905665"/>
              <a:gd name="connsiteY2603" fmla="*/ 915543 h 3403632"/>
              <a:gd name="connsiteX2604" fmla="*/ 891083 w 3905665"/>
              <a:gd name="connsiteY2604" fmla="*/ 891848 h 3403632"/>
              <a:gd name="connsiteX2605" fmla="*/ 914779 w 3905665"/>
              <a:gd name="connsiteY2605" fmla="*/ 868151 h 3403632"/>
              <a:gd name="connsiteX2606" fmla="*/ 2519686 w 3905665"/>
              <a:gd name="connsiteY2606" fmla="*/ 865206 h 3403632"/>
              <a:gd name="connsiteX2607" fmla="*/ 2521168 w 3905665"/>
              <a:gd name="connsiteY2607" fmla="*/ 866686 h 3403632"/>
              <a:gd name="connsiteX2608" fmla="*/ 2519686 w 3905665"/>
              <a:gd name="connsiteY2608" fmla="*/ 868167 h 3403632"/>
              <a:gd name="connsiteX2609" fmla="*/ 2518206 w 3905665"/>
              <a:gd name="connsiteY2609" fmla="*/ 866686 h 3403632"/>
              <a:gd name="connsiteX2610" fmla="*/ 2519686 w 3905665"/>
              <a:gd name="connsiteY2610" fmla="*/ 865206 h 3403632"/>
              <a:gd name="connsiteX2611" fmla="*/ 2763807 w 3905665"/>
              <a:gd name="connsiteY2611" fmla="*/ 861262 h 3403632"/>
              <a:gd name="connsiteX2612" fmla="*/ 2776642 w 3905665"/>
              <a:gd name="connsiteY2612" fmla="*/ 874096 h 3403632"/>
              <a:gd name="connsiteX2613" fmla="*/ 2763807 w 3905665"/>
              <a:gd name="connsiteY2613" fmla="*/ 886932 h 3403632"/>
              <a:gd name="connsiteX2614" fmla="*/ 2750725 w 3905665"/>
              <a:gd name="connsiteY2614" fmla="*/ 874096 h 3403632"/>
              <a:gd name="connsiteX2615" fmla="*/ 2763807 w 3905665"/>
              <a:gd name="connsiteY2615" fmla="*/ 861262 h 3403632"/>
              <a:gd name="connsiteX2616" fmla="*/ 2261008 w 3905665"/>
              <a:gd name="connsiteY2616" fmla="*/ 860020 h 3403632"/>
              <a:gd name="connsiteX2617" fmla="*/ 2275323 w 3905665"/>
              <a:gd name="connsiteY2617" fmla="*/ 874337 h 3403632"/>
              <a:gd name="connsiteX2618" fmla="*/ 2261008 w 3905665"/>
              <a:gd name="connsiteY2618" fmla="*/ 888652 h 3403632"/>
              <a:gd name="connsiteX2619" fmla="*/ 2246690 w 3905665"/>
              <a:gd name="connsiteY2619" fmla="*/ 874337 h 3403632"/>
              <a:gd name="connsiteX2620" fmla="*/ 2261008 w 3905665"/>
              <a:gd name="connsiteY2620" fmla="*/ 860020 h 3403632"/>
              <a:gd name="connsiteX2621" fmla="*/ 1107800 w 3905665"/>
              <a:gd name="connsiteY2621" fmla="*/ 855563 h 3403632"/>
              <a:gd name="connsiteX2622" fmla="*/ 1133720 w 3905665"/>
              <a:gd name="connsiteY2622" fmla="*/ 881480 h 3403632"/>
              <a:gd name="connsiteX2623" fmla="*/ 1107800 w 3905665"/>
              <a:gd name="connsiteY2623" fmla="*/ 907400 h 3403632"/>
              <a:gd name="connsiteX2624" fmla="*/ 1081883 w 3905665"/>
              <a:gd name="connsiteY2624" fmla="*/ 881480 h 3403632"/>
              <a:gd name="connsiteX2625" fmla="*/ 1107800 w 3905665"/>
              <a:gd name="connsiteY2625" fmla="*/ 855563 h 3403632"/>
              <a:gd name="connsiteX2626" fmla="*/ 3005456 w 3905665"/>
              <a:gd name="connsiteY2626" fmla="*/ 854605 h 3403632"/>
              <a:gd name="connsiteX2627" fmla="*/ 3029401 w 3905665"/>
              <a:gd name="connsiteY2627" fmla="*/ 878546 h 3403632"/>
              <a:gd name="connsiteX2628" fmla="*/ 3005456 w 3905665"/>
              <a:gd name="connsiteY2628" fmla="*/ 902493 h 3403632"/>
              <a:gd name="connsiteX2629" fmla="*/ 2981513 w 3905665"/>
              <a:gd name="connsiteY2629" fmla="*/ 878546 h 3403632"/>
              <a:gd name="connsiteX2630" fmla="*/ 3005456 w 3905665"/>
              <a:gd name="connsiteY2630" fmla="*/ 854605 h 3403632"/>
              <a:gd name="connsiteX2631" fmla="*/ 2007014 w 3905665"/>
              <a:gd name="connsiteY2631" fmla="*/ 852858 h 3403632"/>
              <a:gd name="connsiteX2632" fmla="*/ 2016887 w 3905665"/>
              <a:gd name="connsiteY2632" fmla="*/ 862732 h 3403632"/>
              <a:gd name="connsiteX2633" fmla="*/ 2007014 w 3905665"/>
              <a:gd name="connsiteY2633" fmla="*/ 872605 h 3403632"/>
              <a:gd name="connsiteX2634" fmla="*/ 1997140 w 3905665"/>
              <a:gd name="connsiteY2634" fmla="*/ 862732 h 3403632"/>
              <a:gd name="connsiteX2635" fmla="*/ 2007014 w 3905665"/>
              <a:gd name="connsiteY2635" fmla="*/ 852858 h 3403632"/>
              <a:gd name="connsiteX2636" fmla="*/ 1293424 w 3905665"/>
              <a:gd name="connsiteY2636" fmla="*/ 852604 h 3403632"/>
              <a:gd name="connsiteX2637" fmla="*/ 1302803 w 3905665"/>
              <a:gd name="connsiteY2637" fmla="*/ 861986 h 3403632"/>
              <a:gd name="connsiteX2638" fmla="*/ 1293424 w 3905665"/>
              <a:gd name="connsiteY2638" fmla="*/ 871364 h 3403632"/>
              <a:gd name="connsiteX2639" fmla="*/ 1284043 w 3905665"/>
              <a:gd name="connsiteY2639" fmla="*/ 861986 h 3403632"/>
              <a:gd name="connsiteX2640" fmla="*/ 1293424 w 3905665"/>
              <a:gd name="connsiteY2640" fmla="*/ 852604 h 3403632"/>
              <a:gd name="connsiteX2641" fmla="*/ 3244148 w 3905665"/>
              <a:gd name="connsiteY2641" fmla="*/ 849917 h 3403632"/>
              <a:gd name="connsiteX2642" fmla="*/ 3276481 w 3905665"/>
              <a:gd name="connsiteY2642" fmla="*/ 882253 h 3403632"/>
              <a:gd name="connsiteX2643" fmla="*/ 3244148 w 3905665"/>
              <a:gd name="connsiteY2643" fmla="*/ 914583 h 3403632"/>
              <a:gd name="connsiteX2644" fmla="*/ 3211812 w 3905665"/>
              <a:gd name="connsiteY2644" fmla="*/ 882253 h 3403632"/>
              <a:gd name="connsiteX2645" fmla="*/ 3244148 w 3905665"/>
              <a:gd name="connsiteY2645" fmla="*/ 849917 h 3403632"/>
              <a:gd name="connsiteX2646" fmla="*/ 501572 w 3905665"/>
              <a:gd name="connsiteY2646" fmla="*/ 843960 h 3403632"/>
              <a:gd name="connsiteX2647" fmla="*/ 533413 w 3905665"/>
              <a:gd name="connsiteY2647" fmla="*/ 875801 h 3403632"/>
              <a:gd name="connsiteX2648" fmla="*/ 501572 w 3905665"/>
              <a:gd name="connsiteY2648" fmla="*/ 907645 h 3403632"/>
              <a:gd name="connsiteX2649" fmla="*/ 469731 w 3905665"/>
              <a:gd name="connsiteY2649" fmla="*/ 875801 h 3403632"/>
              <a:gd name="connsiteX2650" fmla="*/ 501572 w 3905665"/>
              <a:gd name="connsiteY2650" fmla="*/ 843960 h 3403632"/>
              <a:gd name="connsiteX2651" fmla="*/ 281642 w 3905665"/>
              <a:gd name="connsiteY2651" fmla="*/ 839515 h 3403632"/>
              <a:gd name="connsiteX2652" fmla="*/ 284111 w 3905665"/>
              <a:gd name="connsiteY2652" fmla="*/ 841736 h 3403632"/>
              <a:gd name="connsiteX2653" fmla="*/ 281642 w 3905665"/>
              <a:gd name="connsiteY2653" fmla="*/ 844206 h 3403632"/>
              <a:gd name="connsiteX2654" fmla="*/ 279175 w 3905665"/>
              <a:gd name="connsiteY2654" fmla="*/ 841736 h 3403632"/>
              <a:gd name="connsiteX2655" fmla="*/ 281642 w 3905665"/>
              <a:gd name="connsiteY2655" fmla="*/ 839515 h 3403632"/>
              <a:gd name="connsiteX2656" fmla="*/ 1748346 w 3905665"/>
              <a:gd name="connsiteY2656" fmla="*/ 828910 h 3403632"/>
              <a:gd name="connsiteX2657" fmla="*/ 1765376 w 3905665"/>
              <a:gd name="connsiteY2657" fmla="*/ 845695 h 3403632"/>
              <a:gd name="connsiteX2658" fmla="*/ 1748346 w 3905665"/>
              <a:gd name="connsiteY2658" fmla="*/ 862726 h 3403632"/>
              <a:gd name="connsiteX2659" fmla="*/ 1731560 w 3905665"/>
              <a:gd name="connsiteY2659" fmla="*/ 845695 h 3403632"/>
              <a:gd name="connsiteX2660" fmla="*/ 1748346 w 3905665"/>
              <a:gd name="connsiteY2660" fmla="*/ 828910 h 3403632"/>
              <a:gd name="connsiteX2661" fmla="*/ 3488759 w 3905665"/>
              <a:gd name="connsiteY2661" fmla="*/ 827955 h 3403632"/>
              <a:gd name="connsiteX2662" fmla="*/ 3526524 w 3905665"/>
              <a:gd name="connsiteY2662" fmla="*/ 865720 h 3403632"/>
              <a:gd name="connsiteX2663" fmla="*/ 3488759 w 3905665"/>
              <a:gd name="connsiteY2663" fmla="*/ 903488 h 3403632"/>
              <a:gd name="connsiteX2664" fmla="*/ 3450994 w 3905665"/>
              <a:gd name="connsiteY2664" fmla="*/ 865720 h 3403632"/>
              <a:gd name="connsiteX2665" fmla="*/ 3488759 w 3905665"/>
              <a:gd name="connsiteY2665" fmla="*/ 827955 h 3403632"/>
              <a:gd name="connsiteX2666" fmla="*/ 2415772 w 3905665"/>
              <a:gd name="connsiteY2666" fmla="*/ 816087 h 3403632"/>
              <a:gd name="connsiteX2667" fmla="*/ 2429349 w 3905665"/>
              <a:gd name="connsiteY2667" fmla="*/ 829663 h 3403632"/>
              <a:gd name="connsiteX2668" fmla="*/ 2415772 w 3905665"/>
              <a:gd name="connsiteY2668" fmla="*/ 843238 h 3403632"/>
              <a:gd name="connsiteX2669" fmla="*/ 2402195 w 3905665"/>
              <a:gd name="connsiteY2669" fmla="*/ 829663 h 3403632"/>
              <a:gd name="connsiteX2670" fmla="*/ 2415772 w 3905665"/>
              <a:gd name="connsiteY2670" fmla="*/ 816087 h 3403632"/>
              <a:gd name="connsiteX2671" fmla="*/ 1482008 w 3905665"/>
              <a:gd name="connsiteY2671" fmla="*/ 812618 h 3403632"/>
              <a:gd name="connsiteX2672" fmla="*/ 1493361 w 3905665"/>
              <a:gd name="connsiteY2672" fmla="*/ 824220 h 3403632"/>
              <a:gd name="connsiteX2673" fmla="*/ 1482008 w 3905665"/>
              <a:gd name="connsiteY2673" fmla="*/ 835573 h 3403632"/>
              <a:gd name="connsiteX2674" fmla="*/ 1470652 w 3905665"/>
              <a:gd name="connsiteY2674" fmla="*/ 824220 h 3403632"/>
              <a:gd name="connsiteX2675" fmla="*/ 1482008 w 3905665"/>
              <a:gd name="connsiteY2675" fmla="*/ 812618 h 3403632"/>
              <a:gd name="connsiteX2676" fmla="*/ 811602 w 3905665"/>
              <a:gd name="connsiteY2676" fmla="*/ 809156 h 3403632"/>
              <a:gd name="connsiteX2677" fmla="*/ 833074 w 3905665"/>
              <a:gd name="connsiteY2677" fmla="*/ 830632 h 3403632"/>
              <a:gd name="connsiteX2678" fmla="*/ 811602 w 3905665"/>
              <a:gd name="connsiteY2678" fmla="*/ 852107 h 3403632"/>
              <a:gd name="connsiteX2679" fmla="*/ 790126 w 3905665"/>
              <a:gd name="connsiteY2679" fmla="*/ 830632 h 3403632"/>
              <a:gd name="connsiteX2680" fmla="*/ 811602 w 3905665"/>
              <a:gd name="connsiteY2680" fmla="*/ 809156 h 3403632"/>
              <a:gd name="connsiteX2681" fmla="*/ 2166470 w 3905665"/>
              <a:gd name="connsiteY2681" fmla="*/ 806949 h 3403632"/>
              <a:gd name="connsiteX2682" fmla="*/ 2180044 w 3905665"/>
              <a:gd name="connsiteY2682" fmla="*/ 820524 h 3403632"/>
              <a:gd name="connsiteX2683" fmla="*/ 2166470 w 3905665"/>
              <a:gd name="connsiteY2683" fmla="*/ 834102 h 3403632"/>
              <a:gd name="connsiteX2684" fmla="*/ 2152893 w 3905665"/>
              <a:gd name="connsiteY2684" fmla="*/ 820524 h 3403632"/>
              <a:gd name="connsiteX2685" fmla="*/ 2166470 w 3905665"/>
              <a:gd name="connsiteY2685" fmla="*/ 806949 h 3403632"/>
              <a:gd name="connsiteX2686" fmla="*/ 2670007 w 3905665"/>
              <a:gd name="connsiteY2686" fmla="*/ 804737 h 3403632"/>
              <a:gd name="connsiteX2687" fmla="*/ 2684325 w 3905665"/>
              <a:gd name="connsiteY2687" fmla="*/ 819052 h 3403632"/>
              <a:gd name="connsiteX2688" fmla="*/ 2670007 w 3905665"/>
              <a:gd name="connsiteY2688" fmla="*/ 833368 h 3403632"/>
              <a:gd name="connsiteX2689" fmla="*/ 2655692 w 3905665"/>
              <a:gd name="connsiteY2689" fmla="*/ 819052 h 3403632"/>
              <a:gd name="connsiteX2690" fmla="*/ 2670007 w 3905665"/>
              <a:gd name="connsiteY2690" fmla="*/ 804737 h 3403632"/>
              <a:gd name="connsiteX2691" fmla="*/ 3149610 w 3905665"/>
              <a:gd name="connsiteY2691" fmla="*/ 801293 h 3403632"/>
              <a:gd name="connsiteX2692" fmla="*/ 3176268 w 3905665"/>
              <a:gd name="connsiteY2692" fmla="*/ 827947 h 3403632"/>
              <a:gd name="connsiteX2693" fmla="*/ 3149610 w 3905665"/>
              <a:gd name="connsiteY2693" fmla="*/ 854360 h 3403632"/>
              <a:gd name="connsiteX2694" fmla="*/ 3123198 w 3905665"/>
              <a:gd name="connsiteY2694" fmla="*/ 827947 h 3403632"/>
              <a:gd name="connsiteX2695" fmla="*/ 3149610 w 3905665"/>
              <a:gd name="connsiteY2695" fmla="*/ 801293 h 3403632"/>
              <a:gd name="connsiteX2696" fmla="*/ 2911166 w 3905665"/>
              <a:gd name="connsiteY2696" fmla="*/ 798325 h 3403632"/>
              <a:gd name="connsiteX2697" fmla="*/ 2937083 w 3905665"/>
              <a:gd name="connsiteY2697" fmla="*/ 824240 h 3403632"/>
              <a:gd name="connsiteX2698" fmla="*/ 2911166 w 3905665"/>
              <a:gd name="connsiteY2698" fmla="*/ 849911 h 3403632"/>
              <a:gd name="connsiteX2699" fmla="*/ 2885495 w 3905665"/>
              <a:gd name="connsiteY2699" fmla="*/ 824240 h 3403632"/>
              <a:gd name="connsiteX2700" fmla="*/ 2911166 w 3905665"/>
              <a:gd name="connsiteY2700" fmla="*/ 798325 h 3403632"/>
              <a:gd name="connsiteX2701" fmla="*/ 1008081 w 3905665"/>
              <a:gd name="connsiteY2701" fmla="*/ 795584 h 3403632"/>
              <a:gd name="connsiteX2702" fmla="*/ 1034988 w 3905665"/>
              <a:gd name="connsiteY2702" fmla="*/ 822488 h 3403632"/>
              <a:gd name="connsiteX2703" fmla="*/ 1008081 w 3905665"/>
              <a:gd name="connsiteY2703" fmla="*/ 849392 h 3403632"/>
              <a:gd name="connsiteX2704" fmla="*/ 981177 w 3905665"/>
              <a:gd name="connsiteY2704" fmla="*/ 822488 h 3403632"/>
              <a:gd name="connsiteX2705" fmla="*/ 1008081 w 3905665"/>
              <a:gd name="connsiteY2705" fmla="*/ 795584 h 3403632"/>
              <a:gd name="connsiteX2706" fmla="*/ 391980 w 3905665"/>
              <a:gd name="connsiteY2706" fmla="*/ 794097 h 3403632"/>
              <a:gd name="connsiteX2707" fmla="*/ 401605 w 3905665"/>
              <a:gd name="connsiteY2707" fmla="*/ 803725 h 3403632"/>
              <a:gd name="connsiteX2708" fmla="*/ 391980 w 3905665"/>
              <a:gd name="connsiteY2708" fmla="*/ 813349 h 3403632"/>
              <a:gd name="connsiteX2709" fmla="*/ 382353 w 3905665"/>
              <a:gd name="connsiteY2709" fmla="*/ 803725 h 3403632"/>
              <a:gd name="connsiteX2710" fmla="*/ 391980 w 3905665"/>
              <a:gd name="connsiteY2710" fmla="*/ 794097 h 3403632"/>
              <a:gd name="connsiteX2711" fmla="*/ 1653562 w 3905665"/>
              <a:gd name="connsiteY2711" fmla="*/ 789910 h 3403632"/>
              <a:gd name="connsiteX2712" fmla="*/ 1654054 w 3905665"/>
              <a:gd name="connsiteY2712" fmla="*/ 790405 h 3403632"/>
              <a:gd name="connsiteX2713" fmla="*/ 1653562 w 3905665"/>
              <a:gd name="connsiteY2713" fmla="*/ 790897 h 3403632"/>
              <a:gd name="connsiteX2714" fmla="*/ 1653067 w 3905665"/>
              <a:gd name="connsiteY2714" fmla="*/ 790405 h 3403632"/>
              <a:gd name="connsiteX2715" fmla="*/ 1653562 w 3905665"/>
              <a:gd name="connsiteY2715" fmla="*/ 789910 h 3403632"/>
              <a:gd name="connsiteX2716" fmla="*/ 606480 w 3905665"/>
              <a:gd name="connsiteY2716" fmla="*/ 789903 h 3403632"/>
              <a:gd name="connsiteX2717" fmla="*/ 642024 w 3905665"/>
              <a:gd name="connsiteY2717" fmla="*/ 825447 h 3403632"/>
              <a:gd name="connsiteX2718" fmla="*/ 606480 w 3905665"/>
              <a:gd name="connsiteY2718" fmla="*/ 860991 h 3403632"/>
              <a:gd name="connsiteX2719" fmla="*/ 570936 w 3905665"/>
              <a:gd name="connsiteY2719" fmla="*/ 825447 h 3403632"/>
              <a:gd name="connsiteX2720" fmla="*/ 606480 w 3905665"/>
              <a:gd name="connsiteY2720" fmla="*/ 789903 h 3403632"/>
              <a:gd name="connsiteX2721" fmla="*/ 1913233 w 3905665"/>
              <a:gd name="connsiteY2721" fmla="*/ 789667 h 3403632"/>
              <a:gd name="connsiteX2722" fmla="*/ 1931001 w 3905665"/>
              <a:gd name="connsiteY2722" fmla="*/ 807440 h 3403632"/>
              <a:gd name="connsiteX2723" fmla="*/ 1913233 w 3905665"/>
              <a:gd name="connsiteY2723" fmla="*/ 825212 h 3403632"/>
              <a:gd name="connsiteX2724" fmla="*/ 1895460 w 3905665"/>
              <a:gd name="connsiteY2724" fmla="*/ 807440 h 3403632"/>
              <a:gd name="connsiteX2725" fmla="*/ 1913233 w 3905665"/>
              <a:gd name="connsiteY2725" fmla="*/ 789667 h 3403632"/>
              <a:gd name="connsiteX2726" fmla="*/ 1195181 w 3905665"/>
              <a:gd name="connsiteY2726" fmla="*/ 773861 h 3403632"/>
              <a:gd name="connsiteX2727" fmla="*/ 1226528 w 3905665"/>
              <a:gd name="connsiteY2727" fmla="*/ 805212 h 3403632"/>
              <a:gd name="connsiteX2728" fmla="*/ 1195181 w 3905665"/>
              <a:gd name="connsiteY2728" fmla="*/ 836558 h 3403632"/>
              <a:gd name="connsiteX2729" fmla="*/ 1163832 w 3905665"/>
              <a:gd name="connsiteY2729" fmla="*/ 805212 h 3403632"/>
              <a:gd name="connsiteX2730" fmla="*/ 1195181 w 3905665"/>
              <a:gd name="connsiteY2730" fmla="*/ 773861 h 3403632"/>
              <a:gd name="connsiteX2731" fmla="*/ 3394221 w 3905665"/>
              <a:gd name="connsiteY2731" fmla="*/ 772902 h 3403632"/>
              <a:gd name="connsiteX2732" fmla="*/ 3431989 w 3905665"/>
              <a:gd name="connsiteY2732" fmla="*/ 810921 h 3403632"/>
              <a:gd name="connsiteX2733" fmla="*/ 3394221 w 3905665"/>
              <a:gd name="connsiteY2733" fmla="*/ 848687 h 3403632"/>
              <a:gd name="connsiteX2734" fmla="*/ 3356210 w 3905665"/>
              <a:gd name="connsiteY2734" fmla="*/ 810921 h 3403632"/>
              <a:gd name="connsiteX2735" fmla="*/ 3394221 w 3905665"/>
              <a:gd name="connsiteY2735" fmla="*/ 772902 h 3403632"/>
              <a:gd name="connsiteX2736" fmla="*/ 3627725 w 3905665"/>
              <a:gd name="connsiteY2736" fmla="*/ 769944 h 3403632"/>
              <a:gd name="connsiteX2737" fmla="*/ 3670427 w 3905665"/>
              <a:gd name="connsiteY2737" fmla="*/ 812654 h 3403632"/>
              <a:gd name="connsiteX2738" fmla="*/ 3627725 w 3905665"/>
              <a:gd name="connsiteY2738" fmla="*/ 855358 h 3403632"/>
              <a:gd name="connsiteX2739" fmla="*/ 3585023 w 3905665"/>
              <a:gd name="connsiteY2739" fmla="*/ 812654 h 3403632"/>
              <a:gd name="connsiteX2740" fmla="*/ 3627725 w 3905665"/>
              <a:gd name="connsiteY2740" fmla="*/ 769944 h 3403632"/>
              <a:gd name="connsiteX2741" fmla="*/ 1375128 w 3905665"/>
              <a:gd name="connsiteY2741" fmla="*/ 766951 h 3403632"/>
              <a:gd name="connsiteX2742" fmla="*/ 1387715 w 3905665"/>
              <a:gd name="connsiteY2742" fmla="*/ 779541 h 3403632"/>
              <a:gd name="connsiteX2743" fmla="*/ 1375128 w 3905665"/>
              <a:gd name="connsiteY2743" fmla="*/ 792131 h 3403632"/>
              <a:gd name="connsiteX2744" fmla="*/ 1362539 w 3905665"/>
              <a:gd name="connsiteY2744" fmla="*/ 779541 h 3403632"/>
              <a:gd name="connsiteX2745" fmla="*/ 1375128 w 3905665"/>
              <a:gd name="connsiteY2745" fmla="*/ 766951 h 3403632"/>
              <a:gd name="connsiteX2746" fmla="*/ 2576212 w 3905665"/>
              <a:gd name="connsiteY2746" fmla="*/ 758816 h 3403632"/>
              <a:gd name="connsiteX2747" fmla="*/ 2582136 w 3905665"/>
              <a:gd name="connsiteY2747" fmla="*/ 764739 h 3403632"/>
              <a:gd name="connsiteX2748" fmla="*/ 2576212 w 3905665"/>
              <a:gd name="connsiteY2748" fmla="*/ 770663 h 3403632"/>
              <a:gd name="connsiteX2749" fmla="*/ 2570288 w 3905665"/>
              <a:gd name="connsiteY2749" fmla="*/ 764739 h 3403632"/>
              <a:gd name="connsiteX2750" fmla="*/ 2576212 w 3905665"/>
              <a:gd name="connsiteY2750" fmla="*/ 758816 h 3403632"/>
              <a:gd name="connsiteX2751" fmla="*/ 2321728 w 3905665"/>
              <a:gd name="connsiteY2751" fmla="*/ 756347 h 3403632"/>
              <a:gd name="connsiteX2752" fmla="*/ 2340983 w 3905665"/>
              <a:gd name="connsiteY2752" fmla="*/ 775600 h 3403632"/>
              <a:gd name="connsiteX2753" fmla="*/ 2321728 w 3905665"/>
              <a:gd name="connsiteY2753" fmla="*/ 794855 h 3403632"/>
              <a:gd name="connsiteX2754" fmla="*/ 2302476 w 3905665"/>
              <a:gd name="connsiteY2754" fmla="*/ 775600 h 3403632"/>
              <a:gd name="connsiteX2755" fmla="*/ 2321728 w 3905665"/>
              <a:gd name="connsiteY2755" fmla="*/ 756347 h 3403632"/>
              <a:gd name="connsiteX2756" fmla="*/ 54307 w 3905665"/>
              <a:gd name="connsiteY2756" fmla="*/ 753369 h 3403632"/>
              <a:gd name="connsiteX2757" fmla="*/ 83927 w 3905665"/>
              <a:gd name="connsiteY2757" fmla="*/ 782989 h 3403632"/>
              <a:gd name="connsiteX2758" fmla="*/ 54307 w 3905665"/>
              <a:gd name="connsiteY2758" fmla="*/ 812609 h 3403632"/>
              <a:gd name="connsiteX2759" fmla="*/ 24687 w 3905665"/>
              <a:gd name="connsiteY2759" fmla="*/ 782989 h 3403632"/>
              <a:gd name="connsiteX2760" fmla="*/ 54307 w 3905665"/>
              <a:gd name="connsiteY2760" fmla="*/ 753369 h 3403632"/>
              <a:gd name="connsiteX2761" fmla="*/ 2072178 w 3905665"/>
              <a:gd name="connsiteY2761" fmla="*/ 752640 h 3403632"/>
              <a:gd name="connsiteX2762" fmla="*/ 2086001 w 3905665"/>
              <a:gd name="connsiteY2762" fmla="*/ 766461 h 3403632"/>
              <a:gd name="connsiteX2763" fmla="*/ 2072178 w 3905665"/>
              <a:gd name="connsiteY2763" fmla="*/ 780286 h 3403632"/>
              <a:gd name="connsiteX2764" fmla="*/ 2058355 w 3905665"/>
              <a:gd name="connsiteY2764" fmla="*/ 766461 h 3403632"/>
              <a:gd name="connsiteX2765" fmla="*/ 2072178 w 3905665"/>
              <a:gd name="connsiteY2765" fmla="*/ 752640 h 3403632"/>
              <a:gd name="connsiteX2766" fmla="*/ 2816628 w 3905665"/>
              <a:gd name="connsiteY2766" fmla="*/ 750431 h 3403632"/>
              <a:gd name="connsiteX2767" fmla="*/ 2836621 w 3905665"/>
              <a:gd name="connsiteY2767" fmla="*/ 770420 h 3403632"/>
              <a:gd name="connsiteX2768" fmla="*/ 2816628 w 3905665"/>
              <a:gd name="connsiteY2768" fmla="*/ 790419 h 3403632"/>
              <a:gd name="connsiteX2769" fmla="*/ 2796635 w 3905665"/>
              <a:gd name="connsiteY2769" fmla="*/ 770420 h 3403632"/>
              <a:gd name="connsiteX2770" fmla="*/ 2816628 w 3905665"/>
              <a:gd name="connsiteY2770" fmla="*/ 750431 h 3403632"/>
              <a:gd name="connsiteX2771" fmla="*/ 3055072 w 3905665"/>
              <a:gd name="connsiteY2771" fmla="*/ 743771 h 3403632"/>
              <a:gd name="connsiteX2772" fmla="*/ 3084938 w 3905665"/>
              <a:gd name="connsiteY2772" fmla="*/ 773634 h 3403632"/>
              <a:gd name="connsiteX2773" fmla="*/ 3055072 w 3905665"/>
              <a:gd name="connsiteY2773" fmla="*/ 803509 h 3403632"/>
              <a:gd name="connsiteX2774" fmla="*/ 3025205 w 3905665"/>
              <a:gd name="connsiteY2774" fmla="*/ 773634 h 3403632"/>
              <a:gd name="connsiteX2775" fmla="*/ 3055072 w 3905665"/>
              <a:gd name="connsiteY2775" fmla="*/ 743771 h 3403632"/>
              <a:gd name="connsiteX2776" fmla="*/ 906632 w 3905665"/>
              <a:gd name="connsiteY2776" fmla="*/ 737329 h 3403632"/>
              <a:gd name="connsiteX2777" fmla="*/ 933041 w 3905665"/>
              <a:gd name="connsiteY2777" fmla="*/ 763740 h 3403632"/>
              <a:gd name="connsiteX2778" fmla="*/ 906632 w 3905665"/>
              <a:gd name="connsiteY2778" fmla="*/ 790150 h 3403632"/>
              <a:gd name="connsiteX2779" fmla="*/ 880220 w 3905665"/>
              <a:gd name="connsiteY2779" fmla="*/ 763740 h 3403632"/>
              <a:gd name="connsiteX2780" fmla="*/ 906632 w 3905665"/>
              <a:gd name="connsiteY2780" fmla="*/ 737329 h 3403632"/>
              <a:gd name="connsiteX2781" fmla="*/ 3291046 w 3905665"/>
              <a:gd name="connsiteY2781" fmla="*/ 736618 h 3403632"/>
              <a:gd name="connsiteX2782" fmla="*/ 3330539 w 3905665"/>
              <a:gd name="connsiteY2782" fmla="*/ 776109 h 3403632"/>
              <a:gd name="connsiteX2783" fmla="*/ 3291046 w 3905665"/>
              <a:gd name="connsiteY2783" fmla="*/ 815609 h 3403632"/>
              <a:gd name="connsiteX2784" fmla="*/ 3251552 w 3905665"/>
              <a:gd name="connsiteY2784" fmla="*/ 776109 h 3403632"/>
              <a:gd name="connsiteX2785" fmla="*/ 3291046 w 3905665"/>
              <a:gd name="connsiteY2785" fmla="*/ 736618 h 3403632"/>
              <a:gd name="connsiteX2786" fmla="*/ 1818695 w 3905665"/>
              <a:gd name="connsiteY2786" fmla="*/ 735607 h 3403632"/>
              <a:gd name="connsiteX2787" fmla="*/ 1836215 w 3905665"/>
              <a:gd name="connsiteY2787" fmla="*/ 753132 h 3403632"/>
              <a:gd name="connsiteX2788" fmla="*/ 1818695 w 3905665"/>
              <a:gd name="connsiteY2788" fmla="*/ 770655 h 3403632"/>
              <a:gd name="connsiteX2789" fmla="*/ 1801168 w 3905665"/>
              <a:gd name="connsiteY2789" fmla="*/ 753132 h 3403632"/>
              <a:gd name="connsiteX2790" fmla="*/ 1818695 w 3905665"/>
              <a:gd name="connsiteY2790" fmla="*/ 735607 h 3403632"/>
              <a:gd name="connsiteX2791" fmla="*/ 499105 w 3905665"/>
              <a:gd name="connsiteY2791" fmla="*/ 734857 h 3403632"/>
              <a:gd name="connsiteX2792" fmla="*/ 522062 w 3905665"/>
              <a:gd name="connsiteY2792" fmla="*/ 757812 h 3403632"/>
              <a:gd name="connsiteX2793" fmla="*/ 499105 w 3905665"/>
              <a:gd name="connsiteY2793" fmla="*/ 780769 h 3403632"/>
              <a:gd name="connsiteX2794" fmla="*/ 476150 w 3905665"/>
              <a:gd name="connsiteY2794" fmla="*/ 757812 h 3403632"/>
              <a:gd name="connsiteX2795" fmla="*/ 499105 w 3905665"/>
              <a:gd name="connsiteY2795" fmla="*/ 734857 h 3403632"/>
              <a:gd name="connsiteX2796" fmla="*/ 707681 w 3905665"/>
              <a:gd name="connsiteY2796" fmla="*/ 728688 h 3403632"/>
              <a:gd name="connsiteX2797" fmla="*/ 746928 w 3905665"/>
              <a:gd name="connsiteY2797" fmla="*/ 767935 h 3403632"/>
              <a:gd name="connsiteX2798" fmla="*/ 707681 w 3905665"/>
              <a:gd name="connsiteY2798" fmla="*/ 807183 h 3403632"/>
              <a:gd name="connsiteX2799" fmla="*/ 668433 w 3905665"/>
              <a:gd name="connsiteY2799" fmla="*/ 767935 h 3403632"/>
              <a:gd name="connsiteX2800" fmla="*/ 707681 w 3905665"/>
              <a:gd name="connsiteY2800" fmla="*/ 728688 h 3403632"/>
              <a:gd name="connsiteX2801" fmla="*/ 168839 w 3905665"/>
              <a:gd name="connsiteY2801" fmla="*/ 724244 h 3403632"/>
              <a:gd name="connsiteX2802" fmla="*/ 204632 w 3905665"/>
              <a:gd name="connsiteY2802" fmla="*/ 760034 h 3403632"/>
              <a:gd name="connsiteX2803" fmla="*/ 168839 w 3905665"/>
              <a:gd name="connsiteY2803" fmla="*/ 796074 h 3403632"/>
              <a:gd name="connsiteX2804" fmla="*/ 133048 w 3905665"/>
              <a:gd name="connsiteY2804" fmla="*/ 760034 h 3403632"/>
              <a:gd name="connsiteX2805" fmla="*/ 168839 w 3905665"/>
              <a:gd name="connsiteY2805" fmla="*/ 724244 h 3403632"/>
              <a:gd name="connsiteX2806" fmla="*/ 1558281 w 3905665"/>
              <a:gd name="connsiteY2806" fmla="*/ 723016 h 3403632"/>
              <a:gd name="connsiteX2807" fmla="*/ 1571116 w 3905665"/>
              <a:gd name="connsiteY2807" fmla="*/ 735851 h 3403632"/>
              <a:gd name="connsiteX2808" fmla="*/ 1558281 w 3905665"/>
              <a:gd name="connsiteY2808" fmla="*/ 748686 h 3403632"/>
              <a:gd name="connsiteX2809" fmla="*/ 1545445 w 3905665"/>
              <a:gd name="connsiteY2809" fmla="*/ 735851 h 3403632"/>
              <a:gd name="connsiteX2810" fmla="*/ 1558281 w 3905665"/>
              <a:gd name="connsiteY2810" fmla="*/ 723016 h 3403632"/>
              <a:gd name="connsiteX2811" fmla="*/ 1096942 w 3905665"/>
              <a:gd name="connsiteY2811" fmla="*/ 717829 h 3403632"/>
              <a:gd name="connsiteX2812" fmla="*/ 1127054 w 3905665"/>
              <a:gd name="connsiteY2812" fmla="*/ 747944 h 3403632"/>
              <a:gd name="connsiteX2813" fmla="*/ 1096942 w 3905665"/>
              <a:gd name="connsiteY2813" fmla="*/ 778056 h 3403632"/>
              <a:gd name="connsiteX2814" fmla="*/ 1066827 w 3905665"/>
              <a:gd name="connsiteY2814" fmla="*/ 747944 h 3403632"/>
              <a:gd name="connsiteX2815" fmla="*/ 1096942 w 3905665"/>
              <a:gd name="connsiteY2815" fmla="*/ 717829 h 3403632"/>
              <a:gd name="connsiteX2816" fmla="*/ 3532695 w 3905665"/>
              <a:gd name="connsiteY2816" fmla="*/ 713177 h 3403632"/>
              <a:gd name="connsiteX2817" fmla="*/ 3577371 w 3905665"/>
              <a:gd name="connsiteY2817" fmla="*/ 757847 h 3403632"/>
              <a:gd name="connsiteX2818" fmla="*/ 3532695 w 3905665"/>
              <a:gd name="connsiteY2818" fmla="*/ 802536 h 3403632"/>
              <a:gd name="connsiteX2819" fmla="*/ 3488018 w 3905665"/>
              <a:gd name="connsiteY2819" fmla="*/ 757847 h 3403632"/>
              <a:gd name="connsiteX2820" fmla="*/ 3532695 w 3905665"/>
              <a:gd name="connsiteY2820" fmla="*/ 713177 h 3403632"/>
              <a:gd name="connsiteX2821" fmla="*/ 2472295 w 3905665"/>
              <a:gd name="connsiteY2821" fmla="*/ 710193 h 3403632"/>
              <a:gd name="connsiteX2822" fmla="*/ 2490809 w 3905665"/>
              <a:gd name="connsiteY2822" fmla="*/ 728706 h 3403632"/>
              <a:gd name="connsiteX2823" fmla="*/ 2472295 w 3905665"/>
              <a:gd name="connsiteY2823" fmla="*/ 747218 h 3403632"/>
              <a:gd name="connsiteX2824" fmla="*/ 2453782 w 3905665"/>
              <a:gd name="connsiteY2824" fmla="*/ 728706 h 3403632"/>
              <a:gd name="connsiteX2825" fmla="*/ 2472295 w 3905665"/>
              <a:gd name="connsiteY2825" fmla="*/ 710193 h 3403632"/>
              <a:gd name="connsiteX2826" fmla="*/ 2227436 w 3905665"/>
              <a:gd name="connsiteY2826" fmla="*/ 704759 h 3403632"/>
              <a:gd name="connsiteX2827" fmla="*/ 2244470 w 3905665"/>
              <a:gd name="connsiteY2827" fmla="*/ 721791 h 3403632"/>
              <a:gd name="connsiteX2828" fmla="*/ 2227436 w 3905665"/>
              <a:gd name="connsiteY2828" fmla="*/ 738823 h 3403632"/>
              <a:gd name="connsiteX2829" fmla="*/ 2210405 w 3905665"/>
              <a:gd name="connsiteY2829" fmla="*/ 721791 h 3403632"/>
              <a:gd name="connsiteX2830" fmla="*/ 2227436 w 3905665"/>
              <a:gd name="connsiteY2830" fmla="*/ 704759 h 3403632"/>
              <a:gd name="connsiteX2831" fmla="*/ 1724647 w 3905665"/>
              <a:gd name="connsiteY2831" fmla="*/ 695620 h 3403632"/>
              <a:gd name="connsiteX2832" fmla="*/ 1726868 w 3905665"/>
              <a:gd name="connsiteY2832" fmla="*/ 697841 h 3403632"/>
              <a:gd name="connsiteX2833" fmla="*/ 1724647 w 3905665"/>
              <a:gd name="connsiteY2833" fmla="*/ 700062 h 3403632"/>
              <a:gd name="connsiteX2834" fmla="*/ 1722427 w 3905665"/>
              <a:gd name="connsiteY2834" fmla="*/ 697841 h 3403632"/>
              <a:gd name="connsiteX2835" fmla="*/ 1724647 w 3905665"/>
              <a:gd name="connsiteY2835" fmla="*/ 695620 h 3403632"/>
              <a:gd name="connsiteX2836" fmla="*/ 2722830 w 3905665"/>
              <a:gd name="connsiteY2836" fmla="*/ 690697 h 3403632"/>
              <a:gd name="connsiteX2837" fmla="*/ 2747268 w 3905665"/>
              <a:gd name="connsiteY2837" fmla="*/ 715135 h 3403632"/>
              <a:gd name="connsiteX2838" fmla="*/ 2722830 w 3905665"/>
              <a:gd name="connsiteY2838" fmla="*/ 739568 h 3403632"/>
              <a:gd name="connsiteX2839" fmla="*/ 2698393 w 3905665"/>
              <a:gd name="connsiteY2839" fmla="*/ 715135 h 3403632"/>
              <a:gd name="connsiteX2840" fmla="*/ 2722830 w 3905665"/>
              <a:gd name="connsiteY2840" fmla="*/ 690697 h 3403632"/>
              <a:gd name="connsiteX2841" fmla="*/ 1978629 w 3905665"/>
              <a:gd name="connsiteY2841" fmla="*/ 689697 h 3403632"/>
              <a:gd name="connsiteX2842" fmla="*/ 2000597 w 3905665"/>
              <a:gd name="connsiteY2842" fmla="*/ 711419 h 3403632"/>
              <a:gd name="connsiteX2843" fmla="*/ 1978629 w 3905665"/>
              <a:gd name="connsiteY2843" fmla="*/ 733140 h 3403632"/>
              <a:gd name="connsiteX2844" fmla="*/ 1956918 w 3905665"/>
              <a:gd name="connsiteY2844" fmla="*/ 711419 h 3403632"/>
              <a:gd name="connsiteX2845" fmla="*/ 1978629 w 3905665"/>
              <a:gd name="connsiteY2845" fmla="*/ 689697 h 3403632"/>
              <a:gd name="connsiteX2846" fmla="*/ 1278118 w 3905665"/>
              <a:gd name="connsiteY2846" fmla="*/ 687469 h 3403632"/>
              <a:gd name="connsiteX2847" fmla="*/ 1314895 w 3905665"/>
              <a:gd name="connsiteY2847" fmla="*/ 724247 h 3403632"/>
              <a:gd name="connsiteX2848" fmla="*/ 1278118 w 3905665"/>
              <a:gd name="connsiteY2848" fmla="*/ 761023 h 3403632"/>
              <a:gd name="connsiteX2849" fmla="*/ 1241340 w 3905665"/>
              <a:gd name="connsiteY2849" fmla="*/ 724247 h 3403632"/>
              <a:gd name="connsiteX2850" fmla="*/ 1278118 w 3905665"/>
              <a:gd name="connsiteY2850" fmla="*/ 687469 h 3403632"/>
              <a:gd name="connsiteX2851" fmla="*/ 281149 w 3905665"/>
              <a:gd name="connsiteY2851" fmla="*/ 686971 h 3403632"/>
              <a:gd name="connsiteX2852" fmla="*/ 322371 w 3905665"/>
              <a:gd name="connsiteY2852" fmla="*/ 728193 h 3403632"/>
              <a:gd name="connsiteX2853" fmla="*/ 281149 w 3905665"/>
              <a:gd name="connsiteY2853" fmla="*/ 769414 h 3403632"/>
              <a:gd name="connsiteX2854" fmla="*/ 239927 w 3905665"/>
              <a:gd name="connsiteY2854" fmla="*/ 728193 h 3403632"/>
              <a:gd name="connsiteX2855" fmla="*/ 281149 w 3905665"/>
              <a:gd name="connsiteY2855" fmla="*/ 686971 h 3403632"/>
              <a:gd name="connsiteX2856" fmla="*/ 3196012 w 3905665"/>
              <a:gd name="connsiteY2856" fmla="*/ 684780 h 3403632"/>
              <a:gd name="connsiteX2857" fmla="*/ 3232792 w 3905665"/>
              <a:gd name="connsiteY2857" fmla="*/ 721559 h 3403632"/>
              <a:gd name="connsiteX2858" fmla="*/ 3196012 w 3905665"/>
              <a:gd name="connsiteY2858" fmla="*/ 758331 h 3403632"/>
              <a:gd name="connsiteX2859" fmla="*/ 3159234 w 3905665"/>
              <a:gd name="connsiteY2859" fmla="*/ 721559 h 3403632"/>
              <a:gd name="connsiteX2860" fmla="*/ 3196012 w 3905665"/>
              <a:gd name="connsiteY2860" fmla="*/ 684780 h 3403632"/>
              <a:gd name="connsiteX2861" fmla="*/ 2960533 w 3905665"/>
              <a:gd name="connsiteY2861" fmla="*/ 683791 h 3403632"/>
              <a:gd name="connsiteX2862" fmla="*/ 2995831 w 3905665"/>
              <a:gd name="connsiteY2862" fmla="*/ 719090 h 3403632"/>
              <a:gd name="connsiteX2863" fmla="*/ 2960533 w 3905665"/>
              <a:gd name="connsiteY2863" fmla="*/ 754381 h 3403632"/>
              <a:gd name="connsiteX2864" fmla="*/ 2925235 w 3905665"/>
              <a:gd name="connsiteY2864" fmla="*/ 719090 h 3403632"/>
              <a:gd name="connsiteX2865" fmla="*/ 2960533 w 3905665"/>
              <a:gd name="connsiteY2865" fmla="*/ 683791 h 3403632"/>
              <a:gd name="connsiteX2866" fmla="*/ 1452386 w 3905665"/>
              <a:gd name="connsiteY2866" fmla="*/ 677845 h 3403632"/>
              <a:gd name="connsiteX2867" fmla="*/ 1467935 w 3905665"/>
              <a:gd name="connsiteY2867" fmla="*/ 693396 h 3403632"/>
              <a:gd name="connsiteX2868" fmla="*/ 1452386 w 3905665"/>
              <a:gd name="connsiteY2868" fmla="*/ 708945 h 3403632"/>
              <a:gd name="connsiteX2869" fmla="*/ 1436835 w 3905665"/>
              <a:gd name="connsiteY2869" fmla="*/ 693396 h 3403632"/>
              <a:gd name="connsiteX2870" fmla="*/ 1452386 w 3905665"/>
              <a:gd name="connsiteY2870" fmla="*/ 677845 h 3403632"/>
              <a:gd name="connsiteX2871" fmla="*/ 602530 w 3905665"/>
              <a:gd name="connsiteY2871" fmla="*/ 670188 h 3403632"/>
              <a:gd name="connsiteX2872" fmla="*/ 636348 w 3905665"/>
              <a:gd name="connsiteY2872" fmla="*/ 704004 h 3403632"/>
              <a:gd name="connsiteX2873" fmla="*/ 602530 w 3905665"/>
              <a:gd name="connsiteY2873" fmla="*/ 737819 h 3403632"/>
              <a:gd name="connsiteX2874" fmla="*/ 568715 w 3905665"/>
              <a:gd name="connsiteY2874" fmla="*/ 704004 h 3403632"/>
              <a:gd name="connsiteX2875" fmla="*/ 602530 w 3905665"/>
              <a:gd name="connsiteY2875" fmla="*/ 670188 h 3403632"/>
              <a:gd name="connsiteX2876" fmla="*/ 804686 w 3905665"/>
              <a:gd name="connsiteY2876" fmla="*/ 661056 h 3403632"/>
              <a:gd name="connsiteX2877" fmla="*/ 847387 w 3905665"/>
              <a:gd name="connsiteY2877" fmla="*/ 703757 h 3403632"/>
              <a:gd name="connsiteX2878" fmla="*/ 804686 w 3905665"/>
              <a:gd name="connsiteY2878" fmla="*/ 746459 h 3403632"/>
              <a:gd name="connsiteX2879" fmla="*/ 761985 w 3905665"/>
              <a:gd name="connsiteY2879" fmla="*/ 703757 h 3403632"/>
              <a:gd name="connsiteX2880" fmla="*/ 804686 w 3905665"/>
              <a:gd name="connsiteY2880" fmla="*/ 661056 h 3403632"/>
              <a:gd name="connsiteX2881" fmla="*/ 3437664 w 3905665"/>
              <a:gd name="connsiteY2881" fmla="*/ 658126 h 3403632"/>
              <a:gd name="connsiteX2882" fmla="*/ 3482340 w 3905665"/>
              <a:gd name="connsiteY2882" fmla="*/ 702803 h 3403632"/>
              <a:gd name="connsiteX2883" fmla="*/ 3437664 w 3905665"/>
              <a:gd name="connsiteY2883" fmla="*/ 747479 h 3403632"/>
              <a:gd name="connsiteX2884" fmla="*/ 3392987 w 3905665"/>
              <a:gd name="connsiteY2884" fmla="*/ 702803 h 3403632"/>
              <a:gd name="connsiteX2885" fmla="*/ 3437664 w 3905665"/>
              <a:gd name="connsiteY2885" fmla="*/ 658126 h 3403632"/>
              <a:gd name="connsiteX2886" fmla="*/ 997219 w 3905665"/>
              <a:gd name="connsiteY2886" fmla="*/ 658093 h 3403632"/>
              <a:gd name="connsiteX2887" fmla="*/ 1030050 w 3905665"/>
              <a:gd name="connsiteY2887" fmla="*/ 690921 h 3403632"/>
              <a:gd name="connsiteX2888" fmla="*/ 997219 w 3905665"/>
              <a:gd name="connsiteY2888" fmla="*/ 723753 h 3403632"/>
              <a:gd name="connsiteX2889" fmla="*/ 964391 w 3905665"/>
              <a:gd name="connsiteY2889" fmla="*/ 690921 h 3403632"/>
              <a:gd name="connsiteX2890" fmla="*/ 997219 w 3905665"/>
              <a:gd name="connsiteY2890" fmla="*/ 658093 h 3403632"/>
              <a:gd name="connsiteX2891" fmla="*/ 3668947 w 3905665"/>
              <a:gd name="connsiteY2891" fmla="*/ 655170 h 3403632"/>
              <a:gd name="connsiteX2892" fmla="*/ 3717576 w 3905665"/>
              <a:gd name="connsiteY2892" fmla="*/ 703797 h 3403632"/>
              <a:gd name="connsiteX2893" fmla="*/ 3668947 w 3905665"/>
              <a:gd name="connsiteY2893" fmla="*/ 752423 h 3403632"/>
              <a:gd name="connsiteX2894" fmla="*/ 3620321 w 3905665"/>
              <a:gd name="connsiteY2894" fmla="*/ 703797 h 3403632"/>
              <a:gd name="connsiteX2895" fmla="*/ 3668947 w 3905665"/>
              <a:gd name="connsiteY2895" fmla="*/ 655170 h 3403632"/>
              <a:gd name="connsiteX2896" fmla="*/ 2378255 w 3905665"/>
              <a:gd name="connsiteY2896" fmla="*/ 650211 h 3403632"/>
              <a:gd name="connsiteX2897" fmla="*/ 2402444 w 3905665"/>
              <a:gd name="connsiteY2897" fmla="*/ 674399 h 3403632"/>
              <a:gd name="connsiteX2898" fmla="*/ 2378255 w 3905665"/>
              <a:gd name="connsiteY2898" fmla="*/ 698590 h 3403632"/>
              <a:gd name="connsiteX2899" fmla="*/ 2354064 w 3905665"/>
              <a:gd name="connsiteY2899" fmla="*/ 674399 h 3403632"/>
              <a:gd name="connsiteX2900" fmla="*/ 2378255 w 3905665"/>
              <a:gd name="connsiteY2900" fmla="*/ 650211 h 3403632"/>
              <a:gd name="connsiteX2901" fmla="*/ 2133392 w 3905665"/>
              <a:gd name="connsiteY2901" fmla="*/ 649712 h 3403632"/>
              <a:gd name="connsiteX2902" fmla="*/ 2151164 w 3905665"/>
              <a:gd name="connsiteY2902" fmla="*/ 667484 h 3403632"/>
              <a:gd name="connsiteX2903" fmla="*/ 2133392 w 3905665"/>
              <a:gd name="connsiteY2903" fmla="*/ 685256 h 3403632"/>
              <a:gd name="connsiteX2904" fmla="*/ 2115620 w 3905665"/>
              <a:gd name="connsiteY2904" fmla="*/ 667484 h 3403632"/>
              <a:gd name="connsiteX2905" fmla="*/ 2133392 w 3905665"/>
              <a:gd name="connsiteY2905" fmla="*/ 649712 h 3403632"/>
              <a:gd name="connsiteX2906" fmla="*/ 2628541 w 3905665"/>
              <a:gd name="connsiteY2906" fmla="*/ 643796 h 3403632"/>
              <a:gd name="connsiteX2907" fmla="*/ 2645326 w 3905665"/>
              <a:gd name="connsiteY2907" fmla="*/ 660580 h 3403632"/>
              <a:gd name="connsiteX2908" fmla="*/ 2628541 w 3905665"/>
              <a:gd name="connsiteY2908" fmla="*/ 677366 h 3403632"/>
              <a:gd name="connsiteX2909" fmla="*/ 2611756 w 3905665"/>
              <a:gd name="connsiteY2909" fmla="*/ 660580 h 3403632"/>
              <a:gd name="connsiteX2910" fmla="*/ 2628541 w 3905665"/>
              <a:gd name="connsiteY2910" fmla="*/ 643796 h 3403632"/>
              <a:gd name="connsiteX2911" fmla="*/ 390743 w 3905665"/>
              <a:gd name="connsiteY2911" fmla="*/ 641554 h 3403632"/>
              <a:gd name="connsiteX2912" fmla="*/ 436406 w 3905665"/>
              <a:gd name="connsiteY2912" fmla="*/ 687218 h 3403632"/>
              <a:gd name="connsiteX2913" fmla="*/ 390743 w 3905665"/>
              <a:gd name="connsiteY2913" fmla="*/ 732882 h 3403632"/>
              <a:gd name="connsiteX2914" fmla="*/ 345079 w 3905665"/>
              <a:gd name="connsiteY2914" fmla="*/ 687218 h 3403632"/>
              <a:gd name="connsiteX2915" fmla="*/ 390743 w 3905665"/>
              <a:gd name="connsiteY2915" fmla="*/ 641554 h 3403632"/>
              <a:gd name="connsiteX2916" fmla="*/ 1884598 w 3905665"/>
              <a:gd name="connsiteY2916" fmla="*/ 638357 h 3403632"/>
              <a:gd name="connsiteX2917" fmla="*/ 1903110 w 3905665"/>
              <a:gd name="connsiteY2917" fmla="*/ 656869 h 3403632"/>
              <a:gd name="connsiteX2918" fmla="*/ 1884598 w 3905665"/>
              <a:gd name="connsiteY2918" fmla="*/ 675380 h 3403632"/>
              <a:gd name="connsiteX2919" fmla="*/ 1866084 w 3905665"/>
              <a:gd name="connsiteY2919" fmla="*/ 656869 h 3403632"/>
              <a:gd name="connsiteX2920" fmla="*/ 1884598 w 3905665"/>
              <a:gd name="connsiteY2920" fmla="*/ 638357 h 3403632"/>
              <a:gd name="connsiteX2921" fmla="*/ 2865995 w 3905665"/>
              <a:gd name="connsiteY2921" fmla="*/ 636147 h 3403632"/>
              <a:gd name="connsiteX2922" fmla="*/ 2894628 w 3905665"/>
              <a:gd name="connsiteY2922" fmla="*/ 664779 h 3403632"/>
              <a:gd name="connsiteX2923" fmla="*/ 2865995 w 3905665"/>
              <a:gd name="connsiteY2923" fmla="*/ 693412 h 3403632"/>
              <a:gd name="connsiteX2924" fmla="*/ 2837362 w 3905665"/>
              <a:gd name="connsiteY2924" fmla="*/ 664779 h 3403632"/>
              <a:gd name="connsiteX2925" fmla="*/ 2865995 w 3905665"/>
              <a:gd name="connsiteY2925" fmla="*/ 636147 h 3403632"/>
              <a:gd name="connsiteX2926" fmla="*/ 1181112 w 3905665"/>
              <a:gd name="connsiteY2926" fmla="*/ 634893 h 3403632"/>
              <a:gd name="connsiteX2927" fmla="*/ 1214436 w 3905665"/>
              <a:gd name="connsiteY2927" fmla="*/ 668216 h 3403632"/>
              <a:gd name="connsiteX2928" fmla="*/ 1181112 w 3905665"/>
              <a:gd name="connsiteY2928" fmla="*/ 701540 h 3403632"/>
              <a:gd name="connsiteX2929" fmla="*/ 1147789 w 3905665"/>
              <a:gd name="connsiteY2929" fmla="*/ 668216 h 3403632"/>
              <a:gd name="connsiteX2930" fmla="*/ 1181112 w 3905665"/>
              <a:gd name="connsiteY2930" fmla="*/ 634893 h 3403632"/>
              <a:gd name="connsiteX2931" fmla="*/ 3101230 w 3905665"/>
              <a:gd name="connsiteY2931" fmla="*/ 629983 h 3403632"/>
              <a:gd name="connsiteX2932" fmla="*/ 3138254 w 3905665"/>
              <a:gd name="connsiteY2932" fmla="*/ 667007 h 3403632"/>
              <a:gd name="connsiteX2933" fmla="*/ 3101230 w 3905665"/>
              <a:gd name="connsiteY2933" fmla="*/ 704031 h 3403632"/>
              <a:gd name="connsiteX2934" fmla="*/ 3064204 w 3905665"/>
              <a:gd name="connsiteY2934" fmla="*/ 667007 h 3403632"/>
              <a:gd name="connsiteX2935" fmla="*/ 3101230 w 3905665"/>
              <a:gd name="connsiteY2935" fmla="*/ 629983 h 3403632"/>
              <a:gd name="connsiteX2936" fmla="*/ 1629864 w 3905665"/>
              <a:gd name="connsiteY2936" fmla="*/ 628727 h 3403632"/>
              <a:gd name="connsiteX2937" fmla="*/ 1644920 w 3905665"/>
              <a:gd name="connsiteY2937" fmla="*/ 643783 h 3403632"/>
              <a:gd name="connsiteX2938" fmla="*/ 1629864 w 3905665"/>
              <a:gd name="connsiteY2938" fmla="*/ 658842 h 3403632"/>
              <a:gd name="connsiteX2939" fmla="*/ 1614558 w 3905665"/>
              <a:gd name="connsiteY2939" fmla="*/ 643783 h 3403632"/>
              <a:gd name="connsiteX2940" fmla="*/ 1629864 w 3905665"/>
              <a:gd name="connsiteY2940" fmla="*/ 628727 h 3403632"/>
              <a:gd name="connsiteX2941" fmla="*/ 51098 w 3905665"/>
              <a:gd name="connsiteY2941" fmla="*/ 625261 h 3403632"/>
              <a:gd name="connsiteX2942" fmla="*/ 99477 w 3905665"/>
              <a:gd name="connsiteY2942" fmla="*/ 673641 h 3403632"/>
              <a:gd name="connsiteX2943" fmla="*/ 51098 w 3905665"/>
              <a:gd name="connsiteY2943" fmla="*/ 722021 h 3403632"/>
              <a:gd name="connsiteX2944" fmla="*/ 2718 w 3905665"/>
              <a:gd name="connsiteY2944" fmla="*/ 673641 h 3403632"/>
              <a:gd name="connsiteX2945" fmla="*/ 51098 w 3905665"/>
              <a:gd name="connsiteY2945" fmla="*/ 625261 h 3403632"/>
              <a:gd name="connsiteX2946" fmla="*/ 3334488 w 3905665"/>
              <a:gd name="connsiteY2946" fmla="*/ 622089 h 3403632"/>
              <a:gd name="connsiteX2947" fmla="*/ 3380893 w 3905665"/>
              <a:gd name="connsiteY2947" fmla="*/ 668492 h 3403632"/>
              <a:gd name="connsiteX2948" fmla="*/ 3334488 w 3905665"/>
              <a:gd name="connsiteY2948" fmla="*/ 714898 h 3403632"/>
              <a:gd name="connsiteX2949" fmla="*/ 3288083 w 3905665"/>
              <a:gd name="connsiteY2949" fmla="*/ 668492 h 3403632"/>
              <a:gd name="connsiteX2950" fmla="*/ 3334488 w 3905665"/>
              <a:gd name="connsiteY2950" fmla="*/ 622089 h 3403632"/>
              <a:gd name="connsiteX2951" fmla="*/ 163903 w 3905665"/>
              <a:gd name="connsiteY2951" fmla="*/ 605269 h 3403632"/>
              <a:gd name="connsiteX2952" fmla="*/ 208087 w 3905665"/>
              <a:gd name="connsiteY2952" fmla="*/ 649452 h 3403632"/>
              <a:gd name="connsiteX2953" fmla="*/ 163903 w 3905665"/>
              <a:gd name="connsiteY2953" fmla="*/ 693636 h 3403632"/>
              <a:gd name="connsiteX2954" fmla="*/ 119719 w 3905665"/>
              <a:gd name="connsiteY2954" fmla="*/ 649452 h 3403632"/>
              <a:gd name="connsiteX2955" fmla="*/ 163903 w 3905665"/>
              <a:gd name="connsiteY2955" fmla="*/ 605269 h 3403632"/>
              <a:gd name="connsiteX2956" fmla="*/ 702003 w 3905665"/>
              <a:gd name="connsiteY2956" fmla="*/ 602061 h 3403632"/>
              <a:gd name="connsiteX2957" fmla="*/ 742978 w 3905665"/>
              <a:gd name="connsiteY2957" fmla="*/ 643037 h 3403632"/>
              <a:gd name="connsiteX2958" fmla="*/ 702003 w 3905665"/>
              <a:gd name="connsiteY2958" fmla="*/ 684010 h 3403632"/>
              <a:gd name="connsiteX2959" fmla="*/ 661029 w 3905665"/>
              <a:gd name="connsiteY2959" fmla="*/ 643037 h 3403632"/>
              <a:gd name="connsiteX2960" fmla="*/ 702003 w 3905665"/>
              <a:gd name="connsiteY2960" fmla="*/ 602061 h 3403632"/>
              <a:gd name="connsiteX2961" fmla="*/ 2284209 w 3905665"/>
              <a:gd name="connsiteY2961" fmla="*/ 600103 h 3403632"/>
              <a:gd name="connsiteX2962" fmla="*/ 2304451 w 3905665"/>
              <a:gd name="connsiteY2962" fmla="*/ 620341 h 3403632"/>
              <a:gd name="connsiteX2963" fmla="*/ 2284209 w 3905665"/>
              <a:gd name="connsiteY2963" fmla="*/ 640582 h 3403632"/>
              <a:gd name="connsiteX2964" fmla="*/ 2263970 w 3905665"/>
              <a:gd name="connsiteY2964" fmla="*/ 620341 h 3403632"/>
              <a:gd name="connsiteX2965" fmla="*/ 2284209 w 3905665"/>
              <a:gd name="connsiteY2965" fmla="*/ 600103 h 3403632"/>
              <a:gd name="connsiteX2966" fmla="*/ 2525117 w 3905665"/>
              <a:gd name="connsiteY2966" fmla="*/ 599858 h 3403632"/>
              <a:gd name="connsiteX2967" fmla="*/ 2550539 w 3905665"/>
              <a:gd name="connsiteY2967" fmla="*/ 625282 h 3403632"/>
              <a:gd name="connsiteX2968" fmla="*/ 2525117 w 3905665"/>
              <a:gd name="connsiteY2968" fmla="*/ 650703 h 3403632"/>
              <a:gd name="connsiteX2969" fmla="*/ 2499692 w 3905665"/>
              <a:gd name="connsiteY2969" fmla="*/ 625282 h 3403632"/>
              <a:gd name="connsiteX2970" fmla="*/ 2525117 w 3905665"/>
              <a:gd name="connsiteY2970" fmla="*/ 599858 h 3403632"/>
              <a:gd name="connsiteX2971" fmla="*/ 3573421 w 3905665"/>
              <a:gd name="connsiteY2971" fmla="*/ 599141 h 3403632"/>
              <a:gd name="connsiteX2972" fmla="*/ 3623037 w 3905665"/>
              <a:gd name="connsiteY2972" fmla="*/ 648750 h 3403632"/>
              <a:gd name="connsiteX2973" fmla="*/ 3573421 w 3905665"/>
              <a:gd name="connsiteY2973" fmla="*/ 698366 h 3403632"/>
              <a:gd name="connsiteX2974" fmla="*/ 3523808 w 3905665"/>
              <a:gd name="connsiteY2974" fmla="*/ 648750 h 3403632"/>
              <a:gd name="connsiteX2975" fmla="*/ 3573421 w 3905665"/>
              <a:gd name="connsiteY2975" fmla="*/ 599141 h 3403632"/>
              <a:gd name="connsiteX2976" fmla="*/ 1356365 w 3905665"/>
              <a:gd name="connsiteY2976" fmla="*/ 598117 h 3403632"/>
              <a:gd name="connsiteX2977" fmla="*/ 1397095 w 3905665"/>
              <a:gd name="connsiteY2977" fmla="*/ 638843 h 3403632"/>
              <a:gd name="connsiteX2978" fmla="*/ 1356365 w 3905665"/>
              <a:gd name="connsiteY2978" fmla="*/ 679571 h 3403632"/>
              <a:gd name="connsiteX2979" fmla="*/ 1315637 w 3905665"/>
              <a:gd name="connsiteY2979" fmla="*/ 638843 h 3403632"/>
              <a:gd name="connsiteX2980" fmla="*/ 1356365 w 3905665"/>
              <a:gd name="connsiteY2980" fmla="*/ 598117 h 3403632"/>
              <a:gd name="connsiteX2981" fmla="*/ 1790802 w 3905665"/>
              <a:gd name="connsiteY2981" fmla="*/ 593431 h 3403632"/>
              <a:gd name="connsiteX2982" fmla="*/ 1799439 w 3905665"/>
              <a:gd name="connsiteY2982" fmla="*/ 602071 h 3403632"/>
              <a:gd name="connsiteX2983" fmla="*/ 1790802 w 3905665"/>
              <a:gd name="connsiteY2983" fmla="*/ 610708 h 3403632"/>
              <a:gd name="connsiteX2984" fmla="*/ 1782162 w 3905665"/>
              <a:gd name="connsiteY2984" fmla="*/ 602071 h 3403632"/>
              <a:gd name="connsiteX2985" fmla="*/ 1790802 w 3905665"/>
              <a:gd name="connsiteY2985" fmla="*/ 593431 h 3403632"/>
              <a:gd name="connsiteX2986" fmla="*/ 496634 w 3905665"/>
              <a:gd name="connsiteY2986" fmla="*/ 589718 h 3403632"/>
              <a:gd name="connsiteX2987" fmla="*/ 545260 w 3905665"/>
              <a:gd name="connsiteY2987" fmla="*/ 638097 h 3403632"/>
              <a:gd name="connsiteX2988" fmla="*/ 496634 w 3905665"/>
              <a:gd name="connsiteY2988" fmla="*/ 686476 h 3403632"/>
              <a:gd name="connsiteX2989" fmla="*/ 448255 w 3905665"/>
              <a:gd name="connsiteY2989" fmla="*/ 638097 h 3403632"/>
              <a:gd name="connsiteX2990" fmla="*/ 496634 w 3905665"/>
              <a:gd name="connsiteY2990" fmla="*/ 589718 h 3403632"/>
              <a:gd name="connsiteX2991" fmla="*/ 897250 w 3905665"/>
              <a:gd name="connsiteY2991" fmla="*/ 588733 h 3403632"/>
              <a:gd name="connsiteX2992" fmla="*/ 941926 w 3905665"/>
              <a:gd name="connsiteY2992" fmla="*/ 633409 h 3403632"/>
              <a:gd name="connsiteX2993" fmla="*/ 897250 w 3905665"/>
              <a:gd name="connsiteY2993" fmla="*/ 678085 h 3403632"/>
              <a:gd name="connsiteX2994" fmla="*/ 852573 w 3905665"/>
              <a:gd name="connsiteY2994" fmla="*/ 633409 h 3403632"/>
              <a:gd name="connsiteX2995" fmla="*/ 897250 w 3905665"/>
              <a:gd name="connsiteY2995" fmla="*/ 588733 h 3403632"/>
              <a:gd name="connsiteX2996" fmla="*/ 2039844 w 3905665"/>
              <a:gd name="connsiteY2996" fmla="*/ 586769 h 3403632"/>
              <a:gd name="connsiteX2997" fmla="*/ 2065514 w 3905665"/>
              <a:gd name="connsiteY2997" fmla="*/ 612439 h 3403632"/>
              <a:gd name="connsiteX2998" fmla="*/ 2039844 w 3905665"/>
              <a:gd name="connsiteY2998" fmla="*/ 638109 h 3403632"/>
              <a:gd name="connsiteX2999" fmla="*/ 2014173 w 3905665"/>
              <a:gd name="connsiteY2999" fmla="*/ 612439 h 3403632"/>
              <a:gd name="connsiteX3000" fmla="*/ 2039844 w 3905665"/>
              <a:gd name="connsiteY3000" fmla="*/ 586769 h 3403632"/>
              <a:gd name="connsiteX3001" fmla="*/ 1524709 w 3905665"/>
              <a:gd name="connsiteY3001" fmla="*/ 584046 h 3403632"/>
              <a:gd name="connsiteX3002" fmla="*/ 1543468 w 3905665"/>
              <a:gd name="connsiteY3002" fmla="*/ 602805 h 3403632"/>
              <a:gd name="connsiteX3003" fmla="*/ 1524709 w 3905665"/>
              <a:gd name="connsiteY3003" fmla="*/ 621565 h 3403632"/>
              <a:gd name="connsiteX3004" fmla="*/ 1505949 w 3905665"/>
              <a:gd name="connsiteY3004" fmla="*/ 602805 h 3403632"/>
              <a:gd name="connsiteX3005" fmla="*/ 1524709 w 3905665"/>
              <a:gd name="connsiteY3005" fmla="*/ 584046 h 3403632"/>
              <a:gd name="connsiteX3006" fmla="*/ 274486 w 3905665"/>
              <a:gd name="connsiteY3006" fmla="*/ 576882 h 3403632"/>
              <a:gd name="connsiteX3007" fmla="*/ 313730 w 3905665"/>
              <a:gd name="connsiteY3007" fmla="*/ 615883 h 3403632"/>
              <a:gd name="connsiteX3008" fmla="*/ 274486 w 3905665"/>
              <a:gd name="connsiteY3008" fmla="*/ 654881 h 3403632"/>
              <a:gd name="connsiteX3009" fmla="*/ 235484 w 3905665"/>
              <a:gd name="connsiteY3009" fmla="*/ 615883 h 3403632"/>
              <a:gd name="connsiteX3010" fmla="*/ 274486 w 3905665"/>
              <a:gd name="connsiteY3010" fmla="*/ 576882 h 3403632"/>
              <a:gd name="connsiteX3011" fmla="*/ 2771705 w 3905665"/>
              <a:gd name="connsiteY3011" fmla="*/ 574934 h 3403632"/>
              <a:gd name="connsiteX3012" fmla="*/ 2806262 w 3905665"/>
              <a:gd name="connsiteY3012" fmla="*/ 609489 h 3403632"/>
              <a:gd name="connsiteX3013" fmla="*/ 2771705 w 3905665"/>
              <a:gd name="connsiteY3013" fmla="*/ 644044 h 3403632"/>
              <a:gd name="connsiteX3014" fmla="*/ 2737148 w 3905665"/>
              <a:gd name="connsiteY3014" fmla="*/ 609489 h 3403632"/>
              <a:gd name="connsiteX3015" fmla="*/ 2771705 w 3905665"/>
              <a:gd name="connsiteY3015" fmla="*/ 574934 h 3403632"/>
              <a:gd name="connsiteX3016" fmla="*/ 1083115 w 3905665"/>
              <a:gd name="connsiteY3016" fmla="*/ 572198 h 3403632"/>
              <a:gd name="connsiteX3017" fmla="*/ 1123596 w 3905665"/>
              <a:gd name="connsiteY3017" fmla="*/ 612678 h 3403632"/>
              <a:gd name="connsiteX3018" fmla="*/ 1083115 w 3905665"/>
              <a:gd name="connsiteY3018" fmla="*/ 653159 h 3403632"/>
              <a:gd name="connsiteX3019" fmla="*/ 1042637 w 3905665"/>
              <a:gd name="connsiteY3019" fmla="*/ 612678 h 3403632"/>
              <a:gd name="connsiteX3020" fmla="*/ 1083115 w 3905665"/>
              <a:gd name="connsiteY3020" fmla="*/ 572198 h 3403632"/>
              <a:gd name="connsiteX3021" fmla="*/ 3239209 w 3905665"/>
              <a:gd name="connsiteY3021" fmla="*/ 568773 h 3403632"/>
              <a:gd name="connsiteX3022" fmla="*/ 3284134 w 3905665"/>
              <a:gd name="connsiteY3022" fmla="*/ 613694 h 3403632"/>
              <a:gd name="connsiteX3023" fmla="*/ 3239209 w 3905665"/>
              <a:gd name="connsiteY3023" fmla="*/ 658616 h 3403632"/>
              <a:gd name="connsiteX3024" fmla="*/ 3194286 w 3905665"/>
              <a:gd name="connsiteY3024" fmla="*/ 613694 h 3403632"/>
              <a:gd name="connsiteX3025" fmla="*/ 3239209 w 3905665"/>
              <a:gd name="connsiteY3025" fmla="*/ 568773 h 3403632"/>
              <a:gd name="connsiteX3026" fmla="*/ 3006444 w 3905665"/>
              <a:gd name="connsiteY3026" fmla="*/ 568027 h 3403632"/>
              <a:gd name="connsiteX3027" fmla="*/ 3050382 w 3905665"/>
              <a:gd name="connsiteY3027" fmla="*/ 611961 h 3403632"/>
              <a:gd name="connsiteX3028" fmla="*/ 3006444 w 3905665"/>
              <a:gd name="connsiteY3028" fmla="*/ 655896 h 3403632"/>
              <a:gd name="connsiteX3029" fmla="*/ 2962508 w 3905665"/>
              <a:gd name="connsiteY3029" fmla="*/ 611961 h 3403632"/>
              <a:gd name="connsiteX3030" fmla="*/ 3006444 w 3905665"/>
              <a:gd name="connsiteY3030" fmla="*/ 568027 h 3403632"/>
              <a:gd name="connsiteX3031" fmla="*/ 1260594 w 3905665"/>
              <a:gd name="connsiteY3031" fmla="*/ 546033 h 3403632"/>
              <a:gd name="connsiteX3032" fmla="*/ 1297864 w 3905665"/>
              <a:gd name="connsiteY3032" fmla="*/ 583306 h 3403632"/>
              <a:gd name="connsiteX3033" fmla="*/ 1260594 w 3905665"/>
              <a:gd name="connsiteY3033" fmla="*/ 620575 h 3403632"/>
              <a:gd name="connsiteX3034" fmla="*/ 1223321 w 3905665"/>
              <a:gd name="connsiteY3034" fmla="*/ 583306 h 3403632"/>
              <a:gd name="connsiteX3035" fmla="*/ 1260594 w 3905665"/>
              <a:gd name="connsiteY3035" fmla="*/ 546033 h 3403632"/>
              <a:gd name="connsiteX3036" fmla="*/ 2189919 w 3905665"/>
              <a:gd name="connsiteY3036" fmla="*/ 544810 h 3403632"/>
              <a:gd name="connsiteX3037" fmla="*/ 2211392 w 3905665"/>
              <a:gd name="connsiteY3037" fmla="*/ 566286 h 3403632"/>
              <a:gd name="connsiteX3038" fmla="*/ 2189919 w 3905665"/>
              <a:gd name="connsiteY3038" fmla="*/ 587761 h 3403632"/>
              <a:gd name="connsiteX3039" fmla="*/ 2168444 w 3905665"/>
              <a:gd name="connsiteY3039" fmla="*/ 566286 h 3403632"/>
              <a:gd name="connsiteX3040" fmla="*/ 2189919 w 3905665"/>
              <a:gd name="connsiteY3040" fmla="*/ 544810 h 3403632"/>
              <a:gd name="connsiteX3041" fmla="*/ 3477898 w 3905665"/>
              <a:gd name="connsiteY3041" fmla="*/ 543352 h 3403632"/>
              <a:gd name="connsiteX3042" fmla="*/ 3528004 w 3905665"/>
              <a:gd name="connsiteY3042" fmla="*/ 593461 h 3403632"/>
              <a:gd name="connsiteX3043" fmla="*/ 3477898 w 3905665"/>
              <a:gd name="connsiteY3043" fmla="*/ 643563 h 3403632"/>
              <a:gd name="connsiteX3044" fmla="*/ 3427790 w 3905665"/>
              <a:gd name="connsiteY3044" fmla="*/ 593461 h 3403632"/>
              <a:gd name="connsiteX3045" fmla="*/ 3477898 w 3905665"/>
              <a:gd name="connsiteY3045" fmla="*/ 543352 h 3403632"/>
              <a:gd name="connsiteX3046" fmla="*/ 3707207 w 3905665"/>
              <a:gd name="connsiteY3046" fmla="*/ 542124 h 3403632"/>
              <a:gd name="connsiteX3047" fmla="*/ 3758795 w 3905665"/>
              <a:gd name="connsiteY3047" fmla="*/ 593713 h 3403632"/>
              <a:gd name="connsiteX3048" fmla="*/ 3707207 w 3905665"/>
              <a:gd name="connsiteY3048" fmla="*/ 645545 h 3403632"/>
              <a:gd name="connsiteX3049" fmla="*/ 3655619 w 3905665"/>
              <a:gd name="connsiteY3049" fmla="*/ 593713 h 3403632"/>
              <a:gd name="connsiteX3050" fmla="*/ 3707207 w 3905665"/>
              <a:gd name="connsiteY3050" fmla="*/ 542124 h 3403632"/>
              <a:gd name="connsiteX3051" fmla="*/ 2431076 w 3905665"/>
              <a:gd name="connsiteY3051" fmla="*/ 541357 h 3403632"/>
              <a:gd name="connsiteX3052" fmla="*/ 2460696 w 3905665"/>
              <a:gd name="connsiteY3052" fmla="*/ 570732 h 3403632"/>
              <a:gd name="connsiteX3053" fmla="*/ 2431076 w 3905665"/>
              <a:gd name="connsiteY3053" fmla="*/ 600352 h 3403632"/>
              <a:gd name="connsiteX3054" fmla="*/ 2401456 w 3905665"/>
              <a:gd name="connsiteY3054" fmla="*/ 570732 h 3403632"/>
              <a:gd name="connsiteX3055" fmla="*/ 2431076 w 3905665"/>
              <a:gd name="connsiteY3055" fmla="*/ 541357 h 3403632"/>
              <a:gd name="connsiteX3056" fmla="*/ 50360 w 3905665"/>
              <a:gd name="connsiteY3056" fmla="*/ 540598 h 3403632"/>
              <a:gd name="connsiteX3057" fmla="*/ 73068 w 3905665"/>
              <a:gd name="connsiteY3057" fmla="*/ 563307 h 3403632"/>
              <a:gd name="connsiteX3058" fmla="*/ 50360 w 3905665"/>
              <a:gd name="connsiteY3058" fmla="*/ 586016 h 3403632"/>
              <a:gd name="connsiteX3059" fmla="*/ 27651 w 3905665"/>
              <a:gd name="connsiteY3059" fmla="*/ 563307 h 3403632"/>
              <a:gd name="connsiteX3060" fmla="*/ 50360 w 3905665"/>
              <a:gd name="connsiteY3060" fmla="*/ 540598 h 3403632"/>
              <a:gd name="connsiteX3061" fmla="*/ 1946056 w 3905665"/>
              <a:gd name="connsiteY3061" fmla="*/ 538387 h 3403632"/>
              <a:gd name="connsiteX3062" fmla="*/ 1965551 w 3905665"/>
              <a:gd name="connsiteY3062" fmla="*/ 557889 h 3403632"/>
              <a:gd name="connsiteX3063" fmla="*/ 1946056 w 3905665"/>
              <a:gd name="connsiteY3063" fmla="*/ 577387 h 3403632"/>
              <a:gd name="connsiteX3064" fmla="*/ 1926558 w 3905665"/>
              <a:gd name="connsiteY3064" fmla="*/ 557889 h 3403632"/>
              <a:gd name="connsiteX3065" fmla="*/ 1946056 w 3905665"/>
              <a:gd name="connsiteY3065" fmla="*/ 538387 h 3403632"/>
              <a:gd name="connsiteX3066" fmla="*/ 381856 w 3905665"/>
              <a:gd name="connsiteY3066" fmla="*/ 538130 h 3403632"/>
              <a:gd name="connsiteX3067" fmla="*/ 416413 w 3905665"/>
              <a:gd name="connsiteY3067" fmla="*/ 572933 h 3403632"/>
              <a:gd name="connsiteX3068" fmla="*/ 381856 w 3905665"/>
              <a:gd name="connsiteY3068" fmla="*/ 607490 h 3403632"/>
              <a:gd name="connsiteX3069" fmla="*/ 347053 w 3905665"/>
              <a:gd name="connsiteY3069" fmla="*/ 572933 h 3403632"/>
              <a:gd name="connsiteX3070" fmla="*/ 381856 w 3905665"/>
              <a:gd name="connsiteY3070" fmla="*/ 538130 h 3403632"/>
              <a:gd name="connsiteX3071" fmla="*/ 598331 w 3905665"/>
              <a:gd name="connsiteY3071" fmla="*/ 531218 h 3403632"/>
              <a:gd name="connsiteX3072" fmla="*/ 647698 w 3905665"/>
              <a:gd name="connsiteY3072" fmla="*/ 580586 h 3403632"/>
              <a:gd name="connsiteX3073" fmla="*/ 598331 w 3905665"/>
              <a:gd name="connsiteY3073" fmla="*/ 629952 h 3403632"/>
              <a:gd name="connsiteX3074" fmla="*/ 548965 w 3905665"/>
              <a:gd name="connsiteY3074" fmla="*/ 580586 h 3403632"/>
              <a:gd name="connsiteX3075" fmla="*/ 598331 w 3905665"/>
              <a:gd name="connsiteY3075" fmla="*/ 531218 h 3403632"/>
              <a:gd name="connsiteX3076" fmla="*/ 1696508 w 3905665"/>
              <a:gd name="connsiteY3076" fmla="*/ 528510 h 3403632"/>
              <a:gd name="connsiteX3077" fmla="*/ 1716010 w 3905665"/>
              <a:gd name="connsiteY3077" fmla="*/ 548011 h 3403632"/>
              <a:gd name="connsiteX3078" fmla="*/ 1696508 w 3905665"/>
              <a:gd name="connsiteY3078" fmla="*/ 567512 h 3403632"/>
              <a:gd name="connsiteX3079" fmla="*/ 1677008 w 3905665"/>
              <a:gd name="connsiteY3079" fmla="*/ 548011 h 3403632"/>
              <a:gd name="connsiteX3080" fmla="*/ 1696508 w 3905665"/>
              <a:gd name="connsiteY3080" fmla="*/ 528510 h 3403632"/>
              <a:gd name="connsiteX3081" fmla="*/ 796541 w 3905665"/>
              <a:gd name="connsiteY3081" fmla="*/ 527762 h 3403632"/>
              <a:gd name="connsiteX3082" fmla="*/ 843687 w 3905665"/>
              <a:gd name="connsiteY3082" fmla="*/ 574909 h 3403632"/>
              <a:gd name="connsiteX3083" fmla="*/ 796541 w 3905665"/>
              <a:gd name="connsiteY3083" fmla="*/ 622055 h 3403632"/>
              <a:gd name="connsiteX3084" fmla="*/ 749394 w 3905665"/>
              <a:gd name="connsiteY3084" fmla="*/ 574909 h 3403632"/>
              <a:gd name="connsiteX3085" fmla="*/ 796541 w 3905665"/>
              <a:gd name="connsiteY3085" fmla="*/ 527762 h 3403632"/>
              <a:gd name="connsiteX3086" fmla="*/ 2677167 w 3905665"/>
              <a:gd name="connsiteY3086" fmla="*/ 524575 h 3403632"/>
              <a:gd name="connsiteX3087" fmla="*/ 2707280 w 3905665"/>
              <a:gd name="connsiteY3087" fmla="*/ 554692 h 3403632"/>
              <a:gd name="connsiteX3088" fmla="*/ 2677167 w 3905665"/>
              <a:gd name="connsiteY3088" fmla="*/ 584805 h 3403632"/>
              <a:gd name="connsiteX3089" fmla="*/ 2647052 w 3905665"/>
              <a:gd name="connsiteY3089" fmla="*/ 554692 h 3403632"/>
              <a:gd name="connsiteX3090" fmla="*/ 2677167 w 3905665"/>
              <a:gd name="connsiteY3090" fmla="*/ 524575 h 3403632"/>
              <a:gd name="connsiteX3091" fmla="*/ 163160 w 3905665"/>
              <a:gd name="connsiteY3091" fmla="*/ 523810 h 3403632"/>
              <a:gd name="connsiteX3092" fmla="*/ 176490 w 3905665"/>
              <a:gd name="connsiteY3092" fmla="*/ 537141 h 3403632"/>
              <a:gd name="connsiteX3093" fmla="*/ 163160 w 3905665"/>
              <a:gd name="connsiteY3093" fmla="*/ 550469 h 3403632"/>
              <a:gd name="connsiteX3094" fmla="*/ 149832 w 3905665"/>
              <a:gd name="connsiteY3094" fmla="*/ 537141 h 3403632"/>
              <a:gd name="connsiteX3095" fmla="*/ 163160 w 3905665"/>
              <a:gd name="connsiteY3095" fmla="*/ 523810 h 3403632"/>
              <a:gd name="connsiteX3096" fmla="*/ 2911415 w 3905665"/>
              <a:gd name="connsiteY3096" fmla="*/ 520624 h 3403632"/>
              <a:gd name="connsiteX3097" fmla="*/ 2948685 w 3905665"/>
              <a:gd name="connsiteY3097" fmla="*/ 557905 h 3403632"/>
              <a:gd name="connsiteX3098" fmla="*/ 2911415 w 3905665"/>
              <a:gd name="connsiteY3098" fmla="*/ 595175 h 3403632"/>
              <a:gd name="connsiteX3099" fmla="*/ 2874142 w 3905665"/>
              <a:gd name="connsiteY3099" fmla="*/ 557905 h 3403632"/>
              <a:gd name="connsiteX3100" fmla="*/ 2911415 w 3905665"/>
              <a:gd name="connsiteY3100" fmla="*/ 520624 h 3403632"/>
              <a:gd name="connsiteX3101" fmla="*/ 3143932 w 3905665"/>
              <a:gd name="connsiteY3101" fmla="*/ 515199 h 3403632"/>
              <a:gd name="connsiteX3102" fmla="*/ 3187621 w 3905665"/>
              <a:gd name="connsiteY3102" fmla="*/ 558897 h 3403632"/>
              <a:gd name="connsiteX3103" fmla="*/ 3143932 w 3905665"/>
              <a:gd name="connsiteY3103" fmla="*/ 602585 h 3403632"/>
              <a:gd name="connsiteX3104" fmla="*/ 3100243 w 3905665"/>
              <a:gd name="connsiteY3104" fmla="*/ 558897 h 3403632"/>
              <a:gd name="connsiteX3105" fmla="*/ 3143932 w 3905665"/>
              <a:gd name="connsiteY3105" fmla="*/ 515199 h 3403632"/>
              <a:gd name="connsiteX3106" fmla="*/ 984880 w 3905665"/>
              <a:gd name="connsiteY3106" fmla="*/ 510485 h 3403632"/>
              <a:gd name="connsiteX3107" fmla="*/ 1031037 w 3905665"/>
              <a:gd name="connsiteY3107" fmla="*/ 556399 h 3403632"/>
              <a:gd name="connsiteX3108" fmla="*/ 984880 w 3905665"/>
              <a:gd name="connsiteY3108" fmla="*/ 602556 h 3403632"/>
              <a:gd name="connsiteX3109" fmla="*/ 938968 w 3905665"/>
              <a:gd name="connsiteY3109" fmla="*/ 556399 h 3403632"/>
              <a:gd name="connsiteX3110" fmla="*/ 984880 w 3905665"/>
              <a:gd name="connsiteY3110" fmla="*/ 510485 h 3403632"/>
              <a:gd name="connsiteX3111" fmla="*/ 1429675 w 3905665"/>
              <a:gd name="connsiteY3111" fmla="*/ 509008 h 3403632"/>
              <a:gd name="connsiteX3112" fmla="*/ 1469417 w 3905665"/>
              <a:gd name="connsiteY3112" fmla="*/ 548750 h 3403632"/>
              <a:gd name="connsiteX3113" fmla="*/ 1429675 w 3905665"/>
              <a:gd name="connsiteY3113" fmla="*/ 588492 h 3403632"/>
              <a:gd name="connsiteX3114" fmla="*/ 1389935 w 3905665"/>
              <a:gd name="connsiteY3114" fmla="*/ 548750 h 3403632"/>
              <a:gd name="connsiteX3115" fmla="*/ 1429675 w 3905665"/>
              <a:gd name="connsiteY3115" fmla="*/ 509008 h 3403632"/>
              <a:gd name="connsiteX3116" fmla="*/ 3374722 w 3905665"/>
              <a:gd name="connsiteY3116" fmla="*/ 508537 h 3403632"/>
              <a:gd name="connsiteX3117" fmla="*/ 3425815 w 3905665"/>
              <a:gd name="connsiteY3117" fmla="*/ 559643 h 3403632"/>
              <a:gd name="connsiteX3118" fmla="*/ 3374722 w 3905665"/>
              <a:gd name="connsiteY3118" fmla="*/ 610734 h 3403632"/>
              <a:gd name="connsiteX3119" fmla="*/ 3323627 w 3905665"/>
              <a:gd name="connsiteY3119" fmla="*/ 559643 h 3403632"/>
              <a:gd name="connsiteX3120" fmla="*/ 3374722 w 3905665"/>
              <a:gd name="connsiteY3120" fmla="*/ 508537 h 3403632"/>
              <a:gd name="connsiteX3121" fmla="*/ 2336538 w 3905665"/>
              <a:gd name="connsiteY3121" fmla="*/ 493219 h 3403632"/>
              <a:gd name="connsiteX3122" fmla="*/ 2359985 w 3905665"/>
              <a:gd name="connsiteY3122" fmla="*/ 516669 h 3403632"/>
              <a:gd name="connsiteX3123" fmla="*/ 2336538 w 3905665"/>
              <a:gd name="connsiteY3123" fmla="*/ 540121 h 3403632"/>
              <a:gd name="connsiteX3124" fmla="*/ 2313088 w 3905665"/>
              <a:gd name="connsiteY3124" fmla="*/ 516669 h 3403632"/>
              <a:gd name="connsiteX3125" fmla="*/ 2336538 w 3905665"/>
              <a:gd name="connsiteY3125" fmla="*/ 493219 h 3403632"/>
              <a:gd name="connsiteX3126" fmla="*/ 273003 w 3905665"/>
              <a:gd name="connsiteY3126" fmla="*/ 490736 h 3403632"/>
              <a:gd name="connsiteX3127" fmla="*/ 282627 w 3905665"/>
              <a:gd name="connsiteY3127" fmla="*/ 500363 h 3403632"/>
              <a:gd name="connsiteX3128" fmla="*/ 273003 w 3905665"/>
              <a:gd name="connsiteY3128" fmla="*/ 510236 h 3403632"/>
              <a:gd name="connsiteX3129" fmla="*/ 263376 w 3905665"/>
              <a:gd name="connsiteY3129" fmla="*/ 500363 h 3403632"/>
              <a:gd name="connsiteX3130" fmla="*/ 273003 w 3905665"/>
              <a:gd name="connsiteY3130" fmla="*/ 490736 h 3403632"/>
              <a:gd name="connsiteX3131" fmla="*/ 485281 w 3905665"/>
              <a:gd name="connsiteY3131" fmla="*/ 489008 h 3403632"/>
              <a:gd name="connsiteX3132" fmla="*/ 517368 w 3905665"/>
              <a:gd name="connsiteY3132" fmla="*/ 521095 h 3403632"/>
              <a:gd name="connsiteX3133" fmla="*/ 485281 w 3905665"/>
              <a:gd name="connsiteY3133" fmla="*/ 553185 h 3403632"/>
              <a:gd name="connsiteX3134" fmla="*/ 453191 w 3905665"/>
              <a:gd name="connsiteY3134" fmla="*/ 521095 h 3403632"/>
              <a:gd name="connsiteX3135" fmla="*/ 485281 w 3905665"/>
              <a:gd name="connsiteY3135" fmla="*/ 489008 h 3403632"/>
              <a:gd name="connsiteX3136" fmla="*/ 1592341 w 3905665"/>
              <a:gd name="connsiteY3136" fmla="*/ 487039 h 3403632"/>
              <a:gd name="connsiteX3137" fmla="*/ 1614063 w 3905665"/>
              <a:gd name="connsiteY3137" fmla="*/ 508760 h 3403632"/>
              <a:gd name="connsiteX3138" fmla="*/ 1592341 w 3905665"/>
              <a:gd name="connsiteY3138" fmla="*/ 530483 h 3403632"/>
              <a:gd name="connsiteX3139" fmla="*/ 1570620 w 3905665"/>
              <a:gd name="connsiteY3139" fmla="*/ 508760 h 3403632"/>
              <a:gd name="connsiteX3140" fmla="*/ 1592341 w 3905665"/>
              <a:gd name="connsiteY3140" fmla="*/ 487039 h 3403632"/>
              <a:gd name="connsiteX3141" fmla="*/ 3610943 w 3905665"/>
              <a:gd name="connsiteY3141" fmla="*/ 486575 h 3403632"/>
              <a:gd name="connsiteX3142" fmla="*/ 3663026 w 3905665"/>
              <a:gd name="connsiteY3142" fmla="*/ 538667 h 3403632"/>
              <a:gd name="connsiteX3143" fmla="*/ 3610943 w 3905665"/>
              <a:gd name="connsiteY3143" fmla="*/ 590752 h 3403632"/>
              <a:gd name="connsiteX3144" fmla="*/ 3558860 w 3905665"/>
              <a:gd name="connsiteY3144" fmla="*/ 538667 h 3403632"/>
              <a:gd name="connsiteX3145" fmla="*/ 3610943 w 3905665"/>
              <a:gd name="connsiteY3145" fmla="*/ 486575 h 3403632"/>
              <a:gd name="connsiteX3146" fmla="*/ 1852511 w 3905665"/>
              <a:gd name="connsiteY3146" fmla="*/ 485313 h 3403632"/>
              <a:gd name="connsiteX3147" fmla="*/ 1870280 w 3905665"/>
              <a:gd name="connsiteY3147" fmla="*/ 503085 h 3403632"/>
              <a:gd name="connsiteX3148" fmla="*/ 1852511 w 3905665"/>
              <a:gd name="connsiteY3148" fmla="*/ 520857 h 3403632"/>
              <a:gd name="connsiteX3149" fmla="*/ 1834734 w 3905665"/>
              <a:gd name="connsiteY3149" fmla="*/ 503085 h 3403632"/>
              <a:gd name="connsiteX3150" fmla="*/ 1852511 w 3905665"/>
              <a:gd name="connsiteY3150" fmla="*/ 485313 h 3403632"/>
              <a:gd name="connsiteX3151" fmla="*/ 2573992 w 3905665"/>
              <a:gd name="connsiteY3151" fmla="*/ 485074 h 3403632"/>
              <a:gd name="connsiteX3152" fmla="*/ 2608795 w 3905665"/>
              <a:gd name="connsiteY3152" fmla="*/ 519877 h 3403632"/>
              <a:gd name="connsiteX3153" fmla="*/ 2573992 w 3905665"/>
              <a:gd name="connsiteY3153" fmla="*/ 554935 h 3403632"/>
              <a:gd name="connsiteX3154" fmla="*/ 2538940 w 3905665"/>
              <a:gd name="connsiteY3154" fmla="*/ 519877 h 3403632"/>
              <a:gd name="connsiteX3155" fmla="*/ 2573992 w 3905665"/>
              <a:gd name="connsiteY3155" fmla="*/ 485074 h 3403632"/>
              <a:gd name="connsiteX3156" fmla="*/ 1163834 w 3905665"/>
              <a:gd name="connsiteY3156" fmla="*/ 482841 h 3403632"/>
              <a:gd name="connsiteX3157" fmla="*/ 1209990 w 3905665"/>
              <a:gd name="connsiteY3157" fmla="*/ 529001 h 3403632"/>
              <a:gd name="connsiteX3158" fmla="*/ 1163834 w 3905665"/>
              <a:gd name="connsiteY3158" fmla="*/ 575158 h 3403632"/>
              <a:gd name="connsiteX3159" fmla="*/ 1117675 w 3905665"/>
              <a:gd name="connsiteY3159" fmla="*/ 529001 h 3403632"/>
              <a:gd name="connsiteX3160" fmla="*/ 1163834 w 3905665"/>
              <a:gd name="connsiteY3160" fmla="*/ 482841 h 3403632"/>
              <a:gd name="connsiteX3161" fmla="*/ 2096615 w 3905665"/>
              <a:gd name="connsiteY3161" fmla="*/ 480874 h 3403632"/>
              <a:gd name="connsiteX3162" fmla="*/ 2126236 w 3905665"/>
              <a:gd name="connsiteY3162" fmla="*/ 510493 h 3403632"/>
              <a:gd name="connsiteX3163" fmla="*/ 2096615 w 3905665"/>
              <a:gd name="connsiteY3163" fmla="*/ 540363 h 3403632"/>
              <a:gd name="connsiteX3164" fmla="*/ 2066995 w 3905665"/>
              <a:gd name="connsiteY3164" fmla="*/ 510493 h 3403632"/>
              <a:gd name="connsiteX3165" fmla="*/ 2096615 w 3905665"/>
              <a:gd name="connsiteY3165" fmla="*/ 480874 h 3403632"/>
              <a:gd name="connsiteX3166" fmla="*/ 695337 w 3905665"/>
              <a:gd name="connsiteY3166" fmla="*/ 465559 h 3403632"/>
              <a:gd name="connsiteX3167" fmla="*/ 744952 w 3905665"/>
              <a:gd name="connsiteY3167" fmla="*/ 515172 h 3403632"/>
              <a:gd name="connsiteX3168" fmla="*/ 695337 w 3905665"/>
              <a:gd name="connsiteY3168" fmla="*/ 564788 h 3403632"/>
              <a:gd name="connsiteX3169" fmla="*/ 645723 w 3905665"/>
              <a:gd name="connsiteY3169" fmla="*/ 515172 h 3403632"/>
              <a:gd name="connsiteX3170" fmla="*/ 695337 w 3905665"/>
              <a:gd name="connsiteY3170" fmla="*/ 465559 h 3403632"/>
              <a:gd name="connsiteX3171" fmla="*/ 2816628 w 3905665"/>
              <a:gd name="connsiteY3171" fmla="*/ 458915 h 3403632"/>
              <a:gd name="connsiteX3172" fmla="*/ 2860317 w 3905665"/>
              <a:gd name="connsiteY3172" fmla="*/ 502358 h 3403632"/>
              <a:gd name="connsiteX3173" fmla="*/ 2816628 w 3905665"/>
              <a:gd name="connsiteY3173" fmla="*/ 545807 h 3403632"/>
              <a:gd name="connsiteX3174" fmla="*/ 2773185 w 3905665"/>
              <a:gd name="connsiteY3174" fmla="*/ 502358 h 3403632"/>
              <a:gd name="connsiteX3175" fmla="*/ 2816628 w 3905665"/>
              <a:gd name="connsiteY3175" fmla="*/ 458915 h 3403632"/>
              <a:gd name="connsiteX3176" fmla="*/ 3048652 w 3905665"/>
              <a:gd name="connsiteY3176" fmla="*/ 453983 h 3403632"/>
              <a:gd name="connsiteX3177" fmla="*/ 3098265 w 3905665"/>
              <a:gd name="connsiteY3177" fmla="*/ 503595 h 3403632"/>
              <a:gd name="connsiteX3178" fmla="*/ 3048652 w 3905665"/>
              <a:gd name="connsiteY3178" fmla="*/ 553219 h 3403632"/>
              <a:gd name="connsiteX3179" fmla="*/ 2999039 w 3905665"/>
              <a:gd name="connsiteY3179" fmla="*/ 503595 h 3403632"/>
              <a:gd name="connsiteX3180" fmla="*/ 3048652 w 3905665"/>
              <a:gd name="connsiteY3180" fmla="*/ 453983 h 3403632"/>
              <a:gd name="connsiteX3181" fmla="*/ 3278949 w 3905665"/>
              <a:gd name="connsiteY3181" fmla="*/ 452999 h 3403632"/>
              <a:gd name="connsiteX3182" fmla="*/ 3330537 w 3905665"/>
              <a:gd name="connsiteY3182" fmla="*/ 504586 h 3403632"/>
              <a:gd name="connsiteX3183" fmla="*/ 3278949 w 3905665"/>
              <a:gd name="connsiteY3183" fmla="*/ 556184 h 3403632"/>
              <a:gd name="connsiteX3184" fmla="*/ 3227361 w 3905665"/>
              <a:gd name="connsiteY3184" fmla="*/ 504586 h 3403632"/>
              <a:gd name="connsiteX3185" fmla="*/ 3278949 w 3905665"/>
              <a:gd name="connsiteY3185" fmla="*/ 452999 h 3403632"/>
              <a:gd name="connsiteX3186" fmla="*/ 1334642 w 3905665"/>
              <a:gd name="connsiteY3186" fmla="*/ 451493 h 3403632"/>
              <a:gd name="connsiteX3187" fmla="*/ 1377098 w 3905665"/>
              <a:gd name="connsiteY3187" fmla="*/ 493948 h 3403632"/>
              <a:gd name="connsiteX3188" fmla="*/ 1334642 w 3905665"/>
              <a:gd name="connsiteY3188" fmla="*/ 536406 h 3403632"/>
              <a:gd name="connsiteX3189" fmla="*/ 1292186 w 3905665"/>
              <a:gd name="connsiteY3189" fmla="*/ 493948 h 3403632"/>
              <a:gd name="connsiteX3190" fmla="*/ 1334642 w 3905665"/>
              <a:gd name="connsiteY3190" fmla="*/ 451493 h 3403632"/>
              <a:gd name="connsiteX3191" fmla="*/ 885897 w 3905665"/>
              <a:gd name="connsiteY3191" fmla="*/ 450504 h 3403632"/>
              <a:gd name="connsiteX3192" fmla="*/ 935264 w 3905665"/>
              <a:gd name="connsiteY3192" fmla="*/ 499871 h 3403632"/>
              <a:gd name="connsiteX3193" fmla="*/ 885897 w 3905665"/>
              <a:gd name="connsiteY3193" fmla="*/ 549239 h 3403632"/>
              <a:gd name="connsiteX3194" fmla="*/ 836530 w 3905665"/>
              <a:gd name="connsiteY3194" fmla="*/ 499871 h 3403632"/>
              <a:gd name="connsiteX3195" fmla="*/ 885897 w 3905665"/>
              <a:gd name="connsiteY3195" fmla="*/ 450504 h 3403632"/>
              <a:gd name="connsiteX3196" fmla="*/ 49864 w 3905665"/>
              <a:gd name="connsiteY3196" fmla="*/ 439394 h 3403632"/>
              <a:gd name="connsiteX3197" fmla="*/ 63441 w 3905665"/>
              <a:gd name="connsiteY3197" fmla="*/ 452971 h 3403632"/>
              <a:gd name="connsiteX3198" fmla="*/ 49864 w 3905665"/>
              <a:gd name="connsiteY3198" fmla="*/ 466548 h 3403632"/>
              <a:gd name="connsiteX3199" fmla="*/ 36287 w 3905665"/>
              <a:gd name="connsiteY3199" fmla="*/ 452971 h 3403632"/>
              <a:gd name="connsiteX3200" fmla="*/ 49864 w 3905665"/>
              <a:gd name="connsiteY3200" fmla="*/ 439394 h 3403632"/>
              <a:gd name="connsiteX3201" fmla="*/ 378894 w 3905665"/>
              <a:gd name="connsiteY3201" fmla="*/ 438654 h 3403632"/>
              <a:gd name="connsiteX3202" fmla="*/ 394445 w 3905665"/>
              <a:gd name="connsiteY3202" fmla="*/ 454205 h 3403632"/>
              <a:gd name="connsiteX3203" fmla="*/ 378894 w 3905665"/>
              <a:gd name="connsiteY3203" fmla="*/ 469754 h 3403632"/>
              <a:gd name="connsiteX3204" fmla="*/ 363343 w 3905665"/>
              <a:gd name="connsiteY3204" fmla="*/ 454205 h 3403632"/>
              <a:gd name="connsiteX3205" fmla="*/ 378894 w 3905665"/>
              <a:gd name="connsiteY3205" fmla="*/ 438654 h 3403632"/>
              <a:gd name="connsiteX3206" fmla="*/ 2242249 w 3905665"/>
              <a:gd name="connsiteY3206" fmla="*/ 436940 h 3403632"/>
              <a:gd name="connsiteX3207" fmla="*/ 2267671 w 3905665"/>
              <a:gd name="connsiteY3207" fmla="*/ 462365 h 3403632"/>
              <a:gd name="connsiteX3208" fmla="*/ 2242249 w 3905665"/>
              <a:gd name="connsiteY3208" fmla="*/ 487787 h 3403632"/>
              <a:gd name="connsiteX3209" fmla="*/ 2216824 w 3905665"/>
              <a:gd name="connsiteY3209" fmla="*/ 462365 h 3403632"/>
              <a:gd name="connsiteX3210" fmla="*/ 2242249 w 3905665"/>
              <a:gd name="connsiteY3210" fmla="*/ 436940 h 3403632"/>
              <a:gd name="connsiteX3211" fmla="*/ 2002571 w 3905665"/>
              <a:gd name="connsiteY3211" fmla="*/ 434713 h 3403632"/>
              <a:gd name="connsiteX3212" fmla="*/ 2024047 w 3905665"/>
              <a:gd name="connsiteY3212" fmla="*/ 456189 h 3403632"/>
              <a:gd name="connsiteX3213" fmla="*/ 2002571 w 3905665"/>
              <a:gd name="connsiteY3213" fmla="*/ 477664 h 3403632"/>
              <a:gd name="connsiteX3214" fmla="*/ 1981096 w 3905665"/>
              <a:gd name="connsiteY3214" fmla="*/ 456189 h 3403632"/>
              <a:gd name="connsiteX3215" fmla="*/ 2002571 w 3905665"/>
              <a:gd name="connsiteY3215" fmla="*/ 434713 h 3403632"/>
              <a:gd name="connsiteX3216" fmla="*/ 3514925 w 3905665"/>
              <a:gd name="connsiteY3216" fmla="*/ 430541 h 3403632"/>
              <a:gd name="connsiteX3217" fmla="*/ 3567254 w 3905665"/>
              <a:gd name="connsiteY3217" fmla="*/ 482870 h 3403632"/>
              <a:gd name="connsiteX3218" fmla="*/ 3514925 w 3905665"/>
              <a:gd name="connsiteY3218" fmla="*/ 535207 h 3403632"/>
              <a:gd name="connsiteX3219" fmla="*/ 3462596 w 3905665"/>
              <a:gd name="connsiteY3219" fmla="*/ 482870 h 3403632"/>
              <a:gd name="connsiteX3220" fmla="*/ 3514925 w 3905665"/>
              <a:gd name="connsiteY3220" fmla="*/ 430541 h 3403632"/>
              <a:gd name="connsiteX3221" fmla="*/ 3742013 w 3905665"/>
              <a:gd name="connsiteY3221" fmla="*/ 430052 h 3403632"/>
              <a:gd name="connsiteX3222" fmla="*/ 3794835 w 3905665"/>
              <a:gd name="connsiteY3222" fmla="*/ 482873 h 3403632"/>
              <a:gd name="connsiteX3223" fmla="*/ 3742013 w 3905665"/>
              <a:gd name="connsiteY3223" fmla="*/ 535707 h 3403632"/>
              <a:gd name="connsiteX3224" fmla="*/ 3689189 w 3905665"/>
              <a:gd name="connsiteY3224" fmla="*/ 482873 h 3403632"/>
              <a:gd name="connsiteX3225" fmla="*/ 3742013 w 3905665"/>
              <a:gd name="connsiteY3225" fmla="*/ 430052 h 3403632"/>
              <a:gd name="connsiteX3226" fmla="*/ 583769 w 3905665"/>
              <a:gd name="connsiteY3226" fmla="*/ 430016 h 3403632"/>
              <a:gd name="connsiteX3227" fmla="*/ 614626 w 3905665"/>
              <a:gd name="connsiteY3227" fmla="*/ 460870 h 3403632"/>
              <a:gd name="connsiteX3228" fmla="*/ 583769 w 3905665"/>
              <a:gd name="connsiteY3228" fmla="*/ 491726 h 3403632"/>
              <a:gd name="connsiteX3229" fmla="*/ 552916 w 3905665"/>
              <a:gd name="connsiteY3229" fmla="*/ 460870 h 3403632"/>
              <a:gd name="connsiteX3230" fmla="*/ 583769 w 3905665"/>
              <a:gd name="connsiteY3230" fmla="*/ 430016 h 3403632"/>
              <a:gd name="connsiteX3231" fmla="*/ 2479454 w 3905665"/>
              <a:gd name="connsiteY3231" fmla="*/ 428303 h 3403632"/>
              <a:gd name="connsiteX3232" fmla="*/ 2516232 w 3905665"/>
              <a:gd name="connsiteY3232" fmla="*/ 465329 h 3403632"/>
              <a:gd name="connsiteX3233" fmla="*/ 2479454 w 3905665"/>
              <a:gd name="connsiteY3233" fmla="*/ 502353 h 3403632"/>
              <a:gd name="connsiteX3234" fmla="*/ 2442427 w 3905665"/>
              <a:gd name="connsiteY3234" fmla="*/ 465329 h 3403632"/>
              <a:gd name="connsiteX3235" fmla="*/ 2479454 w 3905665"/>
              <a:gd name="connsiteY3235" fmla="*/ 428303 h 3403632"/>
              <a:gd name="connsiteX3236" fmla="*/ 1066825 w 3905665"/>
              <a:gd name="connsiteY3236" fmla="*/ 427795 h 3403632"/>
              <a:gd name="connsiteX3237" fmla="*/ 1113230 w 3905665"/>
              <a:gd name="connsiteY3237" fmla="*/ 473954 h 3403632"/>
              <a:gd name="connsiteX3238" fmla="*/ 1066825 w 3905665"/>
              <a:gd name="connsiteY3238" fmla="*/ 520113 h 3403632"/>
              <a:gd name="connsiteX3239" fmla="*/ 1020668 w 3905665"/>
              <a:gd name="connsiteY3239" fmla="*/ 473954 h 3403632"/>
              <a:gd name="connsiteX3240" fmla="*/ 1066825 w 3905665"/>
              <a:gd name="connsiteY3240" fmla="*/ 427795 h 3403632"/>
              <a:gd name="connsiteX3241" fmla="*/ 1758216 w 3905665"/>
              <a:gd name="connsiteY3241" fmla="*/ 423358 h 3403632"/>
              <a:gd name="connsiteX3242" fmla="*/ 1783887 w 3905665"/>
              <a:gd name="connsiteY3242" fmla="*/ 449029 h 3403632"/>
              <a:gd name="connsiteX3243" fmla="*/ 1758216 w 3905665"/>
              <a:gd name="connsiteY3243" fmla="*/ 474700 h 3403632"/>
              <a:gd name="connsiteX3244" fmla="*/ 1732545 w 3905665"/>
              <a:gd name="connsiteY3244" fmla="*/ 449029 h 3403632"/>
              <a:gd name="connsiteX3245" fmla="*/ 1758216 w 3905665"/>
              <a:gd name="connsiteY3245" fmla="*/ 423358 h 3403632"/>
              <a:gd name="connsiteX3246" fmla="*/ 1497554 w 3905665"/>
              <a:gd name="connsiteY3246" fmla="*/ 419653 h 3403632"/>
              <a:gd name="connsiteX3247" fmla="*/ 1532853 w 3905665"/>
              <a:gd name="connsiteY3247" fmla="*/ 454951 h 3403632"/>
              <a:gd name="connsiteX3248" fmla="*/ 1497554 w 3905665"/>
              <a:gd name="connsiteY3248" fmla="*/ 490249 h 3403632"/>
              <a:gd name="connsiteX3249" fmla="*/ 1462256 w 3905665"/>
              <a:gd name="connsiteY3249" fmla="*/ 454951 h 3403632"/>
              <a:gd name="connsiteX3250" fmla="*/ 1497554 w 3905665"/>
              <a:gd name="connsiteY3250" fmla="*/ 419653 h 3403632"/>
              <a:gd name="connsiteX3251" fmla="*/ 162175 w 3905665"/>
              <a:gd name="connsiteY3251" fmla="*/ 406070 h 3403632"/>
              <a:gd name="connsiteX3252" fmla="*/ 180439 w 3905665"/>
              <a:gd name="connsiteY3252" fmla="*/ 424335 h 3403632"/>
              <a:gd name="connsiteX3253" fmla="*/ 162175 w 3905665"/>
              <a:gd name="connsiteY3253" fmla="*/ 442602 h 3403632"/>
              <a:gd name="connsiteX3254" fmla="*/ 143907 w 3905665"/>
              <a:gd name="connsiteY3254" fmla="*/ 424335 h 3403632"/>
              <a:gd name="connsiteX3255" fmla="*/ 162175 w 3905665"/>
              <a:gd name="connsiteY3255" fmla="*/ 406070 h 3403632"/>
              <a:gd name="connsiteX3256" fmla="*/ 2721846 w 3905665"/>
              <a:gd name="connsiteY3256" fmla="*/ 404611 h 3403632"/>
              <a:gd name="connsiteX3257" fmla="*/ 2764302 w 3905665"/>
              <a:gd name="connsiteY3257" fmla="*/ 447066 h 3403632"/>
              <a:gd name="connsiteX3258" fmla="*/ 2721846 w 3905665"/>
              <a:gd name="connsiteY3258" fmla="*/ 489521 h 3403632"/>
              <a:gd name="connsiteX3259" fmla="*/ 2679637 w 3905665"/>
              <a:gd name="connsiteY3259" fmla="*/ 447066 h 3403632"/>
              <a:gd name="connsiteX3260" fmla="*/ 2721846 w 3905665"/>
              <a:gd name="connsiteY3260" fmla="*/ 404611 h 3403632"/>
              <a:gd name="connsiteX3261" fmla="*/ 2953127 w 3905665"/>
              <a:gd name="connsiteY3261" fmla="*/ 403380 h 3403632"/>
              <a:gd name="connsiteX3262" fmla="*/ 2998545 w 3905665"/>
              <a:gd name="connsiteY3262" fmla="*/ 448798 h 3403632"/>
              <a:gd name="connsiteX3263" fmla="*/ 2953127 w 3905665"/>
              <a:gd name="connsiteY3263" fmla="*/ 494215 h 3403632"/>
              <a:gd name="connsiteX3264" fmla="*/ 2907709 w 3905665"/>
              <a:gd name="connsiteY3264" fmla="*/ 448798 h 3403632"/>
              <a:gd name="connsiteX3265" fmla="*/ 2953127 w 3905665"/>
              <a:gd name="connsiteY3265" fmla="*/ 403380 h 3403632"/>
              <a:gd name="connsiteX3266" fmla="*/ 3182930 w 3905665"/>
              <a:gd name="connsiteY3266" fmla="*/ 399681 h 3403632"/>
              <a:gd name="connsiteX3267" fmla="*/ 3232792 w 3905665"/>
              <a:gd name="connsiteY3267" fmla="*/ 449294 h 3403632"/>
              <a:gd name="connsiteX3268" fmla="*/ 3182930 w 3905665"/>
              <a:gd name="connsiteY3268" fmla="*/ 499155 h 3403632"/>
              <a:gd name="connsiteX3269" fmla="*/ 3133317 w 3905665"/>
              <a:gd name="connsiteY3269" fmla="*/ 449294 h 3403632"/>
              <a:gd name="connsiteX3270" fmla="*/ 3182930 w 3905665"/>
              <a:gd name="connsiteY3270" fmla="*/ 399681 h 3403632"/>
              <a:gd name="connsiteX3271" fmla="*/ 3411501 w 3905665"/>
              <a:gd name="connsiteY3271" fmla="*/ 397464 h 3403632"/>
              <a:gd name="connsiteX3272" fmla="*/ 3463581 w 3905665"/>
              <a:gd name="connsiteY3272" fmla="*/ 449547 h 3403632"/>
              <a:gd name="connsiteX3273" fmla="*/ 3411501 w 3905665"/>
              <a:gd name="connsiteY3273" fmla="*/ 501629 h 3403632"/>
              <a:gd name="connsiteX3274" fmla="*/ 3359418 w 3905665"/>
              <a:gd name="connsiteY3274" fmla="*/ 449547 h 3403632"/>
              <a:gd name="connsiteX3275" fmla="*/ 3411501 w 3905665"/>
              <a:gd name="connsiteY3275" fmla="*/ 397464 h 3403632"/>
              <a:gd name="connsiteX3276" fmla="*/ 786915 w 3905665"/>
              <a:gd name="connsiteY3276" fmla="*/ 394473 h 3403632"/>
              <a:gd name="connsiteX3277" fmla="*/ 835046 w 3905665"/>
              <a:gd name="connsiteY3277" fmla="*/ 442606 h 3403632"/>
              <a:gd name="connsiteX3278" fmla="*/ 786915 w 3905665"/>
              <a:gd name="connsiteY3278" fmla="*/ 490737 h 3403632"/>
              <a:gd name="connsiteX3279" fmla="*/ 738782 w 3905665"/>
              <a:gd name="connsiteY3279" fmla="*/ 442606 h 3403632"/>
              <a:gd name="connsiteX3280" fmla="*/ 786915 w 3905665"/>
              <a:gd name="connsiteY3280" fmla="*/ 394473 h 3403632"/>
              <a:gd name="connsiteX3281" fmla="*/ 1239118 w 3905665"/>
              <a:gd name="connsiteY3281" fmla="*/ 393239 h 3403632"/>
              <a:gd name="connsiteX3282" fmla="*/ 1286261 w 3905665"/>
              <a:gd name="connsiteY3282" fmla="*/ 440136 h 3403632"/>
              <a:gd name="connsiteX3283" fmla="*/ 1239118 w 3905665"/>
              <a:gd name="connsiteY3283" fmla="*/ 487282 h 3403632"/>
              <a:gd name="connsiteX3284" fmla="*/ 1192218 w 3905665"/>
              <a:gd name="connsiteY3284" fmla="*/ 440136 h 3403632"/>
              <a:gd name="connsiteX3285" fmla="*/ 1239118 w 3905665"/>
              <a:gd name="connsiteY3285" fmla="*/ 393239 h 3403632"/>
              <a:gd name="connsiteX3286" fmla="*/ 1654546 w 3905665"/>
              <a:gd name="connsiteY3286" fmla="*/ 384851 h 3403632"/>
              <a:gd name="connsiteX3287" fmla="*/ 1680709 w 3905665"/>
              <a:gd name="connsiteY3287" fmla="*/ 411014 h 3403632"/>
              <a:gd name="connsiteX3288" fmla="*/ 1654546 w 3905665"/>
              <a:gd name="connsiteY3288" fmla="*/ 437180 h 3403632"/>
              <a:gd name="connsiteX3289" fmla="*/ 1628380 w 3905665"/>
              <a:gd name="connsiteY3289" fmla="*/ 411014 h 3403632"/>
              <a:gd name="connsiteX3290" fmla="*/ 1654546 w 3905665"/>
              <a:gd name="connsiteY3290" fmla="*/ 384851 h 3403632"/>
              <a:gd name="connsiteX3291" fmla="*/ 2384669 w 3905665"/>
              <a:gd name="connsiteY3291" fmla="*/ 382635 h 3403632"/>
              <a:gd name="connsiteX3292" fmla="*/ 2412810 w 3905665"/>
              <a:gd name="connsiteY3292" fmla="*/ 410773 h 3403632"/>
              <a:gd name="connsiteX3293" fmla="*/ 2384669 w 3905665"/>
              <a:gd name="connsiteY3293" fmla="*/ 438913 h 3403632"/>
              <a:gd name="connsiteX3294" fmla="*/ 2356531 w 3905665"/>
              <a:gd name="connsiteY3294" fmla="*/ 410773 h 3403632"/>
              <a:gd name="connsiteX3295" fmla="*/ 2384669 w 3905665"/>
              <a:gd name="connsiteY3295" fmla="*/ 382635 h 3403632"/>
              <a:gd name="connsiteX3296" fmla="*/ 3645253 w 3905665"/>
              <a:gd name="connsiteY3296" fmla="*/ 374265 h 3403632"/>
              <a:gd name="connsiteX3297" fmla="*/ 3698321 w 3905665"/>
              <a:gd name="connsiteY3297" fmla="*/ 427335 h 3403632"/>
              <a:gd name="connsiteX3298" fmla="*/ 3645253 w 3905665"/>
              <a:gd name="connsiteY3298" fmla="*/ 480404 h 3403632"/>
              <a:gd name="connsiteX3299" fmla="*/ 3592183 w 3905665"/>
              <a:gd name="connsiteY3299" fmla="*/ 427335 h 3403632"/>
              <a:gd name="connsiteX3300" fmla="*/ 3645253 w 3905665"/>
              <a:gd name="connsiteY3300" fmla="*/ 374265 h 3403632"/>
              <a:gd name="connsiteX3301" fmla="*/ 1909035 w 3905665"/>
              <a:gd name="connsiteY3301" fmla="*/ 373251 h 3403632"/>
              <a:gd name="connsiteX3302" fmla="*/ 1936921 w 3905665"/>
              <a:gd name="connsiteY3302" fmla="*/ 400897 h 3403632"/>
              <a:gd name="connsiteX3303" fmla="*/ 1909035 w 3905665"/>
              <a:gd name="connsiteY3303" fmla="*/ 428788 h 3403632"/>
              <a:gd name="connsiteX3304" fmla="*/ 1881389 w 3905665"/>
              <a:gd name="connsiteY3304" fmla="*/ 400897 h 3403632"/>
              <a:gd name="connsiteX3305" fmla="*/ 1909035 w 3905665"/>
              <a:gd name="connsiteY3305" fmla="*/ 373251 h 3403632"/>
              <a:gd name="connsiteX3306" fmla="*/ 2148449 w 3905665"/>
              <a:gd name="connsiteY3306" fmla="*/ 372513 h 3403632"/>
              <a:gd name="connsiteX3307" fmla="*/ 2182514 w 3905665"/>
              <a:gd name="connsiteY3307" fmla="*/ 406575 h 3403632"/>
              <a:gd name="connsiteX3308" fmla="*/ 2148449 w 3905665"/>
              <a:gd name="connsiteY3308" fmla="*/ 440639 h 3403632"/>
              <a:gd name="connsiteX3309" fmla="*/ 2114387 w 3905665"/>
              <a:gd name="connsiteY3309" fmla="*/ 406575 h 3403632"/>
              <a:gd name="connsiteX3310" fmla="*/ 2148449 w 3905665"/>
              <a:gd name="connsiteY3310" fmla="*/ 372513 h 3403632"/>
              <a:gd name="connsiteX3311" fmla="*/ 969820 w 3905665"/>
              <a:gd name="connsiteY3311" fmla="*/ 370775 h 3403632"/>
              <a:gd name="connsiteX3312" fmla="*/ 1017951 w 3905665"/>
              <a:gd name="connsiteY3312" fmla="*/ 418908 h 3403632"/>
              <a:gd name="connsiteX3313" fmla="*/ 969820 w 3905665"/>
              <a:gd name="connsiteY3313" fmla="*/ 467041 h 3403632"/>
              <a:gd name="connsiteX3314" fmla="*/ 921687 w 3905665"/>
              <a:gd name="connsiteY3314" fmla="*/ 418908 h 3403632"/>
              <a:gd name="connsiteX3315" fmla="*/ 969820 w 3905665"/>
              <a:gd name="connsiteY3315" fmla="*/ 370775 h 3403632"/>
              <a:gd name="connsiteX3316" fmla="*/ 480344 w 3905665"/>
              <a:gd name="connsiteY3316" fmla="*/ 368799 h 3403632"/>
              <a:gd name="connsiteX3317" fmla="*/ 509717 w 3905665"/>
              <a:gd name="connsiteY3317" fmla="*/ 398173 h 3403632"/>
              <a:gd name="connsiteX3318" fmla="*/ 480344 w 3905665"/>
              <a:gd name="connsiteY3318" fmla="*/ 427793 h 3403632"/>
              <a:gd name="connsiteX3319" fmla="*/ 450970 w 3905665"/>
              <a:gd name="connsiteY3319" fmla="*/ 398173 h 3403632"/>
              <a:gd name="connsiteX3320" fmla="*/ 480344 w 3905665"/>
              <a:gd name="connsiteY3320" fmla="*/ 368799 h 3403632"/>
              <a:gd name="connsiteX3321" fmla="*/ 2618420 w 3905665"/>
              <a:gd name="connsiteY3321" fmla="*/ 368570 h 3403632"/>
              <a:gd name="connsiteX3322" fmla="*/ 2663096 w 3905665"/>
              <a:gd name="connsiteY3322" fmla="*/ 413247 h 3403632"/>
              <a:gd name="connsiteX3323" fmla="*/ 2618420 w 3905665"/>
              <a:gd name="connsiteY3323" fmla="*/ 457677 h 3403632"/>
              <a:gd name="connsiteX3324" fmla="*/ 2573743 w 3905665"/>
              <a:gd name="connsiteY3324" fmla="*/ 413247 h 3403632"/>
              <a:gd name="connsiteX3325" fmla="*/ 2618420 w 3905665"/>
              <a:gd name="connsiteY3325" fmla="*/ 368570 h 3403632"/>
              <a:gd name="connsiteX3326" fmla="*/ 677071 w 3905665"/>
              <a:gd name="connsiteY3326" fmla="*/ 362877 h 3403632"/>
              <a:gd name="connsiteX3327" fmla="*/ 706938 w 3905665"/>
              <a:gd name="connsiteY3327" fmla="*/ 392744 h 3403632"/>
              <a:gd name="connsiteX3328" fmla="*/ 677071 w 3905665"/>
              <a:gd name="connsiteY3328" fmla="*/ 422610 h 3403632"/>
              <a:gd name="connsiteX3329" fmla="*/ 647205 w 3905665"/>
              <a:gd name="connsiteY3329" fmla="*/ 392744 h 3403632"/>
              <a:gd name="connsiteX3330" fmla="*/ 677071 w 3905665"/>
              <a:gd name="connsiteY3330" fmla="*/ 362877 h 3403632"/>
              <a:gd name="connsiteX3331" fmla="*/ 271274 w 3905665"/>
              <a:gd name="connsiteY3331" fmla="*/ 360160 h 3403632"/>
              <a:gd name="connsiteX3332" fmla="*/ 295465 w 3905665"/>
              <a:gd name="connsiteY3332" fmla="*/ 384349 h 3403632"/>
              <a:gd name="connsiteX3333" fmla="*/ 271274 w 3905665"/>
              <a:gd name="connsiteY3333" fmla="*/ 408540 h 3403632"/>
              <a:gd name="connsiteX3334" fmla="*/ 247085 w 3905665"/>
              <a:gd name="connsiteY3334" fmla="*/ 384349 h 3403632"/>
              <a:gd name="connsiteX3335" fmla="*/ 271274 w 3905665"/>
              <a:gd name="connsiteY3335" fmla="*/ 360160 h 3403632"/>
              <a:gd name="connsiteX3336" fmla="*/ 1403507 w 3905665"/>
              <a:gd name="connsiteY3336" fmla="*/ 353500 h 3403632"/>
              <a:gd name="connsiteX3337" fmla="*/ 1450407 w 3905665"/>
              <a:gd name="connsiteY3337" fmla="*/ 400397 h 3403632"/>
              <a:gd name="connsiteX3338" fmla="*/ 1403507 w 3905665"/>
              <a:gd name="connsiteY3338" fmla="*/ 447297 h 3403632"/>
              <a:gd name="connsiteX3339" fmla="*/ 1356610 w 3905665"/>
              <a:gd name="connsiteY3339" fmla="*/ 400397 h 3403632"/>
              <a:gd name="connsiteX3340" fmla="*/ 1403507 w 3905665"/>
              <a:gd name="connsiteY3340" fmla="*/ 353500 h 3403632"/>
              <a:gd name="connsiteX3341" fmla="*/ 3314988 w 3905665"/>
              <a:gd name="connsiteY3341" fmla="*/ 343160 h 3403632"/>
              <a:gd name="connsiteX3342" fmla="*/ 3366083 w 3905665"/>
              <a:gd name="connsiteY3342" fmla="*/ 394255 h 3403632"/>
              <a:gd name="connsiteX3343" fmla="*/ 3314988 w 3905665"/>
              <a:gd name="connsiteY3343" fmla="*/ 445347 h 3403632"/>
              <a:gd name="connsiteX3344" fmla="*/ 3263892 w 3905665"/>
              <a:gd name="connsiteY3344" fmla="*/ 394255 h 3403632"/>
              <a:gd name="connsiteX3345" fmla="*/ 3314988 w 3905665"/>
              <a:gd name="connsiteY3345" fmla="*/ 343160 h 3403632"/>
              <a:gd name="connsiteX3346" fmla="*/ 2857850 w 3905665"/>
              <a:gd name="connsiteY3346" fmla="*/ 342657 h 3403632"/>
              <a:gd name="connsiteX3347" fmla="*/ 2908699 w 3905665"/>
              <a:gd name="connsiteY3347" fmla="*/ 393257 h 3403632"/>
              <a:gd name="connsiteX3348" fmla="*/ 2857850 w 3905665"/>
              <a:gd name="connsiteY3348" fmla="*/ 443860 h 3403632"/>
              <a:gd name="connsiteX3349" fmla="*/ 2807003 w 3905665"/>
              <a:gd name="connsiteY3349" fmla="*/ 393257 h 3403632"/>
              <a:gd name="connsiteX3350" fmla="*/ 2857850 w 3905665"/>
              <a:gd name="connsiteY3350" fmla="*/ 342657 h 3403632"/>
              <a:gd name="connsiteX3351" fmla="*/ 3087159 w 3905665"/>
              <a:gd name="connsiteY3351" fmla="*/ 342166 h 3403632"/>
              <a:gd name="connsiteX3352" fmla="*/ 3138996 w 3905665"/>
              <a:gd name="connsiteY3352" fmla="*/ 394002 h 3403632"/>
              <a:gd name="connsiteX3353" fmla="*/ 3087159 w 3905665"/>
              <a:gd name="connsiteY3353" fmla="*/ 445836 h 3403632"/>
              <a:gd name="connsiteX3354" fmla="*/ 3035325 w 3905665"/>
              <a:gd name="connsiteY3354" fmla="*/ 394002 h 3403632"/>
              <a:gd name="connsiteX3355" fmla="*/ 3087159 w 3905665"/>
              <a:gd name="connsiteY3355" fmla="*/ 342166 h 3403632"/>
              <a:gd name="connsiteX3356" fmla="*/ 1143345 w 3905665"/>
              <a:gd name="connsiteY3356" fmla="*/ 340664 h 3403632"/>
              <a:gd name="connsiteX3357" fmla="*/ 1188763 w 3905665"/>
              <a:gd name="connsiteY3357" fmla="*/ 386081 h 3403632"/>
              <a:gd name="connsiteX3358" fmla="*/ 1143345 w 3905665"/>
              <a:gd name="connsiteY3358" fmla="*/ 431498 h 3403632"/>
              <a:gd name="connsiteX3359" fmla="*/ 1097927 w 3905665"/>
              <a:gd name="connsiteY3359" fmla="*/ 386081 h 3403632"/>
              <a:gd name="connsiteX3360" fmla="*/ 1143345 w 3905665"/>
              <a:gd name="connsiteY3360" fmla="*/ 340664 h 3403632"/>
              <a:gd name="connsiteX3361" fmla="*/ 1560249 w 3905665"/>
              <a:gd name="connsiteY3361" fmla="*/ 334988 h 3403632"/>
              <a:gd name="connsiteX3362" fmla="*/ 1582712 w 3905665"/>
              <a:gd name="connsiteY3362" fmla="*/ 357451 h 3403632"/>
              <a:gd name="connsiteX3363" fmla="*/ 1560249 w 3905665"/>
              <a:gd name="connsiteY3363" fmla="*/ 379664 h 3403632"/>
              <a:gd name="connsiteX3364" fmla="*/ 1538036 w 3905665"/>
              <a:gd name="connsiteY3364" fmla="*/ 357451 h 3403632"/>
              <a:gd name="connsiteX3365" fmla="*/ 1560249 w 3905665"/>
              <a:gd name="connsiteY3365" fmla="*/ 334988 h 3403632"/>
              <a:gd name="connsiteX3366" fmla="*/ 2054408 w 3905665"/>
              <a:gd name="connsiteY3366" fmla="*/ 328328 h 3403632"/>
              <a:gd name="connsiteX3367" fmla="*/ 2077855 w 3905665"/>
              <a:gd name="connsiteY3367" fmla="*/ 351778 h 3403632"/>
              <a:gd name="connsiteX3368" fmla="*/ 2054408 w 3905665"/>
              <a:gd name="connsiteY3368" fmla="*/ 375227 h 3403632"/>
              <a:gd name="connsiteX3369" fmla="*/ 2030958 w 3905665"/>
              <a:gd name="connsiteY3369" fmla="*/ 351778 h 3403632"/>
              <a:gd name="connsiteX3370" fmla="*/ 2054408 w 3905665"/>
              <a:gd name="connsiteY3370" fmla="*/ 328328 h 3403632"/>
              <a:gd name="connsiteX3371" fmla="*/ 2289887 w 3905665"/>
              <a:gd name="connsiteY3371" fmla="*/ 326851 h 3403632"/>
              <a:gd name="connsiteX3372" fmla="*/ 2319261 w 3905665"/>
              <a:gd name="connsiteY3372" fmla="*/ 356224 h 3403632"/>
              <a:gd name="connsiteX3373" fmla="*/ 2289887 w 3905665"/>
              <a:gd name="connsiteY3373" fmla="*/ 385598 h 3403632"/>
              <a:gd name="connsiteX3374" fmla="*/ 2260513 w 3905665"/>
              <a:gd name="connsiteY3374" fmla="*/ 356224 h 3403632"/>
              <a:gd name="connsiteX3375" fmla="*/ 2289887 w 3905665"/>
              <a:gd name="connsiteY3375" fmla="*/ 326851 h 3403632"/>
              <a:gd name="connsiteX3376" fmla="*/ 3548248 w 3905665"/>
              <a:gd name="connsiteY3376" fmla="*/ 318232 h 3403632"/>
              <a:gd name="connsiteX3377" fmla="*/ 3601316 w 3905665"/>
              <a:gd name="connsiteY3377" fmla="*/ 371301 h 3403632"/>
              <a:gd name="connsiteX3378" fmla="*/ 3548248 w 3905665"/>
              <a:gd name="connsiteY3378" fmla="*/ 424371 h 3403632"/>
              <a:gd name="connsiteX3379" fmla="*/ 3495178 w 3905665"/>
              <a:gd name="connsiteY3379" fmla="*/ 371301 h 3403632"/>
              <a:gd name="connsiteX3380" fmla="*/ 3548248 w 3905665"/>
              <a:gd name="connsiteY3380" fmla="*/ 318232 h 3403632"/>
              <a:gd name="connsiteX3381" fmla="*/ 3773605 w 3905665"/>
              <a:gd name="connsiteY3381" fmla="*/ 317495 h 3403632"/>
              <a:gd name="connsiteX3382" fmla="*/ 3827168 w 3905665"/>
              <a:gd name="connsiteY3382" fmla="*/ 371057 h 3403632"/>
              <a:gd name="connsiteX3383" fmla="*/ 3773605 w 3905665"/>
              <a:gd name="connsiteY3383" fmla="*/ 424621 h 3403632"/>
              <a:gd name="connsiteX3384" fmla="*/ 3720042 w 3905665"/>
              <a:gd name="connsiteY3384" fmla="*/ 371057 h 3403632"/>
              <a:gd name="connsiteX3385" fmla="*/ 3773605 w 3905665"/>
              <a:gd name="connsiteY3385" fmla="*/ 317495 h 3403632"/>
              <a:gd name="connsiteX3386" fmla="*/ 872565 w 3905665"/>
              <a:gd name="connsiteY3386" fmla="*/ 316225 h 3403632"/>
              <a:gd name="connsiteX3387" fmla="*/ 919464 w 3905665"/>
              <a:gd name="connsiteY3387" fmla="*/ 362876 h 3403632"/>
              <a:gd name="connsiteX3388" fmla="*/ 872565 w 3905665"/>
              <a:gd name="connsiteY3388" fmla="*/ 409776 h 3403632"/>
              <a:gd name="connsiteX3389" fmla="*/ 825914 w 3905665"/>
              <a:gd name="connsiteY3389" fmla="*/ 362876 h 3403632"/>
              <a:gd name="connsiteX3390" fmla="*/ 872565 w 3905665"/>
              <a:gd name="connsiteY3390" fmla="*/ 316225 h 3403632"/>
              <a:gd name="connsiteX3391" fmla="*/ 1814739 w 3905665"/>
              <a:gd name="connsiteY3391" fmla="*/ 314997 h 3403632"/>
              <a:gd name="connsiteX3392" fmla="*/ 1846584 w 3905665"/>
              <a:gd name="connsiteY3392" fmla="*/ 346838 h 3403632"/>
              <a:gd name="connsiteX3393" fmla="*/ 1814739 w 3905665"/>
              <a:gd name="connsiteY3393" fmla="*/ 378682 h 3403632"/>
              <a:gd name="connsiteX3394" fmla="*/ 1782899 w 3905665"/>
              <a:gd name="connsiteY3394" fmla="*/ 346838 h 3403632"/>
              <a:gd name="connsiteX3395" fmla="*/ 1814739 w 3905665"/>
              <a:gd name="connsiteY3395" fmla="*/ 314997 h 3403632"/>
              <a:gd name="connsiteX3396" fmla="*/ 2523388 w 3905665"/>
              <a:gd name="connsiteY3396" fmla="*/ 312290 h 3403632"/>
              <a:gd name="connsiteX3397" fmla="*/ 2569547 w 3905665"/>
              <a:gd name="connsiteY3397" fmla="*/ 358202 h 3403632"/>
              <a:gd name="connsiteX3398" fmla="*/ 2523388 w 3905665"/>
              <a:gd name="connsiteY3398" fmla="*/ 404111 h 3403632"/>
              <a:gd name="connsiteX3399" fmla="*/ 2477478 w 3905665"/>
              <a:gd name="connsiteY3399" fmla="*/ 358202 h 3403632"/>
              <a:gd name="connsiteX3400" fmla="*/ 2523388 w 3905665"/>
              <a:gd name="connsiteY3400" fmla="*/ 312290 h 3403632"/>
              <a:gd name="connsiteX3401" fmla="*/ 375440 w 3905665"/>
              <a:gd name="connsiteY3401" fmla="*/ 303387 h 3403632"/>
              <a:gd name="connsiteX3402" fmla="*/ 405552 w 3905665"/>
              <a:gd name="connsiteY3402" fmla="*/ 333503 h 3403632"/>
              <a:gd name="connsiteX3403" fmla="*/ 375440 w 3905665"/>
              <a:gd name="connsiteY3403" fmla="*/ 363615 h 3403632"/>
              <a:gd name="connsiteX3404" fmla="*/ 345324 w 3905665"/>
              <a:gd name="connsiteY3404" fmla="*/ 333503 h 3403632"/>
              <a:gd name="connsiteX3405" fmla="*/ 375440 w 3905665"/>
              <a:gd name="connsiteY3405" fmla="*/ 303387 h 3403632"/>
              <a:gd name="connsiteX3406" fmla="*/ 1308475 w 3905665"/>
              <a:gd name="connsiteY3406" fmla="*/ 301171 h 3403632"/>
              <a:gd name="connsiteX3407" fmla="*/ 1354139 w 3905665"/>
              <a:gd name="connsiteY3407" fmla="*/ 346834 h 3403632"/>
              <a:gd name="connsiteX3408" fmla="*/ 1308475 w 3905665"/>
              <a:gd name="connsiteY3408" fmla="*/ 392498 h 3403632"/>
              <a:gd name="connsiteX3409" fmla="*/ 1262811 w 3905665"/>
              <a:gd name="connsiteY3409" fmla="*/ 346834 h 3403632"/>
              <a:gd name="connsiteX3410" fmla="*/ 1308475 w 3905665"/>
              <a:gd name="connsiteY3410" fmla="*/ 301171 h 3403632"/>
              <a:gd name="connsiteX3411" fmla="*/ 49368 w 3905665"/>
              <a:gd name="connsiteY3411" fmla="*/ 297463 h 3403632"/>
              <a:gd name="connsiteX3412" fmla="*/ 94047 w 3905665"/>
              <a:gd name="connsiteY3412" fmla="*/ 342139 h 3403632"/>
              <a:gd name="connsiteX3413" fmla="*/ 49368 w 3905665"/>
              <a:gd name="connsiteY3413" fmla="*/ 386818 h 3403632"/>
              <a:gd name="connsiteX3414" fmla="*/ 4692 w 3905665"/>
              <a:gd name="connsiteY3414" fmla="*/ 342139 h 3403632"/>
              <a:gd name="connsiteX3415" fmla="*/ 49368 w 3905665"/>
              <a:gd name="connsiteY3415" fmla="*/ 297463 h 3403632"/>
              <a:gd name="connsiteX3416" fmla="*/ 576115 w 3905665"/>
              <a:gd name="connsiteY3416" fmla="*/ 294997 h 3403632"/>
              <a:gd name="connsiteX3417" fmla="*/ 614621 w 3905665"/>
              <a:gd name="connsiteY3417" fmla="*/ 333503 h 3403632"/>
              <a:gd name="connsiteX3418" fmla="*/ 576115 w 3905665"/>
              <a:gd name="connsiteY3418" fmla="*/ 372009 h 3403632"/>
              <a:gd name="connsiteX3419" fmla="*/ 537609 w 3905665"/>
              <a:gd name="connsiteY3419" fmla="*/ 333503 h 3403632"/>
              <a:gd name="connsiteX3420" fmla="*/ 576115 w 3905665"/>
              <a:gd name="connsiteY3420" fmla="*/ 294997 h 3403632"/>
              <a:gd name="connsiteX3421" fmla="*/ 764450 w 3905665"/>
              <a:gd name="connsiteY3421" fmla="*/ 288086 h 3403632"/>
              <a:gd name="connsiteX3422" fmla="*/ 793329 w 3905665"/>
              <a:gd name="connsiteY3422" fmla="*/ 316965 h 3403632"/>
              <a:gd name="connsiteX3423" fmla="*/ 764450 w 3905665"/>
              <a:gd name="connsiteY3423" fmla="*/ 345844 h 3403632"/>
              <a:gd name="connsiteX3424" fmla="*/ 735571 w 3905665"/>
              <a:gd name="connsiteY3424" fmla="*/ 316965 h 3403632"/>
              <a:gd name="connsiteX3425" fmla="*/ 764450 w 3905665"/>
              <a:gd name="connsiteY3425" fmla="*/ 288086 h 3403632"/>
              <a:gd name="connsiteX3426" fmla="*/ 3218474 w 3905665"/>
              <a:gd name="connsiteY3426" fmla="*/ 287618 h 3403632"/>
              <a:gd name="connsiteX3427" fmla="*/ 3269570 w 3905665"/>
              <a:gd name="connsiteY3427" fmla="*/ 338713 h 3403632"/>
              <a:gd name="connsiteX3428" fmla="*/ 3218474 w 3905665"/>
              <a:gd name="connsiteY3428" fmla="*/ 389805 h 3403632"/>
              <a:gd name="connsiteX3429" fmla="*/ 3167379 w 3905665"/>
              <a:gd name="connsiteY3429" fmla="*/ 338713 h 3403632"/>
              <a:gd name="connsiteX3430" fmla="*/ 3218474 w 3905665"/>
              <a:gd name="connsiteY3430" fmla="*/ 287618 h 3403632"/>
              <a:gd name="connsiteX3431" fmla="*/ 3444821 w 3905665"/>
              <a:gd name="connsiteY3431" fmla="*/ 286884 h 3403632"/>
              <a:gd name="connsiteX3432" fmla="*/ 3496409 w 3905665"/>
              <a:gd name="connsiteY3432" fmla="*/ 338471 h 3403632"/>
              <a:gd name="connsiteX3433" fmla="*/ 3444821 w 3905665"/>
              <a:gd name="connsiteY3433" fmla="*/ 390059 h 3403632"/>
              <a:gd name="connsiteX3434" fmla="*/ 3393233 w 3905665"/>
              <a:gd name="connsiteY3434" fmla="*/ 338471 h 3403632"/>
              <a:gd name="connsiteX3435" fmla="*/ 3444821 w 3905665"/>
              <a:gd name="connsiteY3435" fmla="*/ 286884 h 3403632"/>
              <a:gd name="connsiteX3436" fmla="*/ 2990895 w 3905665"/>
              <a:gd name="connsiteY3436" fmla="*/ 286875 h 3403632"/>
              <a:gd name="connsiteX3437" fmla="*/ 3042977 w 3905665"/>
              <a:gd name="connsiteY3437" fmla="*/ 338958 h 3403632"/>
              <a:gd name="connsiteX3438" fmla="*/ 2990895 w 3905665"/>
              <a:gd name="connsiteY3438" fmla="*/ 391040 h 3403632"/>
              <a:gd name="connsiteX3439" fmla="*/ 2938812 w 3905665"/>
              <a:gd name="connsiteY3439" fmla="*/ 338958 h 3403632"/>
              <a:gd name="connsiteX3440" fmla="*/ 2990895 w 3905665"/>
              <a:gd name="connsiteY3440" fmla="*/ 286875 h 3403632"/>
              <a:gd name="connsiteX3441" fmla="*/ 1047571 w 3905665"/>
              <a:gd name="connsiteY3441" fmla="*/ 286605 h 3403632"/>
              <a:gd name="connsiteX3442" fmla="*/ 1092987 w 3905665"/>
              <a:gd name="connsiteY3442" fmla="*/ 332022 h 3403632"/>
              <a:gd name="connsiteX3443" fmla="*/ 1047571 w 3905665"/>
              <a:gd name="connsiteY3443" fmla="*/ 377440 h 3403632"/>
              <a:gd name="connsiteX3444" fmla="*/ 1002154 w 3905665"/>
              <a:gd name="connsiteY3444" fmla="*/ 332022 h 3403632"/>
              <a:gd name="connsiteX3445" fmla="*/ 1047571 w 3905665"/>
              <a:gd name="connsiteY3445" fmla="*/ 286605 h 3403632"/>
              <a:gd name="connsiteX3446" fmla="*/ 2762325 w 3905665"/>
              <a:gd name="connsiteY3446" fmla="*/ 286377 h 3403632"/>
              <a:gd name="connsiteX3447" fmla="*/ 2813666 w 3905665"/>
              <a:gd name="connsiteY3447" fmla="*/ 337718 h 3403632"/>
              <a:gd name="connsiteX3448" fmla="*/ 2762325 w 3905665"/>
              <a:gd name="connsiteY3448" fmla="*/ 389059 h 3403632"/>
              <a:gd name="connsiteX3449" fmla="*/ 2710983 w 3905665"/>
              <a:gd name="connsiteY3449" fmla="*/ 337718 h 3403632"/>
              <a:gd name="connsiteX3450" fmla="*/ 2762325 w 3905665"/>
              <a:gd name="connsiteY3450" fmla="*/ 286377 h 3403632"/>
              <a:gd name="connsiteX3451" fmla="*/ 1711564 w 3905665"/>
              <a:gd name="connsiteY3451" fmla="*/ 275256 h 3403632"/>
              <a:gd name="connsiteX3452" fmla="*/ 1746367 w 3905665"/>
              <a:gd name="connsiteY3452" fmla="*/ 310059 h 3403632"/>
              <a:gd name="connsiteX3453" fmla="*/ 1711564 w 3905665"/>
              <a:gd name="connsiteY3453" fmla="*/ 344862 h 3403632"/>
              <a:gd name="connsiteX3454" fmla="*/ 1676760 w 3905665"/>
              <a:gd name="connsiteY3454" fmla="*/ 310059 h 3403632"/>
              <a:gd name="connsiteX3455" fmla="*/ 1711564 w 3905665"/>
              <a:gd name="connsiteY3455" fmla="*/ 275256 h 3403632"/>
              <a:gd name="connsiteX3456" fmla="*/ 161186 w 3905665"/>
              <a:gd name="connsiteY3456" fmla="*/ 266115 h 3403632"/>
              <a:gd name="connsiteX3457" fmla="*/ 205369 w 3905665"/>
              <a:gd name="connsiteY3457" fmla="*/ 310299 h 3403632"/>
              <a:gd name="connsiteX3458" fmla="*/ 161186 w 3905665"/>
              <a:gd name="connsiteY3458" fmla="*/ 354482 h 3403632"/>
              <a:gd name="connsiteX3459" fmla="*/ 117002 w 3905665"/>
              <a:gd name="connsiteY3459" fmla="*/ 310299 h 3403632"/>
              <a:gd name="connsiteX3460" fmla="*/ 161186 w 3905665"/>
              <a:gd name="connsiteY3460" fmla="*/ 266115 h 3403632"/>
              <a:gd name="connsiteX3461" fmla="*/ 2428115 w 3905665"/>
              <a:gd name="connsiteY3461" fmla="*/ 263663 h 3403632"/>
              <a:gd name="connsiteX3462" fmla="*/ 2467608 w 3905665"/>
              <a:gd name="connsiteY3462" fmla="*/ 303156 h 3403632"/>
              <a:gd name="connsiteX3463" fmla="*/ 2428115 w 3905665"/>
              <a:gd name="connsiteY3463" fmla="*/ 342649 h 3403632"/>
              <a:gd name="connsiteX3464" fmla="*/ 2388621 w 3905665"/>
              <a:gd name="connsiteY3464" fmla="*/ 303156 h 3403632"/>
              <a:gd name="connsiteX3465" fmla="*/ 2428115 w 3905665"/>
              <a:gd name="connsiteY3465" fmla="*/ 263663 h 3403632"/>
              <a:gd name="connsiteX3466" fmla="*/ 3676108 w 3905665"/>
              <a:gd name="connsiteY3466" fmla="*/ 260970 h 3403632"/>
              <a:gd name="connsiteX3467" fmla="*/ 3730165 w 3905665"/>
              <a:gd name="connsiteY3467" fmla="*/ 315026 h 3403632"/>
              <a:gd name="connsiteX3468" fmla="*/ 3676108 w 3905665"/>
              <a:gd name="connsiteY3468" fmla="*/ 369083 h 3403632"/>
              <a:gd name="connsiteX3469" fmla="*/ 3622050 w 3905665"/>
              <a:gd name="connsiteY3469" fmla="*/ 315026 h 3403632"/>
              <a:gd name="connsiteX3470" fmla="*/ 3676108 w 3905665"/>
              <a:gd name="connsiteY3470" fmla="*/ 260970 h 3403632"/>
              <a:gd name="connsiteX3471" fmla="*/ 1960369 w 3905665"/>
              <a:gd name="connsiteY3471" fmla="*/ 258721 h 3403632"/>
              <a:gd name="connsiteX3472" fmla="*/ 1998130 w 3905665"/>
              <a:gd name="connsiteY3472" fmla="*/ 296486 h 3403632"/>
              <a:gd name="connsiteX3473" fmla="*/ 1960369 w 3905665"/>
              <a:gd name="connsiteY3473" fmla="*/ 334251 h 3403632"/>
              <a:gd name="connsiteX3474" fmla="*/ 1922608 w 3905665"/>
              <a:gd name="connsiteY3474" fmla="*/ 296486 h 3403632"/>
              <a:gd name="connsiteX3475" fmla="*/ 1960369 w 3905665"/>
              <a:gd name="connsiteY3475" fmla="*/ 258721 h 3403632"/>
              <a:gd name="connsiteX3476" fmla="*/ 2195843 w 3905665"/>
              <a:gd name="connsiteY3476" fmla="*/ 258231 h 3403632"/>
              <a:gd name="connsiteX3477" fmla="*/ 2238050 w 3905665"/>
              <a:gd name="connsiteY3477" fmla="*/ 300440 h 3403632"/>
              <a:gd name="connsiteX3478" fmla="*/ 2195843 w 3905665"/>
              <a:gd name="connsiteY3478" fmla="*/ 342646 h 3403632"/>
              <a:gd name="connsiteX3479" fmla="*/ 2153634 w 3905665"/>
              <a:gd name="connsiteY3479" fmla="*/ 300440 h 3403632"/>
              <a:gd name="connsiteX3480" fmla="*/ 2195843 w 3905665"/>
              <a:gd name="connsiteY3480" fmla="*/ 258231 h 3403632"/>
              <a:gd name="connsiteX3481" fmla="*/ 1466454 w 3905665"/>
              <a:gd name="connsiteY3481" fmla="*/ 256496 h 3403632"/>
              <a:gd name="connsiteX3482" fmla="*/ 1512859 w 3905665"/>
              <a:gd name="connsiteY3482" fmla="*/ 302900 h 3403632"/>
              <a:gd name="connsiteX3483" fmla="*/ 1466454 w 3905665"/>
              <a:gd name="connsiteY3483" fmla="*/ 349551 h 3403632"/>
              <a:gd name="connsiteX3484" fmla="*/ 1420049 w 3905665"/>
              <a:gd name="connsiteY3484" fmla="*/ 302900 h 3403632"/>
              <a:gd name="connsiteX3485" fmla="*/ 1466454 w 3905665"/>
              <a:gd name="connsiteY3485" fmla="*/ 256496 h 3403632"/>
              <a:gd name="connsiteX3486" fmla="*/ 2658900 w 3905665"/>
              <a:gd name="connsiteY3486" fmla="*/ 251818 h 3403632"/>
              <a:gd name="connsiteX3487" fmla="*/ 2711478 w 3905665"/>
              <a:gd name="connsiteY3487" fmla="*/ 304393 h 3403632"/>
              <a:gd name="connsiteX3488" fmla="*/ 2658900 w 3905665"/>
              <a:gd name="connsiteY3488" fmla="*/ 356967 h 3403632"/>
              <a:gd name="connsiteX3489" fmla="*/ 2606325 w 3905665"/>
              <a:gd name="connsiteY3489" fmla="*/ 304393 h 3403632"/>
              <a:gd name="connsiteX3490" fmla="*/ 2658900 w 3905665"/>
              <a:gd name="connsiteY3490" fmla="*/ 251818 h 3403632"/>
              <a:gd name="connsiteX3491" fmla="*/ 1213692 w 3905665"/>
              <a:gd name="connsiteY3491" fmla="*/ 249829 h 3403632"/>
              <a:gd name="connsiteX3492" fmla="*/ 1257136 w 3905665"/>
              <a:gd name="connsiteY3492" fmla="*/ 293271 h 3403632"/>
              <a:gd name="connsiteX3493" fmla="*/ 1213692 w 3905665"/>
              <a:gd name="connsiteY3493" fmla="*/ 336714 h 3403632"/>
              <a:gd name="connsiteX3494" fmla="*/ 1170249 w 3905665"/>
              <a:gd name="connsiteY3494" fmla="*/ 293271 h 3403632"/>
              <a:gd name="connsiteX3495" fmla="*/ 1213692 w 3905665"/>
              <a:gd name="connsiteY3495" fmla="*/ 249829 h 3403632"/>
              <a:gd name="connsiteX3496" fmla="*/ 3347570 w 3905665"/>
              <a:gd name="connsiteY3496" fmla="*/ 234058 h 3403632"/>
              <a:gd name="connsiteX3497" fmla="*/ 3396199 w 3905665"/>
              <a:gd name="connsiteY3497" fmla="*/ 282684 h 3403632"/>
              <a:gd name="connsiteX3498" fmla="*/ 3347570 w 3905665"/>
              <a:gd name="connsiteY3498" fmla="*/ 331312 h 3403632"/>
              <a:gd name="connsiteX3499" fmla="*/ 3298944 w 3905665"/>
              <a:gd name="connsiteY3499" fmla="*/ 282684 h 3403632"/>
              <a:gd name="connsiteX3500" fmla="*/ 3347570 w 3905665"/>
              <a:gd name="connsiteY3500" fmla="*/ 234058 h 3403632"/>
              <a:gd name="connsiteX3501" fmla="*/ 474173 w 3905665"/>
              <a:gd name="connsiteY3501" fmla="*/ 232299 h 3403632"/>
              <a:gd name="connsiteX3502" fmla="*/ 514654 w 3905665"/>
              <a:gd name="connsiteY3502" fmla="*/ 272780 h 3403632"/>
              <a:gd name="connsiteX3503" fmla="*/ 474173 w 3905665"/>
              <a:gd name="connsiteY3503" fmla="*/ 313261 h 3403632"/>
              <a:gd name="connsiteX3504" fmla="*/ 433692 w 3905665"/>
              <a:gd name="connsiteY3504" fmla="*/ 272780 h 3403632"/>
              <a:gd name="connsiteX3505" fmla="*/ 474173 w 3905665"/>
              <a:gd name="connsiteY3505" fmla="*/ 232299 h 3403632"/>
              <a:gd name="connsiteX3506" fmla="*/ 2894874 w 3905665"/>
              <a:gd name="connsiteY3506" fmla="*/ 231581 h 3403632"/>
              <a:gd name="connsiteX3507" fmla="*/ 2946215 w 3905665"/>
              <a:gd name="connsiteY3507" fmla="*/ 282922 h 3403632"/>
              <a:gd name="connsiteX3508" fmla="*/ 2894874 w 3905665"/>
              <a:gd name="connsiteY3508" fmla="*/ 334263 h 3403632"/>
              <a:gd name="connsiteX3509" fmla="*/ 2843532 w 3905665"/>
              <a:gd name="connsiteY3509" fmla="*/ 282922 h 3403632"/>
              <a:gd name="connsiteX3510" fmla="*/ 2894874 w 3905665"/>
              <a:gd name="connsiteY3510" fmla="*/ 231581 h 3403632"/>
              <a:gd name="connsiteX3511" fmla="*/ 951801 w 3905665"/>
              <a:gd name="connsiteY3511" fmla="*/ 231560 h 3403632"/>
              <a:gd name="connsiteX3512" fmla="*/ 997218 w 3905665"/>
              <a:gd name="connsiteY3512" fmla="*/ 276978 h 3403632"/>
              <a:gd name="connsiteX3513" fmla="*/ 951801 w 3905665"/>
              <a:gd name="connsiteY3513" fmla="*/ 322395 h 3403632"/>
              <a:gd name="connsiteX3514" fmla="*/ 906630 w 3905665"/>
              <a:gd name="connsiteY3514" fmla="*/ 276978 h 3403632"/>
              <a:gd name="connsiteX3515" fmla="*/ 951801 w 3905665"/>
              <a:gd name="connsiteY3515" fmla="*/ 231560 h 3403632"/>
              <a:gd name="connsiteX3516" fmla="*/ 3121962 w 3905665"/>
              <a:gd name="connsiteY3516" fmla="*/ 231338 h 3403632"/>
              <a:gd name="connsiteX3517" fmla="*/ 3173550 w 3905665"/>
              <a:gd name="connsiteY3517" fmla="*/ 282925 h 3403632"/>
              <a:gd name="connsiteX3518" fmla="*/ 3121962 w 3905665"/>
              <a:gd name="connsiteY3518" fmla="*/ 334513 h 3403632"/>
              <a:gd name="connsiteX3519" fmla="*/ 3070374 w 3905665"/>
              <a:gd name="connsiteY3519" fmla="*/ 282925 h 3403632"/>
              <a:gd name="connsiteX3520" fmla="*/ 3121962 w 3905665"/>
              <a:gd name="connsiteY3520" fmla="*/ 231338 h 3403632"/>
              <a:gd name="connsiteX3521" fmla="*/ 1617270 w 3905665"/>
              <a:gd name="connsiteY3521" fmla="*/ 227615 h 3403632"/>
              <a:gd name="connsiteX3522" fmla="*/ 1645904 w 3905665"/>
              <a:gd name="connsiteY3522" fmla="*/ 256248 h 3403632"/>
              <a:gd name="connsiteX3523" fmla="*/ 1617270 w 3905665"/>
              <a:gd name="connsiteY3523" fmla="*/ 284881 h 3403632"/>
              <a:gd name="connsiteX3524" fmla="*/ 1588637 w 3905665"/>
              <a:gd name="connsiteY3524" fmla="*/ 256248 h 3403632"/>
              <a:gd name="connsiteX3525" fmla="*/ 1617270 w 3905665"/>
              <a:gd name="connsiteY3525" fmla="*/ 227615 h 3403632"/>
              <a:gd name="connsiteX3526" fmla="*/ 665715 w 3905665"/>
              <a:gd name="connsiteY3526" fmla="*/ 226130 h 3403632"/>
              <a:gd name="connsiteX3527" fmla="*/ 699780 w 3905665"/>
              <a:gd name="connsiteY3527" fmla="*/ 260194 h 3403632"/>
              <a:gd name="connsiteX3528" fmla="*/ 665715 w 3905665"/>
              <a:gd name="connsiteY3528" fmla="*/ 294256 h 3403632"/>
              <a:gd name="connsiteX3529" fmla="*/ 631653 w 3905665"/>
              <a:gd name="connsiteY3529" fmla="*/ 260194 h 3403632"/>
              <a:gd name="connsiteX3530" fmla="*/ 665715 w 3905665"/>
              <a:gd name="connsiteY3530" fmla="*/ 226130 h 3403632"/>
              <a:gd name="connsiteX3531" fmla="*/ 268806 w 3905665"/>
              <a:gd name="connsiteY3531" fmla="*/ 222672 h 3403632"/>
              <a:gd name="connsiteX3532" fmla="*/ 312495 w 3905665"/>
              <a:gd name="connsiteY3532" fmla="*/ 266361 h 3403632"/>
              <a:gd name="connsiteX3533" fmla="*/ 268806 w 3905665"/>
              <a:gd name="connsiteY3533" fmla="*/ 310052 h 3403632"/>
              <a:gd name="connsiteX3534" fmla="*/ 225117 w 3905665"/>
              <a:gd name="connsiteY3534" fmla="*/ 266361 h 3403632"/>
              <a:gd name="connsiteX3535" fmla="*/ 268806 w 3905665"/>
              <a:gd name="connsiteY3535" fmla="*/ 222672 h 3403632"/>
              <a:gd name="connsiteX3536" fmla="*/ 2101059 w 3905665"/>
              <a:gd name="connsiteY3536" fmla="*/ 210837 h 3403632"/>
              <a:gd name="connsiteX3537" fmla="*/ 2135367 w 3905665"/>
              <a:gd name="connsiteY3537" fmla="*/ 245148 h 3403632"/>
              <a:gd name="connsiteX3538" fmla="*/ 2101059 w 3905665"/>
              <a:gd name="connsiteY3538" fmla="*/ 279456 h 3403632"/>
              <a:gd name="connsiteX3539" fmla="*/ 2066748 w 3905665"/>
              <a:gd name="connsiteY3539" fmla="*/ 245148 h 3403632"/>
              <a:gd name="connsiteX3540" fmla="*/ 2101059 w 3905665"/>
              <a:gd name="connsiteY3540" fmla="*/ 210837 h 3403632"/>
              <a:gd name="connsiteX3541" fmla="*/ 1371914 w 3905665"/>
              <a:gd name="connsiteY3541" fmla="*/ 207620 h 3403632"/>
              <a:gd name="connsiteX3542" fmla="*/ 1413632 w 3905665"/>
              <a:gd name="connsiteY3542" fmla="*/ 249334 h 3403632"/>
              <a:gd name="connsiteX3543" fmla="*/ 1371914 w 3905665"/>
              <a:gd name="connsiteY3543" fmla="*/ 291051 h 3403632"/>
              <a:gd name="connsiteX3544" fmla="*/ 1330200 w 3905665"/>
              <a:gd name="connsiteY3544" fmla="*/ 249334 h 3403632"/>
              <a:gd name="connsiteX3545" fmla="*/ 1371914 w 3905665"/>
              <a:gd name="connsiteY3545" fmla="*/ 207620 h 3403632"/>
              <a:gd name="connsiteX3546" fmla="*/ 845167 w 3905665"/>
              <a:gd name="connsiteY3546" fmla="*/ 206630 h 3403632"/>
              <a:gd name="connsiteX3547" fmla="*/ 872813 w 3905665"/>
              <a:gd name="connsiteY3547" fmla="*/ 234275 h 3403632"/>
              <a:gd name="connsiteX3548" fmla="*/ 845167 w 3905665"/>
              <a:gd name="connsiteY3548" fmla="*/ 261920 h 3403632"/>
              <a:gd name="connsiteX3549" fmla="*/ 817522 w 3905665"/>
              <a:gd name="connsiteY3549" fmla="*/ 234275 h 3403632"/>
              <a:gd name="connsiteX3550" fmla="*/ 845167 w 3905665"/>
              <a:gd name="connsiteY3550" fmla="*/ 206630 h 3403632"/>
              <a:gd name="connsiteX3551" fmla="*/ 2332835 w 3905665"/>
              <a:gd name="connsiteY3551" fmla="*/ 206396 h 3403632"/>
              <a:gd name="connsiteX3552" fmla="*/ 2375044 w 3905665"/>
              <a:gd name="connsiteY3552" fmla="*/ 248359 h 3403632"/>
              <a:gd name="connsiteX3553" fmla="*/ 2332835 w 3905665"/>
              <a:gd name="connsiteY3553" fmla="*/ 290320 h 3403632"/>
              <a:gd name="connsiteX3554" fmla="*/ 2290874 w 3905665"/>
              <a:gd name="connsiteY3554" fmla="*/ 248359 h 3403632"/>
              <a:gd name="connsiteX3555" fmla="*/ 2332835 w 3905665"/>
              <a:gd name="connsiteY3555" fmla="*/ 206396 h 3403632"/>
              <a:gd name="connsiteX3556" fmla="*/ 3578605 w 3905665"/>
              <a:gd name="connsiteY3556" fmla="*/ 204689 h 3403632"/>
              <a:gd name="connsiteX3557" fmla="*/ 3632416 w 3905665"/>
              <a:gd name="connsiteY3557" fmla="*/ 258497 h 3403632"/>
              <a:gd name="connsiteX3558" fmla="*/ 3578605 w 3905665"/>
              <a:gd name="connsiteY3558" fmla="*/ 312308 h 3403632"/>
              <a:gd name="connsiteX3559" fmla="*/ 3524796 w 3905665"/>
              <a:gd name="connsiteY3559" fmla="*/ 258497 h 3403632"/>
              <a:gd name="connsiteX3560" fmla="*/ 3578605 w 3905665"/>
              <a:gd name="connsiteY3560" fmla="*/ 204689 h 3403632"/>
              <a:gd name="connsiteX3561" fmla="*/ 1866081 w 3905665"/>
              <a:gd name="connsiteY3561" fmla="*/ 204170 h 3403632"/>
              <a:gd name="connsiteX3562" fmla="*/ 1903848 w 3905665"/>
              <a:gd name="connsiteY3562" fmla="*/ 241935 h 3403632"/>
              <a:gd name="connsiteX3563" fmla="*/ 1866081 w 3905665"/>
              <a:gd name="connsiteY3563" fmla="*/ 279700 h 3403632"/>
              <a:gd name="connsiteX3564" fmla="*/ 1828316 w 3905665"/>
              <a:gd name="connsiteY3564" fmla="*/ 241935 h 3403632"/>
              <a:gd name="connsiteX3565" fmla="*/ 1866081 w 3905665"/>
              <a:gd name="connsiteY3565" fmla="*/ 204170 h 3403632"/>
              <a:gd name="connsiteX3566" fmla="*/ 3802238 w 3905665"/>
              <a:gd name="connsiteY3566" fmla="*/ 203460 h 3403632"/>
              <a:gd name="connsiteX3567" fmla="*/ 3856791 w 3905665"/>
              <a:gd name="connsiteY3567" fmla="*/ 258009 h 3403632"/>
              <a:gd name="connsiteX3568" fmla="*/ 3802238 w 3905665"/>
              <a:gd name="connsiteY3568" fmla="*/ 312559 h 3403632"/>
              <a:gd name="connsiteX3569" fmla="*/ 3747688 w 3905665"/>
              <a:gd name="connsiteY3569" fmla="*/ 258009 h 3403632"/>
              <a:gd name="connsiteX3570" fmla="*/ 3802238 w 3905665"/>
              <a:gd name="connsiteY3570" fmla="*/ 203460 h 3403632"/>
              <a:gd name="connsiteX3571" fmla="*/ 2563131 w 3905665"/>
              <a:gd name="connsiteY3571" fmla="*/ 196773 h 3403632"/>
              <a:gd name="connsiteX3572" fmla="*/ 2615214 w 3905665"/>
              <a:gd name="connsiteY3572" fmla="*/ 248855 h 3403632"/>
              <a:gd name="connsiteX3573" fmla="*/ 2563131 w 3905665"/>
              <a:gd name="connsiteY3573" fmla="*/ 300938 h 3403632"/>
              <a:gd name="connsiteX3574" fmla="*/ 2511048 w 3905665"/>
              <a:gd name="connsiteY3574" fmla="*/ 248855 h 3403632"/>
              <a:gd name="connsiteX3575" fmla="*/ 2563131 w 3905665"/>
              <a:gd name="connsiteY3575" fmla="*/ 196773 h 3403632"/>
              <a:gd name="connsiteX3576" fmla="*/ 1118661 w 3905665"/>
              <a:gd name="connsiteY3576" fmla="*/ 196511 h 3403632"/>
              <a:gd name="connsiteX3577" fmla="*/ 1161609 w 3905665"/>
              <a:gd name="connsiteY3577" fmla="*/ 239462 h 3403632"/>
              <a:gd name="connsiteX3578" fmla="*/ 1118661 w 3905665"/>
              <a:gd name="connsiteY3578" fmla="*/ 282410 h 3403632"/>
              <a:gd name="connsiteX3579" fmla="*/ 1075711 w 3905665"/>
              <a:gd name="connsiteY3579" fmla="*/ 239462 h 3403632"/>
              <a:gd name="connsiteX3580" fmla="*/ 1118661 w 3905665"/>
              <a:gd name="connsiteY3580" fmla="*/ 196511 h 3403632"/>
              <a:gd name="connsiteX3581" fmla="*/ 48878 w 3905665"/>
              <a:gd name="connsiteY3581" fmla="*/ 191571 h 3403632"/>
              <a:gd name="connsiteX3582" fmla="*/ 87876 w 3905665"/>
              <a:gd name="connsiteY3582" fmla="*/ 230573 h 3403632"/>
              <a:gd name="connsiteX3583" fmla="*/ 48878 w 3905665"/>
              <a:gd name="connsiteY3583" fmla="*/ 269571 h 3403632"/>
              <a:gd name="connsiteX3584" fmla="*/ 9876 w 3905665"/>
              <a:gd name="connsiteY3584" fmla="*/ 230573 h 3403632"/>
              <a:gd name="connsiteX3585" fmla="*/ 48878 w 3905665"/>
              <a:gd name="connsiteY3585" fmla="*/ 191571 h 3403632"/>
              <a:gd name="connsiteX3586" fmla="*/ 3250316 w 3905665"/>
              <a:gd name="connsiteY3586" fmla="*/ 180494 h 3403632"/>
              <a:gd name="connsiteX3587" fmla="*/ 3296721 w 3905665"/>
              <a:gd name="connsiteY3587" fmla="*/ 226899 h 3403632"/>
              <a:gd name="connsiteX3588" fmla="*/ 3250316 w 3905665"/>
              <a:gd name="connsiteY3588" fmla="*/ 273303 h 3403632"/>
              <a:gd name="connsiteX3589" fmla="*/ 3203911 w 3905665"/>
              <a:gd name="connsiteY3589" fmla="*/ 226899 h 3403632"/>
              <a:gd name="connsiteX3590" fmla="*/ 3250316 w 3905665"/>
              <a:gd name="connsiteY3590" fmla="*/ 180494 h 3403632"/>
              <a:gd name="connsiteX3591" fmla="*/ 3024958 w 3905665"/>
              <a:gd name="connsiteY3591" fmla="*/ 178515 h 3403632"/>
              <a:gd name="connsiteX3592" fmla="*/ 3073830 w 3905665"/>
              <a:gd name="connsiteY3592" fmla="*/ 227636 h 3403632"/>
              <a:gd name="connsiteX3593" fmla="*/ 3024958 w 3905665"/>
              <a:gd name="connsiteY3593" fmla="*/ 276507 h 3403632"/>
              <a:gd name="connsiteX3594" fmla="*/ 2976084 w 3905665"/>
              <a:gd name="connsiteY3594" fmla="*/ 227636 h 3403632"/>
              <a:gd name="connsiteX3595" fmla="*/ 3024958 w 3905665"/>
              <a:gd name="connsiteY3595" fmla="*/ 178515 h 3403632"/>
              <a:gd name="connsiteX3596" fmla="*/ 2798609 w 3905665"/>
              <a:gd name="connsiteY3596" fmla="*/ 176537 h 3403632"/>
              <a:gd name="connsiteX3597" fmla="*/ 2848964 w 3905665"/>
              <a:gd name="connsiteY3597" fmla="*/ 226892 h 3403632"/>
              <a:gd name="connsiteX3598" fmla="*/ 2798609 w 3905665"/>
              <a:gd name="connsiteY3598" fmla="*/ 277246 h 3403632"/>
              <a:gd name="connsiteX3599" fmla="*/ 2748255 w 3905665"/>
              <a:gd name="connsiteY3599" fmla="*/ 226892 h 3403632"/>
              <a:gd name="connsiteX3600" fmla="*/ 2798609 w 3905665"/>
              <a:gd name="connsiteY3600" fmla="*/ 176537 h 3403632"/>
              <a:gd name="connsiteX3601" fmla="*/ 3474690 w 3905665"/>
              <a:gd name="connsiteY3601" fmla="*/ 175067 h 3403632"/>
              <a:gd name="connsiteX3602" fmla="*/ 3525786 w 3905665"/>
              <a:gd name="connsiteY3602" fmla="*/ 226162 h 3403632"/>
              <a:gd name="connsiteX3603" fmla="*/ 3474690 w 3905665"/>
              <a:gd name="connsiteY3603" fmla="*/ 277254 h 3403632"/>
              <a:gd name="connsiteX3604" fmla="*/ 3423595 w 3905665"/>
              <a:gd name="connsiteY3604" fmla="*/ 226162 h 3403632"/>
              <a:gd name="connsiteX3605" fmla="*/ 3474690 w 3905665"/>
              <a:gd name="connsiteY3605" fmla="*/ 175067 h 3403632"/>
              <a:gd name="connsiteX3606" fmla="*/ 370749 w 3905665"/>
              <a:gd name="connsiteY3606" fmla="*/ 167629 h 3403632"/>
              <a:gd name="connsiteX3607" fmla="*/ 413945 w 3905665"/>
              <a:gd name="connsiteY3607" fmla="*/ 210826 h 3403632"/>
              <a:gd name="connsiteX3608" fmla="*/ 370749 w 3905665"/>
              <a:gd name="connsiteY3608" fmla="*/ 254022 h 3403632"/>
              <a:gd name="connsiteX3609" fmla="*/ 327552 w 3905665"/>
              <a:gd name="connsiteY3609" fmla="*/ 210826 h 3403632"/>
              <a:gd name="connsiteX3610" fmla="*/ 370749 w 3905665"/>
              <a:gd name="connsiteY3610" fmla="*/ 167629 h 3403632"/>
              <a:gd name="connsiteX3611" fmla="*/ 1523228 w 3905665"/>
              <a:gd name="connsiteY3611" fmla="*/ 162450 h 3403632"/>
              <a:gd name="connsiteX3612" fmla="*/ 1562473 w 3905665"/>
              <a:gd name="connsiteY3612" fmla="*/ 201697 h 3403632"/>
              <a:gd name="connsiteX3613" fmla="*/ 1523228 w 3905665"/>
              <a:gd name="connsiteY3613" fmla="*/ 240944 h 3403632"/>
              <a:gd name="connsiteX3614" fmla="*/ 1483980 w 3905665"/>
              <a:gd name="connsiteY3614" fmla="*/ 201697 h 3403632"/>
              <a:gd name="connsiteX3615" fmla="*/ 1523228 w 3905665"/>
              <a:gd name="connsiteY3615" fmla="*/ 162450 h 3403632"/>
              <a:gd name="connsiteX3616" fmla="*/ 1762904 w 3905665"/>
              <a:gd name="connsiteY3616" fmla="*/ 161960 h 3403632"/>
              <a:gd name="connsiteX3617" fmla="*/ 1807087 w 3905665"/>
              <a:gd name="connsiteY3617" fmla="*/ 206143 h 3403632"/>
              <a:gd name="connsiteX3618" fmla="*/ 1762904 w 3905665"/>
              <a:gd name="connsiteY3618" fmla="*/ 250325 h 3403632"/>
              <a:gd name="connsiteX3619" fmla="*/ 1718720 w 3905665"/>
              <a:gd name="connsiteY3619" fmla="*/ 206143 h 3403632"/>
              <a:gd name="connsiteX3620" fmla="*/ 1762904 w 3905665"/>
              <a:gd name="connsiteY3620" fmla="*/ 161960 h 3403632"/>
              <a:gd name="connsiteX3621" fmla="*/ 748405 w 3905665"/>
              <a:gd name="connsiteY3621" fmla="*/ 157262 h 3403632"/>
              <a:gd name="connsiteX3622" fmla="*/ 770372 w 3905665"/>
              <a:gd name="connsiteY3622" fmla="*/ 179229 h 3403632"/>
              <a:gd name="connsiteX3623" fmla="*/ 748405 w 3905665"/>
              <a:gd name="connsiteY3623" fmla="*/ 201197 h 3403632"/>
              <a:gd name="connsiteX3624" fmla="*/ 726437 w 3905665"/>
              <a:gd name="connsiteY3624" fmla="*/ 179229 h 3403632"/>
              <a:gd name="connsiteX3625" fmla="*/ 748405 w 3905665"/>
              <a:gd name="connsiteY3625" fmla="*/ 157262 h 3403632"/>
              <a:gd name="connsiteX3626" fmla="*/ 1277374 w 3905665"/>
              <a:gd name="connsiteY3626" fmla="*/ 155785 h 3403632"/>
              <a:gd name="connsiteX3627" fmla="*/ 1317363 w 3905665"/>
              <a:gd name="connsiteY3627" fmla="*/ 195771 h 3403632"/>
              <a:gd name="connsiteX3628" fmla="*/ 1277374 w 3905665"/>
              <a:gd name="connsiteY3628" fmla="*/ 235759 h 3403632"/>
              <a:gd name="connsiteX3629" fmla="*/ 1237389 w 3905665"/>
              <a:gd name="connsiteY3629" fmla="*/ 195771 h 3403632"/>
              <a:gd name="connsiteX3630" fmla="*/ 1277374 w 3905665"/>
              <a:gd name="connsiteY3630" fmla="*/ 155785 h 3403632"/>
              <a:gd name="connsiteX3631" fmla="*/ 159950 w 3905665"/>
              <a:gd name="connsiteY3631" fmla="*/ 155285 h 3403632"/>
              <a:gd name="connsiteX3632" fmla="*/ 199692 w 3905665"/>
              <a:gd name="connsiteY3632" fmla="*/ 195025 h 3403632"/>
              <a:gd name="connsiteX3633" fmla="*/ 159950 w 3905665"/>
              <a:gd name="connsiteY3633" fmla="*/ 234767 h 3403632"/>
              <a:gd name="connsiteX3634" fmla="*/ 120210 w 3905665"/>
              <a:gd name="connsiteY3634" fmla="*/ 195025 h 3403632"/>
              <a:gd name="connsiteX3635" fmla="*/ 159950 w 3905665"/>
              <a:gd name="connsiteY3635" fmla="*/ 155285 h 3403632"/>
              <a:gd name="connsiteX3636" fmla="*/ 566487 w 3905665"/>
              <a:gd name="connsiteY3636" fmla="*/ 153066 h 3403632"/>
              <a:gd name="connsiteX3637" fmla="*/ 616349 w 3905665"/>
              <a:gd name="connsiteY3637" fmla="*/ 202679 h 3403632"/>
              <a:gd name="connsiteX3638" fmla="*/ 566487 w 3905665"/>
              <a:gd name="connsiteY3638" fmla="*/ 252541 h 3403632"/>
              <a:gd name="connsiteX3639" fmla="*/ 516874 w 3905665"/>
              <a:gd name="connsiteY3639" fmla="*/ 202679 h 3403632"/>
              <a:gd name="connsiteX3640" fmla="*/ 566487 w 3905665"/>
              <a:gd name="connsiteY3640" fmla="*/ 153066 h 3403632"/>
              <a:gd name="connsiteX3641" fmla="*/ 3703753 w 3905665"/>
              <a:gd name="connsiteY3641" fmla="*/ 146686 h 3403632"/>
              <a:gd name="connsiteX3642" fmla="*/ 3758798 w 3905665"/>
              <a:gd name="connsiteY3642" fmla="*/ 201730 h 3403632"/>
              <a:gd name="connsiteX3643" fmla="*/ 3703753 w 3905665"/>
              <a:gd name="connsiteY3643" fmla="*/ 256774 h 3403632"/>
              <a:gd name="connsiteX3644" fmla="*/ 3648708 w 3905665"/>
              <a:gd name="connsiteY3644" fmla="*/ 201730 h 3403632"/>
              <a:gd name="connsiteX3645" fmla="*/ 3703753 w 3905665"/>
              <a:gd name="connsiteY3645" fmla="*/ 146686 h 3403632"/>
              <a:gd name="connsiteX3646" fmla="*/ 2695185 w 3905665"/>
              <a:gd name="connsiteY3646" fmla="*/ 144941 h 3403632"/>
              <a:gd name="connsiteX3647" fmla="*/ 2744552 w 3905665"/>
              <a:gd name="connsiteY3647" fmla="*/ 194307 h 3403632"/>
              <a:gd name="connsiteX3648" fmla="*/ 2695185 w 3905665"/>
              <a:gd name="connsiteY3648" fmla="*/ 243674 h 3403632"/>
              <a:gd name="connsiteX3649" fmla="*/ 2645818 w 3905665"/>
              <a:gd name="connsiteY3649" fmla="*/ 194307 h 3403632"/>
              <a:gd name="connsiteX3650" fmla="*/ 2695185 w 3905665"/>
              <a:gd name="connsiteY3650" fmla="*/ 144941 h 3403632"/>
              <a:gd name="connsiteX3651" fmla="*/ 2467359 w 3905665"/>
              <a:gd name="connsiteY3651" fmla="*/ 143703 h 3403632"/>
              <a:gd name="connsiteX3652" fmla="*/ 2517465 w 3905665"/>
              <a:gd name="connsiteY3652" fmla="*/ 193811 h 3403632"/>
              <a:gd name="connsiteX3653" fmla="*/ 2467359 w 3905665"/>
              <a:gd name="connsiteY3653" fmla="*/ 243917 h 3403632"/>
              <a:gd name="connsiteX3654" fmla="*/ 2417251 w 3905665"/>
              <a:gd name="connsiteY3654" fmla="*/ 193811 h 3403632"/>
              <a:gd name="connsiteX3655" fmla="*/ 2467359 w 3905665"/>
              <a:gd name="connsiteY3655" fmla="*/ 143703 h 3403632"/>
              <a:gd name="connsiteX3656" fmla="*/ 2006521 w 3905665"/>
              <a:gd name="connsiteY3656" fmla="*/ 143697 h 3403632"/>
              <a:gd name="connsiteX3657" fmla="*/ 2051938 w 3905665"/>
              <a:gd name="connsiteY3657" fmla="*/ 189361 h 3403632"/>
              <a:gd name="connsiteX3658" fmla="*/ 2006521 w 3905665"/>
              <a:gd name="connsiteY3658" fmla="*/ 234778 h 3403632"/>
              <a:gd name="connsiteX3659" fmla="*/ 1961110 w 3905665"/>
              <a:gd name="connsiteY3659" fmla="*/ 189361 h 3403632"/>
              <a:gd name="connsiteX3660" fmla="*/ 2006521 w 3905665"/>
              <a:gd name="connsiteY3660" fmla="*/ 143697 h 3403632"/>
              <a:gd name="connsiteX3661" fmla="*/ 1023874 w 3905665"/>
              <a:gd name="connsiteY3661" fmla="*/ 141220 h 3403632"/>
              <a:gd name="connsiteX3662" fmla="*/ 1067812 w 3905665"/>
              <a:gd name="connsiteY3662" fmla="*/ 185156 h 3403632"/>
              <a:gd name="connsiteX3663" fmla="*/ 1023874 w 3905665"/>
              <a:gd name="connsiteY3663" fmla="*/ 229094 h 3403632"/>
              <a:gd name="connsiteX3664" fmla="*/ 979939 w 3905665"/>
              <a:gd name="connsiteY3664" fmla="*/ 185156 h 3403632"/>
              <a:gd name="connsiteX3665" fmla="*/ 1023874 w 3905665"/>
              <a:gd name="connsiteY3665" fmla="*/ 141220 h 3403632"/>
              <a:gd name="connsiteX3666" fmla="*/ 2238051 w 3905665"/>
              <a:gd name="connsiteY3666" fmla="*/ 140984 h 3403632"/>
              <a:gd name="connsiteX3667" fmla="*/ 2288900 w 3905665"/>
              <a:gd name="connsiteY3667" fmla="*/ 191830 h 3403632"/>
              <a:gd name="connsiteX3668" fmla="*/ 2238051 w 3905665"/>
              <a:gd name="connsiteY3668" fmla="*/ 242679 h 3403632"/>
              <a:gd name="connsiteX3669" fmla="*/ 2187204 w 3905665"/>
              <a:gd name="connsiteY3669" fmla="*/ 191830 h 3403632"/>
              <a:gd name="connsiteX3670" fmla="*/ 2238051 w 3905665"/>
              <a:gd name="connsiteY3670" fmla="*/ 140984 h 3403632"/>
              <a:gd name="connsiteX3671" fmla="*/ 3376698 w 3905665"/>
              <a:gd name="connsiteY3671" fmla="*/ 124219 h 3403632"/>
              <a:gd name="connsiteX3672" fmla="*/ 3422854 w 3905665"/>
              <a:gd name="connsiteY3672" fmla="*/ 170378 h 3403632"/>
              <a:gd name="connsiteX3673" fmla="*/ 3376698 w 3905665"/>
              <a:gd name="connsiteY3673" fmla="*/ 216536 h 3403632"/>
              <a:gd name="connsiteX3674" fmla="*/ 3330539 w 3905665"/>
              <a:gd name="connsiteY3674" fmla="*/ 170378 h 3403632"/>
              <a:gd name="connsiteX3675" fmla="*/ 3376698 w 3905665"/>
              <a:gd name="connsiteY3675" fmla="*/ 124219 h 3403632"/>
              <a:gd name="connsiteX3676" fmla="*/ 2927951 w 3905665"/>
              <a:gd name="connsiteY3676" fmla="*/ 123962 h 3403632"/>
              <a:gd name="connsiteX3677" fmla="*/ 2975098 w 3905665"/>
              <a:gd name="connsiteY3677" fmla="*/ 171108 h 3403632"/>
              <a:gd name="connsiteX3678" fmla="*/ 2927951 w 3905665"/>
              <a:gd name="connsiteY3678" fmla="*/ 218254 h 3403632"/>
              <a:gd name="connsiteX3679" fmla="*/ 2880805 w 3905665"/>
              <a:gd name="connsiteY3679" fmla="*/ 171108 h 3403632"/>
              <a:gd name="connsiteX3680" fmla="*/ 2927951 w 3905665"/>
              <a:gd name="connsiteY3680" fmla="*/ 123962 h 3403632"/>
              <a:gd name="connsiteX3681" fmla="*/ 3152817 w 3905665"/>
              <a:gd name="connsiteY3681" fmla="*/ 119770 h 3403632"/>
              <a:gd name="connsiteX3682" fmla="*/ 3203910 w 3905665"/>
              <a:gd name="connsiteY3682" fmla="*/ 170865 h 3403632"/>
              <a:gd name="connsiteX3683" fmla="*/ 3152817 w 3905665"/>
              <a:gd name="connsiteY3683" fmla="*/ 221960 h 3403632"/>
              <a:gd name="connsiteX3684" fmla="*/ 3101722 w 3905665"/>
              <a:gd name="connsiteY3684" fmla="*/ 170865 h 3403632"/>
              <a:gd name="connsiteX3685" fmla="*/ 3152817 w 3905665"/>
              <a:gd name="connsiteY3685" fmla="*/ 119770 h 3403632"/>
              <a:gd name="connsiteX3686" fmla="*/ 918723 w 3905665"/>
              <a:gd name="connsiteY3686" fmla="*/ 118511 h 3403632"/>
              <a:gd name="connsiteX3687" fmla="*/ 945381 w 3905665"/>
              <a:gd name="connsiteY3687" fmla="*/ 145169 h 3403632"/>
              <a:gd name="connsiteX3688" fmla="*/ 918723 w 3905665"/>
              <a:gd name="connsiteY3688" fmla="*/ 171827 h 3403632"/>
              <a:gd name="connsiteX3689" fmla="*/ 892065 w 3905665"/>
              <a:gd name="connsiteY3689" fmla="*/ 145169 h 3403632"/>
              <a:gd name="connsiteX3690" fmla="*/ 918723 w 3905665"/>
              <a:gd name="connsiteY3690" fmla="*/ 118511 h 3403632"/>
              <a:gd name="connsiteX3691" fmla="*/ 1668365 w 3905665"/>
              <a:gd name="connsiteY3691" fmla="*/ 112346 h 3403632"/>
              <a:gd name="connsiteX3692" fmla="*/ 1707859 w 3905665"/>
              <a:gd name="connsiteY3692" fmla="*/ 152085 h 3403632"/>
              <a:gd name="connsiteX3693" fmla="*/ 1668365 w 3905665"/>
              <a:gd name="connsiteY3693" fmla="*/ 191579 h 3403632"/>
              <a:gd name="connsiteX3694" fmla="*/ 1628625 w 3905665"/>
              <a:gd name="connsiteY3694" fmla="*/ 152085 h 3403632"/>
              <a:gd name="connsiteX3695" fmla="*/ 1668365 w 3905665"/>
              <a:gd name="connsiteY3695" fmla="*/ 112346 h 3403632"/>
              <a:gd name="connsiteX3696" fmla="*/ 1428688 w 3905665"/>
              <a:gd name="connsiteY3696" fmla="*/ 111602 h 3403632"/>
              <a:gd name="connsiteX3697" fmla="*/ 1465219 w 3905665"/>
              <a:gd name="connsiteY3697" fmla="*/ 148133 h 3403632"/>
              <a:gd name="connsiteX3698" fmla="*/ 1428688 w 3905665"/>
              <a:gd name="connsiteY3698" fmla="*/ 184665 h 3403632"/>
              <a:gd name="connsiteX3699" fmla="*/ 1392156 w 3905665"/>
              <a:gd name="connsiteY3699" fmla="*/ 148133 h 3403632"/>
              <a:gd name="connsiteX3700" fmla="*/ 1428688 w 3905665"/>
              <a:gd name="connsiteY3700" fmla="*/ 111602 h 3403632"/>
              <a:gd name="connsiteX3701" fmla="*/ 265595 w 3905665"/>
              <a:gd name="connsiteY3701" fmla="*/ 106907 h 3403632"/>
              <a:gd name="connsiteX3702" fmla="*/ 305088 w 3905665"/>
              <a:gd name="connsiteY3702" fmla="*/ 146400 h 3403632"/>
              <a:gd name="connsiteX3703" fmla="*/ 265595 w 3905665"/>
              <a:gd name="connsiteY3703" fmla="*/ 185893 h 3403632"/>
              <a:gd name="connsiteX3704" fmla="*/ 226102 w 3905665"/>
              <a:gd name="connsiteY3704" fmla="*/ 146400 h 3403632"/>
              <a:gd name="connsiteX3705" fmla="*/ 265595 w 3905665"/>
              <a:gd name="connsiteY3705" fmla="*/ 106907 h 3403632"/>
              <a:gd name="connsiteX3706" fmla="*/ 1183084 w 3905665"/>
              <a:gd name="connsiteY3706" fmla="*/ 103209 h 3403632"/>
              <a:gd name="connsiteX3707" fmla="*/ 1222083 w 3905665"/>
              <a:gd name="connsiteY3707" fmla="*/ 142210 h 3403632"/>
              <a:gd name="connsiteX3708" fmla="*/ 1183084 w 3905665"/>
              <a:gd name="connsiteY3708" fmla="*/ 181209 h 3403632"/>
              <a:gd name="connsiteX3709" fmla="*/ 1144083 w 3905665"/>
              <a:gd name="connsiteY3709" fmla="*/ 142210 h 3403632"/>
              <a:gd name="connsiteX3710" fmla="*/ 1183084 w 3905665"/>
              <a:gd name="connsiteY3710" fmla="*/ 103209 h 3403632"/>
              <a:gd name="connsiteX3711" fmla="*/ 466272 w 3905665"/>
              <a:gd name="connsiteY3711" fmla="*/ 102711 h 3403632"/>
              <a:gd name="connsiteX3712" fmla="*/ 507989 w 3905665"/>
              <a:gd name="connsiteY3712" fmla="*/ 144425 h 3403632"/>
              <a:gd name="connsiteX3713" fmla="*/ 466272 w 3905665"/>
              <a:gd name="connsiteY3713" fmla="*/ 186389 h 3403632"/>
              <a:gd name="connsiteX3714" fmla="*/ 424311 w 3905665"/>
              <a:gd name="connsiteY3714" fmla="*/ 144425 h 3403632"/>
              <a:gd name="connsiteX3715" fmla="*/ 466272 w 3905665"/>
              <a:gd name="connsiteY3715" fmla="*/ 102711 h 3403632"/>
              <a:gd name="connsiteX3716" fmla="*/ 1911499 w 3905665"/>
              <a:gd name="connsiteY3716" fmla="*/ 92352 h 3403632"/>
              <a:gd name="connsiteX3717" fmla="*/ 1953460 w 3905665"/>
              <a:gd name="connsiteY3717" fmla="*/ 134313 h 3403632"/>
              <a:gd name="connsiteX3718" fmla="*/ 1911499 w 3905665"/>
              <a:gd name="connsiteY3718" fmla="*/ 176276 h 3403632"/>
              <a:gd name="connsiteX3719" fmla="*/ 1869785 w 3905665"/>
              <a:gd name="connsiteY3719" fmla="*/ 134313 h 3403632"/>
              <a:gd name="connsiteX3720" fmla="*/ 1911499 w 3905665"/>
              <a:gd name="connsiteY3720" fmla="*/ 92352 h 3403632"/>
              <a:gd name="connsiteX3721" fmla="*/ 3605265 w 3905665"/>
              <a:gd name="connsiteY3721" fmla="*/ 90654 h 3403632"/>
              <a:gd name="connsiteX3722" fmla="*/ 3659815 w 3905665"/>
              <a:gd name="connsiteY3722" fmla="*/ 145204 h 3403632"/>
              <a:gd name="connsiteX3723" fmla="*/ 3605265 w 3905665"/>
              <a:gd name="connsiteY3723" fmla="*/ 199753 h 3403632"/>
              <a:gd name="connsiteX3724" fmla="*/ 3550715 w 3905665"/>
              <a:gd name="connsiteY3724" fmla="*/ 145204 h 3403632"/>
              <a:gd name="connsiteX3725" fmla="*/ 3605265 w 3905665"/>
              <a:gd name="connsiteY3725" fmla="*/ 90654 h 3403632"/>
              <a:gd name="connsiteX3726" fmla="*/ 3827416 w 3905665"/>
              <a:gd name="connsiteY3726" fmla="*/ 89177 h 3403632"/>
              <a:gd name="connsiteX3727" fmla="*/ 3882707 w 3905665"/>
              <a:gd name="connsiteY3727" fmla="*/ 144467 h 3403632"/>
              <a:gd name="connsiteX3728" fmla="*/ 3827416 w 3905665"/>
              <a:gd name="connsiteY3728" fmla="*/ 199757 h 3403632"/>
              <a:gd name="connsiteX3729" fmla="*/ 3772125 w 3905665"/>
              <a:gd name="connsiteY3729" fmla="*/ 144467 h 3403632"/>
              <a:gd name="connsiteX3730" fmla="*/ 3827416 w 3905665"/>
              <a:gd name="connsiteY3730" fmla="*/ 89177 h 3403632"/>
              <a:gd name="connsiteX3731" fmla="*/ 2598672 w 3905665"/>
              <a:gd name="connsiteY3731" fmla="*/ 88907 h 3403632"/>
              <a:gd name="connsiteX3732" fmla="*/ 2648285 w 3905665"/>
              <a:gd name="connsiteY3732" fmla="*/ 138520 h 3403632"/>
              <a:gd name="connsiteX3733" fmla="*/ 2598672 w 3905665"/>
              <a:gd name="connsiteY3733" fmla="*/ 188135 h 3403632"/>
              <a:gd name="connsiteX3734" fmla="*/ 2549059 w 3905665"/>
              <a:gd name="connsiteY3734" fmla="*/ 138520 h 3403632"/>
              <a:gd name="connsiteX3735" fmla="*/ 2598672 w 3905665"/>
              <a:gd name="connsiteY3735" fmla="*/ 88907 h 3403632"/>
              <a:gd name="connsiteX3736" fmla="*/ 2142773 w 3905665"/>
              <a:gd name="connsiteY3736" fmla="*/ 86926 h 3403632"/>
              <a:gd name="connsiteX3737" fmla="*/ 2192140 w 3905665"/>
              <a:gd name="connsiteY3737" fmla="*/ 136293 h 3403632"/>
              <a:gd name="connsiteX3738" fmla="*/ 2142773 w 3905665"/>
              <a:gd name="connsiteY3738" fmla="*/ 185660 h 3403632"/>
              <a:gd name="connsiteX3739" fmla="*/ 2093406 w 3905665"/>
              <a:gd name="connsiteY3739" fmla="*/ 136293 h 3403632"/>
              <a:gd name="connsiteX3740" fmla="*/ 2142773 w 3905665"/>
              <a:gd name="connsiteY3740" fmla="*/ 86926 h 3403632"/>
              <a:gd name="connsiteX3741" fmla="*/ 2371341 w 3905665"/>
              <a:gd name="connsiteY3741" fmla="*/ 86434 h 3403632"/>
              <a:gd name="connsiteX3742" fmla="*/ 2423424 w 3905665"/>
              <a:gd name="connsiteY3742" fmla="*/ 138517 h 3403632"/>
              <a:gd name="connsiteX3743" fmla="*/ 2371341 w 3905665"/>
              <a:gd name="connsiteY3743" fmla="*/ 190599 h 3403632"/>
              <a:gd name="connsiteX3744" fmla="*/ 2319258 w 3905665"/>
              <a:gd name="connsiteY3744" fmla="*/ 138517 h 3403632"/>
              <a:gd name="connsiteX3745" fmla="*/ 2371341 w 3905665"/>
              <a:gd name="connsiteY3745" fmla="*/ 86434 h 3403632"/>
              <a:gd name="connsiteX3746" fmla="*/ 651399 w 3905665"/>
              <a:gd name="connsiteY3746" fmla="*/ 79261 h 3403632"/>
              <a:gd name="connsiteX3747" fmla="*/ 696078 w 3905665"/>
              <a:gd name="connsiteY3747" fmla="*/ 123938 h 3403632"/>
              <a:gd name="connsiteX3748" fmla="*/ 651399 w 3905665"/>
              <a:gd name="connsiteY3748" fmla="*/ 168614 h 3403632"/>
              <a:gd name="connsiteX3749" fmla="*/ 606723 w 3905665"/>
              <a:gd name="connsiteY3749" fmla="*/ 123938 h 3403632"/>
              <a:gd name="connsiteX3750" fmla="*/ 651399 w 3905665"/>
              <a:gd name="connsiteY3750" fmla="*/ 79261 h 3403632"/>
              <a:gd name="connsiteX3751" fmla="*/ 1574074 w 3905665"/>
              <a:gd name="connsiteY3751" fmla="*/ 75072 h 3403632"/>
              <a:gd name="connsiteX3752" fmla="*/ 1596042 w 3905665"/>
              <a:gd name="connsiteY3752" fmla="*/ 97040 h 3403632"/>
              <a:gd name="connsiteX3753" fmla="*/ 1574074 w 3905665"/>
              <a:gd name="connsiteY3753" fmla="*/ 119007 h 3403632"/>
              <a:gd name="connsiteX3754" fmla="*/ 1552353 w 3905665"/>
              <a:gd name="connsiteY3754" fmla="*/ 97040 h 3403632"/>
              <a:gd name="connsiteX3755" fmla="*/ 1574074 w 3905665"/>
              <a:gd name="connsiteY3755" fmla="*/ 75072 h 3403632"/>
              <a:gd name="connsiteX3756" fmla="*/ 3278456 w 3905665"/>
              <a:gd name="connsiteY3756" fmla="*/ 72875 h 3403632"/>
              <a:gd name="connsiteX3757" fmla="*/ 3319924 w 3905665"/>
              <a:gd name="connsiteY3757" fmla="*/ 114343 h 3403632"/>
              <a:gd name="connsiteX3758" fmla="*/ 3278456 w 3905665"/>
              <a:gd name="connsiteY3758" fmla="*/ 155811 h 3403632"/>
              <a:gd name="connsiteX3759" fmla="*/ 3236988 w 3905665"/>
              <a:gd name="connsiteY3759" fmla="*/ 114343 h 3403632"/>
              <a:gd name="connsiteX3760" fmla="*/ 3278456 w 3905665"/>
              <a:gd name="connsiteY3760" fmla="*/ 72875 h 3403632"/>
              <a:gd name="connsiteX3761" fmla="*/ 3054823 w 3905665"/>
              <a:gd name="connsiteY3761" fmla="*/ 71142 h 3403632"/>
              <a:gd name="connsiteX3762" fmla="*/ 3098761 w 3905665"/>
              <a:gd name="connsiteY3762" fmla="*/ 115077 h 3403632"/>
              <a:gd name="connsiteX3763" fmla="*/ 3054823 w 3905665"/>
              <a:gd name="connsiteY3763" fmla="*/ 159015 h 3403632"/>
              <a:gd name="connsiteX3764" fmla="*/ 3010887 w 3905665"/>
              <a:gd name="connsiteY3764" fmla="*/ 115077 h 3403632"/>
              <a:gd name="connsiteX3765" fmla="*/ 3054823 w 3905665"/>
              <a:gd name="connsiteY3765" fmla="*/ 71142 h 3403632"/>
              <a:gd name="connsiteX3766" fmla="*/ 823444 w 3905665"/>
              <a:gd name="connsiteY3766" fmla="*/ 70130 h 3403632"/>
              <a:gd name="connsiteX3767" fmla="*/ 843932 w 3905665"/>
              <a:gd name="connsiteY3767" fmla="*/ 90864 h 3403632"/>
              <a:gd name="connsiteX3768" fmla="*/ 823444 w 3905665"/>
              <a:gd name="connsiteY3768" fmla="*/ 111599 h 3403632"/>
              <a:gd name="connsiteX3769" fmla="*/ 802709 w 3905665"/>
              <a:gd name="connsiteY3769" fmla="*/ 90864 h 3403632"/>
              <a:gd name="connsiteX3770" fmla="*/ 823444 w 3905665"/>
              <a:gd name="connsiteY3770" fmla="*/ 70130 h 3403632"/>
              <a:gd name="connsiteX3771" fmla="*/ 48874 w 3905665"/>
              <a:gd name="connsiteY3771" fmla="*/ 69387 h 3403632"/>
              <a:gd name="connsiteX3772" fmla="*/ 97746 w 3905665"/>
              <a:gd name="connsiteY3772" fmla="*/ 118259 h 3403632"/>
              <a:gd name="connsiteX3773" fmla="*/ 48874 w 3905665"/>
              <a:gd name="connsiteY3773" fmla="*/ 167134 h 3403632"/>
              <a:gd name="connsiteX3774" fmla="*/ 0 w 3905665"/>
              <a:gd name="connsiteY3774" fmla="*/ 118259 h 3403632"/>
              <a:gd name="connsiteX3775" fmla="*/ 48874 w 3905665"/>
              <a:gd name="connsiteY3775" fmla="*/ 69387 h 3403632"/>
              <a:gd name="connsiteX3776" fmla="*/ 2830700 w 3905665"/>
              <a:gd name="connsiteY3776" fmla="*/ 69164 h 3403632"/>
              <a:gd name="connsiteX3777" fmla="*/ 2876363 w 3905665"/>
              <a:gd name="connsiteY3777" fmla="*/ 114828 h 3403632"/>
              <a:gd name="connsiteX3778" fmla="*/ 2830700 w 3905665"/>
              <a:gd name="connsiteY3778" fmla="*/ 160491 h 3403632"/>
              <a:gd name="connsiteX3779" fmla="*/ 2785282 w 3905665"/>
              <a:gd name="connsiteY3779" fmla="*/ 114828 h 3403632"/>
              <a:gd name="connsiteX3780" fmla="*/ 2830700 w 3905665"/>
              <a:gd name="connsiteY3780" fmla="*/ 69164 h 3403632"/>
              <a:gd name="connsiteX3781" fmla="*/ 3501099 w 3905665"/>
              <a:gd name="connsiteY3781" fmla="*/ 63745 h 3403632"/>
              <a:gd name="connsiteX3782" fmla="*/ 3550715 w 3905665"/>
              <a:gd name="connsiteY3782" fmla="*/ 113358 h 3403632"/>
              <a:gd name="connsiteX3783" fmla="*/ 3501099 w 3905665"/>
              <a:gd name="connsiteY3783" fmla="*/ 162973 h 3403632"/>
              <a:gd name="connsiteX3784" fmla="*/ 3451486 w 3905665"/>
              <a:gd name="connsiteY3784" fmla="*/ 113358 h 3403632"/>
              <a:gd name="connsiteX3785" fmla="*/ 3501099 w 3905665"/>
              <a:gd name="connsiteY3785" fmla="*/ 63745 h 3403632"/>
              <a:gd name="connsiteX3786" fmla="*/ 1334394 w 3905665"/>
              <a:gd name="connsiteY3786" fmla="*/ 59519 h 3403632"/>
              <a:gd name="connsiteX3787" fmla="*/ 1369197 w 3905665"/>
              <a:gd name="connsiteY3787" fmla="*/ 94322 h 3403632"/>
              <a:gd name="connsiteX3788" fmla="*/ 1334394 w 3905665"/>
              <a:gd name="connsiteY3788" fmla="*/ 129128 h 3403632"/>
              <a:gd name="connsiteX3789" fmla="*/ 1299591 w 3905665"/>
              <a:gd name="connsiteY3789" fmla="*/ 94322 h 3403632"/>
              <a:gd name="connsiteX3790" fmla="*/ 1334394 w 3905665"/>
              <a:gd name="connsiteY3790" fmla="*/ 59519 h 3403632"/>
              <a:gd name="connsiteX3791" fmla="*/ 1808568 w 3905665"/>
              <a:gd name="connsiteY3791" fmla="*/ 48416 h 3403632"/>
              <a:gd name="connsiteX3792" fmla="*/ 1859909 w 3905665"/>
              <a:gd name="connsiteY3792" fmla="*/ 99757 h 3403632"/>
              <a:gd name="connsiteX3793" fmla="*/ 1808568 w 3905665"/>
              <a:gd name="connsiteY3793" fmla="*/ 151099 h 3403632"/>
              <a:gd name="connsiteX3794" fmla="*/ 1757227 w 3905665"/>
              <a:gd name="connsiteY3794" fmla="*/ 99757 h 3403632"/>
              <a:gd name="connsiteX3795" fmla="*/ 1808568 w 3905665"/>
              <a:gd name="connsiteY3795" fmla="*/ 48416 h 3403632"/>
              <a:gd name="connsiteX3796" fmla="*/ 1088791 w 3905665"/>
              <a:gd name="connsiteY3796" fmla="*/ 46681 h 3403632"/>
              <a:gd name="connsiteX3797" fmla="*/ 1130506 w 3905665"/>
              <a:gd name="connsiteY3797" fmla="*/ 88149 h 3403632"/>
              <a:gd name="connsiteX3798" fmla="*/ 1088791 w 3905665"/>
              <a:gd name="connsiteY3798" fmla="*/ 129617 h 3403632"/>
              <a:gd name="connsiteX3799" fmla="*/ 1047078 w 3905665"/>
              <a:gd name="connsiteY3799" fmla="*/ 88149 h 3403632"/>
              <a:gd name="connsiteX3800" fmla="*/ 1088791 w 3905665"/>
              <a:gd name="connsiteY3800" fmla="*/ 46681 h 3403632"/>
              <a:gd name="connsiteX3801" fmla="*/ 364578 w 3905665"/>
              <a:gd name="connsiteY3801" fmla="*/ 45692 h 3403632"/>
              <a:gd name="connsiteX3802" fmla="*/ 403823 w 3905665"/>
              <a:gd name="connsiteY3802" fmla="*/ 84939 h 3403632"/>
              <a:gd name="connsiteX3803" fmla="*/ 364578 w 3905665"/>
              <a:gd name="connsiteY3803" fmla="*/ 124184 h 3403632"/>
              <a:gd name="connsiteX3804" fmla="*/ 325331 w 3905665"/>
              <a:gd name="connsiteY3804" fmla="*/ 84939 h 3403632"/>
              <a:gd name="connsiteX3805" fmla="*/ 364578 w 3905665"/>
              <a:gd name="connsiteY3805" fmla="*/ 45692 h 3403632"/>
              <a:gd name="connsiteX3806" fmla="*/ 2727029 w 3905665"/>
              <a:gd name="connsiteY3806" fmla="*/ 40529 h 3403632"/>
              <a:gd name="connsiteX3807" fmla="*/ 2769239 w 3905665"/>
              <a:gd name="connsiteY3807" fmla="*/ 82739 h 3403632"/>
              <a:gd name="connsiteX3808" fmla="*/ 2727029 w 3905665"/>
              <a:gd name="connsiteY3808" fmla="*/ 124948 h 3403632"/>
              <a:gd name="connsiteX3809" fmla="*/ 2684820 w 3905665"/>
              <a:gd name="connsiteY3809" fmla="*/ 82739 h 3403632"/>
              <a:gd name="connsiteX3810" fmla="*/ 2727029 w 3905665"/>
              <a:gd name="connsiteY3810" fmla="*/ 40529 h 3403632"/>
              <a:gd name="connsiteX3811" fmla="*/ 2501667 w 3905665"/>
              <a:gd name="connsiteY3811" fmla="*/ 35589 h 3403632"/>
              <a:gd name="connsiteX3812" fmla="*/ 2549060 w 3905665"/>
              <a:gd name="connsiteY3812" fmla="*/ 82981 h 3403632"/>
              <a:gd name="connsiteX3813" fmla="*/ 2501667 w 3905665"/>
              <a:gd name="connsiteY3813" fmla="*/ 130373 h 3403632"/>
              <a:gd name="connsiteX3814" fmla="*/ 2454275 w 3905665"/>
              <a:gd name="connsiteY3814" fmla="*/ 82981 h 3403632"/>
              <a:gd name="connsiteX3815" fmla="*/ 2501667 w 3905665"/>
              <a:gd name="connsiteY3815" fmla="*/ 35589 h 3403632"/>
              <a:gd name="connsiteX3816" fmla="*/ 3728190 w 3905665"/>
              <a:gd name="connsiteY3816" fmla="*/ 31909 h 3403632"/>
              <a:gd name="connsiteX3817" fmla="*/ 3784223 w 3905665"/>
              <a:gd name="connsiteY3817" fmla="*/ 87941 h 3403632"/>
              <a:gd name="connsiteX3818" fmla="*/ 3728190 w 3905665"/>
              <a:gd name="connsiteY3818" fmla="*/ 143970 h 3403632"/>
              <a:gd name="connsiteX3819" fmla="*/ 3672158 w 3905665"/>
              <a:gd name="connsiteY3819" fmla="*/ 87941 h 3403632"/>
              <a:gd name="connsiteX3820" fmla="*/ 3728190 w 3905665"/>
              <a:gd name="connsiteY3820" fmla="*/ 31909 h 3403632"/>
              <a:gd name="connsiteX3821" fmla="*/ 2275323 w 3905665"/>
              <a:gd name="connsiteY3821" fmla="*/ 30155 h 3403632"/>
              <a:gd name="connsiteX3822" fmla="*/ 2326911 w 3905665"/>
              <a:gd name="connsiteY3822" fmla="*/ 81743 h 3403632"/>
              <a:gd name="connsiteX3823" fmla="*/ 2275323 w 3905665"/>
              <a:gd name="connsiteY3823" fmla="*/ 133333 h 3403632"/>
              <a:gd name="connsiteX3824" fmla="*/ 2223735 w 3905665"/>
              <a:gd name="connsiteY3824" fmla="*/ 81743 h 3403632"/>
              <a:gd name="connsiteX3825" fmla="*/ 2275323 w 3905665"/>
              <a:gd name="connsiteY3825" fmla="*/ 30155 h 3403632"/>
              <a:gd name="connsiteX3826" fmla="*/ 2047248 w 3905665"/>
              <a:gd name="connsiteY3826" fmla="*/ 29413 h 3403632"/>
              <a:gd name="connsiteX3827" fmla="*/ 2097602 w 3905665"/>
              <a:gd name="connsiteY3827" fmla="*/ 80013 h 3403632"/>
              <a:gd name="connsiteX3828" fmla="*/ 2047248 w 3905665"/>
              <a:gd name="connsiteY3828" fmla="*/ 130616 h 3403632"/>
              <a:gd name="connsiteX3829" fmla="*/ 1996893 w 3905665"/>
              <a:gd name="connsiteY3829" fmla="*/ 80013 h 3403632"/>
              <a:gd name="connsiteX3830" fmla="*/ 2047248 w 3905665"/>
              <a:gd name="connsiteY3830" fmla="*/ 29413 h 3403632"/>
              <a:gd name="connsiteX3831" fmla="*/ 553652 w 3905665"/>
              <a:gd name="connsiteY3831" fmla="*/ 27427 h 3403632"/>
              <a:gd name="connsiteX3832" fmla="*/ 594133 w 3905665"/>
              <a:gd name="connsiteY3832" fmla="*/ 67908 h 3403632"/>
              <a:gd name="connsiteX3833" fmla="*/ 553652 w 3905665"/>
              <a:gd name="connsiteY3833" fmla="*/ 108389 h 3403632"/>
              <a:gd name="connsiteX3834" fmla="*/ 513171 w 3905665"/>
              <a:gd name="connsiteY3834" fmla="*/ 67908 h 3403632"/>
              <a:gd name="connsiteX3835" fmla="*/ 553652 w 3905665"/>
              <a:gd name="connsiteY3835" fmla="*/ 27427 h 3403632"/>
              <a:gd name="connsiteX3836" fmla="*/ 158716 w 3905665"/>
              <a:gd name="connsiteY3836" fmla="*/ 26439 h 3403632"/>
              <a:gd name="connsiteX3837" fmla="*/ 210304 w 3905665"/>
              <a:gd name="connsiteY3837" fmla="*/ 78027 h 3403632"/>
              <a:gd name="connsiteX3838" fmla="*/ 158716 w 3905665"/>
              <a:gd name="connsiteY3838" fmla="*/ 129615 h 3403632"/>
              <a:gd name="connsiteX3839" fmla="*/ 107128 w 3905665"/>
              <a:gd name="connsiteY3839" fmla="*/ 78027 h 3403632"/>
              <a:gd name="connsiteX3840" fmla="*/ 158716 w 3905665"/>
              <a:gd name="connsiteY3840" fmla="*/ 26439 h 3403632"/>
              <a:gd name="connsiteX3841" fmla="*/ 984629 w 3905665"/>
              <a:gd name="connsiteY3841" fmla="*/ 24467 h 3403632"/>
              <a:gd name="connsiteX3842" fmla="*/ 1010300 w 3905665"/>
              <a:gd name="connsiteY3842" fmla="*/ 50138 h 3403632"/>
              <a:gd name="connsiteX3843" fmla="*/ 984629 w 3905665"/>
              <a:gd name="connsiteY3843" fmla="*/ 75809 h 3403632"/>
              <a:gd name="connsiteX3844" fmla="*/ 958958 w 3905665"/>
              <a:gd name="connsiteY3844" fmla="*/ 50138 h 3403632"/>
              <a:gd name="connsiteX3845" fmla="*/ 984629 w 3905665"/>
              <a:gd name="connsiteY3845" fmla="*/ 24467 h 3403632"/>
              <a:gd name="connsiteX3846" fmla="*/ 2957076 w 3905665"/>
              <a:gd name="connsiteY3846" fmla="*/ 15358 h 3403632"/>
              <a:gd name="connsiteX3847" fmla="*/ 3000027 w 3905665"/>
              <a:gd name="connsiteY3847" fmla="*/ 58305 h 3403632"/>
              <a:gd name="connsiteX3848" fmla="*/ 2957076 w 3905665"/>
              <a:gd name="connsiteY3848" fmla="*/ 101255 h 3403632"/>
              <a:gd name="connsiteX3849" fmla="*/ 2914128 w 3905665"/>
              <a:gd name="connsiteY3849" fmla="*/ 58305 h 3403632"/>
              <a:gd name="connsiteX3850" fmla="*/ 2957076 w 3905665"/>
              <a:gd name="connsiteY3850" fmla="*/ 15358 h 3403632"/>
              <a:gd name="connsiteX3851" fmla="*/ 3402119 w 3905665"/>
              <a:gd name="connsiteY3851" fmla="*/ 13143 h 3403632"/>
              <a:gd name="connsiteX3852" fmla="*/ 3445811 w 3905665"/>
              <a:gd name="connsiteY3852" fmla="*/ 56832 h 3403632"/>
              <a:gd name="connsiteX3853" fmla="*/ 3402119 w 3905665"/>
              <a:gd name="connsiteY3853" fmla="*/ 100523 h 3403632"/>
              <a:gd name="connsiteX3854" fmla="*/ 3358430 w 3905665"/>
              <a:gd name="connsiteY3854" fmla="*/ 56832 h 3403632"/>
              <a:gd name="connsiteX3855" fmla="*/ 3402119 w 3905665"/>
              <a:gd name="connsiteY3855" fmla="*/ 13143 h 3403632"/>
              <a:gd name="connsiteX3856" fmla="*/ 1479288 w 3905665"/>
              <a:gd name="connsiteY3856" fmla="*/ 11881 h 3403632"/>
              <a:gd name="connsiteX3857" fmla="*/ 1510637 w 3905665"/>
              <a:gd name="connsiteY3857" fmla="*/ 43230 h 3403632"/>
              <a:gd name="connsiteX3858" fmla="*/ 1479288 w 3905665"/>
              <a:gd name="connsiteY3858" fmla="*/ 74825 h 3403632"/>
              <a:gd name="connsiteX3859" fmla="*/ 1447693 w 3905665"/>
              <a:gd name="connsiteY3859" fmla="*/ 43230 h 3403632"/>
              <a:gd name="connsiteX3860" fmla="*/ 1479288 w 3905665"/>
              <a:gd name="connsiteY3860" fmla="*/ 11881 h 3403632"/>
              <a:gd name="connsiteX3861" fmla="*/ 3179968 w 3905665"/>
              <a:gd name="connsiteY3861" fmla="*/ 7710 h 3403632"/>
              <a:gd name="connsiteX3862" fmla="*/ 3230074 w 3905665"/>
              <a:gd name="connsiteY3862" fmla="*/ 57818 h 3403632"/>
              <a:gd name="connsiteX3863" fmla="*/ 3179968 w 3905665"/>
              <a:gd name="connsiteY3863" fmla="*/ 107923 h 3403632"/>
              <a:gd name="connsiteX3864" fmla="*/ 3129860 w 3905665"/>
              <a:gd name="connsiteY3864" fmla="*/ 57818 h 3403632"/>
              <a:gd name="connsiteX3865" fmla="*/ 3179968 w 3905665"/>
              <a:gd name="connsiteY3865" fmla="*/ 7710 h 3403632"/>
              <a:gd name="connsiteX3866" fmla="*/ 728165 w 3905665"/>
              <a:gd name="connsiteY3866" fmla="*/ 6199 h 3403632"/>
              <a:gd name="connsiteX3867" fmla="*/ 758772 w 3905665"/>
              <a:gd name="connsiteY3867" fmla="*/ 36806 h 3403632"/>
              <a:gd name="connsiteX3868" fmla="*/ 728165 w 3905665"/>
              <a:gd name="connsiteY3868" fmla="*/ 67414 h 3403632"/>
              <a:gd name="connsiteX3869" fmla="*/ 697558 w 3905665"/>
              <a:gd name="connsiteY3869" fmla="*/ 36806 h 3403632"/>
              <a:gd name="connsiteX3870" fmla="*/ 728165 w 3905665"/>
              <a:gd name="connsiteY3870" fmla="*/ 6199 h 3403632"/>
              <a:gd name="connsiteX3871" fmla="*/ 1240101 w 3905665"/>
              <a:gd name="connsiteY3871" fmla="*/ 5214 h 3403632"/>
              <a:gd name="connsiteX3872" fmla="*/ 1275153 w 3905665"/>
              <a:gd name="connsiteY3872" fmla="*/ 40263 h 3403632"/>
              <a:gd name="connsiteX3873" fmla="*/ 1240101 w 3905665"/>
              <a:gd name="connsiteY3873" fmla="*/ 75315 h 3403632"/>
              <a:gd name="connsiteX3874" fmla="*/ 1205052 w 3905665"/>
              <a:gd name="connsiteY3874" fmla="*/ 40263 h 3403632"/>
              <a:gd name="connsiteX3875" fmla="*/ 1240101 w 3905665"/>
              <a:gd name="connsiteY3875" fmla="*/ 5214 h 3403632"/>
              <a:gd name="connsiteX3876" fmla="*/ 3803451 w 3905665"/>
              <a:gd name="connsiteY3876" fmla="*/ 0 h 3403632"/>
              <a:gd name="connsiteX3877" fmla="*/ 3895489 w 3905665"/>
              <a:gd name="connsiteY3877" fmla="*/ 0 h 3403632"/>
              <a:gd name="connsiteX3878" fmla="*/ 3901210 w 3905665"/>
              <a:gd name="connsiteY3878" fmla="*/ 8414 h 3403632"/>
              <a:gd name="connsiteX3879" fmla="*/ 3905665 w 3905665"/>
              <a:gd name="connsiteY3879" fmla="*/ 30186 h 3403632"/>
              <a:gd name="connsiteX3880" fmla="*/ 3849386 w 3905665"/>
              <a:gd name="connsiteY3880" fmla="*/ 86215 h 3403632"/>
              <a:gd name="connsiteX3881" fmla="*/ 3793354 w 3905665"/>
              <a:gd name="connsiteY3881" fmla="*/ 30186 h 3403632"/>
              <a:gd name="connsiteX3882" fmla="*/ 3797770 w 3905665"/>
              <a:gd name="connsiteY3882" fmla="*/ 8414 h 3403632"/>
              <a:gd name="connsiteX3883" fmla="*/ 3699416 w 3905665"/>
              <a:gd name="connsiteY3883" fmla="*/ 0 h 3403632"/>
              <a:gd name="connsiteX3884" fmla="*/ 3798482 w 3905665"/>
              <a:gd name="connsiteY3884" fmla="*/ 0 h 3403632"/>
              <a:gd name="connsiteX3885" fmla="*/ 3789282 w 3905665"/>
              <a:gd name="connsiteY3885" fmla="*/ 13677 h 3403632"/>
              <a:gd name="connsiteX3886" fmla="*/ 3748924 w 3905665"/>
              <a:gd name="connsiteY3886" fmla="*/ 30430 h 3403632"/>
              <a:gd name="connsiteX3887" fmla="*/ 3708659 w 3905665"/>
              <a:gd name="connsiteY3887" fmla="*/ 13677 h 3403632"/>
              <a:gd name="connsiteX3888" fmla="*/ 3583942 w 3905665"/>
              <a:gd name="connsiteY3888" fmla="*/ 0 h 3403632"/>
              <a:gd name="connsiteX3889" fmla="*/ 3672925 w 3905665"/>
              <a:gd name="connsiteY3889" fmla="*/ 0 h 3403632"/>
              <a:gd name="connsiteX3890" fmla="*/ 3679387 w 3905665"/>
              <a:gd name="connsiteY3890" fmla="*/ 9511 h 3403632"/>
              <a:gd name="connsiteX3891" fmla="*/ 3683757 w 3905665"/>
              <a:gd name="connsiteY3891" fmla="*/ 30920 h 3403632"/>
              <a:gd name="connsiteX3892" fmla="*/ 3628466 w 3905665"/>
              <a:gd name="connsiteY3892" fmla="*/ 86210 h 3403632"/>
              <a:gd name="connsiteX3893" fmla="*/ 3573175 w 3905665"/>
              <a:gd name="connsiteY3893" fmla="*/ 30920 h 3403632"/>
              <a:gd name="connsiteX3894" fmla="*/ 3577510 w 3905665"/>
              <a:gd name="connsiteY3894" fmla="*/ 9511 h 3403632"/>
              <a:gd name="connsiteX3895" fmla="*/ 3475766 w 3905665"/>
              <a:gd name="connsiteY3895" fmla="*/ 0 h 3403632"/>
              <a:gd name="connsiteX3896" fmla="*/ 3572104 w 3905665"/>
              <a:gd name="connsiteY3896" fmla="*/ 0 h 3403632"/>
              <a:gd name="connsiteX3897" fmla="*/ 3568384 w 3905665"/>
              <a:gd name="connsiteY3897" fmla="*/ 18234 h 3403632"/>
              <a:gd name="connsiteX3898" fmla="*/ 3524058 w 3905665"/>
              <a:gd name="connsiteY3898" fmla="*/ 47704 h 3403632"/>
              <a:gd name="connsiteX3899" fmla="*/ 3479489 w 3905665"/>
              <a:gd name="connsiteY3899" fmla="*/ 18234 h 3403632"/>
              <a:gd name="connsiteX3900" fmla="*/ 3266343 w 3905665"/>
              <a:gd name="connsiteY3900" fmla="*/ 0 h 3403632"/>
              <a:gd name="connsiteX3901" fmla="*/ 3339442 w 3905665"/>
              <a:gd name="connsiteY3901" fmla="*/ 0 h 3403632"/>
              <a:gd name="connsiteX3902" fmla="*/ 3339671 w 3905665"/>
              <a:gd name="connsiteY3902" fmla="*/ 552 h 3403632"/>
              <a:gd name="connsiteX3903" fmla="*/ 3302891 w 3905665"/>
              <a:gd name="connsiteY3903" fmla="*/ 37331 h 3403632"/>
              <a:gd name="connsiteX3904" fmla="*/ 3266113 w 3905665"/>
              <a:gd name="connsiteY3904" fmla="*/ 552 h 3403632"/>
              <a:gd name="connsiteX3905" fmla="*/ 3042626 w 3905665"/>
              <a:gd name="connsiteY3905" fmla="*/ 0 h 3403632"/>
              <a:gd name="connsiteX3906" fmla="*/ 3119349 w 3905665"/>
              <a:gd name="connsiteY3906" fmla="*/ 0 h 3403632"/>
              <a:gd name="connsiteX3907" fmla="*/ 3119987 w 3905665"/>
              <a:gd name="connsiteY3907" fmla="*/ 1537 h 3403632"/>
              <a:gd name="connsiteX3908" fmla="*/ 3080986 w 3905665"/>
              <a:gd name="connsiteY3908" fmla="*/ 40535 h 3403632"/>
              <a:gd name="connsiteX3909" fmla="*/ 3041987 w 3905665"/>
              <a:gd name="connsiteY3909" fmla="*/ 1537 h 3403632"/>
              <a:gd name="connsiteX3910" fmla="*/ 2818599 w 3905665"/>
              <a:gd name="connsiteY3910" fmla="*/ 0 h 3403632"/>
              <a:gd name="connsiteX3911" fmla="*/ 2898827 w 3905665"/>
              <a:gd name="connsiteY3911" fmla="*/ 0 h 3403632"/>
              <a:gd name="connsiteX3912" fmla="*/ 2899567 w 3905665"/>
              <a:gd name="connsiteY3912" fmla="*/ 1779 h 3403632"/>
              <a:gd name="connsiteX3913" fmla="*/ 2858591 w 3905665"/>
              <a:gd name="connsiteY3913" fmla="*/ 42506 h 3403632"/>
              <a:gd name="connsiteX3914" fmla="*/ 2817864 w 3905665"/>
              <a:gd name="connsiteY3914" fmla="*/ 1779 h 3403632"/>
              <a:gd name="connsiteX3915" fmla="*/ 2745381 w 3905665"/>
              <a:gd name="connsiteY3915" fmla="*/ 0 h 3403632"/>
              <a:gd name="connsiteX3916" fmla="*/ 2763471 w 3905665"/>
              <a:gd name="connsiteY3916" fmla="*/ 0 h 3403632"/>
              <a:gd name="connsiteX3917" fmla="*/ 2754426 w 3905665"/>
              <a:gd name="connsiteY3917" fmla="*/ 3752 h 3403632"/>
              <a:gd name="connsiteX3918" fmla="*/ 2593499 w 3905665"/>
              <a:gd name="connsiteY3918" fmla="*/ 0 h 3403632"/>
              <a:gd name="connsiteX3919" fmla="*/ 2665561 w 3905665"/>
              <a:gd name="connsiteY3919" fmla="*/ 0 h 3403632"/>
              <a:gd name="connsiteX3920" fmla="*/ 2671601 w 3905665"/>
              <a:gd name="connsiteY3920" fmla="*/ 8950 h 3403632"/>
              <a:gd name="connsiteX3921" fmla="*/ 2675195 w 3905665"/>
              <a:gd name="connsiteY3921" fmla="*/ 26706 h 3403632"/>
              <a:gd name="connsiteX3922" fmla="*/ 2629529 w 3905665"/>
              <a:gd name="connsiteY3922" fmla="*/ 72370 h 3403632"/>
              <a:gd name="connsiteX3923" fmla="*/ 2583865 w 3905665"/>
              <a:gd name="connsiteY3923" fmla="*/ 26706 h 3403632"/>
              <a:gd name="connsiteX3924" fmla="*/ 2587460 w 3905665"/>
              <a:gd name="connsiteY3924" fmla="*/ 8950 h 3403632"/>
              <a:gd name="connsiteX3925" fmla="*/ 2506848 w 3905665"/>
              <a:gd name="connsiteY3925" fmla="*/ 0 h 3403632"/>
              <a:gd name="connsiteX3926" fmla="*/ 2555808 w 3905665"/>
              <a:gd name="connsiteY3926" fmla="*/ 0 h 3403632"/>
              <a:gd name="connsiteX3927" fmla="*/ 2531288 w 3905665"/>
              <a:gd name="connsiteY3927" fmla="*/ 10165 h 3403632"/>
              <a:gd name="connsiteX3928" fmla="*/ 2365758 w 3905665"/>
              <a:gd name="connsiteY3928" fmla="*/ 0 h 3403632"/>
              <a:gd name="connsiteX3929" fmla="*/ 2443571 w 3905665"/>
              <a:gd name="connsiteY3929" fmla="*/ 0 h 3403632"/>
              <a:gd name="connsiteX3930" fmla="*/ 2449234 w 3905665"/>
              <a:gd name="connsiteY3930" fmla="*/ 8388 h 3403632"/>
              <a:gd name="connsiteX3931" fmla="*/ 2453044 w 3905665"/>
              <a:gd name="connsiteY3931" fmla="*/ 27194 h 3403632"/>
              <a:gd name="connsiteX3932" fmla="*/ 2404665 w 3905665"/>
              <a:gd name="connsiteY3932" fmla="*/ 75573 h 3403632"/>
              <a:gd name="connsiteX3933" fmla="*/ 2356285 w 3905665"/>
              <a:gd name="connsiteY3933" fmla="*/ 27194 h 3403632"/>
              <a:gd name="connsiteX3934" fmla="*/ 2360096 w 3905665"/>
              <a:gd name="connsiteY3934" fmla="*/ 8388 h 3403632"/>
              <a:gd name="connsiteX3935" fmla="*/ 2270415 w 3905665"/>
              <a:gd name="connsiteY3935" fmla="*/ 0 h 3403632"/>
              <a:gd name="connsiteX3936" fmla="*/ 2344913 w 3905665"/>
              <a:gd name="connsiteY3936" fmla="*/ 0 h 3403632"/>
              <a:gd name="connsiteX3937" fmla="*/ 2342061 w 3905665"/>
              <a:gd name="connsiteY3937" fmla="*/ 4237 h 3403632"/>
              <a:gd name="connsiteX3938" fmla="*/ 2307657 w 3905665"/>
              <a:gd name="connsiteY3938" fmla="*/ 18553 h 3403632"/>
              <a:gd name="connsiteX3939" fmla="*/ 2273348 w 3905665"/>
              <a:gd name="connsiteY3939" fmla="*/ 4329 h 3403632"/>
              <a:gd name="connsiteX3940" fmla="*/ 2136168 w 3905665"/>
              <a:gd name="connsiteY3940" fmla="*/ 0 h 3403632"/>
              <a:gd name="connsiteX3941" fmla="*/ 2221947 w 3905665"/>
              <a:gd name="connsiteY3941" fmla="*/ 0 h 3403632"/>
              <a:gd name="connsiteX3942" fmla="*/ 2225917 w 3905665"/>
              <a:gd name="connsiteY3942" fmla="*/ 5895 h 3403632"/>
              <a:gd name="connsiteX3943" fmla="*/ 2229905 w 3905665"/>
              <a:gd name="connsiteY3943" fmla="*/ 25711 h 3403632"/>
              <a:gd name="connsiteX3944" fmla="*/ 2179056 w 3905665"/>
              <a:gd name="connsiteY3944" fmla="*/ 76560 h 3403632"/>
              <a:gd name="connsiteX3945" fmla="*/ 2128209 w 3905665"/>
              <a:gd name="connsiteY3945" fmla="*/ 25711 h 3403632"/>
              <a:gd name="connsiteX3946" fmla="*/ 2132197 w 3905665"/>
              <a:gd name="connsiteY3946" fmla="*/ 5895 h 3403632"/>
              <a:gd name="connsiteX3947" fmla="*/ 2041801 w 3905665"/>
              <a:gd name="connsiteY3947" fmla="*/ 0 h 3403632"/>
              <a:gd name="connsiteX3948" fmla="*/ 2123168 w 3905665"/>
              <a:gd name="connsiteY3948" fmla="*/ 0 h 3403632"/>
              <a:gd name="connsiteX3949" fmla="*/ 2119293 w 3905665"/>
              <a:gd name="connsiteY3949" fmla="*/ 5746 h 3403632"/>
              <a:gd name="connsiteX3950" fmla="*/ 2082546 w 3905665"/>
              <a:gd name="connsiteY3950" fmla="*/ 21019 h 3403632"/>
              <a:gd name="connsiteX3951" fmla="*/ 2045767 w 3905665"/>
              <a:gd name="connsiteY3951" fmla="*/ 5838 h 3403632"/>
              <a:gd name="connsiteX3952" fmla="*/ 1918044 w 3905665"/>
              <a:gd name="connsiteY3952" fmla="*/ 0 h 3403632"/>
              <a:gd name="connsiteX3953" fmla="*/ 1984879 w 3905665"/>
              <a:gd name="connsiteY3953" fmla="*/ 0 h 3403632"/>
              <a:gd name="connsiteX3954" fmla="*/ 1995165 w 3905665"/>
              <a:gd name="connsiteY3954" fmla="*/ 24722 h 3403632"/>
              <a:gd name="connsiteX3955" fmla="*/ 1951486 w 3905665"/>
              <a:gd name="connsiteY3955" fmla="*/ 68410 h 3403632"/>
              <a:gd name="connsiteX3956" fmla="*/ 1907799 w 3905665"/>
              <a:gd name="connsiteY3956" fmla="*/ 24722 h 3403632"/>
              <a:gd name="connsiteX3957" fmla="*/ 1798310 w 3905665"/>
              <a:gd name="connsiteY3957" fmla="*/ 0 h 3403632"/>
              <a:gd name="connsiteX3958" fmla="*/ 1898309 w 3905665"/>
              <a:gd name="connsiteY3958" fmla="*/ 0 h 3403632"/>
              <a:gd name="connsiteX3959" fmla="*/ 1896072 w 3905665"/>
              <a:gd name="connsiteY3959" fmla="*/ 11083 h 3403632"/>
              <a:gd name="connsiteX3960" fmla="*/ 1848309 w 3905665"/>
              <a:gd name="connsiteY3960" fmla="*/ 42738 h 3403632"/>
              <a:gd name="connsiteX3961" fmla="*/ 1800547 w 3905665"/>
              <a:gd name="connsiteY3961" fmla="*/ 11083 h 3403632"/>
              <a:gd name="connsiteX3962" fmla="*/ 1705012 w 3905665"/>
              <a:gd name="connsiteY3962" fmla="*/ 0 h 3403632"/>
              <a:gd name="connsiteX3963" fmla="*/ 1721543 w 3905665"/>
              <a:gd name="connsiteY3963" fmla="*/ 0 h 3403632"/>
              <a:gd name="connsiteX3964" fmla="*/ 1747600 w 3905665"/>
              <a:gd name="connsiteY3964" fmla="*/ 10802 h 3403632"/>
              <a:gd name="connsiteX3965" fmla="*/ 1761917 w 3905665"/>
              <a:gd name="connsiteY3965" fmla="*/ 45204 h 3403632"/>
              <a:gd name="connsiteX3966" fmla="*/ 1713288 w 3905665"/>
              <a:gd name="connsiteY3966" fmla="*/ 93833 h 3403632"/>
              <a:gd name="connsiteX3967" fmla="*/ 1664662 w 3905665"/>
              <a:gd name="connsiteY3967" fmla="*/ 45204 h 3403632"/>
              <a:gd name="connsiteX3968" fmla="*/ 1678886 w 3905665"/>
              <a:gd name="connsiteY3968" fmla="*/ 10802 h 3403632"/>
              <a:gd name="connsiteX3969" fmla="*/ 1359697 w 3905665"/>
              <a:gd name="connsiteY3969" fmla="*/ 0 h 3403632"/>
              <a:gd name="connsiteX3970" fmla="*/ 1409259 w 3905665"/>
              <a:gd name="connsiteY3970" fmla="*/ 0 h 3403632"/>
              <a:gd name="connsiteX3971" fmla="*/ 1405206 w 3905665"/>
              <a:gd name="connsiteY3971" fmla="*/ 9721 h 3403632"/>
              <a:gd name="connsiteX3972" fmla="*/ 1384503 w 3905665"/>
              <a:gd name="connsiteY3972" fmla="*/ 18299 h 3403632"/>
              <a:gd name="connsiteX3973" fmla="*/ 1363706 w 3905665"/>
              <a:gd name="connsiteY3973" fmla="*/ 9721 h 3403632"/>
              <a:gd name="connsiteX3974" fmla="*/ 1113019 w 3905665"/>
              <a:gd name="connsiteY3974" fmla="*/ 0 h 3403632"/>
              <a:gd name="connsiteX3975" fmla="*/ 1179210 w 3905665"/>
              <a:gd name="connsiteY3975" fmla="*/ 0 h 3403632"/>
              <a:gd name="connsiteX3976" fmla="*/ 1173426 w 3905665"/>
              <a:gd name="connsiteY3976" fmla="*/ 13636 h 3403632"/>
              <a:gd name="connsiteX3977" fmla="*/ 1146057 w 3905665"/>
              <a:gd name="connsiteY3977" fmla="*/ 24960 h 3403632"/>
              <a:gd name="connsiteX3978" fmla="*/ 1118629 w 3905665"/>
              <a:gd name="connsiteY3978" fmla="*/ 13544 h 3403632"/>
              <a:gd name="connsiteX3979" fmla="*/ 871753 w 3905665"/>
              <a:gd name="connsiteY3979" fmla="*/ 0 h 3403632"/>
              <a:gd name="connsiteX3980" fmla="*/ 908886 w 3905665"/>
              <a:gd name="connsiteY3980" fmla="*/ 0 h 3403632"/>
              <a:gd name="connsiteX3981" fmla="*/ 904405 w 3905665"/>
              <a:gd name="connsiteY3981" fmla="*/ 10643 h 3403632"/>
              <a:gd name="connsiteX3982" fmla="*/ 890335 w 3905665"/>
              <a:gd name="connsiteY3982" fmla="*/ 16568 h 3403632"/>
              <a:gd name="connsiteX3983" fmla="*/ 876174 w 3905665"/>
              <a:gd name="connsiteY3983" fmla="*/ 10736 h 3403632"/>
              <a:gd name="connsiteX3984" fmla="*/ 600663 w 3905665"/>
              <a:gd name="connsiteY3984" fmla="*/ 0 h 3403632"/>
              <a:gd name="connsiteX3985" fmla="*/ 664150 w 3905665"/>
              <a:gd name="connsiteY3985" fmla="*/ 0 h 3403632"/>
              <a:gd name="connsiteX3986" fmla="*/ 659947 w 3905665"/>
              <a:gd name="connsiteY3986" fmla="*/ 10150 h 3403632"/>
              <a:gd name="connsiteX3987" fmla="*/ 632396 w 3905665"/>
              <a:gd name="connsiteY3987" fmla="*/ 21504 h 3403632"/>
              <a:gd name="connsiteX3988" fmla="*/ 604842 w 3905665"/>
              <a:gd name="connsiteY3988" fmla="*/ 10057 h 3403632"/>
              <a:gd name="connsiteX3989" fmla="*/ 421101 w 3905665"/>
              <a:gd name="connsiteY3989" fmla="*/ 0 h 3403632"/>
              <a:gd name="connsiteX3990" fmla="*/ 489230 w 3905665"/>
              <a:gd name="connsiteY3990" fmla="*/ 0 h 3403632"/>
              <a:gd name="connsiteX3991" fmla="*/ 494165 w 3905665"/>
              <a:gd name="connsiteY3991" fmla="*/ 11879 h 3403632"/>
              <a:gd name="connsiteX3992" fmla="*/ 455167 w 3905665"/>
              <a:gd name="connsiteY3992" fmla="*/ 50878 h 3403632"/>
              <a:gd name="connsiteX3993" fmla="*/ 416166 w 3905665"/>
              <a:gd name="connsiteY3993" fmla="*/ 11879 h 3403632"/>
              <a:gd name="connsiteX3994" fmla="*/ 352549 w 3905665"/>
              <a:gd name="connsiteY3994" fmla="*/ 0 h 3403632"/>
              <a:gd name="connsiteX3995" fmla="*/ 359819 w 3905665"/>
              <a:gd name="connsiteY3995" fmla="*/ 0 h 3403632"/>
              <a:gd name="connsiteX3996" fmla="*/ 356184 w 3905665"/>
              <a:gd name="connsiteY3996" fmla="*/ 1506 h 3403632"/>
              <a:gd name="connsiteX3997" fmla="*/ 217955 w 3905665"/>
              <a:gd name="connsiteY3997" fmla="*/ 0 h 3403632"/>
              <a:gd name="connsiteX3998" fmla="*/ 305814 w 3905665"/>
              <a:gd name="connsiteY3998" fmla="*/ 0 h 3403632"/>
              <a:gd name="connsiteX3999" fmla="*/ 308304 w 3905665"/>
              <a:gd name="connsiteY3999" fmla="*/ 3701 h 3403632"/>
              <a:gd name="connsiteX4000" fmla="*/ 312249 w 3905665"/>
              <a:gd name="connsiteY4000" fmla="*/ 23232 h 3403632"/>
              <a:gd name="connsiteX4001" fmla="*/ 261895 w 3905665"/>
              <a:gd name="connsiteY4001" fmla="*/ 73586 h 3403632"/>
              <a:gd name="connsiteX4002" fmla="*/ 211540 w 3905665"/>
              <a:gd name="connsiteY4002" fmla="*/ 23232 h 3403632"/>
              <a:gd name="connsiteX4003" fmla="*/ 215520 w 3905665"/>
              <a:gd name="connsiteY4003" fmla="*/ 3597 h 3403632"/>
              <a:gd name="connsiteX4004" fmla="*/ 32665 w 3905665"/>
              <a:gd name="connsiteY4004" fmla="*/ 0 h 3403632"/>
              <a:gd name="connsiteX4005" fmla="*/ 67129 w 3905665"/>
              <a:gd name="connsiteY4005" fmla="*/ 0 h 3403632"/>
              <a:gd name="connsiteX4006" fmla="*/ 68918 w 3905665"/>
              <a:gd name="connsiteY4006" fmla="*/ 4266 h 3403632"/>
              <a:gd name="connsiteX4007" fmla="*/ 49910 w 3905665"/>
              <a:gd name="connsiteY4007" fmla="*/ 23271 h 3403632"/>
              <a:gd name="connsiteX4008" fmla="*/ 30905 w 3905665"/>
              <a:gd name="connsiteY4008" fmla="*/ 4266 h 340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Lst>
            <a:rect l="l" t="t" r="r" b="b"/>
            <a:pathLst>
              <a:path w="3905665" h="3403632">
                <a:moveTo>
                  <a:pt x="59039" y="3396225"/>
                </a:moveTo>
                <a:cubicBezTo>
                  <a:pt x="61014" y="3396225"/>
                  <a:pt x="62742" y="3397954"/>
                  <a:pt x="62742" y="3399928"/>
                </a:cubicBezTo>
                <a:cubicBezTo>
                  <a:pt x="62742" y="3402149"/>
                  <a:pt x="61014" y="3403632"/>
                  <a:pt x="59039" y="3403632"/>
                </a:cubicBezTo>
                <a:cubicBezTo>
                  <a:pt x="56816" y="3403632"/>
                  <a:pt x="55336" y="3401903"/>
                  <a:pt x="55336" y="3399928"/>
                </a:cubicBezTo>
                <a:cubicBezTo>
                  <a:pt x="55336" y="3397954"/>
                  <a:pt x="57064" y="3396225"/>
                  <a:pt x="59039" y="3396225"/>
                </a:cubicBezTo>
                <a:close/>
                <a:moveTo>
                  <a:pt x="175052" y="3387585"/>
                </a:moveTo>
                <a:cubicBezTo>
                  <a:pt x="177273" y="3387585"/>
                  <a:pt x="179001" y="3389314"/>
                  <a:pt x="179001" y="3391534"/>
                </a:cubicBezTo>
                <a:cubicBezTo>
                  <a:pt x="179001" y="3393755"/>
                  <a:pt x="177273" y="3395484"/>
                  <a:pt x="175052" y="3395484"/>
                </a:cubicBezTo>
                <a:cubicBezTo>
                  <a:pt x="172831" y="3395484"/>
                  <a:pt x="171103" y="3393755"/>
                  <a:pt x="171103" y="3391534"/>
                </a:cubicBezTo>
                <a:cubicBezTo>
                  <a:pt x="171103" y="3389314"/>
                  <a:pt x="172831" y="3387585"/>
                  <a:pt x="175052" y="3387585"/>
                </a:cubicBezTo>
                <a:close/>
                <a:moveTo>
                  <a:pt x="290815" y="3375737"/>
                </a:moveTo>
                <a:cubicBezTo>
                  <a:pt x="293038" y="3375737"/>
                  <a:pt x="295013" y="3377712"/>
                  <a:pt x="295013" y="3379933"/>
                </a:cubicBezTo>
                <a:cubicBezTo>
                  <a:pt x="295013" y="3382156"/>
                  <a:pt x="293284" y="3384128"/>
                  <a:pt x="290815" y="3384128"/>
                </a:cubicBezTo>
                <a:cubicBezTo>
                  <a:pt x="288348" y="3384128"/>
                  <a:pt x="286620" y="3382156"/>
                  <a:pt x="286620" y="3379933"/>
                </a:cubicBezTo>
                <a:cubicBezTo>
                  <a:pt x="286620" y="3377466"/>
                  <a:pt x="288594" y="3375737"/>
                  <a:pt x="290815" y="3375737"/>
                </a:cubicBezTo>
                <a:close/>
                <a:moveTo>
                  <a:pt x="406333" y="3360435"/>
                </a:moveTo>
                <a:cubicBezTo>
                  <a:pt x="408802" y="3360435"/>
                  <a:pt x="410777" y="3362410"/>
                  <a:pt x="410777" y="3364877"/>
                </a:cubicBezTo>
                <a:cubicBezTo>
                  <a:pt x="410777" y="3367346"/>
                  <a:pt x="408802" y="3369321"/>
                  <a:pt x="406333" y="3369321"/>
                </a:cubicBezTo>
                <a:cubicBezTo>
                  <a:pt x="403866" y="3369321"/>
                  <a:pt x="401891" y="3367346"/>
                  <a:pt x="401891" y="3364877"/>
                </a:cubicBezTo>
                <a:cubicBezTo>
                  <a:pt x="401891" y="3362410"/>
                  <a:pt x="403866" y="3360435"/>
                  <a:pt x="406333" y="3360435"/>
                </a:cubicBezTo>
                <a:close/>
                <a:moveTo>
                  <a:pt x="521111" y="3341921"/>
                </a:moveTo>
                <a:cubicBezTo>
                  <a:pt x="523824" y="3341921"/>
                  <a:pt x="525799" y="3343896"/>
                  <a:pt x="525799" y="3346611"/>
                </a:cubicBezTo>
                <a:cubicBezTo>
                  <a:pt x="525799" y="3349078"/>
                  <a:pt x="523824" y="3351302"/>
                  <a:pt x="521111" y="3351302"/>
                </a:cubicBezTo>
                <a:cubicBezTo>
                  <a:pt x="518396" y="3351302"/>
                  <a:pt x="516421" y="3349325"/>
                  <a:pt x="516421" y="3346611"/>
                </a:cubicBezTo>
                <a:cubicBezTo>
                  <a:pt x="516421" y="3343896"/>
                  <a:pt x="518396" y="3341921"/>
                  <a:pt x="521111" y="3341921"/>
                </a:cubicBezTo>
                <a:close/>
                <a:moveTo>
                  <a:pt x="635402" y="3319951"/>
                </a:moveTo>
                <a:cubicBezTo>
                  <a:pt x="638116" y="3319951"/>
                  <a:pt x="640337" y="3322172"/>
                  <a:pt x="640337" y="3324888"/>
                </a:cubicBezTo>
                <a:cubicBezTo>
                  <a:pt x="640337" y="3327604"/>
                  <a:pt x="638116" y="3329825"/>
                  <a:pt x="635402" y="3329825"/>
                </a:cubicBezTo>
                <a:cubicBezTo>
                  <a:pt x="632686" y="3329825"/>
                  <a:pt x="630464" y="3327604"/>
                  <a:pt x="630464" y="3324888"/>
                </a:cubicBezTo>
                <a:cubicBezTo>
                  <a:pt x="630464" y="3322172"/>
                  <a:pt x="632686" y="3319951"/>
                  <a:pt x="635402" y="3319951"/>
                </a:cubicBezTo>
                <a:close/>
                <a:moveTo>
                  <a:pt x="749190" y="3295022"/>
                </a:moveTo>
                <a:cubicBezTo>
                  <a:pt x="752151" y="3295022"/>
                  <a:pt x="754377" y="3297243"/>
                  <a:pt x="754377" y="3300205"/>
                </a:cubicBezTo>
                <a:cubicBezTo>
                  <a:pt x="754377" y="3302921"/>
                  <a:pt x="751905" y="3305388"/>
                  <a:pt x="749190" y="3305388"/>
                </a:cubicBezTo>
                <a:cubicBezTo>
                  <a:pt x="746229" y="3305388"/>
                  <a:pt x="744008" y="3303167"/>
                  <a:pt x="744008" y="3300205"/>
                </a:cubicBezTo>
                <a:cubicBezTo>
                  <a:pt x="744008" y="3297243"/>
                  <a:pt x="746229" y="3295022"/>
                  <a:pt x="749190" y="3295022"/>
                </a:cubicBezTo>
                <a:close/>
                <a:moveTo>
                  <a:pt x="58542" y="3287864"/>
                </a:moveTo>
                <a:cubicBezTo>
                  <a:pt x="60519" y="3287864"/>
                  <a:pt x="61999" y="3289344"/>
                  <a:pt x="61999" y="3291319"/>
                </a:cubicBezTo>
                <a:cubicBezTo>
                  <a:pt x="62245" y="3293047"/>
                  <a:pt x="60519" y="3294776"/>
                  <a:pt x="58542" y="3294776"/>
                </a:cubicBezTo>
                <a:cubicBezTo>
                  <a:pt x="56567" y="3294776"/>
                  <a:pt x="55087" y="3293296"/>
                  <a:pt x="55087" y="3291319"/>
                </a:cubicBezTo>
                <a:cubicBezTo>
                  <a:pt x="55087" y="3289344"/>
                  <a:pt x="56567" y="3287864"/>
                  <a:pt x="58542" y="3287864"/>
                </a:cubicBezTo>
                <a:close/>
                <a:moveTo>
                  <a:pt x="174803" y="3278732"/>
                </a:moveTo>
                <a:cubicBezTo>
                  <a:pt x="176778" y="3278732"/>
                  <a:pt x="178507" y="3280461"/>
                  <a:pt x="178507" y="3282435"/>
                </a:cubicBezTo>
                <a:cubicBezTo>
                  <a:pt x="178507" y="3284410"/>
                  <a:pt x="176778" y="3286136"/>
                  <a:pt x="174803" y="3286136"/>
                </a:cubicBezTo>
                <a:cubicBezTo>
                  <a:pt x="172829" y="3286136"/>
                  <a:pt x="171100" y="3284410"/>
                  <a:pt x="171100" y="3282435"/>
                </a:cubicBezTo>
                <a:cubicBezTo>
                  <a:pt x="171100" y="3280461"/>
                  <a:pt x="172829" y="3278732"/>
                  <a:pt x="174803" y="3278732"/>
                </a:cubicBezTo>
                <a:close/>
                <a:moveTo>
                  <a:pt x="290567" y="3266884"/>
                </a:moveTo>
                <a:cubicBezTo>
                  <a:pt x="292542" y="3266884"/>
                  <a:pt x="294270" y="3268613"/>
                  <a:pt x="294270" y="3270587"/>
                </a:cubicBezTo>
                <a:cubicBezTo>
                  <a:pt x="294270" y="3272562"/>
                  <a:pt x="292788" y="3274288"/>
                  <a:pt x="290567" y="3274288"/>
                </a:cubicBezTo>
                <a:cubicBezTo>
                  <a:pt x="288592" y="3274288"/>
                  <a:pt x="286864" y="3272562"/>
                  <a:pt x="286864" y="3270587"/>
                </a:cubicBezTo>
                <a:cubicBezTo>
                  <a:pt x="286864" y="3268613"/>
                  <a:pt x="288592" y="3266884"/>
                  <a:pt x="290567" y="3266884"/>
                </a:cubicBezTo>
                <a:close/>
                <a:moveTo>
                  <a:pt x="861997" y="3266635"/>
                </a:moveTo>
                <a:cubicBezTo>
                  <a:pt x="864958" y="3266635"/>
                  <a:pt x="867426" y="3269105"/>
                  <a:pt x="867426" y="3272067"/>
                </a:cubicBezTo>
                <a:cubicBezTo>
                  <a:pt x="867426" y="3275026"/>
                  <a:pt x="864958" y="3277496"/>
                  <a:pt x="861997" y="3277496"/>
                </a:cubicBezTo>
                <a:cubicBezTo>
                  <a:pt x="859032" y="3277496"/>
                  <a:pt x="856564" y="3275026"/>
                  <a:pt x="856564" y="3272067"/>
                </a:cubicBezTo>
                <a:cubicBezTo>
                  <a:pt x="856564" y="3269105"/>
                  <a:pt x="859032" y="3266635"/>
                  <a:pt x="861997" y="3266635"/>
                </a:cubicBezTo>
                <a:close/>
                <a:moveTo>
                  <a:pt x="406084" y="3251333"/>
                </a:moveTo>
                <a:cubicBezTo>
                  <a:pt x="408129" y="3251333"/>
                  <a:pt x="409785" y="3252992"/>
                  <a:pt x="409785" y="3255036"/>
                </a:cubicBezTo>
                <a:cubicBezTo>
                  <a:pt x="409785" y="3257081"/>
                  <a:pt x="408129" y="3258737"/>
                  <a:pt x="406084" y="3258737"/>
                </a:cubicBezTo>
                <a:cubicBezTo>
                  <a:pt x="404039" y="3258737"/>
                  <a:pt x="402381" y="3257081"/>
                  <a:pt x="402381" y="3255036"/>
                </a:cubicBezTo>
                <a:cubicBezTo>
                  <a:pt x="402381" y="3252989"/>
                  <a:pt x="404039" y="3251333"/>
                  <a:pt x="406084" y="3251333"/>
                </a:cubicBezTo>
                <a:close/>
                <a:moveTo>
                  <a:pt x="974058" y="3235040"/>
                </a:moveTo>
                <a:cubicBezTo>
                  <a:pt x="977266" y="3235040"/>
                  <a:pt x="979734" y="3237510"/>
                  <a:pt x="979734" y="3240718"/>
                </a:cubicBezTo>
                <a:cubicBezTo>
                  <a:pt x="979734" y="3243926"/>
                  <a:pt x="977266" y="3246396"/>
                  <a:pt x="974058" y="3246396"/>
                </a:cubicBezTo>
                <a:cubicBezTo>
                  <a:pt x="970847" y="3246396"/>
                  <a:pt x="968380" y="3243926"/>
                  <a:pt x="968380" y="3240718"/>
                </a:cubicBezTo>
                <a:cubicBezTo>
                  <a:pt x="968380" y="3237510"/>
                  <a:pt x="970847" y="3235040"/>
                  <a:pt x="974058" y="3235040"/>
                </a:cubicBezTo>
                <a:close/>
                <a:moveTo>
                  <a:pt x="520860" y="3232327"/>
                </a:moveTo>
                <a:cubicBezTo>
                  <a:pt x="523081" y="3232327"/>
                  <a:pt x="524809" y="3234056"/>
                  <a:pt x="524809" y="3236277"/>
                </a:cubicBezTo>
                <a:cubicBezTo>
                  <a:pt x="524809" y="3238498"/>
                  <a:pt x="523081" y="3240226"/>
                  <a:pt x="520860" y="3240226"/>
                </a:cubicBezTo>
                <a:cubicBezTo>
                  <a:pt x="518639" y="3240226"/>
                  <a:pt x="516910" y="3238498"/>
                  <a:pt x="516910" y="3236277"/>
                </a:cubicBezTo>
                <a:cubicBezTo>
                  <a:pt x="516910" y="3234056"/>
                  <a:pt x="518639" y="3232327"/>
                  <a:pt x="520860" y="3232327"/>
                </a:cubicBezTo>
                <a:close/>
                <a:moveTo>
                  <a:pt x="635153" y="3210357"/>
                </a:moveTo>
                <a:cubicBezTo>
                  <a:pt x="637372" y="3210357"/>
                  <a:pt x="639099" y="3212086"/>
                  <a:pt x="639099" y="3214307"/>
                </a:cubicBezTo>
                <a:cubicBezTo>
                  <a:pt x="639345" y="3216528"/>
                  <a:pt x="637618" y="3218256"/>
                  <a:pt x="635153" y="3218256"/>
                </a:cubicBezTo>
                <a:cubicBezTo>
                  <a:pt x="632932" y="3218256"/>
                  <a:pt x="631202" y="3216528"/>
                  <a:pt x="631202" y="3214307"/>
                </a:cubicBezTo>
                <a:cubicBezTo>
                  <a:pt x="631202" y="3212086"/>
                  <a:pt x="632932" y="3210357"/>
                  <a:pt x="635153" y="3210357"/>
                </a:cubicBezTo>
                <a:close/>
                <a:moveTo>
                  <a:pt x="1085117" y="3200237"/>
                </a:moveTo>
                <a:cubicBezTo>
                  <a:pt x="1088390" y="3200237"/>
                  <a:pt x="1091041" y="3202891"/>
                  <a:pt x="1091041" y="3206161"/>
                </a:cubicBezTo>
                <a:cubicBezTo>
                  <a:pt x="1091041" y="3209434"/>
                  <a:pt x="1088390" y="3212085"/>
                  <a:pt x="1085117" y="3212085"/>
                </a:cubicBezTo>
                <a:cubicBezTo>
                  <a:pt x="1081844" y="3212085"/>
                  <a:pt x="1079193" y="3209434"/>
                  <a:pt x="1079193" y="3206161"/>
                </a:cubicBezTo>
                <a:cubicBezTo>
                  <a:pt x="1079193" y="3202891"/>
                  <a:pt x="1081844" y="3200237"/>
                  <a:pt x="1085117" y="3200237"/>
                </a:cubicBezTo>
                <a:close/>
                <a:moveTo>
                  <a:pt x="748941" y="3184440"/>
                </a:moveTo>
                <a:cubicBezTo>
                  <a:pt x="751161" y="3184440"/>
                  <a:pt x="752890" y="3186169"/>
                  <a:pt x="752890" y="3188636"/>
                </a:cubicBezTo>
                <a:cubicBezTo>
                  <a:pt x="752890" y="3191105"/>
                  <a:pt x="751161" y="3192831"/>
                  <a:pt x="748941" y="3192831"/>
                </a:cubicBezTo>
                <a:cubicBezTo>
                  <a:pt x="746721" y="3192831"/>
                  <a:pt x="744746" y="3191105"/>
                  <a:pt x="744746" y="3188636"/>
                </a:cubicBezTo>
                <a:cubicBezTo>
                  <a:pt x="744746" y="3186169"/>
                  <a:pt x="746721" y="3184440"/>
                  <a:pt x="748941" y="3184440"/>
                </a:cubicBezTo>
                <a:close/>
                <a:moveTo>
                  <a:pt x="58788" y="3178269"/>
                </a:moveTo>
                <a:cubicBezTo>
                  <a:pt x="61009" y="3178269"/>
                  <a:pt x="62984" y="3180244"/>
                  <a:pt x="62984" y="3182465"/>
                </a:cubicBezTo>
                <a:cubicBezTo>
                  <a:pt x="62737" y="3184688"/>
                  <a:pt x="61009" y="3186660"/>
                  <a:pt x="58788" y="3186660"/>
                </a:cubicBezTo>
                <a:cubicBezTo>
                  <a:pt x="56567" y="3186660"/>
                  <a:pt x="54593" y="3184934"/>
                  <a:pt x="54593" y="3182465"/>
                </a:cubicBezTo>
                <a:cubicBezTo>
                  <a:pt x="54593" y="3180244"/>
                  <a:pt x="56567" y="3178269"/>
                  <a:pt x="58788" y="3178269"/>
                </a:cubicBezTo>
                <a:close/>
                <a:moveTo>
                  <a:pt x="174798" y="3169137"/>
                </a:moveTo>
                <a:cubicBezTo>
                  <a:pt x="177268" y="3169137"/>
                  <a:pt x="179242" y="3171112"/>
                  <a:pt x="179242" y="3173579"/>
                </a:cubicBezTo>
                <a:cubicBezTo>
                  <a:pt x="179488" y="3176048"/>
                  <a:pt x="177268" y="3178023"/>
                  <a:pt x="174798" y="3178023"/>
                </a:cubicBezTo>
                <a:cubicBezTo>
                  <a:pt x="172331" y="3178023"/>
                  <a:pt x="170356" y="3176048"/>
                  <a:pt x="170356" y="3173579"/>
                </a:cubicBezTo>
                <a:cubicBezTo>
                  <a:pt x="170356" y="3171112"/>
                  <a:pt x="172331" y="3169137"/>
                  <a:pt x="174798" y="3169137"/>
                </a:cubicBezTo>
                <a:close/>
                <a:moveTo>
                  <a:pt x="1195210" y="3162472"/>
                </a:moveTo>
                <a:cubicBezTo>
                  <a:pt x="1198668" y="3162472"/>
                  <a:pt x="1201383" y="3165188"/>
                  <a:pt x="1201383" y="3168642"/>
                </a:cubicBezTo>
                <a:cubicBezTo>
                  <a:pt x="1201383" y="3172099"/>
                  <a:pt x="1198668" y="3174815"/>
                  <a:pt x="1195210" y="3174815"/>
                </a:cubicBezTo>
                <a:cubicBezTo>
                  <a:pt x="1191756" y="3174815"/>
                  <a:pt x="1189040" y="3172099"/>
                  <a:pt x="1189040" y="3168642"/>
                </a:cubicBezTo>
                <a:cubicBezTo>
                  <a:pt x="1189040" y="3165188"/>
                  <a:pt x="1191756" y="3162472"/>
                  <a:pt x="1195210" y="3162472"/>
                </a:cubicBezTo>
                <a:close/>
                <a:moveTo>
                  <a:pt x="290810" y="3156302"/>
                </a:moveTo>
                <a:cubicBezTo>
                  <a:pt x="293525" y="3156302"/>
                  <a:pt x="295746" y="3158523"/>
                  <a:pt x="295746" y="3161239"/>
                </a:cubicBezTo>
                <a:cubicBezTo>
                  <a:pt x="295746" y="3163954"/>
                  <a:pt x="293525" y="3166175"/>
                  <a:pt x="290810" y="3166175"/>
                </a:cubicBezTo>
                <a:cubicBezTo>
                  <a:pt x="288094" y="3166175"/>
                  <a:pt x="285873" y="3163954"/>
                  <a:pt x="285873" y="3161239"/>
                </a:cubicBezTo>
                <a:cubicBezTo>
                  <a:pt x="285873" y="3158523"/>
                  <a:pt x="288094" y="3156302"/>
                  <a:pt x="290810" y="3156302"/>
                </a:cubicBezTo>
                <a:close/>
                <a:moveTo>
                  <a:pt x="861745" y="3155561"/>
                </a:moveTo>
                <a:cubicBezTo>
                  <a:pt x="863968" y="3155561"/>
                  <a:pt x="865941" y="3157536"/>
                  <a:pt x="865941" y="3159757"/>
                </a:cubicBezTo>
                <a:cubicBezTo>
                  <a:pt x="865941" y="3161980"/>
                  <a:pt x="863968" y="3163952"/>
                  <a:pt x="861745" y="3163952"/>
                </a:cubicBezTo>
                <a:cubicBezTo>
                  <a:pt x="859277" y="3163952"/>
                  <a:pt x="857549" y="3161980"/>
                  <a:pt x="857549" y="3159757"/>
                </a:cubicBezTo>
                <a:cubicBezTo>
                  <a:pt x="857549" y="3157536"/>
                  <a:pt x="859523" y="3155561"/>
                  <a:pt x="861745" y="3155561"/>
                </a:cubicBezTo>
                <a:close/>
                <a:moveTo>
                  <a:pt x="406328" y="3140256"/>
                </a:moveTo>
                <a:cubicBezTo>
                  <a:pt x="409290" y="3140256"/>
                  <a:pt x="411514" y="3142477"/>
                  <a:pt x="411514" y="3145439"/>
                </a:cubicBezTo>
                <a:cubicBezTo>
                  <a:pt x="411514" y="3148155"/>
                  <a:pt x="409044" y="3150625"/>
                  <a:pt x="406328" y="3150625"/>
                </a:cubicBezTo>
                <a:cubicBezTo>
                  <a:pt x="403366" y="3150625"/>
                  <a:pt x="401145" y="3148155"/>
                  <a:pt x="401145" y="3145439"/>
                </a:cubicBezTo>
                <a:cubicBezTo>
                  <a:pt x="401145" y="3142477"/>
                  <a:pt x="403366" y="3140256"/>
                  <a:pt x="406328" y="3140256"/>
                </a:cubicBezTo>
                <a:close/>
                <a:moveTo>
                  <a:pt x="973560" y="3123473"/>
                </a:moveTo>
                <a:cubicBezTo>
                  <a:pt x="976030" y="3123473"/>
                  <a:pt x="977756" y="3125448"/>
                  <a:pt x="977756" y="3127669"/>
                </a:cubicBezTo>
                <a:cubicBezTo>
                  <a:pt x="977756" y="3130138"/>
                  <a:pt x="976030" y="3131864"/>
                  <a:pt x="973560" y="3131864"/>
                </a:cubicBezTo>
                <a:cubicBezTo>
                  <a:pt x="971093" y="3131864"/>
                  <a:pt x="969364" y="3129892"/>
                  <a:pt x="969364" y="3127669"/>
                </a:cubicBezTo>
                <a:cubicBezTo>
                  <a:pt x="969364" y="3125202"/>
                  <a:pt x="971339" y="3123473"/>
                  <a:pt x="973560" y="3123473"/>
                </a:cubicBezTo>
                <a:close/>
                <a:moveTo>
                  <a:pt x="1304315" y="3121496"/>
                </a:moveTo>
                <a:cubicBezTo>
                  <a:pt x="1307770" y="3121496"/>
                  <a:pt x="1310732" y="3124458"/>
                  <a:pt x="1310732" y="3127915"/>
                </a:cubicBezTo>
                <a:cubicBezTo>
                  <a:pt x="1310486" y="3131370"/>
                  <a:pt x="1307770" y="3134086"/>
                  <a:pt x="1304315" y="3134086"/>
                </a:cubicBezTo>
                <a:cubicBezTo>
                  <a:pt x="1300859" y="3134086"/>
                  <a:pt x="1297897" y="3131370"/>
                  <a:pt x="1297897" y="3127915"/>
                </a:cubicBezTo>
                <a:cubicBezTo>
                  <a:pt x="1297897" y="3124458"/>
                  <a:pt x="1300859" y="3121496"/>
                  <a:pt x="1304315" y="3121496"/>
                </a:cubicBezTo>
                <a:close/>
                <a:moveTo>
                  <a:pt x="521104" y="3120263"/>
                </a:moveTo>
                <a:cubicBezTo>
                  <a:pt x="524312" y="3120263"/>
                  <a:pt x="526782" y="3122733"/>
                  <a:pt x="526782" y="3125941"/>
                </a:cubicBezTo>
                <a:cubicBezTo>
                  <a:pt x="526782" y="3129149"/>
                  <a:pt x="524312" y="3131616"/>
                  <a:pt x="521104" y="3131616"/>
                </a:cubicBezTo>
                <a:cubicBezTo>
                  <a:pt x="517896" y="3131616"/>
                  <a:pt x="515426" y="3129149"/>
                  <a:pt x="515426" y="3125941"/>
                </a:cubicBezTo>
                <a:cubicBezTo>
                  <a:pt x="515426" y="3122733"/>
                  <a:pt x="517896" y="3120263"/>
                  <a:pt x="521104" y="3120263"/>
                </a:cubicBezTo>
                <a:close/>
                <a:moveTo>
                  <a:pt x="635396" y="3096813"/>
                </a:moveTo>
                <a:cubicBezTo>
                  <a:pt x="638606" y="3096813"/>
                  <a:pt x="641319" y="3099529"/>
                  <a:pt x="641319" y="3102983"/>
                </a:cubicBezTo>
                <a:cubicBezTo>
                  <a:pt x="641319" y="3106440"/>
                  <a:pt x="638606" y="3109156"/>
                  <a:pt x="635396" y="3109156"/>
                </a:cubicBezTo>
                <a:cubicBezTo>
                  <a:pt x="631941" y="3109156"/>
                  <a:pt x="629226" y="3106440"/>
                  <a:pt x="629226" y="3102983"/>
                </a:cubicBezTo>
                <a:cubicBezTo>
                  <a:pt x="629226" y="3099775"/>
                  <a:pt x="631941" y="3096813"/>
                  <a:pt x="635396" y="3096813"/>
                </a:cubicBezTo>
                <a:close/>
                <a:moveTo>
                  <a:pt x="1084377" y="3087681"/>
                </a:moveTo>
                <a:cubicBezTo>
                  <a:pt x="1086844" y="3087681"/>
                  <a:pt x="1088818" y="3089656"/>
                  <a:pt x="1088818" y="3092125"/>
                </a:cubicBezTo>
                <a:cubicBezTo>
                  <a:pt x="1088818" y="3094592"/>
                  <a:pt x="1086844" y="3096567"/>
                  <a:pt x="1084377" y="3096567"/>
                </a:cubicBezTo>
                <a:cubicBezTo>
                  <a:pt x="1081907" y="3096567"/>
                  <a:pt x="1079932" y="3094592"/>
                  <a:pt x="1079932" y="3092125"/>
                </a:cubicBezTo>
                <a:cubicBezTo>
                  <a:pt x="1079932" y="3089656"/>
                  <a:pt x="1081907" y="3087681"/>
                  <a:pt x="1084377" y="3087681"/>
                </a:cubicBezTo>
                <a:close/>
                <a:moveTo>
                  <a:pt x="1411939" y="3077066"/>
                </a:moveTo>
                <a:cubicBezTo>
                  <a:pt x="1415640" y="3077066"/>
                  <a:pt x="1418602" y="3080028"/>
                  <a:pt x="1418602" y="3083731"/>
                </a:cubicBezTo>
                <a:cubicBezTo>
                  <a:pt x="1418602" y="3087681"/>
                  <a:pt x="1415640" y="3090397"/>
                  <a:pt x="1411939" y="3090397"/>
                </a:cubicBezTo>
                <a:cubicBezTo>
                  <a:pt x="1408236" y="3090397"/>
                  <a:pt x="1405274" y="3087435"/>
                  <a:pt x="1405274" y="3083731"/>
                </a:cubicBezTo>
                <a:cubicBezTo>
                  <a:pt x="1405274" y="3080028"/>
                  <a:pt x="1408236" y="3077066"/>
                  <a:pt x="1411939" y="3077066"/>
                </a:cubicBezTo>
                <a:close/>
                <a:moveTo>
                  <a:pt x="748939" y="3070650"/>
                </a:moveTo>
                <a:cubicBezTo>
                  <a:pt x="752393" y="3070650"/>
                  <a:pt x="755356" y="3073612"/>
                  <a:pt x="755356" y="3077069"/>
                </a:cubicBezTo>
                <a:cubicBezTo>
                  <a:pt x="755356" y="3080523"/>
                  <a:pt x="752393" y="3083485"/>
                  <a:pt x="748939" y="3083485"/>
                </a:cubicBezTo>
                <a:cubicBezTo>
                  <a:pt x="745235" y="3083485"/>
                  <a:pt x="742520" y="3080523"/>
                  <a:pt x="742520" y="3077069"/>
                </a:cubicBezTo>
                <a:cubicBezTo>
                  <a:pt x="742520" y="3073612"/>
                  <a:pt x="745482" y="3070650"/>
                  <a:pt x="748939" y="3070650"/>
                </a:cubicBezTo>
                <a:close/>
                <a:moveTo>
                  <a:pt x="57552" y="3069662"/>
                </a:moveTo>
                <a:cubicBezTo>
                  <a:pt x="59773" y="3069662"/>
                  <a:pt x="61502" y="3071391"/>
                  <a:pt x="61502" y="3073611"/>
                </a:cubicBezTo>
                <a:cubicBezTo>
                  <a:pt x="61255" y="3075832"/>
                  <a:pt x="59527" y="3077561"/>
                  <a:pt x="57552" y="3077561"/>
                </a:cubicBezTo>
                <a:cubicBezTo>
                  <a:pt x="55332" y="3077561"/>
                  <a:pt x="53603" y="3075832"/>
                  <a:pt x="53603" y="3073611"/>
                </a:cubicBezTo>
                <a:cubicBezTo>
                  <a:pt x="53603" y="3071391"/>
                  <a:pt x="55332" y="3069662"/>
                  <a:pt x="57552" y="3069662"/>
                </a:cubicBezTo>
                <a:close/>
                <a:moveTo>
                  <a:pt x="173069" y="3060530"/>
                </a:moveTo>
                <a:cubicBezTo>
                  <a:pt x="175290" y="3060530"/>
                  <a:pt x="177265" y="3062505"/>
                  <a:pt x="177265" y="3064726"/>
                </a:cubicBezTo>
                <a:cubicBezTo>
                  <a:pt x="177265" y="3066946"/>
                  <a:pt x="175539" y="3068921"/>
                  <a:pt x="173069" y="3068921"/>
                </a:cubicBezTo>
                <a:cubicBezTo>
                  <a:pt x="170849" y="3068921"/>
                  <a:pt x="168874" y="3066946"/>
                  <a:pt x="168874" y="3064726"/>
                </a:cubicBezTo>
                <a:cubicBezTo>
                  <a:pt x="168874" y="3062505"/>
                  <a:pt x="170849" y="3060530"/>
                  <a:pt x="173069" y="3060530"/>
                </a:cubicBezTo>
                <a:close/>
                <a:moveTo>
                  <a:pt x="1194221" y="3049174"/>
                </a:moveTo>
                <a:cubicBezTo>
                  <a:pt x="1196691" y="3049174"/>
                  <a:pt x="1198665" y="3051149"/>
                  <a:pt x="1198665" y="3053616"/>
                </a:cubicBezTo>
                <a:cubicBezTo>
                  <a:pt x="1198665" y="3056085"/>
                  <a:pt x="1196691" y="3058060"/>
                  <a:pt x="1194221" y="3058060"/>
                </a:cubicBezTo>
                <a:cubicBezTo>
                  <a:pt x="1191754" y="3058060"/>
                  <a:pt x="1189779" y="3056085"/>
                  <a:pt x="1189779" y="3053616"/>
                </a:cubicBezTo>
                <a:cubicBezTo>
                  <a:pt x="1189779" y="3051149"/>
                  <a:pt x="1191754" y="3049174"/>
                  <a:pt x="1194221" y="3049174"/>
                </a:cubicBezTo>
                <a:close/>
                <a:moveTo>
                  <a:pt x="288585" y="3047695"/>
                </a:moveTo>
                <a:cubicBezTo>
                  <a:pt x="291054" y="3047695"/>
                  <a:pt x="293029" y="3049670"/>
                  <a:pt x="293029" y="3052137"/>
                </a:cubicBezTo>
                <a:cubicBezTo>
                  <a:pt x="293029" y="3054606"/>
                  <a:pt x="291054" y="3056581"/>
                  <a:pt x="288585" y="3056581"/>
                </a:cubicBezTo>
                <a:cubicBezTo>
                  <a:pt x="286118" y="3056581"/>
                  <a:pt x="284143" y="3054606"/>
                  <a:pt x="284143" y="3052137"/>
                </a:cubicBezTo>
                <a:cubicBezTo>
                  <a:pt x="284143" y="3049670"/>
                  <a:pt x="286118" y="3047695"/>
                  <a:pt x="288585" y="3047695"/>
                </a:cubicBezTo>
                <a:close/>
                <a:moveTo>
                  <a:pt x="861496" y="3040288"/>
                </a:moveTo>
                <a:cubicBezTo>
                  <a:pt x="865200" y="3040288"/>
                  <a:pt x="868407" y="3043250"/>
                  <a:pt x="868407" y="3047199"/>
                </a:cubicBezTo>
                <a:cubicBezTo>
                  <a:pt x="868407" y="3050903"/>
                  <a:pt x="865200" y="3054111"/>
                  <a:pt x="861496" y="3054111"/>
                </a:cubicBezTo>
                <a:cubicBezTo>
                  <a:pt x="857792" y="3054111"/>
                  <a:pt x="854584" y="3051149"/>
                  <a:pt x="854584" y="3047199"/>
                </a:cubicBezTo>
                <a:cubicBezTo>
                  <a:pt x="854584" y="3043496"/>
                  <a:pt x="857546" y="3040288"/>
                  <a:pt x="861496" y="3040288"/>
                </a:cubicBezTo>
                <a:close/>
                <a:moveTo>
                  <a:pt x="403364" y="3031402"/>
                </a:moveTo>
                <a:cubicBezTo>
                  <a:pt x="406080" y="3031402"/>
                  <a:pt x="408054" y="3033623"/>
                  <a:pt x="408054" y="3036092"/>
                </a:cubicBezTo>
                <a:cubicBezTo>
                  <a:pt x="408300" y="3038559"/>
                  <a:pt x="406080" y="3040783"/>
                  <a:pt x="403364" y="3040783"/>
                </a:cubicBezTo>
                <a:cubicBezTo>
                  <a:pt x="400648" y="3040783"/>
                  <a:pt x="398673" y="3038559"/>
                  <a:pt x="398673" y="3036092"/>
                </a:cubicBezTo>
                <a:cubicBezTo>
                  <a:pt x="398673" y="3033377"/>
                  <a:pt x="400894" y="3031402"/>
                  <a:pt x="403364" y="3031402"/>
                </a:cubicBezTo>
                <a:close/>
                <a:moveTo>
                  <a:pt x="1518326" y="3030169"/>
                </a:moveTo>
                <a:cubicBezTo>
                  <a:pt x="1522029" y="3030169"/>
                  <a:pt x="1524991" y="3033131"/>
                  <a:pt x="1524991" y="3036834"/>
                </a:cubicBezTo>
                <a:cubicBezTo>
                  <a:pt x="1525237" y="3040784"/>
                  <a:pt x="1522029" y="3043746"/>
                  <a:pt x="1518326" y="3043746"/>
                </a:cubicBezTo>
                <a:cubicBezTo>
                  <a:pt x="1514622" y="3043746"/>
                  <a:pt x="1511414" y="3040784"/>
                  <a:pt x="1511414" y="3036834"/>
                </a:cubicBezTo>
                <a:cubicBezTo>
                  <a:pt x="1511414" y="3033131"/>
                  <a:pt x="1514376" y="3030169"/>
                  <a:pt x="1518326" y="3030169"/>
                </a:cubicBezTo>
                <a:close/>
                <a:moveTo>
                  <a:pt x="517648" y="3011163"/>
                </a:moveTo>
                <a:cubicBezTo>
                  <a:pt x="520364" y="3011163"/>
                  <a:pt x="522831" y="3013384"/>
                  <a:pt x="522831" y="3016100"/>
                </a:cubicBezTo>
                <a:cubicBezTo>
                  <a:pt x="522831" y="3019062"/>
                  <a:pt x="520610" y="3021283"/>
                  <a:pt x="517648" y="3021283"/>
                </a:cubicBezTo>
                <a:cubicBezTo>
                  <a:pt x="514932" y="3021283"/>
                  <a:pt x="512465" y="3019062"/>
                  <a:pt x="512465" y="3016100"/>
                </a:cubicBezTo>
                <a:cubicBezTo>
                  <a:pt x="512465" y="3013384"/>
                  <a:pt x="514686" y="3011163"/>
                  <a:pt x="517648" y="3011163"/>
                </a:cubicBezTo>
                <a:close/>
                <a:moveTo>
                  <a:pt x="973311" y="3006968"/>
                </a:moveTo>
                <a:cubicBezTo>
                  <a:pt x="977261" y="3006968"/>
                  <a:pt x="980472" y="3010176"/>
                  <a:pt x="980472" y="3014126"/>
                </a:cubicBezTo>
                <a:cubicBezTo>
                  <a:pt x="980472" y="3018075"/>
                  <a:pt x="977261" y="3021283"/>
                  <a:pt x="973311" y="3021283"/>
                </a:cubicBezTo>
                <a:cubicBezTo>
                  <a:pt x="969362" y="3021283"/>
                  <a:pt x="966154" y="3018075"/>
                  <a:pt x="966154" y="3014126"/>
                </a:cubicBezTo>
                <a:cubicBezTo>
                  <a:pt x="966154" y="3010176"/>
                  <a:pt x="969362" y="3006968"/>
                  <a:pt x="973311" y="3006968"/>
                </a:cubicBezTo>
                <a:close/>
                <a:moveTo>
                  <a:pt x="1302830" y="3006719"/>
                </a:moveTo>
                <a:cubicBezTo>
                  <a:pt x="1305298" y="3006719"/>
                  <a:pt x="1307518" y="3008694"/>
                  <a:pt x="1307518" y="3011409"/>
                </a:cubicBezTo>
                <a:cubicBezTo>
                  <a:pt x="1307518" y="3014125"/>
                  <a:pt x="1305298" y="3016100"/>
                  <a:pt x="1302830" y="3016100"/>
                </a:cubicBezTo>
                <a:cubicBezTo>
                  <a:pt x="1300361" y="3016100"/>
                  <a:pt x="1298140" y="3014125"/>
                  <a:pt x="1298140" y="3011409"/>
                </a:cubicBezTo>
                <a:cubicBezTo>
                  <a:pt x="1298140" y="3008940"/>
                  <a:pt x="1300115" y="3006719"/>
                  <a:pt x="1302830" y="3006719"/>
                </a:cubicBezTo>
                <a:close/>
                <a:moveTo>
                  <a:pt x="631443" y="2987467"/>
                </a:moveTo>
                <a:cubicBezTo>
                  <a:pt x="634407" y="2987467"/>
                  <a:pt x="636873" y="2989937"/>
                  <a:pt x="636873" y="2992899"/>
                </a:cubicBezTo>
                <a:cubicBezTo>
                  <a:pt x="636873" y="2995858"/>
                  <a:pt x="634407" y="2998328"/>
                  <a:pt x="631443" y="2998328"/>
                </a:cubicBezTo>
                <a:cubicBezTo>
                  <a:pt x="628482" y="2998328"/>
                  <a:pt x="626012" y="2995858"/>
                  <a:pt x="626012" y="2992899"/>
                </a:cubicBezTo>
                <a:cubicBezTo>
                  <a:pt x="626012" y="2989937"/>
                  <a:pt x="628482" y="2987467"/>
                  <a:pt x="631443" y="2987467"/>
                </a:cubicBezTo>
                <a:close/>
                <a:moveTo>
                  <a:pt x="1623482" y="2980061"/>
                </a:moveTo>
                <a:cubicBezTo>
                  <a:pt x="1627431" y="2980061"/>
                  <a:pt x="1630639" y="2983269"/>
                  <a:pt x="1630639" y="2986973"/>
                </a:cubicBezTo>
                <a:cubicBezTo>
                  <a:pt x="1630393" y="2990922"/>
                  <a:pt x="1627185" y="2994130"/>
                  <a:pt x="1623482" y="2994130"/>
                </a:cubicBezTo>
                <a:cubicBezTo>
                  <a:pt x="1619532" y="2994130"/>
                  <a:pt x="1616570" y="2990922"/>
                  <a:pt x="1616570" y="2986973"/>
                </a:cubicBezTo>
                <a:cubicBezTo>
                  <a:pt x="1616570" y="2983023"/>
                  <a:pt x="1619778" y="2980061"/>
                  <a:pt x="1623482" y="2980061"/>
                </a:cubicBezTo>
                <a:close/>
                <a:moveTo>
                  <a:pt x="1083879" y="2969941"/>
                </a:moveTo>
                <a:cubicBezTo>
                  <a:pt x="1088075" y="2969941"/>
                  <a:pt x="1091530" y="2973395"/>
                  <a:pt x="1091530" y="2977593"/>
                </a:cubicBezTo>
                <a:cubicBezTo>
                  <a:pt x="1091530" y="2981789"/>
                  <a:pt x="1088075" y="2985243"/>
                  <a:pt x="1083879" y="2985243"/>
                </a:cubicBezTo>
                <a:cubicBezTo>
                  <a:pt x="1079682" y="2985243"/>
                  <a:pt x="1076228" y="2981789"/>
                  <a:pt x="1076228" y="2977593"/>
                </a:cubicBezTo>
                <a:cubicBezTo>
                  <a:pt x="1076228" y="2973395"/>
                  <a:pt x="1079682" y="2969941"/>
                  <a:pt x="1083879" y="2969941"/>
                </a:cubicBezTo>
                <a:close/>
                <a:moveTo>
                  <a:pt x="1410208" y="2961796"/>
                </a:moveTo>
                <a:cubicBezTo>
                  <a:pt x="1412675" y="2961796"/>
                  <a:pt x="1414898" y="2963771"/>
                  <a:pt x="1414898" y="2966484"/>
                </a:cubicBezTo>
                <a:cubicBezTo>
                  <a:pt x="1414898" y="2969200"/>
                  <a:pt x="1412675" y="2971174"/>
                  <a:pt x="1410208" y="2971174"/>
                </a:cubicBezTo>
                <a:cubicBezTo>
                  <a:pt x="1407492" y="2971174"/>
                  <a:pt x="1405517" y="2968953"/>
                  <a:pt x="1405517" y="2966484"/>
                </a:cubicBezTo>
                <a:cubicBezTo>
                  <a:pt x="1405517" y="2964017"/>
                  <a:pt x="1407738" y="2961796"/>
                  <a:pt x="1410208" y="2961796"/>
                </a:cubicBezTo>
                <a:close/>
                <a:moveTo>
                  <a:pt x="57055" y="2961550"/>
                </a:moveTo>
                <a:cubicBezTo>
                  <a:pt x="59030" y="2961550"/>
                  <a:pt x="60758" y="2963279"/>
                  <a:pt x="60758" y="2965005"/>
                </a:cubicBezTo>
                <a:cubicBezTo>
                  <a:pt x="60758" y="2966982"/>
                  <a:pt x="59030" y="2968708"/>
                  <a:pt x="57055" y="2968708"/>
                </a:cubicBezTo>
                <a:cubicBezTo>
                  <a:pt x="55080" y="2968708"/>
                  <a:pt x="53352" y="2967228"/>
                  <a:pt x="53352" y="2965005"/>
                </a:cubicBezTo>
                <a:cubicBezTo>
                  <a:pt x="53352" y="2963030"/>
                  <a:pt x="55080" y="2961550"/>
                  <a:pt x="57055" y="2961550"/>
                </a:cubicBezTo>
                <a:close/>
                <a:moveTo>
                  <a:pt x="744248" y="2960314"/>
                </a:moveTo>
                <a:cubicBezTo>
                  <a:pt x="747457" y="2960314"/>
                  <a:pt x="749923" y="2962784"/>
                  <a:pt x="749923" y="2965992"/>
                </a:cubicBezTo>
                <a:cubicBezTo>
                  <a:pt x="749923" y="2969200"/>
                  <a:pt x="747457" y="2971670"/>
                  <a:pt x="744248" y="2971670"/>
                </a:cubicBezTo>
                <a:cubicBezTo>
                  <a:pt x="741036" y="2971670"/>
                  <a:pt x="738570" y="2969200"/>
                  <a:pt x="738570" y="2965992"/>
                </a:cubicBezTo>
                <a:cubicBezTo>
                  <a:pt x="738570" y="2962784"/>
                  <a:pt x="741036" y="2960314"/>
                  <a:pt x="744248" y="2960314"/>
                </a:cubicBezTo>
                <a:close/>
                <a:moveTo>
                  <a:pt x="172821" y="2951923"/>
                </a:moveTo>
                <a:cubicBezTo>
                  <a:pt x="174796" y="2951923"/>
                  <a:pt x="176524" y="2953652"/>
                  <a:pt x="176524" y="2955626"/>
                </a:cubicBezTo>
                <a:cubicBezTo>
                  <a:pt x="176524" y="2957847"/>
                  <a:pt x="175042" y="2959330"/>
                  <a:pt x="172821" y="2959330"/>
                </a:cubicBezTo>
                <a:cubicBezTo>
                  <a:pt x="170846" y="2959330"/>
                  <a:pt x="169118" y="2957601"/>
                  <a:pt x="169118" y="2955626"/>
                </a:cubicBezTo>
                <a:cubicBezTo>
                  <a:pt x="169118" y="2953652"/>
                  <a:pt x="170846" y="2951923"/>
                  <a:pt x="172821" y="2951923"/>
                </a:cubicBezTo>
                <a:close/>
                <a:moveTo>
                  <a:pt x="288336" y="2938592"/>
                </a:moveTo>
                <a:cubicBezTo>
                  <a:pt x="290557" y="2938592"/>
                  <a:pt x="292286" y="2940321"/>
                  <a:pt x="292286" y="2942541"/>
                </a:cubicBezTo>
                <a:cubicBezTo>
                  <a:pt x="292039" y="2944762"/>
                  <a:pt x="290311" y="2946491"/>
                  <a:pt x="288336" y="2946491"/>
                </a:cubicBezTo>
                <a:cubicBezTo>
                  <a:pt x="286115" y="2946491"/>
                  <a:pt x="284387" y="2944762"/>
                  <a:pt x="284387" y="2942541"/>
                </a:cubicBezTo>
                <a:cubicBezTo>
                  <a:pt x="284387" y="2940321"/>
                  <a:pt x="286115" y="2938592"/>
                  <a:pt x="288336" y="2938592"/>
                </a:cubicBezTo>
                <a:close/>
                <a:moveTo>
                  <a:pt x="1193231" y="2929955"/>
                </a:moveTo>
                <a:cubicBezTo>
                  <a:pt x="1197675" y="2929955"/>
                  <a:pt x="1201376" y="2933658"/>
                  <a:pt x="1201376" y="2937854"/>
                </a:cubicBezTo>
                <a:cubicBezTo>
                  <a:pt x="1201376" y="2942298"/>
                  <a:pt x="1197675" y="2945999"/>
                  <a:pt x="1193231" y="2945999"/>
                </a:cubicBezTo>
                <a:cubicBezTo>
                  <a:pt x="1188787" y="2945999"/>
                  <a:pt x="1185332" y="2942298"/>
                  <a:pt x="1185332" y="2937854"/>
                </a:cubicBezTo>
                <a:cubicBezTo>
                  <a:pt x="1185332" y="2933410"/>
                  <a:pt x="1189035" y="2929955"/>
                  <a:pt x="1193231" y="2929955"/>
                </a:cubicBezTo>
                <a:close/>
                <a:moveTo>
                  <a:pt x="856310" y="2929955"/>
                </a:moveTo>
                <a:cubicBezTo>
                  <a:pt x="859518" y="2929955"/>
                  <a:pt x="862235" y="2932671"/>
                  <a:pt x="862235" y="2935879"/>
                </a:cubicBezTo>
                <a:cubicBezTo>
                  <a:pt x="862235" y="2939087"/>
                  <a:pt x="859518" y="2941803"/>
                  <a:pt x="856310" y="2941803"/>
                </a:cubicBezTo>
                <a:cubicBezTo>
                  <a:pt x="853102" y="2941803"/>
                  <a:pt x="850386" y="2939087"/>
                  <a:pt x="850386" y="2935879"/>
                </a:cubicBezTo>
                <a:cubicBezTo>
                  <a:pt x="850386" y="2932671"/>
                  <a:pt x="853102" y="2929955"/>
                  <a:pt x="856310" y="2929955"/>
                </a:cubicBezTo>
                <a:close/>
                <a:moveTo>
                  <a:pt x="1726904" y="2926993"/>
                </a:moveTo>
                <a:cubicBezTo>
                  <a:pt x="1730853" y="2926993"/>
                  <a:pt x="1734063" y="2930201"/>
                  <a:pt x="1734063" y="2934151"/>
                </a:cubicBezTo>
                <a:cubicBezTo>
                  <a:pt x="1734312" y="2938100"/>
                  <a:pt x="1730853" y="2941308"/>
                  <a:pt x="1726904" y="2941308"/>
                </a:cubicBezTo>
                <a:cubicBezTo>
                  <a:pt x="1722956" y="2941308"/>
                  <a:pt x="1719746" y="2938100"/>
                  <a:pt x="1719746" y="2934151"/>
                </a:cubicBezTo>
                <a:cubicBezTo>
                  <a:pt x="1719746" y="2930201"/>
                  <a:pt x="1722956" y="2926993"/>
                  <a:pt x="1726904" y="2926993"/>
                </a:cubicBezTo>
                <a:close/>
                <a:moveTo>
                  <a:pt x="403115" y="2922054"/>
                </a:moveTo>
                <a:cubicBezTo>
                  <a:pt x="405336" y="2922054"/>
                  <a:pt x="407064" y="2923783"/>
                  <a:pt x="407064" y="2926004"/>
                </a:cubicBezTo>
                <a:cubicBezTo>
                  <a:pt x="407064" y="2928225"/>
                  <a:pt x="405336" y="2929953"/>
                  <a:pt x="403115" y="2929953"/>
                </a:cubicBezTo>
                <a:cubicBezTo>
                  <a:pt x="400894" y="2929953"/>
                  <a:pt x="399166" y="2928225"/>
                  <a:pt x="399166" y="2926004"/>
                </a:cubicBezTo>
                <a:cubicBezTo>
                  <a:pt x="399166" y="2923783"/>
                  <a:pt x="400894" y="2922054"/>
                  <a:pt x="403115" y="2922054"/>
                </a:cubicBezTo>
                <a:close/>
                <a:moveTo>
                  <a:pt x="1516102" y="2913417"/>
                </a:moveTo>
                <a:cubicBezTo>
                  <a:pt x="1518818" y="2913417"/>
                  <a:pt x="1520793" y="2915638"/>
                  <a:pt x="1520793" y="2918108"/>
                </a:cubicBezTo>
                <a:cubicBezTo>
                  <a:pt x="1520793" y="2921070"/>
                  <a:pt x="1518818" y="2923045"/>
                  <a:pt x="1516102" y="2923045"/>
                </a:cubicBezTo>
                <a:cubicBezTo>
                  <a:pt x="1513386" y="2923045"/>
                  <a:pt x="1511165" y="2920824"/>
                  <a:pt x="1511165" y="2918108"/>
                </a:cubicBezTo>
                <a:cubicBezTo>
                  <a:pt x="1511165" y="2915392"/>
                  <a:pt x="1513386" y="2913417"/>
                  <a:pt x="1516102" y="2913417"/>
                </a:cubicBezTo>
                <a:close/>
                <a:moveTo>
                  <a:pt x="517396" y="2901569"/>
                </a:moveTo>
                <a:cubicBezTo>
                  <a:pt x="519617" y="2901569"/>
                  <a:pt x="521592" y="2903544"/>
                  <a:pt x="521592" y="2905765"/>
                </a:cubicBezTo>
                <a:cubicBezTo>
                  <a:pt x="521592" y="2907985"/>
                  <a:pt x="519617" y="2909960"/>
                  <a:pt x="517396" y="2909960"/>
                </a:cubicBezTo>
                <a:cubicBezTo>
                  <a:pt x="515175" y="2909960"/>
                  <a:pt x="513201" y="2907985"/>
                  <a:pt x="513201" y="2905765"/>
                </a:cubicBezTo>
                <a:cubicBezTo>
                  <a:pt x="513201" y="2903544"/>
                  <a:pt x="515175" y="2901569"/>
                  <a:pt x="517396" y="2901569"/>
                </a:cubicBezTo>
                <a:close/>
                <a:moveTo>
                  <a:pt x="967385" y="2896137"/>
                </a:moveTo>
                <a:cubicBezTo>
                  <a:pt x="970842" y="2896137"/>
                  <a:pt x="973557" y="2898853"/>
                  <a:pt x="973557" y="2902307"/>
                </a:cubicBezTo>
                <a:cubicBezTo>
                  <a:pt x="973557" y="2905515"/>
                  <a:pt x="970842" y="2908480"/>
                  <a:pt x="967385" y="2908480"/>
                </a:cubicBezTo>
                <a:cubicBezTo>
                  <a:pt x="963931" y="2908480"/>
                  <a:pt x="961215" y="2905764"/>
                  <a:pt x="961215" y="2902307"/>
                </a:cubicBezTo>
                <a:cubicBezTo>
                  <a:pt x="961215" y="2898853"/>
                  <a:pt x="963931" y="2896137"/>
                  <a:pt x="967385" y="2896137"/>
                </a:cubicBezTo>
                <a:close/>
                <a:moveTo>
                  <a:pt x="1301595" y="2886510"/>
                </a:moveTo>
                <a:cubicBezTo>
                  <a:pt x="1306283" y="2886510"/>
                  <a:pt x="1309986" y="2890213"/>
                  <a:pt x="1309986" y="2894901"/>
                </a:cubicBezTo>
                <a:cubicBezTo>
                  <a:pt x="1309986" y="2899345"/>
                  <a:pt x="1306283" y="2903295"/>
                  <a:pt x="1301595" y="2903295"/>
                </a:cubicBezTo>
                <a:cubicBezTo>
                  <a:pt x="1296904" y="2903295"/>
                  <a:pt x="1293201" y="2899592"/>
                  <a:pt x="1293201" y="2894901"/>
                </a:cubicBezTo>
                <a:cubicBezTo>
                  <a:pt x="1293201" y="2890213"/>
                  <a:pt x="1296904" y="2886510"/>
                  <a:pt x="1301595" y="2886510"/>
                </a:cubicBezTo>
                <a:close/>
                <a:moveTo>
                  <a:pt x="630946" y="2877626"/>
                </a:moveTo>
                <a:cubicBezTo>
                  <a:pt x="633416" y="2877626"/>
                  <a:pt x="635391" y="2879601"/>
                  <a:pt x="635391" y="2881822"/>
                </a:cubicBezTo>
                <a:cubicBezTo>
                  <a:pt x="635391" y="2884042"/>
                  <a:pt x="633416" y="2886017"/>
                  <a:pt x="630946" y="2886017"/>
                </a:cubicBezTo>
                <a:cubicBezTo>
                  <a:pt x="628479" y="2886017"/>
                  <a:pt x="626750" y="2884042"/>
                  <a:pt x="626750" y="2881822"/>
                </a:cubicBezTo>
                <a:cubicBezTo>
                  <a:pt x="626750" y="2879355"/>
                  <a:pt x="628725" y="2877626"/>
                  <a:pt x="630946" y="2877626"/>
                </a:cubicBezTo>
                <a:close/>
                <a:moveTo>
                  <a:pt x="1829091" y="2870961"/>
                </a:moveTo>
                <a:cubicBezTo>
                  <a:pt x="1833283" y="2870961"/>
                  <a:pt x="1836491" y="2874418"/>
                  <a:pt x="1836491" y="2878367"/>
                </a:cubicBezTo>
                <a:cubicBezTo>
                  <a:pt x="1836491" y="2882317"/>
                  <a:pt x="1833037" y="2885771"/>
                  <a:pt x="1829091" y="2885771"/>
                </a:cubicBezTo>
                <a:cubicBezTo>
                  <a:pt x="1824890" y="2885771"/>
                  <a:pt x="1821682" y="2882317"/>
                  <a:pt x="1821682" y="2878367"/>
                </a:cubicBezTo>
                <a:cubicBezTo>
                  <a:pt x="1821682" y="2874169"/>
                  <a:pt x="1825136" y="2870961"/>
                  <a:pt x="1829091" y="2870961"/>
                </a:cubicBezTo>
                <a:close/>
                <a:moveTo>
                  <a:pt x="1620517" y="2862075"/>
                </a:moveTo>
                <a:cubicBezTo>
                  <a:pt x="1623233" y="2862075"/>
                  <a:pt x="1625454" y="2864296"/>
                  <a:pt x="1625454" y="2867012"/>
                </a:cubicBezTo>
                <a:cubicBezTo>
                  <a:pt x="1625454" y="2869728"/>
                  <a:pt x="1623233" y="2871949"/>
                  <a:pt x="1620517" y="2871949"/>
                </a:cubicBezTo>
                <a:cubicBezTo>
                  <a:pt x="1617801" y="2871949"/>
                  <a:pt x="1615580" y="2869728"/>
                  <a:pt x="1615580" y="2867012"/>
                </a:cubicBezTo>
                <a:cubicBezTo>
                  <a:pt x="1615580" y="2864296"/>
                  <a:pt x="1617801" y="2862075"/>
                  <a:pt x="1620517" y="2862075"/>
                </a:cubicBezTo>
                <a:close/>
                <a:moveTo>
                  <a:pt x="1077215" y="2858372"/>
                </a:moveTo>
                <a:cubicBezTo>
                  <a:pt x="1080916" y="2858372"/>
                  <a:pt x="1083879" y="2861334"/>
                  <a:pt x="1083879" y="2865038"/>
                </a:cubicBezTo>
                <a:cubicBezTo>
                  <a:pt x="1083632" y="2868492"/>
                  <a:pt x="1080916" y="2871454"/>
                  <a:pt x="1077215" y="2871454"/>
                </a:cubicBezTo>
                <a:cubicBezTo>
                  <a:pt x="1073513" y="2871454"/>
                  <a:pt x="1070550" y="2868492"/>
                  <a:pt x="1070550" y="2865038"/>
                </a:cubicBezTo>
                <a:cubicBezTo>
                  <a:pt x="1070550" y="2861334"/>
                  <a:pt x="1073513" y="2858372"/>
                  <a:pt x="1077215" y="2858372"/>
                </a:cubicBezTo>
                <a:close/>
                <a:moveTo>
                  <a:pt x="56804" y="2852943"/>
                </a:moveTo>
                <a:cubicBezTo>
                  <a:pt x="58781" y="2852943"/>
                  <a:pt x="60014" y="2854423"/>
                  <a:pt x="60014" y="2856152"/>
                </a:cubicBezTo>
                <a:cubicBezTo>
                  <a:pt x="60261" y="2858126"/>
                  <a:pt x="58532" y="2859609"/>
                  <a:pt x="56804" y="2859609"/>
                </a:cubicBezTo>
                <a:cubicBezTo>
                  <a:pt x="54829" y="2859609"/>
                  <a:pt x="53349" y="2858126"/>
                  <a:pt x="53349" y="2856152"/>
                </a:cubicBezTo>
                <a:cubicBezTo>
                  <a:pt x="53349" y="2854423"/>
                  <a:pt x="54829" y="2852943"/>
                  <a:pt x="56804" y="2852943"/>
                </a:cubicBezTo>
                <a:close/>
                <a:moveTo>
                  <a:pt x="743749" y="2849732"/>
                </a:moveTo>
                <a:cubicBezTo>
                  <a:pt x="746218" y="2849732"/>
                  <a:pt x="748193" y="2851707"/>
                  <a:pt x="748193" y="2854174"/>
                </a:cubicBezTo>
                <a:cubicBezTo>
                  <a:pt x="748193" y="2856643"/>
                  <a:pt x="746218" y="2858618"/>
                  <a:pt x="743749" y="2858618"/>
                </a:cubicBezTo>
                <a:cubicBezTo>
                  <a:pt x="741279" y="2858618"/>
                  <a:pt x="739307" y="2856643"/>
                  <a:pt x="739307" y="2854174"/>
                </a:cubicBezTo>
                <a:cubicBezTo>
                  <a:pt x="739307" y="2851707"/>
                  <a:pt x="741279" y="2849732"/>
                  <a:pt x="743749" y="2849732"/>
                </a:cubicBezTo>
                <a:close/>
                <a:moveTo>
                  <a:pt x="172570" y="2843067"/>
                </a:moveTo>
                <a:cubicBezTo>
                  <a:pt x="174547" y="2843067"/>
                  <a:pt x="176027" y="2844549"/>
                  <a:pt x="176027" y="2846524"/>
                </a:cubicBezTo>
                <a:cubicBezTo>
                  <a:pt x="176027" y="2848499"/>
                  <a:pt x="174547" y="2849979"/>
                  <a:pt x="172570" y="2849979"/>
                </a:cubicBezTo>
                <a:cubicBezTo>
                  <a:pt x="170595" y="2849979"/>
                  <a:pt x="169115" y="2848499"/>
                  <a:pt x="169115" y="2846524"/>
                </a:cubicBezTo>
                <a:cubicBezTo>
                  <a:pt x="169115" y="2844796"/>
                  <a:pt x="170595" y="2843067"/>
                  <a:pt x="172570" y="2843067"/>
                </a:cubicBezTo>
                <a:close/>
                <a:moveTo>
                  <a:pt x="1408477" y="2839612"/>
                </a:moveTo>
                <a:cubicBezTo>
                  <a:pt x="1413414" y="2839612"/>
                  <a:pt x="1417363" y="2843561"/>
                  <a:pt x="1417363" y="2848498"/>
                </a:cubicBezTo>
                <a:cubicBezTo>
                  <a:pt x="1417363" y="2853435"/>
                  <a:pt x="1413414" y="2857384"/>
                  <a:pt x="1408477" y="2857384"/>
                </a:cubicBezTo>
                <a:cubicBezTo>
                  <a:pt x="1403540" y="2857384"/>
                  <a:pt x="1399591" y="2853435"/>
                  <a:pt x="1399591" y="2848498"/>
                </a:cubicBezTo>
                <a:cubicBezTo>
                  <a:pt x="1399591" y="2843561"/>
                  <a:pt x="1403540" y="2839612"/>
                  <a:pt x="1408477" y="2839612"/>
                </a:cubicBezTo>
                <a:close/>
                <a:moveTo>
                  <a:pt x="288088" y="2829739"/>
                </a:moveTo>
                <a:cubicBezTo>
                  <a:pt x="290063" y="2829739"/>
                  <a:pt x="291545" y="2831219"/>
                  <a:pt x="291545" y="2833194"/>
                </a:cubicBezTo>
                <a:cubicBezTo>
                  <a:pt x="291545" y="2835171"/>
                  <a:pt x="290063" y="2836651"/>
                  <a:pt x="288088" y="2836651"/>
                </a:cubicBezTo>
                <a:cubicBezTo>
                  <a:pt x="286113" y="2836651"/>
                  <a:pt x="284633" y="2835171"/>
                  <a:pt x="284633" y="2833194"/>
                </a:cubicBezTo>
                <a:cubicBezTo>
                  <a:pt x="284633" y="2831219"/>
                  <a:pt x="286113" y="2829739"/>
                  <a:pt x="288088" y="2829739"/>
                </a:cubicBezTo>
                <a:close/>
                <a:moveTo>
                  <a:pt x="855566" y="2818383"/>
                </a:moveTo>
                <a:cubicBezTo>
                  <a:pt x="858034" y="2818383"/>
                  <a:pt x="860008" y="2820358"/>
                  <a:pt x="860008" y="2822827"/>
                </a:cubicBezTo>
                <a:cubicBezTo>
                  <a:pt x="860257" y="2825540"/>
                  <a:pt x="858282" y="2827515"/>
                  <a:pt x="855566" y="2827515"/>
                </a:cubicBezTo>
                <a:cubicBezTo>
                  <a:pt x="853096" y="2827515"/>
                  <a:pt x="850876" y="2825540"/>
                  <a:pt x="850876" y="2822827"/>
                </a:cubicBezTo>
                <a:cubicBezTo>
                  <a:pt x="850876" y="2820358"/>
                  <a:pt x="852850" y="2818383"/>
                  <a:pt x="855566" y="2818383"/>
                </a:cubicBezTo>
                <a:close/>
                <a:moveTo>
                  <a:pt x="1185825" y="2817399"/>
                </a:moveTo>
                <a:cubicBezTo>
                  <a:pt x="1189528" y="2817399"/>
                  <a:pt x="1192737" y="2820361"/>
                  <a:pt x="1192737" y="2824310"/>
                </a:cubicBezTo>
                <a:cubicBezTo>
                  <a:pt x="1192737" y="2828260"/>
                  <a:pt x="1189528" y="2831222"/>
                  <a:pt x="1185825" y="2831222"/>
                </a:cubicBezTo>
                <a:cubicBezTo>
                  <a:pt x="1182122" y="2831222"/>
                  <a:pt x="1178914" y="2828260"/>
                  <a:pt x="1178914" y="2824310"/>
                </a:cubicBezTo>
                <a:cubicBezTo>
                  <a:pt x="1178914" y="2820607"/>
                  <a:pt x="1181876" y="2817399"/>
                  <a:pt x="1185825" y="2817399"/>
                </a:cubicBezTo>
                <a:close/>
                <a:moveTo>
                  <a:pt x="402864" y="2812459"/>
                </a:moveTo>
                <a:cubicBezTo>
                  <a:pt x="404841" y="2812459"/>
                  <a:pt x="406321" y="2813939"/>
                  <a:pt x="406321" y="2815916"/>
                </a:cubicBezTo>
                <a:cubicBezTo>
                  <a:pt x="406321" y="2817891"/>
                  <a:pt x="404841" y="2819371"/>
                  <a:pt x="402864" y="2819371"/>
                </a:cubicBezTo>
                <a:cubicBezTo>
                  <a:pt x="400889" y="2819371"/>
                  <a:pt x="399409" y="2817891"/>
                  <a:pt x="399409" y="2815916"/>
                </a:cubicBezTo>
                <a:cubicBezTo>
                  <a:pt x="399409" y="2813939"/>
                  <a:pt x="400889" y="2812459"/>
                  <a:pt x="402864" y="2812459"/>
                </a:cubicBezTo>
                <a:close/>
                <a:moveTo>
                  <a:pt x="1929299" y="2811967"/>
                </a:moveTo>
                <a:cubicBezTo>
                  <a:pt x="1933491" y="2811967"/>
                  <a:pt x="1936943" y="2815421"/>
                  <a:pt x="1936943" y="2819619"/>
                </a:cubicBezTo>
                <a:cubicBezTo>
                  <a:pt x="1937192" y="2823815"/>
                  <a:pt x="1933737" y="2827269"/>
                  <a:pt x="1929299" y="2827269"/>
                </a:cubicBezTo>
                <a:cubicBezTo>
                  <a:pt x="1925104" y="2827269"/>
                  <a:pt x="1921652" y="2823815"/>
                  <a:pt x="1921652" y="2819619"/>
                </a:cubicBezTo>
                <a:cubicBezTo>
                  <a:pt x="1921652" y="2815421"/>
                  <a:pt x="1925104" y="2811967"/>
                  <a:pt x="1929299" y="2811967"/>
                </a:cubicBezTo>
                <a:close/>
                <a:moveTo>
                  <a:pt x="1723447" y="2807771"/>
                </a:moveTo>
                <a:cubicBezTo>
                  <a:pt x="1726164" y="2807771"/>
                  <a:pt x="1728381" y="2809992"/>
                  <a:pt x="1728381" y="2812708"/>
                </a:cubicBezTo>
                <a:cubicBezTo>
                  <a:pt x="1728626" y="2815424"/>
                  <a:pt x="1726164" y="2817645"/>
                  <a:pt x="1723447" y="2817645"/>
                </a:cubicBezTo>
                <a:cubicBezTo>
                  <a:pt x="1720730" y="2817645"/>
                  <a:pt x="1718509" y="2815424"/>
                  <a:pt x="1718509" y="2812708"/>
                </a:cubicBezTo>
                <a:cubicBezTo>
                  <a:pt x="1718509" y="2809992"/>
                  <a:pt x="1720730" y="2807771"/>
                  <a:pt x="1723447" y="2807771"/>
                </a:cubicBezTo>
                <a:close/>
                <a:moveTo>
                  <a:pt x="517148" y="2791728"/>
                </a:moveTo>
                <a:cubicBezTo>
                  <a:pt x="519125" y="2791728"/>
                  <a:pt x="520605" y="2793208"/>
                  <a:pt x="520605" y="2795185"/>
                </a:cubicBezTo>
                <a:cubicBezTo>
                  <a:pt x="520605" y="2796911"/>
                  <a:pt x="519125" y="2798640"/>
                  <a:pt x="517148" y="2798640"/>
                </a:cubicBezTo>
                <a:cubicBezTo>
                  <a:pt x="515173" y="2798640"/>
                  <a:pt x="513693" y="2797160"/>
                  <a:pt x="513693" y="2795185"/>
                </a:cubicBezTo>
                <a:cubicBezTo>
                  <a:pt x="513693" y="2793208"/>
                  <a:pt x="515173" y="2791728"/>
                  <a:pt x="517148" y="2791728"/>
                </a:cubicBezTo>
                <a:close/>
                <a:moveTo>
                  <a:pt x="1513876" y="2789999"/>
                </a:moveTo>
                <a:cubicBezTo>
                  <a:pt x="1519061" y="2789999"/>
                  <a:pt x="1523011" y="2794195"/>
                  <a:pt x="1523011" y="2799131"/>
                </a:cubicBezTo>
                <a:cubicBezTo>
                  <a:pt x="1523011" y="2804068"/>
                  <a:pt x="1518812" y="2808266"/>
                  <a:pt x="1513876" y="2808266"/>
                </a:cubicBezTo>
                <a:cubicBezTo>
                  <a:pt x="1508693" y="2808266"/>
                  <a:pt x="1504743" y="2804068"/>
                  <a:pt x="1504743" y="2799131"/>
                </a:cubicBezTo>
                <a:cubicBezTo>
                  <a:pt x="1504743" y="2793948"/>
                  <a:pt x="1508939" y="2789999"/>
                  <a:pt x="1513876" y="2789999"/>
                </a:cubicBezTo>
                <a:close/>
                <a:moveTo>
                  <a:pt x="966395" y="2783580"/>
                </a:moveTo>
                <a:cubicBezTo>
                  <a:pt x="969110" y="2783580"/>
                  <a:pt x="971085" y="2785801"/>
                  <a:pt x="971085" y="2788268"/>
                </a:cubicBezTo>
                <a:cubicBezTo>
                  <a:pt x="971085" y="2790737"/>
                  <a:pt x="969110" y="2792958"/>
                  <a:pt x="966395" y="2792958"/>
                </a:cubicBezTo>
                <a:cubicBezTo>
                  <a:pt x="963679" y="2792958"/>
                  <a:pt x="961704" y="2790737"/>
                  <a:pt x="961704" y="2788268"/>
                </a:cubicBezTo>
                <a:cubicBezTo>
                  <a:pt x="961704" y="2785555"/>
                  <a:pt x="963925" y="2783580"/>
                  <a:pt x="966395" y="2783580"/>
                </a:cubicBezTo>
                <a:close/>
                <a:moveTo>
                  <a:pt x="1293199" y="2773215"/>
                </a:moveTo>
                <a:cubicBezTo>
                  <a:pt x="1297149" y="2773215"/>
                  <a:pt x="1300359" y="2776423"/>
                  <a:pt x="1300359" y="2780373"/>
                </a:cubicBezTo>
                <a:cubicBezTo>
                  <a:pt x="1300359" y="2784568"/>
                  <a:pt x="1297149" y="2787530"/>
                  <a:pt x="1293199" y="2787530"/>
                </a:cubicBezTo>
                <a:cubicBezTo>
                  <a:pt x="1289250" y="2787530"/>
                  <a:pt x="1286042" y="2784322"/>
                  <a:pt x="1286042" y="2780373"/>
                </a:cubicBezTo>
                <a:cubicBezTo>
                  <a:pt x="1286042" y="2776423"/>
                  <a:pt x="1289250" y="2773215"/>
                  <a:pt x="1293199" y="2773215"/>
                </a:cubicBezTo>
                <a:close/>
                <a:moveTo>
                  <a:pt x="630697" y="2767044"/>
                </a:moveTo>
                <a:cubicBezTo>
                  <a:pt x="632675" y="2767044"/>
                  <a:pt x="634156" y="2768524"/>
                  <a:pt x="634156" y="2770501"/>
                </a:cubicBezTo>
                <a:cubicBezTo>
                  <a:pt x="634156" y="2772476"/>
                  <a:pt x="632675" y="2773956"/>
                  <a:pt x="630697" y="2773956"/>
                </a:cubicBezTo>
                <a:cubicBezTo>
                  <a:pt x="628723" y="2773956"/>
                  <a:pt x="627243" y="2772476"/>
                  <a:pt x="627243" y="2770501"/>
                </a:cubicBezTo>
                <a:cubicBezTo>
                  <a:pt x="627243" y="2768524"/>
                  <a:pt x="628723" y="2767044"/>
                  <a:pt x="630697" y="2767044"/>
                </a:cubicBezTo>
                <a:close/>
                <a:moveTo>
                  <a:pt x="1824888" y="2750260"/>
                </a:moveTo>
                <a:cubicBezTo>
                  <a:pt x="1827603" y="2750260"/>
                  <a:pt x="1830073" y="2752481"/>
                  <a:pt x="1830073" y="2755443"/>
                </a:cubicBezTo>
                <a:cubicBezTo>
                  <a:pt x="1829826" y="2758159"/>
                  <a:pt x="1827603" y="2760626"/>
                  <a:pt x="1824888" y="2760626"/>
                </a:cubicBezTo>
                <a:cubicBezTo>
                  <a:pt x="1821924" y="2760626"/>
                  <a:pt x="1819690" y="2758405"/>
                  <a:pt x="1819690" y="2755443"/>
                </a:cubicBezTo>
                <a:cubicBezTo>
                  <a:pt x="1819690" y="2752730"/>
                  <a:pt x="1821924" y="2750260"/>
                  <a:pt x="1824888" y="2750260"/>
                </a:cubicBezTo>
                <a:close/>
                <a:moveTo>
                  <a:pt x="2027996" y="2749518"/>
                </a:moveTo>
                <a:cubicBezTo>
                  <a:pt x="2032686" y="2749518"/>
                  <a:pt x="2036387" y="2753221"/>
                  <a:pt x="2036387" y="2757909"/>
                </a:cubicBezTo>
                <a:cubicBezTo>
                  <a:pt x="2036387" y="2762600"/>
                  <a:pt x="2032686" y="2766303"/>
                  <a:pt x="2027996" y="2766303"/>
                </a:cubicBezTo>
                <a:cubicBezTo>
                  <a:pt x="2023305" y="2766303"/>
                  <a:pt x="2019602" y="2762600"/>
                  <a:pt x="2019602" y="2757909"/>
                </a:cubicBezTo>
                <a:cubicBezTo>
                  <a:pt x="2019602" y="2753221"/>
                  <a:pt x="2023305" y="2749518"/>
                  <a:pt x="2027996" y="2749518"/>
                </a:cubicBezTo>
                <a:close/>
                <a:moveTo>
                  <a:pt x="1075977" y="2745074"/>
                </a:moveTo>
                <a:cubicBezTo>
                  <a:pt x="1078693" y="2745074"/>
                  <a:pt x="1080914" y="2747297"/>
                  <a:pt x="1080914" y="2750011"/>
                </a:cubicBezTo>
                <a:cubicBezTo>
                  <a:pt x="1080914" y="2752726"/>
                  <a:pt x="1078693" y="2754947"/>
                  <a:pt x="1075977" y="2754947"/>
                </a:cubicBezTo>
                <a:cubicBezTo>
                  <a:pt x="1073261" y="2754947"/>
                  <a:pt x="1071040" y="2752726"/>
                  <a:pt x="1071040" y="2750011"/>
                </a:cubicBezTo>
                <a:cubicBezTo>
                  <a:pt x="1071040" y="2747297"/>
                  <a:pt x="1073261" y="2745074"/>
                  <a:pt x="1075977" y="2745074"/>
                </a:cubicBezTo>
                <a:close/>
                <a:moveTo>
                  <a:pt x="56804" y="2744333"/>
                </a:moveTo>
                <a:cubicBezTo>
                  <a:pt x="58283" y="2744333"/>
                  <a:pt x="59765" y="2745567"/>
                  <a:pt x="59765" y="2747295"/>
                </a:cubicBezTo>
                <a:cubicBezTo>
                  <a:pt x="59765" y="2749024"/>
                  <a:pt x="58283" y="2750257"/>
                  <a:pt x="56804" y="2750257"/>
                </a:cubicBezTo>
                <a:cubicBezTo>
                  <a:pt x="55321" y="2750257"/>
                  <a:pt x="54088" y="2749024"/>
                  <a:pt x="54088" y="2747295"/>
                </a:cubicBezTo>
                <a:cubicBezTo>
                  <a:pt x="54088" y="2745815"/>
                  <a:pt x="55321" y="2744333"/>
                  <a:pt x="56804" y="2744333"/>
                </a:cubicBezTo>
                <a:close/>
                <a:moveTo>
                  <a:pt x="743255" y="2738409"/>
                </a:moveTo>
                <a:cubicBezTo>
                  <a:pt x="745231" y="2738409"/>
                  <a:pt x="746711" y="2739889"/>
                  <a:pt x="746711" y="2741866"/>
                </a:cubicBezTo>
                <a:cubicBezTo>
                  <a:pt x="746958" y="2743841"/>
                  <a:pt x="745231" y="2745321"/>
                  <a:pt x="743255" y="2745321"/>
                </a:cubicBezTo>
                <a:cubicBezTo>
                  <a:pt x="741280" y="2745321"/>
                  <a:pt x="739799" y="2743841"/>
                  <a:pt x="739799" y="2741866"/>
                </a:cubicBezTo>
                <a:cubicBezTo>
                  <a:pt x="739799" y="2739889"/>
                  <a:pt x="741280" y="2738409"/>
                  <a:pt x="743255" y="2738409"/>
                </a:cubicBezTo>
                <a:close/>
                <a:moveTo>
                  <a:pt x="1617798" y="2736683"/>
                </a:moveTo>
                <a:cubicBezTo>
                  <a:pt x="1622981" y="2736683"/>
                  <a:pt x="1627423" y="2740879"/>
                  <a:pt x="1627423" y="2746310"/>
                </a:cubicBezTo>
                <a:cubicBezTo>
                  <a:pt x="1627423" y="2751493"/>
                  <a:pt x="1622981" y="2755935"/>
                  <a:pt x="1617798" y="2755935"/>
                </a:cubicBezTo>
                <a:cubicBezTo>
                  <a:pt x="1612612" y="2755935"/>
                  <a:pt x="1608170" y="2751740"/>
                  <a:pt x="1608170" y="2746310"/>
                </a:cubicBezTo>
                <a:cubicBezTo>
                  <a:pt x="1608170" y="2741127"/>
                  <a:pt x="1612366" y="2736683"/>
                  <a:pt x="1617798" y="2736683"/>
                </a:cubicBezTo>
                <a:close/>
                <a:moveTo>
                  <a:pt x="172570" y="2734708"/>
                </a:moveTo>
                <a:cubicBezTo>
                  <a:pt x="174049" y="2734708"/>
                  <a:pt x="175283" y="2735942"/>
                  <a:pt x="175283" y="2737424"/>
                </a:cubicBezTo>
                <a:cubicBezTo>
                  <a:pt x="175283" y="2738904"/>
                  <a:pt x="174049" y="2740140"/>
                  <a:pt x="172570" y="2740140"/>
                </a:cubicBezTo>
                <a:cubicBezTo>
                  <a:pt x="171087" y="2740140"/>
                  <a:pt x="170100" y="2738904"/>
                  <a:pt x="170100" y="2737424"/>
                </a:cubicBezTo>
                <a:cubicBezTo>
                  <a:pt x="170100" y="2735942"/>
                  <a:pt x="171334" y="2734708"/>
                  <a:pt x="172570" y="2734708"/>
                </a:cubicBezTo>
                <a:close/>
                <a:moveTo>
                  <a:pt x="1399096" y="2726068"/>
                </a:moveTo>
                <a:cubicBezTo>
                  <a:pt x="1403291" y="2726068"/>
                  <a:pt x="1406499" y="2729276"/>
                  <a:pt x="1406499" y="2733474"/>
                </a:cubicBezTo>
                <a:cubicBezTo>
                  <a:pt x="1406499" y="2737421"/>
                  <a:pt x="1403291" y="2740878"/>
                  <a:pt x="1399096" y="2740878"/>
                </a:cubicBezTo>
                <a:cubicBezTo>
                  <a:pt x="1395144" y="2740878"/>
                  <a:pt x="1391689" y="2737670"/>
                  <a:pt x="1391689" y="2733474"/>
                </a:cubicBezTo>
                <a:cubicBezTo>
                  <a:pt x="1391689" y="2729276"/>
                  <a:pt x="1394897" y="2726068"/>
                  <a:pt x="1399096" y="2726068"/>
                </a:cubicBezTo>
                <a:close/>
                <a:moveTo>
                  <a:pt x="288088" y="2721132"/>
                </a:moveTo>
                <a:cubicBezTo>
                  <a:pt x="289321" y="2721132"/>
                  <a:pt x="290555" y="2722119"/>
                  <a:pt x="290555" y="2723599"/>
                </a:cubicBezTo>
                <a:cubicBezTo>
                  <a:pt x="290555" y="2725081"/>
                  <a:pt x="289567" y="2726069"/>
                  <a:pt x="288088" y="2726069"/>
                </a:cubicBezTo>
                <a:cubicBezTo>
                  <a:pt x="286852" y="2726069"/>
                  <a:pt x="285618" y="2725081"/>
                  <a:pt x="285618" y="2723599"/>
                </a:cubicBezTo>
                <a:cubicBezTo>
                  <a:pt x="285618" y="2722366"/>
                  <a:pt x="286605" y="2721132"/>
                  <a:pt x="288088" y="2721132"/>
                </a:cubicBezTo>
                <a:close/>
                <a:moveTo>
                  <a:pt x="855068" y="2706322"/>
                </a:moveTo>
                <a:cubicBezTo>
                  <a:pt x="857046" y="2706322"/>
                  <a:pt x="858526" y="2707802"/>
                  <a:pt x="858526" y="2709777"/>
                </a:cubicBezTo>
                <a:cubicBezTo>
                  <a:pt x="858526" y="2711754"/>
                  <a:pt x="857046" y="2713234"/>
                  <a:pt x="855068" y="2713234"/>
                </a:cubicBezTo>
                <a:cubicBezTo>
                  <a:pt x="853096" y="2713234"/>
                  <a:pt x="851614" y="2711754"/>
                  <a:pt x="851614" y="2709777"/>
                </a:cubicBezTo>
                <a:cubicBezTo>
                  <a:pt x="851614" y="2707802"/>
                  <a:pt x="853096" y="2706322"/>
                  <a:pt x="855068" y="2706322"/>
                </a:cubicBezTo>
                <a:close/>
                <a:moveTo>
                  <a:pt x="403108" y="2703606"/>
                </a:moveTo>
                <a:cubicBezTo>
                  <a:pt x="404342" y="2703606"/>
                  <a:pt x="405332" y="2704594"/>
                  <a:pt x="405332" y="2705827"/>
                </a:cubicBezTo>
                <a:cubicBezTo>
                  <a:pt x="405083" y="2707063"/>
                  <a:pt x="404096" y="2708048"/>
                  <a:pt x="403108" y="2708048"/>
                </a:cubicBezTo>
                <a:cubicBezTo>
                  <a:pt x="401875" y="2708048"/>
                  <a:pt x="400887" y="2707063"/>
                  <a:pt x="400887" y="2705827"/>
                </a:cubicBezTo>
                <a:cubicBezTo>
                  <a:pt x="400887" y="2704594"/>
                  <a:pt x="401875" y="2703606"/>
                  <a:pt x="403108" y="2703606"/>
                </a:cubicBezTo>
                <a:close/>
                <a:moveTo>
                  <a:pt x="1184341" y="2703360"/>
                </a:moveTo>
                <a:cubicBezTo>
                  <a:pt x="1187057" y="2703360"/>
                  <a:pt x="1189278" y="2705581"/>
                  <a:pt x="1189278" y="2708297"/>
                </a:cubicBezTo>
                <a:cubicBezTo>
                  <a:pt x="1189278" y="2711013"/>
                  <a:pt x="1187057" y="2713234"/>
                  <a:pt x="1184341" y="2713234"/>
                </a:cubicBezTo>
                <a:cubicBezTo>
                  <a:pt x="1181625" y="2713234"/>
                  <a:pt x="1179404" y="2711013"/>
                  <a:pt x="1179404" y="2708297"/>
                </a:cubicBezTo>
                <a:cubicBezTo>
                  <a:pt x="1179404" y="2705581"/>
                  <a:pt x="1181625" y="2703360"/>
                  <a:pt x="1184341" y="2703360"/>
                </a:cubicBezTo>
                <a:close/>
                <a:moveTo>
                  <a:pt x="1924364" y="2689783"/>
                </a:moveTo>
                <a:cubicBezTo>
                  <a:pt x="1927321" y="2689783"/>
                  <a:pt x="1930034" y="2692253"/>
                  <a:pt x="1930034" y="2695215"/>
                </a:cubicBezTo>
                <a:cubicBezTo>
                  <a:pt x="1930034" y="2698174"/>
                  <a:pt x="1927321" y="2700644"/>
                  <a:pt x="1924364" y="2700644"/>
                </a:cubicBezTo>
                <a:cubicBezTo>
                  <a:pt x="1921404" y="2700644"/>
                  <a:pt x="1918936" y="2698174"/>
                  <a:pt x="1918936" y="2695215"/>
                </a:cubicBezTo>
                <a:cubicBezTo>
                  <a:pt x="1918936" y="2692253"/>
                  <a:pt x="1921404" y="2689783"/>
                  <a:pt x="1924364" y="2689783"/>
                </a:cubicBezTo>
                <a:close/>
                <a:moveTo>
                  <a:pt x="2125001" y="2684600"/>
                </a:moveTo>
                <a:cubicBezTo>
                  <a:pt x="2130184" y="2684600"/>
                  <a:pt x="2134133" y="2688796"/>
                  <a:pt x="2134133" y="2693732"/>
                </a:cubicBezTo>
                <a:cubicBezTo>
                  <a:pt x="2134133" y="2698669"/>
                  <a:pt x="2129938" y="2702864"/>
                  <a:pt x="2125001" y="2702864"/>
                </a:cubicBezTo>
                <a:cubicBezTo>
                  <a:pt x="2120065" y="2702864"/>
                  <a:pt x="2115869" y="2698669"/>
                  <a:pt x="2115869" y="2693732"/>
                </a:cubicBezTo>
                <a:cubicBezTo>
                  <a:pt x="2115869" y="2688549"/>
                  <a:pt x="2120065" y="2684600"/>
                  <a:pt x="2125001" y="2684600"/>
                </a:cubicBezTo>
                <a:close/>
                <a:moveTo>
                  <a:pt x="517146" y="2682379"/>
                </a:moveTo>
                <a:cubicBezTo>
                  <a:pt x="518133" y="2682379"/>
                  <a:pt x="519120" y="2683366"/>
                  <a:pt x="519120" y="2684354"/>
                </a:cubicBezTo>
                <a:cubicBezTo>
                  <a:pt x="519120" y="2685341"/>
                  <a:pt x="518379" y="2686328"/>
                  <a:pt x="517146" y="2686328"/>
                </a:cubicBezTo>
                <a:cubicBezTo>
                  <a:pt x="516159" y="2686328"/>
                  <a:pt x="515172" y="2685587"/>
                  <a:pt x="515172" y="2684354"/>
                </a:cubicBezTo>
                <a:cubicBezTo>
                  <a:pt x="515172" y="2683366"/>
                  <a:pt x="516159" y="2682379"/>
                  <a:pt x="517146" y="2682379"/>
                </a:cubicBezTo>
                <a:close/>
                <a:moveTo>
                  <a:pt x="1719988" y="2680405"/>
                </a:moveTo>
                <a:cubicBezTo>
                  <a:pt x="1725420" y="2680405"/>
                  <a:pt x="1730110" y="2684849"/>
                  <a:pt x="1730110" y="2690525"/>
                </a:cubicBezTo>
                <a:cubicBezTo>
                  <a:pt x="1729862" y="2695956"/>
                  <a:pt x="1725420" y="2700398"/>
                  <a:pt x="1719988" y="2700398"/>
                </a:cubicBezTo>
                <a:cubicBezTo>
                  <a:pt x="1714558" y="2700398"/>
                  <a:pt x="1710116" y="2695956"/>
                  <a:pt x="1710116" y="2690525"/>
                </a:cubicBezTo>
                <a:cubicBezTo>
                  <a:pt x="1710116" y="2685096"/>
                  <a:pt x="1714558" y="2680405"/>
                  <a:pt x="1719988" y="2680405"/>
                </a:cubicBezTo>
                <a:close/>
                <a:moveTo>
                  <a:pt x="1503507" y="2675219"/>
                </a:moveTo>
                <a:cubicBezTo>
                  <a:pt x="1507703" y="2675219"/>
                  <a:pt x="1511157" y="2678676"/>
                  <a:pt x="1511157" y="2682871"/>
                </a:cubicBezTo>
                <a:cubicBezTo>
                  <a:pt x="1511406" y="2687067"/>
                  <a:pt x="1507949" y="2690521"/>
                  <a:pt x="1503507" y="2690521"/>
                </a:cubicBezTo>
                <a:cubicBezTo>
                  <a:pt x="1499309" y="2690521"/>
                  <a:pt x="1495855" y="2687067"/>
                  <a:pt x="1495855" y="2682871"/>
                </a:cubicBezTo>
                <a:cubicBezTo>
                  <a:pt x="1495855" y="2678676"/>
                  <a:pt x="1499309" y="2675219"/>
                  <a:pt x="1503507" y="2675219"/>
                </a:cubicBezTo>
                <a:close/>
                <a:moveTo>
                  <a:pt x="965405" y="2670531"/>
                </a:moveTo>
                <a:cubicBezTo>
                  <a:pt x="967134" y="2670531"/>
                  <a:pt x="968862" y="2672011"/>
                  <a:pt x="968862" y="2673988"/>
                </a:cubicBezTo>
                <a:cubicBezTo>
                  <a:pt x="969109" y="2675963"/>
                  <a:pt x="967383" y="2677443"/>
                  <a:pt x="965405" y="2677443"/>
                </a:cubicBezTo>
                <a:cubicBezTo>
                  <a:pt x="963433" y="2677443"/>
                  <a:pt x="961951" y="2675963"/>
                  <a:pt x="961951" y="2673988"/>
                </a:cubicBezTo>
                <a:cubicBezTo>
                  <a:pt x="961951" y="2672011"/>
                  <a:pt x="963679" y="2670531"/>
                  <a:pt x="965405" y="2670531"/>
                </a:cubicBezTo>
                <a:close/>
                <a:moveTo>
                  <a:pt x="1291222" y="2657942"/>
                </a:moveTo>
                <a:cubicBezTo>
                  <a:pt x="1294185" y="2657942"/>
                  <a:pt x="1296406" y="2660166"/>
                  <a:pt x="1296406" y="2663125"/>
                </a:cubicBezTo>
                <a:cubicBezTo>
                  <a:pt x="1296406" y="2665841"/>
                  <a:pt x="1294185" y="2668311"/>
                  <a:pt x="1291222" y="2668311"/>
                </a:cubicBezTo>
                <a:cubicBezTo>
                  <a:pt x="1288260" y="2668311"/>
                  <a:pt x="1286039" y="2666087"/>
                  <a:pt x="1286039" y="2663125"/>
                </a:cubicBezTo>
                <a:cubicBezTo>
                  <a:pt x="1286039" y="2660166"/>
                  <a:pt x="1288260" y="2657942"/>
                  <a:pt x="1291222" y="2657942"/>
                </a:cubicBezTo>
                <a:close/>
                <a:moveTo>
                  <a:pt x="630698" y="2656955"/>
                </a:moveTo>
                <a:cubicBezTo>
                  <a:pt x="631685" y="2656955"/>
                  <a:pt x="632424" y="2657696"/>
                  <a:pt x="632424" y="2658683"/>
                </a:cubicBezTo>
                <a:cubicBezTo>
                  <a:pt x="632424" y="2659671"/>
                  <a:pt x="631685" y="2660409"/>
                  <a:pt x="630698" y="2660409"/>
                </a:cubicBezTo>
                <a:cubicBezTo>
                  <a:pt x="629710" y="2660409"/>
                  <a:pt x="628969" y="2659671"/>
                  <a:pt x="628969" y="2658683"/>
                </a:cubicBezTo>
                <a:cubicBezTo>
                  <a:pt x="628969" y="2657696"/>
                  <a:pt x="629710" y="2656955"/>
                  <a:pt x="630698" y="2656955"/>
                </a:cubicBezTo>
                <a:close/>
                <a:moveTo>
                  <a:pt x="56060" y="2635974"/>
                </a:moveTo>
                <a:cubicBezTo>
                  <a:pt x="57540" y="2635974"/>
                  <a:pt x="58776" y="2637208"/>
                  <a:pt x="58776" y="2638690"/>
                </a:cubicBezTo>
                <a:cubicBezTo>
                  <a:pt x="59022" y="2640170"/>
                  <a:pt x="57789" y="2641406"/>
                  <a:pt x="56060" y="2641406"/>
                </a:cubicBezTo>
                <a:cubicBezTo>
                  <a:pt x="54578" y="2641406"/>
                  <a:pt x="53345" y="2640170"/>
                  <a:pt x="53345" y="2638690"/>
                </a:cubicBezTo>
                <a:cubicBezTo>
                  <a:pt x="53345" y="2637208"/>
                  <a:pt x="54578" y="2635974"/>
                  <a:pt x="56060" y="2635974"/>
                </a:cubicBezTo>
                <a:close/>
                <a:moveTo>
                  <a:pt x="1074743" y="2631038"/>
                </a:moveTo>
                <a:cubicBezTo>
                  <a:pt x="1076718" y="2631038"/>
                  <a:pt x="1078197" y="2632518"/>
                  <a:pt x="1078197" y="2634495"/>
                </a:cubicBezTo>
                <a:cubicBezTo>
                  <a:pt x="1078197" y="2636470"/>
                  <a:pt x="1076718" y="2638196"/>
                  <a:pt x="1074743" y="2638196"/>
                </a:cubicBezTo>
                <a:cubicBezTo>
                  <a:pt x="1072768" y="2638196"/>
                  <a:pt x="1071039" y="2636716"/>
                  <a:pt x="1071039" y="2634495"/>
                </a:cubicBezTo>
                <a:cubicBezTo>
                  <a:pt x="1071039" y="2632518"/>
                  <a:pt x="1072768" y="2631038"/>
                  <a:pt x="1074743" y="2631038"/>
                </a:cubicBezTo>
                <a:close/>
                <a:moveTo>
                  <a:pt x="743006" y="2628076"/>
                </a:moveTo>
                <a:cubicBezTo>
                  <a:pt x="743746" y="2628076"/>
                  <a:pt x="744487" y="2628817"/>
                  <a:pt x="744487" y="2629556"/>
                </a:cubicBezTo>
                <a:cubicBezTo>
                  <a:pt x="744487" y="2630297"/>
                  <a:pt x="743992" y="2631038"/>
                  <a:pt x="743006" y="2631038"/>
                </a:cubicBezTo>
                <a:cubicBezTo>
                  <a:pt x="742265" y="2631038"/>
                  <a:pt x="741522" y="2630297"/>
                  <a:pt x="741522" y="2629556"/>
                </a:cubicBezTo>
                <a:cubicBezTo>
                  <a:pt x="741522" y="2628817"/>
                  <a:pt x="742265" y="2628076"/>
                  <a:pt x="743006" y="2628076"/>
                </a:cubicBezTo>
                <a:close/>
                <a:moveTo>
                  <a:pt x="2022072" y="2626101"/>
                </a:moveTo>
                <a:cubicBezTo>
                  <a:pt x="2025280" y="2626101"/>
                  <a:pt x="2027996" y="2628817"/>
                  <a:pt x="2027996" y="2632025"/>
                </a:cubicBezTo>
                <a:cubicBezTo>
                  <a:pt x="2027996" y="2635482"/>
                  <a:pt x="2025529" y="2637949"/>
                  <a:pt x="2022072" y="2637949"/>
                </a:cubicBezTo>
                <a:cubicBezTo>
                  <a:pt x="2018864" y="2637949"/>
                  <a:pt x="2016148" y="2635233"/>
                  <a:pt x="2016148" y="2632025"/>
                </a:cubicBezTo>
                <a:cubicBezTo>
                  <a:pt x="2016148" y="2628817"/>
                  <a:pt x="2018864" y="2626101"/>
                  <a:pt x="2022072" y="2626101"/>
                </a:cubicBezTo>
                <a:close/>
                <a:moveTo>
                  <a:pt x="172070" y="2626101"/>
                </a:moveTo>
                <a:cubicBezTo>
                  <a:pt x="173552" y="2626101"/>
                  <a:pt x="174539" y="2627335"/>
                  <a:pt x="174539" y="2628571"/>
                </a:cubicBezTo>
                <a:cubicBezTo>
                  <a:pt x="174539" y="2629804"/>
                  <a:pt x="173552" y="2631038"/>
                  <a:pt x="172070" y="2631038"/>
                </a:cubicBezTo>
                <a:cubicBezTo>
                  <a:pt x="170590" y="2631038"/>
                  <a:pt x="169603" y="2630050"/>
                  <a:pt x="169603" y="2628571"/>
                </a:cubicBezTo>
                <a:cubicBezTo>
                  <a:pt x="169603" y="2627088"/>
                  <a:pt x="170590" y="2626101"/>
                  <a:pt x="172070" y="2626101"/>
                </a:cubicBezTo>
                <a:close/>
                <a:moveTo>
                  <a:pt x="1820442" y="2621411"/>
                </a:moveTo>
                <a:cubicBezTo>
                  <a:pt x="1826119" y="2621411"/>
                  <a:pt x="1830813" y="2626102"/>
                  <a:pt x="1830813" y="2631777"/>
                </a:cubicBezTo>
                <a:cubicBezTo>
                  <a:pt x="1830813" y="2637455"/>
                  <a:pt x="1826119" y="2642146"/>
                  <a:pt x="1820442" y="2642146"/>
                </a:cubicBezTo>
                <a:cubicBezTo>
                  <a:pt x="1814768" y="2642146"/>
                  <a:pt x="1810081" y="2637455"/>
                  <a:pt x="1810081" y="2631777"/>
                </a:cubicBezTo>
                <a:cubicBezTo>
                  <a:pt x="1810081" y="2626102"/>
                  <a:pt x="1814768" y="2621411"/>
                  <a:pt x="1820442" y="2621411"/>
                </a:cubicBezTo>
                <a:close/>
                <a:moveTo>
                  <a:pt x="1606442" y="2621164"/>
                </a:moveTo>
                <a:cubicBezTo>
                  <a:pt x="1610887" y="2621164"/>
                  <a:pt x="1614588" y="2624867"/>
                  <a:pt x="1614588" y="2629309"/>
                </a:cubicBezTo>
                <a:cubicBezTo>
                  <a:pt x="1614588" y="2633754"/>
                  <a:pt x="1610887" y="2637208"/>
                  <a:pt x="1606442" y="2637208"/>
                </a:cubicBezTo>
                <a:cubicBezTo>
                  <a:pt x="1601998" y="2637208"/>
                  <a:pt x="1598543" y="2633507"/>
                  <a:pt x="1598543" y="2629309"/>
                </a:cubicBezTo>
                <a:cubicBezTo>
                  <a:pt x="1598543" y="2624867"/>
                  <a:pt x="1601998" y="2621164"/>
                  <a:pt x="1606442" y="2621164"/>
                </a:cubicBezTo>
                <a:close/>
                <a:moveTo>
                  <a:pt x="2220032" y="2616228"/>
                </a:moveTo>
                <a:cubicBezTo>
                  <a:pt x="2225463" y="2616228"/>
                  <a:pt x="2230154" y="2620670"/>
                  <a:pt x="2230154" y="2626348"/>
                </a:cubicBezTo>
                <a:cubicBezTo>
                  <a:pt x="2229905" y="2632025"/>
                  <a:pt x="2225463" y="2636467"/>
                  <a:pt x="2220032" y="2636467"/>
                </a:cubicBezTo>
                <a:cubicBezTo>
                  <a:pt x="2214603" y="2636467"/>
                  <a:pt x="2209912" y="2632025"/>
                  <a:pt x="2209912" y="2626348"/>
                </a:cubicBezTo>
                <a:cubicBezTo>
                  <a:pt x="2209912" y="2620916"/>
                  <a:pt x="2214354" y="2616228"/>
                  <a:pt x="2220032" y="2616228"/>
                </a:cubicBezTo>
                <a:close/>
                <a:moveTo>
                  <a:pt x="287591" y="2612032"/>
                </a:moveTo>
                <a:cubicBezTo>
                  <a:pt x="288825" y="2612032"/>
                  <a:pt x="289812" y="2613020"/>
                  <a:pt x="289812" y="2614253"/>
                </a:cubicBezTo>
                <a:cubicBezTo>
                  <a:pt x="289812" y="2615487"/>
                  <a:pt x="288825" y="2616474"/>
                  <a:pt x="287591" y="2616474"/>
                </a:cubicBezTo>
                <a:cubicBezTo>
                  <a:pt x="286357" y="2616474"/>
                  <a:pt x="285370" y="2615487"/>
                  <a:pt x="285370" y="2614253"/>
                </a:cubicBezTo>
                <a:cubicBezTo>
                  <a:pt x="285370" y="2613020"/>
                  <a:pt x="286357" y="2612032"/>
                  <a:pt x="287591" y="2612032"/>
                </a:cubicBezTo>
                <a:close/>
                <a:moveTo>
                  <a:pt x="1396624" y="2609316"/>
                </a:moveTo>
                <a:cubicBezTo>
                  <a:pt x="1399586" y="2609316"/>
                  <a:pt x="1402053" y="2611786"/>
                  <a:pt x="1402053" y="2614748"/>
                </a:cubicBezTo>
                <a:cubicBezTo>
                  <a:pt x="1402053" y="2617461"/>
                  <a:pt x="1399586" y="2619931"/>
                  <a:pt x="1396624" y="2619931"/>
                </a:cubicBezTo>
                <a:cubicBezTo>
                  <a:pt x="1393662" y="2619931"/>
                  <a:pt x="1391192" y="2617461"/>
                  <a:pt x="1391192" y="2614748"/>
                </a:cubicBezTo>
                <a:cubicBezTo>
                  <a:pt x="1391192" y="2611786"/>
                  <a:pt x="1393662" y="2609316"/>
                  <a:pt x="1396624" y="2609316"/>
                </a:cubicBezTo>
                <a:close/>
                <a:moveTo>
                  <a:pt x="402367" y="2593765"/>
                </a:moveTo>
                <a:cubicBezTo>
                  <a:pt x="403354" y="2593765"/>
                  <a:pt x="404341" y="2594752"/>
                  <a:pt x="404341" y="2595740"/>
                </a:cubicBezTo>
                <a:cubicBezTo>
                  <a:pt x="404341" y="2596973"/>
                  <a:pt x="403600" y="2597714"/>
                  <a:pt x="402367" y="2597714"/>
                </a:cubicBezTo>
                <a:cubicBezTo>
                  <a:pt x="401380" y="2597714"/>
                  <a:pt x="400392" y="2596727"/>
                  <a:pt x="400392" y="2595740"/>
                </a:cubicBezTo>
                <a:cubicBezTo>
                  <a:pt x="400392" y="2594752"/>
                  <a:pt x="401380" y="2593765"/>
                  <a:pt x="402367" y="2593765"/>
                </a:cubicBezTo>
                <a:close/>
                <a:moveTo>
                  <a:pt x="854575" y="2592778"/>
                </a:moveTo>
                <a:cubicBezTo>
                  <a:pt x="856552" y="2592778"/>
                  <a:pt x="858032" y="2594258"/>
                  <a:pt x="858032" y="2596233"/>
                </a:cubicBezTo>
                <a:cubicBezTo>
                  <a:pt x="858032" y="2598210"/>
                  <a:pt x="856552" y="2599690"/>
                  <a:pt x="854575" y="2599690"/>
                </a:cubicBezTo>
                <a:cubicBezTo>
                  <a:pt x="852599" y="2599690"/>
                  <a:pt x="851120" y="2598210"/>
                  <a:pt x="851120" y="2596233"/>
                </a:cubicBezTo>
                <a:cubicBezTo>
                  <a:pt x="851120" y="2594258"/>
                  <a:pt x="852599" y="2592778"/>
                  <a:pt x="854575" y="2592778"/>
                </a:cubicBezTo>
                <a:close/>
                <a:moveTo>
                  <a:pt x="1182613" y="2588087"/>
                </a:moveTo>
                <a:cubicBezTo>
                  <a:pt x="1184588" y="2588087"/>
                  <a:pt x="1186068" y="2589816"/>
                  <a:pt x="1186068" y="2591791"/>
                </a:cubicBezTo>
                <a:cubicBezTo>
                  <a:pt x="1186317" y="2593519"/>
                  <a:pt x="1184588" y="2595245"/>
                  <a:pt x="1182613" y="2595245"/>
                </a:cubicBezTo>
                <a:cubicBezTo>
                  <a:pt x="1180639" y="2595245"/>
                  <a:pt x="1178910" y="2593765"/>
                  <a:pt x="1178910" y="2591791"/>
                </a:cubicBezTo>
                <a:cubicBezTo>
                  <a:pt x="1178910" y="2589816"/>
                  <a:pt x="1180639" y="2588087"/>
                  <a:pt x="1182613" y="2588087"/>
                </a:cubicBezTo>
                <a:close/>
                <a:moveTo>
                  <a:pt x="516652" y="2571798"/>
                </a:moveTo>
                <a:cubicBezTo>
                  <a:pt x="517639" y="2571798"/>
                  <a:pt x="518378" y="2572539"/>
                  <a:pt x="518378" y="2573526"/>
                </a:cubicBezTo>
                <a:cubicBezTo>
                  <a:pt x="518378" y="2574514"/>
                  <a:pt x="517639" y="2575255"/>
                  <a:pt x="516652" y="2575255"/>
                </a:cubicBezTo>
                <a:cubicBezTo>
                  <a:pt x="515665" y="2575255"/>
                  <a:pt x="514924" y="2574514"/>
                  <a:pt x="514924" y="2573526"/>
                </a:cubicBezTo>
                <a:cubicBezTo>
                  <a:pt x="514924" y="2572539"/>
                  <a:pt x="515665" y="2571798"/>
                  <a:pt x="516652" y="2571798"/>
                </a:cubicBezTo>
                <a:close/>
                <a:moveTo>
                  <a:pt x="1707644" y="2563899"/>
                </a:moveTo>
                <a:cubicBezTo>
                  <a:pt x="1712334" y="2563899"/>
                  <a:pt x="1716037" y="2567602"/>
                  <a:pt x="1716037" y="2572290"/>
                </a:cubicBezTo>
                <a:cubicBezTo>
                  <a:pt x="1715791" y="2576981"/>
                  <a:pt x="1712086" y="2580684"/>
                  <a:pt x="1707644" y="2580684"/>
                </a:cubicBezTo>
                <a:cubicBezTo>
                  <a:pt x="1703201" y="2580684"/>
                  <a:pt x="1699253" y="2576981"/>
                  <a:pt x="1699253" y="2572290"/>
                </a:cubicBezTo>
                <a:cubicBezTo>
                  <a:pt x="1699253" y="2567849"/>
                  <a:pt x="1702956" y="2563899"/>
                  <a:pt x="1707644" y="2563899"/>
                </a:cubicBezTo>
                <a:close/>
                <a:moveTo>
                  <a:pt x="2118090" y="2559703"/>
                </a:moveTo>
                <a:cubicBezTo>
                  <a:pt x="2121545" y="2559703"/>
                  <a:pt x="2124507" y="2562665"/>
                  <a:pt x="2124507" y="2566120"/>
                </a:cubicBezTo>
                <a:cubicBezTo>
                  <a:pt x="2124507" y="2569577"/>
                  <a:pt x="2121545" y="2572539"/>
                  <a:pt x="2118090" y="2572539"/>
                </a:cubicBezTo>
                <a:cubicBezTo>
                  <a:pt x="2114633" y="2572539"/>
                  <a:pt x="2111671" y="2569577"/>
                  <a:pt x="2111671" y="2566120"/>
                </a:cubicBezTo>
                <a:cubicBezTo>
                  <a:pt x="2111671" y="2562665"/>
                  <a:pt x="2114633" y="2559703"/>
                  <a:pt x="2118090" y="2559703"/>
                </a:cubicBezTo>
                <a:close/>
                <a:moveTo>
                  <a:pt x="1919180" y="2558713"/>
                </a:moveTo>
                <a:cubicBezTo>
                  <a:pt x="1925345" y="2558713"/>
                  <a:pt x="1930281" y="2563650"/>
                  <a:pt x="1930281" y="2569820"/>
                </a:cubicBezTo>
                <a:cubicBezTo>
                  <a:pt x="1930281" y="2575993"/>
                  <a:pt x="1925345" y="2580927"/>
                  <a:pt x="1919180" y="2580927"/>
                </a:cubicBezTo>
                <a:cubicBezTo>
                  <a:pt x="1913014" y="2580927"/>
                  <a:pt x="1908080" y="2575993"/>
                  <a:pt x="1908080" y="2569820"/>
                </a:cubicBezTo>
                <a:cubicBezTo>
                  <a:pt x="1908080" y="2563650"/>
                  <a:pt x="1913014" y="2558713"/>
                  <a:pt x="1919180" y="2558713"/>
                </a:cubicBezTo>
                <a:close/>
                <a:moveTo>
                  <a:pt x="1500545" y="2557234"/>
                </a:moveTo>
                <a:cubicBezTo>
                  <a:pt x="1503505" y="2557234"/>
                  <a:pt x="1505975" y="2559704"/>
                  <a:pt x="1505975" y="2562666"/>
                </a:cubicBezTo>
                <a:cubicBezTo>
                  <a:pt x="1505975" y="2565625"/>
                  <a:pt x="1503505" y="2568095"/>
                  <a:pt x="1500545" y="2568095"/>
                </a:cubicBezTo>
                <a:cubicBezTo>
                  <a:pt x="1497583" y="2568095"/>
                  <a:pt x="1495113" y="2565625"/>
                  <a:pt x="1495113" y="2562666"/>
                </a:cubicBezTo>
                <a:cubicBezTo>
                  <a:pt x="1495113" y="2559704"/>
                  <a:pt x="1497583" y="2557234"/>
                  <a:pt x="1500545" y="2557234"/>
                </a:cubicBezTo>
                <a:close/>
                <a:moveTo>
                  <a:pt x="964662" y="2556000"/>
                </a:moveTo>
                <a:cubicBezTo>
                  <a:pt x="966390" y="2556000"/>
                  <a:pt x="967869" y="2557480"/>
                  <a:pt x="967869" y="2559208"/>
                </a:cubicBezTo>
                <a:cubicBezTo>
                  <a:pt x="967869" y="2561183"/>
                  <a:pt x="966390" y="2562416"/>
                  <a:pt x="964662" y="2562416"/>
                </a:cubicBezTo>
                <a:cubicBezTo>
                  <a:pt x="962933" y="2562416"/>
                  <a:pt x="961453" y="2560937"/>
                  <a:pt x="961453" y="2559208"/>
                </a:cubicBezTo>
                <a:cubicBezTo>
                  <a:pt x="961453" y="2557480"/>
                  <a:pt x="962933" y="2556000"/>
                  <a:pt x="964662" y="2556000"/>
                </a:cubicBezTo>
                <a:close/>
                <a:moveTo>
                  <a:pt x="2313088" y="2545881"/>
                </a:moveTo>
                <a:cubicBezTo>
                  <a:pt x="2319012" y="2545881"/>
                  <a:pt x="2323948" y="2550818"/>
                  <a:pt x="2323948" y="2556742"/>
                </a:cubicBezTo>
                <a:cubicBezTo>
                  <a:pt x="2323948" y="2562666"/>
                  <a:pt x="2319012" y="2567602"/>
                  <a:pt x="2313088" y="2567602"/>
                </a:cubicBezTo>
                <a:cubicBezTo>
                  <a:pt x="2307164" y="2567602"/>
                  <a:pt x="2302227" y="2562666"/>
                  <a:pt x="2302227" y="2556742"/>
                </a:cubicBezTo>
                <a:cubicBezTo>
                  <a:pt x="2302227" y="2550818"/>
                  <a:pt x="2307164" y="2545881"/>
                  <a:pt x="2313088" y="2545881"/>
                </a:cubicBezTo>
                <a:close/>
                <a:moveTo>
                  <a:pt x="629951" y="2545632"/>
                </a:moveTo>
                <a:cubicBezTo>
                  <a:pt x="630693" y="2545632"/>
                  <a:pt x="631433" y="2546373"/>
                  <a:pt x="631433" y="2547112"/>
                </a:cubicBezTo>
                <a:cubicBezTo>
                  <a:pt x="631433" y="2547853"/>
                  <a:pt x="630693" y="2548594"/>
                  <a:pt x="629951" y="2548594"/>
                </a:cubicBezTo>
                <a:cubicBezTo>
                  <a:pt x="629213" y="2548594"/>
                  <a:pt x="628472" y="2547853"/>
                  <a:pt x="628472" y="2547112"/>
                </a:cubicBezTo>
                <a:cubicBezTo>
                  <a:pt x="628472" y="2546373"/>
                  <a:pt x="629213" y="2545632"/>
                  <a:pt x="629951" y="2545632"/>
                </a:cubicBezTo>
                <a:close/>
                <a:moveTo>
                  <a:pt x="1289000" y="2541190"/>
                </a:moveTo>
                <a:cubicBezTo>
                  <a:pt x="1290975" y="2541190"/>
                  <a:pt x="1292703" y="2542919"/>
                  <a:pt x="1292703" y="2544893"/>
                </a:cubicBezTo>
                <a:cubicBezTo>
                  <a:pt x="1292703" y="2547114"/>
                  <a:pt x="1290975" y="2548594"/>
                  <a:pt x="1289000" y="2548594"/>
                </a:cubicBezTo>
                <a:cubicBezTo>
                  <a:pt x="1287025" y="2548594"/>
                  <a:pt x="1285296" y="2546868"/>
                  <a:pt x="1285296" y="2544893"/>
                </a:cubicBezTo>
                <a:cubicBezTo>
                  <a:pt x="1285296" y="2542919"/>
                  <a:pt x="1287025" y="2541190"/>
                  <a:pt x="1289000" y="2541190"/>
                </a:cubicBezTo>
                <a:close/>
                <a:moveTo>
                  <a:pt x="56799" y="2526872"/>
                </a:moveTo>
                <a:cubicBezTo>
                  <a:pt x="58279" y="2526872"/>
                  <a:pt x="59761" y="2528106"/>
                  <a:pt x="59761" y="2529834"/>
                </a:cubicBezTo>
                <a:cubicBezTo>
                  <a:pt x="59761" y="2531316"/>
                  <a:pt x="58528" y="2532796"/>
                  <a:pt x="56799" y="2532796"/>
                </a:cubicBezTo>
                <a:cubicBezTo>
                  <a:pt x="55071" y="2532796"/>
                  <a:pt x="53838" y="2531563"/>
                  <a:pt x="53838" y="2529834"/>
                </a:cubicBezTo>
                <a:cubicBezTo>
                  <a:pt x="53838" y="2528106"/>
                  <a:pt x="55071" y="2526872"/>
                  <a:pt x="56799" y="2526872"/>
                </a:cubicBezTo>
                <a:close/>
                <a:moveTo>
                  <a:pt x="172812" y="2516507"/>
                </a:moveTo>
                <a:cubicBezTo>
                  <a:pt x="174291" y="2516507"/>
                  <a:pt x="175527" y="2517741"/>
                  <a:pt x="175527" y="2519223"/>
                </a:cubicBezTo>
                <a:cubicBezTo>
                  <a:pt x="175527" y="2520703"/>
                  <a:pt x="174291" y="2521939"/>
                  <a:pt x="172812" y="2521939"/>
                </a:cubicBezTo>
                <a:cubicBezTo>
                  <a:pt x="171329" y="2521939"/>
                  <a:pt x="170096" y="2520703"/>
                  <a:pt x="170096" y="2519223"/>
                </a:cubicBezTo>
                <a:cubicBezTo>
                  <a:pt x="170096" y="2517741"/>
                  <a:pt x="171329" y="2516507"/>
                  <a:pt x="172812" y="2516507"/>
                </a:cubicBezTo>
                <a:close/>
                <a:moveTo>
                  <a:pt x="1073753" y="2515765"/>
                </a:moveTo>
                <a:cubicBezTo>
                  <a:pt x="1075482" y="2515765"/>
                  <a:pt x="1076715" y="2516999"/>
                  <a:pt x="1076715" y="2518727"/>
                </a:cubicBezTo>
                <a:cubicBezTo>
                  <a:pt x="1076715" y="2520207"/>
                  <a:pt x="1075236" y="2521689"/>
                  <a:pt x="1073753" y="2521689"/>
                </a:cubicBezTo>
                <a:cubicBezTo>
                  <a:pt x="1072025" y="2521689"/>
                  <a:pt x="1070792" y="2520455"/>
                  <a:pt x="1070792" y="2518727"/>
                </a:cubicBezTo>
                <a:cubicBezTo>
                  <a:pt x="1070792" y="2516999"/>
                  <a:pt x="1072025" y="2515765"/>
                  <a:pt x="1073753" y="2515765"/>
                </a:cubicBezTo>
                <a:close/>
                <a:moveTo>
                  <a:pt x="742260" y="2513545"/>
                </a:moveTo>
                <a:cubicBezTo>
                  <a:pt x="744236" y="2513545"/>
                  <a:pt x="745471" y="2515025"/>
                  <a:pt x="745471" y="2517000"/>
                </a:cubicBezTo>
                <a:cubicBezTo>
                  <a:pt x="745718" y="2518728"/>
                  <a:pt x="744236" y="2520211"/>
                  <a:pt x="742260" y="2520211"/>
                </a:cubicBezTo>
                <a:cubicBezTo>
                  <a:pt x="740531" y="2520211"/>
                  <a:pt x="739053" y="2518728"/>
                  <a:pt x="739053" y="2517000"/>
                </a:cubicBezTo>
                <a:cubicBezTo>
                  <a:pt x="739053" y="2515025"/>
                  <a:pt x="740531" y="2513545"/>
                  <a:pt x="742260" y="2513545"/>
                </a:cubicBezTo>
                <a:close/>
                <a:moveTo>
                  <a:pt x="1806867" y="2503671"/>
                </a:moveTo>
                <a:cubicBezTo>
                  <a:pt x="1811804" y="2503671"/>
                  <a:pt x="1815753" y="2507620"/>
                  <a:pt x="1815753" y="2512557"/>
                </a:cubicBezTo>
                <a:cubicBezTo>
                  <a:pt x="1815753" y="2517494"/>
                  <a:pt x="1811804" y="2521443"/>
                  <a:pt x="1806867" y="2521443"/>
                </a:cubicBezTo>
                <a:cubicBezTo>
                  <a:pt x="1801934" y="2521443"/>
                  <a:pt x="1797989" y="2517494"/>
                  <a:pt x="1797989" y="2512557"/>
                </a:cubicBezTo>
                <a:cubicBezTo>
                  <a:pt x="1797989" y="2507620"/>
                  <a:pt x="1801934" y="2503671"/>
                  <a:pt x="1806867" y="2503671"/>
                </a:cubicBezTo>
                <a:close/>
                <a:moveTo>
                  <a:pt x="288330" y="2501943"/>
                </a:moveTo>
                <a:cubicBezTo>
                  <a:pt x="289810" y="2501943"/>
                  <a:pt x="290797" y="2502930"/>
                  <a:pt x="290797" y="2504410"/>
                </a:cubicBezTo>
                <a:cubicBezTo>
                  <a:pt x="290797" y="2505646"/>
                  <a:pt x="289810" y="2506880"/>
                  <a:pt x="288330" y="2506880"/>
                </a:cubicBezTo>
                <a:cubicBezTo>
                  <a:pt x="286847" y="2506880"/>
                  <a:pt x="285860" y="2505892"/>
                  <a:pt x="285860" y="2504410"/>
                </a:cubicBezTo>
                <a:cubicBezTo>
                  <a:pt x="285860" y="2502930"/>
                  <a:pt x="286847" y="2501943"/>
                  <a:pt x="288330" y="2501943"/>
                </a:cubicBezTo>
                <a:close/>
                <a:moveTo>
                  <a:pt x="1602490" y="2501696"/>
                </a:moveTo>
                <a:cubicBezTo>
                  <a:pt x="1605452" y="2501696"/>
                  <a:pt x="1608168" y="2504166"/>
                  <a:pt x="1608168" y="2507374"/>
                </a:cubicBezTo>
                <a:cubicBezTo>
                  <a:pt x="1608168" y="2510582"/>
                  <a:pt x="1605698" y="2513049"/>
                  <a:pt x="1602490" y="2513049"/>
                </a:cubicBezTo>
                <a:cubicBezTo>
                  <a:pt x="1599281" y="2513049"/>
                  <a:pt x="1596812" y="2510582"/>
                  <a:pt x="1596812" y="2507374"/>
                </a:cubicBezTo>
                <a:cubicBezTo>
                  <a:pt x="1596812" y="2504166"/>
                  <a:pt x="1599281" y="2501696"/>
                  <a:pt x="1602490" y="2501696"/>
                </a:cubicBezTo>
                <a:close/>
                <a:moveTo>
                  <a:pt x="2015899" y="2493057"/>
                </a:moveTo>
                <a:cubicBezTo>
                  <a:pt x="2022564" y="2493057"/>
                  <a:pt x="2027996" y="2498489"/>
                  <a:pt x="2027996" y="2505151"/>
                </a:cubicBezTo>
                <a:cubicBezTo>
                  <a:pt x="2027996" y="2511816"/>
                  <a:pt x="2022564" y="2517248"/>
                  <a:pt x="2015899" y="2517248"/>
                </a:cubicBezTo>
                <a:cubicBezTo>
                  <a:pt x="2009237" y="2517248"/>
                  <a:pt x="2003805" y="2511816"/>
                  <a:pt x="2003805" y="2505151"/>
                </a:cubicBezTo>
                <a:cubicBezTo>
                  <a:pt x="2003805" y="2498489"/>
                  <a:pt x="2009237" y="2493057"/>
                  <a:pt x="2015899" y="2493057"/>
                </a:cubicBezTo>
                <a:close/>
                <a:moveTo>
                  <a:pt x="1393908" y="2491328"/>
                </a:moveTo>
                <a:cubicBezTo>
                  <a:pt x="1395883" y="2491328"/>
                  <a:pt x="1397611" y="2493057"/>
                  <a:pt x="1397611" y="2495031"/>
                </a:cubicBezTo>
                <a:cubicBezTo>
                  <a:pt x="1397611" y="2497006"/>
                  <a:pt x="1395883" y="2498735"/>
                  <a:pt x="1393908" y="2498735"/>
                </a:cubicBezTo>
                <a:cubicBezTo>
                  <a:pt x="1391933" y="2498735"/>
                  <a:pt x="1390205" y="2497006"/>
                  <a:pt x="1390205" y="2495031"/>
                </a:cubicBezTo>
                <a:cubicBezTo>
                  <a:pt x="1390205" y="2493057"/>
                  <a:pt x="1391933" y="2491328"/>
                  <a:pt x="1393908" y="2491328"/>
                </a:cubicBezTo>
                <a:close/>
                <a:moveTo>
                  <a:pt x="2211887" y="2490587"/>
                </a:moveTo>
                <a:cubicBezTo>
                  <a:pt x="2215837" y="2490587"/>
                  <a:pt x="2218799" y="2493795"/>
                  <a:pt x="2218799" y="2497498"/>
                </a:cubicBezTo>
                <a:cubicBezTo>
                  <a:pt x="2218799" y="2501202"/>
                  <a:pt x="2215837" y="2504410"/>
                  <a:pt x="2211887" y="2504410"/>
                </a:cubicBezTo>
                <a:cubicBezTo>
                  <a:pt x="2208184" y="2504410"/>
                  <a:pt x="2204976" y="2501448"/>
                  <a:pt x="2204976" y="2497498"/>
                </a:cubicBezTo>
                <a:cubicBezTo>
                  <a:pt x="2204976" y="2493795"/>
                  <a:pt x="2207938" y="2490587"/>
                  <a:pt x="2211887" y="2490587"/>
                </a:cubicBezTo>
                <a:close/>
                <a:moveTo>
                  <a:pt x="403353" y="2483183"/>
                </a:moveTo>
                <a:cubicBezTo>
                  <a:pt x="404587" y="2483183"/>
                  <a:pt x="405577" y="2484171"/>
                  <a:pt x="405577" y="2485404"/>
                </a:cubicBezTo>
                <a:cubicBezTo>
                  <a:pt x="405577" y="2486640"/>
                  <a:pt x="404587" y="2487625"/>
                  <a:pt x="403353" y="2487625"/>
                </a:cubicBezTo>
                <a:cubicBezTo>
                  <a:pt x="402120" y="2487625"/>
                  <a:pt x="401132" y="2486640"/>
                  <a:pt x="401132" y="2485404"/>
                </a:cubicBezTo>
                <a:cubicBezTo>
                  <a:pt x="401132" y="2484171"/>
                  <a:pt x="402120" y="2483183"/>
                  <a:pt x="403353" y="2483183"/>
                </a:cubicBezTo>
                <a:close/>
                <a:moveTo>
                  <a:pt x="853339" y="2479726"/>
                </a:moveTo>
                <a:cubicBezTo>
                  <a:pt x="855067" y="2479726"/>
                  <a:pt x="856301" y="2481208"/>
                  <a:pt x="856301" y="2482688"/>
                </a:cubicBezTo>
                <a:cubicBezTo>
                  <a:pt x="856547" y="2484170"/>
                  <a:pt x="855067" y="2485650"/>
                  <a:pt x="853339" y="2485650"/>
                </a:cubicBezTo>
                <a:cubicBezTo>
                  <a:pt x="851610" y="2485650"/>
                  <a:pt x="850377" y="2484170"/>
                  <a:pt x="850377" y="2482688"/>
                </a:cubicBezTo>
                <a:cubicBezTo>
                  <a:pt x="850377" y="2480960"/>
                  <a:pt x="851856" y="2479726"/>
                  <a:pt x="853339" y="2479726"/>
                </a:cubicBezTo>
                <a:close/>
                <a:moveTo>
                  <a:pt x="2404172" y="2472815"/>
                </a:moveTo>
                <a:cubicBezTo>
                  <a:pt x="2410588" y="2472815"/>
                  <a:pt x="2415774" y="2477998"/>
                  <a:pt x="2415774" y="2484417"/>
                </a:cubicBezTo>
                <a:cubicBezTo>
                  <a:pt x="2415774" y="2490833"/>
                  <a:pt x="2410588" y="2496019"/>
                  <a:pt x="2404172" y="2496019"/>
                </a:cubicBezTo>
                <a:cubicBezTo>
                  <a:pt x="2397753" y="2496019"/>
                  <a:pt x="2392570" y="2490833"/>
                  <a:pt x="2392570" y="2484417"/>
                </a:cubicBezTo>
                <a:cubicBezTo>
                  <a:pt x="2392570" y="2477998"/>
                  <a:pt x="2397753" y="2472815"/>
                  <a:pt x="2404172" y="2472815"/>
                </a:cubicBezTo>
                <a:close/>
                <a:moveTo>
                  <a:pt x="1181129" y="2471581"/>
                </a:moveTo>
                <a:cubicBezTo>
                  <a:pt x="1182609" y="2471581"/>
                  <a:pt x="1183845" y="2472815"/>
                  <a:pt x="1183845" y="2474297"/>
                </a:cubicBezTo>
                <a:cubicBezTo>
                  <a:pt x="1183845" y="2475777"/>
                  <a:pt x="1182609" y="2477013"/>
                  <a:pt x="1181129" y="2477013"/>
                </a:cubicBezTo>
                <a:cubicBezTo>
                  <a:pt x="1179647" y="2477013"/>
                  <a:pt x="1178413" y="2475777"/>
                  <a:pt x="1178413" y="2474297"/>
                </a:cubicBezTo>
                <a:cubicBezTo>
                  <a:pt x="1178413" y="2472815"/>
                  <a:pt x="1179647" y="2471581"/>
                  <a:pt x="1181129" y="2471581"/>
                </a:cubicBezTo>
                <a:close/>
                <a:moveTo>
                  <a:pt x="517388" y="2460228"/>
                </a:moveTo>
                <a:cubicBezTo>
                  <a:pt x="518622" y="2460228"/>
                  <a:pt x="519363" y="2461216"/>
                  <a:pt x="519363" y="2462203"/>
                </a:cubicBezTo>
                <a:cubicBezTo>
                  <a:pt x="519363" y="2463437"/>
                  <a:pt x="518622" y="2464424"/>
                  <a:pt x="517388" y="2464424"/>
                </a:cubicBezTo>
                <a:cubicBezTo>
                  <a:pt x="516155" y="2464424"/>
                  <a:pt x="515414" y="2463437"/>
                  <a:pt x="515414" y="2462203"/>
                </a:cubicBezTo>
                <a:cubicBezTo>
                  <a:pt x="515414" y="2460969"/>
                  <a:pt x="516401" y="2460228"/>
                  <a:pt x="517388" y="2460228"/>
                </a:cubicBezTo>
                <a:close/>
                <a:moveTo>
                  <a:pt x="1702954" y="2443444"/>
                </a:moveTo>
                <a:cubicBezTo>
                  <a:pt x="1706160" y="2443444"/>
                  <a:pt x="1708629" y="2445911"/>
                  <a:pt x="1708629" y="2449122"/>
                </a:cubicBezTo>
                <a:cubicBezTo>
                  <a:pt x="1708629" y="2452330"/>
                  <a:pt x="1706160" y="2454797"/>
                  <a:pt x="1702954" y="2454797"/>
                </a:cubicBezTo>
                <a:cubicBezTo>
                  <a:pt x="1699743" y="2454797"/>
                  <a:pt x="1697276" y="2452330"/>
                  <a:pt x="1697276" y="2449122"/>
                </a:cubicBezTo>
                <a:cubicBezTo>
                  <a:pt x="1697276" y="2445911"/>
                  <a:pt x="1699743" y="2443444"/>
                  <a:pt x="1702954" y="2443444"/>
                </a:cubicBezTo>
                <a:close/>
                <a:moveTo>
                  <a:pt x="963428" y="2441715"/>
                </a:moveTo>
                <a:cubicBezTo>
                  <a:pt x="964908" y="2441715"/>
                  <a:pt x="966141" y="2442949"/>
                  <a:pt x="966141" y="2444431"/>
                </a:cubicBezTo>
                <a:cubicBezTo>
                  <a:pt x="966141" y="2445911"/>
                  <a:pt x="964908" y="2447147"/>
                  <a:pt x="963428" y="2447147"/>
                </a:cubicBezTo>
                <a:cubicBezTo>
                  <a:pt x="961945" y="2447147"/>
                  <a:pt x="960712" y="2445911"/>
                  <a:pt x="960712" y="2444431"/>
                </a:cubicBezTo>
                <a:cubicBezTo>
                  <a:pt x="960712" y="2442949"/>
                  <a:pt x="961945" y="2441715"/>
                  <a:pt x="963428" y="2441715"/>
                </a:cubicBezTo>
                <a:close/>
                <a:moveTo>
                  <a:pt x="1904378" y="2440235"/>
                </a:moveTo>
                <a:cubicBezTo>
                  <a:pt x="1909805" y="2440235"/>
                  <a:pt x="1913997" y="2444677"/>
                  <a:pt x="1913997" y="2449862"/>
                </a:cubicBezTo>
                <a:cubicBezTo>
                  <a:pt x="1913997" y="2455045"/>
                  <a:pt x="1909805" y="2459487"/>
                  <a:pt x="1904378" y="2459487"/>
                </a:cubicBezTo>
                <a:cubicBezTo>
                  <a:pt x="1898942" y="2459487"/>
                  <a:pt x="1894743" y="2455045"/>
                  <a:pt x="1894743" y="2449862"/>
                </a:cubicBezTo>
                <a:cubicBezTo>
                  <a:pt x="1894743" y="2444431"/>
                  <a:pt x="1898942" y="2440235"/>
                  <a:pt x="1904378" y="2440235"/>
                </a:cubicBezTo>
                <a:close/>
                <a:moveTo>
                  <a:pt x="1497086" y="2438012"/>
                </a:moveTo>
                <a:cubicBezTo>
                  <a:pt x="1499061" y="2438012"/>
                  <a:pt x="1500790" y="2439741"/>
                  <a:pt x="1500790" y="2441715"/>
                </a:cubicBezTo>
                <a:cubicBezTo>
                  <a:pt x="1500790" y="2443690"/>
                  <a:pt x="1499061" y="2445416"/>
                  <a:pt x="1497086" y="2445416"/>
                </a:cubicBezTo>
                <a:cubicBezTo>
                  <a:pt x="1495112" y="2445416"/>
                  <a:pt x="1493383" y="2443690"/>
                  <a:pt x="1493383" y="2441715"/>
                </a:cubicBezTo>
                <a:cubicBezTo>
                  <a:pt x="1493383" y="2439741"/>
                  <a:pt x="1495112" y="2438012"/>
                  <a:pt x="1497086" y="2438012"/>
                </a:cubicBezTo>
                <a:close/>
                <a:moveTo>
                  <a:pt x="630444" y="2432829"/>
                </a:moveTo>
                <a:cubicBezTo>
                  <a:pt x="631431" y="2432829"/>
                  <a:pt x="632419" y="2433816"/>
                  <a:pt x="632419" y="2434804"/>
                </a:cubicBezTo>
                <a:cubicBezTo>
                  <a:pt x="632419" y="2436037"/>
                  <a:pt x="631678" y="2436778"/>
                  <a:pt x="630444" y="2436778"/>
                </a:cubicBezTo>
                <a:cubicBezTo>
                  <a:pt x="629457" y="2436778"/>
                  <a:pt x="628470" y="2436037"/>
                  <a:pt x="628470" y="2434804"/>
                </a:cubicBezTo>
                <a:cubicBezTo>
                  <a:pt x="628470" y="2433816"/>
                  <a:pt x="629211" y="2432829"/>
                  <a:pt x="630444" y="2432829"/>
                </a:cubicBezTo>
                <a:close/>
                <a:moveTo>
                  <a:pt x="2110684" y="2424435"/>
                </a:moveTo>
                <a:cubicBezTo>
                  <a:pt x="2117844" y="2424435"/>
                  <a:pt x="2123765" y="2430359"/>
                  <a:pt x="2123765" y="2437517"/>
                </a:cubicBezTo>
                <a:cubicBezTo>
                  <a:pt x="2123765" y="2444677"/>
                  <a:pt x="2117844" y="2450598"/>
                  <a:pt x="2110684" y="2450598"/>
                </a:cubicBezTo>
                <a:cubicBezTo>
                  <a:pt x="2103526" y="2450598"/>
                  <a:pt x="2097602" y="2444677"/>
                  <a:pt x="2097602" y="2437517"/>
                </a:cubicBezTo>
                <a:cubicBezTo>
                  <a:pt x="2097602" y="2430359"/>
                  <a:pt x="2103526" y="2424435"/>
                  <a:pt x="2110684" y="2424435"/>
                </a:cubicBezTo>
                <a:close/>
                <a:moveTo>
                  <a:pt x="1287022" y="2423943"/>
                </a:moveTo>
                <a:cubicBezTo>
                  <a:pt x="1288505" y="2423943"/>
                  <a:pt x="1289492" y="2424930"/>
                  <a:pt x="1289492" y="2426413"/>
                </a:cubicBezTo>
                <a:cubicBezTo>
                  <a:pt x="1289492" y="2427646"/>
                  <a:pt x="1288259" y="2428880"/>
                  <a:pt x="1287022" y="2428880"/>
                </a:cubicBezTo>
                <a:cubicBezTo>
                  <a:pt x="1285543" y="2428880"/>
                  <a:pt x="1284555" y="2427892"/>
                  <a:pt x="1284555" y="2426413"/>
                </a:cubicBezTo>
                <a:cubicBezTo>
                  <a:pt x="1284555" y="2424930"/>
                  <a:pt x="1285543" y="2423943"/>
                  <a:pt x="1287022" y="2423943"/>
                </a:cubicBezTo>
                <a:close/>
                <a:moveTo>
                  <a:pt x="2303955" y="2418760"/>
                </a:moveTo>
                <a:cubicBezTo>
                  <a:pt x="2307905" y="2418760"/>
                  <a:pt x="2311359" y="2421968"/>
                  <a:pt x="2311359" y="2425918"/>
                </a:cubicBezTo>
                <a:cubicBezTo>
                  <a:pt x="2311359" y="2429867"/>
                  <a:pt x="2307905" y="2433324"/>
                  <a:pt x="2303955" y="2433324"/>
                </a:cubicBezTo>
                <a:cubicBezTo>
                  <a:pt x="2300006" y="2433324"/>
                  <a:pt x="2296549" y="2430113"/>
                  <a:pt x="2296549" y="2425918"/>
                </a:cubicBezTo>
                <a:cubicBezTo>
                  <a:pt x="2296549" y="2421722"/>
                  <a:pt x="2299757" y="2418760"/>
                  <a:pt x="2303955" y="2418760"/>
                </a:cubicBezTo>
                <a:close/>
                <a:moveTo>
                  <a:pt x="57043" y="2418019"/>
                </a:moveTo>
                <a:cubicBezTo>
                  <a:pt x="58772" y="2418019"/>
                  <a:pt x="60005" y="2419253"/>
                  <a:pt x="60005" y="2420981"/>
                </a:cubicBezTo>
                <a:cubicBezTo>
                  <a:pt x="59759" y="2422463"/>
                  <a:pt x="58526" y="2423943"/>
                  <a:pt x="57043" y="2423943"/>
                </a:cubicBezTo>
                <a:cubicBezTo>
                  <a:pt x="55561" y="2423943"/>
                  <a:pt x="54081" y="2422710"/>
                  <a:pt x="54081" y="2420981"/>
                </a:cubicBezTo>
                <a:cubicBezTo>
                  <a:pt x="54081" y="2419501"/>
                  <a:pt x="55315" y="2418019"/>
                  <a:pt x="57043" y="2418019"/>
                </a:cubicBezTo>
                <a:close/>
                <a:moveTo>
                  <a:pt x="173057" y="2407158"/>
                </a:moveTo>
                <a:cubicBezTo>
                  <a:pt x="174536" y="2407158"/>
                  <a:pt x="175772" y="2408392"/>
                  <a:pt x="175772" y="2409874"/>
                </a:cubicBezTo>
                <a:cubicBezTo>
                  <a:pt x="175772" y="2411354"/>
                  <a:pt x="174536" y="2412590"/>
                  <a:pt x="173057" y="2412590"/>
                </a:cubicBezTo>
                <a:cubicBezTo>
                  <a:pt x="171574" y="2412590"/>
                  <a:pt x="170341" y="2411354"/>
                  <a:pt x="170341" y="2409874"/>
                </a:cubicBezTo>
                <a:cubicBezTo>
                  <a:pt x="170341" y="2408392"/>
                  <a:pt x="171574" y="2407158"/>
                  <a:pt x="173057" y="2407158"/>
                </a:cubicBezTo>
                <a:close/>
                <a:moveTo>
                  <a:pt x="742755" y="2401729"/>
                </a:moveTo>
                <a:cubicBezTo>
                  <a:pt x="743741" y="2401729"/>
                  <a:pt x="744479" y="2402470"/>
                  <a:pt x="744479" y="2403457"/>
                </a:cubicBezTo>
                <a:cubicBezTo>
                  <a:pt x="744479" y="2404445"/>
                  <a:pt x="743495" y="2405183"/>
                  <a:pt x="742755" y="2405183"/>
                </a:cubicBezTo>
                <a:cubicBezTo>
                  <a:pt x="741765" y="2405183"/>
                  <a:pt x="741024" y="2404445"/>
                  <a:pt x="741024" y="2403457"/>
                </a:cubicBezTo>
                <a:cubicBezTo>
                  <a:pt x="741024" y="2402470"/>
                  <a:pt x="741765" y="2401729"/>
                  <a:pt x="742755" y="2401729"/>
                </a:cubicBezTo>
                <a:close/>
                <a:moveTo>
                  <a:pt x="1071779" y="2400001"/>
                </a:moveTo>
                <a:cubicBezTo>
                  <a:pt x="1073259" y="2400001"/>
                  <a:pt x="1074246" y="2401235"/>
                  <a:pt x="1074246" y="2402471"/>
                </a:cubicBezTo>
                <a:cubicBezTo>
                  <a:pt x="1074246" y="2403950"/>
                  <a:pt x="1073259" y="2404938"/>
                  <a:pt x="1071779" y="2404938"/>
                </a:cubicBezTo>
                <a:cubicBezTo>
                  <a:pt x="1070543" y="2404938"/>
                  <a:pt x="1069310" y="2403704"/>
                  <a:pt x="1069310" y="2402471"/>
                </a:cubicBezTo>
                <a:cubicBezTo>
                  <a:pt x="1069310" y="2400988"/>
                  <a:pt x="1070543" y="2400001"/>
                  <a:pt x="1071779" y="2400001"/>
                </a:cubicBezTo>
                <a:close/>
                <a:moveTo>
                  <a:pt x="2493273" y="2397285"/>
                </a:moveTo>
                <a:cubicBezTo>
                  <a:pt x="2500091" y="2397285"/>
                  <a:pt x="2505616" y="2402810"/>
                  <a:pt x="2505616" y="2409625"/>
                </a:cubicBezTo>
                <a:cubicBezTo>
                  <a:pt x="2505616" y="2416443"/>
                  <a:pt x="2500091" y="2421968"/>
                  <a:pt x="2493273" y="2421968"/>
                </a:cubicBezTo>
                <a:cubicBezTo>
                  <a:pt x="2486458" y="2421968"/>
                  <a:pt x="2480933" y="2416443"/>
                  <a:pt x="2480933" y="2409625"/>
                </a:cubicBezTo>
                <a:cubicBezTo>
                  <a:pt x="2480933" y="2402810"/>
                  <a:pt x="2486458" y="2397285"/>
                  <a:pt x="2493273" y="2397285"/>
                </a:cubicBezTo>
                <a:close/>
                <a:moveTo>
                  <a:pt x="288571" y="2392102"/>
                </a:moveTo>
                <a:cubicBezTo>
                  <a:pt x="290053" y="2392102"/>
                  <a:pt x="291041" y="2393090"/>
                  <a:pt x="291041" y="2394572"/>
                </a:cubicBezTo>
                <a:cubicBezTo>
                  <a:pt x="291041" y="2396052"/>
                  <a:pt x="290053" y="2397039"/>
                  <a:pt x="288571" y="2397039"/>
                </a:cubicBezTo>
                <a:cubicBezTo>
                  <a:pt x="287091" y="2397039"/>
                  <a:pt x="286104" y="2395806"/>
                  <a:pt x="286104" y="2394572"/>
                </a:cubicBezTo>
                <a:cubicBezTo>
                  <a:pt x="286104" y="2393090"/>
                  <a:pt x="287091" y="2392102"/>
                  <a:pt x="288571" y="2392102"/>
                </a:cubicBezTo>
                <a:close/>
                <a:moveTo>
                  <a:pt x="1801188" y="2381241"/>
                </a:moveTo>
                <a:cubicBezTo>
                  <a:pt x="1804642" y="2381241"/>
                  <a:pt x="1807603" y="2383957"/>
                  <a:pt x="1807603" y="2387660"/>
                </a:cubicBezTo>
                <a:cubicBezTo>
                  <a:pt x="1807603" y="2391115"/>
                  <a:pt x="1804888" y="2393831"/>
                  <a:pt x="1801188" y="2393831"/>
                </a:cubicBezTo>
                <a:cubicBezTo>
                  <a:pt x="1797736" y="2393831"/>
                  <a:pt x="1794772" y="2391115"/>
                  <a:pt x="1794772" y="2387660"/>
                </a:cubicBezTo>
                <a:cubicBezTo>
                  <a:pt x="1794772" y="2384203"/>
                  <a:pt x="1797736" y="2381241"/>
                  <a:pt x="1801188" y="2381241"/>
                </a:cubicBezTo>
                <a:close/>
                <a:moveTo>
                  <a:pt x="1598289" y="2381241"/>
                </a:moveTo>
                <a:cubicBezTo>
                  <a:pt x="1600264" y="2381241"/>
                  <a:pt x="1601993" y="2382970"/>
                  <a:pt x="1601993" y="2384944"/>
                </a:cubicBezTo>
                <a:cubicBezTo>
                  <a:pt x="1601993" y="2386919"/>
                  <a:pt x="1600510" y="2388648"/>
                  <a:pt x="1598289" y="2388648"/>
                </a:cubicBezTo>
                <a:cubicBezTo>
                  <a:pt x="1596066" y="2388648"/>
                  <a:pt x="1594586" y="2386919"/>
                  <a:pt x="1594586" y="2384944"/>
                </a:cubicBezTo>
                <a:cubicBezTo>
                  <a:pt x="1594586" y="2382970"/>
                  <a:pt x="1596315" y="2381241"/>
                  <a:pt x="1598289" y="2381241"/>
                </a:cubicBezTo>
                <a:close/>
                <a:moveTo>
                  <a:pt x="1999855" y="2373342"/>
                </a:moveTo>
                <a:cubicBezTo>
                  <a:pt x="2005533" y="2373342"/>
                  <a:pt x="2010467" y="2378033"/>
                  <a:pt x="2010467" y="2383957"/>
                </a:cubicBezTo>
                <a:cubicBezTo>
                  <a:pt x="2010221" y="2389634"/>
                  <a:pt x="2005533" y="2394322"/>
                  <a:pt x="1999855" y="2394322"/>
                </a:cubicBezTo>
                <a:cubicBezTo>
                  <a:pt x="1993931" y="2394322"/>
                  <a:pt x="1989241" y="2389634"/>
                  <a:pt x="1989241" y="2383957"/>
                </a:cubicBezTo>
                <a:cubicBezTo>
                  <a:pt x="1989241" y="2378279"/>
                  <a:pt x="1993931" y="2373342"/>
                  <a:pt x="1999855" y="2373342"/>
                </a:cubicBezTo>
                <a:close/>
                <a:moveTo>
                  <a:pt x="403352" y="2372848"/>
                </a:moveTo>
                <a:cubicBezTo>
                  <a:pt x="404585" y="2372848"/>
                  <a:pt x="405575" y="2373836"/>
                  <a:pt x="405575" y="2375069"/>
                </a:cubicBezTo>
                <a:cubicBezTo>
                  <a:pt x="405821" y="2376057"/>
                  <a:pt x="404834" y="2377290"/>
                  <a:pt x="403352" y="2377290"/>
                </a:cubicBezTo>
                <a:cubicBezTo>
                  <a:pt x="402118" y="2377290"/>
                  <a:pt x="401131" y="2376305"/>
                  <a:pt x="401131" y="2375069"/>
                </a:cubicBezTo>
                <a:cubicBezTo>
                  <a:pt x="401131" y="2373836"/>
                  <a:pt x="402118" y="2372848"/>
                  <a:pt x="403352" y="2372848"/>
                </a:cubicBezTo>
                <a:close/>
                <a:moveTo>
                  <a:pt x="1391187" y="2372601"/>
                </a:moveTo>
                <a:cubicBezTo>
                  <a:pt x="1392421" y="2372601"/>
                  <a:pt x="1393411" y="2373589"/>
                  <a:pt x="1393411" y="2374822"/>
                </a:cubicBezTo>
                <a:cubicBezTo>
                  <a:pt x="1393411" y="2376058"/>
                  <a:pt x="1392421" y="2377046"/>
                  <a:pt x="1391187" y="2377046"/>
                </a:cubicBezTo>
                <a:cubicBezTo>
                  <a:pt x="1389954" y="2377046"/>
                  <a:pt x="1388967" y="2376058"/>
                  <a:pt x="1388967" y="2374822"/>
                </a:cubicBezTo>
                <a:cubicBezTo>
                  <a:pt x="1388967" y="2373589"/>
                  <a:pt x="1389954" y="2372601"/>
                  <a:pt x="1391187" y="2372601"/>
                </a:cubicBezTo>
                <a:close/>
                <a:moveTo>
                  <a:pt x="853579" y="2366677"/>
                </a:moveTo>
                <a:cubicBezTo>
                  <a:pt x="854320" y="2366677"/>
                  <a:pt x="855061" y="2367418"/>
                  <a:pt x="855061" y="2368157"/>
                </a:cubicBezTo>
                <a:cubicBezTo>
                  <a:pt x="855061" y="2368898"/>
                  <a:pt x="854320" y="2369639"/>
                  <a:pt x="853579" y="2369639"/>
                </a:cubicBezTo>
                <a:cubicBezTo>
                  <a:pt x="852840" y="2369639"/>
                  <a:pt x="852099" y="2368898"/>
                  <a:pt x="852099" y="2368157"/>
                </a:cubicBezTo>
                <a:cubicBezTo>
                  <a:pt x="852099" y="2367418"/>
                  <a:pt x="852840" y="2366677"/>
                  <a:pt x="853579" y="2366677"/>
                </a:cubicBezTo>
                <a:close/>
                <a:moveTo>
                  <a:pt x="1178658" y="2354583"/>
                </a:moveTo>
                <a:cubicBezTo>
                  <a:pt x="1179891" y="2354583"/>
                  <a:pt x="1180881" y="2355571"/>
                  <a:pt x="1180881" y="2356804"/>
                </a:cubicBezTo>
                <a:cubicBezTo>
                  <a:pt x="1180881" y="2358038"/>
                  <a:pt x="1179891" y="2359025"/>
                  <a:pt x="1178658" y="2359025"/>
                </a:cubicBezTo>
                <a:cubicBezTo>
                  <a:pt x="1177424" y="2359025"/>
                  <a:pt x="1176437" y="2358038"/>
                  <a:pt x="1176437" y="2356804"/>
                </a:cubicBezTo>
                <a:cubicBezTo>
                  <a:pt x="1176437" y="2355571"/>
                  <a:pt x="1177424" y="2354583"/>
                  <a:pt x="1178658" y="2354583"/>
                </a:cubicBezTo>
                <a:close/>
                <a:moveTo>
                  <a:pt x="2203494" y="2353347"/>
                </a:moveTo>
                <a:cubicBezTo>
                  <a:pt x="2211147" y="2353347"/>
                  <a:pt x="2217317" y="2359517"/>
                  <a:pt x="2217317" y="2367170"/>
                </a:cubicBezTo>
                <a:cubicBezTo>
                  <a:pt x="2217563" y="2374822"/>
                  <a:pt x="2211147" y="2380993"/>
                  <a:pt x="2203494" y="2380993"/>
                </a:cubicBezTo>
                <a:cubicBezTo>
                  <a:pt x="2195841" y="2380993"/>
                  <a:pt x="2189671" y="2374822"/>
                  <a:pt x="2189671" y="2367170"/>
                </a:cubicBezTo>
                <a:cubicBezTo>
                  <a:pt x="2189671" y="2359517"/>
                  <a:pt x="2195841" y="2353347"/>
                  <a:pt x="2203494" y="2353347"/>
                </a:cubicBezTo>
                <a:close/>
                <a:moveTo>
                  <a:pt x="517387" y="2348659"/>
                </a:moveTo>
                <a:cubicBezTo>
                  <a:pt x="518620" y="2348659"/>
                  <a:pt x="519362" y="2349647"/>
                  <a:pt x="519362" y="2350883"/>
                </a:cubicBezTo>
                <a:cubicBezTo>
                  <a:pt x="519608" y="2352116"/>
                  <a:pt x="518620" y="2353104"/>
                  <a:pt x="517387" y="2353104"/>
                </a:cubicBezTo>
                <a:cubicBezTo>
                  <a:pt x="516153" y="2353104"/>
                  <a:pt x="515412" y="2352116"/>
                  <a:pt x="515412" y="2350883"/>
                </a:cubicBezTo>
                <a:cubicBezTo>
                  <a:pt x="515412" y="2349647"/>
                  <a:pt x="516399" y="2348659"/>
                  <a:pt x="517387" y="2348659"/>
                </a:cubicBezTo>
                <a:close/>
                <a:moveTo>
                  <a:pt x="2393804" y="2344463"/>
                </a:moveTo>
                <a:cubicBezTo>
                  <a:pt x="2397999" y="2344463"/>
                  <a:pt x="2401703" y="2347917"/>
                  <a:pt x="2401703" y="2352115"/>
                </a:cubicBezTo>
                <a:cubicBezTo>
                  <a:pt x="2401454" y="2356311"/>
                  <a:pt x="2397999" y="2359765"/>
                  <a:pt x="2393804" y="2359765"/>
                </a:cubicBezTo>
                <a:cubicBezTo>
                  <a:pt x="2389608" y="2359765"/>
                  <a:pt x="2386151" y="2356311"/>
                  <a:pt x="2386151" y="2352115"/>
                </a:cubicBezTo>
                <a:cubicBezTo>
                  <a:pt x="2386151" y="2347917"/>
                  <a:pt x="2389608" y="2344463"/>
                  <a:pt x="2393804" y="2344463"/>
                </a:cubicBezTo>
                <a:close/>
                <a:moveTo>
                  <a:pt x="963174" y="2325209"/>
                </a:moveTo>
                <a:cubicBezTo>
                  <a:pt x="965152" y="2325209"/>
                  <a:pt x="966631" y="2326689"/>
                  <a:pt x="966631" y="2328664"/>
                </a:cubicBezTo>
                <a:cubicBezTo>
                  <a:pt x="966385" y="2330392"/>
                  <a:pt x="964903" y="2332121"/>
                  <a:pt x="963174" y="2332121"/>
                </a:cubicBezTo>
                <a:cubicBezTo>
                  <a:pt x="961200" y="2332121"/>
                  <a:pt x="959720" y="2330641"/>
                  <a:pt x="959720" y="2328664"/>
                </a:cubicBezTo>
                <a:cubicBezTo>
                  <a:pt x="959720" y="2326689"/>
                  <a:pt x="961200" y="2325209"/>
                  <a:pt x="963174" y="2325209"/>
                </a:cubicBezTo>
                <a:close/>
                <a:moveTo>
                  <a:pt x="1697765" y="2320767"/>
                </a:moveTo>
                <a:cubicBezTo>
                  <a:pt x="1700084" y="2320767"/>
                  <a:pt x="1701962" y="2322646"/>
                  <a:pt x="1701962" y="2324963"/>
                </a:cubicBezTo>
                <a:cubicBezTo>
                  <a:pt x="1701962" y="2327282"/>
                  <a:pt x="1700084" y="2329161"/>
                  <a:pt x="1697765" y="2329161"/>
                </a:cubicBezTo>
                <a:cubicBezTo>
                  <a:pt x="1695449" y="2329161"/>
                  <a:pt x="1693570" y="2327282"/>
                  <a:pt x="1693570" y="2324963"/>
                </a:cubicBezTo>
                <a:cubicBezTo>
                  <a:pt x="1693570" y="2322646"/>
                  <a:pt x="1695449" y="2320767"/>
                  <a:pt x="1697765" y="2320767"/>
                </a:cubicBezTo>
                <a:close/>
                <a:moveTo>
                  <a:pt x="630442" y="2320519"/>
                </a:moveTo>
                <a:cubicBezTo>
                  <a:pt x="631429" y="2320519"/>
                  <a:pt x="632417" y="2321260"/>
                  <a:pt x="632417" y="2322494"/>
                </a:cubicBezTo>
                <a:cubicBezTo>
                  <a:pt x="632417" y="2323727"/>
                  <a:pt x="631675" y="2324468"/>
                  <a:pt x="630442" y="2324468"/>
                </a:cubicBezTo>
                <a:cubicBezTo>
                  <a:pt x="629455" y="2324468"/>
                  <a:pt x="628468" y="2323481"/>
                  <a:pt x="628468" y="2322494"/>
                </a:cubicBezTo>
                <a:cubicBezTo>
                  <a:pt x="628468" y="2321506"/>
                  <a:pt x="629455" y="2320519"/>
                  <a:pt x="630442" y="2320519"/>
                </a:cubicBezTo>
                <a:close/>
                <a:moveTo>
                  <a:pt x="2580162" y="2319285"/>
                </a:moveTo>
                <a:cubicBezTo>
                  <a:pt x="2587319" y="2319285"/>
                  <a:pt x="2593243" y="2325209"/>
                  <a:pt x="2593243" y="2332369"/>
                </a:cubicBezTo>
                <a:cubicBezTo>
                  <a:pt x="2593243" y="2339527"/>
                  <a:pt x="2587319" y="2345451"/>
                  <a:pt x="2580162" y="2345451"/>
                </a:cubicBezTo>
                <a:cubicBezTo>
                  <a:pt x="2573004" y="2345451"/>
                  <a:pt x="2567080" y="2339527"/>
                  <a:pt x="2567080" y="2332369"/>
                </a:cubicBezTo>
                <a:cubicBezTo>
                  <a:pt x="2567080" y="2325209"/>
                  <a:pt x="2573004" y="2319285"/>
                  <a:pt x="2580162" y="2319285"/>
                </a:cubicBezTo>
                <a:close/>
                <a:moveTo>
                  <a:pt x="1493381" y="2318052"/>
                </a:moveTo>
                <a:cubicBezTo>
                  <a:pt x="1494368" y="2318052"/>
                  <a:pt x="1495355" y="2319039"/>
                  <a:pt x="1495355" y="2320027"/>
                </a:cubicBezTo>
                <a:cubicBezTo>
                  <a:pt x="1495355" y="2321014"/>
                  <a:pt x="1494614" y="2322001"/>
                  <a:pt x="1493381" y="2322001"/>
                </a:cubicBezTo>
                <a:cubicBezTo>
                  <a:pt x="1492147" y="2322001"/>
                  <a:pt x="1491406" y="2321014"/>
                  <a:pt x="1491406" y="2320027"/>
                </a:cubicBezTo>
                <a:cubicBezTo>
                  <a:pt x="1491406" y="2319039"/>
                  <a:pt x="1492393" y="2318052"/>
                  <a:pt x="1493381" y="2318052"/>
                </a:cubicBezTo>
                <a:close/>
                <a:moveTo>
                  <a:pt x="1897702" y="2315831"/>
                </a:moveTo>
                <a:cubicBezTo>
                  <a:pt x="1901654" y="2315831"/>
                  <a:pt x="1904619" y="2319039"/>
                  <a:pt x="1904619" y="2322989"/>
                </a:cubicBezTo>
                <a:cubicBezTo>
                  <a:pt x="1904619" y="2326938"/>
                  <a:pt x="1901654" y="2330146"/>
                  <a:pt x="1897702" y="2330146"/>
                </a:cubicBezTo>
                <a:cubicBezTo>
                  <a:pt x="1893750" y="2330146"/>
                  <a:pt x="1890543" y="2326938"/>
                  <a:pt x="1890543" y="2322989"/>
                </a:cubicBezTo>
                <a:cubicBezTo>
                  <a:pt x="1890543" y="2319039"/>
                  <a:pt x="1893750" y="2315831"/>
                  <a:pt x="1897702" y="2315831"/>
                </a:cubicBezTo>
                <a:close/>
                <a:moveTo>
                  <a:pt x="55069" y="2309658"/>
                </a:moveTo>
                <a:cubicBezTo>
                  <a:pt x="56549" y="2309658"/>
                  <a:pt x="57536" y="2310646"/>
                  <a:pt x="57536" y="2312128"/>
                </a:cubicBezTo>
                <a:cubicBezTo>
                  <a:pt x="57536" y="2313608"/>
                  <a:pt x="56303" y="2314595"/>
                  <a:pt x="55069" y="2314595"/>
                </a:cubicBezTo>
                <a:cubicBezTo>
                  <a:pt x="53833" y="2314595"/>
                  <a:pt x="52599" y="2313362"/>
                  <a:pt x="52599" y="2312128"/>
                </a:cubicBezTo>
                <a:cubicBezTo>
                  <a:pt x="52599" y="2310892"/>
                  <a:pt x="53587" y="2309658"/>
                  <a:pt x="55069" y="2309658"/>
                </a:cubicBezTo>
                <a:close/>
                <a:moveTo>
                  <a:pt x="1284059" y="2305216"/>
                </a:moveTo>
                <a:cubicBezTo>
                  <a:pt x="1285046" y="2305216"/>
                  <a:pt x="1286033" y="2306203"/>
                  <a:pt x="1286033" y="2307191"/>
                </a:cubicBezTo>
                <a:cubicBezTo>
                  <a:pt x="1286033" y="2308424"/>
                  <a:pt x="1285046" y="2309165"/>
                  <a:pt x="1284059" y="2309165"/>
                </a:cubicBezTo>
                <a:cubicBezTo>
                  <a:pt x="1283072" y="2309165"/>
                  <a:pt x="1282084" y="2308178"/>
                  <a:pt x="1282084" y="2307191"/>
                </a:cubicBezTo>
                <a:cubicBezTo>
                  <a:pt x="1282084" y="2306203"/>
                  <a:pt x="1283072" y="2305216"/>
                  <a:pt x="1284059" y="2305216"/>
                </a:cubicBezTo>
                <a:close/>
                <a:moveTo>
                  <a:pt x="2093158" y="2303734"/>
                </a:moveTo>
                <a:cubicBezTo>
                  <a:pt x="2099331" y="2303734"/>
                  <a:pt x="2104514" y="2308917"/>
                  <a:pt x="2104514" y="2315087"/>
                </a:cubicBezTo>
                <a:cubicBezTo>
                  <a:pt x="2104514" y="2321260"/>
                  <a:pt x="2099577" y="2326443"/>
                  <a:pt x="2093158" y="2326443"/>
                </a:cubicBezTo>
                <a:cubicBezTo>
                  <a:pt x="2086988" y="2326443"/>
                  <a:pt x="2081805" y="2321260"/>
                  <a:pt x="2081805" y="2315087"/>
                </a:cubicBezTo>
                <a:cubicBezTo>
                  <a:pt x="2081805" y="2308917"/>
                  <a:pt x="2086988" y="2303734"/>
                  <a:pt x="2093158" y="2303734"/>
                </a:cubicBezTo>
                <a:close/>
                <a:moveTo>
                  <a:pt x="170584" y="2299046"/>
                </a:moveTo>
                <a:cubicBezTo>
                  <a:pt x="171818" y="2299046"/>
                  <a:pt x="172559" y="2300033"/>
                  <a:pt x="172559" y="2301021"/>
                </a:cubicBezTo>
                <a:cubicBezTo>
                  <a:pt x="172559" y="2302008"/>
                  <a:pt x="171572" y="2302995"/>
                  <a:pt x="170584" y="2302995"/>
                </a:cubicBezTo>
                <a:cubicBezTo>
                  <a:pt x="169597" y="2302995"/>
                  <a:pt x="168610" y="2302008"/>
                  <a:pt x="168610" y="2301021"/>
                </a:cubicBezTo>
                <a:cubicBezTo>
                  <a:pt x="168610" y="2299787"/>
                  <a:pt x="169597" y="2299046"/>
                  <a:pt x="170584" y="2299046"/>
                </a:cubicBezTo>
                <a:close/>
                <a:moveTo>
                  <a:pt x="742506" y="2288431"/>
                </a:moveTo>
                <a:cubicBezTo>
                  <a:pt x="743493" y="2288431"/>
                  <a:pt x="744232" y="2289172"/>
                  <a:pt x="744232" y="2290159"/>
                </a:cubicBezTo>
                <a:cubicBezTo>
                  <a:pt x="744232" y="2291147"/>
                  <a:pt x="743493" y="2291888"/>
                  <a:pt x="742506" y="2291888"/>
                </a:cubicBezTo>
                <a:cubicBezTo>
                  <a:pt x="741517" y="2291888"/>
                  <a:pt x="740777" y="2291147"/>
                  <a:pt x="740777" y="2290159"/>
                </a:cubicBezTo>
                <a:cubicBezTo>
                  <a:pt x="740777" y="2289172"/>
                  <a:pt x="741517" y="2288431"/>
                  <a:pt x="742506" y="2288431"/>
                </a:cubicBezTo>
                <a:close/>
                <a:moveTo>
                  <a:pt x="285365" y="2283495"/>
                </a:moveTo>
                <a:cubicBezTo>
                  <a:pt x="286352" y="2283495"/>
                  <a:pt x="287090" y="2284236"/>
                  <a:pt x="287090" y="2285224"/>
                </a:cubicBezTo>
                <a:cubicBezTo>
                  <a:pt x="286844" y="2286211"/>
                  <a:pt x="286352" y="2286703"/>
                  <a:pt x="285365" y="2286703"/>
                </a:cubicBezTo>
                <a:cubicBezTo>
                  <a:pt x="284623" y="2286703"/>
                  <a:pt x="283882" y="2285965"/>
                  <a:pt x="283882" y="2285224"/>
                </a:cubicBezTo>
                <a:cubicBezTo>
                  <a:pt x="283882" y="2284236"/>
                  <a:pt x="284623" y="2283495"/>
                  <a:pt x="285365" y="2283495"/>
                </a:cubicBezTo>
                <a:close/>
                <a:moveTo>
                  <a:pt x="1071034" y="2282012"/>
                </a:moveTo>
                <a:cubicBezTo>
                  <a:pt x="1072763" y="2282012"/>
                  <a:pt x="1074242" y="2283492"/>
                  <a:pt x="1074242" y="2285220"/>
                </a:cubicBezTo>
                <a:cubicBezTo>
                  <a:pt x="1074242" y="2286949"/>
                  <a:pt x="1072763" y="2288428"/>
                  <a:pt x="1071034" y="2288428"/>
                </a:cubicBezTo>
                <a:cubicBezTo>
                  <a:pt x="1069306" y="2288428"/>
                  <a:pt x="1067826" y="2286949"/>
                  <a:pt x="1067826" y="2285220"/>
                </a:cubicBezTo>
                <a:cubicBezTo>
                  <a:pt x="1067826" y="2283492"/>
                  <a:pt x="1069306" y="2282012"/>
                  <a:pt x="1071034" y="2282012"/>
                </a:cubicBezTo>
                <a:close/>
                <a:moveTo>
                  <a:pt x="2294328" y="2279050"/>
                </a:moveTo>
                <a:cubicBezTo>
                  <a:pt x="2302473" y="2279050"/>
                  <a:pt x="2309139" y="2285715"/>
                  <a:pt x="2309139" y="2293860"/>
                </a:cubicBezTo>
                <a:cubicBezTo>
                  <a:pt x="2309139" y="2302005"/>
                  <a:pt x="2302473" y="2308671"/>
                  <a:pt x="2294328" y="2308671"/>
                </a:cubicBezTo>
                <a:cubicBezTo>
                  <a:pt x="2286183" y="2308671"/>
                  <a:pt x="2279518" y="2302005"/>
                  <a:pt x="2279518" y="2293860"/>
                </a:cubicBezTo>
                <a:cubicBezTo>
                  <a:pt x="2279518" y="2285715"/>
                  <a:pt x="2286183" y="2279050"/>
                  <a:pt x="2294328" y="2279050"/>
                </a:cubicBezTo>
                <a:close/>
                <a:moveTo>
                  <a:pt x="2481425" y="2267202"/>
                </a:moveTo>
                <a:cubicBezTo>
                  <a:pt x="2485870" y="2267202"/>
                  <a:pt x="2489573" y="2270905"/>
                  <a:pt x="2489573" y="2275347"/>
                </a:cubicBezTo>
                <a:cubicBezTo>
                  <a:pt x="2489573" y="2280038"/>
                  <a:pt x="2485870" y="2283495"/>
                  <a:pt x="2481425" y="2283495"/>
                </a:cubicBezTo>
                <a:cubicBezTo>
                  <a:pt x="2476983" y="2283495"/>
                  <a:pt x="2473280" y="2279792"/>
                  <a:pt x="2473280" y="2275347"/>
                </a:cubicBezTo>
                <a:cubicBezTo>
                  <a:pt x="2473280" y="2270905"/>
                  <a:pt x="2476983" y="2267202"/>
                  <a:pt x="2481425" y="2267202"/>
                </a:cubicBezTo>
                <a:close/>
                <a:moveTo>
                  <a:pt x="399646" y="2262019"/>
                </a:moveTo>
                <a:cubicBezTo>
                  <a:pt x="401374" y="2262019"/>
                  <a:pt x="402854" y="2263499"/>
                  <a:pt x="402854" y="2265227"/>
                </a:cubicBezTo>
                <a:cubicBezTo>
                  <a:pt x="402854" y="2266956"/>
                  <a:pt x="401374" y="2268435"/>
                  <a:pt x="399646" y="2268435"/>
                </a:cubicBezTo>
                <a:cubicBezTo>
                  <a:pt x="397917" y="2268435"/>
                  <a:pt x="396438" y="2266956"/>
                  <a:pt x="396438" y="2265227"/>
                </a:cubicBezTo>
                <a:cubicBezTo>
                  <a:pt x="396438" y="2263499"/>
                  <a:pt x="397917" y="2262019"/>
                  <a:pt x="399646" y="2262019"/>
                </a:cubicBezTo>
                <a:close/>
                <a:moveTo>
                  <a:pt x="1593845" y="2258562"/>
                </a:moveTo>
                <a:cubicBezTo>
                  <a:pt x="1595324" y="2258562"/>
                  <a:pt x="1596560" y="2259796"/>
                  <a:pt x="1596560" y="2261278"/>
                </a:cubicBezTo>
                <a:cubicBezTo>
                  <a:pt x="1596560" y="2262758"/>
                  <a:pt x="1595324" y="2263994"/>
                  <a:pt x="1593845" y="2263994"/>
                </a:cubicBezTo>
                <a:cubicBezTo>
                  <a:pt x="1592362" y="2263994"/>
                  <a:pt x="1591129" y="2262758"/>
                  <a:pt x="1591129" y="2261278"/>
                </a:cubicBezTo>
                <a:cubicBezTo>
                  <a:pt x="1591129" y="2259796"/>
                  <a:pt x="1592362" y="2258562"/>
                  <a:pt x="1593845" y="2258562"/>
                </a:cubicBezTo>
                <a:close/>
                <a:moveTo>
                  <a:pt x="1795267" y="2256837"/>
                </a:moveTo>
                <a:cubicBezTo>
                  <a:pt x="1797983" y="2256837"/>
                  <a:pt x="1799956" y="2259060"/>
                  <a:pt x="1799956" y="2261527"/>
                </a:cubicBezTo>
                <a:cubicBezTo>
                  <a:pt x="1799707" y="2264243"/>
                  <a:pt x="1797734" y="2266218"/>
                  <a:pt x="1795267" y="2266218"/>
                </a:cubicBezTo>
                <a:cubicBezTo>
                  <a:pt x="1792796" y="2266218"/>
                  <a:pt x="1790575" y="2264243"/>
                  <a:pt x="1790575" y="2261527"/>
                </a:cubicBezTo>
                <a:cubicBezTo>
                  <a:pt x="1790575" y="2259060"/>
                  <a:pt x="1792550" y="2256837"/>
                  <a:pt x="1795267" y="2256837"/>
                </a:cubicBezTo>
                <a:close/>
                <a:moveTo>
                  <a:pt x="1387485" y="2252392"/>
                </a:moveTo>
                <a:cubicBezTo>
                  <a:pt x="1388472" y="2252392"/>
                  <a:pt x="1389213" y="2253133"/>
                  <a:pt x="1389213" y="2254120"/>
                </a:cubicBezTo>
                <a:cubicBezTo>
                  <a:pt x="1389213" y="2255108"/>
                  <a:pt x="1388472" y="2255849"/>
                  <a:pt x="1387485" y="2255849"/>
                </a:cubicBezTo>
                <a:cubicBezTo>
                  <a:pt x="1386498" y="2255849"/>
                  <a:pt x="1385756" y="2255108"/>
                  <a:pt x="1385756" y="2254120"/>
                </a:cubicBezTo>
                <a:cubicBezTo>
                  <a:pt x="1385756" y="2253133"/>
                  <a:pt x="1386498" y="2252392"/>
                  <a:pt x="1387485" y="2252392"/>
                </a:cubicBezTo>
                <a:close/>
                <a:moveTo>
                  <a:pt x="853088" y="2251900"/>
                </a:moveTo>
                <a:cubicBezTo>
                  <a:pt x="853826" y="2251900"/>
                  <a:pt x="854568" y="2252641"/>
                  <a:pt x="854568" y="2253380"/>
                </a:cubicBezTo>
                <a:cubicBezTo>
                  <a:pt x="854568" y="2254121"/>
                  <a:pt x="853826" y="2254862"/>
                  <a:pt x="853088" y="2254862"/>
                </a:cubicBezTo>
                <a:cubicBezTo>
                  <a:pt x="852346" y="2254862"/>
                  <a:pt x="851605" y="2254121"/>
                  <a:pt x="851605" y="2253380"/>
                </a:cubicBezTo>
                <a:cubicBezTo>
                  <a:pt x="851605" y="2252641"/>
                  <a:pt x="852346" y="2251900"/>
                  <a:pt x="853088" y="2251900"/>
                </a:cubicBezTo>
                <a:close/>
                <a:moveTo>
                  <a:pt x="1991957" y="2247456"/>
                </a:moveTo>
                <a:cubicBezTo>
                  <a:pt x="1996152" y="2247456"/>
                  <a:pt x="1999856" y="2250911"/>
                  <a:pt x="1999856" y="2255355"/>
                </a:cubicBezTo>
                <a:cubicBezTo>
                  <a:pt x="1999856" y="2259799"/>
                  <a:pt x="1996401" y="2263254"/>
                  <a:pt x="1991957" y="2263254"/>
                </a:cubicBezTo>
                <a:cubicBezTo>
                  <a:pt x="1987761" y="2263254"/>
                  <a:pt x="1984058" y="2259799"/>
                  <a:pt x="1984058" y="2255355"/>
                </a:cubicBezTo>
                <a:cubicBezTo>
                  <a:pt x="1984058" y="2250911"/>
                  <a:pt x="1987512" y="2247456"/>
                  <a:pt x="1991957" y="2247456"/>
                </a:cubicBezTo>
                <a:close/>
                <a:moveTo>
                  <a:pt x="2664827" y="2238569"/>
                </a:moveTo>
                <a:cubicBezTo>
                  <a:pt x="2672479" y="2238569"/>
                  <a:pt x="2678650" y="2244739"/>
                  <a:pt x="2678650" y="2252638"/>
                </a:cubicBezTo>
                <a:cubicBezTo>
                  <a:pt x="2678650" y="2260291"/>
                  <a:pt x="2672479" y="2266461"/>
                  <a:pt x="2664827" y="2266461"/>
                </a:cubicBezTo>
                <a:cubicBezTo>
                  <a:pt x="2657174" y="2266461"/>
                  <a:pt x="2651004" y="2260291"/>
                  <a:pt x="2651004" y="2252638"/>
                </a:cubicBezTo>
                <a:cubicBezTo>
                  <a:pt x="2651004" y="2244988"/>
                  <a:pt x="2657174" y="2238569"/>
                  <a:pt x="2664827" y="2238569"/>
                </a:cubicBezTo>
                <a:close/>
                <a:moveTo>
                  <a:pt x="512943" y="2237336"/>
                </a:moveTo>
                <a:cubicBezTo>
                  <a:pt x="514425" y="2237336"/>
                  <a:pt x="515905" y="2238570"/>
                  <a:pt x="515905" y="2240298"/>
                </a:cubicBezTo>
                <a:cubicBezTo>
                  <a:pt x="515659" y="2242026"/>
                  <a:pt x="514425" y="2243260"/>
                  <a:pt x="512943" y="2243260"/>
                </a:cubicBezTo>
                <a:cubicBezTo>
                  <a:pt x="511461" y="2243260"/>
                  <a:pt x="509981" y="2242026"/>
                  <a:pt x="509981" y="2240298"/>
                </a:cubicBezTo>
                <a:cubicBezTo>
                  <a:pt x="509981" y="2238816"/>
                  <a:pt x="511215" y="2237336"/>
                  <a:pt x="512943" y="2237336"/>
                </a:cubicBezTo>
                <a:close/>
                <a:moveTo>
                  <a:pt x="1177423" y="2235115"/>
                </a:moveTo>
                <a:cubicBezTo>
                  <a:pt x="1179151" y="2235115"/>
                  <a:pt x="1180385" y="2236595"/>
                  <a:pt x="1180385" y="2238077"/>
                </a:cubicBezTo>
                <a:cubicBezTo>
                  <a:pt x="1180385" y="2239557"/>
                  <a:pt x="1179151" y="2241039"/>
                  <a:pt x="1177423" y="2241039"/>
                </a:cubicBezTo>
                <a:cubicBezTo>
                  <a:pt x="1175694" y="2241039"/>
                  <a:pt x="1174461" y="2239557"/>
                  <a:pt x="1174461" y="2238077"/>
                </a:cubicBezTo>
                <a:cubicBezTo>
                  <a:pt x="1174461" y="2236349"/>
                  <a:pt x="1175694" y="2235115"/>
                  <a:pt x="1177423" y="2235115"/>
                </a:cubicBezTo>
                <a:close/>
                <a:moveTo>
                  <a:pt x="2184488" y="2231412"/>
                </a:moveTo>
                <a:cubicBezTo>
                  <a:pt x="2191153" y="2231412"/>
                  <a:pt x="2196585" y="2236844"/>
                  <a:pt x="2196585" y="2243506"/>
                </a:cubicBezTo>
                <a:cubicBezTo>
                  <a:pt x="2196585" y="2250171"/>
                  <a:pt x="2191153" y="2255603"/>
                  <a:pt x="2184488" y="2255603"/>
                </a:cubicBezTo>
                <a:cubicBezTo>
                  <a:pt x="2177826" y="2255603"/>
                  <a:pt x="2172394" y="2250171"/>
                  <a:pt x="2172394" y="2243506"/>
                </a:cubicBezTo>
                <a:cubicBezTo>
                  <a:pt x="2172394" y="2236844"/>
                  <a:pt x="2177826" y="2231412"/>
                  <a:pt x="2184488" y="2231412"/>
                </a:cubicBezTo>
                <a:close/>
                <a:moveTo>
                  <a:pt x="962188" y="2209196"/>
                </a:moveTo>
                <a:cubicBezTo>
                  <a:pt x="964166" y="2209196"/>
                  <a:pt x="965645" y="2210676"/>
                  <a:pt x="965645" y="2212653"/>
                </a:cubicBezTo>
                <a:cubicBezTo>
                  <a:pt x="965645" y="2214379"/>
                  <a:pt x="964166" y="2216108"/>
                  <a:pt x="962188" y="2216108"/>
                </a:cubicBezTo>
                <a:cubicBezTo>
                  <a:pt x="960213" y="2216108"/>
                  <a:pt x="958734" y="2214628"/>
                  <a:pt x="958734" y="2212653"/>
                </a:cubicBezTo>
                <a:cubicBezTo>
                  <a:pt x="958734" y="2210676"/>
                  <a:pt x="960213" y="2209196"/>
                  <a:pt x="962188" y="2209196"/>
                </a:cubicBezTo>
                <a:close/>
                <a:moveTo>
                  <a:pt x="625011" y="2208949"/>
                </a:moveTo>
                <a:cubicBezTo>
                  <a:pt x="626491" y="2208949"/>
                  <a:pt x="627479" y="2209936"/>
                  <a:pt x="627479" y="2211416"/>
                </a:cubicBezTo>
                <a:cubicBezTo>
                  <a:pt x="627479" y="2212898"/>
                  <a:pt x="626491" y="2213886"/>
                  <a:pt x="625011" y="2213886"/>
                </a:cubicBezTo>
                <a:cubicBezTo>
                  <a:pt x="623775" y="2213886"/>
                  <a:pt x="622542" y="2212652"/>
                  <a:pt x="622542" y="2211416"/>
                </a:cubicBezTo>
                <a:cubicBezTo>
                  <a:pt x="622542" y="2210183"/>
                  <a:pt x="623529" y="2208949"/>
                  <a:pt x="625011" y="2208949"/>
                </a:cubicBezTo>
                <a:close/>
                <a:moveTo>
                  <a:pt x="2382696" y="2202284"/>
                </a:moveTo>
                <a:cubicBezTo>
                  <a:pt x="2391336" y="2202284"/>
                  <a:pt x="2398494" y="2209442"/>
                  <a:pt x="2398494" y="2218081"/>
                </a:cubicBezTo>
                <a:cubicBezTo>
                  <a:pt x="2398494" y="2226721"/>
                  <a:pt x="2391336" y="2233879"/>
                  <a:pt x="2382696" y="2233879"/>
                </a:cubicBezTo>
                <a:cubicBezTo>
                  <a:pt x="2374057" y="2233879"/>
                  <a:pt x="2366899" y="2226721"/>
                  <a:pt x="2366899" y="2218081"/>
                </a:cubicBezTo>
                <a:cubicBezTo>
                  <a:pt x="2366899" y="2209442"/>
                  <a:pt x="2374057" y="2202284"/>
                  <a:pt x="2382696" y="2202284"/>
                </a:cubicBezTo>
                <a:close/>
                <a:moveTo>
                  <a:pt x="55067" y="2201297"/>
                </a:moveTo>
                <a:cubicBezTo>
                  <a:pt x="56301" y="2201297"/>
                  <a:pt x="57288" y="2202285"/>
                  <a:pt x="57288" y="2203521"/>
                </a:cubicBezTo>
                <a:cubicBezTo>
                  <a:pt x="57535" y="2204506"/>
                  <a:pt x="56301" y="2205742"/>
                  <a:pt x="55067" y="2205742"/>
                </a:cubicBezTo>
                <a:cubicBezTo>
                  <a:pt x="53831" y="2205742"/>
                  <a:pt x="52598" y="2204754"/>
                  <a:pt x="52598" y="2203521"/>
                </a:cubicBezTo>
                <a:cubicBezTo>
                  <a:pt x="52598" y="2202285"/>
                  <a:pt x="53585" y="2201297"/>
                  <a:pt x="55067" y="2201297"/>
                </a:cubicBezTo>
                <a:close/>
                <a:moveTo>
                  <a:pt x="1692331" y="2196363"/>
                </a:moveTo>
                <a:cubicBezTo>
                  <a:pt x="1694059" y="2196363"/>
                  <a:pt x="1695540" y="2197843"/>
                  <a:pt x="1695540" y="2199571"/>
                </a:cubicBezTo>
                <a:cubicBezTo>
                  <a:pt x="1695540" y="2201300"/>
                  <a:pt x="1694059" y="2202782"/>
                  <a:pt x="1692331" y="2202782"/>
                </a:cubicBezTo>
                <a:cubicBezTo>
                  <a:pt x="1690603" y="2202782"/>
                  <a:pt x="1689123" y="2201300"/>
                  <a:pt x="1689123" y="2199571"/>
                </a:cubicBezTo>
                <a:cubicBezTo>
                  <a:pt x="1689123" y="2197843"/>
                  <a:pt x="1690603" y="2196363"/>
                  <a:pt x="1692331" y="2196363"/>
                </a:cubicBezTo>
                <a:close/>
                <a:moveTo>
                  <a:pt x="1488934" y="2195373"/>
                </a:moveTo>
                <a:cubicBezTo>
                  <a:pt x="1489921" y="2195373"/>
                  <a:pt x="1490909" y="2196360"/>
                  <a:pt x="1490909" y="2197348"/>
                </a:cubicBezTo>
                <a:cubicBezTo>
                  <a:pt x="1490909" y="2198335"/>
                  <a:pt x="1490167" y="2199322"/>
                  <a:pt x="1488934" y="2199322"/>
                </a:cubicBezTo>
                <a:cubicBezTo>
                  <a:pt x="1487946" y="2199322"/>
                  <a:pt x="1486959" y="2198335"/>
                  <a:pt x="1486959" y="2197348"/>
                </a:cubicBezTo>
                <a:cubicBezTo>
                  <a:pt x="1486959" y="2196360"/>
                  <a:pt x="1487701" y="2195373"/>
                  <a:pt x="1488934" y="2195373"/>
                </a:cubicBezTo>
                <a:close/>
                <a:moveTo>
                  <a:pt x="1890541" y="2189944"/>
                </a:moveTo>
                <a:cubicBezTo>
                  <a:pt x="1893502" y="2189944"/>
                  <a:pt x="1895477" y="2192165"/>
                  <a:pt x="1895477" y="2195127"/>
                </a:cubicBezTo>
                <a:cubicBezTo>
                  <a:pt x="1895477" y="2198089"/>
                  <a:pt x="1893255" y="2200313"/>
                  <a:pt x="1890541" y="2200313"/>
                </a:cubicBezTo>
                <a:cubicBezTo>
                  <a:pt x="1887825" y="2200313"/>
                  <a:pt x="1885359" y="2198089"/>
                  <a:pt x="1885359" y="2195127"/>
                </a:cubicBezTo>
                <a:cubicBezTo>
                  <a:pt x="1885359" y="2192414"/>
                  <a:pt x="1887577" y="2189944"/>
                  <a:pt x="1890541" y="2189944"/>
                </a:cubicBezTo>
                <a:close/>
                <a:moveTo>
                  <a:pt x="170586" y="2189698"/>
                </a:moveTo>
                <a:cubicBezTo>
                  <a:pt x="171573" y="2189698"/>
                  <a:pt x="172561" y="2190439"/>
                  <a:pt x="172561" y="2191427"/>
                </a:cubicBezTo>
                <a:cubicBezTo>
                  <a:pt x="172312" y="2192660"/>
                  <a:pt x="171573" y="2193402"/>
                  <a:pt x="170586" y="2193402"/>
                </a:cubicBezTo>
                <a:cubicBezTo>
                  <a:pt x="169598" y="2193402"/>
                  <a:pt x="168857" y="2192660"/>
                  <a:pt x="168857" y="2191427"/>
                </a:cubicBezTo>
                <a:cubicBezTo>
                  <a:pt x="168857" y="2190439"/>
                  <a:pt x="169598" y="2189698"/>
                  <a:pt x="170586" y="2189698"/>
                </a:cubicBezTo>
                <a:close/>
                <a:moveTo>
                  <a:pt x="2566831" y="2187723"/>
                </a:moveTo>
                <a:cubicBezTo>
                  <a:pt x="2571521" y="2187723"/>
                  <a:pt x="2575471" y="2191672"/>
                  <a:pt x="2575471" y="2196363"/>
                </a:cubicBezTo>
                <a:cubicBezTo>
                  <a:pt x="2575471" y="2201053"/>
                  <a:pt x="2571521" y="2205003"/>
                  <a:pt x="2566831" y="2205003"/>
                </a:cubicBezTo>
                <a:cubicBezTo>
                  <a:pt x="2561894" y="2205003"/>
                  <a:pt x="2558191" y="2201053"/>
                  <a:pt x="2558191" y="2196363"/>
                </a:cubicBezTo>
                <a:cubicBezTo>
                  <a:pt x="2558191" y="2191672"/>
                  <a:pt x="2562140" y="2187723"/>
                  <a:pt x="2566831" y="2187723"/>
                </a:cubicBezTo>
                <a:close/>
                <a:moveTo>
                  <a:pt x="1282082" y="2184266"/>
                </a:moveTo>
                <a:cubicBezTo>
                  <a:pt x="1283562" y="2184266"/>
                  <a:pt x="1284799" y="2185500"/>
                  <a:pt x="1284799" y="2186982"/>
                </a:cubicBezTo>
                <a:cubicBezTo>
                  <a:pt x="1284799" y="2188462"/>
                  <a:pt x="1283562" y="2189695"/>
                  <a:pt x="1282082" y="2189695"/>
                </a:cubicBezTo>
                <a:cubicBezTo>
                  <a:pt x="1280600" y="2189695"/>
                  <a:pt x="1279367" y="2188462"/>
                  <a:pt x="1279367" y="2186982"/>
                </a:cubicBezTo>
                <a:cubicBezTo>
                  <a:pt x="1279367" y="2185500"/>
                  <a:pt x="1280600" y="2184266"/>
                  <a:pt x="1282082" y="2184266"/>
                </a:cubicBezTo>
                <a:close/>
                <a:moveTo>
                  <a:pt x="736084" y="2176367"/>
                </a:moveTo>
                <a:cubicBezTo>
                  <a:pt x="737071" y="2176367"/>
                  <a:pt x="738059" y="2177354"/>
                  <a:pt x="738059" y="2178342"/>
                </a:cubicBezTo>
                <a:cubicBezTo>
                  <a:pt x="738059" y="2179329"/>
                  <a:pt x="737318" y="2180316"/>
                  <a:pt x="736084" y="2180316"/>
                </a:cubicBezTo>
                <a:cubicBezTo>
                  <a:pt x="734851" y="2180316"/>
                  <a:pt x="734111" y="2179329"/>
                  <a:pt x="734111" y="2178342"/>
                </a:cubicBezTo>
                <a:cubicBezTo>
                  <a:pt x="734111" y="2177354"/>
                  <a:pt x="735097" y="2176367"/>
                  <a:pt x="736084" y="2176367"/>
                </a:cubicBezTo>
                <a:close/>
                <a:moveTo>
                  <a:pt x="2084274" y="2176121"/>
                </a:moveTo>
                <a:cubicBezTo>
                  <a:pt x="2088964" y="2176121"/>
                  <a:pt x="2092911" y="2180070"/>
                  <a:pt x="2092911" y="2184761"/>
                </a:cubicBezTo>
                <a:cubicBezTo>
                  <a:pt x="2092665" y="2189698"/>
                  <a:pt x="2088964" y="2193401"/>
                  <a:pt x="2084274" y="2193401"/>
                </a:cubicBezTo>
                <a:cubicBezTo>
                  <a:pt x="2079583" y="2193401"/>
                  <a:pt x="2075634" y="2189451"/>
                  <a:pt x="2075634" y="2184761"/>
                </a:cubicBezTo>
                <a:cubicBezTo>
                  <a:pt x="2075634" y="2180070"/>
                  <a:pt x="2079583" y="2176121"/>
                  <a:pt x="2084274" y="2176121"/>
                </a:cubicBezTo>
                <a:close/>
                <a:moveTo>
                  <a:pt x="285360" y="2171925"/>
                </a:moveTo>
                <a:cubicBezTo>
                  <a:pt x="287335" y="2171925"/>
                  <a:pt x="288817" y="2173405"/>
                  <a:pt x="288817" y="2175380"/>
                </a:cubicBezTo>
                <a:cubicBezTo>
                  <a:pt x="288817" y="2177108"/>
                  <a:pt x="287335" y="2178837"/>
                  <a:pt x="285360" y="2178837"/>
                </a:cubicBezTo>
                <a:cubicBezTo>
                  <a:pt x="283385" y="2178837"/>
                  <a:pt x="281906" y="2177354"/>
                  <a:pt x="281906" y="2175380"/>
                </a:cubicBezTo>
                <a:cubicBezTo>
                  <a:pt x="281906" y="2173405"/>
                  <a:pt x="283385" y="2171925"/>
                  <a:pt x="285360" y="2171925"/>
                </a:cubicBezTo>
                <a:close/>
                <a:moveTo>
                  <a:pt x="1069553" y="2164519"/>
                </a:moveTo>
                <a:cubicBezTo>
                  <a:pt x="1071281" y="2164519"/>
                  <a:pt x="1072761" y="2165999"/>
                  <a:pt x="1072761" y="2167727"/>
                </a:cubicBezTo>
                <a:cubicBezTo>
                  <a:pt x="1072761" y="2169456"/>
                  <a:pt x="1071527" y="2170938"/>
                  <a:pt x="1069553" y="2170938"/>
                </a:cubicBezTo>
                <a:cubicBezTo>
                  <a:pt x="1067824" y="2170938"/>
                  <a:pt x="1066345" y="2169456"/>
                  <a:pt x="1066345" y="2167727"/>
                </a:cubicBezTo>
                <a:cubicBezTo>
                  <a:pt x="1066345" y="2165999"/>
                  <a:pt x="1067824" y="2164519"/>
                  <a:pt x="1069553" y="2164519"/>
                </a:cubicBezTo>
                <a:close/>
                <a:moveTo>
                  <a:pt x="2273595" y="2156620"/>
                </a:moveTo>
                <a:cubicBezTo>
                  <a:pt x="2280752" y="2156620"/>
                  <a:pt x="2286430" y="2162298"/>
                  <a:pt x="2286430" y="2169456"/>
                </a:cubicBezTo>
                <a:cubicBezTo>
                  <a:pt x="2286430" y="2176367"/>
                  <a:pt x="2280752" y="2182291"/>
                  <a:pt x="2273595" y="2182291"/>
                </a:cubicBezTo>
                <a:cubicBezTo>
                  <a:pt x="2266437" y="2182291"/>
                  <a:pt x="2260759" y="2176613"/>
                  <a:pt x="2260759" y="2169456"/>
                </a:cubicBezTo>
                <a:cubicBezTo>
                  <a:pt x="2260759" y="2162298"/>
                  <a:pt x="2266437" y="2156620"/>
                  <a:pt x="2273595" y="2156620"/>
                </a:cubicBezTo>
                <a:close/>
                <a:moveTo>
                  <a:pt x="2747268" y="2155633"/>
                </a:moveTo>
                <a:cubicBezTo>
                  <a:pt x="2755413" y="2155633"/>
                  <a:pt x="2762078" y="2162298"/>
                  <a:pt x="2762078" y="2170443"/>
                </a:cubicBezTo>
                <a:cubicBezTo>
                  <a:pt x="2761832" y="2178588"/>
                  <a:pt x="2755413" y="2185254"/>
                  <a:pt x="2747268" y="2185254"/>
                </a:cubicBezTo>
                <a:cubicBezTo>
                  <a:pt x="2739123" y="2185254"/>
                  <a:pt x="2732458" y="2178588"/>
                  <a:pt x="2732458" y="2170443"/>
                </a:cubicBezTo>
                <a:cubicBezTo>
                  <a:pt x="2732458" y="2162298"/>
                  <a:pt x="2739123" y="2155633"/>
                  <a:pt x="2747268" y="2155633"/>
                </a:cubicBezTo>
                <a:close/>
                <a:moveTo>
                  <a:pt x="399644" y="2151438"/>
                </a:moveTo>
                <a:cubicBezTo>
                  <a:pt x="401372" y="2151438"/>
                  <a:pt x="402606" y="2152672"/>
                  <a:pt x="402606" y="2154400"/>
                </a:cubicBezTo>
                <a:cubicBezTo>
                  <a:pt x="402606" y="2155880"/>
                  <a:pt x="401124" y="2157362"/>
                  <a:pt x="399644" y="2157362"/>
                </a:cubicBezTo>
                <a:cubicBezTo>
                  <a:pt x="397916" y="2157362"/>
                  <a:pt x="396682" y="2156128"/>
                  <a:pt x="396682" y="2154400"/>
                </a:cubicBezTo>
                <a:cubicBezTo>
                  <a:pt x="396682" y="2152672"/>
                  <a:pt x="397916" y="2151438"/>
                  <a:pt x="399644" y="2151438"/>
                </a:cubicBezTo>
                <a:close/>
                <a:moveTo>
                  <a:pt x="845679" y="2139094"/>
                </a:moveTo>
                <a:cubicBezTo>
                  <a:pt x="846667" y="2139094"/>
                  <a:pt x="847408" y="2139835"/>
                  <a:pt x="847408" y="2140574"/>
                </a:cubicBezTo>
                <a:cubicBezTo>
                  <a:pt x="847408" y="2141564"/>
                  <a:pt x="846667" y="2142302"/>
                  <a:pt x="845679" y="2142302"/>
                </a:cubicBezTo>
                <a:cubicBezTo>
                  <a:pt x="844692" y="2142302"/>
                  <a:pt x="844200" y="2141564"/>
                  <a:pt x="844200" y="2140574"/>
                </a:cubicBezTo>
                <a:cubicBezTo>
                  <a:pt x="844200" y="2139586"/>
                  <a:pt x="844941" y="2139094"/>
                  <a:pt x="845679" y="2139094"/>
                </a:cubicBezTo>
                <a:close/>
                <a:moveTo>
                  <a:pt x="1588411" y="2135145"/>
                </a:moveTo>
                <a:cubicBezTo>
                  <a:pt x="1589645" y="2135145"/>
                  <a:pt x="1590632" y="2136133"/>
                  <a:pt x="1590632" y="2137366"/>
                </a:cubicBezTo>
                <a:cubicBezTo>
                  <a:pt x="1590881" y="2138602"/>
                  <a:pt x="1589894" y="2139587"/>
                  <a:pt x="1588411" y="2139587"/>
                </a:cubicBezTo>
                <a:cubicBezTo>
                  <a:pt x="1587178" y="2139587"/>
                  <a:pt x="1586190" y="2138602"/>
                  <a:pt x="1586190" y="2137366"/>
                </a:cubicBezTo>
                <a:cubicBezTo>
                  <a:pt x="1586190" y="2136133"/>
                  <a:pt x="1587178" y="2135145"/>
                  <a:pt x="1588411" y="2135145"/>
                </a:cubicBezTo>
                <a:close/>
                <a:moveTo>
                  <a:pt x="1788597" y="2132678"/>
                </a:moveTo>
                <a:cubicBezTo>
                  <a:pt x="1789585" y="2132678"/>
                  <a:pt x="1790326" y="2133419"/>
                  <a:pt x="1790326" y="2134406"/>
                </a:cubicBezTo>
                <a:cubicBezTo>
                  <a:pt x="1790326" y="2135394"/>
                  <a:pt x="1789585" y="2136135"/>
                  <a:pt x="1788597" y="2136135"/>
                </a:cubicBezTo>
                <a:cubicBezTo>
                  <a:pt x="1787610" y="2136135"/>
                  <a:pt x="1786869" y="2135394"/>
                  <a:pt x="1786869" y="2134406"/>
                </a:cubicBezTo>
                <a:cubicBezTo>
                  <a:pt x="1786869" y="2133419"/>
                  <a:pt x="1787610" y="2132678"/>
                  <a:pt x="1788597" y="2132678"/>
                </a:cubicBezTo>
                <a:close/>
                <a:moveTo>
                  <a:pt x="1384767" y="2129470"/>
                </a:moveTo>
                <a:cubicBezTo>
                  <a:pt x="1386247" y="2129470"/>
                  <a:pt x="1387481" y="2130704"/>
                  <a:pt x="1387481" y="2131937"/>
                </a:cubicBezTo>
                <a:cubicBezTo>
                  <a:pt x="1387234" y="2133420"/>
                  <a:pt x="1386001" y="2134653"/>
                  <a:pt x="1384767" y="2134653"/>
                </a:cubicBezTo>
                <a:cubicBezTo>
                  <a:pt x="1383285" y="2134653"/>
                  <a:pt x="1382298" y="2133420"/>
                  <a:pt x="1382298" y="2131937"/>
                </a:cubicBezTo>
                <a:cubicBezTo>
                  <a:pt x="1382298" y="2130457"/>
                  <a:pt x="1383531" y="2129470"/>
                  <a:pt x="1384767" y="2129470"/>
                </a:cubicBezTo>
                <a:close/>
                <a:moveTo>
                  <a:pt x="512692" y="2126508"/>
                </a:moveTo>
                <a:cubicBezTo>
                  <a:pt x="514175" y="2126508"/>
                  <a:pt x="515162" y="2127496"/>
                  <a:pt x="515162" y="2128978"/>
                </a:cubicBezTo>
                <a:cubicBezTo>
                  <a:pt x="515162" y="2130212"/>
                  <a:pt x="514175" y="2131445"/>
                  <a:pt x="512692" y="2131445"/>
                </a:cubicBezTo>
                <a:cubicBezTo>
                  <a:pt x="511213" y="2131445"/>
                  <a:pt x="510225" y="2130212"/>
                  <a:pt x="510225" y="2128978"/>
                </a:cubicBezTo>
                <a:cubicBezTo>
                  <a:pt x="510225" y="2127496"/>
                  <a:pt x="511459" y="2126508"/>
                  <a:pt x="512692" y="2126508"/>
                </a:cubicBezTo>
                <a:close/>
                <a:moveTo>
                  <a:pt x="2468839" y="2122805"/>
                </a:moveTo>
                <a:cubicBezTo>
                  <a:pt x="2478217" y="2122805"/>
                  <a:pt x="2485624" y="2130212"/>
                  <a:pt x="2485624" y="2139590"/>
                </a:cubicBezTo>
                <a:cubicBezTo>
                  <a:pt x="2485624" y="2148969"/>
                  <a:pt x="2477971" y="2156375"/>
                  <a:pt x="2468839" y="2156375"/>
                </a:cubicBezTo>
                <a:cubicBezTo>
                  <a:pt x="2459707" y="2156375"/>
                  <a:pt x="2452054" y="2148969"/>
                  <a:pt x="2452054" y="2139590"/>
                </a:cubicBezTo>
                <a:cubicBezTo>
                  <a:pt x="2452054" y="2130458"/>
                  <a:pt x="2459458" y="2122805"/>
                  <a:pt x="2468839" y="2122805"/>
                </a:cubicBezTo>
                <a:close/>
                <a:moveTo>
                  <a:pt x="1983566" y="2120584"/>
                </a:moveTo>
                <a:cubicBezTo>
                  <a:pt x="1986528" y="2120584"/>
                  <a:pt x="1988995" y="2123054"/>
                  <a:pt x="1988995" y="2126016"/>
                </a:cubicBezTo>
                <a:cubicBezTo>
                  <a:pt x="1988995" y="2128975"/>
                  <a:pt x="1986528" y="2131445"/>
                  <a:pt x="1983566" y="2131445"/>
                </a:cubicBezTo>
                <a:cubicBezTo>
                  <a:pt x="1980604" y="2131445"/>
                  <a:pt x="1978134" y="2128975"/>
                  <a:pt x="1978134" y="2126016"/>
                </a:cubicBezTo>
                <a:cubicBezTo>
                  <a:pt x="1978134" y="2123054"/>
                  <a:pt x="1980604" y="2120584"/>
                  <a:pt x="1983566" y="2120584"/>
                </a:cubicBezTo>
                <a:close/>
                <a:moveTo>
                  <a:pt x="1175447" y="2115893"/>
                </a:moveTo>
                <a:cubicBezTo>
                  <a:pt x="1177175" y="2115893"/>
                  <a:pt x="1178408" y="2117127"/>
                  <a:pt x="1178408" y="2118855"/>
                </a:cubicBezTo>
                <a:cubicBezTo>
                  <a:pt x="1178408" y="2120335"/>
                  <a:pt x="1176929" y="2121817"/>
                  <a:pt x="1175447" y="2121817"/>
                </a:cubicBezTo>
                <a:cubicBezTo>
                  <a:pt x="1173718" y="2121817"/>
                  <a:pt x="1172484" y="2120583"/>
                  <a:pt x="1172484" y="2118855"/>
                </a:cubicBezTo>
                <a:cubicBezTo>
                  <a:pt x="1172484" y="2117127"/>
                  <a:pt x="1173718" y="2115893"/>
                  <a:pt x="1175447" y="2115893"/>
                </a:cubicBezTo>
                <a:close/>
                <a:moveTo>
                  <a:pt x="2649770" y="2105279"/>
                </a:moveTo>
                <a:cubicBezTo>
                  <a:pt x="2654953" y="2105279"/>
                  <a:pt x="2659149" y="2109475"/>
                  <a:pt x="2659149" y="2114660"/>
                </a:cubicBezTo>
                <a:cubicBezTo>
                  <a:pt x="2659149" y="2119843"/>
                  <a:pt x="2654953" y="2124038"/>
                  <a:pt x="2649770" y="2124038"/>
                </a:cubicBezTo>
                <a:cubicBezTo>
                  <a:pt x="2644585" y="2124038"/>
                  <a:pt x="2640389" y="2119843"/>
                  <a:pt x="2640389" y="2114660"/>
                </a:cubicBezTo>
                <a:cubicBezTo>
                  <a:pt x="2640389" y="2109475"/>
                  <a:pt x="2644585" y="2105279"/>
                  <a:pt x="2649770" y="2105279"/>
                </a:cubicBezTo>
                <a:close/>
                <a:moveTo>
                  <a:pt x="2174122" y="2102071"/>
                </a:moveTo>
                <a:cubicBezTo>
                  <a:pt x="2179305" y="2102071"/>
                  <a:pt x="2183500" y="2106267"/>
                  <a:pt x="2183500" y="2111452"/>
                </a:cubicBezTo>
                <a:cubicBezTo>
                  <a:pt x="2183500" y="2116635"/>
                  <a:pt x="2179305" y="2120830"/>
                  <a:pt x="2174122" y="2120830"/>
                </a:cubicBezTo>
                <a:cubicBezTo>
                  <a:pt x="2168937" y="2120830"/>
                  <a:pt x="2164741" y="2116635"/>
                  <a:pt x="2164741" y="2111452"/>
                </a:cubicBezTo>
                <a:cubicBezTo>
                  <a:pt x="2164741" y="2106267"/>
                  <a:pt x="2168937" y="2102071"/>
                  <a:pt x="2174122" y="2102071"/>
                </a:cubicBezTo>
                <a:close/>
                <a:moveTo>
                  <a:pt x="953792" y="2097629"/>
                </a:moveTo>
                <a:cubicBezTo>
                  <a:pt x="954533" y="2097629"/>
                  <a:pt x="955026" y="2098121"/>
                  <a:pt x="955026" y="2098863"/>
                </a:cubicBezTo>
                <a:cubicBezTo>
                  <a:pt x="955026" y="2099604"/>
                  <a:pt x="954533" y="2100099"/>
                  <a:pt x="953792" y="2100099"/>
                </a:cubicBezTo>
                <a:cubicBezTo>
                  <a:pt x="953051" y="2100099"/>
                  <a:pt x="952559" y="2099604"/>
                  <a:pt x="952559" y="2098863"/>
                </a:cubicBezTo>
                <a:cubicBezTo>
                  <a:pt x="952559" y="2098121"/>
                  <a:pt x="953051" y="2097629"/>
                  <a:pt x="953792" y="2097629"/>
                </a:cubicBezTo>
                <a:close/>
                <a:moveTo>
                  <a:pt x="624760" y="2096888"/>
                </a:moveTo>
                <a:cubicBezTo>
                  <a:pt x="625748" y="2096888"/>
                  <a:pt x="626735" y="2097875"/>
                  <a:pt x="626735" y="2098863"/>
                </a:cubicBezTo>
                <a:cubicBezTo>
                  <a:pt x="626735" y="2099850"/>
                  <a:pt x="625994" y="2100837"/>
                  <a:pt x="624760" y="2100837"/>
                </a:cubicBezTo>
                <a:cubicBezTo>
                  <a:pt x="623773" y="2100837"/>
                  <a:pt x="622785" y="2099850"/>
                  <a:pt x="622785" y="2098863"/>
                </a:cubicBezTo>
                <a:cubicBezTo>
                  <a:pt x="622785" y="2097629"/>
                  <a:pt x="623773" y="2096888"/>
                  <a:pt x="624760" y="2096888"/>
                </a:cubicBezTo>
                <a:close/>
                <a:moveTo>
                  <a:pt x="54817" y="2091705"/>
                </a:moveTo>
                <a:cubicBezTo>
                  <a:pt x="56296" y="2091705"/>
                  <a:pt x="57532" y="2092939"/>
                  <a:pt x="57532" y="2094421"/>
                </a:cubicBezTo>
                <a:cubicBezTo>
                  <a:pt x="57532" y="2095901"/>
                  <a:pt x="56296" y="2097134"/>
                  <a:pt x="54817" y="2097134"/>
                </a:cubicBezTo>
                <a:cubicBezTo>
                  <a:pt x="53334" y="2097134"/>
                  <a:pt x="52101" y="2095901"/>
                  <a:pt x="52101" y="2094421"/>
                </a:cubicBezTo>
                <a:cubicBezTo>
                  <a:pt x="52101" y="2092939"/>
                  <a:pt x="53334" y="2091705"/>
                  <a:pt x="54817" y="2091705"/>
                </a:cubicBezTo>
                <a:close/>
                <a:moveTo>
                  <a:pt x="170335" y="2079857"/>
                </a:moveTo>
                <a:cubicBezTo>
                  <a:pt x="171569" y="2079857"/>
                  <a:pt x="172556" y="2080844"/>
                  <a:pt x="172556" y="2082327"/>
                </a:cubicBezTo>
                <a:cubicBezTo>
                  <a:pt x="172556" y="2083560"/>
                  <a:pt x="171569" y="2084548"/>
                  <a:pt x="170335" y="2084548"/>
                </a:cubicBezTo>
                <a:cubicBezTo>
                  <a:pt x="169099" y="2084548"/>
                  <a:pt x="167865" y="2083560"/>
                  <a:pt x="167865" y="2082327"/>
                </a:cubicBezTo>
                <a:cubicBezTo>
                  <a:pt x="167865" y="2081091"/>
                  <a:pt x="168853" y="2079857"/>
                  <a:pt x="170335" y="2079857"/>
                </a:cubicBezTo>
                <a:close/>
                <a:moveTo>
                  <a:pt x="2360234" y="2078374"/>
                </a:moveTo>
                <a:cubicBezTo>
                  <a:pt x="2367886" y="2078374"/>
                  <a:pt x="2374057" y="2084544"/>
                  <a:pt x="2374057" y="2092197"/>
                </a:cubicBezTo>
                <a:cubicBezTo>
                  <a:pt x="2374057" y="2099849"/>
                  <a:pt x="2367886" y="2106020"/>
                  <a:pt x="2360234" y="2106020"/>
                </a:cubicBezTo>
                <a:cubicBezTo>
                  <a:pt x="2352581" y="2106020"/>
                  <a:pt x="2346411" y="2099849"/>
                  <a:pt x="2346411" y="2092197"/>
                </a:cubicBezTo>
                <a:cubicBezTo>
                  <a:pt x="2346411" y="2084544"/>
                  <a:pt x="2352581" y="2078374"/>
                  <a:pt x="2360234" y="2078374"/>
                </a:cubicBezTo>
                <a:close/>
                <a:moveTo>
                  <a:pt x="1485231" y="2070968"/>
                </a:moveTo>
                <a:cubicBezTo>
                  <a:pt x="1486465" y="2070968"/>
                  <a:pt x="1487698" y="2071955"/>
                  <a:pt x="1487698" y="2073438"/>
                </a:cubicBezTo>
                <a:cubicBezTo>
                  <a:pt x="1487698" y="2074671"/>
                  <a:pt x="1486711" y="2075905"/>
                  <a:pt x="1485231" y="2075905"/>
                </a:cubicBezTo>
                <a:cubicBezTo>
                  <a:pt x="1483995" y="2075905"/>
                  <a:pt x="1482761" y="2074918"/>
                  <a:pt x="1482761" y="2073438"/>
                </a:cubicBezTo>
                <a:cubicBezTo>
                  <a:pt x="1482761" y="2072202"/>
                  <a:pt x="1483749" y="2070968"/>
                  <a:pt x="1485231" y="2070968"/>
                </a:cubicBezTo>
                <a:close/>
                <a:moveTo>
                  <a:pt x="1685913" y="2070722"/>
                </a:moveTo>
                <a:cubicBezTo>
                  <a:pt x="1687392" y="2070722"/>
                  <a:pt x="1688628" y="2071956"/>
                  <a:pt x="1688628" y="2073438"/>
                </a:cubicBezTo>
                <a:cubicBezTo>
                  <a:pt x="1688628" y="2074918"/>
                  <a:pt x="1687392" y="2076154"/>
                  <a:pt x="1685913" y="2076154"/>
                </a:cubicBezTo>
                <a:cubicBezTo>
                  <a:pt x="1684430" y="2076154"/>
                  <a:pt x="1683196" y="2074918"/>
                  <a:pt x="1683196" y="2073438"/>
                </a:cubicBezTo>
                <a:cubicBezTo>
                  <a:pt x="1683196" y="2071956"/>
                  <a:pt x="1684430" y="2070722"/>
                  <a:pt x="1685913" y="2070722"/>
                </a:cubicBezTo>
                <a:close/>
                <a:moveTo>
                  <a:pt x="2827242" y="2070476"/>
                </a:moveTo>
                <a:cubicBezTo>
                  <a:pt x="2835880" y="2070476"/>
                  <a:pt x="2842791" y="2077387"/>
                  <a:pt x="2842791" y="2086027"/>
                </a:cubicBezTo>
                <a:cubicBezTo>
                  <a:pt x="2842791" y="2094667"/>
                  <a:pt x="2835880" y="2101579"/>
                  <a:pt x="2827242" y="2101579"/>
                </a:cubicBezTo>
                <a:cubicBezTo>
                  <a:pt x="2818603" y="2101579"/>
                  <a:pt x="2811691" y="2094667"/>
                  <a:pt x="2811691" y="2086027"/>
                </a:cubicBezTo>
                <a:cubicBezTo>
                  <a:pt x="2811691" y="2077387"/>
                  <a:pt x="2818603" y="2070476"/>
                  <a:pt x="2827242" y="2070476"/>
                </a:cubicBezTo>
                <a:close/>
                <a:moveTo>
                  <a:pt x="1882639" y="2064057"/>
                </a:moveTo>
                <a:cubicBezTo>
                  <a:pt x="1883873" y="2064057"/>
                  <a:pt x="1884862" y="2065044"/>
                  <a:pt x="1884862" y="2066278"/>
                </a:cubicBezTo>
                <a:cubicBezTo>
                  <a:pt x="1885111" y="2067514"/>
                  <a:pt x="1884123" y="2068502"/>
                  <a:pt x="1882639" y="2068502"/>
                </a:cubicBezTo>
                <a:cubicBezTo>
                  <a:pt x="1881407" y="2068502"/>
                  <a:pt x="1880419" y="2067514"/>
                  <a:pt x="1880419" y="2066278"/>
                </a:cubicBezTo>
                <a:cubicBezTo>
                  <a:pt x="1880419" y="2065044"/>
                  <a:pt x="1881407" y="2064057"/>
                  <a:pt x="1882639" y="2064057"/>
                </a:cubicBezTo>
                <a:close/>
                <a:moveTo>
                  <a:pt x="285111" y="2063318"/>
                </a:moveTo>
                <a:cubicBezTo>
                  <a:pt x="286099" y="2063318"/>
                  <a:pt x="287086" y="2064305"/>
                  <a:pt x="287086" y="2065293"/>
                </a:cubicBezTo>
                <a:cubicBezTo>
                  <a:pt x="287086" y="2066280"/>
                  <a:pt x="286345" y="2067267"/>
                  <a:pt x="285111" y="2067267"/>
                </a:cubicBezTo>
                <a:cubicBezTo>
                  <a:pt x="284124" y="2067267"/>
                  <a:pt x="283137" y="2066280"/>
                  <a:pt x="283137" y="2065293"/>
                </a:cubicBezTo>
                <a:cubicBezTo>
                  <a:pt x="283137" y="2064305"/>
                  <a:pt x="284124" y="2063318"/>
                  <a:pt x="285111" y="2063318"/>
                </a:cubicBezTo>
                <a:close/>
                <a:moveTo>
                  <a:pt x="1279119" y="2063072"/>
                </a:moveTo>
                <a:cubicBezTo>
                  <a:pt x="1280598" y="2063072"/>
                  <a:pt x="1282081" y="2064306"/>
                  <a:pt x="1282081" y="2066034"/>
                </a:cubicBezTo>
                <a:cubicBezTo>
                  <a:pt x="1282081" y="2067514"/>
                  <a:pt x="1280845" y="2068750"/>
                  <a:pt x="1279119" y="2068750"/>
                </a:cubicBezTo>
                <a:cubicBezTo>
                  <a:pt x="1277390" y="2068750"/>
                  <a:pt x="1276403" y="2067514"/>
                  <a:pt x="1276403" y="2066034"/>
                </a:cubicBezTo>
                <a:cubicBezTo>
                  <a:pt x="1276403" y="2064552"/>
                  <a:pt x="1277636" y="2063072"/>
                  <a:pt x="1279119" y="2063072"/>
                </a:cubicBezTo>
                <a:close/>
                <a:moveTo>
                  <a:pt x="735587" y="2062823"/>
                </a:moveTo>
                <a:cubicBezTo>
                  <a:pt x="736577" y="2062823"/>
                  <a:pt x="737069" y="2063564"/>
                  <a:pt x="737069" y="2064303"/>
                </a:cubicBezTo>
                <a:cubicBezTo>
                  <a:pt x="737069" y="2065044"/>
                  <a:pt x="736328" y="2065785"/>
                  <a:pt x="735587" y="2065785"/>
                </a:cubicBezTo>
                <a:cubicBezTo>
                  <a:pt x="734849" y="2065785"/>
                  <a:pt x="734109" y="2065044"/>
                  <a:pt x="734109" y="2064303"/>
                </a:cubicBezTo>
                <a:cubicBezTo>
                  <a:pt x="734109" y="2063564"/>
                  <a:pt x="734849" y="2062823"/>
                  <a:pt x="735587" y="2062823"/>
                </a:cubicBezTo>
                <a:close/>
                <a:moveTo>
                  <a:pt x="1060176" y="2051716"/>
                </a:moveTo>
                <a:cubicBezTo>
                  <a:pt x="1060669" y="2051716"/>
                  <a:pt x="1061164" y="2052211"/>
                  <a:pt x="1061164" y="2052704"/>
                </a:cubicBezTo>
                <a:cubicBezTo>
                  <a:pt x="1061164" y="2053445"/>
                  <a:pt x="1060669" y="2053691"/>
                  <a:pt x="1060176" y="2053691"/>
                </a:cubicBezTo>
                <a:cubicBezTo>
                  <a:pt x="1059684" y="2053691"/>
                  <a:pt x="1059189" y="2053196"/>
                  <a:pt x="1059189" y="2052704"/>
                </a:cubicBezTo>
                <a:cubicBezTo>
                  <a:pt x="1059189" y="2052211"/>
                  <a:pt x="1059684" y="2051716"/>
                  <a:pt x="1060176" y="2051716"/>
                </a:cubicBezTo>
                <a:close/>
                <a:moveTo>
                  <a:pt x="2074398" y="2047521"/>
                </a:moveTo>
                <a:cubicBezTo>
                  <a:pt x="2077606" y="2047521"/>
                  <a:pt x="2080322" y="2050237"/>
                  <a:pt x="2080322" y="2053445"/>
                </a:cubicBezTo>
                <a:cubicBezTo>
                  <a:pt x="2080322" y="2056653"/>
                  <a:pt x="2077606" y="2059369"/>
                  <a:pt x="2074398" y="2059369"/>
                </a:cubicBezTo>
                <a:cubicBezTo>
                  <a:pt x="2071190" y="2059369"/>
                  <a:pt x="2068474" y="2056653"/>
                  <a:pt x="2068474" y="2053445"/>
                </a:cubicBezTo>
                <a:cubicBezTo>
                  <a:pt x="2068474" y="2050237"/>
                  <a:pt x="2071190" y="2047521"/>
                  <a:pt x="2074398" y="2047521"/>
                </a:cubicBezTo>
                <a:close/>
                <a:moveTo>
                  <a:pt x="399150" y="2041843"/>
                </a:moveTo>
                <a:cubicBezTo>
                  <a:pt x="400137" y="2041843"/>
                  <a:pt x="400875" y="2042584"/>
                  <a:pt x="400875" y="2043571"/>
                </a:cubicBezTo>
                <a:cubicBezTo>
                  <a:pt x="400875" y="2044559"/>
                  <a:pt x="400137" y="2045300"/>
                  <a:pt x="399150" y="2045300"/>
                </a:cubicBezTo>
                <a:cubicBezTo>
                  <a:pt x="398162" y="2045300"/>
                  <a:pt x="397421" y="2044559"/>
                  <a:pt x="397421" y="2043571"/>
                </a:cubicBezTo>
                <a:cubicBezTo>
                  <a:pt x="397421" y="2042584"/>
                  <a:pt x="398162" y="2041843"/>
                  <a:pt x="399150" y="2041843"/>
                </a:cubicBezTo>
                <a:close/>
                <a:moveTo>
                  <a:pt x="2552516" y="2041102"/>
                </a:moveTo>
                <a:cubicBezTo>
                  <a:pt x="2562143" y="2041102"/>
                  <a:pt x="2570288" y="2049001"/>
                  <a:pt x="2570288" y="2058628"/>
                </a:cubicBezTo>
                <a:cubicBezTo>
                  <a:pt x="2570288" y="2068501"/>
                  <a:pt x="2562143" y="2076400"/>
                  <a:pt x="2552516" y="2076400"/>
                </a:cubicBezTo>
                <a:cubicBezTo>
                  <a:pt x="2542889" y="2076400"/>
                  <a:pt x="2534744" y="2068501"/>
                  <a:pt x="2534744" y="2058628"/>
                </a:cubicBezTo>
                <a:cubicBezTo>
                  <a:pt x="2534744" y="2049001"/>
                  <a:pt x="2542643" y="2041102"/>
                  <a:pt x="2552516" y="2041102"/>
                </a:cubicBezTo>
                <a:close/>
                <a:moveTo>
                  <a:pt x="2261747" y="2025058"/>
                </a:moveTo>
                <a:cubicBezTo>
                  <a:pt x="2267424" y="2025058"/>
                  <a:pt x="2271866" y="2029500"/>
                  <a:pt x="2271866" y="2035178"/>
                </a:cubicBezTo>
                <a:cubicBezTo>
                  <a:pt x="2271620" y="2040855"/>
                  <a:pt x="2267178" y="2045300"/>
                  <a:pt x="2261747" y="2045300"/>
                </a:cubicBezTo>
                <a:cubicBezTo>
                  <a:pt x="2256069" y="2045300"/>
                  <a:pt x="2251627" y="2040855"/>
                  <a:pt x="2251627" y="2035178"/>
                </a:cubicBezTo>
                <a:cubicBezTo>
                  <a:pt x="2251627" y="2029500"/>
                  <a:pt x="2256069" y="2025058"/>
                  <a:pt x="2261747" y="2025058"/>
                </a:cubicBezTo>
                <a:close/>
                <a:moveTo>
                  <a:pt x="844690" y="2024317"/>
                </a:moveTo>
                <a:cubicBezTo>
                  <a:pt x="845183" y="2024317"/>
                  <a:pt x="845678" y="2024809"/>
                  <a:pt x="845678" y="2025304"/>
                </a:cubicBezTo>
                <a:cubicBezTo>
                  <a:pt x="845678" y="2025797"/>
                  <a:pt x="845431" y="2026292"/>
                  <a:pt x="844690" y="2026292"/>
                </a:cubicBezTo>
                <a:cubicBezTo>
                  <a:pt x="844198" y="2026292"/>
                  <a:pt x="843703" y="2025797"/>
                  <a:pt x="843703" y="2025304"/>
                </a:cubicBezTo>
                <a:cubicBezTo>
                  <a:pt x="843703" y="2024809"/>
                  <a:pt x="844198" y="2024317"/>
                  <a:pt x="844690" y="2024317"/>
                </a:cubicBezTo>
                <a:close/>
                <a:moveTo>
                  <a:pt x="2730484" y="2020368"/>
                </a:moveTo>
                <a:cubicBezTo>
                  <a:pt x="2736159" y="2020368"/>
                  <a:pt x="2740850" y="2025059"/>
                  <a:pt x="2740850" y="2030737"/>
                </a:cubicBezTo>
                <a:cubicBezTo>
                  <a:pt x="2740850" y="2036412"/>
                  <a:pt x="2736159" y="2041103"/>
                  <a:pt x="2730484" y="2041103"/>
                </a:cubicBezTo>
                <a:cubicBezTo>
                  <a:pt x="2724806" y="2041103"/>
                  <a:pt x="2720115" y="2036412"/>
                  <a:pt x="2720115" y="2030737"/>
                </a:cubicBezTo>
                <a:cubicBezTo>
                  <a:pt x="2720115" y="2025059"/>
                  <a:pt x="2724806" y="2020368"/>
                  <a:pt x="2730484" y="2020368"/>
                </a:cubicBezTo>
                <a:close/>
                <a:moveTo>
                  <a:pt x="512199" y="2013705"/>
                </a:moveTo>
                <a:cubicBezTo>
                  <a:pt x="514174" y="2013705"/>
                  <a:pt x="515654" y="2015185"/>
                  <a:pt x="515654" y="2017160"/>
                </a:cubicBezTo>
                <a:cubicBezTo>
                  <a:pt x="515902" y="2018888"/>
                  <a:pt x="514174" y="2020617"/>
                  <a:pt x="512199" y="2020617"/>
                </a:cubicBezTo>
                <a:cubicBezTo>
                  <a:pt x="510224" y="2020617"/>
                  <a:pt x="508496" y="2019137"/>
                  <a:pt x="508496" y="2017160"/>
                </a:cubicBezTo>
                <a:cubicBezTo>
                  <a:pt x="508496" y="2015185"/>
                  <a:pt x="509976" y="2013705"/>
                  <a:pt x="512199" y="2013705"/>
                </a:cubicBezTo>
                <a:close/>
                <a:moveTo>
                  <a:pt x="1583718" y="2009015"/>
                </a:moveTo>
                <a:cubicBezTo>
                  <a:pt x="1584952" y="2009015"/>
                  <a:pt x="1585939" y="2010002"/>
                  <a:pt x="1585939" y="2011236"/>
                </a:cubicBezTo>
                <a:cubicBezTo>
                  <a:pt x="1585939" y="2012470"/>
                  <a:pt x="1584952" y="2013457"/>
                  <a:pt x="1583718" y="2013457"/>
                </a:cubicBezTo>
                <a:cubicBezTo>
                  <a:pt x="1582484" y="2013457"/>
                  <a:pt x="1581497" y="2012470"/>
                  <a:pt x="1581497" y="2011236"/>
                </a:cubicBezTo>
                <a:cubicBezTo>
                  <a:pt x="1581497" y="2010002"/>
                  <a:pt x="1582484" y="2009015"/>
                  <a:pt x="1583718" y="2009015"/>
                </a:cubicBezTo>
                <a:close/>
                <a:moveTo>
                  <a:pt x="1381064" y="2006299"/>
                </a:moveTo>
                <a:cubicBezTo>
                  <a:pt x="1382544" y="2006299"/>
                  <a:pt x="1383780" y="2007533"/>
                  <a:pt x="1383780" y="2009015"/>
                </a:cubicBezTo>
                <a:cubicBezTo>
                  <a:pt x="1383531" y="2010495"/>
                  <a:pt x="1382298" y="2011731"/>
                  <a:pt x="1381064" y="2011731"/>
                </a:cubicBezTo>
                <a:cubicBezTo>
                  <a:pt x="1379582" y="2011731"/>
                  <a:pt x="1378349" y="2010495"/>
                  <a:pt x="1378349" y="2009015"/>
                </a:cubicBezTo>
                <a:cubicBezTo>
                  <a:pt x="1378349" y="2007533"/>
                  <a:pt x="1379582" y="2006299"/>
                  <a:pt x="1381064" y="2006299"/>
                </a:cubicBezTo>
                <a:close/>
                <a:moveTo>
                  <a:pt x="1780944" y="2003583"/>
                </a:moveTo>
                <a:cubicBezTo>
                  <a:pt x="1782671" y="2003583"/>
                  <a:pt x="1783905" y="2005063"/>
                  <a:pt x="1783905" y="2006545"/>
                </a:cubicBezTo>
                <a:cubicBezTo>
                  <a:pt x="1783905" y="2008273"/>
                  <a:pt x="1782671" y="2009507"/>
                  <a:pt x="1780944" y="2009507"/>
                </a:cubicBezTo>
                <a:cubicBezTo>
                  <a:pt x="1779217" y="2009507"/>
                  <a:pt x="1777982" y="2008273"/>
                  <a:pt x="1777982" y="2006545"/>
                </a:cubicBezTo>
                <a:cubicBezTo>
                  <a:pt x="1777982" y="2004816"/>
                  <a:pt x="1779217" y="2003583"/>
                  <a:pt x="1780944" y="2003583"/>
                </a:cubicBezTo>
                <a:close/>
                <a:moveTo>
                  <a:pt x="1164830" y="2001857"/>
                </a:moveTo>
                <a:cubicBezTo>
                  <a:pt x="1165323" y="2001857"/>
                  <a:pt x="1165818" y="2002349"/>
                  <a:pt x="1165818" y="2002844"/>
                </a:cubicBezTo>
                <a:cubicBezTo>
                  <a:pt x="1165818" y="2003337"/>
                  <a:pt x="1165323" y="2003832"/>
                  <a:pt x="1164830" y="2003832"/>
                </a:cubicBezTo>
                <a:cubicBezTo>
                  <a:pt x="1164338" y="2003832"/>
                  <a:pt x="1163843" y="2003337"/>
                  <a:pt x="1163843" y="2002844"/>
                </a:cubicBezTo>
                <a:cubicBezTo>
                  <a:pt x="1163843" y="2002349"/>
                  <a:pt x="1164338" y="2001857"/>
                  <a:pt x="1164830" y="2001857"/>
                </a:cubicBezTo>
                <a:close/>
                <a:moveTo>
                  <a:pt x="2444650" y="1998154"/>
                </a:moveTo>
                <a:cubicBezTo>
                  <a:pt x="2452549" y="1998154"/>
                  <a:pt x="2459214" y="2004819"/>
                  <a:pt x="2459214" y="2012718"/>
                </a:cubicBezTo>
                <a:cubicBezTo>
                  <a:pt x="2459214" y="2020617"/>
                  <a:pt x="2452795" y="2027279"/>
                  <a:pt x="2444650" y="2027279"/>
                </a:cubicBezTo>
                <a:cubicBezTo>
                  <a:pt x="2436505" y="2027279"/>
                  <a:pt x="2430086" y="2020617"/>
                  <a:pt x="2430086" y="2012718"/>
                </a:cubicBezTo>
                <a:cubicBezTo>
                  <a:pt x="2430086" y="2004819"/>
                  <a:pt x="2436505" y="1998154"/>
                  <a:pt x="2444650" y="1998154"/>
                </a:cubicBezTo>
                <a:close/>
                <a:moveTo>
                  <a:pt x="1974437" y="1991735"/>
                </a:moveTo>
                <a:cubicBezTo>
                  <a:pt x="1975918" y="1991735"/>
                  <a:pt x="1977401" y="1992968"/>
                  <a:pt x="1977401" y="1994697"/>
                </a:cubicBezTo>
                <a:cubicBezTo>
                  <a:pt x="1977401" y="1996425"/>
                  <a:pt x="1975918" y="1997659"/>
                  <a:pt x="1974437" y="1997659"/>
                </a:cubicBezTo>
                <a:cubicBezTo>
                  <a:pt x="1972707" y="1997659"/>
                  <a:pt x="1971473" y="1996425"/>
                  <a:pt x="1971473" y="1994697"/>
                </a:cubicBezTo>
                <a:cubicBezTo>
                  <a:pt x="1971473" y="1992968"/>
                  <a:pt x="1972707" y="1991735"/>
                  <a:pt x="1974437" y="1991735"/>
                </a:cubicBezTo>
                <a:close/>
                <a:moveTo>
                  <a:pt x="2904996" y="1983095"/>
                </a:moveTo>
                <a:cubicBezTo>
                  <a:pt x="2913880" y="1983095"/>
                  <a:pt x="2921286" y="1990501"/>
                  <a:pt x="2921286" y="1999387"/>
                </a:cubicBezTo>
                <a:cubicBezTo>
                  <a:pt x="2921286" y="2008520"/>
                  <a:pt x="2913880" y="2015677"/>
                  <a:pt x="2904996" y="2015677"/>
                </a:cubicBezTo>
                <a:cubicBezTo>
                  <a:pt x="2896108" y="2015677"/>
                  <a:pt x="2888704" y="2008273"/>
                  <a:pt x="2888704" y="1999387"/>
                </a:cubicBezTo>
                <a:cubicBezTo>
                  <a:pt x="2888704" y="1990501"/>
                  <a:pt x="2896108" y="1983095"/>
                  <a:pt x="2904996" y="1983095"/>
                </a:cubicBezTo>
                <a:close/>
                <a:moveTo>
                  <a:pt x="624017" y="1982603"/>
                </a:moveTo>
                <a:cubicBezTo>
                  <a:pt x="625745" y="1982603"/>
                  <a:pt x="627225" y="1984083"/>
                  <a:pt x="627225" y="1985811"/>
                </a:cubicBezTo>
                <a:cubicBezTo>
                  <a:pt x="627225" y="1987539"/>
                  <a:pt x="625745" y="1989022"/>
                  <a:pt x="624017" y="1989022"/>
                </a:cubicBezTo>
                <a:cubicBezTo>
                  <a:pt x="622288" y="1989022"/>
                  <a:pt x="620809" y="1987539"/>
                  <a:pt x="620809" y="1985811"/>
                </a:cubicBezTo>
                <a:cubicBezTo>
                  <a:pt x="620809" y="1984083"/>
                  <a:pt x="622288" y="1982603"/>
                  <a:pt x="624017" y="1982603"/>
                </a:cubicBezTo>
                <a:close/>
                <a:moveTo>
                  <a:pt x="54569" y="1982603"/>
                </a:moveTo>
                <a:cubicBezTo>
                  <a:pt x="56049" y="1982603"/>
                  <a:pt x="57285" y="1983837"/>
                  <a:pt x="57285" y="1985319"/>
                </a:cubicBezTo>
                <a:cubicBezTo>
                  <a:pt x="57285" y="1987045"/>
                  <a:pt x="56049" y="1988035"/>
                  <a:pt x="54569" y="1988035"/>
                </a:cubicBezTo>
                <a:cubicBezTo>
                  <a:pt x="53087" y="1988035"/>
                  <a:pt x="51853" y="1986799"/>
                  <a:pt x="51853" y="1985319"/>
                </a:cubicBezTo>
                <a:cubicBezTo>
                  <a:pt x="51853" y="1983837"/>
                  <a:pt x="53087" y="1982603"/>
                  <a:pt x="54569" y="1982603"/>
                </a:cubicBezTo>
                <a:close/>
                <a:moveTo>
                  <a:pt x="952310" y="1981123"/>
                </a:moveTo>
                <a:cubicBezTo>
                  <a:pt x="952803" y="1981123"/>
                  <a:pt x="953049" y="1981369"/>
                  <a:pt x="953049" y="1981864"/>
                </a:cubicBezTo>
                <a:cubicBezTo>
                  <a:pt x="953049" y="1982357"/>
                  <a:pt x="952803" y="1982603"/>
                  <a:pt x="952310" y="1982603"/>
                </a:cubicBezTo>
                <a:cubicBezTo>
                  <a:pt x="952064" y="1982603"/>
                  <a:pt x="951569" y="1982357"/>
                  <a:pt x="951569" y="1981864"/>
                </a:cubicBezTo>
                <a:cubicBezTo>
                  <a:pt x="951569" y="1981369"/>
                  <a:pt x="951815" y="1981123"/>
                  <a:pt x="952310" y="1981123"/>
                </a:cubicBezTo>
                <a:close/>
                <a:moveTo>
                  <a:pt x="2162766" y="1971742"/>
                </a:moveTo>
                <a:cubicBezTo>
                  <a:pt x="2166220" y="1971742"/>
                  <a:pt x="2169182" y="1974704"/>
                  <a:pt x="2169182" y="1978161"/>
                </a:cubicBezTo>
                <a:cubicBezTo>
                  <a:pt x="2168936" y="1981616"/>
                  <a:pt x="2166220" y="1984332"/>
                  <a:pt x="2162766" y="1984332"/>
                </a:cubicBezTo>
                <a:cubicBezTo>
                  <a:pt x="2159309" y="1984332"/>
                  <a:pt x="2156347" y="1981616"/>
                  <a:pt x="2156347" y="1978161"/>
                </a:cubicBezTo>
                <a:cubicBezTo>
                  <a:pt x="2156347" y="1974704"/>
                  <a:pt x="2159309" y="1971742"/>
                  <a:pt x="2162766" y="1971742"/>
                </a:cubicBezTo>
                <a:close/>
                <a:moveTo>
                  <a:pt x="170333" y="1970508"/>
                </a:moveTo>
                <a:cubicBezTo>
                  <a:pt x="171567" y="1970508"/>
                  <a:pt x="172554" y="1971495"/>
                  <a:pt x="172554" y="1972729"/>
                </a:cubicBezTo>
                <a:cubicBezTo>
                  <a:pt x="172554" y="1974211"/>
                  <a:pt x="171567" y="1975199"/>
                  <a:pt x="170333" y="1975199"/>
                </a:cubicBezTo>
                <a:cubicBezTo>
                  <a:pt x="169097" y="1975199"/>
                  <a:pt x="167864" y="1974211"/>
                  <a:pt x="167864" y="1972729"/>
                </a:cubicBezTo>
                <a:cubicBezTo>
                  <a:pt x="167864" y="1971495"/>
                  <a:pt x="168851" y="1970508"/>
                  <a:pt x="170333" y="1970508"/>
                </a:cubicBezTo>
                <a:close/>
                <a:moveTo>
                  <a:pt x="2633973" y="1956932"/>
                </a:moveTo>
                <a:cubicBezTo>
                  <a:pt x="2644093" y="1956932"/>
                  <a:pt x="2652487" y="1965323"/>
                  <a:pt x="2652487" y="1975445"/>
                </a:cubicBezTo>
                <a:cubicBezTo>
                  <a:pt x="2652487" y="1985565"/>
                  <a:pt x="2644093" y="1993959"/>
                  <a:pt x="2633973" y="1993959"/>
                </a:cubicBezTo>
                <a:cubicBezTo>
                  <a:pt x="2623605" y="1993959"/>
                  <a:pt x="2615460" y="1985565"/>
                  <a:pt x="2615460" y="1975445"/>
                </a:cubicBezTo>
                <a:cubicBezTo>
                  <a:pt x="2615460" y="1965077"/>
                  <a:pt x="2623851" y="1956932"/>
                  <a:pt x="2633973" y="1956932"/>
                </a:cubicBezTo>
                <a:close/>
                <a:moveTo>
                  <a:pt x="285110" y="1953229"/>
                </a:moveTo>
                <a:cubicBezTo>
                  <a:pt x="286097" y="1953229"/>
                  <a:pt x="287084" y="1954216"/>
                  <a:pt x="287084" y="1955204"/>
                </a:cubicBezTo>
                <a:cubicBezTo>
                  <a:pt x="287084" y="1956191"/>
                  <a:pt x="286097" y="1957178"/>
                  <a:pt x="285110" y="1957178"/>
                </a:cubicBezTo>
                <a:cubicBezTo>
                  <a:pt x="283876" y="1957178"/>
                  <a:pt x="283135" y="1956191"/>
                  <a:pt x="283135" y="1955204"/>
                </a:cubicBezTo>
                <a:cubicBezTo>
                  <a:pt x="283135" y="1954216"/>
                  <a:pt x="284122" y="1953229"/>
                  <a:pt x="285110" y="1953229"/>
                </a:cubicBezTo>
                <a:close/>
                <a:moveTo>
                  <a:pt x="1267269" y="1947800"/>
                </a:moveTo>
                <a:cubicBezTo>
                  <a:pt x="1267761" y="1947800"/>
                  <a:pt x="1268256" y="1948293"/>
                  <a:pt x="1268256" y="1948788"/>
                </a:cubicBezTo>
                <a:cubicBezTo>
                  <a:pt x="1268256" y="1949529"/>
                  <a:pt x="1267761" y="1949775"/>
                  <a:pt x="1267269" y="1949775"/>
                </a:cubicBezTo>
                <a:cubicBezTo>
                  <a:pt x="1266776" y="1949775"/>
                  <a:pt x="1266281" y="1949280"/>
                  <a:pt x="1266281" y="1948788"/>
                </a:cubicBezTo>
                <a:cubicBezTo>
                  <a:pt x="1266281" y="1948293"/>
                  <a:pt x="1266776" y="1947800"/>
                  <a:pt x="1267269" y="1947800"/>
                </a:cubicBezTo>
                <a:close/>
                <a:moveTo>
                  <a:pt x="734352" y="1946812"/>
                </a:moveTo>
                <a:cubicBezTo>
                  <a:pt x="736080" y="1946812"/>
                  <a:pt x="737314" y="1948046"/>
                  <a:pt x="737314" y="1949774"/>
                </a:cubicBezTo>
                <a:cubicBezTo>
                  <a:pt x="737314" y="1951503"/>
                  <a:pt x="736080" y="1952736"/>
                  <a:pt x="734352" y="1952736"/>
                </a:cubicBezTo>
                <a:cubicBezTo>
                  <a:pt x="732870" y="1952736"/>
                  <a:pt x="731390" y="1951503"/>
                  <a:pt x="731390" y="1949774"/>
                </a:cubicBezTo>
                <a:cubicBezTo>
                  <a:pt x="731390" y="1948046"/>
                  <a:pt x="732624" y="1946812"/>
                  <a:pt x="734352" y="1946812"/>
                </a:cubicBezTo>
                <a:close/>
                <a:moveTo>
                  <a:pt x="1480539" y="1946317"/>
                </a:moveTo>
                <a:cubicBezTo>
                  <a:pt x="1482019" y="1946317"/>
                  <a:pt x="1483006" y="1947304"/>
                  <a:pt x="1483006" y="1948787"/>
                </a:cubicBezTo>
                <a:cubicBezTo>
                  <a:pt x="1483006" y="1950020"/>
                  <a:pt x="1482019" y="1951254"/>
                  <a:pt x="1480539" y="1951254"/>
                </a:cubicBezTo>
                <a:cubicBezTo>
                  <a:pt x="1479303" y="1951254"/>
                  <a:pt x="1478069" y="1950267"/>
                  <a:pt x="1478069" y="1948787"/>
                </a:cubicBezTo>
                <a:cubicBezTo>
                  <a:pt x="1478069" y="1947304"/>
                  <a:pt x="1479057" y="1946317"/>
                  <a:pt x="1480539" y="1946317"/>
                </a:cubicBezTo>
                <a:close/>
                <a:moveTo>
                  <a:pt x="2346658" y="1945579"/>
                </a:moveTo>
                <a:cubicBezTo>
                  <a:pt x="2352582" y="1945579"/>
                  <a:pt x="2357519" y="1950516"/>
                  <a:pt x="2357519" y="1956440"/>
                </a:cubicBezTo>
                <a:cubicBezTo>
                  <a:pt x="2357519" y="1962363"/>
                  <a:pt x="2352828" y="1967300"/>
                  <a:pt x="2346658" y="1967300"/>
                </a:cubicBezTo>
                <a:cubicBezTo>
                  <a:pt x="2340734" y="1967300"/>
                  <a:pt x="2335797" y="1962363"/>
                  <a:pt x="2335797" y="1956440"/>
                </a:cubicBezTo>
                <a:cubicBezTo>
                  <a:pt x="2335797" y="1950516"/>
                  <a:pt x="2340734" y="1945579"/>
                  <a:pt x="2346658" y="1945579"/>
                </a:cubicBezTo>
                <a:close/>
                <a:moveTo>
                  <a:pt x="1679740" y="1943604"/>
                </a:moveTo>
                <a:cubicBezTo>
                  <a:pt x="1680728" y="1943604"/>
                  <a:pt x="1681715" y="1944591"/>
                  <a:pt x="1681715" y="1945579"/>
                </a:cubicBezTo>
                <a:cubicBezTo>
                  <a:pt x="1681961" y="1946812"/>
                  <a:pt x="1680974" y="1947554"/>
                  <a:pt x="1679740" y="1947554"/>
                </a:cubicBezTo>
                <a:cubicBezTo>
                  <a:pt x="1678753" y="1947554"/>
                  <a:pt x="1677766" y="1946566"/>
                  <a:pt x="1677766" y="1945579"/>
                </a:cubicBezTo>
                <a:cubicBezTo>
                  <a:pt x="1677766" y="1944591"/>
                  <a:pt x="1678753" y="1943604"/>
                  <a:pt x="1679740" y="1943604"/>
                </a:cubicBezTo>
                <a:close/>
                <a:moveTo>
                  <a:pt x="2808729" y="1933728"/>
                </a:moveTo>
                <a:cubicBezTo>
                  <a:pt x="2814899" y="1933728"/>
                  <a:pt x="2819836" y="1938665"/>
                  <a:pt x="2819836" y="1944835"/>
                </a:cubicBezTo>
                <a:cubicBezTo>
                  <a:pt x="2819836" y="1950759"/>
                  <a:pt x="2814899" y="1955945"/>
                  <a:pt x="2808729" y="1955945"/>
                </a:cubicBezTo>
                <a:cubicBezTo>
                  <a:pt x="2802559" y="1955945"/>
                  <a:pt x="2797622" y="1951008"/>
                  <a:pt x="2797622" y="1944835"/>
                </a:cubicBezTo>
                <a:cubicBezTo>
                  <a:pt x="2797622" y="1938665"/>
                  <a:pt x="2802559" y="1933728"/>
                  <a:pt x="2808729" y="1933728"/>
                </a:cubicBezTo>
                <a:close/>
                <a:moveTo>
                  <a:pt x="1058203" y="1933482"/>
                </a:moveTo>
                <a:cubicBezTo>
                  <a:pt x="1058695" y="1933482"/>
                  <a:pt x="1058941" y="1933728"/>
                  <a:pt x="1058941" y="1934223"/>
                </a:cubicBezTo>
                <a:cubicBezTo>
                  <a:pt x="1058695" y="1934470"/>
                  <a:pt x="1058449" y="1934962"/>
                  <a:pt x="1058203" y="1934962"/>
                </a:cubicBezTo>
                <a:cubicBezTo>
                  <a:pt x="1057954" y="1934962"/>
                  <a:pt x="1057461" y="1934716"/>
                  <a:pt x="1057461" y="1934223"/>
                </a:cubicBezTo>
                <a:cubicBezTo>
                  <a:pt x="1057461" y="1933728"/>
                  <a:pt x="1057708" y="1933482"/>
                  <a:pt x="1058203" y="1933482"/>
                </a:cubicBezTo>
                <a:close/>
                <a:moveTo>
                  <a:pt x="1873751" y="1932743"/>
                </a:moveTo>
                <a:cubicBezTo>
                  <a:pt x="1875729" y="1932743"/>
                  <a:pt x="1877208" y="1934223"/>
                  <a:pt x="1877208" y="1936198"/>
                </a:cubicBezTo>
                <a:cubicBezTo>
                  <a:pt x="1876962" y="1938175"/>
                  <a:pt x="1875479" y="1939655"/>
                  <a:pt x="1873751" y="1939655"/>
                </a:cubicBezTo>
                <a:cubicBezTo>
                  <a:pt x="1871776" y="1939655"/>
                  <a:pt x="1870294" y="1938175"/>
                  <a:pt x="1870294" y="1936198"/>
                </a:cubicBezTo>
                <a:cubicBezTo>
                  <a:pt x="1870294" y="1934223"/>
                  <a:pt x="1871776" y="1932743"/>
                  <a:pt x="1873751" y="1932743"/>
                </a:cubicBezTo>
                <a:close/>
                <a:moveTo>
                  <a:pt x="399148" y="1930766"/>
                </a:moveTo>
                <a:cubicBezTo>
                  <a:pt x="400135" y="1930766"/>
                  <a:pt x="400874" y="1931507"/>
                  <a:pt x="400874" y="1932494"/>
                </a:cubicBezTo>
                <a:cubicBezTo>
                  <a:pt x="400874" y="1933482"/>
                  <a:pt x="400135" y="1934223"/>
                  <a:pt x="399148" y="1934223"/>
                </a:cubicBezTo>
                <a:cubicBezTo>
                  <a:pt x="398161" y="1934223"/>
                  <a:pt x="397420" y="1933482"/>
                  <a:pt x="397420" y="1932494"/>
                </a:cubicBezTo>
                <a:cubicBezTo>
                  <a:pt x="397420" y="1931507"/>
                  <a:pt x="398161" y="1930766"/>
                  <a:pt x="399148" y="1930766"/>
                </a:cubicBezTo>
                <a:close/>
                <a:moveTo>
                  <a:pt x="2063784" y="1917192"/>
                </a:moveTo>
                <a:cubicBezTo>
                  <a:pt x="2065761" y="1917192"/>
                  <a:pt x="2067241" y="1918672"/>
                  <a:pt x="2067241" y="1920647"/>
                </a:cubicBezTo>
                <a:cubicBezTo>
                  <a:pt x="2067241" y="1922375"/>
                  <a:pt x="2065512" y="1924104"/>
                  <a:pt x="2063784" y="1924104"/>
                </a:cubicBezTo>
                <a:cubicBezTo>
                  <a:pt x="2061809" y="1924104"/>
                  <a:pt x="2060329" y="1922624"/>
                  <a:pt x="2060329" y="1920647"/>
                </a:cubicBezTo>
                <a:cubicBezTo>
                  <a:pt x="2060329" y="1918672"/>
                  <a:pt x="2061809" y="1917192"/>
                  <a:pt x="2063784" y="1917192"/>
                </a:cubicBezTo>
                <a:close/>
                <a:moveTo>
                  <a:pt x="2526597" y="1915217"/>
                </a:moveTo>
                <a:cubicBezTo>
                  <a:pt x="2534990" y="1915217"/>
                  <a:pt x="2541902" y="1922128"/>
                  <a:pt x="2541902" y="1930519"/>
                </a:cubicBezTo>
                <a:cubicBezTo>
                  <a:pt x="2541902" y="1938913"/>
                  <a:pt x="2534990" y="1945824"/>
                  <a:pt x="2526597" y="1945824"/>
                </a:cubicBezTo>
                <a:cubicBezTo>
                  <a:pt x="2518206" y="1945824"/>
                  <a:pt x="2511294" y="1938913"/>
                  <a:pt x="2511294" y="1930519"/>
                </a:cubicBezTo>
                <a:cubicBezTo>
                  <a:pt x="2511294" y="1922128"/>
                  <a:pt x="2518206" y="1915217"/>
                  <a:pt x="2526597" y="1915217"/>
                </a:cubicBezTo>
                <a:close/>
                <a:moveTo>
                  <a:pt x="843209" y="1907073"/>
                </a:moveTo>
                <a:cubicBezTo>
                  <a:pt x="844688" y="1907073"/>
                  <a:pt x="845676" y="1908307"/>
                  <a:pt x="845676" y="1909543"/>
                </a:cubicBezTo>
                <a:cubicBezTo>
                  <a:pt x="845925" y="1910776"/>
                  <a:pt x="844688" y="1912010"/>
                  <a:pt x="843209" y="1912010"/>
                </a:cubicBezTo>
                <a:cubicBezTo>
                  <a:pt x="841727" y="1912010"/>
                  <a:pt x="840493" y="1910776"/>
                  <a:pt x="840493" y="1909543"/>
                </a:cubicBezTo>
                <a:cubicBezTo>
                  <a:pt x="840493" y="1908060"/>
                  <a:pt x="841727" y="1907073"/>
                  <a:pt x="843209" y="1907073"/>
                </a:cubicBezTo>
                <a:close/>
                <a:moveTo>
                  <a:pt x="511949" y="1901395"/>
                </a:moveTo>
                <a:cubicBezTo>
                  <a:pt x="513926" y="1901395"/>
                  <a:pt x="515406" y="1902875"/>
                  <a:pt x="515406" y="1904852"/>
                </a:cubicBezTo>
                <a:cubicBezTo>
                  <a:pt x="515406" y="1906827"/>
                  <a:pt x="513926" y="1908307"/>
                  <a:pt x="511949" y="1908307"/>
                </a:cubicBezTo>
                <a:cubicBezTo>
                  <a:pt x="509974" y="1908307"/>
                  <a:pt x="508494" y="1906827"/>
                  <a:pt x="508494" y="1904852"/>
                </a:cubicBezTo>
                <a:cubicBezTo>
                  <a:pt x="508494" y="1902875"/>
                  <a:pt x="509974" y="1901395"/>
                  <a:pt x="511949" y="1901395"/>
                </a:cubicBezTo>
                <a:close/>
                <a:moveTo>
                  <a:pt x="2980280" y="1893742"/>
                </a:moveTo>
                <a:cubicBezTo>
                  <a:pt x="2989661" y="1893742"/>
                  <a:pt x="2997314" y="1901395"/>
                  <a:pt x="2997314" y="1910773"/>
                </a:cubicBezTo>
                <a:cubicBezTo>
                  <a:pt x="2997314" y="1920154"/>
                  <a:pt x="2989661" y="1927807"/>
                  <a:pt x="2980280" y="1927807"/>
                </a:cubicBezTo>
                <a:cubicBezTo>
                  <a:pt x="2970902" y="1927807"/>
                  <a:pt x="2963249" y="1920154"/>
                  <a:pt x="2963249" y="1910773"/>
                </a:cubicBezTo>
                <a:cubicBezTo>
                  <a:pt x="2963249" y="1901395"/>
                  <a:pt x="2970902" y="1893742"/>
                  <a:pt x="2980280" y="1893742"/>
                </a:cubicBezTo>
                <a:close/>
                <a:moveTo>
                  <a:pt x="2248665" y="1893250"/>
                </a:moveTo>
                <a:cubicBezTo>
                  <a:pt x="2252368" y="1893250"/>
                  <a:pt x="2255576" y="1896212"/>
                  <a:pt x="2255576" y="1899915"/>
                </a:cubicBezTo>
                <a:cubicBezTo>
                  <a:pt x="2255330" y="1903616"/>
                  <a:pt x="2252368" y="1906581"/>
                  <a:pt x="2248665" y="1906581"/>
                </a:cubicBezTo>
                <a:cubicBezTo>
                  <a:pt x="2244961" y="1906581"/>
                  <a:pt x="2241753" y="1903616"/>
                  <a:pt x="2241753" y="1899915"/>
                </a:cubicBezTo>
                <a:cubicBezTo>
                  <a:pt x="2241753" y="1896212"/>
                  <a:pt x="2244715" y="1893250"/>
                  <a:pt x="2248665" y="1893250"/>
                </a:cubicBezTo>
                <a:close/>
                <a:moveTo>
                  <a:pt x="1367732" y="1890039"/>
                </a:moveTo>
                <a:cubicBezTo>
                  <a:pt x="1368225" y="1890039"/>
                  <a:pt x="1368720" y="1890531"/>
                  <a:pt x="1368720" y="1891026"/>
                </a:cubicBezTo>
                <a:cubicBezTo>
                  <a:pt x="1368720" y="1891519"/>
                  <a:pt x="1368225" y="1892014"/>
                  <a:pt x="1367732" y="1892014"/>
                </a:cubicBezTo>
                <a:cubicBezTo>
                  <a:pt x="1366991" y="1892014"/>
                  <a:pt x="1366745" y="1891519"/>
                  <a:pt x="1366745" y="1891026"/>
                </a:cubicBezTo>
                <a:cubicBezTo>
                  <a:pt x="1366745" y="1890531"/>
                  <a:pt x="1367237" y="1890039"/>
                  <a:pt x="1367732" y="1890039"/>
                </a:cubicBezTo>
                <a:close/>
                <a:moveTo>
                  <a:pt x="1577792" y="1882389"/>
                </a:moveTo>
                <a:cubicBezTo>
                  <a:pt x="1579026" y="1882389"/>
                  <a:pt x="1580016" y="1883376"/>
                  <a:pt x="1580016" y="1884610"/>
                </a:cubicBezTo>
                <a:cubicBezTo>
                  <a:pt x="1580016" y="1885844"/>
                  <a:pt x="1579026" y="1886831"/>
                  <a:pt x="1577792" y="1886831"/>
                </a:cubicBezTo>
                <a:cubicBezTo>
                  <a:pt x="1576559" y="1886831"/>
                  <a:pt x="1575571" y="1885844"/>
                  <a:pt x="1575571" y="1884610"/>
                </a:cubicBezTo>
                <a:cubicBezTo>
                  <a:pt x="1575571" y="1883376"/>
                  <a:pt x="1576559" y="1882389"/>
                  <a:pt x="1577792" y="1882389"/>
                </a:cubicBezTo>
                <a:close/>
                <a:moveTo>
                  <a:pt x="1161869" y="1881894"/>
                </a:moveTo>
                <a:cubicBezTo>
                  <a:pt x="1162115" y="1881894"/>
                  <a:pt x="1162361" y="1882140"/>
                  <a:pt x="1162361" y="1882387"/>
                </a:cubicBezTo>
                <a:cubicBezTo>
                  <a:pt x="1162361" y="1882635"/>
                  <a:pt x="1162115" y="1882882"/>
                  <a:pt x="1161869" y="1882882"/>
                </a:cubicBezTo>
                <a:cubicBezTo>
                  <a:pt x="1161620" y="1882882"/>
                  <a:pt x="1161374" y="1882635"/>
                  <a:pt x="1161374" y="1882387"/>
                </a:cubicBezTo>
                <a:cubicBezTo>
                  <a:pt x="1161374" y="1882140"/>
                  <a:pt x="1161620" y="1881894"/>
                  <a:pt x="1161869" y="1881894"/>
                </a:cubicBezTo>
                <a:close/>
                <a:moveTo>
                  <a:pt x="1773533" y="1874983"/>
                </a:moveTo>
                <a:cubicBezTo>
                  <a:pt x="1774521" y="1874983"/>
                  <a:pt x="1775260" y="1875724"/>
                  <a:pt x="1775260" y="1876711"/>
                </a:cubicBezTo>
                <a:cubicBezTo>
                  <a:pt x="1775260" y="1877699"/>
                  <a:pt x="1774521" y="1878440"/>
                  <a:pt x="1773533" y="1878440"/>
                </a:cubicBezTo>
                <a:cubicBezTo>
                  <a:pt x="1772545" y="1878440"/>
                  <a:pt x="1771807" y="1877699"/>
                  <a:pt x="1771807" y="1876711"/>
                </a:cubicBezTo>
                <a:cubicBezTo>
                  <a:pt x="1771807" y="1875724"/>
                  <a:pt x="1772545" y="1874983"/>
                  <a:pt x="1773533" y="1874983"/>
                </a:cubicBezTo>
                <a:close/>
                <a:moveTo>
                  <a:pt x="56293" y="1873500"/>
                </a:moveTo>
                <a:cubicBezTo>
                  <a:pt x="58022" y="1873500"/>
                  <a:pt x="59255" y="1874734"/>
                  <a:pt x="59255" y="1876462"/>
                </a:cubicBezTo>
                <a:cubicBezTo>
                  <a:pt x="59255" y="1877944"/>
                  <a:pt x="57776" y="1879424"/>
                  <a:pt x="56293" y="1879424"/>
                </a:cubicBezTo>
                <a:cubicBezTo>
                  <a:pt x="54565" y="1879424"/>
                  <a:pt x="53331" y="1877944"/>
                  <a:pt x="53331" y="1876462"/>
                </a:cubicBezTo>
                <a:cubicBezTo>
                  <a:pt x="53331" y="1874734"/>
                  <a:pt x="54565" y="1873500"/>
                  <a:pt x="56293" y="1873500"/>
                </a:cubicBezTo>
                <a:close/>
                <a:moveTo>
                  <a:pt x="2712712" y="1870046"/>
                </a:moveTo>
                <a:cubicBezTo>
                  <a:pt x="2723573" y="1870046"/>
                  <a:pt x="2732213" y="1878686"/>
                  <a:pt x="2732213" y="1889547"/>
                </a:cubicBezTo>
                <a:cubicBezTo>
                  <a:pt x="2732213" y="1900162"/>
                  <a:pt x="2723327" y="1909045"/>
                  <a:pt x="2712712" y="1909045"/>
                </a:cubicBezTo>
                <a:cubicBezTo>
                  <a:pt x="2701851" y="1909045"/>
                  <a:pt x="2693211" y="1900162"/>
                  <a:pt x="2693211" y="1889547"/>
                </a:cubicBezTo>
                <a:cubicBezTo>
                  <a:pt x="2693211" y="1878686"/>
                  <a:pt x="2702097" y="1870046"/>
                  <a:pt x="2712712" y="1870046"/>
                </a:cubicBezTo>
                <a:close/>
                <a:moveTo>
                  <a:pt x="623523" y="1869059"/>
                </a:moveTo>
                <a:cubicBezTo>
                  <a:pt x="625251" y="1869059"/>
                  <a:pt x="626731" y="1870539"/>
                  <a:pt x="626731" y="1872267"/>
                </a:cubicBezTo>
                <a:cubicBezTo>
                  <a:pt x="626731" y="1873995"/>
                  <a:pt x="625251" y="1875478"/>
                  <a:pt x="623523" y="1875478"/>
                </a:cubicBezTo>
                <a:cubicBezTo>
                  <a:pt x="621795" y="1875478"/>
                  <a:pt x="620315" y="1873995"/>
                  <a:pt x="620315" y="1872267"/>
                </a:cubicBezTo>
                <a:cubicBezTo>
                  <a:pt x="620315" y="1870539"/>
                  <a:pt x="621795" y="1869059"/>
                  <a:pt x="623523" y="1869059"/>
                </a:cubicBezTo>
                <a:close/>
                <a:moveTo>
                  <a:pt x="2429345" y="1863135"/>
                </a:moveTo>
                <a:cubicBezTo>
                  <a:pt x="2435761" y="1863135"/>
                  <a:pt x="2440947" y="1868318"/>
                  <a:pt x="2440947" y="1874737"/>
                </a:cubicBezTo>
                <a:cubicBezTo>
                  <a:pt x="2440947" y="1881153"/>
                  <a:pt x="2435761" y="1886339"/>
                  <a:pt x="2429345" y="1886339"/>
                </a:cubicBezTo>
                <a:cubicBezTo>
                  <a:pt x="2422926" y="1886339"/>
                  <a:pt x="2417743" y="1881153"/>
                  <a:pt x="2417743" y="1874737"/>
                </a:cubicBezTo>
                <a:cubicBezTo>
                  <a:pt x="2417743" y="1868318"/>
                  <a:pt x="2422926" y="1863135"/>
                  <a:pt x="2429345" y="1863135"/>
                </a:cubicBezTo>
                <a:close/>
                <a:moveTo>
                  <a:pt x="950334" y="1862147"/>
                </a:moveTo>
                <a:cubicBezTo>
                  <a:pt x="951568" y="1862147"/>
                  <a:pt x="952558" y="1863134"/>
                  <a:pt x="952558" y="1864368"/>
                </a:cubicBezTo>
                <a:cubicBezTo>
                  <a:pt x="952558" y="1865604"/>
                  <a:pt x="951568" y="1866589"/>
                  <a:pt x="950334" y="1866589"/>
                </a:cubicBezTo>
                <a:cubicBezTo>
                  <a:pt x="949101" y="1866589"/>
                  <a:pt x="948113" y="1865604"/>
                  <a:pt x="948113" y="1864368"/>
                </a:cubicBezTo>
                <a:cubicBezTo>
                  <a:pt x="948113" y="1863134"/>
                  <a:pt x="949101" y="1862147"/>
                  <a:pt x="950334" y="1862147"/>
                </a:cubicBezTo>
                <a:close/>
                <a:moveTo>
                  <a:pt x="1963828" y="1861406"/>
                </a:moveTo>
                <a:cubicBezTo>
                  <a:pt x="1964813" y="1861406"/>
                  <a:pt x="1965306" y="1862147"/>
                  <a:pt x="1965306" y="1862886"/>
                </a:cubicBezTo>
                <a:cubicBezTo>
                  <a:pt x="1965552" y="1863876"/>
                  <a:pt x="1964813" y="1864614"/>
                  <a:pt x="1963828" y="1864614"/>
                </a:cubicBezTo>
                <a:cubicBezTo>
                  <a:pt x="1962842" y="1864614"/>
                  <a:pt x="1962102" y="1863876"/>
                  <a:pt x="1962102" y="1862886"/>
                </a:cubicBezTo>
                <a:cubicBezTo>
                  <a:pt x="1962102" y="1861898"/>
                  <a:pt x="1962842" y="1861406"/>
                  <a:pt x="1963828" y="1861406"/>
                </a:cubicBezTo>
                <a:close/>
                <a:moveTo>
                  <a:pt x="171814" y="1859927"/>
                </a:moveTo>
                <a:cubicBezTo>
                  <a:pt x="173293" y="1859927"/>
                  <a:pt x="174776" y="1861160"/>
                  <a:pt x="174776" y="1862889"/>
                </a:cubicBezTo>
                <a:cubicBezTo>
                  <a:pt x="174530" y="1864617"/>
                  <a:pt x="173293" y="1865851"/>
                  <a:pt x="171814" y="1865851"/>
                </a:cubicBezTo>
                <a:cubicBezTo>
                  <a:pt x="170332" y="1865851"/>
                  <a:pt x="168852" y="1864617"/>
                  <a:pt x="168852" y="1862889"/>
                </a:cubicBezTo>
                <a:cubicBezTo>
                  <a:pt x="168852" y="1861407"/>
                  <a:pt x="170086" y="1859927"/>
                  <a:pt x="171814" y="1859927"/>
                </a:cubicBezTo>
                <a:close/>
                <a:moveTo>
                  <a:pt x="2884508" y="1844129"/>
                </a:moveTo>
                <a:cubicBezTo>
                  <a:pt x="2891173" y="1844129"/>
                  <a:pt x="2896605" y="1849561"/>
                  <a:pt x="2896605" y="1856223"/>
                </a:cubicBezTo>
                <a:cubicBezTo>
                  <a:pt x="2896605" y="1862888"/>
                  <a:pt x="2891173" y="1868320"/>
                  <a:pt x="2884508" y="1868320"/>
                </a:cubicBezTo>
                <a:cubicBezTo>
                  <a:pt x="2877846" y="1868320"/>
                  <a:pt x="2872414" y="1862888"/>
                  <a:pt x="2872414" y="1856223"/>
                </a:cubicBezTo>
                <a:cubicBezTo>
                  <a:pt x="2872414" y="1849561"/>
                  <a:pt x="2877846" y="1844129"/>
                  <a:pt x="2884508" y="1844129"/>
                </a:cubicBezTo>
                <a:close/>
                <a:moveTo>
                  <a:pt x="286591" y="1841906"/>
                </a:moveTo>
                <a:cubicBezTo>
                  <a:pt x="288071" y="1841906"/>
                  <a:pt x="289307" y="1843140"/>
                  <a:pt x="289307" y="1844622"/>
                </a:cubicBezTo>
                <a:cubicBezTo>
                  <a:pt x="289307" y="1846102"/>
                  <a:pt x="288071" y="1847338"/>
                  <a:pt x="286591" y="1847338"/>
                </a:cubicBezTo>
                <a:cubicBezTo>
                  <a:pt x="285109" y="1847338"/>
                  <a:pt x="283876" y="1846102"/>
                  <a:pt x="283876" y="1844622"/>
                </a:cubicBezTo>
                <a:cubicBezTo>
                  <a:pt x="283876" y="1843140"/>
                  <a:pt x="285109" y="1841906"/>
                  <a:pt x="286591" y="1841906"/>
                </a:cubicBezTo>
                <a:close/>
                <a:moveTo>
                  <a:pt x="2150424" y="1838944"/>
                </a:moveTo>
                <a:cubicBezTo>
                  <a:pt x="2152647" y="1838944"/>
                  <a:pt x="2154619" y="1840919"/>
                  <a:pt x="2154619" y="1843140"/>
                </a:cubicBezTo>
                <a:cubicBezTo>
                  <a:pt x="2154619" y="1845363"/>
                  <a:pt x="2152647" y="1847335"/>
                  <a:pt x="2150424" y="1847335"/>
                </a:cubicBezTo>
                <a:cubicBezTo>
                  <a:pt x="2148203" y="1847335"/>
                  <a:pt x="2146228" y="1845363"/>
                  <a:pt x="2146228" y="1843140"/>
                </a:cubicBezTo>
                <a:cubicBezTo>
                  <a:pt x="2146228" y="1840919"/>
                  <a:pt x="2148203" y="1838944"/>
                  <a:pt x="2150424" y="1838944"/>
                </a:cubicBezTo>
                <a:close/>
                <a:moveTo>
                  <a:pt x="733609" y="1832032"/>
                </a:moveTo>
                <a:cubicBezTo>
                  <a:pt x="735092" y="1832032"/>
                  <a:pt x="736572" y="1833266"/>
                  <a:pt x="736572" y="1834748"/>
                </a:cubicBezTo>
                <a:cubicBezTo>
                  <a:pt x="736325" y="1836474"/>
                  <a:pt x="735092" y="1837710"/>
                  <a:pt x="733609" y="1837710"/>
                </a:cubicBezTo>
                <a:cubicBezTo>
                  <a:pt x="732127" y="1837710"/>
                  <a:pt x="730647" y="1836474"/>
                  <a:pt x="730647" y="1834748"/>
                </a:cubicBezTo>
                <a:cubicBezTo>
                  <a:pt x="730647" y="1833266"/>
                  <a:pt x="731881" y="1832032"/>
                  <a:pt x="733609" y="1832032"/>
                </a:cubicBezTo>
                <a:close/>
                <a:moveTo>
                  <a:pt x="2605830" y="1829565"/>
                </a:moveTo>
                <a:cubicBezTo>
                  <a:pt x="2614716" y="1829565"/>
                  <a:pt x="2621876" y="1836723"/>
                  <a:pt x="2621876" y="1845857"/>
                </a:cubicBezTo>
                <a:cubicBezTo>
                  <a:pt x="2622122" y="1854743"/>
                  <a:pt x="2614965" y="1862147"/>
                  <a:pt x="2605830" y="1862147"/>
                </a:cubicBezTo>
                <a:cubicBezTo>
                  <a:pt x="2596944" y="1862147"/>
                  <a:pt x="2589540" y="1854743"/>
                  <a:pt x="2589540" y="1845857"/>
                </a:cubicBezTo>
                <a:cubicBezTo>
                  <a:pt x="2589540" y="1836971"/>
                  <a:pt x="2596698" y="1829565"/>
                  <a:pt x="2605830" y="1829565"/>
                </a:cubicBezTo>
                <a:close/>
                <a:moveTo>
                  <a:pt x="1465727" y="1827837"/>
                </a:moveTo>
                <a:cubicBezTo>
                  <a:pt x="1466468" y="1827837"/>
                  <a:pt x="1466963" y="1828329"/>
                  <a:pt x="1466963" y="1829071"/>
                </a:cubicBezTo>
                <a:cubicBezTo>
                  <a:pt x="1466963" y="1829812"/>
                  <a:pt x="1466468" y="1830304"/>
                  <a:pt x="1465727" y="1830304"/>
                </a:cubicBezTo>
                <a:cubicBezTo>
                  <a:pt x="1464988" y="1830304"/>
                  <a:pt x="1464493" y="1829812"/>
                  <a:pt x="1464493" y="1829071"/>
                </a:cubicBezTo>
                <a:cubicBezTo>
                  <a:pt x="1464493" y="1828329"/>
                  <a:pt x="1464988" y="1827837"/>
                  <a:pt x="1465727" y="1827837"/>
                </a:cubicBezTo>
                <a:close/>
                <a:moveTo>
                  <a:pt x="1263318" y="1825862"/>
                </a:moveTo>
                <a:cubicBezTo>
                  <a:pt x="1263564" y="1825862"/>
                  <a:pt x="1263810" y="1826108"/>
                  <a:pt x="1263810" y="1826357"/>
                </a:cubicBezTo>
                <a:cubicBezTo>
                  <a:pt x="1264056" y="1826603"/>
                  <a:pt x="1263810" y="1826849"/>
                  <a:pt x="1263318" y="1826849"/>
                </a:cubicBezTo>
                <a:cubicBezTo>
                  <a:pt x="1263069" y="1826849"/>
                  <a:pt x="1262823" y="1826603"/>
                  <a:pt x="1262823" y="1826357"/>
                </a:cubicBezTo>
                <a:cubicBezTo>
                  <a:pt x="1262823" y="1826108"/>
                  <a:pt x="1263069" y="1825862"/>
                  <a:pt x="1263318" y="1825862"/>
                </a:cubicBezTo>
                <a:close/>
                <a:moveTo>
                  <a:pt x="400380" y="1818458"/>
                </a:moveTo>
                <a:cubicBezTo>
                  <a:pt x="401863" y="1818458"/>
                  <a:pt x="402850" y="1819692"/>
                  <a:pt x="402850" y="1820928"/>
                </a:cubicBezTo>
                <a:cubicBezTo>
                  <a:pt x="403096" y="1822161"/>
                  <a:pt x="401863" y="1823395"/>
                  <a:pt x="400380" y="1823395"/>
                </a:cubicBezTo>
                <a:cubicBezTo>
                  <a:pt x="398901" y="1823395"/>
                  <a:pt x="397913" y="1822161"/>
                  <a:pt x="397913" y="1820928"/>
                </a:cubicBezTo>
                <a:cubicBezTo>
                  <a:pt x="397913" y="1819445"/>
                  <a:pt x="399147" y="1818458"/>
                  <a:pt x="400380" y="1818458"/>
                </a:cubicBezTo>
                <a:close/>
                <a:moveTo>
                  <a:pt x="1672580" y="1815001"/>
                </a:moveTo>
                <a:cubicBezTo>
                  <a:pt x="1673813" y="1815001"/>
                  <a:pt x="1674554" y="1815988"/>
                  <a:pt x="1674554" y="1816976"/>
                </a:cubicBezTo>
                <a:cubicBezTo>
                  <a:pt x="1674554" y="1817963"/>
                  <a:pt x="1673813" y="1818950"/>
                  <a:pt x="1672580" y="1818950"/>
                </a:cubicBezTo>
                <a:cubicBezTo>
                  <a:pt x="1671346" y="1818950"/>
                  <a:pt x="1670605" y="1817963"/>
                  <a:pt x="1670605" y="1816976"/>
                </a:cubicBezTo>
                <a:cubicBezTo>
                  <a:pt x="1670605" y="1815742"/>
                  <a:pt x="1671592" y="1815001"/>
                  <a:pt x="1672580" y="1815001"/>
                </a:cubicBezTo>
                <a:close/>
                <a:moveTo>
                  <a:pt x="1055237" y="1812780"/>
                </a:moveTo>
                <a:cubicBezTo>
                  <a:pt x="1056224" y="1812780"/>
                  <a:pt x="1057211" y="1813767"/>
                  <a:pt x="1057211" y="1814755"/>
                </a:cubicBezTo>
                <a:cubicBezTo>
                  <a:pt x="1057211" y="1815988"/>
                  <a:pt x="1056470" y="1816729"/>
                  <a:pt x="1055237" y="1816729"/>
                </a:cubicBezTo>
                <a:cubicBezTo>
                  <a:pt x="1054249" y="1816729"/>
                  <a:pt x="1053262" y="1815742"/>
                  <a:pt x="1053262" y="1814755"/>
                </a:cubicBezTo>
                <a:cubicBezTo>
                  <a:pt x="1053262" y="1813767"/>
                  <a:pt x="1054249" y="1812780"/>
                  <a:pt x="1055237" y="1812780"/>
                </a:cubicBezTo>
                <a:close/>
                <a:moveTo>
                  <a:pt x="2331849" y="1811298"/>
                </a:moveTo>
                <a:cubicBezTo>
                  <a:pt x="2336045" y="1811298"/>
                  <a:pt x="2339499" y="1814755"/>
                  <a:pt x="2339499" y="1818950"/>
                </a:cubicBezTo>
                <a:cubicBezTo>
                  <a:pt x="2339748" y="1823146"/>
                  <a:pt x="2336291" y="1826600"/>
                  <a:pt x="2331849" y="1826600"/>
                </a:cubicBezTo>
                <a:cubicBezTo>
                  <a:pt x="2327651" y="1826600"/>
                  <a:pt x="2324197" y="1823146"/>
                  <a:pt x="2324197" y="1818950"/>
                </a:cubicBezTo>
                <a:cubicBezTo>
                  <a:pt x="2324197" y="1814755"/>
                  <a:pt x="2327651" y="1811298"/>
                  <a:pt x="2331849" y="1811298"/>
                </a:cubicBezTo>
                <a:close/>
                <a:moveTo>
                  <a:pt x="1864864" y="1802661"/>
                </a:moveTo>
                <a:cubicBezTo>
                  <a:pt x="1865854" y="1802661"/>
                  <a:pt x="1866346" y="1803402"/>
                  <a:pt x="1866346" y="1804389"/>
                </a:cubicBezTo>
                <a:cubicBezTo>
                  <a:pt x="1866346" y="1805131"/>
                  <a:pt x="1865606" y="1805869"/>
                  <a:pt x="1864864" y="1805869"/>
                </a:cubicBezTo>
                <a:cubicBezTo>
                  <a:pt x="1863880" y="1805869"/>
                  <a:pt x="1863385" y="1805131"/>
                  <a:pt x="1863385" y="1804389"/>
                </a:cubicBezTo>
                <a:cubicBezTo>
                  <a:pt x="1863385" y="1803402"/>
                  <a:pt x="1864126" y="1802661"/>
                  <a:pt x="1864864" y="1802661"/>
                </a:cubicBezTo>
                <a:close/>
                <a:moveTo>
                  <a:pt x="3052850" y="1802166"/>
                </a:moveTo>
                <a:cubicBezTo>
                  <a:pt x="3062723" y="1802166"/>
                  <a:pt x="3070622" y="1810065"/>
                  <a:pt x="3070622" y="1819938"/>
                </a:cubicBezTo>
                <a:cubicBezTo>
                  <a:pt x="3070622" y="1829565"/>
                  <a:pt x="3062723" y="1837710"/>
                  <a:pt x="3052850" y="1837710"/>
                </a:cubicBezTo>
                <a:cubicBezTo>
                  <a:pt x="3042977" y="1837710"/>
                  <a:pt x="3035078" y="1829811"/>
                  <a:pt x="3035078" y="1819938"/>
                </a:cubicBezTo>
                <a:cubicBezTo>
                  <a:pt x="3035078" y="1810065"/>
                  <a:pt x="3042977" y="1802166"/>
                  <a:pt x="3052850" y="1802166"/>
                </a:cubicBezTo>
                <a:close/>
                <a:moveTo>
                  <a:pt x="841725" y="1790072"/>
                </a:moveTo>
                <a:cubicBezTo>
                  <a:pt x="843223" y="1790072"/>
                  <a:pt x="844441" y="1791287"/>
                  <a:pt x="844441" y="1792788"/>
                </a:cubicBezTo>
                <a:cubicBezTo>
                  <a:pt x="844441" y="1794286"/>
                  <a:pt x="843223" y="1795501"/>
                  <a:pt x="841725" y="1795501"/>
                </a:cubicBezTo>
                <a:cubicBezTo>
                  <a:pt x="840225" y="1795501"/>
                  <a:pt x="839009" y="1794286"/>
                  <a:pt x="839009" y="1792788"/>
                </a:cubicBezTo>
                <a:cubicBezTo>
                  <a:pt x="839009" y="1791287"/>
                  <a:pt x="840225" y="1790072"/>
                  <a:pt x="841725" y="1790072"/>
                </a:cubicBezTo>
                <a:close/>
                <a:moveTo>
                  <a:pt x="513186" y="1789331"/>
                </a:moveTo>
                <a:cubicBezTo>
                  <a:pt x="514419" y="1789331"/>
                  <a:pt x="515653" y="1790318"/>
                  <a:pt x="515653" y="1791798"/>
                </a:cubicBezTo>
                <a:cubicBezTo>
                  <a:pt x="515653" y="1793280"/>
                  <a:pt x="514419" y="1794268"/>
                  <a:pt x="513186" y="1794268"/>
                </a:cubicBezTo>
                <a:cubicBezTo>
                  <a:pt x="511949" y="1794268"/>
                  <a:pt x="510716" y="1793280"/>
                  <a:pt x="510716" y="1791798"/>
                </a:cubicBezTo>
                <a:cubicBezTo>
                  <a:pt x="510716" y="1790565"/>
                  <a:pt x="511703" y="1789331"/>
                  <a:pt x="513186" y="1789331"/>
                </a:cubicBezTo>
                <a:close/>
                <a:moveTo>
                  <a:pt x="2051444" y="1784394"/>
                </a:moveTo>
                <a:cubicBezTo>
                  <a:pt x="2052431" y="1784394"/>
                  <a:pt x="2053418" y="1785381"/>
                  <a:pt x="2053418" y="1786369"/>
                </a:cubicBezTo>
                <a:cubicBezTo>
                  <a:pt x="2053418" y="1787602"/>
                  <a:pt x="2052677" y="1788343"/>
                  <a:pt x="2051444" y="1788343"/>
                </a:cubicBezTo>
                <a:cubicBezTo>
                  <a:pt x="2050456" y="1788343"/>
                  <a:pt x="2049469" y="1787356"/>
                  <a:pt x="2049469" y="1786369"/>
                </a:cubicBezTo>
                <a:cubicBezTo>
                  <a:pt x="2049469" y="1785381"/>
                  <a:pt x="2050456" y="1784394"/>
                  <a:pt x="2051444" y="1784394"/>
                </a:cubicBezTo>
                <a:close/>
                <a:moveTo>
                  <a:pt x="2788736" y="1780939"/>
                </a:moveTo>
                <a:cubicBezTo>
                  <a:pt x="2800089" y="1780939"/>
                  <a:pt x="2809224" y="1790071"/>
                  <a:pt x="2809224" y="1801427"/>
                </a:cubicBezTo>
                <a:cubicBezTo>
                  <a:pt x="2809224" y="1812780"/>
                  <a:pt x="2800089" y="1821915"/>
                  <a:pt x="2788736" y="1821915"/>
                </a:cubicBezTo>
                <a:cubicBezTo>
                  <a:pt x="2777380" y="1821915"/>
                  <a:pt x="2768248" y="1812780"/>
                  <a:pt x="2768248" y="1801427"/>
                </a:cubicBezTo>
                <a:cubicBezTo>
                  <a:pt x="2768248" y="1790071"/>
                  <a:pt x="2777380" y="1780939"/>
                  <a:pt x="2788736" y="1780939"/>
                </a:cubicBezTo>
                <a:close/>
                <a:moveTo>
                  <a:pt x="2509322" y="1778470"/>
                </a:moveTo>
                <a:cubicBezTo>
                  <a:pt x="2516231" y="1778470"/>
                  <a:pt x="2521662" y="1784148"/>
                  <a:pt x="2521662" y="1790813"/>
                </a:cubicBezTo>
                <a:cubicBezTo>
                  <a:pt x="2521662" y="1797475"/>
                  <a:pt x="2516231" y="1803153"/>
                  <a:pt x="2509322" y="1803153"/>
                </a:cubicBezTo>
                <a:cubicBezTo>
                  <a:pt x="2502411" y="1803153"/>
                  <a:pt x="2496979" y="1797722"/>
                  <a:pt x="2496979" y="1790813"/>
                </a:cubicBezTo>
                <a:cubicBezTo>
                  <a:pt x="2496979" y="1783902"/>
                  <a:pt x="2502657" y="1778470"/>
                  <a:pt x="2509322" y="1778470"/>
                </a:cubicBezTo>
                <a:close/>
                <a:moveTo>
                  <a:pt x="1362794" y="1765883"/>
                </a:moveTo>
                <a:cubicBezTo>
                  <a:pt x="1363040" y="1765883"/>
                  <a:pt x="1363286" y="1766129"/>
                  <a:pt x="1363286" y="1766375"/>
                </a:cubicBezTo>
                <a:cubicBezTo>
                  <a:pt x="1363286" y="1766624"/>
                  <a:pt x="1363040" y="1766870"/>
                  <a:pt x="1362794" y="1766870"/>
                </a:cubicBezTo>
                <a:cubicBezTo>
                  <a:pt x="1362545" y="1766870"/>
                  <a:pt x="1362299" y="1766624"/>
                  <a:pt x="1362299" y="1766375"/>
                </a:cubicBezTo>
                <a:cubicBezTo>
                  <a:pt x="1362299" y="1766129"/>
                  <a:pt x="1362545" y="1765883"/>
                  <a:pt x="1362794" y="1765883"/>
                </a:cubicBezTo>
                <a:close/>
                <a:moveTo>
                  <a:pt x="56540" y="1762672"/>
                </a:moveTo>
                <a:cubicBezTo>
                  <a:pt x="59256" y="1762672"/>
                  <a:pt x="61230" y="1764893"/>
                  <a:pt x="61230" y="1767362"/>
                </a:cubicBezTo>
                <a:cubicBezTo>
                  <a:pt x="61230" y="1769829"/>
                  <a:pt x="59256" y="1772053"/>
                  <a:pt x="56540" y="1772053"/>
                </a:cubicBezTo>
                <a:cubicBezTo>
                  <a:pt x="53824" y="1772053"/>
                  <a:pt x="51850" y="1769829"/>
                  <a:pt x="51850" y="1767362"/>
                </a:cubicBezTo>
                <a:cubicBezTo>
                  <a:pt x="51850" y="1764647"/>
                  <a:pt x="54071" y="1762672"/>
                  <a:pt x="56540" y="1762672"/>
                </a:cubicBezTo>
                <a:close/>
                <a:moveTo>
                  <a:pt x="1561254" y="1762426"/>
                </a:moveTo>
                <a:cubicBezTo>
                  <a:pt x="1561995" y="1762426"/>
                  <a:pt x="1562488" y="1762921"/>
                  <a:pt x="1562488" y="1763660"/>
                </a:cubicBezTo>
                <a:cubicBezTo>
                  <a:pt x="1562488" y="1764401"/>
                  <a:pt x="1561995" y="1764896"/>
                  <a:pt x="1561254" y="1764896"/>
                </a:cubicBezTo>
                <a:cubicBezTo>
                  <a:pt x="1560513" y="1764896"/>
                  <a:pt x="1560021" y="1764401"/>
                  <a:pt x="1560021" y="1763660"/>
                </a:cubicBezTo>
                <a:cubicBezTo>
                  <a:pt x="1560021" y="1762921"/>
                  <a:pt x="1560513" y="1762426"/>
                  <a:pt x="1561254" y="1762426"/>
                </a:cubicBezTo>
                <a:close/>
                <a:moveTo>
                  <a:pt x="1158165" y="1759218"/>
                </a:moveTo>
                <a:cubicBezTo>
                  <a:pt x="1159152" y="1759218"/>
                  <a:pt x="1159891" y="1759959"/>
                  <a:pt x="1159891" y="1760946"/>
                </a:cubicBezTo>
                <a:cubicBezTo>
                  <a:pt x="1159891" y="1761934"/>
                  <a:pt x="1159152" y="1762672"/>
                  <a:pt x="1158165" y="1762672"/>
                </a:cubicBezTo>
                <a:cubicBezTo>
                  <a:pt x="1157178" y="1762672"/>
                  <a:pt x="1156683" y="1761934"/>
                  <a:pt x="1156683" y="1760946"/>
                </a:cubicBezTo>
                <a:cubicBezTo>
                  <a:pt x="1156683" y="1759959"/>
                  <a:pt x="1157424" y="1759218"/>
                  <a:pt x="1158165" y="1759218"/>
                </a:cubicBezTo>
                <a:close/>
                <a:moveTo>
                  <a:pt x="2234595" y="1758231"/>
                </a:moveTo>
                <a:cubicBezTo>
                  <a:pt x="2237309" y="1758231"/>
                  <a:pt x="2239286" y="1760452"/>
                  <a:pt x="2239286" y="1762921"/>
                </a:cubicBezTo>
                <a:cubicBezTo>
                  <a:pt x="2239286" y="1765388"/>
                  <a:pt x="2237062" y="1767612"/>
                  <a:pt x="2234595" y="1767612"/>
                </a:cubicBezTo>
                <a:cubicBezTo>
                  <a:pt x="2231880" y="1767612"/>
                  <a:pt x="2229905" y="1765634"/>
                  <a:pt x="2229905" y="1762921"/>
                </a:cubicBezTo>
                <a:cubicBezTo>
                  <a:pt x="2229905" y="1760452"/>
                  <a:pt x="2232126" y="1758231"/>
                  <a:pt x="2234595" y="1758231"/>
                </a:cubicBezTo>
                <a:close/>
                <a:moveTo>
                  <a:pt x="624262" y="1755761"/>
                </a:moveTo>
                <a:cubicBezTo>
                  <a:pt x="625496" y="1755761"/>
                  <a:pt x="626483" y="1756748"/>
                  <a:pt x="626483" y="1757982"/>
                </a:cubicBezTo>
                <a:cubicBezTo>
                  <a:pt x="626732" y="1759218"/>
                  <a:pt x="625496" y="1760203"/>
                  <a:pt x="624262" y="1760203"/>
                </a:cubicBezTo>
                <a:cubicBezTo>
                  <a:pt x="623028" y="1760203"/>
                  <a:pt x="622041" y="1759218"/>
                  <a:pt x="622041" y="1757982"/>
                </a:cubicBezTo>
                <a:cubicBezTo>
                  <a:pt x="622041" y="1756748"/>
                  <a:pt x="623028" y="1755761"/>
                  <a:pt x="624262" y="1755761"/>
                </a:cubicBezTo>
                <a:close/>
                <a:moveTo>
                  <a:pt x="2957571" y="1752553"/>
                </a:moveTo>
                <a:cubicBezTo>
                  <a:pt x="2964731" y="1752553"/>
                  <a:pt x="2970655" y="1758477"/>
                  <a:pt x="2970655" y="1765635"/>
                </a:cubicBezTo>
                <a:cubicBezTo>
                  <a:pt x="2970655" y="1772795"/>
                  <a:pt x="2964731" y="1778716"/>
                  <a:pt x="2957571" y="1778716"/>
                </a:cubicBezTo>
                <a:cubicBezTo>
                  <a:pt x="2950413" y="1778716"/>
                  <a:pt x="2944489" y="1772795"/>
                  <a:pt x="2944489" y="1765635"/>
                </a:cubicBezTo>
                <a:cubicBezTo>
                  <a:pt x="2944489" y="1758477"/>
                  <a:pt x="2950413" y="1752553"/>
                  <a:pt x="2957571" y="1752553"/>
                </a:cubicBezTo>
                <a:close/>
                <a:moveTo>
                  <a:pt x="172058" y="1747862"/>
                </a:moveTo>
                <a:cubicBezTo>
                  <a:pt x="175020" y="1747862"/>
                  <a:pt x="177488" y="1750332"/>
                  <a:pt x="177488" y="1753294"/>
                </a:cubicBezTo>
                <a:cubicBezTo>
                  <a:pt x="177488" y="1756253"/>
                  <a:pt x="175267" y="1758723"/>
                  <a:pt x="172058" y="1758723"/>
                </a:cubicBezTo>
                <a:cubicBezTo>
                  <a:pt x="169096" y="1758723"/>
                  <a:pt x="166627" y="1756253"/>
                  <a:pt x="166627" y="1753294"/>
                </a:cubicBezTo>
                <a:cubicBezTo>
                  <a:pt x="166627" y="1750332"/>
                  <a:pt x="169096" y="1747862"/>
                  <a:pt x="172058" y="1747862"/>
                </a:cubicBezTo>
                <a:close/>
                <a:moveTo>
                  <a:pt x="1764894" y="1743913"/>
                </a:moveTo>
                <a:cubicBezTo>
                  <a:pt x="1765882" y="1743913"/>
                  <a:pt x="1766621" y="1744654"/>
                  <a:pt x="1766621" y="1745888"/>
                </a:cubicBezTo>
                <a:cubicBezTo>
                  <a:pt x="1766621" y="1746875"/>
                  <a:pt x="1765882" y="1747617"/>
                  <a:pt x="1764894" y="1747617"/>
                </a:cubicBezTo>
                <a:cubicBezTo>
                  <a:pt x="1763906" y="1747617"/>
                  <a:pt x="1763165" y="1746875"/>
                  <a:pt x="1763165" y="1745888"/>
                </a:cubicBezTo>
                <a:cubicBezTo>
                  <a:pt x="1763165" y="1744901"/>
                  <a:pt x="1763906" y="1743913"/>
                  <a:pt x="1764894" y="1743913"/>
                </a:cubicBezTo>
                <a:close/>
                <a:moveTo>
                  <a:pt x="948111" y="1743421"/>
                </a:moveTo>
                <a:cubicBezTo>
                  <a:pt x="949591" y="1743421"/>
                  <a:pt x="950827" y="1744655"/>
                  <a:pt x="950827" y="1746137"/>
                </a:cubicBezTo>
                <a:cubicBezTo>
                  <a:pt x="950827" y="1747617"/>
                  <a:pt x="949591" y="1748853"/>
                  <a:pt x="948111" y="1748853"/>
                </a:cubicBezTo>
                <a:cubicBezTo>
                  <a:pt x="946629" y="1748853"/>
                  <a:pt x="945395" y="1747617"/>
                  <a:pt x="945395" y="1746137"/>
                </a:cubicBezTo>
                <a:cubicBezTo>
                  <a:pt x="945395" y="1744655"/>
                  <a:pt x="946629" y="1743421"/>
                  <a:pt x="948111" y="1743421"/>
                </a:cubicBezTo>
                <a:close/>
                <a:moveTo>
                  <a:pt x="2682596" y="1741692"/>
                </a:moveTo>
                <a:cubicBezTo>
                  <a:pt x="2691977" y="1741692"/>
                  <a:pt x="2699630" y="1749345"/>
                  <a:pt x="2699630" y="1758723"/>
                </a:cubicBezTo>
                <a:cubicBezTo>
                  <a:pt x="2699630" y="1768350"/>
                  <a:pt x="2691977" y="1775757"/>
                  <a:pt x="2682596" y="1775757"/>
                </a:cubicBezTo>
                <a:cubicBezTo>
                  <a:pt x="2673218" y="1775757"/>
                  <a:pt x="2665565" y="1768104"/>
                  <a:pt x="2665565" y="1758723"/>
                </a:cubicBezTo>
                <a:cubicBezTo>
                  <a:pt x="2665565" y="1749345"/>
                  <a:pt x="2673218" y="1741692"/>
                  <a:pt x="2682596" y="1741692"/>
                </a:cubicBezTo>
                <a:close/>
                <a:moveTo>
                  <a:pt x="287082" y="1727869"/>
                </a:moveTo>
                <a:cubicBezTo>
                  <a:pt x="290539" y="1727869"/>
                  <a:pt x="293255" y="1730585"/>
                  <a:pt x="293255" y="1734039"/>
                </a:cubicBezTo>
                <a:cubicBezTo>
                  <a:pt x="293255" y="1737496"/>
                  <a:pt x="290293" y="1740212"/>
                  <a:pt x="287082" y="1740212"/>
                </a:cubicBezTo>
                <a:cubicBezTo>
                  <a:pt x="283628" y="1740212"/>
                  <a:pt x="280912" y="1737496"/>
                  <a:pt x="280912" y="1734039"/>
                </a:cubicBezTo>
                <a:cubicBezTo>
                  <a:pt x="280912" y="1730585"/>
                  <a:pt x="283628" y="1727869"/>
                  <a:pt x="287082" y="1727869"/>
                </a:cubicBezTo>
                <a:close/>
                <a:moveTo>
                  <a:pt x="1953224" y="1727377"/>
                </a:moveTo>
                <a:cubicBezTo>
                  <a:pt x="1953964" y="1727377"/>
                  <a:pt x="1954704" y="1728118"/>
                  <a:pt x="1954704" y="1728857"/>
                </a:cubicBezTo>
                <a:cubicBezTo>
                  <a:pt x="1954704" y="1729598"/>
                  <a:pt x="1954212" y="1730093"/>
                  <a:pt x="1953224" y="1730093"/>
                </a:cubicBezTo>
                <a:cubicBezTo>
                  <a:pt x="1952485" y="1730093"/>
                  <a:pt x="1951743" y="1729598"/>
                  <a:pt x="1951743" y="1728857"/>
                </a:cubicBezTo>
                <a:cubicBezTo>
                  <a:pt x="1951743" y="1728118"/>
                  <a:pt x="1952485" y="1727377"/>
                  <a:pt x="1953224" y="1727377"/>
                </a:cubicBezTo>
                <a:close/>
                <a:moveTo>
                  <a:pt x="2412563" y="1726882"/>
                </a:moveTo>
                <a:cubicBezTo>
                  <a:pt x="2417253" y="1726882"/>
                  <a:pt x="2421203" y="1730831"/>
                  <a:pt x="2421203" y="1735522"/>
                </a:cubicBezTo>
                <a:cubicBezTo>
                  <a:pt x="2421203" y="1740212"/>
                  <a:pt x="2417500" y="1744162"/>
                  <a:pt x="2412563" y="1744162"/>
                </a:cubicBezTo>
                <a:cubicBezTo>
                  <a:pt x="2407626" y="1744162"/>
                  <a:pt x="2403923" y="1740212"/>
                  <a:pt x="2403923" y="1735522"/>
                </a:cubicBezTo>
                <a:cubicBezTo>
                  <a:pt x="2403923" y="1730831"/>
                  <a:pt x="2407872" y="1726882"/>
                  <a:pt x="2412563" y="1726882"/>
                </a:cubicBezTo>
                <a:close/>
                <a:moveTo>
                  <a:pt x="733854" y="1716762"/>
                </a:moveTo>
                <a:cubicBezTo>
                  <a:pt x="735090" y="1716762"/>
                  <a:pt x="735828" y="1717750"/>
                  <a:pt x="735828" y="1718737"/>
                </a:cubicBezTo>
                <a:cubicBezTo>
                  <a:pt x="736077" y="1720217"/>
                  <a:pt x="735090" y="1720958"/>
                  <a:pt x="733854" y="1720958"/>
                </a:cubicBezTo>
                <a:cubicBezTo>
                  <a:pt x="732620" y="1720958"/>
                  <a:pt x="731632" y="1719971"/>
                  <a:pt x="731632" y="1718737"/>
                </a:cubicBezTo>
                <a:cubicBezTo>
                  <a:pt x="731632" y="1717503"/>
                  <a:pt x="732620" y="1716762"/>
                  <a:pt x="733854" y="1716762"/>
                </a:cubicBezTo>
                <a:close/>
                <a:moveTo>
                  <a:pt x="3122950" y="1708369"/>
                </a:moveTo>
                <a:cubicBezTo>
                  <a:pt x="3133318" y="1708369"/>
                  <a:pt x="3141709" y="1716763"/>
                  <a:pt x="3141709" y="1726882"/>
                </a:cubicBezTo>
                <a:cubicBezTo>
                  <a:pt x="3141709" y="1737002"/>
                  <a:pt x="3133069" y="1745642"/>
                  <a:pt x="3122950" y="1745642"/>
                </a:cubicBezTo>
                <a:cubicBezTo>
                  <a:pt x="3112584" y="1745642"/>
                  <a:pt x="3104190" y="1737248"/>
                  <a:pt x="3104190" y="1726882"/>
                </a:cubicBezTo>
                <a:cubicBezTo>
                  <a:pt x="3104190" y="1716514"/>
                  <a:pt x="3112584" y="1708369"/>
                  <a:pt x="3122950" y="1708369"/>
                </a:cubicBezTo>
                <a:close/>
                <a:moveTo>
                  <a:pt x="2136355" y="1704666"/>
                </a:moveTo>
                <a:cubicBezTo>
                  <a:pt x="2137591" y="1704666"/>
                  <a:pt x="2138576" y="1705653"/>
                  <a:pt x="2138576" y="1706887"/>
                </a:cubicBezTo>
                <a:cubicBezTo>
                  <a:pt x="2138825" y="1708369"/>
                  <a:pt x="2137838" y="1709357"/>
                  <a:pt x="2136355" y="1709357"/>
                </a:cubicBezTo>
                <a:cubicBezTo>
                  <a:pt x="2135122" y="1709357"/>
                  <a:pt x="2134134" y="1708369"/>
                  <a:pt x="2134134" y="1706887"/>
                </a:cubicBezTo>
                <a:cubicBezTo>
                  <a:pt x="2134134" y="1705653"/>
                  <a:pt x="2135122" y="1704666"/>
                  <a:pt x="2136355" y="1704666"/>
                </a:cubicBezTo>
                <a:close/>
                <a:moveTo>
                  <a:pt x="400871" y="1702199"/>
                </a:moveTo>
                <a:cubicBezTo>
                  <a:pt x="404574" y="1702199"/>
                  <a:pt x="407782" y="1705161"/>
                  <a:pt x="407782" y="1709111"/>
                </a:cubicBezTo>
                <a:cubicBezTo>
                  <a:pt x="407536" y="1713060"/>
                  <a:pt x="404574" y="1716022"/>
                  <a:pt x="400871" y="1716022"/>
                </a:cubicBezTo>
                <a:cubicBezTo>
                  <a:pt x="397168" y="1716022"/>
                  <a:pt x="393960" y="1713060"/>
                  <a:pt x="393960" y="1709111"/>
                </a:cubicBezTo>
                <a:cubicBezTo>
                  <a:pt x="393960" y="1705407"/>
                  <a:pt x="397168" y="1702199"/>
                  <a:pt x="400871" y="1702199"/>
                </a:cubicBezTo>
                <a:close/>
                <a:moveTo>
                  <a:pt x="1459554" y="1701952"/>
                </a:moveTo>
                <a:cubicBezTo>
                  <a:pt x="1459800" y="1701952"/>
                  <a:pt x="1460046" y="1702198"/>
                  <a:pt x="1460046" y="1702444"/>
                </a:cubicBezTo>
                <a:cubicBezTo>
                  <a:pt x="1460046" y="1702693"/>
                  <a:pt x="1459800" y="1702939"/>
                  <a:pt x="1459554" y="1702939"/>
                </a:cubicBezTo>
                <a:cubicBezTo>
                  <a:pt x="1459305" y="1702939"/>
                  <a:pt x="1459059" y="1702693"/>
                  <a:pt x="1459059" y="1702444"/>
                </a:cubicBezTo>
                <a:cubicBezTo>
                  <a:pt x="1459059" y="1702198"/>
                  <a:pt x="1459305" y="1701952"/>
                  <a:pt x="1459554" y="1701952"/>
                </a:cubicBezTo>
                <a:close/>
                <a:moveTo>
                  <a:pt x="1258625" y="1701952"/>
                </a:moveTo>
                <a:cubicBezTo>
                  <a:pt x="1259367" y="1701952"/>
                  <a:pt x="1259862" y="1702444"/>
                  <a:pt x="1259862" y="1703186"/>
                </a:cubicBezTo>
                <a:cubicBezTo>
                  <a:pt x="1260108" y="1703927"/>
                  <a:pt x="1259367" y="1704422"/>
                  <a:pt x="1258625" y="1704422"/>
                </a:cubicBezTo>
                <a:cubicBezTo>
                  <a:pt x="1257887" y="1704422"/>
                  <a:pt x="1257392" y="1703927"/>
                  <a:pt x="1257392" y="1703186"/>
                </a:cubicBezTo>
                <a:cubicBezTo>
                  <a:pt x="1257392" y="1702444"/>
                  <a:pt x="1257887" y="1701952"/>
                  <a:pt x="1258625" y="1701952"/>
                </a:cubicBezTo>
                <a:close/>
                <a:moveTo>
                  <a:pt x="1654311" y="1693312"/>
                </a:moveTo>
                <a:cubicBezTo>
                  <a:pt x="1655052" y="1693312"/>
                  <a:pt x="1655547" y="1693804"/>
                  <a:pt x="1655547" y="1694546"/>
                </a:cubicBezTo>
                <a:cubicBezTo>
                  <a:pt x="1655793" y="1695287"/>
                  <a:pt x="1655052" y="1695782"/>
                  <a:pt x="1654311" y="1695782"/>
                </a:cubicBezTo>
                <a:cubicBezTo>
                  <a:pt x="1653573" y="1695782"/>
                  <a:pt x="1653078" y="1695287"/>
                  <a:pt x="1653078" y="1694546"/>
                </a:cubicBezTo>
                <a:cubicBezTo>
                  <a:pt x="1653078" y="1693804"/>
                  <a:pt x="1653573" y="1693312"/>
                  <a:pt x="1654311" y="1693312"/>
                </a:cubicBezTo>
                <a:close/>
                <a:moveTo>
                  <a:pt x="1052273" y="1692079"/>
                </a:moveTo>
                <a:cubicBezTo>
                  <a:pt x="1053753" y="1692079"/>
                  <a:pt x="1054989" y="1693313"/>
                  <a:pt x="1054989" y="1694795"/>
                </a:cubicBezTo>
                <a:cubicBezTo>
                  <a:pt x="1055235" y="1696275"/>
                  <a:pt x="1054001" y="1697511"/>
                  <a:pt x="1052273" y="1697511"/>
                </a:cubicBezTo>
                <a:cubicBezTo>
                  <a:pt x="1050791" y="1697511"/>
                  <a:pt x="1049311" y="1696275"/>
                  <a:pt x="1049311" y="1694795"/>
                </a:cubicBezTo>
                <a:cubicBezTo>
                  <a:pt x="1049311" y="1693313"/>
                  <a:pt x="1050545" y="1692079"/>
                  <a:pt x="1052273" y="1692079"/>
                </a:cubicBezTo>
                <a:close/>
                <a:moveTo>
                  <a:pt x="2586578" y="1691092"/>
                </a:moveTo>
                <a:cubicBezTo>
                  <a:pt x="2593738" y="1691092"/>
                  <a:pt x="2599659" y="1697016"/>
                  <a:pt x="2599659" y="1704174"/>
                </a:cubicBezTo>
                <a:cubicBezTo>
                  <a:pt x="2599659" y="1711334"/>
                  <a:pt x="2593738" y="1717255"/>
                  <a:pt x="2586578" y="1717255"/>
                </a:cubicBezTo>
                <a:cubicBezTo>
                  <a:pt x="2579420" y="1717255"/>
                  <a:pt x="2573496" y="1711334"/>
                  <a:pt x="2573496" y="1704174"/>
                </a:cubicBezTo>
                <a:cubicBezTo>
                  <a:pt x="2573496" y="1697016"/>
                  <a:pt x="2579420" y="1691092"/>
                  <a:pt x="2586578" y="1691092"/>
                </a:cubicBezTo>
                <a:close/>
                <a:moveTo>
                  <a:pt x="2862294" y="1689609"/>
                </a:moveTo>
                <a:cubicBezTo>
                  <a:pt x="2874143" y="1689609"/>
                  <a:pt x="2883767" y="1699236"/>
                  <a:pt x="2883767" y="1711084"/>
                </a:cubicBezTo>
                <a:cubicBezTo>
                  <a:pt x="2883767" y="1722932"/>
                  <a:pt x="2874143" y="1732557"/>
                  <a:pt x="2862294" y="1732557"/>
                </a:cubicBezTo>
                <a:cubicBezTo>
                  <a:pt x="2850446" y="1732557"/>
                  <a:pt x="2840819" y="1722932"/>
                  <a:pt x="2840819" y="1711084"/>
                </a:cubicBezTo>
                <a:cubicBezTo>
                  <a:pt x="2840819" y="1699236"/>
                  <a:pt x="2850446" y="1689609"/>
                  <a:pt x="2862294" y="1689609"/>
                </a:cubicBezTo>
                <a:close/>
                <a:moveTo>
                  <a:pt x="2315804" y="1674553"/>
                </a:moveTo>
                <a:cubicBezTo>
                  <a:pt x="2318766" y="1674553"/>
                  <a:pt x="2321236" y="1677023"/>
                  <a:pt x="2321236" y="1679736"/>
                </a:cubicBezTo>
                <a:cubicBezTo>
                  <a:pt x="2321236" y="1682944"/>
                  <a:pt x="2318766" y="1685168"/>
                  <a:pt x="2315804" y="1685168"/>
                </a:cubicBezTo>
                <a:cubicBezTo>
                  <a:pt x="2312842" y="1685168"/>
                  <a:pt x="2310621" y="1682698"/>
                  <a:pt x="2310621" y="1679736"/>
                </a:cubicBezTo>
                <a:cubicBezTo>
                  <a:pt x="2310621" y="1676774"/>
                  <a:pt x="2313091" y="1674553"/>
                  <a:pt x="2315804" y="1674553"/>
                </a:cubicBezTo>
                <a:close/>
                <a:moveTo>
                  <a:pt x="841475" y="1672825"/>
                </a:moveTo>
                <a:cubicBezTo>
                  <a:pt x="842708" y="1672825"/>
                  <a:pt x="843698" y="1673812"/>
                  <a:pt x="843698" y="1675046"/>
                </a:cubicBezTo>
                <a:cubicBezTo>
                  <a:pt x="843944" y="1676280"/>
                  <a:pt x="842957" y="1677267"/>
                  <a:pt x="841475" y="1677267"/>
                </a:cubicBezTo>
                <a:cubicBezTo>
                  <a:pt x="840241" y="1677267"/>
                  <a:pt x="839254" y="1676280"/>
                  <a:pt x="839254" y="1675046"/>
                </a:cubicBezTo>
                <a:cubicBezTo>
                  <a:pt x="839254" y="1673812"/>
                  <a:pt x="840241" y="1672825"/>
                  <a:pt x="841475" y="1672825"/>
                </a:cubicBezTo>
                <a:close/>
                <a:moveTo>
                  <a:pt x="513184" y="1671345"/>
                </a:moveTo>
                <a:cubicBezTo>
                  <a:pt x="517379" y="1671345"/>
                  <a:pt x="520834" y="1674802"/>
                  <a:pt x="520834" y="1678997"/>
                </a:cubicBezTo>
                <a:cubicBezTo>
                  <a:pt x="520834" y="1683193"/>
                  <a:pt x="517379" y="1686650"/>
                  <a:pt x="513184" y="1686650"/>
                </a:cubicBezTo>
                <a:cubicBezTo>
                  <a:pt x="508986" y="1686650"/>
                  <a:pt x="505532" y="1683193"/>
                  <a:pt x="505532" y="1678997"/>
                </a:cubicBezTo>
                <a:cubicBezTo>
                  <a:pt x="505532" y="1674802"/>
                  <a:pt x="508986" y="1671345"/>
                  <a:pt x="513184" y="1671345"/>
                </a:cubicBezTo>
                <a:close/>
                <a:moveTo>
                  <a:pt x="1854497" y="1669370"/>
                </a:moveTo>
                <a:cubicBezTo>
                  <a:pt x="1855484" y="1669370"/>
                  <a:pt x="1856222" y="1670111"/>
                  <a:pt x="1856222" y="1671098"/>
                </a:cubicBezTo>
                <a:cubicBezTo>
                  <a:pt x="1855976" y="1672086"/>
                  <a:pt x="1855235" y="1672827"/>
                  <a:pt x="1854497" y="1672827"/>
                </a:cubicBezTo>
                <a:cubicBezTo>
                  <a:pt x="1853511" y="1672827"/>
                  <a:pt x="1852771" y="1672086"/>
                  <a:pt x="1852771" y="1671098"/>
                </a:cubicBezTo>
                <a:cubicBezTo>
                  <a:pt x="1852771" y="1670111"/>
                  <a:pt x="1853511" y="1669370"/>
                  <a:pt x="1854497" y="1669370"/>
                </a:cubicBezTo>
                <a:close/>
                <a:moveTo>
                  <a:pt x="3027918" y="1659002"/>
                </a:moveTo>
                <a:cubicBezTo>
                  <a:pt x="3035571" y="1659002"/>
                  <a:pt x="3041741" y="1665172"/>
                  <a:pt x="3041741" y="1673071"/>
                </a:cubicBezTo>
                <a:cubicBezTo>
                  <a:pt x="3041987" y="1680478"/>
                  <a:pt x="3035571" y="1686894"/>
                  <a:pt x="3027918" y="1686894"/>
                </a:cubicBezTo>
                <a:cubicBezTo>
                  <a:pt x="3020266" y="1686894"/>
                  <a:pt x="3013849" y="1680724"/>
                  <a:pt x="3013849" y="1673071"/>
                </a:cubicBezTo>
                <a:cubicBezTo>
                  <a:pt x="3013849" y="1665421"/>
                  <a:pt x="3020019" y="1659002"/>
                  <a:pt x="3027918" y="1659002"/>
                </a:cubicBezTo>
                <a:close/>
                <a:moveTo>
                  <a:pt x="57772" y="1655299"/>
                </a:moveTo>
                <a:cubicBezTo>
                  <a:pt x="59252" y="1655299"/>
                  <a:pt x="60488" y="1656533"/>
                  <a:pt x="60488" y="1658015"/>
                </a:cubicBezTo>
                <a:cubicBezTo>
                  <a:pt x="60488" y="1659495"/>
                  <a:pt x="59252" y="1660731"/>
                  <a:pt x="57772" y="1660731"/>
                </a:cubicBezTo>
                <a:cubicBezTo>
                  <a:pt x="56290" y="1660731"/>
                  <a:pt x="55056" y="1659495"/>
                  <a:pt x="55056" y="1658015"/>
                </a:cubicBezTo>
                <a:cubicBezTo>
                  <a:pt x="55056" y="1656533"/>
                  <a:pt x="56290" y="1655299"/>
                  <a:pt x="57772" y="1655299"/>
                </a:cubicBezTo>
                <a:close/>
                <a:moveTo>
                  <a:pt x="2756649" y="1651844"/>
                </a:moveTo>
                <a:cubicBezTo>
                  <a:pt x="2766522" y="1651844"/>
                  <a:pt x="2774421" y="1659743"/>
                  <a:pt x="2774421" y="1669616"/>
                </a:cubicBezTo>
                <a:cubicBezTo>
                  <a:pt x="2774667" y="1679243"/>
                  <a:pt x="2766522" y="1687388"/>
                  <a:pt x="2756649" y="1687388"/>
                </a:cubicBezTo>
                <a:cubicBezTo>
                  <a:pt x="2746776" y="1687388"/>
                  <a:pt x="2738877" y="1679489"/>
                  <a:pt x="2738877" y="1669616"/>
                </a:cubicBezTo>
                <a:cubicBezTo>
                  <a:pt x="2738877" y="1659743"/>
                  <a:pt x="2746776" y="1651844"/>
                  <a:pt x="2756649" y="1651844"/>
                </a:cubicBezTo>
                <a:close/>
                <a:moveTo>
                  <a:pt x="2039103" y="1648636"/>
                </a:moveTo>
                <a:cubicBezTo>
                  <a:pt x="2039844" y="1648636"/>
                  <a:pt x="2040339" y="1649128"/>
                  <a:pt x="2040339" y="1649870"/>
                </a:cubicBezTo>
                <a:cubicBezTo>
                  <a:pt x="2040339" y="1650611"/>
                  <a:pt x="2039844" y="1651106"/>
                  <a:pt x="2039103" y="1651106"/>
                </a:cubicBezTo>
                <a:cubicBezTo>
                  <a:pt x="2038361" y="1651106"/>
                  <a:pt x="2037869" y="1650611"/>
                  <a:pt x="2037869" y="1649870"/>
                </a:cubicBezTo>
                <a:cubicBezTo>
                  <a:pt x="2037869" y="1649128"/>
                  <a:pt x="2038361" y="1648636"/>
                  <a:pt x="2039103" y="1648636"/>
                </a:cubicBezTo>
                <a:close/>
                <a:moveTo>
                  <a:pt x="173291" y="1640984"/>
                </a:moveTo>
                <a:cubicBezTo>
                  <a:pt x="174527" y="1640984"/>
                  <a:pt x="175761" y="1641971"/>
                  <a:pt x="175761" y="1643454"/>
                </a:cubicBezTo>
                <a:cubicBezTo>
                  <a:pt x="175761" y="1644687"/>
                  <a:pt x="174773" y="1645921"/>
                  <a:pt x="173291" y="1645921"/>
                </a:cubicBezTo>
                <a:cubicBezTo>
                  <a:pt x="172058" y="1645921"/>
                  <a:pt x="170824" y="1644933"/>
                  <a:pt x="170824" y="1643454"/>
                </a:cubicBezTo>
                <a:cubicBezTo>
                  <a:pt x="170824" y="1642218"/>
                  <a:pt x="171812" y="1640984"/>
                  <a:pt x="173291" y="1640984"/>
                </a:cubicBezTo>
                <a:close/>
                <a:moveTo>
                  <a:pt x="1356869" y="1639996"/>
                </a:moveTo>
                <a:cubicBezTo>
                  <a:pt x="1357361" y="1639996"/>
                  <a:pt x="1357856" y="1640489"/>
                  <a:pt x="1357856" y="1640984"/>
                </a:cubicBezTo>
                <a:cubicBezTo>
                  <a:pt x="1357856" y="1641476"/>
                  <a:pt x="1357361" y="1641971"/>
                  <a:pt x="1356869" y="1641971"/>
                </a:cubicBezTo>
                <a:cubicBezTo>
                  <a:pt x="1356376" y="1641971"/>
                  <a:pt x="1355881" y="1641476"/>
                  <a:pt x="1355881" y="1640984"/>
                </a:cubicBezTo>
                <a:cubicBezTo>
                  <a:pt x="1355881" y="1640489"/>
                  <a:pt x="1356376" y="1639996"/>
                  <a:pt x="1356869" y="1639996"/>
                </a:cubicBezTo>
                <a:close/>
                <a:moveTo>
                  <a:pt x="2490560" y="1639750"/>
                </a:moveTo>
                <a:cubicBezTo>
                  <a:pt x="2495990" y="1639750"/>
                  <a:pt x="2500185" y="1644194"/>
                  <a:pt x="2500185" y="1649377"/>
                </a:cubicBezTo>
                <a:cubicBezTo>
                  <a:pt x="2500185" y="1654560"/>
                  <a:pt x="2495990" y="1659002"/>
                  <a:pt x="2490560" y="1659002"/>
                </a:cubicBezTo>
                <a:cubicBezTo>
                  <a:pt x="2485129" y="1659002"/>
                  <a:pt x="2480933" y="1654560"/>
                  <a:pt x="2480933" y="1649377"/>
                </a:cubicBezTo>
                <a:cubicBezTo>
                  <a:pt x="2480933" y="1643946"/>
                  <a:pt x="2485377" y="1639750"/>
                  <a:pt x="2490560" y="1639750"/>
                </a:cubicBezTo>
                <a:close/>
                <a:moveTo>
                  <a:pt x="1154214" y="1636293"/>
                </a:moveTo>
                <a:cubicBezTo>
                  <a:pt x="1155694" y="1636293"/>
                  <a:pt x="1156930" y="1637527"/>
                  <a:pt x="1156930" y="1639009"/>
                </a:cubicBezTo>
                <a:cubicBezTo>
                  <a:pt x="1156930" y="1640489"/>
                  <a:pt x="1155694" y="1641725"/>
                  <a:pt x="1154214" y="1641725"/>
                </a:cubicBezTo>
                <a:cubicBezTo>
                  <a:pt x="1152732" y="1641725"/>
                  <a:pt x="1151499" y="1640489"/>
                  <a:pt x="1151499" y="1639009"/>
                </a:cubicBezTo>
                <a:cubicBezTo>
                  <a:pt x="1151499" y="1637527"/>
                  <a:pt x="1152732" y="1636293"/>
                  <a:pt x="1154214" y="1636293"/>
                </a:cubicBezTo>
                <a:close/>
                <a:moveTo>
                  <a:pt x="624015" y="1635060"/>
                </a:moveTo>
                <a:cubicBezTo>
                  <a:pt x="628702" y="1635060"/>
                  <a:pt x="632406" y="1638763"/>
                  <a:pt x="632406" y="1643451"/>
                </a:cubicBezTo>
                <a:cubicBezTo>
                  <a:pt x="632406" y="1648142"/>
                  <a:pt x="628702" y="1651845"/>
                  <a:pt x="624015" y="1651845"/>
                </a:cubicBezTo>
                <a:cubicBezTo>
                  <a:pt x="619324" y="1651845"/>
                  <a:pt x="615620" y="1648142"/>
                  <a:pt x="615620" y="1643451"/>
                </a:cubicBezTo>
                <a:cubicBezTo>
                  <a:pt x="615620" y="1638763"/>
                  <a:pt x="619324" y="1635060"/>
                  <a:pt x="624015" y="1635060"/>
                </a:cubicBezTo>
                <a:close/>
                <a:moveTo>
                  <a:pt x="1553599" y="1634318"/>
                </a:moveTo>
                <a:cubicBezTo>
                  <a:pt x="1553848" y="1634318"/>
                  <a:pt x="1554094" y="1634564"/>
                  <a:pt x="1554094" y="1634813"/>
                </a:cubicBezTo>
                <a:cubicBezTo>
                  <a:pt x="1554094" y="1635059"/>
                  <a:pt x="1553848" y="1635305"/>
                  <a:pt x="1553599" y="1635305"/>
                </a:cubicBezTo>
                <a:cubicBezTo>
                  <a:pt x="1553353" y="1635305"/>
                  <a:pt x="1553107" y="1635059"/>
                  <a:pt x="1553107" y="1634813"/>
                </a:cubicBezTo>
                <a:cubicBezTo>
                  <a:pt x="1553107" y="1634564"/>
                  <a:pt x="1553353" y="1634318"/>
                  <a:pt x="1553599" y="1634318"/>
                </a:cubicBezTo>
                <a:close/>
                <a:moveTo>
                  <a:pt x="947120" y="1623706"/>
                </a:moveTo>
                <a:cubicBezTo>
                  <a:pt x="948483" y="1623706"/>
                  <a:pt x="949589" y="1624810"/>
                  <a:pt x="949589" y="1626173"/>
                </a:cubicBezTo>
                <a:cubicBezTo>
                  <a:pt x="949589" y="1627539"/>
                  <a:pt x="948486" y="1628643"/>
                  <a:pt x="947120" y="1628643"/>
                </a:cubicBezTo>
                <a:cubicBezTo>
                  <a:pt x="945756" y="1628643"/>
                  <a:pt x="944653" y="1627539"/>
                  <a:pt x="944653" y="1626173"/>
                </a:cubicBezTo>
                <a:cubicBezTo>
                  <a:pt x="944653" y="1624810"/>
                  <a:pt x="945756" y="1623706"/>
                  <a:pt x="947120" y="1623706"/>
                </a:cubicBezTo>
                <a:close/>
                <a:moveTo>
                  <a:pt x="2218552" y="1621978"/>
                </a:moveTo>
                <a:cubicBezTo>
                  <a:pt x="2220032" y="1621978"/>
                  <a:pt x="2221268" y="1623212"/>
                  <a:pt x="2221268" y="1624694"/>
                </a:cubicBezTo>
                <a:cubicBezTo>
                  <a:pt x="2221268" y="1626174"/>
                  <a:pt x="2220032" y="1627410"/>
                  <a:pt x="2218552" y="1627410"/>
                </a:cubicBezTo>
                <a:cubicBezTo>
                  <a:pt x="2217070" y="1627410"/>
                  <a:pt x="2215836" y="1626174"/>
                  <a:pt x="2215836" y="1624694"/>
                </a:cubicBezTo>
                <a:cubicBezTo>
                  <a:pt x="2215836" y="1623212"/>
                  <a:pt x="2217070" y="1621978"/>
                  <a:pt x="2218552" y="1621978"/>
                </a:cubicBezTo>
                <a:close/>
                <a:moveTo>
                  <a:pt x="288068" y="1621237"/>
                </a:moveTo>
                <a:cubicBezTo>
                  <a:pt x="289055" y="1621237"/>
                  <a:pt x="290043" y="1622224"/>
                  <a:pt x="290043" y="1623212"/>
                </a:cubicBezTo>
                <a:cubicBezTo>
                  <a:pt x="290043" y="1624199"/>
                  <a:pt x="289301" y="1625186"/>
                  <a:pt x="288068" y="1625186"/>
                </a:cubicBezTo>
                <a:cubicBezTo>
                  <a:pt x="286834" y="1625186"/>
                  <a:pt x="286093" y="1624199"/>
                  <a:pt x="286093" y="1623212"/>
                </a:cubicBezTo>
                <a:cubicBezTo>
                  <a:pt x="286093" y="1621978"/>
                  <a:pt x="287080" y="1621237"/>
                  <a:pt x="288068" y="1621237"/>
                </a:cubicBezTo>
                <a:close/>
                <a:moveTo>
                  <a:pt x="1744648" y="1620496"/>
                </a:moveTo>
                <a:cubicBezTo>
                  <a:pt x="1745390" y="1620496"/>
                  <a:pt x="1746132" y="1620991"/>
                  <a:pt x="1746132" y="1621729"/>
                </a:cubicBezTo>
                <a:cubicBezTo>
                  <a:pt x="1746132" y="1622719"/>
                  <a:pt x="1745390" y="1623212"/>
                  <a:pt x="1744648" y="1623212"/>
                </a:cubicBezTo>
                <a:cubicBezTo>
                  <a:pt x="1743910" y="1623212"/>
                  <a:pt x="1743415" y="1622719"/>
                  <a:pt x="1743415" y="1621729"/>
                </a:cubicBezTo>
                <a:cubicBezTo>
                  <a:pt x="1743415" y="1620991"/>
                  <a:pt x="1743910" y="1620496"/>
                  <a:pt x="1744648" y="1620496"/>
                </a:cubicBezTo>
                <a:close/>
                <a:moveTo>
                  <a:pt x="3190337" y="1612597"/>
                </a:moveTo>
                <a:cubicBezTo>
                  <a:pt x="3200952" y="1612597"/>
                  <a:pt x="3209835" y="1621237"/>
                  <a:pt x="3209835" y="1632098"/>
                </a:cubicBezTo>
                <a:cubicBezTo>
                  <a:pt x="3209835" y="1642959"/>
                  <a:pt x="3200952" y="1651596"/>
                  <a:pt x="3190337" y="1651596"/>
                </a:cubicBezTo>
                <a:cubicBezTo>
                  <a:pt x="3179722" y="1651596"/>
                  <a:pt x="3170836" y="1642959"/>
                  <a:pt x="3170836" y="1632098"/>
                </a:cubicBezTo>
                <a:cubicBezTo>
                  <a:pt x="3170836" y="1621237"/>
                  <a:pt x="3179476" y="1612597"/>
                  <a:pt x="3190337" y="1612597"/>
                </a:cubicBezTo>
                <a:close/>
                <a:moveTo>
                  <a:pt x="2661124" y="1601523"/>
                </a:moveTo>
                <a:cubicBezTo>
                  <a:pt x="2668776" y="1601523"/>
                  <a:pt x="2674947" y="1607660"/>
                  <a:pt x="2674947" y="1615313"/>
                </a:cubicBezTo>
                <a:cubicBezTo>
                  <a:pt x="2674947" y="1622965"/>
                  <a:pt x="2668776" y="1629136"/>
                  <a:pt x="2661124" y="1629136"/>
                </a:cubicBezTo>
                <a:cubicBezTo>
                  <a:pt x="2653471" y="1629136"/>
                  <a:pt x="2647301" y="1622965"/>
                  <a:pt x="2647301" y="1615313"/>
                </a:cubicBezTo>
                <a:cubicBezTo>
                  <a:pt x="2647301" y="1607660"/>
                  <a:pt x="2653471" y="1601523"/>
                  <a:pt x="2661124" y="1601523"/>
                </a:cubicBezTo>
                <a:close/>
                <a:moveTo>
                  <a:pt x="2933134" y="1596098"/>
                </a:moveTo>
                <a:cubicBezTo>
                  <a:pt x="2945474" y="1596098"/>
                  <a:pt x="2955347" y="1606178"/>
                  <a:pt x="2955347" y="1618521"/>
                </a:cubicBezTo>
                <a:cubicBezTo>
                  <a:pt x="2955347" y="1630861"/>
                  <a:pt x="2945474" y="1640984"/>
                  <a:pt x="2933134" y="1640984"/>
                </a:cubicBezTo>
                <a:cubicBezTo>
                  <a:pt x="2920791" y="1640984"/>
                  <a:pt x="2910671" y="1630861"/>
                  <a:pt x="2910671" y="1618521"/>
                </a:cubicBezTo>
                <a:cubicBezTo>
                  <a:pt x="2910671" y="1606178"/>
                  <a:pt x="2920791" y="1596098"/>
                  <a:pt x="2933134" y="1596098"/>
                </a:cubicBezTo>
                <a:close/>
                <a:moveTo>
                  <a:pt x="401614" y="1595331"/>
                </a:moveTo>
                <a:cubicBezTo>
                  <a:pt x="402601" y="1595331"/>
                  <a:pt x="403340" y="1596071"/>
                  <a:pt x="403340" y="1597059"/>
                </a:cubicBezTo>
                <a:cubicBezTo>
                  <a:pt x="403589" y="1598046"/>
                  <a:pt x="402601" y="1598788"/>
                  <a:pt x="401614" y="1598788"/>
                </a:cubicBezTo>
                <a:cubicBezTo>
                  <a:pt x="400627" y="1598788"/>
                  <a:pt x="399886" y="1598046"/>
                  <a:pt x="399886" y="1597059"/>
                </a:cubicBezTo>
                <a:cubicBezTo>
                  <a:pt x="399886" y="1596071"/>
                  <a:pt x="400627" y="1595331"/>
                  <a:pt x="401614" y="1595331"/>
                </a:cubicBezTo>
                <a:close/>
                <a:moveTo>
                  <a:pt x="733113" y="1593603"/>
                </a:moveTo>
                <a:cubicBezTo>
                  <a:pt x="738299" y="1593603"/>
                  <a:pt x="742248" y="1597553"/>
                  <a:pt x="742248" y="1602723"/>
                </a:cubicBezTo>
                <a:cubicBezTo>
                  <a:pt x="741999" y="1607660"/>
                  <a:pt x="738050" y="1611858"/>
                  <a:pt x="733113" y="1611858"/>
                </a:cubicBezTo>
                <a:cubicBezTo>
                  <a:pt x="728176" y="1611858"/>
                  <a:pt x="723981" y="1607908"/>
                  <a:pt x="723981" y="1602723"/>
                </a:cubicBezTo>
                <a:cubicBezTo>
                  <a:pt x="723981" y="1597799"/>
                  <a:pt x="727930" y="1593603"/>
                  <a:pt x="733113" y="1593603"/>
                </a:cubicBezTo>
                <a:close/>
                <a:moveTo>
                  <a:pt x="1941123" y="1591888"/>
                </a:moveTo>
                <a:cubicBezTo>
                  <a:pt x="1941864" y="1591888"/>
                  <a:pt x="1942604" y="1592627"/>
                  <a:pt x="1942604" y="1593366"/>
                </a:cubicBezTo>
                <a:cubicBezTo>
                  <a:pt x="1942604" y="1594107"/>
                  <a:pt x="1941864" y="1594847"/>
                  <a:pt x="1941123" y="1594847"/>
                </a:cubicBezTo>
                <a:cubicBezTo>
                  <a:pt x="1940385" y="1594847"/>
                  <a:pt x="1939644" y="1594107"/>
                  <a:pt x="1939644" y="1593366"/>
                </a:cubicBezTo>
                <a:cubicBezTo>
                  <a:pt x="1939644" y="1592627"/>
                  <a:pt x="1940385" y="1591888"/>
                  <a:pt x="1941123" y="1591888"/>
                </a:cubicBezTo>
                <a:close/>
                <a:moveTo>
                  <a:pt x="2394545" y="1588190"/>
                </a:moveTo>
                <a:cubicBezTo>
                  <a:pt x="2397753" y="1588190"/>
                  <a:pt x="2400469" y="1590904"/>
                  <a:pt x="2400469" y="1594113"/>
                </a:cubicBezTo>
                <a:cubicBezTo>
                  <a:pt x="2400469" y="1597571"/>
                  <a:pt x="2397753" y="1600035"/>
                  <a:pt x="2394545" y="1600035"/>
                </a:cubicBezTo>
                <a:cubicBezTo>
                  <a:pt x="2391337" y="1600035"/>
                  <a:pt x="2388621" y="1597321"/>
                  <a:pt x="2388621" y="1594113"/>
                </a:cubicBezTo>
                <a:cubicBezTo>
                  <a:pt x="2388621" y="1590904"/>
                  <a:pt x="2391337" y="1588190"/>
                  <a:pt x="2394545" y="1588190"/>
                </a:cubicBezTo>
                <a:close/>
                <a:moveTo>
                  <a:pt x="1253690" y="1575835"/>
                </a:moveTo>
                <a:cubicBezTo>
                  <a:pt x="1255170" y="1575835"/>
                  <a:pt x="1256652" y="1577070"/>
                  <a:pt x="1256652" y="1578797"/>
                </a:cubicBezTo>
                <a:cubicBezTo>
                  <a:pt x="1256406" y="1580279"/>
                  <a:pt x="1255170" y="1581514"/>
                  <a:pt x="1253690" y="1581514"/>
                </a:cubicBezTo>
                <a:cubicBezTo>
                  <a:pt x="1252208" y="1581514"/>
                  <a:pt x="1250975" y="1580279"/>
                  <a:pt x="1250975" y="1578797"/>
                </a:cubicBezTo>
                <a:cubicBezTo>
                  <a:pt x="1250975" y="1577317"/>
                  <a:pt x="1252208" y="1575835"/>
                  <a:pt x="1253690" y="1575835"/>
                </a:cubicBezTo>
                <a:close/>
                <a:moveTo>
                  <a:pt x="1452147" y="1574110"/>
                </a:moveTo>
                <a:cubicBezTo>
                  <a:pt x="1452639" y="1574110"/>
                  <a:pt x="1452885" y="1574357"/>
                  <a:pt x="1452885" y="1574851"/>
                </a:cubicBezTo>
                <a:cubicBezTo>
                  <a:pt x="1452885" y="1575343"/>
                  <a:pt x="1452639" y="1575589"/>
                  <a:pt x="1452147" y="1575589"/>
                </a:cubicBezTo>
                <a:cubicBezTo>
                  <a:pt x="1451652" y="1575589"/>
                  <a:pt x="1451405" y="1575343"/>
                  <a:pt x="1451405" y="1574851"/>
                </a:cubicBezTo>
                <a:cubicBezTo>
                  <a:pt x="1451405" y="1574357"/>
                  <a:pt x="1451652" y="1574110"/>
                  <a:pt x="1452147" y="1574110"/>
                </a:cubicBezTo>
                <a:close/>
                <a:moveTo>
                  <a:pt x="1050297" y="1570403"/>
                </a:moveTo>
                <a:cubicBezTo>
                  <a:pt x="1051779" y="1570403"/>
                  <a:pt x="1052767" y="1571636"/>
                  <a:pt x="1052767" y="1572873"/>
                </a:cubicBezTo>
                <a:cubicBezTo>
                  <a:pt x="1053013" y="1574108"/>
                  <a:pt x="1051779" y="1575339"/>
                  <a:pt x="1050297" y="1575339"/>
                </a:cubicBezTo>
                <a:cubicBezTo>
                  <a:pt x="1048817" y="1575339"/>
                  <a:pt x="1047830" y="1574108"/>
                  <a:pt x="1047830" y="1572873"/>
                </a:cubicBezTo>
                <a:cubicBezTo>
                  <a:pt x="1047830" y="1571390"/>
                  <a:pt x="1049063" y="1570403"/>
                  <a:pt x="1050297" y="1570403"/>
                </a:cubicBezTo>
                <a:close/>
                <a:moveTo>
                  <a:pt x="2122039" y="1567453"/>
                </a:moveTo>
                <a:cubicBezTo>
                  <a:pt x="2122532" y="1567453"/>
                  <a:pt x="2123027" y="1567948"/>
                  <a:pt x="2123027" y="1568440"/>
                </a:cubicBezTo>
                <a:cubicBezTo>
                  <a:pt x="2123027" y="1568932"/>
                  <a:pt x="2122532" y="1569428"/>
                  <a:pt x="2122039" y="1569428"/>
                </a:cubicBezTo>
                <a:cubicBezTo>
                  <a:pt x="2121544" y="1569428"/>
                  <a:pt x="2121052" y="1568932"/>
                  <a:pt x="2121052" y="1568440"/>
                </a:cubicBezTo>
                <a:cubicBezTo>
                  <a:pt x="2121052" y="1567948"/>
                  <a:pt x="2121544" y="1567453"/>
                  <a:pt x="2122039" y="1567453"/>
                </a:cubicBezTo>
                <a:close/>
                <a:moveTo>
                  <a:pt x="513922" y="1563984"/>
                </a:moveTo>
                <a:cubicBezTo>
                  <a:pt x="514663" y="1563984"/>
                  <a:pt x="515404" y="1564725"/>
                  <a:pt x="515404" y="1565463"/>
                </a:cubicBezTo>
                <a:cubicBezTo>
                  <a:pt x="515404" y="1566204"/>
                  <a:pt x="514663" y="1566945"/>
                  <a:pt x="513922" y="1566945"/>
                </a:cubicBezTo>
                <a:cubicBezTo>
                  <a:pt x="513183" y="1566945"/>
                  <a:pt x="512442" y="1566204"/>
                  <a:pt x="512442" y="1565463"/>
                </a:cubicBezTo>
                <a:cubicBezTo>
                  <a:pt x="512442" y="1564725"/>
                  <a:pt x="512937" y="1563984"/>
                  <a:pt x="513922" y="1563984"/>
                </a:cubicBezTo>
                <a:close/>
                <a:moveTo>
                  <a:pt x="3095798" y="1563524"/>
                </a:moveTo>
                <a:cubicBezTo>
                  <a:pt x="3103943" y="1563524"/>
                  <a:pt x="3110608" y="1570185"/>
                  <a:pt x="3110608" y="1578329"/>
                </a:cubicBezTo>
                <a:cubicBezTo>
                  <a:pt x="3110608" y="1586473"/>
                  <a:pt x="3103943" y="1593137"/>
                  <a:pt x="3095798" y="1593137"/>
                </a:cubicBezTo>
                <a:cubicBezTo>
                  <a:pt x="3087653" y="1593137"/>
                  <a:pt x="3080988" y="1586473"/>
                  <a:pt x="3080988" y="1578329"/>
                </a:cubicBezTo>
                <a:cubicBezTo>
                  <a:pt x="3080988" y="1570185"/>
                  <a:pt x="3087653" y="1563524"/>
                  <a:pt x="3095798" y="1563524"/>
                </a:cubicBezTo>
                <a:close/>
                <a:moveTo>
                  <a:pt x="1645174" y="1563251"/>
                </a:moveTo>
                <a:cubicBezTo>
                  <a:pt x="1645422" y="1563251"/>
                  <a:pt x="1645422" y="1563498"/>
                  <a:pt x="1645422" y="1563498"/>
                </a:cubicBezTo>
                <a:cubicBezTo>
                  <a:pt x="1645422" y="1563743"/>
                  <a:pt x="1645174" y="1563743"/>
                  <a:pt x="1645174" y="1563743"/>
                </a:cubicBezTo>
                <a:cubicBezTo>
                  <a:pt x="1644928" y="1563743"/>
                  <a:pt x="1644928" y="1563498"/>
                  <a:pt x="1644928" y="1563498"/>
                </a:cubicBezTo>
                <a:cubicBezTo>
                  <a:pt x="1644928" y="1563251"/>
                  <a:pt x="1645174" y="1563251"/>
                  <a:pt x="1645174" y="1563251"/>
                </a:cubicBezTo>
                <a:close/>
                <a:moveTo>
                  <a:pt x="2827983" y="1559323"/>
                </a:moveTo>
                <a:cubicBezTo>
                  <a:pt x="2838349" y="1559323"/>
                  <a:pt x="2846497" y="1567711"/>
                  <a:pt x="2846497" y="1578080"/>
                </a:cubicBezTo>
                <a:cubicBezTo>
                  <a:pt x="2846497" y="1588442"/>
                  <a:pt x="2838349" y="1596594"/>
                  <a:pt x="2827983" y="1596594"/>
                </a:cubicBezTo>
                <a:cubicBezTo>
                  <a:pt x="2817615" y="1596594"/>
                  <a:pt x="2809470" y="1588197"/>
                  <a:pt x="2809470" y="1578080"/>
                </a:cubicBezTo>
                <a:cubicBezTo>
                  <a:pt x="2809470" y="1567711"/>
                  <a:pt x="2817864" y="1559323"/>
                  <a:pt x="2827983" y="1559323"/>
                </a:cubicBezTo>
                <a:close/>
                <a:moveTo>
                  <a:pt x="2565598" y="1549930"/>
                </a:moveTo>
                <a:cubicBezTo>
                  <a:pt x="2571522" y="1549930"/>
                  <a:pt x="2576212" y="1554874"/>
                  <a:pt x="2576212" y="1560798"/>
                </a:cubicBezTo>
                <a:cubicBezTo>
                  <a:pt x="2576459" y="1566721"/>
                  <a:pt x="2571522" y="1571410"/>
                  <a:pt x="2565598" y="1571410"/>
                </a:cubicBezTo>
                <a:cubicBezTo>
                  <a:pt x="2559674" y="1571410"/>
                  <a:pt x="2554983" y="1566476"/>
                  <a:pt x="2554983" y="1560798"/>
                </a:cubicBezTo>
                <a:cubicBezTo>
                  <a:pt x="2554983" y="1554874"/>
                  <a:pt x="2559920" y="1549930"/>
                  <a:pt x="2565598" y="1549930"/>
                </a:cubicBezTo>
                <a:close/>
                <a:moveTo>
                  <a:pt x="839993" y="1547199"/>
                </a:moveTo>
                <a:cubicBezTo>
                  <a:pt x="845176" y="1547199"/>
                  <a:pt x="849866" y="1551643"/>
                  <a:pt x="849866" y="1556829"/>
                </a:cubicBezTo>
                <a:cubicBezTo>
                  <a:pt x="849866" y="1562256"/>
                  <a:pt x="845422" y="1566700"/>
                  <a:pt x="839993" y="1566700"/>
                </a:cubicBezTo>
                <a:cubicBezTo>
                  <a:pt x="834562" y="1566700"/>
                  <a:pt x="830366" y="1562256"/>
                  <a:pt x="830366" y="1556829"/>
                </a:cubicBezTo>
                <a:cubicBezTo>
                  <a:pt x="830366" y="1551390"/>
                  <a:pt x="834811" y="1547199"/>
                  <a:pt x="839993" y="1547199"/>
                </a:cubicBezTo>
                <a:close/>
                <a:moveTo>
                  <a:pt x="57771" y="1545222"/>
                </a:moveTo>
                <a:cubicBezTo>
                  <a:pt x="59746" y="1545222"/>
                  <a:pt x="61475" y="1546951"/>
                  <a:pt x="61475" y="1548926"/>
                </a:cubicBezTo>
                <a:cubicBezTo>
                  <a:pt x="61475" y="1550901"/>
                  <a:pt x="59746" y="1552622"/>
                  <a:pt x="57771" y="1552622"/>
                </a:cubicBezTo>
                <a:cubicBezTo>
                  <a:pt x="55797" y="1552622"/>
                  <a:pt x="54068" y="1550901"/>
                  <a:pt x="54068" y="1548926"/>
                </a:cubicBezTo>
                <a:cubicBezTo>
                  <a:pt x="54068" y="1546951"/>
                  <a:pt x="55797" y="1545222"/>
                  <a:pt x="57771" y="1545222"/>
                </a:cubicBezTo>
                <a:close/>
                <a:moveTo>
                  <a:pt x="1832279" y="1544495"/>
                </a:moveTo>
                <a:cubicBezTo>
                  <a:pt x="1833092" y="1544495"/>
                  <a:pt x="1833756" y="1545158"/>
                  <a:pt x="1833756" y="1545974"/>
                </a:cubicBezTo>
                <a:cubicBezTo>
                  <a:pt x="1833756" y="1546793"/>
                  <a:pt x="1833092" y="1547455"/>
                  <a:pt x="1832279" y="1547455"/>
                </a:cubicBezTo>
                <a:cubicBezTo>
                  <a:pt x="1831457" y="1547455"/>
                  <a:pt x="1830795" y="1546793"/>
                  <a:pt x="1830795" y="1545974"/>
                </a:cubicBezTo>
                <a:cubicBezTo>
                  <a:pt x="1830795" y="1545158"/>
                  <a:pt x="1831457" y="1544495"/>
                  <a:pt x="1832279" y="1544495"/>
                </a:cubicBezTo>
                <a:close/>
                <a:moveTo>
                  <a:pt x="2297785" y="1536605"/>
                </a:moveTo>
                <a:cubicBezTo>
                  <a:pt x="2299514" y="1536605"/>
                  <a:pt x="2300747" y="1537839"/>
                  <a:pt x="2300747" y="1539566"/>
                </a:cubicBezTo>
                <a:cubicBezTo>
                  <a:pt x="2300993" y="1541295"/>
                  <a:pt x="2299514" y="1542528"/>
                  <a:pt x="2297785" y="1542528"/>
                </a:cubicBezTo>
                <a:cubicBezTo>
                  <a:pt x="2296057" y="1542528"/>
                  <a:pt x="2294823" y="1541045"/>
                  <a:pt x="2294823" y="1539566"/>
                </a:cubicBezTo>
                <a:cubicBezTo>
                  <a:pt x="2294823" y="1537839"/>
                  <a:pt x="2296303" y="1536605"/>
                  <a:pt x="2297785" y="1536605"/>
                </a:cubicBezTo>
                <a:close/>
                <a:moveTo>
                  <a:pt x="173535" y="1529673"/>
                </a:moveTo>
                <a:cubicBezTo>
                  <a:pt x="175756" y="1529673"/>
                  <a:pt x="177484" y="1531402"/>
                  <a:pt x="177484" y="1533622"/>
                </a:cubicBezTo>
                <a:cubicBezTo>
                  <a:pt x="177238" y="1535598"/>
                  <a:pt x="175510" y="1537325"/>
                  <a:pt x="173535" y="1537325"/>
                </a:cubicBezTo>
                <a:cubicBezTo>
                  <a:pt x="171560" y="1537325"/>
                  <a:pt x="169586" y="1535598"/>
                  <a:pt x="169586" y="1533622"/>
                </a:cubicBezTo>
                <a:cubicBezTo>
                  <a:pt x="169586" y="1531402"/>
                  <a:pt x="171314" y="1529673"/>
                  <a:pt x="173535" y="1529673"/>
                </a:cubicBezTo>
                <a:close/>
                <a:moveTo>
                  <a:pt x="624256" y="1524985"/>
                </a:moveTo>
                <a:cubicBezTo>
                  <a:pt x="625985" y="1524985"/>
                  <a:pt x="627467" y="1526464"/>
                  <a:pt x="627467" y="1528192"/>
                </a:cubicBezTo>
                <a:cubicBezTo>
                  <a:pt x="627713" y="1529920"/>
                  <a:pt x="626231" y="1531402"/>
                  <a:pt x="624256" y="1531402"/>
                </a:cubicBezTo>
                <a:cubicBezTo>
                  <a:pt x="622528" y="1531402"/>
                  <a:pt x="621048" y="1529920"/>
                  <a:pt x="621048" y="1528192"/>
                </a:cubicBezTo>
                <a:cubicBezTo>
                  <a:pt x="621048" y="1526464"/>
                  <a:pt x="622528" y="1524985"/>
                  <a:pt x="624256" y="1524985"/>
                </a:cubicBezTo>
                <a:close/>
                <a:moveTo>
                  <a:pt x="3255009" y="1515157"/>
                </a:moveTo>
                <a:cubicBezTo>
                  <a:pt x="3266116" y="1515157"/>
                  <a:pt x="3275248" y="1524285"/>
                  <a:pt x="3275248" y="1535390"/>
                </a:cubicBezTo>
                <a:cubicBezTo>
                  <a:pt x="3275248" y="1546493"/>
                  <a:pt x="3266116" y="1555632"/>
                  <a:pt x="3255009" y="1555632"/>
                </a:cubicBezTo>
                <a:cubicBezTo>
                  <a:pt x="3243899" y="1555632"/>
                  <a:pt x="3234767" y="1546493"/>
                  <a:pt x="3234767" y="1535390"/>
                </a:cubicBezTo>
                <a:cubicBezTo>
                  <a:pt x="3234767" y="1524285"/>
                  <a:pt x="3243899" y="1515157"/>
                  <a:pt x="3255009" y="1515157"/>
                </a:cubicBezTo>
                <a:close/>
                <a:moveTo>
                  <a:pt x="1151002" y="1511908"/>
                </a:moveTo>
                <a:cubicBezTo>
                  <a:pt x="1152482" y="1511908"/>
                  <a:pt x="1153718" y="1513142"/>
                  <a:pt x="1153718" y="1514624"/>
                </a:cubicBezTo>
                <a:cubicBezTo>
                  <a:pt x="1153964" y="1516103"/>
                  <a:pt x="1152730" y="1517339"/>
                  <a:pt x="1151002" y="1517339"/>
                </a:cubicBezTo>
                <a:cubicBezTo>
                  <a:pt x="1149520" y="1517339"/>
                  <a:pt x="1148286" y="1516103"/>
                  <a:pt x="1148286" y="1514624"/>
                </a:cubicBezTo>
                <a:cubicBezTo>
                  <a:pt x="1148286" y="1513142"/>
                  <a:pt x="1149520" y="1511908"/>
                  <a:pt x="1151002" y="1511908"/>
                </a:cubicBezTo>
                <a:close/>
                <a:moveTo>
                  <a:pt x="1350202" y="1511418"/>
                </a:moveTo>
                <a:cubicBezTo>
                  <a:pt x="1351684" y="1511418"/>
                  <a:pt x="1353164" y="1512652"/>
                  <a:pt x="1353164" y="1514380"/>
                </a:cubicBezTo>
                <a:cubicBezTo>
                  <a:pt x="1353164" y="1516108"/>
                  <a:pt x="1351930" y="1517096"/>
                  <a:pt x="1350202" y="1517096"/>
                </a:cubicBezTo>
                <a:cubicBezTo>
                  <a:pt x="1348719" y="1517096"/>
                  <a:pt x="1347239" y="1515859"/>
                  <a:pt x="1347239" y="1514380"/>
                </a:cubicBezTo>
                <a:cubicBezTo>
                  <a:pt x="1347239" y="1512898"/>
                  <a:pt x="1348473" y="1511418"/>
                  <a:pt x="1350202" y="1511418"/>
                </a:cubicBezTo>
                <a:close/>
                <a:moveTo>
                  <a:pt x="2024786" y="1511179"/>
                </a:moveTo>
                <a:cubicBezTo>
                  <a:pt x="2025527" y="1511179"/>
                  <a:pt x="2026022" y="1511674"/>
                  <a:pt x="2026022" y="1512413"/>
                </a:cubicBezTo>
                <a:cubicBezTo>
                  <a:pt x="2026022" y="1513154"/>
                  <a:pt x="2025527" y="1513649"/>
                  <a:pt x="2024786" y="1513649"/>
                </a:cubicBezTo>
                <a:cubicBezTo>
                  <a:pt x="2024047" y="1513649"/>
                  <a:pt x="2023552" y="1513154"/>
                  <a:pt x="2023552" y="1512413"/>
                </a:cubicBezTo>
                <a:cubicBezTo>
                  <a:pt x="2023552" y="1511674"/>
                  <a:pt x="2024047" y="1511179"/>
                  <a:pt x="2024786" y="1511179"/>
                </a:cubicBezTo>
                <a:close/>
                <a:moveTo>
                  <a:pt x="2732953" y="1509467"/>
                </a:moveTo>
                <a:cubicBezTo>
                  <a:pt x="2741098" y="1509467"/>
                  <a:pt x="2747514" y="1516132"/>
                  <a:pt x="2747514" y="1524030"/>
                </a:cubicBezTo>
                <a:cubicBezTo>
                  <a:pt x="2747514" y="1531926"/>
                  <a:pt x="2740849" y="1538589"/>
                  <a:pt x="2732953" y="1538589"/>
                </a:cubicBezTo>
                <a:cubicBezTo>
                  <a:pt x="2724805" y="1538589"/>
                  <a:pt x="2718389" y="1532173"/>
                  <a:pt x="2718389" y="1524030"/>
                </a:cubicBezTo>
                <a:cubicBezTo>
                  <a:pt x="2718389" y="1515887"/>
                  <a:pt x="2725054" y="1509467"/>
                  <a:pt x="2732953" y="1509467"/>
                </a:cubicBezTo>
                <a:close/>
                <a:moveTo>
                  <a:pt x="288313" y="1508201"/>
                </a:moveTo>
                <a:cubicBezTo>
                  <a:pt x="290534" y="1508201"/>
                  <a:pt x="292263" y="1509930"/>
                  <a:pt x="292263" y="1512151"/>
                </a:cubicBezTo>
                <a:cubicBezTo>
                  <a:pt x="292263" y="1514371"/>
                  <a:pt x="290534" y="1516100"/>
                  <a:pt x="288313" y="1516100"/>
                </a:cubicBezTo>
                <a:cubicBezTo>
                  <a:pt x="286092" y="1516100"/>
                  <a:pt x="284364" y="1514371"/>
                  <a:pt x="284364" y="1512151"/>
                </a:cubicBezTo>
                <a:cubicBezTo>
                  <a:pt x="284364" y="1509930"/>
                  <a:pt x="286092" y="1508201"/>
                  <a:pt x="288313" y="1508201"/>
                </a:cubicBezTo>
                <a:close/>
                <a:moveTo>
                  <a:pt x="1544711" y="1504259"/>
                </a:moveTo>
                <a:cubicBezTo>
                  <a:pt x="1544960" y="1504259"/>
                  <a:pt x="1544960" y="1504504"/>
                  <a:pt x="1544960" y="1504754"/>
                </a:cubicBezTo>
                <a:cubicBezTo>
                  <a:pt x="1545206" y="1505001"/>
                  <a:pt x="1544960" y="1505246"/>
                  <a:pt x="1544711" y="1505246"/>
                </a:cubicBezTo>
                <a:cubicBezTo>
                  <a:pt x="1544465" y="1505246"/>
                  <a:pt x="1544219" y="1505001"/>
                  <a:pt x="1544219" y="1504754"/>
                </a:cubicBezTo>
                <a:cubicBezTo>
                  <a:pt x="1544219" y="1504504"/>
                  <a:pt x="1544465" y="1504259"/>
                  <a:pt x="1544711" y="1504259"/>
                </a:cubicBezTo>
                <a:close/>
                <a:moveTo>
                  <a:pt x="3001263" y="1500833"/>
                </a:moveTo>
                <a:cubicBezTo>
                  <a:pt x="3014096" y="1500833"/>
                  <a:pt x="3024464" y="1511202"/>
                  <a:pt x="3024464" y="1524037"/>
                </a:cubicBezTo>
                <a:cubicBezTo>
                  <a:pt x="3024464" y="1536868"/>
                  <a:pt x="3014096" y="1547229"/>
                  <a:pt x="3001263" y="1547229"/>
                </a:cubicBezTo>
                <a:cubicBezTo>
                  <a:pt x="2988425" y="1547229"/>
                  <a:pt x="2978059" y="1536868"/>
                  <a:pt x="2978059" y="1524037"/>
                </a:cubicBezTo>
                <a:cubicBezTo>
                  <a:pt x="2978059" y="1511202"/>
                  <a:pt x="2988425" y="1500833"/>
                  <a:pt x="3001263" y="1500833"/>
                </a:cubicBezTo>
                <a:close/>
                <a:moveTo>
                  <a:pt x="2470073" y="1499586"/>
                </a:moveTo>
                <a:cubicBezTo>
                  <a:pt x="2473530" y="1499586"/>
                  <a:pt x="2476492" y="1502549"/>
                  <a:pt x="2476492" y="1506005"/>
                </a:cubicBezTo>
                <a:cubicBezTo>
                  <a:pt x="2476492" y="1509460"/>
                  <a:pt x="2473776" y="1512424"/>
                  <a:pt x="2470073" y="1512424"/>
                </a:cubicBezTo>
                <a:cubicBezTo>
                  <a:pt x="2466372" y="1512424"/>
                  <a:pt x="2463656" y="1509460"/>
                  <a:pt x="2463656" y="1506005"/>
                </a:cubicBezTo>
                <a:cubicBezTo>
                  <a:pt x="2463656" y="1502303"/>
                  <a:pt x="2466618" y="1499586"/>
                  <a:pt x="2470073" y="1499586"/>
                </a:cubicBezTo>
                <a:close/>
                <a:moveTo>
                  <a:pt x="944651" y="1495615"/>
                </a:moveTo>
                <a:cubicBezTo>
                  <a:pt x="950578" y="1495615"/>
                  <a:pt x="955019" y="1500306"/>
                  <a:pt x="955019" y="1505982"/>
                </a:cubicBezTo>
                <a:cubicBezTo>
                  <a:pt x="955019" y="1511660"/>
                  <a:pt x="950578" y="1516351"/>
                  <a:pt x="944651" y="1516351"/>
                </a:cubicBezTo>
                <a:cubicBezTo>
                  <a:pt x="938975" y="1516351"/>
                  <a:pt x="934285" y="1511660"/>
                  <a:pt x="934285" y="1505982"/>
                </a:cubicBezTo>
                <a:cubicBezTo>
                  <a:pt x="934285" y="1500306"/>
                  <a:pt x="938975" y="1495615"/>
                  <a:pt x="944651" y="1495615"/>
                </a:cubicBezTo>
                <a:close/>
                <a:moveTo>
                  <a:pt x="1733542" y="1488215"/>
                </a:moveTo>
                <a:cubicBezTo>
                  <a:pt x="1733790" y="1488215"/>
                  <a:pt x="1733790" y="1488461"/>
                  <a:pt x="1733790" y="1488461"/>
                </a:cubicBezTo>
                <a:cubicBezTo>
                  <a:pt x="1734037" y="1488710"/>
                  <a:pt x="1733790" y="1488710"/>
                  <a:pt x="1733542" y="1488710"/>
                </a:cubicBezTo>
                <a:cubicBezTo>
                  <a:pt x="1733296" y="1488710"/>
                  <a:pt x="1733296" y="1488710"/>
                  <a:pt x="1733296" y="1488461"/>
                </a:cubicBezTo>
                <a:cubicBezTo>
                  <a:pt x="1733296" y="1488215"/>
                  <a:pt x="1733296" y="1488215"/>
                  <a:pt x="1733542" y="1488215"/>
                </a:cubicBezTo>
                <a:close/>
                <a:moveTo>
                  <a:pt x="2202014" y="1483039"/>
                </a:moveTo>
                <a:cubicBezTo>
                  <a:pt x="2202507" y="1483039"/>
                  <a:pt x="2202753" y="1483285"/>
                  <a:pt x="2202753" y="1483779"/>
                </a:cubicBezTo>
                <a:cubicBezTo>
                  <a:pt x="2202753" y="1484272"/>
                  <a:pt x="2202507" y="1484518"/>
                  <a:pt x="2202014" y="1484518"/>
                </a:cubicBezTo>
                <a:cubicBezTo>
                  <a:pt x="2201519" y="1484518"/>
                  <a:pt x="2201273" y="1484272"/>
                  <a:pt x="2201273" y="1483779"/>
                </a:cubicBezTo>
                <a:cubicBezTo>
                  <a:pt x="2201273" y="1483285"/>
                  <a:pt x="2201519" y="1483039"/>
                  <a:pt x="2202014" y="1483039"/>
                </a:cubicBezTo>
                <a:close/>
                <a:moveTo>
                  <a:pt x="732866" y="1482530"/>
                </a:moveTo>
                <a:cubicBezTo>
                  <a:pt x="734346" y="1482530"/>
                  <a:pt x="735828" y="1483763"/>
                  <a:pt x="735828" y="1485492"/>
                </a:cubicBezTo>
                <a:cubicBezTo>
                  <a:pt x="735828" y="1487221"/>
                  <a:pt x="734346" y="1488454"/>
                  <a:pt x="732866" y="1488454"/>
                </a:cubicBezTo>
                <a:cubicBezTo>
                  <a:pt x="731137" y="1488454"/>
                  <a:pt x="729904" y="1487221"/>
                  <a:pt x="729904" y="1485492"/>
                </a:cubicBezTo>
                <a:cubicBezTo>
                  <a:pt x="729904" y="1483763"/>
                  <a:pt x="731137" y="1482530"/>
                  <a:pt x="732866" y="1482530"/>
                </a:cubicBezTo>
                <a:close/>
                <a:moveTo>
                  <a:pt x="401610" y="1480554"/>
                </a:moveTo>
                <a:cubicBezTo>
                  <a:pt x="403831" y="1480554"/>
                  <a:pt x="405805" y="1482528"/>
                  <a:pt x="405805" y="1484749"/>
                </a:cubicBezTo>
                <a:cubicBezTo>
                  <a:pt x="405805" y="1487219"/>
                  <a:pt x="404079" y="1488945"/>
                  <a:pt x="401610" y="1488945"/>
                </a:cubicBezTo>
                <a:cubicBezTo>
                  <a:pt x="399389" y="1488945"/>
                  <a:pt x="397414" y="1486970"/>
                  <a:pt x="397414" y="1484749"/>
                </a:cubicBezTo>
                <a:cubicBezTo>
                  <a:pt x="397414" y="1482528"/>
                  <a:pt x="399389" y="1480554"/>
                  <a:pt x="401610" y="1480554"/>
                </a:cubicBezTo>
                <a:close/>
                <a:moveTo>
                  <a:pt x="3160716" y="1465777"/>
                </a:moveTo>
                <a:cubicBezTo>
                  <a:pt x="3169356" y="1465777"/>
                  <a:pt x="3176514" y="1472932"/>
                  <a:pt x="3176514" y="1481575"/>
                </a:cubicBezTo>
                <a:cubicBezTo>
                  <a:pt x="3176514" y="1490217"/>
                  <a:pt x="3169356" y="1497378"/>
                  <a:pt x="3160716" y="1497378"/>
                </a:cubicBezTo>
                <a:cubicBezTo>
                  <a:pt x="3152077" y="1497378"/>
                  <a:pt x="3144919" y="1490217"/>
                  <a:pt x="3144919" y="1481575"/>
                </a:cubicBezTo>
                <a:cubicBezTo>
                  <a:pt x="3144919" y="1472932"/>
                  <a:pt x="3152077" y="1465777"/>
                  <a:pt x="3160716" y="1465777"/>
                </a:cubicBezTo>
                <a:close/>
                <a:moveTo>
                  <a:pt x="1916693" y="1465260"/>
                </a:moveTo>
                <a:cubicBezTo>
                  <a:pt x="1917434" y="1465260"/>
                  <a:pt x="1918175" y="1466003"/>
                  <a:pt x="1918175" y="1466746"/>
                </a:cubicBezTo>
                <a:cubicBezTo>
                  <a:pt x="1918175" y="1467486"/>
                  <a:pt x="1917680" y="1468226"/>
                  <a:pt x="1916693" y="1468226"/>
                </a:cubicBezTo>
                <a:cubicBezTo>
                  <a:pt x="1915955" y="1468226"/>
                  <a:pt x="1915214" y="1467486"/>
                  <a:pt x="1915214" y="1466746"/>
                </a:cubicBezTo>
                <a:cubicBezTo>
                  <a:pt x="1915214" y="1466003"/>
                  <a:pt x="1915955" y="1465260"/>
                  <a:pt x="1916693" y="1465260"/>
                </a:cubicBezTo>
                <a:close/>
                <a:moveTo>
                  <a:pt x="2896357" y="1464782"/>
                </a:moveTo>
                <a:cubicBezTo>
                  <a:pt x="2906972" y="1464782"/>
                  <a:pt x="2915858" y="1473426"/>
                  <a:pt x="2915858" y="1484288"/>
                </a:cubicBezTo>
                <a:cubicBezTo>
                  <a:pt x="2915858" y="1495152"/>
                  <a:pt x="2907218" y="1503795"/>
                  <a:pt x="2896357" y="1503795"/>
                </a:cubicBezTo>
                <a:cubicBezTo>
                  <a:pt x="2885742" y="1503795"/>
                  <a:pt x="2876856" y="1495152"/>
                  <a:pt x="2876856" y="1484288"/>
                </a:cubicBezTo>
                <a:cubicBezTo>
                  <a:pt x="2876856" y="1473426"/>
                  <a:pt x="2885496" y="1464782"/>
                  <a:pt x="2896357" y="1464782"/>
                </a:cubicBezTo>
                <a:close/>
                <a:moveTo>
                  <a:pt x="2637674" y="1457875"/>
                </a:moveTo>
                <a:cubicBezTo>
                  <a:pt x="2644090" y="1457875"/>
                  <a:pt x="2649522" y="1463053"/>
                  <a:pt x="2649522" y="1469473"/>
                </a:cubicBezTo>
                <a:cubicBezTo>
                  <a:pt x="2649522" y="1476137"/>
                  <a:pt x="2644339" y="1481320"/>
                  <a:pt x="2637674" y="1481320"/>
                </a:cubicBezTo>
                <a:cubicBezTo>
                  <a:pt x="2631255" y="1481320"/>
                  <a:pt x="2626072" y="1476137"/>
                  <a:pt x="2626072" y="1469473"/>
                </a:cubicBezTo>
                <a:cubicBezTo>
                  <a:pt x="2626072" y="1463053"/>
                  <a:pt x="2631255" y="1457875"/>
                  <a:pt x="2637674" y="1457875"/>
                </a:cubicBezTo>
                <a:close/>
                <a:moveTo>
                  <a:pt x="2374057" y="1448236"/>
                </a:moveTo>
                <a:cubicBezTo>
                  <a:pt x="2376032" y="1448236"/>
                  <a:pt x="2377512" y="1449716"/>
                  <a:pt x="2377512" y="1451687"/>
                </a:cubicBezTo>
                <a:cubicBezTo>
                  <a:pt x="2377512" y="1453662"/>
                  <a:pt x="2376032" y="1455155"/>
                  <a:pt x="2374057" y="1455155"/>
                </a:cubicBezTo>
                <a:cubicBezTo>
                  <a:pt x="2372082" y="1455155"/>
                  <a:pt x="2370600" y="1453662"/>
                  <a:pt x="2370600" y="1451687"/>
                </a:cubicBezTo>
                <a:cubicBezTo>
                  <a:pt x="2370600" y="1449716"/>
                  <a:pt x="2372082" y="1448236"/>
                  <a:pt x="2374057" y="1448236"/>
                </a:cubicBezTo>
                <a:close/>
                <a:moveTo>
                  <a:pt x="1248999" y="1448220"/>
                </a:moveTo>
                <a:cubicBezTo>
                  <a:pt x="1250973" y="1448220"/>
                  <a:pt x="1252699" y="1449702"/>
                  <a:pt x="1252699" y="1451924"/>
                </a:cubicBezTo>
                <a:cubicBezTo>
                  <a:pt x="1252699" y="1453899"/>
                  <a:pt x="1250973" y="1455628"/>
                  <a:pt x="1248999" y="1455628"/>
                </a:cubicBezTo>
                <a:cubicBezTo>
                  <a:pt x="1247024" y="1455628"/>
                  <a:pt x="1245295" y="1453899"/>
                  <a:pt x="1245295" y="1451924"/>
                </a:cubicBezTo>
                <a:cubicBezTo>
                  <a:pt x="1245295" y="1449950"/>
                  <a:pt x="1247024" y="1448220"/>
                  <a:pt x="1248999" y="1448220"/>
                </a:cubicBezTo>
                <a:close/>
                <a:moveTo>
                  <a:pt x="513426" y="1446986"/>
                </a:moveTo>
                <a:cubicBezTo>
                  <a:pt x="515895" y="1446986"/>
                  <a:pt x="517870" y="1448958"/>
                  <a:pt x="517870" y="1451425"/>
                </a:cubicBezTo>
                <a:cubicBezTo>
                  <a:pt x="517870" y="1453896"/>
                  <a:pt x="515895" y="1455873"/>
                  <a:pt x="513426" y="1455873"/>
                </a:cubicBezTo>
                <a:cubicBezTo>
                  <a:pt x="510959" y="1455873"/>
                  <a:pt x="508984" y="1453896"/>
                  <a:pt x="508984" y="1451425"/>
                </a:cubicBezTo>
                <a:cubicBezTo>
                  <a:pt x="508984" y="1448958"/>
                  <a:pt x="510959" y="1446986"/>
                  <a:pt x="513426" y="1446986"/>
                </a:cubicBezTo>
                <a:close/>
                <a:moveTo>
                  <a:pt x="1444000" y="1442548"/>
                </a:moveTo>
                <a:cubicBezTo>
                  <a:pt x="1445482" y="1442548"/>
                  <a:pt x="1446715" y="1443780"/>
                  <a:pt x="1446715" y="1445510"/>
                </a:cubicBezTo>
                <a:cubicBezTo>
                  <a:pt x="1446962" y="1447238"/>
                  <a:pt x="1445728" y="1448470"/>
                  <a:pt x="1444000" y="1448470"/>
                </a:cubicBezTo>
                <a:cubicBezTo>
                  <a:pt x="1442271" y="1448470"/>
                  <a:pt x="1441038" y="1447238"/>
                  <a:pt x="1441038" y="1445510"/>
                </a:cubicBezTo>
                <a:cubicBezTo>
                  <a:pt x="1441038" y="1444026"/>
                  <a:pt x="1442271" y="1442548"/>
                  <a:pt x="1444000" y="1442548"/>
                </a:cubicBezTo>
                <a:close/>
                <a:moveTo>
                  <a:pt x="1046839" y="1439086"/>
                </a:moveTo>
                <a:cubicBezTo>
                  <a:pt x="1053008" y="1439086"/>
                  <a:pt x="1057945" y="1444024"/>
                  <a:pt x="1057945" y="1450193"/>
                </a:cubicBezTo>
                <a:cubicBezTo>
                  <a:pt x="1057945" y="1456367"/>
                  <a:pt x="1053008" y="1461303"/>
                  <a:pt x="1046839" y="1461303"/>
                </a:cubicBezTo>
                <a:cubicBezTo>
                  <a:pt x="1040668" y="1461303"/>
                  <a:pt x="1035732" y="1456367"/>
                  <a:pt x="1035732" y="1450193"/>
                </a:cubicBezTo>
                <a:cubicBezTo>
                  <a:pt x="1035732" y="1444024"/>
                  <a:pt x="1040668" y="1439086"/>
                  <a:pt x="1046839" y="1439086"/>
                </a:cubicBezTo>
                <a:close/>
                <a:moveTo>
                  <a:pt x="839004" y="1434644"/>
                </a:moveTo>
                <a:cubicBezTo>
                  <a:pt x="840484" y="1434644"/>
                  <a:pt x="841720" y="1435877"/>
                  <a:pt x="841720" y="1437359"/>
                </a:cubicBezTo>
                <a:cubicBezTo>
                  <a:pt x="841471" y="1438838"/>
                  <a:pt x="840238" y="1440074"/>
                  <a:pt x="839004" y="1440074"/>
                </a:cubicBezTo>
                <a:cubicBezTo>
                  <a:pt x="837522" y="1440074"/>
                  <a:pt x="836289" y="1438838"/>
                  <a:pt x="836289" y="1437359"/>
                </a:cubicBezTo>
                <a:cubicBezTo>
                  <a:pt x="836289" y="1435877"/>
                  <a:pt x="837522" y="1434644"/>
                  <a:pt x="839004" y="1434644"/>
                </a:cubicBezTo>
                <a:close/>
                <a:moveTo>
                  <a:pt x="1634314" y="1430946"/>
                </a:moveTo>
                <a:lnTo>
                  <a:pt x="1634560" y="1431191"/>
                </a:lnTo>
                <a:lnTo>
                  <a:pt x="1634314" y="1431191"/>
                </a:lnTo>
                <a:close/>
                <a:moveTo>
                  <a:pt x="2105501" y="1427501"/>
                </a:moveTo>
                <a:cubicBezTo>
                  <a:pt x="2105993" y="1427501"/>
                  <a:pt x="2106488" y="1427996"/>
                  <a:pt x="2106488" y="1428488"/>
                </a:cubicBezTo>
                <a:cubicBezTo>
                  <a:pt x="2106488" y="1428979"/>
                  <a:pt x="2106242" y="1429469"/>
                  <a:pt x="2105501" y="1429469"/>
                </a:cubicBezTo>
                <a:cubicBezTo>
                  <a:pt x="2105008" y="1429469"/>
                  <a:pt x="2104513" y="1428979"/>
                  <a:pt x="2104513" y="1428488"/>
                </a:cubicBezTo>
                <a:cubicBezTo>
                  <a:pt x="2104513" y="1427996"/>
                  <a:pt x="2105008" y="1427501"/>
                  <a:pt x="2105501" y="1427501"/>
                </a:cubicBezTo>
                <a:close/>
                <a:moveTo>
                  <a:pt x="3316963" y="1415921"/>
                </a:moveTo>
                <a:cubicBezTo>
                  <a:pt x="3328565" y="1415921"/>
                  <a:pt x="3337943" y="1425293"/>
                  <a:pt x="3337943" y="1436901"/>
                </a:cubicBezTo>
                <a:cubicBezTo>
                  <a:pt x="3337943" y="1448498"/>
                  <a:pt x="3328565" y="1457887"/>
                  <a:pt x="3316963" y="1457887"/>
                </a:cubicBezTo>
                <a:cubicBezTo>
                  <a:pt x="3305363" y="1457887"/>
                  <a:pt x="3295982" y="1448498"/>
                  <a:pt x="3295982" y="1436901"/>
                </a:cubicBezTo>
                <a:cubicBezTo>
                  <a:pt x="3295982" y="1425293"/>
                  <a:pt x="3305363" y="1415921"/>
                  <a:pt x="3316963" y="1415921"/>
                </a:cubicBezTo>
                <a:close/>
                <a:moveTo>
                  <a:pt x="2801817" y="1415170"/>
                </a:moveTo>
                <a:cubicBezTo>
                  <a:pt x="2810211" y="1415170"/>
                  <a:pt x="2817122" y="1422081"/>
                  <a:pt x="2817122" y="1430474"/>
                </a:cubicBezTo>
                <a:cubicBezTo>
                  <a:pt x="2817122" y="1438863"/>
                  <a:pt x="2810211" y="1445777"/>
                  <a:pt x="2801817" y="1445777"/>
                </a:cubicBezTo>
                <a:cubicBezTo>
                  <a:pt x="2793426" y="1445777"/>
                  <a:pt x="2786515" y="1438863"/>
                  <a:pt x="2786515" y="1430474"/>
                </a:cubicBezTo>
                <a:cubicBezTo>
                  <a:pt x="2786515" y="1422081"/>
                  <a:pt x="2793426" y="1415170"/>
                  <a:pt x="2801817" y="1415170"/>
                </a:cubicBezTo>
                <a:close/>
                <a:moveTo>
                  <a:pt x="623516" y="1408229"/>
                </a:moveTo>
                <a:cubicBezTo>
                  <a:pt x="625983" y="1408229"/>
                  <a:pt x="627958" y="1410204"/>
                  <a:pt x="627958" y="1412674"/>
                </a:cubicBezTo>
                <a:cubicBezTo>
                  <a:pt x="627958" y="1415141"/>
                  <a:pt x="625983" y="1417116"/>
                  <a:pt x="623516" y="1417116"/>
                </a:cubicBezTo>
                <a:cubicBezTo>
                  <a:pt x="621046" y="1417116"/>
                  <a:pt x="618826" y="1415141"/>
                  <a:pt x="618826" y="1412674"/>
                </a:cubicBezTo>
                <a:cubicBezTo>
                  <a:pt x="618826" y="1410204"/>
                  <a:pt x="620800" y="1408229"/>
                  <a:pt x="623516" y="1408229"/>
                </a:cubicBezTo>
                <a:close/>
                <a:moveTo>
                  <a:pt x="2542643" y="1408007"/>
                </a:moveTo>
                <a:cubicBezTo>
                  <a:pt x="2546592" y="1408007"/>
                  <a:pt x="2549800" y="1411211"/>
                  <a:pt x="2549800" y="1415166"/>
                </a:cubicBezTo>
                <a:cubicBezTo>
                  <a:pt x="2549800" y="1419114"/>
                  <a:pt x="2546592" y="1422326"/>
                  <a:pt x="2542643" y="1422326"/>
                </a:cubicBezTo>
                <a:cubicBezTo>
                  <a:pt x="2538693" y="1422326"/>
                  <a:pt x="2535485" y="1419114"/>
                  <a:pt x="2535485" y="1415166"/>
                </a:cubicBezTo>
                <a:cubicBezTo>
                  <a:pt x="2535485" y="1411211"/>
                  <a:pt x="2538693" y="1408007"/>
                  <a:pt x="2542643" y="1408007"/>
                </a:cubicBezTo>
                <a:close/>
                <a:moveTo>
                  <a:pt x="3066425" y="1403327"/>
                </a:moveTo>
                <a:cubicBezTo>
                  <a:pt x="3079755" y="1403327"/>
                  <a:pt x="3090616" y="1414185"/>
                  <a:pt x="3090616" y="1427517"/>
                </a:cubicBezTo>
                <a:cubicBezTo>
                  <a:pt x="3090616" y="1440843"/>
                  <a:pt x="3079755" y="1451699"/>
                  <a:pt x="3066425" y="1451699"/>
                </a:cubicBezTo>
                <a:cubicBezTo>
                  <a:pt x="3053097" y="1451699"/>
                  <a:pt x="3042236" y="1440843"/>
                  <a:pt x="3042236" y="1427517"/>
                </a:cubicBezTo>
                <a:cubicBezTo>
                  <a:pt x="3042236" y="1414185"/>
                  <a:pt x="3053097" y="1403327"/>
                  <a:pt x="3066425" y="1403327"/>
                </a:cubicBezTo>
                <a:close/>
                <a:moveTo>
                  <a:pt x="2278777" y="1395906"/>
                </a:moveTo>
                <a:cubicBezTo>
                  <a:pt x="2279026" y="1395906"/>
                  <a:pt x="2279272" y="1396152"/>
                  <a:pt x="2279272" y="1396402"/>
                </a:cubicBezTo>
                <a:cubicBezTo>
                  <a:pt x="2279518" y="1396648"/>
                  <a:pt x="2279272" y="1396893"/>
                  <a:pt x="2278777" y="1396893"/>
                </a:cubicBezTo>
                <a:cubicBezTo>
                  <a:pt x="2278531" y="1396893"/>
                  <a:pt x="2278285" y="1396648"/>
                  <a:pt x="2278285" y="1396402"/>
                </a:cubicBezTo>
                <a:cubicBezTo>
                  <a:pt x="2278285" y="1396152"/>
                  <a:pt x="2278531" y="1395906"/>
                  <a:pt x="2278777" y="1395906"/>
                </a:cubicBezTo>
                <a:close/>
                <a:moveTo>
                  <a:pt x="1998373" y="1382818"/>
                </a:moveTo>
                <a:cubicBezTo>
                  <a:pt x="1999114" y="1382818"/>
                  <a:pt x="1999855" y="1383559"/>
                  <a:pt x="1999855" y="1384298"/>
                </a:cubicBezTo>
                <a:cubicBezTo>
                  <a:pt x="1999855" y="1385038"/>
                  <a:pt x="1999114" y="1385779"/>
                  <a:pt x="1998373" y="1385779"/>
                </a:cubicBezTo>
                <a:cubicBezTo>
                  <a:pt x="1997388" y="1385779"/>
                  <a:pt x="1996893" y="1385038"/>
                  <a:pt x="1996893" y="1384298"/>
                </a:cubicBezTo>
                <a:cubicBezTo>
                  <a:pt x="1996893" y="1383559"/>
                  <a:pt x="1997634" y="1382818"/>
                  <a:pt x="1998373" y="1382818"/>
                </a:cubicBezTo>
                <a:close/>
                <a:moveTo>
                  <a:pt x="942675" y="1381822"/>
                </a:moveTo>
                <a:cubicBezTo>
                  <a:pt x="943908" y="1381822"/>
                  <a:pt x="944898" y="1382809"/>
                  <a:pt x="944898" y="1384043"/>
                </a:cubicBezTo>
                <a:cubicBezTo>
                  <a:pt x="944898" y="1385526"/>
                  <a:pt x="943908" y="1386512"/>
                  <a:pt x="942675" y="1386512"/>
                </a:cubicBezTo>
                <a:cubicBezTo>
                  <a:pt x="941441" y="1386512"/>
                  <a:pt x="940453" y="1385526"/>
                  <a:pt x="940453" y="1384043"/>
                </a:cubicBezTo>
                <a:cubicBezTo>
                  <a:pt x="940453" y="1382809"/>
                  <a:pt x="941441" y="1381822"/>
                  <a:pt x="942675" y="1381822"/>
                </a:cubicBezTo>
                <a:close/>
                <a:moveTo>
                  <a:pt x="1344276" y="1380588"/>
                </a:moveTo>
                <a:cubicBezTo>
                  <a:pt x="1346745" y="1380588"/>
                  <a:pt x="1348720" y="1382563"/>
                  <a:pt x="1348720" y="1385030"/>
                </a:cubicBezTo>
                <a:cubicBezTo>
                  <a:pt x="1348720" y="1387500"/>
                  <a:pt x="1346499" y="1389475"/>
                  <a:pt x="1344276" y="1389475"/>
                </a:cubicBezTo>
                <a:cubicBezTo>
                  <a:pt x="1341809" y="1389475"/>
                  <a:pt x="1339834" y="1387500"/>
                  <a:pt x="1339834" y="1385030"/>
                </a:cubicBezTo>
                <a:cubicBezTo>
                  <a:pt x="1339834" y="1382563"/>
                  <a:pt x="1341809" y="1380588"/>
                  <a:pt x="1344276" y="1380588"/>
                </a:cubicBezTo>
                <a:close/>
                <a:moveTo>
                  <a:pt x="1146310" y="1377874"/>
                </a:moveTo>
                <a:cubicBezTo>
                  <a:pt x="1152975" y="1377874"/>
                  <a:pt x="1158158" y="1383306"/>
                  <a:pt x="1158158" y="1389723"/>
                </a:cubicBezTo>
                <a:cubicBezTo>
                  <a:pt x="1158158" y="1396142"/>
                  <a:pt x="1152975" y="1401570"/>
                  <a:pt x="1146310" y="1401570"/>
                </a:cubicBezTo>
                <a:cubicBezTo>
                  <a:pt x="1139645" y="1401570"/>
                  <a:pt x="1134462" y="1396142"/>
                  <a:pt x="1134462" y="1389723"/>
                </a:cubicBezTo>
                <a:cubicBezTo>
                  <a:pt x="1134462" y="1383306"/>
                  <a:pt x="1139894" y="1377874"/>
                  <a:pt x="1146310" y="1377874"/>
                </a:cubicBezTo>
                <a:close/>
                <a:moveTo>
                  <a:pt x="1534836" y="1370225"/>
                </a:moveTo>
                <a:cubicBezTo>
                  <a:pt x="1536315" y="1370225"/>
                  <a:pt x="1537798" y="1371458"/>
                  <a:pt x="1537798" y="1372941"/>
                </a:cubicBezTo>
                <a:cubicBezTo>
                  <a:pt x="1537798" y="1374666"/>
                  <a:pt x="1536564" y="1375903"/>
                  <a:pt x="1534836" y="1375903"/>
                </a:cubicBezTo>
                <a:cubicBezTo>
                  <a:pt x="1533354" y="1375903"/>
                  <a:pt x="1531874" y="1374666"/>
                  <a:pt x="1531874" y="1372941"/>
                </a:cubicBezTo>
                <a:cubicBezTo>
                  <a:pt x="1531874" y="1371458"/>
                  <a:pt x="1533107" y="1370225"/>
                  <a:pt x="1534836" y="1370225"/>
                </a:cubicBezTo>
                <a:close/>
                <a:moveTo>
                  <a:pt x="2962016" y="1368519"/>
                </a:moveTo>
                <a:cubicBezTo>
                  <a:pt x="2973123" y="1368519"/>
                  <a:pt x="2982255" y="1377652"/>
                  <a:pt x="2982255" y="1388762"/>
                </a:cubicBezTo>
                <a:cubicBezTo>
                  <a:pt x="2982255" y="1399870"/>
                  <a:pt x="2973123" y="1409002"/>
                  <a:pt x="2962016" y="1409002"/>
                </a:cubicBezTo>
                <a:cubicBezTo>
                  <a:pt x="2950906" y="1409002"/>
                  <a:pt x="2941774" y="1399870"/>
                  <a:pt x="2941774" y="1388762"/>
                </a:cubicBezTo>
                <a:cubicBezTo>
                  <a:pt x="2941774" y="1377652"/>
                  <a:pt x="2950906" y="1368519"/>
                  <a:pt x="2962016" y="1368519"/>
                </a:cubicBezTo>
                <a:close/>
                <a:moveTo>
                  <a:pt x="3222673" y="1366303"/>
                </a:moveTo>
                <a:cubicBezTo>
                  <a:pt x="3231805" y="1366303"/>
                  <a:pt x="3239458" y="1373711"/>
                  <a:pt x="3239458" y="1383090"/>
                </a:cubicBezTo>
                <a:cubicBezTo>
                  <a:pt x="3239458" y="1392222"/>
                  <a:pt x="3232051" y="1399629"/>
                  <a:pt x="3222673" y="1399629"/>
                </a:cubicBezTo>
                <a:cubicBezTo>
                  <a:pt x="3213541" y="1399629"/>
                  <a:pt x="3206134" y="1392222"/>
                  <a:pt x="3206134" y="1383090"/>
                </a:cubicBezTo>
                <a:cubicBezTo>
                  <a:pt x="3206134" y="1373957"/>
                  <a:pt x="3213541" y="1366303"/>
                  <a:pt x="3222673" y="1366303"/>
                </a:cubicBezTo>
                <a:close/>
                <a:moveTo>
                  <a:pt x="2707034" y="1363576"/>
                </a:moveTo>
                <a:cubicBezTo>
                  <a:pt x="2714191" y="1363576"/>
                  <a:pt x="2719869" y="1369254"/>
                  <a:pt x="2719869" y="1376167"/>
                </a:cubicBezTo>
                <a:cubicBezTo>
                  <a:pt x="2719623" y="1383324"/>
                  <a:pt x="2713945" y="1389003"/>
                  <a:pt x="2707034" y="1389003"/>
                </a:cubicBezTo>
                <a:cubicBezTo>
                  <a:pt x="2699876" y="1389003"/>
                  <a:pt x="2694198" y="1383324"/>
                  <a:pt x="2694198" y="1376167"/>
                </a:cubicBezTo>
                <a:cubicBezTo>
                  <a:pt x="2694198" y="1369254"/>
                  <a:pt x="2699876" y="1363576"/>
                  <a:pt x="2707034" y="1363576"/>
                </a:cubicBezTo>
                <a:close/>
                <a:moveTo>
                  <a:pt x="731136" y="1363058"/>
                </a:moveTo>
                <a:cubicBezTo>
                  <a:pt x="733852" y="1363058"/>
                  <a:pt x="735827" y="1365278"/>
                  <a:pt x="735827" y="1367748"/>
                </a:cubicBezTo>
                <a:cubicBezTo>
                  <a:pt x="736073" y="1370464"/>
                  <a:pt x="733852" y="1372439"/>
                  <a:pt x="731136" y="1372439"/>
                </a:cubicBezTo>
                <a:cubicBezTo>
                  <a:pt x="728420" y="1372439"/>
                  <a:pt x="726445" y="1370215"/>
                  <a:pt x="726445" y="1367748"/>
                </a:cubicBezTo>
                <a:cubicBezTo>
                  <a:pt x="726445" y="1365032"/>
                  <a:pt x="728666" y="1363058"/>
                  <a:pt x="731136" y="1363058"/>
                </a:cubicBezTo>
                <a:close/>
                <a:moveTo>
                  <a:pt x="2447364" y="1357647"/>
                </a:moveTo>
                <a:cubicBezTo>
                  <a:pt x="2449338" y="1357647"/>
                  <a:pt x="2451067" y="1359375"/>
                  <a:pt x="2451067" y="1361350"/>
                </a:cubicBezTo>
                <a:cubicBezTo>
                  <a:pt x="2451067" y="1363325"/>
                  <a:pt x="2449338" y="1365054"/>
                  <a:pt x="2447364" y="1365054"/>
                </a:cubicBezTo>
                <a:cubicBezTo>
                  <a:pt x="2445143" y="1365054"/>
                  <a:pt x="2443414" y="1363325"/>
                  <a:pt x="2443414" y="1361350"/>
                </a:cubicBezTo>
                <a:cubicBezTo>
                  <a:pt x="2443414" y="1359375"/>
                  <a:pt x="2445143" y="1357647"/>
                  <a:pt x="2447364" y="1357647"/>
                </a:cubicBezTo>
                <a:close/>
                <a:moveTo>
                  <a:pt x="1720953" y="1352946"/>
                </a:moveTo>
                <a:cubicBezTo>
                  <a:pt x="1721447" y="1352946"/>
                  <a:pt x="1721693" y="1353192"/>
                  <a:pt x="1721693" y="1353687"/>
                </a:cubicBezTo>
                <a:cubicBezTo>
                  <a:pt x="1721693" y="1354179"/>
                  <a:pt x="1721201" y="1354426"/>
                  <a:pt x="1720953" y="1354426"/>
                </a:cubicBezTo>
                <a:cubicBezTo>
                  <a:pt x="1720458" y="1354426"/>
                  <a:pt x="1720213" y="1354179"/>
                  <a:pt x="1720213" y="1353687"/>
                </a:cubicBezTo>
                <a:cubicBezTo>
                  <a:pt x="1720213" y="1353192"/>
                  <a:pt x="1720458" y="1352946"/>
                  <a:pt x="1720953" y="1352946"/>
                </a:cubicBezTo>
                <a:close/>
                <a:moveTo>
                  <a:pt x="2183008" y="1340609"/>
                </a:moveTo>
                <a:cubicBezTo>
                  <a:pt x="2183500" y="1340609"/>
                  <a:pt x="2183746" y="1341102"/>
                  <a:pt x="2183746" y="1341351"/>
                </a:cubicBezTo>
                <a:cubicBezTo>
                  <a:pt x="2183995" y="1341843"/>
                  <a:pt x="2183500" y="1342090"/>
                  <a:pt x="2183008" y="1342090"/>
                </a:cubicBezTo>
                <a:cubicBezTo>
                  <a:pt x="2182513" y="1342090"/>
                  <a:pt x="2182267" y="1341843"/>
                  <a:pt x="2182267" y="1341351"/>
                </a:cubicBezTo>
                <a:cubicBezTo>
                  <a:pt x="2182267" y="1340856"/>
                  <a:pt x="2182759" y="1340609"/>
                  <a:pt x="2183008" y="1340609"/>
                </a:cubicBezTo>
                <a:close/>
                <a:moveTo>
                  <a:pt x="55795" y="1328004"/>
                </a:moveTo>
                <a:cubicBezTo>
                  <a:pt x="57274" y="1328004"/>
                  <a:pt x="58510" y="1329238"/>
                  <a:pt x="58510" y="1330720"/>
                </a:cubicBezTo>
                <a:cubicBezTo>
                  <a:pt x="58510" y="1332200"/>
                  <a:pt x="57274" y="1333436"/>
                  <a:pt x="55795" y="1333436"/>
                </a:cubicBezTo>
                <a:cubicBezTo>
                  <a:pt x="54312" y="1333436"/>
                  <a:pt x="53079" y="1332200"/>
                  <a:pt x="53079" y="1330720"/>
                </a:cubicBezTo>
                <a:cubicBezTo>
                  <a:pt x="53079" y="1329238"/>
                  <a:pt x="54312" y="1328004"/>
                  <a:pt x="55795" y="1328004"/>
                </a:cubicBezTo>
                <a:close/>
                <a:moveTo>
                  <a:pt x="1901392" y="1327275"/>
                </a:moveTo>
                <a:cubicBezTo>
                  <a:pt x="1901884" y="1327275"/>
                  <a:pt x="1902380" y="1327770"/>
                  <a:pt x="1902380" y="1328262"/>
                </a:cubicBezTo>
                <a:cubicBezTo>
                  <a:pt x="1902380" y="1329004"/>
                  <a:pt x="1901884" y="1329250"/>
                  <a:pt x="1901392" y="1329250"/>
                </a:cubicBezTo>
                <a:cubicBezTo>
                  <a:pt x="1900899" y="1329250"/>
                  <a:pt x="1900404" y="1328755"/>
                  <a:pt x="1900404" y="1328262"/>
                </a:cubicBezTo>
                <a:cubicBezTo>
                  <a:pt x="1900404" y="1327770"/>
                  <a:pt x="1900899" y="1327275"/>
                  <a:pt x="1901392" y="1327275"/>
                </a:cubicBezTo>
                <a:close/>
                <a:moveTo>
                  <a:pt x="1043383" y="1324059"/>
                </a:moveTo>
                <a:cubicBezTo>
                  <a:pt x="1044371" y="1324059"/>
                  <a:pt x="1045358" y="1325046"/>
                  <a:pt x="1045358" y="1326033"/>
                </a:cubicBezTo>
                <a:cubicBezTo>
                  <a:pt x="1045604" y="1327020"/>
                  <a:pt x="1044617" y="1328008"/>
                  <a:pt x="1043383" y="1328008"/>
                </a:cubicBezTo>
                <a:cubicBezTo>
                  <a:pt x="1042396" y="1328008"/>
                  <a:pt x="1041408" y="1327020"/>
                  <a:pt x="1041408" y="1326033"/>
                </a:cubicBezTo>
                <a:cubicBezTo>
                  <a:pt x="1041408" y="1325046"/>
                  <a:pt x="1042396" y="1324059"/>
                  <a:pt x="1043383" y="1324059"/>
                </a:cubicBezTo>
                <a:close/>
                <a:moveTo>
                  <a:pt x="2867475" y="1318651"/>
                </a:moveTo>
                <a:cubicBezTo>
                  <a:pt x="2876360" y="1318651"/>
                  <a:pt x="2883518" y="1325809"/>
                  <a:pt x="2883518" y="1334696"/>
                </a:cubicBezTo>
                <a:cubicBezTo>
                  <a:pt x="2883767" y="1343583"/>
                  <a:pt x="2876360" y="1350991"/>
                  <a:pt x="2867475" y="1350991"/>
                </a:cubicBezTo>
                <a:cubicBezTo>
                  <a:pt x="2858589" y="1350991"/>
                  <a:pt x="2851431" y="1343829"/>
                  <a:pt x="2851431" y="1334696"/>
                </a:cubicBezTo>
                <a:cubicBezTo>
                  <a:pt x="2851431" y="1325809"/>
                  <a:pt x="2858589" y="1318651"/>
                  <a:pt x="2867475" y="1318651"/>
                </a:cubicBezTo>
                <a:close/>
                <a:moveTo>
                  <a:pt x="3376203" y="1314957"/>
                </a:moveTo>
                <a:cubicBezTo>
                  <a:pt x="3388297" y="1314957"/>
                  <a:pt x="3397924" y="1324830"/>
                  <a:pt x="3397924" y="1336680"/>
                </a:cubicBezTo>
                <a:cubicBezTo>
                  <a:pt x="3397924" y="1348776"/>
                  <a:pt x="3388051" y="1358404"/>
                  <a:pt x="3376203" y="1358404"/>
                </a:cubicBezTo>
                <a:cubicBezTo>
                  <a:pt x="3364108" y="1358404"/>
                  <a:pt x="3354481" y="1348776"/>
                  <a:pt x="3354481" y="1336680"/>
                </a:cubicBezTo>
                <a:cubicBezTo>
                  <a:pt x="3354481" y="1324584"/>
                  <a:pt x="3364355" y="1314957"/>
                  <a:pt x="3376203" y="1314957"/>
                </a:cubicBezTo>
                <a:close/>
                <a:moveTo>
                  <a:pt x="2612248" y="1314449"/>
                </a:moveTo>
                <a:cubicBezTo>
                  <a:pt x="2616444" y="1314449"/>
                  <a:pt x="2619898" y="1317903"/>
                  <a:pt x="2619898" y="1322101"/>
                </a:cubicBezTo>
                <a:cubicBezTo>
                  <a:pt x="2619898" y="1326297"/>
                  <a:pt x="2616690" y="1329754"/>
                  <a:pt x="2612248" y="1329754"/>
                </a:cubicBezTo>
                <a:cubicBezTo>
                  <a:pt x="2608053" y="1329754"/>
                  <a:pt x="2604596" y="1326297"/>
                  <a:pt x="2604596" y="1322101"/>
                </a:cubicBezTo>
                <a:cubicBezTo>
                  <a:pt x="2604596" y="1317903"/>
                  <a:pt x="2608053" y="1314449"/>
                  <a:pt x="2612248" y="1314449"/>
                </a:cubicBezTo>
                <a:close/>
                <a:moveTo>
                  <a:pt x="836536" y="1312455"/>
                </a:moveTo>
                <a:cubicBezTo>
                  <a:pt x="839252" y="1312455"/>
                  <a:pt x="841473" y="1314676"/>
                  <a:pt x="841473" y="1317638"/>
                </a:cubicBezTo>
                <a:cubicBezTo>
                  <a:pt x="841473" y="1320354"/>
                  <a:pt x="839252" y="1322575"/>
                  <a:pt x="836536" y="1322575"/>
                </a:cubicBezTo>
                <a:cubicBezTo>
                  <a:pt x="833823" y="1322575"/>
                  <a:pt x="831353" y="1320354"/>
                  <a:pt x="831353" y="1317638"/>
                </a:cubicBezTo>
                <a:cubicBezTo>
                  <a:pt x="831353" y="1314922"/>
                  <a:pt x="833574" y="1312455"/>
                  <a:pt x="836536" y="1312455"/>
                </a:cubicBezTo>
                <a:close/>
                <a:moveTo>
                  <a:pt x="170571" y="1312453"/>
                </a:moveTo>
                <a:cubicBezTo>
                  <a:pt x="171312" y="1312453"/>
                  <a:pt x="172053" y="1313194"/>
                  <a:pt x="172053" y="1313932"/>
                </a:cubicBezTo>
                <a:cubicBezTo>
                  <a:pt x="172053" y="1314674"/>
                  <a:pt x="171312" y="1315414"/>
                  <a:pt x="170571" y="1315414"/>
                </a:cubicBezTo>
                <a:cubicBezTo>
                  <a:pt x="169833" y="1315414"/>
                  <a:pt x="169092" y="1314674"/>
                  <a:pt x="169092" y="1313932"/>
                </a:cubicBezTo>
                <a:cubicBezTo>
                  <a:pt x="169092" y="1313194"/>
                  <a:pt x="169833" y="1312453"/>
                  <a:pt x="170571" y="1312453"/>
                </a:cubicBezTo>
                <a:close/>
                <a:moveTo>
                  <a:pt x="1242827" y="1311966"/>
                </a:moveTo>
                <a:cubicBezTo>
                  <a:pt x="1249739" y="1311966"/>
                  <a:pt x="1255414" y="1317644"/>
                  <a:pt x="1255414" y="1324555"/>
                </a:cubicBezTo>
                <a:cubicBezTo>
                  <a:pt x="1255414" y="1331467"/>
                  <a:pt x="1249739" y="1337146"/>
                  <a:pt x="1242827" y="1337146"/>
                </a:cubicBezTo>
                <a:cubicBezTo>
                  <a:pt x="1235916" y="1337146"/>
                  <a:pt x="1230238" y="1331467"/>
                  <a:pt x="1230238" y="1324555"/>
                </a:cubicBezTo>
                <a:cubicBezTo>
                  <a:pt x="1230238" y="1317644"/>
                  <a:pt x="1235916" y="1311966"/>
                  <a:pt x="1242827" y="1311966"/>
                </a:cubicBezTo>
                <a:close/>
                <a:moveTo>
                  <a:pt x="1436099" y="1308756"/>
                </a:moveTo>
                <a:cubicBezTo>
                  <a:pt x="1439061" y="1308756"/>
                  <a:pt x="1441282" y="1311227"/>
                  <a:pt x="1441282" y="1313939"/>
                </a:cubicBezTo>
                <a:cubicBezTo>
                  <a:pt x="1441531" y="1316902"/>
                  <a:pt x="1439061" y="1319123"/>
                  <a:pt x="1436099" y="1319123"/>
                </a:cubicBezTo>
                <a:cubicBezTo>
                  <a:pt x="1433137" y="1319123"/>
                  <a:pt x="1430916" y="1316656"/>
                  <a:pt x="1430916" y="1313939"/>
                </a:cubicBezTo>
                <a:cubicBezTo>
                  <a:pt x="1430916" y="1310977"/>
                  <a:pt x="1433137" y="1308756"/>
                  <a:pt x="1436099" y="1308756"/>
                </a:cubicBezTo>
                <a:close/>
                <a:moveTo>
                  <a:pt x="2352581" y="1305807"/>
                </a:moveTo>
                <a:cubicBezTo>
                  <a:pt x="2352827" y="1305807"/>
                  <a:pt x="2352827" y="1306053"/>
                  <a:pt x="2352827" y="1306053"/>
                </a:cubicBezTo>
                <a:cubicBezTo>
                  <a:pt x="2352827" y="1306303"/>
                  <a:pt x="2352827" y="1306549"/>
                  <a:pt x="2352581" y="1306549"/>
                </a:cubicBezTo>
                <a:cubicBezTo>
                  <a:pt x="2352335" y="1306549"/>
                  <a:pt x="2352335" y="1306303"/>
                  <a:pt x="2352335" y="1306053"/>
                </a:cubicBezTo>
                <a:cubicBezTo>
                  <a:pt x="2352335" y="1305807"/>
                  <a:pt x="2352581" y="1305807"/>
                  <a:pt x="2352581" y="1305807"/>
                </a:cubicBezTo>
                <a:close/>
                <a:moveTo>
                  <a:pt x="3128629" y="1303597"/>
                </a:moveTo>
                <a:cubicBezTo>
                  <a:pt x="3142452" y="1303597"/>
                  <a:pt x="3153805" y="1314950"/>
                  <a:pt x="3153805" y="1328774"/>
                </a:cubicBezTo>
                <a:cubicBezTo>
                  <a:pt x="3153805" y="1342847"/>
                  <a:pt x="3142452" y="1353956"/>
                  <a:pt x="3128629" y="1353956"/>
                </a:cubicBezTo>
                <a:cubicBezTo>
                  <a:pt x="3114807" y="1353956"/>
                  <a:pt x="3103451" y="1342599"/>
                  <a:pt x="3103451" y="1328774"/>
                </a:cubicBezTo>
                <a:cubicBezTo>
                  <a:pt x="3103451" y="1314950"/>
                  <a:pt x="3114807" y="1303597"/>
                  <a:pt x="3128629" y="1303597"/>
                </a:cubicBezTo>
                <a:close/>
                <a:moveTo>
                  <a:pt x="616109" y="1298633"/>
                </a:moveTo>
                <a:cubicBezTo>
                  <a:pt x="616354" y="1298633"/>
                  <a:pt x="616354" y="1298633"/>
                  <a:pt x="616354" y="1298877"/>
                </a:cubicBezTo>
                <a:cubicBezTo>
                  <a:pt x="616603" y="1298877"/>
                  <a:pt x="616354" y="1299126"/>
                  <a:pt x="616109" y="1299126"/>
                </a:cubicBezTo>
                <a:cubicBezTo>
                  <a:pt x="615863" y="1299126"/>
                  <a:pt x="615863" y="1299126"/>
                  <a:pt x="615863" y="1298877"/>
                </a:cubicBezTo>
                <a:cubicBezTo>
                  <a:pt x="615863" y="1298633"/>
                  <a:pt x="616109" y="1298633"/>
                  <a:pt x="616109" y="1298633"/>
                </a:cubicBezTo>
                <a:close/>
                <a:moveTo>
                  <a:pt x="2076373" y="1296667"/>
                </a:moveTo>
                <a:cubicBezTo>
                  <a:pt x="2077606" y="1296667"/>
                  <a:pt x="2078347" y="1297658"/>
                  <a:pt x="2078347" y="1298645"/>
                </a:cubicBezTo>
                <a:cubicBezTo>
                  <a:pt x="2078347" y="1299633"/>
                  <a:pt x="2077606" y="1300618"/>
                  <a:pt x="2076373" y="1300618"/>
                </a:cubicBezTo>
                <a:cubicBezTo>
                  <a:pt x="2075385" y="1300618"/>
                  <a:pt x="2074398" y="1299633"/>
                  <a:pt x="2074398" y="1298645"/>
                </a:cubicBezTo>
                <a:cubicBezTo>
                  <a:pt x="2074398" y="1297658"/>
                  <a:pt x="2075139" y="1296667"/>
                  <a:pt x="2076373" y="1296667"/>
                </a:cubicBezTo>
                <a:close/>
                <a:moveTo>
                  <a:pt x="1622461" y="1293702"/>
                </a:moveTo>
                <a:cubicBezTo>
                  <a:pt x="1624189" y="1293702"/>
                  <a:pt x="1625669" y="1295180"/>
                  <a:pt x="1625669" y="1296908"/>
                </a:cubicBezTo>
                <a:cubicBezTo>
                  <a:pt x="1625669" y="1298641"/>
                  <a:pt x="1624189" y="1300121"/>
                  <a:pt x="1622461" y="1300121"/>
                </a:cubicBezTo>
                <a:cubicBezTo>
                  <a:pt x="1620732" y="1300121"/>
                  <a:pt x="1619253" y="1298641"/>
                  <a:pt x="1619253" y="1296908"/>
                </a:cubicBezTo>
                <a:cubicBezTo>
                  <a:pt x="1619253" y="1295180"/>
                  <a:pt x="1620732" y="1293702"/>
                  <a:pt x="1622461" y="1293702"/>
                </a:cubicBezTo>
                <a:close/>
                <a:moveTo>
                  <a:pt x="284118" y="1289993"/>
                </a:moveTo>
                <a:cubicBezTo>
                  <a:pt x="284610" y="1289993"/>
                  <a:pt x="284856" y="1290486"/>
                  <a:pt x="284856" y="1290734"/>
                </a:cubicBezTo>
                <a:cubicBezTo>
                  <a:pt x="284856" y="1290980"/>
                  <a:pt x="284610" y="1291473"/>
                  <a:pt x="284118" y="1291473"/>
                </a:cubicBezTo>
                <a:cubicBezTo>
                  <a:pt x="283623" y="1291473"/>
                  <a:pt x="283377" y="1291226"/>
                  <a:pt x="283377" y="1290734"/>
                </a:cubicBezTo>
                <a:cubicBezTo>
                  <a:pt x="283377" y="1290239"/>
                  <a:pt x="283869" y="1289993"/>
                  <a:pt x="284118" y="1289993"/>
                </a:cubicBezTo>
                <a:close/>
                <a:moveTo>
                  <a:pt x="1804134" y="1270997"/>
                </a:moveTo>
                <a:cubicBezTo>
                  <a:pt x="1805122" y="1270997"/>
                  <a:pt x="1805860" y="1271738"/>
                  <a:pt x="1805860" y="1272725"/>
                </a:cubicBezTo>
                <a:cubicBezTo>
                  <a:pt x="1805860" y="1273712"/>
                  <a:pt x="1805122" y="1274450"/>
                  <a:pt x="1804134" y="1274450"/>
                </a:cubicBezTo>
                <a:cubicBezTo>
                  <a:pt x="1803148" y="1274450"/>
                  <a:pt x="1802407" y="1273712"/>
                  <a:pt x="1802407" y="1272725"/>
                </a:cubicBezTo>
                <a:cubicBezTo>
                  <a:pt x="1802407" y="1271738"/>
                  <a:pt x="1803148" y="1270997"/>
                  <a:pt x="1804134" y="1270997"/>
                </a:cubicBezTo>
                <a:close/>
                <a:moveTo>
                  <a:pt x="3024711" y="1270030"/>
                </a:moveTo>
                <a:cubicBezTo>
                  <a:pt x="3036313" y="1270030"/>
                  <a:pt x="3045694" y="1279406"/>
                  <a:pt x="3045694" y="1291005"/>
                </a:cubicBezTo>
                <a:cubicBezTo>
                  <a:pt x="3045694" y="1302610"/>
                  <a:pt x="3036313" y="1311987"/>
                  <a:pt x="3024711" y="1311987"/>
                </a:cubicBezTo>
                <a:cubicBezTo>
                  <a:pt x="3013111" y="1311987"/>
                  <a:pt x="3003484" y="1302610"/>
                  <a:pt x="3003484" y="1291005"/>
                </a:cubicBezTo>
                <a:cubicBezTo>
                  <a:pt x="3003484" y="1279406"/>
                  <a:pt x="3012865" y="1270030"/>
                  <a:pt x="3024711" y="1270030"/>
                </a:cubicBezTo>
                <a:close/>
                <a:moveTo>
                  <a:pt x="2773185" y="1266817"/>
                </a:moveTo>
                <a:cubicBezTo>
                  <a:pt x="2780838" y="1266817"/>
                  <a:pt x="2786762" y="1272986"/>
                  <a:pt x="2786762" y="1280636"/>
                </a:cubicBezTo>
                <a:cubicBezTo>
                  <a:pt x="2786762" y="1288286"/>
                  <a:pt x="2780591" y="1294456"/>
                  <a:pt x="2773185" y="1294456"/>
                </a:cubicBezTo>
                <a:cubicBezTo>
                  <a:pt x="2765532" y="1294456"/>
                  <a:pt x="2759362" y="1288286"/>
                  <a:pt x="2759362" y="1280636"/>
                </a:cubicBezTo>
                <a:cubicBezTo>
                  <a:pt x="2759362" y="1272986"/>
                  <a:pt x="2765532" y="1266817"/>
                  <a:pt x="2773185" y="1266817"/>
                </a:cubicBezTo>
                <a:close/>
                <a:moveTo>
                  <a:pt x="3281913" y="1265349"/>
                </a:moveTo>
                <a:cubicBezTo>
                  <a:pt x="3291540" y="1265349"/>
                  <a:pt x="3299436" y="1273245"/>
                  <a:pt x="3299436" y="1282869"/>
                </a:cubicBezTo>
                <a:cubicBezTo>
                  <a:pt x="3299436" y="1292492"/>
                  <a:pt x="3291540" y="1300391"/>
                  <a:pt x="3281913" y="1300391"/>
                </a:cubicBezTo>
                <a:cubicBezTo>
                  <a:pt x="3272286" y="1300391"/>
                  <a:pt x="3264387" y="1292492"/>
                  <a:pt x="3264387" y="1282869"/>
                </a:cubicBezTo>
                <a:cubicBezTo>
                  <a:pt x="3264387" y="1273245"/>
                  <a:pt x="3272286" y="1265349"/>
                  <a:pt x="3281913" y="1265349"/>
                </a:cubicBezTo>
                <a:close/>
                <a:moveTo>
                  <a:pt x="2517219" y="1264097"/>
                </a:moveTo>
                <a:cubicBezTo>
                  <a:pt x="2519439" y="1264097"/>
                  <a:pt x="2521414" y="1265825"/>
                  <a:pt x="2521414" y="1268291"/>
                </a:cubicBezTo>
                <a:cubicBezTo>
                  <a:pt x="2521414" y="1270512"/>
                  <a:pt x="2519688" y="1272486"/>
                  <a:pt x="2517219" y="1272486"/>
                </a:cubicBezTo>
                <a:cubicBezTo>
                  <a:pt x="2514998" y="1272486"/>
                  <a:pt x="2513023" y="1270512"/>
                  <a:pt x="2513023" y="1268291"/>
                </a:cubicBezTo>
                <a:cubicBezTo>
                  <a:pt x="2513023" y="1266071"/>
                  <a:pt x="2514998" y="1264097"/>
                  <a:pt x="2517219" y="1264097"/>
                </a:cubicBezTo>
                <a:close/>
                <a:moveTo>
                  <a:pt x="1141375" y="1261117"/>
                </a:moveTo>
                <a:cubicBezTo>
                  <a:pt x="1142362" y="1261117"/>
                  <a:pt x="1143101" y="1261858"/>
                  <a:pt x="1143101" y="1262845"/>
                </a:cubicBezTo>
                <a:cubicBezTo>
                  <a:pt x="1143101" y="1263832"/>
                  <a:pt x="1142362" y="1264571"/>
                  <a:pt x="1141375" y="1264571"/>
                </a:cubicBezTo>
                <a:cubicBezTo>
                  <a:pt x="1140388" y="1264571"/>
                  <a:pt x="1139647" y="1263832"/>
                  <a:pt x="1139647" y="1262845"/>
                </a:cubicBezTo>
                <a:cubicBezTo>
                  <a:pt x="1139647" y="1261858"/>
                  <a:pt x="1140388" y="1261117"/>
                  <a:pt x="1141375" y="1261117"/>
                </a:cubicBezTo>
                <a:close/>
                <a:moveTo>
                  <a:pt x="396177" y="1260375"/>
                </a:moveTo>
                <a:cubicBezTo>
                  <a:pt x="396426" y="1260375"/>
                  <a:pt x="396672" y="1260621"/>
                  <a:pt x="396672" y="1260867"/>
                </a:cubicBezTo>
                <a:cubicBezTo>
                  <a:pt x="396672" y="1261116"/>
                  <a:pt x="396426" y="1261362"/>
                  <a:pt x="396177" y="1261362"/>
                </a:cubicBezTo>
                <a:cubicBezTo>
                  <a:pt x="395931" y="1261362"/>
                  <a:pt x="395684" y="1261116"/>
                  <a:pt x="395684" y="1260867"/>
                </a:cubicBezTo>
                <a:cubicBezTo>
                  <a:pt x="395684" y="1260621"/>
                  <a:pt x="395931" y="1260375"/>
                  <a:pt x="396177" y="1260375"/>
                </a:cubicBezTo>
                <a:close/>
                <a:moveTo>
                  <a:pt x="938973" y="1256180"/>
                </a:moveTo>
                <a:cubicBezTo>
                  <a:pt x="942181" y="1256180"/>
                  <a:pt x="944648" y="1258649"/>
                  <a:pt x="944648" y="1261857"/>
                </a:cubicBezTo>
                <a:cubicBezTo>
                  <a:pt x="944648" y="1264819"/>
                  <a:pt x="942181" y="1267534"/>
                  <a:pt x="938973" y="1267534"/>
                </a:cubicBezTo>
                <a:cubicBezTo>
                  <a:pt x="936011" y="1267534"/>
                  <a:pt x="933295" y="1265065"/>
                  <a:pt x="933295" y="1261857"/>
                </a:cubicBezTo>
                <a:cubicBezTo>
                  <a:pt x="933295" y="1258649"/>
                  <a:pt x="935762" y="1256180"/>
                  <a:pt x="938973" y="1256180"/>
                </a:cubicBezTo>
                <a:close/>
                <a:moveTo>
                  <a:pt x="722495" y="1251736"/>
                </a:moveTo>
                <a:cubicBezTo>
                  <a:pt x="722988" y="1251736"/>
                  <a:pt x="723234" y="1251983"/>
                  <a:pt x="723234" y="1252478"/>
                </a:cubicBezTo>
                <a:cubicBezTo>
                  <a:pt x="723234" y="1252970"/>
                  <a:pt x="722988" y="1253216"/>
                  <a:pt x="722495" y="1253216"/>
                </a:cubicBezTo>
                <a:cubicBezTo>
                  <a:pt x="722000" y="1253216"/>
                  <a:pt x="721754" y="1252970"/>
                  <a:pt x="721754" y="1252478"/>
                </a:cubicBezTo>
                <a:cubicBezTo>
                  <a:pt x="721754" y="1251983"/>
                  <a:pt x="722249" y="1251736"/>
                  <a:pt x="722495" y="1251736"/>
                </a:cubicBezTo>
                <a:close/>
                <a:moveTo>
                  <a:pt x="2257304" y="1250768"/>
                </a:moveTo>
                <a:cubicBezTo>
                  <a:pt x="2257551" y="1250768"/>
                  <a:pt x="2258043" y="1251013"/>
                  <a:pt x="2258043" y="1251509"/>
                </a:cubicBezTo>
                <a:cubicBezTo>
                  <a:pt x="2258043" y="1252001"/>
                  <a:pt x="2257797" y="1252247"/>
                  <a:pt x="2257304" y="1252247"/>
                </a:cubicBezTo>
                <a:cubicBezTo>
                  <a:pt x="2257058" y="1252247"/>
                  <a:pt x="2256563" y="1252001"/>
                  <a:pt x="2256563" y="1251509"/>
                </a:cubicBezTo>
                <a:cubicBezTo>
                  <a:pt x="2256563" y="1251260"/>
                  <a:pt x="2256809" y="1250768"/>
                  <a:pt x="2257304" y="1250768"/>
                </a:cubicBezTo>
                <a:close/>
                <a:moveTo>
                  <a:pt x="1980355" y="1241627"/>
                </a:moveTo>
                <a:cubicBezTo>
                  <a:pt x="1981342" y="1241627"/>
                  <a:pt x="1982329" y="1242615"/>
                  <a:pt x="1982329" y="1243602"/>
                </a:cubicBezTo>
                <a:cubicBezTo>
                  <a:pt x="1982329" y="1244590"/>
                  <a:pt x="1981588" y="1245577"/>
                  <a:pt x="1980355" y="1245577"/>
                </a:cubicBezTo>
                <a:cubicBezTo>
                  <a:pt x="1979121" y="1245577"/>
                  <a:pt x="1978380" y="1244590"/>
                  <a:pt x="1978380" y="1243602"/>
                </a:cubicBezTo>
                <a:cubicBezTo>
                  <a:pt x="1978380" y="1242615"/>
                  <a:pt x="1979367" y="1241627"/>
                  <a:pt x="1980355" y="1241627"/>
                </a:cubicBezTo>
                <a:close/>
                <a:moveTo>
                  <a:pt x="1336128" y="1241619"/>
                </a:moveTo>
                <a:cubicBezTo>
                  <a:pt x="1343534" y="1241619"/>
                  <a:pt x="1349458" y="1247544"/>
                  <a:pt x="1349458" y="1254949"/>
                </a:cubicBezTo>
                <a:cubicBezTo>
                  <a:pt x="1349458" y="1262106"/>
                  <a:pt x="1343534" y="1268276"/>
                  <a:pt x="1336128" y="1268276"/>
                </a:cubicBezTo>
                <a:cubicBezTo>
                  <a:pt x="1328724" y="1268276"/>
                  <a:pt x="1322800" y="1262353"/>
                  <a:pt x="1322800" y="1254949"/>
                </a:cubicBezTo>
                <a:cubicBezTo>
                  <a:pt x="1322800" y="1247544"/>
                  <a:pt x="1328724" y="1241619"/>
                  <a:pt x="1336128" y="1241619"/>
                </a:cubicBezTo>
                <a:close/>
                <a:moveTo>
                  <a:pt x="1524712" y="1232488"/>
                </a:moveTo>
                <a:cubicBezTo>
                  <a:pt x="1528169" y="1232488"/>
                  <a:pt x="1530885" y="1235204"/>
                  <a:pt x="1530885" y="1238659"/>
                </a:cubicBezTo>
                <a:cubicBezTo>
                  <a:pt x="1530885" y="1242116"/>
                  <a:pt x="1528169" y="1244832"/>
                  <a:pt x="1524712" y="1244832"/>
                </a:cubicBezTo>
                <a:cubicBezTo>
                  <a:pt x="1521258" y="1244832"/>
                  <a:pt x="1518542" y="1242116"/>
                  <a:pt x="1518542" y="1238659"/>
                </a:cubicBezTo>
                <a:cubicBezTo>
                  <a:pt x="1518542" y="1235204"/>
                  <a:pt x="1521258" y="1232488"/>
                  <a:pt x="1524712" y="1232488"/>
                </a:cubicBezTo>
                <a:close/>
                <a:moveTo>
                  <a:pt x="2930172" y="1220412"/>
                </a:moveTo>
                <a:cubicBezTo>
                  <a:pt x="2939551" y="1220412"/>
                  <a:pt x="2947203" y="1228066"/>
                  <a:pt x="2947203" y="1237202"/>
                </a:cubicBezTo>
                <a:cubicBezTo>
                  <a:pt x="2947203" y="1246337"/>
                  <a:pt x="2939551" y="1253988"/>
                  <a:pt x="2930172" y="1253988"/>
                </a:cubicBezTo>
                <a:cubicBezTo>
                  <a:pt x="2920791" y="1253988"/>
                  <a:pt x="2913387" y="1246337"/>
                  <a:pt x="2913387" y="1237202"/>
                </a:cubicBezTo>
                <a:cubicBezTo>
                  <a:pt x="2913387" y="1227820"/>
                  <a:pt x="2921040" y="1220412"/>
                  <a:pt x="2930172" y="1220412"/>
                </a:cubicBezTo>
                <a:close/>
                <a:moveTo>
                  <a:pt x="2678647" y="1218433"/>
                </a:moveTo>
                <a:cubicBezTo>
                  <a:pt x="2683338" y="1218433"/>
                  <a:pt x="2687041" y="1222137"/>
                  <a:pt x="2687041" y="1226828"/>
                </a:cubicBezTo>
                <a:cubicBezTo>
                  <a:pt x="2687041" y="1231271"/>
                  <a:pt x="2683338" y="1234975"/>
                  <a:pt x="2678647" y="1234975"/>
                </a:cubicBezTo>
                <a:cubicBezTo>
                  <a:pt x="2674205" y="1234975"/>
                  <a:pt x="2670502" y="1231271"/>
                  <a:pt x="2670502" y="1226828"/>
                </a:cubicBezTo>
                <a:cubicBezTo>
                  <a:pt x="2670502" y="1222137"/>
                  <a:pt x="2674205" y="1218433"/>
                  <a:pt x="2678647" y="1218433"/>
                </a:cubicBezTo>
                <a:close/>
                <a:moveTo>
                  <a:pt x="56040" y="1218410"/>
                </a:moveTo>
                <a:cubicBezTo>
                  <a:pt x="57519" y="1218410"/>
                  <a:pt x="58755" y="1219643"/>
                  <a:pt x="58755" y="1221125"/>
                </a:cubicBezTo>
                <a:cubicBezTo>
                  <a:pt x="58755" y="1222854"/>
                  <a:pt x="57519" y="1224087"/>
                  <a:pt x="56040" y="1224087"/>
                </a:cubicBezTo>
                <a:cubicBezTo>
                  <a:pt x="54311" y="1224087"/>
                  <a:pt x="53078" y="1222854"/>
                  <a:pt x="53078" y="1221125"/>
                </a:cubicBezTo>
                <a:cubicBezTo>
                  <a:pt x="53078" y="1219643"/>
                  <a:pt x="54311" y="1218410"/>
                  <a:pt x="56040" y="1218410"/>
                </a:cubicBezTo>
                <a:close/>
                <a:moveTo>
                  <a:pt x="1706632" y="1214470"/>
                </a:moveTo>
                <a:cubicBezTo>
                  <a:pt x="1707868" y="1214470"/>
                  <a:pt x="1708858" y="1215457"/>
                  <a:pt x="1708858" y="1216691"/>
                </a:cubicBezTo>
                <a:cubicBezTo>
                  <a:pt x="1708858" y="1217924"/>
                  <a:pt x="1707868" y="1218911"/>
                  <a:pt x="1706632" y="1218911"/>
                </a:cubicBezTo>
                <a:cubicBezTo>
                  <a:pt x="1705401" y="1218911"/>
                  <a:pt x="1704413" y="1217924"/>
                  <a:pt x="1704413" y="1216691"/>
                </a:cubicBezTo>
                <a:cubicBezTo>
                  <a:pt x="1704413" y="1215457"/>
                  <a:pt x="1705401" y="1214470"/>
                  <a:pt x="1706632" y="1214470"/>
                </a:cubicBezTo>
                <a:close/>
                <a:moveTo>
                  <a:pt x="2422929" y="1213248"/>
                </a:moveTo>
                <a:lnTo>
                  <a:pt x="2423175" y="1213494"/>
                </a:lnTo>
                <a:lnTo>
                  <a:pt x="2422929" y="1213742"/>
                </a:lnTo>
                <a:lnTo>
                  <a:pt x="2422929" y="1213494"/>
                </a:lnTo>
                <a:close/>
                <a:moveTo>
                  <a:pt x="3432481" y="1212281"/>
                </a:moveTo>
                <a:cubicBezTo>
                  <a:pt x="3444821" y="1212281"/>
                  <a:pt x="3454944" y="1222397"/>
                  <a:pt x="3454944" y="1234744"/>
                </a:cubicBezTo>
                <a:cubicBezTo>
                  <a:pt x="3454944" y="1247335"/>
                  <a:pt x="3444821" y="1257456"/>
                  <a:pt x="3432481" y="1257456"/>
                </a:cubicBezTo>
                <a:cubicBezTo>
                  <a:pt x="3420138" y="1257456"/>
                  <a:pt x="3410018" y="1247335"/>
                  <a:pt x="3410018" y="1234744"/>
                </a:cubicBezTo>
                <a:cubicBezTo>
                  <a:pt x="3410018" y="1222397"/>
                  <a:pt x="3420138" y="1212281"/>
                  <a:pt x="3432481" y="1212281"/>
                </a:cubicBezTo>
                <a:close/>
                <a:moveTo>
                  <a:pt x="2151413" y="1207567"/>
                </a:moveTo>
                <a:cubicBezTo>
                  <a:pt x="2152893" y="1207567"/>
                  <a:pt x="2154129" y="1208801"/>
                  <a:pt x="2154129" y="1210282"/>
                </a:cubicBezTo>
                <a:cubicBezTo>
                  <a:pt x="2154129" y="1211761"/>
                  <a:pt x="2152893" y="1212995"/>
                  <a:pt x="2151413" y="1212995"/>
                </a:cubicBezTo>
                <a:cubicBezTo>
                  <a:pt x="2149931" y="1212995"/>
                  <a:pt x="2148697" y="1211761"/>
                  <a:pt x="2148697" y="1210282"/>
                </a:cubicBezTo>
                <a:cubicBezTo>
                  <a:pt x="2148697" y="1208801"/>
                  <a:pt x="2149931" y="1207567"/>
                  <a:pt x="2151413" y="1207567"/>
                </a:cubicBezTo>
                <a:close/>
                <a:moveTo>
                  <a:pt x="3187867" y="1202405"/>
                </a:moveTo>
                <a:cubicBezTo>
                  <a:pt x="3202431" y="1202405"/>
                  <a:pt x="3214033" y="1214003"/>
                  <a:pt x="3214033" y="1228564"/>
                </a:cubicBezTo>
                <a:cubicBezTo>
                  <a:pt x="3214033" y="1242887"/>
                  <a:pt x="3202431" y="1254735"/>
                  <a:pt x="3187867" y="1254735"/>
                </a:cubicBezTo>
                <a:cubicBezTo>
                  <a:pt x="3173552" y="1254735"/>
                  <a:pt x="3161704" y="1243133"/>
                  <a:pt x="3161704" y="1228564"/>
                </a:cubicBezTo>
                <a:cubicBezTo>
                  <a:pt x="3161704" y="1214249"/>
                  <a:pt x="3173306" y="1202405"/>
                  <a:pt x="3187867" y="1202405"/>
                </a:cubicBezTo>
                <a:close/>
                <a:moveTo>
                  <a:pt x="825920" y="1199406"/>
                </a:moveTo>
                <a:cubicBezTo>
                  <a:pt x="826661" y="1199406"/>
                  <a:pt x="827156" y="1199899"/>
                  <a:pt x="827156" y="1200640"/>
                </a:cubicBezTo>
                <a:cubicBezTo>
                  <a:pt x="827156" y="1201381"/>
                  <a:pt x="826661" y="1201874"/>
                  <a:pt x="825920" y="1201874"/>
                </a:cubicBezTo>
                <a:cubicBezTo>
                  <a:pt x="825182" y="1201874"/>
                  <a:pt x="824441" y="1201381"/>
                  <a:pt x="824441" y="1200640"/>
                </a:cubicBezTo>
                <a:cubicBezTo>
                  <a:pt x="824441" y="1199899"/>
                  <a:pt x="824936" y="1199406"/>
                  <a:pt x="825920" y="1199406"/>
                </a:cubicBezTo>
                <a:close/>
                <a:moveTo>
                  <a:pt x="170819" y="1198909"/>
                </a:moveTo>
                <a:cubicBezTo>
                  <a:pt x="173286" y="1198909"/>
                  <a:pt x="175507" y="1200884"/>
                  <a:pt x="175507" y="1203600"/>
                </a:cubicBezTo>
                <a:cubicBezTo>
                  <a:pt x="175260" y="1206067"/>
                  <a:pt x="173286" y="1208290"/>
                  <a:pt x="170819" y="1208290"/>
                </a:cubicBezTo>
                <a:cubicBezTo>
                  <a:pt x="168349" y="1208290"/>
                  <a:pt x="166129" y="1206316"/>
                  <a:pt x="166129" y="1203600"/>
                </a:cubicBezTo>
                <a:cubicBezTo>
                  <a:pt x="166129" y="1201130"/>
                  <a:pt x="168103" y="1198909"/>
                  <a:pt x="170819" y="1198909"/>
                </a:cubicBezTo>
                <a:close/>
                <a:moveTo>
                  <a:pt x="1038445" y="1194718"/>
                </a:moveTo>
                <a:cubicBezTo>
                  <a:pt x="1041902" y="1194718"/>
                  <a:pt x="1044617" y="1197434"/>
                  <a:pt x="1044617" y="1200888"/>
                </a:cubicBezTo>
                <a:cubicBezTo>
                  <a:pt x="1044617" y="1204346"/>
                  <a:pt x="1041902" y="1207062"/>
                  <a:pt x="1038445" y="1207062"/>
                </a:cubicBezTo>
                <a:cubicBezTo>
                  <a:pt x="1034991" y="1207062"/>
                  <a:pt x="1032275" y="1204346"/>
                  <a:pt x="1032275" y="1200888"/>
                </a:cubicBezTo>
                <a:cubicBezTo>
                  <a:pt x="1032275" y="1197434"/>
                  <a:pt x="1034991" y="1194718"/>
                  <a:pt x="1038445" y="1194718"/>
                </a:cubicBezTo>
                <a:close/>
                <a:moveTo>
                  <a:pt x="1236157" y="1193485"/>
                </a:moveTo>
                <a:cubicBezTo>
                  <a:pt x="1236898" y="1193485"/>
                  <a:pt x="1237639" y="1193980"/>
                  <a:pt x="1237639" y="1194965"/>
                </a:cubicBezTo>
                <a:cubicBezTo>
                  <a:pt x="1237393" y="1195706"/>
                  <a:pt x="1236898" y="1196201"/>
                  <a:pt x="1236157" y="1196201"/>
                </a:cubicBezTo>
                <a:cubicBezTo>
                  <a:pt x="1235419" y="1196201"/>
                  <a:pt x="1234678" y="1195706"/>
                  <a:pt x="1234678" y="1194965"/>
                </a:cubicBezTo>
                <a:cubicBezTo>
                  <a:pt x="1234678" y="1194226"/>
                  <a:pt x="1235419" y="1193485"/>
                  <a:pt x="1236157" y="1193485"/>
                </a:cubicBezTo>
                <a:close/>
                <a:moveTo>
                  <a:pt x="1883864" y="1185841"/>
                </a:moveTo>
                <a:cubicBezTo>
                  <a:pt x="1885345" y="1185841"/>
                  <a:pt x="1886580" y="1187075"/>
                  <a:pt x="1886580" y="1188558"/>
                </a:cubicBezTo>
                <a:cubicBezTo>
                  <a:pt x="1886580" y="1190037"/>
                  <a:pt x="1885345" y="1191272"/>
                  <a:pt x="1883864" y="1191272"/>
                </a:cubicBezTo>
                <a:cubicBezTo>
                  <a:pt x="1882381" y="1191272"/>
                  <a:pt x="1881147" y="1190037"/>
                  <a:pt x="1881147" y="1188558"/>
                </a:cubicBezTo>
                <a:cubicBezTo>
                  <a:pt x="1881147" y="1187075"/>
                  <a:pt x="1882381" y="1185841"/>
                  <a:pt x="1883864" y="1185841"/>
                </a:cubicBezTo>
                <a:close/>
                <a:moveTo>
                  <a:pt x="614379" y="1181879"/>
                </a:moveTo>
                <a:cubicBezTo>
                  <a:pt x="614628" y="1181879"/>
                  <a:pt x="614628" y="1182125"/>
                  <a:pt x="614628" y="1182125"/>
                </a:cubicBezTo>
                <a:cubicBezTo>
                  <a:pt x="614628" y="1182125"/>
                  <a:pt x="614379" y="1182374"/>
                  <a:pt x="614379" y="1182374"/>
                </a:cubicBezTo>
                <a:cubicBezTo>
                  <a:pt x="614133" y="1182374"/>
                  <a:pt x="614133" y="1182125"/>
                  <a:pt x="614133" y="1182125"/>
                </a:cubicBezTo>
                <a:cubicBezTo>
                  <a:pt x="614133" y="1181879"/>
                  <a:pt x="614379" y="1181879"/>
                  <a:pt x="614379" y="1181879"/>
                </a:cubicBezTo>
                <a:close/>
                <a:moveTo>
                  <a:pt x="284114" y="1172005"/>
                </a:moveTo>
                <a:cubicBezTo>
                  <a:pt x="287817" y="1172005"/>
                  <a:pt x="291025" y="1174967"/>
                  <a:pt x="291025" y="1178917"/>
                </a:cubicBezTo>
                <a:cubicBezTo>
                  <a:pt x="291025" y="1182620"/>
                  <a:pt x="288063" y="1185828"/>
                  <a:pt x="284114" y="1185828"/>
                </a:cubicBezTo>
                <a:cubicBezTo>
                  <a:pt x="280411" y="1185828"/>
                  <a:pt x="277202" y="1182866"/>
                  <a:pt x="277202" y="1178917"/>
                </a:cubicBezTo>
                <a:cubicBezTo>
                  <a:pt x="277202" y="1175213"/>
                  <a:pt x="280164" y="1172005"/>
                  <a:pt x="284114" y="1172005"/>
                </a:cubicBezTo>
                <a:close/>
                <a:moveTo>
                  <a:pt x="3084197" y="1169321"/>
                </a:moveTo>
                <a:cubicBezTo>
                  <a:pt x="3096293" y="1169321"/>
                  <a:pt x="3106164" y="1179196"/>
                  <a:pt x="3106164" y="1191291"/>
                </a:cubicBezTo>
                <a:cubicBezTo>
                  <a:pt x="3106164" y="1203387"/>
                  <a:pt x="3096293" y="1213257"/>
                  <a:pt x="3084197" y="1213257"/>
                </a:cubicBezTo>
                <a:cubicBezTo>
                  <a:pt x="3072102" y="1213257"/>
                  <a:pt x="3062229" y="1203387"/>
                  <a:pt x="3062229" y="1191291"/>
                </a:cubicBezTo>
                <a:cubicBezTo>
                  <a:pt x="3062229" y="1179196"/>
                  <a:pt x="3072102" y="1169321"/>
                  <a:pt x="3084197" y="1169321"/>
                </a:cubicBezTo>
                <a:close/>
                <a:moveTo>
                  <a:pt x="2584111" y="1168573"/>
                </a:moveTo>
                <a:cubicBezTo>
                  <a:pt x="2586578" y="1168573"/>
                  <a:pt x="2588553" y="1170546"/>
                  <a:pt x="2588553" y="1173014"/>
                </a:cubicBezTo>
                <a:cubicBezTo>
                  <a:pt x="2588553" y="1175485"/>
                  <a:pt x="2586578" y="1177459"/>
                  <a:pt x="2584111" y="1177459"/>
                </a:cubicBezTo>
                <a:cubicBezTo>
                  <a:pt x="2581642" y="1177459"/>
                  <a:pt x="2579667" y="1175485"/>
                  <a:pt x="2579667" y="1173014"/>
                </a:cubicBezTo>
                <a:cubicBezTo>
                  <a:pt x="2579667" y="1170546"/>
                  <a:pt x="2581642" y="1168573"/>
                  <a:pt x="2584111" y="1168573"/>
                </a:cubicBezTo>
                <a:close/>
                <a:moveTo>
                  <a:pt x="2836128" y="1168329"/>
                </a:moveTo>
                <a:cubicBezTo>
                  <a:pt x="2844273" y="1168329"/>
                  <a:pt x="2850938" y="1174996"/>
                  <a:pt x="2850938" y="1183140"/>
                </a:cubicBezTo>
                <a:cubicBezTo>
                  <a:pt x="2850692" y="1191286"/>
                  <a:pt x="2844273" y="1197951"/>
                  <a:pt x="2836128" y="1197951"/>
                </a:cubicBezTo>
                <a:cubicBezTo>
                  <a:pt x="2827983" y="1197951"/>
                  <a:pt x="2821318" y="1191286"/>
                  <a:pt x="2821318" y="1183140"/>
                </a:cubicBezTo>
                <a:cubicBezTo>
                  <a:pt x="2821318" y="1174996"/>
                  <a:pt x="2827983" y="1168329"/>
                  <a:pt x="2836128" y="1168329"/>
                </a:cubicBezTo>
                <a:close/>
                <a:moveTo>
                  <a:pt x="1425979" y="1166829"/>
                </a:moveTo>
                <a:cubicBezTo>
                  <a:pt x="1433631" y="1166829"/>
                  <a:pt x="1440048" y="1173245"/>
                  <a:pt x="1440048" y="1180898"/>
                </a:cubicBezTo>
                <a:cubicBezTo>
                  <a:pt x="1440048" y="1188798"/>
                  <a:pt x="1433631" y="1194967"/>
                  <a:pt x="1425979" y="1194967"/>
                </a:cubicBezTo>
                <a:cubicBezTo>
                  <a:pt x="1418326" y="1194967"/>
                  <a:pt x="1411910" y="1188798"/>
                  <a:pt x="1411910" y="1180898"/>
                </a:cubicBezTo>
                <a:cubicBezTo>
                  <a:pt x="1411910" y="1173245"/>
                  <a:pt x="1418080" y="1166829"/>
                  <a:pt x="1425979" y="1166829"/>
                </a:cubicBezTo>
                <a:close/>
                <a:moveTo>
                  <a:pt x="3338192" y="1161182"/>
                </a:moveTo>
                <a:cubicBezTo>
                  <a:pt x="3349053" y="1161182"/>
                  <a:pt x="3357939" y="1170067"/>
                  <a:pt x="3357939" y="1180929"/>
                </a:cubicBezTo>
                <a:cubicBezTo>
                  <a:pt x="3357939" y="1191791"/>
                  <a:pt x="3349053" y="1200678"/>
                  <a:pt x="3338192" y="1200678"/>
                </a:cubicBezTo>
                <a:cubicBezTo>
                  <a:pt x="3327331" y="1200678"/>
                  <a:pt x="3318445" y="1191791"/>
                  <a:pt x="3318445" y="1180929"/>
                </a:cubicBezTo>
                <a:cubicBezTo>
                  <a:pt x="3318445" y="1170067"/>
                  <a:pt x="3327331" y="1161182"/>
                  <a:pt x="3338192" y="1161182"/>
                </a:cubicBezTo>
                <a:close/>
                <a:moveTo>
                  <a:pt x="2328390" y="1158445"/>
                </a:moveTo>
                <a:cubicBezTo>
                  <a:pt x="2328639" y="1158445"/>
                  <a:pt x="2328885" y="1158692"/>
                  <a:pt x="2328885" y="1158941"/>
                </a:cubicBezTo>
                <a:cubicBezTo>
                  <a:pt x="2328639" y="1159433"/>
                  <a:pt x="2328639" y="1159433"/>
                  <a:pt x="2328390" y="1159433"/>
                </a:cubicBezTo>
                <a:cubicBezTo>
                  <a:pt x="2328144" y="1159433"/>
                  <a:pt x="2327898" y="1159187"/>
                  <a:pt x="2327898" y="1158941"/>
                </a:cubicBezTo>
                <a:cubicBezTo>
                  <a:pt x="2327898" y="1158692"/>
                  <a:pt x="2328144" y="1158445"/>
                  <a:pt x="2328390" y="1158445"/>
                </a:cubicBezTo>
                <a:close/>
                <a:moveTo>
                  <a:pt x="2055888" y="1153506"/>
                </a:moveTo>
                <a:cubicBezTo>
                  <a:pt x="2056875" y="1153506"/>
                  <a:pt x="2057862" y="1154492"/>
                  <a:pt x="2057862" y="1155481"/>
                </a:cubicBezTo>
                <a:cubicBezTo>
                  <a:pt x="2057862" y="1156467"/>
                  <a:pt x="2057121" y="1157455"/>
                  <a:pt x="2055888" y="1157455"/>
                </a:cubicBezTo>
                <a:cubicBezTo>
                  <a:pt x="2054900" y="1157455"/>
                  <a:pt x="2053913" y="1156467"/>
                  <a:pt x="2053913" y="1155481"/>
                </a:cubicBezTo>
                <a:cubicBezTo>
                  <a:pt x="2053913" y="1154492"/>
                  <a:pt x="2054900" y="1153506"/>
                  <a:pt x="2055888" y="1153506"/>
                </a:cubicBezTo>
                <a:close/>
                <a:moveTo>
                  <a:pt x="1610121" y="1151771"/>
                </a:moveTo>
                <a:cubicBezTo>
                  <a:pt x="1614317" y="1151771"/>
                  <a:pt x="1617771" y="1155226"/>
                  <a:pt x="1617771" y="1159424"/>
                </a:cubicBezTo>
                <a:cubicBezTo>
                  <a:pt x="1617771" y="1163865"/>
                  <a:pt x="1614317" y="1167073"/>
                  <a:pt x="1610121" y="1167073"/>
                </a:cubicBezTo>
                <a:cubicBezTo>
                  <a:pt x="1605923" y="1167073"/>
                  <a:pt x="1602469" y="1163619"/>
                  <a:pt x="1602469" y="1159424"/>
                </a:cubicBezTo>
                <a:cubicBezTo>
                  <a:pt x="1602469" y="1155226"/>
                  <a:pt x="1605923" y="1151771"/>
                  <a:pt x="1610121" y="1151771"/>
                </a:cubicBezTo>
                <a:close/>
                <a:moveTo>
                  <a:pt x="926380" y="1140656"/>
                </a:moveTo>
                <a:cubicBezTo>
                  <a:pt x="927613" y="1140656"/>
                  <a:pt x="928849" y="1141646"/>
                  <a:pt x="928849" y="1143128"/>
                </a:cubicBezTo>
                <a:cubicBezTo>
                  <a:pt x="928849" y="1144362"/>
                  <a:pt x="927862" y="1145350"/>
                  <a:pt x="926380" y="1145350"/>
                </a:cubicBezTo>
                <a:cubicBezTo>
                  <a:pt x="925146" y="1145350"/>
                  <a:pt x="924159" y="1144362"/>
                  <a:pt x="924159" y="1143128"/>
                </a:cubicBezTo>
                <a:cubicBezTo>
                  <a:pt x="924159" y="1141893"/>
                  <a:pt x="925146" y="1140656"/>
                  <a:pt x="926380" y="1140656"/>
                </a:cubicBezTo>
                <a:close/>
                <a:moveTo>
                  <a:pt x="395933" y="1137694"/>
                </a:moveTo>
                <a:cubicBezTo>
                  <a:pt x="401116" y="1137694"/>
                  <a:pt x="405557" y="1141887"/>
                  <a:pt x="405557" y="1147321"/>
                </a:cubicBezTo>
                <a:cubicBezTo>
                  <a:pt x="405557" y="1152504"/>
                  <a:pt x="401362" y="1156946"/>
                  <a:pt x="395933" y="1156946"/>
                </a:cubicBezTo>
                <a:cubicBezTo>
                  <a:pt x="390747" y="1156946"/>
                  <a:pt x="386305" y="1152750"/>
                  <a:pt x="386305" y="1147321"/>
                </a:cubicBezTo>
                <a:cubicBezTo>
                  <a:pt x="386305" y="1142136"/>
                  <a:pt x="390501" y="1137694"/>
                  <a:pt x="395933" y="1137694"/>
                </a:cubicBezTo>
                <a:close/>
                <a:moveTo>
                  <a:pt x="719535" y="1130784"/>
                </a:moveTo>
                <a:cubicBezTo>
                  <a:pt x="720768" y="1130784"/>
                  <a:pt x="722002" y="1131770"/>
                  <a:pt x="722002" y="1133250"/>
                </a:cubicBezTo>
                <a:cubicBezTo>
                  <a:pt x="722002" y="1134732"/>
                  <a:pt x="720768" y="1135719"/>
                  <a:pt x="719535" y="1135719"/>
                </a:cubicBezTo>
                <a:cubicBezTo>
                  <a:pt x="718299" y="1135719"/>
                  <a:pt x="717065" y="1134732"/>
                  <a:pt x="717065" y="1133250"/>
                </a:cubicBezTo>
                <a:cubicBezTo>
                  <a:pt x="717065" y="1132017"/>
                  <a:pt x="718053" y="1130784"/>
                  <a:pt x="719535" y="1130784"/>
                </a:cubicBezTo>
                <a:close/>
                <a:moveTo>
                  <a:pt x="1787348" y="1130051"/>
                </a:moveTo>
                <a:cubicBezTo>
                  <a:pt x="1789077" y="1130051"/>
                  <a:pt x="1790557" y="1131533"/>
                  <a:pt x="1790557" y="1133255"/>
                </a:cubicBezTo>
                <a:cubicBezTo>
                  <a:pt x="1790557" y="1134984"/>
                  <a:pt x="1789077" y="1136461"/>
                  <a:pt x="1787348" y="1136461"/>
                </a:cubicBezTo>
                <a:cubicBezTo>
                  <a:pt x="1785621" y="1136461"/>
                  <a:pt x="1784141" y="1134984"/>
                  <a:pt x="1784141" y="1133255"/>
                </a:cubicBezTo>
                <a:cubicBezTo>
                  <a:pt x="1784141" y="1131533"/>
                  <a:pt x="1785621" y="1130051"/>
                  <a:pt x="1787348" y="1130051"/>
                </a:cubicBezTo>
                <a:close/>
                <a:moveTo>
                  <a:pt x="1134709" y="1128318"/>
                </a:moveTo>
                <a:cubicBezTo>
                  <a:pt x="1138410" y="1128318"/>
                  <a:pt x="1141372" y="1131281"/>
                  <a:pt x="1141372" y="1134978"/>
                </a:cubicBezTo>
                <a:cubicBezTo>
                  <a:pt x="1141372" y="1138681"/>
                  <a:pt x="1138410" y="1141649"/>
                  <a:pt x="1134709" y="1141649"/>
                </a:cubicBezTo>
                <a:cubicBezTo>
                  <a:pt x="1131006" y="1141649"/>
                  <a:pt x="1128044" y="1138681"/>
                  <a:pt x="1128044" y="1134978"/>
                </a:cubicBezTo>
                <a:cubicBezTo>
                  <a:pt x="1128044" y="1131281"/>
                  <a:pt x="1131006" y="1128318"/>
                  <a:pt x="1134709" y="1128318"/>
                </a:cubicBezTo>
                <a:close/>
                <a:moveTo>
                  <a:pt x="1327243" y="1121407"/>
                </a:moveTo>
                <a:cubicBezTo>
                  <a:pt x="1327735" y="1121407"/>
                  <a:pt x="1328230" y="1121904"/>
                  <a:pt x="1328230" y="1122396"/>
                </a:cubicBezTo>
                <a:cubicBezTo>
                  <a:pt x="1328476" y="1122887"/>
                  <a:pt x="1327984" y="1123383"/>
                  <a:pt x="1327243" y="1123383"/>
                </a:cubicBezTo>
                <a:cubicBezTo>
                  <a:pt x="1326502" y="1123383"/>
                  <a:pt x="1326255" y="1122887"/>
                  <a:pt x="1326255" y="1122396"/>
                </a:cubicBezTo>
                <a:cubicBezTo>
                  <a:pt x="1326255" y="1121904"/>
                  <a:pt x="1326748" y="1121407"/>
                  <a:pt x="1327243" y="1121407"/>
                </a:cubicBezTo>
                <a:close/>
                <a:moveTo>
                  <a:pt x="2741839" y="1120190"/>
                </a:moveTo>
                <a:cubicBezTo>
                  <a:pt x="2746776" y="1120190"/>
                  <a:pt x="2750725" y="1124137"/>
                  <a:pt x="2750725" y="1129075"/>
                </a:cubicBezTo>
                <a:cubicBezTo>
                  <a:pt x="2750725" y="1134006"/>
                  <a:pt x="2746776" y="1137947"/>
                  <a:pt x="2741839" y="1137947"/>
                </a:cubicBezTo>
                <a:cubicBezTo>
                  <a:pt x="2736902" y="1137947"/>
                  <a:pt x="2732953" y="1134006"/>
                  <a:pt x="2732953" y="1129075"/>
                </a:cubicBezTo>
                <a:cubicBezTo>
                  <a:pt x="2732953" y="1124137"/>
                  <a:pt x="2736902" y="1120190"/>
                  <a:pt x="2741839" y="1120190"/>
                </a:cubicBezTo>
                <a:close/>
                <a:moveTo>
                  <a:pt x="2989907" y="1119947"/>
                </a:moveTo>
                <a:cubicBezTo>
                  <a:pt x="2999534" y="1119947"/>
                  <a:pt x="3007679" y="1127848"/>
                  <a:pt x="3007679" y="1137457"/>
                </a:cubicBezTo>
                <a:cubicBezTo>
                  <a:pt x="3007679" y="1147102"/>
                  <a:pt x="2999780" y="1155000"/>
                  <a:pt x="2989907" y="1155000"/>
                </a:cubicBezTo>
                <a:cubicBezTo>
                  <a:pt x="2980280" y="1155000"/>
                  <a:pt x="2972381" y="1147102"/>
                  <a:pt x="2972381" y="1137457"/>
                </a:cubicBezTo>
                <a:cubicBezTo>
                  <a:pt x="2972381" y="1127848"/>
                  <a:pt x="2980280" y="1119947"/>
                  <a:pt x="2989907" y="1119947"/>
                </a:cubicBezTo>
                <a:close/>
                <a:moveTo>
                  <a:pt x="2490065" y="1118210"/>
                </a:moveTo>
                <a:cubicBezTo>
                  <a:pt x="2490312" y="1118210"/>
                  <a:pt x="2490561" y="1118456"/>
                  <a:pt x="2490561" y="1118456"/>
                </a:cubicBezTo>
                <a:cubicBezTo>
                  <a:pt x="2490312" y="1118456"/>
                  <a:pt x="2490312" y="1118707"/>
                  <a:pt x="2490065" y="1118707"/>
                </a:cubicBezTo>
                <a:cubicBezTo>
                  <a:pt x="2489819" y="1118707"/>
                  <a:pt x="2489819" y="1118456"/>
                  <a:pt x="2489819" y="1118456"/>
                </a:cubicBezTo>
                <a:cubicBezTo>
                  <a:pt x="2489819" y="1118210"/>
                  <a:pt x="2490065" y="1118210"/>
                  <a:pt x="2490065" y="1118210"/>
                </a:cubicBezTo>
                <a:close/>
                <a:moveTo>
                  <a:pt x="2222994" y="1116484"/>
                </a:moveTo>
                <a:cubicBezTo>
                  <a:pt x="2224357" y="1116484"/>
                  <a:pt x="2225461" y="1117586"/>
                  <a:pt x="2225461" y="1118949"/>
                </a:cubicBezTo>
                <a:cubicBezTo>
                  <a:pt x="2225461" y="1120311"/>
                  <a:pt x="2224357" y="1121417"/>
                  <a:pt x="2222994" y="1121417"/>
                </a:cubicBezTo>
                <a:cubicBezTo>
                  <a:pt x="2221628" y="1121417"/>
                  <a:pt x="2220524" y="1120313"/>
                  <a:pt x="2220524" y="1118949"/>
                </a:cubicBezTo>
                <a:cubicBezTo>
                  <a:pt x="2220524" y="1117586"/>
                  <a:pt x="2221628" y="1116484"/>
                  <a:pt x="2222994" y="1116484"/>
                </a:cubicBezTo>
                <a:close/>
                <a:moveTo>
                  <a:pt x="55051" y="1111776"/>
                </a:moveTo>
                <a:lnTo>
                  <a:pt x="55297" y="1112021"/>
                </a:lnTo>
                <a:lnTo>
                  <a:pt x="55051" y="1112021"/>
                </a:lnTo>
                <a:close/>
                <a:moveTo>
                  <a:pt x="3485797" y="1107124"/>
                </a:moveTo>
                <a:cubicBezTo>
                  <a:pt x="3499374" y="1107124"/>
                  <a:pt x="3510235" y="1118226"/>
                  <a:pt x="3510235" y="1131556"/>
                </a:cubicBezTo>
                <a:cubicBezTo>
                  <a:pt x="3510235" y="1144893"/>
                  <a:pt x="3499125" y="1155997"/>
                  <a:pt x="3485797" y="1155997"/>
                </a:cubicBezTo>
                <a:cubicBezTo>
                  <a:pt x="3472221" y="1155997"/>
                  <a:pt x="3461360" y="1144893"/>
                  <a:pt x="3461360" y="1131556"/>
                </a:cubicBezTo>
                <a:cubicBezTo>
                  <a:pt x="3461360" y="1117982"/>
                  <a:pt x="3472221" y="1107124"/>
                  <a:pt x="3485797" y="1107124"/>
                </a:cubicBezTo>
                <a:close/>
                <a:moveTo>
                  <a:pt x="3244145" y="1099716"/>
                </a:moveTo>
                <a:cubicBezTo>
                  <a:pt x="3258955" y="1099716"/>
                  <a:pt x="3271050" y="1111809"/>
                  <a:pt x="3271050" y="1126614"/>
                </a:cubicBezTo>
                <a:cubicBezTo>
                  <a:pt x="3271298" y="1141430"/>
                  <a:pt x="3258955" y="1153529"/>
                  <a:pt x="3244145" y="1153529"/>
                </a:cubicBezTo>
                <a:cubicBezTo>
                  <a:pt x="3229335" y="1153529"/>
                  <a:pt x="3217241" y="1141430"/>
                  <a:pt x="3217241" y="1126614"/>
                </a:cubicBezTo>
                <a:cubicBezTo>
                  <a:pt x="3217241" y="1111809"/>
                  <a:pt x="3229335" y="1099716"/>
                  <a:pt x="3244145" y="1099716"/>
                </a:cubicBezTo>
                <a:close/>
                <a:moveTo>
                  <a:pt x="1960124" y="1097474"/>
                </a:moveTo>
                <a:cubicBezTo>
                  <a:pt x="1962032" y="1097474"/>
                  <a:pt x="1963578" y="1099020"/>
                  <a:pt x="1963578" y="1100931"/>
                </a:cubicBezTo>
                <a:cubicBezTo>
                  <a:pt x="1963578" y="1102839"/>
                  <a:pt x="1962032" y="1104385"/>
                  <a:pt x="1960124" y="1104385"/>
                </a:cubicBezTo>
                <a:cubicBezTo>
                  <a:pt x="1958218" y="1104385"/>
                  <a:pt x="1956672" y="1102839"/>
                  <a:pt x="1956672" y="1100931"/>
                </a:cubicBezTo>
                <a:cubicBezTo>
                  <a:pt x="1956672" y="1099020"/>
                  <a:pt x="1958218" y="1097474"/>
                  <a:pt x="1960124" y="1097474"/>
                </a:cubicBezTo>
                <a:close/>
                <a:moveTo>
                  <a:pt x="505526" y="1096721"/>
                </a:moveTo>
                <a:cubicBezTo>
                  <a:pt x="512435" y="1096721"/>
                  <a:pt x="517866" y="1102153"/>
                  <a:pt x="517866" y="1109064"/>
                </a:cubicBezTo>
                <a:cubicBezTo>
                  <a:pt x="517866" y="1115726"/>
                  <a:pt x="512435" y="1121402"/>
                  <a:pt x="505526" y="1121402"/>
                </a:cubicBezTo>
                <a:cubicBezTo>
                  <a:pt x="498615" y="1121402"/>
                  <a:pt x="493183" y="1115973"/>
                  <a:pt x="493183" y="1109064"/>
                </a:cubicBezTo>
                <a:cubicBezTo>
                  <a:pt x="493183" y="1102153"/>
                  <a:pt x="498615" y="1096721"/>
                  <a:pt x="505526" y="1096721"/>
                </a:cubicBezTo>
                <a:close/>
                <a:moveTo>
                  <a:pt x="169831" y="1092275"/>
                </a:moveTo>
                <a:cubicBezTo>
                  <a:pt x="170323" y="1092275"/>
                  <a:pt x="170818" y="1092771"/>
                  <a:pt x="170818" y="1093263"/>
                </a:cubicBezTo>
                <a:cubicBezTo>
                  <a:pt x="171065" y="1093758"/>
                  <a:pt x="170572" y="1094251"/>
                  <a:pt x="169831" y="1094251"/>
                </a:cubicBezTo>
                <a:cubicBezTo>
                  <a:pt x="169336" y="1094251"/>
                  <a:pt x="168844" y="1093758"/>
                  <a:pt x="168844" y="1093263"/>
                </a:cubicBezTo>
                <a:cubicBezTo>
                  <a:pt x="168844" y="1092771"/>
                  <a:pt x="169336" y="1092275"/>
                  <a:pt x="169831" y="1092275"/>
                </a:cubicBezTo>
                <a:close/>
                <a:moveTo>
                  <a:pt x="1512370" y="1088087"/>
                </a:moveTo>
                <a:cubicBezTo>
                  <a:pt x="1520515" y="1088087"/>
                  <a:pt x="1527180" y="1094753"/>
                  <a:pt x="1527180" y="1102898"/>
                </a:cubicBezTo>
                <a:cubicBezTo>
                  <a:pt x="1527180" y="1111042"/>
                  <a:pt x="1520515" y="1117707"/>
                  <a:pt x="1512370" y="1117707"/>
                </a:cubicBezTo>
                <a:cubicBezTo>
                  <a:pt x="1504225" y="1117707"/>
                  <a:pt x="1497559" y="1111042"/>
                  <a:pt x="1497559" y="1102898"/>
                </a:cubicBezTo>
                <a:cubicBezTo>
                  <a:pt x="1497559" y="1094753"/>
                  <a:pt x="1504225" y="1088087"/>
                  <a:pt x="1512370" y="1088087"/>
                </a:cubicBezTo>
                <a:close/>
                <a:moveTo>
                  <a:pt x="1023882" y="1078456"/>
                </a:moveTo>
                <a:cubicBezTo>
                  <a:pt x="1024870" y="1078456"/>
                  <a:pt x="1025857" y="1079443"/>
                  <a:pt x="1025857" y="1080431"/>
                </a:cubicBezTo>
                <a:cubicBezTo>
                  <a:pt x="1025857" y="1081418"/>
                  <a:pt x="1024870" y="1082405"/>
                  <a:pt x="1023882" y="1082405"/>
                </a:cubicBezTo>
                <a:cubicBezTo>
                  <a:pt x="1022895" y="1082405"/>
                  <a:pt x="1021908" y="1081418"/>
                  <a:pt x="1021908" y="1080431"/>
                </a:cubicBezTo>
                <a:cubicBezTo>
                  <a:pt x="1021908" y="1079443"/>
                  <a:pt x="1022895" y="1078456"/>
                  <a:pt x="1023882" y="1078456"/>
                </a:cubicBezTo>
                <a:close/>
                <a:moveTo>
                  <a:pt x="821724" y="1073764"/>
                </a:moveTo>
                <a:cubicBezTo>
                  <a:pt x="824439" y="1073764"/>
                  <a:pt x="826414" y="1075985"/>
                  <a:pt x="826414" y="1078701"/>
                </a:cubicBezTo>
                <a:cubicBezTo>
                  <a:pt x="826660" y="1081417"/>
                  <a:pt x="824439" y="1083637"/>
                  <a:pt x="821724" y="1083637"/>
                </a:cubicBezTo>
                <a:cubicBezTo>
                  <a:pt x="819008" y="1083637"/>
                  <a:pt x="816787" y="1081417"/>
                  <a:pt x="816787" y="1078701"/>
                </a:cubicBezTo>
                <a:cubicBezTo>
                  <a:pt x="816787" y="1075985"/>
                  <a:pt x="819008" y="1073764"/>
                  <a:pt x="821724" y="1073764"/>
                </a:cubicBezTo>
                <a:close/>
                <a:moveTo>
                  <a:pt x="2647547" y="1070085"/>
                </a:moveTo>
                <a:cubicBezTo>
                  <a:pt x="2650509" y="1070085"/>
                  <a:pt x="2652976" y="1072555"/>
                  <a:pt x="2652976" y="1075516"/>
                </a:cubicBezTo>
                <a:cubicBezTo>
                  <a:pt x="2652730" y="1078476"/>
                  <a:pt x="2650509" y="1080945"/>
                  <a:pt x="2647547" y="1080945"/>
                </a:cubicBezTo>
                <a:cubicBezTo>
                  <a:pt x="2644585" y="1080945"/>
                  <a:pt x="2642115" y="1078476"/>
                  <a:pt x="2642115" y="1075516"/>
                </a:cubicBezTo>
                <a:cubicBezTo>
                  <a:pt x="2642115" y="1072555"/>
                  <a:pt x="2644585" y="1070085"/>
                  <a:pt x="2647547" y="1070085"/>
                </a:cubicBezTo>
                <a:close/>
                <a:moveTo>
                  <a:pt x="2895862" y="1067373"/>
                </a:moveTo>
                <a:cubicBezTo>
                  <a:pt x="2904747" y="1067373"/>
                  <a:pt x="2912154" y="1074531"/>
                  <a:pt x="2912154" y="1083666"/>
                </a:cubicBezTo>
                <a:cubicBezTo>
                  <a:pt x="2911908" y="1092552"/>
                  <a:pt x="2904747" y="1099709"/>
                  <a:pt x="2895862" y="1099709"/>
                </a:cubicBezTo>
                <a:cubicBezTo>
                  <a:pt x="2886976" y="1099709"/>
                  <a:pt x="2879818" y="1092552"/>
                  <a:pt x="2879818" y="1083666"/>
                </a:cubicBezTo>
                <a:cubicBezTo>
                  <a:pt x="2879818" y="1074780"/>
                  <a:pt x="2886976" y="1067373"/>
                  <a:pt x="2895862" y="1067373"/>
                </a:cubicBezTo>
                <a:close/>
                <a:moveTo>
                  <a:pt x="1691576" y="1067355"/>
                </a:moveTo>
                <a:cubicBezTo>
                  <a:pt x="1696759" y="1067355"/>
                  <a:pt x="1700955" y="1071551"/>
                  <a:pt x="1700955" y="1076736"/>
                </a:cubicBezTo>
                <a:cubicBezTo>
                  <a:pt x="1700955" y="1081919"/>
                  <a:pt x="1696759" y="1086115"/>
                  <a:pt x="1691576" y="1086115"/>
                </a:cubicBezTo>
                <a:cubicBezTo>
                  <a:pt x="1686391" y="1086115"/>
                  <a:pt x="1682195" y="1081919"/>
                  <a:pt x="1682195" y="1076736"/>
                </a:cubicBezTo>
                <a:cubicBezTo>
                  <a:pt x="1682195" y="1071551"/>
                  <a:pt x="1686391" y="1067355"/>
                  <a:pt x="1691576" y="1067355"/>
                </a:cubicBezTo>
                <a:close/>
                <a:moveTo>
                  <a:pt x="3140721" y="1066883"/>
                </a:moveTo>
                <a:cubicBezTo>
                  <a:pt x="3153310" y="1066883"/>
                  <a:pt x="3163676" y="1077249"/>
                  <a:pt x="3163676" y="1089838"/>
                </a:cubicBezTo>
                <a:cubicBezTo>
                  <a:pt x="3163430" y="1102675"/>
                  <a:pt x="3153310" y="1112796"/>
                  <a:pt x="3140721" y="1112796"/>
                </a:cubicBezTo>
                <a:cubicBezTo>
                  <a:pt x="3128132" y="1112796"/>
                  <a:pt x="3117766" y="1102429"/>
                  <a:pt x="3117766" y="1089838"/>
                </a:cubicBezTo>
                <a:cubicBezTo>
                  <a:pt x="3117766" y="1077249"/>
                  <a:pt x="3127886" y="1066883"/>
                  <a:pt x="3140721" y="1066883"/>
                </a:cubicBezTo>
                <a:close/>
                <a:moveTo>
                  <a:pt x="283127" y="1064876"/>
                </a:moveTo>
                <a:cubicBezTo>
                  <a:pt x="284360" y="1064876"/>
                  <a:pt x="285350" y="1065863"/>
                  <a:pt x="285350" y="1067097"/>
                </a:cubicBezTo>
                <a:cubicBezTo>
                  <a:pt x="285350" y="1068331"/>
                  <a:pt x="284360" y="1069321"/>
                  <a:pt x="283127" y="1069321"/>
                </a:cubicBezTo>
                <a:cubicBezTo>
                  <a:pt x="281893" y="1069321"/>
                  <a:pt x="280906" y="1068331"/>
                  <a:pt x="280906" y="1067097"/>
                </a:cubicBezTo>
                <a:cubicBezTo>
                  <a:pt x="280906" y="1065863"/>
                  <a:pt x="281893" y="1064876"/>
                  <a:pt x="283127" y="1064876"/>
                </a:cubicBezTo>
                <a:close/>
                <a:moveTo>
                  <a:pt x="2395781" y="1063662"/>
                </a:moveTo>
                <a:cubicBezTo>
                  <a:pt x="2396027" y="1063662"/>
                  <a:pt x="2396027" y="1063908"/>
                  <a:pt x="2396027" y="1063908"/>
                </a:cubicBezTo>
                <a:cubicBezTo>
                  <a:pt x="2396027" y="1064154"/>
                  <a:pt x="2395781" y="1064154"/>
                  <a:pt x="2395781" y="1064154"/>
                </a:cubicBezTo>
                <a:cubicBezTo>
                  <a:pt x="2395532" y="1063908"/>
                  <a:pt x="2395781" y="1063662"/>
                  <a:pt x="2395781" y="1063662"/>
                </a:cubicBezTo>
                <a:close/>
                <a:moveTo>
                  <a:pt x="2127963" y="1059215"/>
                </a:moveTo>
                <a:cubicBezTo>
                  <a:pt x="2130925" y="1059215"/>
                  <a:pt x="2133146" y="1061437"/>
                  <a:pt x="2133146" y="1064399"/>
                </a:cubicBezTo>
                <a:cubicBezTo>
                  <a:pt x="2133394" y="1067361"/>
                  <a:pt x="2130925" y="1069830"/>
                  <a:pt x="2127963" y="1069830"/>
                </a:cubicBezTo>
                <a:cubicBezTo>
                  <a:pt x="2125001" y="1069830"/>
                  <a:pt x="2122780" y="1067361"/>
                  <a:pt x="2122780" y="1064399"/>
                </a:cubicBezTo>
                <a:cubicBezTo>
                  <a:pt x="2122780" y="1061437"/>
                  <a:pt x="2125250" y="1059215"/>
                  <a:pt x="2127963" y="1059215"/>
                </a:cubicBezTo>
                <a:close/>
                <a:moveTo>
                  <a:pt x="1227273" y="1056244"/>
                </a:moveTo>
                <a:cubicBezTo>
                  <a:pt x="1231468" y="1056244"/>
                  <a:pt x="1234925" y="1059698"/>
                  <a:pt x="1234925" y="1063896"/>
                </a:cubicBezTo>
                <a:cubicBezTo>
                  <a:pt x="1234925" y="1068091"/>
                  <a:pt x="1231468" y="1071546"/>
                  <a:pt x="1227273" y="1071546"/>
                </a:cubicBezTo>
                <a:cubicBezTo>
                  <a:pt x="1223075" y="1071546"/>
                  <a:pt x="1219620" y="1068091"/>
                  <a:pt x="1219620" y="1063896"/>
                </a:cubicBezTo>
                <a:cubicBezTo>
                  <a:pt x="1219620" y="1059698"/>
                  <a:pt x="1223075" y="1056244"/>
                  <a:pt x="1227273" y="1056244"/>
                </a:cubicBezTo>
                <a:close/>
                <a:moveTo>
                  <a:pt x="3391507" y="1053065"/>
                </a:moveTo>
                <a:cubicBezTo>
                  <a:pt x="3404835" y="1053065"/>
                  <a:pt x="3415696" y="1063927"/>
                  <a:pt x="3415696" y="1077254"/>
                </a:cubicBezTo>
                <a:cubicBezTo>
                  <a:pt x="3415696" y="1090582"/>
                  <a:pt x="3404835" y="1101446"/>
                  <a:pt x="3391507" y="1101446"/>
                </a:cubicBezTo>
                <a:cubicBezTo>
                  <a:pt x="3378177" y="1101446"/>
                  <a:pt x="3367316" y="1090582"/>
                  <a:pt x="3367316" y="1077254"/>
                </a:cubicBezTo>
                <a:cubicBezTo>
                  <a:pt x="3367316" y="1063927"/>
                  <a:pt x="3378177" y="1053065"/>
                  <a:pt x="3391507" y="1053065"/>
                </a:cubicBezTo>
                <a:close/>
                <a:moveTo>
                  <a:pt x="612653" y="1049080"/>
                </a:moveTo>
                <a:cubicBezTo>
                  <a:pt x="621047" y="1049080"/>
                  <a:pt x="627712" y="1055745"/>
                  <a:pt x="627712" y="1064137"/>
                </a:cubicBezTo>
                <a:cubicBezTo>
                  <a:pt x="627712" y="1072530"/>
                  <a:pt x="621047" y="1079195"/>
                  <a:pt x="612653" y="1079195"/>
                </a:cubicBezTo>
                <a:cubicBezTo>
                  <a:pt x="604262" y="1079195"/>
                  <a:pt x="597596" y="1072530"/>
                  <a:pt x="597596" y="1064137"/>
                </a:cubicBezTo>
                <a:cubicBezTo>
                  <a:pt x="597596" y="1055745"/>
                  <a:pt x="604262" y="1049080"/>
                  <a:pt x="612653" y="1049080"/>
                </a:cubicBezTo>
                <a:close/>
                <a:moveTo>
                  <a:pt x="1414870" y="1044643"/>
                </a:moveTo>
                <a:cubicBezTo>
                  <a:pt x="1415363" y="1044643"/>
                  <a:pt x="1415609" y="1044889"/>
                  <a:pt x="1415609" y="1045384"/>
                </a:cubicBezTo>
                <a:cubicBezTo>
                  <a:pt x="1415609" y="1045877"/>
                  <a:pt x="1415363" y="1046123"/>
                  <a:pt x="1414870" y="1046123"/>
                </a:cubicBezTo>
                <a:cubicBezTo>
                  <a:pt x="1414375" y="1046123"/>
                  <a:pt x="1414129" y="1045877"/>
                  <a:pt x="1414129" y="1045384"/>
                </a:cubicBezTo>
                <a:cubicBezTo>
                  <a:pt x="1414129" y="1044889"/>
                  <a:pt x="1414375" y="1044643"/>
                  <a:pt x="1414870" y="1044643"/>
                </a:cubicBezTo>
                <a:close/>
                <a:moveTo>
                  <a:pt x="1864608" y="1041194"/>
                </a:moveTo>
                <a:cubicBezTo>
                  <a:pt x="1867322" y="1041194"/>
                  <a:pt x="1869541" y="1043415"/>
                  <a:pt x="1869541" y="1046131"/>
                </a:cubicBezTo>
                <a:cubicBezTo>
                  <a:pt x="1869541" y="1048847"/>
                  <a:pt x="1867322" y="1051068"/>
                  <a:pt x="1864608" y="1051068"/>
                </a:cubicBezTo>
                <a:cubicBezTo>
                  <a:pt x="1861892" y="1051068"/>
                  <a:pt x="1859671" y="1048847"/>
                  <a:pt x="1859671" y="1046131"/>
                </a:cubicBezTo>
                <a:cubicBezTo>
                  <a:pt x="1859671" y="1043415"/>
                  <a:pt x="1861892" y="1041194"/>
                  <a:pt x="1864608" y="1041194"/>
                </a:cubicBezTo>
                <a:close/>
                <a:moveTo>
                  <a:pt x="394448" y="1030319"/>
                </a:moveTo>
                <a:cubicBezTo>
                  <a:pt x="396177" y="1030319"/>
                  <a:pt x="397656" y="1031799"/>
                  <a:pt x="397656" y="1033527"/>
                </a:cubicBezTo>
                <a:cubicBezTo>
                  <a:pt x="397905" y="1035255"/>
                  <a:pt x="396423" y="1036735"/>
                  <a:pt x="394448" y="1036735"/>
                </a:cubicBezTo>
                <a:cubicBezTo>
                  <a:pt x="392720" y="1036735"/>
                  <a:pt x="391240" y="1035255"/>
                  <a:pt x="391240" y="1033527"/>
                </a:cubicBezTo>
                <a:cubicBezTo>
                  <a:pt x="391240" y="1031799"/>
                  <a:pt x="392720" y="1030319"/>
                  <a:pt x="394448" y="1030319"/>
                </a:cubicBezTo>
                <a:close/>
                <a:moveTo>
                  <a:pt x="2290874" y="1019725"/>
                </a:moveTo>
                <a:cubicBezTo>
                  <a:pt x="2293836" y="1019725"/>
                  <a:pt x="2296057" y="1021946"/>
                  <a:pt x="2296057" y="1024907"/>
                </a:cubicBezTo>
                <a:cubicBezTo>
                  <a:pt x="2296057" y="1027870"/>
                  <a:pt x="2293590" y="1030090"/>
                  <a:pt x="2290874" y="1030090"/>
                </a:cubicBezTo>
                <a:cubicBezTo>
                  <a:pt x="2287912" y="1030090"/>
                  <a:pt x="2285691" y="1027870"/>
                  <a:pt x="2285691" y="1024907"/>
                </a:cubicBezTo>
                <a:cubicBezTo>
                  <a:pt x="2285691" y="1021946"/>
                  <a:pt x="2287912" y="1019725"/>
                  <a:pt x="2290874" y="1019725"/>
                </a:cubicBezTo>
                <a:close/>
                <a:moveTo>
                  <a:pt x="2553750" y="1018246"/>
                </a:moveTo>
                <a:cubicBezTo>
                  <a:pt x="2555230" y="1018246"/>
                  <a:pt x="2556217" y="1019480"/>
                  <a:pt x="2556217" y="1020962"/>
                </a:cubicBezTo>
                <a:cubicBezTo>
                  <a:pt x="2556217" y="1022195"/>
                  <a:pt x="2554984" y="1023429"/>
                  <a:pt x="2553750" y="1023429"/>
                </a:cubicBezTo>
                <a:cubicBezTo>
                  <a:pt x="2552268" y="1023429"/>
                  <a:pt x="2551280" y="1022195"/>
                  <a:pt x="2551280" y="1020962"/>
                </a:cubicBezTo>
                <a:cubicBezTo>
                  <a:pt x="2551280" y="1019480"/>
                  <a:pt x="2552514" y="1018246"/>
                  <a:pt x="2553750" y="1018246"/>
                </a:cubicBezTo>
                <a:close/>
                <a:moveTo>
                  <a:pt x="2801818" y="1018004"/>
                </a:moveTo>
                <a:cubicBezTo>
                  <a:pt x="2808237" y="1018004"/>
                  <a:pt x="2813420" y="1023188"/>
                  <a:pt x="2813420" y="1029360"/>
                </a:cubicBezTo>
                <a:cubicBezTo>
                  <a:pt x="2813174" y="1035776"/>
                  <a:pt x="2807991" y="1040713"/>
                  <a:pt x="2801818" y="1040713"/>
                </a:cubicBezTo>
                <a:cubicBezTo>
                  <a:pt x="2795648" y="1040713"/>
                  <a:pt x="2790465" y="1035530"/>
                  <a:pt x="2790465" y="1029360"/>
                </a:cubicBezTo>
                <a:cubicBezTo>
                  <a:pt x="2790465" y="1022941"/>
                  <a:pt x="2795648" y="1018004"/>
                  <a:pt x="2801818" y="1018004"/>
                </a:cubicBezTo>
                <a:close/>
                <a:moveTo>
                  <a:pt x="3046432" y="1017269"/>
                </a:moveTo>
                <a:cubicBezTo>
                  <a:pt x="3056554" y="1017269"/>
                  <a:pt x="3064945" y="1025413"/>
                  <a:pt x="3064945" y="1035781"/>
                </a:cubicBezTo>
                <a:cubicBezTo>
                  <a:pt x="3064945" y="1046147"/>
                  <a:pt x="3056554" y="1054295"/>
                  <a:pt x="3046432" y="1054295"/>
                </a:cubicBezTo>
                <a:cubicBezTo>
                  <a:pt x="3036312" y="1054295"/>
                  <a:pt x="3028167" y="1045901"/>
                  <a:pt x="3028167" y="1035781"/>
                </a:cubicBezTo>
                <a:cubicBezTo>
                  <a:pt x="3028167" y="1025659"/>
                  <a:pt x="3036312" y="1017269"/>
                  <a:pt x="3046432" y="1017269"/>
                </a:cubicBezTo>
                <a:close/>
                <a:moveTo>
                  <a:pt x="1117677" y="1008601"/>
                </a:moveTo>
                <a:cubicBezTo>
                  <a:pt x="1119652" y="1008601"/>
                  <a:pt x="1121381" y="1010330"/>
                  <a:pt x="1121381" y="1012305"/>
                </a:cubicBezTo>
                <a:cubicBezTo>
                  <a:pt x="1121381" y="1014526"/>
                  <a:pt x="1119652" y="1016008"/>
                  <a:pt x="1117677" y="1016008"/>
                </a:cubicBezTo>
                <a:cubicBezTo>
                  <a:pt x="1115703" y="1016008"/>
                  <a:pt x="1113974" y="1014280"/>
                  <a:pt x="1113974" y="1012305"/>
                </a:cubicBezTo>
                <a:cubicBezTo>
                  <a:pt x="1113974" y="1010330"/>
                  <a:pt x="1115703" y="1008601"/>
                  <a:pt x="1117677" y="1008601"/>
                </a:cubicBezTo>
                <a:close/>
                <a:moveTo>
                  <a:pt x="920704" y="1006874"/>
                </a:moveTo>
                <a:cubicBezTo>
                  <a:pt x="927120" y="1006874"/>
                  <a:pt x="932305" y="1012057"/>
                  <a:pt x="932305" y="1018476"/>
                </a:cubicBezTo>
                <a:cubicBezTo>
                  <a:pt x="932552" y="1024892"/>
                  <a:pt x="927120" y="1030078"/>
                  <a:pt x="920704" y="1030078"/>
                </a:cubicBezTo>
                <a:cubicBezTo>
                  <a:pt x="914285" y="1030078"/>
                  <a:pt x="909102" y="1024892"/>
                  <a:pt x="909102" y="1018476"/>
                </a:cubicBezTo>
                <a:cubicBezTo>
                  <a:pt x="909102" y="1012057"/>
                  <a:pt x="914285" y="1006874"/>
                  <a:pt x="920704" y="1006874"/>
                </a:cubicBezTo>
                <a:close/>
                <a:moveTo>
                  <a:pt x="1595061" y="1005397"/>
                </a:moveTo>
                <a:cubicBezTo>
                  <a:pt x="1603699" y="1005397"/>
                  <a:pt x="1610610" y="1012309"/>
                  <a:pt x="1610610" y="1020949"/>
                </a:cubicBezTo>
                <a:cubicBezTo>
                  <a:pt x="1610610" y="1029587"/>
                  <a:pt x="1603453" y="1036498"/>
                  <a:pt x="1595061" y="1036498"/>
                </a:cubicBezTo>
                <a:cubicBezTo>
                  <a:pt x="1586421" y="1036498"/>
                  <a:pt x="1579510" y="1029587"/>
                  <a:pt x="1579510" y="1020949"/>
                </a:cubicBezTo>
                <a:cubicBezTo>
                  <a:pt x="1579510" y="1012309"/>
                  <a:pt x="1586421" y="1005397"/>
                  <a:pt x="1595061" y="1005397"/>
                </a:cubicBezTo>
                <a:close/>
                <a:moveTo>
                  <a:pt x="2032931" y="1003922"/>
                </a:moveTo>
                <a:cubicBezTo>
                  <a:pt x="2036388" y="1003922"/>
                  <a:pt x="2039350" y="1006885"/>
                  <a:pt x="2039350" y="1010339"/>
                </a:cubicBezTo>
                <a:cubicBezTo>
                  <a:pt x="2039350" y="1013797"/>
                  <a:pt x="2036388" y="1016758"/>
                  <a:pt x="2032931" y="1016758"/>
                </a:cubicBezTo>
                <a:cubicBezTo>
                  <a:pt x="2029476" y="1016758"/>
                  <a:pt x="2026514" y="1013797"/>
                  <a:pt x="2026514" y="1010339"/>
                </a:cubicBezTo>
                <a:cubicBezTo>
                  <a:pt x="2026514" y="1006885"/>
                  <a:pt x="2029476" y="1003922"/>
                  <a:pt x="2032931" y="1003922"/>
                </a:cubicBezTo>
                <a:close/>
                <a:moveTo>
                  <a:pt x="3536149" y="997532"/>
                </a:moveTo>
                <a:cubicBezTo>
                  <a:pt x="3552196" y="997532"/>
                  <a:pt x="3565277" y="1010613"/>
                  <a:pt x="3565277" y="1026659"/>
                </a:cubicBezTo>
                <a:cubicBezTo>
                  <a:pt x="3565277" y="1042702"/>
                  <a:pt x="3552196" y="1055783"/>
                  <a:pt x="3536149" y="1055783"/>
                </a:cubicBezTo>
                <a:cubicBezTo>
                  <a:pt x="3520106" y="1055783"/>
                  <a:pt x="3507024" y="1042702"/>
                  <a:pt x="3507024" y="1026659"/>
                </a:cubicBezTo>
                <a:cubicBezTo>
                  <a:pt x="3507024" y="1010613"/>
                  <a:pt x="3520106" y="997532"/>
                  <a:pt x="3536149" y="997532"/>
                </a:cubicBezTo>
                <a:close/>
                <a:moveTo>
                  <a:pt x="716816" y="994779"/>
                </a:moveTo>
                <a:cubicBezTo>
                  <a:pt x="726767" y="994779"/>
                  <a:pt x="734834" y="1002846"/>
                  <a:pt x="734834" y="1012798"/>
                </a:cubicBezTo>
                <a:cubicBezTo>
                  <a:pt x="734834" y="1022749"/>
                  <a:pt x="726767" y="1030816"/>
                  <a:pt x="716816" y="1030816"/>
                </a:cubicBezTo>
                <a:cubicBezTo>
                  <a:pt x="706865" y="1030816"/>
                  <a:pt x="698798" y="1022749"/>
                  <a:pt x="698798" y="1012798"/>
                </a:cubicBezTo>
                <a:cubicBezTo>
                  <a:pt x="698798" y="1002846"/>
                  <a:pt x="706865" y="994779"/>
                  <a:pt x="716816" y="994779"/>
                </a:cubicBezTo>
                <a:close/>
                <a:moveTo>
                  <a:pt x="3297216" y="994565"/>
                </a:moveTo>
                <a:cubicBezTo>
                  <a:pt x="3312767" y="994565"/>
                  <a:pt x="3325357" y="1007153"/>
                  <a:pt x="3325357" y="1022704"/>
                </a:cubicBezTo>
                <a:cubicBezTo>
                  <a:pt x="3325603" y="1038254"/>
                  <a:pt x="3312767" y="1050842"/>
                  <a:pt x="3297216" y="1050842"/>
                </a:cubicBezTo>
                <a:cubicBezTo>
                  <a:pt x="3281667" y="1050842"/>
                  <a:pt x="3269078" y="1038254"/>
                  <a:pt x="3269078" y="1022704"/>
                </a:cubicBezTo>
                <a:cubicBezTo>
                  <a:pt x="3269078" y="1007153"/>
                  <a:pt x="3281667" y="994565"/>
                  <a:pt x="3297216" y="994565"/>
                </a:cubicBezTo>
                <a:close/>
                <a:moveTo>
                  <a:pt x="503551" y="986138"/>
                </a:moveTo>
                <a:cubicBezTo>
                  <a:pt x="507254" y="986138"/>
                  <a:pt x="510462" y="989100"/>
                  <a:pt x="510462" y="993049"/>
                </a:cubicBezTo>
                <a:cubicBezTo>
                  <a:pt x="510462" y="996753"/>
                  <a:pt x="507254" y="999961"/>
                  <a:pt x="503551" y="999961"/>
                </a:cubicBezTo>
                <a:cubicBezTo>
                  <a:pt x="499847" y="999961"/>
                  <a:pt x="496639" y="996753"/>
                  <a:pt x="496639" y="993049"/>
                </a:cubicBezTo>
                <a:cubicBezTo>
                  <a:pt x="496639" y="989346"/>
                  <a:pt x="499601" y="986138"/>
                  <a:pt x="503551" y="986138"/>
                </a:cubicBezTo>
                <a:close/>
                <a:moveTo>
                  <a:pt x="54804" y="984162"/>
                </a:moveTo>
                <a:cubicBezTo>
                  <a:pt x="65170" y="984162"/>
                  <a:pt x="73317" y="992553"/>
                  <a:pt x="73317" y="1002675"/>
                </a:cubicBezTo>
                <a:cubicBezTo>
                  <a:pt x="73317" y="1012795"/>
                  <a:pt x="64924" y="1021188"/>
                  <a:pt x="54804" y="1021188"/>
                </a:cubicBezTo>
                <a:cubicBezTo>
                  <a:pt x="44436" y="1021188"/>
                  <a:pt x="36291" y="1012795"/>
                  <a:pt x="36291" y="1002675"/>
                </a:cubicBezTo>
                <a:cubicBezTo>
                  <a:pt x="36291" y="992307"/>
                  <a:pt x="44684" y="984162"/>
                  <a:pt x="54804" y="984162"/>
                </a:cubicBezTo>
                <a:close/>
                <a:moveTo>
                  <a:pt x="1316380" y="979477"/>
                </a:moveTo>
                <a:cubicBezTo>
                  <a:pt x="1321317" y="979477"/>
                  <a:pt x="1325266" y="983427"/>
                  <a:pt x="1325266" y="988364"/>
                </a:cubicBezTo>
                <a:cubicBezTo>
                  <a:pt x="1325266" y="993301"/>
                  <a:pt x="1321317" y="997250"/>
                  <a:pt x="1316380" y="997250"/>
                </a:cubicBezTo>
                <a:cubicBezTo>
                  <a:pt x="1311444" y="997250"/>
                  <a:pt x="1307494" y="993301"/>
                  <a:pt x="1307494" y="988364"/>
                </a:cubicBezTo>
                <a:cubicBezTo>
                  <a:pt x="1307494" y="983427"/>
                  <a:pt x="1311444" y="979477"/>
                  <a:pt x="1316380" y="979477"/>
                </a:cubicBezTo>
                <a:close/>
                <a:moveTo>
                  <a:pt x="1769573" y="978741"/>
                </a:moveTo>
                <a:cubicBezTo>
                  <a:pt x="1775992" y="978741"/>
                  <a:pt x="1781178" y="983925"/>
                  <a:pt x="1781178" y="990344"/>
                </a:cubicBezTo>
                <a:cubicBezTo>
                  <a:pt x="1781178" y="996760"/>
                  <a:pt x="1775992" y="1001945"/>
                  <a:pt x="1769573" y="1001945"/>
                </a:cubicBezTo>
                <a:cubicBezTo>
                  <a:pt x="1763157" y="1001945"/>
                  <a:pt x="1757974" y="996760"/>
                  <a:pt x="1757974" y="990344"/>
                </a:cubicBezTo>
                <a:cubicBezTo>
                  <a:pt x="1757974" y="983925"/>
                  <a:pt x="1763157" y="978741"/>
                  <a:pt x="1769573" y="978741"/>
                </a:cubicBezTo>
                <a:close/>
                <a:moveTo>
                  <a:pt x="2707529" y="967894"/>
                </a:moveTo>
                <a:cubicBezTo>
                  <a:pt x="2711973" y="967894"/>
                  <a:pt x="2715428" y="971597"/>
                  <a:pt x="2715428" y="975792"/>
                </a:cubicBezTo>
                <a:cubicBezTo>
                  <a:pt x="2715428" y="980236"/>
                  <a:pt x="2711725" y="983692"/>
                  <a:pt x="2707529" y="983692"/>
                </a:cubicBezTo>
                <a:cubicBezTo>
                  <a:pt x="2703085" y="983692"/>
                  <a:pt x="2699630" y="980236"/>
                  <a:pt x="2699630" y="975792"/>
                </a:cubicBezTo>
                <a:cubicBezTo>
                  <a:pt x="2699630" y="971348"/>
                  <a:pt x="2703085" y="967894"/>
                  <a:pt x="2707529" y="967894"/>
                </a:cubicBezTo>
                <a:close/>
                <a:moveTo>
                  <a:pt x="2459458" y="966409"/>
                </a:moveTo>
                <a:lnTo>
                  <a:pt x="2459704" y="966409"/>
                </a:lnTo>
                <a:lnTo>
                  <a:pt x="2459458" y="966655"/>
                </a:lnTo>
                <a:close/>
                <a:moveTo>
                  <a:pt x="1498548" y="963927"/>
                </a:moveTo>
                <a:cubicBezTo>
                  <a:pt x="1498794" y="963927"/>
                  <a:pt x="1499040" y="964174"/>
                  <a:pt x="1499040" y="964422"/>
                </a:cubicBezTo>
                <a:cubicBezTo>
                  <a:pt x="1499040" y="964668"/>
                  <a:pt x="1498794" y="964915"/>
                  <a:pt x="1498548" y="964915"/>
                </a:cubicBezTo>
                <a:cubicBezTo>
                  <a:pt x="1498299" y="964915"/>
                  <a:pt x="1498053" y="964668"/>
                  <a:pt x="1498053" y="964422"/>
                </a:cubicBezTo>
                <a:cubicBezTo>
                  <a:pt x="1498053" y="964174"/>
                  <a:pt x="1498299" y="963927"/>
                  <a:pt x="1498548" y="963927"/>
                </a:cubicBezTo>
                <a:close/>
                <a:moveTo>
                  <a:pt x="2952140" y="962961"/>
                </a:moveTo>
                <a:cubicBezTo>
                  <a:pt x="2962754" y="962961"/>
                  <a:pt x="2971148" y="971601"/>
                  <a:pt x="2971148" y="981967"/>
                </a:cubicBezTo>
                <a:cubicBezTo>
                  <a:pt x="2971148" y="992335"/>
                  <a:pt x="2962754" y="1000973"/>
                  <a:pt x="2952140" y="1000973"/>
                </a:cubicBezTo>
                <a:cubicBezTo>
                  <a:pt x="2941774" y="1000973"/>
                  <a:pt x="2933134" y="992335"/>
                  <a:pt x="2933134" y="981967"/>
                </a:cubicBezTo>
                <a:cubicBezTo>
                  <a:pt x="2933134" y="971601"/>
                  <a:pt x="2941525" y="962961"/>
                  <a:pt x="2952140" y="962961"/>
                </a:cubicBezTo>
                <a:close/>
                <a:moveTo>
                  <a:pt x="169335" y="961700"/>
                </a:moveTo>
                <a:cubicBezTo>
                  <a:pt x="180937" y="961700"/>
                  <a:pt x="190316" y="971081"/>
                  <a:pt x="190316" y="982680"/>
                </a:cubicBezTo>
                <a:cubicBezTo>
                  <a:pt x="190316" y="994036"/>
                  <a:pt x="180937" y="1003414"/>
                  <a:pt x="169335" y="1003414"/>
                </a:cubicBezTo>
                <a:cubicBezTo>
                  <a:pt x="157733" y="1003414"/>
                  <a:pt x="148355" y="994036"/>
                  <a:pt x="148355" y="982680"/>
                </a:cubicBezTo>
                <a:cubicBezTo>
                  <a:pt x="148355" y="971081"/>
                  <a:pt x="157733" y="961700"/>
                  <a:pt x="169335" y="961700"/>
                </a:cubicBezTo>
                <a:close/>
                <a:moveTo>
                  <a:pt x="2196336" y="961469"/>
                </a:moveTo>
                <a:cubicBezTo>
                  <a:pt x="2201521" y="961469"/>
                  <a:pt x="2205717" y="965665"/>
                  <a:pt x="2205717" y="970848"/>
                </a:cubicBezTo>
                <a:cubicBezTo>
                  <a:pt x="2205717" y="976033"/>
                  <a:pt x="2201521" y="980229"/>
                  <a:pt x="2196336" y="980229"/>
                </a:cubicBezTo>
                <a:cubicBezTo>
                  <a:pt x="2191153" y="980229"/>
                  <a:pt x="2186957" y="976033"/>
                  <a:pt x="2186957" y="970848"/>
                </a:cubicBezTo>
                <a:cubicBezTo>
                  <a:pt x="2186957" y="965665"/>
                  <a:pt x="2191153" y="961469"/>
                  <a:pt x="2196336" y="961469"/>
                </a:cubicBezTo>
                <a:close/>
                <a:moveTo>
                  <a:pt x="3194037" y="960747"/>
                </a:moveTo>
                <a:cubicBezTo>
                  <a:pt x="3208355" y="960747"/>
                  <a:pt x="3219954" y="972348"/>
                  <a:pt x="3219954" y="986664"/>
                </a:cubicBezTo>
                <a:cubicBezTo>
                  <a:pt x="3219954" y="1000980"/>
                  <a:pt x="3208355" y="1012828"/>
                  <a:pt x="3194037" y="1012828"/>
                </a:cubicBezTo>
                <a:cubicBezTo>
                  <a:pt x="3179719" y="1012828"/>
                  <a:pt x="3168120" y="1001226"/>
                  <a:pt x="3168120" y="986664"/>
                </a:cubicBezTo>
                <a:cubicBezTo>
                  <a:pt x="3168120" y="972099"/>
                  <a:pt x="3179719" y="960747"/>
                  <a:pt x="3194037" y="960747"/>
                </a:cubicBezTo>
                <a:close/>
                <a:moveTo>
                  <a:pt x="1937665" y="948630"/>
                </a:moveTo>
                <a:cubicBezTo>
                  <a:pt x="1941613" y="948630"/>
                  <a:pt x="1945070" y="951838"/>
                  <a:pt x="1945070" y="956036"/>
                </a:cubicBezTo>
                <a:cubicBezTo>
                  <a:pt x="1945070" y="959982"/>
                  <a:pt x="1941862" y="963439"/>
                  <a:pt x="1937665" y="963439"/>
                </a:cubicBezTo>
                <a:cubicBezTo>
                  <a:pt x="1933470" y="963439"/>
                  <a:pt x="1930263" y="960232"/>
                  <a:pt x="1930263" y="956036"/>
                </a:cubicBezTo>
                <a:cubicBezTo>
                  <a:pt x="1930263" y="952084"/>
                  <a:pt x="1933470" y="948630"/>
                  <a:pt x="1937665" y="948630"/>
                </a:cubicBezTo>
                <a:close/>
                <a:moveTo>
                  <a:pt x="3441615" y="941005"/>
                </a:moveTo>
                <a:cubicBezTo>
                  <a:pt x="3458646" y="941005"/>
                  <a:pt x="3472715" y="954828"/>
                  <a:pt x="3472715" y="972105"/>
                </a:cubicBezTo>
                <a:cubicBezTo>
                  <a:pt x="3472715" y="989388"/>
                  <a:pt x="3458892" y="1003207"/>
                  <a:pt x="3441615" y="1003207"/>
                </a:cubicBezTo>
                <a:cubicBezTo>
                  <a:pt x="3424582" y="1003207"/>
                  <a:pt x="3410513" y="989388"/>
                  <a:pt x="3410513" y="972105"/>
                </a:cubicBezTo>
                <a:cubicBezTo>
                  <a:pt x="3410513" y="955074"/>
                  <a:pt x="3424336" y="941005"/>
                  <a:pt x="3441615" y="941005"/>
                </a:cubicBezTo>
                <a:close/>
                <a:moveTo>
                  <a:pt x="817527" y="934797"/>
                </a:moveTo>
                <a:cubicBezTo>
                  <a:pt x="828880" y="934797"/>
                  <a:pt x="838261" y="944176"/>
                  <a:pt x="838261" y="955532"/>
                </a:cubicBezTo>
                <a:cubicBezTo>
                  <a:pt x="838261" y="966887"/>
                  <a:pt x="829129" y="976266"/>
                  <a:pt x="817527" y="976266"/>
                </a:cubicBezTo>
                <a:cubicBezTo>
                  <a:pt x="805925" y="976266"/>
                  <a:pt x="796792" y="966887"/>
                  <a:pt x="796792" y="955532"/>
                </a:cubicBezTo>
                <a:cubicBezTo>
                  <a:pt x="796792" y="944176"/>
                  <a:pt x="806171" y="934797"/>
                  <a:pt x="817527" y="934797"/>
                </a:cubicBezTo>
                <a:close/>
                <a:moveTo>
                  <a:pt x="1016229" y="933811"/>
                </a:moveTo>
                <a:cubicBezTo>
                  <a:pt x="1026844" y="933811"/>
                  <a:pt x="1035235" y="942451"/>
                  <a:pt x="1035235" y="952817"/>
                </a:cubicBezTo>
                <a:cubicBezTo>
                  <a:pt x="1035483" y="963185"/>
                  <a:pt x="1026844" y="971825"/>
                  <a:pt x="1016229" y="971825"/>
                </a:cubicBezTo>
                <a:cubicBezTo>
                  <a:pt x="1005615" y="971825"/>
                  <a:pt x="997224" y="963185"/>
                  <a:pt x="997224" y="952817"/>
                </a:cubicBezTo>
                <a:cubicBezTo>
                  <a:pt x="997224" y="942205"/>
                  <a:pt x="1005864" y="933811"/>
                  <a:pt x="1016229" y="933811"/>
                </a:cubicBezTo>
                <a:close/>
                <a:moveTo>
                  <a:pt x="609689" y="933809"/>
                </a:moveTo>
                <a:cubicBezTo>
                  <a:pt x="616106" y="933809"/>
                  <a:pt x="621537" y="938991"/>
                  <a:pt x="621537" y="945411"/>
                </a:cubicBezTo>
                <a:cubicBezTo>
                  <a:pt x="621291" y="952076"/>
                  <a:pt x="616106" y="957258"/>
                  <a:pt x="609689" y="957258"/>
                </a:cubicBezTo>
                <a:cubicBezTo>
                  <a:pt x="603270" y="957258"/>
                  <a:pt x="598087" y="952076"/>
                  <a:pt x="598087" y="945411"/>
                </a:cubicBezTo>
                <a:cubicBezTo>
                  <a:pt x="598087" y="938991"/>
                  <a:pt x="603270" y="933809"/>
                  <a:pt x="609689" y="933809"/>
                </a:cubicBezTo>
                <a:close/>
                <a:moveTo>
                  <a:pt x="1207525" y="932825"/>
                </a:moveTo>
                <a:cubicBezTo>
                  <a:pt x="1210980" y="932825"/>
                  <a:pt x="1213941" y="935786"/>
                  <a:pt x="1213941" y="939241"/>
                </a:cubicBezTo>
                <a:cubicBezTo>
                  <a:pt x="1213941" y="942944"/>
                  <a:pt x="1210980" y="945660"/>
                  <a:pt x="1207525" y="945660"/>
                </a:cubicBezTo>
                <a:cubicBezTo>
                  <a:pt x="1204068" y="945660"/>
                  <a:pt x="1201106" y="942698"/>
                  <a:pt x="1201106" y="939241"/>
                </a:cubicBezTo>
                <a:cubicBezTo>
                  <a:pt x="1201106" y="935786"/>
                  <a:pt x="1204068" y="932825"/>
                  <a:pt x="1207525" y="932825"/>
                </a:cubicBezTo>
                <a:close/>
                <a:moveTo>
                  <a:pt x="282384" y="930351"/>
                </a:moveTo>
                <a:cubicBezTo>
                  <a:pt x="295715" y="930351"/>
                  <a:pt x="306576" y="941212"/>
                  <a:pt x="306576" y="954542"/>
                </a:cubicBezTo>
                <a:cubicBezTo>
                  <a:pt x="306576" y="967870"/>
                  <a:pt x="295715" y="978731"/>
                  <a:pt x="282384" y="978731"/>
                </a:cubicBezTo>
                <a:cubicBezTo>
                  <a:pt x="269056" y="978731"/>
                  <a:pt x="258196" y="967870"/>
                  <a:pt x="258196" y="954542"/>
                </a:cubicBezTo>
                <a:cubicBezTo>
                  <a:pt x="258196" y="941212"/>
                  <a:pt x="269056" y="930351"/>
                  <a:pt x="282384" y="930351"/>
                </a:cubicBezTo>
                <a:close/>
                <a:moveTo>
                  <a:pt x="2355051" y="919756"/>
                </a:moveTo>
                <a:cubicBezTo>
                  <a:pt x="2359988" y="919756"/>
                  <a:pt x="2363937" y="923705"/>
                  <a:pt x="2363937" y="928642"/>
                </a:cubicBezTo>
                <a:cubicBezTo>
                  <a:pt x="2364183" y="933578"/>
                  <a:pt x="2359988" y="937530"/>
                  <a:pt x="2355051" y="937530"/>
                </a:cubicBezTo>
                <a:cubicBezTo>
                  <a:pt x="2350114" y="937530"/>
                  <a:pt x="2346165" y="933578"/>
                  <a:pt x="2346165" y="928642"/>
                </a:cubicBezTo>
                <a:cubicBezTo>
                  <a:pt x="2346165" y="923705"/>
                  <a:pt x="2350114" y="919756"/>
                  <a:pt x="2355051" y="919756"/>
                </a:cubicBezTo>
                <a:close/>
                <a:moveTo>
                  <a:pt x="1673803" y="918757"/>
                </a:moveTo>
                <a:cubicBezTo>
                  <a:pt x="1682935" y="918757"/>
                  <a:pt x="1690092" y="925915"/>
                  <a:pt x="1690092" y="935049"/>
                </a:cubicBezTo>
                <a:cubicBezTo>
                  <a:pt x="1689847" y="943936"/>
                  <a:pt x="1682688" y="951340"/>
                  <a:pt x="1673803" y="951340"/>
                </a:cubicBezTo>
                <a:cubicBezTo>
                  <a:pt x="1664916" y="951340"/>
                  <a:pt x="1657510" y="944182"/>
                  <a:pt x="1657510" y="935049"/>
                </a:cubicBezTo>
                <a:cubicBezTo>
                  <a:pt x="1657510" y="926164"/>
                  <a:pt x="1664668" y="918757"/>
                  <a:pt x="1673803" y="918757"/>
                </a:cubicBezTo>
                <a:close/>
                <a:moveTo>
                  <a:pt x="2613731" y="915069"/>
                </a:moveTo>
                <a:cubicBezTo>
                  <a:pt x="2616939" y="915069"/>
                  <a:pt x="2619655" y="917785"/>
                  <a:pt x="2619655" y="920994"/>
                </a:cubicBezTo>
                <a:cubicBezTo>
                  <a:pt x="2619655" y="924201"/>
                  <a:pt x="2616939" y="926918"/>
                  <a:pt x="2613731" y="926918"/>
                </a:cubicBezTo>
                <a:cubicBezTo>
                  <a:pt x="2610523" y="926918"/>
                  <a:pt x="2607807" y="924201"/>
                  <a:pt x="2607807" y="920994"/>
                </a:cubicBezTo>
                <a:cubicBezTo>
                  <a:pt x="2607807" y="917785"/>
                  <a:pt x="2610523" y="915069"/>
                  <a:pt x="2613731" y="915069"/>
                </a:cubicBezTo>
                <a:close/>
                <a:moveTo>
                  <a:pt x="3099748" y="913102"/>
                </a:moveTo>
                <a:cubicBezTo>
                  <a:pt x="3110609" y="913102"/>
                  <a:pt x="3119495" y="921990"/>
                  <a:pt x="3119495" y="932851"/>
                </a:cubicBezTo>
                <a:cubicBezTo>
                  <a:pt x="3119495" y="943712"/>
                  <a:pt x="3110609" y="952599"/>
                  <a:pt x="3099748" y="952599"/>
                </a:cubicBezTo>
                <a:cubicBezTo>
                  <a:pt x="3088887" y="952599"/>
                  <a:pt x="3080001" y="943712"/>
                  <a:pt x="3080001" y="932851"/>
                </a:cubicBezTo>
                <a:cubicBezTo>
                  <a:pt x="3080001" y="921990"/>
                  <a:pt x="3088887" y="913102"/>
                  <a:pt x="3099748" y="913102"/>
                </a:cubicBezTo>
                <a:close/>
                <a:moveTo>
                  <a:pt x="2858096" y="910382"/>
                </a:moveTo>
                <a:cubicBezTo>
                  <a:pt x="2867477" y="910382"/>
                  <a:pt x="2875376" y="918035"/>
                  <a:pt x="2875376" y="927660"/>
                </a:cubicBezTo>
                <a:cubicBezTo>
                  <a:pt x="2875376" y="937289"/>
                  <a:pt x="2867723" y="944940"/>
                  <a:pt x="2858096" y="944940"/>
                </a:cubicBezTo>
                <a:cubicBezTo>
                  <a:pt x="2848718" y="944940"/>
                  <a:pt x="2840819" y="937289"/>
                  <a:pt x="2840819" y="927660"/>
                </a:cubicBezTo>
                <a:cubicBezTo>
                  <a:pt x="2840819" y="918281"/>
                  <a:pt x="2848472" y="910382"/>
                  <a:pt x="2858096" y="910382"/>
                </a:cubicBezTo>
                <a:close/>
                <a:moveTo>
                  <a:pt x="2101551" y="907164"/>
                </a:moveTo>
                <a:cubicBezTo>
                  <a:pt x="2106980" y="907164"/>
                  <a:pt x="2111425" y="911607"/>
                  <a:pt x="2111425" y="916790"/>
                </a:cubicBezTo>
                <a:cubicBezTo>
                  <a:pt x="2111425" y="922219"/>
                  <a:pt x="2106980" y="926664"/>
                  <a:pt x="2101551" y="926664"/>
                </a:cubicBezTo>
                <a:cubicBezTo>
                  <a:pt x="2096120" y="926664"/>
                  <a:pt x="2091678" y="922219"/>
                  <a:pt x="2091678" y="916790"/>
                </a:cubicBezTo>
                <a:cubicBezTo>
                  <a:pt x="2091678" y="911358"/>
                  <a:pt x="2096120" y="907164"/>
                  <a:pt x="2101551" y="907164"/>
                </a:cubicBezTo>
                <a:close/>
                <a:moveTo>
                  <a:pt x="1401289" y="898270"/>
                </a:moveTo>
                <a:cubicBezTo>
                  <a:pt x="1406967" y="898270"/>
                  <a:pt x="1411411" y="902715"/>
                  <a:pt x="1411411" y="908389"/>
                </a:cubicBezTo>
                <a:cubicBezTo>
                  <a:pt x="1411411" y="914066"/>
                  <a:pt x="1406967" y="918511"/>
                  <a:pt x="1401289" y="918511"/>
                </a:cubicBezTo>
                <a:cubicBezTo>
                  <a:pt x="1395614" y="918511"/>
                  <a:pt x="1391170" y="914066"/>
                  <a:pt x="1391170" y="908389"/>
                </a:cubicBezTo>
                <a:cubicBezTo>
                  <a:pt x="1391170" y="902715"/>
                  <a:pt x="1395614" y="898270"/>
                  <a:pt x="1401289" y="898270"/>
                </a:cubicBezTo>
                <a:close/>
                <a:moveTo>
                  <a:pt x="393460" y="891353"/>
                </a:moveTo>
                <a:cubicBezTo>
                  <a:pt x="409011" y="891353"/>
                  <a:pt x="421352" y="903942"/>
                  <a:pt x="421352" y="919244"/>
                </a:cubicBezTo>
                <a:cubicBezTo>
                  <a:pt x="421352" y="934549"/>
                  <a:pt x="408765" y="947138"/>
                  <a:pt x="393460" y="947138"/>
                </a:cubicBezTo>
                <a:cubicBezTo>
                  <a:pt x="378158" y="947138"/>
                  <a:pt x="365569" y="934549"/>
                  <a:pt x="365569" y="919244"/>
                </a:cubicBezTo>
                <a:cubicBezTo>
                  <a:pt x="365569" y="903942"/>
                  <a:pt x="378158" y="891353"/>
                  <a:pt x="393460" y="891353"/>
                </a:cubicBezTo>
                <a:close/>
                <a:moveTo>
                  <a:pt x="54064" y="887402"/>
                </a:moveTo>
                <a:cubicBezTo>
                  <a:pt x="57026" y="887402"/>
                  <a:pt x="59493" y="889869"/>
                  <a:pt x="59493" y="893080"/>
                </a:cubicBezTo>
                <a:cubicBezTo>
                  <a:pt x="59740" y="896042"/>
                  <a:pt x="57273" y="898509"/>
                  <a:pt x="54064" y="898509"/>
                </a:cubicBezTo>
                <a:cubicBezTo>
                  <a:pt x="51103" y="898509"/>
                  <a:pt x="48633" y="896042"/>
                  <a:pt x="48633" y="893080"/>
                </a:cubicBezTo>
                <a:cubicBezTo>
                  <a:pt x="48633" y="890118"/>
                  <a:pt x="51103" y="887402"/>
                  <a:pt x="54064" y="887402"/>
                </a:cubicBezTo>
                <a:close/>
                <a:moveTo>
                  <a:pt x="3347324" y="885957"/>
                </a:moveTo>
                <a:cubicBezTo>
                  <a:pt x="3364604" y="885957"/>
                  <a:pt x="3378673" y="900026"/>
                  <a:pt x="3378673" y="917551"/>
                </a:cubicBezTo>
                <a:cubicBezTo>
                  <a:pt x="3378673" y="935076"/>
                  <a:pt x="3364604" y="949147"/>
                  <a:pt x="3347324" y="949147"/>
                </a:cubicBezTo>
                <a:cubicBezTo>
                  <a:pt x="3330047" y="949147"/>
                  <a:pt x="3315729" y="935076"/>
                  <a:pt x="3315729" y="917551"/>
                </a:cubicBezTo>
                <a:cubicBezTo>
                  <a:pt x="3315729" y="900026"/>
                  <a:pt x="3329798" y="885957"/>
                  <a:pt x="3347324" y="885957"/>
                </a:cubicBezTo>
                <a:close/>
                <a:moveTo>
                  <a:pt x="1843380" y="885685"/>
                </a:moveTo>
                <a:cubicBezTo>
                  <a:pt x="1851281" y="885685"/>
                  <a:pt x="1857941" y="892102"/>
                  <a:pt x="1857941" y="900249"/>
                </a:cubicBezTo>
                <a:cubicBezTo>
                  <a:pt x="1857941" y="908394"/>
                  <a:pt x="1851281" y="914811"/>
                  <a:pt x="1843380" y="914811"/>
                </a:cubicBezTo>
                <a:cubicBezTo>
                  <a:pt x="1835479" y="914811"/>
                  <a:pt x="1828815" y="908394"/>
                  <a:pt x="1828815" y="900249"/>
                </a:cubicBezTo>
                <a:cubicBezTo>
                  <a:pt x="1828815" y="892351"/>
                  <a:pt x="1835229" y="885685"/>
                  <a:pt x="1843380" y="885685"/>
                </a:cubicBezTo>
                <a:close/>
                <a:moveTo>
                  <a:pt x="3583544" y="883987"/>
                </a:moveTo>
                <a:cubicBezTo>
                  <a:pt x="3603290" y="883987"/>
                  <a:pt x="3619583" y="900031"/>
                  <a:pt x="3619583" y="920022"/>
                </a:cubicBezTo>
                <a:cubicBezTo>
                  <a:pt x="3619583" y="940019"/>
                  <a:pt x="3603290" y="956063"/>
                  <a:pt x="3583544" y="956063"/>
                </a:cubicBezTo>
                <a:cubicBezTo>
                  <a:pt x="3563799" y="956063"/>
                  <a:pt x="3547507" y="940019"/>
                  <a:pt x="3547507" y="920022"/>
                </a:cubicBezTo>
                <a:cubicBezTo>
                  <a:pt x="3547507" y="900278"/>
                  <a:pt x="3563551" y="883987"/>
                  <a:pt x="3583544" y="883987"/>
                </a:cubicBezTo>
                <a:close/>
                <a:moveTo>
                  <a:pt x="1578029" y="879265"/>
                </a:moveTo>
                <a:lnTo>
                  <a:pt x="1578275" y="879265"/>
                </a:lnTo>
                <a:lnTo>
                  <a:pt x="1578523" y="879265"/>
                </a:lnTo>
                <a:lnTo>
                  <a:pt x="1578275" y="879511"/>
                </a:lnTo>
                <a:close/>
                <a:moveTo>
                  <a:pt x="712373" y="874815"/>
                </a:moveTo>
                <a:cubicBezTo>
                  <a:pt x="721506" y="874815"/>
                  <a:pt x="728912" y="882222"/>
                  <a:pt x="728912" y="891354"/>
                </a:cubicBezTo>
                <a:cubicBezTo>
                  <a:pt x="728912" y="900486"/>
                  <a:pt x="721506" y="907890"/>
                  <a:pt x="712373" y="907890"/>
                </a:cubicBezTo>
                <a:cubicBezTo>
                  <a:pt x="703241" y="907890"/>
                  <a:pt x="695834" y="900486"/>
                  <a:pt x="695834" y="891354"/>
                </a:cubicBezTo>
                <a:cubicBezTo>
                  <a:pt x="695834" y="882222"/>
                  <a:pt x="703241" y="874815"/>
                  <a:pt x="712373" y="874815"/>
                </a:cubicBezTo>
                <a:close/>
                <a:moveTo>
                  <a:pt x="168842" y="871110"/>
                </a:moveTo>
                <a:cubicBezTo>
                  <a:pt x="169088" y="871110"/>
                  <a:pt x="169335" y="871356"/>
                  <a:pt x="169335" y="871605"/>
                </a:cubicBezTo>
                <a:cubicBezTo>
                  <a:pt x="169335" y="871851"/>
                  <a:pt x="169088" y="872098"/>
                  <a:pt x="168842" y="872098"/>
                </a:cubicBezTo>
                <a:cubicBezTo>
                  <a:pt x="168593" y="872098"/>
                  <a:pt x="168347" y="871851"/>
                  <a:pt x="168347" y="871605"/>
                </a:cubicBezTo>
                <a:cubicBezTo>
                  <a:pt x="168347" y="871356"/>
                  <a:pt x="168593" y="871110"/>
                  <a:pt x="168842" y="871110"/>
                </a:cubicBezTo>
                <a:close/>
                <a:moveTo>
                  <a:pt x="914779" y="868151"/>
                </a:moveTo>
                <a:cubicBezTo>
                  <a:pt x="927861" y="868151"/>
                  <a:pt x="938475" y="878766"/>
                  <a:pt x="938475" y="891848"/>
                </a:cubicBezTo>
                <a:cubicBezTo>
                  <a:pt x="938475" y="904929"/>
                  <a:pt x="927861" y="915543"/>
                  <a:pt x="914779" y="915543"/>
                </a:cubicBezTo>
                <a:cubicBezTo>
                  <a:pt x="901697" y="915543"/>
                  <a:pt x="891083" y="904929"/>
                  <a:pt x="891083" y="891848"/>
                </a:cubicBezTo>
                <a:cubicBezTo>
                  <a:pt x="891083" y="878766"/>
                  <a:pt x="901697" y="868151"/>
                  <a:pt x="914779" y="868151"/>
                </a:cubicBezTo>
                <a:close/>
                <a:moveTo>
                  <a:pt x="2519686" y="865206"/>
                </a:moveTo>
                <a:cubicBezTo>
                  <a:pt x="2520427" y="865206"/>
                  <a:pt x="2521168" y="865947"/>
                  <a:pt x="2521168" y="866686"/>
                </a:cubicBezTo>
                <a:cubicBezTo>
                  <a:pt x="2521168" y="867426"/>
                  <a:pt x="2520427" y="868167"/>
                  <a:pt x="2519686" y="868167"/>
                </a:cubicBezTo>
                <a:cubicBezTo>
                  <a:pt x="2518947" y="868167"/>
                  <a:pt x="2518206" y="867426"/>
                  <a:pt x="2518206" y="866686"/>
                </a:cubicBezTo>
                <a:cubicBezTo>
                  <a:pt x="2518206" y="865947"/>
                  <a:pt x="2518947" y="865206"/>
                  <a:pt x="2519686" y="865206"/>
                </a:cubicBezTo>
                <a:close/>
                <a:moveTo>
                  <a:pt x="2763807" y="861262"/>
                </a:moveTo>
                <a:cubicBezTo>
                  <a:pt x="2770964" y="861262"/>
                  <a:pt x="2776642" y="867184"/>
                  <a:pt x="2776642" y="874096"/>
                </a:cubicBezTo>
                <a:cubicBezTo>
                  <a:pt x="2776642" y="881008"/>
                  <a:pt x="2770964" y="886932"/>
                  <a:pt x="2763807" y="886932"/>
                </a:cubicBezTo>
                <a:cubicBezTo>
                  <a:pt x="2756649" y="886932"/>
                  <a:pt x="2750725" y="881008"/>
                  <a:pt x="2750725" y="874096"/>
                </a:cubicBezTo>
                <a:cubicBezTo>
                  <a:pt x="2750725" y="866938"/>
                  <a:pt x="2756649" y="861262"/>
                  <a:pt x="2763807" y="861262"/>
                </a:cubicBezTo>
                <a:close/>
                <a:moveTo>
                  <a:pt x="2261008" y="860020"/>
                </a:moveTo>
                <a:cubicBezTo>
                  <a:pt x="2268904" y="860020"/>
                  <a:pt x="2275323" y="866435"/>
                  <a:pt x="2275323" y="874337"/>
                </a:cubicBezTo>
                <a:cubicBezTo>
                  <a:pt x="2275323" y="882233"/>
                  <a:pt x="2268904" y="888652"/>
                  <a:pt x="2261008" y="888652"/>
                </a:cubicBezTo>
                <a:cubicBezTo>
                  <a:pt x="2253109" y="888652"/>
                  <a:pt x="2246690" y="882233"/>
                  <a:pt x="2246690" y="874337"/>
                </a:cubicBezTo>
                <a:cubicBezTo>
                  <a:pt x="2246690" y="866435"/>
                  <a:pt x="2253109" y="860020"/>
                  <a:pt x="2261008" y="860020"/>
                </a:cubicBezTo>
                <a:close/>
                <a:moveTo>
                  <a:pt x="1107800" y="855563"/>
                </a:moveTo>
                <a:cubicBezTo>
                  <a:pt x="1122118" y="855563"/>
                  <a:pt x="1133720" y="867165"/>
                  <a:pt x="1133720" y="881480"/>
                </a:cubicBezTo>
                <a:cubicBezTo>
                  <a:pt x="1133720" y="895798"/>
                  <a:pt x="1122118" y="907400"/>
                  <a:pt x="1107800" y="907400"/>
                </a:cubicBezTo>
                <a:cubicBezTo>
                  <a:pt x="1093485" y="907400"/>
                  <a:pt x="1081883" y="895798"/>
                  <a:pt x="1081883" y="881480"/>
                </a:cubicBezTo>
                <a:cubicBezTo>
                  <a:pt x="1081883" y="867165"/>
                  <a:pt x="1093485" y="855563"/>
                  <a:pt x="1107800" y="855563"/>
                </a:cubicBezTo>
                <a:close/>
                <a:moveTo>
                  <a:pt x="3005456" y="854605"/>
                </a:moveTo>
                <a:cubicBezTo>
                  <a:pt x="3018786" y="854605"/>
                  <a:pt x="3029401" y="865464"/>
                  <a:pt x="3029401" y="878546"/>
                </a:cubicBezTo>
                <a:cubicBezTo>
                  <a:pt x="3029401" y="891630"/>
                  <a:pt x="3018540" y="902493"/>
                  <a:pt x="3005456" y="902493"/>
                </a:cubicBezTo>
                <a:cubicBezTo>
                  <a:pt x="2992128" y="902493"/>
                  <a:pt x="2981513" y="891630"/>
                  <a:pt x="2981513" y="878546"/>
                </a:cubicBezTo>
                <a:cubicBezTo>
                  <a:pt x="2981513" y="865464"/>
                  <a:pt x="2992374" y="854605"/>
                  <a:pt x="3005456" y="854605"/>
                </a:cubicBezTo>
                <a:close/>
                <a:moveTo>
                  <a:pt x="2007014" y="852858"/>
                </a:moveTo>
                <a:cubicBezTo>
                  <a:pt x="2012445" y="852858"/>
                  <a:pt x="2016887" y="857303"/>
                  <a:pt x="2016887" y="862732"/>
                </a:cubicBezTo>
                <a:cubicBezTo>
                  <a:pt x="2016887" y="868163"/>
                  <a:pt x="2012445" y="872605"/>
                  <a:pt x="2007014" y="872605"/>
                </a:cubicBezTo>
                <a:cubicBezTo>
                  <a:pt x="2001584" y="872605"/>
                  <a:pt x="1997140" y="868163"/>
                  <a:pt x="1997140" y="862732"/>
                </a:cubicBezTo>
                <a:cubicBezTo>
                  <a:pt x="1997140" y="857303"/>
                  <a:pt x="2001584" y="852858"/>
                  <a:pt x="2007014" y="852858"/>
                </a:cubicBezTo>
                <a:close/>
                <a:moveTo>
                  <a:pt x="1293424" y="852604"/>
                </a:moveTo>
                <a:cubicBezTo>
                  <a:pt x="1298607" y="852604"/>
                  <a:pt x="1302803" y="856800"/>
                  <a:pt x="1302803" y="861986"/>
                </a:cubicBezTo>
                <a:cubicBezTo>
                  <a:pt x="1303049" y="867168"/>
                  <a:pt x="1298853" y="871364"/>
                  <a:pt x="1293424" y="871364"/>
                </a:cubicBezTo>
                <a:cubicBezTo>
                  <a:pt x="1288239" y="871364"/>
                  <a:pt x="1284043" y="867168"/>
                  <a:pt x="1284043" y="861986"/>
                </a:cubicBezTo>
                <a:cubicBezTo>
                  <a:pt x="1284043" y="856800"/>
                  <a:pt x="1288239" y="852604"/>
                  <a:pt x="1293424" y="852604"/>
                </a:cubicBezTo>
                <a:close/>
                <a:moveTo>
                  <a:pt x="3244148" y="849917"/>
                </a:moveTo>
                <a:cubicBezTo>
                  <a:pt x="3261920" y="849917"/>
                  <a:pt x="3276481" y="864481"/>
                  <a:pt x="3276481" y="882253"/>
                </a:cubicBezTo>
                <a:cubicBezTo>
                  <a:pt x="3276235" y="900025"/>
                  <a:pt x="3261920" y="914583"/>
                  <a:pt x="3244148" y="914583"/>
                </a:cubicBezTo>
                <a:cubicBezTo>
                  <a:pt x="3226376" y="914583"/>
                  <a:pt x="3211812" y="900025"/>
                  <a:pt x="3211812" y="882253"/>
                </a:cubicBezTo>
                <a:cubicBezTo>
                  <a:pt x="3211812" y="864481"/>
                  <a:pt x="3226376" y="849917"/>
                  <a:pt x="3244148" y="849917"/>
                </a:cubicBezTo>
                <a:close/>
                <a:moveTo>
                  <a:pt x="501572" y="843960"/>
                </a:moveTo>
                <a:cubicBezTo>
                  <a:pt x="519098" y="843960"/>
                  <a:pt x="533413" y="858278"/>
                  <a:pt x="533413" y="875801"/>
                </a:cubicBezTo>
                <a:cubicBezTo>
                  <a:pt x="533413" y="893573"/>
                  <a:pt x="519098" y="907645"/>
                  <a:pt x="501572" y="907645"/>
                </a:cubicBezTo>
                <a:cubicBezTo>
                  <a:pt x="484047" y="907645"/>
                  <a:pt x="469731" y="893327"/>
                  <a:pt x="469731" y="875801"/>
                </a:cubicBezTo>
                <a:cubicBezTo>
                  <a:pt x="469731" y="858278"/>
                  <a:pt x="484047" y="843960"/>
                  <a:pt x="501572" y="843960"/>
                </a:cubicBezTo>
                <a:close/>
                <a:moveTo>
                  <a:pt x="281642" y="839515"/>
                </a:moveTo>
                <a:cubicBezTo>
                  <a:pt x="282878" y="839515"/>
                  <a:pt x="284111" y="840503"/>
                  <a:pt x="284111" y="841736"/>
                </a:cubicBezTo>
                <a:cubicBezTo>
                  <a:pt x="284111" y="842970"/>
                  <a:pt x="282878" y="844206"/>
                  <a:pt x="281642" y="844206"/>
                </a:cubicBezTo>
                <a:cubicBezTo>
                  <a:pt x="280408" y="844206"/>
                  <a:pt x="279175" y="843218"/>
                  <a:pt x="279175" y="841736"/>
                </a:cubicBezTo>
                <a:cubicBezTo>
                  <a:pt x="279175" y="840503"/>
                  <a:pt x="280162" y="839515"/>
                  <a:pt x="281642" y="839515"/>
                </a:cubicBezTo>
                <a:close/>
                <a:moveTo>
                  <a:pt x="1748346" y="828910"/>
                </a:moveTo>
                <a:cubicBezTo>
                  <a:pt x="1757724" y="828910"/>
                  <a:pt x="1765376" y="836562"/>
                  <a:pt x="1765376" y="845695"/>
                </a:cubicBezTo>
                <a:cubicBezTo>
                  <a:pt x="1765376" y="855073"/>
                  <a:pt x="1757724" y="862726"/>
                  <a:pt x="1748346" y="862726"/>
                </a:cubicBezTo>
                <a:cubicBezTo>
                  <a:pt x="1738967" y="862726"/>
                  <a:pt x="1731560" y="855073"/>
                  <a:pt x="1731560" y="845695"/>
                </a:cubicBezTo>
                <a:cubicBezTo>
                  <a:pt x="1731560" y="836316"/>
                  <a:pt x="1739214" y="828910"/>
                  <a:pt x="1748346" y="828910"/>
                </a:cubicBezTo>
                <a:close/>
                <a:moveTo>
                  <a:pt x="3488759" y="827955"/>
                </a:moveTo>
                <a:cubicBezTo>
                  <a:pt x="3509742" y="827955"/>
                  <a:pt x="3526524" y="844988"/>
                  <a:pt x="3526524" y="865720"/>
                </a:cubicBezTo>
                <a:cubicBezTo>
                  <a:pt x="3526524" y="886455"/>
                  <a:pt x="3509742" y="903488"/>
                  <a:pt x="3488759" y="903488"/>
                </a:cubicBezTo>
                <a:cubicBezTo>
                  <a:pt x="3468025" y="903488"/>
                  <a:pt x="3450994" y="886455"/>
                  <a:pt x="3450994" y="865720"/>
                </a:cubicBezTo>
                <a:cubicBezTo>
                  <a:pt x="3450994" y="844741"/>
                  <a:pt x="3468025" y="827955"/>
                  <a:pt x="3488759" y="827955"/>
                </a:cubicBezTo>
                <a:close/>
                <a:moveTo>
                  <a:pt x="2415772" y="816087"/>
                </a:moveTo>
                <a:cubicBezTo>
                  <a:pt x="2423176" y="816087"/>
                  <a:pt x="2429349" y="822257"/>
                  <a:pt x="2429349" y="829663"/>
                </a:cubicBezTo>
                <a:cubicBezTo>
                  <a:pt x="2429349" y="837067"/>
                  <a:pt x="2423176" y="843238"/>
                  <a:pt x="2415772" y="843238"/>
                </a:cubicBezTo>
                <a:cubicBezTo>
                  <a:pt x="2408365" y="843238"/>
                  <a:pt x="2402195" y="837067"/>
                  <a:pt x="2402195" y="829663"/>
                </a:cubicBezTo>
                <a:cubicBezTo>
                  <a:pt x="2402195" y="822257"/>
                  <a:pt x="2408365" y="816087"/>
                  <a:pt x="2415772" y="816087"/>
                </a:cubicBezTo>
                <a:close/>
                <a:moveTo>
                  <a:pt x="1482008" y="812618"/>
                </a:moveTo>
                <a:cubicBezTo>
                  <a:pt x="1488425" y="812618"/>
                  <a:pt x="1493361" y="817801"/>
                  <a:pt x="1493361" y="824220"/>
                </a:cubicBezTo>
                <a:cubicBezTo>
                  <a:pt x="1493361" y="830389"/>
                  <a:pt x="1488178" y="835573"/>
                  <a:pt x="1482008" y="835573"/>
                </a:cubicBezTo>
                <a:cubicBezTo>
                  <a:pt x="1475589" y="835573"/>
                  <a:pt x="1470652" y="830389"/>
                  <a:pt x="1470652" y="824220"/>
                </a:cubicBezTo>
                <a:cubicBezTo>
                  <a:pt x="1470652" y="817801"/>
                  <a:pt x="1475835" y="812618"/>
                  <a:pt x="1482008" y="812618"/>
                </a:cubicBezTo>
                <a:close/>
                <a:moveTo>
                  <a:pt x="811602" y="809156"/>
                </a:moveTo>
                <a:cubicBezTo>
                  <a:pt x="823450" y="809156"/>
                  <a:pt x="833074" y="818783"/>
                  <a:pt x="833074" y="830632"/>
                </a:cubicBezTo>
                <a:cubicBezTo>
                  <a:pt x="833074" y="842480"/>
                  <a:pt x="823450" y="852107"/>
                  <a:pt x="811602" y="852107"/>
                </a:cubicBezTo>
                <a:cubicBezTo>
                  <a:pt x="799754" y="852107"/>
                  <a:pt x="790126" y="842480"/>
                  <a:pt x="790126" y="830632"/>
                </a:cubicBezTo>
                <a:cubicBezTo>
                  <a:pt x="790126" y="818783"/>
                  <a:pt x="799754" y="809156"/>
                  <a:pt x="811602" y="809156"/>
                </a:cubicBezTo>
                <a:close/>
                <a:moveTo>
                  <a:pt x="2166470" y="806949"/>
                </a:moveTo>
                <a:cubicBezTo>
                  <a:pt x="2173874" y="806949"/>
                  <a:pt x="2180044" y="813119"/>
                  <a:pt x="2180044" y="820524"/>
                </a:cubicBezTo>
                <a:cubicBezTo>
                  <a:pt x="2180044" y="827928"/>
                  <a:pt x="2174120" y="834102"/>
                  <a:pt x="2166470" y="834102"/>
                </a:cubicBezTo>
                <a:cubicBezTo>
                  <a:pt x="2159063" y="834102"/>
                  <a:pt x="2152893" y="827928"/>
                  <a:pt x="2152893" y="820524"/>
                </a:cubicBezTo>
                <a:cubicBezTo>
                  <a:pt x="2152893" y="813119"/>
                  <a:pt x="2159063" y="806949"/>
                  <a:pt x="2166470" y="806949"/>
                </a:cubicBezTo>
                <a:close/>
                <a:moveTo>
                  <a:pt x="2670007" y="804737"/>
                </a:moveTo>
                <a:cubicBezTo>
                  <a:pt x="2677906" y="804737"/>
                  <a:pt x="2684325" y="811152"/>
                  <a:pt x="2684325" y="819052"/>
                </a:cubicBezTo>
                <a:cubicBezTo>
                  <a:pt x="2684325" y="826948"/>
                  <a:pt x="2677906" y="833368"/>
                  <a:pt x="2670007" y="833368"/>
                </a:cubicBezTo>
                <a:cubicBezTo>
                  <a:pt x="2662111" y="833368"/>
                  <a:pt x="2655692" y="826948"/>
                  <a:pt x="2655692" y="819052"/>
                </a:cubicBezTo>
                <a:cubicBezTo>
                  <a:pt x="2655692" y="811152"/>
                  <a:pt x="2662111" y="804737"/>
                  <a:pt x="2670007" y="804737"/>
                </a:cubicBezTo>
                <a:close/>
                <a:moveTo>
                  <a:pt x="3149610" y="801293"/>
                </a:moveTo>
                <a:cubicBezTo>
                  <a:pt x="3164174" y="801293"/>
                  <a:pt x="3176268" y="813140"/>
                  <a:pt x="3176268" y="827947"/>
                </a:cubicBezTo>
                <a:cubicBezTo>
                  <a:pt x="3176019" y="842512"/>
                  <a:pt x="3164174" y="854360"/>
                  <a:pt x="3149610" y="854360"/>
                </a:cubicBezTo>
                <a:cubicBezTo>
                  <a:pt x="3135046" y="854360"/>
                  <a:pt x="3123198" y="842512"/>
                  <a:pt x="3123198" y="827947"/>
                </a:cubicBezTo>
                <a:cubicBezTo>
                  <a:pt x="3123198" y="813386"/>
                  <a:pt x="3135046" y="801293"/>
                  <a:pt x="3149610" y="801293"/>
                </a:cubicBezTo>
                <a:close/>
                <a:moveTo>
                  <a:pt x="2911166" y="798325"/>
                </a:moveTo>
                <a:cubicBezTo>
                  <a:pt x="2925481" y="798325"/>
                  <a:pt x="2937083" y="809928"/>
                  <a:pt x="2937083" y="824240"/>
                </a:cubicBezTo>
                <a:cubicBezTo>
                  <a:pt x="2937083" y="838310"/>
                  <a:pt x="2925481" y="849911"/>
                  <a:pt x="2911166" y="849911"/>
                </a:cubicBezTo>
                <a:cubicBezTo>
                  <a:pt x="2896848" y="849911"/>
                  <a:pt x="2885495" y="838310"/>
                  <a:pt x="2885495" y="824240"/>
                </a:cubicBezTo>
                <a:cubicBezTo>
                  <a:pt x="2885495" y="809928"/>
                  <a:pt x="2897097" y="798325"/>
                  <a:pt x="2911166" y="798325"/>
                </a:cubicBezTo>
                <a:close/>
                <a:moveTo>
                  <a:pt x="1008081" y="795584"/>
                </a:moveTo>
                <a:cubicBezTo>
                  <a:pt x="1022892" y="795584"/>
                  <a:pt x="1034988" y="807678"/>
                  <a:pt x="1034988" y="822488"/>
                </a:cubicBezTo>
                <a:cubicBezTo>
                  <a:pt x="1034739" y="837544"/>
                  <a:pt x="1022892" y="849392"/>
                  <a:pt x="1008081" y="849392"/>
                </a:cubicBezTo>
                <a:cubicBezTo>
                  <a:pt x="993271" y="849392"/>
                  <a:pt x="981177" y="837298"/>
                  <a:pt x="981177" y="822488"/>
                </a:cubicBezTo>
                <a:cubicBezTo>
                  <a:pt x="981177" y="807678"/>
                  <a:pt x="993271" y="795584"/>
                  <a:pt x="1008081" y="795584"/>
                </a:cubicBezTo>
                <a:close/>
                <a:moveTo>
                  <a:pt x="391980" y="794097"/>
                </a:moveTo>
                <a:cubicBezTo>
                  <a:pt x="397163" y="794097"/>
                  <a:pt x="401605" y="798293"/>
                  <a:pt x="401605" y="803725"/>
                </a:cubicBezTo>
                <a:cubicBezTo>
                  <a:pt x="401605" y="809154"/>
                  <a:pt x="397163" y="813349"/>
                  <a:pt x="391980" y="813349"/>
                </a:cubicBezTo>
                <a:cubicBezTo>
                  <a:pt x="386797" y="813349"/>
                  <a:pt x="382353" y="809154"/>
                  <a:pt x="382353" y="803725"/>
                </a:cubicBezTo>
                <a:cubicBezTo>
                  <a:pt x="382353" y="798539"/>
                  <a:pt x="386548" y="794097"/>
                  <a:pt x="391980" y="794097"/>
                </a:cubicBezTo>
                <a:close/>
                <a:moveTo>
                  <a:pt x="1653562" y="789910"/>
                </a:moveTo>
                <a:cubicBezTo>
                  <a:pt x="1653808" y="789910"/>
                  <a:pt x="1654054" y="790156"/>
                  <a:pt x="1654054" y="790405"/>
                </a:cubicBezTo>
                <a:cubicBezTo>
                  <a:pt x="1654054" y="790651"/>
                  <a:pt x="1654054" y="790897"/>
                  <a:pt x="1653562" y="790897"/>
                </a:cubicBezTo>
                <a:cubicBezTo>
                  <a:pt x="1653314" y="790897"/>
                  <a:pt x="1653067" y="790651"/>
                  <a:pt x="1653067" y="790405"/>
                </a:cubicBezTo>
                <a:cubicBezTo>
                  <a:pt x="1653067" y="790156"/>
                  <a:pt x="1653314" y="789910"/>
                  <a:pt x="1653562" y="789910"/>
                </a:cubicBezTo>
                <a:close/>
                <a:moveTo>
                  <a:pt x="606480" y="789903"/>
                </a:moveTo>
                <a:cubicBezTo>
                  <a:pt x="625981" y="789903"/>
                  <a:pt x="642024" y="805701"/>
                  <a:pt x="642024" y="825447"/>
                </a:cubicBezTo>
                <a:cubicBezTo>
                  <a:pt x="642024" y="845194"/>
                  <a:pt x="625981" y="860991"/>
                  <a:pt x="606480" y="860991"/>
                </a:cubicBezTo>
                <a:cubicBezTo>
                  <a:pt x="586980" y="860991"/>
                  <a:pt x="570936" y="844948"/>
                  <a:pt x="570936" y="825447"/>
                </a:cubicBezTo>
                <a:cubicBezTo>
                  <a:pt x="570936" y="805947"/>
                  <a:pt x="586734" y="789903"/>
                  <a:pt x="606480" y="789903"/>
                </a:cubicBezTo>
                <a:close/>
                <a:moveTo>
                  <a:pt x="1913233" y="789667"/>
                </a:moveTo>
                <a:cubicBezTo>
                  <a:pt x="1923104" y="789667"/>
                  <a:pt x="1931001" y="797567"/>
                  <a:pt x="1931001" y="807440"/>
                </a:cubicBezTo>
                <a:cubicBezTo>
                  <a:pt x="1931001" y="817313"/>
                  <a:pt x="1923104" y="825212"/>
                  <a:pt x="1913233" y="825212"/>
                </a:cubicBezTo>
                <a:cubicBezTo>
                  <a:pt x="1903360" y="825212"/>
                  <a:pt x="1895460" y="817067"/>
                  <a:pt x="1895460" y="807440"/>
                </a:cubicBezTo>
                <a:cubicBezTo>
                  <a:pt x="1895460" y="797567"/>
                  <a:pt x="1903607" y="789667"/>
                  <a:pt x="1913233" y="789667"/>
                </a:cubicBezTo>
                <a:close/>
                <a:moveTo>
                  <a:pt x="1195181" y="773861"/>
                </a:moveTo>
                <a:cubicBezTo>
                  <a:pt x="1212459" y="773861"/>
                  <a:pt x="1226528" y="787931"/>
                  <a:pt x="1226528" y="805212"/>
                </a:cubicBezTo>
                <a:cubicBezTo>
                  <a:pt x="1226528" y="822489"/>
                  <a:pt x="1212459" y="836558"/>
                  <a:pt x="1195181" y="836558"/>
                </a:cubicBezTo>
                <a:cubicBezTo>
                  <a:pt x="1177902" y="836558"/>
                  <a:pt x="1163832" y="822489"/>
                  <a:pt x="1163832" y="805212"/>
                </a:cubicBezTo>
                <a:cubicBezTo>
                  <a:pt x="1163832" y="787931"/>
                  <a:pt x="1177902" y="773861"/>
                  <a:pt x="1195181" y="773861"/>
                </a:cubicBezTo>
                <a:close/>
                <a:moveTo>
                  <a:pt x="3394221" y="772902"/>
                </a:moveTo>
                <a:cubicBezTo>
                  <a:pt x="3414958" y="772902"/>
                  <a:pt x="3431989" y="789939"/>
                  <a:pt x="3431989" y="810921"/>
                </a:cubicBezTo>
                <a:cubicBezTo>
                  <a:pt x="3431989" y="831652"/>
                  <a:pt x="3414958" y="848687"/>
                  <a:pt x="3394221" y="848687"/>
                </a:cubicBezTo>
                <a:cubicBezTo>
                  <a:pt x="3373241" y="848687"/>
                  <a:pt x="3356210" y="831652"/>
                  <a:pt x="3356210" y="810921"/>
                </a:cubicBezTo>
                <a:cubicBezTo>
                  <a:pt x="3356210" y="789939"/>
                  <a:pt x="3373241" y="772902"/>
                  <a:pt x="3394221" y="772902"/>
                </a:cubicBezTo>
                <a:close/>
                <a:moveTo>
                  <a:pt x="3627725" y="769944"/>
                </a:moveTo>
                <a:cubicBezTo>
                  <a:pt x="3651421" y="769944"/>
                  <a:pt x="3670427" y="789202"/>
                  <a:pt x="3670427" y="812654"/>
                </a:cubicBezTo>
                <a:cubicBezTo>
                  <a:pt x="3670675" y="836349"/>
                  <a:pt x="3651421" y="855358"/>
                  <a:pt x="3627725" y="855358"/>
                </a:cubicBezTo>
                <a:cubicBezTo>
                  <a:pt x="3604029" y="855358"/>
                  <a:pt x="3585023" y="836103"/>
                  <a:pt x="3585023" y="812654"/>
                </a:cubicBezTo>
                <a:cubicBezTo>
                  <a:pt x="3585023" y="788955"/>
                  <a:pt x="3604275" y="769944"/>
                  <a:pt x="3627725" y="769944"/>
                </a:cubicBezTo>
                <a:close/>
                <a:moveTo>
                  <a:pt x="1375128" y="766951"/>
                </a:moveTo>
                <a:cubicBezTo>
                  <a:pt x="1382039" y="766951"/>
                  <a:pt x="1387715" y="772629"/>
                  <a:pt x="1387715" y="779541"/>
                </a:cubicBezTo>
                <a:cubicBezTo>
                  <a:pt x="1387715" y="786699"/>
                  <a:pt x="1382039" y="792131"/>
                  <a:pt x="1375128" y="792131"/>
                </a:cubicBezTo>
                <a:cubicBezTo>
                  <a:pt x="1368216" y="792131"/>
                  <a:pt x="1362539" y="786453"/>
                  <a:pt x="1362539" y="779541"/>
                </a:cubicBezTo>
                <a:cubicBezTo>
                  <a:pt x="1362539" y="772629"/>
                  <a:pt x="1368216" y="766951"/>
                  <a:pt x="1375128" y="766951"/>
                </a:cubicBezTo>
                <a:close/>
                <a:moveTo>
                  <a:pt x="2576212" y="758816"/>
                </a:moveTo>
                <a:cubicBezTo>
                  <a:pt x="2579420" y="758816"/>
                  <a:pt x="2582136" y="761531"/>
                  <a:pt x="2582136" y="764739"/>
                </a:cubicBezTo>
                <a:cubicBezTo>
                  <a:pt x="2582136" y="767947"/>
                  <a:pt x="2579420" y="770663"/>
                  <a:pt x="2576212" y="770663"/>
                </a:cubicBezTo>
                <a:cubicBezTo>
                  <a:pt x="2573004" y="770663"/>
                  <a:pt x="2570288" y="767947"/>
                  <a:pt x="2570288" y="764739"/>
                </a:cubicBezTo>
                <a:cubicBezTo>
                  <a:pt x="2570288" y="761531"/>
                  <a:pt x="2573004" y="758816"/>
                  <a:pt x="2576212" y="758816"/>
                </a:cubicBezTo>
                <a:close/>
                <a:moveTo>
                  <a:pt x="2321728" y="756347"/>
                </a:moveTo>
                <a:cubicBezTo>
                  <a:pt x="2332343" y="756347"/>
                  <a:pt x="2340983" y="764985"/>
                  <a:pt x="2340983" y="775600"/>
                </a:cubicBezTo>
                <a:cubicBezTo>
                  <a:pt x="2340983" y="786214"/>
                  <a:pt x="2332343" y="794855"/>
                  <a:pt x="2321728" y="794855"/>
                </a:cubicBezTo>
                <a:cubicBezTo>
                  <a:pt x="2311116" y="794855"/>
                  <a:pt x="2302476" y="786214"/>
                  <a:pt x="2302476" y="775600"/>
                </a:cubicBezTo>
                <a:cubicBezTo>
                  <a:pt x="2302476" y="764985"/>
                  <a:pt x="2311116" y="756347"/>
                  <a:pt x="2321728" y="756347"/>
                </a:cubicBezTo>
                <a:close/>
                <a:moveTo>
                  <a:pt x="54307" y="753369"/>
                </a:moveTo>
                <a:cubicBezTo>
                  <a:pt x="70599" y="753369"/>
                  <a:pt x="83927" y="766699"/>
                  <a:pt x="83927" y="782989"/>
                </a:cubicBezTo>
                <a:cubicBezTo>
                  <a:pt x="83927" y="799528"/>
                  <a:pt x="70599" y="812609"/>
                  <a:pt x="54307" y="812609"/>
                </a:cubicBezTo>
                <a:cubicBezTo>
                  <a:pt x="38017" y="812609"/>
                  <a:pt x="24687" y="799282"/>
                  <a:pt x="24687" y="782989"/>
                </a:cubicBezTo>
                <a:cubicBezTo>
                  <a:pt x="24687" y="766699"/>
                  <a:pt x="38017" y="753369"/>
                  <a:pt x="54307" y="753369"/>
                </a:cubicBezTo>
                <a:close/>
                <a:moveTo>
                  <a:pt x="2072178" y="752640"/>
                </a:moveTo>
                <a:cubicBezTo>
                  <a:pt x="2079830" y="752640"/>
                  <a:pt x="2086001" y="758810"/>
                  <a:pt x="2086001" y="766461"/>
                </a:cubicBezTo>
                <a:cubicBezTo>
                  <a:pt x="2086001" y="774115"/>
                  <a:pt x="2079830" y="780286"/>
                  <a:pt x="2072178" y="780286"/>
                </a:cubicBezTo>
                <a:cubicBezTo>
                  <a:pt x="2064525" y="780286"/>
                  <a:pt x="2058355" y="774115"/>
                  <a:pt x="2058355" y="766461"/>
                </a:cubicBezTo>
                <a:cubicBezTo>
                  <a:pt x="2058355" y="758810"/>
                  <a:pt x="2064525" y="752640"/>
                  <a:pt x="2072178" y="752640"/>
                </a:cubicBezTo>
                <a:close/>
                <a:moveTo>
                  <a:pt x="2816628" y="750431"/>
                </a:moveTo>
                <a:cubicBezTo>
                  <a:pt x="2827738" y="750431"/>
                  <a:pt x="2836621" y="759314"/>
                  <a:pt x="2836621" y="770420"/>
                </a:cubicBezTo>
                <a:cubicBezTo>
                  <a:pt x="2836621" y="781284"/>
                  <a:pt x="2827738" y="790419"/>
                  <a:pt x="2816628" y="790419"/>
                </a:cubicBezTo>
                <a:cubicBezTo>
                  <a:pt x="2805521" y="790419"/>
                  <a:pt x="2796635" y="781284"/>
                  <a:pt x="2796635" y="770420"/>
                </a:cubicBezTo>
                <a:cubicBezTo>
                  <a:pt x="2796635" y="759314"/>
                  <a:pt x="2805521" y="750431"/>
                  <a:pt x="2816628" y="750431"/>
                </a:cubicBezTo>
                <a:close/>
                <a:moveTo>
                  <a:pt x="3055072" y="743771"/>
                </a:moveTo>
                <a:cubicBezTo>
                  <a:pt x="3071610" y="743771"/>
                  <a:pt x="3084938" y="757100"/>
                  <a:pt x="3084938" y="773634"/>
                </a:cubicBezTo>
                <a:cubicBezTo>
                  <a:pt x="3084938" y="790177"/>
                  <a:pt x="3071610" y="803509"/>
                  <a:pt x="3055072" y="803509"/>
                </a:cubicBezTo>
                <a:cubicBezTo>
                  <a:pt x="3038536" y="803509"/>
                  <a:pt x="3025205" y="790177"/>
                  <a:pt x="3025205" y="773634"/>
                </a:cubicBezTo>
                <a:cubicBezTo>
                  <a:pt x="3025205" y="757100"/>
                  <a:pt x="3038536" y="743771"/>
                  <a:pt x="3055072" y="743771"/>
                </a:cubicBezTo>
                <a:close/>
                <a:moveTo>
                  <a:pt x="906632" y="737329"/>
                </a:moveTo>
                <a:cubicBezTo>
                  <a:pt x="921196" y="737329"/>
                  <a:pt x="933041" y="749176"/>
                  <a:pt x="933041" y="763740"/>
                </a:cubicBezTo>
                <a:cubicBezTo>
                  <a:pt x="933041" y="778302"/>
                  <a:pt x="921196" y="790150"/>
                  <a:pt x="906632" y="790150"/>
                </a:cubicBezTo>
                <a:cubicBezTo>
                  <a:pt x="892068" y="790150"/>
                  <a:pt x="880220" y="778302"/>
                  <a:pt x="880220" y="763740"/>
                </a:cubicBezTo>
                <a:cubicBezTo>
                  <a:pt x="880220" y="749176"/>
                  <a:pt x="892068" y="737329"/>
                  <a:pt x="906632" y="737329"/>
                </a:cubicBezTo>
                <a:close/>
                <a:moveTo>
                  <a:pt x="3291046" y="736618"/>
                </a:moveTo>
                <a:cubicBezTo>
                  <a:pt x="3312767" y="736618"/>
                  <a:pt x="3330539" y="754385"/>
                  <a:pt x="3330539" y="776109"/>
                </a:cubicBezTo>
                <a:cubicBezTo>
                  <a:pt x="3330539" y="797838"/>
                  <a:pt x="3312767" y="815609"/>
                  <a:pt x="3291046" y="815609"/>
                </a:cubicBezTo>
                <a:cubicBezTo>
                  <a:pt x="3269324" y="815609"/>
                  <a:pt x="3251552" y="797838"/>
                  <a:pt x="3251552" y="776109"/>
                </a:cubicBezTo>
                <a:cubicBezTo>
                  <a:pt x="3251552" y="754385"/>
                  <a:pt x="3269324" y="736618"/>
                  <a:pt x="3291046" y="736618"/>
                </a:cubicBezTo>
                <a:close/>
                <a:moveTo>
                  <a:pt x="1818695" y="735607"/>
                </a:moveTo>
                <a:cubicBezTo>
                  <a:pt x="1828320" y="735607"/>
                  <a:pt x="1836215" y="743506"/>
                  <a:pt x="1836215" y="753132"/>
                </a:cubicBezTo>
                <a:cubicBezTo>
                  <a:pt x="1836215" y="762758"/>
                  <a:pt x="1828320" y="770655"/>
                  <a:pt x="1818695" y="770655"/>
                </a:cubicBezTo>
                <a:cubicBezTo>
                  <a:pt x="1809066" y="770655"/>
                  <a:pt x="1801168" y="762758"/>
                  <a:pt x="1801168" y="753132"/>
                </a:cubicBezTo>
                <a:cubicBezTo>
                  <a:pt x="1801168" y="743506"/>
                  <a:pt x="1809066" y="735607"/>
                  <a:pt x="1818695" y="735607"/>
                </a:cubicBezTo>
                <a:close/>
                <a:moveTo>
                  <a:pt x="499105" y="734857"/>
                </a:moveTo>
                <a:cubicBezTo>
                  <a:pt x="511694" y="734857"/>
                  <a:pt x="522062" y="745223"/>
                  <a:pt x="522062" y="757812"/>
                </a:cubicBezTo>
                <a:cubicBezTo>
                  <a:pt x="522062" y="770401"/>
                  <a:pt x="511694" y="780769"/>
                  <a:pt x="499105" y="780769"/>
                </a:cubicBezTo>
                <a:cubicBezTo>
                  <a:pt x="486515" y="780769"/>
                  <a:pt x="476150" y="770401"/>
                  <a:pt x="476150" y="757812"/>
                </a:cubicBezTo>
                <a:cubicBezTo>
                  <a:pt x="476150" y="745223"/>
                  <a:pt x="486515" y="734857"/>
                  <a:pt x="499105" y="734857"/>
                </a:cubicBezTo>
                <a:close/>
                <a:moveTo>
                  <a:pt x="707681" y="728688"/>
                </a:moveTo>
                <a:cubicBezTo>
                  <a:pt x="729402" y="728688"/>
                  <a:pt x="746928" y="746213"/>
                  <a:pt x="746928" y="767935"/>
                </a:cubicBezTo>
                <a:cubicBezTo>
                  <a:pt x="746928" y="789657"/>
                  <a:pt x="729156" y="807183"/>
                  <a:pt x="707681" y="807183"/>
                </a:cubicBezTo>
                <a:cubicBezTo>
                  <a:pt x="685959" y="807183"/>
                  <a:pt x="668433" y="789657"/>
                  <a:pt x="668433" y="767935"/>
                </a:cubicBezTo>
                <a:cubicBezTo>
                  <a:pt x="668433" y="746460"/>
                  <a:pt x="685959" y="728688"/>
                  <a:pt x="707681" y="728688"/>
                </a:cubicBezTo>
                <a:close/>
                <a:moveTo>
                  <a:pt x="168839" y="724244"/>
                </a:moveTo>
                <a:cubicBezTo>
                  <a:pt x="188585" y="724244"/>
                  <a:pt x="204632" y="740288"/>
                  <a:pt x="204632" y="760034"/>
                </a:cubicBezTo>
                <a:cubicBezTo>
                  <a:pt x="204632" y="779781"/>
                  <a:pt x="188585" y="796074"/>
                  <a:pt x="168839" y="796074"/>
                </a:cubicBezTo>
                <a:cubicBezTo>
                  <a:pt x="149092" y="796074"/>
                  <a:pt x="133048" y="780027"/>
                  <a:pt x="133048" y="760034"/>
                </a:cubicBezTo>
                <a:cubicBezTo>
                  <a:pt x="133048" y="740288"/>
                  <a:pt x="149092" y="724244"/>
                  <a:pt x="168839" y="724244"/>
                </a:cubicBezTo>
                <a:close/>
                <a:moveTo>
                  <a:pt x="1558281" y="723016"/>
                </a:moveTo>
                <a:cubicBezTo>
                  <a:pt x="1565438" y="723016"/>
                  <a:pt x="1571116" y="728694"/>
                  <a:pt x="1571116" y="735851"/>
                </a:cubicBezTo>
                <a:cubicBezTo>
                  <a:pt x="1570870" y="743008"/>
                  <a:pt x="1565192" y="748686"/>
                  <a:pt x="1558281" y="748686"/>
                </a:cubicBezTo>
                <a:cubicBezTo>
                  <a:pt x="1551123" y="748686"/>
                  <a:pt x="1545445" y="743008"/>
                  <a:pt x="1545445" y="735851"/>
                </a:cubicBezTo>
                <a:cubicBezTo>
                  <a:pt x="1545445" y="728694"/>
                  <a:pt x="1551123" y="723016"/>
                  <a:pt x="1558281" y="723016"/>
                </a:cubicBezTo>
                <a:close/>
                <a:moveTo>
                  <a:pt x="1096942" y="717829"/>
                </a:moveTo>
                <a:cubicBezTo>
                  <a:pt x="1113478" y="717829"/>
                  <a:pt x="1127054" y="731406"/>
                  <a:pt x="1127054" y="747944"/>
                </a:cubicBezTo>
                <a:cubicBezTo>
                  <a:pt x="1127054" y="764479"/>
                  <a:pt x="1113478" y="778056"/>
                  <a:pt x="1096942" y="778056"/>
                </a:cubicBezTo>
                <a:cubicBezTo>
                  <a:pt x="1080403" y="778056"/>
                  <a:pt x="1066827" y="764479"/>
                  <a:pt x="1066827" y="747944"/>
                </a:cubicBezTo>
                <a:cubicBezTo>
                  <a:pt x="1066827" y="731406"/>
                  <a:pt x="1080403" y="717829"/>
                  <a:pt x="1096942" y="717829"/>
                </a:cubicBezTo>
                <a:close/>
                <a:moveTo>
                  <a:pt x="3532695" y="713177"/>
                </a:moveTo>
                <a:cubicBezTo>
                  <a:pt x="3557378" y="713177"/>
                  <a:pt x="3577371" y="733167"/>
                  <a:pt x="3577371" y="757847"/>
                </a:cubicBezTo>
                <a:cubicBezTo>
                  <a:pt x="3577371" y="782532"/>
                  <a:pt x="3557378" y="802536"/>
                  <a:pt x="3532695" y="802536"/>
                </a:cubicBezTo>
                <a:cubicBezTo>
                  <a:pt x="3508011" y="802536"/>
                  <a:pt x="3488018" y="782532"/>
                  <a:pt x="3488018" y="757847"/>
                </a:cubicBezTo>
                <a:cubicBezTo>
                  <a:pt x="3488018" y="733167"/>
                  <a:pt x="3508011" y="713177"/>
                  <a:pt x="3532695" y="713177"/>
                </a:cubicBezTo>
                <a:close/>
                <a:moveTo>
                  <a:pt x="2472295" y="710193"/>
                </a:moveTo>
                <a:cubicBezTo>
                  <a:pt x="2482661" y="710193"/>
                  <a:pt x="2490809" y="718584"/>
                  <a:pt x="2490809" y="728706"/>
                </a:cubicBezTo>
                <a:cubicBezTo>
                  <a:pt x="2491055" y="738824"/>
                  <a:pt x="2482661" y="747218"/>
                  <a:pt x="2472295" y="747218"/>
                </a:cubicBezTo>
                <a:cubicBezTo>
                  <a:pt x="2461927" y="747218"/>
                  <a:pt x="2453782" y="738824"/>
                  <a:pt x="2453782" y="728706"/>
                </a:cubicBezTo>
                <a:cubicBezTo>
                  <a:pt x="2453782" y="718338"/>
                  <a:pt x="2462173" y="710193"/>
                  <a:pt x="2472295" y="710193"/>
                </a:cubicBezTo>
                <a:close/>
                <a:moveTo>
                  <a:pt x="2227436" y="704759"/>
                </a:moveTo>
                <a:cubicBezTo>
                  <a:pt x="2236817" y="704759"/>
                  <a:pt x="2244470" y="712412"/>
                  <a:pt x="2244470" y="721791"/>
                </a:cubicBezTo>
                <a:cubicBezTo>
                  <a:pt x="2244470" y="731172"/>
                  <a:pt x="2236817" y="738823"/>
                  <a:pt x="2227436" y="738823"/>
                </a:cubicBezTo>
                <a:cubicBezTo>
                  <a:pt x="2218058" y="738823"/>
                  <a:pt x="2210405" y="731172"/>
                  <a:pt x="2210405" y="721791"/>
                </a:cubicBezTo>
                <a:cubicBezTo>
                  <a:pt x="2210405" y="712412"/>
                  <a:pt x="2218058" y="704759"/>
                  <a:pt x="2227436" y="704759"/>
                </a:cubicBezTo>
                <a:close/>
                <a:moveTo>
                  <a:pt x="1724647" y="695620"/>
                </a:moveTo>
                <a:cubicBezTo>
                  <a:pt x="1725881" y="695620"/>
                  <a:pt x="1726868" y="696607"/>
                  <a:pt x="1726868" y="697841"/>
                </a:cubicBezTo>
                <a:cubicBezTo>
                  <a:pt x="1726868" y="699075"/>
                  <a:pt x="1725881" y="700062"/>
                  <a:pt x="1724647" y="700062"/>
                </a:cubicBezTo>
                <a:cubicBezTo>
                  <a:pt x="1723414" y="700062"/>
                  <a:pt x="1722427" y="699075"/>
                  <a:pt x="1722427" y="697841"/>
                </a:cubicBezTo>
                <a:cubicBezTo>
                  <a:pt x="1722427" y="696607"/>
                  <a:pt x="1723414" y="695620"/>
                  <a:pt x="1724647" y="695620"/>
                </a:cubicBezTo>
                <a:close/>
                <a:moveTo>
                  <a:pt x="2722830" y="690697"/>
                </a:moveTo>
                <a:cubicBezTo>
                  <a:pt x="2736161" y="690697"/>
                  <a:pt x="2747268" y="701558"/>
                  <a:pt x="2747268" y="715135"/>
                </a:cubicBezTo>
                <a:cubicBezTo>
                  <a:pt x="2747268" y="728710"/>
                  <a:pt x="2736161" y="739568"/>
                  <a:pt x="2722830" y="739568"/>
                </a:cubicBezTo>
                <a:cubicBezTo>
                  <a:pt x="2709500" y="739568"/>
                  <a:pt x="2698393" y="728710"/>
                  <a:pt x="2698393" y="715135"/>
                </a:cubicBezTo>
                <a:cubicBezTo>
                  <a:pt x="2698393" y="701805"/>
                  <a:pt x="2709254" y="690697"/>
                  <a:pt x="2722830" y="690697"/>
                </a:cubicBezTo>
                <a:close/>
                <a:moveTo>
                  <a:pt x="1978629" y="689697"/>
                </a:moveTo>
                <a:cubicBezTo>
                  <a:pt x="1990724" y="689697"/>
                  <a:pt x="2000597" y="699570"/>
                  <a:pt x="2000597" y="711419"/>
                </a:cubicBezTo>
                <a:cubicBezTo>
                  <a:pt x="2000597" y="723267"/>
                  <a:pt x="1990724" y="733140"/>
                  <a:pt x="1978629" y="733140"/>
                </a:cubicBezTo>
                <a:cubicBezTo>
                  <a:pt x="1966538" y="733140"/>
                  <a:pt x="1956918" y="723267"/>
                  <a:pt x="1956918" y="711419"/>
                </a:cubicBezTo>
                <a:cubicBezTo>
                  <a:pt x="1956918" y="699324"/>
                  <a:pt x="1966784" y="689697"/>
                  <a:pt x="1978629" y="689697"/>
                </a:cubicBezTo>
                <a:close/>
                <a:moveTo>
                  <a:pt x="1278118" y="687469"/>
                </a:moveTo>
                <a:cubicBezTo>
                  <a:pt x="1298359" y="687469"/>
                  <a:pt x="1314895" y="704007"/>
                  <a:pt x="1314895" y="724247"/>
                </a:cubicBezTo>
                <a:cubicBezTo>
                  <a:pt x="1314895" y="744488"/>
                  <a:pt x="1298359" y="761023"/>
                  <a:pt x="1278118" y="761023"/>
                </a:cubicBezTo>
                <a:cubicBezTo>
                  <a:pt x="1257878" y="761023"/>
                  <a:pt x="1241340" y="744488"/>
                  <a:pt x="1241340" y="724247"/>
                </a:cubicBezTo>
                <a:cubicBezTo>
                  <a:pt x="1241340" y="704007"/>
                  <a:pt x="1257878" y="687469"/>
                  <a:pt x="1278118" y="687469"/>
                </a:cubicBezTo>
                <a:close/>
                <a:moveTo>
                  <a:pt x="281149" y="686971"/>
                </a:moveTo>
                <a:cubicBezTo>
                  <a:pt x="303857" y="686971"/>
                  <a:pt x="322371" y="705484"/>
                  <a:pt x="322371" y="728193"/>
                </a:cubicBezTo>
                <a:cubicBezTo>
                  <a:pt x="322371" y="750902"/>
                  <a:pt x="303857" y="769414"/>
                  <a:pt x="281149" y="769414"/>
                </a:cubicBezTo>
                <a:cubicBezTo>
                  <a:pt x="258440" y="769414"/>
                  <a:pt x="239927" y="750902"/>
                  <a:pt x="239927" y="728193"/>
                </a:cubicBezTo>
                <a:cubicBezTo>
                  <a:pt x="239927" y="705484"/>
                  <a:pt x="258440" y="686971"/>
                  <a:pt x="281149" y="686971"/>
                </a:cubicBezTo>
                <a:close/>
                <a:moveTo>
                  <a:pt x="3196012" y="684780"/>
                </a:moveTo>
                <a:cubicBezTo>
                  <a:pt x="3216253" y="684780"/>
                  <a:pt x="3232792" y="701318"/>
                  <a:pt x="3232792" y="721559"/>
                </a:cubicBezTo>
                <a:cubicBezTo>
                  <a:pt x="3232792" y="741799"/>
                  <a:pt x="3216253" y="758331"/>
                  <a:pt x="3196012" y="758331"/>
                </a:cubicBezTo>
                <a:cubicBezTo>
                  <a:pt x="3175773" y="758331"/>
                  <a:pt x="3159234" y="741799"/>
                  <a:pt x="3159234" y="721559"/>
                </a:cubicBezTo>
                <a:cubicBezTo>
                  <a:pt x="3159234" y="701318"/>
                  <a:pt x="3175773" y="684780"/>
                  <a:pt x="3196012" y="684780"/>
                </a:cubicBezTo>
                <a:close/>
                <a:moveTo>
                  <a:pt x="2960533" y="683791"/>
                </a:moveTo>
                <a:cubicBezTo>
                  <a:pt x="2980034" y="683791"/>
                  <a:pt x="2995831" y="699587"/>
                  <a:pt x="2995831" y="719090"/>
                </a:cubicBezTo>
                <a:cubicBezTo>
                  <a:pt x="2996077" y="738338"/>
                  <a:pt x="2980034" y="754381"/>
                  <a:pt x="2960533" y="754381"/>
                </a:cubicBezTo>
                <a:cubicBezTo>
                  <a:pt x="2941033" y="754381"/>
                  <a:pt x="2925235" y="738586"/>
                  <a:pt x="2925235" y="719090"/>
                </a:cubicBezTo>
                <a:cubicBezTo>
                  <a:pt x="2925235" y="699587"/>
                  <a:pt x="2941033" y="683791"/>
                  <a:pt x="2960533" y="683791"/>
                </a:cubicBezTo>
                <a:close/>
                <a:moveTo>
                  <a:pt x="1452386" y="677845"/>
                </a:moveTo>
                <a:cubicBezTo>
                  <a:pt x="1461024" y="677845"/>
                  <a:pt x="1467935" y="684757"/>
                  <a:pt x="1467935" y="693396"/>
                </a:cubicBezTo>
                <a:cubicBezTo>
                  <a:pt x="1467935" y="702034"/>
                  <a:pt x="1461024" y="708945"/>
                  <a:pt x="1452386" y="708945"/>
                </a:cubicBezTo>
                <a:cubicBezTo>
                  <a:pt x="1443746" y="708945"/>
                  <a:pt x="1436835" y="702034"/>
                  <a:pt x="1436835" y="693396"/>
                </a:cubicBezTo>
                <a:cubicBezTo>
                  <a:pt x="1436835" y="684757"/>
                  <a:pt x="1443746" y="677845"/>
                  <a:pt x="1452386" y="677845"/>
                </a:cubicBezTo>
                <a:close/>
                <a:moveTo>
                  <a:pt x="602530" y="670188"/>
                </a:moveTo>
                <a:cubicBezTo>
                  <a:pt x="621043" y="670188"/>
                  <a:pt x="636348" y="685244"/>
                  <a:pt x="636348" y="704004"/>
                </a:cubicBezTo>
                <a:cubicBezTo>
                  <a:pt x="636348" y="722763"/>
                  <a:pt x="621289" y="737819"/>
                  <a:pt x="602530" y="737819"/>
                </a:cubicBezTo>
                <a:cubicBezTo>
                  <a:pt x="584017" y="737819"/>
                  <a:pt x="568715" y="722763"/>
                  <a:pt x="568715" y="704004"/>
                </a:cubicBezTo>
                <a:cubicBezTo>
                  <a:pt x="568715" y="685490"/>
                  <a:pt x="583771" y="670188"/>
                  <a:pt x="602530" y="670188"/>
                </a:cubicBezTo>
                <a:close/>
                <a:moveTo>
                  <a:pt x="804686" y="661056"/>
                </a:moveTo>
                <a:cubicBezTo>
                  <a:pt x="828271" y="661056"/>
                  <a:pt x="847387" y="680176"/>
                  <a:pt x="847387" y="703757"/>
                </a:cubicBezTo>
                <a:cubicBezTo>
                  <a:pt x="847387" y="727342"/>
                  <a:pt x="828271" y="746459"/>
                  <a:pt x="804686" y="746459"/>
                </a:cubicBezTo>
                <a:cubicBezTo>
                  <a:pt x="781101" y="746459"/>
                  <a:pt x="761985" y="727342"/>
                  <a:pt x="761985" y="703757"/>
                </a:cubicBezTo>
                <a:cubicBezTo>
                  <a:pt x="761985" y="680176"/>
                  <a:pt x="781104" y="661056"/>
                  <a:pt x="804686" y="661056"/>
                </a:cubicBezTo>
                <a:close/>
                <a:moveTo>
                  <a:pt x="3437664" y="658126"/>
                </a:moveTo>
                <a:cubicBezTo>
                  <a:pt x="3462347" y="658126"/>
                  <a:pt x="3482340" y="678119"/>
                  <a:pt x="3482340" y="702803"/>
                </a:cubicBezTo>
                <a:cubicBezTo>
                  <a:pt x="3482340" y="727489"/>
                  <a:pt x="3462347" y="747479"/>
                  <a:pt x="3437664" y="747479"/>
                </a:cubicBezTo>
                <a:cubicBezTo>
                  <a:pt x="3412980" y="747479"/>
                  <a:pt x="3392987" y="727489"/>
                  <a:pt x="3392987" y="702803"/>
                </a:cubicBezTo>
                <a:cubicBezTo>
                  <a:pt x="3392987" y="678119"/>
                  <a:pt x="3412980" y="658126"/>
                  <a:pt x="3437664" y="658126"/>
                </a:cubicBezTo>
                <a:close/>
                <a:moveTo>
                  <a:pt x="997219" y="658093"/>
                </a:moveTo>
                <a:cubicBezTo>
                  <a:pt x="1015238" y="658093"/>
                  <a:pt x="1030050" y="672903"/>
                  <a:pt x="1030050" y="690921"/>
                </a:cubicBezTo>
                <a:cubicBezTo>
                  <a:pt x="1030050" y="708940"/>
                  <a:pt x="1015486" y="723753"/>
                  <a:pt x="997219" y="723753"/>
                </a:cubicBezTo>
                <a:cubicBezTo>
                  <a:pt x="979201" y="723753"/>
                  <a:pt x="964391" y="708940"/>
                  <a:pt x="964391" y="690921"/>
                </a:cubicBezTo>
                <a:cubicBezTo>
                  <a:pt x="964391" y="672903"/>
                  <a:pt x="979201" y="658093"/>
                  <a:pt x="997219" y="658093"/>
                </a:cubicBezTo>
                <a:close/>
                <a:moveTo>
                  <a:pt x="3668947" y="655170"/>
                </a:moveTo>
                <a:cubicBezTo>
                  <a:pt x="3695852" y="655170"/>
                  <a:pt x="3717576" y="676892"/>
                  <a:pt x="3717576" y="703797"/>
                </a:cubicBezTo>
                <a:cubicBezTo>
                  <a:pt x="3717576" y="730703"/>
                  <a:pt x="3695852" y="752423"/>
                  <a:pt x="3668947" y="752423"/>
                </a:cubicBezTo>
                <a:cubicBezTo>
                  <a:pt x="3642043" y="752423"/>
                  <a:pt x="3620321" y="730703"/>
                  <a:pt x="3620321" y="703797"/>
                </a:cubicBezTo>
                <a:cubicBezTo>
                  <a:pt x="3620321" y="676892"/>
                  <a:pt x="3642043" y="655170"/>
                  <a:pt x="3668947" y="655170"/>
                </a:cubicBezTo>
                <a:close/>
                <a:moveTo>
                  <a:pt x="2378255" y="650211"/>
                </a:moveTo>
                <a:cubicBezTo>
                  <a:pt x="2391583" y="650211"/>
                  <a:pt x="2402444" y="661071"/>
                  <a:pt x="2402444" y="674399"/>
                </a:cubicBezTo>
                <a:cubicBezTo>
                  <a:pt x="2402690" y="687484"/>
                  <a:pt x="2391829" y="698590"/>
                  <a:pt x="2378255" y="698590"/>
                </a:cubicBezTo>
                <a:cubicBezTo>
                  <a:pt x="2364925" y="698590"/>
                  <a:pt x="2354064" y="687730"/>
                  <a:pt x="2354064" y="674399"/>
                </a:cubicBezTo>
                <a:cubicBezTo>
                  <a:pt x="2354064" y="661071"/>
                  <a:pt x="2364925" y="650211"/>
                  <a:pt x="2378255" y="650211"/>
                </a:cubicBezTo>
                <a:close/>
                <a:moveTo>
                  <a:pt x="2133392" y="649712"/>
                </a:moveTo>
                <a:cubicBezTo>
                  <a:pt x="2143019" y="649712"/>
                  <a:pt x="2151164" y="657611"/>
                  <a:pt x="2151164" y="667484"/>
                </a:cubicBezTo>
                <a:cubicBezTo>
                  <a:pt x="2150918" y="677357"/>
                  <a:pt x="2143019" y="685256"/>
                  <a:pt x="2133392" y="685256"/>
                </a:cubicBezTo>
                <a:cubicBezTo>
                  <a:pt x="2123519" y="685256"/>
                  <a:pt x="2115620" y="677357"/>
                  <a:pt x="2115620" y="667484"/>
                </a:cubicBezTo>
                <a:cubicBezTo>
                  <a:pt x="2115620" y="657857"/>
                  <a:pt x="2123519" y="649712"/>
                  <a:pt x="2133392" y="649712"/>
                </a:cubicBezTo>
                <a:close/>
                <a:moveTo>
                  <a:pt x="2628541" y="643796"/>
                </a:moveTo>
                <a:cubicBezTo>
                  <a:pt x="2637920" y="643796"/>
                  <a:pt x="2645326" y="651448"/>
                  <a:pt x="2645326" y="660580"/>
                </a:cubicBezTo>
                <a:cubicBezTo>
                  <a:pt x="2645572" y="669959"/>
                  <a:pt x="2637920" y="677366"/>
                  <a:pt x="2628541" y="677366"/>
                </a:cubicBezTo>
                <a:cubicBezTo>
                  <a:pt x="2619160" y="677366"/>
                  <a:pt x="2611756" y="669712"/>
                  <a:pt x="2611756" y="660580"/>
                </a:cubicBezTo>
                <a:cubicBezTo>
                  <a:pt x="2611756" y="651202"/>
                  <a:pt x="2619409" y="643796"/>
                  <a:pt x="2628541" y="643796"/>
                </a:cubicBezTo>
                <a:close/>
                <a:moveTo>
                  <a:pt x="390743" y="641554"/>
                </a:moveTo>
                <a:cubicBezTo>
                  <a:pt x="415921" y="641554"/>
                  <a:pt x="436406" y="662042"/>
                  <a:pt x="436406" y="687218"/>
                </a:cubicBezTo>
                <a:cubicBezTo>
                  <a:pt x="436406" y="712397"/>
                  <a:pt x="415921" y="732882"/>
                  <a:pt x="390743" y="732882"/>
                </a:cubicBezTo>
                <a:cubicBezTo>
                  <a:pt x="365567" y="732882"/>
                  <a:pt x="345079" y="712397"/>
                  <a:pt x="345079" y="687218"/>
                </a:cubicBezTo>
                <a:cubicBezTo>
                  <a:pt x="345079" y="662042"/>
                  <a:pt x="365567" y="641554"/>
                  <a:pt x="390743" y="641554"/>
                </a:cubicBezTo>
                <a:close/>
                <a:moveTo>
                  <a:pt x="1884598" y="638357"/>
                </a:moveTo>
                <a:cubicBezTo>
                  <a:pt x="1894821" y="638357"/>
                  <a:pt x="1903110" y="646644"/>
                  <a:pt x="1903110" y="656869"/>
                </a:cubicBezTo>
                <a:cubicBezTo>
                  <a:pt x="1903110" y="667093"/>
                  <a:pt x="1894821" y="675380"/>
                  <a:pt x="1884598" y="675380"/>
                </a:cubicBezTo>
                <a:cubicBezTo>
                  <a:pt x="1874372" y="675380"/>
                  <a:pt x="1866084" y="667093"/>
                  <a:pt x="1866084" y="656869"/>
                </a:cubicBezTo>
                <a:cubicBezTo>
                  <a:pt x="1866084" y="646644"/>
                  <a:pt x="1874372" y="638357"/>
                  <a:pt x="1884598" y="638357"/>
                </a:cubicBezTo>
                <a:close/>
                <a:moveTo>
                  <a:pt x="2865995" y="636147"/>
                </a:moveTo>
                <a:cubicBezTo>
                  <a:pt x="2881793" y="636147"/>
                  <a:pt x="2894628" y="648982"/>
                  <a:pt x="2894628" y="664779"/>
                </a:cubicBezTo>
                <a:cubicBezTo>
                  <a:pt x="2894382" y="680578"/>
                  <a:pt x="2881793" y="693412"/>
                  <a:pt x="2865995" y="693412"/>
                </a:cubicBezTo>
                <a:cubicBezTo>
                  <a:pt x="2850198" y="693412"/>
                  <a:pt x="2837362" y="680578"/>
                  <a:pt x="2837362" y="664779"/>
                </a:cubicBezTo>
                <a:cubicBezTo>
                  <a:pt x="2837362" y="648982"/>
                  <a:pt x="2850198" y="636147"/>
                  <a:pt x="2865995" y="636147"/>
                </a:cubicBezTo>
                <a:close/>
                <a:moveTo>
                  <a:pt x="1181112" y="634893"/>
                </a:moveTo>
                <a:cubicBezTo>
                  <a:pt x="1199625" y="634893"/>
                  <a:pt x="1214436" y="649703"/>
                  <a:pt x="1214436" y="668216"/>
                </a:cubicBezTo>
                <a:cubicBezTo>
                  <a:pt x="1214436" y="686481"/>
                  <a:pt x="1199625" y="701540"/>
                  <a:pt x="1181112" y="701540"/>
                </a:cubicBezTo>
                <a:cubicBezTo>
                  <a:pt x="1162845" y="701540"/>
                  <a:pt x="1147789" y="686730"/>
                  <a:pt x="1147789" y="668216"/>
                </a:cubicBezTo>
                <a:cubicBezTo>
                  <a:pt x="1147789" y="649949"/>
                  <a:pt x="1162599" y="634893"/>
                  <a:pt x="1181112" y="634893"/>
                </a:cubicBezTo>
                <a:close/>
                <a:moveTo>
                  <a:pt x="3101230" y="629983"/>
                </a:moveTo>
                <a:cubicBezTo>
                  <a:pt x="3121716" y="629983"/>
                  <a:pt x="3138254" y="646520"/>
                  <a:pt x="3138254" y="667007"/>
                </a:cubicBezTo>
                <a:cubicBezTo>
                  <a:pt x="3138254" y="687493"/>
                  <a:pt x="3121716" y="704031"/>
                  <a:pt x="3101230" y="704031"/>
                </a:cubicBezTo>
                <a:cubicBezTo>
                  <a:pt x="3080743" y="704031"/>
                  <a:pt x="3064204" y="687493"/>
                  <a:pt x="3064204" y="667007"/>
                </a:cubicBezTo>
                <a:cubicBezTo>
                  <a:pt x="3064204" y="646520"/>
                  <a:pt x="3080743" y="629983"/>
                  <a:pt x="3101230" y="629983"/>
                </a:cubicBezTo>
                <a:close/>
                <a:moveTo>
                  <a:pt x="1629864" y="628727"/>
                </a:moveTo>
                <a:cubicBezTo>
                  <a:pt x="1638255" y="628727"/>
                  <a:pt x="1644920" y="635638"/>
                  <a:pt x="1644920" y="643783"/>
                </a:cubicBezTo>
                <a:cubicBezTo>
                  <a:pt x="1644920" y="652177"/>
                  <a:pt x="1638255" y="658842"/>
                  <a:pt x="1629864" y="658842"/>
                </a:cubicBezTo>
                <a:cubicBezTo>
                  <a:pt x="1621470" y="658842"/>
                  <a:pt x="1614558" y="651930"/>
                  <a:pt x="1614558" y="643783"/>
                </a:cubicBezTo>
                <a:cubicBezTo>
                  <a:pt x="1614558" y="635392"/>
                  <a:pt x="1621470" y="628727"/>
                  <a:pt x="1629864" y="628727"/>
                </a:cubicBezTo>
                <a:close/>
                <a:moveTo>
                  <a:pt x="51098" y="625261"/>
                </a:moveTo>
                <a:cubicBezTo>
                  <a:pt x="77756" y="625261"/>
                  <a:pt x="99477" y="646983"/>
                  <a:pt x="99477" y="673641"/>
                </a:cubicBezTo>
                <a:cubicBezTo>
                  <a:pt x="99477" y="700299"/>
                  <a:pt x="77756" y="722021"/>
                  <a:pt x="51098" y="722021"/>
                </a:cubicBezTo>
                <a:cubicBezTo>
                  <a:pt x="24440" y="722021"/>
                  <a:pt x="2718" y="700299"/>
                  <a:pt x="2718" y="673641"/>
                </a:cubicBezTo>
                <a:cubicBezTo>
                  <a:pt x="2718" y="646983"/>
                  <a:pt x="24440" y="625261"/>
                  <a:pt x="51098" y="625261"/>
                </a:cubicBezTo>
                <a:close/>
                <a:moveTo>
                  <a:pt x="3334488" y="622089"/>
                </a:moveTo>
                <a:cubicBezTo>
                  <a:pt x="3360159" y="622089"/>
                  <a:pt x="3380893" y="643068"/>
                  <a:pt x="3380893" y="668492"/>
                </a:cubicBezTo>
                <a:cubicBezTo>
                  <a:pt x="3380893" y="694161"/>
                  <a:pt x="3360159" y="714898"/>
                  <a:pt x="3334488" y="714898"/>
                </a:cubicBezTo>
                <a:cubicBezTo>
                  <a:pt x="3308817" y="714898"/>
                  <a:pt x="3288083" y="694161"/>
                  <a:pt x="3288083" y="668492"/>
                </a:cubicBezTo>
                <a:cubicBezTo>
                  <a:pt x="3288083" y="642822"/>
                  <a:pt x="3308817" y="622089"/>
                  <a:pt x="3334488" y="622089"/>
                </a:cubicBezTo>
                <a:close/>
                <a:moveTo>
                  <a:pt x="163903" y="605269"/>
                </a:moveTo>
                <a:cubicBezTo>
                  <a:pt x="188338" y="605269"/>
                  <a:pt x="208087" y="625015"/>
                  <a:pt x="208087" y="649452"/>
                </a:cubicBezTo>
                <a:cubicBezTo>
                  <a:pt x="208334" y="673640"/>
                  <a:pt x="188338" y="693636"/>
                  <a:pt x="163903" y="693636"/>
                </a:cubicBezTo>
                <a:cubicBezTo>
                  <a:pt x="139466" y="693636"/>
                  <a:pt x="119719" y="673887"/>
                  <a:pt x="119719" y="649452"/>
                </a:cubicBezTo>
                <a:cubicBezTo>
                  <a:pt x="119719" y="625015"/>
                  <a:pt x="139466" y="605269"/>
                  <a:pt x="163903" y="605269"/>
                </a:cubicBezTo>
                <a:close/>
                <a:moveTo>
                  <a:pt x="702003" y="602061"/>
                </a:moveTo>
                <a:cubicBezTo>
                  <a:pt x="724465" y="602061"/>
                  <a:pt x="742978" y="620328"/>
                  <a:pt x="742978" y="643037"/>
                </a:cubicBezTo>
                <a:cubicBezTo>
                  <a:pt x="742732" y="665497"/>
                  <a:pt x="724465" y="684010"/>
                  <a:pt x="702003" y="684010"/>
                </a:cubicBezTo>
                <a:cubicBezTo>
                  <a:pt x="679543" y="684010"/>
                  <a:pt x="661029" y="665745"/>
                  <a:pt x="661029" y="643037"/>
                </a:cubicBezTo>
                <a:cubicBezTo>
                  <a:pt x="661029" y="620575"/>
                  <a:pt x="679294" y="602061"/>
                  <a:pt x="702003" y="602061"/>
                </a:cubicBezTo>
                <a:close/>
                <a:moveTo>
                  <a:pt x="2284209" y="600103"/>
                </a:moveTo>
                <a:cubicBezTo>
                  <a:pt x="2295319" y="600103"/>
                  <a:pt x="2304451" y="609235"/>
                  <a:pt x="2304451" y="620341"/>
                </a:cubicBezTo>
                <a:cubicBezTo>
                  <a:pt x="2304451" y="631450"/>
                  <a:pt x="2295319" y="640582"/>
                  <a:pt x="2284209" y="640582"/>
                </a:cubicBezTo>
                <a:cubicBezTo>
                  <a:pt x="2273102" y="640582"/>
                  <a:pt x="2263970" y="631450"/>
                  <a:pt x="2263970" y="620341"/>
                </a:cubicBezTo>
                <a:cubicBezTo>
                  <a:pt x="2263970" y="609235"/>
                  <a:pt x="2273102" y="600103"/>
                  <a:pt x="2284209" y="600103"/>
                </a:cubicBezTo>
                <a:close/>
                <a:moveTo>
                  <a:pt x="2525117" y="599858"/>
                </a:moveTo>
                <a:cubicBezTo>
                  <a:pt x="2539186" y="599858"/>
                  <a:pt x="2550539" y="611213"/>
                  <a:pt x="2550539" y="625282"/>
                </a:cubicBezTo>
                <a:cubicBezTo>
                  <a:pt x="2550539" y="639350"/>
                  <a:pt x="2539186" y="650703"/>
                  <a:pt x="2525117" y="650703"/>
                </a:cubicBezTo>
                <a:cubicBezTo>
                  <a:pt x="2511045" y="650703"/>
                  <a:pt x="2499692" y="639350"/>
                  <a:pt x="2499692" y="625282"/>
                </a:cubicBezTo>
                <a:cubicBezTo>
                  <a:pt x="2499692" y="611213"/>
                  <a:pt x="2511045" y="599858"/>
                  <a:pt x="2525117" y="599858"/>
                </a:cubicBezTo>
                <a:close/>
                <a:moveTo>
                  <a:pt x="3573421" y="599141"/>
                </a:moveTo>
                <a:cubicBezTo>
                  <a:pt x="3600820" y="599141"/>
                  <a:pt x="3623037" y="621356"/>
                  <a:pt x="3623037" y="648750"/>
                </a:cubicBezTo>
                <a:cubicBezTo>
                  <a:pt x="3623037" y="676149"/>
                  <a:pt x="3600820" y="698366"/>
                  <a:pt x="3573421" y="698366"/>
                </a:cubicBezTo>
                <a:cubicBezTo>
                  <a:pt x="3546024" y="698366"/>
                  <a:pt x="3523808" y="676149"/>
                  <a:pt x="3523808" y="648750"/>
                </a:cubicBezTo>
                <a:cubicBezTo>
                  <a:pt x="3523808" y="621356"/>
                  <a:pt x="3546024" y="599141"/>
                  <a:pt x="3573421" y="599141"/>
                </a:cubicBezTo>
                <a:close/>
                <a:moveTo>
                  <a:pt x="1356365" y="598117"/>
                </a:moveTo>
                <a:cubicBezTo>
                  <a:pt x="1378827" y="598117"/>
                  <a:pt x="1397095" y="616381"/>
                  <a:pt x="1397095" y="638843"/>
                </a:cubicBezTo>
                <a:cubicBezTo>
                  <a:pt x="1397095" y="661059"/>
                  <a:pt x="1378827" y="679571"/>
                  <a:pt x="1356365" y="679571"/>
                </a:cubicBezTo>
                <a:cubicBezTo>
                  <a:pt x="1333904" y="679571"/>
                  <a:pt x="1315637" y="661305"/>
                  <a:pt x="1315637" y="638843"/>
                </a:cubicBezTo>
                <a:cubicBezTo>
                  <a:pt x="1315637" y="616381"/>
                  <a:pt x="1333904" y="598117"/>
                  <a:pt x="1356365" y="598117"/>
                </a:cubicBezTo>
                <a:close/>
                <a:moveTo>
                  <a:pt x="1790802" y="593431"/>
                </a:moveTo>
                <a:cubicBezTo>
                  <a:pt x="1795739" y="593431"/>
                  <a:pt x="1799439" y="597380"/>
                  <a:pt x="1799439" y="602071"/>
                </a:cubicBezTo>
                <a:cubicBezTo>
                  <a:pt x="1799688" y="607007"/>
                  <a:pt x="1795739" y="610708"/>
                  <a:pt x="1790802" y="610708"/>
                </a:cubicBezTo>
                <a:cubicBezTo>
                  <a:pt x="1786110" y="610708"/>
                  <a:pt x="1782162" y="606759"/>
                  <a:pt x="1782162" y="602071"/>
                </a:cubicBezTo>
                <a:cubicBezTo>
                  <a:pt x="1782162" y="597380"/>
                  <a:pt x="1786110" y="593431"/>
                  <a:pt x="1790802" y="593431"/>
                </a:cubicBezTo>
                <a:close/>
                <a:moveTo>
                  <a:pt x="496634" y="589718"/>
                </a:moveTo>
                <a:cubicBezTo>
                  <a:pt x="523292" y="589718"/>
                  <a:pt x="545260" y="611439"/>
                  <a:pt x="545260" y="638097"/>
                </a:cubicBezTo>
                <a:cubicBezTo>
                  <a:pt x="545260" y="664755"/>
                  <a:pt x="523292" y="686476"/>
                  <a:pt x="496634" y="686476"/>
                </a:cubicBezTo>
                <a:cubicBezTo>
                  <a:pt x="469976" y="686476"/>
                  <a:pt x="448255" y="664755"/>
                  <a:pt x="448255" y="638097"/>
                </a:cubicBezTo>
                <a:cubicBezTo>
                  <a:pt x="448255" y="611439"/>
                  <a:pt x="469976" y="589718"/>
                  <a:pt x="496634" y="589718"/>
                </a:cubicBezTo>
                <a:close/>
                <a:moveTo>
                  <a:pt x="897250" y="588733"/>
                </a:moveTo>
                <a:cubicBezTo>
                  <a:pt x="921933" y="588733"/>
                  <a:pt x="941926" y="608725"/>
                  <a:pt x="941926" y="633409"/>
                </a:cubicBezTo>
                <a:cubicBezTo>
                  <a:pt x="941926" y="658092"/>
                  <a:pt x="921933" y="678085"/>
                  <a:pt x="897250" y="678085"/>
                </a:cubicBezTo>
                <a:cubicBezTo>
                  <a:pt x="872566" y="678085"/>
                  <a:pt x="852573" y="658092"/>
                  <a:pt x="852573" y="633409"/>
                </a:cubicBezTo>
                <a:cubicBezTo>
                  <a:pt x="852573" y="608725"/>
                  <a:pt x="872566" y="588733"/>
                  <a:pt x="897250" y="588733"/>
                </a:cubicBezTo>
                <a:close/>
                <a:moveTo>
                  <a:pt x="2039844" y="586769"/>
                </a:moveTo>
                <a:cubicBezTo>
                  <a:pt x="2054159" y="586769"/>
                  <a:pt x="2065514" y="598370"/>
                  <a:pt x="2065514" y="612439"/>
                </a:cubicBezTo>
                <a:cubicBezTo>
                  <a:pt x="2065761" y="626508"/>
                  <a:pt x="2054159" y="638109"/>
                  <a:pt x="2039844" y="638109"/>
                </a:cubicBezTo>
                <a:cubicBezTo>
                  <a:pt x="2025526" y="638109"/>
                  <a:pt x="2014173" y="626508"/>
                  <a:pt x="2014173" y="612439"/>
                </a:cubicBezTo>
                <a:cubicBezTo>
                  <a:pt x="2014173" y="598124"/>
                  <a:pt x="2025772" y="586769"/>
                  <a:pt x="2039844" y="586769"/>
                </a:cubicBezTo>
                <a:close/>
                <a:moveTo>
                  <a:pt x="1524709" y="584046"/>
                </a:moveTo>
                <a:cubicBezTo>
                  <a:pt x="1535075" y="584046"/>
                  <a:pt x="1543468" y="592437"/>
                  <a:pt x="1543468" y="602805"/>
                </a:cubicBezTo>
                <a:cubicBezTo>
                  <a:pt x="1543468" y="613174"/>
                  <a:pt x="1535075" y="621565"/>
                  <a:pt x="1524709" y="621565"/>
                </a:cubicBezTo>
                <a:cubicBezTo>
                  <a:pt x="1514341" y="621565"/>
                  <a:pt x="1505949" y="613174"/>
                  <a:pt x="1505949" y="602805"/>
                </a:cubicBezTo>
                <a:cubicBezTo>
                  <a:pt x="1505949" y="592437"/>
                  <a:pt x="1514341" y="584046"/>
                  <a:pt x="1524709" y="584046"/>
                </a:cubicBezTo>
                <a:close/>
                <a:moveTo>
                  <a:pt x="274486" y="576882"/>
                </a:moveTo>
                <a:cubicBezTo>
                  <a:pt x="295958" y="576882"/>
                  <a:pt x="313730" y="594408"/>
                  <a:pt x="313730" y="615883"/>
                </a:cubicBezTo>
                <a:cubicBezTo>
                  <a:pt x="313730" y="637109"/>
                  <a:pt x="296204" y="654881"/>
                  <a:pt x="274486" y="654881"/>
                </a:cubicBezTo>
                <a:cubicBezTo>
                  <a:pt x="253010" y="654881"/>
                  <a:pt x="235484" y="637355"/>
                  <a:pt x="235484" y="615883"/>
                </a:cubicBezTo>
                <a:cubicBezTo>
                  <a:pt x="235484" y="594408"/>
                  <a:pt x="253010" y="576882"/>
                  <a:pt x="274486" y="576882"/>
                </a:cubicBezTo>
                <a:close/>
                <a:moveTo>
                  <a:pt x="2771705" y="574934"/>
                </a:moveTo>
                <a:cubicBezTo>
                  <a:pt x="2790711" y="574934"/>
                  <a:pt x="2806262" y="590484"/>
                  <a:pt x="2806262" y="609489"/>
                </a:cubicBezTo>
                <a:cubicBezTo>
                  <a:pt x="2806262" y="628493"/>
                  <a:pt x="2790711" y="644044"/>
                  <a:pt x="2771705" y="644044"/>
                </a:cubicBezTo>
                <a:cubicBezTo>
                  <a:pt x="2752699" y="644044"/>
                  <a:pt x="2737148" y="628493"/>
                  <a:pt x="2737148" y="609489"/>
                </a:cubicBezTo>
                <a:cubicBezTo>
                  <a:pt x="2737148" y="590484"/>
                  <a:pt x="2752699" y="574934"/>
                  <a:pt x="2771705" y="574934"/>
                </a:cubicBezTo>
                <a:close/>
                <a:moveTo>
                  <a:pt x="1083115" y="572198"/>
                </a:moveTo>
                <a:cubicBezTo>
                  <a:pt x="1105578" y="572198"/>
                  <a:pt x="1123596" y="590465"/>
                  <a:pt x="1123596" y="612678"/>
                </a:cubicBezTo>
                <a:cubicBezTo>
                  <a:pt x="1123596" y="634892"/>
                  <a:pt x="1105578" y="653159"/>
                  <a:pt x="1083115" y="653159"/>
                </a:cubicBezTo>
                <a:cubicBezTo>
                  <a:pt x="1060904" y="653159"/>
                  <a:pt x="1042637" y="634892"/>
                  <a:pt x="1042637" y="612678"/>
                </a:cubicBezTo>
                <a:cubicBezTo>
                  <a:pt x="1042637" y="590216"/>
                  <a:pt x="1060904" y="572198"/>
                  <a:pt x="1083115" y="572198"/>
                </a:cubicBezTo>
                <a:close/>
                <a:moveTo>
                  <a:pt x="3239209" y="568773"/>
                </a:moveTo>
                <a:cubicBezTo>
                  <a:pt x="3264141" y="568773"/>
                  <a:pt x="3284134" y="589012"/>
                  <a:pt x="3284134" y="613694"/>
                </a:cubicBezTo>
                <a:cubicBezTo>
                  <a:pt x="3284134" y="638375"/>
                  <a:pt x="3264141" y="658616"/>
                  <a:pt x="3239209" y="658616"/>
                </a:cubicBezTo>
                <a:cubicBezTo>
                  <a:pt x="3214525" y="658616"/>
                  <a:pt x="3194286" y="638375"/>
                  <a:pt x="3194286" y="613694"/>
                </a:cubicBezTo>
                <a:cubicBezTo>
                  <a:pt x="3194286" y="589012"/>
                  <a:pt x="3214525" y="568773"/>
                  <a:pt x="3239209" y="568773"/>
                </a:cubicBezTo>
                <a:close/>
                <a:moveTo>
                  <a:pt x="3006444" y="568027"/>
                </a:moveTo>
                <a:cubicBezTo>
                  <a:pt x="3030635" y="568027"/>
                  <a:pt x="3050382" y="587774"/>
                  <a:pt x="3050382" y="611961"/>
                </a:cubicBezTo>
                <a:cubicBezTo>
                  <a:pt x="3050382" y="636151"/>
                  <a:pt x="3030635" y="655896"/>
                  <a:pt x="3006444" y="655896"/>
                </a:cubicBezTo>
                <a:cubicBezTo>
                  <a:pt x="2982255" y="655896"/>
                  <a:pt x="2962508" y="636151"/>
                  <a:pt x="2962508" y="611961"/>
                </a:cubicBezTo>
                <a:cubicBezTo>
                  <a:pt x="2962508" y="587774"/>
                  <a:pt x="2982255" y="568027"/>
                  <a:pt x="3006444" y="568027"/>
                </a:cubicBezTo>
                <a:close/>
                <a:moveTo>
                  <a:pt x="1260594" y="546033"/>
                </a:moveTo>
                <a:cubicBezTo>
                  <a:pt x="1281079" y="546033"/>
                  <a:pt x="1297864" y="562818"/>
                  <a:pt x="1297864" y="583306"/>
                </a:cubicBezTo>
                <a:cubicBezTo>
                  <a:pt x="1297864" y="604040"/>
                  <a:pt x="1281079" y="620575"/>
                  <a:pt x="1260594" y="620575"/>
                </a:cubicBezTo>
                <a:cubicBezTo>
                  <a:pt x="1240106" y="620575"/>
                  <a:pt x="1223321" y="603791"/>
                  <a:pt x="1223321" y="583306"/>
                </a:cubicBezTo>
                <a:cubicBezTo>
                  <a:pt x="1223321" y="562818"/>
                  <a:pt x="1240106" y="546033"/>
                  <a:pt x="1260594" y="546033"/>
                </a:cubicBezTo>
                <a:close/>
                <a:moveTo>
                  <a:pt x="2189919" y="544810"/>
                </a:moveTo>
                <a:cubicBezTo>
                  <a:pt x="2201767" y="544810"/>
                  <a:pt x="2211392" y="554437"/>
                  <a:pt x="2211392" y="566286"/>
                </a:cubicBezTo>
                <a:cubicBezTo>
                  <a:pt x="2211641" y="578134"/>
                  <a:pt x="2202014" y="587761"/>
                  <a:pt x="2189919" y="587761"/>
                </a:cubicBezTo>
                <a:cubicBezTo>
                  <a:pt x="2178071" y="587761"/>
                  <a:pt x="2168444" y="578134"/>
                  <a:pt x="2168444" y="566286"/>
                </a:cubicBezTo>
                <a:cubicBezTo>
                  <a:pt x="2168444" y="554437"/>
                  <a:pt x="2178071" y="544810"/>
                  <a:pt x="2189919" y="544810"/>
                </a:cubicBezTo>
                <a:close/>
                <a:moveTo>
                  <a:pt x="3477898" y="543352"/>
                </a:moveTo>
                <a:cubicBezTo>
                  <a:pt x="3505544" y="543352"/>
                  <a:pt x="3528004" y="565816"/>
                  <a:pt x="3528004" y="593461"/>
                </a:cubicBezTo>
                <a:cubicBezTo>
                  <a:pt x="3528004" y="621105"/>
                  <a:pt x="3505544" y="643563"/>
                  <a:pt x="3477898" y="643563"/>
                </a:cubicBezTo>
                <a:cubicBezTo>
                  <a:pt x="3450253" y="643563"/>
                  <a:pt x="3427790" y="621105"/>
                  <a:pt x="3427790" y="593461"/>
                </a:cubicBezTo>
                <a:cubicBezTo>
                  <a:pt x="3427790" y="565816"/>
                  <a:pt x="3450253" y="543352"/>
                  <a:pt x="3477898" y="543352"/>
                </a:cubicBezTo>
                <a:close/>
                <a:moveTo>
                  <a:pt x="3707207" y="542124"/>
                </a:moveTo>
                <a:cubicBezTo>
                  <a:pt x="3735594" y="542124"/>
                  <a:pt x="3758795" y="565329"/>
                  <a:pt x="3758795" y="593713"/>
                </a:cubicBezTo>
                <a:cubicBezTo>
                  <a:pt x="3758795" y="622343"/>
                  <a:pt x="3735594" y="645545"/>
                  <a:pt x="3707207" y="645545"/>
                </a:cubicBezTo>
                <a:cubicBezTo>
                  <a:pt x="3678574" y="645545"/>
                  <a:pt x="3655619" y="622343"/>
                  <a:pt x="3655619" y="593713"/>
                </a:cubicBezTo>
                <a:cubicBezTo>
                  <a:pt x="3655619" y="565329"/>
                  <a:pt x="3678820" y="542124"/>
                  <a:pt x="3707207" y="542124"/>
                </a:cubicBezTo>
                <a:close/>
                <a:moveTo>
                  <a:pt x="2431076" y="541357"/>
                </a:moveTo>
                <a:cubicBezTo>
                  <a:pt x="2447368" y="541357"/>
                  <a:pt x="2460696" y="554685"/>
                  <a:pt x="2460696" y="570732"/>
                </a:cubicBezTo>
                <a:cubicBezTo>
                  <a:pt x="2460450" y="587022"/>
                  <a:pt x="2447120" y="600352"/>
                  <a:pt x="2431076" y="600352"/>
                </a:cubicBezTo>
                <a:cubicBezTo>
                  <a:pt x="2414786" y="600352"/>
                  <a:pt x="2401456" y="587022"/>
                  <a:pt x="2401456" y="570732"/>
                </a:cubicBezTo>
                <a:cubicBezTo>
                  <a:pt x="2401456" y="554439"/>
                  <a:pt x="2414786" y="541357"/>
                  <a:pt x="2431076" y="541357"/>
                </a:cubicBezTo>
                <a:close/>
                <a:moveTo>
                  <a:pt x="50360" y="540598"/>
                </a:moveTo>
                <a:cubicBezTo>
                  <a:pt x="62949" y="540598"/>
                  <a:pt x="73068" y="550717"/>
                  <a:pt x="73068" y="563307"/>
                </a:cubicBezTo>
                <a:cubicBezTo>
                  <a:pt x="73068" y="575896"/>
                  <a:pt x="62949" y="586016"/>
                  <a:pt x="50360" y="586016"/>
                </a:cubicBezTo>
                <a:cubicBezTo>
                  <a:pt x="37770" y="586016"/>
                  <a:pt x="27651" y="575896"/>
                  <a:pt x="27651" y="563307"/>
                </a:cubicBezTo>
                <a:cubicBezTo>
                  <a:pt x="27651" y="550717"/>
                  <a:pt x="37770" y="540598"/>
                  <a:pt x="50360" y="540598"/>
                </a:cubicBezTo>
                <a:close/>
                <a:moveTo>
                  <a:pt x="1946056" y="538387"/>
                </a:moveTo>
                <a:cubicBezTo>
                  <a:pt x="1956672" y="538387"/>
                  <a:pt x="1965551" y="547028"/>
                  <a:pt x="1965551" y="557889"/>
                </a:cubicBezTo>
                <a:cubicBezTo>
                  <a:pt x="1965551" y="568750"/>
                  <a:pt x="1956672" y="577387"/>
                  <a:pt x="1946056" y="577387"/>
                </a:cubicBezTo>
                <a:cubicBezTo>
                  <a:pt x="1935197" y="577387"/>
                  <a:pt x="1926558" y="568750"/>
                  <a:pt x="1926558" y="557889"/>
                </a:cubicBezTo>
                <a:cubicBezTo>
                  <a:pt x="1926558" y="547028"/>
                  <a:pt x="1935443" y="538387"/>
                  <a:pt x="1946056" y="538387"/>
                </a:cubicBezTo>
                <a:close/>
                <a:moveTo>
                  <a:pt x="381856" y="538130"/>
                </a:moveTo>
                <a:cubicBezTo>
                  <a:pt x="400862" y="538130"/>
                  <a:pt x="416413" y="553681"/>
                  <a:pt x="416413" y="572933"/>
                </a:cubicBezTo>
                <a:cubicBezTo>
                  <a:pt x="416413" y="591941"/>
                  <a:pt x="401111" y="607490"/>
                  <a:pt x="381856" y="607490"/>
                </a:cubicBezTo>
                <a:cubicBezTo>
                  <a:pt x="362605" y="607490"/>
                  <a:pt x="347053" y="591941"/>
                  <a:pt x="347053" y="572933"/>
                </a:cubicBezTo>
                <a:cubicBezTo>
                  <a:pt x="347053" y="553927"/>
                  <a:pt x="362605" y="538130"/>
                  <a:pt x="381856" y="538130"/>
                </a:cubicBezTo>
                <a:close/>
                <a:moveTo>
                  <a:pt x="598331" y="531218"/>
                </a:moveTo>
                <a:cubicBezTo>
                  <a:pt x="625485" y="531218"/>
                  <a:pt x="647698" y="553435"/>
                  <a:pt x="647698" y="580586"/>
                </a:cubicBezTo>
                <a:cubicBezTo>
                  <a:pt x="647698" y="607739"/>
                  <a:pt x="625731" y="629952"/>
                  <a:pt x="598331" y="629952"/>
                </a:cubicBezTo>
                <a:cubicBezTo>
                  <a:pt x="571178" y="629952"/>
                  <a:pt x="548965" y="607739"/>
                  <a:pt x="548965" y="580586"/>
                </a:cubicBezTo>
                <a:cubicBezTo>
                  <a:pt x="548965" y="553435"/>
                  <a:pt x="571178" y="531218"/>
                  <a:pt x="598331" y="531218"/>
                </a:cubicBezTo>
                <a:close/>
                <a:moveTo>
                  <a:pt x="1696508" y="528510"/>
                </a:moveTo>
                <a:cubicBezTo>
                  <a:pt x="1707124" y="528510"/>
                  <a:pt x="1716010" y="537150"/>
                  <a:pt x="1716010" y="548011"/>
                </a:cubicBezTo>
                <a:cubicBezTo>
                  <a:pt x="1716010" y="558626"/>
                  <a:pt x="1707369" y="567512"/>
                  <a:pt x="1696508" y="567512"/>
                </a:cubicBezTo>
                <a:cubicBezTo>
                  <a:pt x="1685894" y="567512"/>
                  <a:pt x="1677008" y="558872"/>
                  <a:pt x="1677008" y="548011"/>
                </a:cubicBezTo>
                <a:cubicBezTo>
                  <a:pt x="1677008" y="537150"/>
                  <a:pt x="1685648" y="528510"/>
                  <a:pt x="1696508" y="528510"/>
                </a:cubicBezTo>
                <a:close/>
                <a:moveTo>
                  <a:pt x="796541" y="527762"/>
                </a:moveTo>
                <a:cubicBezTo>
                  <a:pt x="822704" y="527762"/>
                  <a:pt x="843687" y="548992"/>
                  <a:pt x="843687" y="574909"/>
                </a:cubicBezTo>
                <a:cubicBezTo>
                  <a:pt x="843687" y="600826"/>
                  <a:pt x="822704" y="622055"/>
                  <a:pt x="796541" y="622055"/>
                </a:cubicBezTo>
                <a:cubicBezTo>
                  <a:pt x="770375" y="622055"/>
                  <a:pt x="749394" y="600826"/>
                  <a:pt x="749394" y="574909"/>
                </a:cubicBezTo>
                <a:cubicBezTo>
                  <a:pt x="749394" y="548743"/>
                  <a:pt x="770624" y="527762"/>
                  <a:pt x="796541" y="527762"/>
                </a:cubicBezTo>
                <a:close/>
                <a:moveTo>
                  <a:pt x="2677167" y="524575"/>
                </a:moveTo>
                <a:cubicBezTo>
                  <a:pt x="2693703" y="524575"/>
                  <a:pt x="2707280" y="538152"/>
                  <a:pt x="2707280" y="554692"/>
                </a:cubicBezTo>
                <a:cubicBezTo>
                  <a:pt x="2707280" y="571228"/>
                  <a:pt x="2693950" y="584805"/>
                  <a:pt x="2677167" y="584805"/>
                </a:cubicBezTo>
                <a:cubicBezTo>
                  <a:pt x="2660629" y="584805"/>
                  <a:pt x="2647052" y="571228"/>
                  <a:pt x="2647052" y="554692"/>
                </a:cubicBezTo>
                <a:cubicBezTo>
                  <a:pt x="2647052" y="538152"/>
                  <a:pt x="2660629" y="524575"/>
                  <a:pt x="2677167" y="524575"/>
                </a:cubicBezTo>
                <a:close/>
                <a:moveTo>
                  <a:pt x="163160" y="523810"/>
                </a:moveTo>
                <a:cubicBezTo>
                  <a:pt x="170566" y="523810"/>
                  <a:pt x="176490" y="529735"/>
                  <a:pt x="176490" y="537141"/>
                </a:cubicBezTo>
                <a:cubicBezTo>
                  <a:pt x="176490" y="544545"/>
                  <a:pt x="170566" y="550469"/>
                  <a:pt x="163160" y="550469"/>
                </a:cubicBezTo>
                <a:cubicBezTo>
                  <a:pt x="155756" y="550469"/>
                  <a:pt x="149832" y="544545"/>
                  <a:pt x="149832" y="537141"/>
                </a:cubicBezTo>
                <a:cubicBezTo>
                  <a:pt x="149832" y="529735"/>
                  <a:pt x="155756" y="523810"/>
                  <a:pt x="163160" y="523810"/>
                </a:cubicBezTo>
                <a:close/>
                <a:moveTo>
                  <a:pt x="2911415" y="520624"/>
                </a:moveTo>
                <a:cubicBezTo>
                  <a:pt x="2931900" y="520624"/>
                  <a:pt x="2948685" y="537416"/>
                  <a:pt x="2948685" y="557905"/>
                </a:cubicBezTo>
                <a:cubicBezTo>
                  <a:pt x="2948685" y="578391"/>
                  <a:pt x="2931900" y="595175"/>
                  <a:pt x="2911415" y="595175"/>
                </a:cubicBezTo>
                <a:cubicBezTo>
                  <a:pt x="2890927" y="595175"/>
                  <a:pt x="2874142" y="578391"/>
                  <a:pt x="2874142" y="557905"/>
                </a:cubicBezTo>
                <a:cubicBezTo>
                  <a:pt x="2874142" y="537416"/>
                  <a:pt x="2890927" y="520624"/>
                  <a:pt x="2911415" y="520624"/>
                </a:cubicBezTo>
                <a:close/>
                <a:moveTo>
                  <a:pt x="3143932" y="515199"/>
                </a:moveTo>
                <a:cubicBezTo>
                  <a:pt x="3168123" y="515199"/>
                  <a:pt x="3187621" y="534707"/>
                  <a:pt x="3187621" y="558897"/>
                </a:cubicBezTo>
                <a:cubicBezTo>
                  <a:pt x="3187621" y="582840"/>
                  <a:pt x="3168123" y="602585"/>
                  <a:pt x="3143932" y="602585"/>
                </a:cubicBezTo>
                <a:cubicBezTo>
                  <a:pt x="3119744" y="602585"/>
                  <a:pt x="3100243" y="583089"/>
                  <a:pt x="3100243" y="558897"/>
                </a:cubicBezTo>
                <a:cubicBezTo>
                  <a:pt x="3100243" y="534707"/>
                  <a:pt x="3119744" y="515199"/>
                  <a:pt x="3143932" y="515199"/>
                </a:cubicBezTo>
                <a:close/>
                <a:moveTo>
                  <a:pt x="984880" y="510485"/>
                </a:moveTo>
                <a:cubicBezTo>
                  <a:pt x="1010302" y="510485"/>
                  <a:pt x="1031037" y="531221"/>
                  <a:pt x="1031037" y="556399"/>
                </a:cubicBezTo>
                <a:cubicBezTo>
                  <a:pt x="1030790" y="581822"/>
                  <a:pt x="1010302" y="602556"/>
                  <a:pt x="984880" y="602556"/>
                </a:cubicBezTo>
                <a:cubicBezTo>
                  <a:pt x="959456" y="602556"/>
                  <a:pt x="938968" y="581822"/>
                  <a:pt x="938968" y="556399"/>
                </a:cubicBezTo>
                <a:cubicBezTo>
                  <a:pt x="938968" y="530974"/>
                  <a:pt x="959702" y="510485"/>
                  <a:pt x="984880" y="510485"/>
                </a:cubicBezTo>
                <a:close/>
                <a:moveTo>
                  <a:pt x="1429675" y="509008"/>
                </a:moveTo>
                <a:cubicBezTo>
                  <a:pt x="1451645" y="509008"/>
                  <a:pt x="1469417" y="526782"/>
                  <a:pt x="1469417" y="548750"/>
                </a:cubicBezTo>
                <a:cubicBezTo>
                  <a:pt x="1469417" y="570720"/>
                  <a:pt x="1451645" y="588492"/>
                  <a:pt x="1429675" y="588492"/>
                </a:cubicBezTo>
                <a:cubicBezTo>
                  <a:pt x="1407707" y="588492"/>
                  <a:pt x="1389935" y="570720"/>
                  <a:pt x="1389935" y="548750"/>
                </a:cubicBezTo>
                <a:cubicBezTo>
                  <a:pt x="1389935" y="526782"/>
                  <a:pt x="1407707" y="509008"/>
                  <a:pt x="1429675" y="509008"/>
                </a:cubicBezTo>
                <a:close/>
                <a:moveTo>
                  <a:pt x="3374722" y="508537"/>
                </a:moveTo>
                <a:cubicBezTo>
                  <a:pt x="3402860" y="508537"/>
                  <a:pt x="3425815" y="531500"/>
                  <a:pt x="3425815" y="559643"/>
                </a:cubicBezTo>
                <a:cubicBezTo>
                  <a:pt x="3425815" y="587781"/>
                  <a:pt x="3402860" y="610734"/>
                  <a:pt x="3374722" y="610734"/>
                </a:cubicBezTo>
                <a:cubicBezTo>
                  <a:pt x="3346582" y="610734"/>
                  <a:pt x="3323627" y="587781"/>
                  <a:pt x="3323627" y="559643"/>
                </a:cubicBezTo>
                <a:cubicBezTo>
                  <a:pt x="3323627" y="531500"/>
                  <a:pt x="3346582" y="508537"/>
                  <a:pt x="3374722" y="508537"/>
                </a:cubicBezTo>
                <a:close/>
                <a:moveTo>
                  <a:pt x="2336538" y="493219"/>
                </a:moveTo>
                <a:cubicBezTo>
                  <a:pt x="2349619" y="493219"/>
                  <a:pt x="2359985" y="503834"/>
                  <a:pt x="2359985" y="516669"/>
                </a:cubicBezTo>
                <a:cubicBezTo>
                  <a:pt x="2359985" y="529508"/>
                  <a:pt x="2349619" y="540121"/>
                  <a:pt x="2336538" y="540121"/>
                </a:cubicBezTo>
                <a:cubicBezTo>
                  <a:pt x="2323703" y="540121"/>
                  <a:pt x="2313088" y="529508"/>
                  <a:pt x="2313088" y="516669"/>
                </a:cubicBezTo>
                <a:cubicBezTo>
                  <a:pt x="2313088" y="503834"/>
                  <a:pt x="2323456" y="493219"/>
                  <a:pt x="2336538" y="493219"/>
                </a:cubicBezTo>
                <a:close/>
                <a:moveTo>
                  <a:pt x="273003" y="490736"/>
                </a:moveTo>
                <a:cubicBezTo>
                  <a:pt x="278432" y="490736"/>
                  <a:pt x="282627" y="495180"/>
                  <a:pt x="282627" y="500363"/>
                </a:cubicBezTo>
                <a:cubicBezTo>
                  <a:pt x="282876" y="506038"/>
                  <a:pt x="278432" y="510236"/>
                  <a:pt x="273003" y="510236"/>
                </a:cubicBezTo>
                <a:cubicBezTo>
                  <a:pt x="267571" y="510236"/>
                  <a:pt x="263376" y="505792"/>
                  <a:pt x="263376" y="500363"/>
                </a:cubicBezTo>
                <a:cubicBezTo>
                  <a:pt x="263376" y="494931"/>
                  <a:pt x="267817" y="490736"/>
                  <a:pt x="273003" y="490736"/>
                </a:cubicBezTo>
                <a:close/>
                <a:moveTo>
                  <a:pt x="485281" y="489008"/>
                </a:moveTo>
                <a:cubicBezTo>
                  <a:pt x="503053" y="489008"/>
                  <a:pt x="517368" y="503323"/>
                  <a:pt x="517368" y="521095"/>
                </a:cubicBezTo>
                <a:cubicBezTo>
                  <a:pt x="517368" y="538622"/>
                  <a:pt x="502805" y="553185"/>
                  <a:pt x="485281" y="553185"/>
                </a:cubicBezTo>
                <a:cubicBezTo>
                  <a:pt x="467509" y="553185"/>
                  <a:pt x="453191" y="538868"/>
                  <a:pt x="453191" y="521095"/>
                </a:cubicBezTo>
                <a:cubicBezTo>
                  <a:pt x="453191" y="503323"/>
                  <a:pt x="467509" y="489008"/>
                  <a:pt x="485281" y="489008"/>
                </a:cubicBezTo>
                <a:close/>
                <a:moveTo>
                  <a:pt x="1592341" y="487039"/>
                </a:moveTo>
                <a:cubicBezTo>
                  <a:pt x="1604436" y="487039"/>
                  <a:pt x="1614063" y="496912"/>
                  <a:pt x="1614063" y="508760"/>
                </a:cubicBezTo>
                <a:cubicBezTo>
                  <a:pt x="1614063" y="520608"/>
                  <a:pt x="1604189" y="530483"/>
                  <a:pt x="1592341" y="530483"/>
                </a:cubicBezTo>
                <a:cubicBezTo>
                  <a:pt x="1580247" y="530483"/>
                  <a:pt x="1570620" y="520608"/>
                  <a:pt x="1570620" y="508760"/>
                </a:cubicBezTo>
                <a:cubicBezTo>
                  <a:pt x="1570620" y="496666"/>
                  <a:pt x="1580247" y="487039"/>
                  <a:pt x="1592341" y="487039"/>
                </a:cubicBezTo>
                <a:close/>
                <a:moveTo>
                  <a:pt x="3610943" y="486575"/>
                </a:moveTo>
                <a:cubicBezTo>
                  <a:pt x="3639822" y="486575"/>
                  <a:pt x="3663026" y="510024"/>
                  <a:pt x="3663026" y="538667"/>
                </a:cubicBezTo>
                <a:cubicBezTo>
                  <a:pt x="3663026" y="567302"/>
                  <a:pt x="3639822" y="590752"/>
                  <a:pt x="3610943" y="590752"/>
                </a:cubicBezTo>
                <a:cubicBezTo>
                  <a:pt x="3582310" y="590752"/>
                  <a:pt x="3558860" y="567302"/>
                  <a:pt x="3558860" y="538667"/>
                </a:cubicBezTo>
                <a:cubicBezTo>
                  <a:pt x="3558860" y="509778"/>
                  <a:pt x="3582310" y="486575"/>
                  <a:pt x="3610943" y="486575"/>
                </a:cubicBezTo>
                <a:close/>
                <a:moveTo>
                  <a:pt x="1852511" y="485313"/>
                </a:moveTo>
                <a:cubicBezTo>
                  <a:pt x="1862383" y="485313"/>
                  <a:pt x="1870280" y="493212"/>
                  <a:pt x="1870280" y="503085"/>
                </a:cubicBezTo>
                <a:cubicBezTo>
                  <a:pt x="1870280" y="512958"/>
                  <a:pt x="1862136" y="520857"/>
                  <a:pt x="1852511" y="520857"/>
                </a:cubicBezTo>
                <a:cubicBezTo>
                  <a:pt x="1842635" y="520857"/>
                  <a:pt x="1834734" y="512958"/>
                  <a:pt x="1834734" y="503085"/>
                </a:cubicBezTo>
                <a:cubicBezTo>
                  <a:pt x="1834734" y="493212"/>
                  <a:pt x="1842635" y="485313"/>
                  <a:pt x="1852511" y="485313"/>
                </a:cubicBezTo>
                <a:close/>
                <a:moveTo>
                  <a:pt x="2573992" y="485074"/>
                </a:moveTo>
                <a:cubicBezTo>
                  <a:pt x="2593244" y="485074"/>
                  <a:pt x="2608795" y="500626"/>
                  <a:pt x="2608795" y="519877"/>
                </a:cubicBezTo>
                <a:cubicBezTo>
                  <a:pt x="2608795" y="539137"/>
                  <a:pt x="2593244" y="554935"/>
                  <a:pt x="2573992" y="554935"/>
                </a:cubicBezTo>
                <a:cubicBezTo>
                  <a:pt x="2554737" y="554935"/>
                  <a:pt x="2538940" y="539137"/>
                  <a:pt x="2538940" y="519877"/>
                </a:cubicBezTo>
                <a:cubicBezTo>
                  <a:pt x="2538940" y="500626"/>
                  <a:pt x="2554737" y="485074"/>
                  <a:pt x="2573992" y="485074"/>
                </a:cubicBezTo>
                <a:close/>
                <a:moveTo>
                  <a:pt x="1163834" y="482841"/>
                </a:moveTo>
                <a:cubicBezTo>
                  <a:pt x="1189256" y="482841"/>
                  <a:pt x="1209990" y="503575"/>
                  <a:pt x="1209990" y="529001"/>
                </a:cubicBezTo>
                <a:cubicBezTo>
                  <a:pt x="1209990" y="554423"/>
                  <a:pt x="1189256" y="575158"/>
                  <a:pt x="1163834" y="575158"/>
                </a:cubicBezTo>
                <a:cubicBezTo>
                  <a:pt x="1138409" y="575158"/>
                  <a:pt x="1117675" y="554423"/>
                  <a:pt x="1117675" y="529001"/>
                </a:cubicBezTo>
                <a:cubicBezTo>
                  <a:pt x="1117675" y="503575"/>
                  <a:pt x="1138409" y="482841"/>
                  <a:pt x="1163834" y="482841"/>
                </a:cubicBezTo>
                <a:close/>
                <a:moveTo>
                  <a:pt x="2096615" y="480874"/>
                </a:moveTo>
                <a:cubicBezTo>
                  <a:pt x="2112908" y="480874"/>
                  <a:pt x="2126236" y="494201"/>
                  <a:pt x="2126236" y="510493"/>
                </a:cubicBezTo>
                <a:cubicBezTo>
                  <a:pt x="2126236" y="527035"/>
                  <a:pt x="2112908" y="540363"/>
                  <a:pt x="2096615" y="540363"/>
                </a:cubicBezTo>
                <a:cubicBezTo>
                  <a:pt x="2080325" y="540363"/>
                  <a:pt x="2066995" y="527035"/>
                  <a:pt x="2066995" y="510493"/>
                </a:cubicBezTo>
                <a:cubicBezTo>
                  <a:pt x="2066995" y="494201"/>
                  <a:pt x="2080325" y="480874"/>
                  <a:pt x="2096615" y="480874"/>
                </a:cubicBezTo>
                <a:close/>
                <a:moveTo>
                  <a:pt x="695337" y="465559"/>
                </a:moveTo>
                <a:cubicBezTo>
                  <a:pt x="722736" y="465559"/>
                  <a:pt x="744952" y="487775"/>
                  <a:pt x="744952" y="515172"/>
                </a:cubicBezTo>
                <a:cubicBezTo>
                  <a:pt x="744952" y="542572"/>
                  <a:pt x="722736" y="564788"/>
                  <a:pt x="695337" y="564788"/>
                </a:cubicBezTo>
                <a:cubicBezTo>
                  <a:pt x="667940" y="564788"/>
                  <a:pt x="645723" y="542572"/>
                  <a:pt x="645723" y="515172"/>
                </a:cubicBezTo>
                <a:cubicBezTo>
                  <a:pt x="645723" y="487775"/>
                  <a:pt x="667940" y="465559"/>
                  <a:pt x="695337" y="465559"/>
                </a:cubicBezTo>
                <a:close/>
                <a:moveTo>
                  <a:pt x="2816628" y="458915"/>
                </a:moveTo>
                <a:cubicBezTo>
                  <a:pt x="2840570" y="458915"/>
                  <a:pt x="2860317" y="478415"/>
                  <a:pt x="2860317" y="502358"/>
                </a:cubicBezTo>
                <a:cubicBezTo>
                  <a:pt x="2860317" y="526305"/>
                  <a:pt x="2840817" y="545807"/>
                  <a:pt x="2816628" y="545807"/>
                </a:cubicBezTo>
                <a:cubicBezTo>
                  <a:pt x="2792686" y="545807"/>
                  <a:pt x="2773185" y="526305"/>
                  <a:pt x="2773185" y="502358"/>
                </a:cubicBezTo>
                <a:cubicBezTo>
                  <a:pt x="2773185" y="478415"/>
                  <a:pt x="2792686" y="458915"/>
                  <a:pt x="2816628" y="458915"/>
                </a:cubicBezTo>
                <a:close/>
                <a:moveTo>
                  <a:pt x="3048652" y="453983"/>
                </a:moveTo>
                <a:cubicBezTo>
                  <a:pt x="3076051" y="453983"/>
                  <a:pt x="3098265" y="476199"/>
                  <a:pt x="3098265" y="503595"/>
                </a:cubicBezTo>
                <a:cubicBezTo>
                  <a:pt x="3098265" y="531001"/>
                  <a:pt x="3076051" y="553219"/>
                  <a:pt x="3048652" y="553219"/>
                </a:cubicBezTo>
                <a:cubicBezTo>
                  <a:pt x="3021253" y="553219"/>
                  <a:pt x="2999039" y="531001"/>
                  <a:pt x="2999039" y="503595"/>
                </a:cubicBezTo>
                <a:cubicBezTo>
                  <a:pt x="2999039" y="476199"/>
                  <a:pt x="3021253" y="453983"/>
                  <a:pt x="3048652" y="453983"/>
                </a:cubicBezTo>
                <a:close/>
                <a:moveTo>
                  <a:pt x="3278949" y="452999"/>
                </a:moveTo>
                <a:cubicBezTo>
                  <a:pt x="3307336" y="452999"/>
                  <a:pt x="3330537" y="476202"/>
                  <a:pt x="3330537" y="504586"/>
                </a:cubicBezTo>
                <a:cubicBezTo>
                  <a:pt x="3330537" y="532981"/>
                  <a:pt x="3307336" y="556184"/>
                  <a:pt x="3278949" y="556184"/>
                </a:cubicBezTo>
                <a:cubicBezTo>
                  <a:pt x="3250565" y="556184"/>
                  <a:pt x="3227361" y="532981"/>
                  <a:pt x="3227361" y="504586"/>
                </a:cubicBezTo>
                <a:cubicBezTo>
                  <a:pt x="3227361" y="476202"/>
                  <a:pt x="3250565" y="452999"/>
                  <a:pt x="3278949" y="452999"/>
                </a:cubicBezTo>
                <a:close/>
                <a:moveTo>
                  <a:pt x="1334642" y="451493"/>
                </a:moveTo>
                <a:cubicBezTo>
                  <a:pt x="1358092" y="451493"/>
                  <a:pt x="1377098" y="470499"/>
                  <a:pt x="1377098" y="493948"/>
                </a:cubicBezTo>
                <a:cubicBezTo>
                  <a:pt x="1377098" y="517645"/>
                  <a:pt x="1358092" y="536406"/>
                  <a:pt x="1334642" y="536406"/>
                </a:cubicBezTo>
                <a:cubicBezTo>
                  <a:pt x="1311192" y="536406"/>
                  <a:pt x="1292186" y="517398"/>
                  <a:pt x="1292186" y="493948"/>
                </a:cubicBezTo>
                <a:cubicBezTo>
                  <a:pt x="1292186" y="470499"/>
                  <a:pt x="1311192" y="451493"/>
                  <a:pt x="1334642" y="451493"/>
                </a:cubicBezTo>
                <a:close/>
                <a:moveTo>
                  <a:pt x="885897" y="450504"/>
                </a:moveTo>
                <a:cubicBezTo>
                  <a:pt x="913050" y="450504"/>
                  <a:pt x="935264" y="472720"/>
                  <a:pt x="935264" y="499871"/>
                </a:cubicBezTo>
                <a:cubicBezTo>
                  <a:pt x="935264" y="527271"/>
                  <a:pt x="913296" y="549239"/>
                  <a:pt x="885897" y="549239"/>
                </a:cubicBezTo>
                <a:cubicBezTo>
                  <a:pt x="858746" y="549239"/>
                  <a:pt x="836530" y="527025"/>
                  <a:pt x="836530" y="499871"/>
                </a:cubicBezTo>
                <a:cubicBezTo>
                  <a:pt x="836530" y="472720"/>
                  <a:pt x="858746" y="450504"/>
                  <a:pt x="885897" y="450504"/>
                </a:cubicBezTo>
                <a:close/>
                <a:moveTo>
                  <a:pt x="49864" y="439394"/>
                </a:moveTo>
                <a:cubicBezTo>
                  <a:pt x="57268" y="439394"/>
                  <a:pt x="63441" y="445564"/>
                  <a:pt x="63441" y="452971"/>
                </a:cubicBezTo>
                <a:cubicBezTo>
                  <a:pt x="63441" y="460375"/>
                  <a:pt x="57517" y="466548"/>
                  <a:pt x="49864" y="466548"/>
                </a:cubicBezTo>
                <a:cubicBezTo>
                  <a:pt x="42458" y="466548"/>
                  <a:pt x="36287" y="460375"/>
                  <a:pt x="36287" y="452971"/>
                </a:cubicBezTo>
                <a:cubicBezTo>
                  <a:pt x="36287" y="445564"/>
                  <a:pt x="42458" y="439394"/>
                  <a:pt x="49864" y="439394"/>
                </a:cubicBezTo>
                <a:close/>
                <a:moveTo>
                  <a:pt x="378894" y="438654"/>
                </a:moveTo>
                <a:cubicBezTo>
                  <a:pt x="387534" y="438654"/>
                  <a:pt x="394445" y="445565"/>
                  <a:pt x="394445" y="454205"/>
                </a:cubicBezTo>
                <a:cubicBezTo>
                  <a:pt x="394691" y="462842"/>
                  <a:pt x="387534" y="469754"/>
                  <a:pt x="378894" y="469754"/>
                </a:cubicBezTo>
                <a:cubicBezTo>
                  <a:pt x="370254" y="469754"/>
                  <a:pt x="363343" y="462842"/>
                  <a:pt x="363343" y="454205"/>
                </a:cubicBezTo>
                <a:cubicBezTo>
                  <a:pt x="363343" y="445565"/>
                  <a:pt x="370254" y="438654"/>
                  <a:pt x="378894" y="438654"/>
                </a:cubicBezTo>
                <a:close/>
                <a:moveTo>
                  <a:pt x="2242249" y="436940"/>
                </a:moveTo>
                <a:cubicBezTo>
                  <a:pt x="2256318" y="436940"/>
                  <a:pt x="2267671" y="448293"/>
                  <a:pt x="2267671" y="462365"/>
                </a:cubicBezTo>
                <a:cubicBezTo>
                  <a:pt x="2267671" y="476188"/>
                  <a:pt x="2256318" y="487787"/>
                  <a:pt x="2242249" y="487787"/>
                </a:cubicBezTo>
                <a:cubicBezTo>
                  <a:pt x="2228177" y="487787"/>
                  <a:pt x="2216824" y="476434"/>
                  <a:pt x="2216824" y="462365"/>
                </a:cubicBezTo>
                <a:cubicBezTo>
                  <a:pt x="2216824" y="448293"/>
                  <a:pt x="2228177" y="436940"/>
                  <a:pt x="2242249" y="436940"/>
                </a:cubicBezTo>
                <a:close/>
                <a:moveTo>
                  <a:pt x="2002571" y="434713"/>
                </a:moveTo>
                <a:cubicBezTo>
                  <a:pt x="2014419" y="434713"/>
                  <a:pt x="2024047" y="444341"/>
                  <a:pt x="2024047" y="456189"/>
                </a:cubicBezTo>
                <a:cubicBezTo>
                  <a:pt x="2024047" y="468037"/>
                  <a:pt x="2014419" y="477664"/>
                  <a:pt x="2002571" y="477664"/>
                </a:cubicBezTo>
                <a:cubicBezTo>
                  <a:pt x="1990723" y="477664"/>
                  <a:pt x="1981096" y="468037"/>
                  <a:pt x="1981096" y="456189"/>
                </a:cubicBezTo>
                <a:cubicBezTo>
                  <a:pt x="1981096" y="444341"/>
                  <a:pt x="1990723" y="434713"/>
                  <a:pt x="2002571" y="434713"/>
                </a:cubicBezTo>
                <a:close/>
                <a:moveTo>
                  <a:pt x="3514925" y="430541"/>
                </a:moveTo>
                <a:cubicBezTo>
                  <a:pt x="3543804" y="430541"/>
                  <a:pt x="3567254" y="453991"/>
                  <a:pt x="3567254" y="482870"/>
                </a:cubicBezTo>
                <a:cubicBezTo>
                  <a:pt x="3567008" y="511748"/>
                  <a:pt x="3543558" y="535207"/>
                  <a:pt x="3514925" y="535207"/>
                </a:cubicBezTo>
                <a:cubicBezTo>
                  <a:pt x="3486046" y="535207"/>
                  <a:pt x="3462596" y="511748"/>
                  <a:pt x="3462596" y="482870"/>
                </a:cubicBezTo>
                <a:cubicBezTo>
                  <a:pt x="3462596" y="453991"/>
                  <a:pt x="3486046" y="430541"/>
                  <a:pt x="3514925" y="430541"/>
                </a:cubicBezTo>
                <a:close/>
                <a:moveTo>
                  <a:pt x="3742013" y="430052"/>
                </a:moveTo>
                <a:cubicBezTo>
                  <a:pt x="3771139" y="430052"/>
                  <a:pt x="3794835" y="453748"/>
                  <a:pt x="3794835" y="482873"/>
                </a:cubicBezTo>
                <a:cubicBezTo>
                  <a:pt x="3794835" y="512001"/>
                  <a:pt x="3771139" y="535707"/>
                  <a:pt x="3742013" y="535707"/>
                </a:cubicBezTo>
                <a:cubicBezTo>
                  <a:pt x="3712885" y="535707"/>
                  <a:pt x="3689189" y="512001"/>
                  <a:pt x="3689189" y="482873"/>
                </a:cubicBezTo>
                <a:cubicBezTo>
                  <a:pt x="3689189" y="453748"/>
                  <a:pt x="3712885" y="430052"/>
                  <a:pt x="3742013" y="430052"/>
                </a:cubicBezTo>
                <a:close/>
                <a:moveTo>
                  <a:pt x="583769" y="430016"/>
                </a:moveTo>
                <a:cubicBezTo>
                  <a:pt x="600803" y="430016"/>
                  <a:pt x="614626" y="443839"/>
                  <a:pt x="614626" y="460870"/>
                </a:cubicBezTo>
                <a:cubicBezTo>
                  <a:pt x="614872" y="477901"/>
                  <a:pt x="600803" y="491726"/>
                  <a:pt x="583769" y="491726"/>
                </a:cubicBezTo>
                <a:cubicBezTo>
                  <a:pt x="566739" y="491726"/>
                  <a:pt x="552916" y="477901"/>
                  <a:pt x="552916" y="460870"/>
                </a:cubicBezTo>
                <a:cubicBezTo>
                  <a:pt x="552916" y="443839"/>
                  <a:pt x="566739" y="430016"/>
                  <a:pt x="583769" y="430016"/>
                </a:cubicBezTo>
                <a:close/>
                <a:moveTo>
                  <a:pt x="2479454" y="428303"/>
                </a:moveTo>
                <a:cubicBezTo>
                  <a:pt x="2499693" y="428303"/>
                  <a:pt x="2516232" y="444842"/>
                  <a:pt x="2516232" y="465329"/>
                </a:cubicBezTo>
                <a:cubicBezTo>
                  <a:pt x="2516232" y="485568"/>
                  <a:pt x="2499693" y="502353"/>
                  <a:pt x="2479454" y="502353"/>
                </a:cubicBezTo>
                <a:cubicBezTo>
                  <a:pt x="2458966" y="502353"/>
                  <a:pt x="2442427" y="485814"/>
                  <a:pt x="2442427" y="465329"/>
                </a:cubicBezTo>
                <a:cubicBezTo>
                  <a:pt x="2442427" y="444842"/>
                  <a:pt x="2458966" y="428303"/>
                  <a:pt x="2479454" y="428303"/>
                </a:cubicBezTo>
                <a:close/>
                <a:moveTo>
                  <a:pt x="1066825" y="427795"/>
                </a:moveTo>
                <a:cubicBezTo>
                  <a:pt x="1092247" y="427795"/>
                  <a:pt x="1113230" y="448529"/>
                  <a:pt x="1113230" y="473954"/>
                </a:cubicBezTo>
                <a:cubicBezTo>
                  <a:pt x="1113230" y="499379"/>
                  <a:pt x="1092496" y="520113"/>
                  <a:pt x="1066825" y="520113"/>
                </a:cubicBezTo>
                <a:cubicBezTo>
                  <a:pt x="1041402" y="520113"/>
                  <a:pt x="1020668" y="499379"/>
                  <a:pt x="1020668" y="473954"/>
                </a:cubicBezTo>
                <a:cubicBezTo>
                  <a:pt x="1020668" y="448529"/>
                  <a:pt x="1041402" y="427795"/>
                  <a:pt x="1066825" y="427795"/>
                </a:cubicBezTo>
                <a:close/>
                <a:moveTo>
                  <a:pt x="1758216" y="423358"/>
                </a:moveTo>
                <a:cubicBezTo>
                  <a:pt x="1772284" y="423358"/>
                  <a:pt x="1783887" y="434960"/>
                  <a:pt x="1783887" y="449029"/>
                </a:cubicBezTo>
                <a:cubicBezTo>
                  <a:pt x="1783887" y="463098"/>
                  <a:pt x="1772532" y="474700"/>
                  <a:pt x="1758216" y="474700"/>
                </a:cubicBezTo>
                <a:cubicBezTo>
                  <a:pt x="1744144" y="474700"/>
                  <a:pt x="1732545" y="463098"/>
                  <a:pt x="1732545" y="449029"/>
                </a:cubicBezTo>
                <a:cubicBezTo>
                  <a:pt x="1732545" y="434711"/>
                  <a:pt x="1743899" y="423358"/>
                  <a:pt x="1758216" y="423358"/>
                </a:cubicBezTo>
                <a:close/>
                <a:moveTo>
                  <a:pt x="1497554" y="419653"/>
                </a:moveTo>
                <a:cubicBezTo>
                  <a:pt x="1517055" y="419653"/>
                  <a:pt x="1532853" y="435450"/>
                  <a:pt x="1532853" y="454951"/>
                </a:cubicBezTo>
                <a:cubicBezTo>
                  <a:pt x="1533099" y="474451"/>
                  <a:pt x="1517055" y="490249"/>
                  <a:pt x="1497554" y="490249"/>
                </a:cubicBezTo>
                <a:cubicBezTo>
                  <a:pt x="1478054" y="490249"/>
                  <a:pt x="1462256" y="474451"/>
                  <a:pt x="1462256" y="454951"/>
                </a:cubicBezTo>
                <a:cubicBezTo>
                  <a:pt x="1462256" y="435450"/>
                  <a:pt x="1478054" y="419653"/>
                  <a:pt x="1497554" y="419653"/>
                </a:cubicBezTo>
                <a:close/>
                <a:moveTo>
                  <a:pt x="162175" y="406070"/>
                </a:moveTo>
                <a:cubicBezTo>
                  <a:pt x="172294" y="406070"/>
                  <a:pt x="180439" y="414215"/>
                  <a:pt x="180439" y="424335"/>
                </a:cubicBezTo>
                <a:cubicBezTo>
                  <a:pt x="180685" y="434208"/>
                  <a:pt x="172294" y="442602"/>
                  <a:pt x="162175" y="442602"/>
                </a:cubicBezTo>
                <a:cubicBezTo>
                  <a:pt x="152052" y="442602"/>
                  <a:pt x="143907" y="434457"/>
                  <a:pt x="143907" y="424335"/>
                </a:cubicBezTo>
                <a:cubicBezTo>
                  <a:pt x="143907" y="414215"/>
                  <a:pt x="152052" y="406070"/>
                  <a:pt x="162175" y="406070"/>
                </a:cubicBezTo>
                <a:close/>
                <a:moveTo>
                  <a:pt x="2721846" y="404611"/>
                </a:moveTo>
                <a:cubicBezTo>
                  <a:pt x="2745296" y="404611"/>
                  <a:pt x="2764302" y="423616"/>
                  <a:pt x="2764302" y="447066"/>
                </a:cubicBezTo>
                <a:cubicBezTo>
                  <a:pt x="2764053" y="470516"/>
                  <a:pt x="2745047" y="489521"/>
                  <a:pt x="2721846" y="489521"/>
                </a:cubicBezTo>
                <a:cubicBezTo>
                  <a:pt x="2698643" y="489521"/>
                  <a:pt x="2679637" y="470516"/>
                  <a:pt x="2679637" y="447066"/>
                </a:cubicBezTo>
                <a:cubicBezTo>
                  <a:pt x="2679637" y="423616"/>
                  <a:pt x="2698643" y="404611"/>
                  <a:pt x="2721846" y="404611"/>
                </a:cubicBezTo>
                <a:close/>
                <a:moveTo>
                  <a:pt x="2953127" y="403380"/>
                </a:moveTo>
                <a:cubicBezTo>
                  <a:pt x="2978057" y="403380"/>
                  <a:pt x="2998545" y="423868"/>
                  <a:pt x="2998545" y="448798"/>
                </a:cubicBezTo>
                <a:cubicBezTo>
                  <a:pt x="2998545" y="473976"/>
                  <a:pt x="2978057" y="494215"/>
                  <a:pt x="2953127" y="494215"/>
                </a:cubicBezTo>
                <a:cubicBezTo>
                  <a:pt x="2928197" y="494215"/>
                  <a:pt x="2907709" y="473976"/>
                  <a:pt x="2907709" y="448798"/>
                </a:cubicBezTo>
                <a:cubicBezTo>
                  <a:pt x="2907709" y="423868"/>
                  <a:pt x="2927951" y="403380"/>
                  <a:pt x="2953127" y="403380"/>
                </a:cubicBezTo>
                <a:close/>
                <a:moveTo>
                  <a:pt x="3182930" y="399681"/>
                </a:moveTo>
                <a:cubicBezTo>
                  <a:pt x="3210329" y="399681"/>
                  <a:pt x="3232792" y="421897"/>
                  <a:pt x="3232792" y="449294"/>
                </a:cubicBezTo>
                <a:cubicBezTo>
                  <a:pt x="3232792" y="476693"/>
                  <a:pt x="3210575" y="499155"/>
                  <a:pt x="3182930" y="499155"/>
                </a:cubicBezTo>
                <a:cubicBezTo>
                  <a:pt x="3155531" y="499155"/>
                  <a:pt x="3133317" y="476939"/>
                  <a:pt x="3133317" y="449294"/>
                </a:cubicBezTo>
                <a:cubicBezTo>
                  <a:pt x="3133317" y="421897"/>
                  <a:pt x="3155531" y="399681"/>
                  <a:pt x="3182930" y="399681"/>
                </a:cubicBezTo>
                <a:close/>
                <a:moveTo>
                  <a:pt x="3411501" y="397464"/>
                </a:moveTo>
                <a:cubicBezTo>
                  <a:pt x="3440134" y="397464"/>
                  <a:pt x="3463581" y="420914"/>
                  <a:pt x="3463581" y="449547"/>
                </a:cubicBezTo>
                <a:cubicBezTo>
                  <a:pt x="3463581" y="478179"/>
                  <a:pt x="3440134" y="501629"/>
                  <a:pt x="3411501" y="501629"/>
                </a:cubicBezTo>
                <a:cubicBezTo>
                  <a:pt x="3382868" y="501629"/>
                  <a:pt x="3359418" y="478179"/>
                  <a:pt x="3359418" y="449547"/>
                </a:cubicBezTo>
                <a:cubicBezTo>
                  <a:pt x="3359418" y="420914"/>
                  <a:pt x="3382868" y="397464"/>
                  <a:pt x="3411501" y="397464"/>
                </a:cubicBezTo>
                <a:close/>
                <a:moveTo>
                  <a:pt x="786915" y="394473"/>
                </a:moveTo>
                <a:cubicBezTo>
                  <a:pt x="813573" y="394473"/>
                  <a:pt x="835046" y="416194"/>
                  <a:pt x="835046" y="442606"/>
                </a:cubicBezTo>
                <a:cubicBezTo>
                  <a:pt x="835046" y="469264"/>
                  <a:pt x="813327" y="490737"/>
                  <a:pt x="786915" y="490737"/>
                </a:cubicBezTo>
                <a:cubicBezTo>
                  <a:pt x="760257" y="490737"/>
                  <a:pt x="738782" y="469015"/>
                  <a:pt x="738782" y="442606"/>
                </a:cubicBezTo>
                <a:cubicBezTo>
                  <a:pt x="738782" y="415948"/>
                  <a:pt x="760503" y="394473"/>
                  <a:pt x="786915" y="394473"/>
                </a:cubicBezTo>
                <a:close/>
                <a:moveTo>
                  <a:pt x="1239118" y="393239"/>
                </a:moveTo>
                <a:cubicBezTo>
                  <a:pt x="1265035" y="393239"/>
                  <a:pt x="1286261" y="414219"/>
                  <a:pt x="1286261" y="440136"/>
                </a:cubicBezTo>
                <a:cubicBezTo>
                  <a:pt x="1286015" y="466302"/>
                  <a:pt x="1265035" y="487282"/>
                  <a:pt x="1239118" y="487282"/>
                </a:cubicBezTo>
                <a:cubicBezTo>
                  <a:pt x="1213199" y="487282"/>
                  <a:pt x="1192218" y="466056"/>
                  <a:pt x="1192218" y="440136"/>
                </a:cubicBezTo>
                <a:cubicBezTo>
                  <a:pt x="1192218" y="414219"/>
                  <a:pt x="1213199" y="393239"/>
                  <a:pt x="1239118" y="393239"/>
                </a:cubicBezTo>
                <a:close/>
                <a:moveTo>
                  <a:pt x="1654546" y="384851"/>
                </a:moveTo>
                <a:cubicBezTo>
                  <a:pt x="1668861" y="384851"/>
                  <a:pt x="1680709" y="396453"/>
                  <a:pt x="1680709" y="411014"/>
                </a:cubicBezTo>
                <a:cubicBezTo>
                  <a:pt x="1680709" y="425332"/>
                  <a:pt x="1668861" y="437180"/>
                  <a:pt x="1654546" y="437180"/>
                </a:cubicBezTo>
                <a:cubicBezTo>
                  <a:pt x="1640229" y="437180"/>
                  <a:pt x="1628380" y="425578"/>
                  <a:pt x="1628380" y="411014"/>
                </a:cubicBezTo>
                <a:cubicBezTo>
                  <a:pt x="1628380" y="396699"/>
                  <a:pt x="1639982" y="384851"/>
                  <a:pt x="1654546" y="384851"/>
                </a:cubicBezTo>
                <a:close/>
                <a:moveTo>
                  <a:pt x="2384669" y="382635"/>
                </a:moveTo>
                <a:cubicBezTo>
                  <a:pt x="2400220" y="382635"/>
                  <a:pt x="2412810" y="395224"/>
                  <a:pt x="2412810" y="410773"/>
                </a:cubicBezTo>
                <a:cubicBezTo>
                  <a:pt x="2412810" y="426324"/>
                  <a:pt x="2400220" y="438913"/>
                  <a:pt x="2384669" y="438913"/>
                </a:cubicBezTo>
                <a:cubicBezTo>
                  <a:pt x="2369120" y="438913"/>
                  <a:pt x="2356531" y="426324"/>
                  <a:pt x="2356531" y="410773"/>
                </a:cubicBezTo>
                <a:cubicBezTo>
                  <a:pt x="2356531" y="395224"/>
                  <a:pt x="2369120" y="382635"/>
                  <a:pt x="2384669" y="382635"/>
                </a:cubicBezTo>
                <a:close/>
                <a:moveTo>
                  <a:pt x="3645253" y="374265"/>
                </a:moveTo>
                <a:cubicBezTo>
                  <a:pt x="3674379" y="374265"/>
                  <a:pt x="3698321" y="398207"/>
                  <a:pt x="3698321" y="427335"/>
                </a:cubicBezTo>
                <a:cubicBezTo>
                  <a:pt x="3698321" y="456460"/>
                  <a:pt x="3674625" y="480404"/>
                  <a:pt x="3645253" y="480404"/>
                </a:cubicBezTo>
                <a:cubicBezTo>
                  <a:pt x="3615879" y="480404"/>
                  <a:pt x="3592183" y="456706"/>
                  <a:pt x="3592183" y="427335"/>
                </a:cubicBezTo>
                <a:cubicBezTo>
                  <a:pt x="3592183" y="397961"/>
                  <a:pt x="3616126" y="374265"/>
                  <a:pt x="3645253" y="374265"/>
                </a:cubicBezTo>
                <a:close/>
                <a:moveTo>
                  <a:pt x="1909035" y="373251"/>
                </a:moveTo>
                <a:cubicBezTo>
                  <a:pt x="1924337" y="373251"/>
                  <a:pt x="1936921" y="385594"/>
                  <a:pt x="1936921" y="400897"/>
                </a:cubicBezTo>
                <a:cubicBezTo>
                  <a:pt x="1936675" y="416448"/>
                  <a:pt x="1924337" y="428788"/>
                  <a:pt x="1909035" y="428788"/>
                </a:cubicBezTo>
                <a:cubicBezTo>
                  <a:pt x="1893730" y="428788"/>
                  <a:pt x="1881389" y="416448"/>
                  <a:pt x="1881389" y="400897"/>
                </a:cubicBezTo>
                <a:cubicBezTo>
                  <a:pt x="1881389" y="385594"/>
                  <a:pt x="1893730" y="373251"/>
                  <a:pt x="1909035" y="373251"/>
                </a:cubicBezTo>
                <a:close/>
                <a:moveTo>
                  <a:pt x="2148449" y="372513"/>
                </a:moveTo>
                <a:cubicBezTo>
                  <a:pt x="2167209" y="372513"/>
                  <a:pt x="2182514" y="387816"/>
                  <a:pt x="2182514" y="406575"/>
                </a:cubicBezTo>
                <a:cubicBezTo>
                  <a:pt x="2182514" y="425334"/>
                  <a:pt x="2167209" y="440639"/>
                  <a:pt x="2148449" y="440639"/>
                </a:cubicBezTo>
                <a:cubicBezTo>
                  <a:pt x="2129690" y="440639"/>
                  <a:pt x="2114387" y="425334"/>
                  <a:pt x="2114387" y="406575"/>
                </a:cubicBezTo>
                <a:cubicBezTo>
                  <a:pt x="2114387" y="387816"/>
                  <a:pt x="2129690" y="372513"/>
                  <a:pt x="2148449" y="372513"/>
                </a:cubicBezTo>
                <a:close/>
                <a:moveTo>
                  <a:pt x="969820" y="370775"/>
                </a:moveTo>
                <a:cubicBezTo>
                  <a:pt x="996478" y="370775"/>
                  <a:pt x="1017951" y="392250"/>
                  <a:pt x="1017951" y="418908"/>
                </a:cubicBezTo>
                <a:cubicBezTo>
                  <a:pt x="1017951" y="445320"/>
                  <a:pt x="996229" y="467041"/>
                  <a:pt x="969820" y="467041"/>
                </a:cubicBezTo>
                <a:cubicBezTo>
                  <a:pt x="943408" y="467041"/>
                  <a:pt x="921687" y="445566"/>
                  <a:pt x="921687" y="418908"/>
                </a:cubicBezTo>
                <a:cubicBezTo>
                  <a:pt x="921687" y="392496"/>
                  <a:pt x="943162" y="370775"/>
                  <a:pt x="969820" y="370775"/>
                </a:cubicBezTo>
                <a:close/>
                <a:moveTo>
                  <a:pt x="480344" y="368799"/>
                </a:moveTo>
                <a:cubicBezTo>
                  <a:pt x="496633" y="368799"/>
                  <a:pt x="509717" y="382129"/>
                  <a:pt x="509717" y="398173"/>
                </a:cubicBezTo>
                <a:cubicBezTo>
                  <a:pt x="509717" y="414463"/>
                  <a:pt x="496633" y="427793"/>
                  <a:pt x="480344" y="427793"/>
                </a:cubicBezTo>
                <a:cubicBezTo>
                  <a:pt x="464051" y="427793"/>
                  <a:pt x="450970" y="414463"/>
                  <a:pt x="450970" y="398173"/>
                </a:cubicBezTo>
                <a:cubicBezTo>
                  <a:pt x="450970" y="381880"/>
                  <a:pt x="464300" y="368799"/>
                  <a:pt x="480344" y="368799"/>
                </a:cubicBezTo>
                <a:close/>
                <a:moveTo>
                  <a:pt x="2618420" y="368570"/>
                </a:moveTo>
                <a:cubicBezTo>
                  <a:pt x="2643103" y="368570"/>
                  <a:pt x="2663096" y="388563"/>
                  <a:pt x="2663096" y="413247"/>
                </a:cubicBezTo>
                <a:cubicBezTo>
                  <a:pt x="2663096" y="437684"/>
                  <a:pt x="2643103" y="457677"/>
                  <a:pt x="2618420" y="457677"/>
                </a:cubicBezTo>
                <a:cubicBezTo>
                  <a:pt x="2593736" y="457677"/>
                  <a:pt x="2573743" y="437684"/>
                  <a:pt x="2573743" y="413247"/>
                </a:cubicBezTo>
                <a:cubicBezTo>
                  <a:pt x="2573743" y="388563"/>
                  <a:pt x="2593736" y="368570"/>
                  <a:pt x="2618420" y="368570"/>
                </a:cubicBezTo>
                <a:close/>
                <a:moveTo>
                  <a:pt x="677071" y="362877"/>
                </a:moveTo>
                <a:cubicBezTo>
                  <a:pt x="693610" y="362877"/>
                  <a:pt x="706938" y="376205"/>
                  <a:pt x="706938" y="392744"/>
                </a:cubicBezTo>
                <a:cubicBezTo>
                  <a:pt x="706938" y="409036"/>
                  <a:pt x="693610" y="422610"/>
                  <a:pt x="677071" y="422610"/>
                </a:cubicBezTo>
                <a:cubicBezTo>
                  <a:pt x="660535" y="422610"/>
                  <a:pt x="647205" y="409282"/>
                  <a:pt x="647205" y="392744"/>
                </a:cubicBezTo>
                <a:cubicBezTo>
                  <a:pt x="647205" y="376205"/>
                  <a:pt x="660535" y="362877"/>
                  <a:pt x="677071" y="362877"/>
                </a:cubicBezTo>
                <a:close/>
                <a:moveTo>
                  <a:pt x="271274" y="360160"/>
                </a:moveTo>
                <a:cubicBezTo>
                  <a:pt x="284604" y="360160"/>
                  <a:pt x="295465" y="371021"/>
                  <a:pt x="295465" y="384349"/>
                </a:cubicBezTo>
                <a:cubicBezTo>
                  <a:pt x="295219" y="397679"/>
                  <a:pt x="284604" y="408540"/>
                  <a:pt x="271274" y="408540"/>
                </a:cubicBezTo>
                <a:cubicBezTo>
                  <a:pt x="257946" y="408540"/>
                  <a:pt x="247085" y="397679"/>
                  <a:pt x="247085" y="384349"/>
                </a:cubicBezTo>
                <a:cubicBezTo>
                  <a:pt x="247085" y="371021"/>
                  <a:pt x="257946" y="360160"/>
                  <a:pt x="271274" y="360160"/>
                </a:cubicBezTo>
                <a:close/>
                <a:moveTo>
                  <a:pt x="1403507" y="353500"/>
                </a:moveTo>
                <a:cubicBezTo>
                  <a:pt x="1429427" y="353500"/>
                  <a:pt x="1450407" y="374481"/>
                  <a:pt x="1450407" y="400397"/>
                </a:cubicBezTo>
                <a:cubicBezTo>
                  <a:pt x="1450407" y="426317"/>
                  <a:pt x="1429180" y="447297"/>
                  <a:pt x="1403507" y="447297"/>
                </a:cubicBezTo>
                <a:cubicBezTo>
                  <a:pt x="1377590" y="447297"/>
                  <a:pt x="1356610" y="426317"/>
                  <a:pt x="1356610" y="400397"/>
                </a:cubicBezTo>
                <a:cubicBezTo>
                  <a:pt x="1356610" y="374481"/>
                  <a:pt x="1377590" y="353500"/>
                  <a:pt x="1403507" y="353500"/>
                </a:cubicBezTo>
                <a:close/>
                <a:moveTo>
                  <a:pt x="3314988" y="343160"/>
                </a:moveTo>
                <a:cubicBezTo>
                  <a:pt x="3343126" y="343160"/>
                  <a:pt x="3366083" y="366115"/>
                  <a:pt x="3366083" y="394255"/>
                </a:cubicBezTo>
                <a:cubicBezTo>
                  <a:pt x="3366329" y="422392"/>
                  <a:pt x="3343374" y="445347"/>
                  <a:pt x="3314988" y="445347"/>
                </a:cubicBezTo>
                <a:cubicBezTo>
                  <a:pt x="3286847" y="445347"/>
                  <a:pt x="3263892" y="422392"/>
                  <a:pt x="3263892" y="394255"/>
                </a:cubicBezTo>
                <a:cubicBezTo>
                  <a:pt x="3263892" y="366115"/>
                  <a:pt x="3286847" y="343160"/>
                  <a:pt x="3314988" y="343160"/>
                </a:cubicBezTo>
                <a:close/>
                <a:moveTo>
                  <a:pt x="2857850" y="342657"/>
                </a:moveTo>
                <a:cubicBezTo>
                  <a:pt x="2885744" y="342657"/>
                  <a:pt x="2908699" y="365366"/>
                  <a:pt x="2908699" y="393257"/>
                </a:cubicBezTo>
                <a:cubicBezTo>
                  <a:pt x="2908453" y="421151"/>
                  <a:pt x="2885744" y="443860"/>
                  <a:pt x="2857850" y="443860"/>
                </a:cubicBezTo>
                <a:cubicBezTo>
                  <a:pt x="2829958" y="443860"/>
                  <a:pt x="2807003" y="421151"/>
                  <a:pt x="2807003" y="393257"/>
                </a:cubicBezTo>
                <a:cubicBezTo>
                  <a:pt x="2807003" y="365366"/>
                  <a:pt x="2829712" y="342657"/>
                  <a:pt x="2857850" y="342657"/>
                </a:cubicBezTo>
                <a:close/>
                <a:moveTo>
                  <a:pt x="3087159" y="342166"/>
                </a:moveTo>
                <a:cubicBezTo>
                  <a:pt x="3115792" y="342166"/>
                  <a:pt x="3138996" y="365369"/>
                  <a:pt x="3138996" y="394002"/>
                </a:cubicBezTo>
                <a:cubicBezTo>
                  <a:pt x="3138996" y="422386"/>
                  <a:pt x="3115792" y="445836"/>
                  <a:pt x="3087159" y="445836"/>
                </a:cubicBezTo>
                <a:cubicBezTo>
                  <a:pt x="3058529" y="445836"/>
                  <a:pt x="3035325" y="422635"/>
                  <a:pt x="3035325" y="394002"/>
                </a:cubicBezTo>
                <a:cubicBezTo>
                  <a:pt x="3035325" y="365369"/>
                  <a:pt x="3058529" y="342166"/>
                  <a:pt x="3087159" y="342166"/>
                </a:cubicBezTo>
                <a:close/>
                <a:moveTo>
                  <a:pt x="1143345" y="340664"/>
                </a:moveTo>
                <a:cubicBezTo>
                  <a:pt x="1168275" y="340664"/>
                  <a:pt x="1188763" y="360905"/>
                  <a:pt x="1188763" y="386081"/>
                </a:cubicBezTo>
                <a:cubicBezTo>
                  <a:pt x="1188763" y="411011"/>
                  <a:pt x="1168275" y="431498"/>
                  <a:pt x="1143345" y="431498"/>
                </a:cubicBezTo>
                <a:cubicBezTo>
                  <a:pt x="1118415" y="431498"/>
                  <a:pt x="1097927" y="411259"/>
                  <a:pt x="1097927" y="386081"/>
                </a:cubicBezTo>
                <a:cubicBezTo>
                  <a:pt x="1097927" y="361151"/>
                  <a:pt x="1118166" y="340664"/>
                  <a:pt x="1143345" y="340664"/>
                </a:cubicBezTo>
                <a:close/>
                <a:moveTo>
                  <a:pt x="1560249" y="334988"/>
                </a:moveTo>
                <a:cubicBezTo>
                  <a:pt x="1572593" y="334988"/>
                  <a:pt x="1582712" y="345108"/>
                  <a:pt x="1582712" y="357451"/>
                </a:cubicBezTo>
                <a:cubicBezTo>
                  <a:pt x="1582712" y="369545"/>
                  <a:pt x="1572593" y="379664"/>
                  <a:pt x="1560249" y="379664"/>
                </a:cubicBezTo>
                <a:cubicBezTo>
                  <a:pt x="1547909" y="379664"/>
                  <a:pt x="1538036" y="369545"/>
                  <a:pt x="1538036" y="357451"/>
                </a:cubicBezTo>
                <a:cubicBezTo>
                  <a:pt x="1538036" y="345108"/>
                  <a:pt x="1548155" y="334988"/>
                  <a:pt x="1560249" y="334988"/>
                </a:cubicBezTo>
                <a:close/>
                <a:moveTo>
                  <a:pt x="2054408" y="328328"/>
                </a:moveTo>
                <a:cubicBezTo>
                  <a:pt x="2067243" y="328328"/>
                  <a:pt x="2077855" y="338942"/>
                  <a:pt x="2077855" y="351778"/>
                </a:cubicBezTo>
                <a:cubicBezTo>
                  <a:pt x="2077609" y="364859"/>
                  <a:pt x="2067243" y="375227"/>
                  <a:pt x="2054408" y="375227"/>
                </a:cubicBezTo>
                <a:cubicBezTo>
                  <a:pt x="2041573" y="375227"/>
                  <a:pt x="2030958" y="364613"/>
                  <a:pt x="2030958" y="351778"/>
                </a:cubicBezTo>
                <a:cubicBezTo>
                  <a:pt x="2030958" y="338942"/>
                  <a:pt x="2041573" y="328328"/>
                  <a:pt x="2054408" y="328328"/>
                </a:cubicBezTo>
                <a:close/>
                <a:moveTo>
                  <a:pt x="2289887" y="326851"/>
                </a:moveTo>
                <a:cubicBezTo>
                  <a:pt x="2306177" y="326851"/>
                  <a:pt x="2319261" y="339932"/>
                  <a:pt x="2319261" y="356224"/>
                </a:cubicBezTo>
                <a:cubicBezTo>
                  <a:pt x="2319261" y="372514"/>
                  <a:pt x="2306177" y="385598"/>
                  <a:pt x="2289887" y="385598"/>
                </a:cubicBezTo>
                <a:cubicBezTo>
                  <a:pt x="2273843" y="385598"/>
                  <a:pt x="2260513" y="372514"/>
                  <a:pt x="2260513" y="356224"/>
                </a:cubicBezTo>
                <a:cubicBezTo>
                  <a:pt x="2260513" y="339932"/>
                  <a:pt x="2273595" y="326851"/>
                  <a:pt x="2289887" y="326851"/>
                </a:cubicBezTo>
                <a:close/>
                <a:moveTo>
                  <a:pt x="3548248" y="318232"/>
                </a:moveTo>
                <a:cubicBezTo>
                  <a:pt x="3577620" y="318232"/>
                  <a:pt x="3601316" y="341928"/>
                  <a:pt x="3601316" y="371301"/>
                </a:cubicBezTo>
                <a:cubicBezTo>
                  <a:pt x="3601316" y="400426"/>
                  <a:pt x="3577620" y="424371"/>
                  <a:pt x="3548248" y="424371"/>
                </a:cubicBezTo>
                <a:cubicBezTo>
                  <a:pt x="3519121" y="424371"/>
                  <a:pt x="3495178" y="400675"/>
                  <a:pt x="3495178" y="371301"/>
                </a:cubicBezTo>
                <a:cubicBezTo>
                  <a:pt x="3495178" y="342174"/>
                  <a:pt x="3518874" y="318232"/>
                  <a:pt x="3548248" y="318232"/>
                </a:cubicBezTo>
                <a:close/>
                <a:moveTo>
                  <a:pt x="3773605" y="317495"/>
                </a:moveTo>
                <a:cubicBezTo>
                  <a:pt x="3803225" y="317495"/>
                  <a:pt x="3827168" y="341437"/>
                  <a:pt x="3827168" y="371057"/>
                </a:cubicBezTo>
                <a:cubicBezTo>
                  <a:pt x="3827416" y="400430"/>
                  <a:pt x="3803225" y="424621"/>
                  <a:pt x="3773605" y="424621"/>
                </a:cubicBezTo>
                <a:cubicBezTo>
                  <a:pt x="3743985" y="424621"/>
                  <a:pt x="3720042" y="400430"/>
                  <a:pt x="3720042" y="371057"/>
                </a:cubicBezTo>
                <a:cubicBezTo>
                  <a:pt x="3720042" y="341437"/>
                  <a:pt x="3743985" y="317495"/>
                  <a:pt x="3773605" y="317495"/>
                </a:cubicBezTo>
                <a:close/>
                <a:moveTo>
                  <a:pt x="872565" y="316225"/>
                </a:moveTo>
                <a:cubicBezTo>
                  <a:pt x="898484" y="316225"/>
                  <a:pt x="919464" y="337205"/>
                  <a:pt x="919464" y="362876"/>
                </a:cubicBezTo>
                <a:cubicBezTo>
                  <a:pt x="919216" y="388793"/>
                  <a:pt x="898235" y="409776"/>
                  <a:pt x="872565" y="409776"/>
                </a:cubicBezTo>
                <a:cubicBezTo>
                  <a:pt x="846894" y="409776"/>
                  <a:pt x="825914" y="388793"/>
                  <a:pt x="825914" y="362876"/>
                </a:cubicBezTo>
                <a:cubicBezTo>
                  <a:pt x="825914" y="337205"/>
                  <a:pt x="846894" y="316225"/>
                  <a:pt x="872565" y="316225"/>
                </a:cubicBezTo>
                <a:close/>
                <a:moveTo>
                  <a:pt x="1814739" y="314997"/>
                </a:moveTo>
                <a:cubicBezTo>
                  <a:pt x="1832264" y="314997"/>
                  <a:pt x="1846584" y="329315"/>
                  <a:pt x="1846584" y="346838"/>
                </a:cubicBezTo>
                <a:cubicBezTo>
                  <a:pt x="1846584" y="364364"/>
                  <a:pt x="1832264" y="378682"/>
                  <a:pt x="1814739" y="378682"/>
                </a:cubicBezTo>
                <a:cubicBezTo>
                  <a:pt x="1797217" y="378682"/>
                  <a:pt x="1782899" y="364364"/>
                  <a:pt x="1782899" y="346838"/>
                </a:cubicBezTo>
                <a:cubicBezTo>
                  <a:pt x="1782899" y="329315"/>
                  <a:pt x="1797217" y="314997"/>
                  <a:pt x="1814739" y="314997"/>
                </a:cubicBezTo>
                <a:close/>
                <a:moveTo>
                  <a:pt x="2523388" y="312290"/>
                </a:moveTo>
                <a:cubicBezTo>
                  <a:pt x="2548813" y="312290"/>
                  <a:pt x="2569547" y="333024"/>
                  <a:pt x="2569547" y="358202"/>
                </a:cubicBezTo>
                <a:cubicBezTo>
                  <a:pt x="2569547" y="383378"/>
                  <a:pt x="2548813" y="404111"/>
                  <a:pt x="2523388" y="404111"/>
                </a:cubicBezTo>
                <a:cubicBezTo>
                  <a:pt x="2497966" y="404111"/>
                  <a:pt x="2477478" y="383378"/>
                  <a:pt x="2477478" y="358202"/>
                </a:cubicBezTo>
                <a:cubicBezTo>
                  <a:pt x="2477478" y="332778"/>
                  <a:pt x="2498212" y="312290"/>
                  <a:pt x="2523388" y="312290"/>
                </a:cubicBezTo>
                <a:close/>
                <a:moveTo>
                  <a:pt x="375440" y="303387"/>
                </a:moveTo>
                <a:cubicBezTo>
                  <a:pt x="391976" y="303387"/>
                  <a:pt x="405552" y="316964"/>
                  <a:pt x="405552" y="333503"/>
                </a:cubicBezTo>
                <a:cubicBezTo>
                  <a:pt x="405552" y="350285"/>
                  <a:pt x="391976" y="363615"/>
                  <a:pt x="375440" y="363615"/>
                </a:cubicBezTo>
                <a:cubicBezTo>
                  <a:pt x="358901" y="363615"/>
                  <a:pt x="345324" y="350039"/>
                  <a:pt x="345324" y="333503"/>
                </a:cubicBezTo>
                <a:cubicBezTo>
                  <a:pt x="345324" y="316964"/>
                  <a:pt x="358901" y="303387"/>
                  <a:pt x="375440" y="303387"/>
                </a:cubicBezTo>
                <a:close/>
                <a:moveTo>
                  <a:pt x="1308475" y="301171"/>
                </a:moveTo>
                <a:cubicBezTo>
                  <a:pt x="1333653" y="301171"/>
                  <a:pt x="1354139" y="321658"/>
                  <a:pt x="1354139" y="346834"/>
                </a:cubicBezTo>
                <a:cubicBezTo>
                  <a:pt x="1354139" y="372259"/>
                  <a:pt x="1333653" y="392498"/>
                  <a:pt x="1308475" y="392498"/>
                </a:cubicBezTo>
                <a:cubicBezTo>
                  <a:pt x="1283299" y="392498"/>
                  <a:pt x="1262811" y="372013"/>
                  <a:pt x="1262811" y="346834"/>
                </a:cubicBezTo>
                <a:cubicBezTo>
                  <a:pt x="1262811" y="321658"/>
                  <a:pt x="1283299" y="301171"/>
                  <a:pt x="1308475" y="301171"/>
                </a:cubicBezTo>
                <a:close/>
                <a:moveTo>
                  <a:pt x="49368" y="297463"/>
                </a:moveTo>
                <a:cubicBezTo>
                  <a:pt x="74052" y="297463"/>
                  <a:pt x="94047" y="317456"/>
                  <a:pt x="94047" y="342139"/>
                </a:cubicBezTo>
                <a:cubicBezTo>
                  <a:pt x="94047" y="366577"/>
                  <a:pt x="74052" y="386818"/>
                  <a:pt x="49368" y="386818"/>
                </a:cubicBezTo>
                <a:cubicBezTo>
                  <a:pt x="24685" y="386818"/>
                  <a:pt x="4692" y="366823"/>
                  <a:pt x="4692" y="342139"/>
                </a:cubicBezTo>
                <a:cubicBezTo>
                  <a:pt x="4692" y="317456"/>
                  <a:pt x="24685" y="297463"/>
                  <a:pt x="49368" y="297463"/>
                </a:cubicBezTo>
                <a:close/>
                <a:moveTo>
                  <a:pt x="576115" y="294997"/>
                </a:moveTo>
                <a:cubicBezTo>
                  <a:pt x="597341" y="294997"/>
                  <a:pt x="614621" y="312274"/>
                  <a:pt x="614621" y="333503"/>
                </a:cubicBezTo>
                <a:cubicBezTo>
                  <a:pt x="614867" y="354730"/>
                  <a:pt x="597590" y="372009"/>
                  <a:pt x="576115" y="372009"/>
                </a:cubicBezTo>
                <a:cubicBezTo>
                  <a:pt x="554886" y="372009"/>
                  <a:pt x="537609" y="354730"/>
                  <a:pt x="537609" y="333503"/>
                </a:cubicBezTo>
                <a:cubicBezTo>
                  <a:pt x="537609" y="312274"/>
                  <a:pt x="554886" y="294997"/>
                  <a:pt x="576115" y="294997"/>
                </a:cubicBezTo>
                <a:close/>
                <a:moveTo>
                  <a:pt x="764450" y="288086"/>
                </a:moveTo>
                <a:cubicBezTo>
                  <a:pt x="780247" y="288086"/>
                  <a:pt x="793329" y="300922"/>
                  <a:pt x="793329" y="316965"/>
                </a:cubicBezTo>
                <a:cubicBezTo>
                  <a:pt x="793083" y="332763"/>
                  <a:pt x="780247" y="345844"/>
                  <a:pt x="764450" y="345844"/>
                </a:cubicBezTo>
                <a:cubicBezTo>
                  <a:pt x="748652" y="345844"/>
                  <a:pt x="735571" y="333009"/>
                  <a:pt x="735571" y="316965"/>
                </a:cubicBezTo>
                <a:cubicBezTo>
                  <a:pt x="735571" y="301168"/>
                  <a:pt x="748406" y="288086"/>
                  <a:pt x="764450" y="288086"/>
                </a:cubicBezTo>
                <a:close/>
                <a:moveTo>
                  <a:pt x="3218474" y="287618"/>
                </a:moveTo>
                <a:cubicBezTo>
                  <a:pt x="3246612" y="287618"/>
                  <a:pt x="3269570" y="310573"/>
                  <a:pt x="3269570" y="338713"/>
                </a:cubicBezTo>
                <a:cubicBezTo>
                  <a:pt x="3269570" y="366851"/>
                  <a:pt x="3246612" y="389805"/>
                  <a:pt x="3218474" y="389805"/>
                </a:cubicBezTo>
                <a:cubicBezTo>
                  <a:pt x="3190334" y="389805"/>
                  <a:pt x="3167379" y="366851"/>
                  <a:pt x="3167379" y="338713"/>
                </a:cubicBezTo>
                <a:cubicBezTo>
                  <a:pt x="3167379" y="310573"/>
                  <a:pt x="3190334" y="287618"/>
                  <a:pt x="3218474" y="287618"/>
                </a:cubicBezTo>
                <a:close/>
                <a:moveTo>
                  <a:pt x="3444821" y="286884"/>
                </a:moveTo>
                <a:cubicBezTo>
                  <a:pt x="3473208" y="286884"/>
                  <a:pt x="3496409" y="310087"/>
                  <a:pt x="3496409" y="338471"/>
                </a:cubicBezTo>
                <a:cubicBezTo>
                  <a:pt x="3496409" y="366858"/>
                  <a:pt x="3473208" y="390059"/>
                  <a:pt x="3444821" y="390059"/>
                </a:cubicBezTo>
                <a:cubicBezTo>
                  <a:pt x="3416437" y="390059"/>
                  <a:pt x="3393233" y="366858"/>
                  <a:pt x="3393233" y="338471"/>
                </a:cubicBezTo>
                <a:cubicBezTo>
                  <a:pt x="3393233" y="310087"/>
                  <a:pt x="3416437" y="286884"/>
                  <a:pt x="3444821" y="286884"/>
                </a:cubicBezTo>
                <a:close/>
                <a:moveTo>
                  <a:pt x="2990895" y="286875"/>
                </a:moveTo>
                <a:cubicBezTo>
                  <a:pt x="3019773" y="286875"/>
                  <a:pt x="3042977" y="310325"/>
                  <a:pt x="3042977" y="338958"/>
                </a:cubicBezTo>
                <a:cubicBezTo>
                  <a:pt x="3043223" y="367590"/>
                  <a:pt x="3019773" y="391040"/>
                  <a:pt x="2990895" y="391040"/>
                </a:cubicBezTo>
                <a:cubicBezTo>
                  <a:pt x="2962016" y="391040"/>
                  <a:pt x="2938812" y="367590"/>
                  <a:pt x="2938812" y="338958"/>
                </a:cubicBezTo>
                <a:cubicBezTo>
                  <a:pt x="2938812" y="310079"/>
                  <a:pt x="2962262" y="286875"/>
                  <a:pt x="2990895" y="286875"/>
                </a:cubicBezTo>
                <a:close/>
                <a:moveTo>
                  <a:pt x="1047571" y="286605"/>
                </a:moveTo>
                <a:cubicBezTo>
                  <a:pt x="1072748" y="286605"/>
                  <a:pt x="1092987" y="307093"/>
                  <a:pt x="1092987" y="332022"/>
                </a:cubicBezTo>
                <a:cubicBezTo>
                  <a:pt x="1092987" y="356952"/>
                  <a:pt x="1072500" y="377440"/>
                  <a:pt x="1047571" y="377440"/>
                </a:cubicBezTo>
                <a:cubicBezTo>
                  <a:pt x="1022395" y="377440"/>
                  <a:pt x="1002154" y="356952"/>
                  <a:pt x="1002154" y="332022"/>
                </a:cubicBezTo>
                <a:cubicBezTo>
                  <a:pt x="1002154" y="306847"/>
                  <a:pt x="1022642" y="286605"/>
                  <a:pt x="1047571" y="286605"/>
                </a:cubicBezTo>
                <a:close/>
                <a:moveTo>
                  <a:pt x="2762325" y="286377"/>
                </a:moveTo>
                <a:cubicBezTo>
                  <a:pt x="2790711" y="286377"/>
                  <a:pt x="2813666" y="309331"/>
                  <a:pt x="2813666" y="337718"/>
                </a:cubicBezTo>
                <a:cubicBezTo>
                  <a:pt x="2813666" y="366104"/>
                  <a:pt x="2790465" y="389059"/>
                  <a:pt x="2762325" y="389059"/>
                </a:cubicBezTo>
                <a:cubicBezTo>
                  <a:pt x="2733938" y="389059"/>
                  <a:pt x="2710983" y="366104"/>
                  <a:pt x="2710983" y="337718"/>
                </a:cubicBezTo>
                <a:cubicBezTo>
                  <a:pt x="2710983" y="309331"/>
                  <a:pt x="2733938" y="286377"/>
                  <a:pt x="2762325" y="286377"/>
                </a:cubicBezTo>
                <a:close/>
                <a:moveTo>
                  <a:pt x="1711564" y="275256"/>
                </a:moveTo>
                <a:cubicBezTo>
                  <a:pt x="1730818" y="275256"/>
                  <a:pt x="1746367" y="290808"/>
                  <a:pt x="1746367" y="310059"/>
                </a:cubicBezTo>
                <a:cubicBezTo>
                  <a:pt x="1746367" y="329314"/>
                  <a:pt x="1730818" y="344862"/>
                  <a:pt x="1711564" y="344862"/>
                </a:cubicBezTo>
                <a:cubicBezTo>
                  <a:pt x="1692312" y="344862"/>
                  <a:pt x="1676760" y="329314"/>
                  <a:pt x="1676760" y="310059"/>
                </a:cubicBezTo>
                <a:cubicBezTo>
                  <a:pt x="1676760" y="290808"/>
                  <a:pt x="1692312" y="275256"/>
                  <a:pt x="1711564" y="275256"/>
                </a:cubicBezTo>
                <a:close/>
                <a:moveTo>
                  <a:pt x="161186" y="266115"/>
                </a:moveTo>
                <a:cubicBezTo>
                  <a:pt x="185620" y="266115"/>
                  <a:pt x="205369" y="285861"/>
                  <a:pt x="205369" y="310299"/>
                </a:cubicBezTo>
                <a:cubicBezTo>
                  <a:pt x="205369" y="334736"/>
                  <a:pt x="185620" y="354482"/>
                  <a:pt x="161186" y="354482"/>
                </a:cubicBezTo>
                <a:cubicBezTo>
                  <a:pt x="136748" y="354482"/>
                  <a:pt x="117002" y="334736"/>
                  <a:pt x="117002" y="310299"/>
                </a:cubicBezTo>
                <a:cubicBezTo>
                  <a:pt x="117002" y="285861"/>
                  <a:pt x="136748" y="266115"/>
                  <a:pt x="161186" y="266115"/>
                </a:cubicBezTo>
                <a:close/>
                <a:moveTo>
                  <a:pt x="2428115" y="263663"/>
                </a:moveTo>
                <a:cubicBezTo>
                  <a:pt x="2449836" y="263663"/>
                  <a:pt x="2467608" y="281435"/>
                  <a:pt x="2467608" y="303156"/>
                </a:cubicBezTo>
                <a:cubicBezTo>
                  <a:pt x="2467608" y="325123"/>
                  <a:pt x="2449836" y="342649"/>
                  <a:pt x="2428115" y="342649"/>
                </a:cubicBezTo>
                <a:cubicBezTo>
                  <a:pt x="2406393" y="342649"/>
                  <a:pt x="2388621" y="324877"/>
                  <a:pt x="2388621" y="303156"/>
                </a:cubicBezTo>
                <a:cubicBezTo>
                  <a:pt x="2388621" y="281435"/>
                  <a:pt x="2406393" y="263663"/>
                  <a:pt x="2428115" y="263663"/>
                </a:cubicBezTo>
                <a:close/>
                <a:moveTo>
                  <a:pt x="3676108" y="260970"/>
                </a:moveTo>
                <a:cubicBezTo>
                  <a:pt x="3705974" y="260970"/>
                  <a:pt x="3730165" y="285158"/>
                  <a:pt x="3730165" y="315026"/>
                </a:cubicBezTo>
                <a:cubicBezTo>
                  <a:pt x="3730411" y="344646"/>
                  <a:pt x="3705974" y="369083"/>
                  <a:pt x="3676108" y="369083"/>
                </a:cubicBezTo>
                <a:cubicBezTo>
                  <a:pt x="3646241" y="369083"/>
                  <a:pt x="3622050" y="344892"/>
                  <a:pt x="3622050" y="315026"/>
                </a:cubicBezTo>
                <a:cubicBezTo>
                  <a:pt x="3622050" y="285158"/>
                  <a:pt x="3646241" y="260970"/>
                  <a:pt x="3676108" y="260970"/>
                </a:cubicBezTo>
                <a:close/>
                <a:moveTo>
                  <a:pt x="1960369" y="258721"/>
                </a:moveTo>
                <a:cubicBezTo>
                  <a:pt x="1981096" y="258721"/>
                  <a:pt x="1998130" y="275752"/>
                  <a:pt x="1998130" y="296486"/>
                </a:cubicBezTo>
                <a:cubicBezTo>
                  <a:pt x="1998130" y="317220"/>
                  <a:pt x="1981096" y="334251"/>
                  <a:pt x="1960369" y="334251"/>
                </a:cubicBezTo>
                <a:cubicBezTo>
                  <a:pt x="1939637" y="334251"/>
                  <a:pt x="1922608" y="317466"/>
                  <a:pt x="1922608" y="296486"/>
                </a:cubicBezTo>
                <a:cubicBezTo>
                  <a:pt x="1922608" y="275752"/>
                  <a:pt x="1939637" y="258721"/>
                  <a:pt x="1960369" y="258721"/>
                </a:cubicBezTo>
                <a:close/>
                <a:moveTo>
                  <a:pt x="2195843" y="258231"/>
                </a:moveTo>
                <a:cubicBezTo>
                  <a:pt x="2219045" y="258231"/>
                  <a:pt x="2238050" y="277236"/>
                  <a:pt x="2238050" y="300440"/>
                </a:cubicBezTo>
                <a:cubicBezTo>
                  <a:pt x="2238050" y="323641"/>
                  <a:pt x="2219045" y="342646"/>
                  <a:pt x="2195843" y="342646"/>
                </a:cubicBezTo>
                <a:cubicBezTo>
                  <a:pt x="2172640" y="342646"/>
                  <a:pt x="2153634" y="323641"/>
                  <a:pt x="2153634" y="300440"/>
                </a:cubicBezTo>
                <a:cubicBezTo>
                  <a:pt x="2153634" y="277236"/>
                  <a:pt x="2172640" y="258231"/>
                  <a:pt x="2195843" y="258231"/>
                </a:cubicBezTo>
                <a:close/>
                <a:moveTo>
                  <a:pt x="1466454" y="256496"/>
                </a:moveTo>
                <a:cubicBezTo>
                  <a:pt x="1492125" y="256496"/>
                  <a:pt x="1512859" y="277230"/>
                  <a:pt x="1512859" y="302900"/>
                </a:cubicBezTo>
                <a:cubicBezTo>
                  <a:pt x="1512859" y="328571"/>
                  <a:pt x="1491879" y="349551"/>
                  <a:pt x="1466454" y="349551"/>
                </a:cubicBezTo>
                <a:cubicBezTo>
                  <a:pt x="1440783" y="349551"/>
                  <a:pt x="1420049" y="328571"/>
                  <a:pt x="1420049" y="302900"/>
                </a:cubicBezTo>
                <a:cubicBezTo>
                  <a:pt x="1420049" y="277230"/>
                  <a:pt x="1440783" y="256496"/>
                  <a:pt x="1466454" y="256496"/>
                </a:cubicBezTo>
                <a:close/>
                <a:moveTo>
                  <a:pt x="2658900" y="251818"/>
                </a:moveTo>
                <a:cubicBezTo>
                  <a:pt x="2687779" y="251818"/>
                  <a:pt x="2711478" y="275514"/>
                  <a:pt x="2711478" y="304393"/>
                </a:cubicBezTo>
                <a:cubicBezTo>
                  <a:pt x="2711478" y="333271"/>
                  <a:pt x="2688028" y="356967"/>
                  <a:pt x="2658900" y="356967"/>
                </a:cubicBezTo>
                <a:cubicBezTo>
                  <a:pt x="2629775" y="356967"/>
                  <a:pt x="2606325" y="333271"/>
                  <a:pt x="2606325" y="304393"/>
                </a:cubicBezTo>
                <a:cubicBezTo>
                  <a:pt x="2606325" y="275514"/>
                  <a:pt x="2630021" y="251818"/>
                  <a:pt x="2658900" y="251818"/>
                </a:cubicBezTo>
                <a:close/>
                <a:moveTo>
                  <a:pt x="1213692" y="249829"/>
                </a:moveTo>
                <a:cubicBezTo>
                  <a:pt x="1237635" y="249829"/>
                  <a:pt x="1257136" y="269329"/>
                  <a:pt x="1257136" y="293271"/>
                </a:cubicBezTo>
                <a:cubicBezTo>
                  <a:pt x="1257136" y="317214"/>
                  <a:pt x="1237635" y="336714"/>
                  <a:pt x="1213692" y="336714"/>
                </a:cubicBezTo>
                <a:cubicBezTo>
                  <a:pt x="1189750" y="336714"/>
                  <a:pt x="1170249" y="317214"/>
                  <a:pt x="1170249" y="293271"/>
                </a:cubicBezTo>
                <a:cubicBezTo>
                  <a:pt x="1170249" y="269329"/>
                  <a:pt x="1189750" y="249829"/>
                  <a:pt x="1213692" y="249829"/>
                </a:cubicBezTo>
                <a:close/>
                <a:moveTo>
                  <a:pt x="3347570" y="234058"/>
                </a:moveTo>
                <a:cubicBezTo>
                  <a:pt x="3374428" y="234058"/>
                  <a:pt x="3396199" y="255829"/>
                  <a:pt x="3396199" y="282684"/>
                </a:cubicBezTo>
                <a:cubicBezTo>
                  <a:pt x="3396199" y="309538"/>
                  <a:pt x="3374428" y="331312"/>
                  <a:pt x="3347570" y="331312"/>
                </a:cubicBezTo>
                <a:cubicBezTo>
                  <a:pt x="3320715" y="331312"/>
                  <a:pt x="3298944" y="309538"/>
                  <a:pt x="3298944" y="282684"/>
                </a:cubicBezTo>
                <a:cubicBezTo>
                  <a:pt x="3298944" y="255829"/>
                  <a:pt x="3320715" y="234058"/>
                  <a:pt x="3347570" y="234058"/>
                </a:cubicBezTo>
                <a:close/>
                <a:moveTo>
                  <a:pt x="474173" y="232299"/>
                </a:moveTo>
                <a:cubicBezTo>
                  <a:pt x="496387" y="232299"/>
                  <a:pt x="514654" y="250318"/>
                  <a:pt x="514654" y="272780"/>
                </a:cubicBezTo>
                <a:cubicBezTo>
                  <a:pt x="514654" y="295243"/>
                  <a:pt x="496636" y="313261"/>
                  <a:pt x="474173" y="313261"/>
                </a:cubicBezTo>
                <a:cubicBezTo>
                  <a:pt x="451959" y="313261"/>
                  <a:pt x="433692" y="295243"/>
                  <a:pt x="433692" y="272780"/>
                </a:cubicBezTo>
                <a:cubicBezTo>
                  <a:pt x="433692" y="250566"/>
                  <a:pt x="451959" y="232299"/>
                  <a:pt x="474173" y="232299"/>
                </a:cubicBezTo>
                <a:close/>
                <a:moveTo>
                  <a:pt x="2894874" y="231581"/>
                </a:moveTo>
                <a:cubicBezTo>
                  <a:pt x="2923260" y="231581"/>
                  <a:pt x="2946215" y="254536"/>
                  <a:pt x="2946215" y="282922"/>
                </a:cubicBezTo>
                <a:cubicBezTo>
                  <a:pt x="2946215" y="311062"/>
                  <a:pt x="2923260" y="334263"/>
                  <a:pt x="2894874" y="334263"/>
                </a:cubicBezTo>
                <a:cubicBezTo>
                  <a:pt x="2866487" y="334263"/>
                  <a:pt x="2843532" y="311308"/>
                  <a:pt x="2843532" y="282922"/>
                </a:cubicBezTo>
                <a:cubicBezTo>
                  <a:pt x="2843532" y="254536"/>
                  <a:pt x="2866487" y="231581"/>
                  <a:pt x="2894874" y="231581"/>
                </a:cubicBezTo>
                <a:close/>
                <a:moveTo>
                  <a:pt x="951801" y="231560"/>
                </a:moveTo>
                <a:cubicBezTo>
                  <a:pt x="976731" y="231560"/>
                  <a:pt x="997218" y="251802"/>
                  <a:pt x="997218" y="276978"/>
                </a:cubicBezTo>
                <a:cubicBezTo>
                  <a:pt x="996970" y="302156"/>
                  <a:pt x="976731" y="322395"/>
                  <a:pt x="951801" y="322395"/>
                </a:cubicBezTo>
                <a:cubicBezTo>
                  <a:pt x="926869" y="322395"/>
                  <a:pt x="906630" y="302156"/>
                  <a:pt x="906630" y="276978"/>
                </a:cubicBezTo>
                <a:cubicBezTo>
                  <a:pt x="906630" y="252048"/>
                  <a:pt x="926869" y="231560"/>
                  <a:pt x="951801" y="231560"/>
                </a:cubicBezTo>
                <a:close/>
                <a:moveTo>
                  <a:pt x="3121962" y="231338"/>
                </a:moveTo>
                <a:cubicBezTo>
                  <a:pt x="3150349" y="231338"/>
                  <a:pt x="3173550" y="254541"/>
                  <a:pt x="3173550" y="282925"/>
                </a:cubicBezTo>
                <a:cubicBezTo>
                  <a:pt x="3173550" y="311312"/>
                  <a:pt x="3150349" y="334513"/>
                  <a:pt x="3121962" y="334513"/>
                </a:cubicBezTo>
                <a:cubicBezTo>
                  <a:pt x="3093578" y="334513"/>
                  <a:pt x="3070374" y="311312"/>
                  <a:pt x="3070374" y="282925"/>
                </a:cubicBezTo>
                <a:cubicBezTo>
                  <a:pt x="3070374" y="254541"/>
                  <a:pt x="3093578" y="231338"/>
                  <a:pt x="3121962" y="231338"/>
                </a:cubicBezTo>
                <a:close/>
                <a:moveTo>
                  <a:pt x="1617270" y="227615"/>
                </a:moveTo>
                <a:cubicBezTo>
                  <a:pt x="1633068" y="227615"/>
                  <a:pt x="1645904" y="240450"/>
                  <a:pt x="1645904" y="256248"/>
                </a:cubicBezTo>
                <a:cubicBezTo>
                  <a:pt x="1645904" y="272045"/>
                  <a:pt x="1633068" y="284881"/>
                  <a:pt x="1617270" y="284881"/>
                </a:cubicBezTo>
                <a:cubicBezTo>
                  <a:pt x="1601473" y="284881"/>
                  <a:pt x="1588637" y="272045"/>
                  <a:pt x="1588637" y="256248"/>
                </a:cubicBezTo>
                <a:cubicBezTo>
                  <a:pt x="1588637" y="240450"/>
                  <a:pt x="1601473" y="227615"/>
                  <a:pt x="1617270" y="227615"/>
                </a:cubicBezTo>
                <a:close/>
                <a:moveTo>
                  <a:pt x="665715" y="226130"/>
                </a:moveTo>
                <a:cubicBezTo>
                  <a:pt x="684475" y="226130"/>
                  <a:pt x="699780" y="241432"/>
                  <a:pt x="699780" y="260194"/>
                </a:cubicBezTo>
                <a:cubicBezTo>
                  <a:pt x="700026" y="278951"/>
                  <a:pt x="684723" y="294256"/>
                  <a:pt x="665715" y="294256"/>
                </a:cubicBezTo>
                <a:cubicBezTo>
                  <a:pt x="646956" y="294256"/>
                  <a:pt x="631653" y="278951"/>
                  <a:pt x="631653" y="260194"/>
                </a:cubicBezTo>
                <a:cubicBezTo>
                  <a:pt x="631653" y="241432"/>
                  <a:pt x="646956" y="226130"/>
                  <a:pt x="665715" y="226130"/>
                </a:cubicBezTo>
                <a:close/>
                <a:moveTo>
                  <a:pt x="268806" y="222672"/>
                </a:moveTo>
                <a:cubicBezTo>
                  <a:pt x="292997" y="222672"/>
                  <a:pt x="312495" y="242172"/>
                  <a:pt x="312495" y="266361"/>
                </a:cubicBezTo>
                <a:cubicBezTo>
                  <a:pt x="312495" y="290306"/>
                  <a:pt x="292748" y="310052"/>
                  <a:pt x="268806" y="310052"/>
                </a:cubicBezTo>
                <a:cubicBezTo>
                  <a:pt x="244617" y="310052"/>
                  <a:pt x="225117" y="290552"/>
                  <a:pt x="225117" y="266361"/>
                </a:cubicBezTo>
                <a:cubicBezTo>
                  <a:pt x="225117" y="242172"/>
                  <a:pt x="244617" y="222672"/>
                  <a:pt x="268806" y="222672"/>
                </a:cubicBezTo>
                <a:close/>
                <a:moveTo>
                  <a:pt x="2101059" y="210837"/>
                </a:moveTo>
                <a:cubicBezTo>
                  <a:pt x="2120065" y="210837"/>
                  <a:pt x="2135367" y="226140"/>
                  <a:pt x="2135367" y="245148"/>
                </a:cubicBezTo>
                <a:cubicBezTo>
                  <a:pt x="2135367" y="264154"/>
                  <a:pt x="2120065" y="279456"/>
                  <a:pt x="2101059" y="279456"/>
                </a:cubicBezTo>
                <a:cubicBezTo>
                  <a:pt x="2082053" y="279456"/>
                  <a:pt x="2066748" y="264154"/>
                  <a:pt x="2066748" y="245148"/>
                </a:cubicBezTo>
                <a:cubicBezTo>
                  <a:pt x="2066748" y="226140"/>
                  <a:pt x="2082053" y="210837"/>
                  <a:pt x="2101059" y="210837"/>
                </a:cubicBezTo>
                <a:close/>
                <a:moveTo>
                  <a:pt x="1371914" y="207620"/>
                </a:moveTo>
                <a:cubicBezTo>
                  <a:pt x="1394872" y="207620"/>
                  <a:pt x="1413632" y="226379"/>
                  <a:pt x="1413632" y="249334"/>
                </a:cubicBezTo>
                <a:cubicBezTo>
                  <a:pt x="1413383" y="272538"/>
                  <a:pt x="1394872" y="291051"/>
                  <a:pt x="1371914" y="291051"/>
                </a:cubicBezTo>
                <a:cubicBezTo>
                  <a:pt x="1348959" y="291051"/>
                  <a:pt x="1330200" y="272289"/>
                  <a:pt x="1330200" y="249334"/>
                </a:cubicBezTo>
                <a:cubicBezTo>
                  <a:pt x="1330200" y="226379"/>
                  <a:pt x="1348959" y="207620"/>
                  <a:pt x="1371914" y="207620"/>
                </a:cubicBezTo>
                <a:close/>
                <a:moveTo>
                  <a:pt x="845167" y="206630"/>
                </a:moveTo>
                <a:cubicBezTo>
                  <a:pt x="860470" y="206630"/>
                  <a:pt x="872813" y="218972"/>
                  <a:pt x="872813" y="234275"/>
                </a:cubicBezTo>
                <a:cubicBezTo>
                  <a:pt x="872813" y="249577"/>
                  <a:pt x="860470" y="261920"/>
                  <a:pt x="845167" y="261920"/>
                </a:cubicBezTo>
                <a:cubicBezTo>
                  <a:pt x="829865" y="261920"/>
                  <a:pt x="817522" y="249577"/>
                  <a:pt x="817522" y="234275"/>
                </a:cubicBezTo>
                <a:cubicBezTo>
                  <a:pt x="817522" y="218972"/>
                  <a:pt x="829865" y="206630"/>
                  <a:pt x="845167" y="206630"/>
                </a:cubicBezTo>
                <a:close/>
                <a:moveTo>
                  <a:pt x="2332835" y="206396"/>
                </a:moveTo>
                <a:cubicBezTo>
                  <a:pt x="2356038" y="206396"/>
                  <a:pt x="2375044" y="225156"/>
                  <a:pt x="2375044" y="248359"/>
                </a:cubicBezTo>
                <a:cubicBezTo>
                  <a:pt x="2375044" y="271561"/>
                  <a:pt x="2356285" y="290320"/>
                  <a:pt x="2332835" y="290320"/>
                </a:cubicBezTo>
                <a:cubicBezTo>
                  <a:pt x="2309634" y="290320"/>
                  <a:pt x="2290874" y="271561"/>
                  <a:pt x="2290874" y="248359"/>
                </a:cubicBezTo>
                <a:cubicBezTo>
                  <a:pt x="2290874" y="225156"/>
                  <a:pt x="2309634" y="206396"/>
                  <a:pt x="2332835" y="206396"/>
                </a:cubicBezTo>
                <a:close/>
                <a:moveTo>
                  <a:pt x="3578605" y="204689"/>
                </a:moveTo>
                <a:cubicBezTo>
                  <a:pt x="3608228" y="204689"/>
                  <a:pt x="3632416" y="228877"/>
                  <a:pt x="3632416" y="258497"/>
                </a:cubicBezTo>
                <a:cubicBezTo>
                  <a:pt x="3632170" y="288366"/>
                  <a:pt x="3608228" y="312308"/>
                  <a:pt x="3578605" y="312308"/>
                </a:cubicBezTo>
                <a:cubicBezTo>
                  <a:pt x="3548987" y="312308"/>
                  <a:pt x="3524796" y="288119"/>
                  <a:pt x="3524796" y="258497"/>
                </a:cubicBezTo>
                <a:cubicBezTo>
                  <a:pt x="3524796" y="228877"/>
                  <a:pt x="3548987" y="204689"/>
                  <a:pt x="3578605" y="204689"/>
                </a:cubicBezTo>
                <a:close/>
                <a:moveTo>
                  <a:pt x="1866081" y="204170"/>
                </a:moveTo>
                <a:cubicBezTo>
                  <a:pt x="1886816" y="204170"/>
                  <a:pt x="1903848" y="221201"/>
                  <a:pt x="1903848" y="241935"/>
                </a:cubicBezTo>
                <a:cubicBezTo>
                  <a:pt x="1903602" y="262669"/>
                  <a:pt x="1886816" y="279700"/>
                  <a:pt x="1866081" y="279700"/>
                </a:cubicBezTo>
                <a:cubicBezTo>
                  <a:pt x="1845348" y="279700"/>
                  <a:pt x="1828316" y="262669"/>
                  <a:pt x="1828316" y="241935"/>
                </a:cubicBezTo>
                <a:cubicBezTo>
                  <a:pt x="1828316" y="221201"/>
                  <a:pt x="1845102" y="204170"/>
                  <a:pt x="1866081" y="204170"/>
                </a:cubicBezTo>
                <a:close/>
                <a:moveTo>
                  <a:pt x="3802238" y="203460"/>
                </a:moveTo>
                <a:cubicBezTo>
                  <a:pt x="3832353" y="203460"/>
                  <a:pt x="3856791" y="227897"/>
                  <a:pt x="3856791" y="258009"/>
                </a:cubicBezTo>
                <a:cubicBezTo>
                  <a:pt x="3856791" y="288124"/>
                  <a:pt x="3832107" y="312559"/>
                  <a:pt x="3802238" y="312559"/>
                </a:cubicBezTo>
                <a:cubicBezTo>
                  <a:pt x="3772125" y="312559"/>
                  <a:pt x="3747688" y="288124"/>
                  <a:pt x="3747688" y="258009"/>
                </a:cubicBezTo>
                <a:cubicBezTo>
                  <a:pt x="3747688" y="227897"/>
                  <a:pt x="3772125" y="203460"/>
                  <a:pt x="3802238" y="203460"/>
                </a:cubicBezTo>
                <a:close/>
                <a:moveTo>
                  <a:pt x="2563131" y="196773"/>
                </a:moveTo>
                <a:cubicBezTo>
                  <a:pt x="2591764" y="196773"/>
                  <a:pt x="2615214" y="220223"/>
                  <a:pt x="2615214" y="248855"/>
                </a:cubicBezTo>
                <a:cubicBezTo>
                  <a:pt x="2615214" y="277734"/>
                  <a:pt x="2592010" y="300938"/>
                  <a:pt x="2563131" y="300938"/>
                </a:cubicBezTo>
                <a:cubicBezTo>
                  <a:pt x="2534498" y="300938"/>
                  <a:pt x="2511048" y="277488"/>
                  <a:pt x="2511048" y="248855"/>
                </a:cubicBezTo>
                <a:cubicBezTo>
                  <a:pt x="2511048" y="220223"/>
                  <a:pt x="2534498" y="196773"/>
                  <a:pt x="2563131" y="196773"/>
                </a:cubicBezTo>
                <a:close/>
                <a:moveTo>
                  <a:pt x="1118661" y="196511"/>
                </a:moveTo>
                <a:cubicBezTo>
                  <a:pt x="1142357" y="196511"/>
                  <a:pt x="1161609" y="215763"/>
                  <a:pt x="1161609" y="239462"/>
                </a:cubicBezTo>
                <a:cubicBezTo>
                  <a:pt x="1161609" y="263155"/>
                  <a:pt x="1142357" y="282410"/>
                  <a:pt x="1118661" y="282410"/>
                </a:cubicBezTo>
                <a:cubicBezTo>
                  <a:pt x="1094962" y="282410"/>
                  <a:pt x="1075711" y="263155"/>
                  <a:pt x="1075711" y="239462"/>
                </a:cubicBezTo>
                <a:cubicBezTo>
                  <a:pt x="1075711" y="215763"/>
                  <a:pt x="1094962" y="196511"/>
                  <a:pt x="1118661" y="196511"/>
                </a:cubicBezTo>
                <a:close/>
                <a:moveTo>
                  <a:pt x="48878" y="191571"/>
                </a:moveTo>
                <a:cubicBezTo>
                  <a:pt x="70350" y="191571"/>
                  <a:pt x="87876" y="209097"/>
                  <a:pt x="87876" y="230573"/>
                </a:cubicBezTo>
                <a:cubicBezTo>
                  <a:pt x="87876" y="252045"/>
                  <a:pt x="70350" y="269571"/>
                  <a:pt x="48878" y="269571"/>
                </a:cubicBezTo>
                <a:cubicBezTo>
                  <a:pt x="27402" y="269571"/>
                  <a:pt x="9876" y="252045"/>
                  <a:pt x="9876" y="230573"/>
                </a:cubicBezTo>
                <a:cubicBezTo>
                  <a:pt x="9876" y="209097"/>
                  <a:pt x="27402" y="191571"/>
                  <a:pt x="48878" y="191571"/>
                </a:cubicBezTo>
                <a:close/>
                <a:moveTo>
                  <a:pt x="3250316" y="180494"/>
                </a:moveTo>
                <a:cubicBezTo>
                  <a:pt x="3275741" y="180494"/>
                  <a:pt x="3296721" y="201228"/>
                  <a:pt x="3296721" y="226899"/>
                </a:cubicBezTo>
                <a:cubicBezTo>
                  <a:pt x="3296721" y="252569"/>
                  <a:pt x="3275741" y="273303"/>
                  <a:pt x="3250316" y="273303"/>
                </a:cubicBezTo>
                <a:cubicBezTo>
                  <a:pt x="3224645" y="273303"/>
                  <a:pt x="3203911" y="252569"/>
                  <a:pt x="3203911" y="226899"/>
                </a:cubicBezTo>
                <a:cubicBezTo>
                  <a:pt x="3203911" y="201474"/>
                  <a:pt x="3224645" y="180494"/>
                  <a:pt x="3250316" y="180494"/>
                </a:cubicBezTo>
                <a:close/>
                <a:moveTo>
                  <a:pt x="3024958" y="178515"/>
                </a:moveTo>
                <a:cubicBezTo>
                  <a:pt x="3051863" y="178515"/>
                  <a:pt x="3073830" y="200483"/>
                  <a:pt x="3073830" y="227636"/>
                </a:cubicBezTo>
                <a:cubicBezTo>
                  <a:pt x="3073830" y="254540"/>
                  <a:pt x="3051863" y="276507"/>
                  <a:pt x="3024958" y="276507"/>
                </a:cubicBezTo>
                <a:cubicBezTo>
                  <a:pt x="2998052" y="276507"/>
                  <a:pt x="2976084" y="254540"/>
                  <a:pt x="2976084" y="227636"/>
                </a:cubicBezTo>
                <a:cubicBezTo>
                  <a:pt x="2976084" y="200729"/>
                  <a:pt x="2998052" y="178515"/>
                  <a:pt x="3024958" y="178515"/>
                </a:cubicBezTo>
                <a:close/>
                <a:moveTo>
                  <a:pt x="2798609" y="176537"/>
                </a:moveTo>
                <a:cubicBezTo>
                  <a:pt x="2826255" y="176537"/>
                  <a:pt x="2848964" y="199000"/>
                  <a:pt x="2848964" y="226892"/>
                </a:cubicBezTo>
                <a:cubicBezTo>
                  <a:pt x="2848964" y="254783"/>
                  <a:pt x="2826255" y="277246"/>
                  <a:pt x="2798609" y="277246"/>
                </a:cubicBezTo>
                <a:cubicBezTo>
                  <a:pt x="2770964" y="277246"/>
                  <a:pt x="2748255" y="254783"/>
                  <a:pt x="2748255" y="226892"/>
                </a:cubicBezTo>
                <a:cubicBezTo>
                  <a:pt x="2748255" y="199246"/>
                  <a:pt x="2770718" y="176537"/>
                  <a:pt x="2798609" y="176537"/>
                </a:cubicBezTo>
                <a:close/>
                <a:moveTo>
                  <a:pt x="3474690" y="175067"/>
                </a:moveTo>
                <a:cubicBezTo>
                  <a:pt x="3502828" y="175067"/>
                  <a:pt x="3525786" y="198022"/>
                  <a:pt x="3525786" y="226162"/>
                </a:cubicBezTo>
                <a:cubicBezTo>
                  <a:pt x="3525786" y="254299"/>
                  <a:pt x="3502828" y="277254"/>
                  <a:pt x="3474690" y="277254"/>
                </a:cubicBezTo>
                <a:cubicBezTo>
                  <a:pt x="3446550" y="277254"/>
                  <a:pt x="3423595" y="254299"/>
                  <a:pt x="3423595" y="226162"/>
                </a:cubicBezTo>
                <a:cubicBezTo>
                  <a:pt x="3423595" y="198022"/>
                  <a:pt x="3446550" y="175067"/>
                  <a:pt x="3474690" y="175067"/>
                </a:cubicBezTo>
                <a:close/>
                <a:moveTo>
                  <a:pt x="370749" y="167629"/>
                </a:moveTo>
                <a:cubicBezTo>
                  <a:pt x="394445" y="167629"/>
                  <a:pt x="413945" y="186881"/>
                  <a:pt x="413945" y="210826"/>
                </a:cubicBezTo>
                <a:cubicBezTo>
                  <a:pt x="413945" y="234522"/>
                  <a:pt x="394691" y="254022"/>
                  <a:pt x="370749" y="254022"/>
                </a:cubicBezTo>
                <a:cubicBezTo>
                  <a:pt x="347053" y="254022"/>
                  <a:pt x="327552" y="234768"/>
                  <a:pt x="327552" y="210826"/>
                </a:cubicBezTo>
                <a:cubicBezTo>
                  <a:pt x="327552" y="187130"/>
                  <a:pt x="347053" y="167629"/>
                  <a:pt x="370749" y="167629"/>
                </a:cubicBezTo>
                <a:close/>
                <a:moveTo>
                  <a:pt x="1523228" y="162450"/>
                </a:moveTo>
                <a:cubicBezTo>
                  <a:pt x="1544950" y="162450"/>
                  <a:pt x="1562473" y="179976"/>
                  <a:pt x="1562473" y="201697"/>
                </a:cubicBezTo>
                <a:cubicBezTo>
                  <a:pt x="1562473" y="223418"/>
                  <a:pt x="1544950" y="240944"/>
                  <a:pt x="1523228" y="240944"/>
                </a:cubicBezTo>
                <a:cubicBezTo>
                  <a:pt x="1501506" y="240944"/>
                  <a:pt x="1483980" y="223418"/>
                  <a:pt x="1483980" y="201697"/>
                </a:cubicBezTo>
                <a:cubicBezTo>
                  <a:pt x="1483980" y="179976"/>
                  <a:pt x="1501506" y="162450"/>
                  <a:pt x="1523228" y="162450"/>
                </a:cubicBezTo>
                <a:close/>
                <a:moveTo>
                  <a:pt x="1762904" y="161960"/>
                </a:moveTo>
                <a:cubicBezTo>
                  <a:pt x="1787338" y="161960"/>
                  <a:pt x="1807087" y="181706"/>
                  <a:pt x="1807087" y="206143"/>
                </a:cubicBezTo>
                <a:cubicBezTo>
                  <a:pt x="1807087" y="230578"/>
                  <a:pt x="1787338" y="250325"/>
                  <a:pt x="1762904" y="250325"/>
                </a:cubicBezTo>
                <a:cubicBezTo>
                  <a:pt x="1738467" y="250325"/>
                  <a:pt x="1718720" y="230578"/>
                  <a:pt x="1718720" y="206143"/>
                </a:cubicBezTo>
                <a:cubicBezTo>
                  <a:pt x="1718720" y="181706"/>
                  <a:pt x="1738467" y="161960"/>
                  <a:pt x="1762904" y="161960"/>
                </a:cubicBezTo>
                <a:close/>
                <a:moveTo>
                  <a:pt x="748405" y="157262"/>
                </a:moveTo>
                <a:cubicBezTo>
                  <a:pt x="760502" y="157262"/>
                  <a:pt x="770372" y="167135"/>
                  <a:pt x="770372" y="179229"/>
                </a:cubicBezTo>
                <a:cubicBezTo>
                  <a:pt x="770372" y="191324"/>
                  <a:pt x="760502" y="201197"/>
                  <a:pt x="748405" y="201197"/>
                </a:cubicBezTo>
                <a:cubicBezTo>
                  <a:pt x="736311" y="201197"/>
                  <a:pt x="726437" y="191324"/>
                  <a:pt x="726437" y="179229"/>
                </a:cubicBezTo>
                <a:cubicBezTo>
                  <a:pt x="726437" y="167135"/>
                  <a:pt x="736311" y="157262"/>
                  <a:pt x="748405" y="157262"/>
                </a:cubicBezTo>
                <a:close/>
                <a:moveTo>
                  <a:pt x="1277374" y="155785"/>
                </a:moveTo>
                <a:cubicBezTo>
                  <a:pt x="1299345" y="155785"/>
                  <a:pt x="1317363" y="173803"/>
                  <a:pt x="1317363" y="195771"/>
                </a:cubicBezTo>
                <a:cubicBezTo>
                  <a:pt x="1317363" y="217987"/>
                  <a:pt x="1299591" y="235759"/>
                  <a:pt x="1277374" y="235759"/>
                </a:cubicBezTo>
                <a:cubicBezTo>
                  <a:pt x="1255407" y="235759"/>
                  <a:pt x="1237389" y="217741"/>
                  <a:pt x="1237389" y="195771"/>
                </a:cubicBezTo>
                <a:cubicBezTo>
                  <a:pt x="1237389" y="173803"/>
                  <a:pt x="1255407" y="155785"/>
                  <a:pt x="1277374" y="155785"/>
                </a:cubicBezTo>
                <a:close/>
                <a:moveTo>
                  <a:pt x="159950" y="155285"/>
                </a:moveTo>
                <a:cubicBezTo>
                  <a:pt x="181920" y="155285"/>
                  <a:pt x="199692" y="173057"/>
                  <a:pt x="199692" y="195025"/>
                </a:cubicBezTo>
                <a:cubicBezTo>
                  <a:pt x="199443" y="216995"/>
                  <a:pt x="181671" y="234767"/>
                  <a:pt x="159950" y="234767"/>
                </a:cubicBezTo>
                <a:cubicBezTo>
                  <a:pt x="138229" y="234767"/>
                  <a:pt x="120210" y="216995"/>
                  <a:pt x="120210" y="195025"/>
                </a:cubicBezTo>
                <a:cubicBezTo>
                  <a:pt x="120210" y="173057"/>
                  <a:pt x="137983" y="155285"/>
                  <a:pt x="159950" y="155285"/>
                </a:cubicBezTo>
                <a:close/>
                <a:moveTo>
                  <a:pt x="566487" y="153066"/>
                </a:moveTo>
                <a:cubicBezTo>
                  <a:pt x="593887" y="153066"/>
                  <a:pt x="616349" y="175280"/>
                  <a:pt x="616349" y="202679"/>
                </a:cubicBezTo>
                <a:cubicBezTo>
                  <a:pt x="616103" y="230078"/>
                  <a:pt x="593887" y="252541"/>
                  <a:pt x="566487" y="252541"/>
                </a:cubicBezTo>
                <a:cubicBezTo>
                  <a:pt x="539091" y="252541"/>
                  <a:pt x="516874" y="230325"/>
                  <a:pt x="516874" y="202679"/>
                </a:cubicBezTo>
                <a:cubicBezTo>
                  <a:pt x="516874" y="175280"/>
                  <a:pt x="539091" y="153066"/>
                  <a:pt x="566487" y="153066"/>
                </a:cubicBezTo>
                <a:close/>
                <a:moveTo>
                  <a:pt x="3703753" y="146686"/>
                </a:moveTo>
                <a:cubicBezTo>
                  <a:pt x="3734114" y="146686"/>
                  <a:pt x="3758798" y="171369"/>
                  <a:pt x="3758798" y="201730"/>
                </a:cubicBezTo>
                <a:cubicBezTo>
                  <a:pt x="3758798" y="232091"/>
                  <a:pt x="3734114" y="256774"/>
                  <a:pt x="3703753" y="256774"/>
                </a:cubicBezTo>
                <a:cubicBezTo>
                  <a:pt x="3673392" y="256774"/>
                  <a:pt x="3648708" y="232091"/>
                  <a:pt x="3648708" y="201730"/>
                </a:cubicBezTo>
                <a:cubicBezTo>
                  <a:pt x="3648708" y="171369"/>
                  <a:pt x="3673392" y="146686"/>
                  <a:pt x="3703753" y="146686"/>
                </a:cubicBezTo>
                <a:close/>
                <a:moveTo>
                  <a:pt x="2695185" y="144941"/>
                </a:moveTo>
                <a:cubicBezTo>
                  <a:pt x="2722336" y="144941"/>
                  <a:pt x="2744552" y="167155"/>
                  <a:pt x="2744552" y="194307"/>
                </a:cubicBezTo>
                <a:cubicBezTo>
                  <a:pt x="2744552" y="221458"/>
                  <a:pt x="2722336" y="243674"/>
                  <a:pt x="2695185" y="243674"/>
                </a:cubicBezTo>
                <a:cubicBezTo>
                  <a:pt x="2668032" y="243674"/>
                  <a:pt x="2645818" y="221458"/>
                  <a:pt x="2645818" y="194307"/>
                </a:cubicBezTo>
                <a:cubicBezTo>
                  <a:pt x="2645818" y="167155"/>
                  <a:pt x="2668032" y="144941"/>
                  <a:pt x="2695185" y="144941"/>
                </a:cubicBezTo>
                <a:close/>
                <a:moveTo>
                  <a:pt x="2467359" y="143703"/>
                </a:moveTo>
                <a:cubicBezTo>
                  <a:pt x="2495005" y="143703"/>
                  <a:pt x="2517465" y="166166"/>
                  <a:pt x="2517465" y="193811"/>
                </a:cubicBezTo>
                <a:cubicBezTo>
                  <a:pt x="2517465" y="221457"/>
                  <a:pt x="2495005" y="243917"/>
                  <a:pt x="2467359" y="243917"/>
                </a:cubicBezTo>
                <a:cubicBezTo>
                  <a:pt x="2439714" y="243917"/>
                  <a:pt x="2417251" y="221457"/>
                  <a:pt x="2417251" y="193811"/>
                </a:cubicBezTo>
                <a:cubicBezTo>
                  <a:pt x="2417251" y="166166"/>
                  <a:pt x="2439714" y="143703"/>
                  <a:pt x="2467359" y="143703"/>
                </a:cubicBezTo>
                <a:close/>
                <a:moveTo>
                  <a:pt x="2006521" y="143697"/>
                </a:moveTo>
                <a:cubicBezTo>
                  <a:pt x="2031699" y="143697"/>
                  <a:pt x="2051938" y="164185"/>
                  <a:pt x="2051938" y="189361"/>
                </a:cubicBezTo>
                <a:cubicBezTo>
                  <a:pt x="2051938" y="214539"/>
                  <a:pt x="2031699" y="234778"/>
                  <a:pt x="2006521" y="234778"/>
                </a:cubicBezTo>
                <a:cubicBezTo>
                  <a:pt x="1981342" y="234778"/>
                  <a:pt x="1961110" y="214293"/>
                  <a:pt x="1961110" y="189361"/>
                </a:cubicBezTo>
                <a:cubicBezTo>
                  <a:pt x="1961110" y="164431"/>
                  <a:pt x="1981591" y="143697"/>
                  <a:pt x="2006521" y="143697"/>
                </a:cubicBezTo>
                <a:close/>
                <a:moveTo>
                  <a:pt x="1023874" y="141220"/>
                </a:moveTo>
                <a:cubicBezTo>
                  <a:pt x="1048066" y="141220"/>
                  <a:pt x="1067812" y="160967"/>
                  <a:pt x="1067812" y="185156"/>
                </a:cubicBezTo>
                <a:cubicBezTo>
                  <a:pt x="1067812" y="209593"/>
                  <a:pt x="1048066" y="229094"/>
                  <a:pt x="1023874" y="229094"/>
                </a:cubicBezTo>
                <a:cubicBezTo>
                  <a:pt x="999686" y="229094"/>
                  <a:pt x="979939" y="209347"/>
                  <a:pt x="979939" y="185156"/>
                </a:cubicBezTo>
                <a:cubicBezTo>
                  <a:pt x="979939" y="160967"/>
                  <a:pt x="999686" y="141220"/>
                  <a:pt x="1023874" y="141220"/>
                </a:cubicBezTo>
                <a:close/>
                <a:moveTo>
                  <a:pt x="2238051" y="140984"/>
                </a:moveTo>
                <a:cubicBezTo>
                  <a:pt x="2266191" y="140984"/>
                  <a:pt x="2288900" y="163693"/>
                  <a:pt x="2288900" y="191830"/>
                </a:cubicBezTo>
                <a:cubicBezTo>
                  <a:pt x="2288900" y="219971"/>
                  <a:pt x="2266191" y="242679"/>
                  <a:pt x="2238051" y="242679"/>
                </a:cubicBezTo>
                <a:cubicBezTo>
                  <a:pt x="2209913" y="242679"/>
                  <a:pt x="2187204" y="219971"/>
                  <a:pt x="2187204" y="191830"/>
                </a:cubicBezTo>
                <a:cubicBezTo>
                  <a:pt x="2187204" y="163693"/>
                  <a:pt x="2209913" y="140984"/>
                  <a:pt x="2238051" y="140984"/>
                </a:cubicBezTo>
                <a:close/>
                <a:moveTo>
                  <a:pt x="3376698" y="124219"/>
                </a:moveTo>
                <a:cubicBezTo>
                  <a:pt x="3402120" y="124219"/>
                  <a:pt x="3422854" y="144953"/>
                  <a:pt x="3422854" y="170378"/>
                </a:cubicBezTo>
                <a:cubicBezTo>
                  <a:pt x="3422854" y="195802"/>
                  <a:pt x="3402120" y="216536"/>
                  <a:pt x="3376698" y="216536"/>
                </a:cubicBezTo>
                <a:cubicBezTo>
                  <a:pt x="3351273" y="216536"/>
                  <a:pt x="3330539" y="195802"/>
                  <a:pt x="3330539" y="170378"/>
                </a:cubicBezTo>
                <a:cubicBezTo>
                  <a:pt x="3330539" y="144953"/>
                  <a:pt x="3351273" y="124219"/>
                  <a:pt x="3376698" y="124219"/>
                </a:cubicBezTo>
                <a:close/>
                <a:moveTo>
                  <a:pt x="2927951" y="123962"/>
                </a:moveTo>
                <a:cubicBezTo>
                  <a:pt x="2953869" y="123962"/>
                  <a:pt x="2975098" y="144942"/>
                  <a:pt x="2975098" y="171108"/>
                </a:cubicBezTo>
                <a:cubicBezTo>
                  <a:pt x="2975098" y="197025"/>
                  <a:pt x="2953869" y="218254"/>
                  <a:pt x="2927951" y="218254"/>
                </a:cubicBezTo>
                <a:cubicBezTo>
                  <a:pt x="2902032" y="218254"/>
                  <a:pt x="2880805" y="197025"/>
                  <a:pt x="2880805" y="171108"/>
                </a:cubicBezTo>
                <a:cubicBezTo>
                  <a:pt x="2880805" y="145191"/>
                  <a:pt x="2902032" y="123962"/>
                  <a:pt x="2927951" y="123962"/>
                </a:cubicBezTo>
                <a:close/>
                <a:moveTo>
                  <a:pt x="3152817" y="119770"/>
                </a:moveTo>
                <a:cubicBezTo>
                  <a:pt x="3181036" y="119770"/>
                  <a:pt x="3203910" y="142647"/>
                  <a:pt x="3203910" y="170865"/>
                </a:cubicBezTo>
                <a:cubicBezTo>
                  <a:pt x="3203910" y="199082"/>
                  <a:pt x="3181036" y="221960"/>
                  <a:pt x="3152817" y="221960"/>
                </a:cubicBezTo>
                <a:cubicBezTo>
                  <a:pt x="3124597" y="221960"/>
                  <a:pt x="3101722" y="199082"/>
                  <a:pt x="3101722" y="170865"/>
                </a:cubicBezTo>
                <a:cubicBezTo>
                  <a:pt x="3101722" y="142647"/>
                  <a:pt x="3124597" y="119770"/>
                  <a:pt x="3152817" y="119770"/>
                </a:cubicBezTo>
                <a:close/>
                <a:moveTo>
                  <a:pt x="918723" y="118511"/>
                </a:moveTo>
                <a:cubicBezTo>
                  <a:pt x="933533" y="118511"/>
                  <a:pt x="945381" y="130359"/>
                  <a:pt x="945381" y="145169"/>
                </a:cubicBezTo>
                <a:cubicBezTo>
                  <a:pt x="945381" y="159979"/>
                  <a:pt x="933533" y="171827"/>
                  <a:pt x="918723" y="171827"/>
                </a:cubicBezTo>
                <a:cubicBezTo>
                  <a:pt x="904159" y="171827"/>
                  <a:pt x="892065" y="159979"/>
                  <a:pt x="892065" y="145169"/>
                </a:cubicBezTo>
                <a:cubicBezTo>
                  <a:pt x="892065" y="130359"/>
                  <a:pt x="904159" y="118511"/>
                  <a:pt x="918723" y="118511"/>
                </a:cubicBezTo>
                <a:close/>
                <a:moveTo>
                  <a:pt x="1668365" y="112346"/>
                </a:moveTo>
                <a:cubicBezTo>
                  <a:pt x="1690087" y="112346"/>
                  <a:pt x="1707859" y="130118"/>
                  <a:pt x="1707859" y="152085"/>
                </a:cubicBezTo>
                <a:cubicBezTo>
                  <a:pt x="1707859" y="173807"/>
                  <a:pt x="1690087" y="191579"/>
                  <a:pt x="1668365" y="191579"/>
                </a:cubicBezTo>
                <a:cubicBezTo>
                  <a:pt x="1646397" y="191579"/>
                  <a:pt x="1628625" y="173807"/>
                  <a:pt x="1628625" y="152085"/>
                </a:cubicBezTo>
                <a:cubicBezTo>
                  <a:pt x="1628625" y="130118"/>
                  <a:pt x="1646397" y="112346"/>
                  <a:pt x="1668365" y="112346"/>
                </a:cubicBezTo>
                <a:close/>
                <a:moveTo>
                  <a:pt x="1428688" y="111602"/>
                </a:moveTo>
                <a:cubicBezTo>
                  <a:pt x="1448930" y="111602"/>
                  <a:pt x="1465219" y="127894"/>
                  <a:pt x="1465219" y="148133"/>
                </a:cubicBezTo>
                <a:cubicBezTo>
                  <a:pt x="1465465" y="168375"/>
                  <a:pt x="1448930" y="184665"/>
                  <a:pt x="1428688" y="184665"/>
                </a:cubicBezTo>
                <a:cubicBezTo>
                  <a:pt x="1408448" y="184665"/>
                  <a:pt x="1392156" y="168375"/>
                  <a:pt x="1392156" y="148133"/>
                </a:cubicBezTo>
                <a:cubicBezTo>
                  <a:pt x="1392156" y="127894"/>
                  <a:pt x="1408694" y="111602"/>
                  <a:pt x="1428688" y="111602"/>
                </a:cubicBezTo>
                <a:close/>
                <a:moveTo>
                  <a:pt x="265595" y="106907"/>
                </a:moveTo>
                <a:cubicBezTo>
                  <a:pt x="287316" y="106907"/>
                  <a:pt x="305088" y="124679"/>
                  <a:pt x="305088" y="146400"/>
                </a:cubicBezTo>
                <a:cubicBezTo>
                  <a:pt x="305088" y="168121"/>
                  <a:pt x="287316" y="185893"/>
                  <a:pt x="265595" y="185893"/>
                </a:cubicBezTo>
                <a:cubicBezTo>
                  <a:pt x="243874" y="185893"/>
                  <a:pt x="226102" y="168121"/>
                  <a:pt x="226102" y="146400"/>
                </a:cubicBezTo>
                <a:cubicBezTo>
                  <a:pt x="226102" y="124679"/>
                  <a:pt x="243874" y="106907"/>
                  <a:pt x="265595" y="106907"/>
                </a:cubicBezTo>
                <a:close/>
                <a:moveTo>
                  <a:pt x="1183084" y="103209"/>
                </a:moveTo>
                <a:cubicBezTo>
                  <a:pt x="1204557" y="103209"/>
                  <a:pt x="1222083" y="120735"/>
                  <a:pt x="1222083" y="142210"/>
                </a:cubicBezTo>
                <a:cubicBezTo>
                  <a:pt x="1222083" y="163683"/>
                  <a:pt x="1204557" y="181209"/>
                  <a:pt x="1183084" y="181209"/>
                </a:cubicBezTo>
                <a:cubicBezTo>
                  <a:pt x="1161609" y="181209"/>
                  <a:pt x="1144083" y="163683"/>
                  <a:pt x="1144083" y="142210"/>
                </a:cubicBezTo>
                <a:cubicBezTo>
                  <a:pt x="1144083" y="120735"/>
                  <a:pt x="1161609" y="103209"/>
                  <a:pt x="1183084" y="103209"/>
                </a:cubicBezTo>
                <a:close/>
                <a:moveTo>
                  <a:pt x="466272" y="102711"/>
                </a:moveTo>
                <a:cubicBezTo>
                  <a:pt x="489229" y="102711"/>
                  <a:pt x="507989" y="121470"/>
                  <a:pt x="507989" y="144425"/>
                </a:cubicBezTo>
                <a:cubicBezTo>
                  <a:pt x="507989" y="167629"/>
                  <a:pt x="489229" y="186389"/>
                  <a:pt x="466272" y="186389"/>
                </a:cubicBezTo>
                <a:cubicBezTo>
                  <a:pt x="443317" y="186389"/>
                  <a:pt x="424311" y="167629"/>
                  <a:pt x="424311" y="144425"/>
                </a:cubicBezTo>
                <a:cubicBezTo>
                  <a:pt x="424311" y="121470"/>
                  <a:pt x="443070" y="102711"/>
                  <a:pt x="466272" y="102711"/>
                </a:cubicBezTo>
                <a:close/>
                <a:moveTo>
                  <a:pt x="1911499" y="92352"/>
                </a:moveTo>
                <a:cubicBezTo>
                  <a:pt x="1934700" y="92352"/>
                  <a:pt x="1953460" y="111112"/>
                  <a:pt x="1953460" y="134313"/>
                </a:cubicBezTo>
                <a:cubicBezTo>
                  <a:pt x="1953460" y="157516"/>
                  <a:pt x="1934700" y="176276"/>
                  <a:pt x="1911499" y="176276"/>
                </a:cubicBezTo>
                <a:cubicBezTo>
                  <a:pt x="1888543" y="176276"/>
                  <a:pt x="1869785" y="157516"/>
                  <a:pt x="1869785" y="134313"/>
                </a:cubicBezTo>
                <a:cubicBezTo>
                  <a:pt x="1869785" y="111358"/>
                  <a:pt x="1888543" y="92352"/>
                  <a:pt x="1911499" y="92352"/>
                </a:cubicBezTo>
                <a:close/>
                <a:moveTo>
                  <a:pt x="3605265" y="90654"/>
                </a:moveTo>
                <a:cubicBezTo>
                  <a:pt x="3635380" y="90654"/>
                  <a:pt x="3659815" y="115091"/>
                  <a:pt x="3659815" y="145204"/>
                </a:cubicBezTo>
                <a:cubicBezTo>
                  <a:pt x="3659815" y="175318"/>
                  <a:pt x="3635380" y="199753"/>
                  <a:pt x="3605265" y="199753"/>
                </a:cubicBezTo>
                <a:cubicBezTo>
                  <a:pt x="3575152" y="199753"/>
                  <a:pt x="3550715" y="175318"/>
                  <a:pt x="3550715" y="145204"/>
                </a:cubicBezTo>
                <a:cubicBezTo>
                  <a:pt x="3550715" y="115091"/>
                  <a:pt x="3575152" y="90654"/>
                  <a:pt x="3605265" y="90654"/>
                </a:cubicBezTo>
                <a:close/>
                <a:moveTo>
                  <a:pt x="3827416" y="89177"/>
                </a:moveTo>
                <a:cubicBezTo>
                  <a:pt x="3858024" y="89177"/>
                  <a:pt x="3882707" y="114106"/>
                  <a:pt x="3882707" y="144467"/>
                </a:cubicBezTo>
                <a:cubicBezTo>
                  <a:pt x="3882707" y="174828"/>
                  <a:pt x="3858024" y="199757"/>
                  <a:pt x="3827416" y="199757"/>
                </a:cubicBezTo>
                <a:cubicBezTo>
                  <a:pt x="3796809" y="199757"/>
                  <a:pt x="3772125" y="175074"/>
                  <a:pt x="3772125" y="144467"/>
                </a:cubicBezTo>
                <a:cubicBezTo>
                  <a:pt x="3772125" y="113860"/>
                  <a:pt x="3796809" y="89177"/>
                  <a:pt x="3827416" y="89177"/>
                </a:cubicBezTo>
                <a:close/>
                <a:moveTo>
                  <a:pt x="2598672" y="88907"/>
                </a:moveTo>
                <a:cubicBezTo>
                  <a:pt x="2626071" y="88907"/>
                  <a:pt x="2648285" y="111121"/>
                  <a:pt x="2648285" y="138520"/>
                </a:cubicBezTo>
                <a:cubicBezTo>
                  <a:pt x="2648285" y="165919"/>
                  <a:pt x="2626071" y="188135"/>
                  <a:pt x="2598672" y="188135"/>
                </a:cubicBezTo>
                <a:cubicBezTo>
                  <a:pt x="2571273" y="188135"/>
                  <a:pt x="2549059" y="165919"/>
                  <a:pt x="2549059" y="138520"/>
                </a:cubicBezTo>
                <a:cubicBezTo>
                  <a:pt x="2549059" y="111121"/>
                  <a:pt x="2571273" y="88907"/>
                  <a:pt x="2598672" y="88907"/>
                </a:cubicBezTo>
                <a:close/>
                <a:moveTo>
                  <a:pt x="2142773" y="86926"/>
                </a:moveTo>
                <a:cubicBezTo>
                  <a:pt x="2169926" y="86926"/>
                  <a:pt x="2192140" y="109142"/>
                  <a:pt x="2192140" y="136293"/>
                </a:cubicBezTo>
                <a:cubicBezTo>
                  <a:pt x="2192140" y="163446"/>
                  <a:pt x="2169926" y="185660"/>
                  <a:pt x="2142773" y="185660"/>
                </a:cubicBezTo>
                <a:cubicBezTo>
                  <a:pt x="2115620" y="185660"/>
                  <a:pt x="2093406" y="163446"/>
                  <a:pt x="2093406" y="136293"/>
                </a:cubicBezTo>
                <a:cubicBezTo>
                  <a:pt x="2093406" y="109142"/>
                  <a:pt x="2115620" y="86926"/>
                  <a:pt x="2142773" y="86926"/>
                </a:cubicBezTo>
                <a:close/>
                <a:moveTo>
                  <a:pt x="2371341" y="86434"/>
                </a:moveTo>
                <a:cubicBezTo>
                  <a:pt x="2399974" y="86434"/>
                  <a:pt x="2423424" y="109884"/>
                  <a:pt x="2423424" y="138517"/>
                </a:cubicBezTo>
                <a:cubicBezTo>
                  <a:pt x="2423424" y="167149"/>
                  <a:pt x="2399974" y="190599"/>
                  <a:pt x="2371341" y="190599"/>
                </a:cubicBezTo>
                <a:cubicBezTo>
                  <a:pt x="2342708" y="190599"/>
                  <a:pt x="2319258" y="167149"/>
                  <a:pt x="2319258" y="138517"/>
                </a:cubicBezTo>
                <a:cubicBezTo>
                  <a:pt x="2319258" y="109638"/>
                  <a:pt x="2342708" y="86434"/>
                  <a:pt x="2371341" y="86434"/>
                </a:cubicBezTo>
                <a:close/>
                <a:moveTo>
                  <a:pt x="651399" y="79261"/>
                </a:moveTo>
                <a:cubicBezTo>
                  <a:pt x="676083" y="79261"/>
                  <a:pt x="696078" y="99254"/>
                  <a:pt x="696078" y="123938"/>
                </a:cubicBezTo>
                <a:cubicBezTo>
                  <a:pt x="696078" y="148375"/>
                  <a:pt x="676083" y="168614"/>
                  <a:pt x="651399" y="168614"/>
                </a:cubicBezTo>
                <a:cubicBezTo>
                  <a:pt x="626716" y="168614"/>
                  <a:pt x="606723" y="148621"/>
                  <a:pt x="606723" y="123938"/>
                </a:cubicBezTo>
                <a:cubicBezTo>
                  <a:pt x="606723" y="99254"/>
                  <a:pt x="626716" y="79261"/>
                  <a:pt x="651399" y="79261"/>
                </a:cubicBezTo>
                <a:close/>
                <a:moveTo>
                  <a:pt x="1574074" y="75072"/>
                </a:moveTo>
                <a:cubicBezTo>
                  <a:pt x="1586169" y="75072"/>
                  <a:pt x="1596042" y="84945"/>
                  <a:pt x="1596042" y="97040"/>
                </a:cubicBezTo>
                <a:cubicBezTo>
                  <a:pt x="1595796" y="109382"/>
                  <a:pt x="1586169" y="119007"/>
                  <a:pt x="1574074" y="119007"/>
                </a:cubicBezTo>
                <a:cubicBezTo>
                  <a:pt x="1561980" y="119007"/>
                  <a:pt x="1552353" y="109136"/>
                  <a:pt x="1552353" y="97040"/>
                </a:cubicBezTo>
                <a:cubicBezTo>
                  <a:pt x="1552353" y="84945"/>
                  <a:pt x="1562226" y="75072"/>
                  <a:pt x="1574074" y="75072"/>
                </a:cubicBezTo>
                <a:close/>
                <a:moveTo>
                  <a:pt x="3278456" y="72875"/>
                </a:moveTo>
                <a:cubicBezTo>
                  <a:pt x="3301165" y="72875"/>
                  <a:pt x="3319924" y="91388"/>
                  <a:pt x="3319924" y="114343"/>
                </a:cubicBezTo>
                <a:cubicBezTo>
                  <a:pt x="3319924" y="137052"/>
                  <a:pt x="3301411" y="155811"/>
                  <a:pt x="3278456" y="155811"/>
                </a:cubicBezTo>
                <a:cubicBezTo>
                  <a:pt x="3255501" y="155811"/>
                  <a:pt x="3236988" y="137298"/>
                  <a:pt x="3236988" y="114343"/>
                </a:cubicBezTo>
                <a:cubicBezTo>
                  <a:pt x="3236988" y="91388"/>
                  <a:pt x="3255747" y="72875"/>
                  <a:pt x="3278456" y="72875"/>
                </a:cubicBezTo>
                <a:close/>
                <a:moveTo>
                  <a:pt x="3054823" y="71142"/>
                </a:moveTo>
                <a:cubicBezTo>
                  <a:pt x="3079014" y="71142"/>
                  <a:pt x="3098761" y="90889"/>
                  <a:pt x="3098761" y="115077"/>
                </a:cubicBezTo>
                <a:cubicBezTo>
                  <a:pt x="3098761" y="139268"/>
                  <a:pt x="3079260" y="159015"/>
                  <a:pt x="3054823" y="159015"/>
                </a:cubicBezTo>
                <a:cubicBezTo>
                  <a:pt x="3030634" y="159015"/>
                  <a:pt x="3010887" y="139268"/>
                  <a:pt x="3010887" y="115077"/>
                </a:cubicBezTo>
                <a:cubicBezTo>
                  <a:pt x="3010887" y="90889"/>
                  <a:pt x="3030634" y="71142"/>
                  <a:pt x="3054823" y="71142"/>
                </a:cubicBezTo>
                <a:close/>
                <a:moveTo>
                  <a:pt x="823444" y="70130"/>
                </a:moveTo>
                <a:cubicBezTo>
                  <a:pt x="834800" y="70130"/>
                  <a:pt x="843932" y="79509"/>
                  <a:pt x="843932" y="90864"/>
                </a:cubicBezTo>
                <a:cubicBezTo>
                  <a:pt x="844178" y="102466"/>
                  <a:pt x="834800" y="111599"/>
                  <a:pt x="823444" y="111599"/>
                </a:cubicBezTo>
                <a:cubicBezTo>
                  <a:pt x="812091" y="111599"/>
                  <a:pt x="802709" y="102466"/>
                  <a:pt x="802709" y="90864"/>
                </a:cubicBezTo>
                <a:cubicBezTo>
                  <a:pt x="802709" y="79509"/>
                  <a:pt x="812091" y="70130"/>
                  <a:pt x="823444" y="70130"/>
                </a:cubicBezTo>
                <a:close/>
                <a:moveTo>
                  <a:pt x="48874" y="69387"/>
                </a:moveTo>
                <a:cubicBezTo>
                  <a:pt x="75779" y="69387"/>
                  <a:pt x="97746" y="91355"/>
                  <a:pt x="97746" y="118259"/>
                </a:cubicBezTo>
                <a:cubicBezTo>
                  <a:pt x="97746" y="145166"/>
                  <a:pt x="75779" y="167134"/>
                  <a:pt x="48874" y="167134"/>
                </a:cubicBezTo>
                <a:cubicBezTo>
                  <a:pt x="21968" y="167134"/>
                  <a:pt x="0" y="145166"/>
                  <a:pt x="0" y="118259"/>
                </a:cubicBezTo>
                <a:cubicBezTo>
                  <a:pt x="0" y="91355"/>
                  <a:pt x="21968" y="69387"/>
                  <a:pt x="48874" y="69387"/>
                </a:cubicBezTo>
                <a:close/>
                <a:moveTo>
                  <a:pt x="2830700" y="69164"/>
                </a:moveTo>
                <a:cubicBezTo>
                  <a:pt x="2855629" y="69164"/>
                  <a:pt x="2876363" y="89652"/>
                  <a:pt x="2876363" y="114828"/>
                </a:cubicBezTo>
                <a:cubicBezTo>
                  <a:pt x="2876363" y="140006"/>
                  <a:pt x="2855875" y="160491"/>
                  <a:pt x="2830700" y="160491"/>
                </a:cubicBezTo>
                <a:cubicBezTo>
                  <a:pt x="2805524" y="160491"/>
                  <a:pt x="2785282" y="140006"/>
                  <a:pt x="2785282" y="114828"/>
                </a:cubicBezTo>
                <a:cubicBezTo>
                  <a:pt x="2785282" y="89652"/>
                  <a:pt x="2805770" y="69164"/>
                  <a:pt x="2830700" y="69164"/>
                </a:cubicBezTo>
                <a:close/>
                <a:moveTo>
                  <a:pt x="3501099" y="63745"/>
                </a:moveTo>
                <a:cubicBezTo>
                  <a:pt x="3528498" y="63745"/>
                  <a:pt x="3550715" y="85961"/>
                  <a:pt x="3550715" y="113358"/>
                </a:cubicBezTo>
                <a:cubicBezTo>
                  <a:pt x="3550715" y="140757"/>
                  <a:pt x="3528498" y="162973"/>
                  <a:pt x="3501099" y="162973"/>
                </a:cubicBezTo>
                <a:cubicBezTo>
                  <a:pt x="3473700" y="162973"/>
                  <a:pt x="3451486" y="140757"/>
                  <a:pt x="3451486" y="113358"/>
                </a:cubicBezTo>
                <a:cubicBezTo>
                  <a:pt x="3451486" y="85961"/>
                  <a:pt x="3473700" y="63745"/>
                  <a:pt x="3501099" y="63745"/>
                </a:cubicBezTo>
                <a:close/>
                <a:moveTo>
                  <a:pt x="1334394" y="59519"/>
                </a:moveTo>
                <a:cubicBezTo>
                  <a:pt x="1353649" y="59519"/>
                  <a:pt x="1369197" y="75070"/>
                  <a:pt x="1369197" y="94322"/>
                </a:cubicBezTo>
                <a:cubicBezTo>
                  <a:pt x="1369446" y="113576"/>
                  <a:pt x="1353649" y="129128"/>
                  <a:pt x="1334394" y="129128"/>
                </a:cubicBezTo>
                <a:cubicBezTo>
                  <a:pt x="1315142" y="129128"/>
                  <a:pt x="1299591" y="113576"/>
                  <a:pt x="1299591" y="94322"/>
                </a:cubicBezTo>
                <a:cubicBezTo>
                  <a:pt x="1299591" y="75070"/>
                  <a:pt x="1315142" y="59519"/>
                  <a:pt x="1334394" y="59519"/>
                </a:cubicBezTo>
                <a:close/>
                <a:moveTo>
                  <a:pt x="1808568" y="48416"/>
                </a:moveTo>
                <a:cubicBezTo>
                  <a:pt x="1836953" y="48416"/>
                  <a:pt x="1859909" y="71371"/>
                  <a:pt x="1859909" y="99757"/>
                </a:cubicBezTo>
                <a:cubicBezTo>
                  <a:pt x="1859909" y="128144"/>
                  <a:pt x="1836953" y="151099"/>
                  <a:pt x="1808568" y="151099"/>
                </a:cubicBezTo>
                <a:cubicBezTo>
                  <a:pt x="1780181" y="151099"/>
                  <a:pt x="1757227" y="128144"/>
                  <a:pt x="1757227" y="99757"/>
                </a:cubicBezTo>
                <a:cubicBezTo>
                  <a:pt x="1757227" y="71371"/>
                  <a:pt x="1780181" y="48416"/>
                  <a:pt x="1808568" y="48416"/>
                </a:cubicBezTo>
                <a:close/>
                <a:moveTo>
                  <a:pt x="1088791" y="46681"/>
                </a:moveTo>
                <a:cubicBezTo>
                  <a:pt x="1111746" y="46681"/>
                  <a:pt x="1130506" y="65441"/>
                  <a:pt x="1130506" y="88149"/>
                </a:cubicBezTo>
                <a:cubicBezTo>
                  <a:pt x="1130506" y="111104"/>
                  <a:pt x="1111746" y="129617"/>
                  <a:pt x="1088791" y="129617"/>
                </a:cubicBezTo>
                <a:cubicBezTo>
                  <a:pt x="1065836" y="129617"/>
                  <a:pt x="1047078" y="110858"/>
                  <a:pt x="1047078" y="88149"/>
                </a:cubicBezTo>
                <a:cubicBezTo>
                  <a:pt x="1047078" y="65195"/>
                  <a:pt x="1065836" y="46681"/>
                  <a:pt x="1088791" y="46681"/>
                </a:cubicBezTo>
                <a:close/>
                <a:moveTo>
                  <a:pt x="364578" y="45692"/>
                </a:moveTo>
                <a:cubicBezTo>
                  <a:pt x="386299" y="45692"/>
                  <a:pt x="403823" y="63217"/>
                  <a:pt x="403823" y="84939"/>
                </a:cubicBezTo>
                <a:cubicBezTo>
                  <a:pt x="403823" y="106414"/>
                  <a:pt x="386299" y="124184"/>
                  <a:pt x="364578" y="124184"/>
                </a:cubicBezTo>
                <a:cubicBezTo>
                  <a:pt x="342856" y="124184"/>
                  <a:pt x="325331" y="106660"/>
                  <a:pt x="325331" y="84939"/>
                </a:cubicBezTo>
                <a:cubicBezTo>
                  <a:pt x="325331" y="63217"/>
                  <a:pt x="342856" y="45692"/>
                  <a:pt x="364578" y="45692"/>
                </a:cubicBezTo>
                <a:close/>
                <a:moveTo>
                  <a:pt x="2727029" y="40529"/>
                </a:moveTo>
                <a:cubicBezTo>
                  <a:pt x="2750231" y="40529"/>
                  <a:pt x="2769239" y="59535"/>
                  <a:pt x="2769239" y="82739"/>
                </a:cubicBezTo>
                <a:cubicBezTo>
                  <a:pt x="2769239" y="105939"/>
                  <a:pt x="2750231" y="124948"/>
                  <a:pt x="2727029" y="124948"/>
                </a:cubicBezTo>
                <a:cubicBezTo>
                  <a:pt x="2703826" y="124948"/>
                  <a:pt x="2684820" y="105939"/>
                  <a:pt x="2684820" y="82739"/>
                </a:cubicBezTo>
                <a:cubicBezTo>
                  <a:pt x="2684820" y="59535"/>
                  <a:pt x="2703826" y="40529"/>
                  <a:pt x="2727029" y="40529"/>
                </a:cubicBezTo>
                <a:close/>
                <a:moveTo>
                  <a:pt x="2501667" y="35589"/>
                </a:moveTo>
                <a:cubicBezTo>
                  <a:pt x="2527833" y="35589"/>
                  <a:pt x="2549060" y="56818"/>
                  <a:pt x="2549060" y="82981"/>
                </a:cubicBezTo>
                <a:cubicBezTo>
                  <a:pt x="2549060" y="109147"/>
                  <a:pt x="2527833" y="130373"/>
                  <a:pt x="2501667" y="130373"/>
                </a:cubicBezTo>
                <a:cubicBezTo>
                  <a:pt x="2475502" y="130373"/>
                  <a:pt x="2454275" y="109147"/>
                  <a:pt x="2454275" y="82981"/>
                </a:cubicBezTo>
                <a:cubicBezTo>
                  <a:pt x="2454275" y="56818"/>
                  <a:pt x="2475502" y="35589"/>
                  <a:pt x="2501667" y="35589"/>
                </a:cubicBezTo>
                <a:close/>
                <a:moveTo>
                  <a:pt x="3728190" y="31909"/>
                </a:moveTo>
                <a:cubicBezTo>
                  <a:pt x="3759044" y="31909"/>
                  <a:pt x="3784223" y="57088"/>
                  <a:pt x="3784223" y="87941"/>
                </a:cubicBezTo>
                <a:cubicBezTo>
                  <a:pt x="3784223" y="118794"/>
                  <a:pt x="3759044" y="143970"/>
                  <a:pt x="3728190" y="143970"/>
                </a:cubicBezTo>
                <a:cubicBezTo>
                  <a:pt x="3697334" y="143970"/>
                  <a:pt x="3672158" y="118794"/>
                  <a:pt x="3672158" y="87941"/>
                </a:cubicBezTo>
                <a:cubicBezTo>
                  <a:pt x="3672158" y="57088"/>
                  <a:pt x="3697334" y="31909"/>
                  <a:pt x="3728190" y="31909"/>
                </a:cubicBezTo>
                <a:close/>
                <a:moveTo>
                  <a:pt x="2275323" y="30155"/>
                </a:moveTo>
                <a:cubicBezTo>
                  <a:pt x="2303710" y="30155"/>
                  <a:pt x="2326911" y="53358"/>
                  <a:pt x="2326911" y="81743"/>
                </a:cubicBezTo>
                <a:cubicBezTo>
                  <a:pt x="2326911" y="110129"/>
                  <a:pt x="2303956" y="133333"/>
                  <a:pt x="2275323" y="133333"/>
                </a:cubicBezTo>
                <a:cubicBezTo>
                  <a:pt x="2246939" y="133333"/>
                  <a:pt x="2223735" y="110129"/>
                  <a:pt x="2223735" y="81743"/>
                </a:cubicBezTo>
                <a:cubicBezTo>
                  <a:pt x="2223735" y="53358"/>
                  <a:pt x="2246939" y="30155"/>
                  <a:pt x="2275323" y="30155"/>
                </a:cubicBezTo>
                <a:close/>
                <a:moveTo>
                  <a:pt x="2047248" y="29413"/>
                </a:moveTo>
                <a:cubicBezTo>
                  <a:pt x="2075139" y="29413"/>
                  <a:pt x="2097602" y="52122"/>
                  <a:pt x="2097602" y="80013"/>
                </a:cubicBezTo>
                <a:cubicBezTo>
                  <a:pt x="2097848" y="108153"/>
                  <a:pt x="2075139" y="130616"/>
                  <a:pt x="2047248" y="130616"/>
                </a:cubicBezTo>
                <a:cubicBezTo>
                  <a:pt x="2019356" y="130616"/>
                  <a:pt x="1996893" y="107907"/>
                  <a:pt x="1996893" y="80013"/>
                </a:cubicBezTo>
                <a:cubicBezTo>
                  <a:pt x="1996893" y="52122"/>
                  <a:pt x="2019602" y="29413"/>
                  <a:pt x="2047248" y="29413"/>
                </a:cubicBezTo>
                <a:close/>
                <a:moveTo>
                  <a:pt x="553652" y="27427"/>
                </a:moveTo>
                <a:cubicBezTo>
                  <a:pt x="575866" y="27427"/>
                  <a:pt x="594133" y="45445"/>
                  <a:pt x="594133" y="67908"/>
                </a:cubicBezTo>
                <a:cubicBezTo>
                  <a:pt x="594133" y="90370"/>
                  <a:pt x="576115" y="108389"/>
                  <a:pt x="553652" y="108389"/>
                </a:cubicBezTo>
                <a:cubicBezTo>
                  <a:pt x="531438" y="108389"/>
                  <a:pt x="513171" y="90370"/>
                  <a:pt x="513171" y="67908"/>
                </a:cubicBezTo>
                <a:cubicBezTo>
                  <a:pt x="513171" y="45694"/>
                  <a:pt x="531438" y="27427"/>
                  <a:pt x="553652" y="27427"/>
                </a:cubicBezTo>
                <a:close/>
                <a:moveTo>
                  <a:pt x="158716" y="26439"/>
                </a:moveTo>
                <a:cubicBezTo>
                  <a:pt x="187349" y="26439"/>
                  <a:pt x="210304" y="49643"/>
                  <a:pt x="210304" y="78027"/>
                </a:cubicBezTo>
                <a:cubicBezTo>
                  <a:pt x="210552" y="106660"/>
                  <a:pt x="187349" y="129615"/>
                  <a:pt x="158716" y="129615"/>
                </a:cubicBezTo>
                <a:cubicBezTo>
                  <a:pt x="130332" y="129615"/>
                  <a:pt x="107128" y="106414"/>
                  <a:pt x="107128" y="78027"/>
                </a:cubicBezTo>
                <a:cubicBezTo>
                  <a:pt x="107128" y="49643"/>
                  <a:pt x="130332" y="26439"/>
                  <a:pt x="158716" y="26439"/>
                </a:cubicBezTo>
                <a:close/>
                <a:moveTo>
                  <a:pt x="984629" y="24467"/>
                </a:moveTo>
                <a:cubicBezTo>
                  <a:pt x="998698" y="24467"/>
                  <a:pt x="1010300" y="35823"/>
                  <a:pt x="1010300" y="50138"/>
                </a:cubicBezTo>
                <a:cubicBezTo>
                  <a:pt x="1010300" y="64207"/>
                  <a:pt x="998698" y="75809"/>
                  <a:pt x="984629" y="75809"/>
                </a:cubicBezTo>
                <a:cubicBezTo>
                  <a:pt x="970560" y="75809"/>
                  <a:pt x="958958" y="64207"/>
                  <a:pt x="958958" y="50138"/>
                </a:cubicBezTo>
                <a:cubicBezTo>
                  <a:pt x="958958" y="36069"/>
                  <a:pt x="970314" y="24467"/>
                  <a:pt x="984629" y="24467"/>
                </a:cubicBezTo>
                <a:close/>
                <a:moveTo>
                  <a:pt x="2957076" y="15358"/>
                </a:moveTo>
                <a:cubicBezTo>
                  <a:pt x="2980772" y="15358"/>
                  <a:pt x="3000027" y="34609"/>
                  <a:pt x="3000027" y="58305"/>
                </a:cubicBezTo>
                <a:cubicBezTo>
                  <a:pt x="2999781" y="82001"/>
                  <a:pt x="2980526" y="101255"/>
                  <a:pt x="2957076" y="101255"/>
                </a:cubicBezTo>
                <a:cubicBezTo>
                  <a:pt x="2933380" y="101255"/>
                  <a:pt x="2914128" y="82001"/>
                  <a:pt x="2914128" y="58305"/>
                </a:cubicBezTo>
                <a:cubicBezTo>
                  <a:pt x="2914128" y="34609"/>
                  <a:pt x="2933380" y="15358"/>
                  <a:pt x="2957076" y="15358"/>
                </a:cubicBezTo>
                <a:close/>
                <a:moveTo>
                  <a:pt x="3402119" y="13143"/>
                </a:moveTo>
                <a:cubicBezTo>
                  <a:pt x="3426310" y="13143"/>
                  <a:pt x="3445811" y="32644"/>
                  <a:pt x="3445811" y="56832"/>
                </a:cubicBezTo>
                <a:cubicBezTo>
                  <a:pt x="3445811" y="81023"/>
                  <a:pt x="3426061" y="100523"/>
                  <a:pt x="3402119" y="100523"/>
                </a:cubicBezTo>
                <a:cubicBezTo>
                  <a:pt x="3378177" y="100523"/>
                  <a:pt x="3358430" y="81023"/>
                  <a:pt x="3358430" y="56832"/>
                </a:cubicBezTo>
                <a:cubicBezTo>
                  <a:pt x="3358430" y="32890"/>
                  <a:pt x="3377931" y="13143"/>
                  <a:pt x="3402119" y="13143"/>
                </a:cubicBezTo>
                <a:close/>
                <a:moveTo>
                  <a:pt x="1479288" y="11881"/>
                </a:moveTo>
                <a:cubicBezTo>
                  <a:pt x="1496565" y="11881"/>
                  <a:pt x="1510637" y="25950"/>
                  <a:pt x="1510637" y="43230"/>
                </a:cubicBezTo>
                <a:cubicBezTo>
                  <a:pt x="1510637" y="60753"/>
                  <a:pt x="1496565" y="74825"/>
                  <a:pt x="1479288" y="74825"/>
                </a:cubicBezTo>
                <a:cubicBezTo>
                  <a:pt x="1462011" y="74825"/>
                  <a:pt x="1447693" y="60753"/>
                  <a:pt x="1447693" y="43230"/>
                </a:cubicBezTo>
                <a:cubicBezTo>
                  <a:pt x="1447693" y="25950"/>
                  <a:pt x="1461762" y="11881"/>
                  <a:pt x="1479288" y="11881"/>
                </a:cubicBezTo>
                <a:close/>
                <a:moveTo>
                  <a:pt x="3179968" y="7710"/>
                </a:moveTo>
                <a:cubicBezTo>
                  <a:pt x="3207614" y="7710"/>
                  <a:pt x="3230074" y="30172"/>
                  <a:pt x="3230074" y="57818"/>
                </a:cubicBezTo>
                <a:cubicBezTo>
                  <a:pt x="3230074" y="85214"/>
                  <a:pt x="3207614" y="107923"/>
                  <a:pt x="3179968" y="107923"/>
                </a:cubicBezTo>
                <a:cubicBezTo>
                  <a:pt x="3152323" y="107923"/>
                  <a:pt x="3129860" y="85463"/>
                  <a:pt x="3129860" y="57818"/>
                </a:cubicBezTo>
                <a:cubicBezTo>
                  <a:pt x="3129860" y="30172"/>
                  <a:pt x="3152323" y="7710"/>
                  <a:pt x="3179968" y="7710"/>
                </a:cubicBezTo>
                <a:close/>
                <a:moveTo>
                  <a:pt x="728165" y="6199"/>
                </a:moveTo>
                <a:cubicBezTo>
                  <a:pt x="744950" y="6199"/>
                  <a:pt x="758772" y="20021"/>
                  <a:pt x="758772" y="36806"/>
                </a:cubicBezTo>
                <a:cubicBezTo>
                  <a:pt x="758526" y="53591"/>
                  <a:pt x="744950" y="67414"/>
                  <a:pt x="728165" y="67414"/>
                </a:cubicBezTo>
                <a:cubicBezTo>
                  <a:pt x="711380" y="67414"/>
                  <a:pt x="697558" y="53837"/>
                  <a:pt x="697558" y="36806"/>
                </a:cubicBezTo>
                <a:cubicBezTo>
                  <a:pt x="697558" y="20021"/>
                  <a:pt x="711380" y="6199"/>
                  <a:pt x="728165" y="6199"/>
                </a:cubicBezTo>
                <a:close/>
                <a:moveTo>
                  <a:pt x="1240101" y="5214"/>
                </a:moveTo>
                <a:cubicBezTo>
                  <a:pt x="1259355" y="5214"/>
                  <a:pt x="1275153" y="21012"/>
                  <a:pt x="1275153" y="40263"/>
                </a:cubicBezTo>
                <a:cubicBezTo>
                  <a:pt x="1275153" y="59764"/>
                  <a:pt x="1259355" y="75315"/>
                  <a:pt x="1240101" y="75315"/>
                </a:cubicBezTo>
                <a:cubicBezTo>
                  <a:pt x="1220849" y="75315"/>
                  <a:pt x="1205052" y="59764"/>
                  <a:pt x="1205052" y="40263"/>
                </a:cubicBezTo>
                <a:cubicBezTo>
                  <a:pt x="1205052" y="21012"/>
                  <a:pt x="1220603" y="5214"/>
                  <a:pt x="1240101" y="5214"/>
                </a:cubicBezTo>
                <a:close/>
                <a:moveTo>
                  <a:pt x="3803451" y="0"/>
                </a:moveTo>
                <a:lnTo>
                  <a:pt x="3895489" y="0"/>
                </a:lnTo>
                <a:lnTo>
                  <a:pt x="3901210" y="8414"/>
                </a:lnTo>
                <a:cubicBezTo>
                  <a:pt x="3904076" y="15113"/>
                  <a:pt x="3905665" y="22472"/>
                  <a:pt x="3905665" y="30186"/>
                </a:cubicBezTo>
                <a:cubicBezTo>
                  <a:pt x="3905665" y="61039"/>
                  <a:pt x="3880486" y="86215"/>
                  <a:pt x="3849386" y="86215"/>
                </a:cubicBezTo>
                <a:cubicBezTo>
                  <a:pt x="3818530" y="86215"/>
                  <a:pt x="3793354" y="61039"/>
                  <a:pt x="3793354" y="30186"/>
                </a:cubicBezTo>
                <a:cubicBezTo>
                  <a:pt x="3793354" y="22472"/>
                  <a:pt x="3794928" y="15113"/>
                  <a:pt x="3797770" y="8414"/>
                </a:cubicBezTo>
                <a:close/>
                <a:moveTo>
                  <a:pt x="3699416" y="0"/>
                </a:moveTo>
                <a:lnTo>
                  <a:pt x="3798482" y="0"/>
                </a:lnTo>
                <a:lnTo>
                  <a:pt x="3789282" y="13677"/>
                </a:lnTo>
                <a:cubicBezTo>
                  <a:pt x="3778977" y="24013"/>
                  <a:pt x="3764722" y="30430"/>
                  <a:pt x="3748924" y="30430"/>
                </a:cubicBezTo>
                <a:cubicBezTo>
                  <a:pt x="3733250" y="30430"/>
                  <a:pt x="3718995" y="24013"/>
                  <a:pt x="3708659" y="13677"/>
                </a:cubicBezTo>
                <a:close/>
                <a:moveTo>
                  <a:pt x="3583942" y="0"/>
                </a:moveTo>
                <a:lnTo>
                  <a:pt x="3672925" y="0"/>
                </a:lnTo>
                <a:lnTo>
                  <a:pt x="3679387" y="9511"/>
                </a:lnTo>
                <a:cubicBezTo>
                  <a:pt x="3682199" y="16094"/>
                  <a:pt x="3683757" y="23330"/>
                  <a:pt x="3683757" y="30920"/>
                </a:cubicBezTo>
                <a:cubicBezTo>
                  <a:pt x="3683757" y="61527"/>
                  <a:pt x="3659074" y="86210"/>
                  <a:pt x="3628466" y="86210"/>
                </a:cubicBezTo>
                <a:cubicBezTo>
                  <a:pt x="3598105" y="86210"/>
                  <a:pt x="3573175" y="61527"/>
                  <a:pt x="3573175" y="30920"/>
                </a:cubicBezTo>
                <a:cubicBezTo>
                  <a:pt x="3573175" y="23330"/>
                  <a:pt x="3574718" y="16094"/>
                  <a:pt x="3577510" y="9511"/>
                </a:cubicBezTo>
                <a:close/>
                <a:moveTo>
                  <a:pt x="3475766" y="0"/>
                </a:moveTo>
                <a:lnTo>
                  <a:pt x="3572104" y="0"/>
                </a:lnTo>
                <a:lnTo>
                  <a:pt x="3568384" y="18234"/>
                </a:lnTo>
                <a:cubicBezTo>
                  <a:pt x="3561037" y="35486"/>
                  <a:pt x="3543866" y="47704"/>
                  <a:pt x="3524058" y="47704"/>
                </a:cubicBezTo>
                <a:cubicBezTo>
                  <a:pt x="3504064" y="47704"/>
                  <a:pt x="3486847" y="35486"/>
                  <a:pt x="3479489" y="18234"/>
                </a:cubicBezTo>
                <a:close/>
                <a:moveTo>
                  <a:pt x="3266343" y="0"/>
                </a:moveTo>
                <a:lnTo>
                  <a:pt x="3339442" y="0"/>
                </a:lnTo>
                <a:lnTo>
                  <a:pt x="3339671" y="552"/>
                </a:lnTo>
                <a:cubicBezTo>
                  <a:pt x="3339671" y="20793"/>
                  <a:pt x="3323132" y="37331"/>
                  <a:pt x="3302891" y="37331"/>
                </a:cubicBezTo>
                <a:cubicBezTo>
                  <a:pt x="3282652" y="37331"/>
                  <a:pt x="3266113" y="20793"/>
                  <a:pt x="3266113" y="552"/>
                </a:cubicBezTo>
                <a:close/>
                <a:moveTo>
                  <a:pt x="3042626" y="0"/>
                </a:moveTo>
                <a:lnTo>
                  <a:pt x="3119349" y="0"/>
                </a:lnTo>
                <a:lnTo>
                  <a:pt x="3119987" y="1537"/>
                </a:lnTo>
                <a:cubicBezTo>
                  <a:pt x="3119987" y="23255"/>
                  <a:pt x="3102461" y="40535"/>
                  <a:pt x="3080986" y="40535"/>
                </a:cubicBezTo>
                <a:cubicBezTo>
                  <a:pt x="3059513" y="40535"/>
                  <a:pt x="3041987" y="23009"/>
                  <a:pt x="3041987" y="1537"/>
                </a:cubicBezTo>
                <a:close/>
                <a:moveTo>
                  <a:pt x="2818599" y="0"/>
                </a:moveTo>
                <a:lnTo>
                  <a:pt x="2898827" y="0"/>
                </a:lnTo>
                <a:lnTo>
                  <a:pt x="2899567" y="1779"/>
                </a:lnTo>
                <a:cubicBezTo>
                  <a:pt x="2899567" y="24488"/>
                  <a:pt x="2881300" y="42506"/>
                  <a:pt x="2858591" y="42506"/>
                </a:cubicBezTo>
                <a:cubicBezTo>
                  <a:pt x="2836129" y="42506"/>
                  <a:pt x="2817864" y="24239"/>
                  <a:pt x="2817864" y="1779"/>
                </a:cubicBezTo>
                <a:close/>
                <a:moveTo>
                  <a:pt x="2745381" y="0"/>
                </a:moveTo>
                <a:lnTo>
                  <a:pt x="2763471" y="0"/>
                </a:lnTo>
                <a:lnTo>
                  <a:pt x="2754426" y="3752"/>
                </a:lnTo>
                <a:close/>
                <a:moveTo>
                  <a:pt x="2593499" y="0"/>
                </a:moveTo>
                <a:lnTo>
                  <a:pt x="2665561" y="0"/>
                </a:lnTo>
                <a:lnTo>
                  <a:pt x="2671601" y="8950"/>
                </a:lnTo>
                <a:cubicBezTo>
                  <a:pt x="2673915" y="14411"/>
                  <a:pt x="2675195" y="20412"/>
                  <a:pt x="2675195" y="26706"/>
                </a:cubicBezTo>
                <a:cubicBezTo>
                  <a:pt x="2674946" y="51884"/>
                  <a:pt x="2654458" y="72370"/>
                  <a:pt x="2629529" y="72370"/>
                </a:cubicBezTo>
                <a:cubicBezTo>
                  <a:pt x="2604353" y="72370"/>
                  <a:pt x="2583865" y="51884"/>
                  <a:pt x="2583865" y="26706"/>
                </a:cubicBezTo>
                <a:cubicBezTo>
                  <a:pt x="2583865" y="20412"/>
                  <a:pt x="2585146" y="14411"/>
                  <a:pt x="2587460" y="8950"/>
                </a:cubicBezTo>
                <a:close/>
                <a:moveTo>
                  <a:pt x="2506848" y="0"/>
                </a:moveTo>
                <a:lnTo>
                  <a:pt x="2555808" y="0"/>
                </a:lnTo>
                <a:lnTo>
                  <a:pt x="2531288" y="10165"/>
                </a:lnTo>
                <a:close/>
                <a:moveTo>
                  <a:pt x="2365758" y="0"/>
                </a:moveTo>
                <a:lnTo>
                  <a:pt x="2443571" y="0"/>
                </a:lnTo>
                <a:lnTo>
                  <a:pt x="2449234" y="8388"/>
                </a:lnTo>
                <a:cubicBezTo>
                  <a:pt x="2451687" y="14174"/>
                  <a:pt x="2453044" y="20529"/>
                  <a:pt x="2453044" y="27194"/>
                </a:cubicBezTo>
                <a:cubicBezTo>
                  <a:pt x="2453044" y="53852"/>
                  <a:pt x="2431323" y="75573"/>
                  <a:pt x="2404665" y="75573"/>
                </a:cubicBezTo>
                <a:cubicBezTo>
                  <a:pt x="2378007" y="75573"/>
                  <a:pt x="2356285" y="53852"/>
                  <a:pt x="2356285" y="27194"/>
                </a:cubicBezTo>
                <a:cubicBezTo>
                  <a:pt x="2356285" y="20529"/>
                  <a:pt x="2357643" y="14174"/>
                  <a:pt x="2360096" y="8388"/>
                </a:cubicBezTo>
                <a:close/>
                <a:moveTo>
                  <a:pt x="2270415" y="0"/>
                </a:moveTo>
                <a:lnTo>
                  <a:pt x="2344913" y="0"/>
                </a:lnTo>
                <a:lnTo>
                  <a:pt x="2342061" y="4237"/>
                </a:lnTo>
                <a:cubicBezTo>
                  <a:pt x="2333267" y="13061"/>
                  <a:pt x="2321110" y="18553"/>
                  <a:pt x="2307657" y="18553"/>
                </a:cubicBezTo>
                <a:cubicBezTo>
                  <a:pt x="2294328" y="18553"/>
                  <a:pt x="2282172" y="13123"/>
                  <a:pt x="2273348" y="4329"/>
                </a:cubicBezTo>
                <a:close/>
                <a:moveTo>
                  <a:pt x="2136168" y="0"/>
                </a:moveTo>
                <a:lnTo>
                  <a:pt x="2221947" y="0"/>
                </a:lnTo>
                <a:lnTo>
                  <a:pt x="2225917" y="5895"/>
                </a:lnTo>
                <a:cubicBezTo>
                  <a:pt x="2228486" y="11981"/>
                  <a:pt x="2229905" y="18677"/>
                  <a:pt x="2229905" y="25711"/>
                </a:cubicBezTo>
                <a:cubicBezTo>
                  <a:pt x="2229905" y="53605"/>
                  <a:pt x="2207196" y="76560"/>
                  <a:pt x="2179056" y="76560"/>
                </a:cubicBezTo>
                <a:cubicBezTo>
                  <a:pt x="2151164" y="76560"/>
                  <a:pt x="2128209" y="53851"/>
                  <a:pt x="2128209" y="25711"/>
                </a:cubicBezTo>
                <a:cubicBezTo>
                  <a:pt x="2128209" y="18677"/>
                  <a:pt x="2129629" y="11981"/>
                  <a:pt x="2132197" y="5895"/>
                </a:cubicBezTo>
                <a:close/>
                <a:moveTo>
                  <a:pt x="2041801" y="0"/>
                </a:moveTo>
                <a:lnTo>
                  <a:pt x="2123168" y="0"/>
                </a:lnTo>
                <a:lnTo>
                  <a:pt x="2119293" y="5746"/>
                </a:lnTo>
                <a:cubicBezTo>
                  <a:pt x="2109883" y="15157"/>
                  <a:pt x="2096862" y="21019"/>
                  <a:pt x="2082546" y="21019"/>
                </a:cubicBezTo>
                <a:cubicBezTo>
                  <a:pt x="2068230" y="21019"/>
                  <a:pt x="2055209" y="15218"/>
                  <a:pt x="2045767" y="5838"/>
                </a:cubicBezTo>
                <a:close/>
                <a:moveTo>
                  <a:pt x="1918044" y="0"/>
                </a:moveTo>
                <a:lnTo>
                  <a:pt x="1984879" y="0"/>
                </a:lnTo>
                <a:lnTo>
                  <a:pt x="1995165" y="24722"/>
                </a:lnTo>
                <a:cubicBezTo>
                  <a:pt x="1995165" y="48912"/>
                  <a:pt x="1975669" y="68410"/>
                  <a:pt x="1951486" y="68410"/>
                </a:cubicBezTo>
                <a:cubicBezTo>
                  <a:pt x="1927543" y="68410"/>
                  <a:pt x="1907799" y="48912"/>
                  <a:pt x="1907799" y="24722"/>
                </a:cubicBezTo>
                <a:close/>
                <a:moveTo>
                  <a:pt x="1798310" y="0"/>
                </a:moveTo>
                <a:lnTo>
                  <a:pt x="1898309" y="0"/>
                </a:lnTo>
                <a:lnTo>
                  <a:pt x="1896072" y="11083"/>
                </a:lnTo>
                <a:cubicBezTo>
                  <a:pt x="1888204" y="29687"/>
                  <a:pt x="1869782" y="42738"/>
                  <a:pt x="1848309" y="42738"/>
                </a:cubicBezTo>
                <a:cubicBezTo>
                  <a:pt x="1826834" y="42738"/>
                  <a:pt x="1808415" y="29687"/>
                  <a:pt x="1800547" y="11083"/>
                </a:cubicBezTo>
                <a:close/>
                <a:moveTo>
                  <a:pt x="1705012" y="0"/>
                </a:moveTo>
                <a:lnTo>
                  <a:pt x="1721543" y="0"/>
                </a:lnTo>
                <a:lnTo>
                  <a:pt x="1747600" y="10802"/>
                </a:lnTo>
                <a:cubicBezTo>
                  <a:pt x="1756425" y="19595"/>
                  <a:pt x="1761917" y="31752"/>
                  <a:pt x="1761917" y="45204"/>
                </a:cubicBezTo>
                <a:cubicBezTo>
                  <a:pt x="1761917" y="72111"/>
                  <a:pt x="1740193" y="93833"/>
                  <a:pt x="1713288" y="93833"/>
                </a:cubicBezTo>
                <a:cubicBezTo>
                  <a:pt x="1686384" y="93833"/>
                  <a:pt x="1664662" y="72111"/>
                  <a:pt x="1664662" y="45204"/>
                </a:cubicBezTo>
                <a:cubicBezTo>
                  <a:pt x="1664662" y="31752"/>
                  <a:pt x="1670093" y="19595"/>
                  <a:pt x="1678886" y="10802"/>
                </a:cubicBezTo>
                <a:close/>
                <a:moveTo>
                  <a:pt x="1359697" y="0"/>
                </a:moveTo>
                <a:lnTo>
                  <a:pt x="1409259" y="0"/>
                </a:lnTo>
                <a:lnTo>
                  <a:pt x="1405206" y="9721"/>
                </a:lnTo>
                <a:cubicBezTo>
                  <a:pt x="1399868" y="15028"/>
                  <a:pt x="1392525" y="18299"/>
                  <a:pt x="1384503" y="18299"/>
                </a:cubicBezTo>
                <a:cubicBezTo>
                  <a:pt x="1376357" y="18299"/>
                  <a:pt x="1369013" y="15028"/>
                  <a:pt x="1363706" y="9721"/>
                </a:cubicBezTo>
                <a:close/>
                <a:moveTo>
                  <a:pt x="1113019" y="0"/>
                </a:moveTo>
                <a:lnTo>
                  <a:pt x="1179210" y="0"/>
                </a:lnTo>
                <a:lnTo>
                  <a:pt x="1173426" y="13636"/>
                </a:lnTo>
                <a:cubicBezTo>
                  <a:pt x="1166360" y="20640"/>
                  <a:pt x="1156672" y="24960"/>
                  <a:pt x="1146057" y="24960"/>
                </a:cubicBezTo>
                <a:cubicBezTo>
                  <a:pt x="1135321" y="24960"/>
                  <a:pt x="1125633" y="20578"/>
                  <a:pt x="1118629" y="13544"/>
                </a:cubicBezTo>
                <a:close/>
                <a:moveTo>
                  <a:pt x="871753" y="0"/>
                </a:moveTo>
                <a:lnTo>
                  <a:pt x="908886" y="0"/>
                </a:lnTo>
                <a:lnTo>
                  <a:pt x="904405" y="10643"/>
                </a:lnTo>
                <a:cubicBezTo>
                  <a:pt x="900764" y="14284"/>
                  <a:pt x="895766" y="16568"/>
                  <a:pt x="890335" y="16568"/>
                </a:cubicBezTo>
                <a:cubicBezTo>
                  <a:pt x="884782" y="16568"/>
                  <a:pt x="879783" y="14347"/>
                  <a:pt x="876174" y="10736"/>
                </a:cubicBezTo>
                <a:close/>
                <a:moveTo>
                  <a:pt x="600663" y="0"/>
                </a:moveTo>
                <a:lnTo>
                  <a:pt x="664150" y="0"/>
                </a:lnTo>
                <a:lnTo>
                  <a:pt x="659947" y="10150"/>
                </a:lnTo>
                <a:cubicBezTo>
                  <a:pt x="652882" y="17185"/>
                  <a:pt x="643132" y="21504"/>
                  <a:pt x="632396" y="21504"/>
                </a:cubicBezTo>
                <a:cubicBezTo>
                  <a:pt x="621658" y="21504"/>
                  <a:pt x="611908" y="17122"/>
                  <a:pt x="604842" y="10057"/>
                </a:cubicBezTo>
                <a:close/>
                <a:moveTo>
                  <a:pt x="421101" y="0"/>
                </a:moveTo>
                <a:lnTo>
                  <a:pt x="489230" y="0"/>
                </a:lnTo>
                <a:lnTo>
                  <a:pt x="494165" y="11879"/>
                </a:lnTo>
                <a:cubicBezTo>
                  <a:pt x="494411" y="33352"/>
                  <a:pt x="476888" y="50878"/>
                  <a:pt x="455167" y="50878"/>
                </a:cubicBezTo>
                <a:cubicBezTo>
                  <a:pt x="433691" y="50878"/>
                  <a:pt x="416166" y="33352"/>
                  <a:pt x="416166" y="11879"/>
                </a:cubicBezTo>
                <a:close/>
                <a:moveTo>
                  <a:pt x="352549" y="0"/>
                </a:moveTo>
                <a:lnTo>
                  <a:pt x="359819" y="0"/>
                </a:lnTo>
                <a:lnTo>
                  <a:pt x="356184" y="1506"/>
                </a:lnTo>
                <a:close/>
                <a:moveTo>
                  <a:pt x="217955" y="0"/>
                </a:moveTo>
                <a:lnTo>
                  <a:pt x="305814" y="0"/>
                </a:lnTo>
                <a:lnTo>
                  <a:pt x="308304" y="3701"/>
                </a:lnTo>
                <a:cubicBezTo>
                  <a:pt x="310845" y="9718"/>
                  <a:pt x="312249" y="16321"/>
                  <a:pt x="312249" y="23232"/>
                </a:cubicBezTo>
                <a:cubicBezTo>
                  <a:pt x="312249" y="50877"/>
                  <a:pt x="289787" y="73586"/>
                  <a:pt x="261895" y="73586"/>
                </a:cubicBezTo>
                <a:cubicBezTo>
                  <a:pt x="234003" y="73586"/>
                  <a:pt x="211540" y="50877"/>
                  <a:pt x="211540" y="23232"/>
                </a:cubicBezTo>
                <a:cubicBezTo>
                  <a:pt x="211540" y="16259"/>
                  <a:pt x="212959" y="9625"/>
                  <a:pt x="215520" y="3597"/>
                </a:cubicBezTo>
                <a:close/>
                <a:moveTo>
                  <a:pt x="32665" y="0"/>
                </a:moveTo>
                <a:lnTo>
                  <a:pt x="67129" y="0"/>
                </a:lnTo>
                <a:lnTo>
                  <a:pt x="68918" y="4266"/>
                </a:lnTo>
                <a:cubicBezTo>
                  <a:pt x="68669" y="14634"/>
                  <a:pt x="60278" y="23271"/>
                  <a:pt x="49910" y="23271"/>
                </a:cubicBezTo>
                <a:cubicBezTo>
                  <a:pt x="39545" y="23271"/>
                  <a:pt x="30905" y="14880"/>
                  <a:pt x="30905" y="4266"/>
                </a:cubicBezTo>
                <a:close/>
              </a:path>
            </a:pathLst>
          </a:custGeom>
          <a:solidFill>
            <a:schemeClr val="tx1">
              <a:alpha val="8000"/>
            </a:schemeClr>
          </a:solidFill>
          <a:ln w="9525" cap="flat">
            <a:noFill/>
            <a:prstDash val="solid"/>
            <a:miter/>
          </a:ln>
        </p:spPr>
        <p:txBody>
          <a:bodyPr wrap="square" rtlCol="0" anchor="ctr">
            <a:noAutofit/>
          </a:bodyPr>
          <a:lstStyle/>
          <a:p>
            <a:endParaRPr lang="en-US" sz="1765"/>
          </a:p>
        </p:txBody>
      </p:sp>
      <p:sp>
        <p:nvSpPr>
          <p:cNvPr id="3" name="TextBox 2">
            <a:extLst>
              <a:ext uri="{FF2B5EF4-FFF2-40B4-BE49-F238E27FC236}">
                <a16:creationId xmlns:a16="http://schemas.microsoft.com/office/drawing/2014/main" id="{6DC9A246-F2C3-22D3-4E68-5BF9D4947C5E}"/>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3265593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595">
          <p15:clr>
            <a:srgbClr val="5ACBF0"/>
          </p15:clr>
        </p15:guide>
        <p15:guide id="3" orient="horz" pos="143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4_NTT_content_page">
    <p:bg bwMode="lt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E984AC-5E3B-4BC0-86CB-EC1FCCC4C630}"/>
              </a:ext>
            </a:extLst>
          </p:cNvPr>
          <p:cNvGraphicFramePr>
            <a:graphicFrameLocks noChangeAspect="1"/>
          </p:cNvGraphicFramePr>
          <p:nvPr userDrawn="1">
            <p:custDataLst>
              <p:tags r:id="rId1"/>
            </p:custDataLst>
            <p:extLst>
              <p:ext uri="{D42A27DB-BD31-4B8C-83A1-F6EECF244321}">
                <p14:modId xmlns:p14="http://schemas.microsoft.com/office/powerpoint/2010/main" val="304704930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2E984AC-5E3B-4BC0-86CB-EC1FCCC4C63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Picture Placeholder 13">
            <a:extLst>
              <a:ext uri="{FF2B5EF4-FFF2-40B4-BE49-F238E27FC236}">
                <a16:creationId xmlns:a16="http://schemas.microsoft.com/office/drawing/2014/main" id="{8091E020-A1A3-894A-9A18-A2F931CBD43E}"/>
              </a:ext>
            </a:extLst>
          </p:cNvPr>
          <p:cNvSpPr>
            <a:spLocks noGrp="1"/>
          </p:cNvSpPr>
          <p:nvPr>
            <p:ph type="pic" sz="quarter" idx="13"/>
          </p:nvPr>
        </p:nvSpPr>
        <p:spPr>
          <a:xfrm>
            <a:off x="6194972" y="1003370"/>
            <a:ext cx="1928397" cy="2635401"/>
          </a:xfrm>
          <a:prstGeom prst="rect">
            <a:avLst/>
          </a:prstGeom>
          <a:solidFill>
            <a:schemeClr val="bg2">
              <a:lumMod val="20000"/>
              <a:lumOff val="80000"/>
            </a:schemeClr>
          </a:solidFill>
          <a:effectLst/>
        </p:spPr>
        <p:txBody>
          <a:bodyPr>
            <a:normAutofit/>
          </a:bodyPr>
          <a:lstStyle>
            <a:lvl1pPr marL="0" indent="0" rtl="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US" noProof="0"/>
              <a:t>Click icon to add picture</a:t>
            </a:r>
          </a:p>
        </p:txBody>
      </p:sp>
      <p:sp>
        <p:nvSpPr>
          <p:cNvPr id="11" name="Picture Placeholder 13">
            <a:extLst>
              <a:ext uri="{FF2B5EF4-FFF2-40B4-BE49-F238E27FC236}">
                <a16:creationId xmlns:a16="http://schemas.microsoft.com/office/drawing/2014/main" id="{A37017A4-629A-A44D-A88D-1F8DEFFF532C}"/>
              </a:ext>
            </a:extLst>
          </p:cNvPr>
          <p:cNvSpPr>
            <a:spLocks noGrp="1"/>
          </p:cNvSpPr>
          <p:nvPr>
            <p:ph type="pic" sz="quarter" idx="18"/>
          </p:nvPr>
        </p:nvSpPr>
        <p:spPr>
          <a:xfrm>
            <a:off x="4092196" y="1003369"/>
            <a:ext cx="1939033" cy="1540764"/>
          </a:xfrm>
          <a:prstGeom prst="rect">
            <a:avLst/>
          </a:prstGeom>
          <a:solidFill>
            <a:schemeClr val="bg2">
              <a:lumMod val="20000"/>
              <a:lumOff val="80000"/>
            </a:schemeClr>
          </a:solidFill>
          <a:effectLst/>
        </p:spPr>
        <p:txBody>
          <a:bodyPr>
            <a:normAutofit/>
          </a:bodyPr>
          <a:lstStyle>
            <a:lvl1pPr marL="0" indent="0" rtl="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US" noProof="0"/>
              <a:t>Click icon to add picture</a:t>
            </a:r>
          </a:p>
        </p:txBody>
      </p:sp>
      <p:sp>
        <p:nvSpPr>
          <p:cNvPr id="12" name="Picture Placeholder 13">
            <a:extLst>
              <a:ext uri="{FF2B5EF4-FFF2-40B4-BE49-F238E27FC236}">
                <a16:creationId xmlns:a16="http://schemas.microsoft.com/office/drawing/2014/main" id="{91168ADE-9466-4740-BD51-47A72258CAAE}"/>
              </a:ext>
            </a:extLst>
          </p:cNvPr>
          <p:cNvSpPr>
            <a:spLocks noGrp="1"/>
          </p:cNvSpPr>
          <p:nvPr>
            <p:ph type="pic" sz="quarter" idx="19"/>
          </p:nvPr>
        </p:nvSpPr>
        <p:spPr>
          <a:xfrm>
            <a:off x="4092196" y="2715211"/>
            <a:ext cx="1939033" cy="3514139"/>
          </a:xfrm>
          <a:prstGeom prst="rect">
            <a:avLst/>
          </a:prstGeom>
          <a:solidFill>
            <a:schemeClr val="bg2">
              <a:lumMod val="20000"/>
              <a:lumOff val="80000"/>
            </a:schemeClr>
          </a:solidFill>
          <a:effectLst/>
        </p:spPr>
        <p:txBody>
          <a:bodyPr>
            <a:normAutofit/>
          </a:bodyPr>
          <a:lstStyle>
            <a:lvl1pPr marL="0" indent="0" rtl="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US" noProof="0"/>
              <a:t>Click icon to add picture</a:t>
            </a:r>
          </a:p>
        </p:txBody>
      </p:sp>
      <p:sp>
        <p:nvSpPr>
          <p:cNvPr id="13" name="Picture Placeholder 13">
            <a:extLst>
              <a:ext uri="{FF2B5EF4-FFF2-40B4-BE49-F238E27FC236}">
                <a16:creationId xmlns:a16="http://schemas.microsoft.com/office/drawing/2014/main" id="{94A075D6-2F03-9E41-AF6A-579AABF97DE6}"/>
              </a:ext>
            </a:extLst>
          </p:cNvPr>
          <p:cNvSpPr>
            <a:spLocks noGrp="1"/>
          </p:cNvSpPr>
          <p:nvPr>
            <p:ph type="pic" sz="quarter" idx="17"/>
          </p:nvPr>
        </p:nvSpPr>
        <p:spPr>
          <a:xfrm>
            <a:off x="6184336" y="3798602"/>
            <a:ext cx="5151779" cy="2430748"/>
          </a:xfrm>
          <a:prstGeom prst="rect">
            <a:avLst/>
          </a:prstGeom>
          <a:solidFill>
            <a:schemeClr val="bg2">
              <a:lumMod val="20000"/>
              <a:lumOff val="80000"/>
            </a:schemeClr>
          </a:solidFill>
          <a:effectLst/>
        </p:spPr>
        <p:txBody>
          <a:bodyPr>
            <a:normAutofit/>
          </a:bodyPr>
          <a:lstStyle>
            <a:lvl1pPr marL="0" indent="0" rtl="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US" noProof="0"/>
              <a:t>Click icon to add picture</a:t>
            </a:r>
          </a:p>
        </p:txBody>
      </p:sp>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444644" y="1003368"/>
            <a:ext cx="3523281" cy="877093"/>
          </a:xfrm>
          <a:prstGeom prst="rect">
            <a:avLst/>
          </a:prstGeom>
        </p:spPr>
        <p:txBody>
          <a:bodyPr vert="horz" anchor="ctr"/>
          <a:lstStyle>
            <a:lvl1pPr algn="l" rtl="0">
              <a:lnSpc>
                <a:spcPct val="100000"/>
              </a:lnSpc>
              <a:defRPr sz="3200" b="1">
                <a:solidFill>
                  <a:schemeClr val="accent2"/>
                </a:solidFill>
              </a:defRPr>
            </a:lvl1pPr>
          </a:lstStyle>
          <a:p>
            <a:r>
              <a:rPr lang="en-US"/>
              <a:t>Click to edit Master title style</a:t>
            </a:r>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444644" y="2017008"/>
            <a:ext cx="3523281" cy="1546664"/>
          </a:xfrm>
          <a:prstGeom prst="rect">
            <a:avLst/>
          </a:prstGeom>
        </p:spPr>
        <p:txBody>
          <a:bodyPr/>
          <a:lstStyle>
            <a:lvl1pPr rtl="0">
              <a:defRPr sz="1333">
                <a:solidFill>
                  <a:schemeClr val="bg1"/>
                </a:solidFill>
              </a:defRPr>
            </a:lvl1pPr>
            <a:lvl2pPr rtl="0">
              <a:defRPr sz="1333">
                <a:solidFill>
                  <a:schemeClr val="bg1"/>
                </a:solidFill>
              </a:defRPr>
            </a:lvl2pPr>
            <a:lvl3pPr rtl="0">
              <a:defRPr sz="1333">
                <a:solidFill>
                  <a:schemeClr val="bg1"/>
                </a:solidFill>
              </a:defRPr>
            </a:lvl3pPr>
            <a:lvl4pPr rtl="0">
              <a:defRPr sz="1333">
                <a:solidFill>
                  <a:schemeClr val="bg1"/>
                </a:solidFill>
              </a:defRPr>
            </a:lvl4pPr>
            <a:lvl5pPr rtl="0">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287114" y="1003368"/>
            <a:ext cx="3049001" cy="1546664"/>
          </a:xfrm>
          <a:prstGeom prst="rect">
            <a:avLst/>
          </a:prstGeom>
        </p:spPr>
        <p:txBody>
          <a:bodyPr/>
          <a:lstStyle>
            <a:lvl1pPr rtl="0">
              <a:defRPr sz="1333">
                <a:solidFill>
                  <a:schemeClr val="bg1"/>
                </a:solidFill>
              </a:defRPr>
            </a:lvl1pPr>
            <a:lvl2pPr rtl="0">
              <a:defRPr sz="1333">
                <a:solidFill>
                  <a:schemeClr val="bg1"/>
                </a:solidFill>
              </a:defRPr>
            </a:lvl2pPr>
            <a:lvl3pPr rtl="0">
              <a:defRPr sz="1333">
                <a:solidFill>
                  <a:schemeClr val="bg1"/>
                </a:solidFill>
              </a:defRPr>
            </a:lvl3pPr>
            <a:lvl4pPr rtl="0">
              <a:defRPr sz="1333">
                <a:solidFill>
                  <a:schemeClr val="bg1"/>
                </a:solidFill>
              </a:defRPr>
            </a:lvl4pPr>
            <a:lvl5pPr rtl="0">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4539308"/>
      </p:ext>
    </p:extLst>
  </p:cSld>
  <p:clrMapOvr>
    <a:overrideClrMapping bg1="dk1" tx1="lt1" bg2="dk2" tx2="lt2" accent1="accent1" accent2="accent2" accent3="accent3" accent4="accent4" accent5="accent5" accent6="accent6" hlink="hlink" folHlink="folHlink"/>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p:cSld name="Section Title 3">
    <p:bg>
      <p:bgRef idx="1001">
        <a:schemeClr val="bg2"/>
      </p:bgRef>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B6F80C8-52F6-4A07-9C1D-D451A7C66DF2}"/>
              </a:ext>
              <a:ext uri="{C183D7F6-B498-43B3-948B-1728B52AA6E4}">
                <adec:decorative xmlns:adec="http://schemas.microsoft.com/office/drawing/2017/decorative" val="1"/>
              </a:ext>
            </a:extLst>
          </p:cNvPr>
          <p:cNvGrpSpPr/>
          <p:nvPr userDrawn="1"/>
        </p:nvGrpSpPr>
        <p:grpSpPr>
          <a:xfrm>
            <a:off x="0" y="0"/>
            <a:ext cx="12192000" cy="6858000"/>
            <a:chOff x="0" y="0"/>
            <a:chExt cx="12436475" cy="6994525"/>
          </a:xfrm>
        </p:grpSpPr>
        <p:grpSp>
          <p:nvGrpSpPr>
            <p:cNvPr id="3" name="Group 2">
              <a:extLst>
                <a:ext uri="{FF2B5EF4-FFF2-40B4-BE49-F238E27FC236}">
                  <a16:creationId xmlns:a16="http://schemas.microsoft.com/office/drawing/2014/main" id="{F082791F-36B1-47B9-B450-CDF976DAAEA1}"/>
                </a:ext>
                <a:ext uri="{C183D7F6-B498-43B3-948B-1728B52AA6E4}">
                  <adec:decorative xmlns:adec="http://schemas.microsoft.com/office/drawing/2017/decorative" val="1"/>
                </a:ext>
              </a:extLst>
            </p:cNvPr>
            <p:cNvGrpSpPr/>
            <p:nvPr userDrawn="1"/>
          </p:nvGrpSpPr>
          <p:grpSpPr>
            <a:xfrm>
              <a:off x="0" y="1306287"/>
              <a:ext cx="12436475" cy="4381952"/>
              <a:chOff x="0" y="1306287"/>
              <a:chExt cx="12436475" cy="4381952"/>
            </a:xfrm>
          </p:grpSpPr>
          <p:sp>
            <p:nvSpPr>
              <p:cNvPr id="4" name="Rectangle 3">
                <a:extLst>
                  <a:ext uri="{FF2B5EF4-FFF2-40B4-BE49-F238E27FC236}">
                    <a16:creationId xmlns:a16="http://schemas.microsoft.com/office/drawing/2014/main" id="{F2F8A272-512D-4FCE-92BD-578F93DD575E}"/>
                  </a:ext>
                  <a:ext uri="{C183D7F6-B498-43B3-948B-1728B52AA6E4}">
                    <adec:decorative xmlns:adec="http://schemas.microsoft.com/office/drawing/2017/decorative" val="1"/>
                  </a:ext>
                </a:extLst>
              </p:cNvPr>
              <p:cNvSpPr/>
              <p:nvPr userDrawn="1"/>
            </p:nvSpPr>
            <p:spPr bwMode="auto">
              <a:xfrm>
                <a:off x="0" y="1306287"/>
                <a:ext cx="12436475" cy="4381952"/>
              </a:xfrm>
              <a:prstGeom prst="rect">
                <a:avLst/>
              </a:prstGeom>
              <a:gradFill flip="none" rotWithShape="1">
                <a:gsLst>
                  <a:gs pos="0">
                    <a:schemeClr val="accent2">
                      <a:lumMod val="75000"/>
                    </a:schemeClr>
                  </a:gs>
                  <a:gs pos="53000">
                    <a:schemeClr val="accent2">
                      <a:lumMod val="5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4275" name="Rectangle 4274">
                <a:extLst>
                  <a:ext uri="{FF2B5EF4-FFF2-40B4-BE49-F238E27FC236}">
                    <a16:creationId xmlns:a16="http://schemas.microsoft.com/office/drawing/2014/main" id="{571864DD-BC6B-485C-B053-07A3FE34F0BB}"/>
                  </a:ext>
                  <a:ext uri="{C183D7F6-B498-43B3-948B-1728B52AA6E4}">
                    <adec:decorative xmlns:adec="http://schemas.microsoft.com/office/drawing/2017/decorative" val="1"/>
                  </a:ext>
                </a:extLst>
              </p:cNvPr>
              <p:cNvSpPr/>
              <p:nvPr userDrawn="1"/>
            </p:nvSpPr>
            <p:spPr bwMode="auto">
              <a:xfrm>
                <a:off x="0" y="1306287"/>
                <a:ext cx="12436475" cy="4381952"/>
              </a:xfrm>
              <a:prstGeom prst="rect">
                <a:avLst/>
              </a:prstGeom>
              <a:gradFill>
                <a:gsLst>
                  <a:gs pos="0">
                    <a:schemeClr val="accent2">
                      <a:lumMod val="75000"/>
                      <a:alpha val="50000"/>
                    </a:schemeClr>
                  </a:gs>
                  <a:gs pos="100000">
                    <a:schemeClr val="accent2">
                      <a:lumMod val="7500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FB6FD9C5-9563-443F-B108-BEC617D51C03}"/>
                </a:ext>
                <a:ext uri="{C183D7F6-B498-43B3-948B-1728B52AA6E4}">
                  <adec:decorative xmlns:adec="http://schemas.microsoft.com/office/drawing/2017/decorative" val="1"/>
                </a:ext>
              </a:extLst>
            </p:cNvPr>
            <p:cNvGrpSpPr/>
            <p:nvPr userDrawn="1"/>
          </p:nvGrpSpPr>
          <p:grpSpPr>
            <a:xfrm>
              <a:off x="4865437" y="0"/>
              <a:ext cx="7571038" cy="6994525"/>
              <a:chOff x="4865437" y="0"/>
              <a:chExt cx="7571038" cy="6994525"/>
            </a:xfrm>
          </p:grpSpPr>
          <p:sp>
            <p:nvSpPr>
              <p:cNvPr id="4279" name="Freeform: Shape 4278">
                <a:extLst>
                  <a:ext uri="{FF2B5EF4-FFF2-40B4-BE49-F238E27FC236}">
                    <a16:creationId xmlns:a16="http://schemas.microsoft.com/office/drawing/2014/main" id="{8D774952-EFBC-4D09-92DD-C62C4A0FA9E3}"/>
                  </a:ext>
                  <a:ext uri="{C183D7F6-B498-43B3-948B-1728B52AA6E4}">
                    <adec:decorative xmlns:adec="http://schemas.microsoft.com/office/drawing/2017/decorative" val="1"/>
                  </a:ext>
                </a:extLst>
              </p:cNvPr>
              <p:cNvSpPr/>
              <p:nvPr userDrawn="1"/>
            </p:nvSpPr>
            <p:spPr>
              <a:xfrm rot="5400000" flipH="1">
                <a:off x="5153693" y="-288255"/>
                <a:ext cx="6994525" cy="7571036"/>
              </a:xfrm>
              <a:custGeom>
                <a:avLst/>
                <a:gdLst>
                  <a:gd name="connsiteX0" fmla="*/ 2175 w 6994525"/>
                  <a:gd name="connsiteY0" fmla="*/ 3826784 h 7571036"/>
                  <a:gd name="connsiteX1" fmla="*/ 0 w 6994525"/>
                  <a:gd name="connsiteY1" fmla="*/ 3821538 h 7571036"/>
                  <a:gd name="connsiteX2" fmla="*/ 0 w 6994525"/>
                  <a:gd name="connsiteY2" fmla="*/ 3832029 h 7571036"/>
                  <a:gd name="connsiteX3" fmla="*/ 3410 w 6994525"/>
                  <a:gd name="connsiteY3" fmla="*/ 2901744 h 7571036"/>
                  <a:gd name="connsiteX4" fmla="*/ 0 w 6994525"/>
                  <a:gd name="connsiteY4" fmla="*/ 2893522 h 7571036"/>
                  <a:gd name="connsiteX5" fmla="*/ 0 w 6994525"/>
                  <a:gd name="connsiteY5" fmla="*/ 2909891 h 7571036"/>
                  <a:gd name="connsiteX6" fmla="*/ 3655 w 6994525"/>
                  <a:gd name="connsiteY6" fmla="*/ 5606320 h 7571036"/>
                  <a:gd name="connsiteX7" fmla="*/ 0 w 6994525"/>
                  <a:gd name="connsiteY7" fmla="*/ 5602665 h 7571036"/>
                  <a:gd name="connsiteX8" fmla="*/ 0 w 6994525"/>
                  <a:gd name="connsiteY8" fmla="*/ 5609975 h 7571036"/>
                  <a:gd name="connsiteX9" fmla="*/ 5382 w 6994525"/>
                  <a:gd name="connsiteY9" fmla="*/ 2119859 h 7571036"/>
                  <a:gd name="connsiteX10" fmla="*/ 0 w 6994525"/>
                  <a:gd name="connsiteY10" fmla="*/ 2106844 h 7571036"/>
                  <a:gd name="connsiteX11" fmla="*/ 0 w 6994525"/>
                  <a:gd name="connsiteY11" fmla="*/ 2132871 h 7571036"/>
                  <a:gd name="connsiteX12" fmla="*/ 8586 w 6994525"/>
                  <a:gd name="connsiteY12" fmla="*/ 2394024 h 7571036"/>
                  <a:gd name="connsiteX13" fmla="*/ 0 w 6994525"/>
                  <a:gd name="connsiteY13" fmla="*/ 2385446 h 7571036"/>
                  <a:gd name="connsiteX14" fmla="*/ 0 w 6994525"/>
                  <a:gd name="connsiteY14" fmla="*/ 2402631 h 7571036"/>
                  <a:gd name="connsiteX15" fmla="*/ 13519 w 6994525"/>
                  <a:gd name="connsiteY15" fmla="*/ 3942183 h 7571036"/>
                  <a:gd name="connsiteX16" fmla="*/ 1560 w 6994525"/>
                  <a:gd name="connsiteY16" fmla="*/ 3913301 h 7571036"/>
                  <a:gd name="connsiteX17" fmla="*/ 0 w 6994525"/>
                  <a:gd name="connsiteY17" fmla="*/ 3912652 h 7571036"/>
                  <a:gd name="connsiteX18" fmla="*/ 0 w 6994525"/>
                  <a:gd name="connsiteY18" fmla="*/ 3971798 h 7571036"/>
                  <a:gd name="connsiteX19" fmla="*/ 1560 w 6994525"/>
                  <a:gd name="connsiteY19" fmla="*/ 3971154 h 7571036"/>
                  <a:gd name="connsiteX20" fmla="*/ 13519 w 6994525"/>
                  <a:gd name="connsiteY20" fmla="*/ 3942183 h 7571036"/>
                  <a:gd name="connsiteX21" fmla="*/ 16970 w 6994525"/>
                  <a:gd name="connsiteY21" fmla="*/ 1818498 h 7571036"/>
                  <a:gd name="connsiteX22" fmla="*/ 9314 w 6994525"/>
                  <a:gd name="connsiteY22" fmla="*/ 1800013 h 7571036"/>
                  <a:gd name="connsiteX23" fmla="*/ 0 w 6994525"/>
                  <a:gd name="connsiteY23" fmla="*/ 1796142 h 7571036"/>
                  <a:gd name="connsiteX24" fmla="*/ 0 w 6994525"/>
                  <a:gd name="connsiteY24" fmla="*/ 1840834 h 7571036"/>
                  <a:gd name="connsiteX25" fmla="*/ 9314 w 6994525"/>
                  <a:gd name="connsiteY25" fmla="*/ 1836978 h 7571036"/>
                  <a:gd name="connsiteX26" fmla="*/ 16970 w 6994525"/>
                  <a:gd name="connsiteY26" fmla="*/ 1818498 h 7571036"/>
                  <a:gd name="connsiteX27" fmla="*/ 17464 w 6994525"/>
                  <a:gd name="connsiteY27" fmla="*/ 2787325 h 7571036"/>
                  <a:gd name="connsiteX28" fmla="*/ 9822 w 6994525"/>
                  <a:gd name="connsiteY28" fmla="*/ 2779679 h 7571036"/>
                  <a:gd name="connsiteX29" fmla="*/ 2177 w 6994525"/>
                  <a:gd name="connsiteY29" fmla="*/ 2787325 h 7571036"/>
                  <a:gd name="connsiteX30" fmla="*/ 9822 w 6994525"/>
                  <a:gd name="connsiteY30" fmla="*/ 2794975 h 7571036"/>
                  <a:gd name="connsiteX31" fmla="*/ 17464 w 6994525"/>
                  <a:gd name="connsiteY31" fmla="*/ 2787325 h 7571036"/>
                  <a:gd name="connsiteX32" fmla="*/ 23628 w 6994525"/>
                  <a:gd name="connsiteY32" fmla="*/ 5192568 h 7571036"/>
                  <a:gd name="connsiteX33" fmla="*/ 17710 w 6994525"/>
                  <a:gd name="connsiteY33" fmla="*/ 5186649 h 7571036"/>
                  <a:gd name="connsiteX34" fmla="*/ 11792 w 6994525"/>
                  <a:gd name="connsiteY34" fmla="*/ 5192568 h 7571036"/>
                  <a:gd name="connsiteX35" fmla="*/ 17710 w 6994525"/>
                  <a:gd name="connsiteY35" fmla="*/ 5198486 h 7571036"/>
                  <a:gd name="connsiteX36" fmla="*/ 23628 w 6994525"/>
                  <a:gd name="connsiteY36" fmla="*/ 5192568 h 7571036"/>
                  <a:gd name="connsiteX37" fmla="*/ 27082 w 6994525"/>
                  <a:gd name="connsiteY37" fmla="*/ 1556800 h 7571036"/>
                  <a:gd name="connsiteX38" fmla="*/ 3410 w 6994525"/>
                  <a:gd name="connsiteY38" fmla="*/ 1533382 h 7571036"/>
                  <a:gd name="connsiteX39" fmla="*/ 0 w 6994525"/>
                  <a:gd name="connsiteY39" fmla="*/ 1534787 h 7571036"/>
                  <a:gd name="connsiteX40" fmla="*/ 0 w 6994525"/>
                  <a:gd name="connsiteY40" fmla="*/ 1579048 h 7571036"/>
                  <a:gd name="connsiteX41" fmla="*/ 3410 w 6994525"/>
                  <a:gd name="connsiteY41" fmla="*/ 1580471 h 7571036"/>
                  <a:gd name="connsiteX42" fmla="*/ 27082 w 6994525"/>
                  <a:gd name="connsiteY42" fmla="*/ 1556800 h 7571036"/>
                  <a:gd name="connsiteX43" fmla="*/ 28313 w 6994525"/>
                  <a:gd name="connsiteY43" fmla="*/ 4564539 h 7571036"/>
                  <a:gd name="connsiteX44" fmla="*/ 19620 w 6994525"/>
                  <a:gd name="connsiteY44" fmla="*/ 4543641 h 7571036"/>
                  <a:gd name="connsiteX45" fmla="*/ 0 w 6994525"/>
                  <a:gd name="connsiteY45" fmla="*/ 4535480 h 7571036"/>
                  <a:gd name="connsiteX46" fmla="*/ 0 w 6994525"/>
                  <a:gd name="connsiteY46" fmla="*/ 4593601 h 7571036"/>
                  <a:gd name="connsiteX47" fmla="*/ 19806 w 6994525"/>
                  <a:gd name="connsiteY47" fmla="*/ 4585436 h 7571036"/>
                  <a:gd name="connsiteX48" fmla="*/ 28313 w 6994525"/>
                  <a:gd name="connsiteY48" fmla="*/ 4564539 h 7571036"/>
                  <a:gd name="connsiteX49" fmla="*/ 28559 w 6994525"/>
                  <a:gd name="connsiteY49" fmla="*/ 4057087 h 7571036"/>
                  <a:gd name="connsiteX50" fmla="*/ 17124 w 6994525"/>
                  <a:gd name="connsiteY50" fmla="*/ 4029561 h 7571036"/>
                  <a:gd name="connsiteX51" fmla="*/ 0 w 6994525"/>
                  <a:gd name="connsiteY51" fmla="*/ 4022447 h 7571036"/>
                  <a:gd name="connsiteX52" fmla="*/ 0 w 6994525"/>
                  <a:gd name="connsiteY52" fmla="*/ 4091523 h 7571036"/>
                  <a:gd name="connsiteX53" fmla="*/ 17124 w 6994525"/>
                  <a:gd name="connsiteY53" fmla="*/ 4084486 h 7571036"/>
                  <a:gd name="connsiteX54" fmla="*/ 28559 w 6994525"/>
                  <a:gd name="connsiteY54" fmla="*/ 4057087 h 7571036"/>
                  <a:gd name="connsiteX55" fmla="*/ 36942 w 6994525"/>
                  <a:gd name="connsiteY55" fmla="*/ 2673640 h 7571036"/>
                  <a:gd name="connsiteX56" fmla="*/ 34232 w 6994525"/>
                  <a:gd name="connsiteY56" fmla="*/ 2670928 h 7571036"/>
                  <a:gd name="connsiteX57" fmla="*/ 31764 w 6994525"/>
                  <a:gd name="connsiteY57" fmla="*/ 2673640 h 7571036"/>
                  <a:gd name="connsiteX58" fmla="*/ 34232 w 6994525"/>
                  <a:gd name="connsiteY58" fmla="*/ 2676353 h 7571036"/>
                  <a:gd name="connsiteX59" fmla="*/ 36942 w 6994525"/>
                  <a:gd name="connsiteY59" fmla="*/ 2673640 h 7571036"/>
                  <a:gd name="connsiteX60" fmla="*/ 37930 w 6994525"/>
                  <a:gd name="connsiteY60" fmla="*/ 5451962 h 7571036"/>
                  <a:gd name="connsiteX61" fmla="*/ 33491 w 6994525"/>
                  <a:gd name="connsiteY61" fmla="*/ 5447525 h 7571036"/>
                  <a:gd name="connsiteX62" fmla="*/ 29053 w 6994525"/>
                  <a:gd name="connsiteY62" fmla="*/ 5451962 h 7571036"/>
                  <a:gd name="connsiteX63" fmla="*/ 33491 w 6994525"/>
                  <a:gd name="connsiteY63" fmla="*/ 5456401 h 7571036"/>
                  <a:gd name="connsiteX64" fmla="*/ 37930 w 6994525"/>
                  <a:gd name="connsiteY64" fmla="*/ 5451962 h 7571036"/>
                  <a:gd name="connsiteX65" fmla="*/ 42861 w 6994525"/>
                  <a:gd name="connsiteY65" fmla="*/ 2283820 h 7571036"/>
                  <a:gd name="connsiteX66" fmla="*/ 33985 w 6994525"/>
                  <a:gd name="connsiteY66" fmla="*/ 2274941 h 7571036"/>
                  <a:gd name="connsiteX67" fmla="*/ 25108 w 6994525"/>
                  <a:gd name="connsiteY67" fmla="*/ 2283820 h 7571036"/>
                  <a:gd name="connsiteX68" fmla="*/ 33985 w 6994525"/>
                  <a:gd name="connsiteY68" fmla="*/ 2292698 h 7571036"/>
                  <a:gd name="connsiteX69" fmla="*/ 42861 w 6994525"/>
                  <a:gd name="connsiteY69" fmla="*/ 2283820 h 7571036"/>
                  <a:gd name="connsiteX70" fmla="*/ 46807 w 6994525"/>
                  <a:gd name="connsiteY70" fmla="*/ 4171251 h 7571036"/>
                  <a:gd name="connsiteX71" fmla="*/ 10313 w 6994525"/>
                  <a:gd name="connsiteY71" fmla="*/ 4134757 h 7571036"/>
                  <a:gd name="connsiteX72" fmla="*/ 0 w 6994525"/>
                  <a:gd name="connsiteY72" fmla="*/ 4139015 h 7571036"/>
                  <a:gd name="connsiteX73" fmla="*/ 0 w 6994525"/>
                  <a:gd name="connsiteY73" fmla="*/ 4203449 h 7571036"/>
                  <a:gd name="connsiteX74" fmla="*/ 10313 w 6994525"/>
                  <a:gd name="connsiteY74" fmla="*/ 4207744 h 7571036"/>
                  <a:gd name="connsiteX75" fmla="*/ 46807 w 6994525"/>
                  <a:gd name="connsiteY75" fmla="*/ 4171251 h 7571036"/>
                  <a:gd name="connsiteX76" fmla="*/ 47789 w 6994525"/>
                  <a:gd name="connsiteY76" fmla="*/ 2012292 h 7571036"/>
                  <a:gd name="connsiteX77" fmla="*/ 22394 w 6994525"/>
                  <a:gd name="connsiteY77" fmla="*/ 1986929 h 7571036"/>
                  <a:gd name="connsiteX78" fmla="*/ 4426 w 6994525"/>
                  <a:gd name="connsiteY78" fmla="*/ 1994347 h 7571036"/>
                  <a:gd name="connsiteX79" fmla="*/ 0 w 6994525"/>
                  <a:gd name="connsiteY79" fmla="*/ 2005037 h 7571036"/>
                  <a:gd name="connsiteX80" fmla="*/ 0 w 6994525"/>
                  <a:gd name="connsiteY80" fmla="*/ 2019558 h 7571036"/>
                  <a:gd name="connsiteX81" fmla="*/ 4426 w 6994525"/>
                  <a:gd name="connsiteY81" fmla="*/ 2030265 h 7571036"/>
                  <a:gd name="connsiteX82" fmla="*/ 22394 w 6994525"/>
                  <a:gd name="connsiteY82" fmla="*/ 2037693 h 7571036"/>
                  <a:gd name="connsiteX83" fmla="*/ 47789 w 6994525"/>
                  <a:gd name="connsiteY83" fmla="*/ 2012292 h 7571036"/>
                  <a:gd name="connsiteX84" fmla="*/ 49519 w 6994525"/>
                  <a:gd name="connsiteY84" fmla="*/ 1302852 h 7571036"/>
                  <a:gd name="connsiteX85" fmla="*/ 27821 w 6994525"/>
                  <a:gd name="connsiteY85" fmla="*/ 1281148 h 7571036"/>
                  <a:gd name="connsiteX86" fmla="*/ 6122 w 6994525"/>
                  <a:gd name="connsiteY86" fmla="*/ 1302852 h 7571036"/>
                  <a:gd name="connsiteX87" fmla="*/ 27821 w 6994525"/>
                  <a:gd name="connsiteY87" fmla="*/ 1324545 h 7571036"/>
                  <a:gd name="connsiteX88" fmla="*/ 49519 w 6994525"/>
                  <a:gd name="connsiteY88" fmla="*/ 1302852 h 7571036"/>
                  <a:gd name="connsiteX89" fmla="*/ 50998 w 6994525"/>
                  <a:gd name="connsiteY89" fmla="*/ 4674758 h 7571036"/>
                  <a:gd name="connsiteX90" fmla="*/ 35217 w 6994525"/>
                  <a:gd name="connsiteY90" fmla="*/ 4658978 h 7571036"/>
                  <a:gd name="connsiteX91" fmla="*/ 19436 w 6994525"/>
                  <a:gd name="connsiteY91" fmla="*/ 4674758 h 7571036"/>
                  <a:gd name="connsiteX92" fmla="*/ 35217 w 6994525"/>
                  <a:gd name="connsiteY92" fmla="*/ 4690539 h 7571036"/>
                  <a:gd name="connsiteX93" fmla="*/ 50998 w 6994525"/>
                  <a:gd name="connsiteY93" fmla="*/ 4674758 h 7571036"/>
                  <a:gd name="connsiteX94" fmla="*/ 63820 w 6994525"/>
                  <a:gd name="connsiteY94" fmla="*/ 2561189 h 7571036"/>
                  <a:gd name="connsiteX95" fmla="*/ 62339 w 6994525"/>
                  <a:gd name="connsiteY95" fmla="*/ 2559709 h 7571036"/>
                  <a:gd name="connsiteX96" fmla="*/ 60861 w 6994525"/>
                  <a:gd name="connsiteY96" fmla="*/ 2561189 h 7571036"/>
                  <a:gd name="connsiteX97" fmla="*/ 62339 w 6994525"/>
                  <a:gd name="connsiteY97" fmla="*/ 2562669 h 7571036"/>
                  <a:gd name="connsiteX98" fmla="*/ 63820 w 6994525"/>
                  <a:gd name="connsiteY98" fmla="*/ 2561189 h 7571036"/>
                  <a:gd name="connsiteX99" fmla="*/ 65548 w 6994525"/>
                  <a:gd name="connsiteY99" fmla="*/ 5704456 h 7571036"/>
                  <a:gd name="connsiteX100" fmla="*/ 60861 w 6994525"/>
                  <a:gd name="connsiteY100" fmla="*/ 5699773 h 7571036"/>
                  <a:gd name="connsiteX101" fmla="*/ 56176 w 6994525"/>
                  <a:gd name="connsiteY101" fmla="*/ 5704456 h 7571036"/>
                  <a:gd name="connsiteX102" fmla="*/ 60861 w 6994525"/>
                  <a:gd name="connsiteY102" fmla="*/ 5709141 h 7571036"/>
                  <a:gd name="connsiteX103" fmla="*/ 65548 w 6994525"/>
                  <a:gd name="connsiteY103" fmla="*/ 5704456 h 7571036"/>
                  <a:gd name="connsiteX104" fmla="*/ 67274 w 6994525"/>
                  <a:gd name="connsiteY104" fmla="*/ 1714024 h 7571036"/>
                  <a:gd name="connsiteX105" fmla="*/ 42368 w 6994525"/>
                  <a:gd name="connsiteY105" fmla="*/ 1689188 h 7571036"/>
                  <a:gd name="connsiteX106" fmla="*/ 17464 w 6994525"/>
                  <a:gd name="connsiteY106" fmla="*/ 1714024 h 7571036"/>
                  <a:gd name="connsiteX107" fmla="*/ 42368 w 6994525"/>
                  <a:gd name="connsiteY107" fmla="*/ 1738996 h 7571036"/>
                  <a:gd name="connsiteX108" fmla="*/ 67274 w 6994525"/>
                  <a:gd name="connsiteY108" fmla="*/ 1714024 h 7571036"/>
                  <a:gd name="connsiteX109" fmla="*/ 69986 w 6994525"/>
                  <a:gd name="connsiteY109" fmla="*/ 4284674 h 7571036"/>
                  <a:gd name="connsiteX110" fmla="*/ 34970 w 6994525"/>
                  <a:gd name="connsiteY110" fmla="*/ 4249908 h 7571036"/>
                  <a:gd name="connsiteX111" fmla="*/ 204 w 6994525"/>
                  <a:gd name="connsiteY111" fmla="*/ 4284674 h 7571036"/>
                  <a:gd name="connsiteX112" fmla="*/ 34970 w 6994525"/>
                  <a:gd name="connsiteY112" fmla="*/ 4319443 h 7571036"/>
                  <a:gd name="connsiteX113" fmla="*/ 69986 w 6994525"/>
                  <a:gd name="connsiteY113" fmla="*/ 4284674 h 7571036"/>
                  <a:gd name="connsiteX114" fmla="*/ 70973 w 6994525"/>
                  <a:gd name="connsiteY114" fmla="*/ 5051772 h 7571036"/>
                  <a:gd name="connsiteX115" fmla="*/ 70723 w 6994525"/>
                  <a:gd name="connsiteY115" fmla="*/ 5051526 h 7571036"/>
                  <a:gd name="connsiteX116" fmla="*/ 70478 w 6994525"/>
                  <a:gd name="connsiteY116" fmla="*/ 5051772 h 7571036"/>
                  <a:gd name="connsiteX117" fmla="*/ 70723 w 6994525"/>
                  <a:gd name="connsiteY117" fmla="*/ 5052267 h 7571036"/>
                  <a:gd name="connsiteX118" fmla="*/ 70973 w 6994525"/>
                  <a:gd name="connsiteY118" fmla="*/ 5051772 h 7571036"/>
                  <a:gd name="connsiteX119" fmla="*/ 76642 w 6994525"/>
                  <a:gd name="connsiteY119" fmla="*/ 5295881 h 7571036"/>
                  <a:gd name="connsiteX120" fmla="*/ 70973 w 6994525"/>
                  <a:gd name="connsiteY120" fmla="*/ 5290209 h 7571036"/>
                  <a:gd name="connsiteX121" fmla="*/ 65301 w 6994525"/>
                  <a:gd name="connsiteY121" fmla="*/ 5295881 h 7571036"/>
                  <a:gd name="connsiteX122" fmla="*/ 70973 w 6994525"/>
                  <a:gd name="connsiteY122" fmla="*/ 5301553 h 7571036"/>
                  <a:gd name="connsiteX123" fmla="*/ 76642 w 6994525"/>
                  <a:gd name="connsiteY123" fmla="*/ 5295881 h 7571036"/>
                  <a:gd name="connsiteX124" fmla="*/ 81079 w 6994525"/>
                  <a:gd name="connsiteY124" fmla="*/ 2174843 h 7571036"/>
                  <a:gd name="connsiteX125" fmla="*/ 73929 w 6994525"/>
                  <a:gd name="connsiteY125" fmla="*/ 2167687 h 7571036"/>
                  <a:gd name="connsiteX126" fmla="*/ 66779 w 6994525"/>
                  <a:gd name="connsiteY126" fmla="*/ 2174843 h 7571036"/>
                  <a:gd name="connsiteX127" fmla="*/ 73929 w 6994525"/>
                  <a:gd name="connsiteY127" fmla="*/ 2182004 h 7571036"/>
                  <a:gd name="connsiteX128" fmla="*/ 81079 w 6994525"/>
                  <a:gd name="connsiteY128" fmla="*/ 2174843 h 7571036"/>
                  <a:gd name="connsiteX129" fmla="*/ 83545 w 6994525"/>
                  <a:gd name="connsiteY129" fmla="*/ 1456196 h 7571036"/>
                  <a:gd name="connsiteX130" fmla="*/ 61109 w 6994525"/>
                  <a:gd name="connsiteY130" fmla="*/ 1433758 h 7571036"/>
                  <a:gd name="connsiteX131" fmla="*/ 38670 w 6994525"/>
                  <a:gd name="connsiteY131" fmla="*/ 1456196 h 7571036"/>
                  <a:gd name="connsiteX132" fmla="*/ 61109 w 6994525"/>
                  <a:gd name="connsiteY132" fmla="*/ 1478630 h 7571036"/>
                  <a:gd name="connsiteX133" fmla="*/ 83545 w 6994525"/>
                  <a:gd name="connsiteY133" fmla="*/ 1456196 h 7571036"/>
                  <a:gd name="connsiteX134" fmla="*/ 86507 w 6994525"/>
                  <a:gd name="connsiteY134" fmla="*/ 3421525 h 7571036"/>
                  <a:gd name="connsiteX135" fmla="*/ 51246 w 6994525"/>
                  <a:gd name="connsiteY135" fmla="*/ 3386254 h 7571036"/>
                  <a:gd name="connsiteX136" fmla="*/ 15985 w 6994525"/>
                  <a:gd name="connsiteY136" fmla="*/ 3421525 h 7571036"/>
                  <a:gd name="connsiteX137" fmla="*/ 51246 w 6994525"/>
                  <a:gd name="connsiteY137" fmla="*/ 3456790 h 7571036"/>
                  <a:gd name="connsiteX138" fmla="*/ 86507 w 6994525"/>
                  <a:gd name="connsiteY138" fmla="*/ 3421525 h 7571036"/>
                  <a:gd name="connsiteX139" fmla="*/ 87000 w 6994525"/>
                  <a:gd name="connsiteY139" fmla="*/ 3305385 h 7571036"/>
                  <a:gd name="connsiteX140" fmla="*/ 54944 w 6994525"/>
                  <a:gd name="connsiteY140" fmla="*/ 3273342 h 7571036"/>
                  <a:gd name="connsiteX141" fmla="*/ 22889 w 6994525"/>
                  <a:gd name="connsiteY141" fmla="*/ 3305385 h 7571036"/>
                  <a:gd name="connsiteX142" fmla="*/ 54944 w 6994525"/>
                  <a:gd name="connsiteY142" fmla="*/ 3337444 h 7571036"/>
                  <a:gd name="connsiteX143" fmla="*/ 87000 w 6994525"/>
                  <a:gd name="connsiteY143" fmla="*/ 3305385 h 7571036"/>
                  <a:gd name="connsiteX144" fmla="*/ 89219 w 6994525"/>
                  <a:gd name="connsiteY144" fmla="*/ 3537305 h 7571036"/>
                  <a:gd name="connsiteX145" fmla="*/ 51247 w 6994525"/>
                  <a:gd name="connsiteY145" fmla="*/ 3499331 h 7571036"/>
                  <a:gd name="connsiteX146" fmla="*/ 13273 w 6994525"/>
                  <a:gd name="connsiteY146" fmla="*/ 3537305 h 7571036"/>
                  <a:gd name="connsiteX147" fmla="*/ 51247 w 6994525"/>
                  <a:gd name="connsiteY147" fmla="*/ 3575277 h 7571036"/>
                  <a:gd name="connsiteX148" fmla="*/ 89219 w 6994525"/>
                  <a:gd name="connsiteY148" fmla="*/ 3537305 h 7571036"/>
                  <a:gd name="connsiteX149" fmla="*/ 89955 w 6994525"/>
                  <a:gd name="connsiteY149" fmla="*/ 4783495 h 7571036"/>
                  <a:gd name="connsiteX150" fmla="*/ 74915 w 6994525"/>
                  <a:gd name="connsiteY150" fmla="*/ 4768454 h 7571036"/>
                  <a:gd name="connsiteX151" fmla="*/ 60120 w 6994525"/>
                  <a:gd name="connsiteY151" fmla="*/ 4783495 h 7571036"/>
                  <a:gd name="connsiteX152" fmla="*/ 74915 w 6994525"/>
                  <a:gd name="connsiteY152" fmla="*/ 4798538 h 7571036"/>
                  <a:gd name="connsiteX153" fmla="*/ 89955 w 6994525"/>
                  <a:gd name="connsiteY153" fmla="*/ 4783495 h 7571036"/>
                  <a:gd name="connsiteX154" fmla="*/ 90451 w 6994525"/>
                  <a:gd name="connsiteY154" fmla="*/ 3189505 h 7571036"/>
                  <a:gd name="connsiteX155" fmla="*/ 62833 w 6994525"/>
                  <a:gd name="connsiteY155" fmla="*/ 3161886 h 7571036"/>
                  <a:gd name="connsiteX156" fmla="*/ 35217 w 6994525"/>
                  <a:gd name="connsiteY156" fmla="*/ 3189505 h 7571036"/>
                  <a:gd name="connsiteX157" fmla="*/ 62833 w 6994525"/>
                  <a:gd name="connsiteY157" fmla="*/ 3217123 h 7571036"/>
                  <a:gd name="connsiteX158" fmla="*/ 90451 w 6994525"/>
                  <a:gd name="connsiteY158" fmla="*/ 3189505 h 7571036"/>
                  <a:gd name="connsiteX159" fmla="*/ 93410 w 6994525"/>
                  <a:gd name="connsiteY159" fmla="*/ 1906407 h 7571036"/>
                  <a:gd name="connsiteX160" fmla="*/ 69243 w 6994525"/>
                  <a:gd name="connsiteY160" fmla="*/ 1882278 h 7571036"/>
                  <a:gd name="connsiteX161" fmla="*/ 45080 w 6994525"/>
                  <a:gd name="connsiteY161" fmla="*/ 1906407 h 7571036"/>
                  <a:gd name="connsiteX162" fmla="*/ 69243 w 6994525"/>
                  <a:gd name="connsiteY162" fmla="*/ 1930540 h 7571036"/>
                  <a:gd name="connsiteX163" fmla="*/ 93410 w 6994525"/>
                  <a:gd name="connsiteY163" fmla="*/ 1906407 h 7571036"/>
                  <a:gd name="connsiteX164" fmla="*/ 94395 w 6994525"/>
                  <a:gd name="connsiteY164" fmla="*/ 2449494 h 7571036"/>
                  <a:gd name="connsiteX165" fmla="*/ 94150 w 6994525"/>
                  <a:gd name="connsiteY165" fmla="*/ 2449494 h 7571036"/>
                  <a:gd name="connsiteX166" fmla="*/ 94150 w 6994525"/>
                  <a:gd name="connsiteY166" fmla="*/ 2449739 h 7571036"/>
                  <a:gd name="connsiteX167" fmla="*/ 95136 w 6994525"/>
                  <a:gd name="connsiteY167" fmla="*/ 3653438 h 7571036"/>
                  <a:gd name="connsiteX168" fmla="*/ 55192 w 6994525"/>
                  <a:gd name="connsiteY168" fmla="*/ 3613494 h 7571036"/>
                  <a:gd name="connsiteX169" fmla="*/ 15245 w 6994525"/>
                  <a:gd name="connsiteY169" fmla="*/ 3653438 h 7571036"/>
                  <a:gd name="connsiteX170" fmla="*/ 55192 w 6994525"/>
                  <a:gd name="connsiteY170" fmla="*/ 3693384 h 7571036"/>
                  <a:gd name="connsiteX171" fmla="*/ 95136 w 6994525"/>
                  <a:gd name="connsiteY171" fmla="*/ 3653438 h 7571036"/>
                  <a:gd name="connsiteX172" fmla="*/ 96863 w 6994525"/>
                  <a:gd name="connsiteY172" fmla="*/ 3073850 h 7571036"/>
                  <a:gd name="connsiteX173" fmla="*/ 74423 w 6994525"/>
                  <a:gd name="connsiteY173" fmla="*/ 3051409 h 7571036"/>
                  <a:gd name="connsiteX174" fmla="*/ 51985 w 6994525"/>
                  <a:gd name="connsiteY174" fmla="*/ 3073850 h 7571036"/>
                  <a:gd name="connsiteX175" fmla="*/ 74423 w 6994525"/>
                  <a:gd name="connsiteY175" fmla="*/ 3096291 h 7571036"/>
                  <a:gd name="connsiteX176" fmla="*/ 96863 w 6994525"/>
                  <a:gd name="connsiteY176" fmla="*/ 3073850 h 7571036"/>
                  <a:gd name="connsiteX177" fmla="*/ 96863 w 6994525"/>
                  <a:gd name="connsiteY177" fmla="*/ 5551828 h 7571036"/>
                  <a:gd name="connsiteX178" fmla="*/ 92669 w 6994525"/>
                  <a:gd name="connsiteY178" fmla="*/ 5547637 h 7571036"/>
                  <a:gd name="connsiteX179" fmla="*/ 88478 w 6994525"/>
                  <a:gd name="connsiteY179" fmla="*/ 5551828 h 7571036"/>
                  <a:gd name="connsiteX180" fmla="*/ 92669 w 6994525"/>
                  <a:gd name="connsiteY180" fmla="*/ 5556019 h 7571036"/>
                  <a:gd name="connsiteX181" fmla="*/ 96863 w 6994525"/>
                  <a:gd name="connsiteY181" fmla="*/ 5551828 h 7571036"/>
                  <a:gd name="connsiteX182" fmla="*/ 97107 w 6994525"/>
                  <a:gd name="connsiteY182" fmla="*/ 4397362 h 7571036"/>
                  <a:gd name="connsiteX183" fmla="*/ 63079 w 6994525"/>
                  <a:gd name="connsiteY183" fmla="*/ 4363333 h 7571036"/>
                  <a:gd name="connsiteX184" fmla="*/ 29053 w 6994525"/>
                  <a:gd name="connsiteY184" fmla="*/ 4397362 h 7571036"/>
                  <a:gd name="connsiteX185" fmla="*/ 63079 w 6994525"/>
                  <a:gd name="connsiteY185" fmla="*/ 4431388 h 7571036"/>
                  <a:gd name="connsiteX186" fmla="*/ 97107 w 6994525"/>
                  <a:gd name="connsiteY186" fmla="*/ 4397362 h 7571036"/>
                  <a:gd name="connsiteX187" fmla="*/ 104753 w 6994525"/>
                  <a:gd name="connsiteY187" fmla="*/ 3769329 h 7571036"/>
                  <a:gd name="connsiteX188" fmla="*/ 63079 w 6994525"/>
                  <a:gd name="connsiteY188" fmla="*/ 3727659 h 7571036"/>
                  <a:gd name="connsiteX189" fmla="*/ 21408 w 6994525"/>
                  <a:gd name="connsiteY189" fmla="*/ 3769329 h 7571036"/>
                  <a:gd name="connsiteX190" fmla="*/ 63079 w 6994525"/>
                  <a:gd name="connsiteY190" fmla="*/ 3811249 h 7571036"/>
                  <a:gd name="connsiteX191" fmla="*/ 104753 w 6994525"/>
                  <a:gd name="connsiteY191" fmla="*/ 3769329 h 7571036"/>
                  <a:gd name="connsiteX192" fmla="*/ 106972 w 6994525"/>
                  <a:gd name="connsiteY192" fmla="*/ 2958687 h 7571036"/>
                  <a:gd name="connsiteX193" fmla="*/ 89955 w 6994525"/>
                  <a:gd name="connsiteY193" fmla="*/ 2941672 h 7571036"/>
                  <a:gd name="connsiteX194" fmla="*/ 72942 w 6994525"/>
                  <a:gd name="connsiteY194" fmla="*/ 2958687 h 7571036"/>
                  <a:gd name="connsiteX195" fmla="*/ 89955 w 6994525"/>
                  <a:gd name="connsiteY195" fmla="*/ 2975701 h 7571036"/>
                  <a:gd name="connsiteX196" fmla="*/ 106972 w 6994525"/>
                  <a:gd name="connsiteY196" fmla="*/ 2958687 h 7571036"/>
                  <a:gd name="connsiteX197" fmla="*/ 111903 w 6994525"/>
                  <a:gd name="connsiteY197" fmla="*/ 1205466 h 7571036"/>
                  <a:gd name="connsiteX198" fmla="*/ 91190 w 6994525"/>
                  <a:gd name="connsiteY198" fmla="*/ 1184754 h 7571036"/>
                  <a:gd name="connsiteX199" fmla="*/ 70478 w 6994525"/>
                  <a:gd name="connsiteY199" fmla="*/ 1205466 h 7571036"/>
                  <a:gd name="connsiteX200" fmla="*/ 91190 w 6994525"/>
                  <a:gd name="connsiteY200" fmla="*/ 1226180 h 7571036"/>
                  <a:gd name="connsiteX201" fmla="*/ 111903 w 6994525"/>
                  <a:gd name="connsiteY201" fmla="*/ 1205466 h 7571036"/>
                  <a:gd name="connsiteX202" fmla="*/ 117329 w 6994525"/>
                  <a:gd name="connsiteY202" fmla="*/ 3884977 h 7571036"/>
                  <a:gd name="connsiteX203" fmla="*/ 74670 w 6994525"/>
                  <a:gd name="connsiteY203" fmla="*/ 3842071 h 7571036"/>
                  <a:gd name="connsiteX204" fmla="*/ 32013 w 6994525"/>
                  <a:gd name="connsiteY204" fmla="*/ 3884977 h 7571036"/>
                  <a:gd name="connsiteX205" fmla="*/ 74670 w 6994525"/>
                  <a:gd name="connsiteY205" fmla="*/ 3927634 h 7571036"/>
                  <a:gd name="connsiteX206" fmla="*/ 117329 w 6994525"/>
                  <a:gd name="connsiteY206" fmla="*/ 3884977 h 7571036"/>
                  <a:gd name="connsiteX207" fmla="*/ 121025 w 6994525"/>
                  <a:gd name="connsiteY207" fmla="*/ 2844265 h 7571036"/>
                  <a:gd name="connsiteX208" fmla="*/ 109190 w 6994525"/>
                  <a:gd name="connsiteY208" fmla="*/ 2832428 h 7571036"/>
                  <a:gd name="connsiteX209" fmla="*/ 97354 w 6994525"/>
                  <a:gd name="connsiteY209" fmla="*/ 2844265 h 7571036"/>
                  <a:gd name="connsiteX210" fmla="*/ 109190 w 6994525"/>
                  <a:gd name="connsiteY210" fmla="*/ 2856101 h 7571036"/>
                  <a:gd name="connsiteX211" fmla="*/ 121025 w 6994525"/>
                  <a:gd name="connsiteY211" fmla="*/ 2844265 h 7571036"/>
                  <a:gd name="connsiteX212" fmla="*/ 121026 w 6994525"/>
                  <a:gd name="connsiteY212" fmla="*/ 1611522 h 7571036"/>
                  <a:gd name="connsiteX213" fmla="*/ 97354 w 6994525"/>
                  <a:gd name="connsiteY213" fmla="*/ 1587831 h 7571036"/>
                  <a:gd name="connsiteX214" fmla="*/ 73683 w 6994525"/>
                  <a:gd name="connsiteY214" fmla="*/ 1611522 h 7571036"/>
                  <a:gd name="connsiteX215" fmla="*/ 97354 w 6994525"/>
                  <a:gd name="connsiteY215" fmla="*/ 1635193 h 7571036"/>
                  <a:gd name="connsiteX216" fmla="*/ 121026 w 6994525"/>
                  <a:gd name="connsiteY216" fmla="*/ 1611522 h 7571036"/>
                  <a:gd name="connsiteX217" fmla="*/ 121517 w 6994525"/>
                  <a:gd name="connsiteY217" fmla="*/ 5156320 h 7571036"/>
                  <a:gd name="connsiteX218" fmla="*/ 121025 w 6994525"/>
                  <a:gd name="connsiteY218" fmla="*/ 5155826 h 7571036"/>
                  <a:gd name="connsiteX219" fmla="*/ 120531 w 6994525"/>
                  <a:gd name="connsiteY219" fmla="*/ 5156320 h 7571036"/>
                  <a:gd name="connsiteX220" fmla="*/ 121025 w 6994525"/>
                  <a:gd name="connsiteY220" fmla="*/ 5156812 h 7571036"/>
                  <a:gd name="connsiteX221" fmla="*/ 121517 w 6994525"/>
                  <a:gd name="connsiteY221" fmla="*/ 5156320 h 7571036"/>
                  <a:gd name="connsiteX222" fmla="*/ 125466 w 6994525"/>
                  <a:gd name="connsiteY222" fmla="*/ 2067039 h 7571036"/>
                  <a:gd name="connsiteX223" fmla="*/ 117084 w 6994525"/>
                  <a:gd name="connsiteY223" fmla="*/ 2058649 h 7571036"/>
                  <a:gd name="connsiteX224" fmla="*/ 108698 w 6994525"/>
                  <a:gd name="connsiteY224" fmla="*/ 2067039 h 7571036"/>
                  <a:gd name="connsiteX225" fmla="*/ 117084 w 6994525"/>
                  <a:gd name="connsiteY225" fmla="*/ 2075427 h 7571036"/>
                  <a:gd name="connsiteX226" fmla="*/ 125466 w 6994525"/>
                  <a:gd name="connsiteY226" fmla="*/ 2067039 h 7571036"/>
                  <a:gd name="connsiteX227" fmla="*/ 128670 w 6994525"/>
                  <a:gd name="connsiteY227" fmla="*/ 4508812 h 7571036"/>
                  <a:gd name="connsiteX228" fmla="*/ 95135 w 6994525"/>
                  <a:gd name="connsiteY228" fmla="*/ 4475277 h 7571036"/>
                  <a:gd name="connsiteX229" fmla="*/ 61601 w 6994525"/>
                  <a:gd name="connsiteY229" fmla="*/ 4508812 h 7571036"/>
                  <a:gd name="connsiteX230" fmla="*/ 95135 w 6994525"/>
                  <a:gd name="connsiteY230" fmla="*/ 4542346 h 7571036"/>
                  <a:gd name="connsiteX231" fmla="*/ 128670 w 6994525"/>
                  <a:gd name="connsiteY231" fmla="*/ 4508812 h 7571036"/>
                  <a:gd name="connsiteX232" fmla="*/ 130149 w 6994525"/>
                  <a:gd name="connsiteY232" fmla="*/ 5800867 h 7571036"/>
                  <a:gd name="connsiteX233" fmla="*/ 125709 w 6994525"/>
                  <a:gd name="connsiteY233" fmla="*/ 5796430 h 7571036"/>
                  <a:gd name="connsiteX234" fmla="*/ 121272 w 6994525"/>
                  <a:gd name="connsiteY234" fmla="*/ 5800867 h 7571036"/>
                  <a:gd name="connsiteX235" fmla="*/ 125709 w 6994525"/>
                  <a:gd name="connsiteY235" fmla="*/ 5805307 h 7571036"/>
                  <a:gd name="connsiteX236" fmla="*/ 130149 w 6994525"/>
                  <a:gd name="connsiteY236" fmla="*/ 5800867 h 7571036"/>
                  <a:gd name="connsiteX237" fmla="*/ 130639 w 6994525"/>
                  <a:gd name="connsiteY237" fmla="*/ 2339046 h 7571036"/>
                  <a:gd name="connsiteX238" fmla="*/ 129902 w 6994525"/>
                  <a:gd name="connsiteY238" fmla="*/ 2338303 h 7571036"/>
                  <a:gd name="connsiteX239" fmla="*/ 129162 w 6994525"/>
                  <a:gd name="connsiteY239" fmla="*/ 2339046 h 7571036"/>
                  <a:gd name="connsiteX240" fmla="*/ 129902 w 6994525"/>
                  <a:gd name="connsiteY240" fmla="*/ 2339786 h 7571036"/>
                  <a:gd name="connsiteX241" fmla="*/ 130639 w 6994525"/>
                  <a:gd name="connsiteY241" fmla="*/ 2339046 h 7571036"/>
                  <a:gd name="connsiteX242" fmla="*/ 132367 w 6994525"/>
                  <a:gd name="connsiteY242" fmla="*/ 4891251 h 7571036"/>
                  <a:gd name="connsiteX243" fmla="*/ 118313 w 6994525"/>
                  <a:gd name="connsiteY243" fmla="*/ 4877197 h 7571036"/>
                  <a:gd name="connsiteX244" fmla="*/ 104258 w 6994525"/>
                  <a:gd name="connsiteY244" fmla="*/ 4891251 h 7571036"/>
                  <a:gd name="connsiteX245" fmla="*/ 118313 w 6994525"/>
                  <a:gd name="connsiteY245" fmla="*/ 4905305 h 7571036"/>
                  <a:gd name="connsiteX246" fmla="*/ 132367 w 6994525"/>
                  <a:gd name="connsiteY246" fmla="*/ 4891251 h 7571036"/>
                  <a:gd name="connsiteX247" fmla="*/ 132861 w 6994525"/>
                  <a:gd name="connsiteY247" fmla="*/ 5397719 h 7571036"/>
                  <a:gd name="connsiteX248" fmla="*/ 127438 w 6994525"/>
                  <a:gd name="connsiteY248" fmla="*/ 5392292 h 7571036"/>
                  <a:gd name="connsiteX249" fmla="*/ 122012 w 6994525"/>
                  <a:gd name="connsiteY249" fmla="*/ 5397719 h 7571036"/>
                  <a:gd name="connsiteX250" fmla="*/ 127438 w 6994525"/>
                  <a:gd name="connsiteY250" fmla="*/ 5403142 h 7571036"/>
                  <a:gd name="connsiteX251" fmla="*/ 132861 w 6994525"/>
                  <a:gd name="connsiteY251" fmla="*/ 5397719 h 7571036"/>
                  <a:gd name="connsiteX252" fmla="*/ 134094 w 6994525"/>
                  <a:gd name="connsiteY252" fmla="*/ 4000125 h 7571036"/>
                  <a:gd name="connsiteX253" fmla="*/ 90450 w 6994525"/>
                  <a:gd name="connsiteY253" fmla="*/ 3956481 h 7571036"/>
                  <a:gd name="connsiteX254" fmla="*/ 46807 w 6994525"/>
                  <a:gd name="connsiteY254" fmla="*/ 4000125 h 7571036"/>
                  <a:gd name="connsiteX255" fmla="*/ 90450 w 6994525"/>
                  <a:gd name="connsiteY255" fmla="*/ 4043768 h 7571036"/>
                  <a:gd name="connsiteX256" fmla="*/ 134094 w 6994525"/>
                  <a:gd name="connsiteY256" fmla="*/ 4000125 h 7571036"/>
                  <a:gd name="connsiteX257" fmla="*/ 140010 w 6994525"/>
                  <a:gd name="connsiteY257" fmla="*/ 2730092 h 7571036"/>
                  <a:gd name="connsiteX258" fmla="*/ 132612 w 6994525"/>
                  <a:gd name="connsiteY258" fmla="*/ 2722692 h 7571036"/>
                  <a:gd name="connsiteX259" fmla="*/ 125216 w 6994525"/>
                  <a:gd name="connsiteY259" fmla="*/ 2730092 h 7571036"/>
                  <a:gd name="connsiteX260" fmla="*/ 132612 w 6994525"/>
                  <a:gd name="connsiteY260" fmla="*/ 2737489 h 7571036"/>
                  <a:gd name="connsiteX261" fmla="*/ 140010 w 6994525"/>
                  <a:gd name="connsiteY261" fmla="*/ 2730092 h 7571036"/>
                  <a:gd name="connsiteX262" fmla="*/ 142476 w 6994525"/>
                  <a:gd name="connsiteY262" fmla="*/ 1801984 h 7571036"/>
                  <a:gd name="connsiteX263" fmla="*/ 119545 w 6994525"/>
                  <a:gd name="connsiteY263" fmla="*/ 1779002 h 7571036"/>
                  <a:gd name="connsiteX264" fmla="*/ 96614 w 6994525"/>
                  <a:gd name="connsiteY264" fmla="*/ 1801984 h 7571036"/>
                  <a:gd name="connsiteX265" fmla="*/ 119545 w 6994525"/>
                  <a:gd name="connsiteY265" fmla="*/ 1824883 h 7571036"/>
                  <a:gd name="connsiteX266" fmla="*/ 142476 w 6994525"/>
                  <a:gd name="connsiteY266" fmla="*/ 1801984 h 7571036"/>
                  <a:gd name="connsiteX267" fmla="*/ 143461 w 6994525"/>
                  <a:gd name="connsiteY267" fmla="*/ 1356579 h 7571036"/>
                  <a:gd name="connsiteX268" fmla="*/ 122012 w 6994525"/>
                  <a:gd name="connsiteY268" fmla="*/ 1335129 h 7571036"/>
                  <a:gd name="connsiteX269" fmla="*/ 100559 w 6994525"/>
                  <a:gd name="connsiteY269" fmla="*/ 1356579 h 7571036"/>
                  <a:gd name="connsiteX270" fmla="*/ 122012 w 6994525"/>
                  <a:gd name="connsiteY270" fmla="*/ 1378281 h 7571036"/>
                  <a:gd name="connsiteX271" fmla="*/ 143461 w 6994525"/>
                  <a:gd name="connsiteY271" fmla="*/ 1356579 h 7571036"/>
                  <a:gd name="connsiteX272" fmla="*/ 154314 w 6994525"/>
                  <a:gd name="connsiteY272" fmla="*/ 4114538 h 7571036"/>
                  <a:gd name="connsiteX273" fmla="*/ 109931 w 6994525"/>
                  <a:gd name="connsiteY273" fmla="*/ 4070154 h 7571036"/>
                  <a:gd name="connsiteX274" fmla="*/ 65547 w 6994525"/>
                  <a:gd name="connsiteY274" fmla="*/ 4114538 h 7571036"/>
                  <a:gd name="connsiteX275" fmla="*/ 109931 w 6994525"/>
                  <a:gd name="connsiteY275" fmla="*/ 4158922 h 7571036"/>
                  <a:gd name="connsiteX276" fmla="*/ 154314 w 6994525"/>
                  <a:gd name="connsiteY276" fmla="*/ 4114538 h 7571036"/>
                  <a:gd name="connsiteX277" fmla="*/ 155544 w 6994525"/>
                  <a:gd name="connsiteY277" fmla="*/ 4619277 h 7571036"/>
                  <a:gd name="connsiteX278" fmla="*/ 130640 w 6994525"/>
                  <a:gd name="connsiteY278" fmla="*/ 4594373 h 7571036"/>
                  <a:gd name="connsiteX279" fmla="*/ 105736 w 6994525"/>
                  <a:gd name="connsiteY279" fmla="*/ 4619277 h 7571036"/>
                  <a:gd name="connsiteX280" fmla="*/ 130640 w 6994525"/>
                  <a:gd name="connsiteY280" fmla="*/ 4644183 h 7571036"/>
                  <a:gd name="connsiteX281" fmla="*/ 155544 w 6994525"/>
                  <a:gd name="connsiteY281" fmla="*/ 4619277 h 7571036"/>
                  <a:gd name="connsiteX282" fmla="*/ 159000 w 6994525"/>
                  <a:gd name="connsiteY282" fmla="*/ 5650212 h 7571036"/>
                  <a:gd name="connsiteX283" fmla="*/ 155054 w 6994525"/>
                  <a:gd name="connsiteY283" fmla="*/ 5646267 h 7571036"/>
                  <a:gd name="connsiteX284" fmla="*/ 151109 w 6994525"/>
                  <a:gd name="connsiteY284" fmla="*/ 5650212 h 7571036"/>
                  <a:gd name="connsiteX285" fmla="*/ 155054 w 6994525"/>
                  <a:gd name="connsiteY285" fmla="*/ 5654156 h 7571036"/>
                  <a:gd name="connsiteX286" fmla="*/ 159000 w 6994525"/>
                  <a:gd name="connsiteY286" fmla="*/ 5650212 h 7571036"/>
                  <a:gd name="connsiteX287" fmla="*/ 162451 w 6994525"/>
                  <a:gd name="connsiteY287" fmla="*/ 2617395 h 7571036"/>
                  <a:gd name="connsiteX288" fmla="*/ 159738 w 6994525"/>
                  <a:gd name="connsiteY288" fmla="*/ 2614685 h 7571036"/>
                  <a:gd name="connsiteX289" fmla="*/ 157025 w 6994525"/>
                  <a:gd name="connsiteY289" fmla="*/ 2617395 h 7571036"/>
                  <a:gd name="connsiteX290" fmla="*/ 159738 w 6994525"/>
                  <a:gd name="connsiteY290" fmla="*/ 2620110 h 7571036"/>
                  <a:gd name="connsiteX291" fmla="*/ 162451 w 6994525"/>
                  <a:gd name="connsiteY291" fmla="*/ 2617395 h 7571036"/>
                  <a:gd name="connsiteX292" fmla="*/ 172064 w 6994525"/>
                  <a:gd name="connsiteY292" fmla="*/ 2229810 h 7571036"/>
                  <a:gd name="connsiteX293" fmla="*/ 168859 w 6994525"/>
                  <a:gd name="connsiteY293" fmla="*/ 2226595 h 7571036"/>
                  <a:gd name="connsiteX294" fmla="*/ 165654 w 6994525"/>
                  <a:gd name="connsiteY294" fmla="*/ 2229810 h 7571036"/>
                  <a:gd name="connsiteX295" fmla="*/ 168859 w 6994525"/>
                  <a:gd name="connsiteY295" fmla="*/ 2232993 h 7571036"/>
                  <a:gd name="connsiteX296" fmla="*/ 172064 w 6994525"/>
                  <a:gd name="connsiteY296" fmla="*/ 2229810 h 7571036"/>
                  <a:gd name="connsiteX297" fmla="*/ 175023 w 6994525"/>
                  <a:gd name="connsiteY297" fmla="*/ 5259142 h 7571036"/>
                  <a:gd name="connsiteX298" fmla="*/ 174285 w 6994525"/>
                  <a:gd name="connsiteY298" fmla="*/ 5258401 h 7571036"/>
                  <a:gd name="connsiteX299" fmla="*/ 173791 w 6994525"/>
                  <a:gd name="connsiteY299" fmla="*/ 5259142 h 7571036"/>
                  <a:gd name="connsiteX300" fmla="*/ 174285 w 6994525"/>
                  <a:gd name="connsiteY300" fmla="*/ 5259879 h 7571036"/>
                  <a:gd name="connsiteX301" fmla="*/ 175023 w 6994525"/>
                  <a:gd name="connsiteY301" fmla="*/ 5259142 h 7571036"/>
                  <a:gd name="connsiteX302" fmla="*/ 176999 w 6994525"/>
                  <a:gd name="connsiteY302" fmla="*/ 1109787 h 7571036"/>
                  <a:gd name="connsiteX303" fmla="*/ 157273 w 6994525"/>
                  <a:gd name="connsiteY303" fmla="*/ 1090069 h 7571036"/>
                  <a:gd name="connsiteX304" fmla="*/ 137547 w 6994525"/>
                  <a:gd name="connsiteY304" fmla="*/ 1109787 h 7571036"/>
                  <a:gd name="connsiteX305" fmla="*/ 157273 w 6994525"/>
                  <a:gd name="connsiteY305" fmla="*/ 1129513 h 7571036"/>
                  <a:gd name="connsiteX306" fmla="*/ 176999 w 6994525"/>
                  <a:gd name="connsiteY306" fmla="*/ 1109787 h 7571036"/>
                  <a:gd name="connsiteX307" fmla="*/ 177737 w 6994525"/>
                  <a:gd name="connsiteY307" fmla="*/ 1510171 h 7571036"/>
                  <a:gd name="connsiteX308" fmla="*/ 155051 w 6994525"/>
                  <a:gd name="connsiteY308" fmla="*/ 1487488 h 7571036"/>
                  <a:gd name="connsiteX309" fmla="*/ 132367 w 6994525"/>
                  <a:gd name="connsiteY309" fmla="*/ 1510171 h 7571036"/>
                  <a:gd name="connsiteX310" fmla="*/ 155051 w 6994525"/>
                  <a:gd name="connsiteY310" fmla="*/ 1532860 h 7571036"/>
                  <a:gd name="connsiteX311" fmla="*/ 177737 w 6994525"/>
                  <a:gd name="connsiteY311" fmla="*/ 1510171 h 7571036"/>
                  <a:gd name="connsiteX312" fmla="*/ 177985 w 6994525"/>
                  <a:gd name="connsiteY312" fmla="*/ 4997278 h 7571036"/>
                  <a:gd name="connsiteX313" fmla="*/ 164914 w 6994525"/>
                  <a:gd name="connsiteY313" fmla="*/ 4983963 h 7571036"/>
                  <a:gd name="connsiteX314" fmla="*/ 151847 w 6994525"/>
                  <a:gd name="connsiteY314" fmla="*/ 4997278 h 7571036"/>
                  <a:gd name="connsiteX315" fmla="*/ 164914 w 6994525"/>
                  <a:gd name="connsiteY315" fmla="*/ 5010348 h 7571036"/>
                  <a:gd name="connsiteX316" fmla="*/ 177985 w 6994525"/>
                  <a:gd name="connsiteY316" fmla="*/ 4997278 h 7571036"/>
                  <a:gd name="connsiteX317" fmla="*/ 178232 w 6994525"/>
                  <a:gd name="connsiteY317" fmla="*/ 4228210 h 7571036"/>
                  <a:gd name="connsiteX318" fmla="*/ 133356 w 6994525"/>
                  <a:gd name="connsiteY318" fmla="*/ 4183085 h 7571036"/>
                  <a:gd name="connsiteX319" fmla="*/ 88232 w 6994525"/>
                  <a:gd name="connsiteY319" fmla="*/ 4228210 h 7571036"/>
                  <a:gd name="connsiteX320" fmla="*/ 133356 w 6994525"/>
                  <a:gd name="connsiteY320" fmla="*/ 4273334 h 7571036"/>
                  <a:gd name="connsiteX321" fmla="*/ 178232 w 6994525"/>
                  <a:gd name="connsiteY321" fmla="*/ 4228210 h 7571036"/>
                  <a:gd name="connsiteX322" fmla="*/ 179217 w 6994525"/>
                  <a:gd name="connsiteY322" fmla="*/ 1960807 h 7571036"/>
                  <a:gd name="connsiteX323" fmla="*/ 163682 w 6994525"/>
                  <a:gd name="connsiteY323" fmla="*/ 1945292 h 7571036"/>
                  <a:gd name="connsiteX324" fmla="*/ 148147 w 6994525"/>
                  <a:gd name="connsiteY324" fmla="*/ 1960807 h 7571036"/>
                  <a:gd name="connsiteX325" fmla="*/ 163682 w 6994525"/>
                  <a:gd name="connsiteY325" fmla="*/ 1976322 h 7571036"/>
                  <a:gd name="connsiteX326" fmla="*/ 179217 w 6994525"/>
                  <a:gd name="connsiteY326" fmla="*/ 1960807 h 7571036"/>
                  <a:gd name="connsiteX327" fmla="*/ 180945 w 6994525"/>
                  <a:gd name="connsiteY327" fmla="*/ 4728264 h 7571036"/>
                  <a:gd name="connsiteX328" fmla="*/ 169847 w 6994525"/>
                  <a:gd name="connsiteY328" fmla="*/ 4717169 h 7571036"/>
                  <a:gd name="connsiteX329" fmla="*/ 158751 w 6994525"/>
                  <a:gd name="connsiteY329" fmla="*/ 4728264 h 7571036"/>
                  <a:gd name="connsiteX330" fmla="*/ 169847 w 6994525"/>
                  <a:gd name="connsiteY330" fmla="*/ 4739360 h 7571036"/>
                  <a:gd name="connsiteX331" fmla="*/ 180945 w 6994525"/>
                  <a:gd name="connsiteY331" fmla="*/ 4728264 h 7571036"/>
                  <a:gd name="connsiteX332" fmla="*/ 191790 w 6994525"/>
                  <a:gd name="connsiteY332" fmla="*/ 5497827 h 7571036"/>
                  <a:gd name="connsiteX333" fmla="*/ 186613 w 6994525"/>
                  <a:gd name="connsiteY333" fmla="*/ 5492650 h 7571036"/>
                  <a:gd name="connsiteX334" fmla="*/ 181435 w 6994525"/>
                  <a:gd name="connsiteY334" fmla="*/ 5497827 h 7571036"/>
                  <a:gd name="connsiteX335" fmla="*/ 186613 w 6994525"/>
                  <a:gd name="connsiteY335" fmla="*/ 5503004 h 7571036"/>
                  <a:gd name="connsiteX336" fmla="*/ 191790 w 6994525"/>
                  <a:gd name="connsiteY336" fmla="*/ 5497827 h 7571036"/>
                  <a:gd name="connsiteX337" fmla="*/ 193026 w 6994525"/>
                  <a:gd name="connsiteY337" fmla="*/ 2505436 h 7571036"/>
                  <a:gd name="connsiteX338" fmla="*/ 190804 w 6994525"/>
                  <a:gd name="connsiteY338" fmla="*/ 2503220 h 7571036"/>
                  <a:gd name="connsiteX339" fmla="*/ 188586 w 6994525"/>
                  <a:gd name="connsiteY339" fmla="*/ 2505436 h 7571036"/>
                  <a:gd name="connsiteX340" fmla="*/ 190804 w 6994525"/>
                  <a:gd name="connsiteY340" fmla="*/ 2507654 h 7571036"/>
                  <a:gd name="connsiteX341" fmla="*/ 193026 w 6994525"/>
                  <a:gd name="connsiteY341" fmla="*/ 2505436 h 7571036"/>
                  <a:gd name="connsiteX342" fmla="*/ 194507 w 6994525"/>
                  <a:gd name="connsiteY342" fmla="*/ 1699273 h 7571036"/>
                  <a:gd name="connsiteX343" fmla="*/ 172807 w 6994525"/>
                  <a:gd name="connsiteY343" fmla="*/ 1677567 h 7571036"/>
                  <a:gd name="connsiteX344" fmla="*/ 151109 w 6994525"/>
                  <a:gd name="connsiteY344" fmla="*/ 1699273 h 7571036"/>
                  <a:gd name="connsiteX345" fmla="*/ 172807 w 6994525"/>
                  <a:gd name="connsiteY345" fmla="*/ 1720676 h 7571036"/>
                  <a:gd name="connsiteX346" fmla="*/ 194507 w 6994525"/>
                  <a:gd name="connsiteY346" fmla="*/ 1699273 h 7571036"/>
                  <a:gd name="connsiteX347" fmla="*/ 196725 w 6994525"/>
                  <a:gd name="connsiteY347" fmla="*/ 3363053 h 7571036"/>
                  <a:gd name="connsiteX348" fmla="*/ 161218 w 6994525"/>
                  <a:gd name="connsiteY348" fmla="*/ 3327541 h 7571036"/>
                  <a:gd name="connsiteX349" fmla="*/ 125711 w 6994525"/>
                  <a:gd name="connsiteY349" fmla="*/ 3363053 h 7571036"/>
                  <a:gd name="connsiteX350" fmla="*/ 161218 w 6994525"/>
                  <a:gd name="connsiteY350" fmla="*/ 3398568 h 7571036"/>
                  <a:gd name="connsiteX351" fmla="*/ 196725 w 6994525"/>
                  <a:gd name="connsiteY351" fmla="*/ 3363053 h 7571036"/>
                  <a:gd name="connsiteX352" fmla="*/ 196971 w 6994525"/>
                  <a:gd name="connsiteY352" fmla="*/ 3246934 h 7571036"/>
                  <a:gd name="connsiteX353" fmla="*/ 167135 w 6994525"/>
                  <a:gd name="connsiteY353" fmla="*/ 3217100 h 7571036"/>
                  <a:gd name="connsiteX354" fmla="*/ 137300 w 6994525"/>
                  <a:gd name="connsiteY354" fmla="*/ 3246934 h 7571036"/>
                  <a:gd name="connsiteX355" fmla="*/ 167135 w 6994525"/>
                  <a:gd name="connsiteY355" fmla="*/ 3276769 h 7571036"/>
                  <a:gd name="connsiteX356" fmla="*/ 196971 w 6994525"/>
                  <a:gd name="connsiteY356" fmla="*/ 3246934 h 7571036"/>
                  <a:gd name="connsiteX357" fmla="*/ 197217 w 6994525"/>
                  <a:gd name="connsiteY357" fmla="*/ 5895553 h 7571036"/>
                  <a:gd name="connsiteX358" fmla="*/ 193272 w 6994525"/>
                  <a:gd name="connsiteY358" fmla="*/ 5891608 h 7571036"/>
                  <a:gd name="connsiteX359" fmla="*/ 189326 w 6994525"/>
                  <a:gd name="connsiteY359" fmla="*/ 5895553 h 7571036"/>
                  <a:gd name="connsiteX360" fmla="*/ 193272 w 6994525"/>
                  <a:gd name="connsiteY360" fmla="*/ 5899499 h 7571036"/>
                  <a:gd name="connsiteX361" fmla="*/ 197217 w 6994525"/>
                  <a:gd name="connsiteY361" fmla="*/ 5895553 h 7571036"/>
                  <a:gd name="connsiteX362" fmla="*/ 199189 w 6994525"/>
                  <a:gd name="connsiteY362" fmla="*/ 3478865 h 7571036"/>
                  <a:gd name="connsiteX363" fmla="*/ 159242 w 6994525"/>
                  <a:gd name="connsiteY363" fmla="*/ 3439254 h 7571036"/>
                  <a:gd name="connsiteX364" fmla="*/ 119298 w 6994525"/>
                  <a:gd name="connsiteY364" fmla="*/ 3478865 h 7571036"/>
                  <a:gd name="connsiteX365" fmla="*/ 159242 w 6994525"/>
                  <a:gd name="connsiteY365" fmla="*/ 3518809 h 7571036"/>
                  <a:gd name="connsiteX366" fmla="*/ 199189 w 6994525"/>
                  <a:gd name="connsiteY366" fmla="*/ 3478865 h 7571036"/>
                  <a:gd name="connsiteX367" fmla="*/ 200175 w 6994525"/>
                  <a:gd name="connsiteY367" fmla="*/ 3131039 h 7571036"/>
                  <a:gd name="connsiteX368" fmla="*/ 176999 w 6994525"/>
                  <a:gd name="connsiteY368" fmla="*/ 3107857 h 7571036"/>
                  <a:gd name="connsiteX369" fmla="*/ 153819 w 6994525"/>
                  <a:gd name="connsiteY369" fmla="*/ 3131039 h 7571036"/>
                  <a:gd name="connsiteX370" fmla="*/ 176999 w 6994525"/>
                  <a:gd name="connsiteY370" fmla="*/ 3154218 h 7571036"/>
                  <a:gd name="connsiteX371" fmla="*/ 200175 w 6994525"/>
                  <a:gd name="connsiteY371" fmla="*/ 3131039 h 7571036"/>
                  <a:gd name="connsiteX372" fmla="*/ 205847 w 6994525"/>
                  <a:gd name="connsiteY372" fmla="*/ 3595003 h 7571036"/>
                  <a:gd name="connsiteX373" fmla="*/ 161218 w 6994525"/>
                  <a:gd name="connsiteY373" fmla="*/ 3550373 h 7571036"/>
                  <a:gd name="connsiteX374" fmla="*/ 116588 w 6994525"/>
                  <a:gd name="connsiteY374" fmla="*/ 3595003 h 7571036"/>
                  <a:gd name="connsiteX375" fmla="*/ 161218 w 6994525"/>
                  <a:gd name="connsiteY375" fmla="*/ 3639881 h 7571036"/>
                  <a:gd name="connsiteX376" fmla="*/ 205847 w 6994525"/>
                  <a:gd name="connsiteY376" fmla="*/ 3595003 h 7571036"/>
                  <a:gd name="connsiteX377" fmla="*/ 206094 w 6994525"/>
                  <a:gd name="connsiteY377" fmla="*/ 1259171 h 7571036"/>
                  <a:gd name="connsiteX378" fmla="*/ 185382 w 6994525"/>
                  <a:gd name="connsiteY378" fmla="*/ 1238483 h 7571036"/>
                  <a:gd name="connsiteX379" fmla="*/ 164669 w 6994525"/>
                  <a:gd name="connsiteY379" fmla="*/ 1259171 h 7571036"/>
                  <a:gd name="connsiteX380" fmla="*/ 185382 w 6994525"/>
                  <a:gd name="connsiteY380" fmla="*/ 1279896 h 7571036"/>
                  <a:gd name="connsiteX381" fmla="*/ 206094 w 6994525"/>
                  <a:gd name="connsiteY381" fmla="*/ 1259171 h 7571036"/>
                  <a:gd name="connsiteX382" fmla="*/ 206097 w 6994525"/>
                  <a:gd name="connsiteY382" fmla="*/ 4341140 h 7571036"/>
                  <a:gd name="connsiteX383" fmla="*/ 160478 w 6994525"/>
                  <a:gd name="connsiteY383" fmla="*/ 4295524 h 7571036"/>
                  <a:gd name="connsiteX384" fmla="*/ 114862 w 6994525"/>
                  <a:gd name="connsiteY384" fmla="*/ 4341140 h 7571036"/>
                  <a:gd name="connsiteX385" fmla="*/ 160478 w 6994525"/>
                  <a:gd name="connsiteY385" fmla="*/ 4386756 h 7571036"/>
                  <a:gd name="connsiteX386" fmla="*/ 206097 w 6994525"/>
                  <a:gd name="connsiteY386" fmla="*/ 4341140 h 7571036"/>
                  <a:gd name="connsiteX387" fmla="*/ 207326 w 6994525"/>
                  <a:gd name="connsiteY387" fmla="*/ 3015633 h 7571036"/>
                  <a:gd name="connsiteX388" fmla="*/ 191053 w 6994525"/>
                  <a:gd name="connsiteY388" fmla="*/ 2999356 h 7571036"/>
                  <a:gd name="connsiteX389" fmla="*/ 174778 w 6994525"/>
                  <a:gd name="connsiteY389" fmla="*/ 3015633 h 7571036"/>
                  <a:gd name="connsiteX390" fmla="*/ 191053 w 6994525"/>
                  <a:gd name="connsiteY390" fmla="*/ 3031906 h 7571036"/>
                  <a:gd name="connsiteX391" fmla="*/ 207326 w 6994525"/>
                  <a:gd name="connsiteY391" fmla="*/ 3015633 h 7571036"/>
                  <a:gd name="connsiteX392" fmla="*/ 216946 w 6994525"/>
                  <a:gd name="connsiteY392" fmla="*/ 3711387 h 7571036"/>
                  <a:gd name="connsiteX393" fmla="*/ 167382 w 6994525"/>
                  <a:gd name="connsiteY393" fmla="*/ 3661825 h 7571036"/>
                  <a:gd name="connsiteX394" fmla="*/ 117820 w 6994525"/>
                  <a:gd name="connsiteY394" fmla="*/ 3711387 h 7571036"/>
                  <a:gd name="connsiteX395" fmla="*/ 167382 w 6994525"/>
                  <a:gd name="connsiteY395" fmla="*/ 3760947 h 7571036"/>
                  <a:gd name="connsiteX396" fmla="*/ 216946 w 6994525"/>
                  <a:gd name="connsiteY396" fmla="*/ 3711387 h 7571036"/>
                  <a:gd name="connsiteX397" fmla="*/ 217435 w 6994525"/>
                  <a:gd name="connsiteY397" fmla="*/ 2121792 h 7571036"/>
                  <a:gd name="connsiteX398" fmla="*/ 211766 w 6994525"/>
                  <a:gd name="connsiteY398" fmla="*/ 2116117 h 7571036"/>
                  <a:gd name="connsiteX399" fmla="*/ 206094 w 6994525"/>
                  <a:gd name="connsiteY399" fmla="*/ 2121792 h 7571036"/>
                  <a:gd name="connsiteX400" fmla="*/ 211766 w 6994525"/>
                  <a:gd name="connsiteY400" fmla="*/ 2127463 h 7571036"/>
                  <a:gd name="connsiteX401" fmla="*/ 217435 w 6994525"/>
                  <a:gd name="connsiteY401" fmla="*/ 2121792 h 7571036"/>
                  <a:gd name="connsiteX402" fmla="*/ 218919 w 6994525"/>
                  <a:gd name="connsiteY402" fmla="*/ 2900717 h 7571036"/>
                  <a:gd name="connsiteX403" fmla="*/ 209301 w 6994525"/>
                  <a:gd name="connsiteY403" fmla="*/ 2891099 h 7571036"/>
                  <a:gd name="connsiteX404" fmla="*/ 199684 w 6994525"/>
                  <a:gd name="connsiteY404" fmla="*/ 2900717 h 7571036"/>
                  <a:gd name="connsiteX405" fmla="*/ 209301 w 6994525"/>
                  <a:gd name="connsiteY405" fmla="*/ 2910332 h 7571036"/>
                  <a:gd name="connsiteX406" fmla="*/ 218919 w 6994525"/>
                  <a:gd name="connsiteY406" fmla="*/ 2900717 h 7571036"/>
                  <a:gd name="connsiteX407" fmla="*/ 222122 w 6994525"/>
                  <a:gd name="connsiteY407" fmla="*/ 4836264 h 7571036"/>
                  <a:gd name="connsiteX408" fmla="*/ 212754 w 6994525"/>
                  <a:gd name="connsiteY408" fmla="*/ 4826647 h 7571036"/>
                  <a:gd name="connsiteX409" fmla="*/ 203383 w 6994525"/>
                  <a:gd name="connsiteY409" fmla="*/ 4836264 h 7571036"/>
                  <a:gd name="connsiteX410" fmla="*/ 212754 w 6994525"/>
                  <a:gd name="connsiteY410" fmla="*/ 4845632 h 7571036"/>
                  <a:gd name="connsiteX411" fmla="*/ 222122 w 6994525"/>
                  <a:gd name="connsiteY411" fmla="*/ 4836264 h 7571036"/>
                  <a:gd name="connsiteX412" fmla="*/ 223600 w 6994525"/>
                  <a:gd name="connsiteY412" fmla="*/ 5746624 h 7571036"/>
                  <a:gd name="connsiteX413" fmla="*/ 219904 w 6994525"/>
                  <a:gd name="connsiteY413" fmla="*/ 5742924 h 7571036"/>
                  <a:gd name="connsiteX414" fmla="*/ 216205 w 6994525"/>
                  <a:gd name="connsiteY414" fmla="*/ 5746624 h 7571036"/>
                  <a:gd name="connsiteX415" fmla="*/ 219904 w 6994525"/>
                  <a:gd name="connsiteY415" fmla="*/ 5750319 h 7571036"/>
                  <a:gd name="connsiteX416" fmla="*/ 223600 w 6994525"/>
                  <a:gd name="connsiteY416" fmla="*/ 5746624 h 7571036"/>
                  <a:gd name="connsiteX417" fmla="*/ 226315 w 6994525"/>
                  <a:gd name="connsiteY417" fmla="*/ 2394481 h 7571036"/>
                  <a:gd name="connsiteX418" fmla="*/ 225574 w 6994525"/>
                  <a:gd name="connsiteY418" fmla="*/ 2393737 h 7571036"/>
                  <a:gd name="connsiteX419" fmla="*/ 224834 w 6994525"/>
                  <a:gd name="connsiteY419" fmla="*/ 2394481 h 7571036"/>
                  <a:gd name="connsiteX420" fmla="*/ 225574 w 6994525"/>
                  <a:gd name="connsiteY420" fmla="*/ 2395219 h 7571036"/>
                  <a:gd name="connsiteX421" fmla="*/ 226315 w 6994525"/>
                  <a:gd name="connsiteY421" fmla="*/ 2394481 h 7571036"/>
                  <a:gd name="connsiteX422" fmla="*/ 227300 w 6994525"/>
                  <a:gd name="connsiteY422" fmla="*/ 5101828 h 7571036"/>
                  <a:gd name="connsiteX423" fmla="*/ 214972 w 6994525"/>
                  <a:gd name="connsiteY423" fmla="*/ 5089497 h 7571036"/>
                  <a:gd name="connsiteX424" fmla="*/ 202643 w 6994525"/>
                  <a:gd name="connsiteY424" fmla="*/ 5101828 h 7571036"/>
                  <a:gd name="connsiteX425" fmla="*/ 214972 w 6994525"/>
                  <a:gd name="connsiteY425" fmla="*/ 5114155 h 7571036"/>
                  <a:gd name="connsiteX426" fmla="*/ 227300 w 6994525"/>
                  <a:gd name="connsiteY426" fmla="*/ 5101828 h 7571036"/>
                  <a:gd name="connsiteX427" fmla="*/ 228532 w 6994525"/>
                  <a:gd name="connsiteY427" fmla="*/ 3827277 h 7571036"/>
                  <a:gd name="connsiteX428" fmla="*/ 177490 w 6994525"/>
                  <a:gd name="connsiteY428" fmla="*/ 3776236 h 7571036"/>
                  <a:gd name="connsiteX429" fmla="*/ 126448 w 6994525"/>
                  <a:gd name="connsiteY429" fmla="*/ 3827277 h 7571036"/>
                  <a:gd name="connsiteX430" fmla="*/ 177490 w 6994525"/>
                  <a:gd name="connsiteY430" fmla="*/ 3878317 h 7571036"/>
                  <a:gd name="connsiteX431" fmla="*/ 228532 w 6994525"/>
                  <a:gd name="connsiteY431" fmla="*/ 3827277 h 7571036"/>
                  <a:gd name="connsiteX432" fmla="*/ 231737 w 6994525"/>
                  <a:gd name="connsiteY432" fmla="*/ 5360239 h 7571036"/>
                  <a:gd name="connsiteX433" fmla="*/ 230999 w 6994525"/>
                  <a:gd name="connsiteY433" fmla="*/ 5359498 h 7571036"/>
                  <a:gd name="connsiteX434" fmla="*/ 230259 w 6994525"/>
                  <a:gd name="connsiteY434" fmla="*/ 5360239 h 7571036"/>
                  <a:gd name="connsiteX435" fmla="*/ 230999 w 6994525"/>
                  <a:gd name="connsiteY435" fmla="*/ 5360976 h 7571036"/>
                  <a:gd name="connsiteX436" fmla="*/ 231737 w 6994525"/>
                  <a:gd name="connsiteY436" fmla="*/ 5360239 h 7571036"/>
                  <a:gd name="connsiteX437" fmla="*/ 234943 w 6994525"/>
                  <a:gd name="connsiteY437" fmla="*/ 1856392 h 7571036"/>
                  <a:gd name="connsiteX438" fmla="*/ 213491 w 6994525"/>
                  <a:gd name="connsiteY438" fmla="*/ 1834957 h 7571036"/>
                  <a:gd name="connsiteX439" fmla="*/ 191793 w 6994525"/>
                  <a:gd name="connsiteY439" fmla="*/ 1856392 h 7571036"/>
                  <a:gd name="connsiteX440" fmla="*/ 213491 w 6994525"/>
                  <a:gd name="connsiteY440" fmla="*/ 1877815 h 7571036"/>
                  <a:gd name="connsiteX441" fmla="*/ 234943 w 6994525"/>
                  <a:gd name="connsiteY441" fmla="*/ 1856392 h 7571036"/>
                  <a:gd name="connsiteX442" fmla="*/ 235437 w 6994525"/>
                  <a:gd name="connsiteY442" fmla="*/ 2786539 h 7571036"/>
                  <a:gd name="connsiteX443" fmla="*/ 231243 w 6994525"/>
                  <a:gd name="connsiteY443" fmla="*/ 2782347 h 7571036"/>
                  <a:gd name="connsiteX444" fmla="*/ 227051 w 6994525"/>
                  <a:gd name="connsiteY444" fmla="*/ 2786539 h 7571036"/>
                  <a:gd name="connsiteX445" fmla="*/ 231243 w 6994525"/>
                  <a:gd name="connsiteY445" fmla="*/ 2790731 h 7571036"/>
                  <a:gd name="connsiteX446" fmla="*/ 235437 w 6994525"/>
                  <a:gd name="connsiteY446" fmla="*/ 2786539 h 7571036"/>
                  <a:gd name="connsiteX447" fmla="*/ 237656 w 6994525"/>
                  <a:gd name="connsiteY447" fmla="*/ 1410800 h 7571036"/>
                  <a:gd name="connsiteX448" fmla="*/ 215956 w 6994525"/>
                  <a:gd name="connsiteY448" fmla="*/ 1389347 h 7571036"/>
                  <a:gd name="connsiteX449" fmla="*/ 194257 w 6994525"/>
                  <a:gd name="connsiteY449" fmla="*/ 1410800 h 7571036"/>
                  <a:gd name="connsiteX450" fmla="*/ 215956 w 6994525"/>
                  <a:gd name="connsiteY450" fmla="*/ 1432500 h 7571036"/>
                  <a:gd name="connsiteX451" fmla="*/ 237656 w 6994525"/>
                  <a:gd name="connsiteY451" fmla="*/ 1410800 h 7571036"/>
                  <a:gd name="connsiteX452" fmla="*/ 237901 w 6994525"/>
                  <a:gd name="connsiteY452" fmla="*/ 3942673 h 7571036"/>
                  <a:gd name="connsiteX453" fmla="*/ 191544 w 6994525"/>
                  <a:gd name="connsiteY453" fmla="*/ 3896317 h 7571036"/>
                  <a:gd name="connsiteX454" fmla="*/ 145188 w 6994525"/>
                  <a:gd name="connsiteY454" fmla="*/ 3942673 h 7571036"/>
                  <a:gd name="connsiteX455" fmla="*/ 191544 w 6994525"/>
                  <a:gd name="connsiteY455" fmla="*/ 3989030 h 7571036"/>
                  <a:gd name="connsiteX456" fmla="*/ 237901 w 6994525"/>
                  <a:gd name="connsiteY456" fmla="*/ 3942673 h 7571036"/>
                  <a:gd name="connsiteX457" fmla="*/ 237901 w 6994525"/>
                  <a:gd name="connsiteY457" fmla="*/ 4452841 h 7571036"/>
                  <a:gd name="connsiteX458" fmla="*/ 191544 w 6994525"/>
                  <a:gd name="connsiteY458" fmla="*/ 4406484 h 7571036"/>
                  <a:gd name="connsiteX459" fmla="*/ 145188 w 6994525"/>
                  <a:gd name="connsiteY459" fmla="*/ 4452841 h 7571036"/>
                  <a:gd name="connsiteX460" fmla="*/ 191544 w 6994525"/>
                  <a:gd name="connsiteY460" fmla="*/ 4499197 h 7571036"/>
                  <a:gd name="connsiteX461" fmla="*/ 237901 w 6994525"/>
                  <a:gd name="connsiteY461" fmla="*/ 4452841 h 7571036"/>
                  <a:gd name="connsiteX462" fmla="*/ 244805 w 6994525"/>
                  <a:gd name="connsiteY462" fmla="*/ 1016096 h 7571036"/>
                  <a:gd name="connsiteX463" fmla="*/ 226065 w 6994525"/>
                  <a:gd name="connsiteY463" fmla="*/ 997100 h 7571036"/>
                  <a:gd name="connsiteX464" fmla="*/ 207079 w 6994525"/>
                  <a:gd name="connsiteY464" fmla="*/ 1016096 h 7571036"/>
                  <a:gd name="connsiteX465" fmla="*/ 226065 w 6994525"/>
                  <a:gd name="connsiteY465" fmla="*/ 1035065 h 7571036"/>
                  <a:gd name="connsiteX466" fmla="*/ 244805 w 6994525"/>
                  <a:gd name="connsiteY466" fmla="*/ 1016096 h 7571036"/>
                  <a:gd name="connsiteX467" fmla="*/ 249000 w 6994525"/>
                  <a:gd name="connsiteY467" fmla="*/ 4057088 h 7571036"/>
                  <a:gd name="connsiteX468" fmla="*/ 209793 w 6994525"/>
                  <a:gd name="connsiteY468" fmla="*/ 4017881 h 7571036"/>
                  <a:gd name="connsiteX469" fmla="*/ 170587 w 6994525"/>
                  <a:gd name="connsiteY469" fmla="*/ 4057088 h 7571036"/>
                  <a:gd name="connsiteX470" fmla="*/ 209793 w 6994525"/>
                  <a:gd name="connsiteY470" fmla="*/ 4096291 h 7571036"/>
                  <a:gd name="connsiteX471" fmla="*/ 249000 w 6994525"/>
                  <a:gd name="connsiteY471" fmla="*/ 4057088 h 7571036"/>
                  <a:gd name="connsiteX472" fmla="*/ 250231 w 6994525"/>
                  <a:gd name="connsiteY472" fmla="*/ 1597689 h 7571036"/>
                  <a:gd name="connsiteX473" fmla="*/ 229518 w 6994525"/>
                  <a:gd name="connsiteY473" fmla="*/ 1576963 h 7571036"/>
                  <a:gd name="connsiteX474" fmla="*/ 208806 w 6994525"/>
                  <a:gd name="connsiteY474" fmla="*/ 1597689 h 7571036"/>
                  <a:gd name="connsiteX475" fmla="*/ 229518 w 6994525"/>
                  <a:gd name="connsiteY475" fmla="*/ 1618393 h 7571036"/>
                  <a:gd name="connsiteX476" fmla="*/ 250231 w 6994525"/>
                  <a:gd name="connsiteY476" fmla="*/ 1597689 h 7571036"/>
                  <a:gd name="connsiteX477" fmla="*/ 252204 w 6994525"/>
                  <a:gd name="connsiteY477" fmla="*/ 4171251 h 7571036"/>
                  <a:gd name="connsiteX478" fmla="*/ 231740 w 6994525"/>
                  <a:gd name="connsiteY478" fmla="*/ 4150783 h 7571036"/>
                  <a:gd name="connsiteX479" fmla="*/ 211274 w 6994525"/>
                  <a:gd name="connsiteY479" fmla="*/ 4171251 h 7571036"/>
                  <a:gd name="connsiteX480" fmla="*/ 231740 w 6994525"/>
                  <a:gd name="connsiteY480" fmla="*/ 4191714 h 7571036"/>
                  <a:gd name="connsiteX481" fmla="*/ 252204 w 6994525"/>
                  <a:gd name="connsiteY481" fmla="*/ 4171251 h 7571036"/>
                  <a:gd name="connsiteX482" fmla="*/ 253931 w 6994525"/>
                  <a:gd name="connsiteY482" fmla="*/ 5595963 h 7571036"/>
                  <a:gd name="connsiteX483" fmla="*/ 248999 w 6994525"/>
                  <a:gd name="connsiteY483" fmla="*/ 5591031 h 7571036"/>
                  <a:gd name="connsiteX484" fmla="*/ 244068 w 6994525"/>
                  <a:gd name="connsiteY484" fmla="*/ 5595963 h 7571036"/>
                  <a:gd name="connsiteX485" fmla="*/ 248999 w 6994525"/>
                  <a:gd name="connsiteY485" fmla="*/ 5600894 h 7571036"/>
                  <a:gd name="connsiteX486" fmla="*/ 253931 w 6994525"/>
                  <a:gd name="connsiteY486" fmla="*/ 5595963 h 7571036"/>
                  <a:gd name="connsiteX487" fmla="*/ 258613 w 6994525"/>
                  <a:gd name="connsiteY487" fmla="*/ 4563552 h 7571036"/>
                  <a:gd name="connsiteX488" fmla="*/ 226559 w 6994525"/>
                  <a:gd name="connsiteY488" fmla="*/ 4531496 h 7571036"/>
                  <a:gd name="connsiteX489" fmla="*/ 194257 w 6994525"/>
                  <a:gd name="connsiteY489" fmla="*/ 4563552 h 7571036"/>
                  <a:gd name="connsiteX490" fmla="*/ 226559 w 6994525"/>
                  <a:gd name="connsiteY490" fmla="*/ 4595852 h 7571036"/>
                  <a:gd name="connsiteX491" fmla="*/ 258613 w 6994525"/>
                  <a:gd name="connsiteY491" fmla="*/ 4563552 h 7571036"/>
                  <a:gd name="connsiteX492" fmla="*/ 259848 w 6994525"/>
                  <a:gd name="connsiteY492" fmla="*/ 2673351 h 7571036"/>
                  <a:gd name="connsiteX493" fmla="*/ 257381 w 6994525"/>
                  <a:gd name="connsiteY493" fmla="*/ 2670887 h 7571036"/>
                  <a:gd name="connsiteX494" fmla="*/ 254916 w 6994525"/>
                  <a:gd name="connsiteY494" fmla="*/ 2673351 h 7571036"/>
                  <a:gd name="connsiteX495" fmla="*/ 257381 w 6994525"/>
                  <a:gd name="connsiteY495" fmla="*/ 2675821 h 7571036"/>
                  <a:gd name="connsiteX496" fmla="*/ 259848 w 6994525"/>
                  <a:gd name="connsiteY496" fmla="*/ 2673351 h 7571036"/>
                  <a:gd name="connsiteX497" fmla="*/ 266995 w 6994525"/>
                  <a:gd name="connsiteY497" fmla="*/ 5988020 h 7571036"/>
                  <a:gd name="connsiteX498" fmla="*/ 263299 w 6994525"/>
                  <a:gd name="connsiteY498" fmla="*/ 5984320 h 7571036"/>
                  <a:gd name="connsiteX499" fmla="*/ 259600 w 6994525"/>
                  <a:gd name="connsiteY499" fmla="*/ 5988020 h 7571036"/>
                  <a:gd name="connsiteX500" fmla="*/ 263299 w 6994525"/>
                  <a:gd name="connsiteY500" fmla="*/ 5991719 h 7571036"/>
                  <a:gd name="connsiteX501" fmla="*/ 266995 w 6994525"/>
                  <a:gd name="connsiteY501" fmla="*/ 5988020 h 7571036"/>
                  <a:gd name="connsiteX502" fmla="*/ 268230 w 6994525"/>
                  <a:gd name="connsiteY502" fmla="*/ 2015213 h 7571036"/>
                  <a:gd name="connsiteX503" fmla="*/ 257872 w 6994525"/>
                  <a:gd name="connsiteY503" fmla="*/ 2004868 h 7571036"/>
                  <a:gd name="connsiteX504" fmla="*/ 247518 w 6994525"/>
                  <a:gd name="connsiteY504" fmla="*/ 2015213 h 7571036"/>
                  <a:gd name="connsiteX505" fmla="*/ 257872 w 6994525"/>
                  <a:gd name="connsiteY505" fmla="*/ 2025575 h 7571036"/>
                  <a:gd name="connsiteX506" fmla="*/ 268230 w 6994525"/>
                  <a:gd name="connsiteY506" fmla="*/ 2015213 h 7571036"/>
                  <a:gd name="connsiteX507" fmla="*/ 268234 w 6994525"/>
                  <a:gd name="connsiteY507" fmla="*/ 4942539 h 7571036"/>
                  <a:gd name="connsiteX508" fmla="*/ 259108 w 6994525"/>
                  <a:gd name="connsiteY508" fmla="*/ 4933416 h 7571036"/>
                  <a:gd name="connsiteX509" fmla="*/ 249985 w 6994525"/>
                  <a:gd name="connsiteY509" fmla="*/ 4942539 h 7571036"/>
                  <a:gd name="connsiteX510" fmla="*/ 259108 w 6994525"/>
                  <a:gd name="connsiteY510" fmla="*/ 4951665 h 7571036"/>
                  <a:gd name="connsiteX511" fmla="*/ 268234 w 6994525"/>
                  <a:gd name="connsiteY511" fmla="*/ 4942539 h 7571036"/>
                  <a:gd name="connsiteX512" fmla="*/ 271683 w 6994525"/>
                  <a:gd name="connsiteY512" fmla="*/ 1163762 h 7571036"/>
                  <a:gd name="connsiteX513" fmla="*/ 251957 w 6994525"/>
                  <a:gd name="connsiteY513" fmla="*/ 1144031 h 7571036"/>
                  <a:gd name="connsiteX514" fmla="*/ 232231 w 6994525"/>
                  <a:gd name="connsiteY514" fmla="*/ 1163762 h 7571036"/>
                  <a:gd name="connsiteX515" fmla="*/ 251957 w 6994525"/>
                  <a:gd name="connsiteY515" fmla="*/ 1183490 h 7571036"/>
                  <a:gd name="connsiteX516" fmla="*/ 271683 w 6994525"/>
                  <a:gd name="connsiteY516" fmla="*/ 1163762 h 7571036"/>
                  <a:gd name="connsiteX517" fmla="*/ 279575 w 6994525"/>
                  <a:gd name="connsiteY517" fmla="*/ 5204895 h 7571036"/>
                  <a:gd name="connsiteX518" fmla="*/ 268234 w 6994525"/>
                  <a:gd name="connsiteY518" fmla="*/ 5193551 h 7571036"/>
                  <a:gd name="connsiteX519" fmla="*/ 256890 w 6994525"/>
                  <a:gd name="connsiteY519" fmla="*/ 5204895 h 7571036"/>
                  <a:gd name="connsiteX520" fmla="*/ 268234 w 6994525"/>
                  <a:gd name="connsiteY520" fmla="*/ 5216236 h 7571036"/>
                  <a:gd name="connsiteX521" fmla="*/ 279575 w 6994525"/>
                  <a:gd name="connsiteY521" fmla="*/ 5204895 h 7571036"/>
                  <a:gd name="connsiteX522" fmla="*/ 284753 w 6994525"/>
                  <a:gd name="connsiteY522" fmla="*/ 4673279 h 7571036"/>
                  <a:gd name="connsiteX523" fmla="*/ 265026 w 6994525"/>
                  <a:gd name="connsiteY523" fmla="*/ 4653552 h 7571036"/>
                  <a:gd name="connsiteX524" fmla="*/ 245300 w 6994525"/>
                  <a:gd name="connsiteY524" fmla="*/ 4673279 h 7571036"/>
                  <a:gd name="connsiteX525" fmla="*/ 265026 w 6994525"/>
                  <a:gd name="connsiteY525" fmla="*/ 4693005 h 7571036"/>
                  <a:gd name="connsiteX526" fmla="*/ 284753 w 6994525"/>
                  <a:gd name="connsiteY526" fmla="*/ 4673279 h 7571036"/>
                  <a:gd name="connsiteX527" fmla="*/ 288202 w 6994525"/>
                  <a:gd name="connsiteY527" fmla="*/ 2561153 h 7571036"/>
                  <a:gd name="connsiteX528" fmla="*/ 287464 w 6994525"/>
                  <a:gd name="connsiteY528" fmla="*/ 2560411 h 7571036"/>
                  <a:gd name="connsiteX529" fmla="*/ 286724 w 6994525"/>
                  <a:gd name="connsiteY529" fmla="*/ 2561153 h 7571036"/>
                  <a:gd name="connsiteX530" fmla="*/ 287464 w 6994525"/>
                  <a:gd name="connsiteY530" fmla="*/ 2561640 h 7571036"/>
                  <a:gd name="connsiteX531" fmla="*/ 288202 w 6994525"/>
                  <a:gd name="connsiteY531" fmla="*/ 2561153 h 7571036"/>
                  <a:gd name="connsiteX532" fmla="*/ 288943 w 6994525"/>
                  <a:gd name="connsiteY532" fmla="*/ 1753032 h 7571036"/>
                  <a:gd name="connsiteX533" fmla="*/ 266752 w 6994525"/>
                  <a:gd name="connsiteY533" fmla="*/ 1730788 h 7571036"/>
                  <a:gd name="connsiteX534" fmla="*/ 244559 w 6994525"/>
                  <a:gd name="connsiteY534" fmla="*/ 1753032 h 7571036"/>
                  <a:gd name="connsiteX535" fmla="*/ 266752 w 6994525"/>
                  <a:gd name="connsiteY535" fmla="*/ 1775261 h 7571036"/>
                  <a:gd name="connsiteX536" fmla="*/ 288943 w 6994525"/>
                  <a:gd name="connsiteY536" fmla="*/ 1753032 h 7571036"/>
                  <a:gd name="connsiteX537" fmla="*/ 291162 w 6994525"/>
                  <a:gd name="connsiteY537" fmla="*/ 5841061 h 7571036"/>
                  <a:gd name="connsiteX538" fmla="*/ 287707 w 6994525"/>
                  <a:gd name="connsiteY538" fmla="*/ 5837609 h 7571036"/>
                  <a:gd name="connsiteX539" fmla="*/ 284257 w 6994525"/>
                  <a:gd name="connsiteY539" fmla="*/ 5841061 h 7571036"/>
                  <a:gd name="connsiteX540" fmla="*/ 287707 w 6994525"/>
                  <a:gd name="connsiteY540" fmla="*/ 5844514 h 7571036"/>
                  <a:gd name="connsiteX541" fmla="*/ 291162 w 6994525"/>
                  <a:gd name="connsiteY541" fmla="*/ 5841061 h 7571036"/>
                  <a:gd name="connsiteX542" fmla="*/ 291656 w 6994525"/>
                  <a:gd name="connsiteY542" fmla="*/ 5459607 h 7571036"/>
                  <a:gd name="connsiteX543" fmla="*/ 290669 w 6994525"/>
                  <a:gd name="connsiteY543" fmla="*/ 5458620 h 7571036"/>
                  <a:gd name="connsiteX544" fmla="*/ 289683 w 6994525"/>
                  <a:gd name="connsiteY544" fmla="*/ 5459607 h 7571036"/>
                  <a:gd name="connsiteX545" fmla="*/ 290669 w 6994525"/>
                  <a:gd name="connsiteY545" fmla="*/ 5460593 h 7571036"/>
                  <a:gd name="connsiteX546" fmla="*/ 291656 w 6994525"/>
                  <a:gd name="connsiteY546" fmla="*/ 5459607 h 7571036"/>
                  <a:gd name="connsiteX547" fmla="*/ 295601 w 6994525"/>
                  <a:gd name="connsiteY547" fmla="*/ 3769579 h 7571036"/>
                  <a:gd name="connsiteX548" fmla="*/ 280806 w 6994525"/>
                  <a:gd name="connsiteY548" fmla="*/ 3754784 h 7571036"/>
                  <a:gd name="connsiteX549" fmla="*/ 266012 w 6994525"/>
                  <a:gd name="connsiteY549" fmla="*/ 3769579 h 7571036"/>
                  <a:gd name="connsiteX550" fmla="*/ 280806 w 6994525"/>
                  <a:gd name="connsiteY550" fmla="*/ 3784373 h 7571036"/>
                  <a:gd name="connsiteX551" fmla="*/ 295601 w 6994525"/>
                  <a:gd name="connsiteY551" fmla="*/ 3769579 h 7571036"/>
                  <a:gd name="connsiteX552" fmla="*/ 297820 w 6994525"/>
                  <a:gd name="connsiteY552" fmla="*/ 3885221 h 7571036"/>
                  <a:gd name="connsiteX553" fmla="*/ 293381 w 6994525"/>
                  <a:gd name="connsiteY553" fmla="*/ 3880781 h 7571036"/>
                  <a:gd name="connsiteX554" fmla="*/ 288943 w 6994525"/>
                  <a:gd name="connsiteY554" fmla="*/ 3885221 h 7571036"/>
                  <a:gd name="connsiteX555" fmla="*/ 293381 w 6994525"/>
                  <a:gd name="connsiteY555" fmla="*/ 3889658 h 7571036"/>
                  <a:gd name="connsiteX556" fmla="*/ 297820 w 6994525"/>
                  <a:gd name="connsiteY556" fmla="*/ 3885221 h 7571036"/>
                  <a:gd name="connsiteX557" fmla="*/ 300038 w 6994525"/>
                  <a:gd name="connsiteY557" fmla="*/ 1313660 h 7571036"/>
                  <a:gd name="connsiteX558" fmla="*/ 279574 w 6994525"/>
                  <a:gd name="connsiteY558" fmla="*/ 1293176 h 7571036"/>
                  <a:gd name="connsiteX559" fmla="*/ 259108 w 6994525"/>
                  <a:gd name="connsiteY559" fmla="*/ 1313660 h 7571036"/>
                  <a:gd name="connsiteX560" fmla="*/ 279574 w 6994525"/>
                  <a:gd name="connsiteY560" fmla="*/ 1334119 h 7571036"/>
                  <a:gd name="connsiteX561" fmla="*/ 300038 w 6994525"/>
                  <a:gd name="connsiteY561" fmla="*/ 1313660 h 7571036"/>
                  <a:gd name="connsiteX562" fmla="*/ 300287 w 6994525"/>
                  <a:gd name="connsiteY562" fmla="*/ 3653441 h 7571036"/>
                  <a:gd name="connsiteX563" fmla="*/ 272421 w 6994525"/>
                  <a:gd name="connsiteY563" fmla="*/ 3625578 h 7571036"/>
                  <a:gd name="connsiteX564" fmla="*/ 244559 w 6994525"/>
                  <a:gd name="connsiteY564" fmla="*/ 3653441 h 7571036"/>
                  <a:gd name="connsiteX565" fmla="*/ 272421 w 6994525"/>
                  <a:gd name="connsiteY565" fmla="*/ 3681303 h 7571036"/>
                  <a:gd name="connsiteX566" fmla="*/ 300287 w 6994525"/>
                  <a:gd name="connsiteY566" fmla="*/ 3653441 h 7571036"/>
                  <a:gd name="connsiteX567" fmla="*/ 301028 w 6994525"/>
                  <a:gd name="connsiteY567" fmla="*/ 4284675 h 7571036"/>
                  <a:gd name="connsiteX568" fmla="*/ 258125 w 6994525"/>
                  <a:gd name="connsiteY568" fmla="*/ 4241769 h 7571036"/>
                  <a:gd name="connsiteX569" fmla="*/ 215219 w 6994525"/>
                  <a:gd name="connsiteY569" fmla="*/ 4284675 h 7571036"/>
                  <a:gd name="connsiteX570" fmla="*/ 258125 w 6994525"/>
                  <a:gd name="connsiteY570" fmla="*/ 4327578 h 7571036"/>
                  <a:gd name="connsiteX571" fmla="*/ 301028 w 6994525"/>
                  <a:gd name="connsiteY571" fmla="*/ 4284675 h 7571036"/>
                  <a:gd name="connsiteX572" fmla="*/ 304478 w 6994525"/>
                  <a:gd name="connsiteY572" fmla="*/ 3537057 h 7571036"/>
                  <a:gd name="connsiteX573" fmla="*/ 268233 w 6994525"/>
                  <a:gd name="connsiteY573" fmla="*/ 3500810 h 7571036"/>
                  <a:gd name="connsiteX574" fmla="*/ 231986 w 6994525"/>
                  <a:gd name="connsiteY574" fmla="*/ 3537057 h 7571036"/>
                  <a:gd name="connsiteX575" fmla="*/ 268233 w 6994525"/>
                  <a:gd name="connsiteY575" fmla="*/ 3573302 h 7571036"/>
                  <a:gd name="connsiteX576" fmla="*/ 304478 w 6994525"/>
                  <a:gd name="connsiteY576" fmla="*/ 3537057 h 7571036"/>
                  <a:gd name="connsiteX577" fmla="*/ 305218 w 6994525"/>
                  <a:gd name="connsiteY577" fmla="*/ 3421233 h 7571036"/>
                  <a:gd name="connsiteX578" fmla="*/ 268233 w 6994525"/>
                  <a:gd name="connsiteY578" fmla="*/ 3384232 h 7571036"/>
                  <a:gd name="connsiteX579" fmla="*/ 231246 w 6994525"/>
                  <a:gd name="connsiteY579" fmla="*/ 3421233 h 7571036"/>
                  <a:gd name="connsiteX580" fmla="*/ 268233 w 6994525"/>
                  <a:gd name="connsiteY580" fmla="*/ 3458231 h 7571036"/>
                  <a:gd name="connsiteX581" fmla="*/ 305218 w 6994525"/>
                  <a:gd name="connsiteY581" fmla="*/ 3421233 h 7571036"/>
                  <a:gd name="connsiteX582" fmla="*/ 308175 w 6994525"/>
                  <a:gd name="connsiteY582" fmla="*/ 2176524 h 7571036"/>
                  <a:gd name="connsiteX583" fmla="*/ 306450 w 6994525"/>
                  <a:gd name="connsiteY583" fmla="*/ 2174804 h 7571036"/>
                  <a:gd name="connsiteX584" fmla="*/ 304724 w 6994525"/>
                  <a:gd name="connsiteY584" fmla="*/ 2176524 h 7571036"/>
                  <a:gd name="connsiteX585" fmla="*/ 306450 w 6994525"/>
                  <a:gd name="connsiteY585" fmla="*/ 2178252 h 7571036"/>
                  <a:gd name="connsiteX586" fmla="*/ 308175 w 6994525"/>
                  <a:gd name="connsiteY586" fmla="*/ 2176524 h 7571036"/>
                  <a:gd name="connsiteX587" fmla="*/ 308176 w 6994525"/>
                  <a:gd name="connsiteY587" fmla="*/ 3304845 h 7571036"/>
                  <a:gd name="connsiteX588" fmla="*/ 272178 w 6994525"/>
                  <a:gd name="connsiteY588" fmla="*/ 3268603 h 7571036"/>
                  <a:gd name="connsiteX589" fmla="*/ 236177 w 6994525"/>
                  <a:gd name="connsiteY589" fmla="*/ 3304845 h 7571036"/>
                  <a:gd name="connsiteX590" fmla="*/ 272178 w 6994525"/>
                  <a:gd name="connsiteY590" fmla="*/ 3340849 h 7571036"/>
                  <a:gd name="connsiteX591" fmla="*/ 308176 w 6994525"/>
                  <a:gd name="connsiteY591" fmla="*/ 3304845 h 7571036"/>
                  <a:gd name="connsiteX592" fmla="*/ 308668 w 6994525"/>
                  <a:gd name="connsiteY592" fmla="*/ 1498557 h 7571036"/>
                  <a:gd name="connsiteX593" fmla="*/ 288943 w 6994525"/>
                  <a:gd name="connsiteY593" fmla="*/ 1478827 h 7571036"/>
                  <a:gd name="connsiteX594" fmla="*/ 269216 w 6994525"/>
                  <a:gd name="connsiteY594" fmla="*/ 1498557 h 7571036"/>
                  <a:gd name="connsiteX595" fmla="*/ 288943 w 6994525"/>
                  <a:gd name="connsiteY595" fmla="*/ 1518290 h 7571036"/>
                  <a:gd name="connsiteX596" fmla="*/ 308668 w 6994525"/>
                  <a:gd name="connsiteY596" fmla="*/ 1498557 h 7571036"/>
                  <a:gd name="connsiteX597" fmla="*/ 311381 w 6994525"/>
                  <a:gd name="connsiteY597" fmla="*/ 4000371 h 7571036"/>
                  <a:gd name="connsiteX598" fmla="*/ 309903 w 6994525"/>
                  <a:gd name="connsiteY598" fmla="*/ 3998892 h 7571036"/>
                  <a:gd name="connsiteX599" fmla="*/ 308422 w 6994525"/>
                  <a:gd name="connsiteY599" fmla="*/ 4000371 h 7571036"/>
                  <a:gd name="connsiteX600" fmla="*/ 309903 w 6994525"/>
                  <a:gd name="connsiteY600" fmla="*/ 4001852 h 7571036"/>
                  <a:gd name="connsiteX601" fmla="*/ 311381 w 6994525"/>
                  <a:gd name="connsiteY601" fmla="*/ 4000371 h 7571036"/>
                  <a:gd name="connsiteX602" fmla="*/ 314096 w 6994525"/>
                  <a:gd name="connsiteY602" fmla="*/ 3188721 h 7571036"/>
                  <a:gd name="connsiteX603" fmla="*/ 280561 w 6994525"/>
                  <a:gd name="connsiteY603" fmla="*/ 3155184 h 7571036"/>
                  <a:gd name="connsiteX604" fmla="*/ 247027 w 6994525"/>
                  <a:gd name="connsiteY604" fmla="*/ 3188721 h 7571036"/>
                  <a:gd name="connsiteX605" fmla="*/ 280561 w 6994525"/>
                  <a:gd name="connsiteY605" fmla="*/ 3222257 h 7571036"/>
                  <a:gd name="connsiteX606" fmla="*/ 314096 w 6994525"/>
                  <a:gd name="connsiteY606" fmla="*/ 3188721 h 7571036"/>
                  <a:gd name="connsiteX607" fmla="*/ 315327 w 6994525"/>
                  <a:gd name="connsiteY607" fmla="*/ 924365 h 7571036"/>
                  <a:gd name="connsiteX608" fmla="*/ 297325 w 6994525"/>
                  <a:gd name="connsiteY608" fmla="*/ 906346 h 7571036"/>
                  <a:gd name="connsiteX609" fmla="*/ 279325 w 6994525"/>
                  <a:gd name="connsiteY609" fmla="*/ 924365 h 7571036"/>
                  <a:gd name="connsiteX610" fmla="*/ 297325 w 6994525"/>
                  <a:gd name="connsiteY610" fmla="*/ 942360 h 7571036"/>
                  <a:gd name="connsiteX611" fmla="*/ 315327 w 6994525"/>
                  <a:gd name="connsiteY611" fmla="*/ 924365 h 7571036"/>
                  <a:gd name="connsiteX612" fmla="*/ 317549 w 6994525"/>
                  <a:gd name="connsiteY612" fmla="*/ 5047336 h 7571036"/>
                  <a:gd name="connsiteX613" fmla="*/ 308918 w 6994525"/>
                  <a:gd name="connsiteY613" fmla="*/ 5038705 h 7571036"/>
                  <a:gd name="connsiteX614" fmla="*/ 300287 w 6994525"/>
                  <a:gd name="connsiteY614" fmla="*/ 5047336 h 7571036"/>
                  <a:gd name="connsiteX615" fmla="*/ 308918 w 6994525"/>
                  <a:gd name="connsiteY615" fmla="*/ 5055963 h 7571036"/>
                  <a:gd name="connsiteX616" fmla="*/ 317549 w 6994525"/>
                  <a:gd name="connsiteY616" fmla="*/ 5047336 h 7571036"/>
                  <a:gd name="connsiteX617" fmla="*/ 319027 w 6994525"/>
                  <a:gd name="connsiteY617" fmla="*/ 5692375 h 7571036"/>
                  <a:gd name="connsiteX618" fmla="*/ 314340 w 6994525"/>
                  <a:gd name="connsiteY618" fmla="*/ 5687688 h 7571036"/>
                  <a:gd name="connsiteX619" fmla="*/ 309655 w 6994525"/>
                  <a:gd name="connsiteY619" fmla="*/ 5692375 h 7571036"/>
                  <a:gd name="connsiteX620" fmla="*/ 314340 w 6994525"/>
                  <a:gd name="connsiteY620" fmla="*/ 5697060 h 7571036"/>
                  <a:gd name="connsiteX621" fmla="*/ 319027 w 6994525"/>
                  <a:gd name="connsiteY621" fmla="*/ 5692375 h 7571036"/>
                  <a:gd name="connsiteX622" fmla="*/ 321740 w 6994525"/>
                  <a:gd name="connsiteY622" fmla="*/ 2449943 h 7571036"/>
                  <a:gd name="connsiteX623" fmla="*/ 321491 w 6994525"/>
                  <a:gd name="connsiteY623" fmla="*/ 2449699 h 7571036"/>
                  <a:gd name="connsiteX624" fmla="*/ 321245 w 6994525"/>
                  <a:gd name="connsiteY624" fmla="*/ 2449943 h 7571036"/>
                  <a:gd name="connsiteX625" fmla="*/ 321491 w 6994525"/>
                  <a:gd name="connsiteY625" fmla="*/ 2450191 h 7571036"/>
                  <a:gd name="connsiteX626" fmla="*/ 321740 w 6994525"/>
                  <a:gd name="connsiteY626" fmla="*/ 2449943 h 7571036"/>
                  <a:gd name="connsiteX627" fmla="*/ 322232 w 6994525"/>
                  <a:gd name="connsiteY627" fmla="*/ 3073068 h 7571036"/>
                  <a:gd name="connsiteX628" fmla="*/ 292888 w 6994525"/>
                  <a:gd name="connsiteY628" fmla="*/ 3043722 h 7571036"/>
                  <a:gd name="connsiteX629" fmla="*/ 263545 w 6994525"/>
                  <a:gd name="connsiteY629" fmla="*/ 3073068 h 7571036"/>
                  <a:gd name="connsiteX630" fmla="*/ 292888 w 6994525"/>
                  <a:gd name="connsiteY630" fmla="*/ 3102414 h 7571036"/>
                  <a:gd name="connsiteX631" fmla="*/ 322232 w 6994525"/>
                  <a:gd name="connsiteY631" fmla="*/ 3073068 h 7571036"/>
                  <a:gd name="connsiteX632" fmla="*/ 322477 w 6994525"/>
                  <a:gd name="connsiteY632" fmla="*/ 4781523 h 7571036"/>
                  <a:gd name="connsiteX633" fmla="*/ 307436 w 6994525"/>
                  <a:gd name="connsiteY633" fmla="*/ 4766236 h 7571036"/>
                  <a:gd name="connsiteX634" fmla="*/ 292147 w 6994525"/>
                  <a:gd name="connsiteY634" fmla="*/ 4781523 h 7571036"/>
                  <a:gd name="connsiteX635" fmla="*/ 307436 w 6994525"/>
                  <a:gd name="connsiteY635" fmla="*/ 4796566 h 7571036"/>
                  <a:gd name="connsiteX636" fmla="*/ 322477 w 6994525"/>
                  <a:gd name="connsiteY636" fmla="*/ 4781523 h 7571036"/>
                  <a:gd name="connsiteX637" fmla="*/ 322972 w 6994525"/>
                  <a:gd name="connsiteY637" fmla="*/ 1910545 h 7571036"/>
                  <a:gd name="connsiteX638" fmla="*/ 307683 w 6994525"/>
                  <a:gd name="connsiteY638" fmla="*/ 1895274 h 7571036"/>
                  <a:gd name="connsiteX639" fmla="*/ 292396 w 6994525"/>
                  <a:gd name="connsiteY639" fmla="*/ 1910545 h 7571036"/>
                  <a:gd name="connsiteX640" fmla="*/ 307683 w 6994525"/>
                  <a:gd name="connsiteY640" fmla="*/ 1925813 h 7571036"/>
                  <a:gd name="connsiteX641" fmla="*/ 322972 w 6994525"/>
                  <a:gd name="connsiteY641" fmla="*/ 1910545 h 7571036"/>
                  <a:gd name="connsiteX642" fmla="*/ 334312 w 6994525"/>
                  <a:gd name="connsiteY642" fmla="*/ 2957906 h 7571036"/>
                  <a:gd name="connsiteX643" fmla="*/ 309655 w 6994525"/>
                  <a:gd name="connsiteY643" fmla="*/ 2933247 h 7571036"/>
                  <a:gd name="connsiteX644" fmla="*/ 284997 w 6994525"/>
                  <a:gd name="connsiteY644" fmla="*/ 2957906 h 7571036"/>
                  <a:gd name="connsiteX645" fmla="*/ 309655 w 6994525"/>
                  <a:gd name="connsiteY645" fmla="*/ 2982566 h 7571036"/>
                  <a:gd name="connsiteX646" fmla="*/ 334312 w 6994525"/>
                  <a:gd name="connsiteY646" fmla="*/ 2957906 h 7571036"/>
                  <a:gd name="connsiteX647" fmla="*/ 335302 w 6994525"/>
                  <a:gd name="connsiteY647" fmla="*/ 5305990 h 7571036"/>
                  <a:gd name="connsiteX648" fmla="*/ 324698 w 6994525"/>
                  <a:gd name="connsiteY648" fmla="*/ 5295635 h 7571036"/>
                  <a:gd name="connsiteX649" fmla="*/ 314095 w 6994525"/>
                  <a:gd name="connsiteY649" fmla="*/ 5305990 h 7571036"/>
                  <a:gd name="connsiteX650" fmla="*/ 324698 w 6994525"/>
                  <a:gd name="connsiteY650" fmla="*/ 5316593 h 7571036"/>
                  <a:gd name="connsiteX651" fmla="*/ 335302 w 6994525"/>
                  <a:gd name="connsiteY651" fmla="*/ 5305990 h 7571036"/>
                  <a:gd name="connsiteX652" fmla="*/ 337271 w 6994525"/>
                  <a:gd name="connsiteY652" fmla="*/ 4396867 h 7571036"/>
                  <a:gd name="connsiteX653" fmla="*/ 288205 w 6994525"/>
                  <a:gd name="connsiteY653" fmla="*/ 4347797 h 7571036"/>
                  <a:gd name="connsiteX654" fmla="*/ 239136 w 6994525"/>
                  <a:gd name="connsiteY654" fmla="*/ 4396867 h 7571036"/>
                  <a:gd name="connsiteX655" fmla="*/ 288205 w 6994525"/>
                  <a:gd name="connsiteY655" fmla="*/ 4445936 h 7571036"/>
                  <a:gd name="connsiteX656" fmla="*/ 337271 w 6994525"/>
                  <a:gd name="connsiteY656" fmla="*/ 4396867 h 7571036"/>
                  <a:gd name="connsiteX657" fmla="*/ 337272 w 6994525"/>
                  <a:gd name="connsiteY657" fmla="*/ 4114782 h 7571036"/>
                  <a:gd name="connsiteX658" fmla="*/ 330860 w 6994525"/>
                  <a:gd name="connsiteY658" fmla="*/ 4108372 h 7571036"/>
                  <a:gd name="connsiteX659" fmla="*/ 324450 w 6994525"/>
                  <a:gd name="connsiteY659" fmla="*/ 4114782 h 7571036"/>
                  <a:gd name="connsiteX660" fmla="*/ 330860 w 6994525"/>
                  <a:gd name="connsiteY660" fmla="*/ 4121194 h 7571036"/>
                  <a:gd name="connsiteX661" fmla="*/ 337272 w 6994525"/>
                  <a:gd name="connsiteY661" fmla="*/ 4114782 h 7571036"/>
                  <a:gd name="connsiteX662" fmla="*/ 339490 w 6994525"/>
                  <a:gd name="connsiteY662" fmla="*/ 6078759 h 7571036"/>
                  <a:gd name="connsiteX663" fmla="*/ 336039 w 6994525"/>
                  <a:gd name="connsiteY663" fmla="*/ 6075305 h 7571036"/>
                  <a:gd name="connsiteX664" fmla="*/ 332586 w 6994525"/>
                  <a:gd name="connsiteY664" fmla="*/ 6078759 h 7571036"/>
                  <a:gd name="connsiteX665" fmla="*/ 336039 w 6994525"/>
                  <a:gd name="connsiteY665" fmla="*/ 6082210 h 7571036"/>
                  <a:gd name="connsiteX666" fmla="*/ 339490 w 6994525"/>
                  <a:gd name="connsiteY666" fmla="*/ 6078759 h 7571036"/>
                  <a:gd name="connsiteX667" fmla="*/ 339739 w 6994525"/>
                  <a:gd name="connsiteY667" fmla="*/ 1070311 h 7571036"/>
                  <a:gd name="connsiteX668" fmla="*/ 320999 w 6994525"/>
                  <a:gd name="connsiteY668" fmla="*/ 1051559 h 7571036"/>
                  <a:gd name="connsiteX669" fmla="*/ 302259 w 6994525"/>
                  <a:gd name="connsiteY669" fmla="*/ 1070311 h 7571036"/>
                  <a:gd name="connsiteX670" fmla="*/ 320999 w 6994525"/>
                  <a:gd name="connsiteY670" fmla="*/ 1089057 h 7571036"/>
                  <a:gd name="connsiteX671" fmla="*/ 339739 w 6994525"/>
                  <a:gd name="connsiteY671" fmla="*/ 1070311 h 7571036"/>
                  <a:gd name="connsiteX672" fmla="*/ 345409 w 6994525"/>
                  <a:gd name="connsiteY672" fmla="*/ 1651900 h 7571036"/>
                  <a:gd name="connsiteX673" fmla="*/ 323464 w 6994525"/>
                  <a:gd name="connsiteY673" fmla="*/ 1629960 h 7571036"/>
                  <a:gd name="connsiteX674" fmla="*/ 301519 w 6994525"/>
                  <a:gd name="connsiteY674" fmla="*/ 1651900 h 7571036"/>
                  <a:gd name="connsiteX675" fmla="*/ 323464 w 6994525"/>
                  <a:gd name="connsiteY675" fmla="*/ 1673841 h 7571036"/>
                  <a:gd name="connsiteX676" fmla="*/ 345409 w 6994525"/>
                  <a:gd name="connsiteY676" fmla="*/ 1651900 h 7571036"/>
                  <a:gd name="connsiteX677" fmla="*/ 350340 w 6994525"/>
                  <a:gd name="connsiteY677" fmla="*/ 2843237 h 7571036"/>
                  <a:gd name="connsiteX678" fmla="*/ 330368 w 6994525"/>
                  <a:gd name="connsiteY678" fmla="*/ 2823266 h 7571036"/>
                  <a:gd name="connsiteX679" fmla="*/ 310396 w 6994525"/>
                  <a:gd name="connsiteY679" fmla="*/ 2843237 h 7571036"/>
                  <a:gd name="connsiteX680" fmla="*/ 330368 w 6994525"/>
                  <a:gd name="connsiteY680" fmla="*/ 2863212 h 7571036"/>
                  <a:gd name="connsiteX681" fmla="*/ 350340 w 6994525"/>
                  <a:gd name="connsiteY681" fmla="*/ 2843237 h 7571036"/>
                  <a:gd name="connsiteX682" fmla="*/ 354288 w 6994525"/>
                  <a:gd name="connsiteY682" fmla="*/ 5557251 h 7571036"/>
                  <a:gd name="connsiteX683" fmla="*/ 353302 w 6994525"/>
                  <a:gd name="connsiteY683" fmla="*/ 5556265 h 7571036"/>
                  <a:gd name="connsiteX684" fmla="*/ 352315 w 6994525"/>
                  <a:gd name="connsiteY684" fmla="*/ 5557251 h 7571036"/>
                  <a:gd name="connsiteX685" fmla="*/ 353302 w 6994525"/>
                  <a:gd name="connsiteY685" fmla="*/ 5558238 h 7571036"/>
                  <a:gd name="connsiteX686" fmla="*/ 354288 w 6994525"/>
                  <a:gd name="connsiteY686" fmla="*/ 5557251 h 7571036"/>
                  <a:gd name="connsiteX687" fmla="*/ 355518 w 6994525"/>
                  <a:gd name="connsiteY687" fmla="*/ 2069960 h 7571036"/>
                  <a:gd name="connsiteX688" fmla="*/ 352313 w 6994525"/>
                  <a:gd name="connsiteY688" fmla="*/ 2066753 h 7571036"/>
                  <a:gd name="connsiteX689" fmla="*/ 349108 w 6994525"/>
                  <a:gd name="connsiteY689" fmla="*/ 2069960 h 7571036"/>
                  <a:gd name="connsiteX690" fmla="*/ 352313 w 6994525"/>
                  <a:gd name="connsiteY690" fmla="*/ 2073169 h 7571036"/>
                  <a:gd name="connsiteX691" fmla="*/ 355518 w 6994525"/>
                  <a:gd name="connsiteY691" fmla="*/ 2069960 h 7571036"/>
                  <a:gd name="connsiteX692" fmla="*/ 360944 w 6994525"/>
                  <a:gd name="connsiteY692" fmla="*/ 2339994 h 7571036"/>
                  <a:gd name="connsiteX693" fmla="*/ 359462 w 6994525"/>
                  <a:gd name="connsiteY693" fmla="*/ 2338508 h 7571036"/>
                  <a:gd name="connsiteX694" fmla="*/ 357984 w 6994525"/>
                  <a:gd name="connsiteY694" fmla="*/ 2339994 h 7571036"/>
                  <a:gd name="connsiteX695" fmla="*/ 359462 w 6994525"/>
                  <a:gd name="connsiteY695" fmla="*/ 2341475 h 7571036"/>
                  <a:gd name="connsiteX696" fmla="*/ 360944 w 6994525"/>
                  <a:gd name="connsiteY696" fmla="*/ 2339994 h 7571036"/>
                  <a:gd name="connsiteX697" fmla="*/ 361438 w 6994525"/>
                  <a:gd name="connsiteY697" fmla="*/ 5933525 h 7571036"/>
                  <a:gd name="connsiteX698" fmla="*/ 358231 w 6994525"/>
                  <a:gd name="connsiteY698" fmla="*/ 5930320 h 7571036"/>
                  <a:gd name="connsiteX699" fmla="*/ 355025 w 6994525"/>
                  <a:gd name="connsiteY699" fmla="*/ 5933525 h 7571036"/>
                  <a:gd name="connsiteX700" fmla="*/ 358231 w 6994525"/>
                  <a:gd name="connsiteY700" fmla="*/ 5936733 h 7571036"/>
                  <a:gd name="connsiteX701" fmla="*/ 361438 w 6994525"/>
                  <a:gd name="connsiteY701" fmla="*/ 5933525 h 7571036"/>
                  <a:gd name="connsiteX702" fmla="*/ 365628 w 6994525"/>
                  <a:gd name="connsiteY702" fmla="*/ 1218235 h 7571036"/>
                  <a:gd name="connsiteX703" fmla="*/ 346151 w 6994525"/>
                  <a:gd name="connsiteY703" fmla="*/ 1198753 h 7571036"/>
                  <a:gd name="connsiteX704" fmla="*/ 326671 w 6994525"/>
                  <a:gd name="connsiteY704" fmla="*/ 1218235 h 7571036"/>
                  <a:gd name="connsiteX705" fmla="*/ 346151 w 6994525"/>
                  <a:gd name="connsiteY705" fmla="*/ 1237719 h 7571036"/>
                  <a:gd name="connsiteX706" fmla="*/ 365628 w 6994525"/>
                  <a:gd name="connsiteY706" fmla="*/ 1218235 h 7571036"/>
                  <a:gd name="connsiteX707" fmla="*/ 368834 w 6994525"/>
                  <a:gd name="connsiteY707" fmla="*/ 4508071 h 7571036"/>
                  <a:gd name="connsiteX708" fmla="*/ 322231 w 6994525"/>
                  <a:gd name="connsiteY708" fmla="*/ 4461468 h 7571036"/>
                  <a:gd name="connsiteX709" fmla="*/ 275629 w 6994525"/>
                  <a:gd name="connsiteY709" fmla="*/ 4508071 h 7571036"/>
                  <a:gd name="connsiteX710" fmla="*/ 322231 w 6994525"/>
                  <a:gd name="connsiteY710" fmla="*/ 4554672 h 7571036"/>
                  <a:gd name="connsiteX711" fmla="*/ 368834 w 6994525"/>
                  <a:gd name="connsiteY711" fmla="*/ 4508071 h 7571036"/>
                  <a:gd name="connsiteX712" fmla="*/ 370312 w 6994525"/>
                  <a:gd name="connsiteY712" fmla="*/ 2729807 h 7571036"/>
                  <a:gd name="connsiteX713" fmla="*/ 355271 w 6994525"/>
                  <a:gd name="connsiteY713" fmla="*/ 2714763 h 7571036"/>
                  <a:gd name="connsiteX714" fmla="*/ 340477 w 6994525"/>
                  <a:gd name="connsiteY714" fmla="*/ 2729807 h 7571036"/>
                  <a:gd name="connsiteX715" fmla="*/ 355271 w 6994525"/>
                  <a:gd name="connsiteY715" fmla="*/ 2744605 h 7571036"/>
                  <a:gd name="connsiteX716" fmla="*/ 370312 w 6994525"/>
                  <a:gd name="connsiteY716" fmla="*/ 2729807 h 7571036"/>
                  <a:gd name="connsiteX717" fmla="*/ 370312 w 6994525"/>
                  <a:gd name="connsiteY717" fmla="*/ 5150400 h 7571036"/>
                  <a:gd name="connsiteX718" fmla="*/ 362175 w 6994525"/>
                  <a:gd name="connsiteY718" fmla="*/ 5142264 h 7571036"/>
                  <a:gd name="connsiteX719" fmla="*/ 354039 w 6994525"/>
                  <a:gd name="connsiteY719" fmla="*/ 5150400 h 7571036"/>
                  <a:gd name="connsiteX720" fmla="*/ 362175 w 6994525"/>
                  <a:gd name="connsiteY720" fmla="*/ 5158540 h 7571036"/>
                  <a:gd name="connsiteX721" fmla="*/ 370312 w 6994525"/>
                  <a:gd name="connsiteY721" fmla="*/ 5150400 h 7571036"/>
                  <a:gd name="connsiteX722" fmla="*/ 370559 w 6994525"/>
                  <a:gd name="connsiteY722" fmla="*/ 1400667 h 7571036"/>
                  <a:gd name="connsiteX723" fmla="*/ 351574 w 6994525"/>
                  <a:gd name="connsiteY723" fmla="*/ 1381670 h 7571036"/>
                  <a:gd name="connsiteX724" fmla="*/ 332834 w 6994525"/>
                  <a:gd name="connsiteY724" fmla="*/ 1400667 h 7571036"/>
                  <a:gd name="connsiteX725" fmla="*/ 351574 w 6994525"/>
                  <a:gd name="connsiteY725" fmla="*/ 1419662 h 7571036"/>
                  <a:gd name="connsiteX726" fmla="*/ 370559 w 6994525"/>
                  <a:gd name="connsiteY726" fmla="*/ 1400667 h 7571036"/>
                  <a:gd name="connsiteX727" fmla="*/ 373765 w 6994525"/>
                  <a:gd name="connsiteY727" fmla="*/ 4228456 h 7571036"/>
                  <a:gd name="connsiteX728" fmla="*/ 356011 w 6994525"/>
                  <a:gd name="connsiteY728" fmla="*/ 4210701 h 7571036"/>
                  <a:gd name="connsiteX729" fmla="*/ 338258 w 6994525"/>
                  <a:gd name="connsiteY729" fmla="*/ 4228456 h 7571036"/>
                  <a:gd name="connsiteX730" fmla="*/ 356011 w 6994525"/>
                  <a:gd name="connsiteY730" fmla="*/ 4246209 h 7571036"/>
                  <a:gd name="connsiteX731" fmla="*/ 373765 w 6994525"/>
                  <a:gd name="connsiteY731" fmla="*/ 4228456 h 7571036"/>
                  <a:gd name="connsiteX732" fmla="*/ 373765 w 6994525"/>
                  <a:gd name="connsiteY732" fmla="*/ 4887800 h 7571036"/>
                  <a:gd name="connsiteX733" fmla="*/ 353301 w 6994525"/>
                  <a:gd name="connsiteY733" fmla="*/ 4867579 h 7571036"/>
                  <a:gd name="connsiteX734" fmla="*/ 332834 w 6994525"/>
                  <a:gd name="connsiteY734" fmla="*/ 4887800 h 7571036"/>
                  <a:gd name="connsiteX735" fmla="*/ 353301 w 6994525"/>
                  <a:gd name="connsiteY735" fmla="*/ 4908263 h 7571036"/>
                  <a:gd name="connsiteX736" fmla="*/ 373765 w 6994525"/>
                  <a:gd name="connsiteY736" fmla="*/ 4887800 h 7571036"/>
                  <a:gd name="connsiteX737" fmla="*/ 380175 w 6994525"/>
                  <a:gd name="connsiteY737" fmla="*/ 1807305 h 7571036"/>
                  <a:gd name="connsiteX738" fmla="*/ 360943 w 6994525"/>
                  <a:gd name="connsiteY738" fmla="*/ 1787753 h 7571036"/>
                  <a:gd name="connsiteX739" fmla="*/ 341463 w 6994525"/>
                  <a:gd name="connsiteY739" fmla="*/ 1807305 h 7571036"/>
                  <a:gd name="connsiteX740" fmla="*/ 360943 w 6994525"/>
                  <a:gd name="connsiteY740" fmla="*/ 1826788 h 7571036"/>
                  <a:gd name="connsiteX741" fmla="*/ 380175 w 6994525"/>
                  <a:gd name="connsiteY741" fmla="*/ 1807305 h 7571036"/>
                  <a:gd name="connsiteX742" fmla="*/ 386833 w 6994525"/>
                  <a:gd name="connsiteY742" fmla="*/ 5786566 h 7571036"/>
                  <a:gd name="connsiteX743" fmla="*/ 382396 w 6994525"/>
                  <a:gd name="connsiteY743" fmla="*/ 5782128 h 7571036"/>
                  <a:gd name="connsiteX744" fmla="*/ 377956 w 6994525"/>
                  <a:gd name="connsiteY744" fmla="*/ 5786566 h 7571036"/>
                  <a:gd name="connsiteX745" fmla="*/ 382396 w 6994525"/>
                  <a:gd name="connsiteY745" fmla="*/ 5791006 h 7571036"/>
                  <a:gd name="connsiteX746" fmla="*/ 386833 w 6994525"/>
                  <a:gd name="connsiteY746" fmla="*/ 5786566 h 7571036"/>
                  <a:gd name="connsiteX747" fmla="*/ 388314 w 6994525"/>
                  <a:gd name="connsiteY747" fmla="*/ 834616 h 7571036"/>
                  <a:gd name="connsiteX748" fmla="*/ 371297 w 6994525"/>
                  <a:gd name="connsiteY748" fmla="*/ 817598 h 7571036"/>
                  <a:gd name="connsiteX749" fmla="*/ 354284 w 6994525"/>
                  <a:gd name="connsiteY749" fmla="*/ 834616 h 7571036"/>
                  <a:gd name="connsiteX750" fmla="*/ 371297 w 6994525"/>
                  <a:gd name="connsiteY750" fmla="*/ 851618 h 7571036"/>
                  <a:gd name="connsiteX751" fmla="*/ 388314 w 6994525"/>
                  <a:gd name="connsiteY751" fmla="*/ 834616 h 7571036"/>
                  <a:gd name="connsiteX752" fmla="*/ 394229 w 6994525"/>
                  <a:gd name="connsiteY752" fmla="*/ 5405361 h 7571036"/>
                  <a:gd name="connsiteX753" fmla="*/ 384615 w 6994525"/>
                  <a:gd name="connsiteY753" fmla="*/ 5395743 h 7571036"/>
                  <a:gd name="connsiteX754" fmla="*/ 374997 w 6994525"/>
                  <a:gd name="connsiteY754" fmla="*/ 5405361 h 7571036"/>
                  <a:gd name="connsiteX755" fmla="*/ 384615 w 6994525"/>
                  <a:gd name="connsiteY755" fmla="*/ 5414975 h 7571036"/>
                  <a:gd name="connsiteX756" fmla="*/ 394229 w 6994525"/>
                  <a:gd name="connsiteY756" fmla="*/ 5405361 h 7571036"/>
                  <a:gd name="connsiteX757" fmla="*/ 394723 w 6994525"/>
                  <a:gd name="connsiteY757" fmla="*/ 2617110 h 7571036"/>
                  <a:gd name="connsiteX758" fmla="*/ 384368 w 6994525"/>
                  <a:gd name="connsiteY758" fmla="*/ 2606756 h 7571036"/>
                  <a:gd name="connsiteX759" fmla="*/ 374011 w 6994525"/>
                  <a:gd name="connsiteY759" fmla="*/ 2617110 h 7571036"/>
                  <a:gd name="connsiteX760" fmla="*/ 384368 w 6994525"/>
                  <a:gd name="connsiteY760" fmla="*/ 2627468 h 7571036"/>
                  <a:gd name="connsiteX761" fmla="*/ 394723 w 6994525"/>
                  <a:gd name="connsiteY761" fmla="*/ 2617110 h 7571036"/>
                  <a:gd name="connsiteX762" fmla="*/ 403357 w 6994525"/>
                  <a:gd name="connsiteY762" fmla="*/ 2231501 h 7571036"/>
                  <a:gd name="connsiteX763" fmla="*/ 401136 w 6994525"/>
                  <a:gd name="connsiteY763" fmla="*/ 2229031 h 7571036"/>
                  <a:gd name="connsiteX764" fmla="*/ 398917 w 6994525"/>
                  <a:gd name="connsiteY764" fmla="*/ 2231501 h 7571036"/>
                  <a:gd name="connsiteX765" fmla="*/ 401136 w 6994525"/>
                  <a:gd name="connsiteY765" fmla="*/ 2233695 h 7571036"/>
                  <a:gd name="connsiteX766" fmla="*/ 403357 w 6994525"/>
                  <a:gd name="connsiteY766" fmla="*/ 2231501 h 7571036"/>
                  <a:gd name="connsiteX767" fmla="*/ 404590 w 6994525"/>
                  <a:gd name="connsiteY767" fmla="*/ 4726292 h 7571036"/>
                  <a:gd name="connsiteX768" fmla="*/ 402122 w 6994525"/>
                  <a:gd name="connsiteY768" fmla="*/ 4723825 h 7571036"/>
                  <a:gd name="connsiteX769" fmla="*/ 399903 w 6994525"/>
                  <a:gd name="connsiteY769" fmla="*/ 4726292 h 7571036"/>
                  <a:gd name="connsiteX770" fmla="*/ 402122 w 6994525"/>
                  <a:gd name="connsiteY770" fmla="*/ 4728511 h 7571036"/>
                  <a:gd name="connsiteX771" fmla="*/ 404590 w 6994525"/>
                  <a:gd name="connsiteY771" fmla="*/ 4726292 h 7571036"/>
                  <a:gd name="connsiteX772" fmla="*/ 404835 w 6994525"/>
                  <a:gd name="connsiteY772" fmla="*/ 1552538 h 7571036"/>
                  <a:gd name="connsiteX773" fmla="*/ 383136 w 6994525"/>
                  <a:gd name="connsiteY773" fmla="*/ 1530842 h 7571036"/>
                  <a:gd name="connsiteX774" fmla="*/ 361437 w 6994525"/>
                  <a:gd name="connsiteY774" fmla="*/ 1552538 h 7571036"/>
                  <a:gd name="connsiteX775" fmla="*/ 383136 w 6994525"/>
                  <a:gd name="connsiteY775" fmla="*/ 1574226 h 7571036"/>
                  <a:gd name="connsiteX776" fmla="*/ 404835 w 6994525"/>
                  <a:gd name="connsiteY776" fmla="*/ 1552538 h 7571036"/>
                  <a:gd name="connsiteX777" fmla="*/ 409271 w 6994525"/>
                  <a:gd name="connsiteY777" fmla="*/ 3363009 h 7571036"/>
                  <a:gd name="connsiteX778" fmla="*/ 378204 w 6994525"/>
                  <a:gd name="connsiteY778" fmla="*/ 3331909 h 7571036"/>
                  <a:gd name="connsiteX779" fmla="*/ 347134 w 6994525"/>
                  <a:gd name="connsiteY779" fmla="*/ 3363009 h 7571036"/>
                  <a:gd name="connsiteX780" fmla="*/ 378204 w 6994525"/>
                  <a:gd name="connsiteY780" fmla="*/ 3394096 h 7571036"/>
                  <a:gd name="connsiteX781" fmla="*/ 409271 w 6994525"/>
                  <a:gd name="connsiteY781" fmla="*/ 3363009 h 7571036"/>
                  <a:gd name="connsiteX782" fmla="*/ 409520 w 6994525"/>
                  <a:gd name="connsiteY782" fmla="*/ 4617798 h 7571036"/>
                  <a:gd name="connsiteX783" fmla="*/ 360205 w 6994525"/>
                  <a:gd name="connsiteY783" fmla="*/ 4568483 h 7571036"/>
                  <a:gd name="connsiteX784" fmla="*/ 310890 w 6994525"/>
                  <a:gd name="connsiteY784" fmla="*/ 4617798 h 7571036"/>
                  <a:gd name="connsiteX785" fmla="*/ 360205 w 6994525"/>
                  <a:gd name="connsiteY785" fmla="*/ 4667113 h 7571036"/>
                  <a:gd name="connsiteX786" fmla="*/ 409520 w 6994525"/>
                  <a:gd name="connsiteY786" fmla="*/ 4617798 h 7571036"/>
                  <a:gd name="connsiteX787" fmla="*/ 409765 w 6994525"/>
                  <a:gd name="connsiteY787" fmla="*/ 1964705 h 7571036"/>
                  <a:gd name="connsiteX788" fmla="*/ 401628 w 6994525"/>
                  <a:gd name="connsiteY788" fmla="*/ 1956577 h 7571036"/>
                  <a:gd name="connsiteX789" fmla="*/ 393491 w 6994525"/>
                  <a:gd name="connsiteY789" fmla="*/ 1964705 h 7571036"/>
                  <a:gd name="connsiteX790" fmla="*/ 401628 w 6994525"/>
                  <a:gd name="connsiteY790" fmla="*/ 1972834 h 7571036"/>
                  <a:gd name="connsiteX791" fmla="*/ 409765 w 6994525"/>
                  <a:gd name="connsiteY791" fmla="*/ 1964705 h 7571036"/>
                  <a:gd name="connsiteX792" fmla="*/ 409767 w 6994525"/>
                  <a:gd name="connsiteY792" fmla="*/ 3246647 h 7571036"/>
                  <a:gd name="connsiteX793" fmla="*/ 384617 w 6994525"/>
                  <a:gd name="connsiteY793" fmla="*/ 3221495 h 7571036"/>
                  <a:gd name="connsiteX794" fmla="*/ 359465 w 6994525"/>
                  <a:gd name="connsiteY794" fmla="*/ 3246647 h 7571036"/>
                  <a:gd name="connsiteX795" fmla="*/ 384617 w 6994525"/>
                  <a:gd name="connsiteY795" fmla="*/ 3271795 h 7571036"/>
                  <a:gd name="connsiteX796" fmla="*/ 409767 w 6994525"/>
                  <a:gd name="connsiteY796" fmla="*/ 3246647 h 7571036"/>
                  <a:gd name="connsiteX797" fmla="*/ 410504 w 6994525"/>
                  <a:gd name="connsiteY797" fmla="*/ 978827 h 7571036"/>
                  <a:gd name="connsiteX798" fmla="*/ 392750 w 6994525"/>
                  <a:gd name="connsiteY798" fmla="*/ 961080 h 7571036"/>
                  <a:gd name="connsiteX799" fmla="*/ 374997 w 6994525"/>
                  <a:gd name="connsiteY799" fmla="*/ 978827 h 7571036"/>
                  <a:gd name="connsiteX800" fmla="*/ 392750 w 6994525"/>
                  <a:gd name="connsiteY800" fmla="*/ 996583 h 7571036"/>
                  <a:gd name="connsiteX801" fmla="*/ 410504 w 6994525"/>
                  <a:gd name="connsiteY801" fmla="*/ 978827 h 7571036"/>
                  <a:gd name="connsiteX802" fmla="*/ 412234 w 6994525"/>
                  <a:gd name="connsiteY802" fmla="*/ 3479111 h 7571036"/>
                  <a:gd name="connsiteX803" fmla="*/ 375986 w 6994525"/>
                  <a:gd name="connsiteY803" fmla="*/ 3443141 h 7571036"/>
                  <a:gd name="connsiteX804" fmla="*/ 339739 w 6994525"/>
                  <a:gd name="connsiteY804" fmla="*/ 3479111 h 7571036"/>
                  <a:gd name="connsiteX805" fmla="*/ 375986 w 6994525"/>
                  <a:gd name="connsiteY805" fmla="*/ 3515359 h 7571036"/>
                  <a:gd name="connsiteX806" fmla="*/ 412234 w 6994525"/>
                  <a:gd name="connsiteY806" fmla="*/ 3479111 h 7571036"/>
                  <a:gd name="connsiteX807" fmla="*/ 414449 w 6994525"/>
                  <a:gd name="connsiteY807" fmla="*/ 3130503 h 7571036"/>
                  <a:gd name="connsiteX808" fmla="*/ 395217 w 6994525"/>
                  <a:gd name="connsiteY808" fmla="*/ 3111022 h 7571036"/>
                  <a:gd name="connsiteX809" fmla="*/ 375737 w 6994525"/>
                  <a:gd name="connsiteY809" fmla="*/ 3130503 h 7571036"/>
                  <a:gd name="connsiteX810" fmla="*/ 395217 w 6994525"/>
                  <a:gd name="connsiteY810" fmla="*/ 3149985 h 7571036"/>
                  <a:gd name="connsiteX811" fmla="*/ 414449 w 6994525"/>
                  <a:gd name="connsiteY811" fmla="*/ 3130503 h 7571036"/>
                  <a:gd name="connsiteX812" fmla="*/ 414450 w 6994525"/>
                  <a:gd name="connsiteY812" fmla="*/ 6167034 h 7571036"/>
                  <a:gd name="connsiteX813" fmla="*/ 411245 w 6994525"/>
                  <a:gd name="connsiteY813" fmla="*/ 6164075 h 7571036"/>
                  <a:gd name="connsiteX814" fmla="*/ 408040 w 6994525"/>
                  <a:gd name="connsiteY814" fmla="*/ 6167034 h 7571036"/>
                  <a:gd name="connsiteX815" fmla="*/ 411245 w 6994525"/>
                  <a:gd name="connsiteY815" fmla="*/ 6170239 h 7571036"/>
                  <a:gd name="connsiteX816" fmla="*/ 414450 w 6994525"/>
                  <a:gd name="connsiteY816" fmla="*/ 6167034 h 7571036"/>
                  <a:gd name="connsiteX817" fmla="*/ 417411 w 6994525"/>
                  <a:gd name="connsiteY817" fmla="*/ 4340894 h 7571036"/>
                  <a:gd name="connsiteX818" fmla="*/ 385108 w 6994525"/>
                  <a:gd name="connsiteY818" fmla="*/ 4308591 h 7571036"/>
                  <a:gd name="connsiteX819" fmla="*/ 352806 w 6994525"/>
                  <a:gd name="connsiteY819" fmla="*/ 4340894 h 7571036"/>
                  <a:gd name="connsiteX820" fmla="*/ 385108 w 6994525"/>
                  <a:gd name="connsiteY820" fmla="*/ 4373193 h 7571036"/>
                  <a:gd name="connsiteX821" fmla="*/ 417411 w 6994525"/>
                  <a:gd name="connsiteY821" fmla="*/ 4340894 h 7571036"/>
                  <a:gd name="connsiteX822" fmla="*/ 418887 w 6994525"/>
                  <a:gd name="connsiteY822" fmla="*/ 3595495 h 7571036"/>
                  <a:gd name="connsiteX823" fmla="*/ 378202 w 6994525"/>
                  <a:gd name="connsiteY823" fmla="*/ 3554810 h 7571036"/>
                  <a:gd name="connsiteX824" fmla="*/ 337518 w 6994525"/>
                  <a:gd name="connsiteY824" fmla="*/ 3595495 h 7571036"/>
                  <a:gd name="connsiteX825" fmla="*/ 378202 w 6994525"/>
                  <a:gd name="connsiteY825" fmla="*/ 3636182 h 7571036"/>
                  <a:gd name="connsiteX826" fmla="*/ 418887 w 6994525"/>
                  <a:gd name="connsiteY826" fmla="*/ 3595495 h 7571036"/>
                  <a:gd name="connsiteX827" fmla="*/ 420124 w 6994525"/>
                  <a:gd name="connsiteY827" fmla="*/ 5652428 h 7571036"/>
                  <a:gd name="connsiteX828" fmla="*/ 418889 w 6994525"/>
                  <a:gd name="connsiteY828" fmla="*/ 5651196 h 7571036"/>
                  <a:gd name="connsiteX829" fmla="*/ 417656 w 6994525"/>
                  <a:gd name="connsiteY829" fmla="*/ 5652428 h 7571036"/>
                  <a:gd name="connsiteX830" fmla="*/ 418889 w 6994525"/>
                  <a:gd name="connsiteY830" fmla="*/ 5653663 h 7571036"/>
                  <a:gd name="connsiteX831" fmla="*/ 420124 w 6994525"/>
                  <a:gd name="connsiteY831" fmla="*/ 5652428 h 7571036"/>
                  <a:gd name="connsiteX832" fmla="*/ 423821 w 6994525"/>
                  <a:gd name="connsiteY832" fmla="*/ 3015097 h 7571036"/>
                  <a:gd name="connsiteX833" fmla="*/ 410259 w 6994525"/>
                  <a:gd name="connsiteY833" fmla="*/ 3001288 h 7571036"/>
                  <a:gd name="connsiteX834" fmla="*/ 396450 w 6994525"/>
                  <a:gd name="connsiteY834" fmla="*/ 3015097 h 7571036"/>
                  <a:gd name="connsiteX835" fmla="*/ 410259 w 6994525"/>
                  <a:gd name="connsiteY835" fmla="*/ 3028907 h 7571036"/>
                  <a:gd name="connsiteX836" fmla="*/ 423821 w 6994525"/>
                  <a:gd name="connsiteY836" fmla="*/ 3015097 h 7571036"/>
                  <a:gd name="connsiteX837" fmla="*/ 424560 w 6994525"/>
                  <a:gd name="connsiteY837" fmla="*/ 2505399 h 7571036"/>
                  <a:gd name="connsiteX838" fmla="*/ 417408 w 6994525"/>
                  <a:gd name="connsiteY838" fmla="*/ 2498255 h 7571036"/>
                  <a:gd name="connsiteX839" fmla="*/ 410258 w 6994525"/>
                  <a:gd name="connsiteY839" fmla="*/ 2505399 h 7571036"/>
                  <a:gd name="connsiteX840" fmla="*/ 417408 w 6994525"/>
                  <a:gd name="connsiteY840" fmla="*/ 2512553 h 7571036"/>
                  <a:gd name="connsiteX841" fmla="*/ 424560 w 6994525"/>
                  <a:gd name="connsiteY841" fmla="*/ 2505399 h 7571036"/>
                  <a:gd name="connsiteX842" fmla="*/ 426287 w 6994525"/>
                  <a:gd name="connsiteY842" fmla="*/ 5251992 h 7571036"/>
                  <a:gd name="connsiteX843" fmla="*/ 418643 w 6994525"/>
                  <a:gd name="connsiteY843" fmla="*/ 5244347 h 7571036"/>
                  <a:gd name="connsiteX844" fmla="*/ 410999 w 6994525"/>
                  <a:gd name="connsiteY844" fmla="*/ 5251992 h 7571036"/>
                  <a:gd name="connsiteX845" fmla="*/ 418643 w 6994525"/>
                  <a:gd name="connsiteY845" fmla="*/ 5259636 h 7571036"/>
                  <a:gd name="connsiteX846" fmla="*/ 426287 w 6994525"/>
                  <a:gd name="connsiteY846" fmla="*/ 5251992 h 7571036"/>
                  <a:gd name="connsiteX847" fmla="*/ 428998 w 6994525"/>
                  <a:gd name="connsiteY847" fmla="*/ 3711878 h 7571036"/>
                  <a:gd name="connsiteX848" fmla="*/ 384862 w 6994525"/>
                  <a:gd name="connsiteY848" fmla="*/ 3667741 h 7571036"/>
                  <a:gd name="connsiteX849" fmla="*/ 340725 w 6994525"/>
                  <a:gd name="connsiteY849" fmla="*/ 3711878 h 7571036"/>
                  <a:gd name="connsiteX850" fmla="*/ 384862 w 6994525"/>
                  <a:gd name="connsiteY850" fmla="*/ 3756016 h 7571036"/>
                  <a:gd name="connsiteX851" fmla="*/ 428998 w 6994525"/>
                  <a:gd name="connsiteY851" fmla="*/ 3711878 h 7571036"/>
                  <a:gd name="connsiteX852" fmla="*/ 433929 w 6994525"/>
                  <a:gd name="connsiteY852" fmla="*/ 1124782 h 7571036"/>
                  <a:gd name="connsiteX853" fmla="*/ 415684 w 6994525"/>
                  <a:gd name="connsiteY853" fmla="*/ 1106529 h 7571036"/>
                  <a:gd name="connsiteX854" fmla="*/ 397436 w 6994525"/>
                  <a:gd name="connsiteY854" fmla="*/ 1124782 h 7571036"/>
                  <a:gd name="connsiteX855" fmla="*/ 415684 w 6994525"/>
                  <a:gd name="connsiteY855" fmla="*/ 1143026 h 7571036"/>
                  <a:gd name="connsiteX856" fmla="*/ 433929 w 6994525"/>
                  <a:gd name="connsiteY856" fmla="*/ 1124782 h 7571036"/>
                  <a:gd name="connsiteX857" fmla="*/ 434424 w 6994525"/>
                  <a:gd name="connsiteY857" fmla="*/ 6023773 h 7571036"/>
                  <a:gd name="connsiteX858" fmla="*/ 431465 w 6994525"/>
                  <a:gd name="connsiteY858" fmla="*/ 6020813 h 7571036"/>
                  <a:gd name="connsiteX859" fmla="*/ 428506 w 6994525"/>
                  <a:gd name="connsiteY859" fmla="*/ 6023773 h 7571036"/>
                  <a:gd name="connsiteX860" fmla="*/ 431465 w 6994525"/>
                  <a:gd name="connsiteY860" fmla="*/ 6026732 h 7571036"/>
                  <a:gd name="connsiteX861" fmla="*/ 434424 w 6994525"/>
                  <a:gd name="connsiteY861" fmla="*/ 6023773 h 7571036"/>
                  <a:gd name="connsiteX862" fmla="*/ 435161 w 6994525"/>
                  <a:gd name="connsiteY862" fmla="*/ 1305232 h 7571036"/>
                  <a:gd name="connsiteX863" fmla="*/ 417161 w 6994525"/>
                  <a:gd name="connsiteY863" fmla="*/ 1287203 h 7571036"/>
                  <a:gd name="connsiteX864" fmla="*/ 399162 w 6994525"/>
                  <a:gd name="connsiteY864" fmla="*/ 1305232 h 7571036"/>
                  <a:gd name="connsiteX865" fmla="*/ 417161 w 6994525"/>
                  <a:gd name="connsiteY865" fmla="*/ 1323241 h 7571036"/>
                  <a:gd name="connsiteX866" fmla="*/ 435161 w 6994525"/>
                  <a:gd name="connsiteY866" fmla="*/ 1305232 h 7571036"/>
                  <a:gd name="connsiteX867" fmla="*/ 435653 w 6994525"/>
                  <a:gd name="connsiteY867" fmla="*/ 4993085 h 7571036"/>
                  <a:gd name="connsiteX868" fmla="*/ 402859 w 6994525"/>
                  <a:gd name="connsiteY868" fmla="*/ 4960291 h 7571036"/>
                  <a:gd name="connsiteX869" fmla="*/ 370065 w 6994525"/>
                  <a:gd name="connsiteY869" fmla="*/ 4993085 h 7571036"/>
                  <a:gd name="connsiteX870" fmla="*/ 402859 w 6994525"/>
                  <a:gd name="connsiteY870" fmla="*/ 5025883 h 7571036"/>
                  <a:gd name="connsiteX871" fmla="*/ 435653 w 6994525"/>
                  <a:gd name="connsiteY871" fmla="*/ 4993085 h 7571036"/>
                  <a:gd name="connsiteX872" fmla="*/ 438124 w 6994525"/>
                  <a:gd name="connsiteY872" fmla="*/ 2900430 h 7571036"/>
                  <a:gd name="connsiteX873" fmla="*/ 429742 w 6994525"/>
                  <a:gd name="connsiteY873" fmla="*/ 2892046 h 7571036"/>
                  <a:gd name="connsiteX874" fmla="*/ 421356 w 6994525"/>
                  <a:gd name="connsiteY874" fmla="*/ 2900430 h 7571036"/>
                  <a:gd name="connsiteX875" fmla="*/ 429742 w 6994525"/>
                  <a:gd name="connsiteY875" fmla="*/ 2908813 h 7571036"/>
                  <a:gd name="connsiteX876" fmla="*/ 438124 w 6994525"/>
                  <a:gd name="connsiteY876" fmla="*/ 2900430 h 7571036"/>
                  <a:gd name="connsiteX877" fmla="*/ 439106 w 6994525"/>
                  <a:gd name="connsiteY877" fmla="*/ 1705883 h 7571036"/>
                  <a:gd name="connsiteX878" fmla="*/ 417408 w 6994525"/>
                  <a:gd name="connsiteY878" fmla="*/ 1684183 h 7571036"/>
                  <a:gd name="connsiteX879" fmla="*/ 395709 w 6994525"/>
                  <a:gd name="connsiteY879" fmla="*/ 1705883 h 7571036"/>
                  <a:gd name="connsiteX880" fmla="*/ 417408 w 6994525"/>
                  <a:gd name="connsiteY880" fmla="*/ 1727553 h 7571036"/>
                  <a:gd name="connsiteX881" fmla="*/ 439106 w 6994525"/>
                  <a:gd name="connsiteY881" fmla="*/ 1705883 h 7571036"/>
                  <a:gd name="connsiteX882" fmla="*/ 442312 w 6994525"/>
                  <a:gd name="connsiteY882" fmla="*/ 3827771 h 7571036"/>
                  <a:gd name="connsiteX883" fmla="*/ 395710 w 6994525"/>
                  <a:gd name="connsiteY883" fmla="*/ 3781168 h 7571036"/>
                  <a:gd name="connsiteX884" fmla="*/ 349108 w 6994525"/>
                  <a:gd name="connsiteY884" fmla="*/ 3827771 h 7571036"/>
                  <a:gd name="connsiteX885" fmla="*/ 395710 w 6994525"/>
                  <a:gd name="connsiteY885" fmla="*/ 3874373 h 7571036"/>
                  <a:gd name="connsiteX886" fmla="*/ 442312 w 6994525"/>
                  <a:gd name="connsiteY886" fmla="*/ 3827771 h 7571036"/>
                  <a:gd name="connsiteX887" fmla="*/ 453164 w 6994525"/>
                  <a:gd name="connsiteY887" fmla="*/ 2124221 h 7571036"/>
                  <a:gd name="connsiteX888" fmla="*/ 446751 w 6994525"/>
                  <a:gd name="connsiteY888" fmla="*/ 2117806 h 7571036"/>
                  <a:gd name="connsiteX889" fmla="*/ 440342 w 6994525"/>
                  <a:gd name="connsiteY889" fmla="*/ 2124221 h 7571036"/>
                  <a:gd name="connsiteX890" fmla="*/ 446751 w 6994525"/>
                  <a:gd name="connsiteY890" fmla="*/ 2130628 h 7571036"/>
                  <a:gd name="connsiteX891" fmla="*/ 453164 w 6994525"/>
                  <a:gd name="connsiteY891" fmla="*/ 2124221 h 7571036"/>
                  <a:gd name="connsiteX892" fmla="*/ 456122 w 6994525"/>
                  <a:gd name="connsiteY892" fmla="*/ 5502759 h 7571036"/>
                  <a:gd name="connsiteX893" fmla="*/ 447492 w 6994525"/>
                  <a:gd name="connsiteY893" fmla="*/ 5494128 h 7571036"/>
                  <a:gd name="connsiteX894" fmla="*/ 438861 w 6994525"/>
                  <a:gd name="connsiteY894" fmla="*/ 5502759 h 7571036"/>
                  <a:gd name="connsiteX895" fmla="*/ 447492 w 6994525"/>
                  <a:gd name="connsiteY895" fmla="*/ 5511635 h 7571036"/>
                  <a:gd name="connsiteX896" fmla="*/ 456122 w 6994525"/>
                  <a:gd name="connsiteY896" fmla="*/ 5502759 h 7571036"/>
                  <a:gd name="connsiteX897" fmla="*/ 457354 w 6994525"/>
                  <a:gd name="connsiteY897" fmla="*/ 2786255 h 7571036"/>
                  <a:gd name="connsiteX898" fmla="*/ 453409 w 6994525"/>
                  <a:gd name="connsiteY898" fmla="*/ 2782309 h 7571036"/>
                  <a:gd name="connsiteX899" fmla="*/ 449464 w 6994525"/>
                  <a:gd name="connsiteY899" fmla="*/ 2786255 h 7571036"/>
                  <a:gd name="connsiteX900" fmla="*/ 453409 w 6994525"/>
                  <a:gd name="connsiteY900" fmla="*/ 2790201 h 7571036"/>
                  <a:gd name="connsiteX901" fmla="*/ 457354 w 6994525"/>
                  <a:gd name="connsiteY901" fmla="*/ 2786255 h 7571036"/>
                  <a:gd name="connsiteX902" fmla="*/ 457354 w 6994525"/>
                  <a:gd name="connsiteY902" fmla="*/ 5878786 h 7571036"/>
                  <a:gd name="connsiteX903" fmla="*/ 453161 w 6994525"/>
                  <a:gd name="connsiteY903" fmla="*/ 5874595 h 7571036"/>
                  <a:gd name="connsiteX904" fmla="*/ 448970 w 6994525"/>
                  <a:gd name="connsiteY904" fmla="*/ 5878786 h 7571036"/>
                  <a:gd name="connsiteX905" fmla="*/ 453161 w 6994525"/>
                  <a:gd name="connsiteY905" fmla="*/ 5882977 h 7571036"/>
                  <a:gd name="connsiteX906" fmla="*/ 457354 w 6994525"/>
                  <a:gd name="connsiteY906" fmla="*/ 5878786 h 7571036"/>
                  <a:gd name="connsiteX907" fmla="*/ 459327 w 6994525"/>
                  <a:gd name="connsiteY907" fmla="*/ 3943168 h 7571036"/>
                  <a:gd name="connsiteX908" fmla="*/ 410750 w 6994525"/>
                  <a:gd name="connsiteY908" fmla="*/ 3894593 h 7571036"/>
                  <a:gd name="connsiteX909" fmla="*/ 362175 w 6994525"/>
                  <a:gd name="connsiteY909" fmla="*/ 3943168 h 7571036"/>
                  <a:gd name="connsiteX910" fmla="*/ 410750 w 6994525"/>
                  <a:gd name="connsiteY910" fmla="*/ 3991743 h 7571036"/>
                  <a:gd name="connsiteX911" fmla="*/ 459327 w 6994525"/>
                  <a:gd name="connsiteY911" fmla="*/ 3943168 h 7571036"/>
                  <a:gd name="connsiteX912" fmla="*/ 459818 w 6994525"/>
                  <a:gd name="connsiteY912" fmla="*/ 2395177 h 7571036"/>
                  <a:gd name="connsiteX913" fmla="*/ 454641 w 6994525"/>
                  <a:gd name="connsiteY913" fmla="*/ 2390029 h 7571036"/>
                  <a:gd name="connsiteX914" fmla="*/ 449464 w 6994525"/>
                  <a:gd name="connsiteY914" fmla="*/ 2395177 h 7571036"/>
                  <a:gd name="connsiteX915" fmla="*/ 454641 w 6994525"/>
                  <a:gd name="connsiteY915" fmla="*/ 2400368 h 7571036"/>
                  <a:gd name="connsiteX916" fmla="*/ 459818 w 6994525"/>
                  <a:gd name="connsiteY916" fmla="*/ 2395177 h 7571036"/>
                  <a:gd name="connsiteX917" fmla="*/ 462780 w 6994525"/>
                  <a:gd name="connsiteY917" fmla="*/ 4452346 h 7571036"/>
                  <a:gd name="connsiteX918" fmla="*/ 418149 w 6994525"/>
                  <a:gd name="connsiteY918" fmla="*/ 4407717 h 7571036"/>
                  <a:gd name="connsiteX919" fmla="*/ 373519 w 6994525"/>
                  <a:gd name="connsiteY919" fmla="*/ 4452346 h 7571036"/>
                  <a:gd name="connsiteX920" fmla="*/ 418149 w 6994525"/>
                  <a:gd name="connsiteY920" fmla="*/ 4496975 h 7571036"/>
                  <a:gd name="connsiteX921" fmla="*/ 462780 w 6994525"/>
                  <a:gd name="connsiteY921" fmla="*/ 4452346 h 7571036"/>
                  <a:gd name="connsiteX922" fmla="*/ 463765 w 6994525"/>
                  <a:gd name="connsiteY922" fmla="*/ 747318 h 7571036"/>
                  <a:gd name="connsiteX923" fmla="*/ 447737 w 6994525"/>
                  <a:gd name="connsiteY923" fmla="*/ 731294 h 7571036"/>
                  <a:gd name="connsiteX924" fmla="*/ 431711 w 6994525"/>
                  <a:gd name="connsiteY924" fmla="*/ 747318 h 7571036"/>
                  <a:gd name="connsiteX925" fmla="*/ 447737 w 6994525"/>
                  <a:gd name="connsiteY925" fmla="*/ 763338 h 7571036"/>
                  <a:gd name="connsiteX926" fmla="*/ 463765 w 6994525"/>
                  <a:gd name="connsiteY926" fmla="*/ 747318 h 7571036"/>
                  <a:gd name="connsiteX927" fmla="*/ 467464 w 6994525"/>
                  <a:gd name="connsiteY927" fmla="*/ 1454885 h 7571036"/>
                  <a:gd name="connsiteX928" fmla="*/ 445765 w 6994525"/>
                  <a:gd name="connsiteY928" fmla="*/ 1433189 h 7571036"/>
                  <a:gd name="connsiteX929" fmla="*/ 424066 w 6994525"/>
                  <a:gd name="connsiteY929" fmla="*/ 1454885 h 7571036"/>
                  <a:gd name="connsiteX930" fmla="*/ 445765 w 6994525"/>
                  <a:gd name="connsiteY930" fmla="*/ 1476587 h 7571036"/>
                  <a:gd name="connsiteX931" fmla="*/ 467464 w 6994525"/>
                  <a:gd name="connsiteY931" fmla="*/ 1454885 h 7571036"/>
                  <a:gd name="connsiteX932" fmla="*/ 467711 w 6994525"/>
                  <a:gd name="connsiteY932" fmla="*/ 1861504 h 7571036"/>
                  <a:gd name="connsiteX933" fmla="*/ 454642 w 6994525"/>
                  <a:gd name="connsiteY933" fmla="*/ 1848451 h 7571036"/>
                  <a:gd name="connsiteX934" fmla="*/ 441574 w 6994525"/>
                  <a:gd name="connsiteY934" fmla="*/ 1861504 h 7571036"/>
                  <a:gd name="connsiteX935" fmla="*/ 454642 w 6994525"/>
                  <a:gd name="connsiteY935" fmla="*/ 1874557 h 7571036"/>
                  <a:gd name="connsiteX936" fmla="*/ 467711 w 6994525"/>
                  <a:gd name="connsiteY936" fmla="*/ 1861504 h 7571036"/>
                  <a:gd name="connsiteX937" fmla="*/ 470915 w 6994525"/>
                  <a:gd name="connsiteY937" fmla="*/ 4833060 h 7571036"/>
                  <a:gd name="connsiteX938" fmla="*/ 447492 w 6994525"/>
                  <a:gd name="connsiteY938" fmla="*/ 4809633 h 7571036"/>
                  <a:gd name="connsiteX939" fmla="*/ 424066 w 6994525"/>
                  <a:gd name="connsiteY939" fmla="*/ 4833060 h 7571036"/>
                  <a:gd name="connsiteX940" fmla="*/ 447492 w 6994525"/>
                  <a:gd name="connsiteY940" fmla="*/ 4856482 h 7571036"/>
                  <a:gd name="connsiteX941" fmla="*/ 470915 w 6994525"/>
                  <a:gd name="connsiteY941" fmla="*/ 4833060 h 7571036"/>
                  <a:gd name="connsiteX942" fmla="*/ 479052 w 6994525"/>
                  <a:gd name="connsiteY942" fmla="*/ 4057825 h 7571036"/>
                  <a:gd name="connsiteX943" fmla="*/ 430230 w 6994525"/>
                  <a:gd name="connsiteY943" fmla="*/ 4009004 h 7571036"/>
                  <a:gd name="connsiteX944" fmla="*/ 381655 w 6994525"/>
                  <a:gd name="connsiteY944" fmla="*/ 4057825 h 7571036"/>
                  <a:gd name="connsiteX945" fmla="*/ 430230 w 6994525"/>
                  <a:gd name="connsiteY945" fmla="*/ 4106648 h 7571036"/>
                  <a:gd name="connsiteX946" fmla="*/ 479052 w 6994525"/>
                  <a:gd name="connsiteY946" fmla="*/ 4057825 h 7571036"/>
                  <a:gd name="connsiteX947" fmla="*/ 483985 w 6994525"/>
                  <a:gd name="connsiteY947" fmla="*/ 889317 h 7571036"/>
                  <a:gd name="connsiteX948" fmla="*/ 467217 w 6994525"/>
                  <a:gd name="connsiteY948" fmla="*/ 872539 h 7571036"/>
                  <a:gd name="connsiteX949" fmla="*/ 450451 w 6994525"/>
                  <a:gd name="connsiteY949" fmla="*/ 889317 h 7571036"/>
                  <a:gd name="connsiteX950" fmla="*/ 467217 w 6994525"/>
                  <a:gd name="connsiteY950" fmla="*/ 906073 h 7571036"/>
                  <a:gd name="connsiteX951" fmla="*/ 483985 w 6994525"/>
                  <a:gd name="connsiteY951" fmla="*/ 889317 h 7571036"/>
                  <a:gd name="connsiteX952" fmla="*/ 484725 w 6994525"/>
                  <a:gd name="connsiteY952" fmla="*/ 2673313 h 7571036"/>
                  <a:gd name="connsiteX953" fmla="*/ 481517 w 6994525"/>
                  <a:gd name="connsiteY953" fmla="*/ 2670111 h 7571036"/>
                  <a:gd name="connsiteX954" fmla="*/ 478312 w 6994525"/>
                  <a:gd name="connsiteY954" fmla="*/ 2673313 h 7571036"/>
                  <a:gd name="connsiteX955" fmla="*/ 481517 w 6994525"/>
                  <a:gd name="connsiteY955" fmla="*/ 2676524 h 7571036"/>
                  <a:gd name="connsiteX956" fmla="*/ 484725 w 6994525"/>
                  <a:gd name="connsiteY956" fmla="*/ 2673313 h 7571036"/>
                  <a:gd name="connsiteX957" fmla="*/ 485711 w 6994525"/>
                  <a:gd name="connsiteY957" fmla="*/ 5351116 h 7571036"/>
                  <a:gd name="connsiteX958" fmla="*/ 478312 w 6994525"/>
                  <a:gd name="connsiteY958" fmla="*/ 5343717 h 7571036"/>
                  <a:gd name="connsiteX959" fmla="*/ 470917 w 6994525"/>
                  <a:gd name="connsiteY959" fmla="*/ 5351116 h 7571036"/>
                  <a:gd name="connsiteX960" fmla="*/ 478312 w 6994525"/>
                  <a:gd name="connsiteY960" fmla="*/ 5358512 h 7571036"/>
                  <a:gd name="connsiteX961" fmla="*/ 485711 w 6994525"/>
                  <a:gd name="connsiteY961" fmla="*/ 5351116 h 7571036"/>
                  <a:gd name="connsiteX962" fmla="*/ 488668 w 6994525"/>
                  <a:gd name="connsiteY962" fmla="*/ 5746130 h 7571036"/>
                  <a:gd name="connsiteX963" fmla="*/ 487436 w 6994525"/>
                  <a:gd name="connsiteY963" fmla="*/ 5744897 h 7571036"/>
                  <a:gd name="connsiteX964" fmla="*/ 486203 w 6994525"/>
                  <a:gd name="connsiteY964" fmla="*/ 5746130 h 7571036"/>
                  <a:gd name="connsiteX965" fmla="*/ 487436 w 6994525"/>
                  <a:gd name="connsiteY965" fmla="*/ 5747365 h 7571036"/>
                  <a:gd name="connsiteX966" fmla="*/ 488668 w 6994525"/>
                  <a:gd name="connsiteY966" fmla="*/ 5746130 h 7571036"/>
                  <a:gd name="connsiteX967" fmla="*/ 491878 w 6994525"/>
                  <a:gd name="connsiteY967" fmla="*/ 6253581 h 7571036"/>
                  <a:gd name="connsiteX968" fmla="*/ 489165 w 6994525"/>
                  <a:gd name="connsiteY968" fmla="*/ 6250867 h 7571036"/>
                  <a:gd name="connsiteX969" fmla="*/ 486452 w 6994525"/>
                  <a:gd name="connsiteY969" fmla="*/ 6253581 h 7571036"/>
                  <a:gd name="connsiteX970" fmla="*/ 489165 w 6994525"/>
                  <a:gd name="connsiteY970" fmla="*/ 6256294 h 7571036"/>
                  <a:gd name="connsiteX971" fmla="*/ 491878 w 6994525"/>
                  <a:gd name="connsiteY971" fmla="*/ 6253581 h 7571036"/>
                  <a:gd name="connsiteX972" fmla="*/ 494834 w 6994525"/>
                  <a:gd name="connsiteY972" fmla="*/ 5096153 h 7571036"/>
                  <a:gd name="connsiteX973" fmla="*/ 456123 w 6994525"/>
                  <a:gd name="connsiteY973" fmla="*/ 5057441 h 7571036"/>
                  <a:gd name="connsiteX974" fmla="*/ 417411 w 6994525"/>
                  <a:gd name="connsiteY974" fmla="*/ 5096153 h 7571036"/>
                  <a:gd name="connsiteX975" fmla="*/ 456123 w 6994525"/>
                  <a:gd name="connsiteY975" fmla="*/ 5134865 h 7571036"/>
                  <a:gd name="connsiteX976" fmla="*/ 494834 w 6994525"/>
                  <a:gd name="connsiteY976" fmla="*/ 5096153 h 7571036"/>
                  <a:gd name="connsiteX977" fmla="*/ 499273 w 6994525"/>
                  <a:gd name="connsiteY977" fmla="*/ 1606510 h 7571036"/>
                  <a:gd name="connsiteX978" fmla="*/ 477080 w 6994525"/>
                  <a:gd name="connsiteY978" fmla="*/ 1584309 h 7571036"/>
                  <a:gd name="connsiteX979" fmla="*/ 454890 w 6994525"/>
                  <a:gd name="connsiteY979" fmla="*/ 1606510 h 7571036"/>
                  <a:gd name="connsiteX980" fmla="*/ 477080 w 6994525"/>
                  <a:gd name="connsiteY980" fmla="*/ 1628702 h 7571036"/>
                  <a:gd name="connsiteX981" fmla="*/ 499273 w 6994525"/>
                  <a:gd name="connsiteY981" fmla="*/ 1606510 h 7571036"/>
                  <a:gd name="connsiteX982" fmla="*/ 500260 w 6994525"/>
                  <a:gd name="connsiteY982" fmla="*/ 2286457 h 7571036"/>
                  <a:gd name="connsiteX983" fmla="*/ 495823 w 6994525"/>
                  <a:gd name="connsiteY983" fmla="*/ 2282009 h 7571036"/>
                  <a:gd name="connsiteX984" fmla="*/ 491383 w 6994525"/>
                  <a:gd name="connsiteY984" fmla="*/ 2286457 h 7571036"/>
                  <a:gd name="connsiteX985" fmla="*/ 495823 w 6994525"/>
                  <a:gd name="connsiteY985" fmla="*/ 2290883 h 7571036"/>
                  <a:gd name="connsiteX986" fmla="*/ 500260 w 6994525"/>
                  <a:gd name="connsiteY986" fmla="*/ 2286457 h 7571036"/>
                  <a:gd name="connsiteX987" fmla="*/ 501738 w 6994525"/>
                  <a:gd name="connsiteY987" fmla="*/ 4562566 h 7571036"/>
                  <a:gd name="connsiteX988" fmla="*/ 455630 w 6994525"/>
                  <a:gd name="connsiteY988" fmla="*/ 4516455 h 7571036"/>
                  <a:gd name="connsiteX989" fmla="*/ 409520 w 6994525"/>
                  <a:gd name="connsiteY989" fmla="*/ 4562566 h 7571036"/>
                  <a:gd name="connsiteX990" fmla="*/ 455630 w 6994525"/>
                  <a:gd name="connsiteY990" fmla="*/ 4608676 h 7571036"/>
                  <a:gd name="connsiteX991" fmla="*/ 501738 w 6994525"/>
                  <a:gd name="connsiteY991" fmla="*/ 4562566 h 7571036"/>
                  <a:gd name="connsiteX992" fmla="*/ 502479 w 6994525"/>
                  <a:gd name="connsiteY992" fmla="*/ 4171991 h 7571036"/>
                  <a:gd name="connsiteX993" fmla="*/ 454149 w 6994525"/>
                  <a:gd name="connsiteY993" fmla="*/ 4123661 h 7571036"/>
                  <a:gd name="connsiteX994" fmla="*/ 405821 w 6994525"/>
                  <a:gd name="connsiteY994" fmla="*/ 4171991 h 7571036"/>
                  <a:gd name="connsiteX995" fmla="*/ 454149 w 6994525"/>
                  <a:gd name="connsiteY995" fmla="*/ 4220320 h 7571036"/>
                  <a:gd name="connsiteX996" fmla="*/ 502479 w 6994525"/>
                  <a:gd name="connsiteY996" fmla="*/ 4171991 h 7571036"/>
                  <a:gd name="connsiteX997" fmla="*/ 502724 w 6994525"/>
                  <a:gd name="connsiteY997" fmla="*/ 1211794 h 7571036"/>
                  <a:gd name="connsiteX998" fmla="*/ 485709 w 6994525"/>
                  <a:gd name="connsiteY998" fmla="*/ 1194777 h 7571036"/>
                  <a:gd name="connsiteX999" fmla="*/ 468696 w 6994525"/>
                  <a:gd name="connsiteY999" fmla="*/ 1211794 h 7571036"/>
                  <a:gd name="connsiteX1000" fmla="*/ 485709 w 6994525"/>
                  <a:gd name="connsiteY1000" fmla="*/ 1228812 h 7571036"/>
                  <a:gd name="connsiteX1001" fmla="*/ 502724 w 6994525"/>
                  <a:gd name="connsiteY1001" fmla="*/ 1211794 h 7571036"/>
                  <a:gd name="connsiteX1002" fmla="*/ 505191 w 6994525"/>
                  <a:gd name="connsiteY1002" fmla="*/ 1033535 h 7571036"/>
                  <a:gd name="connsiteX1003" fmla="*/ 487932 w 6994525"/>
                  <a:gd name="connsiteY1003" fmla="*/ 1016290 h 7571036"/>
                  <a:gd name="connsiteX1004" fmla="*/ 470671 w 6994525"/>
                  <a:gd name="connsiteY1004" fmla="*/ 1033535 h 7571036"/>
                  <a:gd name="connsiteX1005" fmla="*/ 487932 w 6994525"/>
                  <a:gd name="connsiteY1005" fmla="*/ 1050800 h 7571036"/>
                  <a:gd name="connsiteX1006" fmla="*/ 505191 w 6994525"/>
                  <a:gd name="connsiteY1006" fmla="*/ 1033535 h 7571036"/>
                  <a:gd name="connsiteX1007" fmla="*/ 506174 w 6994525"/>
                  <a:gd name="connsiteY1007" fmla="*/ 2018877 h 7571036"/>
                  <a:gd name="connsiteX1008" fmla="*/ 495820 w 6994525"/>
                  <a:gd name="connsiteY1008" fmla="*/ 2008285 h 7571036"/>
                  <a:gd name="connsiteX1009" fmla="*/ 485217 w 6994525"/>
                  <a:gd name="connsiteY1009" fmla="*/ 2018877 h 7571036"/>
                  <a:gd name="connsiteX1010" fmla="*/ 495820 w 6994525"/>
                  <a:gd name="connsiteY1010" fmla="*/ 2029489 h 7571036"/>
                  <a:gd name="connsiteX1011" fmla="*/ 506174 w 6994525"/>
                  <a:gd name="connsiteY1011" fmla="*/ 2018877 h 7571036"/>
                  <a:gd name="connsiteX1012" fmla="*/ 509876 w 6994525"/>
                  <a:gd name="connsiteY1012" fmla="*/ 6112048 h 7571036"/>
                  <a:gd name="connsiteX1013" fmla="*/ 507164 w 6994525"/>
                  <a:gd name="connsiteY1013" fmla="*/ 6109335 h 7571036"/>
                  <a:gd name="connsiteX1014" fmla="*/ 504451 w 6994525"/>
                  <a:gd name="connsiteY1014" fmla="*/ 6112048 h 7571036"/>
                  <a:gd name="connsiteX1015" fmla="*/ 507164 w 6994525"/>
                  <a:gd name="connsiteY1015" fmla="*/ 6114761 h 7571036"/>
                  <a:gd name="connsiteX1016" fmla="*/ 509876 w 6994525"/>
                  <a:gd name="connsiteY1016" fmla="*/ 6112048 h 7571036"/>
                  <a:gd name="connsiteX1017" fmla="*/ 514808 w 6994525"/>
                  <a:gd name="connsiteY1017" fmla="*/ 2561113 h 7571036"/>
                  <a:gd name="connsiteX1018" fmla="*/ 513574 w 6994525"/>
                  <a:gd name="connsiteY1018" fmla="*/ 2559880 h 7571036"/>
                  <a:gd name="connsiteX1019" fmla="*/ 512342 w 6994525"/>
                  <a:gd name="connsiteY1019" fmla="*/ 2561113 h 7571036"/>
                  <a:gd name="connsiteX1020" fmla="*/ 513574 w 6994525"/>
                  <a:gd name="connsiteY1020" fmla="*/ 2562344 h 7571036"/>
                  <a:gd name="connsiteX1021" fmla="*/ 514808 w 6994525"/>
                  <a:gd name="connsiteY1021" fmla="*/ 2561113 h 7571036"/>
                  <a:gd name="connsiteX1022" fmla="*/ 520724 w 6994525"/>
                  <a:gd name="connsiteY1022" fmla="*/ 3334123 h 7571036"/>
                  <a:gd name="connsiteX1023" fmla="*/ 487930 w 6994525"/>
                  <a:gd name="connsiteY1023" fmla="*/ 3301341 h 7571036"/>
                  <a:gd name="connsiteX1024" fmla="*/ 455136 w 6994525"/>
                  <a:gd name="connsiteY1024" fmla="*/ 3334123 h 7571036"/>
                  <a:gd name="connsiteX1025" fmla="*/ 487930 w 6994525"/>
                  <a:gd name="connsiteY1025" fmla="*/ 3366937 h 7571036"/>
                  <a:gd name="connsiteX1026" fmla="*/ 520724 w 6994525"/>
                  <a:gd name="connsiteY1026" fmla="*/ 3334123 h 7571036"/>
                  <a:gd name="connsiteX1027" fmla="*/ 521217 w 6994525"/>
                  <a:gd name="connsiteY1027" fmla="*/ 5598184 h 7571036"/>
                  <a:gd name="connsiteX1028" fmla="*/ 513327 w 6994525"/>
                  <a:gd name="connsiteY1028" fmla="*/ 5590293 h 7571036"/>
                  <a:gd name="connsiteX1029" fmla="*/ 505438 w 6994525"/>
                  <a:gd name="connsiteY1029" fmla="*/ 5598184 h 7571036"/>
                  <a:gd name="connsiteX1030" fmla="*/ 513327 w 6994525"/>
                  <a:gd name="connsiteY1030" fmla="*/ 5606074 h 7571036"/>
                  <a:gd name="connsiteX1031" fmla="*/ 521217 w 6994525"/>
                  <a:gd name="connsiteY1031" fmla="*/ 5598184 h 7571036"/>
                  <a:gd name="connsiteX1032" fmla="*/ 521710 w 6994525"/>
                  <a:gd name="connsiteY1032" fmla="*/ 3450036 h 7571036"/>
                  <a:gd name="connsiteX1033" fmla="*/ 484725 w 6994525"/>
                  <a:gd name="connsiteY1033" fmla="*/ 3413061 h 7571036"/>
                  <a:gd name="connsiteX1034" fmla="*/ 447737 w 6994525"/>
                  <a:gd name="connsiteY1034" fmla="*/ 3450036 h 7571036"/>
                  <a:gd name="connsiteX1035" fmla="*/ 484725 w 6994525"/>
                  <a:gd name="connsiteY1035" fmla="*/ 3486755 h 7571036"/>
                  <a:gd name="connsiteX1036" fmla="*/ 521710 w 6994525"/>
                  <a:gd name="connsiteY1036" fmla="*/ 3450036 h 7571036"/>
                  <a:gd name="connsiteX1037" fmla="*/ 522944 w 6994525"/>
                  <a:gd name="connsiteY1037" fmla="*/ 3218514 h 7571036"/>
                  <a:gd name="connsiteX1038" fmla="*/ 495574 w 6994525"/>
                  <a:gd name="connsiteY1038" fmla="*/ 3191144 h 7571036"/>
                  <a:gd name="connsiteX1039" fmla="*/ 468204 w 6994525"/>
                  <a:gd name="connsiteY1039" fmla="*/ 3218514 h 7571036"/>
                  <a:gd name="connsiteX1040" fmla="*/ 495574 w 6994525"/>
                  <a:gd name="connsiteY1040" fmla="*/ 3245887 h 7571036"/>
                  <a:gd name="connsiteX1041" fmla="*/ 522944 w 6994525"/>
                  <a:gd name="connsiteY1041" fmla="*/ 3218514 h 7571036"/>
                  <a:gd name="connsiteX1042" fmla="*/ 525655 w 6994525"/>
                  <a:gd name="connsiteY1042" fmla="*/ 3565660 h 7571036"/>
                  <a:gd name="connsiteX1043" fmla="*/ 485711 w 6994525"/>
                  <a:gd name="connsiteY1043" fmla="*/ 3525716 h 7571036"/>
                  <a:gd name="connsiteX1044" fmla="*/ 445765 w 6994525"/>
                  <a:gd name="connsiteY1044" fmla="*/ 3565660 h 7571036"/>
                  <a:gd name="connsiteX1045" fmla="*/ 485711 w 6994525"/>
                  <a:gd name="connsiteY1045" fmla="*/ 3605606 h 7571036"/>
                  <a:gd name="connsiteX1046" fmla="*/ 525655 w 6994525"/>
                  <a:gd name="connsiteY1046" fmla="*/ 3565660 h 7571036"/>
                  <a:gd name="connsiteX1047" fmla="*/ 528120 w 6994525"/>
                  <a:gd name="connsiteY1047" fmla="*/ 1760145 h 7571036"/>
                  <a:gd name="connsiteX1048" fmla="*/ 511107 w 6994525"/>
                  <a:gd name="connsiteY1048" fmla="*/ 1743099 h 7571036"/>
                  <a:gd name="connsiteX1049" fmla="*/ 494093 w 6994525"/>
                  <a:gd name="connsiteY1049" fmla="*/ 1760145 h 7571036"/>
                  <a:gd name="connsiteX1050" fmla="*/ 511107 w 6994525"/>
                  <a:gd name="connsiteY1050" fmla="*/ 1777186 h 7571036"/>
                  <a:gd name="connsiteX1051" fmla="*/ 528120 w 6994525"/>
                  <a:gd name="connsiteY1051" fmla="*/ 1760145 h 7571036"/>
                  <a:gd name="connsiteX1052" fmla="*/ 528616 w 6994525"/>
                  <a:gd name="connsiteY1052" fmla="*/ 3103356 h 7571036"/>
                  <a:gd name="connsiteX1053" fmla="*/ 507655 w 6994525"/>
                  <a:gd name="connsiteY1053" fmla="*/ 3082396 h 7571036"/>
                  <a:gd name="connsiteX1054" fmla="*/ 486698 w 6994525"/>
                  <a:gd name="connsiteY1054" fmla="*/ 3103356 h 7571036"/>
                  <a:gd name="connsiteX1055" fmla="*/ 507655 w 6994525"/>
                  <a:gd name="connsiteY1055" fmla="*/ 3124319 h 7571036"/>
                  <a:gd name="connsiteX1056" fmla="*/ 528616 w 6994525"/>
                  <a:gd name="connsiteY1056" fmla="*/ 3103356 h 7571036"/>
                  <a:gd name="connsiteX1057" fmla="*/ 529846 w 6994525"/>
                  <a:gd name="connsiteY1057" fmla="*/ 4284921 h 7571036"/>
                  <a:gd name="connsiteX1058" fmla="*/ 482258 w 6994525"/>
                  <a:gd name="connsiteY1058" fmla="*/ 4237332 h 7571036"/>
                  <a:gd name="connsiteX1059" fmla="*/ 434670 w 6994525"/>
                  <a:gd name="connsiteY1059" fmla="*/ 4284921 h 7571036"/>
                  <a:gd name="connsiteX1060" fmla="*/ 482258 w 6994525"/>
                  <a:gd name="connsiteY1060" fmla="*/ 4332512 h 7571036"/>
                  <a:gd name="connsiteX1061" fmla="*/ 529846 w 6994525"/>
                  <a:gd name="connsiteY1061" fmla="*/ 4284921 h 7571036"/>
                  <a:gd name="connsiteX1062" fmla="*/ 530832 w 6994525"/>
                  <a:gd name="connsiteY1062" fmla="*/ 5969033 h 7571036"/>
                  <a:gd name="connsiteX1063" fmla="*/ 526887 w 6994525"/>
                  <a:gd name="connsiteY1063" fmla="*/ 5965088 h 7571036"/>
                  <a:gd name="connsiteX1064" fmla="*/ 522942 w 6994525"/>
                  <a:gd name="connsiteY1064" fmla="*/ 5969033 h 7571036"/>
                  <a:gd name="connsiteX1065" fmla="*/ 526887 w 6994525"/>
                  <a:gd name="connsiteY1065" fmla="*/ 5972978 h 7571036"/>
                  <a:gd name="connsiteX1066" fmla="*/ 530832 w 6994525"/>
                  <a:gd name="connsiteY1066" fmla="*/ 5969033 h 7571036"/>
                  <a:gd name="connsiteX1067" fmla="*/ 532562 w 6994525"/>
                  <a:gd name="connsiteY1067" fmla="*/ 1359462 h 7571036"/>
                  <a:gd name="connsiteX1068" fmla="*/ 511601 w 6994525"/>
                  <a:gd name="connsiteY1068" fmla="*/ 1338501 h 7571036"/>
                  <a:gd name="connsiteX1069" fmla="*/ 490643 w 6994525"/>
                  <a:gd name="connsiteY1069" fmla="*/ 1359462 h 7571036"/>
                  <a:gd name="connsiteX1070" fmla="*/ 511601 w 6994525"/>
                  <a:gd name="connsiteY1070" fmla="*/ 1380418 h 7571036"/>
                  <a:gd name="connsiteX1071" fmla="*/ 532562 w 6994525"/>
                  <a:gd name="connsiteY1071" fmla="*/ 1359462 h 7571036"/>
                  <a:gd name="connsiteX1072" fmla="*/ 532562 w 6994525"/>
                  <a:gd name="connsiteY1072" fmla="*/ 3681302 h 7571036"/>
                  <a:gd name="connsiteX1073" fmla="*/ 491383 w 6994525"/>
                  <a:gd name="connsiteY1073" fmla="*/ 3640123 h 7571036"/>
                  <a:gd name="connsiteX1074" fmla="*/ 450205 w 6994525"/>
                  <a:gd name="connsiteY1074" fmla="*/ 3681302 h 7571036"/>
                  <a:gd name="connsiteX1075" fmla="*/ 491383 w 6994525"/>
                  <a:gd name="connsiteY1075" fmla="*/ 3722478 h 7571036"/>
                  <a:gd name="connsiteX1076" fmla="*/ 532562 w 6994525"/>
                  <a:gd name="connsiteY1076" fmla="*/ 3681302 h 7571036"/>
                  <a:gd name="connsiteX1077" fmla="*/ 538479 w 6994525"/>
                  <a:gd name="connsiteY1077" fmla="*/ 4938347 h 7571036"/>
                  <a:gd name="connsiteX1078" fmla="*/ 496807 w 6994525"/>
                  <a:gd name="connsiteY1078" fmla="*/ 4896677 h 7571036"/>
                  <a:gd name="connsiteX1079" fmla="*/ 455136 w 6994525"/>
                  <a:gd name="connsiteY1079" fmla="*/ 4938347 h 7571036"/>
                  <a:gd name="connsiteX1080" fmla="*/ 496807 w 6994525"/>
                  <a:gd name="connsiteY1080" fmla="*/ 4980018 h 7571036"/>
                  <a:gd name="connsiteX1081" fmla="*/ 538479 w 6994525"/>
                  <a:gd name="connsiteY1081" fmla="*/ 4938347 h 7571036"/>
                  <a:gd name="connsiteX1082" fmla="*/ 538973 w 6994525"/>
                  <a:gd name="connsiteY1082" fmla="*/ 2988691 h 7571036"/>
                  <a:gd name="connsiteX1083" fmla="*/ 524177 w 6994525"/>
                  <a:gd name="connsiteY1083" fmla="*/ 2973895 h 7571036"/>
                  <a:gd name="connsiteX1084" fmla="*/ 509383 w 6994525"/>
                  <a:gd name="connsiteY1084" fmla="*/ 2988691 h 7571036"/>
                  <a:gd name="connsiteX1085" fmla="*/ 524177 w 6994525"/>
                  <a:gd name="connsiteY1085" fmla="*/ 3003487 h 7571036"/>
                  <a:gd name="connsiteX1086" fmla="*/ 538973 w 6994525"/>
                  <a:gd name="connsiteY1086" fmla="*/ 2988691 h 7571036"/>
                  <a:gd name="connsiteX1087" fmla="*/ 541190 w 6994525"/>
                  <a:gd name="connsiteY1087" fmla="*/ 4671305 h 7571036"/>
                  <a:gd name="connsiteX1088" fmla="*/ 496807 w 6994525"/>
                  <a:gd name="connsiteY1088" fmla="*/ 4626676 h 7571036"/>
                  <a:gd name="connsiteX1089" fmla="*/ 452177 w 6994525"/>
                  <a:gd name="connsiteY1089" fmla="*/ 4671305 h 7571036"/>
                  <a:gd name="connsiteX1090" fmla="*/ 496807 w 6994525"/>
                  <a:gd name="connsiteY1090" fmla="*/ 4715689 h 7571036"/>
                  <a:gd name="connsiteX1091" fmla="*/ 541190 w 6994525"/>
                  <a:gd name="connsiteY1091" fmla="*/ 4671305 h 7571036"/>
                  <a:gd name="connsiteX1092" fmla="*/ 542177 w 6994525"/>
                  <a:gd name="connsiteY1092" fmla="*/ 661761 h 7571036"/>
                  <a:gd name="connsiteX1093" fmla="*/ 526645 w 6994525"/>
                  <a:gd name="connsiteY1093" fmla="*/ 646209 h 7571036"/>
                  <a:gd name="connsiteX1094" fmla="*/ 511110 w 6994525"/>
                  <a:gd name="connsiteY1094" fmla="*/ 661761 h 7571036"/>
                  <a:gd name="connsiteX1095" fmla="*/ 526645 w 6994525"/>
                  <a:gd name="connsiteY1095" fmla="*/ 677287 h 7571036"/>
                  <a:gd name="connsiteX1096" fmla="*/ 542177 w 6994525"/>
                  <a:gd name="connsiteY1096" fmla="*/ 661761 h 7571036"/>
                  <a:gd name="connsiteX1097" fmla="*/ 542916 w 6994525"/>
                  <a:gd name="connsiteY1097" fmla="*/ 3796700 h 7571036"/>
                  <a:gd name="connsiteX1098" fmla="*/ 501243 w 6994525"/>
                  <a:gd name="connsiteY1098" fmla="*/ 3755029 h 7571036"/>
                  <a:gd name="connsiteX1099" fmla="*/ 459573 w 6994525"/>
                  <a:gd name="connsiteY1099" fmla="*/ 3796700 h 7571036"/>
                  <a:gd name="connsiteX1100" fmla="*/ 501243 w 6994525"/>
                  <a:gd name="connsiteY1100" fmla="*/ 3838371 h 7571036"/>
                  <a:gd name="connsiteX1101" fmla="*/ 542916 w 6994525"/>
                  <a:gd name="connsiteY1101" fmla="*/ 3796700 h 7571036"/>
                  <a:gd name="connsiteX1102" fmla="*/ 546122 w 6994525"/>
                  <a:gd name="connsiteY1102" fmla="*/ 2179445 h 7571036"/>
                  <a:gd name="connsiteX1103" fmla="*/ 540944 w 6994525"/>
                  <a:gd name="connsiteY1103" fmla="*/ 2174268 h 7571036"/>
                  <a:gd name="connsiteX1104" fmla="*/ 535767 w 6994525"/>
                  <a:gd name="connsiteY1104" fmla="*/ 2179445 h 7571036"/>
                  <a:gd name="connsiteX1105" fmla="*/ 540944 w 6994525"/>
                  <a:gd name="connsiteY1105" fmla="*/ 2184618 h 7571036"/>
                  <a:gd name="connsiteX1106" fmla="*/ 546122 w 6994525"/>
                  <a:gd name="connsiteY1106" fmla="*/ 2179445 h 7571036"/>
                  <a:gd name="connsiteX1107" fmla="*/ 548339 w 6994525"/>
                  <a:gd name="connsiteY1107" fmla="*/ 5448512 h 7571036"/>
                  <a:gd name="connsiteX1108" fmla="*/ 541436 w 6994525"/>
                  <a:gd name="connsiteY1108" fmla="*/ 5441607 h 7571036"/>
                  <a:gd name="connsiteX1109" fmla="*/ 534532 w 6994525"/>
                  <a:gd name="connsiteY1109" fmla="*/ 5448512 h 7571036"/>
                  <a:gd name="connsiteX1110" fmla="*/ 541436 w 6994525"/>
                  <a:gd name="connsiteY1110" fmla="*/ 5455416 h 7571036"/>
                  <a:gd name="connsiteX1111" fmla="*/ 548339 w 6994525"/>
                  <a:gd name="connsiteY1111" fmla="*/ 5448512 h 7571036"/>
                  <a:gd name="connsiteX1112" fmla="*/ 550067 w 6994525"/>
                  <a:gd name="connsiteY1112" fmla="*/ 2450895 h 7571036"/>
                  <a:gd name="connsiteX1113" fmla="*/ 550067 w 6994525"/>
                  <a:gd name="connsiteY1113" fmla="*/ 2450400 h 7571036"/>
                  <a:gd name="connsiteX1114" fmla="*/ 549821 w 6994525"/>
                  <a:gd name="connsiteY1114" fmla="*/ 2450646 h 7571036"/>
                  <a:gd name="connsiteX1115" fmla="*/ 550067 w 6994525"/>
                  <a:gd name="connsiteY1115" fmla="*/ 2450895 h 7571036"/>
                  <a:gd name="connsiteX1116" fmla="*/ 550560 w 6994525"/>
                  <a:gd name="connsiteY1116" fmla="*/ 5197500 h 7571036"/>
                  <a:gd name="connsiteX1117" fmla="*/ 512590 w 6994525"/>
                  <a:gd name="connsiteY1117" fmla="*/ 5159525 h 7571036"/>
                  <a:gd name="connsiteX1118" fmla="*/ 474616 w 6994525"/>
                  <a:gd name="connsiteY1118" fmla="*/ 5197500 h 7571036"/>
                  <a:gd name="connsiteX1119" fmla="*/ 512590 w 6994525"/>
                  <a:gd name="connsiteY1119" fmla="*/ 5235471 h 7571036"/>
                  <a:gd name="connsiteX1120" fmla="*/ 550560 w 6994525"/>
                  <a:gd name="connsiteY1120" fmla="*/ 5197500 h 7571036"/>
                  <a:gd name="connsiteX1121" fmla="*/ 554015 w 6994525"/>
                  <a:gd name="connsiteY1121" fmla="*/ 2874765 h 7571036"/>
                  <a:gd name="connsiteX1122" fmla="*/ 545385 w 6994525"/>
                  <a:gd name="connsiteY1122" fmla="*/ 2866136 h 7571036"/>
                  <a:gd name="connsiteX1123" fmla="*/ 536754 w 6994525"/>
                  <a:gd name="connsiteY1123" fmla="*/ 2874765 h 7571036"/>
                  <a:gd name="connsiteX1124" fmla="*/ 545385 w 6994525"/>
                  <a:gd name="connsiteY1124" fmla="*/ 2883394 h 7571036"/>
                  <a:gd name="connsiteX1125" fmla="*/ 554015 w 6994525"/>
                  <a:gd name="connsiteY1125" fmla="*/ 2874765 h 7571036"/>
                  <a:gd name="connsiteX1126" fmla="*/ 557957 w 6994525"/>
                  <a:gd name="connsiteY1126" fmla="*/ 3911606 h 7571036"/>
                  <a:gd name="connsiteX1127" fmla="*/ 515792 w 6994525"/>
                  <a:gd name="connsiteY1127" fmla="*/ 3869441 h 7571036"/>
                  <a:gd name="connsiteX1128" fmla="*/ 473627 w 6994525"/>
                  <a:gd name="connsiteY1128" fmla="*/ 3911606 h 7571036"/>
                  <a:gd name="connsiteX1129" fmla="*/ 515792 w 6994525"/>
                  <a:gd name="connsiteY1129" fmla="*/ 3953768 h 7571036"/>
                  <a:gd name="connsiteX1130" fmla="*/ 557957 w 6994525"/>
                  <a:gd name="connsiteY1130" fmla="*/ 3911606 h 7571036"/>
                  <a:gd name="connsiteX1131" fmla="*/ 559929 w 6994525"/>
                  <a:gd name="connsiteY1131" fmla="*/ 802283 h 7571036"/>
                  <a:gd name="connsiteX1132" fmla="*/ 544149 w 6994525"/>
                  <a:gd name="connsiteY1132" fmla="*/ 786502 h 7571036"/>
                  <a:gd name="connsiteX1133" fmla="*/ 528368 w 6994525"/>
                  <a:gd name="connsiteY1133" fmla="*/ 802283 h 7571036"/>
                  <a:gd name="connsiteX1134" fmla="*/ 544149 w 6994525"/>
                  <a:gd name="connsiteY1134" fmla="*/ 818065 h 7571036"/>
                  <a:gd name="connsiteX1135" fmla="*/ 559929 w 6994525"/>
                  <a:gd name="connsiteY1135" fmla="*/ 802283 h 7571036"/>
                  <a:gd name="connsiteX1136" fmla="*/ 560176 w 6994525"/>
                  <a:gd name="connsiteY1136" fmla="*/ 5837113 h 7571036"/>
                  <a:gd name="connsiteX1137" fmla="*/ 558698 w 6994525"/>
                  <a:gd name="connsiteY1137" fmla="*/ 5835634 h 7571036"/>
                  <a:gd name="connsiteX1138" fmla="*/ 557217 w 6994525"/>
                  <a:gd name="connsiteY1138" fmla="*/ 5837113 h 7571036"/>
                  <a:gd name="connsiteX1139" fmla="*/ 558698 w 6994525"/>
                  <a:gd name="connsiteY1139" fmla="*/ 5838594 h 7571036"/>
                  <a:gd name="connsiteX1140" fmla="*/ 560176 w 6994525"/>
                  <a:gd name="connsiteY1140" fmla="*/ 5837113 h 7571036"/>
                  <a:gd name="connsiteX1141" fmla="*/ 561410 w 6994525"/>
                  <a:gd name="connsiteY1141" fmla="*/ 4396868 h 7571036"/>
                  <a:gd name="connsiteX1142" fmla="*/ 514560 w 6994525"/>
                  <a:gd name="connsiteY1142" fmla="*/ 4350016 h 7571036"/>
                  <a:gd name="connsiteX1143" fmla="*/ 467712 w 6994525"/>
                  <a:gd name="connsiteY1143" fmla="*/ 4396868 h 7571036"/>
                  <a:gd name="connsiteX1144" fmla="*/ 514560 w 6994525"/>
                  <a:gd name="connsiteY1144" fmla="*/ 4443715 h 7571036"/>
                  <a:gd name="connsiteX1145" fmla="*/ 561410 w 6994525"/>
                  <a:gd name="connsiteY1145" fmla="*/ 4396868 h 7571036"/>
                  <a:gd name="connsiteX1146" fmla="*/ 562640 w 6994525"/>
                  <a:gd name="connsiteY1146" fmla="*/ 1508865 h 7571036"/>
                  <a:gd name="connsiteX1147" fmla="*/ 540204 w 6994525"/>
                  <a:gd name="connsiteY1147" fmla="*/ 1486426 h 7571036"/>
                  <a:gd name="connsiteX1148" fmla="*/ 517765 w 6994525"/>
                  <a:gd name="connsiteY1148" fmla="*/ 1508865 h 7571036"/>
                  <a:gd name="connsiteX1149" fmla="*/ 540204 w 6994525"/>
                  <a:gd name="connsiteY1149" fmla="*/ 1531305 h 7571036"/>
                  <a:gd name="connsiteX1150" fmla="*/ 562640 w 6994525"/>
                  <a:gd name="connsiteY1150" fmla="*/ 1508865 h 7571036"/>
                  <a:gd name="connsiteX1151" fmla="*/ 563630 w 6994525"/>
                  <a:gd name="connsiteY1151" fmla="*/ 1915670 h 7571036"/>
                  <a:gd name="connsiteX1152" fmla="*/ 548835 w 6994525"/>
                  <a:gd name="connsiteY1152" fmla="*/ 1900890 h 7571036"/>
                  <a:gd name="connsiteX1153" fmla="*/ 534040 w 6994525"/>
                  <a:gd name="connsiteY1153" fmla="*/ 1915670 h 7571036"/>
                  <a:gd name="connsiteX1154" fmla="*/ 548835 w 6994525"/>
                  <a:gd name="connsiteY1154" fmla="*/ 1930449 h 7571036"/>
                  <a:gd name="connsiteX1155" fmla="*/ 563630 w 6994525"/>
                  <a:gd name="connsiteY1155" fmla="*/ 1915670 h 7571036"/>
                  <a:gd name="connsiteX1156" fmla="*/ 571766 w 6994525"/>
                  <a:gd name="connsiteY1156" fmla="*/ 6337665 h 7571036"/>
                  <a:gd name="connsiteX1157" fmla="*/ 569301 w 6994525"/>
                  <a:gd name="connsiteY1157" fmla="*/ 6335197 h 7571036"/>
                  <a:gd name="connsiteX1158" fmla="*/ 566835 w 6994525"/>
                  <a:gd name="connsiteY1158" fmla="*/ 6337665 h 7571036"/>
                  <a:gd name="connsiteX1159" fmla="*/ 569301 w 6994525"/>
                  <a:gd name="connsiteY1159" fmla="*/ 6340129 h 7571036"/>
                  <a:gd name="connsiteX1160" fmla="*/ 571766 w 6994525"/>
                  <a:gd name="connsiteY1160" fmla="*/ 6337665 h 7571036"/>
                  <a:gd name="connsiteX1161" fmla="*/ 573246 w 6994525"/>
                  <a:gd name="connsiteY1161" fmla="*/ 1120309 h 7571036"/>
                  <a:gd name="connsiteX1162" fmla="*/ 556970 w 6994525"/>
                  <a:gd name="connsiteY1162" fmla="*/ 1104044 h 7571036"/>
                  <a:gd name="connsiteX1163" fmla="*/ 540698 w 6994525"/>
                  <a:gd name="connsiteY1163" fmla="*/ 1120309 h 7571036"/>
                  <a:gd name="connsiteX1164" fmla="*/ 556970 w 6994525"/>
                  <a:gd name="connsiteY1164" fmla="*/ 1136583 h 7571036"/>
                  <a:gd name="connsiteX1165" fmla="*/ 573246 w 6994525"/>
                  <a:gd name="connsiteY1165" fmla="*/ 1120309 h 7571036"/>
                  <a:gd name="connsiteX1166" fmla="*/ 574476 w 6994525"/>
                  <a:gd name="connsiteY1166" fmla="*/ 2761828 h 7571036"/>
                  <a:gd name="connsiteX1167" fmla="*/ 570779 w 6994525"/>
                  <a:gd name="connsiteY1167" fmla="*/ 2758127 h 7571036"/>
                  <a:gd name="connsiteX1168" fmla="*/ 567080 w 6994525"/>
                  <a:gd name="connsiteY1168" fmla="*/ 2761828 h 7571036"/>
                  <a:gd name="connsiteX1169" fmla="*/ 570779 w 6994525"/>
                  <a:gd name="connsiteY1169" fmla="*/ 2765529 h 7571036"/>
                  <a:gd name="connsiteX1170" fmla="*/ 574476 w 6994525"/>
                  <a:gd name="connsiteY1170" fmla="*/ 2761828 h 7571036"/>
                  <a:gd name="connsiteX1171" fmla="*/ 576451 w 6994525"/>
                  <a:gd name="connsiteY1171" fmla="*/ 4778317 h 7571036"/>
                  <a:gd name="connsiteX1172" fmla="*/ 541930 w 6994525"/>
                  <a:gd name="connsiteY1172" fmla="*/ 4743797 h 7571036"/>
                  <a:gd name="connsiteX1173" fmla="*/ 507410 w 6994525"/>
                  <a:gd name="connsiteY1173" fmla="*/ 4778317 h 7571036"/>
                  <a:gd name="connsiteX1174" fmla="*/ 541930 w 6994525"/>
                  <a:gd name="connsiteY1174" fmla="*/ 4812838 h 7571036"/>
                  <a:gd name="connsiteX1175" fmla="*/ 576451 w 6994525"/>
                  <a:gd name="connsiteY1175" fmla="*/ 4778317 h 7571036"/>
                  <a:gd name="connsiteX1176" fmla="*/ 577685 w 6994525"/>
                  <a:gd name="connsiteY1176" fmla="*/ 4026017 h 7571036"/>
                  <a:gd name="connsiteX1177" fmla="*/ 534535 w 6994525"/>
                  <a:gd name="connsiteY1177" fmla="*/ 3982865 h 7571036"/>
                  <a:gd name="connsiteX1178" fmla="*/ 491383 w 6994525"/>
                  <a:gd name="connsiteY1178" fmla="*/ 4026017 h 7571036"/>
                  <a:gd name="connsiteX1179" fmla="*/ 534535 w 6994525"/>
                  <a:gd name="connsiteY1179" fmla="*/ 4069169 h 7571036"/>
                  <a:gd name="connsiteX1180" fmla="*/ 577685 w 6994525"/>
                  <a:gd name="connsiteY1180" fmla="*/ 4026017 h 7571036"/>
                  <a:gd name="connsiteX1181" fmla="*/ 579161 w 6994525"/>
                  <a:gd name="connsiteY1181" fmla="*/ 944524 h 7571036"/>
                  <a:gd name="connsiteX1182" fmla="*/ 562886 w 6994525"/>
                  <a:gd name="connsiteY1182" fmla="*/ 928253 h 7571036"/>
                  <a:gd name="connsiteX1183" fmla="*/ 546614 w 6994525"/>
                  <a:gd name="connsiteY1183" fmla="*/ 944524 h 7571036"/>
                  <a:gd name="connsiteX1184" fmla="*/ 562886 w 6994525"/>
                  <a:gd name="connsiteY1184" fmla="*/ 960805 h 7571036"/>
                  <a:gd name="connsiteX1185" fmla="*/ 579161 w 6994525"/>
                  <a:gd name="connsiteY1185" fmla="*/ 944524 h 7571036"/>
                  <a:gd name="connsiteX1186" fmla="*/ 587792 w 6994525"/>
                  <a:gd name="connsiteY1186" fmla="*/ 6198102 h 7571036"/>
                  <a:gd name="connsiteX1187" fmla="*/ 585325 w 6994525"/>
                  <a:gd name="connsiteY1187" fmla="*/ 6195635 h 7571036"/>
                  <a:gd name="connsiteX1188" fmla="*/ 582861 w 6994525"/>
                  <a:gd name="connsiteY1188" fmla="*/ 6198102 h 7571036"/>
                  <a:gd name="connsiteX1189" fmla="*/ 585325 w 6994525"/>
                  <a:gd name="connsiteY1189" fmla="*/ 6200566 h 7571036"/>
                  <a:gd name="connsiteX1190" fmla="*/ 587792 w 6994525"/>
                  <a:gd name="connsiteY1190" fmla="*/ 6198102 h 7571036"/>
                  <a:gd name="connsiteX1191" fmla="*/ 589025 w 6994525"/>
                  <a:gd name="connsiteY1191" fmla="*/ 5691634 h 7571036"/>
                  <a:gd name="connsiteX1192" fmla="*/ 582121 w 6994525"/>
                  <a:gd name="connsiteY1192" fmla="*/ 5684730 h 7571036"/>
                  <a:gd name="connsiteX1193" fmla="*/ 575217 w 6994525"/>
                  <a:gd name="connsiteY1193" fmla="*/ 5691634 h 7571036"/>
                  <a:gd name="connsiteX1194" fmla="*/ 582121 w 6994525"/>
                  <a:gd name="connsiteY1194" fmla="*/ 5698538 h 7571036"/>
                  <a:gd name="connsiteX1195" fmla="*/ 589025 w 6994525"/>
                  <a:gd name="connsiteY1195" fmla="*/ 5691634 h 7571036"/>
                  <a:gd name="connsiteX1196" fmla="*/ 589764 w 6994525"/>
                  <a:gd name="connsiteY1196" fmla="*/ 1660479 h 7571036"/>
                  <a:gd name="connsiteX1197" fmla="*/ 571025 w 6994525"/>
                  <a:gd name="connsiteY1197" fmla="*/ 1641507 h 7571036"/>
                  <a:gd name="connsiteX1198" fmla="*/ 552039 w 6994525"/>
                  <a:gd name="connsiteY1198" fmla="*/ 1660479 h 7571036"/>
                  <a:gd name="connsiteX1199" fmla="*/ 571025 w 6994525"/>
                  <a:gd name="connsiteY1199" fmla="*/ 1679473 h 7571036"/>
                  <a:gd name="connsiteX1200" fmla="*/ 589764 w 6994525"/>
                  <a:gd name="connsiteY1200" fmla="*/ 1660479 h 7571036"/>
                  <a:gd name="connsiteX1201" fmla="*/ 590013 w 6994525"/>
                  <a:gd name="connsiteY1201" fmla="*/ 5041660 h 7571036"/>
                  <a:gd name="connsiteX1202" fmla="*/ 549821 w 6994525"/>
                  <a:gd name="connsiteY1202" fmla="*/ 5001716 h 7571036"/>
                  <a:gd name="connsiteX1203" fmla="*/ 509629 w 6994525"/>
                  <a:gd name="connsiteY1203" fmla="*/ 5041660 h 7571036"/>
                  <a:gd name="connsiteX1204" fmla="*/ 549821 w 6994525"/>
                  <a:gd name="connsiteY1204" fmla="*/ 5081853 h 7571036"/>
                  <a:gd name="connsiteX1205" fmla="*/ 590013 w 6994525"/>
                  <a:gd name="connsiteY1205" fmla="*/ 5041660 h 7571036"/>
                  <a:gd name="connsiteX1206" fmla="*/ 591246 w 6994525"/>
                  <a:gd name="connsiteY1206" fmla="*/ 2341685 h 7571036"/>
                  <a:gd name="connsiteX1207" fmla="*/ 590505 w 6994525"/>
                  <a:gd name="connsiteY1207" fmla="*/ 2340943 h 7571036"/>
                  <a:gd name="connsiteX1208" fmla="*/ 589765 w 6994525"/>
                  <a:gd name="connsiteY1208" fmla="*/ 2341685 h 7571036"/>
                  <a:gd name="connsiteX1209" fmla="*/ 590505 w 6994525"/>
                  <a:gd name="connsiteY1209" fmla="*/ 2342425 h 7571036"/>
                  <a:gd name="connsiteX1210" fmla="*/ 591246 w 6994525"/>
                  <a:gd name="connsiteY1210" fmla="*/ 2341685 h 7571036"/>
                  <a:gd name="connsiteX1211" fmla="*/ 592969 w 6994525"/>
                  <a:gd name="connsiteY1211" fmla="*/ 4883856 h 7571036"/>
                  <a:gd name="connsiteX1212" fmla="*/ 590997 w 6994525"/>
                  <a:gd name="connsiteY1212" fmla="*/ 4881882 h 7571036"/>
                  <a:gd name="connsiteX1213" fmla="*/ 589024 w 6994525"/>
                  <a:gd name="connsiteY1213" fmla="*/ 4883856 h 7571036"/>
                  <a:gd name="connsiteX1214" fmla="*/ 590997 w 6994525"/>
                  <a:gd name="connsiteY1214" fmla="*/ 4885828 h 7571036"/>
                  <a:gd name="connsiteX1215" fmla="*/ 592969 w 6994525"/>
                  <a:gd name="connsiteY1215" fmla="*/ 4883856 h 7571036"/>
                  <a:gd name="connsiteX1216" fmla="*/ 597655 w 6994525"/>
                  <a:gd name="connsiteY1216" fmla="*/ 2073873 h 7571036"/>
                  <a:gd name="connsiteX1217" fmla="*/ 589764 w 6994525"/>
                  <a:gd name="connsiteY1217" fmla="*/ 2065734 h 7571036"/>
                  <a:gd name="connsiteX1218" fmla="*/ 581629 w 6994525"/>
                  <a:gd name="connsiteY1218" fmla="*/ 2073873 h 7571036"/>
                  <a:gd name="connsiteX1219" fmla="*/ 589764 w 6994525"/>
                  <a:gd name="connsiteY1219" fmla="*/ 2081767 h 7571036"/>
                  <a:gd name="connsiteX1220" fmla="*/ 597655 w 6994525"/>
                  <a:gd name="connsiteY1220" fmla="*/ 2073873 h 7571036"/>
                  <a:gd name="connsiteX1221" fmla="*/ 597903 w 6994525"/>
                  <a:gd name="connsiteY1221" fmla="*/ 4507331 h 7571036"/>
                  <a:gd name="connsiteX1222" fmla="*/ 551053 w 6994525"/>
                  <a:gd name="connsiteY1222" fmla="*/ 4460483 h 7571036"/>
                  <a:gd name="connsiteX1223" fmla="*/ 504205 w 6994525"/>
                  <a:gd name="connsiteY1223" fmla="*/ 4507331 h 7571036"/>
                  <a:gd name="connsiteX1224" fmla="*/ 551053 w 6994525"/>
                  <a:gd name="connsiteY1224" fmla="*/ 4554181 h 7571036"/>
                  <a:gd name="connsiteX1225" fmla="*/ 597903 w 6994525"/>
                  <a:gd name="connsiteY1225" fmla="*/ 4507331 h 7571036"/>
                  <a:gd name="connsiteX1226" fmla="*/ 600616 w 6994525"/>
                  <a:gd name="connsiteY1226" fmla="*/ 1265992 h 7571036"/>
                  <a:gd name="connsiteX1227" fmla="*/ 580642 w 6994525"/>
                  <a:gd name="connsiteY1227" fmla="*/ 1246046 h 7571036"/>
                  <a:gd name="connsiteX1228" fmla="*/ 560670 w 6994525"/>
                  <a:gd name="connsiteY1228" fmla="*/ 1265992 h 7571036"/>
                  <a:gd name="connsiteX1229" fmla="*/ 580642 w 6994525"/>
                  <a:gd name="connsiteY1229" fmla="*/ 1285960 h 7571036"/>
                  <a:gd name="connsiteX1230" fmla="*/ 600616 w 6994525"/>
                  <a:gd name="connsiteY1230" fmla="*/ 1265992 h 7571036"/>
                  <a:gd name="connsiteX1231" fmla="*/ 602342 w 6994525"/>
                  <a:gd name="connsiteY1231" fmla="*/ 4139197 h 7571036"/>
                  <a:gd name="connsiteX1232" fmla="*/ 557958 w 6994525"/>
                  <a:gd name="connsiteY1232" fmla="*/ 4094813 h 7571036"/>
                  <a:gd name="connsiteX1233" fmla="*/ 513574 w 6994525"/>
                  <a:gd name="connsiteY1233" fmla="*/ 4139197 h 7571036"/>
                  <a:gd name="connsiteX1234" fmla="*/ 557958 w 6994525"/>
                  <a:gd name="connsiteY1234" fmla="*/ 4183581 h 7571036"/>
                  <a:gd name="connsiteX1235" fmla="*/ 602342 w 6994525"/>
                  <a:gd name="connsiteY1235" fmla="*/ 4139197 h 7571036"/>
                  <a:gd name="connsiteX1236" fmla="*/ 602835 w 6994525"/>
                  <a:gd name="connsiteY1236" fmla="*/ 2649871 h 7571036"/>
                  <a:gd name="connsiteX1237" fmla="*/ 600368 w 6994525"/>
                  <a:gd name="connsiteY1237" fmla="*/ 2647407 h 7571036"/>
                  <a:gd name="connsiteX1238" fmla="*/ 597904 w 6994525"/>
                  <a:gd name="connsiteY1238" fmla="*/ 2649871 h 7571036"/>
                  <a:gd name="connsiteX1239" fmla="*/ 600368 w 6994525"/>
                  <a:gd name="connsiteY1239" fmla="*/ 2652339 h 7571036"/>
                  <a:gd name="connsiteX1240" fmla="*/ 602835 w 6994525"/>
                  <a:gd name="connsiteY1240" fmla="*/ 2649871 h 7571036"/>
                  <a:gd name="connsiteX1241" fmla="*/ 606780 w 6994525"/>
                  <a:gd name="connsiteY1241" fmla="*/ 6056815 h 7571036"/>
                  <a:gd name="connsiteX1242" fmla="*/ 603081 w 6994525"/>
                  <a:gd name="connsiteY1242" fmla="*/ 6053116 h 7571036"/>
                  <a:gd name="connsiteX1243" fmla="*/ 599382 w 6994525"/>
                  <a:gd name="connsiteY1243" fmla="*/ 6056815 h 7571036"/>
                  <a:gd name="connsiteX1244" fmla="*/ 603081 w 6994525"/>
                  <a:gd name="connsiteY1244" fmla="*/ 6060511 h 7571036"/>
                  <a:gd name="connsiteX1245" fmla="*/ 606780 w 6994525"/>
                  <a:gd name="connsiteY1245" fmla="*/ 6056815 h 7571036"/>
                  <a:gd name="connsiteX1246" fmla="*/ 609739 w 6994525"/>
                  <a:gd name="connsiteY1246" fmla="*/ 5297116 h 7571036"/>
                  <a:gd name="connsiteX1247" fmla="*/ 572507 w 6994525"/>
                  <a:gd name="connsiteY1247" fmla="*/ 5259882 h 7571036"/>
                  <a:gd name="connsiteX1248" fmla="*/ 535273 w 6994525"/>
                  <a:gd name="connsiteY1248" fmla="*/ 5297116 h 7571036"/>
                  <a:gd name="connsiteX1249" fmla="*/ 572507 w 6994525"/>
                  <a:gd name="connsiteY1249" fmla="*/ 5334349 h 7571036"/>
                  <a:gd name="connsiteX1250" fmla="*/ 609739 w 6994525"/>
                  <a:gd name="connsiteY1250" fmla="*/ 5297116 h 7571036"/>
                  <a:gd name="connsiteX1251" fmla="*/ 614177 w 6994525"/>
                  <a:gd name="connsiteY1251" fmla="*/ 5543938 h 7571036"/>
                  <a:gd name="connsiteX1252" fmla="*/ 607764 w 6994525"/>
                  <a:gd name="connsiteY1252" fmla="*/ 5537525 h 7571036"/>
                  <a:gd name="connsiteX1253" fmla="*/ 601355 w 6994525"/>
                  <a:gd name="connsiteY1253" fmla="*/ 5543938 h 7571036"/>
                  <a:gd name="connsiteX1254" fmla="*/ 607764 w 6994525"/>
                  <a:gd name="connsiteY1254" fmla="*/ 5550347 h 7571036"/>
                  <a:gd name="connsiteX1255" fmla="*/ 614177 w 6994525"/>
                  <a:gd name="connsiteY1255" fmla="*/ 5543938 h 7571036"/>
                  <a:gd name="connsiteX1256" fmla="*/ 622808 w 6994525"/>
                  <a:gd name="connsiteY1256" fmla="*/ 578838 h 7571036"/>
                  <a:gd name="connsiteX1257" fmla="*/ 608013 w 6994525"/>
                  <a:gd name="connsiteY1257" fmla="*/ 564044 h 7571036"/>
                  <a:gd name="connsiteX1258" fmla="*/ 593219 w 6994525"/>
                  <a:gd name="connsiteY1258" fmla="*/ 578838 h 7571036"/>
                  <a:gd name="connsiteX1259" fmla="*/ 608013 w 6994525"/>
                  <a:gd name="connsiteY1259" fmla="*/ 593631 h 7571036"/>
                  <a:gd name="connsiteX1260" fmla="*/ 622808 w 6994525"/>
                  <a:gd name="connsiteY1260" fmla="*/ 578838 h 7571036"/>
                  <a:gd name="connsiteX1261" fmla="*/ 623545 w 6994525"/>
                  <a:gd name="connsiteY1261" fmla="*/ 1813927 h 7571036"/>
                  <a:gd name="connsiteX1262" fmla="*/ 605300 w 6994525"/>
                  <a:gd name="connsiteY1262" fmla="*/ 1795676 h 7571036"/>
                  <a:gd name="connsiteX1263" fmla="*/ 587052 w 6994525"/>
                  <a:gd name="connsiteY1263" fmla="*/ 1813927 h 7571036"/>
                  <a:gd name="connsiteX1264" fmla="*/ 605300 w 6994525"/>
                  <a:gd name="connsiteY1264" fmla="*/ 1832157 h 7571036"/>
                  <a:gd name="connsiteX1265" fmla="*/ 623545 w 6994525"/>
                  <a:gd name="connsiteY1265" fmla="*/ 1813927 h 7571036"/>
                  <a:gd name="connsiteX1266" fmla="*/ 628723 w 6994525"/>
                  <a:gd name="connsiteY1266" fmla="*/ 1413446 h 7571036"/>
                  <a:gd name="connsiteX1267" fmla="*/ 606286 w 6994525"/>
                  <a:gd name="connsiteY1267" fmla="*/ 1390998 h 7571036"/>
                  <a:gd name="connsiteX1268" fmla="*/ 583848 w 6994525"/>
                  <a:gd name="connsiteY1268" fmla="*/ 1413446 h 7571036"/>
                  <a:gd name="connsiteX1269" fmla="*/ 606286 w 6994525"/>
                  <a:gd name="connsiteY1269" fmla="*/ 1435873 h 7571036"/>
                  <a:gd name="connsiteX1270" fmla="*/ 628723 w 6994525"/>
                  <a:gd name="connsiteY1270" fmla="*/ 1413446 h 7571036"/>
                  <a:gd name="connsiteX1271" fmla="*/ 631438 w 6994525"/>
                  <a:gd name="connsiteY1271" fmla="*/ 3392091 h 7571036"/>
                  <a:gd name="connsiteX1272" fmla="*/ 594205 w 6994525"/>
                  <a:gd name="connsiteY1272" fmla="*/ 3354838 h 7571036"/>
                  <a:gd name="connsiteX1273" fmla="*/ 556971 w 6994525"/>
                  <a:gd name="connsiteY1273" fmla="*/ 3392091 h 7571036"/>
                  <a:gd name="connsiteX1274" fmla="*/ 594205 w 6994525"/>
                  <a:gd name="connsiteY1274" fmla="*/ 3429316 h 7571036"/>
                  <a:gd name="connsiteX1275" fmla="*/ 631438 w 6994525"/>
                  <a:gd name="connsiteY1275" fmla="*/ 3392091 h 7571036"/>
                  <a:gd name="connsiteX1276" fmla="*/ 632177 w 6994525"/>
                  <a:gd name="connsiteY1276" fmla="*/ 4251879 h 7571036"/>
                  <a:gd name="connsiteX1277" fmla="*/ 585574 w 6994525"/>
                  <a:gd name="connsiteY1277" fmla="*/ 4205276 h 7571036"/>
                  <a:gd name="connsiteX1278" fmla="*/ 539218 w 6994525"/>
                  <a:gd name="connsiteY1278" fmla="*/ 4251879 h 7571036"/>
                  <a:gd name="connsiteX1279" fmla="*/ 585574 w 6994525"/>
                  <a:gd name="connsiteY1279" fmla="*/ 4298235 h 7571036"/>
                  <a:gd name="connsiteX1280" fmla="*/ 632177 w 6994525"/>
                  <a:gd name="connsiteY1280" fmla="*/ 4251879 h 7571036"/>
                  <a:gd name="connsiteX1281" fmla="*/ 632179 w 6994525"/>
                  <a:gd name="connsiteY1281" fmla="*/ 3507962 h 7571036"/>
                  <a:gd name="connsiteX1282" fmla="*/ 592973 w 6994525"/>
                  <a:gd name="connsiteY1282" fmla="*/ 3468755 h 7571036"/>
                  <a:gd name="connsiteX1283" fmla="*/ 553767 w 6994525"/>
                  <a:gd name="connsiteY1283" fmla="*/ 3507962 h 7571036"/>
                  <a:gd name="connsiteX1284" fmla="*/ 592973 w 6994525"/>
                  <a:gd name="connsiteY1284" fmla="*/ 3547166 h 7571036"/>
                  <a:gd name="connsiteX1285" fmla="*/ 632179 w 6994525"/>
                  <a:gd name="connsiteY1285" fmla="*/ 3507962 h 7571036"/>
                  <a:gd name="connsiteX1286" fmla="*/ 634394 w 6994525"/>
                  <a:gd name="connsiteY1286" fmla="*/ 5926376 h 7571036"/>
                  <a:gd name="connsiteX1287" fmla="*/ 632916 w 6994525"/>
                  <a:gd name="connsiteY1287" fmla="*/ 5924650 h 7571036"/>
                  <a:gd name="connsiteX1288" fmla="*/ 631189 w 6994525"/>
                  <a:gd name="connsiteY1288" fmla="*/ 5926376 h 7571036"/>
                  <a:gd name="connsiteX1289" fmla="*/ 632916 w 6994525"/>
                  <a:gd name="connsiteY1289" fmla="*/ 5927854 h 7571036"/>
                  <a:gd name="connsiteX1290" fmla="*/ 634394 w 6994525"/>
                  <a:gd name="connsiteY1290" fmla="*/ 5926376 h 7571036"/>
                  <a:gd name="connsiteX1291" fmla="*/ 634889 w 6994525"/>
                  <a:gd name="connsiteY1291" fmla="*/ 3276439 h 7571036"/>
                  <a:gd name="connsiteX1292" fmla="*/ 599876 w 6994525"/>
                  <a:gd name="connsiteY1292" fmla="*/ 3241183 h 7571036"/>
                  <a:gd name="connsiteX1293" fmla="*/ 564616 w 6994525"/>
                  <a:gd name="connsiteY1293" fmla="*/ 3276439 h 7571036"/>
                  <a:gd name="connsiteX1294" fmla="*/ 599876 w 6994525"/>
                  <a:gd name="connsiteY1294" fmla="*/ 3311459 h 7571036"/>
                  <a:gd name="connsiteX1295" fmla="*/ 634889 w 6994525"/>
                  <a:gd name="connsiteY1295" fmla="*/ 3276439 h 7571036"/>
                  <a:gd name="connsiteX1296" fmla="*/ 635383 w 6994525"/>
                  <a:gd name="connsiteY1296" fmla="*/ 2538906 h 7571036"/>
                  <a:gd name="connsiteX1297" fmla="*/ 634643 w 6994525"/>
                  <a:gd name="connsiteY1297" fmla="*/ 2538169 h 7571036"/>
                  <a:gd name="connsiteX1298" fmla="*/ 633903 w 6994525"/>
                  <a:gd name="connsiteY1298" fmla="*/ 2538906 h 7571036"/>
                  <a:gd name="connsiteX1299" fmla="*/ 634643 w 6994525"/>
                  <a:gd name="connsiteY1299" fmla="*/ 2539643 h 7571036"/>
                  <a:gd name="connsiteX1300" fmla="*/ 635383 w 6994525"/>
                  <a:gd name="connsiteY1300" fmla="*/ 2538906 h 7571036"/>
                  <a:gd name="connsiteX1301" fmla="*/ 635876 w 6994525"/>
                  <a:gd name="connsiteY1301" fmla="*/ 4616318 h 7571036"/>
                  <a:gd name="connsiteX1302" fmla="*/ 591492 w 6994525"/>
                  <a:gd name="connsiteY1302" fmla="*/ 4571934 h 7571036"/>
                  <a:gd name="connsiteX1303" fmla="*/ 547108 w 6994525"/>
                  <a:gd name="connsiteY1303" fmla="*/ 4616318 h 7571036"/>
                  <a:gd name="connsiteX1304" fmla="*/ 591492 w 6994525"/>
                  <a:gd name="connsiteY1304" fmla="*/ 4660702 h 7571036"/>
                  <a:gd name="connsiteX1305" fmla="*/ 635876 w 6994525"/>
                  <a:gd name="connsiteY1305" fmla="*/ 4616318 h 7571036"/>
                  <a:gd name="connsiteX1306" fmla="*/ 636613 w 6994525"/>
                  <a:gd name="connsiteY1306" fmla="*/ 5143007 h 7571036"/>
                  <a:gd name="connsiteX1307" fmla="*/ 606286 w 6994525"/>
                  <a:gd name="connsiteY1307" fmla="*/ 5112677 h 7571036"/>
                  <a:gd name="connsiteX1308" fmla="*/ 575957 w 6994525"/>
                  <a:gd name="connsiteY1308" fmla="*/ 5143007 h 7571036"/>
                  <a:gd name="connsiteX1309" fmla="*/ 606286 w 6994525"/>
                  <a:gd name="connsiteY1309" fmla="*/ 5173336 h 7571036"/>
                  <a:gd name="connsiteX1310" fmla="*/ 636613 w 6994525"/>
                  <a:gd name="connsiteY1310" fmla="*/ 5143007 h 7571036"/>
                  <a:gd name="connsiteX1311" fmla="*/ 637847 w 6994525"/>
                  <a:gd name="connsiteY1311" fmla="*/ 2234155 h 7571036"/>
                  <a:gd name="connsiteX1312" fmla="*/ 635135 w 6994525"/>
                  <a:gd name="connsiteY1312" fmla="*/ 2231464 h 7571036"/>
                  <a:gd name="connsiteX1313" fmla="*/ 632422 w 6994525"/>
                  <a:gd name="connsiteY1313" fmla="*/ 2234155 h 7571036"/>
                  <a:gd name="connsiteX1314" fmla="*/ 635135 w 6994525"/>
                  <a:gd name="connsiteY1314" fmla="*/ 2236879 h 7571036"/>
                  <a:gd name="connsiteX1315" fmla="*/ 637847 w 6994525"/>
                  <a:gd name="connsiteY1315" fmla="*/ 2234155 h 7571036"/>
                  <a:gd name="connsiteX1316" fmla="*/ 637847 w 6994525"/>
                  <a:gd name="connsiteY1316" fmla="*/ 3623605 h 7571036"/>
                  <a:gd name="connsiteX1317" fmla="*/ 596669 w 6994525"/>
                  <a:gd name="connsiteY1317" fmla="*/ 3582427 h 7571036"/>
                  <a:gd name="connsiteX1318" fmla="*/ 555490 w 6994525"/>
                  <a:gd name="connsiteY1318" fmla="*/ 3623605 h 7571036"/>
                  <a:gd name="connsiteX1319" fmla="*/ 596669 w 6994525"/>
                  <a:gd name="connsiteY1319" fmla="*/ 3664781 h 7571036"/>
                  <a:gd name="connsiteX1320" fmla="*/ 637847 w 6994525"/>
                  <a:gd name="connsiteY1320" fmla="*/ 3623605 h 7571036"/>
                  <a:gd name="connsiteX1321" fmla="*/ 638834 w 6994525"/>
                  <a:gd name="connsiteY1321" fmla="*/ 717206 h 7571036"/>
                  <a:gd name="connsiteX1322" fmla="*/ 623547 w 6994525"/>
                  <a:gd name="connsiteY1322" fmla="*/ 701927 h 7571036"/>
                  <a:gd name="connsiteX1323" fmla="*/ 608259 w 6994525"/>
                  <a:gd name="connsiteY1323" fmla="*/ 717206 h 7571036"/>
                  <a:gd name="connsiteX1324" fmla="*/ 623547 w 6994525"/>
                  <a:gd name="connsiteY1324" fmla="*/ 732491 h 7571036"/>
                  <a:gd name="connsiteX1325" fmla="*/ 638834 w 6994525"/>
                  <a:gd name="connsiteY1325" fmla="*/ 717206 h 7571036"/>
                  <a:gd name="connsiteX1326" fmla="*/ 643026 w 6994525"/>
                  <a:gd name="connsiteY1326" fmla="*/ 3160792 h 7571036"/>
                  <a:gd name="connsiteX1327" fmla="*/ 610232 w 6994525"/>
                  <a:gd name="connsiteY1327" fmla="*/ 3127996 h 7571036"/>
                  <a:gd name="connsiteX1328" fmla="*/ 577438 w 6994525"/>
                  <a:gd name="connsiteY1328" fmla="*/ 3160792 h 7571036"/>
                  <a:gd name="connsiteX1329" fmla="*/ 610232 w 6994525"/>
                  <a:gd name="connsiteY1329" fmla="*/ 3193590 h 7571036"/>
                  <a:gd name="connsiteX1330" fmla="*/ 643026 w 6994525"/>
                  <a:gd name="connsiteY1330" fmla="*/ 3160792 h 7571036"/>
                  <a:gd name="connsiteX1331" fmla="*/ 646232 w 6994525"/>
                  <a:gd name="connsiteY1331" fmla="*/ 1031292 h 7571036"/>
                  <a:gd name="connsiteX1332" fmla="*/ 630944 w 6994525"/>
                  <a:gd name="connsiteY1332" fmla="*/ 1016014 h 7571036"/>
                  <a:gd name="connsiteX1333" fmla="*/ 615657 w 6994525"/>
                  <a:gd name="connsiteY1333" fmla="*/ 1031292 h 7571036"/>
                  <a:gd name="connsiteX1334" fmla="*/ 630944 w 6994525"/>
                  <a:gd name="connsiteY1334" fmla="*/ 1046583 h 7571036"/>
                  <a:gd name="connsiteX1335" fmla="*/ 646232 w 6994525"/>
                  <a:gd name="connsiteY1335" fmla="*/ 1031292 h 7571036"/>
                  <a:gd name="connsiteX1336" fmla="*/ 647714 w 6994525"/>
                  <a:gd name="connsiteY1336" fmla="*/ 3739249 h 7571036"/>
                  <a:gd name="connsiteX1337" fmla="*/ 604563 w 6994525"/>
                  <a:gd name="connsiteY1337" fmla="*/ 3696097 h 7571036"/>
                  <a:gd name="connsiteX1338" fmla="*/ 561411 w 6994525"/>
                  <a:gd name="connsiteY1338" fmla="*/ 3739249 h 7571036"/>
                  <a:gd name="connsiteX1339" fmla="*/ 604563 w 6994525"/>
                  <a:gd name="connsiteY1339" fmla="*/ 3782400 h 7571036"/>
                  <a:gd name="connsiteX1340" fmla="*/ 647714 w 6994525"/>
                  <a:gd name="connsiteY1340" fmla="*/ 3739249 h 7571036"/>
                  <a:gd name="connsiteX1341" fmla="*/ 648206 w 6994525"/>
                  <a:gd name="connsiteY1341" fmla="*/ 4987413 h 7571036"/>
                  <a:gd name="connsiteX1342" fmla="*/ 643769 w 6994525"/>
                  <a:gd name="connsiteY1342" fmla="*/ 4982977 h 7571036"/>
                  <a:gd name="connsiteX1343" fmla="*/ 639329 w 6994525"/>
                  <a:gd name="connsiteY1343" fmla="*/ 4987413 h 7571036"/>
                  <a:gd name="connsiteX1344" fmla="*/ 643769 w 6994525"/>
                  <a:gd name="connsiteY1344" fmla="*/ 4991853 h 7571036"/>
                  <a:gd name="connsiteX1345" fmla="*/ 648206 w 6994525"/>
                  <a:gd name="connsiteY1345" fmla="*/ 4987413 h 7571036"/>
                  <a:gd name="connsiteX1346" fmla="*/ 653382 w 6994525"/>
                  <a:gd name="connsiteY1346" fmla="*/ 1563331 h 7571036"/>
                  <a:gd name="connsiteX1347" fmla="*/ 634148 w 6994525"/>
                  <a:gd name="connsiteY1347" fmla="*/ 1544103 h 7571036"/>
                  <a:gd name="connsiteX1348" fmla="*/ 615163 w 6994525"/>
                  <a:gd name="connsiteY1348" fmla="*/ 1563331 h 7571036"/>
                  <a:gd name="connsiteX1349" fmla="*/ 634148 w 6994525"/>
                  <a:gd name="connsiteY1349" fmla="*/ 1582299 h 7571036"/>
                  <a:gd name="connsiteX1350" fmla="*/ 653382 w 6994525"/>
                  <a:gd name="connsiteY1350" fmla="*/ 1563331 h 7571036"/>
                  <a:gd name="connsiteX1351" fmla="*/ 653629 w 6994525"/>
                  <a:gd name="connsiteY1351" fmla="*/ 1970086 h 7571036"/>
                  <a:gd name="connsiteX1352" fmla="*/ 642534 w 6994525"/>
                  <a:gd name="connsiteY1352" fmla="*/ 1959001 h 7571036"/>
                  <a:gd name="connsiteX1353" fmla="*/ 631438 w 6994525"/>
                  <a:gd name="connsiteY1353" fmla="*/ 1970086 h 7571036"/>
                  <a:gd name="connsiteX1354" fmla="*/ 642534 w 6994525"/>
                  <a:gd name="connsiteY1354" fmla="*/ 1981173 h 7571036"/>
                  <a:gd name="connsiteX1355" fmla="*/ 653629 w 6994525"/>
                  <a:gd name="connsiteY1355" fmla="*/ 1970086 h 7571036"/>
                  <a:gd name="connsiteX1356" fmla="*/ 653877 w 6994525"/>
                  <a:gd name="connsiteY1356" fmla="*/ 6419526 h 7571036"/>
                  <a:gd name="connsiteX1357" fmla="*/ 651656 w 6994525"/>
                  <a:gd name="connsiteY1357" fmla="*/ 6417307 h 7571036"/>
                  <a:gd name="connsiteX1358" fmla="*/ 649438 w 6994525"/>
                  <a:gd name="connsiteY1358" fmla="*/ 6419526 h 7571036"/>
                  <a:gd name="connsiteX1359" fmla="*/ 651656 w 6994525"/>
                  <a:gd name="connsiteY1359" fmla="*/ 6421747 h 7571036"/>
                  <a:gd name="connsiteX1360" fmla="*/ 653877 w 6994525"/>
                  <a:gd name="connsiteY1360" fmla="*/ 6419526 h 7571036"/>
                  <a:gd name="connsiteX1361" fmla="*/ 654616 w 6994525"/>
                  <a:gd name="connsiteY1361" fmla="*/ 3045881 h 7571036"/>
                  <a:gd name="connsiteX1362" fmla="*/ 625026 w 6994525"/>
                  <a:gd name="connsiteY1362" fmla="*/ 3016289 h 7571036"/>
                  <a:gd name="connsiteX1363" fmla="*/ 595437 w 6994525"/>
                  <a:gd name="connsiteY1363" fmla="*/ 3045881 h 7571036"/>
                  <a:gd name="connsiteX1364" fmla="*/ 625026 w 6994525"/>
                  <a:gd name="connsiteY1364" fmla="*/ 3075473 h 7571036"/>
                  <a:gd name="connsiteX1365" fmla="*/ 654616 w 6994525"/>
                  <a:gd name="connsiteY1365" fmla="*/ 3045881 h 7571036"/>
                  <a:gd name="connsiteX1366" fmla="*/ 655848 w 6994525"/>
                  <a:gd name="connsiteY1366" fmla="*/ 857723 h 7571036"/>
                  <a:gd name="connsiteX1367" fmla="*/ 640316 w 6994525"/>
                  <a:gd name="connsiteY1367" fmla="*/ 842209 h 7571036"/>
                  <a:gd name="connsiteX1368" fmla="*/ 624780 w 6994525"/>
                  <a:gd name="connsiteY1368" fmla="*/ 857723 h 7571036"/>
                  <a:gd name="connsiteX1369" fmla="*/ 640316 w 6994525"/>
                  <a:gd name="connsiteY1369" fmla="*/ 873247 h 7571036"/>
                  <a:gd name="connsiteX1370" fmla="*/ 655848 w 6994525"/>
                  <a:gd name="connsiteY1370" fmla="*/ 857723 h 7571036"/>
                  <a:gd name="connsiteX1371" fmla="*/ 660288 w 6994525"/>
                  <a:gd name="connsiteY1371" fmla="*/ 5782624 h 7571036"/>
                  <a:gd name="connsiteX1372" fmla="*/ 653878 w 6994525"/>
                  <a:gd name="connsiteY1372" fmla="*/ 5776210 h 7571036"/>
                  <a:gd name="connsiteX1373" fmla="*/ 647466 w 6994525"/>
                  <a:gd name="connsiteY1373" fmla="*/ 5782624 h 7571036"/>
                  <a:gd name="connsiteX1374" fmla="*/ 653878 w 6994525"/>
                  <a:gd name="connsiteY1374" fmla="*/ 5789033 h 7571036"/>
                  <a:gd name="connsiteX1375" fmla="*/ 660288 w 6994525"/>
                  <a:gd name="connsiteY1375" fmla="*/ 5782624 h 7571036"/>
                  <a:gd name="connsiteX1376" fmla="*/ 662505 w 6994525"/>
                  <a:gd name="connsiteY1376" fmla="*/ 3854647 h 7571036"/>
                  <a:gd name="connsiteX1377" fmla="*/ 617381 w 6994525"/>
                  <a:gd name="connsiteY1377" fmla="*/ 3809277 h 7571036"/>
                  <a:gd name="connsiteX1378" fmla="*/ 572011 w 6994525"/>
                  <a:gd name="connsiteY1378" fmla="*/ 3854647 h 7571036"/>
                  <a:gd name="connsiteX1379" fmla="*/ 617381 w 6994525"/>
                  <a:gd name="connsiteY1379" fmla="*/ 3899771 h 7571036"/>
                  <a:gd name="connsiteX1380" fmla="*/ 662505 w 6994525"/>
                  <a:gd name="connsiteY1380" fmla="*/ 3854647 h 7571036"/>
                  <a:gd name="connsiteX1381" fmla="*/ 665464 w 6994525"/>
                  <a:gd name="connsiteY1381" fmla="*/ 4363087 h 7571036"/>
                  <a:gd name="connsiteX1382" fmla="*/ 617627 w 6994525"/>
                  <a:gd name="connsiteY1382" fmla="*/ 4315250 h 7571036"/>
                  <a:gd name="connsiteX1383" fmla="*/ 569793 w 6994525"/>
                  <a:gd name="connsiteY1383" fmla="*/ 4363087 h 7571036"/>
                  <a:gd name="connsiteX1384" fmla="*/ 617627 w 6994525"/>
                  <a:gd name="connsiteY1384" fmla="*/ 4410922 h 7571036"/>
                  <a:gd name="connsiteX1385" fmla="*/ 665464 w 6994525"/>
                  <a:gd name="connsiteY1385" fmla="*/ 4363087 h 7571036"/>
                  <a:gd name="connsiteX1386" fmla="*/ 668425 w 6994525"/>
                  <a:gd name="connsiteY1386" fmla="*/ 6281689 h 7571036"/>
                  <a:gd name="connsiteX1387" fmla="*/ 666204 w 6994525"/>
                  <a:gd name="connsiteY1387" fmla="*/ 6279470 h 7571036"/>
                  <a:gd name="connsiteX1388" fmla="*/ 663986 w 6994525"/>
                  <a:gd name="connsiteY1388" fmla="*/ 6281689 h 7571036"/>
                  <a:gd name="connsiteX1389" fmla="*/ 666204 w 6994525"/>
                  <a:gd name="connsiteY1389" fmla="*/ 6283907 h 7571036"/>
                  <a:gd name="connsiteX1390" fmla="*/ 668425 w 6994525"/>
                  <a:gd name="connsiteY1390" fmla="*/ 6281689 h 7571036"/>
                  <a:gd name="connsiteX1391" fmla="*/ 670887 w 6994525"/>
                  <a:gd name="connsiteY1391" fmla="*/ 2931707 h 7571036"/>
                  <a:gd name="connsiteX1392" fmla="*/ 644506 w 6994525"/>
                  <a:gd name="connsiteY1392" fmla="*/ 2905322 h 7571036"/>
                  <a:gd name="connsiteX1393" fmla="*/ 618122 w 6994525"/>
                  <a:gd name="connsiteY1393" fmla="*/ 2931707 h 7571036"/>
                  <a:gd name="connsiteX1394" fmla="*/ 644506 w 6994525"/>
                  <a:gd name="connsiteY1394" fmla="*/ 2958091 h 7571036"/>
                  <a:gd name="connsiteX1395" fmla="*/ 670887 w 6994525"/>
                  <a:gd name="connsiteY1395" fmla="*/ 2931707 h 7571036"/>
                  <a:gd name="connsiteX1396" fmla="*/ 670888 w 6994525"/>
                  <a:gd name="connsiteY1396" fmla="*/ 1174776 h 7571036"/>
                  <a:gd name="connsiteX1397" fmla="*/ 652148 w 6994525"/>
                  <a:gd name="connsiteY1397" fmla="*/ 1155795 h 7571036"/>
                  <a:gd name="connsiteX1398" fmla="*/ 633408 w 6994525"/>
                  <a:gd name="connsiteY1398" fmla="*/ 1174776 h 7571036"/>
                  <a:gd name="connsiteX1399" fmla="*/ 652148 w 6994525"/>
                  <a:gd name="connsiteY1399" fmla="*/ 1193766 h 7571036"/>
                  <a:gd name="connsiteX1400" fmla="*/ 670888 w 6994525"/>
                  <a:gd name="connsiteY1400" fmla="*/ 1174776 h 7571036"/>
                  <a:gd name="connsiteX1401" fmla="*/ 672122 w 6994525"/>
                  <a:gd name="connsiteY1401" fmla="*/ 5394266 h 7571036"/>
                  <a:gd name="connsiteX1402" fmla="*/ 635629 w 6994525"/>
                  <a:gd name="connsiteY1402" fmla="*/ 5357772 h 7571036"/>
                  <a:gd name="connsiteX1403" fmla="*/ 599136 w 6994525"/>
                  <a:gd name="connsiteY1403" fmla="*/ 5394266 h 7571036"/>
                  <a:gd name="connsiteX1404" fmla="*/ 635629 w 6994525"/>
                  <a:gd name="connsiteY1404" fmla="*/ 5430758 h 7571036"/>
                  <a:gd name="connsiteX1405" fmla="*/ 672122 w 6994525"/>
                  <a:gd name="connsiteY1405" fmla="*/ 5394266 h 7571036"/>
                  <a:gd name="connsiteX1406" fmla="*/ 672615 w 6994525"/>
                  <a:gd name="connsiteY1406" fmla="*/ 4723580 h 7571036"/>
                  <a:gd name="connsiteX1407" fmla="*/ 636370 w 6994525"/>
                  <a:gd name="connsiteY1407" fmla="*/ 4687332 h 7571036"/>
                  <a:gd name="connsiteX1408" fmla="*/ 600123 w 6994525"/>
                  <a:gd name="connsiteY1408" fmla="*/ 4723580 h 7571036"/>
                  <a:gd name="connsiteX1409" fmla="*/ 636370 w 6994525"/>
                  <a:gd name="connsiteY1409" fmla="*/ 4759827 h 7571036"/>
                  <a:gd name="connsiteX1410" fmla="*/ 672615 w 6994525"/>
                  <a:gd name="connsiteY1410" fmla="*/ 4723580 h 7571036"/>
                  <a:gd name="connsiteX1411" fmla="*/ 673355 w 6994525"/>
                  <a:gd name="connsiteY1411" fmla="*/ 2429676 h 7571036"/>
                  <a:gd name="connsiteX1412" fmla="*/ 672863 w 6994525"/>
                  <a:gd name="connsiteY1412" fmla="*/ 2429179 h 7571036"/>
                  <a:gd name="connsiteX1413" fmla="*/ 672369 w 6994525"/>
                  <a:gd name="connsiteY1413" fmla="*/ 2429676 h 7571036"/>
                  <a:gd name="connsiteX1414" fmla="*/ 672863 w 6994525"/>
                  <a:gd name="connsiteY1414" fmla="*/ 2430167 h 7571036"/>
                  <a:gd name="connsiteX1415" fmla="*/ 673355 w 6994525"/>
                  <a:gd name="connsiteY1415" fmla="*/ 2429676 h 7571036"/>
                  <a:gd name="connsiteX1416" fmla="*/ 681245 w 6994525"/>
                  <a:gd name="connsiteY1416" fmla="*/ 3969058 h 7571036"/>
                  <a:gd name="connsiteX1417" fmla="*/ 634641 w 6994525"/>
                  <a:gd name="connsiteY1417" fmla="*/ 3922455 h 7571036"/>
                  <a:gd name="connsiteX1418" fmla="*/ 588039 w 6994525"/>
                  <a:gd name="connsiteY1418" fmla="*/ 3969058 h 7571036"/>
                  <a:gd name="connsiteX1419" fmla="*/ 634641 w 6994525"/>
                  <a:gd name="connsiteY1419" fmla="*/ 4015659 h 7571036"/>
                  <a:gd name="connsiteX1420" fmla="*/ 681245 w 6994525"/>
                  <a:gd name="connsiteY1420" fmla="*/ 3969058 h 7571036"/>
                  <a:gd name="connsiteX1421" fmla="*/ 682723 w 6994525"/>
                  <a:gd name="connsiteY1421" fmla="*/ 5636897 h 7571036"/>
                  <a:gd name="connsiteX1422" fmla="*/ 676805 w 6994525"/>
                  <a:gd name="connsiteY1422" fmla="*/ 5630977 h 7571036"/>
                  <a:gd name="connsiteX1423" fmla="*/ 670888 w 6994525"/>
                  <a:gd name="connsiteY1423" fmla="*/ 5636897 h 7571036"/>
                  <a:gd name="connsiteX1424" fmla="*/ 676805 w 6994525"/>
                  <a:gd name="connsiteY1424" fmla="*/ 5642814 h 7571036"/>
                  <a:gd name="connsiteX1425" fmla="*/ 682723 w 6994525"/>
                  <a:gd name="connsiteY1425" fmla="*/ 5636897 h 7571036"/>
                  <a:gd name="connsiteX1426" fmla="*/ 685190 w 6994525"/>
                  <a:gd name="connsiteY1426" fmla="*/ 6142376 h 7571036"/>
                  <a:gd name="connsiteX1427" fmla="*/ 681982 w 6994525"/>
                  <a:gd name="connsiteY1427" fmla="*/ 6139170 h 7571036"/>
                  <a:gd name="connsiteX1428" fmla="*/ 678532 w 6994525"/>
                  <a:gd name="connsiteY1428" fmla="*/ 6142376 h 7571036"/>
                  <a:gd name="connsiteX1429" fmla="*/ 681982 w 6994525"/>
                  <a:gd name="connsiteY1429" fmla="*/ 6145829 h 7571036"/>
                  <a:gd name="connsiteX1430" fmla="*/ 685190 w 6994525"/>
                  <a:gd name="connsiteY1430" fmla="*/ 6142376 h 7571036"/>
                  <a:gd name="connsiteX1431" fmla="*/ 685436 w 6994525"/>
                  <a:gd name="connsiteY1431" fmla="*/ 1714413 h 7571036"/>
                  <a:gd name="connsiteX1432" fmla="*/ 665216 w 6994525"/>
                  <a:gd name="connsiteY1432" fmla="*/ 1694248 h 7571036"/>
                  <a:gd name="connsiteX1433" fmla="*/ 644998 w 6994525"/>
                  <a:gd name="connsiteY1433" fmla="*/ 1714413 h 7571036"/>
                  <a:gd name="connsiteX1434" fmla="*/ 665216 w 6994525"/>
                  <a:gd name="connsiteY1434" fmla="*/ 1734673 h 7571036"/>
                  <a:gd name="connsiteX1435" fmla="*/ 685436 w 6994525"/>
                  <a:gd name="connsiteY1435" fmla="*/ 1714413 h 7571036"/>
                  <a:gd name="connsiteX1436" fmla="*/ 692094 w 6994525"/>
                  <a:gd name="connsiteY1436" fmla="*/ 2818031 h 7571036"/>
                  <a:gd name="connsiteX1437" fmla="*/ 668669 w 6994525"/>
                  <a:gd name="connsiteY1437" fmla="*/ 2794604 h 7571036"/>
                  <a:gd name="connsiteX1438" fmla="*/ 645244 w 6994525"/>
                  <a:gd name="connsiteY1438" fmla="*/ 2818031 h 7571036"/>
                  <a:gd name="connsiteX1439" fmla="*/ 668669 w 6994525"/>
                  <a:gd name="connsiteY1439" fmla="*/ 2841456 h 7571036"/>
                  <a:gd name="connsiteX1440" fmla="*/ 692094 w 6994525"/>
                  <a:gd name="connsiteY1440" fmla="*/ 2818031 h 7571036"/>
                  <a:gd name="connsiteX1441" fmla="*/ 692588 w 6994525"/>
                  <a:gd name="connsiteY1441" fmla="*/ 2128125 h 7571036"/>
                  <a:gd name="connsiteX1442" fmla="*/ 683959 w 6994525"/>
                  <a:gd name="connsiteY1442" fmla="*/ 2119493 h 7571036"/>
                  <a:gd name="connsiteX1443" fmla="*/ 675328 w 6994525"/>
                  <a:gd name="connsiteY1443" fmla="*/ 2128125 h 7571036"/>
                  <a:gd name="connsiteX1444" fmla="*/ 683959 w 6994525"/>
                  <a:gd name="connsiteY1444" fmla="*/ 2136755 h 7571036"/>
                  <a:gd name="connsiteX1445" fmla="*/ 692588 w 6994525"/>
                  <a:gd name="connsiteY1445" fmla="*/ 2128125 h 7571036"/>
                  <a:gd name="connsiteX1446" fmla="*/ 695300 w 6994525"/>
                  <a:gd name="connsiteY1446" fmla="*/ 5242623 h 7571036"/>
                  <a:gd name="connsiteX1447" fmla="*/ 666205 w 6994525"/>
                  <a:gd name="connsiteY1447" fmla="*/ 5213526 h 7571036"/>
                  <a:gd name="connsiteX1448" fmla="*/ 637108 w 6994525"/>
                  <a:gd name="connsiteY1448" fmla="*/ 5242623 h 7571036"/>
                  <a:gd name="connsiteX1449" fmla="*/ 666205 w 6994525"/>
                  <a:gd name="connsiteY1449" fmla="*/ 5271717 h 7571036"/>
                  <a:gd name="connsiteX1450" fmla="*/ 695300 w 6994525"/>
                  <a:gd name="connsiteY1450" fmla="*/ 5242623 h 7571036"/>
                  <a:gd name="connsiteX1451" fmla="*/ 696781 w 6994525"/>
                  <a:gd name="connsiteY1451" fmla="*/ 4472812 h 7571036"/>
                  <a:gd name="connsiteX1452" fmla="*/ 653878 w 6994525"/>
                  <a:gd name="connsiteY1452" fmla="*/ 4429906 h 7571036"/>
                  <a:gd name="connsiteX1453" fmla="*/ 610972 w 6994525"/>
                  <a:gd name="connsiteY1453" fmla="*/ 4472812 h 7571036"/>
                  <a:gd name="connsiteX1454" fmla="*/ 653878 w 6994525"/>
                  <a:gd name="connsiteY1454" fmla="*/ 4515961 h 7571036"/>
                  <a:gd name="connsiteX1455" fmla="*/ 696781 w 6994525"/>
                  <a:gd name="connsiteY1455" fmla="*/ 4472812 h 7571036"/>
                  <a:gd name="connsiteX1456" fmla="*/ 697518 w 6994525"/>
                  <a:gd name="connsiteY1456" fmla="*/ 1320228 h 7571036"/>
                  <a:gd name="connsiteX1457" fmla="*/ 675328 w 6994525"/>
                  <a:gd name="connsiteY1457" fmla="*/ 1298290 h 7571036"/>
                  <a:gd name="connsiteX1458" fmla="*/ 653135 w 6994525"/>
                  <a:gd name="connsiteY1458" fmla="*/ 1320228 h 7571036"/>
                  <a:gd name="connsiteX1459" fmla="*/ 675328 w 6994525"/>
                  <a:gd name="connsiteY1459" fmla="*/ 1342432 h 7571036"/>
                  <a:gd name="connsiteX1460" fmla="*/ 697518 w 6994525"/>
                  <a:gd name="connsiteY1460" fmla="*/ 1320228 h 7571036"/>
                  <a:gd name="connsiteX1461" fmla="*/ 703931 w 6994525"/>
                  <a:gd name="connsiteY1461" fmla="*/ 4082974 h 7571036"/>
                  <a:gd name="connsiteX1462" fmla="*/ 656588 w 6994525"/>
                  <a:gd name="connsiteY1462" fmla="*/ 4035631 h 7571036"/>
                  <a:gd name="connsiteX1463" fmla="*/ 609245 w 6994525"/>
                  <a:gd name="connsiteY1463" fmla="*/ 4082974 h 7571036"/>
                  <a:gd name="connsiteX1464" fmla="*/ 656588 w 6994525"/>
                  <a:gd name="connsiteY1464" fmla="*/ 4130317 h 7571036"/>
                  <a:gd name="connsiteX1465" fmla="*/ 703931 w 6994525"/>
                  <a:gd name="connsiteY1465" fmla="*/ 4082974 h 7571036"/>
                  <a:gd name="connsiteX1466" fmla="*/ 705655 w 6994525"/>
                  <a:gd name="connsiteY1466" fmla="*/ 497965 h 7571036"/>
                  <a:gd name="connsiteX1467" fmla="*/ 691601 w 6994525"/>
                  <a:gd name="connsiteY1467" fmla="*/ 483912 h 7571036"/>
                  <a:gd name="connsiteX1468" fmla="*/ 677546 w 6994525"/>
                  <a:gd name="connsiteY1468" fmla="*/ 497965 h 7571036"/>
                  <a:gd name="connsiteX1469" fmla="*/ 691601 w 6994525"/>
                  <a:gd name="connsiteY1469" fmla="*/ 512019 h 7571036"/>
                  <a:gd name="connsiteX1470" fmla="*/ 705655 w 6994525"/>
                  <a:gd name="connsiteY1470" fmla="*/ 497965 h 7571036"/>
                  <a:gd name="connsiteX1471" fmla="*/ 709850 w 6994525"/>
                  <a:gd name="connsiteY1471" fmla="*/ 4829607 h 7571036"/>
                  <a:gd name="connsiteX1472" fmla="*/ 684944 w 6994525"/>
                  <a:gd name="connsiteY1472" fmla="*/ 4804702 h 7571036"/>
                  <a:gd name="connsiteX1473" fmla="*/ 660041 w 6994525"/>
                  <a:gd name="connsiteY1473" fmla="*/ 4829607 h 7571036"/>
                  <a:gd name="connsiteX1474" fmla="*/ 684944 w 6994525"/>
                  <a:gd name="connsiteY1474" fmla="*/ 4854513 h 7571036"/>
                  <a:gd name="connsiteX1475" fmla="*/ 709850 w 6994525"/>
                  <a:gd name="connsiteY1475" fmla="*/ 4829607 h 7571036"/>
                  <a:gd name="connsiteX1476" fmla="*/ 711327 w 6994525"/>
                  <a:gd name="connsiteY1476" fmla="*/ 6013173 h 7571036"/>
                  <a:gd name="connsiteX1477" fmla="*/ 709603 w 6994525"/>
                  <a:gd name="connsiteY1477" fmla="*/ 6011445 h 7571036"/>
                  <a:gd name="connsiteX1478" fmla="*/ 707876 w 6994525"/>
                  <a:gd name="connsiteY1478" fmla="*/ 6013173 h 7571036"/>
                  <a:gd name="connsiteX1479" fmla="*/ 709603 w 6994525"/>
                  <a:gd name="connsiteY1479" fmla="*/ 6014899 h 7571036"/>
                  <a:gd name="connsiteX1480" fmla="*/ 711327 w 6994525"/>
                  <a:gd name="connsiteY1480" fmla="*/ 6013173 h 7571036"/>
                  <a:gd name="connsiteX1481" fmla="*/ 713794 w 6994525"/>
                  <a:gd name="connsiteY1481" fmla="*/ 1868352 h 7571036"/>
                  <a:gd name="connsiteX1482" fmla="*/ 698998 w 6994525"/>
                  <a:gd name="connsiteY1482" fmla="*/ 1853572 h 7571036"/>
                  <a:gd name="connsiteX1483" fmla="*/ 684204 w 6994525"/>
                  <a:gd name="connsiteY1483" fmla="*/ 1868352 h 7571036"/>
                  <a:gd name="connsiteX1484" fmla="*/ 698998 w 6994525"/>
                  <a:gd name="connsiteY1484" fmla="*/ 1883132 h 7571036"/>
                  <a:gd name="connsiteX1485" fmla="*/ 713794 w 6994525"/>
                  <a:gd name="connsiteY1485" fmla="*/ 1868352 h 7571036"/>
                  <a:gd name="connsiteX1486" fmla="*/ 716012 w 6994525"/>
                  <a:gd name="connsiteY1486" fmla="*/ 5089003 h 7571036"/>
                  <a:gd name="connsiteX1487" fmla="*/ 700231 w 6994525"/>
                  <a:gd name="connsiteY1487" fmla="*/ 5073222 h 7571036"/>
                  <a:gd name="connsiteX1488" fmla="*/ 684450 w 6994525"/>
                  <a:gd name="connsiteY1488" fmla="*/ 5089003 h 7571036"/>
                  <a:gd name="connsiteX1489" fmla="*/ 700231 w 6994525"/>
                  <a:gd name="connsiteY1489" fmla="*/ 5104784 h 7571036"/>
                  <a:gd name="connsiteX1490" fmla="*/ 716012 w 6994525"/>
                  <a:gd name="connsiteY1490" fmla="*/ 5089003 h 7571036"/>
                  <a:gd name="connsiteX1491" fmla="*/ 717493 w 6994525"/>
                  <a:gd name="connsiteY1491" fmla="*/ 2705829 h 7571036"/>
                  <a:gd name="connsiteX1492" fmla="*/ 697272 w 6994525"/>
                  <a:gd name="connsiteY1492" fmla="*/ 2685609 h 7571036"/>
                  <a:gd name="connsiteX1493" fmla="*/ 677054 w 6994525"/>
                  <a:gd name="connsiteY1493" fmla="*/ 2705829 h 7571036"/>
                  <a:gd name="connsiteX1494" fmla="*/ 697272 w 6994525"/>
                  <a:gd name="connsiteY1494" fmla="*/ 2726049 h 7571036"/>
                  <a:gd name="connsiteX1495" fmla="*/ 717493 w 6994525"/>
                  <a:gd name="connsiteY1495" fmla="*/ 2705829 h 7571036"/>
                  <a:gd name="connsiteX1496" fmla="*/ 719216 w 6994525"/>
                  <a:gd name="connsiteY1496" fmla="*/ 2321905 h 7571036"/>
                  <a:gd name="connsiteX1497" fmla="*/ 715519 w 6994525"/>
                  <a:gd name="connsiteY1497" fmla="*/ 2318217 h 7571036"/>
                  <a:gd name="connsiteX1498" fmla="*/ 711820 w 6994525"/>
                  <a:gd name="connsiteY1498" fmla="*/ 2321905 h 7571036"/>
                  <a:gd name="connsiteX1499" fmla="*/ 715519 w 6994525"/>
                  <a:gd name="connsiteY1499" fmla="*/ 2325599 h 7571036"/>
                  <a:gd name="connsiteX1500" fmla="*/ 719216 w 6994525"/>
                  <a:gd name="connsiteY1500" fmla="*/ 2321905 h 7571036"/>
                  <a:gd name="connsiteX1501" fmla="*/ 719957 w 6994525"/>
                  <a:gd name="connsiteY1501" fmla="*/ 1467911 h 7571036"/>
                  <a:gd name="connsiteX1502" fmla="*/ 700725 w 6994525"/>
                  <a:gd name="connsiteY1502" fmla="*/ 1448672 h 7571036"/>
                  <a:gd name="connsiteX1503" fmla="*/ 681245 w 6994525"/>
                  <a:gd name="connsiteY1503" fmla="*/ 1467911 h 7571036"/>
                  <a:gd name="connsiteX1504" fmla="*/ 700725 w 6994525"/>
                  <a:gd name="connsiteY1504" fmla="*/ 1487143 h 7571036"/>
                  <a:gd name="connsiteX1505" fmla="*/ 719957 w 6994525"/>
                  <a:gd name="connsiteY1505" fmla="*/ 1467911 h 7571036"/>
                  <a:gd name="connsiteX1506" fmla="*/ 719959 w 6994525"/>
                  <a:gd name="connsiteY1506" fmla="*/ 634783 h 7571036"/>
                  <a:gd name="connsiteX1507" fmla="*/ 705411 w 6994525"/>
                  <a:gd name="connsiteY1507" fmla="*/ 620235 h 7571036"/>
                  <a:gd name="connsiteX1508" fmla="*/ 690863 w 6994525"/>
                  <a:gd name="connsiteY1508" fmla="*/ 634783 h 7571036"/>
                  <a:gd name="connsiteX1509" fmla="*/ 705411 w 6994525"/>
                  <a:gd name="connsiteY1509" fmla="*/ 649399 h 7571036"/>
                  <a:gd name="connsiteX1510" fmla="*/ 719959 w 6994525"/>
                  <a:gd name="connsiteY1510" fmla="*/ 634783 h 7571036"/>
                  <a:gd name="connsiteX1511" fmla="*/ 722670 w 6994525"/>
                  <a:gd name="connsiteY1511" fmla="*/ 944500 h 7571036"/>
                  <a:gd name="connsiteX1512" fmla="*/ 707875 w 6994525"/>
                  <a:gd name="connsiteY1512" fmla="*/ 929705 h 7571036"/>
                  <a:gd name="connsiteX1513" fmla="*/ 693081 w 6994525"/>
                  <a:gd name="connsiteY1513" fmla="*/ 944500 h 7571036"/>
                  <a:gd name="connsiteX1514" fmla="*/ 707875 w 6994525"/>
                  <a:gd name="connsiteY1514" fmla="*/ 959302 h 7571036"/>
                  <a:gd name="connsiteX1515" fmla="*/ 722670 w 6994525"/>
                  <a:gd name="connsiteY1515" fmla="*/ 944500 h 7571036"/>
                  <a:gd name="connsiteX1516" fmla="*/ 730068 w 6994525"/>
                  <a:gd name="connsiteY1516" fmla="*/ 4581552 h 7571036"/>
                  <a:gd name="connsiteX1517" fmla="*/ 694561 w 6994525"/>
                  <a:gd name="connsiteY1517" fmla="*/ 4545799 h 7571036"/>
                  <a:gd name="connsiteX1518" fmla="*/ 659054 w 6994525"/>
                  <a:gd name="connsiteY1518" fmla="*/ 4581552 h 7571036"/>
                  <a:gd name="connsiteX1519" fmla="*/ 694561 w 6994525"/>
                  <a:gd name="connsiteY1519" fmla="*/ 4617059 h 7571036"/>
                  <a:gd name="connsiteX1520" fmla="*/ 730068 w 6994525"/>
                  <a:gd name="connsiteY1520" fmla="*/ 4581552 h 7571036"/>
                  <a:gd name="connsiteX1521" fmla="*/ 730315 w 6994525"/>
                  <a:gd name="connsiteY1521" fmla="*/ 4195907 h 7571036"/>
                  <a:gd name="connsiteX1522" fmla="*/ 682972 w 6994525"/>
                  <a:gd name="connsiteY1522" fmla="*/ 4148319 h 7571036"/>
                  <a:gd name="connsiteX1523" fmla="*/ 635629 w 6994525"/>
                  <a:gd name="connsiteY1523" fmla="*/ 4195907 h 7571036"/>
                  <a:gd name="connsiteX1524" fmla="*/ 682972 w 6994525"/>
                  <a:gd name="connsiteY1524" fmla="*/ 4243250 h 7571036"/>
                  <a:gd name="connsiteX1525" fmla="*/ 730315 w 6994525"/>
                  <a:gd name="connsiteY1525" fmla="*/ 4195907 h 7571036"/>
                  <a:gd name="connsiteX1526" fmla="*/ 734751 w 6994525"/>
                  <a:gd name="connsiteY1526" fmla="*/ 5871141 h 7571036"/>
                  <a:gd name="connsiteX1527" fmla="*/ 728588 w 6994525"/>
                  <a:gd name="connsiteY1527" fmla="*/ 5864977 h 7571036"/>
                  <a:gd name="connsiteX1528" fmla="*/ 722670 w 6994525"/>
                  <a:gd name="connsiteY1528" fmla="*/ 5871141 h 7571036"/>
                  <a:gd name="connsiteX1529" fmla="*/ 728588 w 6994525"/>
                  <a:gd name="connsiteY1529" fmla="*/ 5877307 h 7571036"/>
                  <a:gd name="connsiteX1530" fmla="*/ 734751 w 6994525"/>
                  <a:gd name="connsiteY1530" fmla="*/ 5871141 h 7571036"/>
                  <a:gd name="connsiteX1531" fmla="*/ 735247 w 6994525"/>
                  <a:gd name="connsiteY1531" fmla="*/ 773405 h 7571036"/>
                  <a:gd name="connsiteX1532" fmla="*/ 720451 w 6994525"/>
                  <a:gd name="connsiteY1532" fmla="*/ 758361 h 7571036"/>
                  <a:gd name="connsiteX1533" fmla="*/ 705411 w 6994525"/>
                  <a:gd name="connsiteY1533" fmla="*/ 773405 h 7571036"/>
                  <a:gd name="connsiteX1534" fmla="*/ 720451 w 6994525"/>
                  <a:gd name="connsiteY1534" fmla="*/ 788199 h 7571036"/>
                  <a:gd name="connsiteX1535" fmla="*/ 735247 w 6994525"/>
                  <a:gd name="connsiteY1535" fmla="*/ 773405 h 7571036"/>
                  <a:gd name="connsiteX1536" fmla="*/ 737959 w 6994525"/>
                  <a:gd name="connsiteY1536" fmla="*/ 5489442 h 7571036"/>
                  <a:gd name="connsiteX1537" fmla="*/ 702204 w 6994525"/>
                  <a:gd name="connsiteY1537" fmla="*/ 5453689 h 7571036"/>
                  <a:gd name="connsiteX1538" fmla="*/ 666451 w 6994525"/>
                  <a:gd name="connsiteY1538" fmla="*/ 5489442 h 7571036"/>
                  <a:gd name="connsiteX1539" fmla="*/ 702204 w 6994525"/>
                  <a:gd name="connsiteY1539" fmla="*/ 5525195 h 7571036"/>
                  <a:gd name="connsiteX1540" fmla="*/ 737959 w 6994525"/>
                  <a:gd name="connsiteY1540" fmla="*/ 5489442 h 7571036"/>
                  <a:gd name="connsiteX1541" fmla="*/ 738205 w 6994525"/>
                  <a:gd name="connsiteY1541" fmla="*/ 6499171 h 7571036"/>
                  <a:gd name="connsiteX1542" fmla="*/ 736478 w 6994525"/>
                  <a:gd name="connsiteY1542" fmla="*/ 6497443 h 7571036"/>
                  <a:gd name="connsiteX1543" fmla="*/ 734506 w 6994525"/>
                  <a:gd name="connsiteY1543" fmla="*/ 6499171 h 7571036"/>
                  <a:gd name="connsiteX1544" fmla="*/ 736478 w 6994525"/>
                  <a:gd name="connsiteY1544" fmla="*/ 6500897 h 7571036"/>
                  <a:gd name="connsiteX1545" fmla="*/ 738205 w 6994525"/>
                  <a:gd name="connsiteY1545" fmla="*/ 6499171 h 7571036"/>
                  <a:gd name="connsiteX1546" fmla="*/ 739437 w 6994525"/>
                  <a:gd name="connsiteY1546" fmla="*/ 3449997 h 7571036"/>
                  <a:gd name="connsiteX1547" fmla="*/ 701466 w 6994525"/>
                  <a:gd name="connsiteY1547" fmla="*/ 3412039 h 7571036"/>
                  <a:gd name="connsiteX1548" fmla="*/ 663492 w 6994525"/>
                  <a:gd name="connsiteY1548" fmla="*/ 3449997 h 7571036"/>
                  <a:gd name="connsiteX1549" fmla="*/ 701466 w 6994525"/>
                  <a:gd name="connsiteY1549" fmla="*/ 3487742 h 7571036"/>
                  <a:gd name="connsiteX1550" fmla="*/ 739437 w 6994525"/>
                  <a:gd name="connsiteY1550" fmla="*/ 3449997 h 7571036"/>
                  <a:gd name="connsiteX1551" fmla="*/ 740178 w 6994525"/>
                  <a:gd name="connsiteY1551" fmla="*/ 3334095 h 7571036"/>
                  <a:gd name="connsiteX1552" fmla="*/ 705162 w 6994525"/>
                  <a:gd name="connsiteY1552" fmla="*/ 3299101 h 7571036"/>
                  <a:gd name="connsiteX1553" fmla="*/ 670150 w 6994525"/>
                  <a:gd name="connsiteY1553" fmla="*/ 3334095 h 7571036"/>
                  <a:gd name="connsiteX1554" fmla="*/ 705162 w 6994525"/>
                  <a:gd name="connsiteY1554" fmla="*/ 3369062 h 7571036"/>
                  <a:gd name="connsiteX1555" fmla="*/ 740178 w 6994525"/>
                  <a:gd name="connsiteY1555" fmla="*/ 3334095 h 7571036"/>
                  <a:gd name="connsiteX1556" fmla="*/ 742396 w 6994525"/>
                  <a:gd name="connsiteY1556" fmla="*/ 3565905 h 7571036"/>
                  <a:gd name="connsiteX1557" fmla="*/ 702695 w 6994525"/>
                  <a:gd name="connsiteY1557" fmla="*/ 3526207 h 7571036"/>
                  <a:gd name="connsiteX1558" fmla="*/ 662998 w 6994525"/>
                  <a:gd name="connsiteY1558" fmla="*/ 3565905 h 7571036"/>
                  <a:gd name="connsiteX1559" fmla="*/ 702695 w 6994525"/>
                  <a:gd name="connsiteY1559" fmla="*/ 3605606 h 7571036"/>
                  <a:gd name="connsiteX1560" fmla="*/ 742396 w 6994525"/>
                  <a:gd name="connsiteY1560" fmla="*/ 3565905 h 7571036"/>
                  <a:gd name="connsiteX1561" fmla="*/ 744616 w 6994525"/>
                  <a:gd name="connsiteY1561" fmla="*/ 1086265 h 7571036"/>
                  <a:gd name="connsiteX1562" fmla="*/ 726861 w 6994525"/>
                  <a:gd name="connsiteY1562" fmla="*/ 1068504 h 7571036"/>
                  <a:gd name="connsiteX1563" fmla="*/ 709108 w 6994525"/>
                  <a:gd name="connsiteY1563" fmla="*/ 1086265 h 7571036"/>
                  <a:gd name="connsiteX1564" fmla="*/ 726861 w 6994525"/>
                  <a:gd name="connsiteY1564" fmla="*/ 1104018 h 7571036"/>
                  <a:gd name="connsiteX1565" fmla="*/ 744616 w 6994525"/>
                  <a:gd name="connsiteY1565" fmla="*/ 1086265 h 7571036"/>
                  <a:gd name="connsiteX1566" fmla="*/ 745354 w 6994525"/>
                  <a:gd name="connsiteY1566" fmla="*/ 3218474 h 7571036"/>
                  <a:gd name="connsiteX1567" fmla="*/ 713298 w 6994525"/>
                  <a:gd name="connsiteY1567" fmla="*/ 3186418 h 7571036"/>
                  <a:gd name="connsiteX1568" fmla="*/ 681245 w 6994525"/>
                  <a:gd name="connsiteY1568" fmla="*/ 3218474 h 7571036"/>
                  <a:gd name="connsiteX1569" fmla="*/ 713298 w 6994525"/>
                  <a:gd name="connsiteY1569" fmla="*/ 3250524 h 7571036"/>
                  <a:gd name="connsiteX1570" fmla="*/ 745354 w 6994525"/>
                  <a:gd name="connsiteY1570" fmla="*/ 3218474 h 7571036"/>
                  <a:gd name="connsiteX1571" fmla="*/ 747575 w 6994525"/>
                  <a:gd name="connsiteY1571" fmla="*/ 2594862 h 7571036"/>
                  <a:gd name="connsiteX1572" fmla="*/ 730560 w 6994525"/>
                  <a:gd name="connsiteY1572" fmla="*/ 2577847 h 7571036"/>
                  <a:gd name="connsiteX1573" fmla="*/ 713547 w 6994525"/>
                  <a:gd name="connsiteY1573" fmla="*/ 2594862 h 7571036"/>
                  <a:gd name="connsiteX1574" fmla="*/ 730560 w 6994525"/>
                  <a:gd name="connsiteY1574" fmla="*/ 2611877 h 7571036"/>
                  <a:gd name="connsiteX1575" fmla="*/ 747575 w 6994525"/>
                  <a:gd name="connsiteY1575" fmla="*/ 2594862 h 7571036"/>
                  <a:gd name="connsiteX1576" fmla="*/ 749546 w 6994525"/>
                  <a:gd name="connsiteY1576" fmla="*/ 1616819 h 7571036"/>
                  <a:gd name="connsiteX1577" fmla="*/ 728587 w 6994525"/>
                  <a:gd name="connsiteY1577" fmla="*/ 1595864 h 7571036"/>
                  <a:gd name="connsiteX1578" fmla="*/ 707629 w 6994525"/>
                  <a:gd name="connsiteY1578" fmla="*/ 1616819 h 7571036"/>
                  <a:gd name="connsiteX1579" fmla="*/ 728587 w 6994525"/>
                  <a:gd name="connsiteY1579" fmla="*/ 1637783 h 7571036"/>
                  <a:gd name="connsiteX1580" fmla="*/ 749546 w 6994525"/>
                  <a:gd name="connsiteY1580" fmla="*/ 1616819 h 7571036"/>
                  <a:gd name="connsiteX1581" fmla="*/ 750286 w 6994525"/>
                  <a:gd name="connsiteY1581" fmla="*/ 3681549 h 7571036"/>
                  <a:gd name="connsiteX1582" fmla="*/ 708861 w 6994525"/>
                  <a:gd name="connsiteY1582" fmla="*/ 3640123 h 7571036"/>
                  <a:gd name="connsiteX1583" fmla="*/ 667437 w 6994525"/>
                  <a:gd name="connsiteY1583" fmla="*/ 3681549 h 7571036"/>
                  <a:gd name="connsiteX1584" fmla="*/ 708861 w 6994525"/>
                  <a:gd name="connsiteY1584" fmla="*/ 3722973 h 7571036"/>
                  <a:gd name="connsiteX1585" fmla="*/ 750286 w 6994525"/>
                  <a:gd name="connsiteY1585" fmla="*/ 3681549 h 7571036"/>
                  <a:gd name="connsiteX1586" fmla="*/ 751273 w 6994525"/>
                  <a:gd name="connsiteY1586" fmla="*/ 6363061 h 7571036"/>
                  <a:gd name="connsiteX1587" fmla="*/ 749300 w 6994525"/>
                  <a:gd name="connsiteY1587" fmla="*/ 6361088 h 7571036"/>
                  <a:gd name="connsiteX1588" fmla="*/ 747328 w 6994525"/>
                  <a:gd name="connsiteY1588" fmla="*/ 6363061 h 7571036"/>
                  <a:gd name="connsiteX1589" fmla="*/ 749300 w 6994525"/>
                  <a:gd name="connsiteY1589" fmla="*/ 6365034 h 7571036"/>
                  <a:gd name="connsiteX1590" fmla="*/ 751273 w 6994525"/>
                  <a:gd name="connsiteY1590" fmla="*/ 6363061 h 7571036"/>
                  <a:gd name="connsiteX1591" fmla="*/ 751768 w 6994525"/>
                  <a:gd name="connsiteY1591" fmla="*/ 2024525 h 7571036"/>
                  <a:gd name="connsiteX1592" fmla="*/ 736479 w 6994525"/>
                  <a:gd name="connsiteY1592" fmla="*/ 2009239 h 7571036"/>
                  <a:gd name="connsiteX1593" fmla="*/ 721192 w 6994525"/>
                  <a:gd name="connsiteY1593" fmla="*/ 2024525 h 7571036"/>
                  <a:gd name="connsiteX1594" fmla="*/ 736479 w 6994525"/>
                  <a:gd name="connsiteY1594" fmla="*/ 2039815 h 7571036"/>
                  <a:gd name="connsiteX1595" fmla="*/ 751768 w 6994525"/>
                  <a:gd name="connsiteY1595" fmla="*/ 2024525 h 7571036"/>
                  <a:gd name="connsiteX1596" fmla="*/ 753245 w 6994525"/>
                  <a:gd name="connsiteY1596" fmla="*/ 4933170 h 7571036"/>
                  <a:gd name="connsiteX1597" fmla="*/ 737713 w 6994525"/>
                  <a:gd name="connsiteY1597" fmla="*/ 4917635 h 7571036"/>
                  <a:gd name="connsiteX1598" fmla="*/ 722178 w 6994525"/>
                  <a:gd name="connsiteY1598" fmla="*/ 4933170 h 7571036"/>
                  <a:gd name="connsiteX1599" fmla="*/ 737713 w 6994525"/>
                  <a:gd name="connsiteY1599" fmla="*/ 4948706 h 7571036"/>
                  <a:gd name="connsiteX1600" fmla="*/ 753245 w 6994525"/>
                  <a:gd name="connsiteY1600" fmla="*/ 4933170 h 7571036"/>
                  <a:gd name="connsiteX1601" fmla="*/ 754725 w 6994525"/>
                  <a:gd name="connsiteY1601" fmla="*/ 5727636 h 7571036"/>
                  <a:gd name="connsiteX1602" fmla="*/ 749054 w 6994525"/>
                  <a:gd name="connsiteY1602" fmla="*/ 5722209 h 7571036"/>
                  <a:gd name="connsiteX1603" fmla="*/ 743382 w 6994525"/>
                  <a:gd name="connsiteY1603" fmla="*/ 5727636 h 7571036"/>
                  <a:gd name="connsiteX1604" fmla="*/ 749054 w 6994525"/>
                  <a:gd name="connsiteY1604" fmla="*/ 5733305 h 7571036"/>
                  <a:gd name="connsiteX1605" fmla="*/ 754725 w 6994525"/>
                  <a:gd name="connsiteY1605" fmla="*/ 5727636 h 7571036"/>
                  <a:gd name="connsiteX1606" fmla="*/ 755463 w 6994525"/>
                  <a:gd name="connsiteY1606" fmla="*/ 3103071 h 7571036"/>
                  <a:gd name="connsiteX1607" fmla="*/ 726369 w 6994525"/>
                  <a:gd name="connsiteY1607" fmla="*/ 3073972 h 7571036"/>
                  <a:gd name="connsiteX1608" fmla="*/ 697272 w 6994525"/>
                  <a:gd name="connsiteY1608" fmla="*/ 3103071 h 7571036"/>
                  <a:gd name="connsiteX1609" fmla="*/ 726369 w 6994525"/>
                  <a:gd name="connsiteY1609" fmla="*/ 3132168 h 7571036"/>
                  <a:gd name="connsiteX1610" fmla="*/ 755463 w 6994525"/>
                  <a:gd name="connsiteY1610" fmla="*/ 3103071 h 7571036"/>
                  <a:gd name="connsiteX1611" fmla="*/ 757682 w 6994525"/>
                  <a:gd name="connsiteY1611" fmla="*/ 5339773 h 7571036"/>
                  <a:gd name="connsiteX1612" fmla="*/ 729819 w 6994525"/>
                  <a:gd name="connsiteY1612" fmla="*/ 5311910 h 7571036"/>
                  <a:gd name="connsiteX1613" fmla="*/ 701957 w 6994525"/>
                  <a:gd name="connsiteY1613" fmla="*/ 5339773 h 7571036"/>
                  <a:gd name="connsiteX1614" fmla="*/ 729819 w 6994525"/>
                  <a:gd name="connsiteY1614" fmla="*/ 5367884 h 7571036"/>
                  <a:gd name="connsiteX1615" fmla="*/ 757682 w 6994525"/>
                  <a:gd name="connsiteY1615" fmla="*/ 5339773 h 7571036"/>
                  <a:gd name="connsiteX1616" fmla="*/ 760890 w 6994525"/>
                  <a:gd name="connsiteY1616" fmla="*/ 4307609 h 7571036"/>
                  <a:gd name="connsiteX1617" fmla="*/ 714041 w 6994525"/>
                  <a:gd name="connsiteY1617" fmla="*/ 4260512 h 7571036"/>
                  <a:gd name="connsiteX1618" fmla="*/ 667191 w 6994525"/>
                  <a:gd name="connsiteY1618" fmla="*/ 4307609 h 7571036"/>
                  <a:gd name="connsiteX1619" fmla="*/ 714041 w 6994525"/>
                  <a:gd name="connsiteY1619" fmla="*/ 4354456 h 7571036"/>
                  <a:gd name="connsiteX1620" fmla="*/ 760890 w 6994525"/>
                  <a:gd name="connsiteY1620" fmla="*/ 4307609 h 7571036"/>
                  <a:gd name="connsiteX1621" fmla="*/ 762614 w 6994525"/>
                  <a:gd name="connsiteY1621" fmla="*/ 3797193 h 7571036"/>
                  <a:gd name="connsiteX1622" fmla="*/ 719711 w 6994525"/>
                  <a:gd name="connsiteY1622" fmla="*/ 3754289 h 7571036"/>
                  <a:gd name="connsiteX1623" fmla="*/ 676560 w 6994525"/>
                  <a:gd name="connsiteY1623" fmla="*/ 3797193 h 7571036"/>
                  <a:gd name="connsiteX1624" fmla="*/ 719711 w 6994525"/>
                  <a:gd name="connsiteY1624" fmla="*/ 3840344 h 7571036"/>
                  <a:gd name="connsiteX1625" fmla="*/ 762614 w 6994525"/>
                  <a:gd name="connsiteY1625" fmla="*/ 3797193 h 7571036"/>
                  <a:gd name="connsiteX1626" fmla="*/ 765327 w 6994525"/>
                  <a:gd name="connsiteY1626" fmla="*/ 4688317 h 7571036"/>
                  <a:gd name="connsiteX1627" fmla="*/ 739191 w 6994525"/>
                  <a:gd name="connsiteY1627" fmla="*/ 4662182 h 7571036"/>
                  <a:gd name="connsiteX1628" fmla="*/ 713053 w 6994525"/>
                  <a:gd name="connsiteY1628" fmla="*/ 4688317 h 7571036"/>
                  <a:gd name="connsiteX1629" fmla="*/ 739191 w 6994525"/>
                  <a:gd name="connsiteY1629" fmla="*/ 4714456 h 7571036"/>
                  <a:gd name="connsiteX1630" fmla="*/ 765327 w 6994525"/>
                  <a:gd name="connsiteY1630" fmla="*/ 4688317 h 7571036"/>
                  <a:gd name="connsiteX1631" fmla="*/ 766313 w 6994525"/>
                  <a:gd name="connsiteY1631" fmla="*/ 6225719 h 7571036"/>
                  <a:gd name="connsiteX1632" fmla="*/ 763354 w 6994525"/>
                  <a:gd name="connsiteY1632" fmla="*/ 6222759 h 7571036"/>
                  <a:gd name="connsiteX1633" fmla="*/ 760150 w 6994525"/>
                  <a:gd name="connsiteY1633" fmla="*/ 6225719 h 7571036"/>
                  <a:gd name="connsiteX1634" fmla="*/ 763354 w 6994525"/>
                  <a:gd name="connsiteY1634" fmla="*/ 6228678 h 7571036"/>
                  <a:gd name="connsiteX1635" fmla="*/ 766313 w 6994525"/>
                  <a:gd name="connsiteY1635" fmla="*/ 6225719 h 7571036"/>
                  <a:gd name="connsiteX1636" fmla="*/ 768286 w 6994525"/>
                  <a:gd name="connsiteY1636" fmla="*/ 1229500 h 7571036"/>
                  <a:gd name="connsiteX1637" fmla="*/ 747573 w 6994525"/>
                  <a:gd name="connsiteY1637" fmla="*/ 1208785 h 7571036"/>
                  <a:gd name="connsiteX1638" fmla="*/ 726616 w 6994525"/>
                  <a:gd name="connsiteY1638" fmla="*/ 1229500 h 7571036"/>
                  <a:gd name="connsiteX1639" fmla="*/ 747573 w 6994525"/>
                  <a:gd name="connsiteY1639" fmla="*/ 1250452 h 7571036"/>
                  <a:gd name="connsiteX1640" fmla="*/ 768286 w 6994525"/>
                  <a:gd name="connsiteY1640" fmla="*/ 1229500 h 7571036"/>
                  <a:gd name="connsiteX1641" fmla="*/ 769519 w 6994525"/>
                  <a:gd name="connsiteY1641" fmla="*/ 2988406 h 7571036"/>
                  <a:gd name="connsiteX1642" fmla="*/ 744369 w 6994525"/>
                  <a:gd name="connsiteY1642" fmla="*/ 2963252 h 7571036"/>
                  <a:gd name="connsiteX1643" fmla="*/ 719217 w 6994525"/>
                  <a:gd name="connsiteY1643" fmla="*/ 2988406 h 7571036"/>
                  <a:gd name="connsiteX1644" fmla="*/ 744369 w 6994525"/>
                  <a:gd name="connsiteY1644" fmla="*/ 3013558 h 7571036"/>
                  <a:gd name="connsiteX1645" fmla="*/ 769519 w 6994525"/>
                  <a:gd name="connsiteY1645" fmla="*/ 2988406 h 7571036"/>
                  <a:gd name="connsiteX1646" fmla="*/ 769766 w 6994525"/>
                  <a:gd name="connsiteY1646" fmla="*/ 2485137 h 7571036"/>
                  <a:gd name="connsiteX1647" fmla="*/ 768040 w 6994525"/>
                  <a:gd name="connsiteY1647" fmla="*/ 2483415 h 7571036"/>
                  <a:gd name="connsiteX1648" fmla="*/ 766313 w 6994525"/>
                  <a:gd name="connsiteY1648" fmla="*/ 2485137 h 7571036"/>
                  <a:gd name="connsiteX1649" fmla="*/ 768040 w 6994525"/>
                  <a:gd name="connsiteY1649" fmla="*/ 2486865 h 7571036"/>
                  <a:gd name="connsiteX1650" fmla="*/ 769766 w 6994525"/>
                  <a:gd name="connsiteY1650" fmla="*/ 2485137 h 7571036"/>
                  <a:gd name="connsiteX1651" fmla="*/ 775191 w 6994525"/>
                  <a:gd name="connsiteY1651" fmla="*/ 2216151 h 7571036"/>
                  <a:gd name="connsiteX1652" fmla="*/ 762369 w 6994525"/>
                  <a:gd name="connsiteY1652" fmla="*/ 2203327 h 7571036"/>
                  <a:gd name="connsiteX1653" fmla="*/ 749547 w 6994525"/>
                  <a:gd name="connsiteY1653" fmla="*/ 2216151 h 7571036"/>
                  <a:gd name="connsiteX1654" fmla="*/ 762369 w 6994525"/>
                  <a:gd name="connsiteY1654" fmla="*/ 2228971 h 7571036"/>
                  <a:gd name="connsiteX1655" fmla="*/ 775191 w 6994525"/>
                  <a:gd name="connsiteY1655" fmla="*/ 2216151 h 7571036"/>
                  <a:gd name="connsiteX1656" fmla="*/ 776424 w 6994525"/>
                  <a:gd name="connsiteY1656" fmla="*/ 1768737 h 7571036"/>
                  <a:gd name="connsiteX1657" fmla="*/ 759165 w 6994525"/>
                  <a:gd name="connsiteY1657" fmla="*/ 1751452 h 7571036"/>
                  <a:gd name="connsiteX1658" fmla="*/ 741904 w 6994525"/>
                  <a:gd name="connsiteY1658" fmla="*/ 1768737 h 7571036"/>
                  <a:gd name="connsiteX1659" fmla="*/ 759165 w 6994525"/>
                  <a:gd name="connsiteY1659" fmla="*/ 1785965 h 7571036"/>
                  <a:gd name="connsiteX1660" fmla="*/ 776424 w 6994525"/>
                  <a:gd name="connsiteY1660" fmla="*/ 1768737 h 7571036"/>
                  <a:gd name="connsiteX1661" fmla="*/ 779627 w 6994525"/>
                  <a:gd name="connsiteY1661" fmla="*/ 5188623 h 7571036"/>
                  <a:gd name="connsiteX1662" fmla="*/ 760395 w 6994525"/>
                  <a:gd name="connsiteY1662" fmla="*/ 5169142 h 7571036"/>
                  <a:gd name="connsiteX1663" fmla="*/ 740916 w 6994525"/>
                  <a:gd name="connsiteY1663" fmla="*/ 5188623 h 7571036"/>
                  <a:gd name="connsiteX1664" fmla="*/ 760395 w 6994525"/>
                  <a:gd name="connsiteY1664" fmla="*/ 5207854 h 7571036"/>
                  <a:gd name="connsiteX1665" fmla="*/ 779627 w 6994525"/>
                  <a:gd name="connsiteY1665" fmla="*/ 5188623 h 7571036"/>
                  <a:gd name="connsiteX1666" fmla="*/ 779875 w 6994525"/>
                  <a:gd name="connsiteY1666" fmla="*/ 3912097 h 7571036"/>
                  <a:gd name="connsiteX1667" fmla="*/ 735244 w 6994525"/>
                  <a:gd name="connsiteY1667" fmla="*/ 3867468 h 7571036"/>
                  <a:gd name="connsiteX1668" fmla="*/ 690614 w 6994525"/>
                  <a:gd name="connsiteY1668" fmla="*/ 3912097 h 7571036"/>
                  <a:gd name="connsiteX1669" fmla="*/ 735244 w 6994525"/>
                  <a:gd name="connsiteY1669" fmla="*/ 3956727 h 7571036"/>
                  <a:gd name="connsiteX1670" fmla="*/ 779875 w 6994525"/>
                  <a:gd name="connsiteY1670" fmla="*/ 3912097 h 7571036"/>
                  <a:gd name="connsiteX1671" fmla="*/ 787272 w 6994525"/>
                  <a:gd name="connsiteY1671" fmla="*/ 2874726 h 7571036"/>
                  <a:gd name="connsiteX1672" fmla="*/ 767054 w 6994525"/>
                  <a:gd name="connsiteY1672" fmla="*/ 2854507 h 7571036"/>
                  <a:gd name="connsiteX1673" fmla="*/ 746588 w 6994525"/>
                  <a:gd name="connsiteY1673" fmla="*/ 2874726 h 7571036"/>
                  <a:gd name="connsiteX1674" fmla="*/ 767054 w 6994525"/>
                  <a:gd name="connsiteY1674" fmla="*/ 2894949 h 7571036"/>
                  <a:gd name="connsiteX1675" fmla="*/ 787272 w 6994525"/>
                  <a:gd name="connsiteY1675" fmla="*/ 2874726 h 7571036"/>
                  <a:gd name="connsiteX1676" fmla="*/ 789738 w 6994525"/>
                  <a:gd name="connsiteY1676" fmla="*/ 1374959 h 7571036"/>
                  <a:gd name="connsiteX1677" fmla="*/ 770261 w 6994525"/>
                  <a:gd name="connsiteY1677" fmla="*/ 1355468 h 7571036"/>
                  <a:gd name="connsiteX1678" fmla="*/ 750781 w 6994525"/>
                  <a:gd name="connsiteY1678" fmla="*/ 1374959 h 7571036"/>
                  <a:gd name="connsiteX1679" fmla="*/ 770261 w 6994525"/>
                  <a:gd name="connsiteY1679" fmla="*/ 1394430 h 7571036"/>
                  <a:gd name="connsiteX1680" fmla="*/ 789738 w 6994525"/>
                  <a:gd name="connsiteY1680" fmla="*/ 1374959 h 7571036"/>
                  <a:gd name="connsiteX1681" fmla="*/ 790971 w 6994525"/>
                  <a:gd name="connsiteY1681" fmla="*/ 6097499 h 7571036"/>
                  <a:gd name="connsiteX1682" fmla="*/ 788998 w 6994525"/>
                  <a:gd name="connsiteY1682" fmla="*/ 6095526 h 7571036"/>
                  <a:gd name="connsiteX1683" fmla="*/ 787026 w 6994525"/>
                  <a:gd name="connsiteY1683" fmla="*/ 6097499 h 7571036"/>
                  <a:gd name="connsiteX1684" fmla="*/ 788998 w 6994525"/>
                  <a:gd name="connsiteY1684" fmla="*/ 6099472 h 7571036"/>
                  <a:gd name="connsiteX1685" fmla="*/ 790971 w 6994525"/>
                  <a:gd name="connsiteY1685" fmla="*/ 6097499 h 7571036"/>
                  <a:gd name="connsiteX1686" fmla="*/ 791216 w 6994525"/>
                  <a:gd name="connsiteY1686" fmla="*/ 419558 h 7571036"/>
                  <a:gd name="connsiteX1687" fmla="*/ 777162 w 6994525"/>
                  <a:gd name="connsiteY1687" fmla="*/ 405505 h 7571036"/>
                  <a:gd name="connsiteX1688" fmla="*/ 763109 w 6994525"/>
                  <a:gd name="connsiteY1688" fmla="*/ 419558 h 7571036"/>
                  <a:gd name="connsiteX1689" fmla="*/ 777162 w 6994525"/>
                  <a:gd name="connsiteY1689" fmla="*/ 433613 h 7571036"/>
                  <a:gd name="connsiteX1690" fmla="*/ 791216 w 6994525"/>
                  <a:gd name="connsiteY1690" fmla="*/ 419558 h 7571036"/>
                  <a:gd name="connsiteX1691" fmla="*/ 795656 w 6994525"/>
                  <a:gd name="connsiteY1691" fmla="*/ 4417825 h 7571036"/>
                  <a:gd name="connsiteX1692" fmla="*/ 749547 w 6994525"/>
                  <a:gd name="connsiteY1692" fmla="*/ 4371715 h 7571036"/>
                  <a:gd name="connsiteX1693" fmla="*/ 703436 w 6994525"/>
                  <a:gd name="connsiteY1693" fmla="*/ 4417825 h 7571036"/>
                  <a:gd name="connsiteX1694" fmla="*/ 749547 w 6994525"/>
                  <a:gd name="connsiteY1694" fmla="*/ 4463936 h 7571036"/>
                  <a:gd name="connsiteX1695" fmla="*/ 795656 w 6994525"/>
                  <a:gd name="connsiteY1695" fmla="*/ 4417825 h 7571036"/>
                  <a:gd name="connsiteX1696" fmla="*/ 800836 w 6994525"/>
                  <a:gd name="connsiteY1696" fmla="*/ 4026509 h 7571036"/>
                  <a:gd name="connsiteX1697" fmla="*/ 755712 w 6994525"/>
                  <a:gd name="connsiteY1697" fmla="*/ 3981385 h 7571036"/>
                  <a:gd name="connsiteX1698" fmla="*/ 710588 w 6994525"/>
                  <a:gd name="connsiteY1698" fmla="*/ 4026509 h 7571036"/>
                  <a:gd name="connsiteX1699" fmla="*/ 755712 w 6994525"/>
                  <a:gd name="connsiteY1699" fmla="*/ 4071633 h 7571036"/>
                  <a:gd name="connsiteX1700" fmla="*/ 800836 w 6994525"/>
                  <a:gd name="connsiteY1700" fmla="*/ 4026509 h 7571036"/>
                  <a:gd name="connsiteX1701" fmla="*/ 801820 w 6994525"/>
                  <a:gd name="connsiteY1701" fmla="*/ 859921 h 7571036"/>
                  <a:gd name="connsiteX1702" fmla="*/ 787025 w 6994525"/>
                  <a:gd name="connsiteY1702" fmla="*/ 845138 h 7571036"/>
                  <a:gd name="connsiteX1703" fmla="*/ 772231 w 6994525"/>
                  <a:gd name="connsiteY1703" fmla="*/ 859921 h 7571036"/>
                  <a:gd name="connsiteX1704" fmla="*/ 787025 w 6994525"/>
                  <a:gd name="connsiteY1704" fmla="*/ 874708 h 7571036"/>
                  <a:gd name="connsiteX1705" fmla="*/ 801820 w 6994525"/>
                  <a:gd name="connsiteY1705" fmla="*/ 859921 h 7571036"/>
                  <a:gd name="connsiteX1706" fmla="*/ 803793 w 6994525"/>
                  <a:gd name="connsiteY1706" fmla="*/ 554403 h 7571036"/>
                  <a:gd name="connsiteX1707" fmla="*/ 789738 w 6994525"/>
                  <a:gd name="connsiteY1707" fmla="*/ 540349 h 7571036"/>
                  <a:gd name="connsiteX1708" fmla="*/ 775684 w 6994525"/>
                  <a:gd name="connsiteY1708" fmla="*/ 554403 h 7571036"/>
                  <a:gd name="connsiteX1709" fmla="*/ 789738 w 6994525"/>
                  <a:gd name="connsiteY1709" fmla="*/ 568456 h 7571036"/>
                  <a:gd name="connsiteX1710" fmla="*/ 803793 w 6994525"/>
                  <a:gd name="connsiteY1710" fmla="*/ 554403 h 7571036"/>
                  <a:gd name="connsiteX1711" fmla="*/ 805274 w 6994525"/>
                  <a:gd name="connsiteY1711" fmla="*/ 4793112 h 7571036"/>
                  <a:gd name="connsiteX1712" fmla="*/ 788015 w 6994525"/>
                  <a:gd name="connsiteY1712" fmla="*/ 4775853 h 7571036"/>
                  <a:gd name="connsiteX1713" fmla="*/ 770753 w 6994525"/>
                  <a:gd name="connsiteY1713" fmla="*/ 4793112 h 7571036"/>
                  <a:gd name="connsiteX1714" fmla="*/ 788015 w 6994525"/>
                  <a:gd name="connsiteY1714" fmla="*/ 4810373 h 7571036"/>
                  <a:gd name="connsiteX1715" fmla="*/ 805274 w 6994525"/>
                  <a:gd name="connsiteY1715" fmla="*/ 4793112 h 7571036"/>
                  <a:gd name="connsiteX1716" fmla="*/ 805767 w 6994525"/>
                  <a:gd name="connsiteY1716" fmla="*/ 5035005 h 7571036"/>
                  <a:gd name="connsiteX1717" fmla="*/ 794178 w 6994525"/>
                  <a:gd name="connsiteY1717" fmla="*/ 5023415 h 7571036"/>
                  <a:gd name="connsiteX1718" fmla="*/ 782588 w 6994525"/>
                  <a:gd name="connsiteY1718" fmla="*/ 5035005 h 7571036"/>
                  <a:gd name="connsiteX1719" fmla="*/ 794178 w 6994525"/>
                  <a:gd name="connsiteY1719" fmla="*/ 5046592 h 7571036"/>
                  <a:gd name="connsiteX1720" fmla="*/ 805767 w 6994525"/>
                  <a:gd name="connsiteY1720" fmla="*/ 5035005 h 7571036"/>
                  <a:gd name="connsiteX1721" fmla="*/ 806751 w 6994525"/>
                  <a:gd name="connsiteY1721" fmla="*/ 5582401 h 7571036"/>
                  <a:gd name="connsiteX1722" fmla="*/ 771737 w 6994525"/>
                  <a:gd name="connsiteY1722" fmla="*/ 5547388 h 7571036"/>
                  <a:gd name="connsiteX1723" fmla="*/ 736970 w 6994525"/>
                  <a:gd name="connsiteY1723" fmla="*/ 5582401 h 7571036"/>
                  <a:gd name="connsiteX1724" fmla="*/ 771737 w 6994525"/>
                  <a:gd name="connsiteY1724" fmla="*/ 5617416 h 7571036"/>
                  <a:gd name="connsiteX1725" fmla="*/ 806751 w 6994525"/>
                  <a:gd name="connsiteY1725" fmla="*/ 5582401 h 7571036"/>
                  <a:gd name="connsiteX1726" fmla="*/ 809957 w 6994525"/>
                  <a:gd name="connsiteY1726" fmla="*/ 2761794 h 7571036"/>
                  <a:gd name="connsiteX1727" fmla="*/ 794425 w 6994525"/>
                  <a:gd name="connsiteY1727" fmla="*/ 2746255 h 7571036"/>
                  <a:gd name="connsiteX1728" fmla="*/ 778890 w 6994525"/>
                  <a:gd name="connsiteY1728" fmla="*/ 2761794 h 7571036"/>
                  <a:gd name="connsiteX1729" fmla="*/ 794425 w 6994525"/>
                  <a:gd name="connsiteY1729" fmla="*/ 2777323 h 7571036"/>
                  <a:gd name="connsiteX1730" fmla="*/ 809957 w 6994525"/>
                  <a:gd name="connsiteY1730" fmla="*/ 2761794 h 7571036"/>
                  <a:gd name="connsiteX1731" fmla="*/ 811437 w 6994525"/>
                  <a:gd name="connsiteY1731" fmla="*/ 5957690 h 7571036"/>
                  <a:gd name="connsiteX1732" fmla="*/ 805768 w 6994525"/>
                  <a:gd name="connsiteY1732" fmla="*/ 5952018 h 7571036"/>
                  <a:gd name="connsiteX1733" fmla="*/ 800096 w 6994525"/>
                  <a:gd name="connsiteY1733" fmla="*/ 5957690 h 7571036"/>
                  <a:gd name="connsiteX1734" fmla="*/ 805768 w 6994525"/>
                  <a:gd name="connsiteY1734" fmla="*/ 5963359 h 7571036"/>
                  <a:gd name="connsiteX1735" fmla="*/ 811437 w 6994525"/>
                  <a:gd name="connsiteY1735" fmla="*/ 5957690 h 7571036"/>
                  <a:gd name="connsiteX1736" fmla="*/ 814150 w 6994525"/>
                  <a:gd name="connsiteY1736" fmla="*/ 1922523 h 7571036"/>
                  <a:gd name="connsiteX1737" fmla="*/ 792946 w 6994525"/>
                  <a:gd name="connsiteY1737" fmla="*/ 1901337 h 7571036"/>
                  <a:gd name="connsiteX1738" fmla="*/ 771740 w 6994525"/>
                  <a:gd name="connsiteY1738" fmla="*/ 1922523 h 7571036"/>
                  <a:gd name="connsiteX1739" fmla="*/ 792946 w 6994525"/>
                  <a:gd name="connsiteY1739" fmla="*/ 1943709 h 7571036"/>
                  <a:gd name="connsiteX1740" fmla="*/ 814150 w 6994525"/>
                  <a:gd name="connsiteY1740" fmla="*/ 1922523 h 7571036"/>
                  <a:gd name="connsiteX1741" fmla="*/ 816371 w 6994525"/>
                  <a:gd name="connsiteY1741" fmla="*/ 1521891 h 7571036"/>
                  <a:gd name="connsiteX1742" fmla="*/ 795410 w 6994525"/>
                  <a:gd name="connsiteY1742" fmla="*/ 1500929 h 7571036"/>
                  <a:gd name="connsiteX1743" fmla="*/ 774453 w 6994525"/>
                  <a:gd name="connsiteY1743" fmla="*/ 1521891 h 7571036"/>
                  <a:gd name="connsiteX1744" fmla="*/ 795410 w 6994525"/>
                  <a:gd name="connsiteY1744" fmla="*/ 1542845 h 7571036"/>
                  <a:gd name="connsiteX1745" fmla="*/ 816371 w 6994525"/>
                  <a:gd name="connsiteY1745" fmla="*/ 1521891 h 7571036"/>
                  <a:gd name="connsiteX1746" fmla="*/ 817108 w 6994525"/>
                  <a:gd name="connsiteY1746" fmla="*/ 691051 h 7571036"/>
                  <a:gd name="connsiteX1747" fmla="*/ 802806 w 6994525"/>
                  <a:gd name="connsiteY1747" fmla="*/ 676742 h 7571036"/>
                  <a:gd name="connsiteX1748" fmla="*/ 788506 w 6994525"/>
                  <a:gd name="connsiteY1748" fmla="*/ 691051 h 7571036"/>
                  <a:gd name="connsiteX1749" fmla="*/ 802806 w 6994525"/>
                  <a:gd name="connsiteY1749" fmla="*/ 705346 h 7571036"/>
                  <a:gd name="connsiteX1750" fmla="*/ 817108 w 6994525"/>
                  <a:gd name="connsiteY1750" fmla="*/ 691051 h 7571036"/>
                  <a:gd name="connsiteX1751" fmla="*/ 819081 w 6994525"/>
                  <a:gd name="connsiteY1751" fmla="*/ 2376891 h 7571036"/>
                  <a:gd name="connsiteX1752" fmla="*/ 810205 w 6994525"/>
                  <a:gd name="connsiteY1752" fmla="*/ 2368024 h 7571036"/>
                  <a:gd name="connsiteX1753" fmla="*/ 801328 w 6994525"/>
                  <a:gd name="connsiteY1753" fmla="*/ 2376891 h 7571036"/>
                  <a:gd name="connsiteX1754" fmla="*/ 810205 w 6994525"/>
                  <a:gd name="connsiteY1754" fmla="*/ 2385776 h 7571036"/>
                  <a:gd name="connsiteX1755" fmla="*/ 819081 w 6994525"/>
                  <a:gd name="connsiteY1755" fmla="*/ 2376891 h 7571036"/>
                  <a:gd name="connsiteX1756" fmla="*/ 820808 w 6994525"/>
                  <a:gd name="connsiteY1756" fmla="*/ 999709 h 7571036"/>
                  <a:gd name="connsiteX1757" fmla="*/ 804040 w 6994525"/>
                  <a:gd name="connsiteY1757" fmla="*/ 982942 h 7571036"/>
                  <a:gd name="connsiteX1758" fmla="*/ 787274 w 6994525"/>
                  <a:gd name="connsiteY1758" fmla="*/ 999709 h 7571036"/>
                  <a:gd name="connsiteX1759" fmla="*/ 804040 w 6994525"/>
                  <a:gd name="connsiteY1759" fmla="*/ 1016483 h 7571036"/>
                  <a:gd name="connsiteX1760" fmla="*/ 820808 w 6994525"/>
                  <a:gd name="connsiteY1760" fmla="*/ 999709 h 7571036"/>
                  <a:gd name="connsiteX1761" fmla="*/ 823519 w 6994525"/>
                  <a:gd name="connsiteY1761" fmla="*/ 5434950 h 7571036"/>
                  <a:gd name="connsiteX1762" fmla="*/ 796643 w 6994525"/>
                  <a:gd name="connsiteY1762" fmla="*/ 5408073 h 7571036"/>
                  <a:gd name="connsiteX1763" fmla="*/ 769766 w 6994525"/>
                  <a:gd name="connsiteY1763" fmla="*/ 5434950 h 7571036"/>
                  <a:gd name="connsiteX1764" fmla="*/ 796643 w 6994525"/>
                  <a:gd name="connsiteY1764" fmla="*/ 5461829 h 7571036"/>
                  <a:gd name="connsiteX1765" fmla="*/ 823519 w 6994525"/>
                  <a:gd name="connsiteY1765" fmla="*/ 5434950 h 7571036"/>
                  <a:gd name="connsiteX1766" fmla="*/ 824751 w 6994525"/>
                  <a:gd name="connsiteY1766" fmla="*/ 6576349 h 7571036"/>
                  <a:gd name="connsiteX1767" fmla="*/ 823273 w 6994525"/>
                  <a:gd name="connsiteY1767" fmla="*/ 6574870 h 7571036"/>
                  <a:gd name="connsiteX1768" fmla="*/ 821792 w 6994525"/>
                  <a:gd name="connsiteY1768" fmla="*/ 6576349 h 7571036"/>
                  <a:gd name="connsiteX1769" fmla="*/ 823273 w 6994525"/>
                  <a:gd name="connsiteY1769" fmla="*/ 6577830 h 7571036"/>
                  <a:gd name="connsiteX1770" fmla="*/ 824751 w 6994525"/>
                  <a:gd name="connsiteY1770" fmla="*/ 6576349 h 7571036"/>
                  <a:gd name="connsiteX1771" fmla="*/ 826480 w 6994525"/>
                  <a:gd name="connsiteY1771" fmla="*/ 4139688 h 7571036"/>
                  <a:gd name="connsiteX1772" fmla="*/ 780862 w 6994525"/>
                  <a:gd name="connsiteY1772" fmla="*/ 4094072 h 7571036"/>
                  <a:gd name="connsiteX1773" fmla="*/ 735246 w 6994525"/>
                  <a:gd name="connsiteY1773" fmla="*/ 4139688 h 7571036"/>
                  <a:gd name="connsiteX1774" fmla="*/ 780862 w 6994525"/>
                  <a:gd name="connsiteY1774" fmla="*/ 4185304 h 7571036"/>
                  <a:gd name="connsiteX1775" fmla="*/ 826480 w 6994525"/>
                  <a:gd name="connsiteY1775" fmla="*/ 4139688 h 7571036"/>
                  <a:gd name="connsiteX1776" fmla="*/ 829437 w 6994525"/>
                  <a:gd name="connsiteY1776" fmla="*/ 5816154 h 7571036"/>
                  <a:gd name="connsiteX1777" fmla="*/ 824259 w 6994525"/>
                  <a:gd name="connsiteY1777" fmla="*/ 5810977 h 7571036"/>
                  <a:gd name="connsiteX1778" fmla="*/ 819082 w 6994525"/>
                  <a:gd name="connsiteY1778" fmla="*/ 5816154 h 7571036"/>
                  <a:gd name="connsiteX1779" fmla="*/ 824259 w 6994525"/>
                  <a:gd name="connsiteY1779" fmla="*/ 5821334 h 7571036"/>
                  <a:gd name="connsiteX1780" fmla="*/ 829437 w 6994525"/>
                  <a:gd name="connsiteY1780" fmla="*/ 5816154 h 7571036"/>
                  <a:gd name="connsiteX1781" fmla="*/ 832396 w 6994525"/>
                  <a:gd name="connsiteY1781" fmla="*/ 4526565 h 7571036"/>
                  <a:gd name="connsiteX1782" fmla="*/ 789244 w 6994525"/>
                  <a:gd name="connsiteY1782" fmla="*/ 4483413 h 7571036"/>
                  <a:gd name="connsiteX1783" fmla="*/ 746341 w 6994525"/>
                  <a:gd name="connsiteY1783" fmla="*/ 4526565 h 7571036"/>
                  <a:gd name="connsiteX1784" fmla="*/ 789244 w 6994525"/>
                  <a:gd name="connsiteY1784" fmla="*/ 4569717 h 7571036"/>
                  <a:gd name="connsiteX1785" fmla="*/ 832396 w 6994525"/>
                  <a:gd name="connsiteY1785" fmla="*/ 4526565 h 7571036"/>
                  <a:gd name="connsiteX1786" fmla="*/ 832644 w 6994525"/>
                  <a:gd name="connsiteY1786" fmla="*/ 2650330 h 7571036"/>
                  <a:gd name="connsiteX1787" fmla="*/ 826727 w 6994525"/>
                  <a:gd name="connsiteY1787" fmla="*/ 2644411 h 7571036"/>
                  <a:gd name="connsiteX1788" fmla="*/ 820809 w 6994525"/>
                  <a:gd name="connsiteY1788" fmla="*/ 2650330 h 7571036"/>
                  <a:gd name="connsiteX1789" fmla="*/ 826727 w 6994525"/>
                  <a:gd name="connsiteY1789" fmla="*/ 2656254 h 7571036"/>
                  <a:gd name="connsiteX1790" fmla="*/ 832644 w 6994525"/>
                  <a:gd name="connsiteY1790" fmla="*/ 2650330 h 7571036"/>
                  <a:gd name="connsiteX1791" fmla="*/ 834368 w 6994525"/>
                  <a:gd name="connsiteY1791" fmla="*/ 2112080 h 7571036"/>
                  <a:gd name="connsiteX1792" fmla="*/ 813164 w 6994525"/>
                  <a:gd name="connsiteY1792" fmla="*/ 2090864 h 7571036"/>
                  <a:gd name="connsiteX1793" fmla="*/ 791957 w 6994525"/>
                  <a:gd name="connsiteY1793" fmla="*/ 2112080 h 7571036"/>
                  <a:gd name="connsiteX1794" fmla="*/ 813164 w 6994525"/>
                  <a:gd name="connsiteY1794" fmla="*/ 2133289 h 7571036"/>
                  <a:gd name="connsiteX1795" fmla="*/ 834368 w 6994525"/>
                  <a:gd name="connsiteY1795" fmla="*/ 2112080 h 7571036"/>
                  <a:gd name="connsiteX1796" fmla="*/ 836587 w 6994525"/>
                  <a:gd name="connsiteY1796" fmla="*/ 6441968 h 7571036"/>
                  <a:gd name="connsiteX1797" fmla="*/ 834862 w 6994525"/>
                  <a:gd name="connsiteY1797" fmla="*/ 6440240 h 7571036"/>
                  <a:gd name="connsiteX1798" fmla="*/ 833136 w 6994525"/>
                  <a:gd name="connsiteY1798" fmla="*/ 6441968 h 7571036"/>
                  <a:gd name="connsiteX1799" fmla="*/ 834862 w 6994525"/>
                  <a:gd name="connsiteY1799" fmla="*/ 6443691 h 7571036"/>
                  <a:gd name="connsiteX1800" fmla="*/ 836587 w 6994525"/>
                  <a:gd name="connsiteY1800" fmla="*/ 6441968 h 7571036"/>
                  <a:gd name="connsiteX1801" fmla="*/ 838808 w 6994525"/>
                  <a:gd name="connsiteY1801" fmla="*/ 3391809 h 7571036"/>
                  <a:gd name="connsiteX1802" fmla="*/ 811191 w 6994525"/>
                  <a:gd name="connsiteY1802" fmla="*/ 3364173 h 7571036"/>
                  <a:gd name="connsiteX1803" fmla="*/ 783575 w 6994525"/>
                  <a:gd name="connsiteY1803" fmla="*/ 3391809 h 7571036"/>
                  <a:gd name="connsiteX1804" fmla="*/ 811191 w 6994525"/>
                  <a:gd name="connsiteY1804" fmla="*/ 3419409 h 7571036"/>
                  <a:gd name="connsiteX1805" fmla="*/ 838808 w 6994525"/>
                  <a:gd name="connsiteY1805" fmla="*/ 3391809 h 7571036"/>
                  <a:gd name="connsiteX1806" fmla="*/ 839791 w 6994525"/>
                  <a:gd name="connsiteY1806" fmla="*/ 3275655 h 7571036"/>
                  <a:gd name="connsiteX1807" fmla="*/ 817355 w 6994525"/>
                  <a:gd name="connsiteY1807" fmla="*/ 3253219 h 7571036"/>
                  <a:gd name="connsiteX1808" fmla="*/ 794916 w 6994525"/>
                  <a:gd name="connsiteY1808" fmla="*/ 3275655 h 7571036"/>
                  <a:gd name="connsiteX1809" fmla="*/ 817355 w 6994525"/>
                  <a:gd name="connsiteY1809" fmla="*/ 3298092 h 7571036"/>
                  <a:gd name="connsiteX1810" fmla="*/ 839791 w 6994525"/>
                  <a:gd name="connsiteY1810" fmla="*/ 3275655 h 7571036"/>
                  <a:gd name="connsiteX1811" fmla="*/ 841766 w 6994525"/>
                  <a:gd name="connsiteY1811" fmla="*/ 1671519 h 7571036"/>
                  <a:gd name="connsiteX1812" fmla="*/ 822778 w 6994525"/>
                  <a:gd name="connsiteY1812" fmla="*/ 1652547 h 7571036"/>
                  <a:gd name="connsiteX1813" fmla="*/ 803793 w 6994525"/>
                  <a:gd name="connsiteY1813" fmla="*/ 1671519 h 7571036"/>
                  <a:gd name="connsiteX1814" fmla="*/ 822778 w 6994525"/>
                  <a:gd name="connsiteY1814" fmla="*/ 1690525 h 7571036"/>
                  <a:gd name="connsiteX1815" fmla="*/ 841766 w 6994525"/>
                  <a:gd name="connsiteY1815" fmla="*/ 1671519 h 7571036"/>
                  <a:gd name="connsiteX1816" fmla="*/ 842259 w 6994525"/>
                  <a:gd name="connsiteY1816" fmla="*/ 3507716 h 7571036"/>
                  <a:gd name="connsiteX1817" fmla="*/ 809959 w 6994525"/>
                  <a:gd name="connsiteY1817" fmla="*/ 3475414 h 7571036"/>
                  <a:gd name="connsiteX1818" fmla="*/ 777657 w 6994525"/>
                  <a:gd name="connsiteY1818" fmla="*/ 3507716 h 7571036"/>
                  <a:gd name="connsiteX1819" fmla="*/ 809959 w 6994525"/>
                  <a:gd name="connsiteY1819" fmla="*/ 3540016 h 7571036"/>
                  <a:gd name="connsiteX1820" fmla="*/ 842259 w 6994525"/>
                  <a:gd name="connsiteY1820" fmla="*/ 3507716 h 7571036"/>
                  <a:gd name="connsiteX1821" fmla="*/ 842261 w 6994525"/>
                  <a:gd name="connsiteY1821" fmla="*/ 1141221 h 7571036"/>
                  <a:gd name="connsiteX1822" fmla="*/ 822781 w 6994525"/>
                  <a:gd name="connsiteY1822" fmla="*/ 1121742 h 7571036"/>
                  <a:gd name="connsiteX1823" fmla="*/ 803301 w 6994525"/>
                  <a:gd name="connsiteY1823" fmla="*/ 1141221 h 7571036"/>
                  <a:gd name="connsiteX1824" fmla="*/ 822781 w 6994525"/>
                  <a:gd name="connsiteY1824" fmla="*/ 1160702 h 7571036"/>
                  <a:gd name="connsiteX1825" fmla="*/ 842261 w 6994525"/>
                  <a:gd name="connsiteY1825" fmla="*/ 1141221 h 7571036"/>
                  <a:gd name="connsiteX1826" fmla="*/ 843245 w 6994525"/>
                  <a:gd name="connsiteY1826" fmla="*/ 5285773 h 7571036"/>
                  <a:gd name="connsiteX1827" fmla="*/ 824010 w 6994525"/>
                  <a:gd name="connsiteY1827" fmla="*/ 5266540 h 7571036"/>
                  <a:gd name="connsiteX1828" fmla="*/ 804779 w 6994525"/>
                  <a:gd name="connsiteY1828" fmla="*/ 5285773 h 7571036"/>
                  <a:gd name="connsiteX1829" fmla="*/ 824010 w 6994525"/>
                  <a:gd name="connsiteY1829" fmla="*/ 5305007 h 7571036"/>
                  <a:gd name="connsiteX1830" fmla="*/ 843245 w 6994525"/>
                  <a:gd name="connsiteY1830" fmla="*/ 5285773 h 7571036"/>
                  <a:gd name="connsiteX1831" fmla="*/ 845465 w 6994525"/>
                  <a:gd name="connsiteY1831" fmla="*/ 3160260 h 7571036"/>
                  <a:gd name="connsiteX1832" fmla="*/ 828450 w 6994525"/>
                  <a:gd name="connsiteY1832" fmla="*/ 3143246 h 7571036"/>
                  <a:gd name="connsiteX1833" fmla="*/ 811437 w 6994525"/>
                  <a:gd name="connsiteY1833" fmla="*/ 3160260 h 7571036"/>
                  <a:gd name="connsiteX1834" fmla="*/ 828450 w 6994525"/>
                  <a:gd name="connsiteY1834" fmla="*/ 3177277 h 7571036"/>
                  <a:gd name="connsiteX1835" fmla="*/ 845465 w 6994525"/>
                  <a:gd name="connsiteY1835" fmla="*/ 3160260 h 7571036"/>
                  <a:gd name="connsiteX1836" fmla="*/ 849411 w 6994525"/>
                  <a:gd name="connsiteY1836" fmla="*/ 4896431 h 7571036"/>
                  <a:gd name="connsiteX1837" fmla="*/ 840780 w 6994525"/>
                  <a:gd name="connsiteY1837" fmla="*/ 4887800 h 7571036"/>
                  <a:gd name="connsiteX1838" fmla="*/ 832150 w 6994525"/>
                  <a:gd name="connsiteY1838" fmla="*/ 4896431 h 7571036"/>
                  <a:gd name="connsiteX1839" fmla="*/ 840780 w 6994525"/>
                  <a:gd name="connsiteY1839" fmla="*/ 4905059 h 7571036"/>
                  <a:gd name="connsiteX1840" fmla="*/ 849411 w 6994525"/>
                  <a:gd name="connsiteY1840" fmla="*/ 4896431 h 7571036"/>
                  <a:gd name="connsiteX1841" fmla="*/ 849905 w 6994525"/>
                  <a:gd name="connsiteY1841" fmla="*/ 6306350 h 7571036"/>
                  <a:gd name="connsiteX1842" fmla="*/ 847193 w 6994525"/>
                  <a:gd name="connsiteY1842" fmla="*/ 6303637 h 7571036"/>
                  <a:gd name="connsiteX1843" fmla="*/ 844480 w 6994525"/>
                  <a:gd name="connsiteY1843" fmla="*/ 6306350 h 7571036"/>
                  <a:gd name="connsiteX1844" fmla="*/ 847193 w 6994525"/>
                  <a:gd name="connsiteY1844" fmla="*/ 6309063 h 7571036"/>
                  <a:gd name="connsiteX1845" fmla="*/ 849905 w 6994525"/>
                  <a:gd name="connsiteY1845" fmla="*/ 6306350 h 7571036"/>
                  <a:gd name="connsiteX1846" fmla="*/ 850149 w 6994525"/>
                  <a:gd name="connsiteY1846" fmla="*/ 3623605 h 7571036"/>
                  <a:gd name="connsiteX1847" fmla="*/ 813656 w 6994525"/>
                  <a:gd name="connsiteY1847" fmla="*/ 3587112 h 7571036"/>
                  <a:gd name="connsiteX1848" fmla="*/ 777163 w 6994525"/>
                  <a:gd name="connsiteY1848" fmla="*/ 3623605 h 7571036"/>
                  <a:gd name="connsiteX1849" fmla="*/ 813656 w 6994525"/>
                  <a:gd name="connsiteY1849" fmla="*/ 3660099 h 7571036"/>
                  <a:gd name="connsiteX1850" fmla="*/ 850149 w 6994525"/>
                  <a:gd name="connsiteY1850" fmla="*/ 3623605 h 7571036"/>
                  <a:gd name="connsiteX1851" fmla="*/ 856561 w 6994525"/>
                  <a:gd name="connsiteY1851" fmla="*/ 3045103 h 7571036"/>
                  <a:gd name="connsiteX1852" fmla="*/ 844725 w 6994525"/>
                  <a:gd name="connsiteY1852" fmla="*/ 3033267 h 7571036"/>
                  <a:gd name="connsiteX1853" fmla="*/ 832890 w 6994525"/>
                  <a:gd name="connsiteY1853" fmla="*/ 3045103 h 7571036"/>
                  <a:gd name="connsiteX1854" fmla="*/ 844725 w 6994525"/>
                  <a:gd name="connsiteY1854" fmla="*/ 3057187 h 7571036"/>
                  <a:gd name="connsiteX1855" fmla="*/ 856561 w 6994525"/>
                  <a:gd name="connsiteY1855" fmla="*/ 3045103 h 7571036"/>
                  <a:gd name="connsiteX1856" fmla="*/ 856806 w 6994525"/>
                  <a:gd name="connsiteY1856" fmla="*/ 4251632 h 7571036"/>
                  <a:gd name="connsiteX1857" fmla="*/ 810697 w 6994525"/>
                  <a:gd name="connsiteY1857" fmla="*/ 4205276 h 7571036"/>
                  <a:gd name="connsiteX1858" fmla="*/ 764341 w 6994525"/>
                  <a:gd name="connsiteY1858" fmla="*/ 4251632 h 7571036"/>
                  <a:gd name="connsiteX1859" fmla="*/ 810697 w 6994525"/>
                  <a:gd name="connsiteY1859" fmla="*/ 4297988 h 7571036"/>
                  <a:gd name="connsiteX1860" fmla="*/ 856806 w 6994525"/>
                  <a:gd name="connsiteY1860" fmla="*/ 4251632 h 7571036"/>
                  <a:gd name="connsiteX1861" fmla="*/ 861738 w 6994525"/>
                  <a:gd name="connsiteY1861" fmla="*/ 1284203 h 7571036"/>
                  <a:gd name="connsiteX1862" fmla="*/ 842999 w 6994525"/>
                  <a:gd name="connsiteY1862" fmla="*/ 1265452 h 7571036"/>
                  <a:gd name="connsiteX1863" fmla="*/ 824259 w 6994525"/>
                  <a:gd name="connsiteY1863" fmla="*/ 1284203 h 7571036"/>
                  <a:gd name="connsiteX1864" fmla="*/ 842999 w 6994525"/>
                  <a:gd name="connsiteY1864" fmla="*/ 1302945 h 7571036"/>
                  <a:gd name="connsiteX1865" fmla="*/ 861738 w 6994525"/>
                  <a:gd name="connsiteY1865" fmla="*/ 1284203 h 7571036"/>
                  <a:gd name="connsiteX1866" fmla="*/ 863217 w 6994525"/>
                  <a:gd name="connsiteY1866" fmla="*/ 3739249 h 7571036"/>
                  <a:gd name="connsiteX1867" fmla="*/ 822532 w 6994525"/>
                  <a:gd name="connsiteY1867" fmla="*/ 3698565 h 7571036"/>
                  <a:gd name="connsiteX1868" fmla="*/ 781848 w 6994525"/>
                  <a:gd name="connsiteY1868" fmla="*/ 3739249 h 7571036"/>
                  <a:gd name="connsiteX1869" fmla="*/ 822532 w 6994525"/>
                  <a:gd name="connsiteY1869" fmla="*/ 3779937 h 7571036"/>
                  <a:gd name="connsiteX1870" fmla="*/ 863217 w 6994525"/>
                  <a:gd name="connsiteY1870" fmla="*/ 3739249 h 7571036"/>
                  <a:gd name="connsiteX1871" fmla="*/ 863957 w 6994525"/>
                  <a:gd name="connsiteY1871" fmla="*/ 2540351 h 7571036"/>
                  <a:gd name="connsiteX1872" fmla="*/ 863465 w 6994525"/>
                  <a:gd name="connsiteY1872" fmla="*/ 2539860 h 7571036"/>
                  <a:gd name="connsiteX1873" fmla="*/ 862971 w 6994525"/>
                  <a:gd name="connsiteY1873" fmla="*/ 2540351 h 7571036"/>
                  <a:gd name="connsiteX1874" fmla="*/ 863465 w 6994525"/>
                  <a:gd name="connsiteY1874" fmla="*/ 2540843 h 7571036"/>
                  <a:gd name="connsiteX1875" fmla="*/ 863957 w 6994525"/>
                  <a:gd name="connsiteY1875" fmla="*/ 2540351 h 7571036"/>
                  <a:gd name="connsiteX1876" fmla="*/ 864944 w 6994525"/>
                  <a:gd name="connsiteY1876" fmla="*/ 5134622 h 7571036"/>
                  <a:gd name="connsiteX1877" fmla="*/ 854343 w 6994525"/>
                  <a:gd name="connsiteY1877" fmla="*/ 5124018 h 7571036"/>
                  <a:gd name="connsiteX1878" fmla="*/ 843740 w 6994525"/>
                  <a:gd name="connsiteY1878" fmla="*/ 5134622 h 7571036"/>
                  <a:gd name="connsiteX1879" fmla="*/ 854343 w 6994525"/>
                  <a:gd name="connsiteY1879" fmla="*/ 5145222 h 7571036"/>
                  <a:gd name="connsiteX1880" fmla="*/ 864944 w 6994525"/>
                  <a:gd name="connsiteY1880" fmla="*/ 5134622 h 7571036"/>
                  <a:gd name="connsiteX1881" fmla="*/ 868151 w 6994525"/>
                  <a:gd name="connsiteY1881" fmla="*/ 4633580 h 7571036"/>
                  <a:gd name="connsiteX1882" fmla="*/ 833631 w 6994525"/>
                  <a:gd name="connsiteY1882" fmla="*/ 4599059 h 7571036"/>
                  <a:gd name="connsiteX1883" fmla="*/ 799110 w 6994525"/>
                  <a:gd name="connsiteY1883" fmla="*/ 4633580 h 7571036"/>
                  <a:gd name="connsiteX1884" fmla="*/ 833631 w 6994525"/>
                  <a:gd name="connsiteY1884" fmla="*/ 4668101 h 7571036"/>
                  <a:gd name="connsiteX1885" fmla="*/ 868151 w 6994525"/>
                  <a:gd name="connsiteY1885" fmla="*/ 4633580 h 7571036"/>
                  <a:gd name="connsiteX1886" fmla="*/ 873082 w 6994525"/>
                  <a:gd name="connsiteY1886" fmla="*/ 6179363 h 7571036"/>
                  <a:gd name="connsiteX1887" fmla="*/ 871109 w 6994525"/>
                  <a:gd name="connsiteY1887" fmla="*/ 6177389 h 7571036"/>
                  <a:gd name="connsiteX1888" fmla="*/ 869137 w 6994525"/>
                  <a:gd name="connsiteY1888" fmla="*/ 6179363 h 7571036"/>
                  <a:gd name="connsiteX1889" fmla="*/ 871109 w 6994525"/>
                  <a:gd name="connsiteY1889" fmla="*/ 6181335 h 7571036"/>
                  <a:gd name="connsiteX1890" fmla="*/ 873082 w 6994525"/>
                  <a:gd name="connsiteY1890" fmla="*/ 6179363 h 7571036"/>
                  <a:gd name="connsiteX1891" fmla="*/ 873328 w 6994525"/>
                  <a:gd name="connsiteY1891" fmla="*/ 2930932 h 7571036"/>
                  <a:gd name="connsiteX1892" fmla="*/ 865930 w 6994525"/>
                  <a:gd name="connsiteY1892" fmla="*/ 2923537 h 7571036"/>
                  <a:gd name="connsiteX1893" fmla="*/ 858534 w 6994525"/>
                  <a:gd name="connsiteY1893" fmla="*/ 2930932 h 7571036"/>
                  <a:gd name="connsiteX1894" fmla="*/ 865930 w 6994525"/>
                  <a:gd name="connsiteY1894" fmla="*/ 2938331 h 7571036"/>
                  <a:gd name="connsiteX1895" fmla="*/ 873328 w 6994525"/>
                  <a:gd name="connsiteY1895" fmla="*/ 2930932 h 7571036"/>
                  <a:gd name="connsiteX1896" fmla="*/ 875301 w 6994525"/>
                  <a:gd name="connsiteY1896" fmla="*/ 1822997 h 7571036"/>
                  <a:gd name="connsiteX1897" fmla="*/ 853108 w 6994525"/>
                  <a:gd name="connsiteY1897" fmla="*/ 1800815 h 7571036"/>
                  <a:gd name="connsiteX1898" fmla="*/ 830918 w 6994525"/>
                  <a:gd name="connsiteY1898" fmla="*/ 1822997 h 7571036"/>
                  <a:gd name="connsiteX1899" fmla="*/ 853108 w 6994525"/>
                  <a:gd name="connsiteY1899" fmla="*/ 1845169 h 7571036"/>
                  <a:gd name="connsiteX1900" fmla="*/ 875301 w 6994525"/>
                  <a:gd name="connsiteY1900" fmla="*/ 1822997 h 7571036"/>
                  <a:gd name="connsiteX1901" fmla="*/ 877765 w 6994525"/>
                  <a:gd name="connsiteY1901" fmla="*/ 2270605 h 7571036"/>
                  <a:gd name="connsiteX1902" fmla="*/ 856559 w 6994525"/>
                  <a:gd name="connsiteY1902" fmla="*/ 2249431 h 7571036"/>
                  <a:gd name="connsiteX1903" fmla="*/ 835354 w 6994525"/>
                  <a:gd name="connsiteY1903" fmla="*/ 2270605 h 7571036"/>
                  <a:gd name="connsiteX1904" fmla="*/ 856559 w 6994525"/>
                  <a:gd name="connsiteY1904" fmla="*/ 2291825 h 7571036"/>
                  <a:gd name="connsiteX1905" fmla="*/ 877765 w 6994525"/>
                  <a:gd name="connsiteY1905" fmla="*/ 2270605 h 7571036"/>
                  <a:gd name="connsiteX1906" fmla="*/ 878505 w 6994525"/>
                  <a:gd name="connsiteY1906" fmla="*/ 5673141 h 7571036"/>
                  <a:gd name="connsiteX1907" fmla="*/ 844479 w 6994525"/>
                  <a:gd name="connsiteY1907" fmla="*/ 5639115 h 7571036"/>
                  <a:gd name="connsiteX1908" fmla="*/ 810205 w 6994525"/>
                  <a:gd name="connsiteY1908" fmla="*/ 5673141 h 7571036"/>
                  <a:gd name="connsiteX1909" fmla="*/ 844479 w 6994525"/>
                  <a:gd name="connsiteY1909" fmla="*/ 5707170 h 7571036"/>
                  <a:gd name="connsiteX1910" fmla="*/ 878505 w 6994525"/>
                  <a:gd name="connsiteY1910" fmla="*/ 5673141 h 7571036"/>
                  <a:gd name="connsiteX1911" fmla="*/ 879244 w 6994525"/>
                  <a:gd name="connsiteY1911" fmla="*/ 343619 h 7571036"/>
                  <a:gd name="connsiteX1912" fmla="*/ 865190 w 6994525"/>
                  <a:gd name="connsiteY1912" fmla="*/ 329565 h 7571036"/>
                  <a:gd name="connsiteX1913" fmla="*/ 851135 w 6994525"/>
                  <a:gd name="connsiteY1913" fmla="*/ 343619 h 7571036"/>
                  <a:gd name="connsiteX1914" fmla="*/ 865190 w 6994525"/>
                  <a:gd name="connsiteY1914" fmla="*/ 357672 h 7571036"/>
                  <a:gd name="connsiteX1915" fmla="*/ 879244 w 6994525"/>
                  <a:gd name="connsiteY1915" fmla="*/ 343619 h 7571036"/>
                  <a:gd name="connsiteX1916" fmla="*/ 879986 w 6994525"/>
                  <a:gd name="connsiteY1916" fmla="*/ 3854647 h 7571036"/>
                  <a:gd name="connsiteX1917" fmla="*/ 836340 w 6994525"/>
                  <a:gd name="connsiteY1917" fmla="*/ 3811003 h 7571036"/>
                  <a:gd name="connsiteX1918" fmla="*/ 792697 w 6994525"/>
                  <a:gd name="connsiteY1918" fmla="*/ 3854647 h 7571036"/>
                  <a:gd name="connsiteX1919" fmla="*/ 836340 w 6994525"/>
                  <a:gd name="connsiteY1919" fmla="*/ 3898290 h 7571036"/>
                  <a:gd name="connsiteX1920" fmla="*/ 879986 w 6994525"/>
                  <a:gd name="connsiteY1920" fmla="*/ 3854647 h 7571036"/>
                  <a:gd name="connsiteX1921" fmla="*/ 883683 w 6994525"/>
                  <a:gd name="connsiteY1921" fmla="*/ 778063 h 7571036"/>
                  <a:gd name="connsiteX1922" fmla="*/ 869134 w 6994525"/>
                  <a:gd name="connsiteY1922" fmla="*/ 763260 h 7571036"/>
                  <a:gd name="connsiteX1923" fmla="*/ 854340 w 6994525"/>
                  <a:gd name="connsiteY1923" fmla="*/ 778063 h 7571036"/>
                  <a:gd name="connsiteX1924" fmla="*/ 869134 w 6994525"/>
                  <a:gd name="connsiteY1924" fmla="*/ 792608 h 7571036"/>
                  <a:gd name="connsiteX1925" fmla="*/ 883683 w 6994525"/>
                  <a:gd name="connsiteY1925" fmla="*/ 778063 h 7571036"/>
                  <a:gd name="connsiteX1926" fmla="*/ 886398 w 6994525"/>
                  <a:gd name="connsiteY1926" fmla="*/ 1429175 h 7571036"/>
                  <a:gd name="connsiteX1927" fmla="*/ 865437 w 6994525"/>
                  <a:gd name="connsiteY1927" fmla="*/ 1408213 h 7571036"/>
                  <a:gd name="connsiteX1928" fmla="*/ 844480 w 6994525"/>
                  <a:gd name="connsiteY1928" fmla="*/ 1429175 h 7571036"/>
                  <a:gd name="connsiteX1929" fmla="*/ 865437 w 6994525"/>
                  <a:gd name="connsiteY1929" fmla="*/ 1450126 h 7571036"/>
                  <a:gd name="connsiteX1930" fmla="*/ 886398 w 6994525"/>
                  <a:gd name="connsiteY1930" fmla="*/ 1429175 h 7571036"/>
                  <a:gd name="connsiteX1931" fmla="*/ 890341 w 6994525"/>
                  <a:gd name="connsiteY1931" fmla="*/ 476735 h 7571036"/>
                  <a:gd name="connsiteX1932" fmla="*/ 876287 w 6994525"/>
                  <a:gd name="connsiteY1932" fmla="*/ 462681 h 7571036"/>
                  <a:gd name="connsiteX1933" fmla="*/ 862233 w 6994525"/>
                  <a:gd name="connsiteY1933" fmla="*/ 476735 h 7571036"/>
                  <a:gd name="connsiteX1934" fmla="*/ 876287 w 6994525"/>
                  <a:gd name="connsiteY1934" fmla="*/ 490791 h 7571036"/>
                  <a:gd name="connsiteX1935" fmla="*/ 890341 w 6994525"/>
                  <a:gd name="connsiteY1935" fmla="*/ 476735 h 7571036"/>
                  <a:gd name="connsiteX1936" fmla="*/ 891079 w 6994525"/>
                  <a:gd name="connsiteY1936" fmla="*/ 6041526 h 7571036"/>
                  <a:gd name="connsiteX1937" fmla="*/ 885902 w 6994525"/>
                  <a:gd name="connsiteY1937" fmla="*/ 6036348 h 7571036"/>
                  <a:gd name="connsiteX1938" fmla="*/ 880725 w 6994525"/>
                  <a:gd name="connsiteY1938" fmla="*/ 6041526 h 7571036"/>
                  <a:gd name="connsiteX1939" fmla="*/ 885902 w 6994525"/>
                  <a:gd name="connsiteY1939" fmla="*/ 6046703 h 7571036"/>
                  <a:gd name="connsiteX1940" fmla="*/ 891079 w 6994525"/>
                  <a:gd name="connsiteY1940" fmla="*/ 6041526 h 7571036"/>
                  <a:gd name="connsiteX1941" fmla="*/ 891819 w 6994525"/>
                  <a:gd name="connsiteY1941" fmla="*/ 4362344 h 7571036"/>
                  <a:gd name="connsiteX1942" fmla="*/ 845217 w 6994525"/>
                  <a:gd name="connsiteY1942" fmla="*/ 4315741 h 7571036"/>
                  <a:gd name="connsiteX1943" fmla="*/ 798615 w 6994525"/>
                  <a:gd name="connsiteY1943" fmla="*/ 4362344 h 7571036"/>
                  <a:gd name="connsiteX1944" fmla="*/ 845217 w 6994525"/>
                  <a:gd name="connsiteY1944" fmla="*/ 4408949 h 7571036"/>
                  <a:gd name="connsiteX1945" fmla="*/ 891819 w 6994525"/>
                  <a:gd name="connsiteY1945" fmla="*/ 4362344 h 7571036"/>
                  <a:gd name="connsiteX1946" fmla="*/ 891822 w 6994525"/>
                  <a:gd name="connsiteY1946" fmla="*/ 2009717 h 7571036"/>
                  <a:gd name="connsiteX1947" fmla="*/ 867903 w 6994525"/>
                  <a:gd name="connsiteY1947" fmla="*/ 1985573 h 7571036"/>
                  <a:gd name="connsiteX1948" fmla="*/ 843740 w 6994525"/>
                  <a:gd name="connsiteY1948" fmla="*/ 2009717 h 7571036"/>
                  <a:gd name="connsiteX1949" fmla="*/ 867903 w 6994525"/>
                  <a:gd name="connsiteY1949" fmla="*/ 2033881 h 7571036"/>
                  <a:gd name="connsiteX1950" fmla="*/ 891822 w 6994525"/>
                  <a:gd name="connsiteY1950" fmla="*/ 2009717 h 7571036"/>
                  <a:gd name="connsiteX1951" fmla="*/ 892314 w 6994525"/>
                  <a:gd name="connsiteY1951" fmla="*/ 5527910 h 7571036"/>
                  <a:gd name="connsiteX1952" fmla="*/ 866671 w 6994525"/>
                  <a:gd name="connsiteY1952" fmla="*/ 5502266 h 7571036"/>
                  <a:gd name="connsiteX1953" fmla="*/ 841027 w 6994525"/>
                  <a:gd name="connsiteY1953" fmla="*/ 5527910 h 7571036"/>
                  <a:gd name="connsiteX1954" fmla="*/ 866671 w 6994525"/>
                  <a:gd name="connsiteY1954" fmla="*/ 5553554 h 7571036"/>
                  <a:gd name="connsiteX1955" fmla="*/ 892314 w 6994525"/>
                  <a:gd name="connsiteY1955" fmla="*/ 5527910 h 7571036"/>
                  <a:gd name="connsiteX1956" fmla="*/ 895518 w 6994525"/>
                  <a:gd name="connsiteY1956" fmla="*/ 2817992 h 7571036"/>
                  <a:gd name="connsiteX1957" fmla="*/ 892065 w 6994525"/>
                  <a:gd name="connsiteY1957" fmla="*/ 2814542 h 7571036"/>
                  <a:gd name="connsiteX1958" fmla="*/ 888615 w 6994525"/>
                  <a:gd name="connsiteY1958" fmla="*/ 2817992 h 7571036"/>
                  <a:gd name="connsiteX1959" fmla="*/ 892065 w 6994525"/>
                  <a:gd name="connsiteY1959" fmla="*/ 2821445 h 7571036"/>
                  <a:gd name="connsiteX1960" fmla="*/ 895518 w 6994525"/>
                  <a:gd name="connsiteY1960" fmla="*/ 2817992 h 7571036"/>
                  <a:gd name="connsiteX1961" fmla="*/ 899958 w 6994525"/>
                  <a:gd name="connsiteY1961" fmla="*/ 915865 h 7571036"/>
                  <a:gd name="connsiteX1962" fmla="*/ 884178 w 6994525"/>
                  <a:gd name="connsiteY1962" fmla="*/ 900083 h 7571036"/>
                  <a:gd name="connsiteX1963" fmla="*/ 868397 w 6994525"/>
                  <a:gd name="connsiteY1963" fmla="*/ 915865 h 7571036"/>
                  <a:gd name="connsiteX1964" fmla="*/ 884178 w 6994525"/>
                  <a:gd name="connsiteY1964" fmla="*/ 931650 h 7571036"/>
                  <a:gd name="connsiteX1965" fmla="*/ 899958 w 6994525"/>
                  <a:gd name="connsiteY1965" fmla="*/ 915865 h 7571036"/>
                  <a:gd name="connsiteX1966" fmla="*/ 900699 w 6994525"/>
                  <a:gd name="connsiteY1966" fmla="*/ 3969303 h 7571036"/>
                  <a:gd name="connsiteX1967" fmla="*/ 855081 w 6994525"/>
                  <a:gd name="connsiteY1967" fmla="*/ 3923687 h 7571036"/>
                  <a:gd name="connsiteX1968" fmla="*/ 809465 w 6994525"/>
                  <a:gd name="connsiteY1968" fmla="*/ 3969303 h 7571036"/>
                  <a:gd name="connsiteX1969" fmla="*/ 855081 w 6994525"/>
                  <a:gd name="connsiteY1969" fmla="*/ 4014919 h 7571036"/>
                  <a:gd name="connsiteX1970" fmla="*/ 900699 w 6994525"/>
                  <a:gd name="connsiteY1970" fmla="*/ 3969303 h 7571036"/>
                  <a:gd name="connsiteX1971" fmla="*/ 901190 w 6994525"/>
                  <a:gd name="connsiteY1971" fmla="*/ 4997031 h 7571036"/>
                  <a:gd name="connsiteX1972" fmla="*/ 897737 w 6994525"/>
                  <a:gd name="connsiteY1972" fmla="*/ 4993580 h 7571036"/>
                  <a:gd name="connsiteX1973" fmla="*/ 894287 w 6994525"/>
                  <a:gd name="connsiteY1973" fmla="*/ 4997031 h 7571036"/>
                  <a:gd name="connsiteX1974" fmla="*/ 897737 w 6994525"/>
                  <a:gd name="connsiteY1974" fmla="*/ 5000484 h 7571036"/>
                  <a:gd name="connsiteX1975" fmla="*/ 901190 w 6994525"/>
                  <a:gd name="connsiteY1975" fmla="*/ 4997031 h 7571036"/>
                  <a:gd name="connsiteX1976" fmla="*/ 901929 w 6994525"/>
                  <a:gd name="connsiteY1976" fmla="*/ 611583 h 7571036"/>
                  <a:gd name="connsiteX1977" fmla="*/ 887875 w 6994525"/>
                  <a:gd name="connsiteY1977" fmla="*/ 597529 h 7571036"/>
                  <a:gd name="connsiteX1978" fmla="*/ 873821 w 6994525"/>
                  <a:gd name="connsiteY1978" fmla="*/ 611583 h 7571036"/>
                  <a:gd name="connsiteX1979" fmla="*/ 887875 w 6994525"/>
                  <a:gd name="connsiteY1979" fmla="*/ 625636 h 7571036"/>
                  <a:gd name="connsiteX1980" fmla="*/ 901929 w 6994525"/>
                  <a:gd name="connsiteY1980" fmla="*/ 611583 h 7571036"/>
                  <a:gd name="connsiteX1981" fmla="*/ 906615 w 6994525"/>
                  <a:gd name="connsiteY1981" fmla="*/ 4738869 h 7571036"/>
                  <a:gd name="connsiteX1982" fmla="*/ 882206 w 6994525"/>
                  <a:gd name="connsiteY1982" fmla="*/ 4714457 h 7571036"/>
                  <a:gd name="connsiteX1983" fmla="*/ 857794 w 6994525"/>
                  <a:gd name="connsiteY1983" fmla="*/ 4738869 h 7571036"/>
                  <a:gd name="connsiteX1984" fmla="*/ 882206 w 6994525"/>
                  <a:gd name="connsiteY1984" fmla="*/ 4763277 h 7571036"/>
                  <a:gd name="connsiteX1985" fmla="*/ 906615 w 6994525"/>
                  <a:gd name="connsiteY1985" fmla="*/ 4738869 h 7571036"/>
                  <a:gd name="connsiteX1986" fmla="*/ 906862 w 6994525"/>
                  <a:gd name="connsiteY1986" fmla="*/ 2431863 h 7571036"/>
                  <a:gd name="connsiteX1987" fmla="*/ 904890 w 6994525"/>
                  <a:gd name="connsiteY1987" fmla="*/ 2429887 h 7571036"/>
                  <a:gd name="connsiteX1988" fmla="*/ 902918 w 6994525"/>
                  <a:gd name="connsiteY1988" fmla="*/ 2431863 h 7571036"/>
                  <a:gd name="connsiteX1989" fmla="*/ 904890 w 6994525"/>
                  <a:gd name="connsiteY1989" fmla="*/ 2433829 h 7571036"/>
                  <a:gd name="connsiteX1990" fmla="*/ 906862 w 6994525"/>
                  <a:gd name="connsiteY1990" fmla="*/ 2431863 h 7571036"/>
                  <a:gd name="connsiteX1991" fmla="*/ 906862 w 6994525"/>
                  <a:gd name="connsiteY1991" fmla="*/ 5901966 h 7571036"/>
                  <a:gd name="connsiteX1992" fmla="*/ 902177 w 6994525"/>
                  <a:gd name="connsiteY1992" fmla="*/ 5897280 h 7571036"/>
                  <a:gd name="connsiteX1993" fmla="*/ 897491 w 6994525"/>
                  <a:gd name="connsiteY1993" fmla="*/ 5901966 h 7571036"/>
                  <a:gd name="connsiteX1994" fmla="*/ 902177 w 6994525"/>
                  <a:gd name="connsiteY1994" fmla="*/ 5906652 h 7571036"/>
                  <a:gd name="connsiteX1995" fmla="*/ 906862 w 6994525"/>
                  <a:gd name="connsiteY1995" fmla="*/ 5901966 h 7571036"/>
                  <a:gd name="connsiteX1996" fmla="*/ 909329 w 6994525"/>
                  <a:gd name="connsiteY1996" fmla="*/ 1576354 h 7571036"/>
                  <a:gd name="connsiteX1997" fmla="*/ 889849 w 6994525"/>
                  <a:gd name="connsiteY1997" fmla="*/ 1556875 h 7571036"/>
                  <a:gd name="connsiteX1998" fmla="*/ 870369 w 6994525"/>
                  <a:gd name="connsiteY1998" fmla="*/ 1576354 h 7571036"/>
                  <a:gd name="connsiteX1999" fmla="*/ 889849 w 6994525"/>
                  <a:gd name="connsiteY1999" fmla="*/ 1595841 h 7571036"/>
                  <a:gd name="connsiteX2000" fmla="*/ 909329 w 6994525"/>
                  <a:gd name="connsiteY2000" fmla="*/ 1576354 h 7571036"/>
                  <a:gd name="connsiteX2001" fmla="*/ 910068 w 6994525"/>
                  <a:gd name="connsiteY2001" fmla="*/ 5380949 h 7571036"/>
                  <a:gd name="connsiteX2002" fmla="*/ 891079 w 6994525"/>
                  <a:gd name="connsiteY2002" fmla="*/ 5361963 h 7571036"/>
                  <a:gd name="connsiteX2003" fmla="*/ 872094 w 6994525"/>
                  <a:gd name="connsiteY2003" fmla="*/ 5380949 h 7571036"/>
                  <a:gd name="connsiteX2004" fmla="*/ 891079 w 6994525"/>
                  <a:gd name="connsiteY2004" fmla="*/ 5399935 h 7571036"/>
                  <a:gd name="connsiteX2005" fmla="*/ 910068 w 6994525"/>
                  <a:gd name="connsiteY2005" fmla="*/ 5380949 h 7571036"/>
                  <a:gd name="connsiteX2006" fmla="*/ 915985 w 6994525"/>
                  <a:gd name="connsiteY2006" fmla="*/ 6650815 h 7571036"/>
                  <a:gd name="connsiteX2007" fmla="*/ 912531 w 6994525"/>
                  <a:gd name="connsiteY2007" fmla="*/ 6647610 h 7571036"/>
                  <a:gd name="connsiteX2008" fmla="*/ 909081 w 6994525"/>
                  <a:gd name="connsiteY2008" fmla="*/ 6650815 h 7571036"/>
                  <a:gd name="connsiteX2009" fmla="*/ 912531 w 6994525"/>
                  <a:gd name="connsiteY2009" fmla="*/ 6654269 h 7571036"/>
                  <a:gd name="connsiteX2010" fmla="*/ 915985 w 6994525"/>
                  <a:gd name="connsiteY2010" fmla="*/ 6650815 h 7571036"/>
                  <a:gd name="connsiteX2011" fmla="*/ 918944 w 6994525"/>
                  <a:gd name="connsiteY2011" fmla="*/ 1055149 h 7571036"/>
                  <a:gd name="connsiteX2012" fmla="*/ 900697 w 6994525"/>
                  <a:gd name="connsiteY2012" fmla="*/ 1036908 h 7571036"/>
                  <a:gd name="connsiteX2013" fmla="*/ 882451 w 6994525"/>
                  <a:gd name="connsiteY2013" fmla="*/ 1055149 h 7571036"/>
                  <a:gd name="connsiteX2014" fmla="*/ 900697 w 6994525"/>
                  <a:gd name="connsiteY2014" fmla="*/ 1073413 h 7571036"/>
                  <a:gd name="connsiteX2015" fmla="*/ 918944 w 6994525"/>
                  <a:gd name="connsiteY2015" fmla="*/ 1055149 h 7571036"/>
                  <a:gd name="connsiteX2016" fmla="*/ 924862 w 6994525"/>
                  <a:gd name="connsiteY2016" fmla="*/ 4082731 h 7571036"/>
                  <a:gd name="connsiteX2017" fmla="*/ 878755 w 6994525"/>
                  <a:gd name="connsiteY2017" fmla="*/ 4036620 h 7571036"/>
                  <a:gd name="connsiteX2018" fmla="*/ 832644 w 6994525"/>
                  <a:gd name="connsiteY2018" fmla="*/ 4082731 h 7571036"/>
                  <a:gd name="connsiteX2019" fmla="*/ 878755 w 6994525"/>
                  <a:gd name="connsiteY2019" fmla="*/ 4129088 h 7571036"/>
                  <a:gd name="connsiteX2020" fmla="*/ 924862 w 6994525"/>
                  <a:gd name="connsiteY2020" fmla="*/ 4082731 h 7571036"/>
                  <a:gd name="connsiteX2021" fmla="*/ 925848 w 6994525"/>
                  <a:gd name="connsiteY2021" fmla="*/ 6518402 h 7571036"/>
                  <a:gd name="connsiteX2022" fmla="*/ 922395 w 6994525"/>
                  <a:gd name="connsiteY2022" fmla="*/ 6514951 h 7571036"/>
                  <a:gd name="connsiteX2023" fmla="*/ 918944 w 6994525"/>
                  <a:gd name="connsiteY2023" fmla="*/ 6518402 h 7571036"/>
                  <a:gd name="connsiteX2024" fmla="*/ 922395 w 6994525"/>
                  <a:gd name="connsiteY2024" fmla="*/ 6521855 h 7571036"/>
                  <a:gd name="connsiteX2025" fmla="*/ 925848 w 6994525"/>
                  <a:gd name="connsiteY2025" fmla="*/ 6518402 h 7571036"/>
                  <a:gd name="connsiteX2026" fmla="*/ 926094 w 6994525"/>
                  <a:gd name="connsiteY2026" fmla="*/ 2706043 h 7571036"/>
                  <a:gd name="connsiteX2027" fmla="*/ 923135 w 6994525"/>
                  <a:gd name="connsiteY2027" fmla="*/ 2703083 h 7571036"/>
                  <a:gd name="connsiteX2028" fmla="*/ 920177 w 6994525"/>
                  <a:gd name="connsiteY2028" fmla="*/ 2706043 h 7571036"/>
                  <a:gd name="connsiteX2029" fmla="*/ 923135 w 6994525"/>
                  <a:gd name="connsiteY2029" fmla="*/ 2709002 h 7571036"/>
                  <a:gd name="connsiteX2030" fmla="*/ 926094 w 6994525"/>
                  <a:gd name="connsiteY2030" fmla="*/ 2706043 h 7571036"/>
                  <a:gd name="connsiteX2031" fmla="*/ 928312 w 6994525"/>
                  <a:gd name="connsiteY2031" fmla="*/ 5231771 h 7571036"/>
                  <a:gd name="connsiteX2032" fmla="*/ 918450 w 6994525"/>
                  <a:gd name="connsiteY2032" fmla="*/ 5221908 h 7571036"/>
                  <a:gd name="connsiteX2033" fmla="*/ 908587 w 6994525"/>
                  <a:gd name="connsiteY2033" fmla="*/ 5231771 h 7571036"/>
                  <a:gd name="connsiteX2034" fmla="*/ 918450 w 6994525"/>
                  <a:gd name="connsiteY2034" fmla="*/ 5241634 h 7571036"/>
                  <a:gd name="connsiteX2035" fmla="*/ 928312 w 6994525"/>
                  <a:gd name="connsiteY2035" fmla="*/ 5231771 h 7571036"/>
                  <a:gd name="connsiteX2036" fmla="*/ 930531 w 6994525"/>
                  <a:gd name="connsiteY2036" fmla="*/ 4471580 h 7571036"/>
                  <a:gd name="connsiteX2037" fmla="*/ 884424 w 6994525"/>
                  <a:gd name="connsiteY2037" fmla="*/ 4425470 h 7571036"/>
                  <a:gd name="connsiteX2038" fmla="*/ 838313 w 6994525"/>
                  <a:gd name="connsiteY2038" fmla="*/ 4471580 h 7571036"/>
                  <a:gd name="connsiteX2039" fmla="*/ 884424 w 6994525"/>
                  <a:gd name="connsiteY2039" fmla="*/ 4517687 h 7571036"/>
                  <a:gd name="connsiteX2040" fmla="*/ 930531 w 6994525"/>
                  <a:gd name="connsiteY2040" fmla="*/ 4471580 h 7571036"/>
                  <a:gd name="connsiteX2041" fmla="*/ 932505 w 6994525"/>
                  <a:gd name="connsiteY2041" fmla="*/ 2166301 h 7571036"/>
                  <a:gd name="connsiteX2042" fmla="*/ 907108 w 6994525"/>
                  <a:gd name="connsiteY2042" fmla="*/ 2140913 h 7571036"/>
                  <a:gd name="connsiteX2043" fmla="*/ 881711 w 6994525"/>
                  <a:gd name="connsiteY2043" fmla="*/ 2166301 h 7571036"/>
                  <a:gd name="connsiteX2044" fmla="*/ 907108 w 6994525"/>
                  <a:gd name="connsiteY2044" fmla="*/ 2191714 h 7571036"/>
                  <a:gd name="connsiteX2045" fmla="*/ 932505 w 6994525"/>
                  <a:gd name="connsiteY2045" fmla="*/ 2166301 h 7571036"/>
                  <a:gd name="connsiteX2046" fmla="*/ 935711 w 6994525"/>
                  <a:gd name="connsiteY2046" fmla="*/ 6384513 h 7571036"/>
                  <a:gd name="connsiteX2047" fmla="*/ 933244 w 6994525"/>
                  <a:gd name="connsiteY2047" fmla="*/ 6382046 h 7571036"/>
                  <a:gd name="connsiteX2048" fmla="*/ 930780 w 6994525"/>
                  <a:gd name="connsiteY2048" fmla="*/ 6384513 h 7571036"/>
                  <a:gd name="connsiteX2049" fmla="*/ 933244 w 6994525"/>
                  <a:gd name="connsiteY2049" fmla="*/ 6386977 h 7571036"/>
                  <a:gd name="connsiteX2050" fmla="*/ 935711 w 6994525"/>
                  <a:gd name="connsiteY2050" fmla="*/ 6384513 h 7571036"/>
                  <a:gd name="connsiteX2051" fmla="*/ 936451 w 6994525"/>
                  <a:gd name="connsiteY2051" fmla="*/ 1196185 h 7571036"/>
                  <a:gd name="connsiteX2052" fmla="*/ 918698 w 6994525"/>
                  <a:gd name="connsiteY2052" fmla="*/ 1178426 h 7571036"/>
                  <a:gd name="connsiteX2053" fmla="*/ 900945 w 6994525"/>
                  <a:gd name="connsiteY2053" fmla="*/ 1196185 h 7571036"/>
                  <a:gd name="connsiteX2054" fmla="*/ 918698 w 6994525"/>
                  <a:gd name="connsiteY2054" fmla="*/ 1213941 h 7571036"/>
                  <a:gd name="connsiteX2055" fmla="*/ 936451 w 6994525"/>
                  <a:gd name="connsiteY2055" fmla="*/ 1196185 h 7571036"/>
                  <a:gd name="connsiteX2056" fmla="*/ 937932 w 6994525"/>
                  <a:gd name="connsiteY2056" fmla="*/ 1725738 h 7571036"/>
                  <a:gd name="connsiteX2057" fmla="*/ 916971 w 6994525"/>
                  <a:gd name="connsiteY2057" fmla="*/ 1704806 h 7571036"/>
                  <a:gd name="connsiteX2058" fmla="*/ 896014 w 6994525"/>
                  <a:gd name="connsiteY2058" fmla="*/ 1725738 h 7571036"/>
                  <a:gd name="connsiteX2059" fmla="*/ 916971 w 6994525"/>
                  <a:gd name="connsiteY2059" fmla="*/ 1746733 h 7571036"/>
                  <a:gd name="connsiteX2060" fmla="*/ 937932 w 6994525"/>
                  <a:gd name="connsiteY2060" fmla="*/ 1725738 h 7571036"/>
                  <a:gd name="connsiteX2061" fmla="*/ 946314 w 6994525"/>
                  <a:gd name="connsiteY2061" fmla="*/ 3334064 h 7571036"/>
                  <a:gd name="connsiteX2062" fmla="*/ 922149 w 6994525"/>
                  <a:gd name="connsiteY2062" fmla="*/ 3309917 h 7571036"/>
                  <a:gd name="connsiteX2063" fmla="*/ 897986 w 6994525"/>
                  <a:gd name="connsiteY2063" fmla="*/ 3334064 h 7571036"/>
                  <a:gd name="connsiteX2064" fmla="*/ 922149 w 6994525"/>
                  <a:gd name="connsiteY2064" fmla="*/ 3358239 h 7571036"/>
                  <a:gd name="connsiteX2065" fmla="*/ 946314 w 6994525"/>
                  <a:gd name="connsiteY2065" fmla="*/ 3334064 h 7571036"/>
                  <a:gd name="connsiteX2066" fmla="*/ 947546 w 6994525"/>
                  <a:gd name="connsiteY2066" fmla="*/ 3449961 h 7571036"/>
                  <a:gd name="connsiteX2067" fmla="*/ 918452 w 6994525"/>
                  <a:gd name="connsiteY2067" fmla="*/ 3420869 h 7571036"/>
                  <a:gd name="connsiteX2068" fmla="*/ 889355 w 6994525"/>
                  <a:gd name="connsiteY2068" fmla="*/ 3449961 h 7571036"/>
                  <a:gd name="connsiteX2069" fmla="*/ 918452 w 6994525"/>
                  <a:gd name="connsiteY2069" fmla="*/ 3478865 h 7571036"/>
                  <a:gd name="connsiteX2070" fmla="*/ 947546 w 6994525"/>
                  <a:gd name="connsiteY2070" fmla="*/ 3449961 h 7571036"/>
                  <a:gd name="connsiteX2071" fmla="*/ 948779 w 6994525"/>
                  <a:gd name="connsiteY2071" fmla="*/ 4842182 h 7571036"/>
                  <a:gd name="connsiteX2072" fmla="*/ 934724 w 6994525"/>
                  <a:gd name="connsiteY2072" fmla="*/ 4828128 h 7571036"/>
                  <a:gd name="connsiteX2073" fmla="*/ 920671 w 6994525"/>
                  <a:gd name="connsiteY2073" fmla="*/ 4842182 h 7571036"/>
                  <a:gd name="connsiteX2074" fmla="*/ 934724 w 6994525"/>
                  <a:gd name="connsiteY2074" fmla="*/ 4856236 h 7571036"/>
                  <a:gd name="connsiteX2075" fmla="*/ 948779 w 6994525"/>
                  <a:gd name="connsiteY2075" fmla="*/ 4842182 h 7571036"/>
                  <a:gd name="connsiteX2076" fmla="*/ 950752 w 6994525"/>
                  <a:gd name="connsiteY2076" fmla="*/ 3217945 h 7571036"/>
                  <a:gd name="connsiteX2077" fmla="*/ 931274 w 6994525"/>
                  <a:gd name="connsiteY2077" fmla="*/ 3198465 h 7571036"/>
                  <a:gd name="connsiteX2078" fmla="*/ 911794 w 6994525"/>
                  <a:gd name="connsiteY2078" fmla="*/ 3217945 h 7571036"/>
                  <a:gd name="connsiteX2079" fmla="*/ 931274 w 6994525"/>
                  <a:gd name="connsiteY2079" fmla="*/ 3237427 h 7571036"/>
                  <a:gd name="connsiteX2080" fmla="*/ 950752 w 6994525"/>
                  <a:gd name="connsiteY2080" fmla="*/ 3217945 h 7571036"/>
                  <a:gd name="connsiteX2081" fmla="*/ 951246 w 6994525"/>
                  <a:gd name="connsiteY2081" fmla="*/ 1909937 h 7571036"/>
                  <a:gd name="connsiteX2082" fmla="*/ 926589 w 6994525"/>
                  <a:gd name="connsiteY2082" fmla="*/ 1885302 h 7571036"/>
                  <a:gd name="connsiteX2083" fmla="*/ 901931 w 6994525"/>
                  <a:gd name="connsiteY2083" fmla="*/ 1909937 h 7571036"/>
                  <a:gd name="connsiteX2084" fmla="*/ 926589 w 6994525"/>
                  <a:gd name="connsiteY2084" fmla="*/ 1934575 h 7571036"/>
                  <a:gd name="connsiteX2085" fmla="*/ 951246 w 6994525"/>
                  <a:gd name="connsiteY2085" fmla="*/ 1909937 h 7571036"/>
                  <a:gd name="connsiteX2086" fmla="*/ 952479 w 6994525"/>
                  <a:gd name="connsiteY2086" fmla="*/ 3566151 h 7571036"/>
                  <a:gd name="connsiteX2087" fmla="*/ 919685 w 6994525"/>
                  <a:gd name="connsiteY2087" fmla="*/ 3533357 h 7571036"/>
                  <a:gd name="connsiteX2088" fmla="*/ 886891 w 6994525"/>
                  <a:gd name="connsiteY2088" fmla="*/ 3566151 h 7571036"/>
                  <a:gd name="connsiteX2089" fmla="*/ 919685 w 6994525"/>
                  <a:gd name="connsiteY2089" fmla="*/ 3598948 h 7571036"/>
                  <a:gd name="connsiteX2090" fmla="*/ 952479 w 6994525"/>
                  <a:gd name="connsiteY2090" fmla="*/ 3566151 h 7571036"/>
                  <a:gd name="connsiteX2091" fmla="*/ 953465 w 6994525"/>
                  <a:gd name="connsiteY2091" fmla="*/ 5761170 h 7571036"/>
                  <a:gd name="connsiteX2092" fmla="*/ 920180 w 6994525"/>
                  <a:gd name="connsiteY2092" fmla="*/ 5727881 h 7571036"/>
                  <a:gd name="connsiteX2093" fmla="*/ 886891 w 6994525"/>
                  <a:gd name="connsiteY2093" fmla="*/ 5761170 h 7571036"/>
                  <a:gd name="connsiteX2094" fmla="*/ 920180 w 6994525"/>
                  <a:gd name="connsiteY2094" fmla="*/ 5794458 h 7571036"/>
                  <a:gd name="connsiteX2095" fmla="*/ 953465 w 6994525"/>
                  <a:gd name="connsiteY2095" fmla="*/ 5761170 h 7571036"/>
                  <a:gd name="connsiteX2096" fmla="*/ 954449 w 6994525"/>
                  <a:gd name="connsiteY2096" fmla="*/ 4195416 h 7571036"/>
                  <a:gd name="connsiteX2097" fmla="*/ 907355 w 6994525"/>
                  <a:gd name="connsiteY2097" fmla="*/ 4148319 h 7571036"/>
                  <a:gd name="connsiteX2098" fmla="*/ 860258 w 6994525"/>
                  <a:gd name="connsiteY2098" fmla="*/ 4195416 h 7571036"/>
                  <a:gd name="connsiteX2099" fmla="*/ 907355 w 6994525"/>
                  <a:gd name="connsiteY2099" fmla="*/ 4242513 h 7571036"/>
                  <a:gd name="connsiteX2100" fmla="*/ 954449 w 6994525"/>
                  <a:gd name="connsiteY2100" fmla="*/ 4195416 h 7571036"/>
                  <a:gd name="connsiteX2101" fmla="*/ 957658 w 6994525"/>
                  <a:gd name="connsiteY2101" fmla="*/ 6258758 h 7571036"/>
                  <a:gd name="connsiteX2102" fmla="*/ 955437 w 6994525"/>
                  <a:gd name="connsiteY2102" fmla="*/ 6256540 h 7571036"/>
                  <a:gd name="connsiteX2103" fmla="*/ 953219 w 6994525"/>
                  <a:gd name="connsiteY2103" fmla="*/ 6258758 h 7571036"/>
                  <a:gd name="connsiteX2104" fmla="*/ 955437 w 6994525"/>
                  <a:gd name="connsiteY2104" fmla="*/ 6260976 h 7571036"/>
                  <a:gd name="connsiteX2105" fmla="*/ 957658 w 6994525"/>
                  <a:gd name="connsiteY2105" fmla="*/ 6258758 h 7571036"/>
                  <a:gd name="connsiteX2106" fmla="*/ 958890 w 6994525"/>
                  <a:gd name="connsiteY2106" fmla="*/ 1338678 h 7571036"/>
                  <a:gd name="connsiteX2107" fmla="*/ 938670 w 6994525"/>
                  <a:gd name="connsiteY2107" fmla="*/ 1318703 h 7571036"/>
                  <a:gd name="connsiteX2108" fmla="*/ 918452 w 6994525"/>
                  <a:gd name="connsiteY2108" fmla="*/ 1338678 h 7571036"/>
                  <a:gd name="connsiteX2109" fmla="*/ 938670 w 6994525"/>
                  <a:gd name="connsiteY2109" fmla="*/ 1358899 h 7571036"/>
                  <a:gd name="connsiteX2110" fmla="*/ 958890 w 6994525"/>
                  <a:gd name="connsiteY2110" fmla="*/ 1338678 h 7571036"/>
                  <a:gd name="connsiteX2111" fmla="*/ 959874 w 6994525"/>
                  <a:gd name="connsiteY2111" fmla="*/ 2595571 h 7571036"/>
                  <a:gd name="connsiteX2112" fmla="*/ 958887 w 6994525"/>
                  <a:gd name="connsiteY2112" fmla="*/ 2594585 h 7571036"/>
                  <a:gd name="connsiteX2113" fmla="*/ 957902 w 6994525"/>
                  <a:gd name="connsiteY2113" fmla="*/ 2595571 h 7571036"/>
                  <a:gd name="connsiteX2114" fmla="*/ 958887 w 6994525"/>
                  <a:gd name="connsiteY2114" fmla="*/ 2596556 h 7571036"/>
                  <a:gd name="connsiteX2115" fmla="*/ 959874 w 6994525"/>
                  <a:gd name="connsiteY2115" fmla="*/ 2595571 h 7571036"/>
                  <a:gd name="connsiteX2116" fmla="*/ 960368 w 6994525"/>
                  <a:gd name="connsiteY2116" fmla="*/ 3102541 h 7571036"/>
                  <a:gd name="connsiteX2117" fmla="*/ 945574 w 6994525"/>
                  <a:gd name="connsiteY2117" fmla="*/ 3087746 h 7571036"/>
                  <a:gd name="connsiteX2118" fmla="*/ 930780 w 6994525"/>
                  <a:gd name="connsiteY2118" fmla="*/ 3102541 h 7571036"/>
                  <a:gd name="connsiteX2119" fmla="*/ 945574 w 6994525"/>
                  <a:gd name="connsiteY2119" fmla="*/ 3117337 h 7571036"/>
                  <a:gd name="connsiteX2120" fmla="*/ 960368 w 6994525"/>
                  <a:gd name="connsiteY2120" fmla="*/ 3102541 h 7571036"/>
                  <a:gd name="connsiteX2121" fmla="*/ 962837 w 6994525"/>
                  <a:gd name="connsiteY2121" fmla="*/ 3682289 h 7571036"/>
                  <a:gd name="connsiteX2122" fmla="*/ 926343 w 6994525"/>
                  <a:gd name="connsiteY2122" fmla="*/ 3645795 h 7571036"/>
                  <a:gd name="connsiteX2123" fmla="*/ 889850 w 6994525"/>
                  <a:gd name="connsiteY2123" fmla="*/ 3682289 h 7571036"/>
                  <a:gd name="connsiteX2124" fmla="*/ 926343 w 6994525"/>
                  <a:gd name="connsiteY2124" fmla="*/ 3718783 h 7571036"/>
                  <a:gd name="connsiteX2125" fmla="*/ 962837 w 6994525"/>
                  <a:gd name="connsiteY2125" fmla="*/ 3682289 h 7571036"/>
                  <a:gd name="connsiteX2126" fmla="*/ 963819 w 6994525"/>
                  <a:gd name="connsiteY2126" fmla="*/ 5095664 h 7571036"/>
                  <a:gd name="connsiteX2127" fmla="*/ 958150 w 6994525"/>
                  <a:gd name="connsiteY2127" fmla="*/ 5089992 h 7571036"/>
                  <a:gd name="connsiteX2128" fmla="*/ 952478 w 6994525"/>
                  <a:gd name="connsiteY2128" fmla="*/ 5095664 h 7571036"/>
                  <a:gd name="connsiteX2129" fmla="*/ 958150 w 6994525"/>
                  <a:gd name="connsiteY2129" fmla="*/ 5101333 h 7571036"/>
                  <a:gd name="connsiteX2130" fmla="*/ 963819 w 6994525"/>
                  <a:gd name="connsiteY2130" fmla="*/ 5095664 h 7571036"/>
                  <a:gd name="connsiteX2131" fmla="*/ 964560 w 6994525"/>
                  <a:gd name="connsiteY2131" fmla="*/ 5617909 h 7571036"/>
                  <a:gd name="connsiteX2132" fmla="*/ 939903 w 6994525"/>
                  <a:gd name="connsiteY2132" fmla="*/ 5593252 h 7571036"/>
                  <a:gd name="connsiteX2133" fmla="*/ 915246 w 6994525"/>
                  <a:gd name="connsiteY2133" fmla="*/ 5617909 h 7571036"/>
                  <a:gd name="connsiteX2134" fmla="*/ 939903 w 6994525"/>
                  <a:gd name="connsiteY2134" fmla="*/ 5642567 h 7571036"/>
                  <a:gd name="connsiteX2135" fmla="*/ 964560 w 6994525"/>
                  <a:gd name="connsiteY2135" fmla="*/ 5617909 h 7571036"/>
                  <a:gd name="connsiteX2136" fmla="*/ 968013 w 6994525"/>
                  <a:gd name="connsiteY2136" fmla="*/ 698674 h 7571036"/>
                  <a:gd name="connsiteX2137" fmla="*/ 953465 w 6994525"/>
                  <a:gd name="connsiteY2137" fmla="*/ 684120 h 7571036"/>
                  <a:gd name="connsiteX2138" fmla="*/ 938916 w 6994525"/>
                  <a:gd name="connsiteY2138" fmla="*/ 698674 h 7571036"/>
                  <a:gd name="connsiteX2139" fmla="*/ 953465 w 6994525"/>
                  <a:gd name="connsiteY2139" fmla="*/ 713210 h 7571036"/>
                  <a:gd name="connsiteX2140" fmla="*/ 968013 w 6994525"/>
                  <a:gd name="connsiteY2140" fmla="*/ 698674 h 7571036"/>
                  <a:gd name="connsiteX2141" fmla="*/ 969243 w 6994525"/>
                  <a:gd name="connsiteY2141" fmla="*/ 270389 h 7571036"/>
                  <a:gd name="connsiteX2142" fmla="*/ 955189 w 6994525"/>
                  <a:gd name="connsiteY2142" fmla="*/ 256335 h 7571036"/>
                  <a:gd name="connsiteX2143" fmla="*/ 941135 w 6994525"/>
                  <a:gd name="connsiteY2143" fmla="*/ 270389 h 7571036"/>
                  <a:gd name="connsiteX2144" fmla="*/ 955189 w 6994525"/>
                  <a:gd name="connsiteY2144" fmla="*/ 284443 h 7571036"/>
                  <a:gd name="connsiteX2145" fmla="*/ 969243 w 6994525"/>
                  <a:gd name="connsiteY2145" fmla="*/ 270389 h 7571036"/>
                  <a:gd name="connsiteX2146" fmla="*/ 972945 w 6994525"/>
                  <a:gd name="connsiteY2146" fmla="*/ 4579087 h 7571036"/>
                  <a:gd name="connsiteX2147" fmla="*/ 928067 w 6994525"/>
                  <a:gd name="connsiteY2147" fmla="*/ 4534209 h 7571036"/>
                  <a:gd name="connsiteX2148" fmla="*/ 883191 w 6994525"/>
                  <a:gd name="connsiteY2148" fmla="*/ 4579087 h 7571036"/>
                  <a:gd name="connsiteX2149" fmla="*/ 928067 w 6994525"/>
                  <a:gd name="connsiteY2149" fmla="*/ 4623964 h 7571036"/>
                  <a:gd name="connsiteX2150" fmla="*/ 972945 w 6994525"/>
                  <a:gd name="connsiteY2150" fmla="*/ 4579087 h 7571036"/>
                  <a:gd name="connsiteX2151" fmla="*/ 973191 w 6994525"/>
                  <a:gd name="connsiteY2151" fmla="*/ 6122651 h 7571036"/>
                  <a:gd name="connsiteX2152" fmla="*/ 968505 w 6994525"/>
                  <a:gd name="connsiteY2152" fmla="*/ 6117966 h 7571036"/>
                  <a:gd name="connsiteX2153" fmla="*/ 963574 w 6994525"/>
                  <a:gd name="connsiteY2153" fmla="*/ 6122651 h 7571036"/>
                  <a:gd name="connsiteX2154" fmla="*/ 968505 w 6994525"/>
                  <a:gd name="connsiteY2154" fmla="*/ 6127583 h 7571036"/>
                  <a:gd name="connsiteX2155" fmla="*/ 973191 w 6994525"/>
                  <a:gd name="connsiteY2155" fmla="*/ 6122651 h 7571036"/>
                  <a:gd name="connsiteX2156" fmla="*/ 974180 w 6994525"/>
                  <a:gd name="connsiteY2156" fmla="*/ 2325073 h 7571036"/>
                  <a:gd name="connsiteX2157" fmla="*/ 950755 w 6994525"/>
                  <a:gd name="connsiteY2157" fmla="*/ 2301667 h 7571036"/>
                  <a:gd name="connsiteX2158" fmla="*/ 927330 w 6994525"/>
                  <a:gd name="connsiteY2158" fmla="*/ 2325073 h 7571036"/>
                  <a:gd name="connsiteX2159" fmla="*/ 950755 w 6994525"/>
                  <a:gd name="connsiteY2159" fmla="*/ 2348543 h 7571036"/>
                  <a:gd name="connsiteX2160" fmla="*/ 974180 w 6994525"/>
                  <a:gd name="connsiteY2160" fmla="*/ 2325073 h 7571036"/>
                  <a:gd name="connsiteX2161" fmla="*/ 975904 w 6994525"/>
                  <a:gd name="connsiteY2161" fmla="*/ 2988123 h 7571036"/>
                  <a:gd name="connsiteX2162" fmla="*/ 965054 w 6994525"/>
                  <a:gd name="connsiteY2162" fmla="*/ 2977273 h 7571036"/>
                  <a:gd name="connsiteX2163" fmla="*/ 954205 w 6994525"/>
                  <a:gd name="connsiteY2163" fmla="*/ 2988123 h 7571036"/>
                  <a:gd name="connsiteX2164" fmla="*/ 965054 w 6994525"/>
                  <a:gd name="connsiteY2164" fmla="*/ 2998973 h 7571036"/>
                  <a:gd name="connsiteX2165" fmla="*/ 975904 w 6994525"/>
                  <a:gd name="connsiteY2165" fmla="*/ 2988123 h 7571036"/>
                  <a:gd name="connsiteX2166" fmla="*/ 978370 w 6994525"/>
                  <a:gd name="connsiteY2166" fmla="*/ 3797935 h 7571036"/>
                  <a:gd name="connsiteX2167" fmla="*/ 938178 w 6994525"/>
                  <a:gd name="connsiteY2167" fmla="*/ 3757743 h 7571036"/>
                  <a:gd name="connsiteX2168" fmla="*/ 897986 w 6994525"/>
                  <a:gd name="connsiteY2168" fmla="*/ 3797935 h 7571036"/>
                  <a:gd name="connsiteX2169" fmla="*/ 938178 w 6994525"/>
                  <a:gd name="connsiteY2169" fmla="*/ 3838125 h 7571036"/>
                  <a:gd name="connsiteX2170" fmla="*/ 978370 w 6994525"/>
                  <a:gd name="connsiteY2170" fmla="*/ 3797935 h 7571036"/>
                  <a:gd name="connsiteX2171" fmla="*/ 979109 w 6994525"/>
                  <a:gd name="connsiteY2171" fmla="*/ 401784 h 7571036"/>
                  <a:gd name="connsiteX2172" fmla="*/ 965055 w 6994525"/>
                  <a:gd name="connsiteY2172" fmla="*/ 387730 h 7571036"/>
                  <a:gd name="connsiteX2173" fmla="*/ 951001 w 6994525"/>
                  <a:gd name="connsiteY2173" fmla="*/ 401784 h 7571036"/>
                  <a:gd name="connsiteX2174" fmla="*/ 965055 w 6994525"/>
                  <a:gd name="connsiteY2174" fmla="*/ 415837 h 7571036"/>
                  <a:gd name="connsiteX2175" fmla="*/ 979109 w 6994525"/>
                  <a:gd name="connsiteY2175" fmla="*/ 401784 h 7571036"/>
                  <a:gd name="connsiteX2176" fmla="*/ 979848 w 6994525"/>
                  <a:gd name="connsiteY2176" fmla="*/ 1483644 h 7571036"/>
                  <a:gd name="connsiteX2177" fmla="*/ 960368 w 6994525"/>
                  <a:gd name="connsiteY2177" fmla="*/ 1464173 h 7571036"/>
                  <a:gd name="connsiteX2178" fmla="*/ 940889 w 6994525"/>
                  <a:gd name="connsiteY2178" fmla="*/ 1483644 h 7571036"/>
                  <a:gd name="connsiteX2179" fmla="*/ 960368 w 6994525"/>
                  <a:gd name="connsiteY2179" fmla="*/ 1503127 h 7571036"/>
                  <a:gd name="connsiteX2180" fmla="*/ 979848 w 6994525"/>
                  <a:gd name="connsiteY2180" fmla="*/ 1483644 h 7571036"/>
                  <a:gd name="connsiteX2181" fmla="*/ 980341 w 6994525"/>
                  <a:gd name="connsiteY2181" fmla="*/ 5473416 h 7571036"/>
                  <a:gd name="connsiteX2182" fmla="*/ 961602 w 6994525"/>
                  <a:gd name="connsiteY2182" fmla="*/ 5454676 h 7571036"/>
                  <a:gd name="connsiteX2183" fmla="*/ 942862 w 6994525"/>
                  <a:gd name="connsiteY2183" fmla="*/ 5473416 h 7571036"/>
                  <a:gd name="connsiteX2184" fmla="*/ 961602 w 6994525"/>
                  <a:gd name="connsiteY2184" fmla="*/ 5492155 h 7571036"/>
                  <a:gd name="connsiteX2185" fmla="*/ 980341 w 6994525"/>
                  <a:gd name="connsiteY2185" fmla="*/ 5473416 h 7571036"/>
                  <a:gd name="connsiteX2186" fmla="*/ 981576 w 6994525"/>
                  <a:gd name="connsiteY2186" fmla="*/ 834512 h 7571036"/>
                  <a:gd name="connsiteX2187" fmla="*/ 966781 w 6994525"/>
                  <a:gd name="connsiteY2187" fmla="*/ 819714 h 7571036"/>
                  <a:gd name="connsiteX2188" fmla="*/ 951987 w 6994525"/>
                  <a:gd name="connsiteY2188" fmla="*/ 834512 h 7571036"/>
                  <a:gd name="connsiteX2189" fmla="*/ 966781 w 6994525"/>
                  <a:gd name="connsiteY2189" fmla="*/ 849300 h 7571036"/>
                  <a:gd name="connsiteX2190" fmla="*/ 981576 w 6994525"/>
                  <a:gd name="connsiteY2190" fmla="*/ 834512 h 7571036"/>
                  <a:gd name="connsiteX2191" fmla="*/ 986999 w 6994525"/>
                  <a:gd name="connsiteY2191" fmla="*/ 5985552 h 7571036"/>
                  <a:gd name="connsiteX2192" fmla="*/ 982808 w 6994525"/>
                  <a:gd name="connsiteY2192" fmla="*/ 5981361 h 7571036"/>
                  <a:gd name="connsiteX2193" fmla="*/ 978617 w 6994525"/>
                  <a:gd name="connsiteY2193" fmla="*/ 5985552 h 7571036"/>
                  <a:gd name="connsiteX2194" fmla="*/ 982808 w 6994525"/>
                  <a:gd name="connsiteY2194" fmla="*/ 5989743 h 7571036"/>
                  <a:gd name="connsiteX2195" fmla="*/ 986999 w 6994525"/>
                  <a:gd name="connsiteY2195" fmla="*/ 5985552 h 7571036"/>
                  <a:gd name="connsiteX2196" fmla="*/ 987493 w 6994525"/>
                  <a:gd name="connsiteY2196" fmla="*/ 4306619 h 7571036"/>
                  <a:gd name="connsiteX2197" fmla="*/ 940889 w 6994525"/>
                  <a:gd name="connsiteY2197" fmla="*/ 4260016 h 7571036"/>
                  <a:gd name="connsiteX2198" fmla="*/ 894287 w 6994525"/>
                  <a:gd name="connsiteY2198" fmla="*/ 4306619 h 7571036"/>
                  <a:gd name="connsiteX2199" fmla="*/ 940889 w 6994525"/>
                  <a:gd name="connsiteY2199" fmla="*/ 4353221 h 7571036"/>
                  <a:gd name="connsiteX2200" fmla="*/ 987493 w 6994525"/>
                  <a:gd name="connsiteY2200" fmla="*/ 4306619 h 7571036"/>
                  <a:gd name="connsiteX2201" fmla="*/ 987494 w 6994525"/>
                  <a:gd name="connsiteY2201" fmla="*/ 2064208 h 7571036"/>
                  <a:gd name="connsiteX2202" fmla="*/ 961850 w 6994525"/>
                  <a:gd name="connsiteY2202" fmla="*/ 2038554 h 7571036"/>
                  <a:gd name="connsiteX2203" fmla="*/ 936206 w 6994525"/>
                  <a:gd name="connsiteY2203" fmla="*/ 2064208 h 7571036"/>
                  <a:gd name="connsiteX2204" fmla="*/ 961850 w 6994525"/>
                  <a:gd name="connsiteY2204" fmla="*/ 2089861 h 7571036"/>
                  <a:gd name="connsiteX2205" fmla="*/ 987494 w 6994525"/>
                  <a:gd name="connsiteY2205" fmla="*/ 2064208 h 7571036"/>
                  <a:gd name="connsiteX2206" fmla="*/ 989220 w 6994525"/>
                  <a:gd name="connsiteY2206" fmla="*/ 534655 h 7571036"/>
                  <a:gd name="connsiteX2207" fmla="*/ 975164 w 6994525"/>
                  <a:gd name="connsiteY2207" fmla="*/ 520601 h 7571036"/>
                  <a:gd name="connsiteX2208" fmla="*/ 961109 w 6994525"/>
                  <a:gd name="connsiteY2208" fmla="*/ 534655 h 7571036"/>
                  <a:gd name="connsiteX2209" fmla="*/ 975164 w 6994525"/>
                  <a:gd name="connsiteY2209" fmla="*/ 548708 h 7571036"/>
                  <a:gd name="connsiteX2210" fmla="*/ 989220 w 6994525"/>
                  <a:gd name="connsiteY2210" fmla="*/ 534655 h 7571036"/>
                  <a:gd name="connsiteX2211" fmla="*/ 994643 w 6994525"/>
                  <a:gd name="connsiteY2211" fmla="*/ 5326702 h 7571036"/>
                  <a:gd name="connsiteX2212" fmla="*/ 985767 w 6994525"/>
                  <a:gd name="connsiteY2212" fmla="*/ 5317826 h 7571036"/>
                  <a:gd name="connsiteX2213" fmla="*/ 976890 w 6994525"/>
                  <a:gd name="connsiteY2213" fmla="*/ 5326702 h 7571036"/>
                  <a:gd name="connsiteX2214" fmla="*/ 985767 w 6994525"/>
                  <a:gd name="connsiteY2214" fmla="*/ 5335579 h 7571036"/>
                  <a:gd name="connsiteX2215" fmla="*/ 994643 w 6994525"/>
                  <a:gd name="connsiteY2215" fmla="*/ 5326702 h 7571036"/>
                  <a:gd name="connsiteX2216" fmla="*/ 996861 w 6994525"/>
                  <a:gd name="connsiteY2216" fmla="*/ 2874447 h 7571036"/>
                  <a:gd name="connsiteX2217" fmla="*/ 989709 w 6994525"/>
                  <a:gd name="connsiteY2217" fmla="*/ 2867296 h 7571036"/>
                  <a:gd name="connsiteX2218" fmla="*/ 982559 w 6994525"/>
                  <a:gd name="connsiteY2218" fmla="*/ 2874447 h 7571036"/>
                  <a:gd name="connsiteX2219" fmla="*/ 989709 w 6994525"/>
                  <a:gd name="connsiteY2219" fmla="*/ 2881600 h 7571036"/>
                  <a:gd name="connsiteX2220" fmla="*/ 996861 w 6994525"/>
                  <a:gd name="connsiteY2220" fmla="*/ 2874447 h 7571036"/>
                  <a:gd name="connsiteX2221" fmla="*/ 997355 w 6994525"/>
                  <a:gd name="connsiteY2221" fmla="*/ 4943032 h 7571036"/>
                  <a:gd name="connsiteX2222" fmla="*/ 991686 w 6994525"/>
                  <a:gd name="connsiteY2222" fmla="*/ 4937361 h 7571036"/>
                  <a:gd name="connsiteX2223" fmla="*/ 986013 w 6994525"/>
                  <a:gd name="connsiteY2223" fmla="*/ 4943032 h 7571036"/>
                  <a:gd name="connsiteX2224" fmla="*/ 991686 w 6994525"/>
                  <a:gd name="connsiteY2224" fmla="*/ 4948705 h 7571036"/>
                  <a:gd name="connsiteX2225" fmla="*/ 997355 w 6994525"/>
                  <a:gd name="connsiteY2225" fmla="*/ 4943032 h 7571036"/>
                  <a:gd name="connsiteX2226" fmla="*/ 998340 w 6994525"/>
                  <a:gd name="connsiteY2226" fmla="*/ 971575 h 7571036"/>
                  <a:gd name="connsiteX2227" fmla="*/ 981327 w 6994525"/>
                  <a:gd name="connsiteY2227" fmla="*/ 954567 h 7571036"/>
                  <a:gd name="connsiteX2228" fmla="*/ 964314 w 6994525"/>
                  <a:gd name="connsiteY2228" fmla="*/ 971575 h 7571036"/>
                  <a:gd name="connsiteX2229" fmla="*/ 981327 w 6994525"/>
                  <a:gd name="connsiteY2229" fmla="*/ 988579 h 7571036"/>
                  <a:gd name="connsiteX2230" fmla="*/ 998340 w 6994525"/>
                  <a:gd name="connsiteY2230" fmla="*/ 971575 h 7571036"/>
                  <a:gd name="connsiteX2231" fmla="*/ 998342 w 6994525"/>
                  <a:gd name="connsiteY2231" fmla="*/ 3912592 h 7571036"/>
                  <a:gd name="connsiteX2232" fmla="*/ 955192 w 6994525"/>
                  <a:gd name="connsiteY2232" fmla="*/ 3869441 h 7571036"/>
                  <a:gd name="connsiteX2233" fmla="*/ 912040 w 6994525"/>
                  <a:gd name="connsiteY2233" fmla="*/ 3912592 h 7571036"/>
                  <a:gd name="connsiteX2234" fmla="*/ 955192 w 6994525"/>
                  <a:gd name="connsiteY2234" fmla="*/ 3955989 h 7571036"/>
                  <a:gd name="connsiteX2235" fmla="*/ 998342 w 6994525"/>
                  <a:gd name="connsiteY2235" fmla="*/ 3912592 h 7571036"/>
                  <a:gd name="connsiteX2236" fmla="*/ 999821 w 6994525"/>
                  <a:gd name="connsiteY2236" fmla="*/ 2486830 h 7571036"/>
                  <a:gd name="connsiteX2237" fmla="*/ 999572 w 6994525"/>
                  <a:gd name="connsiteY2237" fmla="*/ 2486585 h 7571036"/>
                  <a:gd name="connsiteX2238" fmla="*/ 999327 w 6994525"/>
                  <a:gd name="connsiteY2238" fmla="*/ 2486830 h 7571036"/>
                  <a:gd name="connsiteX2239" fmla="*/ 999572 w 6994525"/>
                  <a:gd name="connsiteY2239" fmla="*/ 2487079 h 7571036"/>
                  <a:gd name="connsiteX2240" fmla="*/ 999821 w 6994525"/>
                  <a:gd name="connsiteY2240" fmla="*/ 2486830 h 7571036"/>
                  <a:gd name="connsiteX2241" fmla="*/ 1004012 w 6994525"/>
                  <a:gd name="connsiteY2241" fmla="*/ 1630832 h 7571036"/>
                  <a:gd name="connsiteX2242" fmla="*/ 984286 w 6994525"/>
                  <a:gd name="connsiteY2242" fmla="*/ 1611106 h 7571036"/>
                  <a:gd name="connsiteX2243" fmla="*/ 964560 w 6994525"/>
                  <a:gd name="connsiteY2243" fmla="*/ 1630832 h 7571036"/>
                  <a:gd name="connsiteX2244" fmla="*/ 984286 w 6994525"/>
                  <a:gd name="connsiteY2244" fmla="*/ 1650555 h 7571036"/>
                  <a:gd name="connsiteX2245" fmla="*/ 1004012 w 6994525"/>
                  <a:gd name="connsiteY2245" fmla="*/ 1630832 h 7571036"/>
                  <a:gd name="connsiteX2246" fmla="*/ 1006479 w 6994525"/>
                  <a:gd name="connsiteY2246" fmla="*/ 6723061 h 7571036"/>
                  <a:gd name="connsiteX2247" fmla="*/ 1003520 w 6994525"/>
                  <a:gd name="connsiteY2247" fmla="*/ 6720102 h 7571036"/>
                  <a:gd name="connsiteX2248" fmla="*/ 1000561 w 6994525"/>
                  <a:gd name="connsiteY2248" fmla="*/ 6723061 h 7571036"/>
                  <a:gd name="connsiteX2249" fmla="*/ 1003520 w 6994525"/>
                  <a:gd name="connsiteY2249" fmla="*/ 6726020 h 7571036"/>
                  <a:gd name="connsiteX2250" fmla="*/ 1006479 w 6994525"/>
                  <a:gd name="connsiteY2250" fmla="*/ 6723061 h 7571036"/>
                  <a:gd name="connsiteX2251" fmla="*/ 1012642 w 6994525"/>
                  <a:gd name="connsiteY2251" fmla="*/ 1812599 h 7571036"/>
                  <a:gd name="connsiteX2252" fmla="*/ 988971 w 6994525"/>
                  <a:gd name="connsiteY2252" fmla="*/ 1788883 h 7571036"/>
                  <a:gd name="connsiteX2253" fmla="*/ 965300 w 6994525"/>
                  <a:gd name="connsiteY2253" fmla="*/ 1812599 h 7571036"/>
                  <a:gd name="connsiteX2254" fmla="*/ 988971 w 6994525"/>
                  <a:gd name="connsiteY2254" fmla="*/ 1836268 h 7571036"/>
                  <a:gd name="connsiteX2255" fmla="*/ 1012642 w 6994525"/>
                  <a:gd name="connsiteY2255" fmla="*/ 1812599 h 7571036"/>
                  <a:gd name="connsiteX2256" fmla="*/ 1013875 w 6994525"/>
                  <a:gd name="connsiteY2256" fmla="*/ 1110620 h 7571036"/>
                  <a:gd name="connsiteX2257" fmla="*/ 997108 w 6994525"/>
                  <a:gd name="connsiteY2257" fmla="*/ 1093858 h 7571036"/>
                  <a:gd name="connsiteX2258" fmla="*/ 980341 w 6994525"/>
                  <a:gd name="connsiteY2258" fmla="*/ 1110620 h 7571036"/>
                  <a:gd name="connsiteX2259" fmla="*/ 997108 w 6994525"/>
                  <a:gd name="connsiteY2259" fmla="*/ 1127392 h 7571036"/>
                  <a:gd name="connsiteX2260" fmla="*/ 1013875 w 6994525"/>
                  <a:gd name="connsiteY2260" fmla="*/ 1110620 h 7571036"/>
                  <a:gd name="connsiteX2261" fmla="*/ 1015604 w 6994525"/>
                  <a:gd name="connsiteY2261" fmla="*/ 6592130 h 7571036"/>
                  <a:gd name="connsiteX2262" fmla="*/ 1012396 w 6994525"/>
                  <a:gd name="connsiteY2262" fmla="*/ 6588924 h 7571036"/>
                  <a:gd name="connsiteX2263" fmla="*/ 1009192 w 6994525"/>
                  <a:gd name="connsiteY2263" fmla="*/ 6592130 h 7571036"/>
                  <a:gd name="connsiteX2264" fmla="*/ 1012396 w 6994525"/>
                  <a:gd name="connsiteY2264" fmla="*/ 6595334 h 7571036"/>
                  <a:gd name="connsiteX2265" fmla="*/ 1015604 w 6994525"/>
                  <a:gd name="connsiteY2265" fmla="*/ 6592130 h 7571036"/>
                  <a:gd name="connsiteX2266" fmla="*/ 1019547 w 6994525"/>
                  <a:gd name="connsiteY2266" fmla="*/ 4684373 h 7571036"/>
                  <a:gd name="connsiteX2267" fmla="*/ 976150 w 6994525"/>
                  <a:gd name="connsiteY2267" fmla="*/ 4640976 h 7571036"/>
                  <a:gd name="connsiteX2268" fmla="*/ 932753 w 6994525"/>
                  <a:gd name="connsiteY2268" fmla="*/ 4684373 h 7571036"/>
                  <a:gd name="connsiteX2269" fmla="*/ 976150 w 6994525"/>
                  <a:gd name="connsiteY2269" fmla="*/ 4727770 h 7571036"/>
                  <a:gd name="connsiteX2270" fmla="*/ 1019547 w 6994525"/>
                  <a:gd name="connsiteY2270" fmla="*/ 4684373 h 7571036"/>
                  <a:gd name="connsiteX2271" fmla="*/ 1020780 w 6994525"/>
                  <a:gd name="connsiteY2271" fmla="*/ 4416099 h 7571036"/>
                  <a:gd name="connsiteX2272" fmla="*/ 979355 w 6994525"/>
                  <a:gd name="connsiteY2272" fmla="*/ 4374674 h 7571036"/>
                  <a:gd name="connsiteX2273" fmla="*/ 937684 w 6994525"/>
                  <a:gd name="connsiteY2273" fmla="*/ 4416099 h 7571036"/>
                  <a:gd name="connsiteX2274" fmla="*/ 979355 w 6994525"/>
                  <a:gd name="connsiteY2274" fmla="*/ 4457769 h 7571036"/>
                  <a:gd name="connsiteX2275" fmla="*/ 1020780 w 6994525"/>
                  <a:gd name="connsiteY2275" fmla="*/ 4416099 h 7571036"/>
                  <a:gd name="connsiteX2276" fmla="*/ 1022505 w 6994525"/>
                  <a:gd name="connsiteY2276" fmla="*/ 4026758 h 7571036"/>
                  <a:gd name="connsiteX2277" fmla="*/ 977382 w 6994525"/>
                  <a:gd name="connsiteY2277" fmla="*/ 3981633 h 7571036"/>
                  <a:gd name="connsiteX2278" fmla="*/ 932258 w 6994525"/>
                  <a:gd name="connsiteY2278" fmla="*/ 4026758 h 7571036"/>
                  <a:gd name="connsiteX2279" fmla="*/ 977382 w 6994525"/>
                  <a:gd name="connsiteY2279" fmla="*/ 4071879 h 7571036"/>
                  <a:gd name="connsiteX2280" fmla="*/ 1022505 w 6994525"/>
                  <a:gd name="connsiteY2280" fmla="*/ 4026758 h 7571036"/>
                  <a:gd name="connsiteX2281" fmla="*/ 1022752 w 6994525"/>
                  <a:gd name="connsiteY2281" fmla="*/ 2762252 h 7571036"/>
                  <a:gd name="connsiteX2282" fmla="*/ 1019546 w 6994525"/>
                  <a:gd name="connsiteY2282" fmla="*/ 2759055 h 7571036"/>
                  <a:gd name="connsiteX2283" fmla="*/ 1016342 w 6994525"/>
                  <a:gd name="connsiteY2283" fmla="*/ 2762252 h 7571036"/>
                  <a:gd name="connsiteX2284" fmla="*/ 1019546 w 6994525"/>
                  <a:gd name="connsiteY2284" fmla="*/ 2765461 h 7571036"/>
                  <a:gd name="connsiteX2285" fmla="*/ 1022752 w 6994525"/>
                  <a:gd name="connsiteY2285" fmla="*/ 2762252 h 7571036"/>
                  <a:gd name="connsiteX2286" fmla="*/ 1023738 w 6994525"/>
                  <a:gd name="connsiteY2286" fmla="*/ 2220561 h 7571036"/>
                  <a:gd name="connsiteX2287" fmla="*/ 1001053 w 6994525"/>
                  <a:gd name="connsiteY2287" fmla="*/ 2197867 h 7571036"/>
                  <a:gd name="connsiteX2288" fmla="*/ 978368 w 6994525"/>
                  <a:gd name="connsiteY2288" fmla="*/ 2220561 h 7571036"/>
                  <a:gd name="connsiteX2289" fmla="*/ 1001053 w 6994525"/>
                  <a:gd name="connsiteY2289" fmla="*/ 2243245 h 7571036"/>
                  <a:gd name="connsiteX2290" fmla="*/ 1023738 w 6994525"/>
                  <a:gd name="connsiteY2290" fmla="*/ 2220561 h 7571036"/>
                  <a:gd name="connsiteX2291" fmla="*/ 1023986 w 6994525"/>
                  <a:gd name="connsiteY2291" fmla="*/ 6460212 h 7571036"/>
                  <a:gd name="connsiteX2292" fmla="*/ 1021765 w 6994525"/>
                  <a:gd name="connsiteY2292" fmla="*/ 6457993 h 7571036"/>
                  <a:gd name="connsiteX2293" fmla="*/ 1019547 w 6994525"/>
                  <a:gd name="connsiteY2293" fmla="*/ 6460212 h 7571036"/>
                  <a:gd name="connsiteX2294" fmla="*/ 1021765 w 6994525"/>
                  <a:gd name="connsiteY2294" fmla="*/ 6462430 h 7571036"/>
                  <a:gd name="connsiteX2295" fmla="*/ 1023986 w 6994525"/>
                  <a:gd name="connsiteY2295" fmla="*/ 6460212 h 7571036"/>
                  <a:gd name="connsiteX2296" fmla="*/ 1031383 w 6994525"/>
                  <a:gd name="connsiteY2296" fmla="*/ 5846484 h 7571036"/>
                  <a:gd name="connsiteX2297" fmla="*/ 998834 w 6994525"/>
                  <a:gd name="connsiteY2297" fmla="*/ 5813936 h 7571036"/>
                  <a:gd name="connsiteX2298" fmla="*/ 966041 w 6994525"/>
                  <a:gd name="connsiteY2298" fmla="*/ 5846484 h 7571036"/>
                  <a:gd name="connsiteX2299" fmla="*/ 998834 w 6994525"/>
                  <a:gd name="connsiteY2299" fmla="*/ 5879031 h 7571036"/>
                  <a:gd name="connsiteX2300" fmla="*/ 1031383 w 6994525"/>
                  <a:gd name="connsiteY2300" fmla="*/ 5846484 h 7571036"/>
                  <a:gd name="connsiteX2301" fmla="*/ 1033849 w 6994525"/>
                  <a:gd name="connsiteY2301" fmla="*/ 1250896 h 7571036"/>
                  <a:gd name="connsiteX2302" fmla="*/ 1014861 w 6994525"/>
                  <a:gd name="connsiteY2302" fmla="*/ 1231918 h 7571036"/>
                  <a:gd name="connsiteX2303" fmla="*/ 995876 w 6994525"/>
                  <a:gd name="connsiteY2303" fmla="*/ 1250896 h 7571036"/>
                  <a:gd name="connsiteX2304" fmla="*/ 1014861 w 6994525"/>
                  <a:gd name="connsiteY2304" fmla="*/ 1269881 h 7571036"/>
                  <a:gd name="connsiteX2305" fmla="*/ 1033849 w 6994525"/>
                  <a:gd name="connsiteY2305" fmla="*/ 1250896 h 7571036"/>
                  <a:gd name="connsiteX2306" fmla="*/ 1039519 w 6994525"/>
                  <a:gd name="connsiteY2306" fmla="*/ 5705691 h 7571036"/>
                  <a:gd name="connsiteX2307" fmla="*/ 1016096 w 6994525"/>
                  <a:gd name="connsiteY2307" fmla="*/ 5682265 h 7571036"/>
                  <a:gd name="connsiteX2308" fmla="*/ 992671 w 6994525"/>
                  <a:gd name="connsiteY2308" fmla="*/ 5705691 h 7571036"/>
                  <a:gd name="connsiteX2309" fmla="*/ 1016096 w 6994525"/>
                  <a:gd name="connsiteY2309" fmla="*/ 5729113 h 7571036"/>
                  <a:gd name="connsiteX2310" fmla="*/ 1039519 w 6994525"/>
                  <a:gd name="connsiteY2310" fmla="*/ 5705691 h 7571036"/>
                  <a:gd name="connsiteX2311" fmla="*/ 1044453 w 6994525"/>
                  <a:gd name="connsiteY2311" fmla="*/ 6335690 h 7571036"/>
                  <a:gd name="connsiteX2312" fmla="*/ 1042232 w 6994525"/>
                  <a:gd name="connsiteY2312" fmla="*/ 6333471 h 7571036"/>
                  <a:gd name="connsiteX2313" fmla="*/ 1040014 w 6994525"/>
                  <a:gd name="connsiteY2313" fmla="*/ 6335690 h 7571036"/>
                  <a:gd name="connsiteX2314" fmla="*/ 1042232 w 6994525"/>
                  <a:gd name="connsiteY2314" fmla="*/ 6337908 h 7571036"/>
                  <a:gd name="connsiteX2315" fmla="*/ 1044453 w 6994525"/>
                  <a:gd name="connsiteY2315" fmla="*/ 6335690 h 7571036"/>
                  <a:gd name="connsiteX2316" fmla="*/ 1045437 w 6994525"/>
                  <a:gd name="connsiteY2316" fmla="*/ 2379567 h 7571036"/>
                  <a:gd name="connsiteX2317" fmla="*/ 1044942 w 6994525"/>
                  <a:gd name="connsiteY2317" fmla="*/ 2379076 h 7571036"/>
                  <a:gd name="connsiteX2318" fmla="*/ 1044451 w 6994525"/>
                  <a:gd name="connsiteY2318" fmla="*/ 2379567 h 7571036"/>
                  <a:gd name="connsiteX2319" fmla="*/ 1044942 w 6994525"/>
                  <a:gd name="connsiteY2319" fmla="*/ 2380061 h 7571036"/>
                  <a:gd name="connsiteX2320" fmla="*/ 1045437 w 6994525"/>
                  <a:gd name="connsiteY2320" fmla="*/ 2379567 h 7571036"/>
                  <a:gd name="connsiteX2321" fmla="*/ 1046425 w 6994525"/>
                  <a:gd name="connsiteY2321" fmla="*/ 1964121 h 7571036"/>
                  <a:gd name="connsiteX2322" fmla="*/ 1020533 w 6994525"/>
                  <a:gd name="connsiteY2322" fmla="*/ 1938253 h 7571036"/>
                  <a:gd name="connsiteX2323" fmla="*/ 994643 w 6994525"/>
                  <a:gd name="connsiteY2323" fmla="*/ 1964121 h 7571036"/>
                  <a:gd name="connsiteX2324" fmla="*/ 1020533 w 6994525"/>
                  <a:gd name="connsiteY2324" fmla="*/ 1990239 h 7571036"/>
                  <a:gd name="connsiteX2325" fmla="*/ 1046425 w 6994525"/>
                  <a:gd name="connsiteY2325" fmla="*/ 1964121 h 7571036"/>
                  <a:gd name="connsiteX2326" fmla="*/ 1050863 w 6994525"/>
                  <a:gd name="connsiteY2326" fmla="*/ 4139688 h 7571036"/>
                  <a:gd name="connsiteX2327" fmla="*/ 1004753 w 6994525"/>
                  <a:gd name="connsiteY2327" fmla="*/ 4093578 h 7571036"/>
                  <a:gd name="connsiteX2328" fmla="*/ 958643 w 6994525"/>
                  <a:gd name="connsiteY2328" fmla="*/ 4139688 h 7571036"/>
                  <a:gd name="connsiteX2329" fmla="*/ 1004753 w 6994525"/>
                  <a:gd name="connsiteY2329" fmla="*/ 4185798 h 7571036"/>
                  <a:gd name="connsiteX2330" fmla="*/ 1050863 w 6994525"/>
                  <a:gd name="connsiteY2330" fmla="*/ 4139688 h 7571036"/>
                  <a:gd name="connsiteX2331" fmla="*/ 1051355 w 6994525"/>
                  <a:gd name="connsiteY2331" fmla="*/ 5192072 h 7571036"/>
                  <a:gd name="connsiteX2332" fmla="*/ 1022506 w 6994525"/>
                  <a:gd name="connsiteY2332" fmla="*/ 5163224 h 7571036"/>
                  <a:gd name="connsiteX2333" fmla="*/ 993658 w 6994525"/>
                  <a:gd name="connsiteY2333" fmla="*/ 5192072 h 7571036"/>
                  <a:gd name="connsiteX2334" fmla="*/ 1022506 w 6994525"/>
                  <a:gd name="connsiteY2334" fmla="*/ 5220921 h 7571036"/>
                  <a:gd name="connsiteX2335" fmla="*/ 1051355 w 6994525"/>
                  <a:gd name="connsiteY2335" fmla="*/ 5192072 h 7571036"/>
                  <a:gd name="connsiteX2336" fmla="*/ 1053082 w 6994525"/>
                  <a:gd name="connsiteY2336" fmla="*/ 1393893 h 7571036"/>
                  <a:gd name="connsiteX2337" fmla="*/ 1034093 w 6994525"/>
                  <a:gd name="connsiteY2337" fmla="*/ 1374913 h 7571036"/>
                  <a:gd name="connsiteX2338" fmla="*/ 1015108 w 6994525"/>
                  <a:gd name="connsiteY2338" fmla="*/ 1393893 h 7571036"/>
                  <a:gd name="connsiteX2339" fmla="*/ 1034093 w 6994525"/>
                  <a:gd name="connsiteY2339" fmla="*/ 1412883 h 7571036"/>
                  <a:gd name="connsiteX2340" fmla="*/ 1053082 w 6994525"/>
                  <a:gd name="connsiteY2340" fmla="*/ 1393893 h 7571036"/>
                  <a:gd name="connsiteX2341" fmla="*/ 1054068 w 6994525"/>
                  <a:gd name="connsiteY2341" fmla="*/ 5563172 h 7571036"/>
                  <a:gd name="connsiteX2342" fmla="*/ 1035328 w 6994525"/>
                  <a:gd name="connsiteY2342" fmla="*/ 5544678 h 7571036"/>
                  <a:gd name="connsiteX2343" fmla="*/ 1016589 w 6994525"/>
                  <a:gd name="connsiteY2343" fmla="*/ 5563172 h 7571036"/>
                  <a:gd name="connsiteX2344" fmla="*/ 1035328 w 6994525"/>
                  <a:gd name="connsiteY2344" fmla="*/ 5581912 h 7571036"/>
                  <a:gd name="connsiteX2345" fmla="*/ 1054068 w 6994525"/>
                  <a:gd name="connsiteY2345" fmla="*/ 5563172 h 7571036"/>
                  <a:gd name="connsiteX2346" fmla="*/ 1054561 w 6994525"/>
                  <a:gd name="connsiteY2346" fmla="*/ 621670 h 7571036"/>
                  <a:gd name="connsiteX2347" fmla="*/ 1040014 w 6994525"/>
                  <a:gd name="connsiteY2347" fmla="*/ 607123 h 7571036"/>
                  <a:gd name="connsiteX2348" fmla="*/ 1025465 w 6994525"/>
                  <a:gd name="connsiteY2348" fmla="*/ 621670 h 7571036"/>
                  <a:gd name="connsiteX2349" fmla="*/ 1040014 w 6994525"/>
                  <a:gd name="connsiteY2349" fmla="*/ 636218 h 7571036"/>
                  <a:gd name="connsiteX2350" fmla="*/ 1054561 w 6994525"/>
                  <a:gd name="connsiteY2350" fmla="*/ 621670 h 7571036"/>
                  <a:gd name="connsiteX2351" fmla="*/ 1054808 w 6994525"/>
                  <a:gd name="connsiteY2351" fmla="*/ 5041907 h 7571036"/>
                  <a:gd name="connsiteX2352" fmla="*/ 1052342 w 6994525"/>
                  <a:gd name="connsiteY2352" fmla="*/ 5039688 h 7571036"/>
                  <a:gd name="connsiteX2353" fmla="*/ 1050123 w 6994525"/>
                  <a:gd name="connsiteY2353" fmla="*/ 5041907 h 7571036"/>
                  <a:gd name="connsiteX2354" fmla="*/ 1052342 w 6994525"/>
                  <a:gd name="connsiteY2354" fmla="*/ 5044128 h 7571036"/>
                  <a:gd name="connsiteX2355" fmla="*/ 1054808 w 6994525"/>
                  <a:gd name="connsiteY2355" fmla="*/ 5041907 h 7571036"/>
                  <a:gd name="connsiteX2356" fmla="*/ 1057273 w 6994525"/>
                  <a:gd name="connsiteY2356" fmla="*/ 2651285 h 7571036"/>
                  <a:gd name="connsiteX2357" fmla="*/ 1054314 w 6994525"/>
                  <a:gd name="connsiteY2357" fmla="*/ 2648327 h 7571036"/>
                  <a:gd name="connsiteX2358" fmla="*/ 1051355 w 6994525"/>
                  <a:gd name="connsiteY2358" fmla="*/ 2651285 h 7571036"/>
                  <a:gd name="connsiteX2359" fmla="*/ 1054314 w 6994525"/>
                  <a:gd name="connsiteY2359" fmla="*/ 2654246 h 7571036"/>
                  <a:gd name="connsiteX2360" fmla="*/ 1057273 w 6994525"/>
                  <a:gd name="connsiteY2360" fmla="*/ 2651285 h 7571036"/>
                  <a:gd name="connsiteX2361" fmla="*/ 1058259 w 6994525"/>
                  <a:gd name="connsiteY2361" fmla="*/ 6201553 h 7571036"/>
                  <a:gd name="connsiteX2362" fmla="*/ 1053822 w 6994525"/>
                  <a:gd name="connsiteY2362" fmla="*/ 6197116 h 7571036"/>
                  <a:gd name="connsiteX2363" fmla="*/ 1049383 w 6994525"/>
                  <a:gd name="connsiteY2363" fmla="*/ 6201553 h 7571036"/>
                  <a:gd name="connsiteX2364" fmla="*/ 1053822 w 6994525"/>
                  <a:gd name="connsiteY2364" fmla="*/ 6205992 h 7571036"/>
                  <a:gd name="connsiteX2365" fmla="*/ 1058259 w 6994525"/>
                  <a:gd name="connsiteY2365" fmla="*/ 6201553 h 7571036"/>
                  <a:gd name="connsiteX2366" fmla="*/ 1058999 w 6994525"/>
                  <a:gd name="connsiteY2366" fmla="*/ 4523855 h 7571036"/>
                  <a:gd name="connsiteX2367" fmla="*/ 1022506 w 6994525"/>
                  <a:gd name="connsiteY2367" fmla="*/ 4487361 h 7571036"/>
                  <a:gd name="connsiteX2368" fmla="*/ 986013 w 6994525"/>
                  <a:gd name="connsiteY2368" fmla="*/ 4523855 h 7571036"/>
                  <a:gd name="connsiteX2369" fmla="*/ 1022506 w 6994525"/>
                  <a:gd name="connsiteY2369" fmla="*/ 4560348 h 7571036"/>
                  <a:gd name="connsiteX2370" fmla="*/ 1058999 w 6994525"/>
                  <a:gd name="connsiteY2370" fmla="*/ 4523855 h 7571036"/>
                  <a:gd name="connsiteX2371" fmla="*/ 1061466 w 6994525"/>
                  <a:gd name="connsiteY2371" fmla="*/ 199380 h 7571036"/>
                  <a:gd name="connsiteX2372" fmla="*/ 1047409 w 6994525"/>
                  <a:gd name="connsiteY2372" fmla="*/ 185327 h 7571036"/>
                  <a:gd name="connsiteX2373" fmla="*/ 1033355 w 6994525"/>
                  <a:gd name="connsiteY2373" fmla="*/ 199380 h 7571036"/>
                  <a:gd name="connsiteX2374" fmla="*/ 1047409 w 6994525"/>
                  <a:gd name="connsiteY2374" fmla="*/ 213436 h 7571036"/>
                  <a:gd name="connsiteX2375" fmla="*/ 1061466 w 6994525"/>
                  <a:gd name="connsiteY2375" fmla="*/ 199380 h 7571036"/>
                  <a:gd name="connsiteX2376" fmla="*/ 1064917 w 6994525"/>
                  <a:gd name="connsiteY2376" fmla="*/ 5418677 h 7571036"/>
                  <a:gd name="connsiteX2377" fmla="*/ 1056778 w 6994525"/>
                  <a:gd name="connsiteY2377" fmla="*/ 5410541 h 7571036"/>
                  <a:gd name="connsiteX2378" fmla="*/ 1048642 w 6994525"/>
                  <a:gd name="connsiteY2378" fmla="*/ 5418677 h 7571036"/>
                  <a:gd name="connsiteX2379" fmla="*/ 1056778 w 6994525"/>
                  <a:gd name="connsiteY2379" fmla="*/ 5426817 h 7571036"/>
                  <a:gd name="connsiteX2380" fmla="*/ 1064917 w 6994525"/>
                  <a:gd name="connsiteY2380" fmla="*/ 5418677 h 7571036"/>
                  <a:gd name="connsiteX2381" fmla="*/ 1066149 w 6994525"/>
                  <a:gd name="connsiteY2381" fmla="*/ 4787935 h 7571036"/>
                  <a:gd name="connsiteX2382" fmla="*/ 1028670 w 6994525"/>
                  <a:gd name="connsiteY2382" fmla="*/ 4750455 h 7571036"/>
                  <a:gd name="connsiteX2383" fmla="*/ 991190 w 6994525"/>
                  <a:gd name="connsiteY2383" fmla="*/ 4787935 h 7571036"/>
                  <a:gd name="connsiteX2384" fmla="*/ 1028670 w 6994525"/>
                  <a:gd name="connsiteY2384" fmla="*/ 4825414 h 7571036"/>
                  <a:gd name="connsiteX2385" fmla="*/ 1066149 w 6994525"/>
                  <a:gd name="connsiteY2385" fmla="*/ 4787935 h 7571036"/>
                  <a:gd name="connsiteX2386" fmla="*/ 1066397 w 6994525"/>
                  <a:gd name="connsiteY2386" fmla="*/ 755599 h 7571036"/>
                  <a:gd name="connsiteX2387" fmla="*/ 1051849 w 6994525"/>
                  <a:gd name="connsiteY2387" fmla="*/ 741058 h 7571036"/>
                  <a:gd name="connsiteX2388" fmla="*/ 1037301 w 6994525"/>
                  <a:gd name="connsiteY2388" fmla="*/ 755599 h 7571036"/>
                  <a:gd name="connsiteX2389" fmla="*/ 1051849 w 6994525"/>
                  <a:gd name="connsiteY2389" fmla="*/ 770148 h 7571036"/>
                  <a:gd name="connsiteX2390" fmla="*/ 1066397 w 6994525"/>
                  <a:gd name="connsiteY2390" fmla="*/ 755599 h 7571036"/>
                  <a:gd name="connsiteX2391" fmla="*/ 1069849 w 6994525"/>
                  <a:gd name="connsiteY2391" fmla="*/ 329293 h 7571036"/>
                  <a:gd name="connsiteX2392" fmla="*/ 1055795 w 6994525"/>
                  <a:gd name="connsiteY2392" fmla="*/ 315240 h 7571036"/>
                  <a:gd name="connsiteX2393" fmla="*/ 1041740 w 6994525"/>
                  <a:gd name="connsiteY2393" fmla="*/ 329293 h 7571036"/>
                  <a:gd name="connsiteX2394" fmla="*/ 1055795 w 6994525"/>
                  <a:gd name="connsiteY2394" fmla="*/ 343347 h 7571036"/>
                  <a:gd name="connsiteX2395" fmla="*/ 1069849 w 6994525"/>
                  <a:gd name="connsiteY2395" fmla="*/ 329293 h 7571036"/>
                  <a:gd name="connsiteX2396" fmla="*/ 1070095 w 6994525"/>
                  <a:gd name="connsiteY2396" fmla="*/ 6065938 h 7571036"/>
                  <a:gd name="connsiteX2397" fmla="*/ 1066396 w 6994525"/>
                  <a:gd name="connsiteY2397" fmla="*/ 6062238 h 7571036"/>
                  <a:gd name="connsiteX2398" fmla="*/ 1062450 w 6994525"/>
                  <a:gd name="connsiteY2398" fmla="*/ 6065938 h 7571036"/>
                  <a:gd name="connsiteX2399" fmla="*/ 1066396 w 6994525"/>
                  <a:gd name="connsiteY2399" fmla="*/ 6069883 h 7571036"/>
                  <a:gd name="connsiteX2400" fmla="*/ 1070095 w 6994525"/>
                  <a:gd name="connsiteY2400" fmla="*/ 6065938 h 7571036"/>
                  <a:gd name="connsiteX2401" fmla="*/ 1071329 w 6994525"/>
                  <a:gd name="connsiteY2401" fmla="*/ 3392016 h 7571036"/>
                  <a:gd name="connsiteX2402" fmla="*/ 1028178 w 6994525"/>
                  <a:gd name="connsiteY2402" fmla="*/ 3348854 h 7571036"/>
                  <a:gd name="connsiteX2403" fmla="*/ 985027 w 6994525"/>
                  <a:gd name="connsiteY2403" fmla="*/ 3392016 h 7571036"/>
                  <a:gd name="connsiteX2404" fmla="*/ 1028178 w 6994525"/>
                  <a:gd name="connsiteY2404" fmla="*/ 3435165 h 7571036"/>
                  <a:gd name="connsiteX2405" fmla="*/ 1071329 w 6994525"/>
                  <a:gd name="connsiteY2405" fmla="*/ 3392016 h 7571036"/>
                  <a:gd name="connsiteX2406" fmla="*/ 1072314 w 6994525"/>
                  <a:gd name="connsiteY2406" fmla="*/ 3508208 h 7571036"/>
                  <a:gd name="connsiteX2407" fmla="*/ 1026943 w 6994525"/>
                  <a:gd name="connsiteY2407" fmla="*/ 3463029 h 7571036"/>
                  <a:gd name="connsiteX2408" fmla="*/ 981574 w 6994525"/>
                  <a:gd name="connsiteY2408" fmla="*/ 3508208 h 7571036"/>
                  <a:gd name="connsiteX2409" fmla="*/ 1026943 w 6994525"/>
                  <a:gd name="connsiteY2409" fmla="*/ 3553578 h 7571036"/>
                  <a:gd name="connsiteX2410" fmla="*/ 1072314 w 6994525"/>
                  <a:gd name="connsiteY2410" fmla="*/ 3508208 h 7571036"/>
                  <a:gd name="connsiteX2411" fmla="*/ 1073797 w 6994525"/>
                  <a:gd name="connsiteY2411" fmla="*/ 1538364 h 7571036"/>
                  <a:gd name="connsiteX2412" fmla="*/ 1055303 w 6994525"/>
                  <a:gd name="connsiteY2412" fmla="*/ 1519873 h 7571036"/>
                  <a:gd name="connsiteX2413" fmla="*/ 1036809 w 6994525"/>
                  <a:gd name="connsiteY2413" fmla="*/ 1538364 h 7571036"/>
                  <a:gd name="connsiteX2414" fmla="*/ 1055303 w 6994525"/>
                  <a:gd name="connsiteY2414" fmla="*/ 1557099 h 7571036"/>
                  <a:gd name="connsiteX2415" fmla="*/ 1073797 w 6994525"/>
                  <a:gd name="connsiteY2415" fmla="*/ 1538364 h 7571036"/>
                  <a:gd name="connsiteX2416" fmla="*/ 1075766 w 6994525"/>
                  <a:gd name="connsiteY2416" fmla="*/ 3275867 h 7571036"/>
                  <a:gd name="connsiteX2417" fmla="*/ 1034836 w 6994525"/>
                  <a:gd name="connsiteY2417" fmla="*/ 3234941 h 7571036"/>
                  <a:gd name="connsiteX2418" fmla="*/ 993903 w 6994525"/>
                  <a:gd name="connsiteY2418" fmla="*/ 3275867 h 7571036"/>
                  <a:gd name="connsiteX2419" fmla="*/ 1034836 w 6994525"/>
                  <a:gd name="connsiteY2419" fmla="*/ 3316807 h 7571036"/>
                  <a:gd name="connsiteX2420" fmla="*/ 1075766 w 6994525"/>
                  <a:gd name="connsiteY2420" fmla="*/ 3275867 h 7571036"/>
                  <a:gd name="connsiteX2421" fmla="*/ 1077247 w 6994525"/>
                  <a:gd name="connsiteY2421" fmla="*/ 1717323 h 7571036"/>
                  <a:gd name="connsiteX2422" fmla="*/ 1055299 w 6994525"/>
                  <a:gd name="connsiteY2422" fmla="*/ 1695412 h 7571036"/>
                  <a:gd name="connsiteX2423" fmla="*/ 1033355 w 6994525"/>
                  <a:gd name="connsiteY2423" fmla="*/ 1717323 h 7571036"/>
                  <a:gd name="connsiteX2424" fmla="*/ 1055299 w 6994525"/>
                  <a:gd name="connsiteY2424" fmla="*/ 1739303 h 7571036"/>
                  <a:gd name="connsiteX2425" fmla="*/ 1077247 w 6994525"/>
                  <a:gd name="connsiteY2425" fmla="*/ 1717323 h 7571036"/>
                  <a:gd name="connsiteX2426" fmla="*/ 1077493 w 6994525"/>
                  <a:gd name="connsiteY2426" fmla="*/ 2118211 h 7571036"/>
                  <a:gd name="connsiteX2427" fmla="*/ 1055795 w 6994525"/>
                  <a:gd name="connsiteY2427" fmla="*/ 2096504 h 7571036"/>
                  <a:gd name="connsiteX2428" fmla="*/ 1034096 w 6994525"/>
                  <a:gd name="connsiteY2428" fmla="*/ 2118211 h 7571036"/>
                  <a:gd name="connsiteX2429" fmla="*/ 1055795 w 6994525"/>
                  <a:gd name="connsiteY2429" fmla="*/ 2139914 h 7571036"/>
                  <a:gd name="connsiteX2430" fmla="*/ 1077493 w 6994525"/>
                  <a:gd name="connsiteY2430" fmla="*/ 2118211 h 7571036"/>
                  <a:gd name="connsiteX2431" fmla="*/ 1078725 w 6994525"/>
                  <a:gd name="connsiteY2431" fmla="*/ 3624345 h 7571036"/>
                  <a:gd name="connsiteX2432" fmla="*/ 1030888 w 6994525"/>
                  <a:gd name="connsiteY2432" fmla="*/ 3576509 h 7571036"/>
                  <a:gd name="connsiteX2433" fmla="*/ 983054 w 6994525"/>
                  <a:gd name="connsiteY2433" fmla="*/ 3624345 h 7571036"/>
                  <a:gd name="connsiteX2434" fmla="*/ 1030888 w 6994525"/>
                  <a:gd name="connsiteY2434" fmla="*/ 3672179 h 7571036"/>
                  <a:gd name="connsiteX2435" fmla="*/ 1078725 w 6994525"/>
                  <a:gd name="connsiteY2435" fmla="*/ 3624345 h 7571036"/>
                  <a:gd name="connsiteX2436" fmla="*/ 1078726 w 6994525"/>
                  <a:gd name="connsiteY2436" fmla="*/ 460441 h 7571036"/>
                  <a:gd name="connsiteX2437" fmla="*/ 1064671 w 6994525"/>
                  <a:gd name="connsiteY2437" fmla="*/ 446387 h 7571036"/>
                  <a:gd name="connsiteX2438" fmla="*/ 1050617 w 6994525"/>
                  <a:gd name="connsiteY2438" fmla="*/ 460441 h 7571036"/>
                  <a:gd name="connsiteX2439" fmla="*/ 1064671 w 6994525"/>
                  <a:gd name="connsiteY2439" fmla="*/ 474496 h 7571036"/>
                  <a:gd name="connsiteX2440" fmla="*/ 1078726 w 6994525"/>
                  <a:gd name="connsiteY2440" fmla="*/ 460441 h 7571036"/>
                  <a:gd name="connsiteX2441" fmla="*/ 1080203 w 6994525"/>
                  <a:gd name="connsiteY2441" fmla="*/ 890943 h 7571036"/>
                  <a:gd name="connsiteX2442" fmla="*/ 1064671 w 6994525"/>
                  <a:gd name="connsiteY2442" fmla="*/ 875398 h 7571036"/>
                  <a:gd name="connsiteX2443" fmla="*/ 1049136 w 6994525"/>
                  <a:gd name="connsiteY2443" fmla="*/ 890943 h 7571036"/>
                  <a:gd name="connsiteX2444" fmla="*/ 1064671 w 6994525"/>
                  <a:gd name="connsiteY2444" fmla="*/ 906469 h 7571036"/>
                  <a:gd name="connsiteX2445" fmla="*/ 1080203 w 6994525"/>
                  <a:gd name="connsiteY2445" fmla="*/ 890943 h 7571036"/>
                  <a:gd name="connsiteX2446" fmla="*/ 1083655 w 6994525"/>
                  <a:gd name="connsiteY2446" fmla="*/ 4251386 h 7571036"/>
                  <a:gd name="connsiteX2447" fmla="*/ 1037052 w 6994525"/>
                  <a:gd name="connsiteY2447" fmla="*/ 4204784 h 7571036"/>
                  <a:gd name="connsiteX2448" fmla="*/ 990450 w 6994525"/>
                  <a:gd name="connsiteY2448" fmla="*/ 4251386 h 7571036"/>
                  <a:gd name="connsiteX2449" fmla="*/ 1037052 w 6994525"/>
                  <a:gd name="connsiteY2449" fmla="*/ 4297991 h 7571036"/>
                  <a:gd name="connsiteX2450" fmla="*/ 1083655 w 6994525"/>
                  <a:gd name="connsiteY2450" fmla="*/ 4251386 h 7571036"/>
                  <a:gd name="connsiteX2451" fmla="*/ 1085630 w 6994525"/>
                  <a:gd name="connsiteY2451" fmla="*/ 3160227 h 7571036"/>
                  <a:gd name="connsiteX2452" fmla="*/ 1046918 w 6994525"/>
                  <a:gd name="connsiteY2452" fmla="*/ 3121514 h 7571036"/>
                  <a:gd name="connsiteX2453" fmla="*/ 1008452 w 6994525"/>
                  <a:gd name="connsiteY2453" fmla="*/ 3160227 h 7571036"/>
                  <a:gd name="connsiteX2454" fmla="*/ 1046918 w 6994525"/>
                  <a:gd name="connsiteY2454" fmla="*/ 3198695 h 7571036"/>
                  <a:gd name="connsiteX2455" fmla="*/ 1085630 w 6994525"/>
                  <a:gd name="connsiteY2455" fmla="*/ 3160227 h 7571036"/>
                  <a:gd name="connsiteX2456" fmla="*/ 1089573 w 6994525"/>
                  <a:gd name="connsiteY2456" fmla="*/ 3740235 h 7571036"/>
                  <a:gd name="connsiteX2457" fmla="*/ 1040505 w 6994525"/>
                  <a:gd name="connsiteY2457" fmla="*/ 3691166 h 7571036"/>
                  <a:gd name="connsiteX2458" fmla="*/ 991436 w 6994525"/>
                  <a:gd name="connsiteY2458" fmla="*/ 3740235 h 7571036"/>
                  <a:gd name="connsiteX2459" fmla="*/ 1040505 w 6994525"/>
                  <a:gd name="connsiteY2459" fmla="*/ 3789301 h 7571036"/>
                  <a:gd name="connsiteX2460" fmla="*/ 1089573 w 6994525"/>
                  <a:gd name="connsiteY2460" fmla="*/ 3740235 h 7571036"/>
                  <a:gd name="connsiteX2461" fmla="*/ 1094260 w 6994525"/>
                  <a:gd name="connsiteY2461" fmla="*/ 1027772 h 7571036"/>
                  <a:gd name="connsiteX2462" fmla="*/ 1078480 w 6994525"/>
                  <a:gd name="connsiteY2462" fmla="*/ 1011995 h 7571036"/>
                  <a:gd name="connsiteX2463" fmla="*/ 1062699 w 6994525"/>
                  <a:gd name="connsiteY2463" fmla="*/ 1027772 h 7571036"/>
                  <a:gd name="connsiteX2464" fmla="*/ 1078480 w 6994525"/>
                  <a:gd name="connsiteY2464" fmla="*/ 1043546 h 7571036"/>
                  <a:gd name="connsiteX2465" fmla="*/ 1094260 w 6994525"/>
                  <a:gd name="connsiteY2465" fmla="*/ 1027772 h 7571036"/>
                  <a:gd name="connsiteX2466" fmla="*/ 1095493 w 6994525"/>
                  <a:gd name="connsiteY2466" fmla="*/ 2542046 h 7571036"/>
                  <a:gd name="connsiteX2467" fmla="*/ 1094261 w 6994525"/>
                  <a:gd name="connsiteY2467" fmla="*/ 2540813 h 7571036"/>
                  <a:gd name="connsiteX2468" fmla="*/ 1093029 w 6994525"/>
                  <a:gd name="connsiteY2468" fmla="*/ 2542046 h 7571036"/>
                  <a:gd name="connsiteX2469" fmla="*/ 1094261 w 6994525"/>
                  <a:gd name="connsiteY2469" fmla="*/ 2543279 h 7571036"/>
                  <a:gd name="connsiteX2470" fmla="*/ 1095493 w 6994525"/>
                  <a:gd name="connsiteY2470" fmla="*/ 2542046 h 7571036"/>
                  <a:gd name="connsiteX2471" fmla="*/ 1095986 w 6994525"/>
                  <a:gd name="connsiteY2471" fmla="*/ 2275017 h 7571036"/>
                  <a:gd name="connsiteX2472" fmla="*/ 1095000 w 6994525"/>
                  <a:gd name="connsiteY2472" fmla="*/ 2274032 h 7571036"/>
                  <a:gd name="connsiteX2473" fmla="*/ 1094014 w 6994525"/>
                  <a:gd name="connsiteY2473" fmla="*/ 2275017 h 7571036"/>
                  <a:gd name="connsiteX2474" fmla="*/ 1095000 w 6994525"/>
                  <a:gd name="connsiteY2474" fmla="*/ 2275999 h 7571036"/>
                  <a:gd name="connsiteX2475" fmla="*/ 1095986 w 6994525"/>
                  <a:gd name="connsiteY2475" fmla="*/ 2275017 h 7571036"/>
                  <a:gd name="connsiteX2476" fmla="*/ 1099438 w 6994525"/>
                  <a:gd name="connsiteY2476" fmla="*/ 6792351 h 7571036"/>
                  <a:gd name="connsiteX2477" fmla="*/ 1096727 w 6994525"/>
                  <a:gd name="connsiteY2477" fmla="*/ 6789638 h 7571036"/>
                  <a:gd name="connsiteX2478" fmla="*/ 1094014 w 6994525"/>
                  <a:gd name="connsiteY2478" fmla="*/ 6792351 h 7571036"/>
                  <a:gd name="connsiteX2479" fmla="*/ 1096727 w 6994525"/>
                  <a:gd name="connsiteY2479" fmla="*/ 6795064 h 7571036"/>
                  <a:gd name="connsiteX2480" fmla="*/ 1099438 w 6994525"/>
                  <a:gd name="connsiteY2480" fmla="*/ 6792351 h 7571036"/>
                  <a:gd name="connsiteX2481" fmla="*/ 1100178 w 6994525"/>
                  <a:gd name="connsiteY2481" fmla="*/ 3045070 h 7571036"/>
                  <a:gd name="connsiteX2482" fmla="*/ 1064670 w 6994525"/>
                  <a:gd name="connsiteY2482" fmla="*/ 3009561 h 7571036"/>
                  <a:gd name="connsiteX2483" fmla="*/ 1029164 w 6994525"/>
                  <a:gd name="connsiteY2483" fmla="*/ 3045070 h 7571036"/>
                  <a:gd name="connsiteX2484" fmla="*/ 1064670 w 6994525"/>
                  <a:gd name="connsiteY2484" fmla="*/ 3080579 h 7571036"/>
                  <a:gd name="connsiteX2485" fmla="*/ 1100178 w 6994525"/>
                  <a:gd name="connsiteY2485" fmla="*/ 3045070 h 7571036"/>
                  <a:gd name="connsiteX2486" fmla="*/ 1100670 w 6994525"/>
                  <a:gd name="connsiteY2486" fmla="*/ 4629881 h 7571036"/>
                  <a:gd name="connsiteX2487" fmla="*/ 1070340 w 6994525"/>
                  <a:gd name="connsiteY2487" fmla="*/ 4599305 h 7571036"/>
                  <a:gd name="connsiteX2488" fmla="*/ 1039765 w 6994525"/>
                  <a:gd name="connsiteY2488" fmla="*/ 4629881 h 7571036"/>
                  <a:gd name="connsiteX2489" fmla="*/ 1070340 w 6994525"/>
                  <a:gd name="connsiteY2489" fmla="*/ 4660211 h 7571036"/>
                  <a:gd name="connsiteX2490" fmla="*/ 1100670 w 6994525"/>
                  <a:gd name="connsiteY2490" fmla="*/ 4629881 h 7571036"/>
                  <a:gd name="connsiteX2491" fmla="*/ 1105107 w 6994525"/>
                  <a:gd name="connsiteY2491" fmla="*/ 3855633 h 7571036"/>
                  <a:gd name="connsiteX2492" fmla="*/ 1055545 w 6994525"/>
                  <a:gd name="connsiteY2492" fmla="*/ 3806071 h 7571036"/>
                  <a:gd name="connsiteX2493" fmla="*/ 1005984 w 6994525"/>
                  <a:gd name="connsiteY2493" fmla="*/ 3855633 h 7571036"/>
                  <a:gd name="connsiteX2494" fmla="*/ 1055545 w 6994525"/>
                  <a:gd name="connsiteY2494" fmla="*/ 3905196 h 7571036"/>
                  <a:gd name="connsiteX2495" fmla="*/ 1105107 w 6994525"/>
                  <a:gd name="connsiteY2495" fmla="*/ 3855633 h 7571036"/>
                  <a:gd name="connsiteX2496" fmla="*/ 1107329 w 6994525"/>
                  <a:gd name="connsiteY2496" fmla="*/ 6663392 h 7571036"/>
                  <a:gd name="connsiteX2497" fmla="*/ 1104370 w 6994525"/>
                  <a:gd name="connsiteY2497" fmla="*/ 6660432 h 7571036"/>
                  <a:gd name="connsiteX2498" fmla="*/ 1101411 w 6994525"/>
                  <a:gd name="connsiteY2498" fmla="*/ 6663392 h 7571036"/>
                  <a:gd name="connsiteX2499" fmla="*/ 1104370 w 6994525"/>
                  <a:gd name="connsiteY2499" fmla="*/ 6666351 h 7571036"/>
                  <a:gd name="connsiteX2500" fmla="*/ 1107329 w 6994525"/>
                  <a:gd name="connsiteY2500" fmla="*/ 6663392 h 7571036"/>
                  <a:gd name="connsiteX2501" fmla="*/ 1107574 w 6994525"/>
                  <a:gd name="connsiteY2501" fmla="*/ 1866802 h 7571036"/>
                  <a:gd name="connsiteX2502" fmla="*/ 1083165 w 6994525"/>
                  <a:gd name="connsiteY2502" fmla="*/ 1842408 h 7571036"/>
                  <a:gd name="connsiteX2503" fmla="*/ 1058754 w 6994525"/>
                  <a:gd name="connsiteY2503" fmla="*/ 1866802 h 7571036"/>
                  <a:gd name="connsiteX2504" fmla="*/ 1083165 w 6994525"/>
                  <a:gd name="connsiteY2504" fmla="*/ 1891193 h 7571036"/>
                  <a:gd name="connsiteX2505" fmla="*/ 1107574 w 6994525"/>
                  <a:gd name="connsiteY2505" fmla="*/ 1866802 h 7571036"/>
                  <a:gd name="connsiteX2506" fmla="*/ 1111024 w 6994525"/>
                  <a:gd name="connsiteY2506" fmla="*/ 4889032 h 7571036"/>
                  <a:gd name="connsiteX2507" fmla="*/ 1085629 w 6994525"/>
                  <a:gd name="connsiteY2507" fmla="*/ 4863634 h 7571036"/>
                  <a:gd name="connsiteX2508" fmla="*/ 1060231 w 6994525"/>
                  <a:gd name="connsiteY2508" fmla="*/ 4889032 h 7571036"/>
                  <a:gd name="connsiteX2509" fmla="*/ 1085629 w 6994525"/>
                  <a:gd name="connsiteY2509" fmla="*/ 4914430 h 7571036"/>
                  <a:gd name="connsiteX2510" fmla="*/ 1111024 w 6994525"/>
                  <a:gd name="connsiteY2510" fmla="*/ 4889032 h 7571036"/>
                  <a:gd name="connsiteX2511" fmla="*/ 1111522 w 6994525"/>
                  <a:gd name="connsiteY2511" fmla="*/ 1166079 h 7571036"/>
                  <a:gd name="connsiteX2512" fmla="*/ 1094014 w 6994525"/>
                  <a:gd name="connsiteY2512" fmla="*/ 1148572 h 7571036"/>
                  <a:gd name="connsiteX2513" fmla="*/ 1076507 w 6994525"/>
                  <a:gd name="connsiteY2513" fmla="*/ 1166079 h 7571036"/>
                  <a:gd name="connsiteX2514" fmla="*/ 1094014 w 6994525"/>
                  <a:gd name="connsiteY2514" fmla="*/ 1183586 h 7571036"/>
                  <a:gd name="connsiteX2515" fmla="*/ 1111522 w 6994525"/>
                  <a:gd name="connsiteY2515" fmla="*/ 1166079 h 7571036"/>
                  <a:gd name="connsiteX2516" fmla="*/ 1111764 w 6994525"/>
                  <a:gd name="connsiteY2516" fmla="*/ 5929336 h 7571036"/>
                  <a:gd name="connsiteX2517" fmla="*/ 1080203 w 6994525"/>
                  <a:gd name="connsiteY2517" fmla="*/ 5897774 h 7571036"/>
                  <a:gd name="connsiteX2518" fmla="*/ 1048642 w 6994525"/>
                  <a:gd name="connsiteY2518" fmla="*/ 5929336 h 7571036"/>
                  <a:gd name="connsiteX2519" fmla="*/ 1080203 w 6994525"/>
                  <a:gd name="connsiteY2519" fmla="*/ 5960898 h 7571036"/>
                  <a:gd name="connsiteX2520" fmla="*/ 1111764 w 6994525"/>
                  <a:gd name="connsiteY2520" fmla="*/ 5929336 h 7571036"/>
                  <a:gd name="connsiteX2521" fmla="*/ 1114477 w 6994525"/>
                  <a:gd name="connsiteY2521" fmla="*/ 6533199 h 7571036"/>
                  <a:gd name="connsiteX2522" fmla="*/ 1112505 w 6994525"/>
                  <a:gd name="connsiteY2522" fmla="*/ 6531226 h 7571036"/>
                  <a:gd name="connsiteX2523" fmla="*/ 1110533 w 6994525"/>
                  <a:gd name="connsiteY2523" fmla="*/ 6533199 h 7571036"/>
                  <a:gd name="connsiteX2524" fmla="*/ 1112505 w 6994525"/>
                  <a:gd name="connsiteY2524" fmla="*/ 6535171 h 7571036"/>
                  <a:gd name="connsiteX2525" fmla="*/ 1114477 w 6994525"/>
                  <a:gd name="connsiteY2525" fmla="*/ 6533199 h 7571036"/>
                  <a:gd name="connsiteX2526" fmla="*/ 1117683 w 6994525"/>
                  <a:gd name="connsiteY2526" fmla="*/ 5790513 h 7571036"/>
                  <a:gd name="connsiteX2527" fmla="*/ 1095246 w 6994525"/>
                  <a:gd name="connsiteY2527" fmla="*/ 5768074 h 7571036"/>
                  <a:gd name="connsiteX2528" fmla="*/ 1072808 w 6994525"/>
                  <a:gd name="connsiteY2528" fmla="*/ 5790513 h 7571036"/>
                  <a:gd name="connsiteX2529" fmla="*/ 1095246 w 6994525"/>
                  <a:gd name="connsiteY2529" fmla="*/ 5812952 h 7571036"/>
                  <a:gd name="connsiteX2530" fmla="*/ 1117683 w 6994525"/>
                  <a:gd name="connsiteY2530" fmla="*/ 5790513 h 7571036"/>
                  <a:gd name="connsiteX2531" fmla="*/ 1118915 w 6994525"/>
                  <a:gd name="connsiteY2531" fmla="*/ 5285773 h 7571036"/>
                  <a:gd name="connsiteX2532" fmla="*/ 1090561 w 6994525"/>
                  <a:gd name="connsiteY2532" fmla="*/ 5257415 h 7571036"/>
                  <a:gd name="connsiteX2533" fmla="*/ 1062204 w 6994525"/>
                  <a:gd name="connsiteY2533" fmla="*/ 5285773 h 7571036"/>
                  <a:gd name="connsiteX2534" fmla="*/ 1090561 w 6994525"/>
                  <a:gd name="connsiteY2534" fmla="*/ 5314130 h 7571036"/>
                  <a:gd name="connsiteX2535" fmla="*/ 1118915 w 6994525"/>
                  <a:gd name="connsiteY2535" fmla="*/ 5285773 h 7571036"/>
                  <a:gd name="connsiteX2536" fmla="*/ 1119164 w 6994525"/>
                  <a:gd name="connsiteY2536" fmla="*/ 2931147 h 7571036"/>
                  <a:gd name="connsiteX2537" fmla="*/ 1087849 w 6994525"/>
                  <a:gd name="connsiteY2537" fmla="*/ 2899830 h 7571036"/>
                  <a:gd name="connsiteX2538" fmla="*/ 1056533 w 6994525"/>
                  <a:gd name="connsiteY2538" fmla="*/ 2931147 h 7571036"/>
                  <a:gd name="connsiteX2539" fmla="*/ 1087849 w 6994525"/>
                  <a:gd name="connsiteY2539" fmla="*/ 2962462 h 7571036"/>
                  <a:gd name="connsiteX2540" fmla="*/ 1119164 w 6994525"/>
                  <a:gd name="connsiteY2540" fmla="*/ 2931147 h 7571036"/>
                  <a:gd name="connsiteX2541" fmla="*/ 1120642 w 6994525"/>
                  <a:gd name="connsiteY2541" fmla="*/ 4361114 h 7571036"/>
                  <a:gd name="connsiteX2542" fmla="*/ 1074534 w 6994525"/>
                  <a:gd name="connsiteY2542" fmla="*/ 4315003 h 7571036"/>
                  <a:gd name="connsiteX2543" fmla="*/ 1028424 w 6994525"/>
                  <a:gd name="connsiteY2543" fmla="*/ 4361114 h 7571036"/>
                  <a:gd name="connsiteX2544" fmla="*/ 1074534 w 6994525"/>
                  <a:gd name="connsiteY2544" fmla="*/ 4407471 h 7571036"/>
                  <a:gd name="connsiteX2545" fmla="*/ 1120642 w 6994525"/>
                  <a:gd name="connsiteY2545" fmla="*/ 4361114 h 7571036"/>
                  <a:gd name="connsiteX2546" fmla="*/ 1125820 w 6994525"/>
                  <a:gd name="connsiteY2546" fmla="*/ 3970290 h 7571036"/>
                  <a:gd name="connsiteX2547" fmla="*/ 1076258 w 6994525"/>
                  <a:gd name="connsiteY2547" fmla="*/ 3920729 h 7571036"/>
                  <a:gd name="connsiteX2548" fmla="*/ 1026697 w 6994525"/>
                  <a:gd name="connsiteY2548" fmla="*/ 3970290 h 7571036"/>
                  <a:gd name="connsiteX2549" fmla="*/ 1076258 w 6994525"/>
                  <a:gd name="connsiteY2549" fmla="*/ 4019851 h 7571036"/>
                  <a:gd name="connsiteX2550" fmla="*/ 1125820 w 6994525"/>
                  <a:gd name="connsiteY2550" fmla="*/ 3970290 h 7571036"/>
                  <a:gd name="connsiteX2551" fmla="*/ 1128782 w 6994525"/>
                  <a:gd name="connsiteY2551" fmla="*/ 1306351 h 7571036"/>
                  <a:gd name="connsiteX2552" fmla="*/ 1110782 w 6994525"/>
                  <a:gd name="connsiteY2552" fmla="*/ 1288584 h 7571036"/>
                  <a:gd name="connsiteX2553" fmla="*/ 1093029 w 6994525"/>
                  <a:gd name="connsiteY2553" fmla="*/ 1306351 h 7571036"/>
                  <a:gd name="connsiteX2554" fmla="*/ 1110782 w 6994525"/>
                  <a:gd name="connsiteY2554" fmla="*/ 1324351 h 7571036"/>
                  <a:gd name="connsiteX2555" fmla="*/ 1128782 w 6994525"/>
                  <a:gd name="connsiteY2555" fmla="*/ 1306351 h 7571036"/>
                  <a:gd name="connsiteX2556" fmla="*/ 1130753 w 6994525"/>
                  <a:gd name="connsiteY2556" fmla="*/ 5650458 h 7571036"/>
                  <a:gd name="connsiteX2557" fmla="*/ 1112260 w 6994525"/>
                  <a:gd name="connsiteY2557" fmla="*/ 5631964 h 7571036"/>
                  <a:gd name="connsiteX2558" fmla="*/ 1093766 w 6994525"/>
                  <a:gd name="connsiteY2558" fmla="*/ 5650458 h 7571036"/>
                  <a:gd name="connsiteX2559" fmla="*/ 1112260 w 6994525"/>
                  <a:gd name="connsiteY2559" fmla="*/ 5668952 h 7571036"/>
                  <a:gd name="connsiteX2560" fmla="*/ 1130753 w 6994525"/>
                  <a:gd name="connsiteY2560" fmla="*/ 5650458 h 7571036"/>
                  <a:gd name="connsiteX2561" fmla="*/ 1133712 w 6994525"/>
                  <a:gd name="connsiteY2561" fmla="*/ 6409665 h 7571036"/>
                  <a:gd name="connsiteX2562" fmla="*/ 1131245 w 6994525"/>
                  <a:gd name="connsiteY2562" fmla="*/ 6407198 h 7571036"/>
                  <a:gd name="connsiteX2563" fmla="*/ 1128780 w 6994525"/>
                  <a:gd name="connsiteY2563" fmla="*/ 6409665 h 7571036"/>
                  <a:gd name="connsiteX2564" fmla="*/ 1131245 w 6994525"/>
                  <a:gd name="connsiteY2564" fmla="*/ 6412129 h 7571036"/>
                  <a:gd name="connsiteX2565" fmla="*/ 1133712 w 6994525"/>
                  <a:gd name="connsiteY2565" fmla="*/ 6409665 h 7571036"/>
                  <a:gd name="connsiteX2566" fmla="*/ 1135189 w 6994525"/>
                  <a:gd name="connsiteY2566" fmla="*/ 2018312 h 7571036"/>
                  <a:gd name="connsiteX2567" fmla="*/ 1114477 w 6994525"/>
                  <a:gd name="connsiteY2567" fmla="*/ 1997614 h 7571036"/>
                  <a:gd name="connsiteX2568" fmla="*/ 1093766 w 6994525"/>
                  <a:gd name="connsiteY2568" fmla="*/ 2018312 h 7571036"/>
                  <a:gd name="connsiteX2569" fmla="*/ 1114477 w 6994525"/>
                  <a:gd name="connsiteY2569" fmla="*/ 2039031 h 7571036"/>
                  <a:gd name="connsiteX2570" fmla="*/ 1135189 w 6994525"/>
                  <a:gd name="connsiteY2570" fmla="*/ 2018312 h 7571036"/>
                  <a:gd name="connsiteX2571" fmla="*/ 1138397 w 6994525"/>
                  <a:gd name="connsiteY2571" fmla="*/ 5508428 h 7571036"/>
                  <a:gd name="connsiteX2572" fmla="*/ 1131245 w 6994525"/>
                  <a:gd name="connsiteY2572" fmla="*/ 5501278 h 7571036"/>
                  <a:gd name="connsiteX2573" fmla="*/ 1124095 w 6994525"/>
                  <a:gd name="connsiteY2573" fmla="*/ 5508428 h 7571036"/>
                  <a:gd name="connsiteX2574" fmla="*/ 1131245 w 6994525"/>
                  <a:gd name="connsiteY2574" fmla="*/ 5515581 h 7571036"/>
                  <a:gd name="connsiteX2575" fmla="*/ 1138397 w 6994525"/>
                  <a:gd name="connsiteY2575" fmla="*/ 5508428 h 7571036"/>
                  <a:gd name="connsiteX2576" fmla="*/ 1139630 w 6994525"/>
                  <a:gd name="connsiteY2576" fmla="*/ 2435039 h 7571036"/>
                  <a:gd name="connsiteX2577" fmla="*/ 1139135 w 6994525"/>
                  <a:gd name="connsiteY2577" fmla="*/ 2434543 h 7571036"/>
                  <a:gd name="connsiteX2578" fmla="*/ 1138644 w 6994525"/>
                  <a:gd name="connsiteY2578" fmla="*/ 2435039 h 7571036"/>
                  <a:gd name="connsiteX2579" fmla="*/ 1139135 w 6994525"/>
                  <a:gd name="connsiteY2579" fmla="*/ 2435524 h 7571036"/>
                  <a:gd name="connsiteX2580" fmla="*/ 1139630 w 6994525"/>
                  <a:gd name="connsiteY2580" fmla="*/ 2435039 h 7571036"/>
                  <a:gd name="connsiteX2581" fmla="*/ 1141108 w 6994525"/>
                  <a:gd name="connsiteY2581" fmla="*/ 2818456 h 7571036"/>
                  <a:gd name="connsiteX2582" fmla="*/ 1116204 w 6994525"/>
                  <a:gd name="connsiteY2582" fmla="*/ 2793550 h 7571036"/>
                  <a:gd name="connsiteX2583" fmla="*/ 1091301 w 6994525"/>
                  <a:gd name="connsiteY2583" fmla="*/ 2818456 h 7571036"/>
                  <a:gd name="connsiteX2584" fmla="*/ 1116204 w 6994525"/>
                  <a:gd name="connsiteY2584" fmla="*/ 2843362 h 7571036"/>
                  <a:gd name="connsiteX2585" fmla="*/ 1141108 w 6994525"/>
                  <a:gd name="connsiteY2585" fmla="*/ 2818456 h 7571036"/>
                  <a:gd name="connsiteX2586" fmla="*/ 1143327 w 6994525"/>
                  <a:gd name="connsiteY2586" fmla="*/ 547457 h 7571036"/>
                  <a:gd name="connsiteX2587" fmla="*/ 1129026 w 6994525"/>
                  <a:gd name="connsiteY2587" fmla="*/ 533155 h 7571036"/>
                  <a:gd name="connsiteX2588" fmla="*/ 1114724 w 6994525"/>
                  <a:gd name="connsiteY2588" fmla="*/ 547457 h 7571036"/>
                  <a:gd name="connsiteX2589" fmla="*/ 1129026 w 6994525"/>
                  <a:gd name="connsiteY2589" fmla="*/ 561755 h 7571036"/>
                  <a:gd name="connsiteX2590" fmla="*/ 1143327 w 6994525"/>
                  <a:gd name="connsiteY2590" fmla="*/ 547457 h 7571036"/>
                  <a:gd name="connsiteX2591" fmla="*/ 1144561 w 6994525"/>
                  <a:gd name="connsiteY2591" fmla="*/ 1624888 h 7571036"/>
                  <a:gd name="connsiteX2592" fmla="*/ 1125082 w 6994525"/>
                  <a:gd name="connsiteY2592" fmla="*/ 1605409 h 7571036"/>
                  <a:gd name="connsiteX2593" fmla="*/ 1105602 w 6994525"/>
                  <a:gd name="connsiteY2593" fmla="*/ 1624888 h 7571036"/>
                  <a:gd name="connsiteX2594" fmla="*/ 1125082 w 6994525"/>
                  <a:gd name="connsiteY2594" fmla="*/ 1644375 h 7571036"/>
                  <a:gd name="connsiteX2595" fmla="*/ 1144561 w 6994525"/>
                  <a:gd name="connsiteY2595" fmla="*/ 1624888 h 7571036"/>
                  <a:gd name="connsiteX2596" fmla="*/ 1145299 w 6994525"/>
                  <a:gd name="connsiteY2596" fmla="*/ 6277500 h 7571036"/>
                  <a:gd name="connsiteX2597" fmla="*/ 1141355 w 6994525"/>
                  <a:gd name="connsiteY2597" fmla="*/ 6273555 h 7571036"/>
                  <a:gd name="connsiteX2598" fmla="*/ 1137409 w 6994525"/>
                  <a:gd name="connsiteY2598" fmla="*/ 6277500 h 7571036"/>
                  <a:gd name="connsiteX2599" fmla="*/ 1141355 w 6994525"/>
                  <a:gd name="connsiteY2599" fmla="*/ 6281445 h 7571036"/>
                  <a:gd name="connsiteX2600" fmla="*/ 1145299 w 6994525"/>
                  <a:gd name="connsiteY2600" fmla="*/ 6277500 h 7571036"/>
                  <a:gd name="connsiteX2601" fmla="*/ 1146780 w 6994525"/>
                  <a:gd name="connsiteY2601" fmla="*/ 4733194 h 7571036"/>
                  <a:gd name="connsiteX2602" fmla="*/ 1122615 w 6994525"/>
                  <a:gd name="connsiteY2602" fmla="*/ 4709030 h 7571036"/>
                  <a:gd name="connsiteX2603" fmla="*/ 1098452 w 6994525"/>
                  <a:gd name="connsiteY2603" fmla="*/ 4733194 h 7571036"/>
                  <a:gd name="connsiteX2604" fmla="*/ 1122615 w 6994525"/>
                  <a:gd name="connsiteY2604" fmla="*/ 4757360 h 7571036"/>
                  <a:gd name="connsiteX2605" fmla="*/ 1146780 w 6994525"/>
                  <a:gd name="connsiteY2605" fmla="*/ 4733194 h 7571036"/>
                  <a:gd name="connsiteX2606" fmla="*/ 1147027 w 6994525"/>
                  <a:gd name="connsiteY2606" fmla="*/ 1448609 h 7571036"/>
                  <a:gd name="connsiteX2607" fmla="*/ 1129521 w 6994525"/>
                  <a:gd name="connsiteY2607" fmla="*/ 1431105 h 7571036"/>
                  <a:gd name="connsiteX2608" fmla="*/ 1112014 w 6994525"/>
                  <a:gd name="connsiteY2608" fmla="*/ 1448609 h 7571036"/>
                  <a:gd name="connsiteX2609" fmla="*/ 1129521 w 6994525"/>
                  <a:gd name="connsiteY2609" fmla="*/ 1466122 h 7571036"/>
                  <a:gd name="connsiteX2610" fmla="*/ 1147027 w 6994525"/>
                  <a:gd name="connsiteY2610" fmla="*/ 1448609 h 7571036"/>
                  <a:gd name="connsiteX2611" fmla="*/ 1150479 w 6994525"/>
                  <a:gd name="connsiteY2611" fmla="*/ 4083715 h 7571036"/>
                  <a:gd name="connsiteX2612" fmla="*/ 1102151 w 6994525"/>
                  <a:gd name="connsiteY2612" fmla="*/ 4035386 h 7571036"/>
                  <a:gd name="connsiteX2613" fmla="*/ 1053821 w 6994525"/>
                  <a:gd name="connsiteY2613" fmla="*/ 4083715 h 7571036"/>
                  <a:gd name="connsiteX2614" fmla="*/ 1102151 w 6994525"/>
                  <a:gd name="connsiteY2614" fmla="*/ 4132045 h 7571036"/>
                  <a:gd name="connsiteX2615" fmla="*/ 1150479 w 6994525"/>
                  <a:gd name="connsiteY2615" fmla="*/ 4083715 h 7571036"/>
                  <a:gd name="connsiteX2616" fmla="*/ 1151218 w 6994525"/>
                  <a:gd name="connsiteY2616" fmla="*/ 2172453 h 7571036"/>
                  <a:gd name="connsiteX2617" fmla="*/ 1149493 w 6994525"/>
                  <a:gd name="connsiteY2617" fmla="*/ 2170724 h 7571036"/>
                  <a:gd name="connsiteX2618" fmla="*/ 1147767 w 6994525"/>
                  <a:gd name="connsiteY2618" fmla="*/ 2172453 h 7571036"/>
                  <a:gd name="connsiteX2619" fmla="*/ 1149493 w 6994525"/>
                  <a:gd name="connsiteY2619" fmla="*/ 2174178 h 7571036"/>
                  <a:gd name="connsiteX2620" fmla="*/ 1151218 w 6994525"/>
                  <a:gd name="connsiteY2620" fmla="*/ 2172453 h 7571036"/>
                  <a:gd name="connsiteX2621" fmla="*/ 1153685 w 6994525"/>
                  <a:gd name="connsiteY2621" fmla="*/ 679649 h 7571036"/>
                  <a:gd name="connsiteX2622" fmla="*/ 1139385 w 6994525"/>
                  <a:gd name="connsiteY2622" fmla="*/ 665353 h 7571036"/>
                  <a:gd name="connsiteX2623" fmla="*/ 1125082 w 6994525"/>
                  <a:gd name="connsiteY2623" fmla="*/ 679649 h 7571036"/>
                  <a:gd name="connsiteX2624" fmla="*/ 1139385 w 6994525"/>
                  <a:gd name="connsiteY2624" fmla="*/ 693962 h 7571036"/>
                  <a:gd name="connsiteX2625" fmla="*/ 1153685 w 6994525"/>
                  <a:gd name="connsiteY2625" fmla="*/ 679649 h 7571036"/>
                  <a:gd name="connsiteX2626" fmla="*/ 1155657 w 6994525"/>
                  <a:gd name="connsiteY2626" fmla="*/ 6144103 h 7571036"/>
                  <a:gd name="connsiteX2627" fmla="*/ 1152203 w 6994525"/>
                  <a:gd name="connsiteY2627" fmla="*/ 6140650 h 7571036"/>
                  <a:gd name="connsiteX2628" fmla="*/ 1148752 w 6994525"/>
                  <a:gd name="connsiteY2628" fmla="*/ 6144103 h 7571036"/>
                  <a:gd name="connsiteX2629" fmla="*/ 1152203 w 6994525"/>
                  <a:gd name="connsiteY2629" fmla="*/ 6147554 h 7571036"/>
                  <a:gd name="connsiteX2630" fmla="*/ 1155657 w 6994525"/>
                  <a:gd name="connsiteY2630" fmla="*/ 6144103 h 7571036"/>
                  <a:gd name="connsiteX2631" fmla="*/ 1155905 w 6994525"/>
                  <a:gd name="connsiteY2631" fmla="*/ 131083 h 7571036"/>
                  <a:gd name="connsiteX2632" fmla="*/ 1141357 w 6994525"/>
                  <a:gd name="connsiteY2632" fmla="*/ 116535 h 7571036"/>
                  <a:gd name="connsiteX2633" fmla="*/ 1126808 w 6994525"/>
                  <a:gd name="connsiteY2633" fmla="*/ 131083 h 7571036"/>
                  <a:gd name="connsiteX2634" fmla="*/ 1141357 w 6994525"/>
                  <a:gd name="connsiteY2634" fmla="*/ 145629 h 7571036"/>
                  <a:gd name="connsiteX2635" fmla="*/ 1155905 w 6994525"/>
                  <a:gd name="connsiteY2635" fmla="*/ 131083 h 7571036"/>
                  <a:gd name="connsiteX2636" fmla="*/ 1158861 w 6994525"/>
                  <a:gd name="connsiteY2636" fmla="*/ 4987663 h 7571036"/>
                  <a:gd name="connsiteX2637" fmla="*/ 1146534 w 6994525"/>
                  <a:gd name="connsiteY2637" fmla="*/ 4975332 h 7571036"/>
                  <a:gd name="connsiteX2638" fmla="*/ 1134204 w 6994525"/>
                  <a:gd name="connsiteY2638" fmla="*/ 4987663 h 7571036"/>
                  <a:gd name="connsiteX2639" fmla="*/ 1146534 w 6994525"/>
                  <a:gd name="connsiteY2639" fmla="*/ 4999989 h 7571036"/>
                  <a:gd name="connsiteX2640" fmla="*/ 1158861 w 6994525"/>
                  <a:gd name="connsiteY2640" fmla="*/ 4987663 h 7571036"/>
                  <a:gd name="connsiteX2641" fmla="*/ 1162808 w 6994525"/>
                  <a:gd name="connsiteY2641" fmla="*/ 4469605 h 7571036"/>
                  <a:gd name="connsiteX2642" fmla="*/ 1117192 w 6994525"/>
                  <a:gd name="connsiteY2642" fmla="*/ 4423989 h 7571036"/>
                  <a:gd name="connsiteX2643" fmla="*/ 1071576 w 6994525"/>
                  <a:gd name="connsiteY2643" fmla="*/ 4469605 h 7571036"/>
                  <a:gd name="connsiteX2644" fmla="*/ 1117192 w 6994525"/>
                  <a:gd name="connsiteY2644" fmla="*/ 4514974 h 7571036"/>
                  <a:gd name="connsiteX2645" fmla="*/ 1162808 w 6994525"/>
                  <a:gd name="connsiteY2645" fmla="*/ 4469605 h 7571036"/>
                  <a:gd name="connsiteX2646" fmla="*/ 1162809 w 6994525"/>
                  <a:gd name="connsiteY2646" fmla="*/ 259518 h 7571036"/>
                  <a:gd name="connsiteX2647" fmla="*/ 1148752 w 6994525"/>
                  <a:gd name="connsiteY2647" fmla="*/ 245216 h 7571036"/>
                  <a:gd name="connsiteX2648" fmla="*/ 1134453 w 6994525"/>
                  <a:gd name="connsiteY2648" fmla="*/ 259518 h 7571036"/>
                  <a:gd name="connsiteX2649" fmla="*/ 1148752 w 6994525"/>
                  <a:gd name="connsiteY2649" fmla="*/ 273571 h 7571036"/>
                  <a:gd name="connsiteX2650" fmla="*/ 1162809 w 6994525"/>
                  <a:gd name="connsiteY2650" fmla="*/ 259518 h 7571036"/>
                  <a:gd name="connsiteX2651" fmla="*/ 1165274 w 6994525"/>
                  <a:gd name="connsiteY2651" fmla="*/ 813032 h 7571036"/>
                  <a:gd name="connsiteX2652" fmla="*/ 1150479 w 6994525"/>
                  <a:gd name="connsiteY2652" fmla="*/ 798237 h 7571036"/>
                  <a:gd name="connsiteX2653" fmla="*/ 1135685 w 6994525"/>
                  <a:gd name="connsiteY2653" fmla="*/ 813032 h 7571036"/>
                  <a:gd name="connsiteX2654" fmla="*/ 1150479 w 6994525"/>
                  <a:gd name="connsiteY2654" fmla="*/ 827827 h 7571036"/>
                  <a:gd name="connsiteX2655" fmla="*/ 1165274 w 6994525"/>
                  <a:gd name="connsiteY2655" fmla="*/ 813032 h 7571036"/>
                  <a:gd name="connsiteX2656" fmla="*/ 1168479 w 6994525"/>
                  <a:gd name="connsiteY2656" fmla="*/ 2706997 h 7571036"/>
                  <a:gd name="connsiteX2657" fmla="*/ 1150233 w 6994525"/>
                  <a:gd name="connsiteY2657" fmla="*/ 2688751 h 7571036"/>
                  <a:gd name="connsiteX2658" fmla="*/ 1131986 w 6994525"/>
                  <a:gd name="connsiteY2658" fmla="*/ 2706997 h 7571036"/>
                  <a:gd name="connsiteX2659" fmla="*/ 1150233 w 6994525"/>
                  <a:gd name="connsiteY2659" fmla="*/ 2725247 h 7571036"/>
                  <a:gd name="connsiteX2660" fmla="*/ 1168479 w 6994525"/>
                  <a:gd name="connsiteY2660" fmla="*/ 2706997 h 7571036"/>
                  <a:gd name="connsiteX2661" fmla="*/ 1170452 w 6994525"/>
                  <a:gd name="connsiteY2661" fmla="*/ 388690 h 7571036"/>
                  <a:gd name="connsiteX2662" fmla="*/ 1156398 w 6994525"/>
                  <a:gd name="connsiteY2662" fmla="*/ 374636 h 7571036"/>
                  <a:gd name="connsiteX2663" fmla="*/ 1142344 w 6994525"/>
                  <a:gd name="connsiteY2663" fmla="*/ 388690 h 7571036"/>
                  <a:gd name="connsiteX2664" fmla="*/ 1156398 w 6994525"/>
                  <a:gd name="connsiteY2664" fmla="*/ 402746 h 7571036"/>
                  <a:gd name="connsiteX2665" fmla="*/ 1170452 w 6994525"/>
                  <a:gd name="connsiteY2665" fmla="*/ 388690 h 7571036"/>
                  <a:gd name="connsiteX2666" fmla="*/ 1172423 w 6994525"/>
                  <a:gd name="connsiteY2666" fmla="*/ 1771872 h 7571036"/>
                  <a:gd name="connsiteX2667" fmla="*/ 1149738 w 6994525"/>
                  <a:gd name="connsiteY2667" fmla="*/ 1749162 h 7571036"/>
                  <a:gd name="connsiteX2668" fmla="*/ 1127054 w 6994525"/>
                  <a:gd name="connsiteY2668" fmla="*/ 1771872 h 7571036"/>
                  <a:gd name="connsiteX2669" fmla="*/ 1149738 w 6994525"/>
                  <a:gd name="connsiteY2669" fmla="*/ 1794573 h 7571036"/>
                  <a:gd name="connsiteX2670" fmla="*/ 1172423 w 6994525"/>
                  <a:gd name="connsiteY2670" fmla="*/ 1771872 h 7571036"/>
                  <a:gd name="connsiteX2671" fmla="*/ 1175878 w 6994525"/>
                  <a:gd name="connsiteY2671" fmla="*/ 3450177 h 7571036"/>
                  <a:gd name="connsiteX2672" fmla="*/ 1135190 w 6994525"/>
                  <a:gd name="connsiteY2672" fmla="*/ 3409507 h 7571036"/>
                  <a:gd name="connsiteX2673" fmla="*/ 1094506 w 6994525"/>
                  <a:gd name="connsiteY2673" fmla="*/ 3450177 h 7571036"/>
                  <a:gd name="connsiteX2674" fmla="*/ 1135190 w 6994525"/>
                  <a:gd name="connsiteY2674" fmla="*/ 3490701 h 7571036"/>
                  <a:gd name="connsiteX2675" fmla="*/ 1175878 w 6994525"/>
                  <a:gd name="connsiteY2675" fmla="*/ 3450177 h 7571036"/>
                  <a:gd name="connsiteX2676" fmla="*/ 1177355 w 6994525"/>
                  <a:gd name="connsiteY2676" fmla="*/ 947634 h 7571036"/>
                  <a:gd name="connsiteX2677" fmla="*/ 1162561 w 6994525"/>
                  <a:gd name="connsiteY2677" fmla="*/ 932834 h 7571036"/>
                  <a:gd name="connsiteX2678" fmla="*/ 1147767 w 6994525"/>
                  <a:gd name="connsiteY2678" fmla="*/ 947634 h 7571036"/>
                  <a:gd name="connsiteX2679" fmla="*/ 1162561 w 6994525"/>
                  <a:gd name="connsiteY2679" fmla="*/ 962431 h 7571036"/>
                  <a:gd name="connsiteX2680" fmla="*/ 1177355 w 6994525"/>
                  <a:gd name="connsiteY2680" fmla="*/ 947634 h 7571036"/>
                  <a:gd name="connsiteX2681" fmla="*/ 1177847 w 6994525"/>
                  <a:gd name="connsiteY2681" fmla="*/ 3566645 h 7571036"/>
                  <a:gd name="connsiteX2682" fmla="*/ 1136670 w 6994525"/>
                  <a:gd name="connsiteY2682" fmla="*/ 3525467 h 7571036"/>
                  <a:gd name="connsiteX2683" fmla="*/ 1095492 w 6994525"/>
                  <a:gd name="connsiteY2683" fmla="*/ 3566645 h 7571036"/>
                  <a:gd name="connsiteX2684" fmla="*/ 1136670 w 6994525"/>
                  <a:gd name="connsiteY2684" fmla="*/ 3607821 h 7571036"/>
                  <a:gd name="connsiteX2685" fmla="*/ 1177847 w 6994525"/>
                  <a:gd name="connsiteY2685" fmla="*/ 3566645 h 7571036"/>
                  <a:gd name="connsiteX2686" fmla="*/ 1179574 w 6994525"/>
                  <a:gd name="connsiteY2686" fmla="*/ 3333781 h 7571036"/>
                  <a:gd name="connsiteX2687" fmla="*/ 1139385 w 6994525"/>
                  <a:gd name="connsiteY2687" fmla="*/ 3293607 h 7571036"/>
                  <a:gd name="connsiteX2688" fmla="*/ 1099192 w 6994525"/>
                  <a:gd name="connsiteY2688" fmla="*/ 3333781 h 7571036"/>
                  <a:gd name="connsiteX2689" fmla="*/ 1139385 w 6994525"/>
                  <a:gd name="connsiteY2689" fmla="*/ 3373969 h 7571036"/>
                  <a:gd name="connsiteX2690" fmla="*/ 1179574 w 6994525"/>
                  <a:gd name="connsiteY2690" fmla="*/ 3333781 h 7571036"/>
                  <a:gd name="connsiteX2691" fmla="*/ 1180561 w 6994525"/>
                  <a:gd name="connsiteY2691" fmla="*/ 4195662 h 7571036"/>
                  <a:gd name="connsiteX2692" fmla="*/ 1133467 w 6994525"/>
                  <a:gd name="connsiteY2692" fmla="*/ 4148565 h 7571036"/>
                  <a:gd name="connsiteX2693" fmla="*/ 1086370 w 6994525"/>
                  <a:gd name="connsiteY2693" fmla="*/ 4195662 h 7571036"/>
                  <a:gd name="connsiteX2694" fmla="*/ 1133467 w 6994525"/>
                  <a:gd name="connsiteY2694" fmla="*/ 4242759 h 7571036"/>
                  <a:gd name="connsiteX2695" fmla="*/ 1180561 w 6994525"/>
                  <a:gd name="connsiteY2695" fmla="*/ 4195662 h 7571036"/>
                  <a:gd name="connsiteX2696" fmla="*/ 1186233 w 6994525"/>
                  <a:gd name="connsiteY2696" fmla="*/ 3682784 h 7571036"/>
                  <a:gd name="connsiteX2697" fmla="*/ 1144070 w 6994525"/>
                  <a:gd name="connsiteY2697" fmla="*/ 3640619 h 7571036"/>
                  <a:gd name="connsiteX2698" fmla="*/ 1101905 w 6994525"/>
                  <a:gd name="connsiteY2698" fmla="*/ 3682784 h 7571036"/>
                  <a:gd name="connsiteX2699" fmla="*/ 1144070 w 6994525"/>
                  <a:gd name="connsiteY2699" fmla="*/ 3724947 h 7571036"/>
                  <a:gd name="connsiteX2700" fmla="*/ 1186233 w 6994525"/>
                  <a:gd name="connsiteY2700" fmla="*/ 3682784 h 7571036"/>
                  <a:gd name="connsiteX2701" fmla="*/ 1188205 w 6994525"/>
                  <a:gd name="connsiteY2701" fmla="*/ 3217664 h 7571036"/>
                  <a:gd name="connsiteX2702" fmla="*/ 1149493 w 6994525"/>
                  <a:gd name="connsiteY2702" fmla="*/ 3178952 h 7571036"/>
                  <a:gd name="connsiteX2703" fmla="*/ 1110782 w 6994525"/>
                  <a:gd name="connsiteY2703" fmla="*/ 3217664 h 7571036"/>
                  <a:gd name="connsiteX2704" fmla="*/ 1149493 w 6994525"/>
                  <a:gd name="connsiteY2704" fmla="*/ 3256373 h 7571036"/>
                  <a:gd name="connsiteX2705" fmla="*/ 1188205 w 6994525"/>
                  <a:gd name="connsiteY2705" fmla="*/ 3217664 h 7571036"/>
                  <a:gd name="connsiteX2706" fmla="*/ 1190176 w 6994525"/>
                  <a:gd name="connsiteY2706" fmla="*/ 5376758 h 7571036"/>
                  <a:gd name="connsiteX2707" fmla="*/ 1162066 w 6994525"/>
                  <a:gd name="connsiteY2707" fmla="*/ 5348895 h 7571036"/>
                  <a:gd name="connsiteX2708" fmla="*/ 1133958 w 6994525"/>
                  <a:gd name="connsiteY2708" fmla="*/ 5376758 h 7571036"/>
                  <a:gd name="connsiteX2709" fmla="*/ 1162066 w 6994525"/>
                  <a:gd name="connsiteY2709" fmla="*/ 5404869 h 7571036"/>
                  <a:gd name="connsiteX2710" fmla="*/ 1190176 w 6994525"/>
                  <a:gd name="connsiteY2710" fmla="*/ 5376758 h 7571036"/>
                  <a:gd name="connsiteX2711" fmla="*/ 1191161 w 6994525"/>
                  <a:gd name="connsiteY2711" fmla="*/ 5231524 h 7571036"/>
                  <a:gd name="connsiteX2712" fmla="*/ 1185492 w 6994525"/>
                  <a:gd name="connsiteY2712" fmla="*/ 5225607 h 7571036"/>
                  <a:gd name="connsiteX2713" fmla="*/ 1179820 w 6994525"/>
                  <a:gd name="connsiteY2713" fmla="*/ 5231524 h 7571036"/>
                  <a:gd name="connsiteX2714" fmla="*/ 1185492 w 6994525"/>
                  <a:gd name="connsiteY2714" fmla="*/ 5237197 h 7571036"/>
                  <a:gd name="connsiteX2715" fmla="*/ 1191161 w 6994525"/>
                  <a:gd name="connsiteY2715" fmla="*/ 5231524 h 7571036"/>
                  <a:gd name="connsiteX2716" fmla="*/ 1192644 w 6994525"/>
                  <a:gd name="connsiteY2716" fmla="*/ 1083969 h 7571036"/>
                  <a:gd name="connsiteX2717" fmla="*/ 1176369 w 6994525"/>
                  <a:gd name="connsiteY2717" fmla="*/ 1067692 h 7571036"/>
                  <a:gd name="connsiteX2718" fmla="*/ 1160097 w 6994525"/>
                  <a:gd name="connsiteY2718" fmla="*/ 1083969 h 7571036"/>
                  <a:gd name="connsiteX2719" fmla="*/ 1176369 w 6994525"/>
                  <a:gd name="connsiteY2719" fmla="*/ 1100241 h 7571036"/>
                  <a:gd name="connsiteX2720" fmla="*/ 1192644 w 6994525"/>
                  <a:gd name="connsiteY2720" fmla="*/ 1083969 h 7571036"/>
                  <a:gd name="connsiteX2721" fmla="*/ 1194368 w 6994525"/>
                  <a:gd name="connsiteY2721" fmla="*/ 6009473 h 7571036"/>
                  <a:gd name="connsiteX2722" fmla="*/ 1164287 w 6994525"/>
                  <a:gd name="connsiteY2722" fmla="*/ 5979389 h 7571036"/>
                  <a:gd name="connsiteX2723" fmla="*/ 1134204 w 6994525"/>
                  <a:gd name="connsiteY2723" fmla="*/ 6009473 h 7571036"/>
                  <a:gd name="connsiteX2724" fmla="*/ 1164287 w 6994525"/>
                  <a:gd name="connsiteY2724" fmla="*/ 6039554 h 7571036"/>
                  <a:gd name="connsiteX2725" fmla="*/ 1194368 w 6994525"/>
                  <a:gd name="connsiteY2725" fmla="*/ 6009473 h 7571036"/>
                  <a:gd name="connsiteX2726" fmla="*/ 1194616 w 6994525"/>
                  <a:gd name="connsiteY2726" fmla="*/ 6859170 h 7571036"/>
                  <a:gd name="connsiteX2727" fmla="*/ 1191904 w 6994525"/>
                  <a:gd name="connsiteY2727" fmla="*/ 6856457 h 7571036"/>
                  <a:gd name="connsiteX2728" fmla="*/ 1188945 w 6994525"/>
                  <a:gd name="connsiteY2728" fmla="*/ 6859170 h 7571036"/>
                  <a:gd name="connsiteX2729" fmla="*/ 1191904 w 6994525"/>
                  <a:gd name="connsiteY2729" fmla="*/ 6862129 h 7571036"/>
                  <a:gd name="connsiteX2730" fmla="*/ 1194616 w 6994525"/>
                  <a:gd name="connsiteY2730" fmla="*/ 6859170 h 7571036"/>
                  <a:gd name="connsiteX2731" fmla="*/ 1197327 w 6994525"/>
                  <a:gd name="connsiteY2731" fmla="*/ 1920739 h 7571036"/>
                  <a:gd name="connsiteX2732" fmla="*/ 1177355 w 6994525"/>
                  <a:gd name="connsiteY2732" fmla="*/ 1900782 h 7571036"/>
                  <a:gd name="connsiteX2733" fmla="*/ 1157383 w 6994525"/>
                  <a:gd name="connsiteY2733" fmla="*/ 1920739 h 7571036"/>
                  <a:gd name="connsiteX2734" fmla="*/ 1177355 w 6994525"/>
                  <a:gd name="connsiteY2734" fmla="*/ 1940699 h 7571036"/>
                  <a:gd name="connsiteX2735" fmla="*/ 1197327 w 6994525"/>
                  <a:gd name="connsiteY2735" fmla="*/ 1920739 h 7571036"/>
                  <a:gd name="connsiteX2736" fmla="*/ 1197822 w 6994525"/>
                  <a:gd name="connsiteY2736" fmla="*/ 4834540 h 7571036"/>
                  <a:gd name="connsiteX2737" fmla="*/ 1179329 w 6994525"/>
                  <a:gd name="connsiteY2737" fmla="*/ 4816046 h 7571036"/>
                  <a:gd name="connsiteX2738" fmla="*/ 1160835 w 6994525"/>
                  <a:gd name="connsiteY2738" fmla="*/ 4834540 h 7571036"/>
                  <a:gd name="connsiteX2739" fmla="*/ 1179329 w 6994525"/>
                  <a:gd name="connsiteY2739" fmla="*/ 4853034 h 7571036"/>
                  <a:gd name="connsiteX2740" fmla="*/ 1197822 w 6994525"/>
                  <a:gd name="connsiteY2740" fmla="*/ 4834540 h 7571036"/>
                  <a:gd name="connsiteX2741" fmla="*/ 1198808 w 6994525"/>
                  <a:gd name="connsiteY2741" fmla="*/ 5872621 h 7571036"/>
                  <a:gd name="connsiteX2742" fmla="*/ 1177604 w 6994525"/>
                  <a:gd name="connsiteY2742" fmla="*/ 5851417 h 7571036"/>
                  <a:gd name="connsiteX2743" fmla="*/ 1156398 w 6994525"/>
                  <a:gd name="connsiteY2743" fmla="*/ 5872621 h 7571036"/>
                  <a:gd name="connsiteX2744" fmla="*/ 1177604 w 6994525"/>
                  <a:gd name="connsiteY2744" fmla="*/ 5893828 h 7571036"/>
                  <a:gd name="connsiteX2745" fmla="*/ 1198808 w 6994525"/>
                  <a:gd name="connsiteY2745" fmla="*/ 5872621 h 7571036"/>
                  <a:gd name="connsiteX2746" fmla="*/ 1200040 w 6994525"/>
                  <a:gd name="connsiteY2746" fmla="*/ 3798427 h 7571036"/>
                  <a:gd name="connsiteX2747" fmla="*/ 1156889 w 6994525"/>
                  <a:gd name="connsiteY2747" fmla="*/ 3755275 h 7571036"/>
                  <a:gd name="connsiteX2748" fmla="*/ 1113738 w 6994525"/>
                  <a:gd name="connsiteY2748" fmla="*/ 3798427 h 7571036"/>
                  <a:gd name="connsiteX2749" fmla="*/ 1156889 w 6994525"/>
                  <a:gd name="connsiteY2749" fmla="*/ 3841579 h 7571036"/>
                  <a:gd name="connsiteX2750" fmla="*/ 1200040 w 6994525"/>
                  <a:gd name="connsiteY2750" fmla="*/ 3798427 h 7571036"/>
                  <a:gd name="connsiteX2751" fmla="*/ 1201273 w 6994525"/>
                  <a:gd name="connsiteY2751" fmla="*/ 6731692 h 7571036"/>
                  <a:gd name="connsiteX2752" fmla="*/ 1198314 w 6994525"/>
                  <a:gd name="connsiteY2752" fmla="*/ 6728733 h 7571036"/>
                  <a:gd name="connsiteX2753" fmla="*/ 1195355 w 6994525"/>
                  <a:gd name="connsiteY2753" fmla="*/ 6731692 h 7571036"/>
                  <a:gd name="connsiteX2754" fmla="*/ 1198314 w 6994525"/>
                  <a:gd name="connsiteY2754" fmla="*/ 6734651 h 7571036"/>
                  <a:gd name="connsiteX2755" fmla="*/ 1201273 w 6994525"/>
                  <a:gd name="connsiteY2755" fmla="*/ 6731692 h 7571036"/>
                  <a:gd name="connsiteX2756" fmla="*/ 1201519 w 6994525"/>
                  <a:gd name="connsiteY2756" fmla="*/ 2597267 h 7571036"/>
                  <a:gd name="connsiteX2757" fmla="*/ 1189191 w 6994525"/>
                  <a:gd name="connsiteY2757" fmla="*/ 2584935 h 7571036"/>
                  <a:gd name="connsiteX2758" fmla="*/ 1176861 w 6994525"/>
                  <a:gd name="connsiteY2758" fmla="*/ 2597267 h 7571036"/>
                  <a:gd name="connsiteX2759" fmla="*/ 1189191 w 6994525"/>
                  <a:gd name="connsiteY2759" fmla="*/ 2609596 h 7571036"/>
                  <a:gd name="connsiteX2760" fmla="*/ 1201519 w 6994525"/>
                  <a:gd name="connsiteY2760" fmla="*/ 2597267 h 7571036"/>
                  <a:gd name="connsiteX2761" fmla="*/ 1201764 w 6994525"/>
                  <a:gd name="connsiteY2761" fmla="*/ 3102261 h 7571036"/>
                  <a:gd name="connsiteX2762" fmla="*/ 1165025 w 6994525"/>
                  <a:gd name="connsiteY2762" fmla="*/ 3065521 h 7571036"/>
                  <a:gd name="connsiteX2763" fmla="*/ 1128286 w 6994525"/>
                  <a:gd name="connsiteY2763" fmla="*/ 3102261 h 7571036"/>
                  <a:gd name="connsiteX2764" fmla="*/ 1165025 w 6994525"/>
                  <a:gd name="connsiteY2764" fmla="*/ 3139003 h 7571036"/>
                  <a:gd name="connsiteX2765" fmla="*/ 1201764 w 6994525"/>
                  <a:gd name="connsiteY2765" fmla="*/ 3102261 h 7571036"/>
                  <a:gd name="connsiteX2766" fmla="*/ 1206943 w 6994525"/>
                  <a:gd name="connsiteY2766" fmla="*/ 6603227 h 7571036"/>
                  <a:gd name="connsiteX2767" fmla="*/ 1205218 w 6994525"/>
                  <a:gd name="connsiteY2767" fmla="*/ 6601499 h 7571036"/>
                  <a:gd name="connsiteX2768" fmla="*/ 1203492 w 6994525"/>
                  <a:gd name="connsiteY2768" fmla="*/ 6603227 h 7571036"/>
                  <a:gd name="connsiteX2769" fmla="*/ 1205218 w 6994525"/>
                  <a:gd name="connsiteY2769" fmla="*/ 6604954 h 7571036"/>
                  <a:gd name="connsiteX2770" fmla="*/ 1206943 w 6994525"/>
                  <a:gd name="connsiteY2770" fmla="*/ 6603227 h 7571036"/>
                  <a:gd name="connsiteX2771" fmla="*/ 1207439 w 6994525"/>
                  <a:gd name="connsiteY2771" fmla="*/ 1222030 h 7571036"/>
                  <a:gd name="connsiteX2772" fmla="*/ 1190672 w 6994525"/>
                  <a:gd name="connsiteY2772" fmla="*/ 1205263 h 7571036"/>
                  <a:gd name="connsiteX2773" fmla="*/ 1173905 w 6994525"/>
                  <a:gd name="connsiteY2773" fmla="*/ 1222030 h 7571036"/>
                  <a:gd name="connsiteX2774" fmla="*/ 1190672 w 6994525"/>
                  <a:gd name="connsiteY2774" fmla="*/ 1238801 h 7571036"/>
                  <a:gd name="connsiteX2775" fmla="*/ 1207439 w 6994525"/>
                  <a:gd name="connsiteY2775" fmla="*/ 1222030 h 7571036"/>
                  <a:gd name="connsiteX2776" fmla="*/ 1208917 w 6994525"/>
                  <a:gd name="connsiteY2776" fmla="*/ 4575388 h 7571036"/>
                  <a:gd name="connsiteX2777" fmla="*/ 1164534 w 6994525"/>
                  <a:gd name="connsiteY2777" fmla="*/ 4531004 h 7571036"/>
                  <a:gd name="connsiteX2778" fmla="*/ 1120151 w 6994525"/>
                  <a:gd name="connsiteY2778" fmla="*/ 4575388 h 7571036"/>
                  <a:gd name="connsiteX2779" fmla="*/ 1164534 w 6994525"/>
                  <a:gd name="connsiteY2779" fmla="*/ 4619771 h 7571036"/>
                  <a:gd name="connsiteX2780" fmla="*/ 1208917 w 6994525"/>
                  <a:gd name="connsiteY2780" fmla="*/ 4575388 h 7571036"/>
                  <a:gd name="connsiteX2781" fmla="*/ 1210644 w 6994525"/>
                  <a:gd name="connsiteY2781" fmla="*/ 5734785 h 7571036"/>
                  <a:gd name="connsiteX2782" fmla="*/ 1192396 w 6994525"/>
                  <a:gd name="connsiteY2782" fmla="*/ 5716540 h 7571036"/>
                  <a:gd name="connsiteX2783" fmla="*/ 1174151 w 6994525"/>
                  <a:gd name="connsiteY2783" fmla="*/ 5734785 h 7571036"/>
                  <a:gd name="connsiteX2784" fmla="*/ 1192396 w 6994525"/>
                  <a:gd name="connsiteY2784" fmla="*/ 5753034 h 7571036"/>
                  <a:gd name="connsiteX2785" fmla="*/ 1210644 w 6994525"/>
                  <a:gd name="connsiteY2785" fmla="*/ 5734785 h 7571036"/>
                  <a:gd name="connsiteX2786" fmla="*/ 1211630 w 6994525"/>
                  <a:gd name="connsiteY2786" fmla="*/ 2072315 h 7571036"/>
                  <a:gd name="connsiteX2787" fmla="*/ 1208423 w 6994525"/>
                  <a:gd name="connsiteY2787" fmla="*/ 2069109 h 7571036"/>
                  <a:gd name="connsiteX2788" fmla="*/ 1205218 w 6994525"/>
                  <a:gd name="connsiteY2788" fmla="*/ 2072315 h 7571036"/>
                  <a:gd name="connsiteX2789" fmla="*/ 1208423 w 6994525"/>
                  <a:gd name="connsiteY2789" fmla="*/ 2075524 h 7571036"/>
                  <a:gd name="connsiteX2790" fmla="*/ 1211630 w 6994525"/>
                  <a:gd name="connsiteY2790" fmla="*/ 2072315 h 7571036"/>
                  <a:gd name="connsiteX2791" fmla="*/ 1213848 w 6994525"/>
                  <a:gd name="connsiteY2791" fmla="*/ 5083580 h 7571036"/>
                  <a:gd name="connsiteX2792" fmla="*/ 1211382 w 6994525"/>
                  <a:gd name="connsiteY2792" fmla="*/ 5081115 h 7571036"/>
                  <a:gd name="connsiteX2793" fmla="*/ 1208917 w 6994525"/>
                  <a:gd name="connsiteY2793" fmla="*/ 5083580 h 7571036"/>
                  <a:gd name="connsiteX2794" fmla="*/ 1211382 w 6994525"/>
                  <a:gd name="connsiteY2794" fmla="*/ 5086047 h 7571036"/>
                  <a:gd name="connsiteX2795" fmla="*/ 1213848 w 6994525"/>
                  <a:gd name="connsiteY2795" fmla="*/ 5083580 h 7571036"/>
                  <a:gd name="connsiteX2796" fmla="*/ 1214835 w 6994525"/>
                  <a:gd name="connsiteY2796" fmla="*/ 4305879 h 7571036"/>
                  <a:gd name="connsiteX2797" fmla="*/ 1169957 w 6994525"/>
                  <a:gd name="connsiteY2797" fmla="*/ 4261003 h 7571036"/>
                  <a:gd name="connsiteX2798" fmla="*/ 1125082 w 6994525"/>
                  <a:gd name="connsiteY2798" fmla="*/ 4305879 h 7571036"/>
                  <a:gd name="connsiteX2799" fmla="*/ 1169957 w 6994525"/>
                  <a:gd name="connsiteY2799" fmla="*/ 4350757 h 7571036"/>
                  <a:gd name="connsiteX2800" fmla="*/ 1214835 w 6994525"/>
                  <a:gd name="connsiteY2800" fmla="*/ 4305879 h 7571036"/>
                  <a:gd name="connsiteX2801" fmla="*/ 1214835 w 6994525"/>
                  <a:gd name="connsiteY2801" fmla="*/ 5595223 h 7571036"/>
                  <a:gd name="connsiteX2802" fmla="*/ 1208669 w 6994525"/>
                  <a:gd name="connsiteY2802" fmla="*/ 5589059 h 7571036"/>
                  <a:gd name="connsiteX2803" fmla="*/ 1202505 w 6994525"/>
                  <a:gd name="connsiteY2803" fmla="*/ 5595223 h 7571036"/>
                  <a:gd name="connsiteX2804" fmla="*/ 1208669 w 6994525"/>
                  <a:gd name="connsiteY2804" fmla="*/ 5601389 h 7571036"/>
                  <a:gd name="connsiteX2805" fmla="*/ 1214835 w 6994525"/>
                  <a:gd name="connsiteY2805" fmla="*/ 5595223 h 7571036"/>
                  <a:gd name="connsiteX2806" fmla="*/ 1215820 w 6994525"/>
                  <a:gd name="connsiteY2806" fmla="*/ 1535389 h 7571036"/>
                  <a:gd name="connsiteX2807" fmla="*/ 1198314 w 6994525"/>
                  <a:gd name="connsiteY2807" fmla="*/ 1517879 h 7571036"/>
                  <a:gd name="connsiteX2808" fmla="*/ 1180807 w 6994525"/>
                  <a:gd name="connsiteY2808" fmla="*/ 1535389 h 7571036"/>
                  <a:gd name="connsiteX2809" fmla="*/ 1198314 w 6994525"/>
                  <a:gd name="connsiteY2809" fmla="*/ 1552893 h 7571036"/>
                  <a:gd name="connsiteX2810" fmla="*/ 1215820 w 6994525"/>
                  <a:gd name="connsiteY2810" fmla="*/ 1535389 h 7571036"/>
                  <a:gd name="connsiteX2811" fmla="*/ 1219766 w 6994525"/>
                  <a:gd name="connsiteY2811" fmla="*/ 2987845 h 7571036"/>
                  <a:gd name="connsiteX2812" fmla="*/ 1186232 w 6994525"/>
                  <a:gd name="connsiteY2812" fmla="*/ 2954309 h 7571036"/>
                  <a:gd name="connsiteX2813" fmla="*/ 1152698 w 6994525"/>
                  <a:gd name="connsiteY2813" fmla="*/ 2987845 h 7571036"/>
                  <a:gd name="connsiteX2814" fmla="*/ 1186232 w 6994525"/>
                  <a:gd name="connsiteY2814" fmla="*/ 3021381 h 7571036"/>
                  <a:gd name="connsiteX2815" fmla="*/ 1219766 w 6994525"/>
                  <a:gd name="connsiteY2815" fmla="*/ 2987845 h 7571036"/>
                  <a:gd name="connsiteX2816" fmla="*/ 1219766 w 6994525"/>
                  <a:gd name="connsiteY2816" fmla="*/ 3913579 h 7571036"/>
                  <a:gd name="connsiteX2817" fmla="*/ 1175629 w 6994525"/>
                  <a:gd name="connsiteY2817" fmla="*/ 3869441 h 7571036"/>
                  <a:gd name="connsiteX2818" fmla="*/ 1131492 w 6994525"/>
                  <a:gd name="connsiteY2818" fmla="*/ 3913579 h 7571036"/>
                  <a:gd name="connsiteX2819" fmla="*/ 1175629 w 6994525"/>
                  <a:gd name="connsiteY2819" fmla="*/ 3957715 h 7571036"/>
                  <a:gd name="connsiteX2820" fmla="*/ 1219766 w 6994525"/>
                  <a:gd name="connsiteY2820" fmla="*/ 3913579 h 7571036"/>
                  <a:gd name="connsiteX2821" fmla="*/ 1223466 w 6994525"/>
                  <a:gd name="connsiteY2821" fmla="*/ 1361819 h 7571036"/>
                  <a:gd name="connsiteX2822" fmla="*/ 1207191 w 6994525"/>
                  <a:gd name="connsiteY2822" fmla="*/ 1345548 h 7571036"/>
                  <a:gd name="connsiteX2823" fmla="*/ 1190918 w 6994525"/>
                  <a:gd name="connsiteY2823" fmla="*/ 1361819 h 7571036"/>
                  <a:gd name="connsiteX2824" fmla="*/ 1207191 w 6994525"/>
                  <a:gd name="connsiteY2824" fmla="*/ 1378089 h 7571036"/>
                  <a:gd name="connsiteX2825" fmla="*/ 1223466 w 6994525"/>
                  <a:gd name="connsiteY2825" fmla="*/ 1361819 h 7571036"/>
                  <a:gd name="connsiteX2826" fmla="*/ 1225189 w 6994525"/>
                  <a:gd name="connsiteY2826" fmla="*/ 6481171 h 7571036"/>
                  <a:gd name="connsiteX2827" fmla="*/ 1222722 w 6994525"/>
                  <a:gd name="connsiteY2827" fmla="*/ 6478706 h 7571036"/>
                  <a:gd name="connsiteX2828" fmla="*/ 1220258 w 6994525"/>
                  <a:gd name="connsiteY2828" fmla="*/ 6481171 h 7571036"/>
                  <a:gd name="connsiteX2829" fmla="*/ 1222722 w 6994525"/>
                  <a:gd name="connsiteY2829" fmla="*/ 6483639 h 7571036"/>
                  <a:gd name="connsiteX2830" fmla="*/ 1225189 w 6994525"/>
                  <a:gd name="connsiteY2830" fmla="*/ 6481171 h 7571036"/>
                  <a:gd name="connsiteX2831" fmla="*/ 1234807 w 6994525"/>
                  <a:gd name="connsiteY2831" fmla="*/ 475952 h 7571036"/>
                  <a:gd name="connsiteX2832" fmla="*/ 1220507 w 6994525"/>
                  <a:gd name="connsiteY2832" fmla="*/ 461653 h 7571036"/>
                  <a:gd name="connsiteX2833" fmla="*/ 1206204 w 6994525"/>
                  <a:gd name="connsiteY2833" fmla="*/ 475952 h 7571036"/>
                  <a:gd name="connsiteX2834" fmla="*/ 1220507 w 6994525"/>
                  <a:gd name="connsiteY2834" fmla="*/ 490254 h 7571036"/>
                  <a:gd name="connsiteX2835" fmla="*/ 1234807 w 6994525"/>
                  <a:gd name="connsiteY2835" fmla="*/ 475952 h 7571036"/>
                  <a:gd name="connsiteX2836" fmla="*/ 1235053 w 6994525"/>
                  <a:gd name="connsiteY2836" fmla="*/ 6350485 h 7571036"/>
                  <a:gd name="connsiteX2837" fmla="*/ 1231353 w 6994525"/>
                  <a:gd name="connsiteY2837" fmla="*/ 6347034 h 7571036"/>
                  <a:gd name="connsiteX2838" fmla="*/ 1227903 w 6994525"/>
                  <a:gd name="connsiteY2838" fmla="*/ 6350485 h 7571036"/>
                  <a:gd name="connsiteX2839" fmla="*/ 1231353 w 6994525"/>
                  <a:gd name="connsiteY2839" fmla="*/ 6354184 h 7571036"/>
                  <a:gd name="connsiteX2840" fmla="*/ 1235053 w 6994525"/>
                  <a:gd name="connsiteY2840" fmla="*/ 6350485 h 7571036"/>
                  <a:gd name="connsiteX2841" fmla="*/ 1240233 w 6994525"/>
                  <a:gd name="connsiteY2841" fmla="*/ 1679854 h 7571036"/>
                  <a:gd name="connsiteX2842" fmla="*/ 1220013 w 6994525"/>
                  <a:gd name="connsiteY2842" fmla="*/ 1659636 h 7571036"/>
                  <a:gd name="connsiteX2843" fmla="*/ 1199795 w 6994525"/>
                  <a:gd name="connsiteY2843" fmla="*/ 1679854 h 7571036"/>
                  <a:gd name="connsiteX2844" fmla="*/ 1220013 w 6994525"/>
                  <a:gd name="connsiteY2844" fmla="*/ 1700079 h 7571036"/>
                  <a:gd name="connsiteX2845" fmla="*/ 1240233 w 6994525"/>
                  <a:gd name="connsiteY2845" fmla="*/ 1679854 h 7571036"/>
                  <a:gd name="connsiteX2846" fmla="*/ 1240725 w 6994525"/>
                  <a:gd name="connsiteY2846" fmla="*/ 2489764 h 7571036"/>
                  <a:gd name="connsiteX2847" fmla="*/ 1233326 w 6994525"/>
                  <a:gd name="connsiteY2847" fmla="*/ 2482363 h 7571036"/>
                  <a:gd name="connsiteX2848" fmla="*/ 1225930 w 6994525"/>
                  <a:gd name="connsiteY2848" fmla="*/ 2489764 h 7571036"/>
                  <a:gd name="connsiteX2849" fmla="*/ 1233326 w 6994525"/>
                  <a:gd name="connsiteY2849" fmla="*/ 2497159 h 7571036"/>
                  <a:gd name="connsiteX2850" fmla="*/ 1240725 w 6994525"/>
                  <a:gd name="connsiteY2850" fmla="*/ 2489764 h 7571036"/>
                  <a:gd name="connsiteX2851" fmla="*/ 1243438 w 6994525"/>
                  <a:gd name="connsiteY2851" fmla="*/ 606363 h 7571036"/>
                  <a:gd name="connsiteX2852" fmla="*/ 1229138 w 6994525"/>
                  <a:gd name="connsiteY2852" fmla="*/ 592063 h 7571036"/>
                  <a:gd name="connsiteX2853" fmla="*/ 1214835 w 6994525"/>
                  <a:gd name="connsiteY2853" fmla="*/ 606363 h 7571036"/>
                  <a:gd name="connsiteX2854" fmla="*/ 1229138 w 6994525"/>
                  <a:gd name="connsiteY2854" fmla="*/ 620663 h 7571036"/>
                  <a:gd name="connsiteX2855" fmla="*/ 1243438 w 6994525"/>
                  <a:gd name="connsiteY2855" fmla="*/ 606363 h 7571036"/>
                  <a:gd name="connsiteX2856" fmla="*/ 1243684 w 6994525"/>
                  <a:gd name="connsiteY2856" fmla="*/ 6219307 h 7571036"/>
                  <a:gd name="connsiteX2857" fmla="*/ 1240725 w 6994525"/>
                  <a:gd name="connsiteY2857" fmla="*/ 6216347 h 7571036"/>
                  <a:gd name="connsiteX2858" fmla="*/ 1237766 w 6994525"/>
                  <a:gd name="connsiteY2858" fmla="*/ 6219307 h 7571036"/>
                  <a:gd name="connsiteX2859" fmla="*/ 1240725 w 6994525"/>
                  <a:gd name="connsiteY2859" fmla="*/ 6222266 h 7571036"/>
                  <a:gd name="connsiteX2860" fmla="*/ 1243684 w 6994525"/>
                  <a:gd name="connsiteY2860" fmla="*/ 6219307 h 7571036"/>
                  <a:gd name="connsiteX2861" fmla="*/ 1243686 w 6994525"/>
                  <a:gd name="connsiteY2861" fmla="*/ 2874415 h 7571036"/>
                  <a:gd name="connsiteX2862" fmla="*/ 1213357 w 6994525"/>
                  <a:gd name="connsiteY2862" fmla="*/ 2844085 h 7571036"/>
                  <a:gd name="connsiteX2863" fmla="*/ 1183028 w 6994525"/>
                  <a:gd name="connsiteY2863" fmla="*/ 2874415 h 7571036"/>
                  <a:gd name="connsiteX2864" fmla="*/ 1213357 w 6994525"/>
                  <a:gd name="connsiteY2864" fmla="*/ 2904745 h 7571036"/>
                  <a:gd name="connsiteX2865" fmla="*/ 1243686 w 6994525"/>
                  <a:gd name="connsiteY2865" fmla="*/ 2874415 h 7571036"/>
                  <a:gd name="connsiteX2866" fmla="*/ 1244178 w 6994525"/>
                  <a:gd name="connsiteY2866" fmla="*/ 2227175 h 7571036"/>
                  <a:gd name="connsiteX2867" fmla="*/ 1243191 w 6994525"/>
                  <a:gd name="connsiteY2867" fmla="*/ 2226182 h 7571036"/>
                  <a:gd name="connsiteX2868" fmla="*/ 1242206 w 6994525"/>
                  <a:gd name="connsiteY2868" fmla="*/ 2227175 h 7571036"/>
                  <a:gd name="connsiteX2869" fmla="*/ 1243191 w 6994525"/>
                  <a:gd name="connsiteY2869" fmla="*/ 2228164 h 7571036"/>
                  <a:gd name="connsiteX2870" fmla="*/ 1244178 w 6994525"/>
                  <a:gd name="connsiteY2870" fmla="*/ 2227175 h 7571036"/>
                  <a:gd name="connsiteX2871" fmla="*/ 1244917 w 6994525"/>
                  <a:gd name="connsiteY2871" fmla="*/ 4027250 h 7571036"/>
                  <a:gd name="connsiteX2872" fmla="*/ 1199795 w 6994525"/>
                  <a:gd name="connsiteY2872" fmla="*/ 3982125 h 7571036"/>
                  <a:gd name="connsiteX2873" fmla="*/ 1154671 w 6994525"/>
                  <a:gd name="connsiteY2873" fmla="*/ 4027250 h 7571036"/>
                  <a:gd name="connsiteX2874" fmla="*/ 1199795 w 6994525"/>
                  <a:gd name="connsiteY2874" fmla="*/ 4072374 h 7571036"/>
                  <a:gd name="connsiteX2875" fmla="*/ 1244917 w 6994525"/>
                  <a:gd name="connsiteY2875" fmla="*/ 4027250 h 7571036"/>
                  <a:gd name="connsiteX2876" fmla="*/ 1252809 w 6994525"/>
                  <a:gd name="connsiteY2876" fmla="*/ 65497 h 7571036"/>
                  <a:gd name="connsiteX2877" fmla="*/ 1237522 w 6994525"/>
                  <a:gd name="connsiteY2877" fmla="*/ 50211 h 7571036"/>
                  <a:gd name="connsiteX2878" fmla="*/ 1222234 w 6994525"/>
                  <a:gd name="connsiteY2878" fmla="*/ 65497 h 7571036"/>
                  <a:gd name="connsiteX2879" fmla="*/ 1237522 w 6994525"/>
                  <a:gd name="connsiteY2879" fmla="*/ 80785 h 7571036"/>
                  <a:gd name="connsiteX2880" fmla="*/ 1252809 w 6994525"/>
                  <a:gd name="connsiteY2880" fmla="*/ 65497 h 7571036"/>
                  <a:gd name="connsiteX2881" fmla="*/ 1253300 w 6994525"/>
                  <a:gd name="connsiteY2881" fmla="*/ 4414621 h 7571036"/>
                  <a:gd name="connsiteX2882" fmla="*/ 1211875 w 6994525"/>
                  <a:gd name="connsiteY2882" fmla="*/ 4373195 h 7571036"/>
                  <a:gd name="connsiteX2883" fmla="*/ 1170451 w 6994525"/>
                  <a:gd name="connsiteY2883" fmla="*/ 4414621 h 7571036"/>
                  <a:gd name="connsiteX2884" fmla="*/ 1211875 w 6994525"/>
                  <a:gd name="connsiteY2884" fmla="*/ 4456045 h 7571036"/>
                  <a:gd name="connsiteX2885" fmla="*/ 1253300 w 6994525"/>
                  <a:gd name="connsiteY2885" fmla="*/ 4414621 h 7571036"/>
                  <a:gd name="connsiteX2886" fmla="*/ 1253304 w 6994525"/>
                  <a:gd name="connsiteY2886" fmla="*/ 737821 h 7571036"/>
                  <a:gd name="connsiteX2887" fmla="*/ 1238756 w 6994525"/>
                  <a:gd name="connsiteY2887" fmla="*/ 723279 h 7571036"/>
                  <a:gd name="connsiteX2888" fmla="*/ 1224207 w 6994525"/>
                  <a:gd name="connsiteY2888" fmla="*/ 737821 h 7571036"/>
                  <a:gd name="connsiteX2889" fmla="*/ 1238756 w 6994525"/>
                  <a:gd name="connsiteY2889" fmla="*/ 752369 h 7571036"/>
                  <a:gd name="connsiteX2890" fmla="*/ 1253304 w 6994525"/>
                  <a:gd name="connsiteY2890" fmla="*/ 737821 h 7571036"/>
                  <a:gd name="connsiteX2891" fmla="*/ 1253547 w 6994525"/>
                  <a:gd name="connsiteY2891" fmla="*/ 4933167 h 7571036"/>
                  <a:gd name="connsiteX2892" fmla="*/ 1240479 w 6994525"/>
                  <a:gd name="connsiteY2892" fmla="*/ 4920100 h 7571036"/>
                  <a:gd name="connsiteX2893" fmla="*/ 1227411 w 6994525"/>
                  <a:gd name="connsiteY2893" fmla="*/ 4933167 h 7571036"/>
                  <a:gd name="connsiteX2894" fmla="*/ 1240479 w 6994525"/>
                  <a:gd name="connsiteY2894" fmla="*/ 4946235 h 7571036"/>
                  <a:gd name="connsiteX2895" fmla="*/ 1253547 w 6994525"/>
                  <a:gd name="connsiteY2895" fmla="*/ 4933167 h 7571036"/>
                  <a:gd name="connsiteX2896" fmla="*/ 1257987 w 6994525"/>
                  <a:gd name="connsiteY2896" fmla="*/ 4679442 h 7571036"/>
                  <a:gd name="connsiteX2897" fmla="*/ 1216562 w 6994525"/>
                  <a:gd name="connsiteY2897" fmla="*/ 4638017 h 7571036"/>
                  <a:gd name="connsiteX2898" fmla="*/ 1175138 w 6994525"/>
                  <a:gd name="connsiteY2898" fmla="*/ 4679442 h 7571036"/>
                  <a:gd name="connsiteX2899" fmla="*/ 1216562 w 6994525"/>
                  <a:gd name="connsiteY2899" fmla="*/ 4720866 h 7571036"/>
                  <a:gd name="connsiteX2900" fmla="*/ 1257987 w 6994525"/>
                  <a:gd name="connsiteY2900" fmla="*/ 4679442 h 7571036"/>
                  <a:gd name="connsiteX2901" fmla="*/ 1258479 w 6994525"/>
                  <a:gd name="connsiteY2901" fmla="*/ 192204 h 7571036"/>
                  <a:gd name="connsiteX2902" fmla="*/ 1243684 w 6994525"/>
                  <a:gd name="connsiteY2902" fmla="*/ 177411 h 7571036"/>
                  <a:gd name="connsiteX2903" fmla="*/ 1228889 w 6994525"/>
                  <a:gd name="connsiteY2903" fmla="*/ 192204 h 7571036"/>
                  <a:gd name="connsiteX2904" fmla="*/ 1243684 w 6994525"/>
                  <a:gd name="connsiteY2904" fmla="*/ 206999 h 7571036"/>
                  <a:gd name="connsiteX2905" fmla="*/ 1258479 w 6994525"/>
                  <a:gd name="connsiteY2905" fmla="*/ 192204 h 7571036"/>
                  <a:gd name="connsiteX2906" fmla="*/ 1263412 w 6994525"/>
                  <a:gd name="connsiteY2906" fmla="*/ 1826115 h 7571036"/>
                  <a:gd name="connsiteX2907" fmla="*/ 1244423 w 6994525"/>
                  <a:gd name="connsiteY2907" fmla="*/ 1807123 h 7571036"/>
                  <a:gd name="connsiteX2908" fmla="*/ 1225438 w 6994525"/>
                  <a:gd name="connsiteY2908" fmla="*/ 1826115 h 7571036"/>
                  <a:gd name="connsiteX2909" fmla="*/ 1244423 w 6994525"/>
                  <a:gd name="connsiteY2909" fmla="*/ 1845098 h 7571036"/>
                  <a:gd name="connsiteX2910" fmla="*/ 1263412 w 6994525"/>
                  <a:gd name="connsiteY2910" fmla="*/ 1826115 h 7571036"/>
                  <a:gd name="connsiteX2911" fmla="*/ 1263657 w 6994525"/>
                  <a:gd name="connsiteY2911" fmla="*/ 870686 h 7571036"/>
                  <a:gd name="connsiteX2912" fmla="*/ 1249357 w 6994525"/>
                  <a:gd name="connsiteY2912" fmla="*/ 856394 h 7571036"/>
                  <a:gd name="connsiteX2913" fmla="*/ 1235054 w 6994525"/>
                  <a:gd name="connsiteY2913" fmla="*/ 870686 h 7571036"/>
                  <a:gd name="connsiteX2914" fmla="*/ 1249357 w 6994525"/>
                  <a:gd name="connsiteY2914" fmla="*/ 885001 h 7571036"/>
                  <a:gd name="connsiteX2915" fmla="*/ 1263657 w 6994525"/>
                  <a:gd name="connsiteY2915" fmla="*/ 870686 h 7571036"/>
                  <a:gd name="connsiteX2916" fmla="*/ 1264642 w 6994525"/>
                  <a:gd name="connsiteY2916" fmla="*/ 319901 h 7571036"/>
                  <a:gd name="connsiteX2917" fmla="*/ 1250094 w 6994525"/>
                  <a:gd name="connsiteY2917" fmla="*/ 305353 h 7571036"/>
                  <a:gd name="connsiteX2918" fmla="*/ 1235794 w 6994525"/>
                  <a:gd name="connsiteY2918" fmla="*/ 319901 h 7571036"/>
                  <a:gd name="connsiteX2919" fmla="*/ 1250094 w 6994525"/>
                  <a:gd name="connsiteY2919" fmla="*/ 334201 h 7571036"/>
                  <a:gd name="connsiteX2920" fmla="*/ 1264642 w 6994525"/>
                  <a:gd name="connsiteY2920" fmla="*/ 319901 h 7571036"/>
                  <a:gd name="connsiteX2921" fmla="*/ 1264644 w 6994525"/>
                  <a:gd name="connsiteY2921" fmla="*/ 5465032 h 7571036"/>
                  <a:gd name="connsiteX2922" fmla="*/ 1237028 w 6994525"/>
                  <a:gd name="connsiteY2922" fmla="*/ 5437416 h 7571036"/>
                  <a:gd name="connsiteX2923" fmla="*/ 1209412 w 6994525"/>
                  <a:gd name="connsiteY2923" fmla="*/ 5465032 h 7571036"/>
                  <a:gd name="connsiteX2924" fmla="*/ 1237028 w 6994525"/>
                  <a:gd name="connsiteY2924" fmla="*/ 5492649 h 7571036"/>
                  <a:gd name="connsiteX2925" fmla="*/ 1264644 w 6994525"/>
                  <a:gd name="connsiteY2925" fmla="*/ 5465032 h 7571036"/>
                  <a:gd name="connsiteX2926" fmla="*/ 1273027 w 6994525"/>
                  <a:gd name="connsiteY2926" fmla="*/ 2762470 h 7571036"/>
                  <a:gd name="connsiteX2927" fmla="*/ 1246149 w 6994525"/>
                  <a:gd name="connsiteY2927" fmla="*/ 2735588 h 7571036"/>
                  <a:gd name="connsiteX2928" fmla="*/ 1219273 w 6994525"/>
                  <a:gd name="connsiteY2928" fmla="*/ 2762470 h 7571036"/>
                  <a:gd name="connsiteX2929" fmla="*/ 1246149 w 6994525"/>
                  <a:gd name="connsiteY2929" fmla="*/ 2789345 h 7571036"/>
                  <a:gd name="connsiteX2930" fmla="*/ 1273027 w 6994525"/>
                  <a:gd name="connsiteY2930" fmla="*/ 2762470 h 7571036"/>
                  <a:gd name="connsiteX2931" fmla="*/ 1274505 w 6994525"/>
                  <a:gd name="connsiteY2931" fmla="*/ 1974932 h 7571036"/>
                  <a:gd name="connsiteX2932" fmla="*/ 1271547 w 6994525"/>
                  <a:gd name="connsiteY2932" fmla="*/ 1971974 h 7571036"/>
                  <a:gd name="connsiteX2933" fmla="*/ 1268588 w 6994525"/>
                  <a:gd name="connsiteY2933" fmla="*/ 1974932 h 7571036"/>
                  <a:gd name="connsiteX2934" fmla="*/ 1271547 w 6994525"/>
                  <a:gd name="connsiteY2934" fmla="*/ 1977889 h 7571036"/>
                  <a:gd name="connsiteX2935" fmla="*/ 1274505 w 6994525"/>
                  <a:gd name="connsiteY2935" fmla="*/ 1974932 h 7571036"/>
                  <a:gd name="connsiteX2936" fmla="*/ 1275985 w 6994525"/>
                  <a:gd name="connsiteY2936" fmla="*/ 4139688 h 7571036"/>
                  <a:gd name="connsiteX2937" fmla="*/ 1229878 w 6994525"/>
                  <a:gd name="connsiteY2937" fmla="*/ 4093578 h 7571036"/>
                  <a:gd name="connsiteX2938" fmla="*/ 1183767 w 6994525"/>
                  <a:gd name="connsiteY2938" fmla="*/ 4139688 h 7571036"/>
                  <a:gd name="connsiteX2939" fmla="*/ 1229878 w 6994525"/>
                  <a:gd name="connsiteY2939" fmla="*/ 4185798 h 7571036"/>
                  <a:gd name="connsiteX2940" fmla="*/ 1275985 w 6994525"/>
                  <a:gd name="connsiteY2940" fmla="*/ 4139688 h 7571036"/>
                  <a:gd name="connsiteX2941" fmla="*/ 1276234 w 6994525"/>
                  <a:gd name="connsiteY2941" fmla="*/ 1004569 h 7571036"/>
                  <a:gd name="connsiteX2942" fmla="*/ 1261191 w 6994525"/>
                  <a:gd name="connsiteY2942" fmla="*/ 989526 h 7571036"/>
                  <a:gd name="connsiteX2943" fmla="*/ 1246151 w 6994525"/>
                  <a:gd name="connsiteY2943" fmla="*/ 1004569 h 7571036"/>
                  <a:gd name="connsiteX2944" fmla="*/ 1261191 w 6994525"/>
                  <a:gd name="connsiteY2944" fmla="*/ 1019621 h 7571036"/>
                  <a:gd name="connsiteX2945" fmla="*/ 1276234 w 6994525"/>
                  <a:gd name="connsiteY2945" fmla="*/ 1004569 h 7571036"/>
                  <a:gd name="connsiteX2946" fmla="*/ 1279931 w 6994525"/>
                  <a:gd name="connsiteY2946" fmla="*/ 6086650 h 7571036"/>
                  <a:gd name="connsiteX2947" fmla="*/ 1251082 w 6994525"/>
                  <a:gd name="connsiteY2947" fmla="*/ 6057801 h 7571036"/>
                  <a:gd name="connsiteX2948" fmla="*/ 1222234 w 6994525"/>
                  <a:gd name="connsiteY2948" fmla="*/ 6086650 h 7571036"/>
                  <a:gd name="connsiteX2949" fmla="*/ 1251082 w 6994525"/>
                  <a:gd name="connsiteY2949" fmla="*/ 6115253 h 7571036"/>
                  <a:gd name="connsiteX2950" fmla="*/ 1279931 w 6994525"/>
                  <a:gd name="connsiteY2950" fmla="*/ 6086650 h 7571036"/>
                  <a:gd name="connsiteX2951" fmla="*/ 1280672 w 6994525"/>
                  <a:gd name="connsiteY2951" fmla="*/ 3392228 h 7571036"/>
                  <a:gd name="connsiteX2952" fmla="*/ 1245164 w 6994525"/>
                  <a:gd name="connsiteY2952" fmla="*/ 3356719 h 7571036"/>
                  <a:gd name="connsiteX2953" fmla="*/ 1209658 w 6994525"/>
                  <a:gd name="connsiteY2953" fmla="*/ 3392228 h 7571036"/>
                  <a:gd name="connsiteX2954" fmla="*/ 1245164 w 6994525"/>
                  <a:gd name="connsiteY2954" fmla="*/ 3427731 h 7571036"/>
                  <a:gd name="connsiteX2955" fmla="*/ 1280672 w 6994525"/>
                  <a:gd name="connsiteY2955" fmla="*/ 3392228 h 7571036"/>
                  <a:gd name="connsiteX2956" fmla="*/ 1280917 w 6994525"/>
                  <a:gd name="connsiteY2956" fmla="*/ 3508703 h 7571036"/>
                  <a:gd name="connsiteX2957" fmla="*/ 1243687 w 6994525"/>
                  <a:gd name="connsiteY2957" fmla="*/ 3471469 h 7571036"/>
                  <a:gd name="connsiteX2958" fmla="*/ 1206453 w 6994525"/>
                  <a:gd name="connsiteY2958" fmla="*/ 3508703 h 7571036"/>
                  <a:gd name="connsiteX2959" fmla="*/ 1243687 w 6994525"/>
                  <a:gd name="connsiteY2959" fmla="*/ 3545937 h 7571036"/>
                  <a:gd name="connsiteX2960" fmla="*/ 1280917 w 6994525"/>
                  <a:gd name="connsiteY2960" fmla="*/ 3508703 h 7571036"/>
                  <a:gd name="connsiteX2961" fmla="*/ 1280917 w 6994525"/>
                  <a:gd name="connsiteY2961" fmla="*/ 5177034 h 7571036"/>
                  <a:gd name="connsiteX2962" fmla="*/ 1280425 w 6994525"/>
                  <a:gd name="connsiteY2962" fmla="*/ 5176539 h 7571036"/>
                  <a:gd name="connsiteX2963" fmla="*/ 1279931 w 6994525"/>
                  <a:gd name="connsiteY2963" fmla="*/ 5177034 h 7571036"/>
                  <a:gd name="connsiteX2964" fmla="*/ 1280425 w 6994525"/>
                  <a:gd name="connsiteY2964" fmla="*/ 5177525 h 7571036"/>
                  <a:gd name="connsiteX2965" fmla="*/ 1280917 w 6994525"/>
                  <a:gd name="connsiteY2965" fmla="*/ 5177034 h 7571036"/>
                  <a:gd name="connsiteX2966" fmla="*/ 1282150 w 6994525"/>
                  <a:gd name="connsiteY2966" fmla="*/ 5322019 h 7571036"/>
                  <a:gd name="connsiteX2967" fmla="*/ 1257492 w 6994525"/>
                  <a:gd name="connsiteY2967" fmla="*/ 5297361 h 7571036"/>
                  <a:gd name="connsiteX2968" fmla="*/ 1232835 w 6994525"/>
                  <a:gd name="connsiteY2968" fmla="*/ 5322019 h 7571036"/>
                  <a:gd name="connsiteX2969" fmla="*/ 1257492 w 6994525"/>
                  <a:gd name="connsiteY2969" fmla="*/ 5346676 h 7571036"/>
                  <a:gd name="connsiteX2970" fmla="*/ 1282150 w 6994525"/>
                  <a:gd name="connsiteY2970" fmla="*/ 5322019 h 7571036"/>
                  <a:gd name="connsiteX2971" fmla="*/ 1282643 w 6994525"/>
                  <a:gd name="connsiteY2971" fmla="*/ 5952021 h 7571036"/>
                  <a:gd name="connsiteX2972" fmla="*/ 1262423 w 6994525"/>
                  <a:gd name="connsiteY2972" fmla="*/ 5931801 h 7571036"/>
                  <a:gd name="connsiteX2973" fmla="*/ 1242451 w 6994525"/>
                  <a:gd name="connsiteY2973" fmla="*/ 5952021 h 7571036"/>
                  <a:gd name="connsiteX2974" fmla="*/ 1262423 w 6994525"/>
                  <a:gd name="connsiteY2974" fmla="*/ 5972239 h 7571036"/>
                  <a:gd name="connsiteX2975" fmla="*/ 1282643 w 6994525"/>
                  <a:gd name="connsiteY2975" fmla="*/ 5952021 h 7571036"/>
                  <a:gd name="connsiteX2976" fmla="*/ 1286341 w 6994525"/>
                  <a:gd name="connsiteY2976" fmla="*/ 2384476 h 7571036"/>
                  <a:gd name="connsiteX2977" fmla="*/ 1282644 w 6994525"/>
                  <a:gd name="connsiteY2977" fmla="*/ 2380769 h 7571036"/>
                  <a:gd name="connsiteX2978" fmla="*/ 1278945 w 6994525"/>
                  <a:gd name="connsiteY2978" fmla="*/ 2384476 h 7571036"/>
                  <a:gd name="connsiteX2979" fmla="*/ 1282644 w 6994525"/>
                  <a:gd name="connsiteY2979" fmla="*/ 2388177 h 7571036"/>
                  <a:gd name="connsiteX2980" fmla="*/ 1286341 w 6994525"/>
                  <a:gd name="connsiteY2980" fmla="*/ 2384476 h 7571036"/>
                  <a:gd name="connsiteX2981" fmla="*/ 1286341 w 6994525"/>
                  <a:gd name="connsiteY2981" fmla="*/ 3275838 h 7571036"/>
                  <a:gd name="connsiteX2982" fmla="*/ 1252560 w 6994525"/>
                  <a:gd name="connsiteY2982" fmla="*/ 3242062 h 7571036"/>
                  <a:gd name="connsiteX2983" fmla="*/ 1218780 w 6994525"/>
                  <a:gd name="connsiteY2983" fmla="*/ 3275838 h 7571036"/>
                  <a:gd name="connsiteX2984" fmla="*/ 1252560 w 6994525"/>
                  <a:gd name="connsiteY2984" fmla="*/ 3309619 h 7571036"/>
                  <a:gd name="connsiteX2985" fmla="*/ 1286341 w 6994525"/>
                  <a:gd name="connsiteY2985" fmla="*/ 3275838 h 7571036"/>
                  <a:gd name="connsiteX2986" fmla="*/ 1287329 w 6994525"/>
                  <a:gd name="connsiteY2986" fmla="*/ 3624840 h 7571036"/>
                  <a:gd name="connsiteX2987" fmla="*/ 1248369 w 6994525"/>
                  <a:gd name="connsiteY2987" fmla="*/ 3585879 h 7571036"/>
                  <a:gd name="connsiteX2988" fmla="*/ 1209412 w 6994525"/>
                  <a:gd name="connsiteY2988" fmla="*/ 3624840 h 7571036"/>
                  <a:gd name="connsiteX2989" fmla="*/ 1248369 w 6994525"/>
                  <a:gd name="connsiteY2989" fmla="*/ 3663797 h 7571036"/>
                  <a:gd name="connsiteX2990" fmla="*/ 1287329 w 6994525"/>
                  <a:gd name="connsiteY2990" fmla="*/ 3624840 h 7571036"/>
                  <a:gd name="connsiteX2991" fmla="*/ 1289302 w 6994525"/>
                  <a:gd name="connsiteY2991" fmla="*/ 1140657 h 7571036"/>
                  <a:gd name="connsiteX2992" fmla="*/ 1273767 w 6994525"/>
                  <a:gd name="connsiteY2992" fmla="*/ 1125128 h 7571036"/>
                  <a:gd name="connsiteX2993" fmla="*/ 1258232 w 6994525"/>
                  <a:gd name="connsiteY2993" fmla="*/ 1140657 h 7571036"/>
                  <a:gd name="connsiteX2994" fmla="*/ 1273767 w 6994525"/>
                  <a:gd name="connsiteY2994" fmla="*/ 1156193 h 7571036"/>
                  <a:gd name="connsiteX2995" fmla="*/ 1289302 w 6994525"/>
                  <a:gd name="connsiteY2995" fmla="*/ 1140657 h 7571036"/>
                  <a:gd name="connsiteX2996" fmla="*/ 1290780 w 6994525"/>
                  <a:gd name="connsiteY2996" fmla="*/ 1448338 h 7571036"/>
                  <a:gd name="connsiteX2997" fmla="*/ 1274753 w 6994525"/>
                  <a:gd name="connsiteY2997" fmla="*/ 1432315 h 7571036"/>
                  <a:gd name="connsiteX2998" fmla="*/ 1258726 w 6994525"/>
                  <a:gd name="connsiteY2998" fmla="*/ 1448338 h 7571036"/>
                  <a:gd name="connsiteX2999" fmla="*/ 1274753 w 6994525"/>
                  <a:gd name="connsiteY2999" fmla="*/ 1464378 h 7571036"/>
                  <a:gd name="connsiteX3000" fmla="*/ 1290780 w 6994525"/>
                  <a:gd name="connsiteY3000" fmla="*/ 1448338 h 7571036"/>
                  <a:gd name="connsiteX3001" fmla="*/ 1291767 w 6994525"/>
                  <a:gd name="connsiteY3001" fmla="*/ 6923282 h 7571036"/>
                  <a:gd name="connsiteX3002" fmla="*/ 1288808 w 6994525"/>
                  <a:gd name="connsiteY3002" fmla="*/ 6920322 h 7571036"/>
                  <a:gd name="connsiteX3003" fmla="*/ 1285850 w 6994525"/>
                  <a:gd name="connsiteY3003" fmla="*/ 6923282 h 7571036"/>
                  <a:gd name="connsiteX3004" fmla="*/ 1288808 w 6994525"/>
                  <a:gd name="connsiteY3004" fmla="*/ 6926240 h 7571036"/>
                  <a:gd name="connsiteX3005" fmla="*/ 1291767 w 6994525"/>
                  <a:gd name="connsiteY3005" fmla="*/ 6923282 h 7571036"/>
                  <a:gd name="connsiteX3006" fmla="*/ 1293245 w 6994525"/>
                  <a:gd name="connsiteY3006" fmla="*/ 5816403 h 7571036"/>
                  <a:gd name="connsiteX3007" fmla="*/ 1275245 w 6994525"/>
                  <a:gd name="connsiteY3007" fmla="*/ 5798403 h 7571036"/>
                  <a:gd name="connsiteX3008" fmla="*/ 1257247 w 6994525"/>
                  <a:gd name="connsiteY3008" fmla="*/ 5816403 h 7571036"/>
                  <a:gd name="connsiteX3009" fmla="*/ 1275245 w 6994525"/>
                  <a:gd name="connsiteY3009" fmla="*/ 5834402 h 7571036"/>
                  <a:gd name="connsiteX3010" fmla="*/ 1293245 w 6994525"/>
                  <a:gd name="connsiteY3010" fmla="*/ 5816403 h 7571036"/>
                  <a:gd name="connsiteX3011" fmla="*/ 1294971 w 6994525"/>
                  <a:gd name="connsiteY3011" fmla="*/ 5678815 h 7571036"/>
                  <a:gd name="connsiteX3012" fmla="*/ 1289547 w 6994525"/>
                  <a:gd name="connsiteY3012" fmla="*/ 5673389 h 7571036"/>
                  <a:gd name="connsiteX3013" fmla="*/ 1284122 w 6994525"/>
                  <a:gd name="connsiteY3013" fmla="*/ 5678815 h 7571036"/>
                  <a:gd name="connsiteX3014" fmla="*/ 1289547 w 6994525"/>
                  <a:gd name="connsiteY3014" fmla="*/ 5684238 h 7571036"/>
                  <a:gd name="connsiteX3015" fmla="*/ 1294971 w 6994525"/>
                  <a:gd name="connsiteY3015" fmla="*/ 5678815 h 7571036"/>
                  <a:gd name="connsiteX3016" fmla="*/ 1294972 w 6994525"/>
                  <a:gd name="connsiteY3016" fmla="*/ 4520896 h 7571036"/>
                  <a:gd name="connsiteX3017" fmla="*/ 1258726 w 6994525"/>
                  <a:gd name="connsiteY3017" fmla="*/ 4484648 h 7571036"/>
                  <a:gd name="connsiteX3018" fmla="*/ 1222479 w 6994525"/>
                  <a:gd name="connsiteY3018" fmla="*/ 4520896 h 7571036"/>
                  <a:gd name="connsiteX3019" fmla="*/ 1258726 w 6994525"/>
                  <a:gd name="connsiteY3019" fmla="*/ 4557143 h 7571036"/>
                  <a:gd name="connsiteX3020" fmla="*/ 1294972 w 6994525"/>
                  <a:gd name="connsiteY3020" fmla="*/ 4520896 h 7571036"/>
                  <a:gd name="connsiteX3021" fmla="*/ 1297193 w 6994525"/>
                  <a:gd name="connsiteY3021" fmla="*/ 6797529 h 7571036"/>
                  <a:gd name="connsiteX3022" fmla="*/ 1294234 w 6994525"/>
                  <a:gd name="connsiteY3022" fmla="*/ 6794569 h 7571036"/>
                  <a:gd name="connsiteX3023" fmla="*/ 1291275 w 6994525"/>
                  <a:gd name="connsiteY3023" fmla="*/ 6797529 h 7571036"/>
                  <a:gd name="connsiteX3024" fmla="*/ 1294234 w 6994525"/>
                  <a:gd name="connsiteY3024" fmla="*/ 6800488 h 7571036"/>
                  <a:gd name="connsiteX3025" fmla="*/ 1297193 w 6994525"/>
                  <a:gd name="connsiteY3025" fmla="*/ 6797529 h 7571036"/>
                  <a:gd name="connsiteX3026" fmla="*/ 1297931 w 6994525"/>
                  <a:gd name="connsiteY3026" fmla="*/ 3159949 h 7571036"/>
                  <a:gd name="connsiteX3027" fmla="*/ 1265874 w 6994525"/>
                  <a:gd name="connsiteY3027" fmla="*/ 3127892 h 7571036"/>
                  <a:gd name="connsiteX3028" fmla="*/ 1233821 w 6994525"/>
                  <a:gd name="connsiteY3028" fmla="*/ 3159949 h 7571036"/>
                  <a:gd name="connsiteX3029" fmla="*/ 1265874 w 6994525"/>
                  <a:gd name="connsiteY3029" fmla="*/ 3192005 h 7571036"/>
                  <a:gd name="connsiteX3030" fmla="*/ 1297931 w 6994525"/>
                  <a:gd name="connsiteY3030" fmla="*/ 3159949 h 7571036"/>
                  <a:gd name="connsiteX3031" fmla="*/ 1299657 w 6994525"/>
                  <a:gd name="connsiteY3031" fmla="*/ 3740977 h 7571036"/>
                  <a:gd name="connsiteX3032" fmla="*/ 1258970 w 6994525"/>
                  <a:gd name="connsiteY3032" fmla="*/ 3700291 h 7571036"/>
                  <a:gd name="connsiteX3033" fmla="*/ 1218286 w 6994525"/>
                  <a:gd name="connsiteY3033" fmla="*/ 3740977 h 7571036"/>
                  <a:gd name="connsiteX3034" fmla="*/ 1258970 w 6994525"/>
                  <a:gd name="connsiteY3034" fmla="*/ 3781663 h 7571036"/>
                  <a:gd name="connsiteX3035" fmla="*/ 1299657 w 6994525"/>
                  <a:gd name="connsiteY3035" fmla="*/ 3740977 h 7571036"/>
                  <a:gd name="connsiteX3036" fmla="*/ 1301878 w 6994525"/>
                  <a:gd name="connsiteY3036" fmla="*/ 6670542 h 7571036"/>
                  <a:gd name="connsiteX3037" fmla="*/ 1300151 w 6994525"/>
                  <a:gd name="connsiteY3037" fmla="*/ 6668814 h 7571036"/>
                  <a:gd name="connsiteX3038" fmla="*/ 1298425 w 6994525"/>
                  <a:gd name="connsiteY3038" fmla="*/ 6670542 h 7571036"/>
                  <a:gd name="connsiteX3039" fmla="*/ 1300151 w 6994525"/>
                  <a:gd name="connsiteY3039" fmla="*/ 6672265 h 7571036"/>
                  <a:gd name="connsiteX3040" fmla="*/ 1301878 w 6994525"/>
                  <a:gd name="connsiteY3040" fmla="*/ 6670542 h 7571036"/>
                  <a:gd name="connsiteX3041" fmla="*/ 1303110 w 6994525"/>
                  <a:gd name="connsiteY3041" fmla="*/ 1278227 h 7571036"/>
                  <a:gd name="connsiteX3042" fmla="*/ 1287822 w 6994525"/>
                  <a:gd name="connsiteY3042" fmla="*/ 1262925 h 7571036"/>
                  <a:gd name="connsiteX3043" fmla="*/ 1272535 w 6994525"/>
                  <a:gd name="connsiteY3043" fmla="*/ 1278227 h 7571036"/>
                  <a:gd name="connsiteX3044" fmla="*/ 1287822 w 6994525"/>
                  <a:gd name="connsiteY3044" fmla="*/ 1293505 h 7571036"/>
                  <a:gd name="connsiteX3045" fmla="*/ 1303110 w 6994525"/>
                  <a:gd name="connsiteY3045" fmla="*/ 1278227 h 7571036"/>
                  <a:gd name="connsiteX3046" fmla="*/ 1304095 w 6994525"/>
                  <a:gd name="connsiteY3046" fmla="*/ 2127059 h 7571036"/>
                  <a:gd name="connsiteX3047" fmla="*/ 1302122 w 6994525"/>
                  <a:gd name="connsiteY3047" fmla="*/ 2125086 h 7571036"/>
                  <a:gd name="connsiteX3048" fmla="*/ 1300149 w 6994525"/>
                  <a:gd name="connsiteY3048" fmla="*/ 2127059 h 7571036"/>
                  <a:gd name="connsiteX3049" fmla="*/ 1302122 w 6994525"/>
                  <a:gd name="connsiteY3049" fmla="*/ 2128786 h 7571036"/>
                  <a:gd name="connsiteX3050" fmla="*/ 1304095 w 6994525"/>
                  <a:gd name="connsiteY3050" fmla="*/ 2127059 h 7571036"/>
                  <a:gd name="connsiteX3051" fmla="*/ 1307055 w 6994525"/>
                  <a:gd name="connsiteY3051" fmla="*/ 2652490 h 7571036"/>
                  <a:gd name="connsiteX3052" fmla="*/ 1284122 w 6994525"/>
                  <a:gd name="connsiteY3052" fmla="*/ 2629556 h 7571036"/>
                  <a:gd name="connsiteX3053" fmla="*/ 1261191 w 6994525"/>
                  <a:gd name="connsiteY3053" fmla="*/ 2652490 h 7571036"/>
                  <a:gd name="connsiteX3054" fmla="*/ 1284122 w 6994525"/>
                  <a:gd name="connsiteY3054" fmla="*/ 2675423 h 7571036"/>
                  <a:gd name="connsiteX3055" fmla="*/ 1307055 w 6994525"/>
                  <a:gd name="connsiteY3055" fmla="*/ 2652490 h 7571036"/>
                  <a:gd name="connsiteX3056" fmla="*/ 1307056 w 6994525"/>
                  <a:gd name="connsiteY3056" fmla="*/ 4780539 h 7571036"/>
                  <a:gd name="connsiteX3057" fmla="*/ 1273521 w 6994525"/>
                  <a:gd name="connsiteY3057" fmla="*/ 4747004 h 7571036"/>
                  <a:gd name="connsiteX3058" fmla="*/ 1239987 w 6994525"/>
                  <a:gd name="connsiteY3058" fmla="*/ 4780539 h 7571036"/>
                  <a:gd name="connsiteX3059" fmla="*/ 1273521 w 6994525"/>
                  <a:gd name="connsiteY3059" fmla="*/ 4814073 h 7571036"/>
                  <a:gd name="connsiteX3060" fmla="*/ 1307056 w 6994525"/>
                  <a:gd name="connsiteY3060" fmla="*/ 4780539 h 7571036"/>
                  <a:gd name="connsiteX3061" fmla="*/ 1311738 w 6994525"/>
                  <a:gd name="connsiteY3061" fmla="*/ 1590347 h 7571036"/>
                  <a:gd name="connsiteX3062" fmla="*/ 1293738 w 6994525"/>
                  <a:gd name="connsiteY3062" fmla="*/ 1572348 h 7571036"/>
                  <a:gd name="connsiteX3063" fmla="*/ 1275740 w 6994525"/>
                  <a:gd name="connsiteY3063" fmla="*/ 1590347 h 7571036"/>
                  <a:gd name="connsiteX3064" fmla="*/ 1293738 w 6994525"/>
                  <a:gd name="connsiteY3064" fmla="*/ 1608353 h 7571036"/>
                  <a:gd name="connsiteX3065" fmla="*/ 1311738 w 6994525"/>
                  <a:gd name="connsiteY3065" fmla="*/ 1590347 h 7571036"/>
                  <a:gd name="connsiteX3066" fmla="*/ 1312234 w 6994525"/>
                  <a:gd name="connsiteY3066" fmla="*/ 4250646 h 7571036"/>
                  <a:gd name="connsiteX3067" fmla="*/ 1265385 w 6994525"/>
                  <a:gd name="connsiteY3067" fmla="*/ 4203797 h 7571036"/>
                  <a:gd name="connsiteX3068" fmla="*/ 1218535 w 6994525"/>
                  <a:gd name="connsiteY3068" fmla="*/ 4250646 h 7571036"/>
                  <a:gd name="connsiteX3069" fmla="*/ 1265385 w 6994525"/>
                  <a:gd name="connsiteY3069" fmla="*/ 4297496 h 7571036"/>
                  <a:gd name="connsiteX3070" fmla="*/ 1312234 w 6994525"/>
                  <a:gd name="connsiteY3070" fmla="*/ 4250646 h 7571036"/>
                  <a:gd name="connsiteX3071" fmla="*/ 1314698 w 6994525"/>
                  <a:gd name="connsiteY3071" fmla="*/ 5029088 h 7571036"/>
                  <a:gd name="connsiteX3072" fmla="*/ 1305575 w 6994525"/>
                  <a:gd name="connsiteY3072" fmla="*/ 5019965 h 7571036"/>
                  <a:gd name="connsiteX3073" fmla="*/ 1296453 w 6994525"/>
                  <a:gd name="connsiteY3073" fmla="*/ 5029088 h 7571036"/>
                  <a:gd name="connsiteX3074" fmla="*/ 1305575 w 6994525"/>
                  <a:gd name="connsiteY3074" fmla="*/ 5038210 h 7571036"/>
                  <a:gd name="connsiteX3075" fmla="*/ 1314698 w 6994525"/>
                  <a:gd name="connsiteY3075" fmla="*/ 5029088 h 7571036"/>
                  <a:gd name="connsiteX3076" fmla="*/ 1315684 w 6994525"/>
                  <a:gd name="connsiteY3076" fmla="*/ 3045038 h 7571036"/>
                  <a:gd name="connsiteX3077" fmla="*/ 1285354 w 6994525"/>
                  <a:gd name="connsiteY3077" fmla="*/ 3014707 h 7571036"/>
                  <a:gd name="connsiteX3078" fmla="*/ 1254779 w 6994525"/>
                  <a:gd name="connsiteY3078" fmla="*/ 3045038 h 7571036"/>
                  <a:gd name="connsiteX3079" fmla="*/ 1285354 w 6994525"/>
                  <a:gd name="connsiteY3079" fmla="*/ 3075367 h 7571036"/>
                  <a:gd name="connsiteX3080" fmla="*/ 1315684 w 6994525"/>
                  <a:gd name="connsiteY3080" fmla="*/ 3045038 h 7571036"/>
                  <a:gd name="connsiteX3081" fmla="*/ 1318645 w 6994525"/>
                  <a:gd name="connsiteY3081" fmla="*/ 3856373 h 7571036"/>
                  <a:gd name="connsiteX3082" fmla="*/ 1275494 w 6994525"/>
                  <a:gd name="connsiteY3082" fmla="*/ 3813221 h 7571036"/>
                  <a:gd name="connsiteX3083" fmla="*/ 1232342 w 6994525"/>
                  <a:gd name="connsiteY3083" fmla="*/ 3856373 h 7571036"/>
                  <a:gd name="connsiteX3084" fmla="*/ 1275494 w 6994525"/>
                  <a:gd name="connsiteY3084" fmla="*/ 3899524 h 7571036"/>
                  <a:gd name="connsiteX3085" fmla="*/ 1318645 w 6994525"/>
                  <a:gd name="connsiteY3085" fmla="*/ 3856373 h 7571036"/>
                  <a:gd name="connsiteX3086" fmla="*/ 1318891 w 6994525"/>
                  <a:gd name="connsiteY3086" fmla="*/ 6549471 h 7571036"/>
                  <a:gd name="connsiteX3087" fmla="*/ 1316179 w 6994525"/>
                  <a:gd name="connsiteY3087" fmla="*/ 6546758 h 7571036"/>
                  <a:gd name="connsiteX3088" fmla="*/ 1313466 w 6994525"/>
                  <a:gd name="connsiteY3088" fmla="*/ 6549471 h 7571036"/>
                  <a:gd name="connsiteX3089" fmla="*/ 1316179 w 6994525"/>
                  <a:gd name="connsiteY3089" fmla="*/ 6552184 h 7571036"/>
                  <a:gd name="connsiteX3090" fmla="*/ 1318891 w 6994525"/>
                  <a:gd name="connsiteY3090" fmla="*/ 6549471 h 7571036"/>
                  <a:gd name="connsiteX3091" fmla="*/ 1326779 w 6994525"/>
                  <a:gd name="connsiteY3091" fmla="*/ 6421007 h 7571036"/>
                  <a:gd name="connsiteX3092" fmla="*/ 1323574 w 6994525"/>
                  <a:gd name="connsiteY3092" fmla="*/ 6417802 h 7571036"/>
                  <a:gd name="connsiteX3093" fmla="*/ 1320369 w 6994525"/>
                  <a:gd name="connsiteY3093" fmla="*/ 6421007 h 7571036"/>
                  <a:gd name="connsiteX3094" fmla="*/ 1323574 w 6994525"/>
                  <a:gd name="connsiteY3094" fmla="*/ 6424212 h 7571036"/>
                  <a:gd name="connsiteX3095" fmla="*/ 1326779 w 6994525"/>
                  <a:gd name="connsiteY3095" fmla="*/ 6421007 h 7571036"/>
                  <a:gd name="connsiteX3096" fmla="*/ 1328262 w 6994525"/>
                  <a:gd name="connsiteY3096" fmla="*/ 407409 h 7571036"/>
                  <a:gd name="connsiteX3097" fmla="*/ 1313715 w 6994525"/>
                  <a:gd name="connsiteY3097" fmla="*/ 392861 h 7571036"/>
                  <a:gd name="connsiteX3098" fmla="*/ 1299166 w 6994525"/>
                  <a:gd name="connsiteY3098" fmla="*/ 407409 h 7571036"/>
                  <a:gd name="connsiteX3099" fmla="*/ 1313715 w 6994525"/>
                  <a:gd name="connsiteY3099" fmla="*/ 421956 h 7571036"/>
                  <a:gd name="connsiteX3100" fmla="*/ 1328262 w 6994525"/>
                  <a:gd name="connsiteY3100" fmla="*/ 407409 h 7571036"/>
                  <a:gd name="connsiteX3101" fmla="*/ 1333190 w 6994525"/>
                  <a:gd name="connsiteY3101" fmla="*/ 1734079 h 7571036"/>
                  <a:gd name="connsiteX3102" fmla="*/ 1315188 w 6994525"/>
                  <a:gd name="connsiteY3102" fmla="*/ 1715805 h 7571036"/>
                  <a:gd name="connsiteX3103" fmla="*/ 1296944 w 6994525"/>
                  <a:gd name="connsiteY3103" fmla="*/ 1734079 h 7571036"/>
                  <a:gd name="connsiteX3104" fmla="*/ 1315188 w 6994525"/>
                  <a:gd name="connsiteY3104" fmla="*/ 1752350 h 7571036"/>
                  <a:gd name="connsiteX3105" fmla="*/ 1333190 w 6994525"/>
                  <a:gd name="connsiteY3105" fmla="*/ 1734079 h 7571036"/>
                  <a:gd name="connsiteX3106" fmla="*/ 1333931 w 6994525"/>
                  <a:gd name="connsiteY3106" fmla="*/ 6291556 h 7571036"/>
                  <a:gd name="connsiteX3107" fmla="*/ 1331465 w 6994525"/>
                  <a:gd name="connsiteY3107" fmla="*/ 6289088 h 7571036"/>
                  <a:gd name="connsiteX3108" fmla="*/ 1329000 w 6994525"/>
                  <a:gd name="connsiteY3108" fmla="*/ 6291556 h 7571036"/>
                  <a:gd name="connsiteX3109" fmla="*/ 1331465 w 6994525"/>
                  <a:gd name="connsiteY3109" fmla="*/ 6294020 h 7571036"/>
                  <a:gd name="connsiteX3110" fmla="*/ 1333931 w 6994525"/>
                  <a:gd name="connsiteY3110" fmla="*/ 6291556 h 7571036"/>
                  <a:gd name="connsiteX3111" fmla="*/ 1335658 w 6994525"/>
                  <a:gd name="connsiteY3111" fmla="*/ 536091 h 7571036"/>
                  <a:gd name="connsiteX3112" fmla="*/ 1321356 w 6994525"/>
                  <a:gd name="connsiteY3112" fmla="*/ 521789 h 7571036"/>
                  <a:gd name="connsiteX3113" fmla="*/ 1307301 w 6994525"/>
                  <a:gd name="connsiteY3113" fmla="*/ 536091 h 7571036"/>
                  <a:gd name="connsiteX3114" fmla="*/ 1321356 w 6994525"/>
                  <a:gd name="connsiteY3114" fmla="*/ 550144 h 7571036"/>
                  <a:gd name="connsiteX3115" fmla="*/ 1335658 w 6994525"/>
                  <a:gd name="connsiteY3115" fmla="*/ 536091 h 7571036"/>
                  <a:gd name="connsiteX3116" fmla="*/ 1339355 w 6994525"/>
                  <a:gd name="connsiteY3116" fmla="*/ 2281399 h 7571036"/>
                  <a:gd name="connsiteX3117" fmla="*/ 1336888 w 6994525"/>
                  <a:gd name="connsiteY3117" fmla="*/ 2278929 h 7571036"/>
                  <a:gd name="connsiteX3118" fmla="*/ 1334423 w 6994525"/>
                  <a:gd name="connsiteY3118" fmla="*/ 2281399 h 7571036"/>
                  <a:gd name="connsiteX3119" fmla="*/ 1336888 w 6994525"/>
                  <a:gd name="connsiteY3119" fmla="*/ 2283869 h 7571036"/>
                  <a:gd name="connsiteX3120" fmla="*/ 1339355 w 6994525"/>
                  <a:gd name="connsiteY3120" fmla="*/ 2281399 h 7571036"/>
                  <a:gd name="connsiteX3121" fmla="*/ 1339603 w 6994525"/>
                  <a:gd name="connsiteY3121" fmla="*/ 2931115 h 7571036"/>
                  <a:gd name="connsiteX3122" fmla="*/ 1310753 w 6994525"/>
                  <a:gd name="connsiteY3122" fmla="*/ 2902264 h 7571036"/>
                  <a:gd name="connsiteX3123" fmla="*/ 1281904 w 6994525"/>
                  <a:gd name="connsiteY3123" fmla="*/ 2931115 h 7571036"/>
                  <a:gd name="connsiteX3124" fmla="*/ 1310753 w 6994525"/>
                  <a:gd name="connsiteY3124" fmla="*/ 2959964 h 7571036"/>
                  <a:gd name="connsiteX3125" fmla="*/ 1339603 w 6994525"/>
                  <a:gd name="connsiteY3125" fmla="*/ 2931115 h 7571036"/>
                  <a:gd name="connsiteX3126" fmla="*/ 1340096 w 6994525"/>
                  <a:gd name="connsiteY3126" fmla="*/ 4624949 h 7571036"/>
                  <a:gd name="connsiteX3127" fmla="*/ 1310506 w 6994525"/>
                  <a:gd name="connsiteY3127" fmla="*/ 4595360 h 7571036"/>
                  <a:gd name="connsiteX3128" fmla="*/ 1280917 w 6994525"/>
                  <a:gd name="connsiteY3128" fmla="*/ 4624949 h 7571036"/>
                  <a:gd name="connsiteX3129" fmla="*/ 1310506 w 6994525"/>
                  <a:gd name="connsiteY3129" fmla="*/ 4654539 h 7571036"/>
                  <a:gd name="connsiteX3130" fmla="*/ 1340096 w 6994525"/>
                  <a:gd name="connsiteY3130" fmla="*/ 4624949 h 7571036"/>
                  <a:gd name="connsiteX3131" fmla="*/ 1342562 w 6994525"/>
                  <a:gd name="connsiteY3131" fmla="*/ 5550350 h 7571036"/>
                  <a:gd name="connsiteX3132" fmla="*/ 1315438 w 6994525"/>
                  <a:gd name="connsiteY3132" fmla="*/ 5523225 h 7571036"/>
                  <a:gd name="connsiteX3133" fmla="*/ 1288316 w 6994525"/>
                  <a:gd name="connsiteY3133" fmla="*/ 5550350 h 7571036"/>
                  <a:gd name="connsiteX3134" fmla="*/ 1315438 w 6994525"/>
                  <a:gd name="connsiteY3134" fmla="*/ 5577472 h 7571036"/>
                  <a:gd name="connsiteX3135" fmla="*/ 1342562 w 6994525"/>
                  <a:gd name="connsiteY3135" fmla="*/ 5550350 h 7571036"/>
                  <a:gd name="connsiteX3136" fmla="*/ 1343547 w 6994525"/>
                  <a:gd name="connsiteY3136" fmla="*/ 1880559 h 7571036"/>
                  <a:gd name="connsiteX3137" fmla="*/ 1338863 w 6994525"/>
                  <a:gd name="connsiteY3137" fmla="*/ 1875876 h 7571036"/>
                  <a:gd name="connsiteX3138" fmla="*/ 1334178 w 6994525"/>
                  <a:gd name="connsiteY3138" fmla="*/ 1880559 h 7571036"/>
                  <a:gd name="connsiteX3139" fmla="*/ 1338863 w 6994525"/>
                  <a:gd name="connsiteY3139" fmla="*/ 1885239 h 7571036"/>
                  <a:gd name="connsiteX3140" fmla="*/ 1343547 w 6994525"/>
                  <a:gd name="connsiteY3140" fmla="*/ 1880559 h 7571036"/>
                  <a:gd name="connsiteX3141" fmla="*/ 1344041 w 6994525"/>
                  <a:gd name="connsiteY3141" fmla="*/ 665576 h 7571036"/>
                  <a:gd name="connsiteX3142" fmla="*/ 1329741 w 6994525"/>
                  <a:gd name="connsiteY3142" fmla="*/ 651275 h 7571036"/>
                  <a:gd name="connsiteX3143" fmla="*/ 1315438 w 6994525"/>
                  <a:gd name="connsiteY3143" fmla="*/ 665576 h 7571036"/>
                  <a:gd name="connsiteX3144" fmla="*/ 1329741 w 6994525"/>
                  <a:gd name="connsiteY3144" fmla="*/ 679871 h 7571036"/>
                  <a:gd name="connsiteX3145" fmla="*/ 1344041 w 6994525"/>
                  <a:gd name="connsiteY3145" fmla="*/ 665576 h 7571036"/>
                  <a:gd name="connsiteX3146" fmla="*/ 1345519 w 6994525"/>
                  <a:gd name="connsiteY3146" fmla="*/ 3970785 h 7571036"/>
                  <a:gd name="connsiteX3147" fmla="*/ 1298176 w 6994525"/>
                  <a:gd name="connsiteY3147" fmla="*/ 3923441 h 7571036"/>
                  <a:gd name="connsiteX3148" fmla="*/ 1250833 w 6994525"/>
                  <a:gd name="connsiteY3148" fmla="*/ 3970785 h 7571036"/>
                  <a:gd name="connsiteX3149" fmla="*/ 1298176 w 6994525"/>
                  <a:gd name="connsiteY3149" fmla="*/ 4018127 h 7571036"/>
                  <a:gd name="connsiteX3150" fmla="*/ 1345519 w 6994525"/>
                  <a:gd name="connsiteY3150" fmla="*/ 3970785 h 7571036"/>
                  <a:gd name="connsiteX3151" fmla="*/ 1346754 w 6994525"/>
                  <a:gd name="connsiteY3151" fmla="*/ 2544486 h 7571036"/>
                  <a:gd name="connsiteX3152" fmla="*/ 1327766 w 6994525"/>
                  <a:gd name="connsiteY3152" fmla="*/ 2525498 h 7571036"/>
                  <a:gd name="connsiteX3153" fmla="*/ 1308780 w 6994525"/>
                  <a:gd name="connsiteY3153" fmla="*/ 2544486 h 7571036"/>
                  <a:gd name="connsiteX3154" fmla="*/ 1327766 w 6994525"/>
                  <a:gd name="connsiteY3154" fmla="*/ 2563473 h 7571036"/>
                  <a:gd name="connsiteX3155" fmla="*/ 1346754 w 6994525"/>
                  <a:gd name="connsiteY3155" fmla="*/ 2544486 h 7571036"/>
                  <a:gd name="connsiteX3156" fmla="*/ 1349712 w 6994525"/>
                  <a:gd name="connsiteY3156" fmla="*/ 4359634 h 7571036"/>
                  <a:gd name="connsiteX3157" fmla="*/ 1306561 w 6994525"/>
                  <a:gd name="connsiteY3157" fmla="*/ 4316482 h 7571036"/>
                  <a:gd name="connsiteX3158" fmla="*/ 1263410 w 6994525"/>
                  <a:gd name="connsiteY3158" fmla="*/ 4359634 h 7571036"/>
                  <a:gd name="connsiteX3159" fmla="*/ 1306561 w 6994525"/>
                  <a:gd name="connsiteY3159" fmla="*/ 4402785 h 7571036"/>
                  <a:gd name="connsiteX3160" fmla="*/ 1349712 w 6994525"/>
                  <a:gd name="connsiteY3160" fmla="*/ 4359634 h 7571036"/>
                  <a:gd name="connsiteX3161" fmla="*/ 1350944 w 6994525"/>
                  <a:gd name="connsiteY3161" fmla="*/ 2871 h 7571036"/>
                  <a:gd name="connsiteX3162" fmla="*/ 1349743 w 6994525"/>
                  <a:gd name="connsiteY3162" fmla="*/ 0 h 7571036"/>
                  <a:gd name="connsiteX3163" fmla="*/ 1320585 w 6994525"/>
                  <a:gd name="connsiteY3163" fmla="*/ 0 h 7571036"/>
                  <a:gd name="connsiteX3164" fmla="*/ 1319384 w 6994525"/>
                  <a:gd name="connsiteY3164" fmla="*/ 2871 h 7571036"/>
                  <a:gd name="connsiteX3165" fmla="*/ 1335164 w 6994525"/>
                  <a:gd name="connsiteY3165" fmla="*/ 18651 h 7571036"/>
                  <a:gd name="connsiteX3166" fmla="*/ 1350944 w 6994525"/>
                  <a:gd name="connsiteY3166" fmla="*/ 2871 h 7571036"/>
                  <a:gd name="connsiteX3167" fmla="*/ 1352918 w 6994525"/>
                  <a:gd name="connsiteY3167" fmla="*/ 796240 h 7571036"/>
                  <a:gd name="connsiteX3168" fmla="*/ 1338618 w 6994525"/>
                  <a:gd name="connsiteY3168" fmla="*/ 781934 h 7571036"/>
                  <a:gd name="connsiteX3169" fmla="*/ 1324315 w 6994525"/>
                  <a:gd name="connsiteY3169" fmla="*/ 796240 h 7571036"/>
                  <a:gd name="connsiteX3170" fmla="*/ 1338618 w 6994525"/>
                  <a:gd name="connsiteY3170" fmla="*/ 810539 h 7571036"/>
                  <a:gd name="connsiteX3171" fmla="*/ 1352918 w 6994525"/>
                  <a:gd name="connsiteY3171" fmla="*/ 796240 h 7571036"/>
                  <a:gd name="connsiteX3172" fmla="*/ 1356125 w 6994525"/>
                  <a:gd name="connsiteY3172" fmla="*/ 127853 h 7571036"/>
                  <a:gd name="connsiteX3173" fmla="*/ 1340591 w 6994525"/>
                  <a:gd name="connsiteY3173" fmla="*/ 112318 h 7571036"/>
                  <a:gd name="connsiteX3174" fmla="*/ 1325056 w 6994525"/>
                  <a:gd name="connsiteY3174" fmla="*/ 127853 h 7571036"/>
                  <a:gd name="connsiteX3175" fmla="*/ 1340591 w 6994525"/>
                  <a:gd name="connsiteY3175" fmla="*/ 143387 h 7571036"/>
                  <a:gd name="connsiteX3176" fmla="*/ 1356125 w 6994525"/>
                  <a:gd name="connsiteY3176" fmla="*/ 127853 h 7571036"/>
                  <a:gd name="connsiteX3177" fmla="*/ 1359083 w 6994525"/>
                  <a:gd name="connsiteY3177" fmla="*/ 4879415 h 7571036"/>
                  <a:gd name="connsiteX3178" fmla="*/ 1334672 w 6994525"/>
                  <a:gd name="connsiteY3178" fmla="*/ 4855003 h 7571036"/>
                  <a:gd name="connsiteX3179" fmla="*/ 1310260 w 6994525"/>
                  <a:gd name="connsiteY3179" fmla="*/ 4879415 h 7571036"/>
                  <a:gd name="connsiteX3180" fmla="*/ 1334672 w 6994525"/>
                  <a:gd name="connsiteY3180" fmla="*/ 4903823 h 7571036"/>
                  <a:gd name="connsiteX3181" fmla="*/ 1359083 w 6994525"/>
                  <a:gd name="connsiteY3181" fmla="*/ 4879415 h 7571036"/>
                  <a:gd name="connsiteX3182" fmla="*/ 1361056 w 6994525"/>
                  <a:gd name="connsiteY3182" fmla="*/ 253822 h 7571036"/>
                  <a:gd name="connsiteX3183" fmla="*/ 1346013 w 6994525"/>
                  <a:gd name="connsiteY3183" fmla="*/ 238783 h 7571036"/>
                  <a:gd name="connsiteX3184" fmla="*/ 1330973 w 6994525"/>
                  <a:gd name="connsiteY3184" fmla="*/ 253822 h 7571036"/>
                  <a:gd name="connsiteX3185" fmla="*/ 1346013 w 6994525"/>
                  <a:gd name="connsiteY3185" fmla="*/ 268865 h 7571036"/>
                  <a:gd name="connsiteX3186" fmla="*/ 1361056 w 6994525"/>
                  <a:gd name="connsiteY3186" fmla="*/ 253822 h 7571036"/>
                  <a:gd name="connsiteX3187" fmla="*/ 1362781 w 6994525"/>
                  <a:gd name="connsiteY3187" fmla="*/ 5409801 h 7571036"/>
                  <a:gd name="connsiteX3188" fmla="*/ 1333192 w 6994525"/>
                  <a:gd name="connsiteY3188" fmla="*/ 5380211 h 7571036"/>
                  <a:gd name="connsiteX3189" fmla="*/ 1303603 w 6994525"/>
                  <a:gd name="connsiteY3189" fmla="*/ 5409801 h 7571036"/>
                  <a:gd name="connsiteX3190" fmla="*/ 1333192 w 6994525"/>
                  <a:gd name="connsiteY3190" fmla="*/ 5439390 h 7571036"/>
                  <a:gd name="connsiteX3191" fmla="*/ 1362781 w 6994525"/>
                  <a:gd name="connsiteY3191" fmla="*/ 5409801 h 7571036"/>
                  <a:gd name="connsiteX3192" fmla="*/ 1363274 w 6994525"/>
                  <a:gd name="connsiteY3192" fmla="*/ 928378 h 7571036"/>
                  <a:gd name="connsiteX3193" fmla="*/ 1348726 w 6994525"/>
                  <a:gd name="connsiteY3193" fmla="*/ 913823 h 7571036"/>
                  <a:gd name="connsiteX3194" fmla="*/ 1334178 w 6994525"/>
                  <a:gd name="connsiteY3194" fmla="*/ 928378 h 7571036"/>
                  <a:gd name="connsiteX3195" fmla="*/ 1348726 w 6994525"/>
                  <a:gd name="connsiteY3195" fmla="*/ 942922 h 7571036"/>
                  <a:gd name="connsiteX3196" fmla="*/ 1363274 w 6994525"/>
                  <a:gd name="connsiteY3196" fmla="*/ 928378 h 7571036"/>
                  <a:gd name="connsiteX3197" fmla="*/ 1367465 w 6994525"/>
                  <a:gd name="connsiteY3197" fmla="*/ 2029633 h 7571036"/>
                  <a:gd name="connsiteX3198" fmla="*/ 1365493 w 6994525"/>
                  <a:gd name="connsiteY3198" fmla="*/ 2027661 h 7571036"/>
                  <a:gd name="connsiteX3199" fmla="*/ 1363521 w 6994525"/>
                  <a:gd name="connsiteY3199" fmla="*/ 2029633 h 7571036"/>
                  <a:gd name="connsiteX3200" fmla="*/ 1365493 w 6994525"/>
                  <a:gd name="connsiteY3200" fmla="*/ 2031606 h 7571036"/>
                  <a:gd name="connsiteX3201" fmla="*/ 1367465 w 6994525"/>
                  <a:gd name="connsiteY3201" fmla="*/ 2029633 h 7571036"/>
                  <a:gd name="connsiteX3202" fmla="*/ 1367957 w 6994525"/>
                  <a:gd name="connsiteY3202" fmla="*/ 6160622 h 7571036"/>
                  <a:gd name="connsiteX3203" fmla="*/ 1340590 w 6994525"/>
                  <a:gd name="connsiteY3203" fmla="*/ 6133251 h 7571036"/>
                  <a:gd name="connsiteX3204" fmla="*/ 1313219 w 6994525"/>
                  <a:gd name="connsiteY3204" fmla="*/ 6160622 h 7571036"/>
                  <a:gd name="connsiteX3205" fmla="*/ 1340590 w 6994525"/>
                  <a:gd name="connsiteY3205" fmla="*/ 6187993 h 7571036"/>
                  <a:gd name="connsiteX3206" fmla="*/ 1367957 w 6994525"/>
                  <a:gd name="connsiteY3206" fmla="*/ 6160622 h 7571036"/>
                  <a:gd name="connsiteX3207" fmla="*/ 1369192 w 6994525"/>
                  <a:gd name="connsiteY3207" fmla="*/ 2818674 h 7571036"/>
                  <a:gd name="connsiteX3208" fmla="*/ 1342068 w 6994525"/>
                  <a:gd name="connsiteY3208" fmla="*/ 2791549 h 7571036"/>
                  <a:gd name="connsiteX3209" fmla="*/ 1314946 w 6994525"/>
                  <a:gd name="connsiteY3209" fmla="*/ 2818674 h 7571036"/>
                  <a:gd name="connsiteX3210" fmla="*/ 1342068 w 6994525"/>
                  <a:gd name="connsiteY3210" fmla="*/ 2845797 h 7571036"/>
                  <a:gd name="connsiteX3211" fmla="*/ 1369192 w 6994525"/>
                  <a:gd name="connsiteY3211" fmla="*/ 2818674 h 7571036"/>
                  <a:gd name="connsiteX3212" fmla="*/ 1369193 w 6994525"/>
                  <a:gd name="connsiteY3212" fmla="*/ 6028212 h 7571036"/>
                  <a:gd name="connsiteX3213" fmla="*/ 1350204 w 6994525"/>
                  <a:gd name="connsiteY3213" fmla="*/ 6009226 h 7571036"/>
                  <a:gd name="connsiteX3214" fmla="*/ 1331219 w 6994525"/>
                  <a:gd name="connsiteY3214" fmla="*/ 6028212 h 7571036"/>
                  <a:gd name="connsiteX3215" fmla="*/ 1350204 w 6994525"/>
                  <a:gd name="connsiteY3215" fmla="*/ 6047201 h 7571036"/>
                  <a:gd name="connsiteX3216" fmla="*/ 1369193 w 6994525"/>
                  <a:gd name="connsiteY3216" fmla="*/ 6028212 h 7571036"/>
                  <a:gd name="connsiteX3217" fmla="*/ 1369687 w 6994525"/>
                  <a:gd name="connsiteY3217" fmla="*/ 1364751 h 7571036"/>
                  <a:gd name="connsiteX3218" fmla="*/ 1354644 w 6994525"/>
                  <a:gd name="connsiteY3218" fmla="*/ 1349713 h 7571036"/>
                  <a:gd name="connsiteX3219" fmla="*/ 1339604 w 6994525"/>
                  <a:gd name="connsiteY3219" fmla="*/ 1364751 h 7571036"/>
                  <a:gd name="connsiteX3220" fmla="*/ 1354644 w 6994525"/>
                  <a:gd name="connsiteY3220" fmla="*/ 1379797 h 7571036"/>
                  <a:gd name="connsiteX3221" fmla="*/ 1369687 w 6994525"/>
                  <a:gd name="connsiteY3221" fmla="*/ 1364751 h 7571036"/>
                  <a:gd name="connsiteX3222" fmla="*/ 1373876 w 6994525"/>
                  <a:gd name="connsiteY3222" fmla="*/ 1061999 h 7571036"/>
                  <a:gd name="connsiteX3223" fmla="*/ 1359576 w 6994525"/>
                  <a:gd name="connsiteY3223" fmla="*/ 1047699 h 7571036"/>
                  <a:gd name="connsiteX3224" fmla="*/ 1345273 w 6994525"/>
                  <a:gd name="connsiteY3224" fmla="*/ 1061999 h 7571036"/>
                  <a:gd name="connsiteX3225" fmla="*/ 1359576 w 6994525"/>
                  <a:gd name="connsiteY3225" fmla="*/ 1076549 h 7571036"/>
                  <a:gd name="connsiteX3226" fmla="*/ 1373876 w 6994525"/>
                  <a:gd name="connsiteY3226" fmla="*/ 1061999 h 7571036"/>
                  <a:gd name="connsiteX3227" fmla="*/ 1376341 w 6994525"/>
                  <a:gd name="connsiteY3227" fmla="*/ 4083961 h 7571036"/>
                  <a:gd name="connsiteX3228" fmla="*/ 1326779 w 6994525"/>
                  <a:gd name="connsiteY3228" fmla="*/ 4034399 h 7571036"/>
                  <a:gd name="connsiteX3229" fmla="*/ 1277219 w 6994525"/>
                  <a:gd name="connsiteY3229" fmla="*/ 4083961 h 7571036"/>
                  <a:gd name="connsiteX3230" fmla="*/ 1326779 w 6994525"/>
                  <a:gd name="connsiteY3230" fmla="*/ 4133522 h 7571036"/>
                  <a:gd name="connsiteX3231" fmla="*/ 1376341 w 6994525"/>
                  <a:gd name="connsiteY3231" fmla="*/ 4083961 h 7571036"/>
                  <a:gd name="connsiteX3232" fmla="*/ 1378067 w 6994525"/>
                  <a:gd name="connsiteY3232" fmla="*/ 5759444 h 7571036"/>
                  <a:gd name="connsiteX3233" fmla="*/ 1373384 w 6994525"/>
                  <a:gd name="connsiteY3233" fmla="*/ 5754512 h 7571036"/>
                  <a:gd name="connsiteX3234" fmla="*/ 1368698 w 6994525"/>
                  <a:gd name="connsiteY3234" fmla="*/ 5759444 h 7571036"/>
                  <a:gd name="connsiteX3235" fmla="*/ 1373384 w 6994525"/>
                  <a:gd name="connsiteY3235" fmla="*/ 5764375 h 7571036"/>
                  <a:gd name="connsiteX3236" fmla="*/ 1378067 w 6994525"/>
                  <a:gd name="connsiteY3236" fmla="*/ 5759444 h 7571036"/>
                  <a:gd name="connsiteX3237" fmla="*/ 1378560 w 6994525"/>
                  <a:gd name="connsiteY3237" fmla="*/ 5894816 h 7571036"/>
                  <a:gd name="connsiteX3238" fmla="*/ 1361054 w 6994525"/>
                  <a:gd name="connsiteY3238" fmla="*/ 5877307 h 7571036"/>
                  <a:gd name="connsiteX3239" fmla="*/ 1343547 w 6994525"/>
                  <a:gd name="connsiteY3239" fmla="*/ 5894816 h 7571036"/>
                  <a:gd name="connsiteX3240" fmla="*/ 1361054 w 6994525"/>
                  <a:gd name="connsiteY3240" fmla="*/ 5912324 h 7571036"/>
                  <a:gd name="connsiteX3241" fmla="*/ 1378560 w 6994525"/>
                  <a:gd name="connsiteY3241" fmla="*/ 5894816 h 7571036"/>
                  <a:gd name="connsiteX3242" fmla="*/ 1381768 w 6994525"/>
                  <a:gd name="connsiteY3242" fmla="*/ 5122046 h 7571036"/>
                  <a:gd name="connsiteX3243" fmla="*/ 1375110 w 6994525"/>
                  <a:gd name="connsiteY3243" fmla="*/ 5115387 h 7571036"/>
                  <a:gd name="connsiteX3244" fmla="*/ 1368453 w 6994525"/>
                  <a:gd name="connsiteY3244" fmla="*/ 5122046 h 7571036"/>
                  <a:gd name="connsiteX3245" fmla="*/ 1375110 w 6994525"/>
                  <a:gd name="connsiteY3245" fmla="*/ 5128700 h 7571036"/>
                  <a:gd name="connsiteX3246" fmla="*/ 1381768 w 6994525"/>
                  <a:gd name="connsiteY3246" fmla="*/ 5122046 h 7571036"/>
                  <a:gd name="connsiteX3247" fmla="*/ 1385959 w 6994525"/>
                  <a:gd name="connsiteY3247" fmla="*/ 1197353 h 7571036"/>
                  <a:gd name="connsiteX3248" fmla="*/ 1371657 w 6994525"/>
                  <a:gd name="connsiteY3248" fmla="*/ 1183049 h 7571036"/>
                  <a:gd name="connsiteX3249" fmla="*/ 1357357 w 6994525"/>
                  <a:gd name="connsiteY3249" fmla="*/ 1197353 h 7571036"/>
                  <a:gd name="connsiteX3250" fmla="*/ 1371657 w 6994525"/>
                  <a:gd name="connsiteY3250" fmla="*/ 1211653 h 7571036"/>
                  <a:gd name="connsiteX3251" fmla="*/ 1385959 w 6994525"/>
                  <a:gd name="connsiteY3251" fmla="*/ 1197353 h 7571036"/>
                  <a:gd name="connsiteX3252" fmla="*/ 1387192 w 6994525"/>
                  <a:gd name="connsiteY3252" fmla="*/ 1504051 h 7571036"/>
                  <a:gd name="connsiteX3253" fmla="*/ 1370916 w 6994525"/>
                  <a:gd name="connsiteY3253" fmla="*/ 1487777 h 7571036"/>
                  <a:gd name="connsiteX3254" fmla="*/ 1354644 w 6994525"/>
                  <a:gd name="connsiteY3254" fmla="*/ 1504051 h 7571036"/>
                  <a:gd name="connsiteX3255" fmla="*/ 1370916 w 6994525"/>
                  <a:gd name="connsiteY3255" fmla="*/ 1520327 h 7571036"/>
                  <a:gd name="connsiteX3256" fmla="*/ 1387192 w 6994525"/>
                  <a:gd name="connsiteY3256" fmla="*/ 1504051 h 7571036"/>
                  <a:gd name="connsiteX3257" fmla="*/ 1387437 w 6994525"/>
                  <a:gd name="connsiteY3257" fmla="*/ 4466400 h 7571036"/>
                  <a:gd name="connsiteX3258" fmla="*/ 1352918 w 6994525"/>
                  <a:gd name="connsiteY3258" fmla="*/ 4431880 h 7571036"/>
                  <a:gd name="connsiteX3259" fmla="*/ 1318397 w 6994525"/>
                  <a:gd name="connsiteY3259" fmla="*/ 4466400 h 7571036"/>
                  <a:gd name="connsiteX3260" fmla="*/ 1352918 w 6994525"/>
                  <a:gd name="connsiteY3260" fmla="*/ 4500921 h 7571036"/>
                  <a:gd name="connsiteX3261" fmla="*/ 1387437 w 6994525"/>
                  <a:gd name="connsiteY3261" fmla="*/ 4466400 h 7571036"/>
                  <a:gd name="connsiteX3262" fmla="*/ 1389902 w 6994525"/>
                  <a:gd name="connsiteY3262" fmla="*/ 4726538 h 7571036"/>
                  <a:gd name="connsiteX3263" fmla="*/ 1367216 w 6994525"/>
                  <a:gd name="connsiteY3263" fmla="*/ 4703853 h 7571036"/>
                  <a:gd name="connsiteX3264" fmla="*/ 1344532 w 6994525"/>
                  <a:gd name="connsiteY3264" fmla="*/ 4726538 h 7571036"/>
                  <a:gd name="connsiteX3265" fmla="*/ 1367216 w 6994525"/>
                  <a:gd name="connsiteY3265" fmla="*/ 4749223 h 7571036"/>
                  <a:gd name="connsiteX3266" fmla="*/ 1389902 w 6994525"/>
                  <a:gd name="connsiteY3266" fmla="*/ 4726538 h 7571036"/>
                  <a:gd name="connsiteX3267" fmla="*/ 1390643 w 6994525"/>
                  <a:gd name="connsiteY3267" fmla="*/ 6984926 h 7571036"/>
                  <a:gd name="connsiteX3268" fmla="*/ 1387684 w 6994525"/>
                  <a:gd name="connsiteY3268" fmla="*/ 6981966 h 7571036"/>
                  <a:gd name="connsiteX3269" fmla="*/ 1384725 w 6994525"/>
                  <a:gd name="connsiteY3269" fmla="*/ 6984926 h 7571036"/>
                  <a:gd name="connsiteX3270" fmla="*/ 1387684 w 6994525"/>
                  <a:gd name="connsiteY3270" fmla="*/ 6987885 h 7571036"/>
                  <a:gd name="connsiteX3271" fmla="*/ 1390643 w 6994525"/>
                  <a:gd name="connsiteY3271" fmla="*/ 6984926 h 7571036"/>
                  <a:gd name="connsiteX3272" fmla="*/ 1392124 w 6994525"/>
                  <a:gd name="connsiteY3272" fmla="*/ 2438715 h 7571036"/>
                  <a:gd name="connsiteX3273" fmla="*/ 1376835 w 6994525"/>
                  <a:gd name="connsiteY3273" fmla="*/ 2423412 h 7571036"/>
                  <a:gd name="connsiteX3274" fmla="*/ 1361548 w 6994525"/>
                  <a:gd name="connsiteY3274" fmla="*/ 2438715 h 7571036"/>
                  <a:gd name="connsiteX3275" fmla="*/ 1376835 w 6994525"/>
                  <a:gd name="connsiteY3275" fmla="*/ 2453990 h 7571036"/>
                  <a:gd name="connsiteX3276" fmla="*/ 1392124 w 6994525"/>
                  <a:gd name="connsiteY3276" fmla="*/ 2438715 h 7571036"/>
                  <a:gd name="connsiteX3277" fmla="*/ 1393109 w 6994525"/>
                  <a:gd name="connsiteY3277" fmla="*/ 3479359 h 7571036"/>
                  <a:gd name="connsiteX3278" fmla="*/ 1351931 w 6994525"/>
                  <a:gd name="connsiteY3278" fmla="*/ 3438318 h 7571036"/>
                  <a:gd name="connsiteX3279" fmla="*/ 1310753 w 6994525"/>
                  <a:gd name="connsiteY3279" fmla="*/ 3479359 h 7571036"/>
                  <a:gd name="connsiteX3280" fmla="*/ 1351931 w 6994525"/>
                  <a:gd name="connsiteY3280" fmla="*/ 3520535 h 7571036"/>
                  <a:gd name="connsiteX3281" fmla="*/ 1393109 w 6994525"/>
                  <a:gd name="connsiteY3281" fmla="*/ 3479359 h 7571036"/>
                  <a:gd name="connsiteX3282" fmla="*/ 1394836 w 6994525"/>
                  <a:gd name="connsiteY3282" fmla="*/ 3363599 h 7571036"/>
                  <a:gd name="connsiteX3283" fmla="*/ 1354889 w 6994525"/>
                  <a:gd name="connsiteY3283" fmla="*/ 3323664 h 7571036"/>
                  <a:gd name="connsiteX3284" fmla="*/ 1314946 w 6994525"/>
                  <a:gd name="connsiteY3284" fmla="*/ 3363599 h 7571036"/>
                  <a:gd name="connsiteX3285" fmla="*/ 1354889 w 6994525"/>
                  <a:gd name="connsiteY3285" fmla="*/ 3403554 h 7571036"/>
                  <a:gd name="connsiteX3286" fmla="*/ 1394836 w 6994525"/>
                  <a:gd name="connsiteY3286" fmla="*/ 3363599 h 7571036"/>
                  <a:gd name="connsiteX3287" fmla="*/ 1395329 w 6994525"/>
                  <a:gd name="connsiteY3287" fmla="*/ 6860404 h 7571036"/>
                  <a:gd name="connsiteX3288" fmla="*/ 1392124 w 6994525"/>
                  <a:gd name="connsiteY3288" fmla="*/ 6857198 h 7571036"/>
                  <a:gd name="connsiteX3289" fmla="*/ 1388919 w 6994525"/>
                  <a:gd name="connsiteY3289" fmla="*/ 6860404 h 7571036"/>
                  <a:gd name="connsiteX3290" fmla="*/ 1392124 w 6994525"/>
                  <a:gd name="connsiteY3290" fmla="*/ 6863611 h 7571036"/>
                  <a:gd name="connsiteX3291" fmla="*/ 1395329 w 6994525"/>
                  <a:gd name="connsiteY3291" fmla="*/ 6860404 h 7571036"/>
                  <a:gd name="connsiteX3292" fmla="*/ 1396808 w 6994525"/>
                  <a:gd name="connsiteY3292" fmla="*/ 2181303 h 7571036"/>
                  <a:gd name="connsiteX3293" fmla="*/ 1396068 w 6994525"/>
                  <a:gd name="connsiteY3293" fmla="*/ 2180565 h 7571036"/>
                  <a:gd name="connsiteX3294" fmla="*/ 1395328 w 6994525"/>
                  <a:gd name="connsiteY3294" fmla="*/ 2181303 h 7571036"/>
                  <a:gd name="connsiteX3295" fmla="*/ 1396068 w 6994525"/>
                  <a:gd name="connsiteY3295" fmla="*/ 2182041 h 7571036"/>
                  <a:gd name="connsiteX3296" fmla="*/ 1396808 w 6994525"/>
                  <a:gd name="connsiteY3296" fmla="*/ 2181303 h 7571036"/>
                  <a:gd name="connsiteX3297" fmla="*/ 1397793 w 6994525"/>
                  <a:gd name="connsiteY3297" fmla="*/ 3594754 h 7571036"/>
                  <a:gd name="connsiteX3298" fmla="*/ 1355135 w 6994525"/>
                  <a:gd name="connsiteY3298" fmla="*/ 3552097 h 7571036"/>
                  <a:gd name="connsiteX3299" fmla="*/ 1312725 w 6994525"/>
                  <a:gd name="connsiteY3299" fmla="*/ 3594754 h 7571036"/>
                  <a:gd name="connsiteX3300" fmla="*/ 1355135 w 6994525"/>
                  <a:gd name="connsiteY3300" fmla="*/ 3637411 h 7571036"/>
                  <a:gd name="connsiteX3301" fmla="*/ 1397793 w 6994525"/>
                  <a:gd name="connsiteY3301" fmla="*/ 3594754 h 7571036"/>
                  <a:gd name="connsiteX3302" fmla="*/ 1398779 w 6994525"/>
                  <a:gd name="connsiteY3302" fmla="*/ 6735146 h 7571036"/>
                  <a:gd name="connsiteX3303" fmla="*/ 1397055 w 6994525"/>
                  <a:gd name="connsiteY3303" fmla="*/ 6733419 h 7571036"/>
                  <a:gd name="connsiteX3304" fmla="*/ 1395328 w 6994525"/>
                  <a:gd name="connsiteY3304" fmla="*/ 6735146 h 7571036"/>
                  <a:gd name="connsiteX3305" fmla="*/ 1397055 w 6994525"/>
                  <a:gd name="connsiteY3305" fmla="*/ 6736873 h 7571036"/>
                  <a:gd name="connsiteX3306" fmla="*/ 1398779 w 6994525"/>
                  <a:gd name="connsiteY3306" fmla="*/ 6735146 h 7571036"/>
                  <a:gd name="connsiteX3307" fmla="*/ 1402970 w 6994525"/>
                  <a:gd name="connsiteY3307" fmla="*/ 3248211 h 7571036"/>
                  <a:gd name="connsiteX3308" fmla="*/ 1364259 w 6994525"/>
                  <a:gd name="connsiteY3308" fmla="*/ 3209497 h 7571036"/>
                  <a:gd name="connsiteX3309" fmla="*/ 1325547 w 6994525"/>
                  <a:gd name="connsiteY3309" fmla="*/ 3248211 h 7571036"/>
                  <a:gd name="connsiteX3310" fmla="*/ 1364259 w 6994525"/>
                  <a:gd name="connsiteY3310" fmla="*/ 3286917 h 7571036"/>
                  <a:gd name="connsiteX3311" fmla="*/ 1402970 w 6994525"/>
                  <a:gd name="connsiteY3311" fmla="*/ 3248211 h 7571036"/>
                  <a:gd name="connsiteX3312" fmla="*/ 1402973 w 6994525"/>
                  <a:gd name="connsiteY3312" fmla="*/ 2708205 h 7571036"/>
                  <a:gd name="connsiteX3313" fmla="*/ 1379302 w 6994525"/>
                  <a:gd name="connsiteY3313" fmla="*/ 2684532 h 7571036"/>
                  <a:gd name="connsiteX3314" fmla="*/ 1355631 w 6994525"/>
                  <a:gd name="connsiteY3314" fmla="*/ 2708205 h 7571036"/>
                  <a:gd name="connsiteX3315" fmla="*/ 1379302 w 6994525"/>
                  <a:gd name="connsiteY3315" fmla="*/ 2731875 h 7571036"/>
                  <a:gd name="connsiteX3316" fmla="*/ 1402973 w 6994525"/>
                  <a:gd name="connsiteY3316" fmla="*/ 2708205 h 7571036"/>
                  <a:gd name="connsiteX3317" fmla="*/ 1406178 w 6994525"/>
                  <a:gd name="connsiteY3317" fmla="*/ 4195416 h 7571036"/>
                  <a:gd name="connsiteX3318" fmla="*/ 1361056 w 6994525"/>
                  <a:gd name="connsiteY3318" fmla="*/ 4150291 h 7571036"/>
                  <a:gd name="connsiteX3319" fmla="*/ 1315932 w 6994525"/>
                  <a:gd name="connsiteY3319" fmla="*/ 4195416 h 7571036"/>
                  <a:gd name="connsiteX3320" fmla="*/ 1361056 w 6994525"/>
                  <a:gd name="connsiteY3320" fmla="*/ 4240540 h 7571036"/>
                  <a:gd name="connsiteX3321" fmla="*/ 1406178 w 6994525"/>
                  <a:gd name="connsiteY3321" fmla="*/ 4195416 h 7571036"/>
                  <a:gd name="connsiteX3322" fmla="*/ 1406918 w 6994525"/>
                  <a:gd name="connsiteY3322" fmla="*/ 1645321 h 7571036"/>
                  <a:gd name="connsiteX3323" fmla="*/ 1389659 w 6994525"/>
                  <a:gd name="connsiteY3323" fmla="*/ 1628057 h 7571036"/>
                  <a:gd name="connsiteX3324" fmla="*/ 1372397 w 6994525"/>
                  <a:gd name="connsiteY3324" fmla="*/ 1645321 h 7571036"/>
                  <a:gd name="connsiteX3325" fmla="*/ 1389659 w 6994525"/>
                  <a:gd name="connsiteY3325" fmla="*/ 1662577 h 7571036"/>
                  <a:gd name="connsiteX3326" fmla="*/ 1406918 w 6994525"/>
                  <a:gd name="connsiteY3326" fmla="*/ 1645321 h 7571036"/>
                  <a:gd name="connsiteX3327" fmla="*/ 1408397 w 6994525"/>
                  <a:gd name="connsiteY3327" fmla="*/ 3710151 h 7571036"/>
                  <a:gd name="connsiteX3328" fmla="*/ 1364504 w 6994525"/>
                  <a:gd name="connsiteY3328" fmla="*/ 3666262 h 7571036"/>
                  <a:gd name="connsiteX3329" fmla="*/ 1320616 w 6994525"/>
                  <a:gd name="connsiteY3329" fmla="*/ 3710151 h 7571036"/>
                  <a:gd name="connsiteX3330" fmla="*/ 1364504 w 6994525"/>
                  <a:gd name="connsiteY3330" fmla="*/ 3754043 h 7571036"/>
                  <a:gd name="connsiteX3331" fmla="*/ 1408397 w 6994525"/>
                  <a:gd name="connsiteY3331" fmla="*/ 3710151 h 7571036"/>
                  <a:gd name="connsiteX3332" fmla="*/ 1414315 w 6994525"/>
                  <a:gd name="connsiteY3332" fmla="*/ 6615308 h 7571036"/>
                  <a:gd name="connsiteX3333" fmla="*/ 1411601 w 6994525"/>
                  <a:gd name="connsiteY3333" fmla="*/ 6612595 h 7571036"/>
                  <a:gd name="connsiteX3334" fmla="*/ 1408642 w 6994525"/>
                  <a:gd name="connsiteY3334" fmla="*/ 6615308 h 7571036"/>
                  <a:gd name="connsiteX3335" fmla="*/ 1411601 w 6994525"/>
                  <a:gd name="connsiteY3335" fmla="*/ 6618021 h 7571036"/>
                  <a:gd name="connsiteX3336" fmla="*/ 1414315 w 6994525"/>
                  <a:gd name="connsiteY3336" fmla="*/ 6615308 h 7571036"/>
                  <a:gd name="connsiteX3337" fmla="*/ 1415794 w 6994525"/>
                  <a:gd name="connsiteY3337" fmla="*/ 4975087 h 7571036"/>
                  <a:gd name="connsiteX3338" fmla="*/ 1400260 w 6994525"/>
                  <a:gd name="connsiteY3338" fmla="*/ 4959551 h 7571036"/>
                  <a:gd name="connsiteX3339" fmla="*/ 1384725 w 6994525"/>
                  <a:gd name="connsiteY3339" fmla="*/ 4975087 h 7571036"/>
                  <a:gd name="connsiteX3340" fmla="*/ 1400260 w 6994525"/>
                  <a:gd name="connsiteY3340" fmla="*/ 4990622 h 7571036"/>
                  <a:gd name="connsiteX3341" fmla="*/ 1415794 w 6994525"/>
                  <a:gd name="connsiteY3341" fmla="*/ 4975087 h 7571036"/>
                  <a:gd name="connsiteX3342" fmla="*/ 1417028 w 6994525"/>
                  <a:gd name="connsiteY3342" fmla="*/ 3133551 h 7571036"/>
                  <a:gd name="connsiteX3343" fmla="*/ 1379548 w 6994525"/>
                  <a:gd name="connsiteY3343" fmla="*/ 3096069 h 7571036"/>
                  <a:gd name="connsiteX3344" fmla="*/ 1342069 w 6994525"/>
                  <a:gd name="connsiteY3344" fmla="*/ 3133551 h 7571036"/>
                  <a:gd name="connsiteX3345" fmla="*/ 1379548 w 6994525"/>
                  <a:gd name="connsiteY3345" fmla="*/ 3171031 h 7571036"/>
                  <a:gd name="connsiteX3346" fmla="*/ 1417028 w 6994525"/>
                  <a:gd name="connsiteY3346" fmla="*/ 3133551 h 7571036"/>
                  <a:gd name="connsiteX3347" fmla="*/ 1417029 w 6994525"/>
                  <a:gd name="connsiteY3347" fmla="*/ 1788821 h 7571036"/>
                  <a:gd name="connsiteX3348" fmla="*/ 1410371 w 6994525"/>
                  <a:gd name="connsiteY3348" fmla="*/ 1782193 h 7571036"/>
                  <a:gd name="connsiteX3349" fmla="*/ 1403713 w 6994525"/>
                  <a:gd name="connsiteY3349" fmla="*/ 1788821 h 7571036"/>
                  <a:gd name="connsiteX3350" fmla="*/ 1410371 w 6994525"/>
                  <a:gd name="connsiteY3350" fmla="*/ 1795519 h 7571036"/>
                  <a:gd name="connsiteX3351" fmla="*/ 1417029 w 6994525"/>
                  <a:gd name="connsiteY3351" fmla="*/ 1788821 h 7571036"/>
                  <a:gd name="connsiteX3352" fmla="*/ 1420727 w 6994525"/>
                  <a:gd name="connsiteY3352" fmla="*/ 6488571 h 7571036"/>
                  <a:gd name="connsiteX3353" fmla="*/ 1417768 w 6994525"/>
                  <a:gd name="connsiteY3353" fmla="*/ 6485611 h 7571036"/>
                  <a:gd name="connsiteX3354" fmla="*/ 1414809 w 6994525"/>
                  <a:gd name="connsiteY3354" fmla="*/ 6488571 h 7571036"/>
                  <a:gd name="connsiteX3355" fmla="*/ 1417768 w 6994525"/>
                  <a:gd name="connsiteY3355" fmla="*/ 6491529 h 7571036"/>
                  <a:gd name="connsiteX3356" fmla="*/ 1420727 w 6994525"/>
                  <a:gd name="connsiteY3356" fmla="*/ 6488571 h 7571036"/>
                  <a:gd name="connsiteX3357" fmla="*/ 1423437 w 6994525"/>
                  <a:gd name="connsiteY3357" fmla="*/ 5632459 h 7571036"/>
                  <a:gd name="connsiteX3358" fmla="*/ 1396806 w 6994525"/>
                  <a:gd name="connsiteY3358" fmla="*/ 5605828 h 7571036"/>
                  <a:gd name="connsiteX3359" fmla="*/ 1369931 w 6994525"/>
                  <a:gd name="connsiteY3359" fmla="*/ 5632459 h 7571036"/>
                  <a:gd name="connsiteX3360" fmla="*/ 1396806 w 6994525"/>
                  <a:gd name="connsiteY3360" fmla="*/ 5659334 h 7571036"/>
                  <a:gd name="connsiteX3361" fmla="*/ 1423437 w 6994525"/>
                  <a:gd name="connsiteY3361" fmla="*/ 5632459 h 7571036"/>
                  <a:gd name="connsiteX3362" fmla="*/ 1424423 w 6994525"/>
                  <a:gd name="connsiteY3362" fmla="*/ 341822 h 7571036"/>
                  <a:gd name="connsiteX3363" fmla="*/ 1409137 w 6994525"/>
                  <a:gd name="connsiteY3363" fmla="*/ 326535 h 7571036"/>
                  <a:gd name="connsiteX3364" fmla="*/ 1393848 w 6994525"/>
                  <a:gd name="connsiteY3364" fmla="*/ 341822 h 7571036"/>
                  <a:gd name="connsiteX3365" fmla="*/ 1409137 w 6994525"/>
                  <a:gd name="connsiteY3365" fmla="*/ 357109 h 7571036"/>
                  <a:gd name="connsiteX3366" fmla="*/ 1424423 w 6994525"/>
                  <a:gd name="connsiteY3366" fmla="*/ 341822 h 7571036"/>
                  <a:gd name="connsiteX3367" fmla="*/ 1425163 w 6994525"/>
                  <a:gd name="connsiteY3367" fmla="*/ 3825057 h 7571036"/>
                  <a:gd name="connsiteX3368" fmla="*/ 1380288 w 6994525"/>
                  <a:gd name="connsiteY3368" fmla="*/ 3780181 h 7571036"/>
                  <a:gd name="connsiteX3369" fmla="*/ 1335410 w 6994525"/>
                  <a:gd name="connsiteY3369" fmla="*/ 3825057 h 7571036"/>
                  <a:gd name="connsiteX3370" fmla="*/ 1380288 w 6994525"/>
                  <a:gd name="connsiteY3370" fmla="*/ 3869935 h 7571036"/>
                  <a:gd name="connsiteX3371" fmla="*/ 1425163 w 6994525"/>
                  <a:gd name="connsiteY3371" fmla="*/ 3825057 h 7571036"/>
                  <a:gd name="connsiteX3372" fmla="*/ 1426644 w 6994525"/>
                  <a:gd name="connsiteY3372" fmla="*/ 6360843 h 7571036"/>
                  <a:gd name="connsiteX3373" fmla="*/ 1424671 w 6994525"/>
                  <a:gd name="connsiteY3373" fmla="*/ 6358869 h 7571036"/>
                  <a:gd name="connsiteX3374" fmla="*/ 1422699 w 6994525"/>
                  <a:gd name="connsiteY3374" fmla="*/ 6360843 h 7571036"/>
                  <a:gd name="connsiteX3375" fmla="*/ 1424671 w 6994525"/>
                  <a:gd name="connsiteY3375" fmla="*/ 6362815 h 7571036"/>
                  <a:gd name="connsiteX3376" fmla="*/ 1426644 w 6994525"/>
                  <a:gd name="connsiteY3376" fmla="*/ 6360843 h 7571036"/>
                  <a:gd name="connsiteX3377" fmla="*/ 1427384 w 6994525"/>
                  <a:gd name="connsiteY3377" fmla="*/ 4570702 h 7571036"/>
                  <a:gd name="connsiteX3378" fmla="*/ 1404451 w 6994525"/>
                  <a:gd name="connsiteY3378" fmla="*/ 4547771 h 7571036"/>
                  <a:gd name="connsiteX3379" fmla="*/ 1381520 w 6994525"/>
                  <a:gd name="connsiteY3379" fmla="*/ 4570702 h 7571036"/>
                  <a:gd name="connsiteX3380" fmla="*/ 1404451 w 6994525"/>
                  <a:gd name="connsiteY3380" fmla="*/ 4593636 h 7571036"/>
                  <a:gd name="connsiteX3381" fmla="*/ 1427384 w 6994525"/>
                  <a:gd name="connsiteY3381" fmla="*/ 4570702 h 7571036"/>
                  <a:gd name="connsiteX3382" fmla="*/ 1429850 w 6994525"/>
                  <a:gd name="connsiteY3382" fmla="*/ 5354568 h 7571036"/>
                  <a:gd name="connsiteX3383" fmla="*/ 1429358 w 6994525"/>
                  <a:gd name="connsiteY3383" fmla="*/ 5354073 h 7571036"/>
                  <a:gd name="connsiteX3384" fmla="*/ 1428863 w 6994525"/>
                  <a:gd name="connsiteY3384" fmla="*/ 5354568 h 7571036"/>
                  <a:gd name="connsiteX3385" fmla="*/ 1429358 w 6994525"/>
                  <a:gd name="connsiteY3385" fmla="*/ 5355059 h 7571036"/>
                  <a:gd name="connsiteX3386" fmla="*/ 1429850 w 6994525"/>
                  <a:gd name="connsiteY3386" fmla="*/ 5354568 h 7571036"/>
                  <a:gd name="connsiteX3387" fmla="*/ 1430341 w 6994525"/>
                  <a:gd name="connsiteY3387" fmla="*/ 468535 h 7571036"/>
                  <a:gd name="connsiteX3388" fmla="*/ 1415546 w 6994525"/>
                  <a:gd name="connsiteY3388" fmla="*/ 453740 h 7571036"/>
                  <a:gd name="connsiteX3389" fmla="*/ 1400752 w 6994525"/>
                  <a:gd name="connsiteY3389" fmla="*/ 468535 h 7571036"/>
                  <a:gd name="connsiteX3390" fmla="*/ 1415546 w 6994525"/>
                  <a:gd name="connsiteY3390" fmla="*/ 483328 h 7571036"/>
                  <a:gd name="connsiteX3391" fmla="*/ 1430341 w 6994525"/>
                  <a:gd name="connsiteY3391" fmla="*/ 468535 h 7571036"/>
                  <a:gd name="connsiteX3392" fmla="*/ 1432562 w 6994525"/>
                  <a:gd name="connsiteY3392" fmla="*/ 4304649 h 7571036"/>
                  <a:gd name="connsiteX3393" fmla="*/ 1401247 w 6994525"/>
                  <a:gd name="connsiteY3393" fmla="*/ 4273333 h 7571036"/>
                  <a:gd name="connsiteX3394" fmla="*/ 1369931 w 6994525"/>
                  <a:gd name="connsiteY3394" fmla="*/ 4304649 h 7571036"/>
                  <a:gd name="connsiteX3395" fmla="*/ 1401247 w 6994525"/>
                  <a:gd name="connsiteY3395" fmla="*/ 4335962 h 7571036"/>
                  <a:gd name="connsiteX3396" fmla="*/ 1432562 w 6994525"/>
                  <a:gd name="connsiteY3396" fmla="*/ 4304649 h 7571036"/>
                  <a:gd name="connsiteX3397" fmla="*/ 1436999 w 6994525"/>
                  <a:gd name="connsiteY3397" fmla="*/ 596231 h 7571036"/>
                  <a:gd name="connsiteX3398" fmla="*/ 1422697 w 6994525"/>
                  <a:gd name="connsiteY3398" fmla="*/ 581929 h 7571036"/>
                  <a:gd name="connsiteX3399" fmla="*/ 1408397 w 6994525"/>
                  <a:gd name="connsiteY3399" fmla="*/ 596231 h 7571036"/>
                  <a:gd name="connsiteX3400" fmla="*/ 1422697 w 6994525"/>
                  <a:gd name="connsiteY3400" fmla="*/ 610531 h 7571036"/>
                  <a:gd name="connsiteX3401" fmla="*/ 1436999 w 6994525"/>
                  <a:gd name="connsiteY3401" fmla="*/ 596231 h 7571036"/>
                  <a:gd name="connsiteX3402" fmla="*/ 1437002 w 6994525"/>
                  <a:gd name="connsiteY3402" fmla="*/ 3019627 h 7571036"/>
                  <a:gd name="connsiteX3403" fmla="*/ 1401247 w 6994525"/>
                  <a:gd name="connsiteY3403" fmla="*/ 2983873 h 7571036"/>
                  <a:gd name="connsiteX3404" fmla="*/ 1365494 w 6994525"/>
                  <a:gd name="connsiteY3404" fmla="*/ 3019627 h 7571036"/>
                  <a:gd name="connsiteX3405" fmla="*/ 1401247 w 6994525"/>
                  <a:gd name="connsiteY3405" fmla="*/ 3055381 h 7571036"/>
                  <a:gd name="connsiteX3406" fmla="*/ 1437002 w 6994525"/>
                  <a:gd name="connsiteY3406" fmla="*/ 3019627 h 7571036"/>
                  <a:gd name="connsiteX3407" fmla="*/ 1437493 w 6994525"/>
                  <a:gd name="connsiteY3407" fmla="*/ 1935488 h 7571036"/>
                  <a:gd name="connsiteX3408" fmla="*/ 1433300 w 6994525"/>
                  <a:gd name="connsiteY3408" fmla="*/ 1931299 h 7571036"/>
                  <a:gd name="connsiteX3409" fmla="*/ 1429109 w 6994525"/>
                  <a:gd name="connsiteY3409" fmla="*/ 1935488 h 7571036"/>
                  <a:gd name="connsiteX3410" fmla="*/ 1433300 w 6994525"/>
                  <a:gd name="connsiteY3410" fmla="*/ 1939676 h 7571036"/>
                  <a:gd name="connsiteX3411" fmla="*/ 1437493 w 6994525"/>
                  <a:gd name="connsiteY3411" fmla="*/ 1935488 h 7571036"/>
                  <a:gd name="connsiteX3412" fmla="*/ 1440944 w 6994525"/>
                  <a:gd name="connsiteY3412" fmla="*/ 2599703 h 7571036"/>
                  <a:gd name="connsiteX3413" fmla="*/ 1422204 w 6994525"/>
                  <a:gd name="connsiteY3413" fmla="*/ 2580964 h 7571036"/>
                  <a:gd name="connsiteX3414" fmla="*/ 1403465 w 6994525"/>
                  <a:gd name="connsiteY3414" fmla="*/ 2599703 h 7571036"/>
                  <a:gd name="connsiteX3415" fmla="*/ 1422204 w 6994525"/>
                  <a:gd name="connsiteY3415" fmla="*/ 2618445 h 7571036"/>
                  <a:gd name="connsiteX3416" fmla="*/ 1440944 w 6994525"/>
                  <a:gd name="connsiteY3416" fmla="*/ 2599703 h 7571036"/>
                  <a:gd name="connsiteX3417" fmla="*/ 1441190 w 6994525"/>
                  <a:gd name="connsiteY3417" fmla="*/ 5494622 h 7571036"/>
                  <a:gd name="connsiteX3418" fmla="*/ 1412096 w 6994525"/>
                  <a:gd name="connsiteY3418" fmla="*/ 5465525 h 7571036"/>
                  <a:gd name="connsiteX3419" fmla="*/ 1382998 w 6994525"/>
                  <a:gd name="connsiteY3419" fmla="*/ 5494622 h 7571036"/>
                  <a:gd name="connsiteX3420" fmla="*/ 1412096 w 6994525"/>
                  <a:gd name="connsiteY3420" fmla="*/ 5523716 h 7571036"/>
                  <a:gd name="connsiteX3421" fmla="*/ 1441190 w 6994525"/>
                  <a:gd name="connsiteY3421" fmla="*/ 5494622 h 7571036"/>
                  <a:gd name="connsiteX3422" fmla="*/ 1442425 w 6994525"/>
                  <a:gd name="connsiteY3422" fmla="*/ 2335885 h 7571036"/>
                  <a:gd name="connsiteX3423" fmla="*/ 1430835 w 6994525"/>
                  <a:gd name="connsiteY3423" fmla="*/ 2324279 h 7571036"/>
                  <a:gd name="connsiteX3424" fmla="*/ 1419246 w 6994525"/>
                  <a:gd name="connsiteY3424" fmla="*/ 2335885 h 7571036"/>
                  <a:gd name="connsiteX3425" fmla="*/ 1430835 w 6994525"/>
                  <a:gd name="connsiteY3425" fmla="*/ 2347487 h 7571036"/>
                  <a:gd name="connsiteX3426" fmla="*/ 1442425 w 6994525"/>
                  <a:gd name="connsiteY3426" fmla="*/ 2335885 h 7571036"/>
                  <a:gd name="connsiteX3427" fmla="*/ 1444643 w 6994525"/>
                  <a:gd name="connsiteY3427" fmla="*/ 725215 h 7571036"/>
                  <a:gd name="connsiteX3428" fmla="*/ 1430341 w 6994525"/>
                  <a:gd name="connsiteY3428" fmla="*/ 711164 h 7571036"/>
                  <a:gd name="connsiteX3429" fmla="*/ 1416287 w 6994525"/>
                  <a:gd name="connsiteY3429" fmla="*/ 725215 h 7571036"/>
                  <a:gd name="connsiteX3430" fmla="*/ 1430341 w 6994525"/>
                  <a:gd name="connsiteY3430" fmla="*/ 739279 h 7571036"/>
                  <a:gd name="connsiteX3431" fmla="*/ 1444643 w 6994525"/>
                  <a:gd name="connsiteY3431" fmla="*/ 725215 h 7571036"/>
                  <a:gd name="connsiteX3432" fmla="*/ 1444643 w 6994525"/>
                  <a:gd name="connsiteY3432" fmla="*/ 4825169 h 7571036"/>
                  <a:gd name="connsiteX3433" fmla="*/ 1428863 w 6994525"/>
                  <a:gd name="connsiteY3433" fmla="*/ 4809388 h 7571036"/>
                  <a:gd name="connsiteX3434" fmla="*/ 1413082 w 6994525"/>
                  <a:gd name="connsiteY3434" fmla="*/ 4825169 h 7571036"/>
                  <a:gd name="connsiteX3435" fmla="*/ 1428863 w 6994525"/>
                  <a:gd name="connsiteY3435" fmla="*/ 4840950 h 7571036"/>
                  <a:gd name="connsiteX3436" fmla="*/ 1444643 w 6994525"/>
                  <a:gd name="connsiteY3436" fmla="*/ 4825169 h 7571036"/>
                  <a:gd name="connsiteX3437" fmla="*/ 1447356 w 6994525"/>
                  <a:gd name="connsiteY3437" fmla="*/ 3938728 h 7571036"/>
                  <a:gd name="connsiteX3438" fmla="*/ 1401987 w 6994525"/>
                  <a:gd name="connsiteY3438" fmla="*/ 3893358 h 7571036"/>
                  <a:gd name="connsiteX3439" fmla="*/ 1356371 w 6994525"/>
                  <a:gd name="connsiteY3439" fmla="*/ 3938728 h 7571036"/>
                  <a:gd name="connsiteX3440" fmla="*/ 1401987 w 6994525"/>
                  <a:gd name="connsiteY3440" fmla="*/ 3984097 h 7571036"/>
                  <a:gd name="connsiteX3441" fmla="*/ 1447356 w 6994525"/>
                  <a:gd name="connsiteY3441" fmla="*/ 3938728 h 7571036"/>
                  <a:gd name="connsiteX3442" fmla="*/ 1452040 w 6994525"/>
                  <a:gd name="connsiteY3442" fmla="*/ 1283877 h 7571036"/>
                  <a:gd name="connsiteX3443" fmla="*/ 1437740 w 6994525"/>
                  <a:gd name="connsiteY3443" fmla="*/ 1269569 h 7571036"/>
                  <a:gd name="connsiteX3444" fmla="*/ 1423437 w 6994525"/>
                  <a:gd name="connsiteY3444" fmla="*/ 1283877 h 7571036"/>
                  <a:gd name="connsiteX3445" fmla="*/ 1437740 w 6994525"/>
                  <a:gd name="connsiteY3445" fmla="*/ 1298179 h 7571036"/>
                  <a:gd name="connsiteX3446" fmla="*/ 1452040 w 6994525"/>
                  <a:gd name="connsiteY3446" fmla="*/ 1283877 h 7571036"/>
                  <a:gd name="connsiteX3447" fmla="*/ 1453275 w 6994525"/>
                  <a:gd name="connsiteY3447" fmla="*/ 855141 h 7571036"/>
                  <a:gd name="connsiteX3448" fmla="*/ 1438975 w 6994525"/>
                  <a:gd name="connsiteY3448" fmla="*/ 840852 h 7571036"/>
                  <a:gd name="connsiteX3449" fmla="*/ 1424672 w 6994525"/>
                  <a:gd name="connsiteY3449" fmla="*/ 855141 h 7571036"/>
                  <a:gd name="connsiteX3450" fmla="*/ 1438975 w 6994525"/>
                  <a:gd name="connsiteY3450" fmla="*/ 869437 h 7571036"/>
                  <a:gd name="connsiteX3451" fmla="*/ 1453275 w 6994525"/>
                  <a:gd name="connsiteY3451" fmla="*/ 855141 h 7571036"/>
                  <a:gd name="connsiteX3452" fmla="*/ 1453518 w 6994525"/>
                  <a:gd name="connsiteY3452" fmla="*/ 5212291 h 7571036"/>
                  <a:gd name="connsiteX3453" fmla="*/ 1448340 w 6994525"/>
                  <a:gd name="connsiteY3453" fmla="*/ 5207114 h 7571036"/>
                  <a:gd name="connsiteX3454" fmla="*/ 1443163 w 6994525"/>
                  <a:gd name="connsiteY3454" fmla="*/ 5212291 h 7571036"/>
                  <a:gd name="connsiteX3455" fmla="*/ 1448340 w 6994525"/>
                  <a:gd name="connsiteY3455" fmla="*/ 5217468 h 7571036"/>
                  <a:gd name="connsiteX3456" fmla="*/ 1453518 w 6994525"/>
                  <a:gd name="connsiteY3456" fmla="*/ 5212291 h 7571036"/>
                  <a:gd name="connsiteX3457" fmla="*/ 1455493 w 6994525"/>
                  <a:gd name="connsiteY3457" fmla="*/ 66212 h 7571036"/>
                  <a:gd name="connsiteX3458" fmla="*/ 1439221 w 6994525"/>
                  <a:gd name="connsiteY3458" fmla="*/ 49940 h 7571036"/>
                  <a:gd name="connsiteX3459" fmla="*/ 1422945 w 6994525"/>
                  <a:gd name="connsiteY3459" fmla="*/ 66212 h 7571036"/>
                  <a:gd name="connsiteX3460" fmla="*/ 1439221 w 6994525"/>
                  <a:gd name="connsiteY3460" fmla="*/ 82486 h 7571036"/>
                  <a:gd name="connsiteX3461" fmla="*/ 1455493 w 6994525"/>
                  <a:gd name="connsiteY3461" fmla="*/ 66212 h 7571036"/>
                  <a:gd name="connsiteX3462" fmla="*/ 1458203 w 6994525"/>
                  <a:gd name="connsiteY3462" fmla="*/ 6231882 h 7571036"/>
                  <a:gd name="connsiteX3463" fmla="*/ 1432313 w 6994525"/>
                  <a:gd name="connsiteY3463" fmla="*/ 6205992 h 7571036"/>
                  <a:gd name="connsiteX3464" fmla="*/ 1406424 w 6994525"/>
                  <a:gd name="connsiteY3464" fmla="*/ 6231882 h 7571036"/>
                  <a:gd name="connsiteX3465" fmla="*/ 1432313 w 6994525"/>
                  <a:gd name="connsiteY3465" fmla="*/ 6257772 h 7571036"/>
                  <a:gd name="connsiteX3466" fmla="*/ 1458203 w 6994525"/>
                  <a:gd name="connsiteY3466" fmla="*/ 6231882 h 7571036"/>
                  <a:gd name="connsiteX3467" fmla="*/ 1458452 w 6994525"/>
                  <a:gd name="connsiteY3467" fmla="*/ 6101691 h 7571036"/>
                  <a:gd name="connsiteX3468" fmla="*/ 1440452 w 6994525"/>
                  <a:gd name="connsiteY3468" fmla="*/ 6083936 h 7571036"/>
                  <a:gd name="connsiteX3469" fmla="*/ 1422699 w 6994525"/>
                  <a:gd name="connsiteY3469" fmla="*/ 6101691 h 7571036"/>
                  <a:gd name="connsiteX3470" fmla="*/ 1440452 w 6994525"/>
                  <a:gd name="connsiteY3470" fmla="*/ 6119443 h 7571036"/>
                  <a:gd name="connsiteX3471" fmla="*/ 1458452 w 6994525"/>
                  <a:gd name="connsiteY3471" fmla="*/ 6101691 h 7571036"/>
                  <a:gd name="connsiteX3472" fmla="*/ 1459190 w 6994525"/>
                  <a:gd name="connsiteY3472" fmla="*/ 4411662 h 7571036"/>
                  <a:gd name="connsiteX3473" fmla="*/ 1447108 w 6994525"/>
                  <a:gd name="connsiteY3473" fmla="*/ 4399826 h 7571036"/>
                  <a:gd name="connsiteX3474" fmla="*/ 1435272 w 6994525"/>
                  <a:gd name="connsiteY3474" fmla="*/ 4411662 h 7571036"/>
                  <a:gd name="connsiteX3475" fmla="*/ 1447108 w 6994525"/>
                  <a:gd name="connsiteY3475" fmla="*/ 4423743 h 7571036"/>
                  <a:gd name="connsiteX3476" fmla="*/ 1459190 w 6994525"/>
                  <a:gd name="connsiteY3476" fmla="*/ 4411662 h 7571036"/>
                  <a:gd name="connsiteX3477" fmla="*/ 1459438 w 6994525"/>
                  <a:gd name="connsiteY3477" fmla="*/ 190702 h 7571036"/>
                  <a:gd name="connsiteX3478" fmla="*/ 1443657 w 6994525"/>
                  <a:gd name="connsiteY3478" fmla="*/ 174922 h 7571036"/>
                  <a:gd name="connsiteX3479" fmla="*/ 1427877 w 6994525"/>
                  <a:gd name="connsiteY3479" fmla="*/ 190702 h 7571036"/>
                  <a:gd name="connsiteX3480" fmla="*/ 1443657 w 6994525"/>
                  <a:gd name="connsiteY3480" fmla="*/ 206482 h 7571036"/>
                  <a:gd name="connsiteX3481" fmla="*/ 1459438 w 6994525"/>
                  <a:gd name="connsiteY3481" fmla="*/ 190702 h 7571036"/>
                  <a:gd name="connsiteX3482" fmla="*/ 1459931 w 6994525"/>
                  <a:gd name="connsiteY3482" fmla="*/ 2084127 h 7571036"/>
                  <a:gd name="connsiteX3483" fmla="*/ 1459684 w 6994525"/>
                  <a:gd name="connsiteY3483" fmla="*/ 2083881 h 7571036"/>
                  <a:gd name="connsiteX3484" fmla="*/ 1459438 w 6994525"/>
                  <a:gd name="connsiteY3484" fmla="*/ 2084127 h 7571036"/>
                  <a:gd name="connsiteX3485" fmla="*/ 1459684 w 6994525"/>
                  <a:gd name="connsiteY3485" fmla="*/ 2084376 h 7571036"/>
                  <a:gd name="connsiteX3486" fmla="*/ 1459931 w 6994525"/>
                  <a:gd name="connsiteY3486" fmla="*/ 2084127 h 7571036"/>
                  <a:gd name="connsiteX3487" fmla="*/ 1462396 w 6994525"/>
                  <a:gd name="connsiteY3487" fmla="*/ 986550 h 7571036"/>
                  <a:gd name="connsiteX3488" fmla="*/ 1448094 w 6994525"/>
                  <a:gd name="connsiteY3488" fmla="*/ 972247 h 7571036"/>
                  <a:gd name="connsiteX3489" fmla="*/ 1433794 w 6994525"/>
                  <a:gd name="connsiteY3489" fmla="*/ 986550 h 7571036"/>
                  <a:gd name="connsiteX3490" fmla="*/ 1448094 w 6994525"/>
                  <a:gd name="connsiteY3490" fmla="*/ 1000845 h 7571036"/>
                  <a:gd name="connsiteX3491" fmla="*/ 1462396 w 6994525"/>
                  <a:gd name="connsiteY3491" fmla="*/ 986550 h 7571036"/>
                  <a:gd name="connsiteX3492" fmla="*/ 1462642 w 6994525"/>
                  <a:gd name="connsiteY3492" fmla="*/ 2907184 h 7571036"/>
                  <a:gd name="connsiteX3493" fmla="*/ 1429108 w 6994525"/>
                  <a:gd name="connsiteY3493" fmla="*/ 2873648 h 7571036"/>
                  <a:gd name="connsiteX3494" fmla="*/ 1395328 w 6994525"/>
                  <a:gd name="connsiteY3494" fmla="*/ 2907184 h 7571036"/>
                  <a:gd name="connsiteX3495" fmla="*/ 1429108 w 6994525"/>
                  <a:gd name="connsiteY3495" fmla="*/ 2940965 h 7571036"/>
                  <a:gd name="connsiteX3496" fmla="*/ 1462642 w 6994525"/>
                  <a:gd name="connsiteY3496" fmla="*/ 2907184 h 7571036"/>
                  <a:gd name="connsiteX3497" fmla="*/ 1464861 w 6994525"/>
                  <a:gd name="connsiteY3497" fmla="*/ 5837112 h 7571036"/>
                  <a:gd name="connsiteX3498" fmla="*/ 1460177 w 6994525"/>
                  <a:gd name="connsiteY3498" fmla="*/ 5832675 h 7571036"/>
                  <a:gd name="connsiteX3499" fmla="*/ 1455738 w 6994525"/>
                  <a:gd name="connsiteY3499" fmla="*/ 5837112 h 7571036"/>
                  <a:gd name="connsiteX3500" fmla="*/ 1460177 w 6994525"/>
                  <a:gd name="connsiteY3500" fmla="*/ 5841798 h 7571036"/>
                  <a:gd name="connsiteX3501" fmla="*/ 1464861 w 6994525"/>
                  <a:gd name="connsiteY3501" fmla="*/ 5837112 h 7571036"/>
                  <a:gd name="connsiteX3502" fmla="*/ 1466587 w 6994525"/>
                  <a:gd name="connsiteY3502" fmla="*/ 1420710 h 7571036"/>
                  <a:gd name="connsiteX3503" fmla="*/ 1451793 w 6994525"/>
                  <a:gd name="connsiteY3503" fmla="*/ 1405913 h 7571036"/>
                  <a:gd name="connsiteX3504" fmla="*/ 1436999 w 6994525"/>
                  <a:gd name="connsiteY3504" fmla="*/ 1420710 h 7571036"/>
                  <a:gd name="connsiteX3505" fmla="*/ 1451793 w 6994525"/>
                  <a:gd name="connsiteY3505" fmla="*/ 1435500 h 7571036"/>
                  <a:gd name="connsiteX3506" fmla="*/ 1466587 w 6994525"/>
                  <a:gd name="connsiteY3506" fmla="*/ 1420710 h 7571036"/>
                  <a:gd name="connsiteX3507" fmla="*/ 1466588 w 6994525"/>
                  <a:gd name="connsiteY3507" fmla="*/ 5970267 h 7571036"/>
                  <a:gd name="connsiteX3508" fmla="*/ 1449822 w 6994525"/>
                  <a:gd name="connsiteY3508" fmla="*/ 5953499 h 7571036"/>
                  <a:gd name="connsiteX3509" fmla="*/ 1433054 w 6994525"/>
                  <a:gd name="connsiteY3509" fmla="*/ 5970267 h 7571036"/>
                  <a:gd name="connsiteX3510" fmla="*/ 1449822 w 6994525"/>
                  <a:gd name="connsiteY3510" fmla="*/ 5987033 h 7571036"/>
                  <a:gd name="connsiteX3511" fmla="*/ 1466588 w 6994525"/>
                  <a:gd name="connsiteY3511" fmla="*/ 5970267 h 7571036"/>
                  <a:gd name="connsiteX3512" fmla="*/ 1472506 w 6994525"/>
                  <a:gd name="connsiteY3512" fmla="*/ 1119673 h 7571036"/>
                  <a:gd name="connsiteX3513" fmla="*/ 1458452 w 6994525"/>
                  <a:gd name="connsiteY3513" fmla="*/ 1105621 h 7571036"/>
                  <a:gd name="connsiteX3514" fmla="*/ 1444397 w 6994525"/>
                  <a:gd name="connsiteY3514" fmla="*/ 1119673 h 7571036"/>
                  <a:gd name="connsiteX3515" fmla="*/ 1458452 w 6994525"/>
                  <a:gd name="connsiteY3515" fmla="*/ 1133734 h 7571036"/>
                  <a:gd name="connsiteX3516" fmla="*/ 1472506 w 6994525"/>
                  <a:gd name="connsiteY3516" fmla="*/ 1119673 h 7571036"/>
                  <a:gd name="connsiteX3517" fmla="*/ 1476205 w 6994525"/>
                  <a:gd name="connsiteY3517" fmla="*/ 4050920 h 7571036"/>
                  <a:gd name="connsiteX3518" fmla="*/ 1430095 w 6994525"/>
                  <a:gd name="connsiteY3518" fmla="*/ 4004809 h 7571036"/>
                  <a:gd name="connsiteX3519" fmla="*/ 1383985 w 6994525"/>
                  <a:gd name="connsiteY3519" fmla="*/ 4050920 h 7571036"/>
                  <a:gd name="connsiteX3520" fmla="*/ 1430095 w 6994525"/>
                  <a:gd name="connsiteY3520" fmla="*/ 4097031 h 7571036"/>
                  <a:gd name="connsiteX3521" fmla="*/ 1476205 w 6994525"/>
                  <a:gd name="connsiteY3521" fmla="*/ 4050920 h 7571036"/>
                  <a:gd name="connsiteX3522" fmla="*/ 1477931 w 6994525"/>
                  <a:gd name="connsiteY3522" fmla="*/ 4672292 h 7571036"/>
                  <a:gd name="connsiteX3523" fmla="*/ 1461164 w 6994525"/>
                  <a:gd name="connsiteY3523" fmla="*/ 4655524 h 7571036"/>
                  <a:gd name="connsiteX3524" fmla="*/ 1444397 w 6994525"/>
                  <a:gd name="connsiteY3524" fmla="*/ 4672292 h 7571036"/>
                  <a:gd name="connsiteX3525" fmla="*/ 1461164 w 6994525"/>
                  <a:gd name="connsiteY3525" fmla="*/ 4689059 h 7571036"/>
                  <a:gd name="connsiteX3526" fmla="*/ 1477931 w 6994525"/>
                  <a:gd name="connsiteY3526" fmla="*/ 4672292 h 7571036"/>
                  <a:gd name="connsiteX3527" fmla="*/ 1479164 w 6994525"/>
                  <a:gd name="connsiteY3527" fmla="*/ 5068044 h 7571036"/>
                  <a:gd name="connsiteX3528" fmla="*/ 1470287 w 6994525"/>
                  <a:gd name="connsiteY3528" fmla="*/ 5059168 h 7571036"/>
                  <a:gd name="connsiteX3529" fmla="*/ 1461411 w 6994525"/>
                  <a:gd name="connsiteY3529" fmla="*/ 5068044 h 7571036"/>
                  <a:gd name="connsiteX3530" fmla="*/ 1470287 w 6994525"/>
                  <a:gd name="connsiteY3530" fmla="*/ 5076675 h 7571036"/>
                  <a:gd name="connsiteX3531" fmla="*/ 1479164 w 6994525"/>
                  <a:gd name="connsiteY3531" fmla="*/ 5068044 h 7571036"/>
                  <a:gd name="connsiteX3532" fmla="*/ 1483847 w 6994525"/>
                  <a:gd name="connsiteY3532" fmla="*/ 2493677 h 7571036"/>
                  <a:gd name="connsiteX3533" fmla="*/ 1470779 w 6994525"/>
                  <a:gd name="connsiteY3533" fmla="*/ 2480604 h 7571036"/>
                  <a:gd name="connsiteX3534" fmla="*/ 1457712 w 6994525"/>
                  <a:gd name="connsiteY3534" fmla="*/ 2493677 h 7571036"/>
                  <a:gd name="connsiteX3535" fmla="*/ 1470779 w 6994525"/>
                  <a:gd name="connsiteY3535" fmla="*/ 2506740 h 7571036"/>
                  <a:gd name="connsiteX3536" fmla="*/ 1483847 w 6994525"/>
                  <a:gd name="connsiteY3536" fmla="*/ 2493677 h 7571036"/>
                  <a:gd name="connsiteX3537" fmla="*/ 1483850 w 6994525"/>
                  <a:gd name="connsiteY3537" fmla="*/ 1559508 h 7571036"/>
                  <a:gd name="connsiteX3538" fmla="*/ 1467574 w 6994525"/>
                  <a:gd name="connsiteY3538" fmla="*/ 1543236 h 7571036"/>
                  <a:gd name="connsiteX3539" fmla="*/ 1451302 w 6994525"/>
                  <a:gd name="connsiteY3539" fmla="*/ 1559508 h 7571036"/>
                  <a:gd name="connsiteX3540" fmla="*/ 1467574 w 6994525"/>
                  <a:gd name="connsiteY3540" fmla="*/ 1575780 h 7571036"/>
                  <a:gd name="connsiteX3541" fmla="*/ 1483850 w 6994525"/>
                  <a:gd name="connsiteY3541" fmla="*/ 1559508 h 7571036"/>
                  <a:gd name="connsiteX3542" fmla="*/ 1491246 w 6994525"/>
                  <a:gd name="connsiteY3542" fmla="*/ 7043116 h 7571036"/>
                  <a:gd name="connsiteX3543" fmla="*/ 1488040 w 6994525"/>
                  <a:gd name="connsiteY3543" fmla="*/ 7039910 h 7571036"/>
                  <a:gd name="connsiteX3544" fmla="*/ 1484836 w 6994525"/>
                  <a:gd name="connsiteY3544" fmla="*/ 7043116 h 7571036"/>
                  <a:gd name="connsiteX3545" fmla="*/ 1488040 w 6994525"/>
                  <a:gd name="connsiteY3545" fmla="*/ 7046323 h 7571036"/>
                  <a:gd name="connsiteX3546" fmla="*/ 1491246 w 6994525"/>
                  <a:gd name="connsiteY3546" fmla="*/ 7043116 h 7571036"/>
                  <a:gd name="connsiteX3547" fmla="*/ 1493956 w 6994525"/>
                  <a:gd name="connsiteY3547" fmla="*/ 1700289 h 7571036"/>
                  <a:gd name="connsiteX3548" fmla="*/ 1485327 w 6994525"/>
                  <a:gd name="connsiteY3548" fmla="*/ 1691657 h 7571036"/>
                  <a:gd name="connsiteX3549" fmla="*/ 1476697 w 6994525"/>
                  <a:gd name="connsiteY3549" fmla="*/ 1700289 h 7571036"/>
                  <a:gd name="connsiteX3550" fmla="*/ 1485327 w 6994525"/>
                  <a:gd name="connsiteY3550" fmla="*/ 1708886 h 7571036"/>
                  <a:gd name="connsiteX3551" fmla="*/ 1493956 w 6994525"/>
                  <a:gd name="connsiteY3551" fmla="*/ 1700289 h 7571036"/>
                  <a:gd name="connsiteX3552" fmla="*/ 1494700 w 6994525"/>
                  <a:gd name="connsiteY3552" fmla="*/ 2796470 h 7571036"/>
                  <a:gd name="connsiteX3553" fmla="*/ 1463138 w 6994525"/>
                  <a:gd name="connsiteY3553" fmla="*/ 2764906 h 7571036"/>
                  <a:gd name="connsiteX3554" fmla="*/ 1431576 w 6994525"/>
                  <a:gd name="connsiteY3554" fmla="*/ 2796470 h 7571036"/>
                  <a:gd name="connsiteX3555" fmla="*/ 1463138 w 6994525"/>
                  <a:gd name="connsiteY3555" fmla="*/ 2828031 h 7571036"/>
                  <a:gd name="connsiteX3556" fmla="*/ 1494700 w 6994525"/>
                  <a:gd name="connsiteY3556" fmla="*/ 2796470 h 7571036"/>
                  <a:gd name="connsiteX3557" fmla="*/ 1494946 w 6994525"/>
                  <a:gd name="connsiteY3557" fmla="*/ 6920568 h 7571036"/>
                  <a:gd name="connsiteX3558" fmla="*/ 1491740 w 6994525"/>
                  <a:gd name="connsiteY3558" fmla="*/ 6917363 h 7571036"/>
                  <a:gd name="connsiteX3559" fmla="*/ 1488536 w 6994525"/>
                  <a:gd name="connsiteY3559" fmla="*/ 6920568 h 7571036"/>
                  <a:gd name="connsiteX3560" fmla="*/ 1491740 w 6994525"/>
                  <a:gd name="connsiteY3560" fmla="*/ 6923776 h 7571036"/>
                  <a:gd name="connsiteX3561" fmla="*/ 1494946 w 6994525"/>
                  <a:gd name="connsiteY3561" fmla="*/ 6920568 h 7571036"/>
                  <a:gd name="connsiteX3562" fmla="*/ 1497656 w 6994525"/>
                  <a:gd name="connsiteY3562" fmla="*/ 6796789 h 7571036"/>
                  <a:gd name="connsiteX3563" fmla="*/ 1495931 w 6994525"/>
                  <a:gd name="connsiteY3563" fmla="*/ 6795061 h 7571036"/>
                  <a:gd name="connsiteX3564" fmla="*/ 1494205 w 6994525"/>
                  <a:gd name="connsiteY3564" fmla="*/ 6796789 h 7571036"/>
                  <a:gd name="connsiteX3565" fmla="*/ 1495931 w 6994525"/>
                  <a:gd name="connsiteY3565" fmla="*/ 6798515 h 7571036"/>
                  <a:gd name="connsiteX3566" fmla="*/ 1497656 w 6994525"/>
                  <a:gd name="connsiteY3566" fmla="*/ 6796789 h 7571036"/>
                  <a:gd name="connsiteX3567" fmla="*/ 1498152 w 6994525"/>
                  <a:gd name="connsiteY3567" fmla="*/ 2235281 h 7571036"/>
                  <a:gd name="connsiteX3568" fmla="*/ 1490013 w 6994525"/>
                  <a:gd name="connsiteY3568" fmla="*/ 2227147 h 7571036"/>
                  <a:gd name="connsiteX3569" fmla="*/ 1481877 w 6994525"/>
                  <a:gd name="connsiteY3569" fmla="*/ 2235281 h 7571036"/>
                  <a:gd name="connsiteX3570" fmla="*/ 1490013 w 6994525"/>
                  <a:gd name="connsiteY3570" fmla="*/ 2243428 h 7571036"/>
                  <a:gd name="connsiteX3571" fmla="*/ 1498152 w 6994525"/>
                  <a:gd name="connsiteY3571" fmla="*/ 2235281 h 7571036"/>
                  <a:gd name="connsiteX3572" fmla="*/ 1499877 w 6994525"/>
                  <a:gd name="connsiteY3572" fmla="*/ 4516453 h 7571036"/>
                  <a:gd name="connsiteX3573" fmla="*/ 1498396 w 6994525"/>
                  <a:gd name="connsiteY3573" fmla="*/ 4514975 h 7571036"/>
                  <a:gd name="connsiteX3574" fmla="*/ 1496918 w 6994525"/>
                  <a:gd name="connsiteY3574" fmla="*/ 4516453 h 7571036"/>
                  <a:gd name="connsiteX3575" fmla="*/ 1498396 w 6994525"/>
                  <a:gd name="connsiteY3575" fmla="*/ 4517934 h 7571036"/>
                  <a:gd name="connsiteX3576" fmla="*/ 1499877 w 6994525"/>
                  <a:gd name="connsiteY3576" fmla="*/ 4516453 h 7571036"/>
                  <a:gd name="connsiteX3577" fmla="*/ 1502836 w 6994525"/>
                  <a:gd name="connsiteY3577" fmla="*/ 3421287 h 7571036"/>
                  <a:gd name="connsiteX3578" fmla="*/ 1461165 w 6994525"/>
                  <a:gd name="connsiteY3578" fmla="*/ 3379613 h 7571036"/>
                  <a:gd name="connsiteX3579" fmla="*/ 1419494 w 6994525"/>
                  <a:gd name="connsiteY3579" fmla="*/ 3421287 h 7571036"/>
                  <a:gd name="connsiteX3580" fmla="*/ 1461165 w 6994525"/>
                  <a:gd name="connsiteY3580" fmla="*/ 3462965 h 7571036"/>
                  <a:gd name="connsiteX3581" fmla="*/ 1502836 w 6994525"/>
                  <a:gd name="connsiteY3581" fmla="*/ 3421287 h 7571036"/>
                  <a:gd name="connsiteX3582" fmla="*/ 1503822 w 6994525"/>
                  <a:gd name="connsiteY3582" fmla="*/ 4920841 h 7571036"/>
                  <a:gd name="connsiteX3583" fmla="*/ 1494699 w 6994525"/>
                  <a:gd name="connsiteY3583" fmla="*/ 4911718 h 7571036"/>
                  <a:gd name="connsiteX3584" fmla="*/ 1485577 w 6994525"/>
                  <a:gd name="connsiteY3584" fmla="*/ 4920841 h 7571036"/>
                  <a:gd name="connsiteX3585" fmla="*/ 1494699 w 6994525"/>
                  <a:gd name="connsiteY3585" fmla="*/ 4929963 h 7571036"/>
                  <a:gd name="connsiteX3586" fmla="*/ 1503822 w 6994525"/>
                  <a:gd name="connsiteY3586" fmla="*/ 4920841 h 7571036"/>
                  <a:gd name="connsiteX3587" fmla="*/ 1505548 w 6994525"/>
                  <a:gd name="connsiteY3587" fmla="*/ 3537056 h 7571036"/>
                  <a:gd name="connsiteX3588" fmla="*/ 1461411 w 6994525"/>
                  <a:gd name="connsiteY3588" fmla="*/ 3492919 h 7571036"/>
                  <a:gd name="connsiteX3589" fmla="*/ 1417273 w 6994525"/>
                  <a:gd name="connsiteY3589" fmla="*/ 3537056 h 7571036"/>
                  <a:gd name="connsiteX3590" fmla="*/ 1461411 w 6994525"/>
                  <a:gd name="connsiteY3590" fmla="*/ 3581194 h 7571036"/>
                  <a:gd name="connsiteX3591" fmla="*/ 1505548 w 6994525"/>
                  <a:gd name="connsiteY3591" fmla="*/ 3537056 h 7571036"/>
                  <a:gd name="connsiteX3592" fmla="*/ 1507027 w 6994525"/>
                  <a:gd name="connsiteY3592" fmla="*/ 3305397 h 7571036"/>
                  <a:gd name="connsiteX3593" fmla="*/ 1467574 w 6994525"/>
                  <a:gd name="connsiteY3593" fmla="*/ 3265951 h 7571036"/>
                  <a:gd name="connsiteX3594" fmla="*/ 1428122 w 6994525"/>
                  <a:gd name="connsiteY3594" fmla="*/ 3305397 h 7571036"/>
                  <a:gd name="connsiteX3595" fmla="*/ 1467574 w 6994525"/>
                  <a:gd name="connsiteY3595" fmla="*/ 3344851 h 7571036"/>
                  <a:gd name="connsiteX3596" fmla="*/ 1507027 w 6994525"/>
                  <a:gd name="connsiteY3596" fmla="*/ 3305397 h 7571036"/>
                  <a:gd name="connsiteX3597" fmla="*/ 1507768 w 6994525"/>
                  <a:gd name="connsiteY3597" fmla="*/ 5711609 h 7571036"/>
                  <a:gd name="connsiteX3598" fmla="*/ 1481386 w 6994525"/>
                  <a:gd name="connsiteY3598" fmla="*/ 5685224 h 7571036"/>
                  <a:gd name="connsiteX3599" fmla="*/ 1455002 w 6994525"/>
                  <a:gd name="connsiteY3599" fmla="*/ 5711609 h 7571036"/>
                  <a:gd name="connsiteX3600" fmla="*/ 1481386 w 6994525"/>
                  <a:gd name="connsiteY3600" fmla="*/ 5737993 h 7571036"/>
                  <a:gd name="connsiteX3601" fmla="*/ 1507768 w 6994525"/>
                  <a:gd name="connsiteY3601" fmla="*/ 5711609 h 7571036"/>
                  <a:gd name="connsiteX3602" fmla="*/ 1509985 w 6994525"/>
                  <a:gd name="connsiteY3602" fmla="*/ 5438649 h 7571036"/>
                  <a:gd name="connsiteX3603" fmla="*/ 1509248 w 6994525"/>
                  <a:gd name="connsiteY3603" fmla="*/ 5437908 h 7571036"/>
                  <a:gd name="connsiteX3604" fmla="*/ 1508508 w 6994525"/>
                  <a:gd name="connsiteY3604" fmla="*/ 5438649 h 7571036"/>
                  <a:gd name="connsiteX3605" fmla="*/ 1509248 w 6994525"/>
                  <a:gd name="connsiteY3605" fmla="*/ 5439386 h 7571036"/>
                  <a:gd name="connsiteX3606" fmla="*/ 1509985 w 6994525"/>
                  <a:gd name="connsiteY3606" fmla="*/ 5438649 h 7571036"/>
                  <a:gd name="connsiteX3607" fmla="*/ 1510723 w 6994525"/>
                  <a:gd name="connsiteY3607" fmla="*/ 4161633 h 7571036"/>
                  <a:gd name="connsiteX3608" fmla="*/ 1464121 w 6994525"/>
                  <a:gd name="connsiteY3608" fmla="*/ 4115031 h 7571036"/>
                  <a:gd name="connsiteX3609" fmla="*/ 1417519 w 6994525"/>
                  <a:gd name="connsiteY3609" fmla="*/ 4161633 h 7571036"/>
                  <a:gd name="connsiteX3610" fmla="*/ 1464121 w 6994525"/>
                  <a:gd name="connsiteY3610" fmla="*/ 4208235 h 7571036"/>
                  <a:gd name="connsiteX3611" fmla="*/ 1510723 w 6994525"/>
                  <a:gd name="connsiteY3611" fmla="*/ 4161633 h 7571036"/>
                  <a:gd name="connsiteX3612" fmla="*/ 1511959 w 6994525"/>
                  <a:gd name="connsiteY3612" fmla="*/ 1844063 h 7571036"/>
                  <a:gd name="connsiteX3613" fmla="*/ 1505054 w 6994525"/>
                  <a:gd name="connsiteY3613" fmla="*/ 1836913 h 7571036"/>
                  <a:gd name="connsiteX3614" fmla="*/ 1497904 w 6994525"/>
                  <a:gd name="connsiteY3614" fmla="*/ 1844063 h 7571036"/>
                  <a:gd name="connsiteX3615" fmla="*/ 1505054 w 6994525"/>
                  <a:gd name="connsiteY3615" fmla="*/ 1850966 h 7571036"/>
                  <a:gd name="connsiteX3616" fmla="*/ 1511959 w 6994525"/>
                  <a:gd name="connsiteY3616" fmla="*/ 1844063 h 7571036"/>
                  <a:gd name="connsiteX3617" fmla="*/ 1512204 w 6994525"/>
                  <a:gd name="connsiteY3617" fmla="*/ 6677940 h 7571036"/>
                  <a:gd name="connsiteX3618" fmla="*/ 1509246 w 6994525"/>
                  <a:gd name="connsiteY3618" fmla="*/ 6674980 h 7571036"/>
                  <a:gd name="connsiteX3619" fmla="*/ 1506287 w 6994525"/>
                  <a:gd name="connsiteY3619" fmla="*/ 6677940 h 7571036"/>
                  <a:gd name="connsiteX3620" fmla="*/ 1509246 w 6994525"/>
                  <a:gd name="connsiteY3620" fmla="*/ 6680899 h 7571036"/>
                  <a:gd name="connsiteX3621" fmla="*/ 1512204 w 6994525"/>
                  <a:gd name="connsiteY3621" fmla="*/ 6677940 h 7571036"/>
                  <a:gd name="connsiteX3622" fmla="*/ 1515165 w 6994525"/>
                  <a:gd name="connsiteY3622" fmla="*/ 3652700 h 7571036"/>
                  <a:gd name="connsiteX3623" fmla="*/ 1467824 w 6994525"/>
                  <a:gd name="connsiteY3623" fmla="*/ 3605357 h 7571036"/>
                  <a:gd name="connsiteX3624" fmla="*/ 1420481 w 6994525"/>
                  <a:gd name="connsiteY3624" fmla="*/ 3652700 h 7571036"/>
                  <a:gd name="connsiteX3625" fmla="*/ 1467824 w 6994525"/>
                  <a:gd name="connsiteY3625" fmla="*/ 3700043 h 7571036"/>
                  <a:gd name="connsiteX3626" fmla="*/ 1515165 w 6994525"/>
                  <a:gd name="connsiteY3626" fmla="*/ 3652700 h 7571036"/>
                  <a:gd name="connsiteX3627" fmla="*/ 1517384 w 6994525"/>
                  <a:gd name="connsiteY3627" fmla="*/ 6552924 h 7571036"/>
                  <a:gd name="connsiteX3628" fmla="*/ 1514425 w 6994525"/>
                  <a:gd name="connsiteY3628" fmla="*/ 6549966 h 7571036"/>
                  <a:gd name="connsiteX3629" fmla="*/ 1511466 w 6994525"/>
                  <a:gd name="connsiteY3629" fmla="*/ 6552924 h 7571036"/>
                  <a:gd name="connsiteX3630" fmla="*/ 1514425 w 6994525"/>
                  <a:gd name="connsiteY3630" fmla="*/ 6555883 h 7571036"/>
                  <a:gd name="connsiteX3631" fmla="*/ 1517384 w 6994525"/>
                  <a:gd name="connsiteY3631" fmla="*/ 6552924 h 7571036"/>
                  <a:gd name="connsiteX3632" fmla="*/ 1518371 w 6994525"/>
                  <a:gd name="connsiteY3632" fmla="*/ 3190250 h 7571036"/>
                  <a:gd name="connsiteX3633" fmla="*/ 1480643 w 6994525"/>
                  <a:gd name="connsiteY3633" fmla="*/ 3152523 h 7571036"/>
                  <a:gd name="connsiteX3634" fmla="*/ 1442917 w 6994525"/>
                  <a:gd name="connsiteY3634" fmla="*/ 3190250 h 7571036"/>
                  <a:gd name="connsiteX3635" fmla="*/ 1480643 w 6994525"/>
                  <a:gd name="connsiteY3635" fmla="*/ 3227977 h 7571036"/>
                  <a:gd name="connsiteX3636" fmla="*/ 1518371 w 6994525"/>
                  <a:gd name="connsiteY3636" fmla="*/ 3190250 h 7571036"/>
                  <a:gd name="connsiteX3637" fmla="*/ 1521822 w 6994525"/>
                  <a:gd name="connsiteY3637" fmla="*/ 6426679 h 7571036"/>
                  <a:gd name="connsiteX3638" fmla="*/ 1520097 w 6994525"/>
                  <a:gd name="connsiteY3638" fmla="*/ 6424952 h 7571036"/>
                  <a:gd name="connsiteX3639" fmla="*/ 1518371 w 6994525"/>
                  <a:gd name="connsiteY3639" fmla="*/ 6426679 h 7571036"/>
                  <a:gd name="connsiteX3640" fmla="*/ 1520097 w 6994525"/>
                  <a:gd name="connsiteY3640" fmla="*/ 6428406 h 7571036"/>
                  <a:gd name="connsiteX3641" fmla="*/ 1521822 w 6994525"/>
                  <a:gd name="connsiteY3641" fmla="*/ 6426679 h 7571036"/>
                  <a:gd name="connsiteX3642" fmla="*/ 1522561 w 6994525"/>
                  <a:gd name="connsiteY3642" fmla="*/ 279193 h 7571036"/>
                  <a:gd name="connsiteX3643" fmla="*/ 1506532 w 6994525"/>
                  <a:gd name="connsiteY3643" fmla="*/ 263168 h 7571036"/>
                  <a:gd name="connsiteX3644" fmla="*/ 1490506 w 6994525"/>
                  <a:gd name="connsiteY3644" fmla="*/ 279193 h 7571036"/>
                  <a:gd name="connsiteX3645" fmla="*/ 1506532 w 6994525"/>
                  <a:gd name="connsiteY3645" fmla="*/ 295221 h 7571036"/>
                  <a:gd name="connsiteX3646" fmla="*/ 1522561 w 6994525"/>
                  <a:gd name="connsiteY3646" fmla="*/ 279193 h 7571036"/>
                  <a:gd name="connsiteX3647" fmla="*/ 1523053 w 6994525"/>
                  <a:gd name="connsiteY3647" fmla="*/ 5575991 h 7571036"/>
                  <a:gd name="connsiteX3648" fmla="*/ 1494450 w 6994525"/>
                  <a:gd name="connsiteY3648" fmla="*/ 5547388 h 7571036"/>
                  <a:gd name="connsiteX3649" fmla="*/ 1465848 w 6994525"/>
                  <a:gd name="connsiteY3649" fmla="*/ 5575991 h 7571036"/>
                  <a:gd name="connsiteX3650" fmla="*/ 1494450 w 6994525"/>
                  <a:gd name="connsiteY3650" fmla="*/ 5604594 h 7571036"/>
                  <a:gd name="connsiteX3651" fmla="*/ 1523053 w 6994525"/>
                  <a:gd name="connsiteY3651" fmla="*/ 5575991 h 7571036"/>
                  <a:gd name="connsiteX3652" fmla="*/ 1527493 w 6994525"/>
                  <a:gd name="connsiteY3652" fmla="*/ 404179 h 7571036"/>
                  <a:gd name="connsiteX3653" fmla="*/ 1511960 w 6994525"/>
                  <a:gd name="connsiteY3653" fmla="*/ 388645 h 7571036"/>
                  <a:gd name="connsiteX3654" fmla="*/ 1496426 w 6994525"/>
                  <a:gd name="connsiteY3654" fmla="*/ 404179 h 7571036"/>
                  <a:gd name="connsiteX3655" fmla="*/ 1511960 w 6994525"/>
                  <a:gd name="connsiteY3655" fmla="*/ 419713 h 7571036"/>
                  <a:gd name="connsiteX3656" fmla="*/ 1527493 w 6994525"/>
                  <a:gd name="connsiteY3656" fmla="*/ 404179 h 7571036"/>
                  <a:gd name="connsiteX3657" fmla="*/ 1527987 w 6994525"/>
                  <a:gd name="connsiteY3657" fmla="*/ 2687972 h 7571036"/>
                  <a:gd name="connsiteX3658" fmla="*/ 1503081 w 6994525"/>
                  <a:gd name="connsiteY3658" fmla="*/ 2663067 h 7571036"/>
                  <a:gd name="connsiteX3659" fmla="*/ 1478178 w 6994525"/>
                  <a:gd name="connsiteY3659" fmla="*/ 2687972 h 7571036"/>
                  <a:gd name="connsiteX3660" fmla="*/ 1503081 w 6994525"/>
                  <a:gd name="connsiteY3660" fmla="*/ 2712879 h 7571036"/>
                  <a:gd name="connsiteX3661" fmla="*/ 1527987 w 6994525"/>
                  <a:gd name="connsiteY3661" fmla="*/ 2687972 h 7571036"/>
                  <a:gd name="connsiteX3662" fmla="*/ 1529218 w 6994525"/>
                  <a:gd name="connsiteY3662" fmla="*/ 1989688 h 7571036"/>
                  <a:gd name="connsiteX3663" fmla="*/ 1527985 w 6994525"/>
                  <a:gd name="connsiteY3663" fmla="*/ 1988457 h 7571036"/>
                  <a:gd name="connsiteX3664" fmla="*/ 1526753 w 6994525"/>
                  <a:gd name="connsiteY3664" fmla="*/ 1989688 h 7571036"/>
                  <a:gd name="connsiteX3665" fmla="*/ 1527985 w 6994525"/>
                  <a:gd name="connsiteY3665" fmla="*/ 1990921 h 7571036"/>
                  <a:gd name="connsiteX3666" fmla="*/ 1529218 w 6994525"/>
                  <a:gd name="connsiteY3666" fmla="*/ 1989688 h 7571036"/>
                  <a:gd name="connsiteX3667" fmla="*/ 1529711 w 6994525"/>
                  <a:gd name="connsiteY3667" fmla="*/ 5298842 h 7571036"/>
                  <a:gd name="connsiteX3668" fmla="*/ 1525274 w 6994525"/>
                  <a:gd name="connsiteY3668" fmla="*/ 5294402 h 7571036"/>
                  <a:gd name="connsiteX3669" fmla="*/ 1520589 w 6994525"/>
                  <a:gd name="connsiteY3669" fmla="*/ 5298842 h 7571036"/>
                  <a:gd name="connsiteX3670" fmla="*/ 1525274 w 6994525"/>
                  <a:gd name="connsiteY3670" fmla="*/ 5303525 h 7571036"/>
                  <a:gd name="connsiteX3671" fmla="*/ 1529711 w 6994525"/>
                  <a:gd name="connsiteY3671" fmla="*/ 5298842 h 7571036"/>
                  <a:gd name="connsiteX3672" fmla="*/ 1531190 w 6994525"/>
                  <a:gd name="connsiteY3672" fmla="*/ 3767851 h 7571036"/>
                  <a:gd name="connsiteX3673" fmla="*/ 1481137 w 6994525"/>
                  <a:gd name="connsiteY3673" fmla="*/ 3717795 h 7571036"/>
                  <a:gd name="connsiteX3674" fmla="*/ 1431081 w 6994525"/>
                  <a:gd name="connsiteY3674" fmla="*/ 3767851 h 7571036"/>
                  <a:gd name="connsiteX3675" fmla="*/ 1481137 w 6994525"/>
                  <a:gd name="connsiteY3675" fmla="*/ 3817907 h 7571036"/>
                  <a:gd name="connsiteX3676" fmla="*/ 1531190 w 6994525"/>
                  <a:gd name="connsiteY3676" fmla="*/ 3767851 h 7571036"/>
                  <a:gd name="connsiteX3677" fmla="*/ 1531930 w 6994525"/>
                  <a:gd name="connsiteY3677" fmla="*/ 2390368 h 7571036"/>
                  <a:gd name="connsiteX3678" fmla="*/ 1524533 w 6994525"/>
                  <a:gd name="connsiteY3678" fmla="*/ 2382966 h 7571036"/>
                  <a:gd name="connsiteX3679" fmla="*/ 1517135 w 6994525"/>
                  <a:gd name="connsiteY3679" fmla="*/ 2390368 h 7571036"/>
                  <a:gd name="connsiteX3680" fmla="*/ 1524533 w 6994525"/>
                  <a:gd name="connsiteY3680" fmla="*/ 2397761 h 7571036"/>
                  <a:gd name="connsiteX3681" fmla="*/ 1531930 w 6994525"/>
                  <a:gd name="connsiteY3681" fmla="*/ 2390368 h 7571036"/>
                  <a:gd name="connsiteX3682" fmla="*/ 1533164 w 6994525"/>
                  <a:gd name="connsiteY3682" fmla="*/ 529906 h 7571036"/>
                  <a:gd name="connsiteX3683" fmla="*/ 1517875 w 6994525"/>
                  <a:gd name="connsiteY3683" fmla="*/ 514866 h 7571036"/>
                  <a:gd name="connsiteX3684" fmla="*/ 1502836 w 6994525"/>
                  <a:gd name="connsiteY3684" fmla="*/ 529906 h 7571036"/>
                  <a:gd name="connsiteX3685" fmla="*/ 1517875 w 6994525"/>
                  <a:gd name="connsiteY3685" fmla="*/ 544946 h 7571036"/>
                  <a:gd name="connsiteX3686" fmla="*/ 1533164 w 6994525"/>
                  <a:gd name="connsiteY3686" fmla="*/ 529906 h 7571036"/>
                  <a:gd name="connsiteX3687" fmla="*/ 1536369 w 6994525"/>
                  <a:gd name="connsiteY3687" fmla="*/ 3076081 h 7571036"/>
                  <a:gd name="connsiteX3688" fmla="*/ 1500368 w 6994525"/>
                  <a:gd name="connsiteY3688" fmla="*/ 3040081 h 7571036"/>
                  <a:gd name="connsiteX3689" fmla="*/ 1464369 w 6994525"/>
                  <a:gd name="connsiteY3689" fmla="*/ 3076081 h 7571036"/>
                  <a:gd name="connsiteX3690" fmla="*/ 1500368 w 6994525"/>
                  <a:gd name="connsiteY3690" fmla="*/ 3112083 h 7571036"/>
                  <a:gd name="connsiteX3691" fmla="*/ 1536369 w 6994525"/>
                  <a:gd name="connsiteY3691" fmla="*/ 3076081 h 7571036"/>
                  <a:gd name="connsiteX3692" fmla="*/ 1537602 w 6994525"/>
                  <a:gd name="connsiteY3692" fmla="*/ 1206455 h 7571036"/>
                  <a:gd name="connsiteX3693" fmla="*/ 1523793 w 6994525"/>
                  <a:gd name="connsiteY3693" fmla="*/ 1192645 h 7571036"/>
                  <a:gd name="connsiteX3694" fmla="*/ 1509985 w 6994525"/>
                  <a:gd name="connsiteY3694" fmla="*/ 1206455 h 7571036"/>
                  <a:gd name="connsiteX3695" fmla="*/ 1523793 w 6994525"/>
                  <a:gd name="connsiteY3695" fmla="*/ 1220264 h 7571036"/>
                  <a:gd name="connsiteX3696" fmla="*/ 1537602 w 6994525"/>
                  <a:gd name="connsiteY3696" fmla="*/ 1206455 h 7571036"/>
                  <a:gd name="connsiteX3697" fmla="*/ 1538833 w 6994525"/>
                  <a:gd name="connsiteY3697" fmla="*/ 4771167 h 7571036"/>
                  <a:gd name="connsiteX3698" fmla="*/ 1523053 w 6994525"/>
                  <a:gd name="connsiteY3698" fmla="*/ 4755386 h 7571036"/>
                  <a:gd name="connsiteX3699" fmla="*/ 1507272 w 6994525"/>
                  <a:gd name="connsiteY3699" fmla="*/ 4771167 h 7571036"/>
                  <a:gd name="connsiteX3700" fmla="*/ 1523053 w 6994525"/>
                  <a:gd name="connsiteY3700" fmla="*/ 4786948 h 7571036"/>
                  <a:gd name="connsiteX3701" fmla="*/ 1538833 w 6994525"/>
                  <a:gd name="connsiteY3701" fmla="*/ 4771167 h 7571036"/>
                  <a:gd name="connsiteX3702" fmla="*/ 1538837 w 6994525"/>
                  <a:gd name="connsiteY3702" fmla="*/ 656925 h 7571036"/>
                  <a:gd name="connsiteX3703" fmla="*/ 1524288 w 6994525"/>
                  <a:gd name="connsiteY3703" fmla="*/ 642355 h 7571036"/>
                  <a:gd name="connsiteX3704" fmla="*/ 1509494 w 6994525"/>
                  <a:gd name="connsiteY3704" fmla="*/ 656925 h 7571036"/>
                  <a:gd name="connsiteX3705" fmla="*/ 1524288 w 6994525"/>
                  <a:gd name="connsiteY3705" fmla="*/ 671718 h 7571036"/>
                  <a:gd name="connsiteX3706" fmla="*/ 1538837 w 6994525"/>
                  <a:gd name="connsiteY3706" fmla="*/ 656925 h 7571036"/>
                  <a:gd name="connsiteX3707" fmla="*/ 1545738 w 6994525"/>
                  <a:gd name="connsiteY3707" fmla="*/ 785117 h 7571036"/>
                  <a:gd name="connsiteX3708" fmla="*/ 1531684 w 6994525"/>
                  <a:gd name="connsiteY3708" fmla="*/ 771063 h 7571036"/>
                  <a:gd name="connsiteX3709" fmla="*/ 1517630 w 6994525"/>
                  <a:gd name="connsiteY3709" fmla="*/ 785117 h 7571036"/>
                  <a:gd name="connsiteX3710" fmla="*/ 1531684 w 6994525"/>
                  <a:gd name="connsiteY3710" fmla="*/ 799172 h 7571036"/>
                  <a:gd name="connsiteX3711" fmla="*/ 1545738 w 6994525"/>
                  <a:gd name="connsiteY3711" fmla="*/ 785117 h 7571036"/>
                  <a:gd name="connsiteX3712" fmla="*/ 1549437 w 6994525"/>
                  <a:gd name="connsiteY3712" fmla="*/ 5157553 h 7571036"/>
                  <a:gd name="connsiteX3713" fmla="*/ 1544259 w 6994525"/>
                  <a:gd name="connsiteY3713" fmla="*/ 5152375 h 7571036"/>
                  <a:gd name="connsiteX3714" fmla="*/ 1539083 w 6994525"/>
                  <a:gd name="connsiteY3714" fmla="*/ 5157553 h 7571036"/>
                  <a:gd name="connsiteX3715" fmla="*/ 1544259 w 6994525"/>
                  <a:gd name="connsiteY3715" fmla="*/ 5162730 h 7571036"/>
                  <a:gd name="connsiteX3716" fmla="*/ 1549437 w 6994525"/>
                  <a:gd name="connsiteY3716" fmla="*/ 5157553 h 7571036"/>
                  <a:gd name="connsiteX3717" fmla="*/ 1549683 w 6994525"/>
                  <a:gd name="connsiteY3717" fmla="*/ 1340811 h 7571036"/>
                  <a:gd name="connsiteX3718" fmla="*/ 1535629 w 6994525"/>
                  <a:gd name="connsiteY3718" fmla="*/ 1326999 h 7571036"/>
                  <a:gd name="connsiteX3719" fmla="*/ 1521821 w 6994525"/>
                  <a:gd name="connsiteY3719" fmla="*/ 1340811 h 7571036"/>
                  <a:gd name="connsiteX3720" fmla="*/ 1535629 w 6994525"/>
                  <a:gd name="connsiteY3720" fmla="*/ 1354865 h 7571036"/>
                  <a:gd name="connsiteX3721" fmla="*/ 1549683 w 6994525"/>
                  <a:gd name="connsiteY3721" fmla="*/ 1340811 h 7571036"/>
                  <a:gd name="connsiteX3722" fmla="*/ 1549932 w 6994525"/>
                  <a:gd name="connsiteY3722" fmla="*/ 6171472 h 7571036"/>
                  <a:gd name="connsiteX3723" fmla="*/ 1533164 w 6994525"/>
                  <a:gd name="connsiteY3723" fmla="*/ 6154704 h 7571036"/>
                  <a:gd name="connsiteX3724" fmla="*/ 1516398 w 6994525"/>
                  <a:gd name="connsiteY3724" fmla="*/ 6171472 h 7571036"/>
                  <a:gd name="connsiteX3725" fmla="*/ 1533164 w 6994525"/>
                  <a:gd name="connsiteY3725" fmla="*/ 6188238 h 7571036"/>
                  <a:gd name="connsiteX3726" fmla="*/ 1549932 w 6994525"/>
                  <a:gd name="connsiteY3726" fmla="*/ 6171472 h 7571036"/>
                  <a:gd name="connsiteX3727" fmla="*/ 1550178 w 6994525"/>
                  <a:gd name="connsiteY3727" fmla="*/ 4270128 h 7571036"/>
                  <a:gd name="connsiteX3728" fmla="*/ 1504316 w 6994525"/>
                  <a:gd name="connsiteY3728" fmla="*/ 4224263 h 7571036"/>
                  <a:gd name="connsiteX3729" fmla="*/ 1458206 w 6994525"/>
                  <a:gd name="connsiteY3729" fmla="*/ 4270128 h 7571036"/>
                  <a:gd name="connsiteX3730" fmla="*/ 1504316 w 6994525"/>
                  <a:gd name="connsiteY3730" fmla="*/ 4315990 h 7571036"/>
                  <a:gd name="connsiteX3731" fmla="*/ 1550178 w 6994525"/>
                  <a:gd name="connsiteY3731" fmla="*/ 4270128 h 7571036"/>
                  <a:gd name="connsiteX3732" fmla="*/ 1550672 w 6994525"/>
                  <a:gd name="connsiteY3732" fmla="*/ 6299937 h 7571036"/>
                  <a:gd name="connsiteX3733" fmla="*/ 1526261 w 6994525"/>
                  <a:gd name="connsiteY3733" fmla="*/ 6275525 h 7571036"/>
                  <a:gd name="connsiteX3734" fmla="*/ 1501849 w 6994525"/>
                  <a:gd name="connsiteY3734" fmla="*/ 6299937 h 7571036"/>
                  <a:gd name="connsiteX3735" fmla="*/ 1526261 w 6994525"/>
                  <a:gd name="connsiteY3735" fmla="*/ 6324349 h 7571036"/>
                  <a:gd name="connsiteX3736" fmla="*/ 1550672 w 6994525"/>
                  <a:gd name="connsiteY3736" fmla="*/ 6299937 h 7571036"/>
                  <a:gd name="connsiteX3737" fmla="*/ 1551902 w 6994525"/>
                  <a:gd name="connsiteY3737" fmla="*/ 3882017 h 7571036"/>
                  <a:gd name="connsiteX3738" fmla="*/ 1500862 w 6994525"/>
                  <a:gd name="connsiteY3738" fmla="*/ 3830975 h 7571036"/>
                  <a:gd name="connsiteX3739" fmla="*/ 1449821 w 6994525"/>
                  <a:gd name="connsiteY3739" fmla="*/ 3882017 h 7571036"/>
                  <a:gd name="connsiteX3740" fmla="*/ 1500862 w 6994525"/>
                  <a:gd name="connsiteY3740" fmla="*/ 3933056 h 7571036"/>
                  <a:gd name="connsiteX3741" fmla="*/ 1551902 w 6994525"/>
                  <a:gd name="connsiteY3741" fmla="*/ 3882017 h 7571036"/>
                  <a:gd name="connsiteX3742" fmla="*/ 1553383 w 6994525"/>
                  <a:gd name="connsiteY3742" fmla="*/ 914541 h 7571036"/>
                  <a:gd name="connsiteX3743" fmla="*/ 1539081 w 6994525"/>
                  <a:gd name="connsiteY3743" fmla="*/ 900241 h 7571036"/>
                  <a:gd name="connsiteX3744" fmla="*/ 1525026 w 6994525"/>
                  <a:gd name="connsiteY3744" fmla="*/ 914541 h 7571036"/>
                  <a:gd name="connsiteX3745" fmla="*/ 1539081 w 6994525"/>
                  <a:gd name="connsiteY3745" fmla="*/ 928602 h 7571036"/>
                  <a:gd name="connsiteX3746" fmla="*/ 1553383 w 6994525"/>
                  <a:gd name="connsiteY3746" fmla="*/ 914541 h 7571036"/>
                  <a:gd name="connsiteX3747" fmla="*/ 1553874 w 6994525"/>
                  <a:gd name="connsiteY3747" fmla="*/ 5911825 h 7571036"/>
                  <a:gd name="connsiteX3748" fmla="*/ 1549684 w 6994525"/>
                  <a:gd name="connsiteY3748" fmla="*/ 5907389 h 7571036"/>
                  <a:gd name="connsiteX3749" fmla="*/ 1545493 w 6994525"/>
                  <a:gd name="connsiteY3749" fmla="*/ 5911825 h 7571036"/>
                  <a:gd name="connsiteX3750" fmla="*/ 1549684 w 6994525"/>
                  <a:gd name="connsiteY3750" fmla="*/ 5916020 h 7571036"/>
                  <a:gd name="connsiteX3751" fmla="*/ 1553874 w 6994525"/>
                  <a:gd name="connsiteY3751" fmla="*/ 5911825 h 7571036"/>
                  <a:gd name="connsiteX3752" fmla="*/ 1555355 w 6994525"/>
                  <a:gd name="connsiteY3752" fmla="*/ 4618292 h 7571036"/>
                  <a:gd name="connsiteX3753" fmla="*/ 1555109 w 6994525"/>
                  <a:gd name="connsiteY3753" fmla="*/ 4618045 h 7571036"/>
                  <a:gd name="connsiteX3754" fmla="*/ 1555109 w 6994525"/>
                  <a:gd name="connsiteY3754" fmla="*/ 4618292 h 7571036"/>
                  <a:gd name="connsiteX3755" fmla="*/ 1555109 w 6994525"/>
                  <a:gd name="connsiteY3755" fmla="*/ 4618540 h 7571036"/>
                  <a:gd name="connsiteX3756" fmla="*/ 1556343 w 6994525"/>
                  <a:gd name="connsiteY3756" fmla="*/ 7777 h 7571036"/>
                  <a:gd name="connsiteX3757" fmla="*/ 1553134 w 6994525"/>
                  <a:gd name="connsiteY3757" fmla="*/ 0 h 7571036"/>
                  <a:gd name="connsiteX3758" fmla="*/ 1525827 w 6994525"/>
                  <a:gd name="connsiteY3758" fmla="*/ 0 h 7571036"/>
                  <a:gd name="connsiteX3759" fmla="*/ 1522562 w 6994525"/>
                  <a:gd name="connsiteY3759" fmla="*/ 7777 h 7571036"/>
                  <a:gd name="connsiteX3760" fmla="*/ 1539575 w 6994525"/>
                  <a:gd name="connsiteY3760" fmla="*/ 24542 h 7571036"/>
                  <a:gd name="connsiteX3761" fmla="*/ 1556343 w 6994525"/>
                  <a:gd name="connsiteY3761" fmla="*/ 7777 h 7571036"/>
                  <a:gd name="connsiteX3762" fmla="*/ 1557327 w 6994525"/>
                  <a:gd name="connsiteY3762" fmla="*/ 6042266 h 7571036"/>
                  <a:gd name="connsiteX3763" fmla="*/ 1541055 w 6994525"/>
                  <a:gd name="connsiteY3763" fmla="*/ 6025991 h 7571036"/>
                  <a:gd name="connsiteX3764" fmla="*/ 1524780 w 6994525"/>
                  <a:gd name="connsiteY3764" fmla="*/ 6042266 h 7571036"/>
                  <a:gd name="connsiteX3765" fmla="*/ 1541055 w 6994525"/>
                  <a:gd name="connsiteY3765" fmla="*/ 6058293 h 7571036"/>
                  <a:gd name="connsiteX3766" fmla="*/ 1557327 w 6994525"/>
                  <a:gd name="connsiteY3766" fmla="*/ 6042266 h 7571036"/>
                  <a:gd name="connsiteX3767" fmla="*/ 1559795 w 6994525"/>
                  <a:gd name="connsiteY3767" fmla="*/ 130541 h 7571036"/>
                  <a:gd name="connsiteX3768" fmla="*/ 1543274 w 6994525"/>
                  <a:gd name="connsiteY3768" fmla="*/ 114021 h 7571036"/>
                  <a:gd name="connsiteX3769" fmla="*/ 1526753 w 6994525"/>
                  <a:gd name="connsiteY3769" fmla="*/ 130541 h 7571036"/>
                  <a:gd name="connsiteX3770" fmla="*/ 1543274 w 6994525"/>
                  <a:gd name="connsiteY3770" fmla="*/ 147059 h 7571036"/>
                  <a:gd name="connsiteX3771" fmla="*/ 1559795 w 6994525"/>
                  <a:gd name="connsiteY3771" fmla="*/ 130541 h 7571036"/>
                  <a:gd name="connsiteX3772" fmla="*/ 1560040 w 6994525"/>
                  <a:gd name="connsiteY3772" fmla="*/ 2138127 h 7571036"/>
                  <a:gd name="connsiteX3773" fmla="*/ 1554123 w 6994525"/>
                  <a:gd name="connsiteY3773" fmla="*/ 2132212 h 7571036"/>
                  <a:gd name="connsiteX3774" fmla="*/ 1548452 w 6994525"/>
                  <a:gd name="connsiteY3774" fmla="*/ 2138127 h 7571036"/>
                  <a:gd name="connsiteX3775" fmla="*/ 1554123 w 6994525"/>
                  <a:gd name="connsiteY3775" fmla="*/ 2144047 h 7571036"/>
                  <a:gd name="connsiteX3776" fmla="*/ 1560040 w 6994525"/>
                  <a:gd name="connsiteY3776" fmla="*/ 2138127 h 7571036"/>
                  <a:gd name="connsiteX3777" fmla="*/ 1561027 w 6994525"/>
                  <a:gd name="connsiteY3777" fmla="*/ 2963146 h 7571036"/>
                  <a:gd name="connsiteX3778" fmla="*/ 1526506 w 6994525"/>
                  <a:gd name="connsiteY3778" fmla="*/ 2928870 h 7571036"/>
                  <a:gd name="connsiteX3779" fmla="*/ 1492232 w 6994525"/>
                  <a:gd name="connsiteY3779" fmla="*/ 2963146 h 7571036"/>
                  <a:gd name="connsiteX3780" fmla="*/ 1526506 w 6994525"/>
                  <a:gd name="connsiteY3780" fmla="*/ 2997422 h 7571036"/>
                  <a:gd name="connsiteX3781" fmla="*/ 1561027 w 6994525"/>
                  <a:gd name="connsiteY3781" fmla="*/ 2963146 h 7571036"/>
                  <a:gd name="connsiteX3782" fmla="*/ 1562012 w 6994525"/>
                  <a:gd name="connsiteY3782" fmla="*/ 1045215 h 7571036"/>
                  <a:gd name="connsiteX3783" fmla="*/ 1547957 w 6994525"/>
                  <a:gd name="connsiteY3783" fmla="*/ 1031153 h 7571036"/>
                  <a:gd name="connsiteX3784" fmla="*/ 1533903 w 6994525"/>
                  <a:gd name="connsiteY3784" fmla="*/ 1045215 h 7571036"/>
                  <a:gd name="connsiteX3785" fmla="*/ 1547957 w 6994525"/>
                  <a:gd name="connsiteY3785" fmla="*/ 1059263 h 7571036"/>
                  <a:gd name="connsiteX3786" fmla="*/ 1562012 w 6994525"/>
                  <a:gd name="connsiteY3786" fmla="*/ 1045215 h 7571036"/>
                  <a:gd name="connsiteX3787" fmla="*/ 1564727 w 6994525"/>
                  <a:gd name="connsiteY3787" fmla="*/ 1476903 h 7571036"/>
                  <a:gd name="connsiteX3788" fmla="*/ 1549193 w 6994525"/>
                  <a:gd name="connsiteY3788" fmla="*/ 1461371 h 7571036"/>
                  <a:gd name="connsiteX3789" fmla="*/ 1533657 w 6994525"/>
                  <a:gd name="connsiteY3789" fmla="*/ 1476903 h 7571036"/>
                  <a:gd name="connsiteX3790" fmla="*/ 1549193 w 6994525"/>
                  <a:gd name="connsiteY3790" fmla="*/ 1492441 h 7571036"/>
                  <a:gd name="connsiteX3791" fmla="*/ 1564727 w 6994525"/>
                  <a:gd name="connsiteY3791" fmla="*/ 1476903 h 7571036"/>
                  <a:gd name="connsiteX3792" fmla="*/ 1568177 w 6994525"/>
                  <a:gd name="connsiteY3792" fmla="*/ 2581695 h 7571036"/>
                  <a:gd name="connsiteX3793" fmla="*/ 1548943 w 6994525"/>
                  <a:gd name="connsiteY3793" fmla="*/ 2562459 h 7571036"/>
                  <a:gd name="connsiteX3794" fmla="*/ 1529712 w 6994525"/>
                  <a:gd name="connsiteY3794" fmla="*/ 2581695 h 7571036"/>
                  <a:gd name="connsiteX3795" fmla="*/ 1548943 w 6994525"/>
                  <a:gd name="connsiteY3795" fmla="*/ 2600927 h 7571036"/>
                  <a:gd name="connsiteX3796" fmla="*/ 1568177 w 6994525"/>
                  <a:gd name="connsiteY3796" fmla="*/ 2581695 h 7571036"/>
                  <a:gd name="connsiteX3797" fmla="*/ 1569163 w 6994525"/>
                  <a:gd name="connsiteY3797" fmla="*/ 4105907 h 7571036"/>
                  <a:gd name="connsiteX3798" fmla="*/ 1560037 w 6994525"/>
                  <a:gd name="connsiteY3798" fmla="*/ 4096536 h 7571036"/>
                  <a:gd name="connsiteX3799" fmla="*/ 1550669 w 6994525"/>
                  <a:gd name="connsiteY3799" fmla="*/ 4105907 h 7571036"/>
                  <a:gd name="connsiteX3800" fmla="*/ 1560037 w 6994525"/>
                  <a:gd name="connsiteY3800" fmla="*/ 4115031 h 7571036"/>
                  <a:gd name="connsiteX3801" fmla="*/ 1569163 w 6994525"/>
                  <a:gd name="connsiteY3801" fmla="*/ 4105907 h 7571036"/>
                  <a:gd name="connsiteX3802" fmla="*/ 1569167 w 6994525"/>
                  <a:gd name="connsiteY3802" fmla="*/ 5013553 h 7571036"/>
                  <a:gd name="connsiteX3803" fmla="*/ 1565221 w 6994525"/>
                  <a:gd name="connsiteY3803" fmla="*/ 5009853 h 7571036"/>
                  <a:gd name="connsiteX3804" fmla="*/ 1561522 w 6994525"/>
                  <a:gd name="connsiteY3804" fmla="*/ 5013553 h 7571036"/>
                  <a:gd name="connsiteX3805" fmla="*/ 1565221 w 6994525"/>
                  <a:gd name="connsiteY3805" fmla="*/ 5017252 h 7571036"/>
                  <a:gd name="connsiteX3806" fmla="*/ 1569167 w 6994525"/>
                  <a:gd name="connsiteY3806" fmla="*/ 5013553 h 7571036"/>
                  <a:gd name="connsiteX3807" fmla="*/ 1574839 w 6994525"/>
                  <a:gd name="connsiteY3807" fmla="*/ 1615219 h 7571036"/>
                  <a:gd name="connsiteX3808" fmla="*/ 1564235 w 6994525"/>
                  <a:gd name="connsiteY3808" fmla="*/ 1604613 h 7571036"/>
                  <a:gd name="connsiteX3809" fmla="*/ 1553631 w 6994525"/>
                  <a:gd name="connsiteY3809" fmla="*/ 1615219 h 7571036"/>
                  <a:gd name="connsiteX3810" fmla="*/ 1564235 w 6994525"/>
                  <a:gd name="connsiteY3810" fmla="*/ 1625820 h 7571036"/>
                  <a:gd name="connsiteX3811" fmla="*/ 1574839 w 6994525"/>
                  <a:gd name="connsiteY3811" fmla="*/ 1615219 h 7571036"/>
                  <a:gd name="connsiteX3812" fmla="*/ 1576808 w 6994525"/>
                  <a:gd name="connsiteY3812" fmla="*/ 3994702 h 7571036"/>
                  <a:gd name="connsiteX3813" fmla="*/ 1527246 w 6994525"/>
                  <a:gd name="connsiteY3813" fmla="*/ 3945141 h 7571036"/>
                  <a:gd name="connsiteX3814" fmla="*/ 1477686 w 6994525"/>
                  <a:gd name="connsiteY3814" fmla="*/ 3994702 h 7571036"/>
                  <a:gd name="connsiteX3815" fmla="*/ 1527246 w 6994525"/>
                  <a:gd name="connsiteY3815" fmla="*/ 4044265 h 7571036"/>
                  <a:gd name="connsiteX3816" fmla="*/ 1576808 w 6994525"/>
                  <a:gd name="connsiteY3816" fmla="*/ 3994702 h 7571036"/>
                  <a:gd name="connsiteX3817" fmla="*/ 1586180 w 6994525"/>
                  <a:gd name="connsiteY3817" fmla="*/ 3479110 h 7571036"/>
                  <a:gd name="connsiteX3818" fmla="*/ 1568918 w 6994525"/>
                  <a:gd name="connsiteY3818" fmla="*/ 3461969 h 7571036"/>
                  <a:gd name="connsiteX3819" fmla="*/ 1551659 w 6994525"/>
                  <a:gd name="connsiteY3819" fmla="*/ 3479110 h 7571036"/>
                  <a:gd name="connsiteX3820" fmla="*/ 1568918 w 6994525"/>
                  <a:gd name="connsiteY3820" fmla="*/ 3496372 h 7571036"/>
                  <a:gd name="connsiteX3821" fmla="*/ 1586180 w 6994525"/>
                  <a:gd name="connsiteY3821" fmla="*/ 3479110 h 7571036"/>
                  <a:gd name="connsiteX3822" fmla="*/ 1586917 w 6994525"/>
                  <a:gd name="connsiteY3822" fmla="*/ 2289749 h 7571036"/>
                  <a:gd name="connsiteX3823" fmla="*/ 1583958 w 6994525"/>
                  <a:gd name="connsiteY3823" fmla="*/ 2286803 h 7571036"/>
                  <a:gd name="connsiteX3824" fmla="*/ 1580999 w 6994525"/>
                  <a:gd name="connsiteY3824" fmla="*/ 2289749 h 7571036"/>
                  <a:gd name="connsiteX3825" fmla="*/ 1583958 w 6994525"/>
                  <a:gd name="connsiteY3825" fmla="*/ 2292719 h 7571036"/>
                  <a:gd name="connsiteX3826" fmla="*/ 1586917 w 6994525"/>
                  <a:gd name="connsiteY3826" fmla="*/ 2289749 h 7571036"/>
                  <a:gd name="connsiteX3827" fmla="*/ 1587409 w 6994525"/>
                  <a:gd name="connsiteY3827" fmla="*/ 3595001 h 7571036"/>
                  <a:gd name="connsiteX3828" fmla="*/ 1572368 w 6994525"/>
                  <a:gd name="connsiteY3828" fmla="*/ 3579960 h 7571036"/>
                  <a:gd name="connsiteX3829" fmla="*/ 1557574 w 6994525"/>
                  <a:gd name="connsiteY3829" fmla="*/ 3595001 h 7571036"/>
                  <a:gd name="connsiteX3830" fmla="*/ 1572368 w 6994525"/>
                  <a:gd name="connsiteY3830" fmla="*/ 3610043 h 7571036"/>
                  <a:gd name="connsiteX3831" fmla="*/ 1587409 w 6994525"/>
                  <a:gd name="connsiteY3831" fmla="*/ 3595001 h 7571036"/>
                  <a:gd name="connsiteX3832" fmla="*/ 1590617 w 6994525"/>
                  <a:gd name="connsiteY3832" fmla="*/ 1756259 h 7571036"/>
                  <a:gd name="connsiteX3833" fmla="*/ 1581000 w 6994525"/>
                  <a:gd name="connsiteY3833" fmla="*/ 1746631 h 7571036"/>
                  <a:gd name="connsiteX3834" fmla="*/ 1571382 w 6994525"/>
                  <a:gd name="connsiteY3834" fmla="*/ 1756259 h 7571036"/>
                  <a:gd name="connsiteX3835" fmla="*/ 1581000 w 6994525"/>
                  <a:gd name="connsiteY3835" fmla="*/ 1765885 h 7571036"/>
                  <a:gd name="connsiteX3836" fmla="*/ 1590617 w 6994525"/>
                  <a:gd name="connsiteY3836" fmla="*/ 1756259 h 7571036"/>
                  <a:gd name="connsiteX3837" fmla="*/ 1591358 w 6994525"/>
                  <a:gd name="connsiteY3837" fmla="*/ 3363327 h 7571036"/>
                  <a:gd name="connsiteX3838" fmla="*/ 1572126 w 6994525"/>
                  <a:gd name="connsiteY3838" fmla="*/ 3344097 h 7571036"/>
                  <a:gd name="connsiteX3839" fmla="*/ 1552891 w 6994525"/>
                  <a:gd name="connsiteY3839" fmla="*/ 3363327 h 7571036"/>
                  <a:gd name="connsiteX3840" fmla="*/ 1572126 w 6994525"/>
                  <a:gd name="connsiteY3840" fmla="*/ 3382559 h 7571036"/>
                  <a:gd name="connsiteX3841" fmla="*/ 1591358 w 6994525"/>
                  <a:gd name="connsiteY3841" fmla="*/ 3363327 h 7571036"/>
                  <a:gd name="connsiteX3842" fmla="*/ 1591602 w 6994525"/>
                  <a:gd name="connsiteY3842" fmla="*/ 2851937 h 7571036"/>
                  <a:gd name="connsiteX3843" fmla="*/ 1559055 w 6994525"/>
                  <a:gd name="connsiteY3843" fmla="*/ 2819142 h 7571036"/>
                  <a:gd name="connsiteX3844" fmla="*/ 1526261 w 6994525"/>
                  <a:gd name="connsiteY3844" fmla="*/ 2851937 h 7571036"/>
                  <a:gd name="connsiteX3845" fmla="*/ 1559055 w 6994525"/>
                  <a:gd name="connsiteY3845" fmla="*/ 2884734 h 7571036"/>
                  <a:gd name="connsiteX3846" fmla="*/ 1591602 w 6994525"/>
                  <a:gd name="connsiteY3846" fmla="*/ 2851937 h 7571036"/>
                  <a:gd name="connsiteX3847" fmla="*/ 1593329 w 6994525"/>
                  <a:gd name="connsiteY3847" fmla="*/ 7099088 h 7571036"/>
                  <a:gd name="connsiteX3848" fmla="*/ 1590121 w 6994525"/>
                  <a:gd name="connsiteY3848" fmla="*/ 7095883 h 7571036"/>
                  <a:gd name="connsiteX3849" fmla="*/ 1586671 w 6994525"/>
                  <a:gd name="connsiteY3849" fmla="*/ 7099088 h 7571036"/>
                  <a:gd name="connsiteX3850" fmla="*/ 1590121 w 6994525"/>
                  <a:gd name="connsiteY3850" fmla="*/ 7102293 h 7571036"/>
                  <a:gd name="connsiteX3851" fmla="*/ 1593329 w 6994525"/>
                  <a:gd name="connsiteY3851" fmla="*/ 7099088 h 7571036"/>
                  <a:gd name="connsiteX3852" fmla="*/ 1593575 w 6994525"/>
                  <a:gd name="connsiteY3852" fmla="*/ 5519279 h 7571036"/>
                  <a:gd name="connsiteX3853" fmla="*/ 1592590 w 6994525"/>
                  <a:gd name="connsiteY3853" fmla="*/ 5518293 h 7571036"/>
                  <a:gd name="connsiteX3854" fmla="*/ 1591603 w 6994525"/>
                  <a:gd name="connsiteY3854" fmla="*/ 5519279 h 7571036"/>
                  <a:gd name="connsiteX3855" fmla="*/ 1592590 w 6994525"/>
                  <a:gd name="connsiteY3855" fmla="*/ 5520265 h 7571036"/>
                  <a:gd name="connsiteX3856" fmla="*/ 1593575 w 6994525"/>
                  <a:gd name="connsiteY3856" fmla="*/ 5519279 h 7571036"/>
                  <a:gd name="connsiteX3857" fmla="*/ 1594562 w 6994525"/>
                  <a:gd name="connsiteY3857" fmla="*/ 5787554 h 7571036"/>
                  <a:gd name="connsiteX3858" fmla="*/ 1568918 w 6994525"/>
                  <a:gd name="connsiteY3858" fmla="*/ 5761910 h 7571036"/>
                  <a:gd name="connsiteX3859" fmla="*/ 1543274 w 6994525"/>
                  <a:gd name="connsiteY3859" fmla="*/ 5787554 h 7571036"/>
                  <a:gd name="connsiteX3860" fmla="*/ 1568918 w 6994525"/>
                  <a:gd name="connsiteY3860" fmla="*/ 5813198 h 7571036"/>
                  <a:gd name="connsiteX3861" fmla="*/ 1594562 w 6994525"/>
                  <a:gd name="connsiteY3861" fmla="*/ 5787554 h 7571036"/>
                  <a:gd name="connsiteX3862" fmla="*/ 1595056 w 6994525"/>
                  <a:gd name="connsiteY3862" fmla="*/ 4376400 h 7571036"/>
                  <a:gd name="connsiteX3863" fmla="*/ 1550178 w 6994525"/>
                  <a:gd name="connsiteY3863" fmla="*/ 4331522 h 7571036"/>
                  <a:gd name="connsiteX3864" fmla="*/ 1505303 w 6994525"/>
                  <a:gd name="connsiteY3864" fmla="*/ 4376400 h 7571036"/>
                  <a:gd name="connsiteX3865" fmla="*/ 1550178 w 6994525"/>
                  <a:gd name="connsiteY3865" fmla="*/ 4421275 h 7571036"/>
                  <a:gd name="connsiteX3866" fmla="*/ 1595056 w 6994525"/>
                  <a:gd name="connsiteY3866" fmla="*/ 4376400 h 7571036"/>
                  <a:gd name="connsiteX3867" fmla="*/ 1595549 w 6994525"/>
                  <a:gd name="connsiteY3867" fmla="*/ 3710647 h 7571036"/>
                  <a:gd name="connsiteX3868" fmla="*/ 1582975 w 6994525"/>
                  <a:gd name="connsiteY3868" fmla="*/ 3698071 h 7571036"/>
                  <a:gd name="connsiteX3869" fmla="*/ 1570399 w 6994525"/>
                  <a:gd name="connsiteY3869" fmla="*/ 3710647 h 7571036"/>
                  <a:gd name="connsiteX3870" fmla="*/ 1582975 w 6994525"/>
                  <a:gd name="connsiteY3870" fmla="*/ 3723220 h 7571036"/>
                  <a:gd name="connsiteX3871" fmla="*/ 1595549 w 6994525"/>
                  <a:gd name="connsiteY3871" fmla="*/ 3710647 h 7571036"/>
                  <a:gd name="connsiteX3872" fmla="*/ 1596533 w 6994525"/>
                  <a:gd name="connsiteY3872" fmla="*/ 6977528 h 7571036"/>
                  <a:gd name="connsiteX3873" fmla="*/ 1593080 w 6994525"/>
                  <a:gd name="connsiteY3873" fmla="*/ 6974076 h 7571036"/>
                  <a:gd name="connsiteX3874" fmla="*/ 1589630 w 6994525"/>
                  <a:gd name="connsiteY3874" fmla="*/ 6977528 h 7571036"/>
                  <a:gd name="connsiteX3875" fmla="*/ 1593080 w 6994525"/>
                  <a:gd name="connsiteY3875" fmla="*/ 6980981 h 7571036"/>
                  <a:gd name="connsiteX3876" fmla="*/ 1596533 w 6994525"/>
                  <a:gd name="connsiteY3876" fmla="*/ 6977528 h 7571036"/>
                  <a:gd name="connsiteX3877" fmla="*/ 1598261 w 6994525"/>
                  <a:gd name="connsiteY3877" fmla="*/ 6855226 h 7571036"/>
                  <a:gd name="connsiteX3878" fmla="*/ 1596288 w 6994525"/>
                  <a:gd name="connsiteY3878" fmla="*/ 6853253 h 7571036"/>
                  <a:gd name="connsiteX3879" fmla="*/ 1594315 w 6994525"/>
                  <a:gd name="connsiteY3879" fmla="*/ 6855226 h 7571036"/>
                  <a:gd name="connsiteX3880" fmla="*/ 1596288 w 6994525"/>
                  <a:gd name="connsiteY3880" fmla="*/ 6857198 h 7571036"/>
                  <a:gd name="connsiteX3881" fmla="*/ 1598261 w 6994525"/>
                  <a:gd name="connsiteY3881" fmla="*/ 6855226 h 7571036"/>
                  <a:gd name="connsiteX3882" fmla="*/ 1602700 w 6994525"/>
                  <a:gd name="connsiteY3882" fmla="*/ 1898999 h 7571036"/>
                  <a:gd name="connsiteX3883" fmla="*/ 1600479 w 6994525"/>
                  <a:gd name="connsiteY3883" fmla="*/ 1896783 h 7571036"/>
                  <a:gd name="connsiteX3884" fmla="*/ 1598261 w 6994525"/>
                  <a:gd name="connsiteY3884" fmla="*/ 1898999 h 7571036"/>
                  <a:gd name="connsiteX3885" fmla="*/ 1600479 w 6994525"/>
                  <a:gd name="connsiteY3885" fmla="*/ 1901219 h 7571036"/>
                  <a:gd name="connsiteX3886" fmla="*/ 1602700 w 6994525"/>
                  <a:gd name="connsiteY3886" fmla="*/ 1898999 h 7571036"/>
                  <a:gd name="connsiteX3887" fmla="*/ 1603932 w 6994525"/>
                  <a:gd name="connsiteY3887" fmla="*/ 3247693 h 7571036"/>
                  <a:gd name="connsiteX3888" fmla="*/ 1582480 w 6994525"/>
                  <a:gd name="connsiteY3888" fmla="*/ 3226239 h 7571036"/>
                  <a:gd name="connsiteX3889" fmla="*/ 1561027 w 6994525"/>
                  <a:gd name="connsiteY3889" fmla="*/ 3247693 h 7571036"/>
                  <a:gd name="connsiteX3890" fmla="*/ 1582480 w 6994525"/>
                  <a:gd name="connsiteY3890" fmla="*/ 3269137 h 7571036"/>
                  <a:gd name="connsiteX3891" fmla="*/ 1603932 w 6994525"/>
                  <a:gd name="connsiteY3891" fmla="*/ 3247693 h 7571036"/>
                  <a:gd name="connsiteX3892" fmla="*/ 1604424 w 6994525"/>
                  <a:gd name="connsiteY3892" fmla="*/ 4866594 h 7571036"/>
                  <a:gd name="connsiteX3893" fmla="*/ 1589381 w 6994525"/>
                  <a:gd name="connsiteY3893" fmla="*/ 4851553 h 7571036"/>
                  <a:gd name="connsiteX3894" fmla="*/ 1574341 w 6994525"/>
                  <a:gd name="connsiteY3894" fmla="*/ 4866594 h 7571036"/>
                  <a:gd name="connsiteX3895" fmla="*/ 1589381 w 6994525"/>
                  <a:gd name="connsiteY3895" fmla="*/ 4881637 h 7571036"/>
                  <a:gd name="connsiteX3896" fmla="*/ 1604424 w 6994525"/>
                  <a:gd name="connsiteY3896" fmla="*/ 4866594 h 7571036"/>
                  <a:gd name="connsiteX3897" fmla="*/ 1607875 w 6994525"/>
                  <a:gd name="connsiteY3897" fmla="*/ 4214893 h 7571036"/>
                  <a:gd name="connsiteX3898" fmla="*/ 1598999 w 6994525"/>
                  <a:gd name="connsiteY3898" fmla="*/ 4206016 h 7571036"/>
                  <a:gd name="connsiteX3899" fmla="*/ 1590122 w 6994525"/>
                  <a:gd name="connsiteY3899" fmla="*/ 4214893 h 7571036"/>
                  <a:gd name="connsiteX3900" fmla="*/ 1598999 w 6994525"/>
                  <a:gd name="connsiteY3900" fmla="*/ 4223769 h 7571036"/>
                  <a:gd name="connsiteX3901" fmla="*/ 1607875 w 6994525"/>
                  <a:gd name="connsiteY3901" fmla="*/ 4214893 h 7571036"/>
                  <a:gd name="connsiteX3902" fmla="*/ 1608124 w 6994525"/>
                  <a:gd name="connsiteY3902" fmla="*/ 5654401 h 7571036"/>
                  <a:gd name="connsiteX3903" fmla="*/ 1580013 w 6994525"/>
                  <a:gd name="connsiteY3903" fmla="*/ 5626292 h 7571036"/>
                  <a:gd name="connsiteX3904" fmla="*/ 1551905 w 6994525"/>
                  <a:gd name="connsiteY3904" fmla="*/ 5654401 h 7571036"/>
                  <a:gd name="connsiteX3905" fmla="*/ 1580013 w 6994525"/>
                  <a:gd name="connsiteY3905" fmla="*/ 5682512 h 7571036"/>
                  <a:gd name="connsiteX3906" fmla="*/ 1608124 w 6994525"/>
                  <a:gd name="connsiteY3906" fmla="*/ 5654401 h 7571036"/>
                  <a:gd name="connsiteX3907" fmla="*/ 1610096 w 6994525"/>
                  <a:gd name="connsiteY3907" fmla="*/ 5382430 h 7571036"/>
                  <a:gd name="connsiteX3908" fmla="*/ 1606151 w 6994525"/>
                  <a:gd name="connsiteY3908" fmla="*/ 5378485 h 7571036"/>
                  <a:gd name="connsiteX3909" fmla="*/ 1602206 w 6994525"/>
                  <a:gd name="connsiteY3909" fmla="*/ 5382430 h 7571036"/>
                  <a:gd name="connsiteX3910" fmla="*/ 1606151 w 6994525"/>
                  <a:gd name="connsiteY3910" fmla="*/ 5386375 h 7571036"/>
                  <a:gd name="connsiteX3911" fmla="*/ 1610096 w 6994525"/>
                  <a:gd name="connsiteY3911" fmla="*/ 5382430 h 7571036"/>
                  <a:gd name="connsiteX3912" fmla="*/ 1610834 w 6994525"/>
                  <a:gd name="connsiteY3912" fmla="*/ 3825302 h 7571036"/>
                  <a:gd name="connsiteX3913" fmla="*/ 1600477 w 6994525"/>
                  <a:gd name="connsiteY3913" fmla="*/ 3814947 h 7571036"/>
                  <a:gd name="connsiteX3914" fmla="*/ 1590122 w 6994525"/>
                  <a:gd name="connsiteY3914" fmla="*/ 3825302 h 7571036"/>
                  <a:gd name="connsiteX3915" fmla="*/ 1600477 w 6994525"/>
                  <a:gd name="connsiteY3915" fmla="*/ 3835659 h 7571036"/>
                  <a:gd name="connsiteX3916" fmla="*/ 1610834 w 6994525"/>
                  <a:gd name="connsiteY3916" fmla="*/ 3825302 h 7571036"/>
                  <a:gd name="connsiteX3917" fmla="*/ 1611823 w 6994525"/>
                  <a:gd name="connsiteY3917" fmla="*/ 6737609 h 7571036"/>
                  <a:gd name="connsiteX3918" fmla="*/ 1608615 w 6994525"/>
                  <a:gd name="connsiteY3918" fmla="*/ 6734404 h 7571036"/>
                  <a:gd name="connsiteX3919" fmla="*/ 1605411 w 6994525"/>
                  <a:gd name="connsiteY3919" fmla="*/ 6737609 h 7571036"/>
                  <a:gd name="connsiteX3920" fmla="*/ 1608615 w 6994525"/>
                  <a:gd name="connsiteY3920" fmla="*/ 6740568 h 7571036"/>
                  <a:gd name="connsiteX3921" fmla="*/ 1611823 w 6994525"/>
                  <a:gd name="connsiteY3921" fmla="*/ 6737609 h 7571036"/>
                  <a:gd name="connsiteX3922" fmla="*/ 1614782 w 6994525"/>
                  <a:gd name="connsiteY3922" fmla="*/ 2477885 h 7571036"/>
                  <a:gd name="connsiteX3923" fmla="*/ 1600234 w 6994525"/>
                  <a:gd name="connsiteY3923" fmla="*/ 2463334 h 7571036"/>
                  <a:gd name="connsiteX3924" fmla="*/ 1585685 w 6994525"/>
                  <a:gd name="connsiteY3924" fmla="*/ 2477885 h 7571036"/>
                  <a:gd name="connsiteX3925" fmla="*/ 1600234 w 6994525"/>
                  <a:gd name="connsiteY3925" fmla="*/ 2492431 h 7571036"/>
                  <a:gd name="connsiteX3926" fmla="*/ 1614782 w 6994525"/>
                  <a:gd name="connsiteY3926" fmla="*/ 2477885 h 7571036"/>
                  <a:gd name="connsiteX3927" fmla="*/ 1616014 w 6994525"/>
                  <a:gd name="connsiteY3927" fmla="*/ 6614322 h 7571036"/>
                  <a:gd name="connsiteX3928" fmla="*/ 1612810 w 6994525"/>
                  <a:gd name="connsiteY3928" fmla="*/ 6611363 h 7571036"/>
                  <a:gd name="connsiteX3929" fmla="*/ 1609851 w 6994525"/>
                  <a:gd name="connsiteY3929" fmla="*/ 6614322 h 7571036"/>
                  <a:gd name="connsiteX3930" fmla="*/ 1612810 w 6994525"/>
                  <a:gd name="connsiteY3930" fmla="*/ 6617281 h 7571036"/>
                  <a:gd name="connsiteX3931" fmla="*/ 1616014 w 6994525"/>
                  <a:gd name="connsiteY3931" fmla="*/ 6614322 h 7571036"/>
                  <a:gd name="connsiteX3932" fmla="*/ 1617742 w 6994525"/>
                  <a:gd name="connsiteY3932" fmla="*/ 4716924 h 7571036"/>
                  <a:gd name="connsiteX3933" fmla="*/ 1617246 w 6994525"/>
                  <a:gd name="connsiteY3933" fmla="*/ 4716429 h 7571036"/>
                  <a:gd name="connsiteX3934" fmla="*/ 1616755 w 6994525"/>
                  <a:gd name="connsiteY3934" fmla="*/ 4716924 h 7571036"/>
                  <a:gd name="connsiteX3935" fmla="*/ 1617246 w 6994525"/>
                  <a:gd name="connsiteY3935" fmla="*/ 4717416 h 7571036"/>
                  <a:gd name="connsiteX3936" fmla="*/ 1617742 w 6994525"/>
                  <a:gd name="connsiteY3936" fmla="*/ 4716924 h 7571036"/>
                  <a:gd name="connsiteX3937" fmla="*/ 1619217 w 6994525"/>
                  <a:gd name="connsiteY3937" fmla="*/ 6489803 h 7571036"/>
                  <a:gd name="connsiteX3938" fmla="*/ 1617493 w 6994525"/>
                  <a:gd name="connsiteY3938" fmla="*/ 6488075 h 7571036"/>
                  <a:gd name="connsiteX3939" fmla="*/ 1615766 w 6994525"/>
                  <a:gd name="connsiteY3939" fmla="*/ 6489803 h 7571036"/>
                  <a:gd name="connsiteX3940" fmla="*/ 1617493 w 6994525"/>
                  <a:gd name="connsiteY3940" fmla="*/ 6491526 h 7571036"/>
                  <a:gd name="connsiteX3941" fmla="*/ 1619217 w 6994525"/>
                  <a:gd name="connsiteY3941" fmla="*/ 6489803 h 7571036"/>
                  <a:gd name="connsiteX3942" fmla="*/ 1622670 w 6994525"/>
                  <a:gd name="connsiteY3942" fmla="*/ 219526 h 7571036"/>
                  <a:gd name="connsiteX3943" fmla="*/ 1605902 w 6994525"/>
                  <a:gd name="connsiteY3943" fmla="*/ 202761 h 7571036"/>
                  <a:gd name="connsiteX3944" fmla="*/ 1589136 w 6994525"/>
                  <a:gd name="connsiteY3944" fmla="*/ 219526 h 7571036"/>
                  <a:gd name="connsiteX3945" fmla="*/ 1605902 w 6994525"/>
                  <a:gd name="connsiteY3945" fmla="*/ 236293 h 7571036"/>
                  <a:gd name="connsiteX3946" fmla="*/ 1622670 w 6994525"/>
                  <a:gd name="connsiteY3946" fmla="*/ 219526 h 7571036"/>
                  <a:gd name="connsiteX3947" fmla="*/ 1623167 w 6994525"/>
                  <a:gd name="connsiteY3947" fmla="*/ 3133029 h 7571036"/>
                  <a:gd name="connsiteX3948" fmla="*/ 1599742 w 6994525"/>
                  <a:gd name="connsiteY3948" fmla="*/ 3109603 h 7571036"/>
                  <a:gd name="connsiteX3949" fmla="*/ 1576317 w 6994525"/>
                  <a:gd name="connsiteY3949" fmla="*/ 3133029 h 7571036"/>
                  <a:gd name="connsiteX3950" fmla="*/ 1599742 w 6994525"/>
                  <a:gd name="connsiteY3950" fmla="*/ 3156455 h 7571036"/>
                  <a:gd name="connsiteX3951" fmla="*/ 1623167 w 6994525"/>
                  <a:gd name="connsiteY3951" fmla="*/ 3133029 h 7571036"/>
                  <a:gd name="connsiteX3952" fmla="*/ 1626124 w 6994525"/>
                  <a:gd name="connsiteY3952" fmla="*/ 2043914 h 7571036"/>
                  <a:gd name="connsiteX3953" fmla="*/ 1622673 w 6994525"/>
                  <a:gd name="connsiteY3953" fmla="*/ 2040463 h 7571036"/>
                  <a:gd name="connsiteX3954" fmla="*/ 1618974 w 6994525"/>
                  <a:gd name="connsiteY3954" fmla="*/ 2043914 h 7571036"/>
                  <a:gd name="connsiteX3955" fmla="*/ 1622673 w 6994525"/>
                  <a:gd name="connsiteY3955" fmla="*/ 2047615 h 7571036"/>
                  <a:gd name="connsiteX3956" fmla="*/ 1626124 w 6994525"/>
                  <a:gd name="connsiteY3956" fmla="*/ 2043914 h 7571036"/>
                  <a:gd name="connsiteX3957" fmla="*/ 1626369 w 6994525"/>
                  <a:gd name="connsiteY3957" fmla="*/ 5243607 h 7571036"/>
                  <a:gd name="connsiteX3958" fmla="*/ 1622178 w 6994525"/>
                  <a:gd name="connsiteY3958" fmla="*/ 5239415 h 7571036"/>
                  <a:gd name="connsiteX3959" fmla="*/ 1617987 w 6994525"/>
                  <a:gd name="connsiteY3959" fmla="*/ 5243607 h 7571036"/>
                  <a:gd name="connsiteX3960" fmla="*/ 1622178 w 6994525"/>
                  <a:gd name="connsiteY3960" fmla="*/ 5247798 h 7571036"/>
                  <a:gd name="connsiteX3961" fmla="*/ 1626369 w 6994525"/>
                  <a:gd name="connsiteY3961" fmla="*/ 5243607 h 7571036"/>
                  <a:gd name="connsiteX3962" fmla="*/ 1626615 w 6994525"/>
                  <a:gd name="connsiteY3962" fmla="*/ 1132232 h 7571036"/>
                  <a:gd name="connsiteX3963" fmla="*/ 1612561 w 6994525"/>
                  <a:gd name="connsiteY3963" fmla="*/ 1118171 h 7571036"/>
                  <a:gd name="connsiteX3964" fmla="*/ 1598507 w 6994525"/>
                  <a:gd name="connsiteY3964" fmla="*/ 1132232 h 7571036"/>
                  <a:gd name="connsiteX3965" fmla="*/ 1612561 w 6994525"/>
                  <a:gd name="connsiteY3965" fmla="*/ 1146287 h 7571036"/>
                  <a:gd name="connsiteX3966" fmla="*/ 1626615 w 6994525"/>
                  <a:gd name="connsiteY3966" fmla="*/ 1132232 h 7571036"/>
                  <a:gd name="connsiteX3967" fmla="*/ 1626861 w 6994525"/>
                  <a:gd name="connsiteY3967" fmla="*/ 342539 h 7571036"/>
                  <a:gd name="connsiteX3968" fmla="*/ 1610342 w 6994525"/>
                  <a:gd name="connsiteY3968" fmla="*/ 326018 h 7571036"/>
                  <a:gd name="connsiteX3969" fmla="*/ 1593821 w 6994525"/>
                  <a:gd name="connsiteY3969" fmla="*/ 342539 h 7571036"/>
                  <a:gd name="connsiteX3970" fmla="*/ 1610342 w 6994525"/>
                  <a:gd name="connsiteY3970" fmla="*/ 359059 h 7571036"/>
                  <a:gd name="connsiteX3971" fmla="*/ 1626861 w 6994525"/>
                  <a:gd name="connsiteY3971" fmla="*/ 342539 h 7571036"/>
                  <a:gd name="connsiteX3972" fmla="*/ 1629083 w 6994525"/>
                  <a:gd name="connsiteY3972" fmla="*/ 2742702 h 7571036"/>
                  <a:gd name="connsiteX3973" fmla="*/ 1598013 w 6994525"/>
                  <a:gd name="connsiteY3973" fmla="*/ 2711631 h 7571036"/>
                  <a:gd name="connsiteX3974" fmla="*/ 1566946 w 6994525"/>
                  <a:gd name="connsiteY3974" fmla="*/ 2742702 h 7571036"/>
                  <a:gd name="connsiteX3975" fmla="*/ 1598013 w 6994525"/>
                  <a:gd name="connsiteY3975" fmla="*/ 2773771 h 7571036"/>
                  <a:gd name="connsiteX3976" fmla="*/ 1629083 w 6994525"/>
                  <a:gd name="connsiteY3976" fmla="*/ 2742702 h 7571036"/>
                  <a:gd name="connsiteX3977" fmla="*/ 1631301 w 6994525"/>
                  <a:gd name="connsiteY3977" fmla="*/ 466784 h 7571036"/>
                  <a:gd name="connsiteX3978" fmla="*/ 1615274 w 6994525"/>
                  <a:gd name="connsiteY3978" fmla="*/ 450757 h 7571036"/>
                  <a:gd name="connsiteX3979" fmla="*/ 1599248 w 6994525"/>
                  <a:gd name="connsiteY3979" fmla="*/ 466784 h 7571036"/>
                  <a:gd name="connsiteX3980" fmla="*/ 1615274 w 6994525"/>
                  <a:gd name="connsiteY3980" fmla="*/ 482811 h 7571036"/>
                  <a:gd name="connsiteX3981" fmla="*/ 1631301 w 6994525"/>
                  <a:gd name="connsiteY3981" fmla="*/ 466784 h 7571036"/>
                  <a:gd name="connsiteX3982" fmla="*/ 1632781 w 6994525"/>
                  <a:gd name="connsiteY3982" fmla="*/ 3938728 h 7571036"/>
                  <a:gd name="connsiteX3983" fmla="*/ 1624891 w 6994525"/>
                  <a:gd name="connsiteY3983" fmla="*/ 3930837 h 7571036"/>
                  <a:gd name="connsiteX3984" fmla="*/ 1617001 w 6994525"/>
                  <a:gd name="connsiteY3984" fmla="*/ 3938728 h 7571036"/>
                  <a:gd name="connsiteX3985" fmla="*/ 1624891 w 6994525"/>
                  <a:gd name="connsiteY3985" fmla="*/ 3946618 h 7571036"/>
                  <a:gd name="connsiteX3986" fmla="*/ 1632781 w 6994525"/>
                  <a:gd name="connsiteY3986" fmla="*/ 3938728 h 7571036"/>
                  <a:gd name="connsiteX3987" fmla="*/ 1635986 w 6994525"/>
                  <a:gd name="connsiteY3987" fmla="*/ 1264367 h 7571036"/>
                  <a:gd name="connsiteX3988" fmla="*/ 1622673 w 6994525"/>
                  <a:gd name="connsiteY3988" fmla="*/ 1251060 h 7571036"/>
                  <a:gd name="connsiteX3989" fmla="*/ 1609356 w 6994525"/>
                  <a:gd name="connsiteY3989" fmla="*/ 1264367 h 7571036"/>
                  <a:gd name="connsiteX3990" fmla="*/ 1622673 w 6994525"/>
                  <a:gd name="connsiteY3990" fmla="*/ 1277695 h 7571036"/>
                  <a:gd name="connsiteX3991" fmla="*/ 1635986 w 6994525"/>
                  <a:gd name="connsiteY3991" fmla="*/ 1264367 h 7571036"/>
                  <a:gd name="connsiteX3992" fmla="*/ 1636235 w 6994525"/>
                  <a:gd name="connsiteY3992" fmla="*/ 592021 h 7571036"/>
                  <a:gd name="connsiteX3993" fmla="*/ 1620700 w 6994525"/>
                  <a:gd name="connsiteY3993" fmla="*/ 576487 h 7571036"/>
                  <a:gd name="connsiteX3994" fmla="*/ 1605165 w 6994525"/>
                  <a:gd name="connsiteY3994" fmla="*/ 592021 h 7571036"/>
                  <a:gd name="connsiteX3995" fmla="*/ 1620700 w 6994525"/>
                  <a:gd name="connsiteY3995" fmla="*/ 607552 h 7571036"/>
                  <a:gd name="connsiteX3996" fmla="*/ 1636235 w 6994525"/>
                  <a:gd name="connsiteY3996" fmla="*/ 592021 h 7571036"/>
                  <a:gd name="connsiteX3997" fmla="*/ 1641658 w 6994525"/>
                  <a:gd name="connsiteY3997" fmla="*/ 718042 h 7571036"/>
                  <a:gd name="connsiteX3998" fmla="*/ 1626615 w 6994525"/>
                  <a:gd name="connsiteY3998" fmla="*/ 703008 h 7571036"/>
                  <a:gd name="connsiteX3999" fmla="*/ 1611575 w 6994525"/>
                  <a:gd name="connsiteY3999" fmla="*/ 718042 h 7571036"/>
                  <a:gd name="connsiteX4000" fmla="*/ 1626615 w 6994525"/>
                  <a:gd name="connsiteY4000" fmla="*/ 733085 h 7571036"/>
                  <a:gd name="connsiteX4001" fmla="*/ 1641658 w 6994525"/>
                  <a:gd name="connsiteY4001" fmla="*/ 718042 h 7571036"/>
                  <a:gd name="connsiteX4002" fmla="*/ 1642152 w 6994525"/>
                  <a:gd name="connsiteY4002" fmla="*/ 5102566 h 7571036"/>
                  <a:gd name="connsiteX4003" fmla="*/ 1639932 w 6994525"/>
                  <a:gd name="connsiteY4003" fmla="*/ 5100347 h 7571036"/>
                  <a:gd name="connsiteX4004" fmla="*/ 1637714 w 6994525"/>
                  <a:gd name="connsiteY4004" fmla="*/ 5102566 h 7571036"/>
                  <a:gd name="connsiteX4005" fmla="*/ 1639932 w 6994525"/>
                  <a:gd name="connsiteY4005" fmla="*/ 5104784 h 7571036"/>
                  <a:gd name="connsiteX4006" fmla="*/ 1642152 w 6994525"/>
                  <a:gd name="connsiteY4006" fmla="*/ 5102566 h 7571036"/>
                  <a:gd name="connsiteX4007" fmla="*/ 1643877 w 6994525"/>
                  <a:gd name="connsiteY4007" fmla="*/ 6238541 h 7571036"/>
                  <a:gd name="connsiteX4008" fmla="*/ 1628343 w 6994525"/>
                  <a:gd name="connsiteY4008" fmla="*/ 6223006 h 7571036"/>
                  <a:gd name="connsiteX4009" fmla="*/ 1612807 w 6994525"/>
                  <a:gd name="connsiteY4009" fmla="*/ 6238541 h 7571036"/>
                  <a:gd name="connsiteX4010" fmla="*/ 1628343 w 6994525"/>
                  <a:gd name="connsiteY4010" fmla="*/ 6254073 h 7571036"/>
                  <a:gd name="connsiteX4011" fmla="*/ 1643877 w 6994525"/>
                  <a:gd name="connsiteY4011" fmla="*/ 6238541 h 7571036"/>
                  <a:gd name="connsiteX4012" fmla="*/ 1644863 w 6994525"/>
                  <a:gd name="connsiteY4012" fmla="*/ 4479962 h 7571036"/>
                  <a:gd name="connsiteX4013" fmla="*/ 1601712 w 6994525"/>
                  <a:gd name="connsiteY4013" fmla="*/ 4436811 h 7571036"/>
                  <a:gd name="connsiteX4014" fmla="*/ 1558560 w 6994525"/>
                  <a:gd name="connsiteY4014" fmla="*/ 4479962 h 7571036"/>
                  <a:gd name="connsiteX4015" fmla="*/ 1601712 w 6994525"/>
                  <a:gd name="connsiteY4015" fmla="*/ 4523114 h 7571036"/>
                  <a:gd name="connsiteX4016" fmla="*/ 1644863 w 6994525"/>
                  <a:gd name="connsiteY4016" fmla="*/ 4479962 h 7571036"/>
                  <a:gd name="connsiteX4017" fmla="*/ 1645603 w 6994525"/>
                  <a:gd name="connsiteY4017" fmla="*/ 6364787 h 7571036"/>
                  <a:gd name="connsiteX4018" fmla="*/ 1622670 w 6994525"/>
                  <a:gd name="connsiteY4018" fmla="*/ 6341856 h 7571036"/>
                  <a:gd name="connsiteX4019" fmla="*/ 1599739 w 6994525"/>
                  <a:gd name="connsiteY4019" fmla="*/ 6364787 h 7571036"/>
                  <a:gd name="connsiteX4020" fmla="*/ 1622670 w 6994525"/>
                  <a:gd name="connsiteY4020" fmla="*/ 6387721 h 7571036"/>
                  <a:gd name="connsiteX4021" fmla="*/ 1645603 w 6994525"/>
                  <a:gd name="connsiteY4021" fmla="*/ 6364787 h 7571036"/>
                  <a:gd name="connsiteX4022" fmla="*/ 1646098 w 6994525"/>
                  <a:gd name="connsiteY4022" fmla="*/ 5982348 h 7571036"/>
                  <a:gd name="connsiteX4023" fmla="*/ 1641905 w 6994525"/>
                  <a:gd name="connsiteY4023" fmla="*/ 5978157 h 7571036"/>
                  <a:gd name="connsiteX4024" fmla="*/ 1637714 w 6994525"/>
                  <a:gd name="connsiteY4024" fmla="*/ 5982348 h 7571036"/>
                  <a:gd name="connsiteX4025" fmla="*/ 1641905 w 6994525"/>
                  <a:gd name="connsiteY4025" fmla="*/ 5986539 h 7571036"/>
                  <a:gd name="connsiteX4026" fmla="*/ 1646098 w 6994525"/>
                  <a:gd name="connsiteY4026" fmla="*/ 5982348 h 7571036"/>
                  <a:gd name="connsiteX4027" fmla="*/ 1647329 w 6994525"/>
                  <a:gd name="connsiteY4027" fmla="*/ 845512 h 7571036"/>
                  <a:gd name="connsiteX4028" fmla="*/ 1632782 w 6994525"/>
                  <a:gd name="connsiteY4028" fmla="*/ 830963 h 7571036"/>
                  <a:gd name="connsiteX4029" fmla="*/ 1618233 w 6994525"/>
                  <a:gd name="connsiteY4029" fmla="*/ 845512 h 7571036"/>
                  <a:gd name="connsiteX4030" fmla="*/ 1632782 w 6994525"/>
                  <a:gd name="connsiteY4030" fmla="*/ 860052 h 7571036"/>
                  <a:gd name="connsiteX4031" fmla="*/ 1647329 w 6994525"/>
                  <a:gd name="connsiteY4031" fmla="*/ 845512 h 7571036"/>
                  <a:gd name="connsiteX4032" fmla="*/ 1648561 w 6994525"/>
                  <a:gd name="connsiteY4032" fmla="*/ 1398003 h 7571036"/>
                  <a:gd name="connsiteX4033" fmla="*/ 1634014 w 6994525"/>
                  <a:gd name="connsiteY4033" fmla="*/ 1383455 h 7571036"/>
                  <a:gd name="connsiteX4034" fmla="*/ 1619465 w 6994525"/>
                  <a:gd name="connsiteY4034" fmla="*/ 1398003 h 7571036"/>
                  <a:gd name="connsiteX4035" fmla="*/ 1634014 w 6994525"/>
                  <a:gd name="connsiteY4035" fmla="*/ 1412551 h 7571036"/>
                  <a:gd name="connsiteX4036" fmla="*/ 1648561 w 6994525"/>
                  <a:gd name="connsiteY4036" fmla="*/ 1398003 h 7571036"/>
                  <a:gd name="connsiteX4037" fmla="*/ 1649794 w 6994525"/>
                  <a:gd name="connsiteY4037" fmla="*/ 3019355 h 7571036"/>
                  <a:gd name="connsiteX4038" fmla="*/ 1624151 w 6994525"/>
                  <a:gd name="connsiteY4038" fmla="*/ 2993710 h 7571036"/>
                  <a:gd name="connsiteX4039" fmla="*/ 1598507 w 6994525"/>
                  <a:gd name="connsiteY4039" fmla="*/ 3019355 h 7571036"/>
                  <a:gd name="connsiteX4040" fmla="*/ 1624151 w 6994525"/>
                  <a:gd name="connsiteY4040" fmla="*/ 3045001 h 7571036"/>
                  <a:gd name="connsiteX4041" fmla="*/ 1649794 w 6994525"/>
                  <a:gd name="connsiteY4041" fmla="*/ 3019355 h 7571036"/>
                  <a:gd name="connsiteX4042" fmla="*/ 1650041 w 6994525"/>
                  <a:gd name="connsiteY4042" fmla="*/ 2192612 h 7571036"/>
                  <a:gd name="connsiteX4043" fmla="*/ 1648317 w 6994525"/>
                  <a:gd name="connsiteY4043" fmla="*/ 2190885 h 7571036"/>
                  <a:gd name="connsiteX4044" fmla="*/ 1646590 w 6994525"/>
                  <a:gd name="connsiteY4044" fmla="*/ 2192612 h 7571036"/>
                  <a:gd name="connsiteX4045" fmla="*/ 1648317 w 6994525"/>
                  <a:gd name="connsiteY4045" fmla="*/ 2194337 h 7571036"/>
                  <a:gd name="connsiteX4046" fmla="*/ 1650041 w 6994525"/>
                  <a:gd name="connsiteY4046" fmla="*/ 2192612 h 7571036"/>
                  <a:gd name="connsiteX4047" fmla="*/ 1650289 w 6994525"/>
                  <a:gd name="connsiteY4047" fmla="*/ 6111061 h 7571036"/>
                  <a:gd name="connsiteX4048" fmla="*/ 1634755 w 6994525"/>
                  <a:gd name="connsiteY4048" fmla="*/ 6095526 h 7571036"/>
                  <a:gd name="connsiteX4049" fmla="*/ 1619220 w 6994525"/>
                  <a:gd name="connsiteY4049" fmla="*/ 6111061 h 7571036"/>
                  <a:gd name="connsiteX4050" fmla="*/ 1634755 w 6994525"/>
                  <a:gd name="connsiteY4050" fmla="*/ 6126597 h 7571036"/>
                  <a:gd name="connsiteX4051" fmla="*/ 1650289 w 6994525"/>
                  <a:gd name="connsiteY4051" fmla="*/ 6111061 h 7571036"/>
                  <a:gd name="connsiteX4052" fmla="*/ 1654232 w 6994525"/>
                  <a:gd name="connsiteY4052" fmla="*/ 974194 h 7571036"/>
                  <a:gd name="connsiteX4053" fmla="*/ 1640178 w 6994525"/>
                  <a:gd name="connsiteY4053" fmla="*/ 960146 h 7571036"/>
                  <a:gd name="connsiteX4054" fmla="*/ 1626124 w 6994525"/>
                  <a:gd name="connsiteY4054" fmla="*/ 974194 h 7571036"/>
                  <a:gd name="connsiteX4055" fmla="*/ 1640178 w 6994525"/>
                  <a:gd name="connsiteY4055" fmla="*/ 988243 h 7571036"/>
                  <a:gd name="connsiteX4056" fmla="*/ 1654232 w 6994525"/>
                  <a:gd name="connsiteY4056" fmla="*/ 974194 h 7571036"/>
                  <a:gd name="connsiteX4057" fmla="*/ 1654726 w 6994525"/>
                  <a:gd name="connsiteY4057" fmla="*/ 4321660 h 7571036"/>
                  <a:gd name="connsiteX4058" fmla="*/ 1644371 w 6994525"/>
                  <a:gd name="connsiteY4058" fmla="*/ 4311305 h 7571036"/>
                  <a:gd name="connsiteX4059" fmla="*/ 1634014 w 6994525"/>
                  <a:gd name="connsiteY4059" fmla="*/ 4321660 h 7571036"/>
                  <a:gd name="connsiteX4060" fmla="*/ 1644371 w 6994525"/>
                  <a:gd name="connsiteY4060" fmla="*/ 4332018 h 7571036"/>
                  <a:gd name="connsiteX4061" fmla="*/ 1654726 w 6994525"/>
                  <a:gd name="connsiteY4061" fmla="*/ 4321660 h 7571036"/>
                  <a:gd name="connsiteX4062" fmla="*/ 1659411 w 6994525"/>
                  <a:gd name="connsiteY4062" fmla="*/ 1533603 h 7571036"/>
                  <a:gd name="connsiteX4063" fmla="*/ 1646836 w 6994525"/>
                  <a:gd name="connsiteY4063" fmla="*/ 1521029 h 7571036"/>
                  <a:gd name="connsiteX4064" fmla="*/ 1634259 w 6994525"/>
                  <a:gd name="connsiteY4064" fmla="*/ 1533603 h 7571036"/>
                  <a:gd name="connsiteX4065" fmla="*/ 1646836 w 6994525"/>
                  <a:gd name="connsiteY4065" fmla="*/ 1546176 h 7571036"/>
                  <a:gd name="connsiteX4066" fmla="*/ 1659411 w 6994525"/>
                  <a:gd name="connsiteY4066" fmla="*/ 1533603 h 7571036"/>
                  <a:gd name="connsiteX4067" fmla="*/ 1661630 w 6994525"/>
                  <a:gd name="connsiteY4067" fmla="*/ 4050429 h 7571036"/>
                  <a:gd name="connsiteX4068" fmla="*/ 1655961 w 6994525"/>
                  <a:gd name="connsiteY4068" fmla="*/ 4044757 h 7571036"/>
                  <a:gd name="connsiteX4069" fmla="*/ 1650289 w 6994525"/>
                  <a:gd name="connsiteY4069" fmla="*/ 4050429 h 7571036"/>
                  <a:gd name="connsiteX4070" fmla="*/ 1655961 w 6994525"/>
                  <a:gd name="connsiteY4070" fmla="*/ 4056098 h 7571036"/>
                  <a:gd name="connsiteX4071" fmla="*/ 1661630 w 6994525"/>
                  <a:gd name="connsiteY4071" fmla="*/ 4050429 h 7571036"/>
                  <a:gd name="connsiteX4072" fmla="*/ 1661877 w 6994525"/>
                  <a:gd name="connsiteY4072" fmla="*/ 73337 h 7571036"/>
                  <a:gd name="connsiteX4073" fmla="*/ 1644615 w 6994525"/>
                  <a:gd name="connsiteY4073" fmla="*/ 56079 h 7571036"/>
                  <a:gd name="connsiteX4074" fmla="*/ 1627356 w 6994525"/>
                  <a:gd name="connsiteY4074" fmla="*/ 73337 h 7571036"/>
                  <a:gd name="connsiteX4075" fmla="*/ 1644615 w 6994525"/>
                  <a:gd name="connsiteY4075" fmla="*/ 90596 h 7571036"/>
                  <a:gd name="connsiteX4076" fmla="*/ 1661877 w 6994525"/>
                  <a:gd name="connsiteY4076" fmla="*/ 73337 h 7571036"/>
                  <a:gd name="connsiteX4077" fmla="*/ 1669028 w 6994525"/>
                  <a:gd name="connsiteY4077" fmla="*/ 2377278 h 7571036"/>
                  <a:gd name="connsiteX4078" fmla="*/ 1657439 w 6994525"/>
                  <a:gd name="connsiteY4078" fmla="*/ 2365697 h 7571036"/>
                  <a:gd name="connsiteX4079" fmla="*/ 1645849 w 6994525"/>
                  <a:gd name="connsiteY4079" fmla="*/ 2377278 h 7571036"/>
                  <a:gd name="connsiteX4080" fmla="*/ 1657439 w 6994525"/>
                  <a:gd name="connsiteY4080" fmla="*/ 2388878 h 7571036"/>
                  <a:gd name="connsiteX4081" fmla="*/ 1669028 w 6994525"/>
                  <a:gd name="connsiteY4081" fmla="*/ 2377278 h 7571036"/>
                  <a:gd name="connsiteX4082" fmla="*/ 1672479 w 6994525"/>
                  <a:gd name="connsiteY4082" fmla="*/ 2635933 h 7571036"/>
                  <a:gd name="connsiteX4083" fmla="*/ 1643136 w 6994525"/>
                  <a:gd name="connsiteY4083" fmla="*/ 2606589 h 7571036"/>
                  <a:gd name="connsiteX4084" fmla="*/ 1613793 w 6994525"/>
                  <a:gd name="connsiteY4084" fmla="*/ 2635933 h 7571036"/>
                  <a:gd name="connsiteX4085" fmla="*/ 1643136 w 6994525"/>
                  <a:gd name="connsiteY4085" fmla="*/ 2665277 h 7571036"/>
                  <a:gd name="connsiteX4086" fmla="*/ 1672479 w 6994525"/>
                  <a:gd name="connsiteY4086" fmla="*/ 2635933 h 7571036"/>
                  <a:gd name="connsiteX4087" fmla="*/ 1672726 w 6994525"/>
                  <a:gd name="connsiteY4087" fmla="*/ 1671407 h 7571036"/>
                  <a:gd name="connsiteX4088" fmla="*/ 1660890 w 6994525"/>
                  <a:gd name="connsiteY4088" fmla="*/ 1659581 h 7571036"/>
                  <a:gd name="connsiteX4089" fmla="*/ 1649055 w 6994525"/>
                  <a:gd name="connsiteY4089" fmla="*/ 1671407 h 7571036"/>
                  <a:gd name="connsiteX4090" fmla="*/ 1660890 w 6994525"/>
                  <a:gd name="connsiteY4090" fmla="*/ 1683255 h 7571036"/>
                  <a:gd name="connsiteX4091" fmla="*/ 1672726 w 6994525"/>
                  <a:gd name="connsiteY4091" fmla="*/ 1671407 h 7571036"/>
                  <a:gd name="connsiteX4092" fmla="*/ 1674450 w 6994525"/>
                  <a:gd name="connsiteY4092" fmla="*/ 4958811 h 7571036"/>
                  <a:gd name="connsiteX4093" fmla="*/ 1660396 w 6994525"/>
                  <a:gd name="connsiteY4093" fmla="*/ 4944757 h 7571036"/>
                  <a:gd name="connsiteX4094" fmla="*/ 1646342 w 6994525"/>
                  <a:gd name="connsiteY4094" fmla="*/ 4958811 h 7571036"/>
                  <a:gd name="connsiteX4095" fmla="*/ 1660396 w 6994525"/>
                  <a:gd name="connsiteY4095" fmla="*/ 4972866 h 7571036"/>
                  <a:gd name="connsiteX4096" fmla="*/ 1674450 w 6994525"/>
                  <a:gd name="connsiteY4096" fmla="*/ 4958811 h 7571036"/>
                  <a:gd name="connsiteX4097" fmla="*/ 1680124 w 6994525"/>
                  <a:gd name="connsiteY4097" fmla="*/ 1811497 h 7571036"/>
                  <a:gd name="connsiteX4098" fmla="*/ 1677165 w 6994525"/>
                  <a:gd name="connsiteY4098" fmla="*/ 1808537 h 7571036"/>
                  <a:gd name="connsiteX4099" fmla="*/ 1674207 w 6994525"/>
                  <a:gd name="connsiteY4099" fmla="*/ 1811497 h 7571036"/>
                  <a:gd name="connsiteX4100" fmla="*/ 1677165 w 6994525"/>
                  <a:gd name="connsiteY4100" fmla="*/ 1814459 h 7571036"/>
                  <a:gd name="connsiteX4101" fmla="*/ 1680124 w 6994525"/>
                  <a:gd name="connsiteY4101" fmla="*/ 1811497 h 7571036"/>
                  <a:gd name="connsiteX4102" fmla="*/ 1680370 w 6994525"/>
                  <a:gd name="connsiteY4102" fmla="*/ 5596457 h 7571036"/>
                  <a:gd name="connsiteX4103" fmla="*/ 1679138 w 6994525"/>
                  <a:gd name="connsiteY4103" fmla="*/ 5595225 h 7571036"/>
                  <a:gd name="connsiteX4104" fmla="*/ 1677905 w 6994525"/>
                  <a:gd name="connsiteY4104" fmla="*/ 5596457 h 7571036"/>
                  <a:gd name="connsiteX4105" fmla="*/ 1679138 w 6994525"/>
                  <a:gd name="connsiteY4105" fmla="*/ 5597693 h 7571036"/>
                  <a:gd name="connsiteX4106" fmla="*/ 1680370 w 6994525"/>
                  <a:gd name="connsiteY4106" fmla="*/ 5596457 h 7571036"/>
                  <a:gd name="connsiteX4107" fmla="*/ 1682836 w 6994525"/>
                  <a:gd name="connsiteY4107" fmla="*/ 2907654 h 7571036"/>
                  <a:gd name="connsiteX4108" fmla="*/ 1655220 w 6994525"/>
                  <a:gd name="connsiteY4108" fmla="*/ 2880035 h 7571036"/>
                  <a:gd name="connsiteX4109" fmla="*/ 1627604 w 6994525"/>
                  <a:gd name="connsiteY4109" fmla="*/ 2907654 h 7571036"/>
                  <a:gd name="connsiteX4110" fmla="*/ 1655220 w 6994525"/>
                  <a:gd name="connsiteY4110" fmla="*/ 2935270 h 7571036"/>
                  <a:gd name="connsiteX4111" fmla="*/ 1682836 w 6994525"/>
                  <a:gd name="connsiteY4111" fmla="*/ 2907654 h 7571036"/>
                  <a:gd name="connsiteX4112" fmla="*/ 1683823 w 6994525"/>
                  <a:gd name="connsiteY4112" fmla="*/ 5859800 h 7571036"/>
                  <a:gd name="connsiteX4113" fmla="*/ 1659412 w 6994525"/>
                  <a:gd name="connsiteY4113" fmla="*/ 5835389 h 7571036"/>
                  <a:gd name="connsiteX4114" fmla="*/ 1635000 w 6994525"/>
                  <a:gd name="connsiteY4114" fmla="*/ 5859800 h 7571036"/>
                  <a:gd name="connsiteX4115" fmla="*/ 1659412 w 6994525"/>
                  <a:gd name="connsiteY4115" fmla="*/ 5884209 h 7571036"/>
                  <a:gd name="connsiteX4116" fmla="*/ 1683823 w 6994525"/>
                  <a:gd name="connsiteY4116" fmla="*/ 5859800 h 7571036"/>
                  <a:gd name="connsiteX4117" fmla="*/ 1684809 w 6994525"/>
                  <a:gd name="connsiteY4117" fmla="*/ 4812347 h 7571036"/>
                  <a:gd name="connsiteX4118" fmla="*/ 1684069 w 6994525"/>
                  <a:gd name="connsiteY4118" fmla="*/ 4811606 h 7571036"/>
                  <a:gd name="connsiteX4119" fmla="*/ 1683329 w 6994525"/>
                  <a:gd name="connsiteY4119" fmla="*/ 4812347 h 7571036"/>
                  <a:gd name="connsiteX4120" fmla="*/ 1684069 w 6994525"/>
                  <a:gd name="connsiteY4120" fmla="*/ 4813087 h 7571036"/>
                  <a:gd name="connsiteX4121" fmla="*/ 1684809 w 6994525"/>
                  <a:gd name="connsiteY4121" fmla="*/ 4812347 h 7571036"/>
                  <a:gd name="connsiteX4122" fmla="*/ 1693932 w 6994525"/>
                  <a:gd name="connsiteY4122" fmla="*/ 5462071 h 7571036"/>
                  <a:gd name="connsiteX4123" fmla="*/ 1690479 w 6994525"/>
                  <a:gd name="connsiteY4123" fmla="*/ 5458620 h 7571036"/>
                  <a:gd name="connsiteX4124" fmla="*/ 1687029 w 6994525"/>
                  <a:gd name="connsiteY4124" fmla="*/ 5462071 h 7571036"/>
                  <a:gd name="connsiteX4125" fmla="*/ 1690479 w 6994525"/>
                  <a:gd name="connsiteY4125" fmla="*/ 5465525 h 7571036"/>
                  <a:gd name="connsiteX4126" fmla="*/ 1693932 w 6994525"/>
                  <a:gd name="connsiteY4126" fmla="*/ 5462071 h 7571036"/>
                  <a:gd name="connsiteX4127" fmla="*/ 1696399 w 6994525"/>
                  <a:gd name="connsiteY4127" fmla="*/ 5728868 h 7571036"/>
                  <a:gd name="connsiteX4128" fmla="*/ 1668534 w 6994525"/>
                  <a:gd name="connsiteY4128" fmla="*/ 5701005 h 7571036"/>
                  <a:gd name="connsiteX4129" fmla="*/ 1640672 w 6994525"/>
                  <a:gd name="connsiteY4129" fmla="*/ 5728868 h 7571036"/>
                  <a:gd name="connsiteX4130" fmla="*/ 1668534 w 6994525"/>
                  <a:gd name="connsiteY4130" fmla="*/ 5756733 h 7571036"/>
                  <a:gd name="connsiteX4131" fmla="*/ 1696399 w 6994525"/>
                  <a:gd name="connsiteY4131" fmla="*/ 5728868 h 7571036"/>
                  <a:gd name="connsiteX4132" fmla="*/ 1697136 w 6994525"/>
                  <a:gd name="connsiteY4132" fmla="*/ 7151609 h 7571036"/>
                  <a:gd name="connsiteX4133" fmla="*/ 1693683 w 6994525"/>
                  <a:gd name="connsiteY4133" fmla="*/ 7148158 h 7571036"/>
                  <a:gd name="connsiteX4134" fmla="*/ 1690233 w 6994525"/>
                  <a:gd name="connsiteY4134" fmla="*/ 7151609 h 7571036"/>
                  <a:gd name="connsiteX4135" fmla="*/ 1693683 w 6994525"/>
                  <a:gd name="connsiteY4135" fmla="*/ 7155062 h 7571036"/>
                  <a:gd name="connsiteX4136" fmla="*/ 1697136 w 6994525"/>
                  <a:gd name="connsiteY4136" fmla="*/ 7151609 h 7571036"/>
                  <a:gd name="connsiteX4137" fmla="*/ 1698864 w 6994525"/>
                  <a:gd name="connsiteY4137" fmla="*/ 4159909 h 7571036"/>
                  <a:gd name="connsiteX4138" fmla="*/ 1693932 w 6994525"/>
                  <a:gd name="connsiteY4138" fmla="*/ 4154977 h 7571036"/>
                  <a:gd name="connsiteX4139" fmla="*/ 1689001 w 6994525"/>
                  <a:gd name="connsiteY4139" fmla="*/ 4159909 h 7571036"/>
                  <a:gd name="connsiteX4140" fmla="*/ 1693932 w 6994525"/>
                  <a:gd name="connsiteY4140" fmla="*/ 4164840 h 7571036"/>
                  <a:gd name="connsiteX4141" fmla="*/ 1698864 w 6994525"/>
                  <a:gd name="connsiteY4141" fmla="*/ 4159909 h 7571036"/>
                  <a:gd name="connsiteX4142" fmla="*/ 1699356 w 6994525"/>
                  <a:gd name="connsiteY4142" fmla="*/ 1953694 h 7571036"/>
                  <a:gd name="connsiteX4143" fmla="*/ 1695903 w 6994525"/>
                  <a:gd name="connsiteY4143" fmla="*/ 1950245 h 7571036"/>
                  <a:gd name="connsiteX4144" fmla="*/ 1692452 w 6994525"/>
                  <a:gd name="connsiteY4144" fmla="*/ 1953694 h 7571036"/>
                  <a:gd name="connsiteX4145" fmla="*/ 1695903 w 6994525"/>
                  <a:gd name="connsiteY4145" fmla="*/ 1957144 h 7571036"/>
                  <a:gd name="connsiteX4146" fmla="*/ 1699356 w 6994525"/>
                  <a:gd name="connsiteY4146" fmla="*/ 1953694 h 7571036"/>
                  <a:gd name="connsiteX4147" fmla="*/ 1699604 w 6994525"/>
                  <a:gd name="connsiteY4147" fmla="*/ 7031776 h 7571036"/>
                  <a:gd name="connsiteX4148" fmla="*/ 1696151 w 6994525"/>
                  <a:gd name="connsiteY4148" fmla="*/ 7028322 h 7571036"/>
                  <a:gd name="connsiteX4149" fmla="*/ 1692701 w 6994525"/>
                  <a:gd name="connsiteY4149" fmla="*/ 7031776 h 7571036"/>
                  <a:gd name="connsiteX4150" fmla="*/ 1696151 w 6994525"/>
                  <a:gd name="connsiteY4150" fmla="*/ 7035227 h 7571036"/>
                  <a:gd name="connsiteX4151" fmla="*/ 1699604 w 6994525"/>
                  <a:gd name="connsiteY4151" fmla="*/ 7031776 h 7571036"/>
                  <a:gd name="connsiteX4152" fmla="*/ 1700588 w 6994525"/>
                  <a:gd name="connsiteY4152" fmla="*/ 3536810 h 7571036"/>
                  <a:gd name="connsiteX4153" fmla="*/ 1678151 w 6994525"/>
                  <a:gd name="connsiteY4153" fmla="*/ 3514372 h 7571036"/>
                  <a:gd name="connsiteX4154" fmla="*/ 1655712 w 6994525"/>
                  <a:gd name="connsiteY4154" fmla="*/ 3536810 h 7571036"/>
                  <a:gd name="connsiteX4155" fmla="*/ 1678151 w 6994525"/>
                  <a:gd name="connsiteY4155" fmla="*/ 3559250 h 7571036"/>
                  <a:gd name="connsiteX4156" fmla="*/ 1700588 w 6994525"/>
                  <a:gd name="connsiteY4156" fmla="*/ 3536810 h 7571036"/>
                  <a:gd name="connsiteX4157" fmla="*/ 1700589 w 6994525"/>
                  <a:gd name="connsiteY4157" fmla="*/ 6910953 h 7571036"/>
                  <a:gd name="connsiteX4158" fmla="*/ 1698615 w 6994525"/>
                  <a:gd name="connsiteY4158" fmla="*/ 6908980 h 7571036"/>
                  <a:gd name="connsiteX4159" fmla="*/ 1696643 w 6994525"/>
                  <a:gd name="connsiteY4159" fmla="*/ 6910953 h 7571036"/>
                  <a:gd name="connsiteX4160" fmla="*/ 1698615 w 6994525"/>
                  <a:gd name="connsiteY4160" fmla="*/ 6912925 h 7571036"/>
                  <a:gd name="connsiteX4161" fmla="*/ 1700589 w 6994525"/>
                  <a:gd name="connsiteY4161" fmla="*/ 6910953 h 7571036"/>
                  <a:gd name="connsiteX4162" fmla="*/ 1700836 w 6994525"/>
                  <a:gd name="connsiteY4162" fmla="*/ 4580318 h 7571036"/>
                  <a:gd name="connsiteX4163" fmla="*/ 1658917 w 6994525"/>
                  <a:gd name="connsiteY4163" fmla="*/ 4538400 h 7571036"/>
                  <a:gd name="connsiteX4164" fmla="*/ 1617001 w 6994525"/>
                  <a:gd name="connsiteY4164" fmla="*/ 4580318 h 7571036"/>
                  <a:gd name="connsiteX4165" fmla="*/ 1658917 w 6994525"/>
                  <a:gd name="connsiteY4165" fmla="*/ 4622237 h 7571036"/>
                  <a:gd name="connsiteX4166" fmla="*/ 1700836 w 6994525"/>
                  <a:gd name="connsiteY4166" fmla="*/ 4580318 h 7571036"/>
                  <a:gd name="connsiteX4167" fmla="*/ 1703793 w 6994525"/>
                  <a:gd name="connsiteY4167" fmla="*/ 3652947 h 7571036"/>
                  <a:gd name="connsiteX4168" fmla="*/ 1685793 w 6994525"/>
                  <a:gd name="connsiteY4168" fmla="*/ 3634947 h 7571036"/>
                  <a:gd name="connsiteX4169" fmla="*/ 1667794 w 6994525"/>
                  <a:gd name="connsiteY4169" fmla="*/ 3652947 h 7571036"/>
                  <a:gd name="connsiteX4170" fmla="*/ 1685793 w 6994525"/>
                  <a:gd name="connsiteY4170" fmla="*/ 3670949 h 7571036"/>
                  <a:gd name="connsiteX4171" fmla="*/ 1703793 w 6994525"/>
                  <a:gd name="connsiteY4171" fmla="*/ 3652947 h 7571036"/>
                  <a:gd name="connsiteX4172" fmla="*/ 1704782 w 6994525"/>
                  <a:gd name="connsiteY4172" fmla="*/ 3420770 h 7571036"/>
                  <a:gd name="connsiteX4173" fmla="*/ 1678151 w 6994525"/>
                  <a:gd name="connsiteY4173" fmla="*/ 3394142 h 7571036"/>
                  <a:gd name="connsiteX4174" fmla="*/ 1651521 w 6994525"/>
                  <a:gd name="connsiteY4174" fmla="*/ 3420770 h 7571036"/>
                  <a:gd name="connsiteX4175" fmla="*/ 1678151 w 6994525"/>
                  <a:gd name="connsiteY4175" fmla="*/ 3447399 h 7571036"/>
                  <a:gd name="connsiteX4176" fmla="*/ 1704782 w 6994525"/>
                  <a:gd name="connsiteY4176" fmla="*/ 3420770 h 7571036"/>
                  <a:gd name="connsiteX4177" fmla="*/ 1707741 w 6994525"/>
                  <a:gd name="connsiteY4177" fmla="*/ 5326211 h 7571036"/>
                  <a:gd name="connsiteX4178" fmla="*/ 1703796 w 6994525"/>
                  <a:gd name="connsiteY4178" fmla="*/ 5322265 h 7571036"/>
                  <a:gd name="connsiteX4179" fmla="*/ 1699851 w 6994525"/>
                  <a:gd name="connsiteY4179" fmla="*/ 5326211 h 7571036"/>
                  <a:gd name="connsiteX4180" fmla="*/ 1703796 w 6994525"/>
                  <a:gd name="connsiteY4180" fmla="*/ 5330156 h 7571036"/>
                  <a:gd name="connsiteX4181" fmla="*/ 1707741 w 6994525"/>
                  <a:gd name="connsiteY4181" fmla="*/ 5326211 h 7571036"/>
                  <a:gd name="connsiteX4182" fmla="*/ 1709711 w 6994525"/>
                  <a:gd name="connsiteY4182" fmla="*/ 4425468 h 7571036"/>
                  <a:gd name="connsiteX4183" fmla="*/ 1695656 w 6994525"/>
                  <a:gd name="connsiteY4183" fmla="*/ 4411413 h 7571036"/>
                  <a:gd name="connsiteX4184" fmla="*/ 1681602 w 6994525"/>
                  <a:gd name="connsiteY4184" fmla="*/ 4425468 h 7571036"/>
                  <a:gd name="connsiteX4185" fmla="*/ 1695656 w 6994525"/>
                  <a:gd name="connsiteY4185" fmla="*/ 4439522 h 7571036"/>
                  <a:gd name="connsiteX4186" fmla="*/ 1709711 w 6994525"/>
                  <a:gd name="connsiteY4186" fmla="*/ 4425468 h 7571036"/>
                  <a:gd name="connsiteX4187" fmla="*/ 1712918 w 6994525"/>
                  <a:gd name="connsiteY4187" fmla="*/ 6794076 h 7571036"/>
                  <a:gd name="connsiteX4188" fmla="*/ 1709711 w 6994525"/>
                  <a:gd name="connsiteY4188" fmla="*/ 6790870 h 7571036"/>
                  <a:gd name="connsiteX4189" fmla="*/ 1706506 w 6994525"/>
                  <a:gd name="connsiteY4189" fmla="*/ 6794076 h 7571036"/>
                  <a:gd name="connsiteX4190" fmla="*/ 1709711 w 6994525"/>
                  <a:gd name="connsiteY4190" fmla="*/ 6797280 h 7571036"/>
                  <a:gd name="connsiteX4191" fmla="*/ 1712918 w 6994525"/>
                  <a:gd name="connsiteY4191" fmla="*/ 6794076 h 7571036"/>
                  <a:gd name="connsiteX4192" fmla="*/ 1715138 w 6994525"/>
                  <a:gd name="connsiteY4192" fmla="*/ 3768101 h 7571036"/>
                  <a:gd name="connsiteX4193" fmla="*/ 1700591 w 6994525"/>
                  <a:gd name="connsiteY4193" fmla="*/ 3753551 h 7571036"/>
                  <a:gd name="connsiteX4194" fmla="*/ 1686042 w 6994525"/>
                  <a:gd name="connsiteY4194" fmla="*/ 3768101 h 7571036"/>
                  <a:gd name="connsiteX4195" fmla="*/ 1700591 w 6994525"/>
                  <a:gd name="connsiteY4195" fmla="*/ 3782646 h 7571036"/>
                  <a:gd name="connsiteX4196" fmla="*/ 1715138 w 6994525"/>
                  <a:gd name="connsiteY4196" fmla="*/ 3768101 h 7571036"/>
                  <a:gd name="connsiteX4197" fmla="*/ 1716123 w 6994525"/>
                  <a:gd name="connsiteY4197" fmla="*/ 6672267 h 7571036"/>
                  <a:gd name="connsiteX4198" fmla="*/ 1713164 w 6994525"/>
                  <a:gd name="connsiteY4198" fmla="*/ 6669308 h 7571036"/>
                  <a:gd name="connsiteX4199" fmla="*/ 1709959 w 6994525"/>
                  <a:gd name="connsiteY4199" fmla="*/ 6672267 h 7571036"/>
                  <a:gd name="connsiteX4200" fmla="*/ 1713164 w 6994525"/>
                  <a:gd name="connsiteY4200" fmla="*/ 6675472 h 7571036"/>
                  <a:gd name="connsiteX4201" fmla="*/ 1716123 w 6994525"/>
                  <a:gd name="connsiteY4201" fmla="*/ 6672267 h 7571036"/>
                  <a:gd name="connsiteX4202" fmla="*/ 1716617 w 6994525"/>
                  <a:gd name="connsiteY4202" fmla="*/ 3304876 h 7571036"/>
                  <a:gd name="connsiteX4203" fmla="*/ 1685550 w 6994525"/>
                  <a:gd name="connsiteY4203" fmla="*/ 3273814 h 7571036"/>
                  <a:gd name="connsiteX4204" fmla="*/ 1654480 w 6994525"/>
                  <a:gd name="connsiteY4204" fmla="*/ 3304876 h 7571036"/>
                  <a:gd name="connsiteX4205" fmla="*/ 1685550 w 6994525"/>
                  <a:gd name="connsiteY4205" fmla="*/ 3335943 h 7571036"/>
                  <a:gd name="connsiteX4206" fmla="*/ 1716617 w 6994525"/>
                  <a:gd name="connsiteY4206" fmla="*/ 3304876 h 7571036"/>
                  <a:gd name="connsiteX4207" fmla="*/ 1717850 w 6994525"/>
                  <a:gd name="connsiteY4207" fmla="*/ 2098903 h 7571036"/>
                  <a:gd name="connsiteX4208" fmla="*/ 1717604 w 6994525"/>
                  <a:gd name="connsiteY4208" fmla="*/ 2098656 h 7571036"/>
                  <a:gd name="connsiteX4209" fmla="*/ 1717358 w 6994525"/>
                  <a:gd name="connsiteY4209" fmla="*/ 2098903 h 7571036"/>
                  <a:gd name="connsiteX4210" fmla="*/ 1717604 w 6994525"/>
                  <a:gd name="connsiteY4210" fmla="*/ 2099149 h 7571036"/>
                  <a:gd name="connsiteX4211" fmla="*/ 1717850 w 6994525"/>
                  <a:gd name="connsiteY4211" fmla="*/ 2098903 h 7571036"/>
                  <a:gd name="connsiteX4212" fmla="*/ 1718342 w 6994525"/>
                  <a:gd name="connsiteY4212" fmla="*/ 1061708 h 7571036"/>
                  <a:gd name="connsiteX4213" fmla="*/ 1704287 w 6994525"/>
                  <a:gd name="connsiteY4213" fmla="*/ 1047656 h 7571036"/>
                  <a:gd name="connsiteX4214" fmla="*/ 1690233 w 6994525"/>
                  <a:gd name="connsiteY4214" fmla="*/ 1061708 h 7571036"/>
                  <a:gd name="connsiteX4215" fmla="*/ 1704287 w 6994525"/>
                  <a:gd name="connsiteY4215" fmla="*/ 1075763 h 7571036"/>
                  <a:gd name="connsiteX4216" fmla="*/ 1718342 w 6994525"/>
                  <a:gd name="connsiteY4216" fmla="*/ 1061708 h 7571036"/>
                  <a:gd name="connsiteX4217" fmla="*/ 1718587 w 6994525"/>
                  <a:gd name="connsiteY4217" fmla="*/ 6549718 h 7571036"/>
                  <a:gd name="connsiteX4218" fmla="*/ 1716863 w 6994525"/>
                  <a:gd name="connsiteY4218" fmla="*/ 6547745 h 7571036"/>
                  <a:gd name="connsiteX4219" fmla="*/ 1715136 w 6994525"/>
                  <a:gd name="connsiteY4219" fmla="*/ 6549718 h 7571036"/>
                  <a:gd name="connsiteX4220" fmla="*/ 1716863 w 6994525"/>
                  <a:gd name="connsiteY4220" fmla="*/ 6551445 h 7571036"/>
                  <a:gd name="connsiteX4221" fmla="*/ 1718587 w 6994525"/>
                  <a:gd name="connsiteY4221" fmla="*/ 6549718 h 7571036"/>
                  <a:gd name="connsiteX4222" fmla="*/ 1719574 w 6994525"/>
                  <a:gd name="connsiteY4222" fmla="*/ 5187883 h 7571036"/>
                  <a:gd name="connsiteX4223" fmla="*/ 1718836 w 6994525"/>
                  <a:gd name="connsiteY4223" fmla="*/ 5187142 h 7571036"/>
                  <a:gd name="connsiteX4224" fmla="*/ 1718096 w 6994525"/>
                  <a:gd name="connsiteY4224" fmla="*/ 5187883 h 7571036"/>
                  <a:gd name="connsiteX4225" fmla="*/ 1718836 w 6994525"/>
                  <a:gd name="connsiteY4225" fmla="*/ 5188620 h 7571036"/>
                  <a:gd name="connsiteX4226" fmla="*/ 1719574 w 6994525"/>
                  <a:gd name="connsiteY4226" fmla="*/ 5187883 h 7571036"/>
                  <a:gd name="connsiteX4227" fmla="*/ 1722040 w 6994525"/>
                  <a:gd name="connsiteY4227" fmla="*/ 2532117 h 7571036"/>
                  <a:gd name="connsiteX4228" fmla="*/ 1694424 w 6994525"/>
                  <a:gd name="connsiteY4228" fmla="*/ 2504501 h 7571036"/>
                  <a:gd name="connsiteX4229" fmla="*/ 1666808 w 6994525"/>
                  <a:gd name="connsiteY4229" fmla="*/ 2532117 h 7571036"/>
                  <a:gd name="connsiteX4230" fmla="*/ 1694424 w 6994525"/>
                  <a:gd name="connsiteY4230" fmla="*/ 2559734 h 7571036"/>
                  <a:gd name="connsiteX4231" fmla="*/ 1722040 w 6994525"/>
                  <a:gd name="connsiteY4231" fmla="*/ 2532117 h 7571036"/>
                  <a:gd name="connsiteX4232" fmla="*/ 1722780 w 6994525"/>
                  <a:gd name="connsiteY4232" fmla="*/ 2797923 h 7571036"/>
                  <a:gd name="connsiteX4233" fmla="*/ 1692943 w 6994525"/>
                  <a:gd name="connsiteY4233" fmla="*/ 2768085 h 7571036"/>
                  <a:gd name="connsiteX4234" fmla="*/ 1663108 w 6994525"/>
                  <a:gd name="connsiteY4234" fmla="*/ 2797923 h 7571036"/>
                  <a:gd name="connsiteX4235" fmla="*/ 1692943 w 6994525"/>
                  <a:gd name="connsiteY4235" fmla="*/ 2827759 h 7571036"/>
                  <a:gd name="connsiteX4236" fmla="*/ 1722780 w 6994525"/>
                  <a:gd name="connsiteY4236" fmla="*/ 2797923 h 7571036"/>
                  <a:gd name="connsiteX4237" fmla="*/ 1724508 w 6994525"/>
                  <a:gd name="connsiteY4237" fmla="*/ 162819 h 7571036"/>
                  <a:gd name="connsiteX4238" fmla="*/ 1707001 w 6994525"/>
                  <a:gd name="connsiteY4238" fmla="*/ 145312 h 7571036"/>
                  <a:gd name="connsiteX4239" fmla="*/ 1689493 w 6994525"/>
                  <a:gd name="connsiteY4239" fmla="*/ 162819 h 7571036"/>
                  <a:gd name="connsiteX4240" fmla="*/ 1707001 w 6994525"/>
                  <a:gd name="connsiteY4240" fmla="*/ 180325 h 7571036"/>
                  <a:gd name="connsiteX4241" fmla="*/ 1724508 w 6994525"/>
                  <a:gd name="connsiteY4241" fmla="*/ 162819 h 7571036"/>
                  <a:gd name="connsiteX4242" fmla="*/ 1726480 w 6994525"/>
                  <a:gd name="connsiteY4242" fmla="*/ 1191392 h 7571036"/>
                  <a:gd name="connsiteX4243" fmla="*/ 1712673 w 6994525"/>
                  <a:gd name="connsiteY4243" fmla="*/ 1177581 h 7571036"/>
                  <a:gd name="connsiteX4244" fmla="*/ 1698864 w 6994525"/>
                  <a:gd name="connsiteY4244" fmla="*/ 1191392 h 7571036"/>
                  <a:gd name="connsiteX4245" fmla="*/ 1712673 w 6994525"/>
                  <a:gd name="connsiteY4245" fmla="*/ 1205202 h 7571036"/>
                  <a:gd name="connsiteX4246" fmla="*/ 1726480 w 6994525"/>
                  <a:gd name="connsiteY4246" fmla="*/ 1191392 h 7571036"/>
                  <a:gd name="connsiteX4247" fmla="*/ 1727958 w 6994525"/>
                  <a:gd name="connsiteY4247" fmla="*/ 284599 h 7571036"/>
                  <a:gd name="connsiteX4248" fmla="*/ 1710696 w 6994525"/>
                  <a:gd name="connsiteY4248" fmla="*/ 267338 h 7571036"/>
                  <a:gd name="connsiteX4249" fmla="*/ 1693438 w 6994525"/>
                  <a:gd name="connsiteY4249" fmla="*/ 284599 h 7571036"/>
                  <a:gd name="connsiteX4250" fmla="*/ 1710696 w 6994525"/>
                  <a:gd name="connsiteY4250" fmla="*/ 301856 h 7571036"/>
                  <a:gd name="connsiteX4251" fmla="*/ 1727958 w 6994525"/>
                  <a:gd name="connsiteY4251" fmla="*/ 284599 h 7571036"/>
                  <a:gd name="connsiteX4252" fmla="*/ 1730425 w 6994525"/>
                  <a:gd name="connsiteY4252" fmla="*/ 2279634 h 7571036"/>
                  <a:gd name="connsiteX4253" fmla="*/ 1719822 w 6994525"/>
                  <a:gd name="connsiteY4253" fmla="*/ 2269029 h 7571036"/>
                  <a:gd name="connsiteX4254" fmla="*/ 1709218 w 6994525"/>
                  <a:gd name="connsiteY4254" fmla="*/ 2279634 h 7571036"/>
                  <a:gd name="connsiteX4255" fmla="*/ 1719822 w 6994525"/>
                  <a:gd name="connsiteY4255" fmla="*/ 2290239 h 7571036"/>
                  <a:gd name="connsiteX4256" fmla="*/ 1730425 w 6994525"/>
                  <a:gd name="connsiteY4256" fmla="*/ 2279634 h 7571036"/>
                  <a:gd name="connsiteX4257" fmla="*/ 1731411 w 6994525"/>
                  <a:gd name="connsiteY4257" fmla="*/ 407116 h 7571036"/>
                  <a:gd name="connsiteX4258" fmla="*/ 1714644 w 6994525"/>
                  <a:gd name="connsiteY4258" fmla="*/ 390350 h 7571036"/>
                  <a:gd name="connsiteX4259" fmla="*/ 1697877 w 6994525"/>
                  <a:gd name="connsiteY4259" fmla="*/ 407116 h 7571036"/>
                  <a:gd name="connsiteX4260" fmla="*/ 1714644 w 6994525"/>
                  <a:gd name="connsiteY4260" fmla="*/ 423883 h 7571036"/>
                  <a:gd name="connsiteX4261" fmla="*/ 1731411 w 6994525"/>
                  <a:gd name="connsiteY4261" fmla="*/ 407116 h 7571036"/>
                  <a:gd name="connsiteX4262" fmla="*/ 1734616 w 6994525"/>
                  <a:gd name="connsiteY4262" fmla="*/ 3882017 h 7571036"/>
                  <a:gd name="connsiteX4263" fmla="*/ 1722780 w 6994525"/>
                  <a:gd name="connsiteY4263" fmla="*/ 3870181 h 7571036"/>
                  <a:gd name="connsiteX4264" fmla="*/ 1710945 w 6994525"/>
                  <a:gd name="connsiteY4264" fmla="*/ 3882017 h 7571036"/>
                  <a:gd name="connsiteX4265" fmla="*/ 1722780 w 6994525"/>
                  <a:gd name="connsiteY4265" fmla="*/ 3893853 h 7571036"/>
                  <a:gd name="connsiteX4266" fmla="*/ 1734616 w 6994525"/>
                  <a:gd name="connsiteY4266" fmla="*/ 3882017 h 7571036"/>
                  <a:gd name="connsiteX4267" fmla="*/ 1735355 w 6994525"/>
                  <a:gd name="connsiteY4267" fmla="*/ 530380 h 7571036"/>
                  <a:gd name="connsiteX4268" fmla="*/ 1718836 w 6994525"/>
                  <a:gd name="connsiteY4268" fmla="*/ 513859 h 7571036"/>
                  <a:gd name="connsiteX4269" fmla="*/ 1702315 w 6994525"/>
                  <a:gd name="connsiteY4269" fmla="*/ 530380 h 7571036"/>
                  <a:gd name="connsiteX4270" fmla="*/ 1718836 w 6994525"/>
                  <a:gd name="connsiteY4270" fmla="*/ 546900 h 7571036"/>
                  <a:gd name="connsiteX4271" fmla="*/ 1735355 w 6994525"/>
                  <a:gd name="connsiteY4271" fmla="*/ 530380 h 7571036"/>
                  <a:gd name="connsiteX4272" fmla="*/ 1735357 w 6994525"/>
                  <a:gd name="connsiteY4272" fmla="*/ 3189486 h 7571036"/>
                  <a:gd name="connsiteX4273" fmla="*/ 1700096 w 6994525"/>
                  <a:gd name="connsiteY4273" fmla="*/ 3154224 h 7571036"/>
                  <a:gd name="connsiteX4274" fmla="*/ 1664836 w 6994525"/>
                  <a:gd name="connsiteY4274" fmla="*/ 3189486 h 7571036"/>
                  <a:gd name="connsiteX4275" fmla="*/ 1700096 w 6994525"/>
                  <a:gd name="connsiteY4275" fmla="*/ 3224747 h 7571036"/>
                  <a:gd name="connsiteX4276" fmla="*/ 1735357 w 6994525"/>
                  <a:gd name="connsiteY4276" fmla="*/ 3189486 h 7571036"/>
                  <a:gd name="connsiteX4277" fmla="*/ 1736342 w 6994525"/>
                  <a:gd name="connsiteY4277" fmla="*/ 1322547 h 7571036"/>
                  <a:gd name="connsiteX4278" fmla="*/ 1722040 w 6994525"/>
                  <a:gd name="connsiteY4278" fmla="*/ 1308246 h 7571036"/>
                  <a:gd name="connsiteX4279" fmla="*/ 1707741 w 6994525"/>
                  <a:gd name="connsiteY4279" fmla="*/ 1322547 h 7571036"/>
                  <a:gd name="connsiteX4280" fmla="*/ 1722040 w 6994525"/>
                  <a:gd name="connsiteY4280" fmla="*/ 1336849 h 7571036"/>
                  <a:gd name="connsiteX4281" fmla="*/ 1736342 w 6994525"/>
                  <a:gd name="connsiteY4281" fmla="*/ 1322547 h 7571036"/>
                  <a:gd name="connsiteX4282" fmla="*/ 1740041 w 6994525"/>
                  <a:gd name="connsiteY4282" fmla="*/ 654684 h 7571036"/>
                  <a:gd name="connsiteX4283" fmla="*/ 1724013 w 6994525"/>
                  <a:gd name="connsiteY4283" fmla="*/ 638601 h 7571036"/>
                  <a:gd name="connsiteX4284" fmla="*/ 1707986 w 6994525"/>
                  <a:gd name="connsiteY4284" fmla="*/ 654684 h 7571036"/>
                  <a:gd name="connsiteX4285" fmla="*/ 1724013 w 6994525"/>
                  <a:gd name="connsiteY4285" fmla="*/ 670704 h 7571036"/>
                  <a:gd name="connsiteX4286" fmla="*/ 1740041 w 6994525"/>
                  <a:gd name="connsiteY4286" fmla="*/ 654684 h 7571036"/>
                  <a:gd name="connsiteX4287" fmla="*/ 1740288 w 6994525"/>
                  <a:gd name="connsiteY4287" fmla="*/ 6301663 h 7571036"/>
                  <a:gd name="connsiteX4288" fmla="*/ 1725740 w 6994525"/>
                  <a:gd name="connsiteY4288" fmla="*/ 6287115 h 7571036"/>
                  <a:gd name="connsiteX4289" fmla="*/ 1711192 w 6994525"/>
                  <a:gd name="connsiteY4289" fmla="*/ 6301663 h 7571036"/>
                  <a:gd name="connsiteX4290" fmla="*/ 1725740 w 6994525"/>
                  <a:gd name="connsiteY4290" fmla="*/ 6316212 h 7571036"/>
                  <a:gd name="connsiteX4291" fmla="*/ 1740288 w 6994525"/>
                  <a:gd name="connsiteY4291" fmla="*/ 6301663 h 7571036"/>
                  <a:gd name="connsiteX4292" fmla="*/ 1740780 w 6994525"/>
                  <a:gd name="connsiteY4292" fmla="*/ 6049911 h 7571036"/>
                  <a:gd name="connsiteX4293" fmla="*/ 1736836 w 6994525"/>
                  <a:gd name="connsiteY4293" fmla="*/ 6045966 h 7571036"/>
                  <a:gd name="connsiteX4294" fmla="*/ 1732890 w 6994525"/>
                  <a:gd name="connsiteY4294" fmla="*/ 6049911 h 7571036"/>
                  <a:gd name="connsiteX4295" fmla="*/ 1736836 w 6994525"/>
                  <a:gd name="connsiteY4295" fmla="*/ 6053856 h 7571036"/>
                  <a:gd name="connsiteX4296" fmla="*/ 1740780 w 6994525"/>
                  <a:gd name="connsiteY4296" fmla="*/ 6049911 h 7571036"/>
                  <a:gd name="connsiteX4297" fmla="*/ 1742753 w 6994525"/>
                  <a:gd name="connsiteY4297" fmla="*/ 6426186 h 7571036"/>
                  <a:gd name="connsiteX4298" fmla="*/ 1721304 w 6994525"/>
                  <a:gd name="connsiteY4298" fmla="*/ 6404733 h 7571036"/>
                  <a:gd name="connsiteX4299" fmla="*/ 1699851 w 6994525"/>
                  <a:gd name="connsiteY4299" fmla="*/ 6426186 h 7571036"/>
                  <a:gd name="connsiteX4300" fmla="*/ 1721304 w 6994525"/>
                  <a:gd name="connsiteY4300" fmla="*/ 6447885 h 7571036"/>
                  <a:gd name="connsiteX4301" fmla="*/ 1742753 w 6994525"/>
                  <a:gd name="connsiteY4301" fmla="*/ 6426186 h 7571036"/>
                  <a:gd name="connsiteX4302" fmla="*/ 1744230 w 6994525"/>
                  <a:gd name="connsiteY4302" fmla="*/ 780414 h 7571036"/>
                  <a:gd name="connsiteX4303" fmla="*/ 1728944 w 6994525"/>
                  <a:gd name="connsiteY4303" fmla="*/ 764877 h 7571036"/>
                  <a:gd name="connsiteX4304" fmla="*/ 1713410 w 6994525"/>
                  <a:gd name="connsiteY4304" fmla="*/ 780414 h 7571036"/>
                  <a:gd name="connsiteX4305" fmla="*/ 1728944 w 6994525"/>
                  <a:gd name="connsiteY4305" fmla="*/ 795699 h 7571036"/>
                  <a:gd name="connsiteX4306" fmla="*/ 1744230 w 6994525"/>
                  <a:gd name="connsiteY4306" fmla="*/ 780414 h 7571036"/>
                  <a:gd name="connsiteX4307" fmla="*/ 1744728 w 6994525"/>
                  <a:gd name="connsiteY4307" fmla="*/ 4266922 h 7571036"/>
                  <a:gd name="connsiteX4308" fmla="*/ 1738561 w 6994525"/>
                  <a:gd name="connsiteY4308" fmla="*/ 4260757 h 7571036"/>
                  <a:gd name="connsiteX4309" fmla="*/ 1732398 w 6994525"/>
                  <a:gd name="connsiteY4309" fmla="*/ 4266922 h 7571036"/>
                  <a:gd name="connsiteX4310" fmla="*/ 1738561 w 6994525"/>
                  <a:gd name="connsiteY4310" fmla="*/ 4273088 h 7571036"/>
                  <a:gd name="connsiteX4311" fmla="*/ 1744728 w 6994525"/>
                  <a:gd name="connsiteY4311" fmla="*/ 4266922 h 7571036"/>
                  <a:gd name="connsiteX4312" fmla="*/ 1745712 w 6994525"/>
                  <a:gd name="connsiteY4312" fmla="*/ 6176404 h 7571036"/>
                  <a:gd name="connsiteX4313" fmla="*/ 1730917 w 6994525"/>
                  <a:gd name="connsiteY4313" fmla="*/ 6161609 h 7571036"/>
                  <a:gd name="connsiteX4314" fmla="*/ 1716123 w 6994525"/>
                  <a:gd name="connsiteY4314" fmla="*/ 6176404 h 7571036"/>
                  <a:gd name="connsiteX4315" fmla="*/ 1730917 w 6994525"/>
                  <a:gd name="connsiteY4315" fmla="*/ 6191198 h 7571036"/>
                  <a:gd name="connsiteX4316" fmla="*/ 1745712 w 6994525"/>
                  <a:gd name="connsiteY4316" fmla="*/ 6176404 h 7571036"/>
                  <a:gd name="connsiteX4317" fmla="*/ 1746947 w 6994525"/>
                  <a:gd name="connsiteY4317" fmla="*/ 1455434 h 7571036"/>
                  <a:gd name="connsiteX4318" fmla="*/ 1732644 w 6994525"/>
                  <a:gd name="connsiteY4318" fmla="*/ 1441135 h 7571036"/>
                  <a:gd name="connsiteX4319" fmla="*/ 1718344 w 6994525"/>
                  <a:gd name="connsiteY4319" fmla="*/ 1455434 h 7571036"/>
                  <a:gd name="connsiteX4320" fmla="*/ 1732644 w 6994525"/>
                  <a:gd name="connsiteY4320" fmla="*/ 1469738 h 7571036"/>
                  <a:gd name="connsiteX4321" fmla="*/ 1746947 w 6994525"/>
                  <a:gd name="connsiteY4321" fmla="*/ 1455434 h 7571036"/>
                  <a:gd name="connsiteX4322" fmla="*/ 1749165 w 6994525"/>
                  <a:gd name="connsiteY4322" fmla="*/ 5047333 h 7571036"/>
                  <a:gd name="connsiteX4323" fmla="*/ 1736095 w 6994525"/>
                  <a:gd name="connsiteY4323" fmla="*/ 5034265 h 7571036"/>
                  <a:gd name="connsiteX4324" fmla="*/ 1723027 w 6994525"/>
                  <a:gd name="connsiteY4324" fmla="*/ 5047333 h 7571036"/>
                  <a:gd name="connsiteX4325" fmla="*/ 1736095 w 6994525"/>
                  <a:gd name="connsiteY4325" fmla="*/ 5060403 h 7571036"/>
                  <a:gd name="connsiteX4326" fmla="*/ 1749165 w 6994525"/>
                  <a:gd name="connsiteY4326" fmla="*/ 5047333 h 7571036"/>
                  <a:gd name="connsiteX4327" fmla="*/ 1749657 w 6994525"/>
                  <a:gd name="connsiteY4327" fmla="*/ 906878 h 7571036"/>
                  <a:gd name="connsiteX4328" fmla="*/ 1734863 w 6994525"/>
                  <a:gd name="connsiteY4328" fmla="*/ 892089 h 7571036"/>
                  <a:gd name="connsiteX4329" fmla="*/ 1720068 w 6994525"/>
                  <a:gd name="connsiteY4329" fmla="*/ 906878 h 7571036"/>
                  <a:gd name="connsiteX4330" fmla="*/ 1734863 w 6994525"/>
                  <a:gd name="connsiteY4330" fmla="*/ 921671 h 7571036"/>
                  <a:gd name="connsiteX4331" fmla="*/ 1749657 w 6994525"/>
                  <a:gd name="connsiteY4331" fmla="*/ 906878 h 7571036"/>
                  <a:gd name="connsiteX4332" fmla="*/ 1756807 w 6994525"/>
                  <a:gd name="connsiteY4332" fmla="*/ 4904073 h 7571036"/>
                  <a:gd name="connsiteX4333" fmla="*/ 1755820 w 6994525"/>
                  <a:gd name="connsiteY4333" fmla="*/ 4903087 h 7571036"/>
                  <a:gd name="connsiteX4334" fmla="*/ 1754835 w 6994525"/>
                  <a:gd name="connsiteY4334" fmla="*/ 4904073 h 7571036"/>
                  <a:gd name="connsiteX4335" fmla="*/ 1755820 w 6994525"/>
                  <a:gd name="connsiteY4335" fmla="*/ 4905059 h 7571036"/>
                  <a:gd name="connsiteX4336" fmla="*/ 1756807 w 6994525"/>
                  <a:gd name="connsiteY4336" fmla="*/ 4904073 h 7571036"/>
                  <a:gd name="connsiteX4337" fmla="*/ 1758042 w 6994525"/>
                  <a:gd name="connsiteY4337" fmla="*/ 1590785 h 7571036"/>
                  <a:gd name="connsiteX4338" fmla="*/ 1744233 w 6994525"/>
                  <a:gd name="connsiteY4338" fmla="*/ 1576977 h 7571036"/>
                  <a:gd name="connsiteX4339" fmla="*/ 1730426 w 6994525"/>
                  <a:gd name="connsiteY4339" fmla="*/ 1590785 h 7571036"/>
                  <a:gd name="connsiteX4340" fmla="*/ 1744233 w 6994525"/>
                  <a:gd name="connsiteY4340" fmla="*/ 1604595 h 7571036"/>
                  <a:gd name="connsiteX4341" fmla="*/ 1758042 w 6994525"/>
                  <a:gd name="connsiteY4341" fmla="*/ 1590785 h 7571036"/>
                  <a:gd name="connsiteX4342" fmla="*/ 1761987 w 6994525"/>
                  <a:gd name="connsiteY4342" fmla="*/ 3075563 h 7571036"/>
                  <a:gd name="connsiteX4343" fmla="*/ 1722286 w 6994525"/>
                  <a:gd name="connsiteY4343" fmla="*/ 3035864 h 7571036"/>
                  <a:gd name="connsiteX4344" fmla="*/ 1682589 w 6994525"/>
                  <a:gd name="connsiteY4344" fmla="*/ 3075563 h 7571036"/>
                  <a:gd name="connsiteX4345" fmla="*/ 1722286 w 6994525"/>
                  <a:gd name="connsiteY4345" fmla="*/ 3115265 h 7571036"/>
                  <a:gd name="connsiteX4346" fmla="*/ 1761987 w 6994525"/>
                  <a:gd name="connsiteY4346" fmla="*/ 3075563 h 7571036"/>
                  <a:gd name="connsiteX4347" fmla="*/ 1761988 w 6994525"/>
                  <a:gd name="connsiteY4347" fmla="*/ 4677715 h 7571036"/>
                  <a:gd name="connsiteX4348" fmla="*/ 1721301 w 6994525"/>
                  <a:gd name="connsiteY4348" fmla="*/ 4637030 h 7571036"/>
                  <a:gd name="connsiteX4349" fmla="*/ 1680617 w 6994525"/>
                  <a:gd name="connsiteY4349" fmla="*/ 4677715 h 7571036"/>
                  <a:gd name="connsiteX4350" fmla="*/ 1721301 w 6994525"/>
                  <a:gd name="connsiteY4350" fmla="*/ 4718399 h 7571036"/>
                  <a:gd name="connsiteX4351" fmla="*/ 1761988 w 6994525"/>
                  <a:gd name="connsiteY4351" fmla="*/ 4677715 h 7571036"/>
                  <a:gd name="connsiteX4352" fmla="*/ 1762728 w 6994525"/>
                  <a:gd name="connsiteY4352" fmla="*/ 3994453 h 7571036"/>
                  <a:gd name="connsiteX4353" fmla="*/ 1752370 w 6994525"/>
                  <a:gd name="connsiteY4353" fmla="*/ 3984097 h 7571036"/>
                  <a:gd name="connsiteX4354" fmla="*/ 1742016 w 6994525"/>
                  <a:gd name="connsiteY4354" fmla="*/ 3994453 h 7571036"/>
                  <a:gd name="connsiteX4355" fmla="*/ 1752370 w 6994525"/>
                  <a:gd name="connsiteY4355" fmla="*/ 4004811 h 7571036"/>
                  <a:gd name="connsiteX4356" fmla="*/ 1762728 w 6994525"/>
                  <a:gd name="connsiteY4356" fmla="*/ 3994453 h 7571036"/>
                  <a:gd name="connsiteX4357" fmla="*/ 1763713 w 6994525"/>
                  <a:gd name="connsiteY4357" fmla="*/ 1727608 h 7571036"/>
                  <a:gd name="connsiteX4358" fmla="*/ 1757795 w 6994525"/>
                  <a:gd name="connsiteY4358" fmla="*/ 1721929 h 7571036"/>
                  <a:gd name="connsiteX4359" fmla="*/ 1752124 w 6994525"/>
                  <a:gd name="connsiteY4359" fmla="*/ 1727608 h 7571036"/>
                  <a:gd name="connsiteX4360" fmla="*/ 1757795 w 6994525"/>
                  <a:gd name="connsiteY4360" fmla="*/ 1733532 h 7571036"/>
                  <a:gd name="connsiteX4361" fmla="*/ 1763713 w 6994525"/>
                  <a:gd name="connsiteY4361" fmla="*/ 1727608 h 7571036"/>
                  <a:gd name="connsiteX4362" fmla="*/ 1765683 w 6994525"/>
                  <a:gd name="connsiteY4362" fmla="*/ 19096 h 7571036"/>
                  <a:gd name="connsiteX4363" fmla="*/ 1747684 w 6994525"/>
                  <a:gd name="connsiteY4363" fmla="*/ 1097 h 7571036"/>
                  <a:gd name="connsiteX4364" fmla="*/ 1729685 w 6994525"/>
                  <a:gd name="connsiteY4364" fmla="*/ 19096 h 7571036"/>
                  <a:gd name="connsiteX4365" fmla="*/ 1747684 w 6994525"/>
                  <a:gd name="connsiteY4365" fmla="*/ 37093 h 7571036"/>
                  <a:gd name="connsiteX4366" fmla="*/ 1765683 w 6994525"/>
                  <a:gd name="connsiteY4366" fmla="*/ 19096 h 7571036"/>
                  <a:gd name="connsiteX4367" fmla="*/ 1769383 w 6994525"/>
                  <a:gd name="connsiteY4367" fmla="*/ 2690906 h 7571036"/>
                  <a:gd name="connsiteX4368" fmla="*/ 1737330 w 6994525"/>
                  <a:gd name="connsiteY4368" fmla="*/ 2658849 h 7571036"/>
                  <a:gd name="connsiteX4369" fmla="*/ 1705274 w 6994525"/>
                  <a:gd name="connsiteY4369" fmla="*/ 2690906 h 7571036"/>
                  <a:gd name="connsiteX4370" fmla="*/ 1737330 w 6994525"/>
                  <a:gd name="connsiteY4370" fmla="*/ 2722962 h 7571036"/>
                  <a:gd name="connsiteX4371" fmla="*/ 1769383 w 6994525"/>
                  <a:gd name="connsiteY4371" fmla="*/ 2690906 h 7571036"/>
                  <a:gd name="connsiteX4372" fmla="*/ 1770123 w 6994525"/>
                  <a:gd name="connsiteY4372" fmla="*/ 5670182 h 7571036"/>
                  <a:gd name="connsiteX4373" fmla="*/ 1768642 w 6994525"/>
                  <a:gd name="connsiteY4373" fmla="*/ 5668703 h 7571036"/>
                  <a:gd name="connsiteX4374" fmla="*/ 1767164 w 6994525"/>
                  <a:gd name="connsiteY4374" fmla="*/ 5670182 h 7571036"/>
                  <a:gd name="connsiteX4375" fmla="*/ 1768642 w 6994525"/>
                  <a:gd name="connsiteY4375" fmla="*/ 5671663 h 7571036"/>
                  <a:gd name="connsiteX4376" fmla="*/ 1770123 w 6994525"/>
                  <a:gd name="connsiteY4376" fmla="*/ 5670182 h 7571036"/>
                  <a:gd name="connsiteX4377" fmla="*/ 1772096 w 6994525"/>
                  <a:gd name="connsiteY4377" fmla="*/ 4526074 h 7571036"/>
                  <a:gd name="connsiteX4378" fmla="*/ 1752861 w 6994525"/>
                  <a:gd name="connsiteY4378" fmla="*/ 4506839 h 7571036"/>
                  <a:gd name="connsiteX4379" fmla="*/ 1733630 w 6994525"/>
                  <a:gd name="connsiteY4379" fmla="*/ 4526074 h 7571036"/>
                  <a:gd name="connsiteX4380" fmla="*/ 1752861 w 6994525"/>
                  <a:gd name="connsiteY4380" fmla="*/ 4545305 h 7571036"/>
                  <a:gd name="connsiteX4381" fmla="*/ 1772096 w 6994525"/>
                  <a:gd name="connsiteY4381" fmla="*/ 4526074 h 7571036"/>
                  <a:gd name="connsiteX4382" fmla="*/ 1775547 w 6994525"/>
                  <a:gd name="connsiteY4382" fmla="*/ 5928842 h 7571036"/>
                  <a:gd name="connsiteX4383" fmla="*/ 1752370 w 6994525"/>
                  <a:gd name="connsiteY4383" fmla="*/ 5905662 h 7571036"/>
                  <a:gd name="connsiteX4384" fmla="*/ 1729190 w 6994525"/>
                  <a:gd name="connsiteY4384" fmla="*/ 5928842 h 7571036"/>
                  <a:gd name="connsiteX4385" fmla="*/ 1752370 w 6994525"/>
                  <a:gd name="connsiteY4385" fmla="*/ 5952018 h 7571036"/>
                  <a:gd name="connsiteX4386" fmla="*/ 1775547 w 6994525"/>
                  <a:gd name="connsiteY4386" fmla="*/ 5928842 h 7571036"/>
                  <a:gd name="connsiteX4387" fmla="*/ 1776780 w 6994525"/>
                  <a:gd name="connsiteY4387" fmla="*/ 1866943 h 7571036"/>
                  <a:gd name="connsiteX4388" fmla="*/ 1773574 w 6994525"/>
                  <a:gd name="connsiteY4388" fmla="*/ 1863741 h 7571036"/>
                  <a:gd name="connsiteX4389" fmla="*/ 1770370 w 6994525"/>
                  <a:gd name="connsiteY4389" fmla="*/ 1866943 h 7571036"/>
                  <a:gd name="connsiteX4390" fmla="*/ 1773574 w 6994525"/>
                  <a:gd name="connsiteY4390" fmla="*/ 1870150 h 7571036"/>
                  <a:gd name="connsiteX4391" fmla="*/ 1776780 w 6994525"/>
                  <a:gd name="connsiteY4391" fmla="*/ 1866943 h 7571036"/>
                  <a:gd name="connsiteX4392" fmla="*/ 1777275 w 6994525"/>
                  <a:gd name="connsiteY4392" fmla="*/ 2431271 h 7571036"/>
                  <a:gd name="connsiteX4393" fmla="*/ 1751383 w 6994525"/>
                  <a:gd name="connsiteY4393" fmla="*/ 2405383 h 7571036"/>
                  <a:gd name="connsiteX4394" fmla="*/ 1725494 w 6994525"/>
                  <a:gd name="connsiteY4394" fmla="*/ 2431271 h 7571036"/>
                  <a:gd name="connsiteX4395" fmla="*/ 1751383 w 6994525"/>
                  <a:gd name="connsiteY4395" fmla="*/ 2457160 h 7571036"/>
                  <a:gd name="connsiteX4396" fmla="*/ 1777275 w 6994525"/>
                  <a:gd name="connsiteY4396" fmla="*/ 2431271 h 7571036"/>
                  <a:gd name="connsiteX4397" fmla="*/ 1780726 w 6994525"/>
                  <a:gd name="connsiteY4397" fmla="*/ 5538513 h 7571036"/>
                  <a:gd name="connsiteX4398" fmla="*/ 1778014 w 6994525"/>
                  <a:gd name="connsiteY4398" fmla="*/ 5535800 h 7571036"/>
                  <a:gd name="connsiteX4399" fmla="*/ 1775301 w 6994525"/>
                  <a:gd name="connsiteY4399" fmla="*/ 5538513 h 7571036"/>
                  <a:gd name="connsiteX4400" fmla="*/ 1778014 w 6994525"/>
                  <a:gd name="connsiteY4400" fmla="*/ 5541227 h 7571036"/>
                  <a:gd name="connsiteX4401" fmla="*/ 1780726 w 6994525"/>
                  <a:gd name="connsiteY4401" fmla="*/ 5538513 h 7571036"/>
                  <a:gd name="connsiteX4402" fmla="*/ 1787384 w 6994525"/>
                  <a:gd name="connsiteY4402" fmla="*/ 5800130 h 7571036"/>
                  <a:gd name="connsiteX4403" fmla="*/ 1760014 w 6994525"/>
                  <a:gd name="connsiteY4403" fmla="*/ 5772759 h 7571036"/>
                  <a:gd name="connsiteX4404" fmla="*/ 1732644 w 6994525"/>
                  <a:gd name="connsiteY4404" fmla="*/ 5800130 h 7571036"/>
                  <a:gd name="connsiteX4405" fmla="*/ 1760014 w 6994525"/>
                  <a:gd name="connsiteY4405" fmla="*/ 5827501 h 7571036"/>
                  <a:gd name="connsiteX4406" fmla="*/ 1787384 w 6994525"/>
                  <a:gd name="connsiteY4406" fmla="*/ 5800130 h 7571036"/>
                  <a:gd name="connsiteX4407" fmla="*/ 1792562 w 6994525"/>
                  <a:gd name="connsiteY4407" fmla="*/ 5405114 h 7571036"/>
                  <a:gd name="connsiteX4408" fmla="*/ 1789109 w 6994525"/>
                  <a:gd name="connsiteY4408" fmla="*/ 5401663 h 7571036"/>
                  <a:gd name="connsiteX4409" fmla="*/ 1785658 w 6994525"/>
                  <a:gd name="connsiteY4409" fmla="*/ 5405114 h 7571036"/>
                  <a:gd name="connsiteX4410" fmla="*/ 1789109 w 6994525"/>
                  <a:gd name="connsiteY4410" fmla="*/ 5408568 h 7571036"/>
                  <a:gd name="connsiteX4411" fmla="*/ 1792562 w 6994525"/>
                  <a:gd name="connsiteY4411" fmla="*/ 5405114 h 7571036"/>
                  <a:gd name="connsiteX4412" fmla="*/ 1792563 w 6994525"/>
                  <a:gd name="connsiteY4412" fmla="*/ 2008890 h 7571036"/>
                  <a:gd name="connsiteX4413" fmla="*/ 1791577 w 6994525"/>
                  <a:gd name="connsiteY4413" fmla="*/ 2007903 h 7571036"/>
                  <a:gd name="connsiteX4414" fmla="*/ 1790591 w 6994525"/>
                  <a:gd name="connsiteY4414" fmla="*/ 2008890 h 7571036"/>
                  <a:gd name="connsiteX4415" fmla="*/ 1791577 w 6994525"/>
                  <a:gd name="connsiteY4415" fmla="*/ 2009875 h 7571036"/>
                  <a:gd name="connsiteX4416" fmla="*/ 1792563 w 6994525"/>
                  <a:gd name="connsiteY4416" fmla="*/ 2008890 h 7571036"/>
                  <a:gd name="connsiteX4417" fmla="*/ 1796013 w 6994525"/>
                  <a:gd name="connsiteY4417" fmla="*/ 2963122 h 7571036"/>
                  <a:gd name="connsiteX4418" fmla="*/ 1751630 w 6994525"/>
                  <a:gd name="connsiteY4418" fmla="*/ 2918491 h 7571036"/>
                  <a:gd name="connsiteX4419" fmla="*/ 1707246 w 6994525"/>
                  <a:gd name="connsiteY4419" fmla="*/ 2963122 h 7571036"/>
                  <a:gd name="connsiteX4420" fmla="*/ 1751630 w 6994525"/>
                  <a:gd name="connsiteY4420" fmla="*/ 3007507 h 7571036"/>
                  <a:gd name="connsiteX4421" fmla="*/ 1796013 w 6994525"/>
                  <a:gd name="connsiteY4421" fmla="*/ 2963122 h 7571036"/>
                  <a:gd name="connsiteX4422" fmla="*/ 1797739 w 6994525"/>
                  <a:gd name="connsiteY4422" fmla="*/ 2185939 h 7571036"/>
                  <a:gd name="connsiteX4423" fmla="*/ 1787382 w 6994525"/>
                  <a:gd name="connsiteY4423" fmla="*/ 2175585 h 7571036"/>
                  <a:gd name="connsiteX4424" fmla="*/ 1777027 w 6994525"/>
                  <a:gd name="connsiteY4424" fmla="*/ 2185939 h 7571036"/>
                  <a:gd name="connsiteX4425" fmla="*/ 1787382 w 6994525"/>
                  <a:gd name="connsiteY4425" fmla="*/ 2196297 h 7571036"/>
                  <a:gd name="connsiteX4426" fmla="*/ 1797739 w 6994525"/>
                  <a:gd name="connsiteY4426" fmla="*/ 2185939 h 7571036"/>
                  <a:gd name="connsiteX4427" fmla="*/ 1797740 w 6994525"/>
                  <a:gd name="connsiteY4427" fmla="*/ 4371224 h 7571036"/>
                  <a:gd name="connsiteX4428" fmla="*/ 1789604 w 6994525"/>
                  <a:gd name="connsiteY4428" fmla="*/ 4363087 h 7571036"/>
                  <a:gd name="connsiteX4429" fmla="*/ 1781467 w 6994525"/>
                  <a:gd name="connsiteY4429" fmla="*/ 4371224 h 7571036"/>
                  <a:gd name="connsiteX4430" fmla="*/ 1789604 w 6994525"/>
                  <a:gd name="connsiteY4430" fmla="*/ 4379360 h 7571036"/>
                  <a:gd name="connsiteX4431" fmla="*/ 1797740 w 6994525"/>
                  <a:gd name="connsiteY4431" fmla="*/ 4371224 h 7571036"/>
                  <a:gd name="connsiteX4432" fmla="*/ 1799467 w 6994525"/>
                  <a:gd name="connsiteY4432" fmla="*/ 4104673 h 7571036"/>
                  <a:gd name="connsiteX4433" fmla="*/ 1789110 w 6994525"/>
                  <a:gd name="connsiteY4433" fmla="*/ 4094564 h 7571036"/>
                  <a:gd name="connsiteX4434" fmla="*/ 1779001 w 6994525"/>
                  <a:gd name="connsiteY4434" fmla="*/ 4104673 h 7571036"/>
                  <a:gd name="connsiteX4435" fmla="*/ 1789110 w 6994525"/>
                  <a:gd name="connsiteY4435" fmla="*/ 4114782 h 7571036"/>
                  <a:gd name="connsiteX4436" fmla="*/ 1799467 w 6994525"/>
                  <a:gd name="connsiteY4436" fmla="*/ 4104673 h 7571036"/>
                  <a:gd name="connsiteX4437" fmla="*/ 1800205 w 6994525"/>
                  <a:gd name="connsiteY4437" fmla="*/ 7201172 h 7571036"/>
                  <a:gd name="connsiteX4438" fmla="*/ 1798724 w 6994525"/>
                  <a:gd name="connsiteY4438" fmla="*/ 7199693 h 7571036"/>
                  <a:gd name="connsiteX4439" fmla="*/ 1797246 w 6994525"/>
                  <a:gd name="connsiteY4439" fmla="*/ 7201172 h 7571036"/>
                  <a:gd name="connsiteX4440" fmla="*/ 1798724 w 6994525"/>
                  <a:gd name="connsiteY4440" fmla="*/ 7202653 h 7571036"/>
                  <a:gd name="connsiteX4441" fmla="*/ 1800205 w 6994525"/>
                  <a:gd name="connsiteY4441" fmla="*/ 7201172 h 7571036"/>
                  <a:gd name="connsiteX4442" fmla="*/ 1801685 w 6994525"/>
                  <a:gd name="connsiteY4442" fmla="*/ 5269745 h 7571036"/>
                  <a:gd name="connsiteX4443" fmla="*/ 1801439 w 6994525"/>
                  <a:gd name="connsiteY4443" fmla="*/ 5269499 h 7571036"/>
                  <a:gd name="connsiteX4444" fmla="*/ 1801439 w 6994525"/>
                  <a:gd name="connsiteY4444" fmla="*/ 5269745 h 7571036"/>
                  <a:gd name="connsiteX4445" fmla="*/ 1802179 w 6994525"/>
                  <a:gd name="connsiteY4445" fmla="*/ 7082816 h 7571036"/>
                  <a:gd name="connsiteX4446" fmla="*/ 1800698 w 6994525"/>
                  <a:gd name="connsiteY4446" fmla="*/ 7081337 h 7571036"/>
                  <a:gd name="connsiteX4447" fmla="*/ 1799220 w 6994525"/>
                  <a:gd name="connsiteY4447" fmla="*/ 7082816 h 7571036"/>
                  <a:gd name="connsiteX4448" fmla="*/ 1800698 w 6994525"/>
                  <a:gd name="connsiteY4448" fmla="*/ 7084297 h 7571036"/>
                  <a:gd name="connsiteX4449" fmla="*/ 1802179 w 6994525"/>
                  <a:gd name="connsiteY4449" fmla="*/ 7082816 h 7571036"/>
                  <a:gd name="connsiteX4450" fmla="*/ 1804645 w 6994525"/>
                  <a:gd name="connsiteY4450" fmla="*/ 6963473 h 7571036"/>
                  <a:gd name="connsiteX4451" fmla="*/ 1802672 w 6994525"/>
                  <a:gd name="connsiteY4451" fmla="*/ 6961500 h 7571036"/>
                  <a:gd name="connsiteX4452" fmla="*/ 1800699 w 6994525"/>
                  <a:gd name="connsiteY4452" fmla="*/ 6963473 h 7571036"/>
                  <a:gd name="connsiteX4453" fmla="*/ 1802672 w 6994525"/>
                  <a:gd name="connsiteY4453" fmla="*/ 6965446 h 7571036"/>
                  <a:gd name="connsiteX4454" fmla="*/ 1804645 w 6994525"/>
                  <a:gd name="connsiteY4454" fmla="*/ 6963473 h 7571036"/>
                  <a:gd name="connsiteX4455" fmla="*/ 1813522 w 6994525"/>
                  <a:gd name="connsiteY4455" fmla="*/ 994396 h 7571036"/>
                  <a:gd name="connsiteX4456" fmla="*/ 1798479 w 6994525"/>
                  <a:gd name="connsiteY4456" fmla="*/ 979353 h 7571036"/>
                  <a:gd name="connsiteX4457" fmla="*/ 1783440 w 6994525"/>
                  <a:gd name="connsiteY4457" fmla="*/ 994396 h 7571036"/>
                  <a:gd name="connsiteX4458" fmla="*/ 1798479 w 6994525"/>
                  <a:gd name="connsiteY4458" fmla="*/ 1009440 h 7571036"/>
                  <a:gd name="connsiteX4459" fmla="*/ 1813522 w 6994525"/>
                  <a:gd name="connsiteY4459" fmla="*/ 994396 h 7571036"/>
                  <a:gd name="connsiteX4460" fmla="*/ 1815987 w 6994525"/>
                  <a:gd name="connsiteY4460" fmla="*/ 6847335 h 7571036"/>
                  <a:gd name="connsiteX4461" fmla="*/ 1812534 w 6994525"/>
                  <a:gd name="connsiteY4461" fmla="*/ 6843884 h 7571036"/>
                  <a:gd name="connsiteX4462" fmla="*/ 1809084 w 6994525"/>
                  <a:gd name="connsiteY4462" fmla="*/ 6847335 h 7571036"/>
                  <a:gd name="connsiteX4463" fmla="*/ 1812534 w 6994525"/>
                  <a:gd name="connsiteY4463" fmla="*/ 6850788 h 7571036"/>
                  <a:gd name="connsiteX4464" fmla="*/ 1815987 w 6994525"/>
                  <a:gd name="connsiteY4464" fmla="*/ 6847335 h 7571036"/>
                  <a:gd name="connsiteX4465" fmla="*/ 1818452 w 6994525"/>
                  <a:gd name="connsiteY4465" fmla="*/ 6727254 h 7571036"/>
                  <a:gd name="connsiteX4466" fmla="*/ 1815245 w 6994525"/>
                  <a:gd name="connsiteY4466" fmla="*/ 6724295 h 7571036"/>
                  <a:gd name="connsiteX4467" fmla="*/ 1812040 w 6994525"/>
                  <a:gd name="connsiteY4467" fmla="*/ 6727254 h 7571036"/>
                  <a:gd name="connsiteX4468" fmla="*/ 1815245 w 6994525"/>
                  <a:gd name="connsiteY4468" fmla="*/ 6730459 h 7571036"/>
                  <a:gd name="connsiteX4469" fmla="*/ 1818452 w 6994525"/>
                  <a:gd name="connsiteY4469" fmla="*/ 6727254 h 7571036"/>
                  <a:gd name="connsiteX4470" fmla="*/ 1819684 w 6994525"/>
                  <a:gd name="connsiteY4470" fmla="*/ 2586601 h 7571036"/>
                  <a:gd name="connsiteX4471" fmla="*/ 1788122 w 6994525"/>
                  <a:gd name="connsiteY4471" fmla="*/ 2555037 h 7571036"/>
                  <a:gd name="connsiteX4472" fmla="*/ 1756561 w 6994525"/>
                  <a:gd name="connsiteY4472" fmla="*/ 2586601 h 7571036"/>
                  <a:gd name="connsiteX4473" fmla="*/ 1788122 w 6994525"/>
                  <a:gd name="connsiteY4473" fmla="*/ 2618163 h 7571036"/>
                  <a:gd name="connsiteX4474" fmla="*/ 1819684 w 6994525"/>
                  <a:gd name="connsiteY4474" fmla="*/ 2586601 h 7571036"/>
                  <a:gd name="connsiteX4475" fmla="*/ 1819685 w 6994525"/>
                  <a:gd name="connsiteY4475" fmla="*/ 1122106 h 7571036"/>
                  <a:gd name="connsiteX4476" fmla="*/ 1805385 w 6994525"/>
                  <a:gd name="connsiteY4476" fmla="*/ 1107802 h 7571036"/>
                  <a:gd name="connsiteX4477" fmla="*/ 1791082 w 6994525"/>
                  <a:gd name="connsiteY4477" fmla="*/ 1122106 h 7571036"/>
                  <a:gd name="connsiteX4478" fmla="*/ 1805385 w 6994525"/>
                  <a:gd name="connsiteY4478" fmla="*/ 1136403 h 7571036"/>
                  <a:gd name="connsiteX4479" fmla="*/ 1819685 w 6994525"/>
                  <a:gd name="connsiteY4479" fmla="*/ 1122106 h 7571036"/>
                  <a:gd name="connsiteX4480" fmla="*/ 1820179 w 6994525"/>
                  <a:gd name="connsiteY4480" fmla="*/ 6606186 h 7571036"/>
                  <a:gd name="connsiteX4481" fmla="*/ 1818206 w 6994525"/>
                  <a:gd name="connsiteY4481" fmla="*/ 6604213 h 7571036"/>
                  <a:gd name="connsiteX4482" fmla="*/ 1816234 w 6994525"/>
                  <a:gd name="connsiteY4482" fmla="*/ 6606186 h 7571036"/>
                  <a:gd name="connsiteX4483" fmla="*/ 1818206 w 6994525"/>
                  <a:gd name="connsiteY4483" fmla="*/ 6608158 h 7571036"/>
                  <a:gd name="connsiteX4484" fmla="*/ 1820179 w 6994525"/>
                  <a:gd name="connsiteY4484" fmla="*/ 6606186 h 7571036"/>
                  <a:gd name="connsiteX4485" fmla="*/ 1827329 w 6994525"/>
                  <a:gd name="connsiteY4485" fmla="*/ 1250547 h 7571036"/>
                  <a:gd name="connsiteX4486" fmla="*/ 1813275 w 6994525"/>
                  <a:gd name="connsiteY4486" fmla="*/ 1236499 h 7571036"/>
                  <a:gd name="connsiteX4487" fmla="*/ 1798973 w 6994525"/>
                  <a:gd name="connsiteY4487" fmla="*/ 1250547 h 7571036"/>
                  <a:gd name="connsiteX4488" fmla="*/ 1813275 w 6994525"/>
                  <a:gd name="connsiteY4488" fmla="*/ 1264838 h 7571036"/>
                  <a:gd name="connsiteX4489" fmla="*/ 1827329 w 6994525"/>
                  <a:gd name="connsiteY4489" fmla="*/ 1250547 h 7571036"/>
                  <a:gd name="connsiteX4490" fmla="*/ 1828069 w 6994525"/>
                  <a:gd name="connsiteY4490" fmla="*/ 5131909 h 7571036"/>
                  <a:gd name="connsiteX4491" fmla="*/ 1815741 w 6994525"/>
                  <a:gd name="connsiteY4491" fmla="*/ 5119578 h 7571036"/>
                  <a:gd name="connsiteX4492" fmla="*/ 1803412 w 6994525"/>
                  <a:gd name="connsiteY4492" fmla="*/ 5131909 h 7571036"/>
                  <a:gd name="connsiteX4493" fmla="*/ 1815741 w 6994525"/>
                  <a:gd name="connsiteY4493" fmla="*/ 5144236 h 7571036"/>
                  <a:gd name="connsiteX4494" fmla="*/ 1828069 w 6994525"/>
                  <a:gd name="connsiteY4494" fmla="*/ 5131909 h 7571036"/>
                  <a:gd name="connsiteX4495" fmla="*/ 1828070 w 6994525"/>
                  <a:gd name="connsiteY4495" fmla="*/ 109315 h 7571036"/>
                  <a:gd name="connsiteX4496" fmla="*/ 1809825 w 6994525"/>
                  <a:gd name="connsiteY4496" fmla="*/ 90822 h 7571036"/>
                  <a:gd name="connsiteX4497" fmla="*/ 1791330 w 6994525"/>
                  <a:gd name="connsiteY4497" fmla="*/ 109315 h 7571036"/>
                  <a:gd name="connsiteX4498" fmla="*/ 1809825 w 6994525"/>
                  <a:gd name="connsiteY4498" fmla="*/ 127808 h 7571036"/>
                  <a:gd name="connsiteX4499" fmla="*/ 1828070 w 6994525"/>
                  <a:gd name="connsiteY4499" fmla="*/ 109315 h 7571036"/>
                  <a:gd name="connsiteX4500" fmla="*/ 1828070 w 6994525"/>
                  <a:gd name="connsiteY4500" fmla="*/ 4771663 h 7571036"/>
                  <a:gd name="connsiteX4501" fmla="*/ 1789113 w 6994525"/>
                  <a:gd name="connsiteY4501" fmla="*/ 4732702 h 7571036"/>
                  <a:gd name="connsiteX4502" fmla="*/ 1750152 w 6994525"/>
                  <a:gd name="connsiteY4502" fmla="*/ 4771663 h 7571036"/>
                  <a:gd name="connsiteX4503" fmla="*/ 1789113 w 6994525"/>
                  <a:gd name="connsiteY4503" fmla="*/ 4810620 h 7571036"/>
                  <a:gd name="connsiteX4504" fmla="*/ 1828070 w 6994525"/>
                  <a:gd name="connsiteY4504" fmla="*/ 4771663 h 7571036"/>
                  <a:gd name="connsiteX4505" fmla="*/ 1830780 w 6994525"/>
                  <a:gd name="connsiteY4505" fmla="*/ 229612 h 7571036"/>
                  <a:gd name="connsiteX4506" fmla="*/ 1812780 w 6994525"/>
                  <a:gd name="connsiteY4506" fmla="*/ 211614 h 7571036"/>
                  <a:gd name="connsiteX4507" fmla="*/ 1794782 w 6994525"/>
                  <a:gd name="connsiteY4507" fmla="*/ 229612 h 7571036"/>
                  <a:gd name="connsiteX4508" fmla="*/ 1812780 w 6994525"/>
                  <a:gd name="connsiteY4508" fmla="*/ 247610 h 7571036"/>
                  <a:gd name="connsiteX4509" fmla="*/ 1830780 w 6994525"/>
                  <a:gd name="connsiteY4509" fmla="*/ 229612 h 7571036"/>
                  <a:gd name="connsiteX4510" fmla="*/ 1832506 w 6994525"/>
                  <a:gd name="connsiteY4510" fmla="*/ 2852653 h 7571036"/>
                  <a:gd name="connsiteX4511" fmla="*/ 1788123 w 6994525"/>
                  <a:gd name="connsiteY4511" fmla="*/ 2808269 h 7571036"/>
                  <a:gd name="connsiteX4512" fmla="*/ 1743739 w 6994525"/>
                  <a:gd name="connsiteY4512" fmla="*/ 2852653 h 7571036"/>
                  <a:gd name="connsiteX4513" fmla="*/ 1788123 w 6994525"/>
                  <a:gd name="connsiteY4513" fmla="*/ 2897038 h 7571036"/>
                  <a:gd name="connsiteX4514" fmla="*/ 1832506 w 6994525"/>
                  <a:gd name="connsiteY4514" fmla="*/ 2852653 h 7571036"/>
                  <a:gd name="connsiteX4515" fmla="*/ 1833493 w 6994525"/>
                  <a:gd name="connsiteY4515" fmla="*/ 4992100 h 7571036"/>
                  <a:gd name="connsiteX4516" fmla="*/ 1832261 w 6994525"/>
                  <a:gd name="connsiteY4516" fmla="*/ 4990868 h 7571036"/>
                  <a:gd name="connsiteX4517" fmla="*/ 1831029 w 6994525"/>
                  <a:gd name="connsiteY4517" fmla="*/ 4992100 h 7571036"/>
                  <a:gd name="connsiteX4518" fmla="*/ 1832261 w 6994525"/>
                  <a:gd name="connsiteY4518" fmla="*/ 4993335 h 7571036"/>
                  <a:gd name="connsiteX4519" fmla="*/ 1833493 w 6994525"/>
                  <a:gd name="connsiteY4519" fmla="*/ 4992100 h 7571036"/>
                  <a:gd name="connsiteX4520" fmla="*/ 1833742 w 6994525"/>
                  <a:gd name="connsiteY4520" fmla="*/ 350159 h 7571036"/>
                  <a:gd name="connsiteX4521" fmla="*/ 1815988 w 6994525"/>
                  <a:gd name="connsiteY4521" fmla="*/ 332407 h 7571036"/>
                  <a:gd name="connsiteX4522" fmla="*/ 1798235 w 6994525"/>
                  <a:gd name="connsiteY4522" fmla="*/ 350159 h 7571036"/>
                  <a:gd name="connsiteX4523" fmla="*/ 1815988 w 6994525"/>
                  <a:gd name="connsiteY4523" fmla="*/ 367911 h 7571036"/>
                  <a:gd name="connsiteX4524" fmla="*/ 1833742 w 6994525"/>
                  <a:gd name="connsiteY4524" fmla="*/ 350159 h 7571036"/>
                  <a:gd name="connsiteX4525" fmla="*/ 1836206 w 6994525"/>
                  <a:gd name="connsiteY4525" fmla="*/ 1381209 h 7571036"/>
                  <a:gd name="connsiteX4526" fmla="*/ 1821906 w 6994525"/>
                  <a:gd name="connsiteY4526" fmla="*/ 1366912 h 7571036"/>
                  <a:gd name="connsiteX4527" fmla="*/ 1807603 w 6994525"/>
                  <a:gd name="connsiteY4527" fmla="*/ 1381209 h 7571036"/>
                  <a:gd name="connsiteX4528" fmla="*/ 1821906 w 6994525"/>
                  <a:gd name="connsiteY4528" fmla="*/ 1395519 h 7571036"/>
                  <a:gd name="connsiteX4529" fmla="*/ 1836206 w 6994525"/>
                  <a:gd name="connsiteY4529" fmla="*/ 1381209 h 7571036"/>
                  <a:gd name="connsiteX4530" fmla="*/ 1836698 w 6994525"/>
                  <a:gd name="connsiteY4530" fmla="*/ 472191 h 7571036"/>
                  <a:gd name="connsiteX4531" fmla="*/ 1819439 w 6994525"/>
                  <a:gd name="connsiteY4531" fmla="*/ 454931 h 7571036"/>
                  <a:gd name="connsiteX4532" fmla="*/ 1802177 w 6994525"/>
                  <a:gd name="connsiteY4532" fmla="*/ 472191 h 7571036"/>
                  <a:gd name="connsiteX4533" fmla="*/ 1819439 w 6994525"/>
                  <a:gd name="connsiteY4533" fmla="*/ 489449 h 7571036"/>
                  <a:gd name="connsiteX4534" fmla="*/ 1836698 w 6994525"/>
                  <a:gd name="connsiteY4534" fmla="*/ 472191 h 7571036"/>
                  <a:gd name="connsiteX4535" fmla="*/ 1837932 w 6994525"/>
                  <a:gd name="connsiteY4535" fmla="*/ 6114020 h 7571036"/>
                  <a:gd name="connsiteX4536" fmla="*/ 1834233 w 6994525"/>
                  <a:gd name="connsiteY4536" fmla="*/ 6110320 h 7571036"/>
                  <a:gd name="connsiteX4537" fmla="*/ 1830535 w 6994525"/>
                  <a:gd name="connsiteY4537" fmla="*/ 6114020 h 7571036"/>
                  <a:gd name="connsiteX4538" fmla="*/ 1834233 w 6994525"/>
                  <a:gd name="connsiteY4538" fmla="*/ 6117470 h 7571036"/>
                  <a:gd name="connsiteX4539" fmla="*/ 1837932 w 6994525"/>
                  <a:gd name="connsiteY4539" fmla="*/ 6114020 h 7571036"/>
                  <a:gd name="connsiteX4540" fmla="*/ 1838181 w 6994525"/>
                  <a:gd name="connsiteY4540" fmla="*/ 3478620 h 7571036"/>
                  <a:gd name="connsiteX4541" fmla="*/ 1785658 w 6994525"/>
                  <a:gd name="connsiteY4541" fmla="*/ 3426183 h 7571036"/>
                  <a:gd name="connsiteX4542" fmla="*/ 1733139 w 6994525"/>
                  <a:gd name="connsiteY4542" fmla="*/ 3478620 h 7571036"/>
                  <a:gd name="connsiteX4543" fmla="*/ 1785658 w 6994525"/>
                  <a:gd name="connsiteY4543" fmla="*/ 3531139 h 7571036"/>
                  <a:gd name="connsiteX4544" fmla="*/ 1838181 w 6994525"/>
                  <a:gd name="connsiteY4544" fmla="*/ 3478620 h 7571036"/>
                  <a:gd name="connsiteX4545" fmla="*/ 1838423 w 6994525"/>
                  <a:gd name="connsiteY4545" fmla="*/ 2333873 h 7571036"/>
                  <a:gd name="connsiteX4546" fmla="*/ 1814260 w 6994525"/>
                  <a:gd name="connsiteY4546" fmla="*/ 2309463 h 7571036"/>
                  <a:gd name="connsiteX4547" fmla="*/ 1790095 w 6994525"/>
                  <a:gd name="connsiteY4547" fmla="*/ 2333873 h 7571036"/>
                  <a:gd name="connsiteX4548" fmla="*/ 1814260 w 6994525"/>
                  <a:gd name="connsiteY4548" fmla="*/ 2358044 h 7571036"/>
                  <a:gd name="connsiteX4549" fmla="*/ 1838423 w 6994525"/>
                  <a:gd name="connsiteY4549" fmla="*/ 2333873 h 7571036"/>
                  <a:gd name="connsiteX4550" fmla="*/ 1838670 w 6994525"/>
                  <a:gd name="connsiteY4550" fmla="*/ 6361829 h 7571036"/>
                  <a:gd name="connsiteX4551" fmla="*/ 1825110 w 6994525"/>
                  <a:gd name="connsiteY4551" fmla="*/ 6348266 h 7571036"/>
                  <a:gd name="connsiteX4552" fmla="*/ 1811548 w 6994525"/>
                  <a:gd name="connsiteY4552" fmla="*/ 6361829 h 7571036"/>
                  <a:gd name="connsiteX4553" fmla="*/ 1825110 w 6994525"/>
                  <a:gd name="connsiteY4553" fmla="*/ 6375391 h 7571036"/>
                  <a:gd name="connsiteX4554" fmla="*/ 1838670 w 6994525"/>
                  <a:gd name="connsiteY4554" fmla="*/ 6361829 h 7571036"/>
                  <a:gd name="connsiteX4555" fmla="*/ 1839659 w 6994525"/>
                  <a:gd name="connsiteY4555" fmla="*/ 4623471 h 7571036"/>
                  <a:gd name="connsiteX4556" fmla="*/ 1815494 w 6994525"/>
                  <a:gd name="connsiteY4556" fmla="*/ 4599305 h 7571036"/>
                  <a:gd name="connsiteX4557" fmla="*/ 1791330 w 6994525"/>
                  <a:gd name="connsiteY4557" fmla="*/ 4623471 h 7571036"/>
                  <a:gd name="connsiteX4558" fmla="*/ 1815494 w 6994525"/>
                  <a:gd name="connsiteY4558" fmla="*/ 4647634 h 7571036"/>
                  <a:gd name="connsiteX4559" fmla="*/ 1839659 w 6994525"/>
                  <a:gd name="connsiteY4559" fmla="*/ 4623471 h 7571036"/>
                  <a:gd name="connsiteX4560" fmla="*/ 1840397 w 6994525"/>
                  <a:gd name="connsiteY4560" fmla="*/ 3362315 h 7571036"/>
                  <a:gd name="connsiteX4561" fmla="*/ 1789604 w 6994525"/>
                  <a:gd name="connsiteY4561" fmla="*/ 3311530 h 7571036"/>
                  <a:gd name="connsiteX4562" fmla="*/ 1738808 w 6994525"/>
                  <a:gd name="connsiteY4562" fmla="*/ 3362315 h 7571036"/>
                  <a:gd name="connsiteX4563" fmla="*/ 1789604 w 6994525"/>
                  <a:gd name="connsiteY4563" fmla="*/ 3413116 h 7571036"/>
                  <a:gd name="connsiteX4564" fmla="*/ 1840397 w 6994525"/>
                  <a:gd name="connsiteY4564" fmla="*/ 3362315 h 7571036"/>
                  <a:gd name="connsiteX4565" fmla="*/ 1840398 w 6994525"/>
                  <a:gd name="connsiteY4565" fmla="*/ 594466 h 7571036"/>
                  <a:gd name="connsiteX4566" fmla="*/ 1823385 w 6994525"/>
                  <a:gd name="connsiteY4566" fmla="*/ 577453 h 7571036"/>
                  <a:gd name="connsiteX4567" fmla="*/ 1806371 w 6994525"/>
                  <a:gd name="connsiteY4567" fmla="*/ 594466 h 7571036"/>
                  <a:gd name="connsiteX4568" fmla="*/ 1823385 w 6994525"/>
                  <a:gd name="connsiteY4568" fmla="*/ 611480 h 7571036"/>
                  <a:gd name="connsiteX4569" fmla="*/ 1840398 w 6994525"/>
                  <a:gd name="connsiteY4569" fmla="*/ 594466 h 7571036"/>
                  <a:gd name="connsiteX4570" fmla="*/ 1841631 w 6994525"/>
                  <a:gd name="connsiteY4570" fmla="*/ 6484621 h 7571036"/>
                  <a:gd name="connsiteX4571" fmla="*/ 1821657 w 6994525"/>
                  <a:gd name="connsiteY4571" fmla="*/ 6464649 h 7571036"/>
                  <a:gd name="connsiteX4572" fmla="*/ 1801685 w 6994525"/>
                  <a:gd name="connsiteY4572" fmla="*/ 6484621 h 7571036"/>
                  <a:gd name="connsiteX4573" fmla="*/ 1821657 w 6994525"/>
                  <a:gd name="connsiteY4573" fmla="*/ 6504593 h 7571036"/>
                  <a:gd name="connsiteX4574" fmla="*/ 1841631 w 6994525"/>
                  <a:gd name="connsiteY4574" fmla="*/ 6484621 h 7571036"/>
                  <a:gd name="connsiteX4575" fmla="*/ 1842616 w 6994525"/>
                  <a:gd name="connsiteY4575" fmla="*/ 3594754 h 7571036"/>
                  <a:gd name="connsiteX4576" fmla="*/ 1789604 w 6994525"/>
                  <a:gd name="connsiteY4576" fmla="*/ 3541988 h 7571036"/>
                  <a:gd name="connsiteX4577" fmla="*/ 1736589 w 6994525"/>
                  <a:gd name="connsiteY4577" fmla="*/ 3594754 h 7571036"/>
                  <a:gd name="connsiteX4578" fmla="*/ 1789604 w 6994525"/>
                  <a:gd name="connsiteY4578" fmla="*/ 3647769 h 7571036"/>
                  <a:gd name="connsiteX4579" fmla="*/ 1842616 w 6994525"/>
                  <a:gd name="connsiteY4579" fmla="*/ 3594754 h 7571036"/>
                  <a:gd name="connsiteX4580" fmla="*/ 1843356 w 6994525"/>
                  <a:gd name="connsiteY4580" fmla="*/ 6238294 h 7571036"/>
                  <a:gd name="connsiteX4581" fmla="*/ 1829301 w 6994525"/>
                  <a:gd name="connsiteY4581" fmla="*/ 6224240 h 7571036"/>
                  <a:gd name="connsiteX4582" fmla="*/ 1815248 w 6994525"/>
                  <a:gd name="connsiteY4582" fmla="*/ 6238294 h 7571036"/>
                  <a:gd name="connsiteX4583" fmla="*/ 1829301 w 6994525"/>
                  <a:gd name="connsiteY4583" fmla="*/ 6252348 h 7571036"/>
                  <a:gd name="connsiteX4584" fmla="*/ 1843356 w 6994525"/>
                  <a:gd name="connsiteY4584" fmla="*/ 6238294 h 7571036"/>
                  <a:gd name="connsiteX4585" fmla="*/ 1843601 w 6994525"/>
                  <a:gd name="connsiteY4585" fmla="*/ 718267 h 7571036"/>
                  <a:gd name="connsiteX4586" fmla="*/ 1827329 w 6994525"/>
                  <a:gd name="connsiteY4586" fmla="*/ 702000 h 7571036"/>
                  <a:gd name="connsiteX4587" fmla="*/ 1811054 w 6994525"/>
                  <a:gd name="connsiteY4587" fmla="*/ 718267 h 7571036"/>
                  <a:gd name="connsiteX4588" fmla="*/ 1827329 w 6994525"/>
                  <a:gd name="connsiteY4588" fmla="*/ 734539 h 7571036"/>
                  <a:gd name="connsiteX4589" fmla="*/ 1843601 w 6994525"/>
                  <a:gd name="connsiteY4589" fmla="*/ 718267 h 7571036"/>
                  <a:gd name="connsiteX4590" fmla="*/ 1845576 w 6994525"/>
                  <a:gd name="connsiteY4590" fmla="*/ 1513611 h 7571036"/>
                  <a:gd name="connsiteX4591" fmla="*/ 1831275 w 6994525"/>
                  <a:gd name="connsiteY4591" fmla="*/ 1499309 h 7571036"/>
                  <a:gd name="connsiteX4592" fmla="*/ 1816975 w 6994525"/>
                  <a:gd name="connsiteY4592" fmla="*/ 1513611 h 7571036"/>
                  <a:gd name="connsiteX4593" fmla="*/ 1831275 w 6994525"/>
                  <a:gd name="connsiteY4593" fmla="*/ 1527915 h 7571036"/>
                  <a:gd name="connsiteX4594" fmla="*/ 1845576 w 6994525"/>
                  <a:gd name="connsiteY4594" fmla="*/ 1513611 h 7571036"/>
                  <a:gd name="connsiteX4595" fmla="*/ 1846809 w 6994525"/>
                  <a:gd name="connsiteY4595" fmla="*/ 3710891 h 7571036"/>
                  <a:gd name="connsiteX4596" fmla="*/ 1801685 w 6994525"/>
                  <a:gd name="connsiteY4596" fmla="*/ 3665767 h 7571036"/>
                  <a:gd name="connsiteX4597" fmla="*/ 1756561 w 6994525"/>
                  <a:gd name="connsiteY4597" fmla="*/ 3710891 h 7571036"/>
                  <a:gd name="connsiteX4598" fmla="*/ 1801685 w 6994525"/>
                  <a:gd name="connsiteY4598" fmla="*/ 3756016 h 7571036"/>
                  <a:gd name="connsiteX4599" fmla="*/ 1846809 w 6994525"/>
                  <a:gd name="connsiteY4599" fmla="*/ 3710891 h 7571036"/>
                  <a:gd name="connsiteX4600" fmla="*/ 1847054 w 6994525"/>
                  <a:gd name="connsiteY4600" fmla="*/ 4212182 h 7571036"/>
                  <a:gd name="connsiteX4601" fmla="*/ 1832754 w 6994525"/>
                  <a:gd name="connsiteY4601" fmla="*/ 4197879 h 7571036"/>
                  <a:gd name="connsiteX4602" fmla="*/ 1818452 w 6994525"/>
                  <a:gd name="connsiteY4602" fmla="*/ 4212182 h 7571036"/>
                  <a:gd name="connsiteX4603" fmla="*/ 1832754 w 6994525"/>
                  <a:gd name="connsiteY4603" fmla="*/ 4226482 h 7571036"/>
                  <a:gd name="connsiteX4604" fmla="*/ 1847054 w 6994525"/>
                  <a:gd name="connsiteY4604" fmla="*/ 4212182 h 7571036"/>
                  <a:gd name="connsiteX4605" fmla="*/ 1847795 w 6994525"/>
                  <a:gd name="connsiteY4605" fmla="*/ 842778 h 7571036"/>
                  <a:gd name="connsiteX4606" fmla="*/ 1832014 w 6994525"/>
                  <a:gd name="connsiteY4606" fmla="*/ 826995 h 7571036"/>
                  <a:gd name="connsiteX4607" fmla="*/ 1816234 w 6994525"/>
                  <a:gd name="connsiteY4607" fmla="*/ 842778 h 7571036"/>
                  <a:gd name="connsiteX4608" fmla="*/ 1832014 w 6994525"/>
                  <a:gd name="connsiteY4608" fmla="*/ 858546 h 7571036"/>
                  <a:gd name="connsiteX4609" fmla="*/ 1847795 w 6994525"/>
                  <a:gd name="connsiteY4609" fmla="*/ 842778 h 7571036"/>
                  <a:gd name="connsiteX4610" fmla="*/ 1850262 w 6994525"/>
                  <a:gd name="connsiteY4610" fmla="*/ 3246679 h 7571036"/>
                  <a:gd name="connsiteX4611" fmla="*/ 1801194 w 6994525"/>
                  <a:gd name="connsiteY4611" fmla="*/ 3197610 h 7571036"/>
                  <a:gd name="connsiteX4612" fmla="*/ 1752124 w 6994525"/>
                  <a:gd name="connsiteY4612" fmla="*/ 3246679 h 7571036"/>
                  <a:gd name="connsiteX4613" fmla="*/ 1801194 w 6994525"/>
                  <a:gd name="connsiteY4613" fmla="*/ 3295744 h 7571036"/>
                  <a:gd name="connsiteX4614" fmla="*/ 1850262 w 6994525"/>
                  <a:gd name="connsiteY4614" fmla="*/ 3246679 h 7571036"/>
                  <a:gd name="connsiteX4615" fmla="*/ 1851247 w 6994525"/>
                  <a:gd name="connsiteY4615" fmla="*/ 1647730 h 7571036"/>
                  <a:gd name="connsiteX4616" fmla="*/ 1842369 w 6994525"/>
                  <a:gd name="connsiteY4616" fmla="*/ 1638856 h 7571036"/>
                  <a:gd name="connsiteX4617" fmla="*/ 1833247 w 6994525"/>
                  <a:gd name="connsiteY4617" fmla="*/ 1647730 h 7571036"/>
                  <a:gd name="connsiteX4618" fmla="*/ 1842369 w 6994525"/>
                  <a:gd name="connsiteY4618" fmla="*/ 1656849 h 7571036"/>
                  <a:gd name="connsiteX4619" fmla="*/ 1851247 w 6994525"/>
                  <a:gd name="connsiteY4619" fmla="*/ 1647730 h 7571036"/>
                  <a:gd name="connsiteX4620" fmla="*/ 1855685 w 6994525"/>
                  <a:gd name="connsiteY4620" fmla="*/ 3825303 h 7571036"/>
                  <a:gd name="connsiteX4621" fmla="*/ 1821411 w 6994525"/>
                  <a:gd name="connsiteY4621" fmla="*/ 3791028 h 7571036"/>
                  <a:gd name="connsiteX4622" fmla="*/ 1787136 w 6994525"/>
                  <a:gd name="connsiteY4622" fmla="*/ 3825303 h 7571036"/>
                  <a:gd name="connsiteX4623" fmla="*/ 1821411 w 6994525"/>
                  <a:gd name="connsiteY4623" fmla="*/ 3859575 h 7571036"/>
                  <a:gd name="connsiteX4624" fmla="*/ 1855685 w 6994525"/>
                  <a:gd name="connsiteY4624" fmla="*/ 3825303 h 7571036"/>
                  <a:gd name="connsiteX4625" fmla="*/ 1858399 w 6994525"/>
                  <a:gd name="connsiteY4625" fmla="*/ 4472072 h 7571036"/>
                  <a:gd name="connsiteX4626" fmla="*/ 1846810 w 6994525"/>
                  <a:gd name="connsiteY4626" fmla="*/ 4460483 h 7571036"/>
                  <a:gd name="connsiteX4627" fmla="*/ 1835220 w 6994525"/>
                  <a:gd name="connsiteY4627" fmla="*/ 4472072 h 7571036"/>
                  <a:gd name="connsiteX4628" fmla="*/ 1846810 w 6994525"/>
                  <a:gd name="connsiteY4628" fmla="*/ 4483662 h 7571036"/>
                  <a:gd name="connsiteX4629" fmla="*/ 1858399 w 6994525"/>
                  <a:gd name="connsiteY4629" fmla="*/ 4472072 h 7571036"/>
                  <a:gd name="connsiteX4630" fmla="*/ 1859382 w 6994525"/>
                  <a:gd name="connsiteY4630" fmla="*/ 1784092 h 7571036"/>
                  <a:gd name="connsiteX4631" fmla="*/ 1855438 w 6994525"/>
                  <a:gd name="connsiteY4631" fmla="*/ 1780160 h 7571036"/>
                  <a:gd name="connsiteX4632" fmla="*/ 1851492 w 6994525"/>
                  <a:gd name="connsiteY4632" fmla="*/ 1784092 h 7571036"/>
                  <a:gd name="connsiteX4633" fmla="*/ 1855438 w 6994525"/>
                  <a:gd name="connsiteY4633" fmla="*/ 1788021 h 7571036"/>
                  <a:gd name="connsiteX4634" fmla="*/ 1859382 w 6994525"/>
                  <a:gd name="connsiteY4634" fmla="*/ 1784092 h 7571036"/>
                  <a:gd name="connsiteX4635" fmla="*/ 1863082 w 6994525"/>
                  <a:gd name="connsiteY4635" fmla="*/ 5739966 h 7571036"/>
                  <a:gd name="connsiteX4636" fmla="*/ 1861357 w 6994525"/>
                  <a:gd name="connsiteY4636" fmla="*/ 5738239 h 7571036"/>
                  <a:gd name="connsiteX4637" fmla="*/ 1859631 w 6994525"/>
                  <a:gd name="connsiteY4637" fmla="*/ 5739966 h 7571036"/>
                  <a:gd name="connsiteX4638" fmla="*/ 1861357 w 6994525"/>
                  <a:gd name="connsiteY4638" fmla="*/ 5741690 h 7571036"/>
                  <a:gd name="connsiteX4639" fmla="*/ 1863082 w 6994525"/>
                  <a:gd name="connsiteY4639" fmla="*/ 5739966 h 7571036"/>
                  <a:gd name="connsiteX4640" fmla="*/ 1868262 w 6994525"/>
                  <a:gd name="connsiteY4640" fmla="*/ 3132018 h 7571036"/>
                  <a:gd name="connsiteX4641" fmla="*/ 1820920 w 6994525"/>
                  <a:gd name="connsiteY4641" fmla="*/ 3084674 h 7571036"/>
                  <a:gd name="connsiteX4642" fmla="*/ 1773577 w 6994525"/>
                  <a:gd name="connsiteY4642" fmla="*/ 3132018 h 7571036"/>
                  <a:gd name="connsiteX4643" fmla="*/ 1820920 w 6994525"/>
                  <a:gd name="connsiteY4643" fmla="*/ 3179362 h 7571036"/>
                  <a:gd name="connsiteX4644" fmla="*/ 1868262 w 6994525"/>
                  <a:gd name="connsiteY4644" fmla="*/ 3132018 h 7571036"/>
                  <a:gd name="connsiteX4645" fmla="*/ 1869986 w 6994525"/>
                  <a:gd name="connsiteY4645" fmla="*/ 5993937 h 7571036"/>
                  <a:gd name="connsiteX4646" fmla="*/ 1848041 w 6994525"/>
                  <a:gd name="connsiteY4646" fmla="*/ 5971992 h 7571036"/>
                  <a:gd name="connsiteX4647" fmla="*/ 1826097 w 6994525"/>
                  <a:gd name="connsiteY4647" fmla="*/ 5993937 h 7571036"/>
                  <a:gd name="connsiteX4648" fmla="*/ 1848041 w 6994525"/>
                  <a:gd name="connsiteY4648" fmla="*/ 6015882 h 7571036"/>
                  <a:gd name="connsiteX4649" fmla="*/ 1869986 w 6994525"/>
                  <a:gd name="connsiteY4649" fmla="*/ 5993937 h 7571036"/>
                  <a:gd name="connsiteX4650" fmla="*/ 1870234 w 6994525"/>
                  <a:gd name="connsiteY4650" fmla="*/ 2095683 h 7571036"/>
                  <a:gd name="connsiteX4651" fmla="*/ 1859876 w 6994525"/>
                  <a:gd name="connsiteY4651" fmla="*/ 2085327 h 7571036"/>
                  <a:gd name="connsiteX4652" fmla="*/ 1849522 w 6994525"/>
                  <a:gd name="connsiteY4652" fmla="*/ 2095683 h 7571036"/>
                  <a:gd name="connsiteX4653" fmla="*/ 1859876 w 6994525"/>
                  <a:gd name="connsiteY4653" fmla="*/ 2106043 h 7571036"/>
                  <a:gd name="connsiteX4654" fmla="*/ 1870234 w 6994525"/>
                  <a:gd name="connsiteY4654" fmla="*/ 2095683 h 7571036"/>
                  <a:gd name="connsiteX4655" fmla="*/ 1870974 w 6994525"/>
                  <a:gd name="connsiteY4655" fmla="*/ 5610757 h 7571036"/>
                  <a:gd name="connsiteX4656" fmla="*/ 1868753 w 6994525"/>
                  <a:gd name="connsiteY4656" fmla="*/ 5608538 h 7571036"/>
                  <a:gd name="connsiteX4657" fmla="*/ 1866535 w 6994525"/>
                  <a:gd name="connsiteY4657" fmla="*/ 5610757 h 7571036"/>
                  <a:gd name="connsiteX4658" fmla="*/ 1868753 w 6994525"/>
                  <a:gd name="connsiteY4658" fmla="*/ 5612729 h 7571036"/>
                  <a:gd name="connsiteX4659" fmla="*/ 1870974 w 6994525"/>
                  <a:gd name="connsiteY4659" fmla="*/ 5610757 h 7571036"/>
                  <a:gd name="connsiteX4660" fmla="*/ 1871466 w 6994525"/>
                  <a:gd name="connsiteY4660" fmla="*/ 2745144 h 7571036"/>
                  <a:gd name="connsiteX4661" fmla="*/ 1831766 w 6994525"/>
                  <a:gd name="connsiteY4661" fmla="*/ 2705445 h 7571036"/>
                  <a:gd name="connsiteX4662" fmla="*/ 1792068 w 6994525"/>
                  <a:gd name="connsiteY4662" fmla="*/ 2745144 h 7571036"/>
                  <a:gd name="connsiteX4663" fmla="*/ 1831766 w 6994525"/>
                  <a:gd name="connsiteY4663" fmla="*/ 2784845 h 7571036"/>
                  <a:gd name="connsiteX4664" fmla="*/ 1871466 w 6994525"/>
                  <a:gd name="connsiteY4664" fmla="*/ 2745144 h 7571036"/>
                  <a:gd name="connsiteX4665" fmla="*/ 1872207 w 6994525"/>
                  <a:gd name="connsiteY4665" fmla="*/ 3938485 h 7571036"/>
                  <a:gd name="connsiteX4666" fmla="*/ 1849028 w 6994525"/>
                  <a:gd name="connsiteY4666" fmla="*/ 3915305 h 7571036"/>
                  <a:gd name="connsiteX4667" fmla="*/ 1825851 w 6994525"/>
                  <a:gd name="connsiteY4667" fmla="*/ 3938485 h 7571036"/>
                  <a:gd name="connsiteX4668" fmla="*/ 1849028 w 6994525"/>
                  <a:gd name="connsiteY4668" fmla="*/ 3961415 h 7571036"/>
                  <a:gd name="connsiteX4669" fmla="*/ 1872207 w 6994525"/>
                  <a:gd name="connsiteY4669" fmla="*/ 3938485 h 7571036"/>
                  <a:gd name="connsiteX4670" fmla="*/ 1873193 w 6994525"/>
                  <a:gd name="connsiteY4670" fmla="*/ 1922625 h 7571036"/>
                  <a:gd name="connsiteX4671" fmla="*/ 1869985 w 6994525"/>
                  <a:gd name="connsiteY4671" fmla="*/ 1919423 h 7571036"/>
                  <a:gd name="connsiteX4672" fmla="*/ 1866535 w 6994525"/>
                  <a:gd name="connsiteY4672" fmla="*/ 1922625 h 7571036"/>
                  <a:gd name="connsiteX4673" fmla="*/ 1869985 w 6994525"/>
                  <a:gd name="connsiteY4673" fmla="*/ 1926079 h 7571036"/>
                  <a:gd name="connsiteX4674" fmla="*/ 1873193 w 6994525"/>
                  <a:gd name="connsiteY4674" fmla="*/ 1922625 h 7571036"/>
                  <a:gd name="connsiteX4675" fmla="*/ 1873193 w 6994525"/>
                  <a:gd name="connsiteY4675" fmla="*/ 2485507 h 7571036"/>
                  <a:gd name="connsiteX4676" fmla="*/ 1845328 w 6994525"/>
                  <a:gd name="connsiteY4676" fmla="*/ 2457642 h 7571036"/>
                  <a:gd name="connsiteX4677" fmla="*/ 1817466 w 6994525"/>
                  <a:gd name="connsiteY4677" fmla="*/ 2485507 h 7571036"/>
                  <a:gd name="connsiteX4678" fmla="*/ 1845328 w 6994525"/>
                  <a:gd name="connsiteY4678" fmla="*/ 2513369 h 7571036"/>
                  <a:gd name="connsiteX4679" fmla="*/ 1873193 w 6994525"/>
                  <a:gd name="connsiteY4679" fmla="*/ 2485507 h 7571036"/>
                  <a:gd name="connsiteX4680" fmla="*/ 1880590 w 6994525"/>
                  <a:gd name="connsiteY4680" fmla="*/ 5867691 h 7571036"/>
                  <a:gd name="connsiteX4681" fmla="*/ 1854205 w 6994525"/>
                  <a:gd name="connsiteY4681" fmla="*/ 5841306 h 7571036"/>
                  <a:gd name="connsiteX4682" fmla="*/ 1828070 w 6994525"/>
                  <a:gd name="connsiteY4682" fmla="*/ 5867691 h 7571036"/>
                  <a:gd name="connsiteX4683" fmla="*/ 1854205 w 6994525"/>
                  <a:gd name="connsiteY4683" fmla="*/ 5893827 h 7571036"/>
                  <a:gd name="connsiteX4684" fmla="*/ 1880590 w 6994525"/>
                  <a:gd name="connsiteY4684" fmla="*/ 5867691 h 7571036"/>
                  <a:gd name="connsiteX4685" fmla="*/ 1881084 w 6994525"/>
                  <a:gd name="connsiteY4685" fmla="*/ 5480074 h 7571036"/>
                  <a:gd name="connsiteX4686" fmla="*/ 1877876 w 6994525"/>
                  <a:gd name="connsiteY4686" fmla="*/ 5476869 h 7571036"/>
                  <a:gd name="connsiteX4687" fmla="*/ 1874672 w 6994525"/>
                  <a:gd name="connsiteY4687" fmla="*/ 5480074 h 7571036"/>
                  <a:gd name="connsiteX4688" fmla="*/ 1877876 w 6994525"/>
                  <a:gd name="connsiteY4688" fmla="*/ 5483279 h 7571036"/>
                  <a:gd name="connsiteX4689" fmla="*/ 1881084 w 6994525"/>
                  <a:gd name="connsiteY4689" fmla="*/ 5480074 h 7571036"/>
                  <a:gd name="connsiteX4690" fmla="*/ 1888479 w 6994525"/>
                  <a:gd name="connsiteY4690" fmla="*/ 5347417 h 7571036"/>
                  <a:gd name="connsiteX4691" fmla="*/ 1887985 w 6994525"/>
                  <a:gd name="connsiteY4691" fmla="*/ 5346923 h 7571036"/>
                  <a:gd name="connsiteX4692" fmla="*/ 1887494 w 6994525"/>
                  <a:gd name="connsiteY4692" fmla="*/ 5347417 h 7571036"/>
                  <a:gd name="connsiteX4693" fmla="*/ 1887985 w 6994525"/>
                  <a:gd name="connsiteY4693" fmla="*/ 5347909 h 7571036"/>
                  <a:gd name="connsiteX4694" fmla="*/ 1888479 w 6994525"/>
                  <a:gd name="connsiteY4694" fmla="*/ 5347417 h 7571036"/>
                  <a:gd name="connsiteX4695" fmla="*/ 1894149 w 6994525"/>
                  <a:gd name="connsiteY4695" fmla="*/ 3018837 h 7571036"/>
                  <a:gd name="connsiteX4696" fmla="*/ 1848533 w 6994525"/>
                  <a:gd name="connsiteY4696" fmla="*/ 2973221 h 7571036"/>
                  <a:gd name="connsiteX4697" fmla="*/ 1802917 w 6994525"/>
                  <a:gd name="connsiteY4697" fmla="*/ 3018837 h 7571036"/>
                  <a:gd name="connsiteX4698" fmla="*/ 1848533 w 6994525"/>
                  <a:gd name="connsiteY4698" fmla="*/ 3064455 h 7571036"/>
                  <a:gd name="connsiteX4699" fmla="*/ 1894149 w 6994525"/>
                  <a:gd name="connsiteY4699" fmla="*/ 3018837 h 7571036"/>
                  <a:gd name="connsiteX4700" fmla="*/ 1897851 w 6994525"/>
                  <a:gd name="connsiteY4700" fmla="*/ 4861911 h 7571036"/>
                  <a:gd name="connsiteX4701" fmla="*/ 1861604 w 6994525"/>
                  <a:gd name="connsiteY4701" fmla="*/ 4825663 h 7571036"/>
                  <a:gd name="connsiteX4702" fmla="*/ 1825357 w 6994525"/>
                  <a:gd name="connsiteY4702" fmla="*/ 4861911 h 7571036"/>
                  <a:gd name="connsiteX4703" fmla="*/ 1861604 w 6994525"/>
                  <a:gd name="connsiteY4703" fmla="*/ 4898159 h 7571036"/>
                  <a:gd name="connsiteX4704" fmla="*/ 1897851 w 6994525"/>
                  <a:gd name="connsiteY4704" fmla="*/ 4861911 h 7571036"/>
                  <a:gd name="connsiteX4705" fmla="*/ 1900067 w 6994525"/>
                  <a:gd name="connsiteY4705" fmla="*/ 4048948 h 7571036"/>
                  <a:gd name="connsiteX4706" fmla="*/ 1884286 w 6994525"/>
                  <a:gd name="connsiteY4706" fmla="*/ 4032921 h 7571036"/>
                  <a:gd name="connsiteX4707" fmla="*/ 1868260 w 6994525"/>
                  <a:gd name="connsiteY4707" fmla="*/ 4048948 h 7571036"/>
                  <a:gd name="connsiteX4708" fmla="*/ 1884286 w 6994525"/>
                  <a:gd name="connsiteY4708" fmla="*/ 4064975 h 7571036"/>
                  <a:gd name="connsiteX4709" fmla="*/ 1900067 w 6994525"/>
                  <a:gd name="connsiteY4709" fmla="*/ 4048948 h 7571036"/>
                  <a:gd name="connsiteX4710" fmla="*/ 1903520 w 6994525"/>
                  <a:gd name="connsiteY4710" fmla="*/ 4316730 h 7571036"/>
                  <a:gd name="connsiteX4711" fmla="*/ 1883300 w 6994525"/>
                  <a:gd name="connsiteY4711" fmla="*/ 4296510 h 7571036"/>
                  <a:gd name="connsiteX4712" fmla="*/ 1863082 w 6994525"/>
                  <a:gd name="connsiteY4712" fmla="*/ 4316730 h 7571036"/>
                  <a:gd name="connsiteX4713" fmla="*/ 1883300 w 6994525"/>
                  <a:gd name="connsiteY4713" fmla="*/ 4336950 h 7571036"/>
                  <a:gd name="connsiteX4714" fmla="*/ 1903520 w 6994525"/>
                  <a:gd name="connsiteY4714" fmla="*/ 4316730 h 7571036"/>
                  <a:gd name="connsiteX4715" fmla="*/ 1905247 w 6994525"/>
                  <a:gd name="connsiteY4715" fmla="*/ 2239930 h 7571036"/>
                  <a:gd name="connsiteX4716" fmla="*/ 1882314 w 6994525"/>
                  <a:gd name="connsiteY4716" fmla="*/ 2217005 h 7571036"/>
                  <a:gd name="connsiteX4717" fmla="*/ 1859383 w 6994525"/>
                  <a:gd name="connsiteY4717" fmla="*/ 2239930 h 7571036"/>
                  <a:gd name="connsiteX4718" fmla="*/ 1882314 w 6994525"/>
                  <a:gd name="connsiteY4718" fmla="*/ 2262860 h 7571036"/>
                  <a:gd name="connsiteX4719" fmla="*/ 1905247 w 6994525"/>
                  <a:gd name="connsiteY4719" fmla="*/ 2239930 h 7571036"/>
                  <a:gd name="connsiteX4720" fmla="*/ 1906970 w 6994525"/>
                  <a:gd name="connsiteY4720" fmla="*/ 7248266 h 7571036"/>
                  <a:gd name="connsiteX4721" fmla="*/ 1905244 w 6994525"/>
                  <a:gd name="connsiteY4721" fmla="*/ 7246787 h 7571036"/>
                  <a:gd name="connsiteX4722" fmla="*/ 1903766 w 6994525"/>
                  <a:gd name="connsiteY4722" fmla="*/ 7248266 h 7571036"/>
                  <a:gd name="connsiteX4723" fmla="*/ 1905244 w 6994525"/>
                  <a:gd name="connsiteY4723" fmla="*/ 7249747 h 7571036"/>
                  <a:gd name="connsiteX4724" fmla="*/ 1906970 w 6994525"/>
                  <a:gd name="connsiteY4724" fmla="*/ 7248266 h 7571036"/>
                  <a:gd name="connsiteX4725" fmla="*/ 1908206 w 6994525"/>
                  <a:gd name="connsiteY4725" fmla="*/ 7130898 h 7571036"/>
                  <a:gd name="connsiteX4726" fmla="*/ 1906479 w 6994525"/>
                  <a:gd name="connsiteY4726" fmla="*/ 7129171 h 7571036"/>
                  <a:gd name="connsiteX4727" fmla="*/ 1905001 w 6994525"/>
                  <a:gd name="connsiteY4727" fmla="*/ 7130898 h 7571036"/>
                  <a:gd name="connsiteX4728" fmla="*/ 1906479 w 6994525"/>
                  <a:gd name="connsiteY4728" fmla="*/ 7132376 h 7571036"/>
                  <a:gd name="connsiteX4729" fmla="*/ 1908206 w 6994525"/>
                  <a:gd name="connsiteY4729" fmla="*/ 7130898 h 7571036"/>
                  <a:gd name="connsiteX4730" fmla="*/ 1908947 w 6994525"/>
                  <a:gd name="connsiteY4730" fmla="*/ 3536566 h 7571036"/>
                  <a:gd name="connsiteX4731" fmla="*/ 1895139 w 6994525"/>
                  <a:gd name="connsiteY4731" fmla="*/ 3522757 h 7571036"/>
                  <a:gd name="connsiteX4732" fmla="*/ 1881330 w 6994525"/>
                  <a:gd name="connsiteY4732" fmla="*/ 3536566 h 7571036"/>
                  <a:gd name="connsiteX4733" fmla="*/ 1895139 w 6994525"/>
                  <a:gd name="connsiteY4733" fmla="*/ 3550374 h 7571036"/>
                  <a:gd name="connsiteX4734" fmla="*/ 1908947 w 6994525"/>
                  <a:gd name="connsiteY4734" fmla="*/ 3536566 h 7571036"/>
                  <a:gd name="connsiteX4735" fmla="*/ 1910425 w 6994525"/>
                  <a:gd name="connsiteY4735" fmla="*/ 7012790 h 7571036"/>
                  <a:gd name="connsiteX4736" fmla="*/ 1908206 w 6994525"/>
                  <a:gd name="connsiteY4736" fmla="*/ 7010569 h 7571036"/>
                  <a:gd name="connsiteX4737" fmla="*/ 1905988 w 6994525"/>
                  <a:gd name="connsiteY4737" fmla="*/ 7012790 h 7571036"/>
                  <a:gd name="connsiteX4738" fmla="*/ 1908206 w 6994525"/>
                  <a:gd name="connsiteY4738" fmla="*/ 7015009 h 7571036"/>
                  <a:gd name="connsiteX4739" fmla="*/ 1910425 w 6994525"/>
                  <a:gd name="connsiteY4739" fmla="*/ 7012790 h 7571036"/>
                  <a:gd name="connsiteX4740" fmla="*/ 1910918 w 6994525"/>
                  <a:gd name="connsiteY4740" fmla="*/ 5212785 h 7571036"/>
                  <a:gd name="connsiteX4741" fmla="*/ 1899575 w 6994525"/>
                  <a:gd name="connsiteY4741" fmla="*/ 5201444 h 7571036"/>
                  <a:gd name="connsiteX4742" fmla="*/ 1888234 w 6994525"/>
                  <a:gd name="connsiteY4742" fmla="*/ 5212785 h 7571036"/>
                  <a:gd name="connsiteX4743" fmla="*/ 1899575 w 6994525"/>
                  <a:gd name="connsiteY4743" fmla="*/ 5224129 h 7571036"/>
                  <a:gd name="connsiteX4744" fmla="*/ 1910918 w 6994525"/>
                  <a:gd name="connsiteY4744" fmla="*/ 5212785 h 7571036"/>
                  <a:gd name="connsiteX4745" fmla="*/ 1911165 w 6994525"/>
                  <a:gd name="connsiteY4745" fmla="*/ 3653195 h 7571036"/>
                  <a:gd name="connsiteX4746" fmla="*/ 1903769 w 6994525"/>
                  <a:gd name="connsiteY4746" fmla="*/ 3645550 h 7571036"/>
                  <a:gd name="connsiteX4747" fmla="*/ 1896370 w 6994525"/>
                  <a:gd name="connsiteY4747" fmla="*/ 3653195 h 7571036"/>
                  <a:gd name="connsiteX4748" fmla="*/ 1903769 w 6994525"/>
                  <a:gd name="connsiteY4748" fmla="*/ 3660591 h 7571036"/>
                  <a:gd name="connsiteX4749" fmla="*/ 1911165 w 6994525"/>
                  <a:gd name="connsiteY4749" fmla="*/ 3653195 h 7571036"/>
                  <a:gd name="connsiteX4750" fmla="*/ 1911656 w 6994525"/>
                  <a:gd name="connsiteY4750" fmla="*/ 931022 h 7571036"/>
                  <a:gd name="connsiteX4751" fmla="*/ 1895384 w 6994525"/>
                  <a:gd name="connsiteY4751" fmla="*/ 914745 h 7571036"/>
                  <a:gd name="connsiteX4752" fmla="*/ 1879108 w 6994525"/>
                  <a:gd name="connsiteY4752" fmla="*/ 931022 h 7571036"/>
                  <a:gd name="connsiteX4753" fmla="*/ 1895384 w 6994525"/>
                  <a:gd name="connsiteY4753" fmla="*/ 947300 h 7571036"/>
                  <a:gd name="connsiteX4754" fmla="*/ 1911656 w 6994525"/>
                  <a:gd name="connsiteY4754" fmla="*/ 931022 h 7571036"/>
                  <a:gd name="connsiteX4755" fmla="*/ 1912891 w 6994525"/>
                  <a:gd name="connsiteY4755" fmla="*/ 4716920 h 7571036"/>
                  <a:gd name="connsiteX4756" fmla="*/ 1883797 w 6994525"/>
                  <a:gd name="connsiteY4756" fmla="*/ 4687826 h 7571036"/>
                  <a:gd name="connsiteX4757" fmla="*/ 1854700 w 6994525"/>
                  <a:gd name="connsiteY4757" fmla="*/ 4716920 h 7571036"/>
                  <a:gd name="connsiteX4758" fmla="*/ 1883797 w 6994525"/>
                  <a:gd name="connsiteY4758" fmla="*/ 4746018 h 7571036"/>
                  <a:gd name="connsiteX4759" fmla="*/ 1912891 w 6994525"/>
                  <a:gd name="connsiteY4759" fmla="*/ 4716920 h 7571036"/>
                  <a:gd name="connsiteX4760" fmla="*/ 1913632 w 6994525"/>
                  <a:gd name="connsiteY4760" fmla="*/ 2640593 h 7571036"/>
                  <a:gd name="connsiteX4761" fmla="*/ 1882317 w 6994525"/>
                  <a:gd name="connsiteY4761" fmla="*/ 2609276 h 7571036"/>
                  <a:gd name="connsiteX4762" fmla="*/ 1851001 w 6994525"/>
                  <a:gd name="connsiteY4762" fmla="*/ 2640593 h 7571036"/>
                  <a:gd name="connsiteX4763" fmla="*/ 1882317 w 6994525"/>
                  <a:gd name="connsiteY4763" fmla="*/ 2671905 h 7571036"/>
                  <a:gd name="connsiteX4764" fmla="*/ 1913632 w 6994525"/>
                  <a:gd name="connsiteY4764" fmla="*/ 2640593 h 7571036"/>
                  <a:gd name="connsiteX4765" fmla="*/ 1914616 w 6994525"/>
                  <a:gd name="connsiteY4765" fmla="*/ 5076182 h 7571036"/>
                  <a:gd name="connsiteX4766" fmla="*/ 1913135 w 6994525"/>
                  <a:gd name="connsiteY4766" fmla="*/ 5074703 h 7571036"/>
                  <a:gd name="connsiteX4767" fmla="*/ 1911657 w 6994525"/>
                  <a:gd name="connsiteY4767" fmla="*/ 5076182 h 7571036"/>
                  <a:gd name="connsiteX4768" fmla="*/ 1913135 w 6994525"/>
                  <a:gd name="connsiteY4768" fmla="*/ 5077663 h 7571036"/>
                  <a:gd name="connsiteX4769" fmla="*/ 1914616 w 6994525"/>
                  <a:gd name="connsiteY4769" fmla="*/ 5076182 h 7571036"/>
                  <a:gd name="connsiteX4770" fmla="*/ 1916590 w 6994525"/>
                  <a:gd name="connsiteY4770" fmla="*/ 1056248 h 7571036"/>
                  <a:gd name="connsiteX4771" fmla="*/ 1900809 w 6994525"/>
                  <a:gd name="connsiteY4771" fmla="*/ 1040477 h 7571036"/>
                  <a:gd name="connsiteX4772" fmla="*/ 1885275 w 6994525"/>
                  <a:gd name="connsiteY4772" fmla="*/ 1056248 h 7571036"/>
                  <a:gd name="connsiteX4773" fmla="*/ 1900809 w 6994525"/>
                  <a:gd name="connsiteY4773" fmla="*/ 1072049 h 7571036"/>
                  <a:gd name="connsiteX4774" fmla="*/ 1916590 w 6994525"/>
                  <a:gd name="connsiteY4774" fmla="*/ 1056248 h 7571036"/>
                  <a:gd name="connsiteX4775" fmla="*/ 1920536 w 6994525"/>
                  <a:gd name="connsiteY4775" fmla="*/ 6897884 h 7571036"/>
                  <a:gd name="connsiteX4776" fmla="*/ 1917082 w 6994525"/>
                  <a:gd name="connsiteY4776" fmla="*/ 6894431 h 7571036"/>
                  <a:gd name="connsiteX4777" fmla="*/ 1913632 w 6994525"/>
                  <a:gd name="connsiteY4777" fmla="*/ 6897884 h 7571036"/>
                  <a:gd name="connsiteX4778" fmla="*/ 1917082 w 6994525"/>
                  <a:gd name="connsiteY4778" fmla="*/ 6901335 h 7571036"/>
                  <a:gd name="connsiteX4779" fmla="*/ 1920536 w 6994525"/>
                  <a:gd name="connsiteY4779" fmla="*/ 6897884 h 7571036"/>
                  <a:gd name="connsiteX4780" fmla="*/ 1922262 w 6994525"/>
                  <a:gd name="connsiteY4780" fmla="*/ 1182742 h 7571036"/>
                  <a:gd name="connsiteX4781" fmla="*/ 1907219 w 6994525"/>
                  <a:gd name="connsiteY4781" fmla="*/ 1167703 h 7571036"/>
                  <a:gd name="connsiteX4782" fmla="*/ 1892179 w 6994525"/>
                  <a:gd name="connsiteY4782" fmla="*/ 1182742 h 7571036"/>
                  <a:gd name="connsiteX4783" fmla="*/ 1907219 w 6994525"/>
                  <a:gd name="connsiteY4783" fmla="*/ 1197787 h 7571036"/>
                  <a:gd name="connsiteX4784" fmla="*/ 1922262 w 6994525"/>
                  <a:gd name="connsiteY4784" fmla="*/ 1182742 h 7571036"/>
                  <a:gd name="connsiteX4785" fmla="*/ 1922262 w 6994525"/>
                  <a:gd name="connsiteY4785" fmla="*/ 6779034 h 7571036"/>
                  <a:gd name="connsiteX4786" fmla="*/ 1919055 w 6994525"/>
                  <a:gd name="connsiteY4786" fmla="*/ 6775829 h 7571036"/>
                  <a:gd name="connsiteX4787" fmla="*/ 1915850 w 6994525"/>
                  <a:gd name="connsiteY4787" fmla="*/ 6779034 h 7571036"/>
                  <a:gd name="connsiteX4788" fmla="*/ 1919055 w 6994525"/>
                  <a:gd name="connsiteY4788" fmla="*/ 6781993 h 7571036"/>
                  <a:gd name="connsiteX4789" fmla="*/ 1922262 w 6994525"/>
                  <a:gd name="connsiteY4789" fmla="*/ 6779034 h 7571036"/>
                  <a:gd name="connsiteX4790" fmla="*/ 1923492 w 6994525"/>
                  <a:gd name="connsiteY4790" fmla="*/ 6659446 h 7571036"/>
                  <a:gd name="connsiteX4791" fmla="*/ 1921519 w 6994525"/>
                  <a:gd name="connsiteY4791" fmla="*/ 6657473 h 7571036"/>
                  <a:gd name="connsiteX4792" fmla="*/ 1919547 w 6994525"/>
                  <a:gd name="connsiteY4792" fmla="*/ 6659446 h 7571036"/>
                  <a:gd name="connsiteX4793" fmla="*/ 1921519 w 6994525"/>
                  <a:gd name="connsiteY4793" fmla="*/ 6661418 h 7571036"/>
                  <a:gd name="connsiteX4794" fmla="*/ 1923492 w 6994525"/>
                  <a:gd name="connsiteY4794" fmla="*/ 6659446 h 7571036"/>
                  <a:gd name="connsiteX4795" fmla="*/ 1923987 w 6994525"/>
                  <a:gd name="connsiteY4795" fmla="*/ 3420254 h 7571036"/>
                  <a:gd name="connsiteX4796" fmla="*/ 1895138 w 6994525"/>
                  <a:gd name="connsiteY4796" fmla="*/ 3391409 h 7571036"/>
                  <a:gd name="connsiteX4797" fmla="*/ 1866289 w 6994525"/>
                  <a:gd name="connsiteY4797" fmla="*/ 3420254 h 7571036"/>
                  <a:gd name="connsiteX4798" fmla="*/ 1895138 w 6994525"/>
                  <a:gd name="connsiteY4798" fmla="*/ 3449101 h 7571036"/>
                  <a:gd name="connsiteX4799" fmla="*/ 1923987 w 6994525"/>
                  <a:gd name="connsiteY4799" fmla="*/ 3420254 h 7571036"/>
                  <a:gd name="connsiteX4800" fmla="*/ 1924972 w 6994525"/>
                  <a:gd name="connsiteY4800" fmla="*/ 4569470 h 7571036"/>
                  <a:gd name="connsiteX4801" fmla="*/ 1909929 w 6994525"/>
                  <a:gd name="connsiteY4801" fmla="*/ 4554429 h 7571036"/>
                  <a:gd name="connsiteX4802" fmla="*/ 1894889 w 6994525"/>
                  <a:gd name="connsiteY4802" fmla="*/ 4569470 h 7571036"/>
                  <a:gd name="connsiteX4803" fmla="*/ 1909929 w 6994525"/>
                  <a:gd name="connsiteY4803" fmla="*/ 4584513 h 7571036"/>
                  <a:gd name="connsiteX4804" fmla="*/ 1924972 w 6994525"/>
                  <a:gd name="connsiteY4804" fmla="*/ 4569470 h 7571036"/>
                  <a:gd name="connsiteX4805" fmla="*/ 1927440 w 6994525"/>
                  <a:gd name="connsiteY4805" fmla="*/ 2388358 h 7571036"/>
                  <a:gd name="connsiteX4806" fmla="*/ 1908206 w 6994525"/>
                  <a:gd name="connsiteY4806" fmla="*/ 2369373 h 7571036"/>
                  <a:gd name="connsiteX4807" fmla="*/ 1888975 w 6994525"/>
                  <a:gd name="connsiteY4807" fmla="*/ 2388358 h 7571036"/>
                  <a:gd name="connsiteX4808" fmla="*/ 1908206 w 6994525"/>
                  <a:gd name="connsiteY4808" fmla="*/ 2407343 h 7571036"/>
                  <a:gd name="connsiteX4809" fmla="*/ 1927440 w 6994525"/>
                  <a:gd name="connsiteY4809" fmla="*/ 2388358 h 7571036"/>
                  <a:gd name="connsiteX4810" fmla="*/ 1927441 w 6994525"/>
                  <a:gd name="connsiteY4810" fmla="*/ 2908123 h 7571036"/>
                  <a:gd name="connsiteX4811" fmla="*/ 1883548 w 6994525"/>
                  <a:gd name="connsiteY4811" fmla="*/ 2864232 h 7571036"/>
                  <a:gd name="connsiteX4812" fmla="*/ 1839660 w 6994525"/>
                  <a:gd name="connsiteY4812" fmla="*/ 2908123 h 7571036"/>
                  <a:gd name="connsiteX4813" fmla="*/ 1883548 w 6994525"/>
                  <a:gd name="connsiteY4813" fmla="*/ 2952015 h 7571036"/>
                  <a:gd name="connsiteX4814" fmla="*/ 1927441 w 6994525"/>
                  <a:gd name="connsiteY4814" fmla="*/ 2908123 h 7571036"/>
                  <a:gd name="connsiteX4815" fmla="*/ 1928179 w 6994525"/>
                  <a:gd name="connsiteY4815" fmla="*/ 1310940 h 7571036"/>
                  <a:gd name="connsiteX4816" fmla="*/ 1914124 w 6994525"/>
                  <a:gd name="connsiteY4816" fmla="*/ 1296883 h 7571036"/>
                  <a:gd name="connsiteX4817" fmla="*/ 1900070 w 6994525"/>
                  <a:gd name="connsiteY4817" fmla="*/ 1310940 h 7571036"/>
                  <a:gd name="connsiteX4818" fmla="*/ 1914124 w 6994525"/>
                  <a:gd name="connsiteY4818" fmla="*/ 1324989 h 7571036"/>
                  <a:gd name="connsiteX4819" fmla="*/ 1928179 w 6994525"/>
                  <a:gd name="connsiteY4819" fmla="*/ 1310940 h 7571036"/>
                  <a:gd name="connsiteX4820" fmla="*/ 1930888 w 6994525"/>
                  <a:gd name="connsiteY4820" fmla="*/ 3768343 h 7571036"/>
                  <a:gd name="connsiteX4821" fmla="*/ 1920779 w 6994525"/>
                  <a:gd name="connsiteY4821" fmla="*/ 3758234 h 7571036"/>
                  <a:gd name="connsiteX4822" fmla="*/ 1910670 w 6994525"/>
                  <a:gd name="connsiteY4822" fmla="*/ 3768343 h 7571036"/>
                  <a:gd name="connsiteX4823" fmla="*/ 1920779 w 6994525"/>
                  <a:gd name="connsiteY4823" fmla="*/ 3778455 h 7571036"/>
                  <a:gd name="connsiteX4824" fmla="*/ 1930888 w 6994525"/>
                  <a:gd name="connsiteY4824" fmla="*/ 3768343 h 7571036"/>
                  <a:gd name="connsiteX4825" fmla="*/ 1933354 w 6994525"/>
                  <a:gd name="connsiteY4825" fmla="*/ 59013 h 7571036"/>
                  <a:gd name="connsiteX4826" fmla="*/ 1914120 w 6994525"/>
                  <a:gd name="connsiteY4826" fmla="*/ 39783 h 7571036"/>
                  <a:gd name="connsiteX4827" fmla="*/ 1894889 w 6994525"/>
                  <a:gd name="connsiteY4827" fmla="*/ 59013 h 7571036"/>
                  <a:gd name="connsiteX4828" fmla="*/ 1914120 w 6994525"/>
                  <a:gd name="connsiteY4828" fmla="*/ 78246 h 7571036"/>
                  <a:gd name="connsiteX4829" fmla="*/ 1933354 w 6994525"/>
                  <a:gd name="connsiteY4829" fmla="*/ 59013 h 7571036"/>
                  <a:gd name="connsiteX4830" fmla="*/ 1935328 w 6994525"/>
                  <a:gd name="connsiteY4830" fmla="*/ 177834 h 7571036"/>
                  <a:gd name="connsiteX4831" fmla="*/ 1916588 w 6994525"/>
                  <a:gd name="connsiteY4831" fmla="*/ 159095 h 7571036"/>
                  <a:gd name="connsiteX4832" fmla="*/ 1897603 w 6994525"/>
                  <a:gd name="connsiteY4832" fmla="*/ 177834 h 7571036"/>
                  <a:gd name="connsiteX4833" fmla="*/ 1916588 w 6994525"/>
                  <a:gd name="connsiteY4833" fmla="*/ 196819 h 7571036"/>
                  <a:gd name="connsiteX4834" fmla="*/ 1935328 w 6994525"/>
                  <a:gd name="connsiteY4834" fmla="*/ 177834 h 7571036"/>
                  <a:gd name="connsiteX4835" fmla="*/ 1935823 w 6994525"/>
                  <a:gd name="connsiteY4835" fmla="*/ 1440626 h 7571036"/>
                  <a:gd name="connsiteX4836" fmla="*/ 1921523 w 6994525"/>
                  <a:gd name="connsiteY4836" fmla="*/ 1426325 h 7571036"/>
                  <a:gd name="connsiteX4837" fmla="*/ 1907220 w 6994525"/>
                  <a:gd name="connsiteY4837" fmla="*/ 1440626 h 7571036"/>
                  <a:gd name="connsiteX4838" fmla="*/ 1921523 w 6994525"/>
                  <a:gd name="connsiteY4838" fmla="*/ 1454923 h 7571036"/>
                  <a:gd name="connsiteX4839" fmla="*/ 1935823 w 6994525"/>
                  <a:gd name="connsiteY4839" fmla="*/ 1440626 h 7571036"/>
                  <a:gd name="connsiteX4840" fmla="*/ 1937303 w 6994525"/>
                  <a:gd name="connsiteY4840" fmla="*/ 6174184 h 7571036"/>
                  <a:gd name="connsiteX4841" fmla="*/ 1933850 w 6994525"/>
                  <a:gd name="connsiteY4841" fmla="*/ 6170731 h 7571036"/>
                  <a:gd name="connsiteX4842" fmla="*/ 1930645 w 6994525"/>
                  <a:gd name="connsiteY4842" fmla="*/ 6174184 h 7571036"/>
                  <a:gd name="connsiteX4843" fmla="*/ 1933850 w 6994525"/>
                  <a:gd name="connsiteY4843" fmla="*/ 6177635 h 7571036"/>
                  <a:gd name="connsiteX4844" fmla="*/ 1937303 w 6994525"/>
                  <a:gd name="connsiteY4844" fmla="*/ 6174184 h 7571036"/>
                  <a:gd name="connsiteX4845" fmla="*/ 1937549 w 6994525"/>
                  <a:gd name="connsiteY4845" fmla="*/ 297149 h 7571036"/>
                  <a:gd name="connsiteX4846" fmla="*/ 1919056 w 6994525"/>
                  <a:gd name="connsiteY4846" fmla="*/ 278656 h 7571036"/>
                  <a:gd name="connsiteX4847" fmla="*/ 1900561 w 6994525"/>
                  <a:gd name="connsiteY4847" fmla="*/ 297149 h 7571036"/>
                  <a:gd name="connsiteX4848" fmla="*/ 1919056 w 6994525"/>
                  <a:gd name="connsiteY4848" fmla="*/ 315643 h 7571036"/>
                  <a:gd name="connsiteX4849" fmla="*/ 1937549 w 6994525"/>
                  <a:gd name="connsiteY4849" fmla="*/ 297149 h 7571036"/>
                  <a:gd name="connsiteX4850" fmla="*/ 1938040 w 6994525"/>
                  <a:gd name="connsiteY4850" fmla="*/ 3303871 h 7571036"/>
                  <a:gd name="connsiteX4851" fmla="*/ 1903519 w 6994525"/>
                  <a:gd name="connsiteY4851" fmla="*/ 3269353 h 7571036"/>
                  <a:gd name="connsiteX4852" fmla="*/ 1869245 w 6994525"/>
                  <a:gd name="connsiteY4852" fmla="*/ 3303871 h 7571036"/>
                  <a:gd name="connsiteX4853" fmla="*/ 1903519 w 6994525"/>
                  <a:gd name="connsiteY4853" fmla="*/ 3338393 h 7571036"/>
                  <a:gd name="connsiteX4854" fmla="*/ 1938040 w 6994525"/>
                  <a:gd name="connsiteY4854" fmla="*/ 3303871 h 7571036"/>
                  <a:gd name="connsiteX4855" fmla="*/ 1939521 w 6994525"/>
                  <a:gd name="connsiteY4855" fmla="*/ 6418293 h 7571036"/>
                  <a:gd name="connsiteX4856" fmla="*/ 1926700 w 6994525"/>
                  <a:gd name="connsiteY4856" fmla="*/ 6405471 h 7571036"/>
                  <a:gd name="connsiteX4857" fmla="*/ 1913878 w 6994525"/>
                  <a:gd name="connsiteY4857" fmla="*/ 6418293 h 7571036"/>
                  <a:gd name="connsiteX4858" fmla="*/ 1926700 w 6994525"/>
                  <a:gd name="connsiteY4858" fmla="*/ 6431115 h 7571036"/>
                  <a:gd name="connsiteX4859" fmla="*/ 1939521 w 6994525"/>
                  <a:gd name="connsiteY4859" fmla="*/ 6418293 h 7571036"/>
                  <a:gd name="connsiteX4860" fmla="*/ 1940013 w 6994525"/>
                  <a:gd name="connsiteY4860" fmla="*/ 417204 h 7571036"/>
                  <a:gd name="connsiteX4861" fmla="*/ 1921768 w 6994525"/>
                  <a:gd name="connsiteY4861" fmla="*/ 398959 h 7571036"/>
                  <a:gd name="connsiteX4862" fmla="*/ 1903520 w 6994525"/>
                  <a:gd name="connsiteY4862" fmla="*/ 417204 h 7571036"/>
                  <a:gd name="connsiteX4863" fmla="*/ 1921768 w 6994525"/>
                  <a:gd name="connsiteY4863" fmla="*/ 435451 h 7571036"/>
                  <a:gd name="connsiteX4864" fmla="*/ 1940013 w 6994525"/>
                  <a:gd name="connsiteY4864" fmla="*/ 417204 h 7571036"/>
                  <a:gd name="connsiteX4865" fmla="*/ 1941493 w 6994525"/>
                  <a:gd name="connsiteY4865" fmla="*/ 4157195 h 7571036"/>
                  <a:gd name="connsiteX4866" fmla="*/ 1927191 w 6994525"/>
                  <a:gd name="connsiteY4866" fmla="*/ 4142892 h 7571036"/>
                  <a:gd name="connsiteX4867" fmla="*/ 1912891 w 6994525"/>
                  <a:gd name="connsiteY4867" fmla="*/ 4157195 h 7571036"/>
                  <a:gd name="connsiteX4868" fmla="*/ 1927191 w 6994525"/>
                  <a:gd name="connsiteY4868" fmla="*/ 4171495 h 7571036"/>
                  <a:gd name="connsiteX4869" fmla="*/ 1941493 w 6994525"/>
                  <a:gd name="connsiteY4869" fmla="*/ 4157195 h 7571036"/>
                  <a:gd name="connsiteX4870" fmla="*/ 1942232 w 6994525"/>
                  <a:gd name="connsiteY4870" fmla="*/ 1572029 h 7571036"/>
                  <a:gd name="connsiteX4871" fmla="*/ 1930645 w 6994525"/>
                  <a:gd name="connsiteY4871" fmla="*/ 1560441 h 7571036"/>
                  <a:gd name="connsiteX4872" fmla="*/ 1919056 w 6994525"/>
                  <a:gd name="connsiteY4872" fmla="*/ 1572029 h 7571036"/>
                  <a:gd name="connsiteX4873" fmla="*/ 1930645 w 6994525"/>
                  <a:gd name="connsiteY4873" fmla="*/ 1583616 h 7571036"/>
                  <a:gd name="connsiteX4874" fmla="*/ 1942232 w 6994525"/>
                  <a:gd name="connsiteY4874" fmla="*/ 1572029 h 7571036"/>
                  <a:gd name="connsiteX4875" fmla="*/ 1942481 w 6994525"/>
                  <a:gd name="connsiteY4875" fmla="*/ 6539362 h 7571036"/>
                  <a:gd name="connsiteX4876" fmla="*/ 1923987 w 6994525"/>
                  <a:gd name="connsiteY4876" fmla="*/ 6520868 h 7571036"/>
                  <a:gd name="connsiteX4877" fmla="*/ 1905494 w 6994525"/>
                  <a:gd name="connsiteY4877" fmla="*/ 6539362 h 7571036"/>
                  <a:gd name="connsiteX4878" fmla="*/ 1923987 w 6994525"/>
                  <a:gd name="connsiteY4878" fmla="*/ 6558102 h 7571036"/>
                  <a:gd name="connsiteX4879" fmla="*/ 1942481 w 6994525"/>
                  <a:gd name="connsiteY4879" fmla="*/ 6539362 h 7571036"/>
                  <a:gd name="connsiteX4880" fmla="*/ 1942974 w 6994525"/>
                  <a:gd name="connsiteY4880" fmla="*/ 538002 h 7571036"/>
                  <a:gd name="connsiteX4881" fmla="*/ 1924972 w 6994525"/>
                  <a:gd name="connsiteY4881" fmla="*/ 520003 h 7571036"/>
                  <a:gd name="connsiteX4882" fmla="*/ 1906973 w 6994525"/>
                  <a:gd name="connsiteY4882" fmla="*/ 538002 h 7571036"/>
                  <a:gd name="connsiteX4883" fmla="*/ 1924972 w 6994525"/>
                  <a:gd name="connsiteY4883" fmla="*/ 556001 h 7571036"/>
                  <a:gd name="connsiteX4884" fmla="*/ 1942974 w 6994525"/>
                  <a:gd name="connsiteY4884" fmla="*/ 538002 h 7571036"/>
                  <a:gd name="connsiteX4885" fmla="*/ 1943466 w 6994525"/>
                  <a:gd name="connsiteY4885" fmla="*/ 6296732 h 7571036"/>
                  <a:gd name="connsiteX4886" fmla="*/ 1930153 w 6994525"/>
                  <a:gd name="connsiteY4886" fmla="*/ 6283416 h 7571036"/>
                  <a:gd name="connsiteX4887" fmla="*/ 1916837 w 6994525"/>
                  <a:gd name="connsiteY4887" fmla="*/ 6296732 h 7571036"/>
                  <a:gd name="connsiteX4888" fmla="*/ 1930153 w 6994525"/>
                  <a:gd name="connsiteY4888" fmla="*/ 6310046 h 7571036"/>
                  <a:gd name="connsiteX4889" fmla="*/ 1943466 w 6994525"/>
                  <a:gd name="connsiteY4889" fmla="*/ 6296732 h 7571036"/>
                  <a:gd name="connsiteX4890" fmla="*/ 1945191 w 6994525"/>
                  <a:gd name="connsiteY4890" fmla="*/ 659834 h 7571036"/>
                  <a:gd name="connsiteX4891" fmla="*/ 1927932 w 6994525"/>
                  <a:gd name="connsiteY4891" fmla="*/ 642559 h 7571036"/>
                  <a:gd name="connsiteX4892" fmla="*/ 1910670 w 6994525"/>
                  <a:gd name="connsiteY4892" fmla="*/ 659834 h 7571036"/>
                  <a:gd name="connsiteX4893" fmla="*/ 1927932 w 6994525"/>
                  <a:gd name="connsiteY4893" fmla="*/ 677091 h 7571036"/>
                  <a:gd name="connsiteX4894" fmla="*/ 1945191 w 6994525"/>
                  <a:gd name="connsiteY4894" fmla="*/ 659834 h 7571036"/>
                  <a:gd name="connsiteX4895" fmla="*/ 1947412 w 6994525"/>
                  <a:gd name="connsiteY4895" fmla="*/ 2009371 h 7571036"/>
                  <a:gd name="connsiteX4896" fmla="*/ 1937054 w 6994525"/>
                  <a:gd name="connsiteY4896" fmla="*/ 1999021 h 7571036"/>
                  <a:gd name="connsiteX4897" fmla="*/ 1926700 w 6994525"/>
                  <a:gd name="connsiteY4897" fmla="*/ 2009371 h 7571036"/>
                  <a:gd name="connsiteX4898" fmla="*/ 1937054 w 6994525"/>
                  <a:gd name="connsiteY4898" fmla="*/ 2019725 h 7571036"/>
                  <a:gd name="connsiteX4899" fmla="*/ 1947412 w 6994525"/>
                  <a:gd name="connsiteY4899" fmla="*/ 2009371 h 7571036"/>
                  <a:gd name="connsiteX4900" fmla="*/ 1948398 w 6994525"/>
                  <a:gd name="connsiteY4900" fmla="*/ 782362 h 7571036"/>
                  <a:gd name="connsiteX4901" fmla="*/ 1931631 w 6994525"/>
                  <a:gd name="connsiteY4901" fmla="*/ 765598 h 7571036"/>
                  <a:gd name="connsiteX4902" fmla="*/ 1914864 w 6994525"/>
                  <a:gd name="connsiteY4902" fmla="*/ 782362 h 7571036"/>
                  <a:gd name="connsiteX4903" fmla="*/ 1931631 w 6994525"/>
                  <a:gd name="connsiteY4903" fmla="*/ 799129 h 7571036"/>
                  <a:gd name="connsiteX4904" fmla="*/ 1948398 w 6994525"/>
                  <a:gd name="connsiteY4904" fmla="*/ 782362 h 7571036"/>
                  <a:gd name="connsiteX4905" fmla="*/ 1949138 w 6994525"/>
                  <a:gd name="connsiteY4905" fmla="*/ 1705165 h 7571036"/>
                  <a:gd name="connsiteX4906" fmla="*/ 1941000 w 6994525"/>
                  <a:gd name="connsiteY4906" fmla="*/ 1697028 h 7571036"/>
                  <a:gd name="connsiteX4907" fmla="*/ 1932863 w 6994525"/>
                  <a:gd name="connsiteY4907" fmla="*/ 1705165 h 7571036"/>
                  <a:gd name="connsiteX4908" fmla="*/ 1941000 w 6994525"/>
                  <a:gd name="connsiteY4908" fmla="*/ 1713277 h 7571036"/>
                  <a:gd name="connsiteX4909" fmla="*/ 1949138 w 6994525"/>
                  <a:gd name="connsiteY4909" fmla="*/ 1705165 h 7571036"/>
                  <a:gd name="connsiteX4910" fmla="*/ 1956535 w 6994525"/>
                  <a:gd name="connsiteY4910" fmla="*/ 3188723 h 7571036"/>
                  <a:gd name="connsiteX4911" fmla="*/ 1920288 w 6994525"/>
                  <a:gd name="connsiteY4911" fmla="*/ 3152474 h 7571036"/>
                  <a:gd name="connsiteX4912" fmla="*/ 1884041 w 6994525"/>
                  <a:gd name="connsiteY4912" fmla="*/ 3188723 h 7571036"/>
                  <a:gd name="connsiteX4913" fmla="*/ 1920288 w 6994525"/>
                  <a:gd name="connsiteY4913" fmla="*/ 3224970 h 7571036"/>
                  <a:gd name="connsiteX4914" fmla="*/ 1956535 w 6994525"/>
                  <a:gd name="connsiteY4914" fmla="*/ 3188723 h 7571036"/>
                  <a:gd name="connsiteX4915" fmla="*/ 1958262 w 6994525"/>
                  <a:gd name="connsiteY4915" fmla="*/ 1840803 h 7571036"/>
                  <a:gd name="connsiteX4916" fmla="*/ 1952838 w 6994525"/>
                  <a:gd name="connsiteY4916" fmla="*/ 1835381 h 7571036"/>
                  <a:gd name="connsiteX4917" fmla="*/ 1947412 w 6994525"/>
                  <a:gd name="connsiteY4917" fmla="*/ 1840803 h 7571036"/>
                  <a:gd name="connsiteX4918" fmla="*/ 1952838 w 6994525"/>
                  <a:gd name="connsiteY4918" fmla="*/ 1846224 h 7571036"/>
                  <a:gd name="connsiteX4919" fmla="*/ 1958262 w 6994525"/>
                  <a:gd name="connsiteY4919" fmla="*/ 1840803 h 7571036"/>
                  <a:gd name="connsiteX4920" fmla="*/ 1958754 w 6994525"/>
                  <a:gd name="connsiteY4920" fmla="*/ 5805800 h 7571036"/>
                  <a:gd name="connsiteX4921" fmla="*/ 1956781 w 6994525"/>
                  <a:gd name="connsiteY4921" fmla="*/ 5803827 h 7571036"/>
                  <a:gd name="connsiteX4922" fmla="*/ 1954808 w 6994525"/>
                  <a:gd name="connsiteY4922" fmla="*/ 5805800 h 7571036"/>
                  <a:gd name="connsiteX4923" fmla="*/ 1956781 w 6994525"/>
                  <a:gd name="connsiteY4923" fmla="*/ 5807772 h 7571036"/>
                  <a:gd name="connsiteX4924" fmla="*/ 1958754 w 6994525"/>
                  <a:gd name="connsiteY4924" fmla="*/ 5805800 h 7571036"/>
                  <a:gd name="connsiteX4925" fmla="*/ 1959988 w 6994525"/>
                  <a:gd name="connsiteY4925" fmla="*/ 3882263 h 7571036"/>
                  <a:gd name="connsiteX4926" fmla="*/ 1946181 w 6994525"/>
                  <a:gd name="connsiteY4926" fmla="*/ 3868455 h 7571036"/>
                  <a:gd name="connsiteX4927" fmla="*/ 1932372 w 6994525"/>
                  <a:gd name="connsiteY4927" fmla="*/ 3882263 h 7571036"/>
                  <a:gd name="connsiteX4928" fmla="*/ 1946181 w 6994525"/>
                  <a:gd name="connsiteY4928" fmla="*/ 3896071 h 7571036"/>
                  <a:gd name="connsiteX4929" fmla="*/ 1959988 w 6994525"/>
                  <a:gd name="connsiteY4929" fmla="*/ 3882263 h 7571036"/>
                  <a:gd name="connsiteX4930" fmla="*/ 1960234 w 6994525"/>
                  <a:gd name="connsiteY4930" fmla="*/ 2539246 h 7571036"/>
                  <a:gd name="connsiteX4931" fmla="*/ 1939522 w 6994525"/>
                  <a:gd name="connsiteY4931" fmla="*/ 2518535 h 7571036"/>
                  <a:gd name="connsiteX4932" fmla="*/ 1919056 w 6994525"/>
                  <a:gd name="connsiteY4932" fmla="*/ 2539246 h 7571036"/>
                  <a:gd name="connsiteX4933" fmla="*/ 1939522 w 6994525"/>
                  <a:gd name="connsiteY4933" fmla="*/ 2559960 h 7571036"/>
                  <a:gd name="connsiteX4934" fmla="*/ 1960234 w 6994525"/>
                  <a:gd name="connsiteY4934" fmla="*/ 2539246 h 7571036"/>
                  <a:gd name="connsiteX4935" fmla="*/ 1964672 w 6994525"/>
                  <a:gd name="connsiteY4935" fmla="*/ 5679062 h 7571036"/>
                  <a:gd name="connsiteX4936" fmla="*/ 1962698 w 6994525"/>
                  <a:gd name="connsiteY4936" fmla="*/ 5677088 h 7571036"/>
                  <a:gd name="connsiteX4937" fmla="*/ 1960726 w 6994525"/>
                  <a:gd name="connsiteY4937" fmla="*/ 5679062 h 7571036"/>
                  <a:gd name="connsiteX4938" fmla="*/ 1962698 w 6994525"/>
                  <a:gd name="connsiteY4938" fmla="*/ 5681034 h 7571036"/>
                  <a:gd name="connsiteX4939" fmla="*/ 1964672 w 6994525"/>
                  <a:gd name="connsiteY4939" fmla="*/ 5679062 h 7571036"/>
                  <a:gd name="connsiteX4940" fmla="*/ 1966153 w 6994525"/>
                  <a:gd name="connsiteY4940" fmla="*/ 4417825 h 7571036"/>
                  <a:gd name="connsiteX4941" fmla="*/ 1940509 w 6994525"/>
                  <a:gd name="connsiteY4941" fmla="*/ 4392181 h 7571036"/>
                  <a:gd name="connsiteX4942" fmla="*/ 1914864 w 6994525"/>
                  <a:gd name="connsiteY4942" fmla="*/ 4417825 h 7571036"/>
                  <a:gd name="connsiteX4943" fmla="*/ 1940509 w 6994525"/>
                  <a:gd name="connsiteY4943" fmla="*/ 4443469 h 7571036"/>
                  <a:gd name="connsiteX4944" fmla="*/ 1966153 w 6994525"/>
                  <a:gd name="connsiteY4944" fmla="*/ 4417825 h 7571036"/>
                  <a:gd name="connsiteX4945" fmla="*/ 1966890 w 6994525"/>
                  <a:gd name="connsiteY4945" fmla="*/ 6055582 h 7571036"/>
                  <a:gd name="connsiteX4946" fmla="*/ 1946177 w 6994525"/>
                  <a:gd name="connsiteY4946" fmla="*/ 6035116 h 7571036"/>
                  <a:gd name="connsiteX4947" fmla="*/ 1925465 w 6994525"/>
                  <a:gd name="connsiteY4947" fmla="*/ 6055582 h 7571036"/>
                  <a:gd name="connsiteX4948" fmla="*/ 1946177 w 6994525"/>
                  <a:gd name="connsiteY4948" fmla="*/ 6076295 h 7571036"/>
                  <a:gd name="connsiteX4949" fmla="*/ 1966890 w 6994525"/>
                  <a:gd name="connsiteY4949" fmla="*/ 6055582 h 7571036"/>
                  <a:gd name="connsiteX4950" fmla="*/ 1968370 w 6994525"/>
                  <a:gd name="connsiteY4950" fmla="*/ 2799875 h 7571036"/>
                  <a:gd name="connsiteX4951" fmla="*/ 1926206 w 6994525"/>
                  <a:gd name="connsiteY4951" fmla="*/ 2757708 h 7571036"/>
                  <a:gd name="connsiteX4952" fmla="*/ 1884041 w 6994525"/>
                  <a:gd name="connsiteY4952" fmla="*/ 2799875 h 7571036"/>
                  <a:gd name="connsiteX4953" fmla="*/ 1926206 w 6994525"/>
                  <a:gd name="connsiteY4953" fmla="*/ 2842038 h 7571036"/>
                  <a:gd name="connsiteX4954" fmla="*/ 1968370 w 6994525"/>
                  <a:gd name="connsiteY4954" fmla="*/ 2799875 h 7571036"/>
                  <a:gd name="connsiteX4955" fmla="*/ 1971575 w 6994525"/>
                  <a:gd name="connsiteY4955" fmla="*/ 4947718 h 7571036"/>
                  <a:gd name="connsiteX4956" fmla="*/ 1939028 w 6994525"/>
                  <a:gd name="connsiteY4956" fmla="*/ 4915416 h 7571036"/>
                  <a:gd name="connsiteX4957" fmla="*/ 1906479 w 6994525"/>
                  <a:gd name="connsiteY4957" fmla="*/ 4947718 h 7571036"/>
                  <a:gd name="connsiteX4958" fmla="*/ 1939028 w 6994525"/>
                  <a:gd name="connsiteY4958" fmla="*/ 4980267 h 7571036"/>
                  <a:gd name="connsiteX4959" fmla="*/ 1971575 w 6994525"/>
                  <a:gd name="connsiteY4959" fmla="*/ 4947718 h 7571036"/>
                  <a:gd name="connsiteX4960" fmla="*/ 1972564 w 6994525"/>
                  <a:gd name="connsiteY4960" fmla="*/ 5550841 h 7571036"/>
                  <a:gd name="connsiteX4961" fmla="*/ 1969850 w 6994525"/>
                  <a:gd name="connsiteY4961" fmla="*/ 5548128 h 7571036"/>
                  <a:gd name="connsiteX4962" fmla="*/ 1967138 w 6994525"/>
                  <a:gd name="connsiteY4962" fmla="*/ 5550841 h 7571036"/>
                  <a:gd name="connsiteX4963" fmla="*/ 1969850 w 6994525"/>
                  <a:gd name="connsiteY4963" fmla="*/ 5553800 h 7571036"/>
                  <a:gd name="connsiteX4964" fmla="*/ 1972564 w 6994525"/>
                  <a:gd name="connsiteY4964" fmla="*/ 5550841 h 7571036"/>
                  <a:gd name="connsiteX4965" fmla="*/ 1975766 w 6994525"/>
                  <a:gd name="connsiteY4965" fmla="*/ 5931305 h 7571036"/>
                  <a:gd name="connsiteX4966" fmla="*/ 1951109 w 6994525"/>
                  <a:gd name="connsiteY4966" fmla="*/ 5906648 h 7571036"/>
                  <a:gd name="connsiteX4967" fmla="*/ 1926451 w 6994525"/>
                  <a:gd name="connsiteY4967" fmla="*/ 5931305 h 7571036"/>
                  <a:gd name="connsiteX4968" fmla="*/ 1951109 w 6994525"/>
                  <a:gd name="connsiteY4968" fmla="*/ 5955963 h 7571036"/>
                  <a:gd name="connsiteX4969" fmla="*/ 1975766 w 6994525"/>
                  <a:gd name="connsiteY4969" fmla="*/ 5931305 h 7571036"/>
                  <a:gd name="connsiteX4970" fmla="*/ 1978725 w 6994525"/>
                  <a:gd name="connsiteY4970" fmla="*/ 5421142 h 7571036"/>
                  <a:gd name="connsiteX4971" fmla="*/ 1977987 w 6994525"/>
                  <a:gd name="connsiteY4971" fmla="*/ 5420401 h 7571036"/>
                  <a:gd name="connsiteX4972" fmla="*/ 1977247 w 6994525"/>
                  <a:gd name="connsiteY4972" fmla="*/ 5421142 h 7571036"/>
                  <a:gd name="connsiteX4973" fmla="*/ 1977987 w 6994525"/>
                  <a:gd name="connsiteY4973" fmla="*/ 5421879 h 7571036"/>
                  <a:gd name="connsiteX4974" fmla="*/ 1978725 w 6994525"/>
                  <a:gd name="connsiteY4974" fmla="*/ 5421142 h 7571036"/>
                  <a:gd name="connsiteX4975" fmla="*/ 1983903 w 6994525"/>
                  <a:gd name="connsiteY4975" fmla="*/ 3074802 h 7571036"/>
                  <a:gd name="connsiteX4976" fmla="*/ 1945685 w 6994525"/>
                  <a:gd name="connsiteY4976" fmla="*/ 3036581 h 7571036"/>
                  <a:gd name="connsiteX4977" fmla="*/ 1907466 w 6994525"/>
                  <a:gd name="connsiteY4977" fmla="*/ 3074802 h 7571036"/>
                  <a:gd name="connsiteX4978" fmla="*/ 1945685 w 6994525"/>
                  <a:gd name="connsiteY4978" fmla="*/ 3113021 h 7571036"/>
                  <a:gd name="connsiteX4979" fmla="*/ 1983903 w 6994525"/>
                  <a:gd name="connsiteY4979" fmla="*/ 3074802 h 7571036"/>
                  <a:gd name="connsiteX4980" fmla="*/ 1984644 w 6994525"/>
                  <a:gd name="connsiteY4980" fmla="*/ 2294660 h 7571036"/>
                  <a:gd name="connsiteX4981" fmla="*/ 1977001 w 6994525"/>
                  <a:gd name="connsiteY4981" fmla="*/ 2287016 h 7571036"/>
                  <a:gd name="connsiteX4982" fmla="*/ 1969357 w 6994525"/>
                  <a:gd name="connsiteY4982" fmla="*/ 2294660 h 7571036"/>
                  <a:gd name="connsiteX4983" fmla="*/ 1977001 w 6994525"/>
                  <a:gd name="connsiteY4983" fmla="*/ 2302299 h 7571036"/>
                  <a:gd name="connsiteX4984" fmla="*/ 1984644 w 6994525"/>
                  <a:gd name="connsiteY4984" fmla="*/ 2294660 h 7571036"/>
                  <a:gd name="connsiteX4985" fmla="*/ 1988097 w 6994525"/>
                  <a:gd name="connsiteY4985" fmla="*/ 2150421 h 7571036"/>
                  <a:gd name="connsiteX4986" fmla="*/ 1955549 w 6994525"/>
                  <a:gd name="connsiteY4986" fmla="*/ 2117870 h 7571036"/>
                  <a:gd name="connsiteX4987" fmla="*/ 1923001 w 6994525"/>
                  <a:gd name="connsiteY4987" fmla="*/ 2150421 h 7571036"/>
                  <a:gd name="connsiteX4988" fmla="*/ 1955549 w 6994525"/>
                  <a:gd name="connsiteY4988" fmla="*/ 2182974 h 7571036"/>
                  <a:gd name="connsiteX4989" fmla="*/ 1988097 w 6994525"/>
                  <a:gd name="connsiteY4989" fmla="*/ 2150421 h 7571036"/>
                  <a:gd name="connsiteX4990" fmla="*/ 1989081 w 6994525"/>
                  <a:gd name="connsiteY4990" fmla="*/ 4806675 h 7571036"/>
                  <a:gd name="connsiteX4991" fmla="*/ 1957272 w 6994525"/>
                  <a:gd name="connsiteY4991" fmla="*/ 4774867 h 7571036"/>
                  <a:gd name="connsiteX4992" fmla="*/ 1925465 w 6994525"/>
                  <a:gd name="connsiteY4992" fmla="*/ 4806675 h 7571036"/>
                  <a:gd name="connsiteX4993" fmla="*/ 1957272 w 6994525"/>
                  <a:gd name="connsiteY4993" fmla="*/ 4838485 h 7571036"/>
                  <a:gd name="connsiteX4994" fmla="*/ 1989081 w 6994525"/>
                  <a:gd name="connsiteY4994" fmla="*/ 4806675 h 7571036"/>
                  <a:gd name="connsiteX4995" fmla="*/ 1997465 w 6994525"/>
                  <a:gd name="connsiteY4995" fmla="*/ 4662674 h 7571036"/>
                  <a:gd name="connsiteX4996" fmla="*/ 1978725 w 6994525"/>
                  <a:gd name="connsiteY4996" fmla="*/ 4643935 h 7571036"/>
                  <a:gd name="connsiteX4997" fmla="*/ 1959985 w 6994525"/>
                  <a:gd name="connsiteY4997" fmla="*/ 4662674 h 7571036"/>
                  <a:gd name="connsiteX4998" fmla="*/ 1978725 w 6994525"/>
                  <a:gd name="connsiteY4998" fmla="*/ 4681414 h 7571036"/>
                  <a:gd name="connsiteX4999" fmla="*/ 1997465 w 6994525"/>
                  <a:gd name="connsiteY4999" fmla="*/ 4662674 h 7571036"/>
                  <a:gd name="connsiteX5000" fmla="*/ 1997713 w 6994525"/>
                  <a:gd name="connsiteY5000" fmla="*/ 5289469 h 7571036"/>
                  <a:gd name="connsiteX5001" fmla="*/ 1987356 w 6994525"/>
                  <a:gd name="connsiteY5001" fmla="*/ 5279114 h 7571036"/>
                  <a:gd name="connsiteX5002" fmla="*/ 1977001 w 6994525"/>
                  <a:gd name="connsiteY5002" fmla="*/ 5289469 h 7571036"/>
                  <a:gd name="connsiteX5003" fmla="*/ 1987356 w 6994525"/>
                  <a:gd name="connsiteY5003" fmla="*/ 5299827 h 7571036"/>
                  <a:gd name="connsiteX5004" fmla="*/ 1997713 w 6994525"/>
                  <a:gd name="connsiteY5004" fmla="*/ 5289469 h 7571036"/>
                  <a:gd name="connsiteX5005" fmla="*/ 1998946 w 6994525"/>
                  <a:gd name="connsiteY5005" fmla="*/ 3993713 h 7571036"/>
                  <a:gd name="connsiteX5006" fmla="*/ 1979712 w 6994525"/>
                  <a:gd name="connsiteY5006" fmla="*/ 3974481 h 7571036"/>
                  <a:gd name="connsiteX5007" fmla="*/ 1960481 w 6994525"/>
                  <a:gd name="connsiteY5007" fmla="*/ 3993713 h 7571036"/>
                  <a:gd name="connsiteX5008" fmla="*/ 1979712 w 6994525"/>
                  <a:gd name="connsiteY5008" fmla="*/ 4012947 h 7571036"/>
                  <a:gd name="connsiteX5009" fmla="*/ 1998946 w 6994525"/>
                  <a:gd name="connsiteY5009" fmla="*/ 3993713 h 7571036"/>
                  <a:gd name="connsiteX5010" fmla="*/ 1999932 w 6994525"/>
                  <a:gd name="connsiteY5010" fmla="*/ 5156075 h 7571036"/>
                  <a:gd name="connsiteX5011" fmla="*/ 1998208 w 6994525"/>
                  <a:gd name="connsiteY5011" fmla="*/ 5154348 h 7571036"/>
                  <a:gd name="connsiteX5012" fmla="*/ 1996481 w 6994525"/>
                  <a:gd name="connsiteY5012" fmla="*/ 5156075 h 7571036"/>
                  <a:gd name="connsiteX5013" fmla="*/ 1998208 w 6994525"/>
                  <a:gd name="connsiteY5013" fmla="*/ 5157799 h 7571036"/>
                  <a:gd name="connsiteX5014" fmla="*/ 1999932 w 6994525"/>
                  <a:gd name="connsiteY5014" fmla="*/ 5156075 h 7571036"/>
                  <a:gd name="connsiteX5015" fmla="*/ 2005109 w 6994525"/>
                  <a:gd name="connsiteY5015" fmla="*/ 3478373 h 7571036"/>
                  <a:gd name="connsiteX5016" fmla="*/ 2002642 w 6994525"/>
                  <a:gd name="connsiteY5016" fmla="*/ 3475905 h 7571036"/>
                  <a:gd name="connsiteX5017" fmla="*/ 2000178 w 6994525"/>
                  <a:gd name="connsiteY5017" fmla="*/ 3478373 h 7571036"/>
                  <a:gd name="connsiteX5018" fmla="*/ 2002642 w 6994525"/>
                  <a:gd name="connsiteY5018" fmla="*/ 3480838 h 7571036"/>
                  <a:gd name="connsiteX5019" fmla="*/ 2005109 w 6994525"/>
                  <a:gd name="connsiteY5019" fmla="*/ 3478373 h 7571036"/>
                  <a:gd name="connsiteX5020" fmla="*/ 2006344 w 6994525"/>
                  <a:gd name="connsiteY5020" fmla="*/ 4262235 h 7571036"/>
                  <a:gd name="connsiteX5021" fmla="*/ 1977250 w 6994525"/>
                  <a:gd name="connsiteY5021" fmla="*/ 4233141 h 7571036"/>
                  <a:gd name="connsiteX5022" fmla="*/ 1948153 w 6994525"/>
                  <a:gd name="connsiteY5022" fmla="*/ 4262235 h 7571036"/>
                  <a:gd name="connsiteX5023" fmla="*/ 1977250 w 6994525"/>
                  <a:gd name="connsiteY5023" fmla="*/ 4291333 h 7571036"/>
                  <a:gd name="connsiteX5024" fmla="*/ 2006344 w 6994525"/>
                  <a:gd name="connsiteY5024" fmla="*/ 4262235 h 7571036"/>
                  <a:gd name="connsiteX5025" fmla="*/ 2010534 w 6994525"/>
                  <a:gd name="connsiteY5025" fmla="*/ 3595001 h 7571036"/>
                  <a:gd name="connsiteX5026" fmla="*/ 2007081 w 6994525"/>
                  <a:gd name="connsiteY5026" fmla="*/ 3591549 h 7571036"/>
                  <a:gd name="connsiteX5027" fmla="*/ 2003631 w 6994525"/>
                  <a:gd name="connsiteY5027" fmla="*/ 3595001 h 7571036"/>
                  <a:gd name="connsiteX5028" fmla="*/ 2007081 w 6994525"/>
                  <a:gd name="connsiteY5028" fmla="*/ 3598454 h 7571036"/>
                  <a:gd name="connsiteX5029" fmla="*/ 2010534 w 6994525"/>
                  <a:gd name="connsiteY5029" fmla="*/ 3595001 h 7571036"/>
                  <a:gd name="connsiteX5030" fmla="*/ 2012014 w 6994525"/>
                  <a:gd name="connsiteY5030" fmla="*/ 3361802 h 7571036"/>
                  <a:gd name="connsiteX5031" fmla="*/ 2007082 w 6994525"/>
                  <a:gd name="connsiteY5031" fmla="*/ 3356876 h 7571036"/>
                  <a:gd name="connsiteX5032" fmla="*/ 2002151 w 6994525"/>
                  <a:gd name="connsiteY5032" fmla="*/ 3361802 h 7571036"/>
                  <a:gd name="connsiteX5033" fmla="*/ 2007082 w 6994525"/>
                  <a:gd name="connsiteY5033" fmla="*/ 3366736 h 7571036"/>
                  <a:gd name="connsiteX5034" fmla="*/ 2012014 w 6994525"/>
                  <a:gd name="connsiteY5034" fmla="*/ 3361802 h 7571036"/>
                  <a:gd name="connsiteX5035" fmla="*/ 2012260 w 6994525"/>
                  <a:gd name="connsiteY5035" fmla="*/ 871097 h 7571036"/>
                  <a:gd name="connsiteX5036" fmla="*/ 1994755 w 6994525"/>
                  <a:gd name="connsiteY5036" fmla="*/ 853597 h 7571036"/>
                  <a:gd name="connsiteX5037" fmla="*/ 1977247 w 6994525"/>
                  <a:gd name="connsiteY5037" fmla="*/ 871097 h 7571036"/>
                  <a:gd name="connsiteX5038" fmla="*/ 1994755 w 6994525"/>
                  <a:gd name="connsiteY5038" fmla="*/ 888613 h 7571036"/>
                  <a:gd name="connsiteX5039" fmla="*/ 2012260 w 6994525"/>
                  <a:gd name="connsiteY5039" fmla="*/ 871097 h 7571036"/>
                  <a:gd name="connsiteX5040" fmla="*/ 2013740 w 6994525"/>
                  <a:gd name="connsiteY5040" fmla="*/ 2442099 h 7571036"/>
                  <a:gd name="connsiteX5041" fmla="*/ 2002891 w 6994525"/>
                  <a:gd name="connsiteY5041" fmla="*/ 2431250 h 7571036"/>
                  <a:gd name="connsiteX5042" fmla="*/ 1992041 w 6994525"/>
                  <a:gd name="connsiteY5042" fmla="*/ 2442099 h 7571036"/>
                  <a:gd name="connsiteX5043" fmla="*/ 2002891 w 6994525"/>
                  <a:gd name="connsiteY5043" fmla="*/ 2452945 h 7571036"/>
                  <a:gd name="connsiteX5044" fmla="*/ 2013740 w 6994525"/>
                  <a:gd name="connsiteY5044" fmla="*/ 2442099 h 7571036"/>
                  <a:gd name="connsiteX5045" fmla="*/ 2014728 w 6994525"/>
                  <a:gd name="connsiteY5045" fmla="*/ 7291667 h 7571036"/>
                  <a:gd name="connsiteX5046" fmla="*/ 2013003 w 6994525"/>
                  <a:gd name="connsiteY5046" fmla="*/ 7289939 h 7571036"/>
                  <a:gd name="connsiteX5047" fmla="*/ 2011276 w 6994525"/>
                  <a:gd name="connsiteY5047" fmla="*/ 7291667 h 7571036"/>
                  <a:gd name="connsiteX5048" fmla="*/ 2013003 w 6994525"/>
                  <a:gd name="connsiteY5048" fmla="*/ 7293390 h 7571036"/>
                  <a:gd name="connsiteX5049" fmla="*/ 2014728 w 6994525"/>
                  <a:gd name="connsiteY5049" fmla="*/ 7291667 h 7571036"/>
                  <a:gd name="connsiteX5050" fmla="*/ 2015464 w 6994525"/>
                  <a:gd name="connsiteY5050" fmla="*/ 7175528 h 7571036"/>
                  <a:gd name="connsiteX5051" fmla="*/ 2013740 w 6994525"/>
                  <a:gd name="connsiteY5051" fmla="*/ 7173801 h 7571036"/>
                  <a:gd name="connsiteX5052" fmla="*/ 2012013 w 6994525"/>
                  <a:gd name="connsiteY5052" fmla="*/ 7175528 h 7571036"/>
                  <a:gd name="connsiteX5053" fmla="*/ 2013740 w 6994525"/>
                  <a:gd name="connsiteY5053" fmla="*/ 7177252 h 7571036"/>
                  <a:gd name="connsiteX5054" fmla="*/ 2015464 w 6994525"/>
                  <a:gd name="connsiteY5054" fmla="*/ 7175528 h 7571036"/>
                  <a:gd name="connsiteX5055" fmla="*/ 2015961 w 6994525"/>
                  <a:gd name="connsiteY5055" fmla="*/ 994621 h 7571036"/>
                  <a:gd name="connsiteX5056" fmla="*/ 1998946 w 6994525"/>
                  <a:gd name="connsiteY5056" fmla="*/ 977608 h 7571036"/>
                  <a:gd name="connsiteX5057" fmla="*/ 1981933 w 6994525"/>
                  <a:gd name="connsiteY5057" fmla="*/ 994621 h 7571036"/>
                  <a:gd name="connsiteX5058" fmla="*/ 1998946 w 6994525"/>
                  <a:gd name="connsiteY5058" fmla="*/ 1011638 h 7571036"/>
                  <a:gd name="connsiteX5059" fmla="*/ 2015961 w 6994525"/>
                  <a:gd name="connsiteY5059" fmla="*/ 994621 h 7571036"/>
                  <a:gd name="connsiteX5060" fmla="*/ 2017191 w 6994525"/>
                  <a:gd name="connsiteY5060" fmla="*/ 2694581 h 7571036"/>
                  <a:gd name="connsiteX5061" fmla="*/ 1976506 w 6994525"/>
                  <a:gd name="connsiteY5061" fmla="*/ 2653897 h 7571036"/>
                  <a:gd name="connsiteX5062" fmla="*/ 1935822 w 6994525"/>
                  <a:gd name="connsiteY5062" fmla="*/ 2694581 h 7571036"/>
                  <a:gd name="connsiteX5063" fmla="*/ 1976506 w 6994525"/>
                  <a:gd name="connsiteY5063" fmla="*/ 2735270 h 7571036"/>
                  <a:gd name="connsiteX5064" fmla="*/ 2017191 w 6994525"/>
                  <a:gd name="connsiteY5064" fmla="*/ 2694581 h 7571036"/>
                  <a:gd name="connsiteX5065" fmla="*/ 2017193 w 6994525"/>
                  <a:gd name="connsiteY5065" fmla="*/ 7058899 h 7571036"/>
                  <a:gd name="connsiteX5066" fmla="*/ 2014972 w 6994525"/>
                  <a:gd name="connsiteY5066" fmla="*/ 7056680 h 7571036"/>
                  <a:gd name="connsiteX5067" fmla="*/ 2012754 w 6994525"/>
                  <a:gd name="connsiteY5067" fmla="*/ 7058899 h 7571036"/>
                  <a:gd name="connsiteX5068" fmla="*/ 2014972 w 6994525"/>
                  <a:gd name="connsiteY5068" fmla="*/ 7061117 h 7571036"/>
                  <a:gd name="connsiteX5069" fmla="*/ 2017193 w 6994525"/>
                  <a:gd name="connsiteY5069" fmla="*/ 7058899 h 7571036"/>
                  <a:gd name="connsiteX5070" fmla="*/ 2018425 w 6994525"/>
                  <a:gd name="connsiteY5070" fmla="*/ 2963099 h 7571036"/>
                  <a:gd name="connsiteX5071" fmla="*/ 1979219 w 6994525"/>
                  <a:gd name="connsiteY5071" fmla="*/ 2923892 h 7571036"/>
                  <a:gd name="connsiteX5072" fmla="*/ 1940013 w 6994525"/>
                  <a:gd name="connsiteY5072" fmla="*/ 2963099 h 7571036"/>
                  <a:gd name="connsiteX5073" fmla="*/ 1979219 w 6994525"/>
                  <a:gd name="connsiteY5073" fmla="*/ 3002307 h 7571036"/>
                  <a:gd name="connsiteX5074" fmla="*/ 2018425 w 6994525"/>
                  <a:gd name="connsiteY5074" fmla="*/ 2963099 h 7571036"/>
                  <a:gd name="connsiteX5075" fmla="*/ 2020399 w 6994525"/>
                  <a:gd name="connsiteY5075" fmla="*/ 1118873 h 7571036"/>
                  <a:gd name="connsiteX5076" fmla="*/ 2003877 w 6994525"/>
                  <a:gd name="connsiteY5076" fmla="*/ 1102354 h 7571036"/>
                  <a:gd name="connsiteX5077" fmla="*/ 1987605 w 6994525"/>
                  <a:gd name="connsiteY5077" fmla="*/ 1118873 h 7571036"/>
                  <a:gd name="connsiteX5078" fmla="*/ 2003877 w 6994525"/>
                  <a:gd name="connsiteY5078" fmla="*/ 1135149 h 7571036"/>
                  <a:gd name="connsiteX5079" fmla="*/ 2020399 w 6994525"/>
                  <a:gd name="connsiteY5079" fmla="*/ 1118873 h 7571036"/>
                  <a:gd name="connsiteX5080" fmla="*/ 2023111 w 6994525"/>
                  <a:gd name="connsiteY5080" fmla="*/ 3710893 h 7571036"/>
                  <a:gd name="connsiteX5081" fmla="*/ 2020890 w 6994525"/>
                  <a:gd name="connsiteY5081" fmla="*/ 3708673 h 7571036"/>
                  <a:gd name="connsiteX5082" fmla="*/ 2018672 w 6994525"/>
                  <a:gd name="connsiteY5082" fmla="*/ 3710893 h 7571036"/>
                  <a:gd name="connsiteX5083" fmla="*/ 2020890 w 6994525"/>
                  <a:gd name="connsiteY5083" fmla="*/ 3713113 h 7571036"/>
                  <a:gd name="connsiteX5084" fmla="*/ 2023111 w 6994525"/>
                  <a:gd name="connsiteY5084" fmla="*/ 3710893 h 7571036"/>
                  <a:gd name="connsiteX5085" fmla="*/ 2024590 w 6994525"/>
                  <a:gd name="connsiteY5085" fmla="*/ 1244372 h 7571036"/>
                  <a:gd name="connsiteX5086" fmla="*/ 2009301 w 6994525"/>
                  <a:gd name="connsiteY5086" fmla="*/ 1229083 h 7571036"/>
                  <a:gd name="connsiteX5087" fmla="*/ 1994015 w 6994525"/>
                  <a:gd name="connsiteY5087" fmla="*/ 1244372 h 7571036"/>
                  <a:gd name="connsiteX5088" fmla="*/ 2009301 w 6994525"/>
                  <a:gd name="connsiteY5088" fmla="*/ 1259649 h 7571036"/>
                  <a:gd name="connsiteX5089" fmla="*/ 2024590 w 6994525"/>
                  <a:gd name="connsiteY5089" fmla="*/ 1244372 h 7571036"/>
                  <a:gd name="connsiteX5090" fmla="*/ 2024590 w 6994525"/>
                  <a:gd name="connsiteY5090" fmla="*/ 6944734 h 7571036"/>
                  <a:gd name="connsiteX5091" fmla="*/ 2023112 w 6994525"/>
                  <a:gd name="connsiteY5091" fmla="*/ 6943255 h 7571036"/>
                  <a:gd name="connsiteX5092" fmla="*/ 2021631 w 6994525"/>
                  <a:gd name="connsiteY5092" fmla="*/ 6944734 h 7571036"/>
                  <a:gd name="connsiteX5093" fmla="*/ 2023112 w 6994525"/>
                  <a:gd name="connsiteY5093" fmla="*/ 6946215 h 7571036"/>
                  <a:gd name="connsiteX5094" fmla="*/ 2024590 w 6994525"/>
                  <a:gd name="connsiteY5094" fmla="*/ 6944734 h 7571036"/>
                  <a:gd name="connsiteX5095" fmla="*/ 2027797 w 6994525"/>
                  <a:gd name="connsiteY5095" fmla="*/ 6827117 h 7571036"/>
                  <a:gd name="connsiteX5096" fmla="*/ 2024590 w 6994525"/>
                  <a:gd name="connsiteY5096" fmla="*/ 6823912 h 7571036"/>
                  <a:gd name="connsiteX5097" fmla="*/ 2021385 w 6994525"/>
                  <a:gd name="connsiteY5097" fmla="*/ 6827117 h 7571036"/>
                  <a:gd name="connsiteX5098" fmla="*/ 2024590 w 6994525"/>
                  <a:gd name="connsiteY5098" fmla="*/ 6830322 h 7571036"/>
                  <a:gd name="connsiteX5099" fmla="*/ 2027797 w 6994525"/>
                  <a:gd name="connsiteY5099" fmla="*/ 6827117 h 7571036"/>
                  <a:gd name="connsiteX5100" fmla="*/ 2028043 w 6994525"/>
                  <a:gd name="connsiteY5100" fmla="*/ 3245915 h 7571036"/>
                  <a:gd name="connsiteX5101" fmla="*/ 2020644 w 6994525"/>
                  <a:gd name="connsiteY5101" fmla="*/ 3238519 h 7571036"/>
                  <a:gd name="connsiteX5102" fmla="*/ 2013249 w 6994525"/>
                  <a:gd name="connsiteY5102" fmla="*/ 3245915 h 7571036"/>
                  <a:gd name="connsiteX5103" fmla="*/ 2020644 w 6994525"/>
                  <a:gd name="connsiteY5103" fmla="*/ 3253313 h 7571036"/>
                  <a:gd name="connsiteX5104" fmla="*/ 2028043 w 6994525"/>
                  <a:gd name="connsiteY5104" fmla="*/ 3245915 h 7571036"/>
                  <a:gd name="connsiteX5105" fmla="*/ 2028535 w 6994525"/>
                  <a:gd name="connsiteY5105" fmla="*/ 6709007 h 7571036"/>
                  <a:gd name="connsiteX5106" fmla="*/ 2026316 w 6994525"/>
                  <a:gd name="connsiteY5106" fmla="*/ 6707034 h 7571036"/>
                  <a:gd name="connsiteX5107" fmla="*/ 2024344 w 6994525"/>
                  <a:gd name="connsiteY5107" fmla="*/ 6709007 h 7571036"/>
                  <a:gd name="connsiteX5108" fmla="*/ 2026316 w 6994525"/>
                  <a:gd name="connsiteY5108" fmla="*/ 6711225 h 7571036"/>
                  <a:gd name="connsiteX5109" fmla="*/ 2028535 w 6994525"/>
                  <a:gd name="connsiteY5109" fmla="*/ 6709007 h 7571036"/>
                  <a:gd name="connsiteX5110" fmla="*/ 2029766 w 6994525"/>
                  <a:gd name="connsiteY5110" fmla="*/ 1371830 h 7571036"/>
                  <a:gd name="connsiteX5111" fmla="*/ 2014972 w 6994525"/>
                  <a:gd name="connsiteY5111" fmla="*/ 1357279 h 7571036"/>
                  <a:gd name="connsiteX5112" fmla="*/ 2000178 w 6994525"/>
                  <a:gd name="connsiteY5112" fmla="*/ 1371830 h 7571036"/>
                  <a:gd name="connsiteX5113" fmla="*/ 2014972 w 6994525"/>
                  <a:gd name="connsiteY5113" fmla="*/ 1386623 h 7571036"/>
                  <a:gd name="connsiteX5114" fmla="*/ 2029766 w 6994525"/>
                  <a:gd name="connsiteY5114" fmla="*/ 1371830 h 7571036"/>
                  <a:gd name="connsiteX5115" fmla="*/ 2030261 w 6994525"/>
                  <a:gd name="connsiteY5115" fmla="*/ 1927542 h 7571036"/>
                  <a:gd name="connsiteX5116" fmla="*/ 2018918 w 6994525"/>
                  <a:gd name="connsiteY5116" fmla="*/ 1916206 h 7571036"/>
                  <a:gd name="connsiteX5117" fmla="*/ 2007577 w 6994525"/>
                  <a:gd name="connsiteY5117" fmla="*/ 1927542 h 7571036"/>
                  <a:gd name="connsiteX5118" fmla="*/ 2018918 w 6994525"/>
                  <a:gd name="connsiteY5118" fmla="*/ 1938881 h 7571036"/>
                  <a:gd name="connsiteX5119" fmla="*/ 2030261 w 6994525"/>
                  <a:gd name="connsiteY5119" fmla="*/ 1927542 h 7571036"/>
                  <a:gd name="connsiteX5120" fmla="*/ 2031493 w 6994525"/>
                  <a:gd name="connsiteY5120" fmla="*/ 4514977 h 7571036"/>
                  <a:gd name="connsiteX5121" fmla="*/ 2004123 w 6994525"/>
                  <a:gd name="connsiteY5121" fmla="*/ 4487607 h 7571036"/>
                  <a:gd name="connsiteX5122" fmla="*/ 1976753 w 6994525"/>
                  <a:gd name="connsiteY5122" fmla="*/ 4514977 h 7571036"/>
                  <a:gd name="connsiteX5123" fmla="*/ 2004123 w 6994525"/>
                  <a:gd name="connsiteY5123" fmla="*/ 4542348 h 7571036"/>
                  <a:gd name="connsiteX5124" fmla="*/ 2031493 w 6994525"/>
                  <a:gd name="connsiteY5124" fmla="*/ 4514977 h 7571036"/>
                  <a:gd name="connsiteX5125" fmla="*/ 2035931 w 6994525"/>
                  <a:gd name="connsiteY5125" fmla="*/ 1500525 h 7571036"/>
                  <a:gd name="connsiteX5126" fmla="*/ 2022122 w 6994525"/>
                  <a:gd name="connsiteY5126" fmla="*/ 1486717 h 7571036"/>
                  <a:gd name="connsiteX5127" fmla="*/ 2008315 w 6994525"/>
                  <a:gd name="connsiteY5127" fmla="*/ 1500525 h 7571036"/>
                  <a:gd name="connsiteX5128" fmla="*/ 2022122 w 6994525"/>
                  <a:gd name="connsiteY5128" fmla="*/ 1514087 h 7571036"/>
                  <a:gd name="connsiteX5129" fmla="*/ 2035931 w 6994525"/>
                  <a:gd name="connsiteY5129" fmla="*/ 1500525 h 7571036"/>
                  <a:gd name="connsiteX5130" fmla="*/ 2038892 w 6994525"/>
                  <a:gd name="connsiteY5130" fmla="*/ 6230650 h 7571036"/>
                  <a:gd name="connsiteX5131" fmla="*/ 2035684 w 6994525"/>
                  <a:gd name="connsiteY5131" fmla="*/ 6227197 h 7571036"/>
                  <a:gd name="connsiteX5132" fmla="*/ 2032234 w 6994525"/>
                  <a:gd name="connsiteY5132" fmla="*/ 6230650 h 7571036"/>
                  <a:gd name="connsiteX5133" fmla="*/ 2035684 w 6994525"/>
                  <a:gd name="connsiteY5133" fmla="*/ 6234101 h 7571036"/>
                  <a:gd name="connsiteX5134" fmla="*/ 2038892 w 6994525"/>
                  <a:gd name="connsiteY5134" fmla="*/ 6230650 h 7571036"/>
                  <a:gd name="connsiteX5135" fmla="*/ 2040122 w 6994525"/>
                  <a:gd name="connsiteY5135" fmla="*/ 11919 h 7571036"/>
                  <a:gd name="connsiteX5136" fmla="*/ 2035214 w 6994525"/>
                  <a:gd name="connsiteY5136" fmla="*/ 0 h 7571036"/>
                  <a:gd name="connsiteX5137" fmla="*/ 2005086 w 6994525"/>
                  <a:gd name="connsiteY5137" fmla="*/ 0 h 7571036"/>
                  <a:gd name="connsiteX5138" fmla="*/ 2000178 w 6994525"/>
                  <a:gd name="connsiteY5138" fmla="*/ 11919 h 7571036"/>
                  <a:gd name="connsiteX5139" fmla="*/ 2020150 w 6994525"/>
                  <a:gd name="connsiteY5139" fmla="*/ 31893 h 7571036"/>
                  <a:gd name="connsiteX5140" fmla="*/ 2040122 w 6994525"/>
                  <a:gd name="connsiteY5140" fmla="*/ 11919 h 7571036"/>
                  <a:gd name="connsiteX5141" fmla="*/ 2041603 w 6994525"/>
                  <a:gd name="connsiteY5141" fmla="*/ 129508 h 7571036"/>
                  <a:gd name="connsiteX5142" fmla="*/ 2021877 w 6994525"/>
                  <a:gd name="connsiteY5142" fmla="*/ 109783 h 7571036"/>
                  <a:gd name="connsiteX5143" fmla="*/ 2002151 w 6994525"/>
                  <a:gd name="connsiteY5143" fmla="*/ 129508 h 7571036"/>
                  <a:gd name="connsiteX5144" fmla="*/ 2021877 w 6994525"/>
                  <a:gd name="connsiteY5144" fmla="*/ 149233 h 7571036"/>
                  <a:gd name="connsiteX5145" fmla="*/ 2041603 w 6994525"/>
                  <a:gd name="connsiteY5145" fmla="*/ 129508 h 7571036"/>
                  <a:gd name="connsiteX5146" fmla="*/ 2042343 w 6994525"/>
                  <a:gd name="connsiteY5146" fmla="*/ 1630701 h 7571036"/>
                  <a:gd name="connsiteX5147" fmla="*/ 2030507 w 6994525"/>
                  <a:gd name="connsiteY5147" fmla="*/ 1618862 h 7571036"/>
                  <a:gd name="connsiteX5148" fmla="*/ 2018672 w 6994525"/>
                  <a:gd name="connsiteY5148" fmla="*/ 1630701 h 7571036"/>
                  <a:gd name="connsiteX5149" fmla="*/ 2030507 w 6994525"/>
                  <a:gd name="connsiteY5149" fmla="*/ 1642539 h 7571036"/>
                  <a:gd name="connsiteX5150" fmla="*/ 2042343 w 6994525"/>
                  <a:gd name="connsiteY5150" fmla="*/ 1630701 h 7571036"/>
                  <a:gd name="connsiteX5151" fmla="*/ 2042343 w 6994525"/>
                  <a:gd name="connsiteY5151" fmla="*/ 6471308 h 7571036"/>
                  <a:gd name="connsiteX5152" fmla="*/ 2030259 w 6994525"/>
                  <a:gd name="connsiteY5152" fmla="*/ 6459226 h 7571036"/>
                  <a:gd name="connsiteX5153" fmla="*/ 2018178 w 6994525"/>
                  <a:gd name="connsiteY5153" fmla="*/ 6471308 h 7571036"/>
                  <a:gd name="connsiteX5154" fmla="*/ 2030259 w 6994525"/>
                  <a:gd name="connsiteY5154" fmla="*/ 6483392 h 7571036"/>
                  <a:gd name="connsiteX5155" fmla="*/ 2042343 w 6994525"/>
                  <a:gd name="connsiteY5155" fmla="*/ 6471308 h 7571036"/>
                  <a:gd name="connsiteX5156" fmla="*/ 2043330 w 6994525"/>
                  <a:gd name="connsiteY5156" fmla="*/ 247345 h 7571036"/>
                  <a:gd name="connsiteX5157" fmla="*/ 2023849 w 6994525"/>
                  <a:gd name="connsiteY5157" fmla="*/ 227866 h 7571036"/>
                  <a:gd name="connsiteX5158" fmla="*/ 2004618 w 6994525"/>
                  <a:gd name="connsiteY5158" fmla="*/ 247345 h 7571036"/>
                  <a:gd name="connsiteX5159" fmla="*/ 2023849 w 6994525"/>
                  <a:gd name="connsiteY5159" fmla="*/ 266575 h 7571036"/>
                  <a:gd name="connsiteX5160" fmla="*/ 2043330 w 6994525"/>
                  <a:gd name="connsiteY5160" fmla="*/ 247345 h 7571036"/>
                  <a:gd name="connsiteX5161" fmla="*/ 2044809 w 6994525"/>
                  <a:gd name="connsiteY5161" fmla="*/ 365919 h 7571036"/>
                  <a:gd name="connsiteX5162" fmla="*/ 2025821 w 6994525"/>
                  <a:gd name="connsiteY5162" fmla="*/ 346688 h 7571036"/>
                  <a:gd name="connsiteX5163" fmla="*/ 2006590 w 6994525"/>
                  <a:gd name="connsiteY5163" fmla="*/ 365919 h 7571036"/>
                  <a:gd name="connsiteX5164" fmla="*/ 2025821 w 6994525"/>
                  <a:gd name="connsiteY5164" fmla="*/ 384906 h 7571036"/>
                  <a:gd name="connsiteX5165" fmla="*/ 2044809 w 6994525"/>
                  <a:gd name="connsiteY5165" fmla="*/ 365919 h 7571036"/>
                  <a:gd name="connsiteX5166" fmla="*/ 2045303 w 6994525"/>
                  <a:gd name="connsiteY5166" fmla="*/ 6351474 h 7571036"/>
                  <a:gd name="connsiteX5167" fmla="*/ 2032729 w 6994525"/>
                  <a:gd name="connsiteY5167" fmla="*/ 6338897 h 7571036"/>
                  <a:gd name="connsiteX5168" fmla="*/ 2020153 w 6994525"/>
                  <a:gd name="connsiteY5168" fmla="*/ 6351474 h 7571036"/>
                  <a:gd name="connsiteX5169" fmla="*/ 2032729 w 6994525"/>
                  <a:gd name="connsiteY5169" fmla="*/ 6364047 h 7571036"/>
                  <a:gd name="connsiteX5170" fmla="*/ 2045303 w 6994525"/>
                  <a:gd name="connsiteY5170" fmla="*/ 6351474 h 7571036"/>
                  <a:gd name="connsiteX5171" fmla="*/ 2045547 w 6994525"/>
                  <a:gd name="connsiteY5171" fmla="*/ 3825552 h 7571036"/>
                  <a:gd name="connsiteX5172" fmla="*/ 2043575 w 6994525"/>
                  <a:gd name="connsiteY5172" fmla="*/ 3823579 h 7571036"/>
                  <a:gd name="connsiteX5173" fmla="*/ 2041603 w 6994525"/>
                  <a:gd name="connsiteY5173" fmla="*/ 3825552 h 7571036"/>
                  <a:gd name="connsiteX5174" fmla="*/ 2043575 w 6994525"/>
                  <a:gd name="connsiteY5174" fmla="*/ 3827524 h 7571036"/>
                  <a:gd name="connsiteX5175" fmla="*/ 2045547 w 6994525"/>
                  <a:gd name="connsiteY5175" fmla="*/ 3825552 h 7571036"/>
                  <a:gd name="connsiteX5176" fmla="*/ 2045550 w 6994525"/>
                  <a:gd name="connsiteY5176" fmla="*/ 6590650 h 7571036"/>
                  <a:gd name="connsiteX5177" fmla="*/ 2028290 w 6994525"/>
                  <a:gd name="connsiteY5177" fmla="*/ 6573390 h 7571036"/>
                  <a:gd name="connsiteX5178" fmla="*/ 2011276 w 6994525"/>
                  <a:gd name="connsiteY5178" fmla="*/ 6590650 h 7571036"/>
                  <a:gd name="connsiteX5179" fmla="*/ 2028290 w 6994525"/>
                  <a:gd name="connsiteY5179" fmla="*/ 6607911 h 7571036"/>
                  <a:gd name="connsiteX5180" fmla="*/ 2045550 w 6994525"/>
                  <a:gd name="connsiteY5180" fmla="*/ 6590650 h 7571036"/>
                  <a:gd name="connsiteX5181" fmla="*/ 2047275 w 6994525"/>
                  <a:gd name="connsiteY5181" fmla="*/ 484989 h 7571036"/>
                  <a:gd name="connsiteX5182" fmla="*/ 2028287 w 6994525"/>
                  <a:gd name="connsiteY5182" fmla="*/ 466004 h 7571036"/>
                  <a:gd name="connsiteX5183" fmla="*/ 2009301 w 6994525"/>
                  <a:gd name="connsiteY5183" fmla="*/ 484989 h 7571036"/>
                  <a:gd name="connsiteX5184" fmla="*/ 2028287 w 6994525"/>
                  <a:gd name="connsiteY5184" fmla="*/ 503975 h 7571036"/>
                  <a:gd name="connsiteX5185" fmla="*/ 2047275 w 6994525"/>
                  <a:gd name="connsiteY5185" fmla="*/ 484989 h 7571036"/>
                  <a:gd name="connsiteX5186" fmla="*/ 2047275 w 6994525"/>
                  <a:gd name="connsiteY5186" fmla="*/ 4102454 h 7571036"/>
                  <a:gd name="connsiteX5187" fmla="*/ 2021631 w 6994525"/>
                  <a:gd name="connsiteY5187" fmla="*/ 4076810 h 7571036"/>
                  <a:gd name="connsiteX5188" fmla="*/ 1995987 w 6994525"/>
                  <a:gd name="connsiteY5188" fmla="*/ 4102454 h 7571036"/>
                  <a:gd name="connsiteX5189" fmla="*/ 2021631 w 6994525"/>
                  <a:gd name="connsiteY5189" fmla="*/ 4128098 h 7571036"/>
                  <a:gd name="connsiteX5190" fmla="*/ 2047275 w 6994525"/>
                  <a:gd name="connsiteY5190" fmla="*/ 4102454 h 7571036"/>
                  <a:gd name="connsiteX5191" fmla="*/ 2048015 w 6994525"/>
                  <a:gd name="connsiteY5191" fmla="*/ 5029582 h 7571036"/>
                  <a:gd name="connsiteX5192" fmla="*/ 2020891 w 6994525"/>
                  <a:gd name="connsiteY5192" fmla="*/ 5002457 h 7571036"/>
                  <a:gd name="connsiteX5193" fmla="*/ 1993769 w 6994525"/>
                  <a:gd name="connsiteY5193" fmla="*/ 5029582 h 7571036"/>
                  <a:gd name="connsiteX5194" fmla="*/ 2020891 w 6994525"/>
                  <a:gd name="connsiteY5194" fmla="*/ 5056704 h 7571036"/>
                  <a:gd name="connsiteX5195" fmla="*/ 2048015 w 6994525"/>
                  <a:gd name="connsiteY5195" fmla="*/ 5029582 h 7571036"/>
                  <a:gd name="connsiteX5196" fmla="*/ 2048755 w 6994525"/>
                  <a:gd name="connsiteY5196" fmla="*/ 605049 h 7571036"/>
                  <a:gd name="connsiteX5197" fmla="*/ 2030507 w 6994525"/>
                  <a:gd name="connsiteY5197" fmla="*/ 587050 h 7571036"/>
                  <a:gd name="connsiteX5198" fmla="*/ 2012262 w 6994525"/>
                  <a:gd name="connsiteY5198" fmla="*/ 605049 h 7571036"/>
                  <a:gd name="connsiteX5199" fmla="*/ 2030507 w 6994525"/>
                  <a:gd name="connsiteY5199" fmla="*/ 623295 h 7571036"/>
                  <a:gd name="connsiteX5200" fmla="*/ 2048755 w 6994525"/>
                  <a:gd name="connsiteY5200" fmla="*/ 605049 h 7571036"/>
                  <a:gd name="connsiteX5201" fmla="*/ 2049988 w 6994525"/>
                  <a:gd name="connsiteY5201" fmla="*/ 1763361 h 7571036"/>
                  <a:gd name="connsiteX5202" fmla="*/ 2039879 w 6994525"/>
                  <a:gd name="connsiteY5202" fmla="*/ 1753245 h 7571036"/>
                  <a:gd name="connsiteX5203" fmla="*/ 2030016 w 6994525"/>
                  <a:gd name="connsiteY5203" fmla="*/ 1763361 h 7571036"/>
                  <a:gd name="connsiteX5204" fmla="*/ 2039879 w 6994525"/>
                  <a:gd name="connsiteY5204" fmla="*/ 1773230 h 7571036"/>
                  <a:gd name="connsiteX5205" fmla="*/ 2049988 w 6994525"/>
                  <a:gd name="connsiteY5205" fmla="*/ 1763361 h 7571036"/>
                  <a:gd name="connsiteX5206" fmla="*/ 2050975 w 6994525"/>
                  <a:gd name="connsiteY5206" fmla="*/ 725884 h 7571036"/>
                  <a:gd name="connsiteX5207" fmla="*/ 2033221 w 6994525"/>
                  <a:gd name="connsiteY5207" fmla="*/ 708140 h 7571036"/>
                  <a:gd name="connsiteX5208" fmla="*/ 2015468 w 6994525"/>
                  <a:gd name="connsiteY5208" fmla="*/ 725884 h 7571036"/>
                  <a:gd name="connsiteX5209" fmla="*/ 2033221 w 6994525"/>
                  <a:gd name="connsiteY5209" fmla="*/ 743652 h 7571036"/>
                  <a:gd name="connsiteX5210" fmla="*/ 2050975 w 6994525"/>
                  <a:gd name="connsiteY5210" fmla="*/ 725884 h 7571036"/>
                  <a:gd name="connsiteX5211" fmla="*/ 2052944 w 6994525"/>
                  <a:gd name="connsiteY5211" fmla="*/ 2205647 h 7571036"/>
                  <a:gd name="connsiteX5212" fmla="*/ 2051219 w 6994525"/>
                  <a:gd name="connsiteY5212" fmla="*/ 2203921 h 7571036"/>
                  <a:gd name="connsiteX5213" fmla="*/ 2049740 w 6994525"/>
                  <a:gd name="connsiteY5213" fmla="*/ 2205647 h 7571036"/>
                  <a:gd name="connsiteX5214" fmla="*/ 2051219 w 6994525"/>
                  <a:gd name="connsiteY5214" fmla="*/ 2207122 h 7571036"/>
                  <a:gd name="connsiteX5215" fmla="*/ 2052944 w 6994525"/>
                  <a:gd name="connsiteY5215" fmla="*/ 2205647 h 7571036"/>
                  <a:gd name="connsiteX5216" fmla="*/ 2053438 w 6994525"/>
                  <a:gd name="connsiteY5216" fmla="*/ 3131010 h 7571036"/>
                  <a:gd name="connsiteX5217" fmla="*/ 2043330 w 6994525"/>
                  <a:gd name="connsiteY5217" fmla="*/ 3120901 h 7571036"/>
                  <a:gd name="connsiteX5218" fmla="*/ 2033221 w 6994525"/>
                  <a:gd name="connsiteY5218" fmla="*/ 3131010 h 7571036"/>
                  <a:gd name="connsiteX5219" fmla="*/ 2043330 w 6994525"/>
                  <a:gd name="connsiteY5219" fmla="*/ 3141119 h 7571036"/>
                  <a:gd name="connsiteX5220" fmla="*/ 2053438 w 6994525"/>
                  <a:gd name="connsiteY5220" fmla="*/ 3131010 h 7571036"/>
                  <a:gd name="connsiteX5221" fmla="*/ 2056891 w 6994525"/>
                  <a:gd name="connsiteY5221" fmla="*/ 5867937 h 7571036"/>
                  <a:gd name="connsiteX5222" fmla="*/ 2054670 w 6994525"/>
                  <a:gd name="connsiteY5222" fmla="*/ 5865718 h 7571036"/>
                  <a:gd name="connsiteX5223" fmla="*/ 2052452 w 6994525"/>
                  <a:gd name="connsiteY5223" fmla="*/ 5867937 h 7571036"/>
                  <a:gd name="connsiteX5224" fmla="*/ 2054670 w 6994525"/>
                  <a:gd name="connsiteY5224" fmla="*/ 5870155 h 7571036"/>
                  <a:gd name="connsiteX5225" fmla="*/ 2056891 w 6994525"/>
                  <a:gd name="connsiteY5225" fmla="*/ 5867937 h 7571036"/>
                  <a:gd name="connsiteX5226" fmla="*/ 2060590 w 6994525"/>
                  <a:gd name="connsiteY5226" fmla="*/ 2854358 h 7571036"/>
                  <a:gd name="connsiteX5227" fmla="*/ 2020890 w 6994525"/>
                  <a:gd name="connsiteY5227" fmla="*/ 2814659 h 7571036"/>
                  <a:gd name="connsiteX5228" fmla="*/ 1981193 w 6994525"/>
                  <a:gd name="connsiteY5228" fmla="*/ 2854358 h 7571036"/>
                  <a:gd name="connsiteX5229" fmla="*/ 2020890 w 6994525"/>
                  <a:gd name="connsiteY5229" fmla="*/ 2894059 h 7571036"/>
                  <a:gd name="connsiteX5230" fmla="*/ 2060590 w 6994525"/>
                  <a:gd name="connsiteY5230" fmla="*/ 2854358 h 7571036"/>
                  <a:gd name="connsiteX5231" fmla="*/ 2061328 w 6994525"/>
                  <a:gd name="connsiteY5231" fmla="*/ 5743416 h 7571036"/>
                  <a:gd name="connsiteX5232" fmla="*/ 2059356 w 6994525"/>
                  <a:gd name="connsiteY5232" fmla="*/ 5741443 h 7571036"/>
                  <a:gd name="connsiteX5233" fmla="*/ 2057384 w 6994525"/>
                  <a:gd name="connsiteY5233" fmla="*/ 5743416 h 7571036"/>
                  <a:gd name="connsiteX5234" fmla="*/ 2059356 w 6994525"/>
                  <a:gd name="connsiteY5234" fmla="*/ 5745389 h 7571036"/>
                  <a:gd name="connsiteX5235" fmla="*/ 2061328 w 6994525"/>
                  <a:gd name="connsiteY5235" fmla="*/ 5743416 h 7571036"/>
                  <a:gd name="connsiteX5236" fmla="*/ 2066015 w 6994525"/>
                  <a:gd name="connsiteY5236" fmla="*/ 6113280 h 7571036"/>
                  <a:gd name="connsiteX5237" fmla="*/ 2046534 w 6994525"/>
                  <a:gd name="connsiteY5237" fmla="*/ 6094048 h 7571036"/>
                  <a:gd name="connsiteX5238" fmla="*/ 2027303 w 6994525"/>
                  <a:gd name="connsiteY5238" fmla="*/ 6113280 h 7571036"/>
                  <a:gd name="connsiteX5239" fmla="*/ 2046534 w 6994525"/>
                  <a:gd name="connsiteY5239" fmla="*/ 6132760 h 7571036"/>
                  <a:gd name="connsiteX5240" fmla="*/ 2066015 w 6994525"/>
                  <a:gd name="connsiteY5240" fmla="*/ 6113280 h 7571036"/>
                  <a:gd name="connsiteX5241" fmla="*/ 2067495 w 6994525"/>
                  <a:gd name="connsiteY5241" fmla="*/ 5617661 h 7571036"/>
                  <a:gd name="connsiteX5242" fmla="*/ 2065028 w 6994525"/>
                  <a:gd name="connsiteY5242" fmla="*/ 5615197 h 7571036"/>
                  <a:gd name="connsiteX5243" fmla="*/ 2062564 w 6994525"/>
                  <a:gd name="connsiteY5243" fmla="*/ 5617661 h 7571036"/>
                  <a:gd name="connsiteX5244" fmla="*/ 2065028 w 6994525"/>
                  <a:gd name="connsiteY5244" fmla="*/ 5620129 h 7571036"/>
                  <a:gd name="connsiteX5245" fmla="*/ 2067495 w 6994525"/>
                  <a:gd name="connsiteY5245" fmla="*/ 5617661 h 7571036"/>
                  <a:gd name="connsiteX5246" fmla="*/ 2068481 w 6994525"/>
                  <a:gd name="connsiteY5246" fmla="*/ 4891991 h 7571036"/>
                  <a:gd name="connsiteX5247" fmla="*/ 2035685 w 6994525"/>
                  <a:gd name="connsiteY5247" fmla="*/ 4859197 h 7571036"/>
                  <a:gd name="connsiteX5248" fmla="*/ 2002891 w 6994525"/>
                  <a:gd name="connsiteY5248" fmla="*/ 4891991 h 7571036"/>
                  <a:gd name="connsiteX5249" fmla="*/ 2035685 w 6994525"/>
                  <a:gd name="connsiteY5249" fmla="*/ 4924788 h 7571036"/>
                  <a:gd name="connsiteX5250" fmla="*/ 2068481 w 6994525"/>
                  <a:gd name="connsiteY5250" fmla="*/ 4891991 h 7571036"/>
                  <a:gd name="connsiteX5251" fmla="*/ 2072424 w 6994525"/>
                  <a:gd name="connsiteY5251" fmla="*/ 2593239 h 7571036"/>
                  <a:gd name="connsiteX5252" fmla="*/ 2033466 w 6994525"/>
                  <a:gd name="connsiteY5252" fmla="*/ 2554280 h 7571036"/>
                  <a:gd name="connsiteX5253" fmla="*/ 1994506 w 6994525"/>
                  <a:gd name="connsiteY5253" fmla="*/ 2593239 h 7571036"/>
                  <a:gd name="connsiteX5254" fmla="*/ 2033466 w 6994525"/>
                  <a:gd name="connsiteY5254" fmla="*/ 2632200 h 7571036"/>
                  <a:gd name="connsiteX5255" fmla="*/ 2072424 w 6994525"/>
                  <a:gd name="connsiteY5255" fmla="*/ 2593239 h 7571036"/>
                  <a:gd name="connsiteX5256" fmla="*/ 2072670 w 6994525"/>
                  <a:gd name="connsiteY5256" fmla="*/ 5490428 h 7571036"/>
                  <a:gd name="connsiteX5257" fmla="*/ 2071438 w 6994525"/>
                  <a:gd name="connsiteY5257" fmla="*/ 5489196 h 7571036"/>
                  <a:gd name="connsiteX5258" fmla="*/ 2070206 w 6994525"/>
                  <a:gd name="connsiteY5258" fmla="*/ 5490428 h 7571036"/>
                  <a:gd name="connsiteX5259" fmla="*/ 2071438 w 6994525"/>
                  <a:gd name="connsiteY5259" fmla="*/ 5491660 h 7571036"/>
                  <a:gd name="connsiteX5260" fmla="*/ 2072670 w 6994525"/>
                  <a:gd name="connsiteY5260" fmla="*/ 5490428 h 7571036"/>
                  <a:gd name="connsiteX5261" fmla="*/ 2073659 w 6994525"/>
                  <a:gd name="connsiteY5261" fmla="*/ 5991225 h 7571036"/>
                  <a:gd name="connsiteX5262" fmla="*/ 2050479 w 6994525"/>
                  <a:gd name="connsiteY5262" fmla="*/ 5968048 h 7571036"/>
                  <a:gd name="connsiteX5263" fmla="*/ 2027303 w 6994525"/>
                  <a:gd name="connsiteY5263" fmla="*/ 5991225 h 7571036"/>
                  <a:gd name="connsiteX5264" fmla="*/ 2050479 w 6994525"/>
                  <a:gd name="connsiteY5264" fmla="*/ 6014405 h 7571036"/>
                  <a:gd name="connsiteX5265" fmla="*/ 2073659 w 6994525"/>
                  <a:gd name="connsiteY5265" fmla="*/ 5991225 h 7571036"/>
                  <a:gd name="connsiteX5266" fmla="*/ 2075383 w 6994525"/>
                  <a:gd name="connsiteY5266" fmla="*/ 4751445 h 7571036"/>
                  <a:gd name="connsiteX5267" fmla="*/ 2053192 w 6994525"/>
                  <a:gd name="connsiteY5267" fmla="*/ 4729005 h 7571036"/>
                  <a:gd name="connsiteX5268" fmla="*/ 2030753 w 6994525"/>
                  <a:gd name="connsiteY5268" fmla="*/ 4751445 h 7571036"/>
                  <a:gd name="connsiteX5269" fmla="*/ 2053192 w 6994525"/>
                  <a:gd name="connsiteY5269" fmla="*/ 4773881 h 7571036"/>
                  <a:gd name="connsiteX5270" fmla="*/ 2075383 w 6994525"/>
                  <a:gd name="connsiteY5270" fmla="*/ 4751445 h 7571036"/>
                  <a:gd name="connsiteX5271" fmla="*/ 2076864 w 6994525"/>
                  <a:gd name="connsiteY5271" fmla="*/ 2065094 h 7571036"/>
                  <a:gd name="connsiteX5272" fmla="*/ 2033959 w 6994525"/>
                  <a:gd name="connsiteY5272" fmla="*/ 2022181 h 7571036"/>
                  <a:gd name="connsiteX5273" fmla="*/ 1991056 w 6994525"/>
                  <a:gd name="connsiteY5273" fmla="*/ 2065094 h 7571036"/>
                  <a:gd name="connsiteX5274" fmla="*/ 2033959 w 6994525"/>
                  <a:gd name="connsiteY5274" fmla="*/ 2108005 h 7571036"/>
                  <a:gd name="connsiteX5275" fmla="*/ 2076864 w 6994525"/>
                  <a:gd name="connsiteY5275" fmla="*/ 2065094 h 7571036"/>
                  <a:gd name="connsiteX5276" fmla="*/ 2077110 w 6994525"/>
                  <a:gd name="connsiteY5276" fmla="*/ 3937743 h 7571036"/>
                  <a:gd name="connsiteX5277" fmla="*/ 2075386 w 6994525"/>
                  <a:gd name="connsiteY5277" fmla="*/ 3936015 h 7571036"/>
                  <a:gd name="connsiteX5278" fmla="*/ 2073659 w 6994525"/>
                  <a:gd name="connsiteY5278" fmla="*/ 3937743 h 7571036"/>
                  <a:gd name="connsiteX5279" fmla="*/ 2075386 w 6994525"/>
                  <a:gd name="connsiteY5279" fmla="*/ 3939466 h 7571036"/>
                  <a:gd name="connsiteX5280" fmla="*/ 2077110 w 6994525"/>
                  <a:gd name="connsiteY5280" fmla="*/ 3937743 h 7571036"/>
                  <a:gd name="connsiteX5281" fmla="*/ 2078096 w 6994525"/>
                  <a:gd name="connsiteY5281" fmla="*/ 2348902 h 7571036"/>
                  <a:gd name="connsiteX5282" fmla="*/ 2072427 w 6994525"/>
                  <a:gd name="connsiteY5282" fmla="*/ 2343230 h 7571036"/>
                  <a:gd name="connsiteX5283" fmla="*/ 2066755 w 6994525"/>
                  <a:gd name="connsiteY5283" fmla="*/ 2348902 h 7571036"/>
                  <a:gd name="connsiteX5284" fmla="*/ 2072427 w 6994525"/>
                  <a:gd name="connsiteY5284" fmla="*/ 2354572 h 7571036"/>
                  <a:gd name="connsiteX5285" fmla="*/ 2078096 w 6994525"/>
                  <a:gd name="connsiteY5285" fmla="*/ 2348902 h 7571036"/>
                  <a:gd name="connsiteX5286" fmla="*/ 2082290 w 6994525"/>
                  <a:gd name="connsiteY5286" fmla="*/ 4363578 h 7571036"/>
                  <a:gd name="connsiteX5287" fmla="*/ 2034453 w 6994525"/>
                  <a:gd name="connsiteY5287" fmla="*/ 4315741 h 7571036"/>
                  <a:gd name="connsiteX5288" fmla="*/ 1986865 w 6994525"/>
                  <a:gd name="connsiteY5288" fmla="*/ 4363578 h 7571036"/>
                  <a:gd name="connsiteX5289" fmla="*/ 2034453 w 6994525"/>
                  <a:gd name="connsiteY5289" fmla="*/ 4411168 h 7571036"/>
                  <a:gd name="connsiteX5290" fmla="*/ 2082290 w 6994525"/>
                  <a:gd name="connsiteY5290" fmla="*/ 4363578 h 7571036"/>
                  <a:gd name="connsiteX5291" fmla="*/ 2087713 w 6994525"/>
                  <a:gd name="connsiteY5291" fmla="*/ 3018569 h 7571036"/>
                  <a:gd name="connsiteX5292" fmla="*/ 2074891 w 6994525"/>
                  <a:gd name="connsiteY5292" fmla="*/ 3005747 h 7571036"/>
                  <a:gd name="connsiteX5293" fmla="*/ 2062069 w 6994525"/>
                  <a:gd name="connsiteY5293" fmla="*/ 3018569 h 7571036"/>
                  <a:gd name="connsiteX5294" fmla="*/ 2074891 w 6994525"/>
                  <a:gd name="connsiteY5294" fmla="*/ 3031391 h 7571036"/>
                  <a:gd name="connsiteX5295" fmla="*/ 2087713 w 6994525"/>
                  <a:gd name="connsiteY5295" fmla="*/ 3018569 h 7571036"/>
                  <a:gd name="connsiteX5296" fmla="*/ 2088205 w 6994525"/>
                  <a:gd name="connsiteY5296" fmla="*/ 5361468 h 7571036"/>
                  <a:gd name="connsiteX5297" fmla="*/ 2078590 w 6994525"/>
                  <a:gd name="connsiteY5297" fmla="*/ 5352100 h 7571036"/>
                  <a:gd name="connsiteX5298" fmla="*/ 2069219 w 6994525"/>
                  <a:gd name="connsiteY5298" fmla="*/ 5361468 h 7571036"/>
                  <a:gd name="connsiteX5299" fmla="*/ 2078590 w 6994525"/>
                  <a:gd name="connsiteY5299" fmla="*/ 5371085 h 7571036"/>
                  <a:gd name="connsiteX5300" fmla="*/ 2088205 w 6994525"/>
                  <a:gd name="connsiteY5300" fmla="*/ 5361468 h 7571036"/>
                  <a:gd name="connsiteX5301" fmla="*/ 2089193 w 6994525"/>
                  <a:gd name="connsiteY5301" fmla="*/ 5231280 h 7571036"/>
                  <a:gd name="connsiteX5302" fmla="*/ 2087221 w 6994525"/>
                  <a:gd name="connsiteY5302" fmla="*/ 5229307 h 7571036"/>
                  <a:gd name="connsiteX5303" fmla="*/ 2085249 w 6994525"/>
                  <a:gd name="connsiteY5303" fmla="*/ 5231280 h 7571036"/>
                  <a:gd name="connsiteX5304" fmla="*/ 2087221 w 6994525"/>
                  <a:gd name="connsiteY5304" fmla="*/ 5233252 h 7571036"/>
                  <a:gd name="connsiteX5305" fmla="*/ 2089193 w 6994525"/>
                  <a:gd name="connsiteY5305" fmla="*/ 5231280 h 7571036"/>
                  <a:gd name="connsiteX5306" fmla="*/ 2099794 w 6994525"/>
                  <a:gd name="connsiteY5306" fmla="*/ 4607687 h 7571036"/>
                  <a:gd name="connsiteX5307" fmla="*/ 2073656 w 6994525"/>
                  <a:gd name="connsiteY5307" fmla="*/ 4581798 h 7571036"/>
                  <a:gd name="connsiteX5308" fmla="*/ 2047521 w 6994525"/>
                  <a:gd name="connsiteY5308" fmla="*/ 4607687 h 7571036"/>
                  <a:gd name="connsiteX5309" fmla="*/ 2073656 w 6994525"/>
                  <a:gd name="connsiteY5309" fmla="*/ 4633826 h 7571036"/>
                  <a:gd name="connsiteX5310" fmla="*/ 2099794 w 6994525"/>
                  <a:gd name="connsiteY5310" fmla="*/ 4607687 h 7571036"/>
                  <a:gd name="connsiteX5311" fmla="*/ 2103248 w 6994525"/>
                  <a:gd name="connsiteY5311" fmla="*/ 4207746 h 7571036"/>
                  <a:gd name="connsiteX5312" fmla="*/ 2071195 w 6994525"/>
                  <a:gd name="connsiteY5312" fmla="*/ 4175690 h 7571036"/>
                  <a:gd name="connsiteX5313" fmla="*/ 2039138 w 6994525"/>
                  <a:gd name="connsiteY5313" fmla="*/ 4207746 h 7571036"/>
                  <a:gd name="connsiteX5314" fmla="*/ 2071195 w 6994525"/>
                  <a:gd name="connsiteY5314" fmla="*/ 4239799 h 7571036"/>
                  <a:gd name="connsiteX5315" fmla="*/ 2103248 w 6994525"/>
                  <a:gd name="connsiteY5315" fmla="*/ 4207746 h 7571036"/>
                  <a:gd name="connsiteX5316" fmla="*/ 2110398 w 6994525"/>
                  <a:gd name="connsiteY5316" fmla="*/ 2748821 h 7571036"/>
                  <a:gd name="connsiteX5317" fmla="*/ 2070454 w 6994525"/>
                  <a:gd name="connsiteY5317" fmla="*/ 2708875 h 7571036"/>
                  <a:gd name="connsiteX5318" fmla="*/ 2030507 w 6994525"/>
                  <a:gd name="connsiteY5318" fmla="*/ 2748821 h 7571036"/>
                  <a:gd name="connsiteX5319" fmla="*/ 2070454 w 6994525"/>
                  <a:gd name="connsiteY5319" fmla="*/ 2788765 h 7571036"/>
                  <a:gd name="connsiteX5320" fmla="*/ 2110398 w 6994525"/>
                  <a:gd name="connsiteY5320" fmla="*/ 2748821 h 7571036"/>
                  <a:gd name="connsiteX5321" fmla="*/ 2114836 w 6994525"/>
                  <a:gd name="connsiteY5321" fmla="*/ 815383 h 7571036"/>
                  <a:gd name="connsiteX5322" fmla="*/ 2096098 w 6994525"/>
                  <a:gd name="connsiteY5322" fmla="*/ 796644 h 7571036"/>
                  <a:gd name="connsiteX5323" fmla="*/ 2077358 w 6994525"/>
                  <a:gd name="connsiteY5323" fmla="*/ 815383 h 7571036"/>
                  <a:gd name="connsiteX5324" fmla="*/ 2096098 w 6994525"/>
                  <a:gd name="connsiteY5324" fmla="*/ 834126 h 7571036"/>
                  <a:gd name="connsiteX5325" fmla="*/ 2114836 w 6994525"/>
                  <a:gd name="connsiteY5325" fmla="*/ 815383 h 7571036"/>
                  <a:gd name="connsiteX5326" fmla="*/ 2117302 w 6994525"/>
                  <a:gd name="connsiteY5326" fmla="*/ 1850151 h 7571036"/>
                  <a:gd name="connsiteX5327" fmla="*/ 2104727 w 6994525"/>
                  <a:gd name="connsiteY5327" fmla="*/ 1837578 h 7571036"/>
                  <a:gd name="connsiteX5328" fmla="*/ 2092150 w 6994525"/>
                  <a:gd name="connsiteY5328" fmla="*/ 1850151 h 7571036"/>
                  <a:gd name="connsiteX5329" fmla="*/ 2104727 w 6994525"/>
                  <a:gd name="connsiteY5329" fmla="*/ 1862723 h 7571036"/>
                  <a:gd name="connsiteX5330" fmla="*/ 2117302 w 6994525"/>
                  <a:gd name="connsiteY5330" fmla="*/ 1850151 h 7571036"/>
                  <a:gd name="connsiteX5331" fmla="*/ 2117548 w 6994525"/>
                  <a:gd name="connsiteY5331" fmla="*/ 936677 h 7571036"/>
                  <a:gd name="connsiteX5332" fmla="*/ 2099300 w 6994525"/>
                  <a:gd name="connsiteY5332" fmla="*/ 918426 h 7571036"/>
                  <a:gd name="connsiteX5333" fmla="*/ 2081055 w 6994525"/>
                  <a:gd name="connsiteY5333" fmla="*/ 936677 h 7571036"/>
                  <a:gd name="connsiteX5334" fmla="*/ 2099300 w 6994525"/>
                  <a:gd name="connsiteY5334" fmla="*/ 954928 h 7571036"/>
                  <a:gd name="connsiteX5335" fmla="*/ 2117548 w 6994525"/>
                  <a:gd name="connsiteY5335" fmla="*/ 936677 h 7571036"/>
                  <a:gd name="connsiteX5336" fmla="*/ 2118043 w 6994525"/>
                  <a:gd name="connsiteY5336" fmla="*/ 4047223 h 7571036"/>
                  <a:gd name="connsiteX5337" fmla="*/ 2116070 w 6994525"/>
                  <a:gd name="connsiteY5337" fmla="*/ 4045249 h 7571036"/>
                  <a:gd name="connsiteX5338" fmla="*/ 2114097 w 6994525"/>
                  <a:gd name="connsiteY5338" fmla="*/ 4047223 h 7571036"/>
                  <a:gd name="connsiteX5339" fmla="*/ 2116070 w 6994525"/>
                  <a:gd name="connsiteY5339" fmla="*/ 4049195 h 7571036"/>
                  <a:gd name="connsiteX5340" fmla="*/ 2118043 w 6994525"/>
                  <a:gd name="connsiteY5340" fmla="*/ 4047223 h 7571036"/>
                  <a:gd name="connsiteX5341" fmla="*/ 2120756 w 6994525"/>
                  <a:gd name="connsiteY5341" fmla="*/ 1058956 h 7571036"/>
                  <a:gd name="connsiteX5342" fmla="*/ 2103002 w 6994525"/>
                  <a:gd name="connsiteY5342" fmla="*/ 1041201 h 7571036"/>
                  <a:gd name="connsiteX5343" fmla="*/ 2085249 w 6994525"/>
                  <a:gd name="connsiteY5343" fmla="*/ 1058956 h 7571036"/>
                  <a:gd name="connsiteX5344" fmla="*/ 2103002 w 6994525"/>
                  <a:gd name="connsiteY5344" fmla="*/ 1076712 h 7571036"/>
                  <a:gd name="connsiteX5345" fmla="*/ 2120756 w 6994525"/>
                  <a:gd name="connsiteY5345" fmla="*/ 1058956 h 7571036"/>
                  <a:gd name="connsiteX5346" fmla="*/ 2123712 w 6994525"/>
                  <a:gd name="connsiteY5346" fmla="*/ 7332351 h 7571036"/>
                  <a:gd name="connsiteX5347" fmla="*/ 2121987 w 6994525"/>
                  <a:gd name="connsiteY5347" fmla="*/ 7330623 h 7571036"/>
                  <a:gd name="connsiteX5348" fmla="*/ 2120261 w 6994525"/>
                  <a:gd name="connsiteY5348" fmla="*/ 7332351 h 7571036"/>
                  <a:gd name="connsiteX5349" fmla="*/ 2121987 w 6994525"/>
                  <a:gd name="connsiteY5349" fmla="*/ 7334077 h 7571036"/>
                  <a:gd name="connsiteX5350" fmla="*/ 2123712 w 6994525"/>
                  <a:gd name="connsiteY5350" fmla="*/ 7332351 h 7571036"/>
                  <a:gd name="connsiteX5351" fmla="*/ 2123958 w 6994525"/>
                  <a:gd name="connsiteY5351" fmla="*/ 1182228 h 7571036"/>
                  <a:gd name="connsiteX5352" fmla="*/ 2107439 w 6994525"/>
                  <a:gd name="connsiteY5352" fmla="*/ 1165707 h 7571036"/>
                  <a:gd name="connsiteX5353" fmla="*/ 2090918 w 6994525"/>
                  <a:gd name="connsiteY5353" fmla="*/ 1182228 h 7571036"/>
                  <a:gd name="connsiteX5354" fmla="*/ 2107439 w 6994525"/>
                  <a:gd name="connsiteY5354" fmla="*/ 1198750 h 7571036"/>
                  <a:gd name="connsiteX5355" fmla="*/ 2123958 w 6994525"/>
                  <a:gd name="connsiteY5355" fmla="*/ 1182228 h 7571036"/>
                  <a:gd name="connsiteX5356" fmla="*/ 2124206 w 6994525"/>
                  <a:gd name="connsiteY5356" fmla="*/ 7217202 h 7571036"/>
                  <a:gd name="connsiteX5357" fmla="*/ 2122480 w 6994525"/>
                  <a:gd name="connsiteY5357" fmla="*/ 7215474 h 7571036"/>
                  <a:gd name="connsiteX5358" fmla="*/ 2120507 w 6994525"/>
                  <a:gd name="connsiteY5358" fmla="*/ 7217202 h 7571036"/>
                  <a:gd name="connsiteX5359" fmla="*/ 2122480 w 6994525"/>
                  <a:gd name="connsiteY5359" fmla="*/ 7218925 h 7571036"/>
                  <a:gd name="connsiteX5360" fmla="*/ 2124206 w 6994525"/>
                  <a:gd name="connsiteY5360" fmla="*/ 7217202 h 7571036"/>
                  <a:gd name="connsiteX5361" fmla="*/ 2125687 w 6994525"/>
                  <a:gd name="connsiteY5361" fmla="*/ 7101805 h 7571036"/>
                  <a:gd name="connsiteX5362" fmla="*/ 2123221 w 6994525"/>
                  <a:gd name="connsiteY5362" fmla="*/ 7099337 h 7571036"/>
                  <a:gd name="connsiteX5363" fmla="*/ 2121002 w 6994525"/>
                  <a:gd name="connsiteY5363" fmla="*/ 7101805 h 7571036"/>
                  <a:gd name="connsiteX5364" fmla="*/ 2123221 w 6994525"/>
                  <a:gd name="connsiteY5364" fmla="*/ 7104023 h 7571036"/>
                  <a:gd name="connsiteX5365" fmla="*/ 2125687 w 6994525"/>
                  <a:gd name="connsiteY5365" fmla="*/ 7101805 h 7571036"/>
                  <a:gd name="connsiteX5366" fmla="*/ 2127165 w 6994525"/>
                  <a:gd name="connsiteY5366" fmla="*/ 5107005 h 7571036"/>
                  <a:gd name="connsiteX5367" fmla="*/ 2106944 w 6994525"/>
                  <a:gd name="connsiteY5367" fmla="*/ 5086784 h 7571036"/>
                  <a:gd name="connsiteX5368" fmla="*/ 2086727 w 6994525"/>
                  <a:gd name="connsiteY5368" fmla="*/ 5107005 h 7571036"/>
                  <a:gd name="connsiteX5369" fmla="*/ 2106944 w 6994525"/>
                  <a:gd name="connsiteY5369" fmla="*/ 5127224 h 7571036"/>
                  <a:gd name="connsiteX5370" fmla="*/ 2127165 w 6994525"/>
                  <a:gd name="connsiteY5370" fmla="*/ 5107005 h 7571036"/>
                  <a:gd name="connsiteX5371" fmla="*/ 2127658 w 6994525"/>
                  <a:gd name="connsiteY5371" fmla="*/ 1307221 h 7571036"/>
                  <a:gd name="connsiteX5372" fmla="*/ 2111630 w 6994525"/>
                  <a:gd name="connsiteY5372" fmla="*/ 1291195 h 7571036"/>
                  <a:gd name="connsiteX5373" fmla="*/ 2095603 w 6994525"/>
                  <a:gd name="connsiteY5373" fmla="*/ 1307221 h 7571036"/>
                  <a:gd name="connsiteX5374" fmla="*/ 2111630 w 6994525"/>
                  <a:gd name="connsiteY5374" fmla="*/ 1323252 h 7571036"/>
                  <a:gd name="connsiteX5375" fmla="*/ 2127658 w 6994525"/>
                  <a:gd name="connsiteY5375" fmla="*/ 1307221 h 7571036"/>
                  <a:gd name="connsiteX5376" fmla="*/ 2131358 w 6994525"/>
                  <a:gd name="connsiteY5376" fmla="*/ 2909088 h 7571036"/>
                  <a:gd name="connsiteX5377" fmla="*/ 2115330 w 6994525"/>
                  <a:gd name="connsiteY5377" fmla="*/ 2893061 h 7571036"/>
                  <a:gd name="connsiteX5378" fmla="*/ 2099303 w 6994525"/>
                  <a:gd name="connsiteY5378" fmla="*/ 2909088 h 7571036"/>
                  <a:gd name="connsiteX5379" fmla="*/ 2115330 w 6994525"/>
                  <a:gd name="connsiteY5379" fmla="*/ 2925117 h 7571036"/>
                  <a:gd name="connsiteX5380" fmla="*/ 2131358 w 6994525"/>
                  <a:gd name="connsiteY5380" fmla="*/ 2909088 h 7571036"/>
                  <a:gd name="connsiteX5381" fmla="*/ 2131847 w 6994525"/>
                  <a:gd name="connsiteY5381" fmla="*/ 2121064 h 7571036"/>
                  <a:gd name="connsiteX5382" fmla="*/ 2130616 w 6994525"/>
                  <a:gd name="connsiteY5382" fmla="*/ 2119831 h 7571036"/>
                  <a:gd name="connsiteX5383" fmla="*/ 2129384 w 6994525"/>
                  <a:gd name="connsiteY5383" fmla="*/ 2121064 h 7571036"/>
                  <a:gd name="connsiteX5384" fmla="*/ 2130616 w 6994525"/>
                  <a:gd name="connsiteY5384" fmla="*/ 2122297 h 7571036"/>
                  <a:gd name="connsiteX5385" fmla="*/ 2131847 w 6994525"/>
                  <a:gd name="connsiteY5385" fmla="*/ 2121064 h 7571036"/>
                  <a:gd name="connsiteX5386" fmla="*/ 2132097 w 6994525"/>
                  <a:gd name="connsiteY5386" fmla="*/ 6988377 h 7571036"/>
                  <a:gd name="connsiteX5387" fmla="*/ 2130373 w 6994525"/>
                  <a:gd name="connsiteY5387" fmla="*/ 6986650 h 7571036"/>
                  <a:gd name="connsiteX5388" fmla="*/ 2128646 w 6994525"/>
                  <a:gd name="connsiteY5388" fmla="*/ 6988377 h 7571036"/>
                  <a:gd name="connsiteX5389" fmla="*/ 2130373 w 6994525"/>
                  <a:gd name="connsiteY5389" fmla="*/ 6990104 h 7571036"/>
                  <a:gd name="connsiteX5390" fmla="*/ 2132097 w 6994525"/>
                  <a:gd name="connsiteY5390" fmla="*/ 6988377 h 7571036"/>
                  <a:gd name="connsiteX5391" fmla="*/ 2132099 w 6994525"/>
                  <a:gd name="connsiteY5391" fmla="*/ 1433206 h 7571036"/>
                  <a:gd name="connsiteX5392" fmla="*/ 2117056 w 6994525"/>
                  <a:gd name="connsiteY5392" fmla="*/ 1418170 h 7571036"/>
                  <a:gd name="connsiteX5393" fmla="*/ 2102016 w 6994525"/>
                  <a:gd name="connsiteY5393" fmla="*/ 1433206 h 7571036"/>
                  <a:gd name="connsiteX5394" fmla="*/ 2117056 w 6994525"/>
                  <a:gd name="connsiteY5394" fmla="*/ 1448248 h 7571036"/>
                  <a:gd name="connsiteX5395" fmla="*/ 2132099 w 6994525"/>
                  <a:gd name="connsiteY5395" fmla="*/ 1433206 h 7571036"/>
                  <a:gd name="connsiteX5396" fmla="*/ 2133824 w 6994525"/>
                  <a:gd name="connsiteY5396" fmla="*/ 3449327 h 7571036"/>
                  <a:gd name="connsiteX5397" fmla="*/ 2111385 w 6994525"/>
                  <a:gd name="connsiteY5397" fmla="*/ 3426891 h 7571036"/>
                  <a:gd name="connsiteX5398" fmla="*/ 2088700 w 6994525"/>
                  <a:gd name="connsiteY5398" fmla="*/ 3449327 h 7571036"/>
                  <a:gd name="connsiteX5399" fmla="*/ 2111385 w 6994525"/>
                  <a:gd name="connsiteY5399" fmla="*/ 3471961 h 7571036"/>
                  <a:gd name="connsiteX5400" fmla="*/ 2133824 w 6994525"/>
                  <a:gd name="connsiteY5400" fmla="*/ 3449327 h 7571036"/>
                  <a:gd name="connsiteX5401" fmla="*/ 2134069 w 6994525"/>
                  <a:gd name="connsiteY5401" fmla="*/ 3564919 h 7571036"/>
                  <a:gd name="connsiteX5402" fmla="*/ 2113849 w 6994525"/>
                  <a:gd name="connsiteY5402" fmla="*/ 3544453 h 7571036"/>
                  <a:gd name="connsiteX5403" fmla="*/ 2093631 w 6994525"/>
                  <a:gd name="connsiteY5403" fmla="*/ 3564919 h 7571036"/>
                  <a:gd name="connsiteX5404" fmla="*/ 2113849 w 6994525"/>
                  <a:gd name="connsiteY5404" fmla="*/ 3585137 h 7571036"/>
                  <a:gd name="connsiteX5405" fmla="*/ 2134069 w 6994525"/>
                  <a:gd name="connsiteY5405" fmla="*/ 3564919 h 7571036"/>
                  <a:gd name="connsiteX5406" fmla="*/ 2134562 w 6994525"/>
                  <a:gd name="connsiteY5406" fmla="*/ 2496087 h 7571036"/>
                  <a:gd name="connsiteX5407" fmla="*/ 2097331 w 6994525"/>
                  <a:gd name="connsiteY5407" fmla="*/ 2458854 h 7571036"/>
                  <a:gd name="connsiteX5408" fmla="*/ 2060097 w 6994525"/>
                  <a:gd name="connsiteY5408" fmla="*/ 2496087 h 7571036"/>
                  <a:gd name="connsiteX5409" fmla="*/ 2097331 w 6994525"/>
                  <a:gd name="connsiteY5409" fmla="*/ 2533319 h 7571036"/>
                  <a:gd name="connsiteX5410" fmla="*/ 2134562 w 6994525"/>
                  <a:gd name="connsiteY5410" fmla="*/ 2496087 h 7571036"/>
                  <a:gd name="connsiteX5411" fmla="*/ 2134564 w 6994525"/>
                  <a:gd name="connsiteY5411" fmla="*/ 6871993 h 7571036"/>
                  <a:gd name="connsiteX5412" fmla="*/ 2131356 w 6994525"/>
                  <a:gd name="connsiteY5412" fmla="*/ 6868788 h 7571036"/>
                  <a:gd name="connsiteX5413" fmla="*/ 2128152 w 6994525"/>
                  <a:gd name="connsiteY5413" fmla="*/ 6871993 h 7571036"/>
                  <a:gd name="connsiteX5414" fmla="*/ 2131356 w 6994525"/>
                  <a:gd name="connsiteY5414" fmla="*/ 6875201 h 7571036"/>
                  <a:gd name="connsiteX5415" fmla="*/ 2134564 w 6994525"/>
                  <a:gd name="connsiteY5415" fmla="*/ 6871993 h 7571036"/>
                  <a:gd name="connsiteX5416" fmla="*/ 2135055 w 6994525"/>
                  <a:gd name="connsiteY5416" fmla="*/ 6755609 h 7571036"/>
                  <a:gd name="connsiteX5417" fmla="*/ 2132834 w 6994525"/>
                  <a:gd name="connsiteY5417" fmla="*/ 6753391 h 7571036"/>
                  <a:gd name="connsiteX5418" fmla="*/ 2130616 w 6994525"/>
                  <a:gd name="connsiteY5418" fmla="*/ 6755609 h 7571036"/>
                  <a:gd name="connsiteX5419" fmla="*/ 2132834 w 6994525"/>
                  <a:gd name="connsiteY5419" fmla="*/ 6757827 h 7571036"/>
                  <a:gd name="connsiteX5420" fmla="*/ 2135055 w 6994525"/>
                  <a:gd name="connsiteY5420" fmla="*/ 6755609 h 7571036"/>
                  <a:gd name="connsiteX5421" fmla="*/ 2138014 w 6994525"/>
                  <a:gd name="connsiteY5421" fmla="*/ 1560671 h 7571036"/>
                  <a:gd name="connsiteX5422" fmla="*/ 2123466 w 6994525"/>
                  <a:gd name="connsiteY5422" fmla="*/ 1546124 h 7571036"/>
                  <a:gd name="connsiteX5423" fmla="*/ 2108918 w 6994525"/>
                  <a:gd name="connsiteY5423" fmla="*/ 1560671 h 7571036"/>
                  <a:gd name="connsiteX5424" fmla="*/ 2123466 w 6994525"/>
                  <a:gd name="connsiteY5424" fmla="*/ 1575219 h 7571036"/>
                  <a:gd name="connsiteX5425" fmla="*/ 2138014 w 6994525"/>
                  <a:gd name="connsiteY5425" fmla="*/ 1560671 h 7571036"/>
                  <a:gd name="connsiteX5426" fmla="*/ 2142945 w 6994525"/>
                  <a:gd name="connsiteY5426" fmla="*/ 6283170 h 7571036"/>
                  <a:gd name="connsiteX5427" fmla="*/ 2139492 w 6994525"/>
                  <a:gd name="connsiteY5427" fmla="*/ 6279719 h 7571036"/>
                  <a:gd name="connsiteX5428" fmla="*/ 2136042 w 6994525"/>
                  <a:gd name="connsiteY5428" fmla="*/ 6283170 h 7571036"/>
                  <a:gd name="connsiteX5429" fmla="*/ 2139492 w 6994525"/>
                  <a:gd name="connsiteY5429" fmla="*/ 6286623 h 7571036"/>
                  <a:gd name="connsiteX5430" fmla="*/ 2142945 w 6994525"/>
                  <a:gd name="connsiteY5430" fmla="*/ 6283170 h 7571036"/>
                  <a:gd name="connsiteX5431" fmla="*/ 2143438 w 6994525"/>
                  <a:gd name="connsiteY5431" fmla="*/ 3679825 h 7571036"/>
                  <a:gd name="connsiteX5432" fmla="*/ 2125684 w 6994525"/>
                  <a:gd name="connsiteY5432" fmla="*/ 3662071 h 7571036"/>
                  <a:gd name="connsiteX5433" fmla="*/ 2107931 w 6994525"/>
                  <a:gd name="connsiteY5433" fmla="*/ 3679825 h 7571036"/>
                  <a:gd name="connsiteX5434" fmla="*/ 2125684 w 6994525"/>
                  <a:gd name="connsiteY5434" fmla="*/ 3697578 h 7571036"/>
                  <a:gd name="connsiteX5435" fmla="*/ 2143438 w 6994525"/>
                  <a:gd name="connsiteY5435" fmla="*/ 3679825 h 7571036"/>
                  <a:gd name="connsiteX5436" fmla="*/ 2143440 w 6994525"/>
                  <a:gd name="connsiteY5436" fmla="*/ 3333929 h 7571036"/>
                  <a:gd name="connsiteX5437" fmla="*/ 2118534 w 6994525"/>
                  <a:gd name="connsiteY5437" fmla="*/ 3309029 h 7571036"/>
                  <a:gd name="connsiteX5438" fmla="*/ 2093631 w 6994525"/>
                  <a:gd name="connsiteY5438" fmla="*/ 3333929 h 7571036"/>
                  <a:gd name="connsiteX5439" fmla="*/ 2118534 w 6994525"/>
                  <a:gd name="connsiteY5439" fmla="*/ 3358836 h 7571036"/>
                  <a:gd name="connsiteX5440" fmla="*/ 2143440 w 6994525"/>
                  <a:gd name="connsiteY5440" fmla="*/ 3333929 h 7571036"/>
                  <a:gd name="connsiteX5441" fmla="*/ 2143686 w 6994525"/>
                  <a:gd name="connsiteY5441" fmla="*/ 1690108 h 7571036"/>
                  <a:gd name="connsiteX5442" fmla="*/ 2130616 w 6994525"/>
                  <a:gd name="connsiteY5442" fmla="*/ 1677039 h 7571036"/>
                  <a:gd name="connsiteX5443" fmla="*/ 2117549 w 6994525"/>
                  <a:gd name="connsiteY5443" fmla="*/ 1690108 h 7571036"/>
                  <a:gd name="connsiteX5444" fmla="*/ 2130616 w 6994525"/>
                  <a:gd name="connsiteY5444" fmla="*/ 1703181 h 7571036"/>
                  <a:gd name="connsiteX5445" fmla="*/ 2143686 w 6994525"/>
                  <a:gd name="connsiteY5445" fmla="*/ 1690108 h 7571036"/>
                  <a:gd name="connsiteX5446" fmla="*/ 2146891 w 6994525"/>
                  <a:gd name="connsiteY5446" fmla="*/ 6520377 h 7571036"/>
                  <a:gd name="connsiteX5447" fmla="*/ 2135550 w 6994525"/>
                  <a:gd name="connsiteY5447" fmla="*/ 6509033 h 7571036"/>
                  <a:gd name="connsiteX5448" fmla="*/ 2123961 w 6994525"/>
                  <a:gd name="connsiteY5448" fmla="*/ 6520377 h 7571036"/>
                  <a:gd name="connsiteX5449" fmla="*/ 2135550 w 6994525"/>
                  <a:gd name="connsiteY5449" fmla="*/ 6531964 h 7571036"/>
                  <a:gd name="connsiteX5450" fmla="*/ 2146891 w 6994525"/>
                  <a:gd name="connsiteY5450" fmla="*/ 6520377 h 7571036"/>
                  <a:gd name="connsiteX5451" fmla="*/ 2147878 w 6994525"/>
                  <a:gd name="connsiteY5451" fmla="*/ 4460483 h 7571036"/>
                  <a:gd name="connsiteX5452" fmla="*/ 2098313 w 6994525"/>
                  <a:gd name="connsiteY5452" fmla="*/ 4410921 h 7571036"/>
                  <a:gd name="connsiteX5453" fmla="*/ 2048753 w 6994525"/>
                  <a:gd name="connsiteY5453" fmla="*/ 4460483 h 7571036"/>
                  <a:gd name="connsiteX5454" fmla="*/ 2098313 w 6994525"/>
                  <a:gd name="connsiteY5454" fmla="*/ 4510046 h 7571036"/>
                  <a:gd name="connsiteX5455" fmla="*/ 2147878 w 6994525"/>
                  <a:gd name="connsiteY5455" fmla="*/ 4460483 h 7571036"/>
                  <a:gd name="connsiteX5456" fmla="*/ 2149110 w 6994525"/>
                  <a:gd name="connsiteY5456" fmla="*/ 84387 h 7571036"/>
                  <a:gd name="connsiteX5457" fmla="*/ 2128646 w 6994525"/>
                  <a:gd name="connsiteY5457" fmla="*/ 63922 h 7571036"/>
                  <a:gd name="connsiteX5458" fmla="*/ 2108180 w 6994525"/>
                  <a:gd name="connsiteY5458" fmla="*/ 84387 h 7571036"/>
                  <a:gd name="connsiteX5459" fmla="*/ 2128646 w 6994525"/>
                  <a:gd name="connsiteY5459" fmla="*/ 104850 h 7571036"/>
                  <a:gd name="connsiteX5460" fmla="*/ 2149110 w 6994525"/>
                  <a:gd name="connsiteY5460" fmla="*/ 84387 h 7571036"/>
                  <a:gd name="connsiteX5461" fmla="*/ 2149355 w 6994525"/>
                  <a:gd name="connsiteY5461" fmla="*/ 6402267 h 7571036"/>
                  <a:gd name="connsiteX5462" fmla="*/ 2137520 w 6994525"/>
                  <a:gd name="connsiteY5462" fmla="*/ 6390431 h 7571036"/>
                  <a:gd name="connsiteX5463" fmla="*/ 2125684 w 6994525"/>
                  <a:gd name="connsiteY5463" fmla="*/ 6402267 h 7571036"/>
                  <a:gd name="connsiteX5464" fmla="*/ 2137520 w 6994525"/>
                  <a:gd name="connsiteY5464" fmla="*/ 6414349 h 7571036"/>
                  <a:gd name="connsiteX5465" fmla="*/ 2149355 w 6994525"/>
                  <a:gd name="connsiteY5465" fmla="*/ 6402267 h 7571036"/>
                  <a:gd name="connsiteX5466" fmla="*/ 2150098 w 6994525"/>
                  <a:gd name="connsiteY5466" fmla="*/ 6638239 h 7571036"/>
                  <a:gd name="connsiteX5467" fmla="*/ 2134317 w 6994525"/>
                  <a:gd name="connsiteY5467" fmla="*/ 6622458 h 7571036"/>
                  <a:gd name="connsiteX5468" fmla="*/ 2118783 w 6994525"/>
                  <a:gd name="connsiteY5468" fmla="*/ 6638239 h 7571036"/>
                  <a:gd name="connsiteX5469" fmla="*/ 2134317 w 6994525"/>
                  <a:gd name="connsiteY5469" fmla="*/ 6654020 h 7571036"/>
                  <a:gd name="connsiteX5470" fmla="*/ 2150098 w 6994525"/>
                  <a:gd name="connsiteY5470" fmla="*/ 6638239 h 7571036"/>
                  <a:gd name="connsiteX5471" fmla="*/ 2150345 w 6994525"/>
                  <a:gd name="connsiteY5471" fmla="*/ 200988 h 7571036"/>
                  <a:gd name="connsiteX5472" fmla="*/ 2130124 w 6994525"/>
                  <a:gd name="connsiteY5472" fmla="*/ 180771 h 7571036"/>
                  <a:gd name="connsiteX5473" fmla="*/ 2109906 w 6994525"/>
                  <a:gd name="connsiteY5473" fmla="*/ 200988 h 7571036"/>
                  <a:gd name="connsiteX5474" fmla="*/ 2130124 w 6994525"/>
                  <a:gd name="connsiteY5474" fmla="*/ 221208 h 7571036"/>
                  <a:gd name="connsiteX5475" fmla="*/ 2150345 w 6994525"/>
                  <a:gd name="connsiteY5475" fmla="*/ 200988 h 7571036"/>
                  <a:gd name="connsiteX5476" fmla="*/ 2150589 w 6994525"/>
                  <a:gd name="connsiteY5476" fmla="*/ 4972619 h 7571036"/>
                  <a:gd name="connsiteX5477" fmla="*/ 2118780 w 6994525"/>
                  <a:gd name="connsiteY5477" fmla="*/ 4940812 h 7571036"/>
                  <a:gd name="connsiteX5478" fmla="*/ 2086972 w 6994525"/>
                  <a:gd name="connsiteY5478" fmla="*/ 4972619 h 7571036"/>
                  <a:gd name="connsiteX5479" fmla="*/ 2118780 w 6994525"/>
                  <a:gd name="connsiteY5479" fmla="*/ 5004430 h 7571036"/>
                  <a:gd name="connsiteX5480" fmla="*/ 2150589 w 6994525"/>
                  <a:gd name="connsiteY5480" fmla="*/ 4972619 h 7571036"/>
                  <a:gd name="connsiteX5481" fmla="*/ 2151577 w 6994525"/>
                  <a:gd name="connsiteY5481" fmla="*/ 318086 h 7571036"/>
                  <a:gd name="connsiteX5482" fmla="*/ 2131603 w 6994525"/>
                  <a:gd name="connsiteY5482" fmla="*/ 298115 h 7571036"/>
                  <a:gd name="connsiteX5483" fmla="*/ 2111631 w 6994525"/>
                  <a:gd name="connsiteY5483" fmla="*/ 318086 h 7571036"/>
                  <a:gd name="connsiteX5484" fmla="*/ 2131603 w 6994525"/>
                  <a:gd name="connsiteY5484" fmla="*/ 338057 h 7571036"/>
                  <a:gd name="connsiteX5485" fmla="*/ 2151577 w 6994525"/>
                  <a:gd name="connsiteY5485" fmla="*/ 318086 h 7571036"/>
                  <a:gd name="connsiteX5486" fmla="*/ 2153300 w 6994525"/>
                  <a:gd name="connsiteY5486" fmla="*/ 2260621 h 7571036"/>
                  <a:gd name="connsiteX5487" fmla="*/ 2147631 w 6994525"/>
                  <a:gd name="connsiteY5487" fmla="*/ 2254950 h 7571036"/>
                  <a:gd name="connsiteX5488" fmla="*/ 2141959 w 6994525"/>
                  <a:gd name="connsiteY5488" fmla="*/ 2260621 h 7571036"/>
                  <a:gd name="connsiteX5489" fmla="*/ 2147631 w 6994525"/>
                  <a:gd name="connsiteY5489" fmla="*/ 2266285 h 7571036"/>
                  <a:gd name="connsiteX5490" fmla="*/ 2153300 w 6994525"/>
                  <a:gd name="connsiteY5490" fmla="*/ 2260621 h 7571036"/>
                  <a:gd name="connsiteX5491" fmla="*/ 2153547 w 6994525"/>
                  <a:gd name="connsiteY5491" fmla="*/ 435431 h 7571036"/>
                  <a:gd name="connsiteX5492" fmla="*/ 2133575 w 6994525"/>
                  <a:gd name="connsiteY5492" fmla="*/ 415459 h 7571036"/>
                  <a:gd name="connsiteX5493" fmla="*/ 2113603 w 6994525"/>
                  <a:gd name="connsiteY5493" fmla="*/ 435431 h 7571036"/>
                  <a:gd name="connsiteX5494" fmla="*/ 2133575 w 6994525"/>
                  <a:gd name="connsiteY5494" fmla="*/ 455404 h 7571036"/>
                  <a:gd name="connsiteX5495" fmla="*/ 2153547 w 6994525"/>
                  <a:gd name="connsiteY5495" fmla="*/ 435431 h 7571036"/>
                  <a:gd name="connsiteX5496" fmla="*/ 2154043 w 6994525"/>
                  <a:gd name="connsiteY5496" fmla="*/ 554256 h 7571036"/>
                  <a:gd name="connsiteX5497" fmla="*/ 2135055 w 6994525"/>
                  <a:gd name="connsiteY5497" fmla="*/ 535270 h 7571036"/>
                  <a:gd name="connsiteX5498" fmla="*/ 2116070 w 6994525"/>
                  <a:gd name="connsiteY5498" fmla="*/ 554256 h 7571036"/>
                  <a:gd name="connsiteX5499" fmla="*/ 2135055 w 6994525"/>
                  <a:gd name="connsiteY5499" fmla="*/ 573243 h 7571036"/>
                  <a:gd name="connsiteX5500" fmla="*/ 2154043 w 6994525"/>
                  <a:gd name="connsiteY5500" fmla="*/ 554256 h 7571036"/>
                  <a:gd name="connsiteX5501" fmla="*/ 2155521 w 6994525"/>
                  <a:gd name="connsiteY5501" fmla="*/ 673372 h 7571036"/>
                  <a:gd name="connsiteX5502" fmla="*/ 2137028 w 6994525"/>
                  <a:gd name="connsiteY5502" fmla="*/ 654887 h 7571036"/>
                  <a:gd name="connsiteX5503" fmla="*/ 2118534 w 6994525"/>
                  <a:gd name="connsiteY5503" fmla="*/ 673372 h 7571036"/>
                  <a:gd name="connsiteX5504" fmla="*/ 2137028 w 6994525"/>
                  <a:gd name="connsiteY5504" fmla="*/ 691874 h 7571036"/>
                  <a:gd name="connsiteX5505" fmla="*/ 2155521 w 6994525"/>
                  <a:gd name="connsiteY5505" fmla="*/ 673372 h 7571036"/>
                  <a:gd name="connsiteX5506" fmla="*/ 2157740 w 6994525"/>
                  <a:gd name="connsiteY5506" fmla="*/ 5925634 h 7571036"/>
                  <a:gd name="connsiteX5507" fmla="*/ 2155273 w 6994525"/>
                  <a:gd name="connsiteY5507" fmla="*/ 5923170 h 7571036"/>
                  <a:gd name="connsiteX5508" fmla="*/ 2152809 w 6994525"/>
                  <a:gd name="connsiteY5508" fmla="*/ 5925634 h 7571036"/>
                  <a:gd name="connsiteX5509" fmla="*/ 2155273 w 6994525"/>
                  <a:gd name="connsiteY5509" fmla="*/ 5928102 h 7571036"/>
                  <a:gd name="connsiteX5510" fmla="*/ 2157740 w 6994525"/>
                  <a:gd name="connsiteY5510" fmla="*/ 5925634 h 7571036"/>
                  <a:gd name="connsiteX5511" fmla="*/ 2158478 w 6994525"/>
                  <a:gd name="connsiteY5511" fmla="*/ 4836018 h 7571036"/>
                  <a:gd name="connsiteX5512" fmla="*/ 2132588 w 6994525"/>
                  <a:gd name="connsiteY5512" fmla="*/ 4810128 h 7571036"/>
                  <a:gd name="connsiteX5513" fmla="*/ 2106699 w 6994525"/>
                  <a:gd name="connsiteY5513" fmla="*/ 4836018 h 7571036"/>
                  <a:gd name="connsiteX5514" fmla="*/ 2132588 w 6994525"/>
                  <a:gd name="connsiteY5514" fmla="*/ 4861910 h 7571036"/>
                  <a:gd name="connsiteX5515" fmla="*/ 2158478 w 6994525"/>
                  <a:gd name="connsiteY5515" fmla="*/ 4836018 h 7571036"/>
                  <a:gd name="connsiteX5516" fmla="*/ 2160699 w 6994525"/>
                  <a:gd name="connsiteY5516" fmla="*/ 5803336 h 7571036"/>
                  <a:gd name="connsiteX5517" fmla="*/ 2158727 w 6994525"/>
                  <a:gd name="connsiteY5517" fmla="*/ 5801362 h 7571036"/>
                  <a:gd name="connsiteX5518" fmla="*/ 2156755 w 6994525"/>
                  <a:gd name="connsiteY5518" fmla="*/ 5803336 h 7571036"/>
                  <a:gd name="connsiteX5519" fmla="*/ 2158727 w 6994525"/>
                  <a:gd name="connsiteY5519" fmla="*/ 5805308 h 7571036"/>
                  <a:gd name="connsiteX5520" fmla="*/ 2160699 w 6994525"/>
                  <a:gd name="connsiteY5520" fmla="*/ 5803336 h 7571036"/>
                  <a:gd name="connsiteX5521" fmla="*/ 2162426 w 6994525"/>
                  <a:gd name="connsiteY5521" fmla="*/ 3219769 h 7571036"/>
                  <a:gd name="connsiteX5522" fmla="*/ 2135302 w 6994525"/>
                  <a:gd name="connsiteY5522" fmla="*/ 3192647 h 7571036"/>
                  <a:gd name="connsiteX5523" fmla="*/ 2108180 w 6994525"/>
                  <a:gd name="connsiteY5523" fmla="*/ 3219769 h 7571036"/>
                  <a:gd name="connsiteX5524" fmla="*/ 2135302 w 6994525"/>
                  <a:gd name="connsiteY5524" fmla="*/ 3246895 h 7571036"/>
                  <a:gd name="connsiteX5525" fmla="*/ 2162426 w 6994525"/>
                  <a:gd name="connsiteY5525" fmla="*/ 3219769 h 7571036"/>
                  <a:gd name="connsiteX5526" fmla="*/ 2162672 w 6994525"/>
                  <a:gd name="connsiteY5526" fmla="*/ 3793001 h 7571036"/>
                  <a:gd name="connsiteX5527" fmla="*/ 2147384 w 6994525"/>
                  <a:gd name="connsiteY5527" fmla="*/ 3777715 h 7571036"/>
                  <a:gd name="connsiteX5528" fmla="*/ 2132097 w 6994525"/>
                  <a:gd name="connsiteY5528" fmla="*/ 3793001 h 7571036"/>
                  <a:gd name="connsiteX5529" fmla="*/ 2147384 w 6994525"/>
                  <a:gd name="connsiteY5529" fmla="*/ 3808290 h 7571036"/>
                  <a:gd name="connsiteX5530" fmla="*/ 2162672 w 6994525"/>
                  <a:gd name="connsiteY5530" fmla="*/ 3793001 h 7571036"/>
                  <a:gd name="connsiteX5531" fmla="*/ 2162920 w 6994525"/>
                  <a:gd name="connsiteY5531" fmla="*/ 1984221 h 7571036"/>
                  <a:gd name="connsiteX5532" fmla="*/ 2116811 w 6994525"/>
                  <a:gd name="connsiteY5532" fmla="*/ 1938128 h 7571036"/>
                  <a:gd name="connsiteX5533" fmla="*/ 2070700 w 6994525"/>
                  <a:gd name="connsiteY5533" fmla="*/ 1984221 h 7571036"/>
                  <a:gd name="connsiteX5534" fmla="*/ 2116811 w 6994525"/>
                  <a:gd name="connsiteY5534" fmla="*/ 2030319 h 7571036"/>
                  <a:gd name="connsiteX5535" fmla="*/ 2162920 w 6994525"/>
                  <a:gd name="connsiteY5535" fmla="*/ 1984221 h 7571036"/>
                  <a:gd name="connsiteX5536" fmla="*/ 2165385 w 6994525"/>
                  <a:gd name="connsiteY5536" fmla="*/ 5680044 h 7571036"/>
                  <a:gd name="connsiteX5537" fmla="*/ 2163164 w 6994525"/>
                  <a:gd name="connsiteY5537" fmla="*/ 5677825 h 7571036"/>
                  <a:gd name="connsiteX5538" fmla="*/ 2160946 w 6994525"/>
                  <a:gd name="connsiteY5538" fmla="*/ 5680044 h 7571036"/>
                  <a:gd name="connsiteX5539" fmla="*/ 2163164 w 6994525"/>
                  <a:gd name="connsiteY5539" fmla="*/ 5682262 h 7571036"/>
                  <a:gd name="connsiteX5540" fmla="*/ 2165385 w 6994525"/>
                  <a:gd name="connsiteY5540" fmla="*/ 5680044 h 7571036"/>
                  <a:gd name="connsiteX5541" fmla="*/ 2166862 w 6994525"/>
                  <a:gd name="connsiteY5541" fmla="*/ 4309087 h 7571036"/>
                  <a:gd name="connsiteX5542" fmla="*/ 2128397 w 6994525"/>
                  <a:gd name="connsiteY5542" fmla="*/ 4270866 h 7571036"/>
                  <a:gd name="connsiteX5543" fmla="*/ 2089931 w 6994525"/>
                  <a:gd name="connsiteY5543" fmla="*/ 4309087 h 7571036"/>
                  <a:gd name="connsiteX5544" fmla="*/ 2128397 w 6994525"/>
                  <a:gd name="connsiteY5544" fmla="*/ 4347553 h 7571036"/>
                  <a:gd name="connsiteX5545" fmla="*/ 2166862 w 6994525"/>
                  <a:gd name="connsiteY5545" fmla="*/ 4309087 h 7571036"/>
                  <a:gd name="connsiteX5546" fmla="*/ 2167109 w 6994525"/>
                  <a:gd name="connsiteY5546" fmla="*/ 6167279 h 7571036"/>
                  <a:gd name="connsiteX5547" fmla="*/ 2149109 w 6994525"/>
                  <a:gd name="connsiteY5547" fmla="*/ 6149279 h 7571036"/>
                  <a:gd name="connsiteX5548" fmla="*/ 2131111 w 6994525"/>
                  <a:gd name="connsiteY5548" fmla="*/ 6167279 h 7571036"/>
                  <a:gd name="connsiteX5549" fmla="*/ 2149109 w 6994525"/>
                  <a:gd name="connsiteY5549" fmla="*/ 6185277 h 7571036"/>
                  <a:gd name="connsiteX5550" fmla="*/ 2167109 w 6994525"/>
                  <a:gd name="connsiteY5550" fmla="*/ 6167279 h 7571036"/>
                  <a:gd name="connsiteX5551" fmla="*/ 2167603 w 6994525"/>
                  <a:gd name="connsiteY5551" fmla="*/ 2647229 h 7571036"/>
                  <a:gd name="connsiteX5552" fmla="*/ 2127659 w 6994525"/>
                  <a:gd name="connsiteY5552" fmla="*/ 2607284 h 7571036"/>
                  <a:gd name="connsiteX5553" fmla="*/ 2087713 w 6994525"/>
                  <a:gd name="connsiteY5553" fmla="*/ 2647229 h 7571036"/>
                  <a:gd name="connsiteX5554" fmla="*/ 2127659 w 6994525"/>
                  <a:gd name="connsiteY5554" fmla="*/ 2687176 h 7571036"/>
                  <a:gd name="connsiteX5555" fmla="*/ 2167603 w 6994525"/>
                  <a:gd name="connsiteY5555" fmla="*/ 2647229 h 7571036"/>
                  <a:gd name="connsiteX5556" fmla="*/ 2169330 w 6994525"/>
                  <a:gd name="connsiteY5556" fmla="*/ 5555527 h 7571036"/>
                  <a:gd name="connsiteX5557" fmla="*/ 2167849 w 6994525"/>
                  <a:gd name="connsiteY5557" fmla="*/ 5554046 h 7571036"/>
                  <a:gd name="connsiteX5558" fmla="*/ 2166371 w 6994525"/>
                  <a:gd name="connsiteY5558" fmla="*/ 5555527 h 7571036"/>
                  <a:gd name="connsiteX5559" fmla="*/ 2167849 w 6994525"/>
                  <a:gd name="connsiteY5559" fmla="*/ 5557005 h 7571036"/>
                  <a:gd name="connsiteX5560" fmla="*/ 2169330 w 6994525"/>
                  <a:gd name="connsiteY5560" fmla="*/ 5555527 h 7571036"/>
                  <a:gd name="connsiteX5561" fmla="*/ 2172781 w 6994525"/>
                  <a:gd name="connsiteY5561" fmla="*/ 4696209 h 7571036"/>
                  <a:gd name="connsiteX5562" fmla="*/ 2149109 w 6994525"/>
                  <a:gd name="connsiteY5562" fmla="*/ 4672538 h 7571036"/>
                  <a:gd name="connsiteX5563" fmla="*/ 2125438 w 6994525"/>
                  <a:gd name="connsiteY5563" fmla="*/ 4696209 h 7571036"/>
                  <a:gd name="connsiteX5564" fmla="*/ 2149109 w 6994525"/>
                  <a:gd name="connsiteY5564" fmla="*/ 4719880 h 7571036"/>
                  <a:gd name="connsiteX5565" fmla="*/ 2172781 w 6994525"/>
                  <a:gd name="connsiteY5565" fmla="*/ 4696209 h 7571036"/>
                  <a:gd name="connsiteX5566" fmla="*/ 2173521 w 6994525"/>
                  <a:gd name="connsiteY5566" fmla="*/ 6046952 h 7571036"/>
                  <a:gd name="connsiteX5567" fmla="*/ 2152069 w 6994525"/>
                  <a:gd name="connsiteY5567" fmla="*/ 6025499 h 7571036"/>
                  <a:gd name="connsiteX5568" fmla="*/ 2130616 w 6994525"/>
                  <a:gd name="connsiteY5568" fmla="*/ 6046952 h 7571036"/>
                  <a:gd name="connsiteX5569" fmla="*/ 2152069 w 6994525"/>
                  <a:gd name="connsiteY5569" fmla="*/ 6068402 h 7571036"/>
                  <a:gd name="connsiteX5570" fmla="*/ 2173521 w 6994525"/>
                  <a:gd name="connsiteY5570" fmla="*/ 6046952 h 7571036"/>
                  <a:gd name="connsiteX5571" fmla="*/ 2176234 w 6994525"/>
                  <a:gd name="connsiteY5571" fmla="*/ 4153250 h 7571036"/>
                  <a:gd name="connsiteX5572" fmla="*/ 2165137 w 6994525"/>
                  <a:gd name="connsiteY5572" fmla="*/ 4142155 h 7571036"/>
                  <a:gd name="connsiteX5573" fmla="*/ 2154041 w 6994525"/>
                  <a:gd name="connsiteY5573" fmla="*/ 4153250 h 7571036"/>
                  <a:gd name="connsiteX5574" fmla="*/ 2165137 w 6994525"/>
                  <a:gd name="connsiteY5574" fmla="*/ 4164345 h 7571036"/>
                  <a:gd name="connsiteX5575" fmla="*/ 2176234 w 6994525"/>
                  <a:gd name="connsiteY5575" fmla="*/ 4153250 h 7571036"/>
                  <a:gd name="connsiteX5576" fmla="*/ 2182149 w 6994525"/>
                  <a:gd name="connsiteY5576" fmla="*/ 5429281 h 7571036"/>
                  <a:gd name="connsiteX5577" fmla="*/ 2173521 w 6994525"/>
                  <a:gd name="connsiteY5577" fmla="*/ 5420650 h 7571036"/>
                  <a:gd name="connsiteX5578" fmla="*/ 2164890 w 6994525"/>
                  <a:gd name="connsiteY5578" fmla="*/ 5429281 h 7571036"/>
                  <a:gd name="connsiteX5579" fmla="*/ 2173521 w 6994525"/>
                  <a:gd name="connsiteY5579" fmla="*/ 5437908 h 7571036"/>
                  <a:gd name="connsiteX5580" fmla="*/ 2182149 w 6994525"/>
                  <a:gd name="connsiteY5580" fmla="*/ 5429281 h 7571036"/>
                  <a:gd name="connsiteX5581" fmla="*/ 2182151 w 6994525"/>
                  <a:gd name="connsiteY5581" fmla="*/ 5301799 h 7571036"/>
                  <a:gd name="connsiteX5582" fmla="*/ 2179930 w 6994525"/>
                  <a:gd name="connsiteY5582" fmla="*/ 5299580 h 7571036"/>
                  <a:gd name="connsiteX5583" fmla="*/ 2177712 w 6994525"/>
                  <a:gd name="connsiteY5583" fmla="*/ 5301799 h 7571036"/>
                  <a:gd name="connsiteX5584" fmla="*/ 2179930 w 6994525"/>
                  <a:gd name="connsiteY5584" fmla="*/ 5304017 h 7571036"/>
                  <a:gd name="connsiteX5585" fmla="*/ 2182151 w 6994525"/>
                  <a:gd name="connsiteY5585" fmla="*/ 5301799 h 7571036"/>
                  <a:gd name="connsiteX5586" fmla="*/ 2183630 w 6994525"/>
                  <a:gd name="connsiteY5586" fmla="*/ 2803057 h 7571036"/>
                  <a:gd name="connsiteX5587" fmla="*/ 2164396 w 6994525"/>
                  <a:gd name="connsiteY5587" fmla="*/ 2783825 h 7571036"/>
                  <a:gd name="connsiteX5588" fmla="*/ 2145165 w 6994525"/>
                  <a:gd name="connsiteY5588" fmla="*/ 2803057 h 7571036"/>
                  <a:gd name="connsiteX5589" fmla="*/ 2164396 w 6994525"/>
                  <a:gd name="connsiteY5589" fmla="*/ 2822291 h 7571036"/>
                  <a:gd name="connsiteX5590" fmla="*/ 2183630 w 6994525"/>
                  <a:gd name="connsiteY5590" fmla="*/ 2803057 h 7571036"/>
                  <a:gd name="connsiteX5591" fmla="*/ 2190781 w 6994525"/>
                  <a:gd name="connsiteY5591" fmla="*/ 3107329 h 7571036"/>
                  <a:gd name="connsiteX5592" fmla="*/ 2161440 w 6994525"/>
                  <a:gd name="connsiteY5592" fmla="*/ 3077985 h 7571036"/>
                  <a:gd name="connsiteX5593" fmla="*/ 2132097 w 6994525"/>
                  <a:gd name="connsiteY5593" fmla="*/ 3107329 h 7571036"/>
                  <a:gd name="connsiteX5594" fmla="*/ 2161440 w 6994525"/>
                  <a:gd name="connsiteY5594" fmla="*/ 3136672 h 7571036"/>
                  <a:gd name="connsiteX5595" fmla="*/ 2190781 w 6994525"/>
                  <a:gd name="connsiteY5595" fmla="*/ 3107329 h 7571036"/>
                  <a:gd name="connsiteX5596" fmla="*/ 2191029 w 6994525"/>
                  <a:gd name="connsiteY5596" fmla="*/ 3904207 h 7571036"/>
                  <a:gd name="connsiteX5597" fmla="*/ 2178453 w 6994525"/>
                  <a:gd name="connsiteY5597" fmla="*/ 3891631 h 7571036"/>
                  <a:gd name="connsiteX5598" fmla="*/ 2165877 w 6994525"/>
                  <a:gd name="connsiteY5598" fmla="*/ 3904207 h 7571036"/>
                  <a:gd name="connsiteX5599" fmla="*/ 2178453 w 6994525"/>
                  <a:gd name="connsiteY5599" fmla="*/ 3916784 h 7571036"/>
                  <a:gd name="connsiteX5600" fmla="*/ 2191029 w 6994525"/>
                  <a:gd name="connsiteY5600" fmla="*/ 3904207 h 7571036"/>
                  <a:gd name="connsiteX5601" fmla="*/ 2203111 w 6994525"/>
                  <a:gd name="connsiteY5601" fmla="*/ 2403377 h 7571036"/>
                  <a:gd name="connsiteX5602" fmla="*/ 2167604 w 6994525"/>
                  <a:gd name="connsiteY5602" fmla="*/ 2367872 h 7571036"/>
                  <a:gd name="connsiteX5603" fmla="*/ 2132097 w 6994525"/>
                  <a:gd name="connsiteY5603" fmla="*/ 2403377 h 7571036"/>
                  <a:gd name="connsiteX5604" fmla="*/ 2167604 w 6994525"/>
                  <a:gd name="connsiteY5604" fmla="*/ 2438885 h 7571036"/>
                  <a:gd name="connsiteX5605" fmla="*/ 2203111 w 6994525"/>
                  <a:gd name="connsiteY5605" fmla="*/ 2403377 h 7571036"/>
                  <a:gd name="connsiteX5606" fmla="*/ 2208288 w 6994525"/>
                  <a:gd name="connsiteY5606" fmla="*/ 1777659 h 7571036"/>
                  <a:gd name="connsiteX5607" fmla="*/ 2194728 w 6994525"/>
                  <a:gd name="connsiteY5607" fmla="*/ 1763839 h 7571036"/>
                  <a:gd name="connsiteX5608" fmla="*/ 2181166 w 6994525"/>
                  <a:gd name="connsiteY5608" fmla="*/ 1777659 h 7571036"/>
                  <a:gd name="connsiteX5609" fmla="*/ 2194728 w 6994525"/>
                  <a:gd name="connsiteY5609" fmla="*/ 1791209 h 7571036"/>
                  <a:gd name="connsiteX5610" fmla="*/ 2208288 w 6994525"/>
                  <a:gd name="connsiteY5610" fmla="*/ 1777659 h 7571036"/>
                  <a:gd name="connsiteX5611" fmla="*/ 2211246 w 6994525"/>
                  <a:gd name="connsiteY5611" fmla="*/ 5179499 h 7571036"/>
                  <a:gd name="connsiteX5612" fmla="*/ 2197192 w 6994525"/>
                  <a:gd name="connsiteY5612" fmla="*/ 5165196 h 7571036"/>
                  <a:gd name="connsiteX5613" fmla="*/ 2182890 w 6994525"/>
                  <a:gd name="connsiteY5613" fmla="*/ 5179499 h 7571036"/>
                  <a:gd name="connsiteX5614" fmla="*/ 2197192 w 6994525"/>
                  <a:gd name="connsiteY5614" fmla="*/ 5193799 h 7571036"/>
                  <a:gd name="connsiteX5615" fmla="*/ 2211246 w 6994525"/>
                  <a:gd name="connsiteY5615" fmla="*/ 5179499 h 7571036"/>
                  <a:gd name="connsiteX5616" fmla="*/ 2217905 w 6994525"/>
                  <a:gd name="connsiteY5616" fmla="*/ 4553195 h 7571036"/>
                  <a:gd name="connsiteX5617" fmla="*/ 2168839 w 6994525"/>
                  <a:gd name="connsiteY5617" fmla="*/ 4504125 h 7571036"/>
                  <a:gd name="connsiteX5618" fmla="*/ 2119769 w 6994525"/>
                  <a:gd name="connsiteY5618" fmla="*/ 4553195 h 7571036"/>
                  <a:gd name="connsiteX5619" fmla="*/ 2168839 w 6994525"/>
                  <a:gd name="connsiteY5619" fmla="*/ 4602264 h 7571036"/>
                  <a:gd name="connsiteX5620" fmla="*/ 2217905 w 6994525"/>
                  <a:gd name="connsiteY5620" fmla="*/ 4553195 h 7571036"/>
                  <a:gd name="connsiteX5621" fmla="*/ 2219385 w 6994525"/>
                  <a:gd name="connsiteY5621" fmla="*/ 763348 h 7571036"/>
                  <a:gd name="connsiteX5622" fmla="*/ 2199411 w 6994525"/>
                  <a:gd name="connsiteY5622" fmla="*/ 743384 h 7571036"/>
                  <a:gd name="connsiteX5623" fmla="*/ 2179439 w 6994525"/>
                  <a:gd name="connsiteY5623" fmla="*/ 763348 h 7571036"/>
                  <a:gd name="connsiteX5624" fmla="*/ 2199411 w 6994525"/>
                  <a:gd name="connsiteY5624" fmla="*/ 783326 h 7571036"/>
                  <a:gd name="connsiteX5625" fmla="*/ 2219385 w 6994525"/>
                  <a:gd name="connsiteY5625" fmla="*/ 763348 h 7571036"/>
                  <a:gd name="connsiteX5626" fmla="*/ 2221356 w 6994525"/>
                  <a:gd name="connsiteY5626" fmla="*/ 882918 h 7571036"/>
                  <a:gd name="connsiteX5627" fmla="*/ 2201878 w 6994525"/>
                  <a:gd name="connsiteY5627" fmla="*/ 863441 h 7571036"/>
                  <a:gd name="connsiteX5628" fmla="*/ 2182399 w 6994525"/>
                  <a:gd name="connsiteY5628" fmla="*/ 882918 h 7571036"/>
                  <a:gd name="connsiteX5629" fmla="*/ 2201878 w 6994525"/>
                  <a:gd name="connsiteY5629" fmla="*/ 902398 h 7571036"/>
                  <a:gd name="connsiteX5630" fmla="*/ 2221356 w 6994525"/>
                  <a:gd name="connsiteY5630" fmla="*/ 882918 h 7571036"/>
                  <a:gd name="connsiteX5631" fmla="*/ 2224068 w 6994525"/>
                  <a:gd name="connsiteY5631" fmla="*/ 1003230 h 7571036"/>
                  <a:gd name="connsiteX5632" fmla="*/ 2204834 w 6994525"/>
                  <a:gd name="connsiteY5632" fmla="*/ 983999 h 7571036"/>
                  <a:gd name="connsiteX5633" fmla="*/ 2185603 w 6994525"/>
                  <a:gd name="connsiteY5633" fmla="*/ 1003230 h 7571036"/>
                  <a:gd name="connsiteX5634" fmla="*/ 2204834 w 6994525"/>
                  <a:gd name="connsiteY5634" fmla="*/ 1022469 h 7571036"/>
                  <a:gd name="connsiteX5635" fmla="*/ 2224068 w 6994525"/>
                  <a:gd name="connsiteY5635" fmla="*/ 1003230 h 7571036"/>
                  <a:gd name="connsiteX5636" fmla="*/ 2225795 w 6994525"/>
                  <a:gd name="connsiteY5636" fmla="*/ 1124286 h 7571036"/>
                  <a:gd name="connsiteX5637" fmla="*/ 2208042 w 6994525"/>
                  <a:gd name="connsiteY5637" fmla="*/ 1106529 h 7571036"/>
                  <a:gd name="connsiteX5638" fmla="*/ 2190534 w 6994525"/>
                  <a:gd name="connsiteY5638" fmla="*/ 1124286 h 7571036"/>
                  <a:gd name="connsiteX5639" fmla="*/ 2208042 w 6994525"/>
                  <a:gd name="connsiteY5639" fmla="*/ 1142038 h 7571036"/>
                  <a:gd name="connsiteX5640" fmla="*/ 2225795 w 6994525"/>
                  <a:gd name="connsiteY5640" fmla="*/ 1124286 h 7571036"/>
                  <a:gd name="connsiteX5641" fmla="*/ 2228014 w 6994525"/>
                  <a:gd name="connsiteY5641" fmla="*/ 4012209 h 7571036"/>
                  <a:gd name="connsiteX5642" fmla="*/ 2218891 w 6994525"/>
                  <a:gd name="connsiteY5642" fmla="*/ 4003086 h 7571036"/>
                  <a:gd name="connsiteX5643" fmla="*/ 2209768 w 6994525"/>
                  <a:gd name="connsiteY5643" fmla="*/ 4012209 h 7571036"/>
                  <a:gd name="connsiteX5644" fmla="*/ 2218891 w 6994525"/>
                  <a:gd name="connsiteY5644" fmla="*/ 4021580 h 7571036"/>
                  <a:gd name="connsiteX5645" fmla="*/ 2228014 w 6994525"/>
                  <a:gd name="connsiteY5645" fmla="*/ 4012209 h 7571036"/>
                  <a:gd name="connsiteX5646" fmla="*/ 2228506 w 6994525"/>
                  <a:gd name="connsiteY5646" fmla="*/ 1247063 h 7571036"/>
                  <a:gd name="connsiteX5647" fmla="*/ 2211001 w 6994525"/>
                  <a:gd name="connsiteY5647" fmla="*/ 1229556 h 7571036"/>
                  <a:gd name="connsiteX5648" fmla="*/ 2193493 w 6994525"/>
                  <a:gd name="connsiteY5648" fmla="*/ 1247063 h 7571036"/>
                  <a:gd name="connsiteX5649" fmla="*/ 2211001 w 6994525"/>
                  <a:gd name="connsiteY5649" fmla="*/ 1264557 h 7571036"/>
                  <a:gd name="connsiteX5650" fmla="*/ 2228506 w 6994525"/>
                  <a:gd name="connsiteY5650" fmla="*/ 1247063 h 7571036"/>
                  <a:gd name="connsiteX5651" fmla="*/ 2228754 w 6994525"/>
                  <a:gd name="connsiteY5651" fmla="*/ 2997601 h 7571036"/>
                  <a:gd name="connsiteX5652" fmla="*/ 2197193 w 6994525"/>
                  <a:gd name="connsiteY5652" fmla="*/ 2966039 h 7571036"/>
                  <a:gd name="connsiteX5653" fmla="*/ 2165631 w 6994525"/>
                  <a:gd name="connsiteY5653" fmla="*/ 2997601 h 7571036"/>
                  <a:gd name="connsiteX5654" fmla="*/ 2197193 w 6994525"/>
                  <a:gd name="connsiteY5654" fmla="*/ 3029163 h 7571036"/>
                  <a:gd name="connsiteX5655" fmla="*/ 2228754 w 6994525"/>
                  <a:gd name="connsiteY5655" fmla="*/ 2997601 h 7571036"/>
                  <a:gd name="connsiteX5656" fmla="*/ 2229989 w 6994525"/>
                  <a:gd name="connsiteY5656" fmla="*/ 2041407 h 7571036"/>
                  <a:gd name="connsiteX5657" fmla="*/ 2214946 w 6994525"/>
                  <a:gd name="connsiteY5657" fmla="*/ 2026365 h 7571036"/>
                  <a:gd name="connsiteX5658" fmla="*/ 2199906 w 6994525"/>
                  <a:gd name="connsiteY5658" fmla="*/ 2041407 h 7571036"/>
                  <a:gd name="connsiteX5659" fmla="*/ 2214946 w 6994525"/>
                  <a:gd name="connsiteY5659" fmla="*/ 2056453 h 7571036"/>
                  <a:gd name="connsiteX5660" fmla="*/ 2229989 w 6994525"/>
                  <a:gd name="connsiteY5660" fmla="*/ 2041407 h 7571036"/>
                  <a:gd name="connsiteX5661" fmla="*/ 2231218 w 6994525"/>
                  <a:gd name="connsiteY5661" fmla="*/ 1370577 h 7571036"/>
                  <a:gd name="connsiteX5662" fmla="*/ 2214946 w 6994525"/>
                  <a:gd name="connsiteY5662" fmla="*/ 1354302 h 7571036"/>
                  <a:gd name="connsiteX5663" fmla="*/ 2198671 w 6994525"/>
                  <a:gd name="connsiteY5663" fmla="*/ 1370577 h 7571036"/>
                  <a:gd name="connsiteX5664" fmla="*/ 2214946 w 6994525"/>
                  <a:gd name="connsiteY5664" fmla="*/ 1386852 h 7571036"/>
                  <a:gd name="connsiteX5665" fmla="*/ 2231218 w 6994525"/>
                  <a:gd name="connsiteY5665" fmla="*/ 1370577 h 7571036"/>
                  <a:gd name="connsiteX5666" fmla="*/ 2231220 w 6994525"/>
                  <a:gd name="connsiteY5666" fmla="*/ 3506976 h 7571036"/>
                  <a:gd name="connsiteX5667" fmla="*/ 2219877 w 6994525"/>
                  <a:gd name="connsiteY5667" fmla="*/ 3495632 h 7571036"/>
                  <a:gd name="connsiteX5668" fmla="*/ 2208536 w 6994525"/>
                  <a:gd name="connsiteY5668" fmla="*/ 3506976 h 7571036"/>
                  <a:gd name="connsiteX5669" fmla="*/ 2219877 w 6994525"/>
                  <a:gd name="connsiteY5669" fmla="*/ 3518317 h 7571036"/>
                  <a:gd name="connsiteX5670" fmla="*/ 2231220 w 6994525"/>
                  <a:gd name="connsiteY5670" fmla="*/ 3506976 h 7571036"/>
                  <a:gd name="connsiteX5671" fmla="*/ 2231959 w 6994525"/>
                  <a:gd name="connsiteY5671" fmla="*/ 2550076 h 7571036"/>
                  <a:gd name="connsiteX5672" fmla="*/ 2192015 w 6994525"/>
                  <a:gd name="connsiteY5672" fmla="*/ 2510132 h 7571036"/>
                  <a:gd name="connsiteX5673" fmla="*/ 2152069 w 6994525"/>
                  <a:gd name="connsiteY5673" fmla="*/ 2550076 h 7571036"/>
                  <a:gd name="connsiteX5674" fmla="*/ 2192015 w 6994525"/>
                  <a:gd name="connsiteY5674" fmla="*/ 2590023 h 7571036"/>
                  <a:gd name="connsiteX5675" fmla="*/ 2231959 w 6994525"/>
                  <a:gd name="connsiteY5675" fmla="*/ 2550076 h 7571036"/>
                  <a:gd name="connsiteX5676" fmla="*/ 2233932 w 6994525"/>
                  <a:gd name="connsiteY5676" fmla="*/ 7369584 h 7571036"/>
                  <a:gd name="connsiteX5677" fmla="*/ 2231959 w 6994525"/>
                  <a:gd name="connsiteY5677" fmla="*/ 7367611 h 7571036"/>
                  <a:gd name="connsiteX5678" fmla="*/ 2229987 w 6994525"/>
                  <a:gd name="connsiteY5678" fmla="*/ 7369584 h 7571036"/>
                  <a:gd name="connsiteX5679" fmla="*/ 2231959 w 6994525"/>
                  <a:gd name="connsiteY5679" fmla="*/ 7371557 h 7571036"/>
                  <a:gd name="connsiteX5680" fmla="*/ 2233932 w 6994525"/>
                  <a:gd name="connsiteY5680" fmla="*/ 7369584 h 7571036"/>
                  <a:gd name="connsiteX5681" fmla="*/ 2234427 w 6994525"/>
                  <a:gd name="connsiteY5681" fmla="*/ 7255665 h 7571036"/>
                  <a:gd name="connsiteX5682" fmla="*/ 2232454 w 6994525"/>
                  <a:gd name="connsiteY5682" fmla="*/ 7253692 h 7571036"/>
                  <a:gd name="connsiteX5683" fmla="*/ 2230481 w 6994525"/>
                  <a:gd name="connsiteY5683" fmla="*/ 7255665 h 7571036"/>
                  <a:gd name="connsiteX5684" fmla="*/ 2232454 w 6994525"/>
                  <a:gd name="connsiteY5684" fmla="*/ 7257637 h 7571036"/>
                  <a:gd name="connsiteX5685" fmla="*/ 2234427 w 6994525"/>
                  <a:gd name="connsiteY5685" fmla="*/ 7255665 h 7571036"/>
                  <a:gd name="connsiteX5686" fmla="*/ 2234669 w 6994525"/>
                  <a:gd name="connsiteY5686" fmla="*/ 1908304 h 7571036"/>
                  <a:gd name="connsiteX5687" fmla="*/ 2204343 w 6994525"/>
                  <a:gd name="connsiteY5687" fmla="*/ 1877988 h 7571036"/>
                  <a:gd name="connsiteX5688" fmla="*/ 2174013 w 6994525"/>
                  <a:gd name="connsiteY5688" fmla="*/ 1908304 h 7571036"/>
                  <a:gd name="connsiteX5689" fmla="*/ 2204343 w 6994525"/>
                  <a:gd name="connsiteY5689" fmla="*/ 1938619 h 7571036"/>
                  <a:gd name="connsiteX5690" fmla="*/ 2234669 w 6994525"/>
                  <a:gd name="connsiteY5690" fmla="*/ 1908304 h 7571036"/>
                  <a:gd name="connsiteX5691" fmla="*/ 2234673 w 6994525"/>
                  <a:gd name="connsiteY5691" fmla="*/ 3391381 h 7571036"/>
                  <a:gd name="connsiteX5692" fmla="*/ 2222345 w 6994525"/>
                  <a:gd name="connsiteY5692" fmla="*/ 3379047 h 7571036"/>
                  <a:gd name="connsiteX5693" fmla="*/ 2210015 w 6994525"/>
                  <a:gd name="connsiteY5693" fmla="*/ 3391381 h 7571036"/>
                  <a:gd name="connsiteX5694" fmla="*/ 2222345 w 6994525"/>
                  <a:gd name="connsiteY5694" fmla="*/ 3403707 h 7571036"/>
                  <a:gd name="connsiteX5695" fmla="*/ 2234673 w 6994525"/>
                  <a:gd name="connsiteY5695" fmla="*/ 3391381 h 7571036"/>
                  <a:gd name="connsiteX5696" fmla="*/ 2235164 w 6994525"/>
                  <a:gd name="connsiteY5696" fmla="*/ 7141256 h 7571036"/>
                  <a:gd name="connsiteX5697" fmla="*/ 2232699 w 6994525"/>
                  <a:gd name="connsiteY5697" fmla="*/ 7138789 h 7571036"/>
                  <a:gd name="connsiteX5698" fmla="*/ 2230233 w 6994525"/>
                  <a:gd name="connsiteY5698" fmla="*/ 7141256 h 7571036"/>
                  <a:gd name="connsiteX5699" fmla="*/ 2232699 w 6994525"/>
                  <a:gd name="connsiteY5699" fmla="*/ 7143720 h 7571036"/>
                  <a:gd name="connsiteX5700" fmla="*/ 2235164 w 6994525"/>
                  <a:gd name="connsiteY5700" fmla="*/ 7141256 h 7571036"/>
                  <a:gd name="connsiteX5701" fmla="*/ 2236152 w 6994525"/>
                  <a:gd name="connsiteY5701" fmla="*/ 1495333 h 7571036"/>
                  <a:gd name="connsiteX5702" fmla="*/ 2219877 w 6994525"/>
                  <a:gd name="connsiteY5702" fmla="*/ 1479052 h 7571036"/>
                  <a:gd name="connsiteX5703" fmla="*/ 2203605 w 6994525"/>
                  <a:gd name="connsiteY5703" fmla="*/ 1495333 h 7571036"/>
                  <a:gd name="connsiteX5704" fmla="*/ 2219877 w 6994525"/>
                  <a:gd name="connsiteY5704" fmla="*/ 1511603 h 7571036"/>
                  <a:gd name="connsiteX5705" fmla="*/ 2236152 w 6994525"/>
                  <a:gd name="connsiteY5705" fmla="*/ 1495333 h 7571036"/>
                  <a:gd name="connsiteX5706" fmla="*/ 2237136 w 6994525"/>
                  <a:gd name="connsiteY5706" fmla="*/ 4406481 h 7571036"/>
                  <a:gd name="connsiteX5707" fmla="*/ 2192753 w 6994525"/>
                  <a:gd name="connsiteY5707" fmla="*/ 4361852 h 7571036"/>
                  <a:gd name="connsiteX5708" fmla="*/ 2148124 w 6994525"/>
                  <a:gd name="connsiteY5708" fmla="*/ 4406481 h 7571036"/>
                  <a:gd name="connsiteX5709" fmla="*/ 2192753 w 6994525"/>
                  <a:gd name="connsiteY5709" fmla="*/ 4450865 h 7571036"/>
                  <a:gd name="connsiteX5710" fmla="*/ 2237136 w 6994525"/>
                  <a:gd name="connsiteY5710" fmla="*/ 4406481 h 7571036"/>
                  <a:gd name="connsiteX5711" fmla="*/ 2237139 w 6994525"/>
                  <a:gd name="connsiteY5711" fmla="*/ 5048565 h 7571036"/>
                  <a:gd name="connsiteX5712" fmla="*/ 2206315 w 6994525"/>
                  <a:gd name="connsiteY5712" fmla="*/ 5017743 h 7571036"/>
                  <a:gd name="connsiteX5713" fmla="*/ 2175494 w 6994525"/>
                  <a:gd name="connsiteY5713" fmla="*/ 5048565 h 7571036"/>
                  <a:gd name="connsiteX5714" fmla="*/ 2206315 w 6994525"/>
                  <a:gd name="connsiteY5714" fmla="*/ 5079389 h 7571036"/>
                  <a:gd name="connsiteX5715" fmla="*/ 2237139 w 6994525"/>
                  <a:gd name="connsiteY5715" fmla="*/ 5048565 h 7571036"/>
                  <a:gd name="connsiteX5716" fmla="*/ 2239604 w 6994525"/>
                  <a:gd name="connsiteY5716" fmla="*/ 3622620 h 7571036"/>
                  <a:gd name="connsiteX5717" fmla="*/ 2227768 w 6994525"/>
                  <a:gd name="connsiteY5717" fmla="*/ 3610783 h 7571036"/>
                  <a:gd name="connsiteX5718" fmla="*/ 2215933 w 6994525"/>
                  <a:gd name="connsiteY5718" fmla="*/ 3622620 h 7571036"/>
                  <a:gd name="connsiteX5719" fmla="*/ 2227768 w 6994525"/>
                  <a:gd name="connsiteY5719" fmla="*/ 3634210 h 7571036"/>
                  <a:gd name="connsiteX5720" fmla="*/ 2239604 w 6994525"/>
                  <a:gd name="connsiteY5720" fmla="*/ 3622620 h 7571036"/>
                  <a:gd name="connsiteX5721" fmla="*/ 2240344 w 6994525"/>
                  <a:gd name="connsiteY5721" fmla="*/ 1621806 h 7571036"/>
                  <a:gd name="connsiteX5722" fmla="*/ 2225055 w 6994525"/>
                  <a:gd name="connsiteY5722" fmla="*/ 1606521 h 7571036"/>
                  <a:gd name="connsiteX5723" fmla="*/ 2209768 w 6994525"/>
                  <a:gd name="connsiteY5723" fmla="*/ 1621806 h 7571036"/>
                  <a:gd name="connsiteX5724" fmla="*/ 2225055 w 6994525"/>
                  <a:gd name="connsiteY5724" fmla="*/ 1637099 h 7571036"/>
                  <a:gd name="connsiteX5725" fmla="*/ 2240344 w 6994525"/>
                  <a:gd name="connsiteY5725" fmla="*/ 1621806 h 7571036"/>
                  <a:gd name="connsiteX5726" fmla="*/ 2240837 w 6994525"/>
                  <a:gd name="connsiteY5726" fmla="*/ 7028818 h 7571036"/>
                  <a:gd name="connsiteX5727" fmla="*/ 2239112 w 6994525"/>
                  <a:gd name="connsiteY5727" fmla="*/ 7027090 h 7571036"/>
                  <a:gd name="connsiteX5728" fmla="*/ 2237386 w 6994525"/>
                  <a:gd name="connsiteY5728" fmla="*/ 7028818 h 7571036"/>
                  <a:gd name="connsiteX5729" fmla="*/ 2239112 w 6994525"/>
                  <a:gd name="connsiteY5729" fmla="*/ 7030544 h 7571036"/>
                  <a:gd name="connsiteX5730" fmla="*/ 2240837 w 6994525"/>
                  <a:gd name="connsiteY5730" fmla="*/ 7028818 h 7571036"/>
                  <a:gd name="connsiteX5731" fmla="*/ 2242811 w 6994525"/>
                  <a:gd name="connsiteY5731" fmla="*/ 2177032 h 7571036"/>
                  <a:gd name="connsiteX5732" fmla="*/ 2228263 w 6994525"/>
                  <a:gd name="connsiteY5732" fmla="*/ 2162478 h 7571036"/>
                  <a:gd name="connsiteX5733" fmla="*/ 2213714 w 6994525"/>
                  <a:gd name="connsiteY5733" fmla="*/ 2177032 h 7571036"/>
                  <a:gd name="connsiteX5734" fmla="*/ 2228263 w 6994525"/>
                  <a:gd name="connsiteY5734" fmla="*/ 2191579 h 7571036"/>
                  <a:gd name="connsiteX5735" fmla="*/ 2242811 w 6994525"/>
                  <a:gd name="connsiteY5735" fmla="*/ 2177032 h 7571036"/>
                  <a:gd name="connsiteX5736" fmla="*/ 2242811 w 6994525"/>
                  <a:gd name="connsiteY5736" fmla="*/ 6798514 h 7571036"/>
                  <a:gd name="connsiteX5737" fmla="*/ 2240590 w 6994525"/>
                  <a:gd name="connsiteY5737" fmla="*/ 6796296 h 7571036"/>
                  <a:gd name="connsiteX5738" fmla="*/ 2238371 w 6994525"/>
                  <a:gd name="connsiteY5738" fmla="*/ 6798514 h 7571036"/>
                  <a:gd name="connsiteX5739" fmla="*/ 2240590 w 6994525"/>
                  <a:gd name="connsiteY5739" fmla="*/ 6800732 h 7571036"/>
                  <a:gd name="connsiteX5740" fmla="*/ 2242811 w 6994525"/>
                  <a:gd name="connsiteY5740" fmla="*/ 6798514 h 7571036"/>
                  <a:gd name="connsiteX5741" fmla="*/ 2243057 w 6994525"/>
                  <a:gd name="connsiteY5741" fmla="*/ 6913664 h 7571036"/>
                  <a:gd name="connsiteX5742" fmla="*/ 2239849 w 6994525"/>
                  <a:gd name="connsiteY5742" fmla="*/ 6910459 h 7571036"/>
                  <a:gd name="connsiteX5743" fmla="*/ 2236645 w 6994525"/>
                  <a:gd name="connsiteY5743" fmla="*/ 6913664 h 7571036"/>
                  <a:gd name="connsiteX5744" fmla="*/ 2239849 w 6994525"/>
                  <a:gd name="connsiteY5744" fmla="*/ 6916872 h 7571036"/>
                  <a:gd name="connsiteX5745" fmla="*/ 2243057 w 6994525"/>
                  <a:gd name="connsiteY5745" fmla="*/ 6913664 h 7571036"/>
                  <a:gd name="connsiteX5746" fmla="*/ 2244040 w 6994525"/>
                  <a:gd name="connsiteY5746" fmla="*/ 2701223 h 7571036"/>
                  <a:gd name="connsiteX5747" fmla="*/ 2221604 w 6994525"/>
                  <a:gd name="connsiteY5747" fmla="*/ 2678783 h 7571036"/>
                  <a:gd name="connsiteX5748" fmla="*/ 2199165 w 6994525"/>
                  <a:gd name="connsiteY5748" fmla="*/ 2701223 h 7571036"/>
                  <a:gd name="connsiteX5749" fmla="*/ 2221604 w 6994525"/>
                  <a:gd name="connsiteY5749" fmla="*/ 2723663 h 7571036"/>
                  <a:gd name="connsiteX5750" fmla="*/ 2244040 w 6994525"/>
                  <a:gd name="connsiteY5750" fmla="*/ 2701223 h 7571036"/>
                  <a:gd name="connsiteX5751" fmla="*/ 2246507 w 6994525"/>
                  <a:gd name="connsiteY5751" fmla="*/ 4255085 h 7571036"/>
                  <a:gd name="connsiteX5752" fmla="*/ 2222342 w 6994525"/>
                  <a:gd name="connsiteY5752" fmla="*/ 4230922 h 7571036"/>
                  <a:gd name="connsiteX5753" fmla="*/ 2198179 w 6994525"/>
                  <a:gd name="connsiteY5753" fmla="*/ 4255085 h 7571036"/>
                  <a:gd name="connsiteX5754" fmla="*/ 2222342 w 6994525"/>
                  <a:gd name="connsiteY5754" fmla="*/ 4279252 h 7571036"/>
                  <a:gd name="connsiteX5755" fmla="*/ 2246507 w 6994525"/>
                  <a:gd name="connsiteY5755" fmla="*/ 4255085 h 7571036"/>
                  <a:gd name="connsiteX5756" fmla="*/ 2246754 w 6994525"/>
                  <a:gd name="connsiteY5756" fmla="*/ 4915414 h 7571036"/>
                  <a:gd name="connsiteX5757" fmla="*/ 2217164 w 6994525"/>
                  <a:gd name="connsiteY5757" fmla="*/ 4885579 h 7571036"/>
                  <a:gd name="connsiteX5758" fmla="*/ 2187575 w 6994525"/>
                  <a:gd name="connsiteY5758" fmla="*/ 4915414 h 7571036"/>
                  <a:gd name="connsiteX5759" fmla="*/ 2217164 w 6994525"/>
                  <a:gd name="connsiteY5759" fmla="*/ 4945253 h 7571036"/>
                  <a:gd name="connsiteX5760" fmla="*/ 2246754 w 6994525"/>
                  <a:gd name="connsiteY5760" fmla="*/ 4915414 h 7571036"/>
                  <a:gd name="connsiteX5761" fmla="*/ 2248480 w 6994525"/>
                  <a:gd name="connsiteY5761" fmla="*/ 6331991 h 7571036"/>
                  <a:gd name="connsiteX5762" fmla="*/ 2245273 w 6994525"/>
                  <a:gd name="connsiteY5762" fmla="*/ 6328540 h 7571036"/>
                  <a:gd name="connsiteX5763" fmla="*/ 2241822 w 6994525"/>
                  <a:gd name="connsiteY5763" fmla="*/ 6331991 h 7571036"/>
                  <a:gd name="connsiteX5764" fmla="*/ 2245273 w 6994525"/>
                  <a:gd name="connsiteY5764" fmla="*/ 6335444 h 7571036"/>
                  <a:gd name="connsiteX5765" fmla="*/ 2248480 w 6994525"/>
                  <a:gd name="connsiteY5765" fmla="*/ 6331991 h 7571036"/>
                  <a:gd name="connsiteX5766" fmla="*/ 2250208 w 6994525"/>
                  <a:gd name="connsiteY5766" fmla="*/ 3276474 h 7571036"/>
                  <a:gd name="connsiteX5767" fmla="*/ 2235412 w 6994525"/>
                  <a:gd name="connsiteY5767" fmla="*/ 3261680 h 7571036"/>
                  <a:gd name="connsiteX5768" fmla="*/ 2220618 w 6994525"/>
                  <a:gd name="connsiteY5768" fmla="*/ 3276474 h 7571036"/>
                  <a:gd name="connsiteX5769" fmla="*/ 2235412 w 6994525"/>
                  <a:gd name="connsiteY5769" fmla="*/ 3291268 h 7571036"/>
                  <a:gd name="connsiteX5770" fmla="*/ 2250208 w 6994525"/>
                  <a:gd name="connsiteY5770" fmla="*/ 3276474 h 7571036"/>
                  <a:gd name="connsiteX5771" fmla="*/ 2250453 w 6994525"/>
                  <a:gd name="connsiteY5771" fmla="*/ 4779554 h 7571036"/>
                  <a:gd name="connsiteX5772" fmla="*/ 2229989 w 6994525"/>
                  <a:gd name="connsiteY5772" fmla="*/ 4759086 h 7571036"/>
                  <a:gd name="connsiteX5773" fmla="*/ 2209523 w 6994525"/>
                  <a:gd name="connsiteY5773" fmla="*/ 4779554 h 7571036"/>
                  <a:gd name="connsiteX5774" fmla="*/ 2229989 w 6994525"/>
                  <a:gd name="connsiteY5774" fmla="*/ 4800017 h 7571036"/>
                  <a:gd name="connsiteX5775" fmla="*/ 2250453 w 6994525"/>
                  <a:gd name="connsiteY5775" fmla="*/ 4779554 h 7571036"/>
                  <a:gd name="connsiteX5776" fmla="*/ 2253412 w 6994525"/>
                  <a:gd name="connsiteY5776" fmla="*/ 6566239 h 7571036"/>
                  <a:gd name="connsiteX5777" fmla="*/ 2242563 w 6994525"/>
                  <a:gd name="connsiteY5777" fmla="*/ 6555388 h 7571036"/>
                  <a:gd name="connsiteX5778" fmla="*/ 2231714 w 6994525"/>
                  <a:gd name="connsiteY5778" fmla="*/ 6566239 h 7571036"/>
                  <a:gd name="connsiteX5779" fmla="*/ 2242563 w 6994525"/>
                  <a:gd name="connsiteY5779" fmla="*/ 6577088 h 7571036"/>
                  <a:gd name="connsiteX5780" fmla="*/ 2253412 w 6994525"/>
                  <a:gd name="connsiteY5780" fmla="*/ 6566239 h 7571036"/>
                  <a:gd name="connsiteX5781" fmla="*/ 2255138 w 6994525"/>
                  <a:gd name="connsiteY5781" fmla="*/ 6449360 h 7571036"/>
                  <a:gd name="connsiteX5782" fmla="*/ 2243795 w 6994525"/>
                  <a:gd name="connsiteY5782" fmla="*/ 6438265 h 7571036"/>
                  <a:gd name="connsiteX5783" fmla="*/ 2232699 w 6994525"/>
                  <a:gd name="connsiteY5783" fmla="*/ 6449360 h 7571036"/>
                  <a:gd name="connsiteX5784" fmla="*/ 2243795 w 6994525"/>
                  <a:gd name="connsiteY5784" fmla="*/ 6460705 h 7571036"/>
                  <a:gd name="connsiteX5785" fmla="*/ 2255138 w 6994525"/>
                  <a:gd name="connsiteY5785" fmla="*/ 6449360 h 7571036"/>
                  <a:gd name="connsiteX5786" fmla="*/ 2255878 w 6994525"/>
                  <a:gd name="connsiteY5786" fmla="*/ 6682376 h 7571036"/>
                  <a:gd name="connsiteX5787" fmla="*/ 2241576 w 6994525"/>
                  <a:gd name="connsiteY5787" fmla="*/ 6668076 h 7571036"/>
                  <a:gd name="connsiteX5788" fmla="*/ 2227276 w 6994525"/>
                  <a:gd name="connsiteY5788" fmla="*/ 6682376 h 7571036"/>
                  <a:gd name="connsiteX5789" fmla="*/ 2241576 w 6994525"/>
                  <a:gd name="connsiteY5789" fmla="*/ 6696679 h 7571036"/>
                  <a:gd name="connsiteX5790" fmla="*/ 2255878 w 6994525"/>
                  <a:gd name="connsiteY5790" fmla="*/ 6682376 h 7571036"/>
                  <a:gd name="connsiteX5791" fmla="*/ 2258096 w 6994525"/>
                  <a:gd name="connsiteY5791" fmla="*/ 42964 h 7571036"/>
                  <a:gd name="connsiteX5792" fmla="*/ 2236891 w 6994525"/>
                  <a:gd name="connsiteY5792" fmla="*/ 21512 h 7571036"/>
                  <a:gd name="connsiteX5793" fmla="*/ 2215438 w 6994525"/>
                  <a:gd name="connsiteY5793" fmla="*/ 42964 h 7571036"/>
                  <a:gd name="connsiteX5794" fmla="*/ 2236891 w 6994525"/>
                  <a:gd name="connsiteY5794" fmla="*/ 64167 h 7571036"/>
                  <a:gd name="connsiteX5795" fmla="*/ 2258096 w 6994525"/>
                  <a:gd name="connsiteY5795" fmla="*/ 42964 h 7571036"/>
                  <a:gd name="connsiteX5796" fmla="*/ 2258343 w 6994525"/>
                  <a:gd name="connsiteY5796" fmla="*/ 3736535 h 7571036"/>
                  <a:gd name="connsiteX5797" fmla="*/ 2246016 w 6994525"/>
                  <a:gd name="connsiteY5797" fmla="*/ 3724455 h 7571036"/>
                  <a:gd name="connsiteX5798" fmla="*/ 2233686 w 6994525"/>
                  <a:gd name="connsiteY5798" fmla="*/ 3736535 h 7571036"/>
                  <a:gd name="connsiteX5799" fmla="*/ 2246016 w 6994525"/>
                  <a:gd name="connsiteY5799" fmla="*/ 3748866 h 7571036"/>
                  <a:gd name="connsiteX5800" fmla="*/ 2258343 w 6994525"/>
                  <a:gd name="connsiteY5800" fmla="*/ 3736535 h 7571036"/>
                  <a:gd name="connsiteX5801" fmla="*/ 2258837 w 6994525"/>
                  <a:gd name="connsiteY5801" fmla="*/ 158084 h 7571036"/>
                  <a:gd name="connsiteX5802" fmla="*/ 2237876 w 6994525"/>
                  <a:gd name="connsiteY5802" fmla="*/ 137127 h 7571036"/>
                  <a:gd name="connsiteX5803" fmla="*/ 2216918 w 6994525"/>
                  <a:gd name="connsiteY5803" fmla="*/ 158084 h 7571036"/>
                  <a:gd name="connsiteX5804" fmla="*/ 2237876 w 6994525"/>
                  <a:gd name="connsiteY5804" fmla="*/ 179041 h 7571036"/>
                  <a:gd name="connsiteX5805" fmla="*/ 2258837 w 6994525"/>
                  <a:gd name="connsiteY5805" fmla="*/ 158084 h 7571036"/>
                  <a:gd name="connsiteX5806" fmla="*/ 2259823 w 6994525"/>
                  <a:gd name="connsiteY5806" fmla="*/ 273704 h 7571036"/>
                  <a:gd name="connsiteX5807" fmla="*/ 2238863 w 6994525"/>
                  <a:gd name="connsiteY5807" fmla="*/ 252746 h 7571036"/>
                  <a:gd name="connsiteX5808" fmla="*/ 2217905 w 6994525"/>
                  <a:gd name="connsiteY5808" fmla="*/ 273704 h 7571036"/>
                  <a:gd name="connsiteX5809" fmla="*/ 2238863 w 6994525"/>
                  <a:gd name="connsiteY5809" fmla="*/ 294663 h 7571036"/>
                  <a:gd name="connsiteX5810" fmla="*/ 2259823 w 6994525"/>
                  <a:gd name="connsiteY5810" fmla="*/ 273704 h 7571036"/>
                  <a:gd name="connsiteX5811" fmla="*/ 2261056 w 6994525"/>
                  <a:gd name="connsiteY5811" fmla="*/ 389817 h 7571036"/>
                  <a:gd name="connsiteX5812" fmla="*/ 2240344 w 6994525"/>
                  <a:gd name="connsiteY5812" fmla="*/ 369105 h 7571036"/>
                  <a:gd name="connsiteX5813" fmla="*/ 2219632 w 6994525"/>
                  <a:gd name="connsiteY5813" fmla="*/ 389817 h 7571036"/>
                  <a:gd name="connsiteX5814" fmla="*/ 2240344 w 6994525"/>
                  <a:gd name="connsiteY5814" fmla="*/ 410774 h 7571036"/>
                  <a:gd name="connsiteX5815" fmla="*/ 2261056 w 6994525"/>
                  <a:gd name="connsiteY5815" fmla="*/ 389817 h 7571036"/>
                  <a:gd name="connsiteX5816" fmla="*/ 2261056 w 6994525"/>
                  <a:gd name="connsiteY5816" fmla="*/ 5979389 h 7571036"/>
                  <a:gd name="connsiteX5817" fmla="*/ 2258343 w 6994525"/>
                  <a:gd name="connsiteY5817" fmla="*/ 5976676 h 7571036"/>
                  <a:gd name="connsiteX5818" fmla="*/ 2255630 w 6994525"/>
                  <a:gd name="connsiteY5818" fmla="*/ 5979389 h 7571036"/>
                  <a:gd name="connsiteX5819" fmla="*/ 2258343 w 6994525"/>
                  <a:gd name="connsiteY5819" fmla="*/ 5982102 h 7571036"/>
                  <a:gd name="connsiteX5820" fmla="*/ 2261056 w 6994525"/>
                  <a:gd name="connsiteY5820" fmla="*/ 5979389 h 7571036"/>
                  <a:gd name="connsiteX5821" fmla="*/ 2261302 w 6994525"/>
                  <a:gd name="connsiteY5821" fmla="*/ 506914 h 7571036"/>
                  <a:gd name="connsiteX5822" fmla="*/ 2241328 w 6994525"/>
                  <a:gd name="connsiteY5822" fmla="*/ 486943 h 7571036"/>
                  <a:gd name="connsiteX5823" fmla="*/ 2221356 w 6994525"/>
                  <a:gd name="connsiteY5823" fmla="*/ 506914 h 7571036"/>
                  <a:gd name="connsiteX5824" fmla="*/ 2241328 w 6994525"/>
                  <a:gd name="connsiteY5824" fmla="*/ 526885 h 7571036"/>
                  <a:gd name="connsiteX5825" fmla="*/ 2261302 w 6994525"/>
                  <a:gd name="connsiteY5825" fmla="*/ 506914 h 7571036"/>
                  <a:gd name="connsiteX5826" fmla="*/ 2262288 w 6994525"/>
                  <a:gd name="connsiteY5826" fmla="*/ 624510 h 7571036"/>
                  <a:gd name="connsiteX5827" fmla="*/ 2242808 w 6994525"/>
                  <a:gd name="connsiteY5827" fmla="*/ 605030 h 7571036"/>
                  <a:gd name="connsiteX5828" fmla="*/ 2223328 w 6994525"/>
                  <a:gd name="connsiteY5828" fmla="*/ 624510 h 7571036"/>
                  <a:gd name="connsiteX5829" fmla="*/ 2242808 w 6994525"/>
                  <a:gd name="connsiteY5829" fmla="*/ 644024 h 7571036"/>
                  <a:gd name="connsiteX5830" fmla="*/ 2262288 w 6994525"/>
                  <a:gd name="connsiteY5830" fmla="*/ 624510 h 7571036"/>
                  <a:gd name="connsiteX5831" fmla="*/ 2262534 w 6994525"/>
                  <a:gd name="connsiteY5831" fmla="*/ 5859060 h 7571036"/>
                  <a:gd name="connsiteX5832" fmla="*/ 2260561 w 6994525"/>
                  <a:gd name="connsiteY5832" fmla="*/ 5857087 h 7571036"/>
                  <a:gd name="connsiteX5833" fmla="*/ 2258589 w 6994525"/>
                  <a:gd name="connsiteY5833" fmla="*/ 5859060 h 7571036"/>
                  <a:gd name="connsiteX5834" fmla="*/ 2260561 w 6994525"/>
                  <a:gd name="connsiteY5834" fmla="*/ 5861033 h 7571036"/>
                  <a:gd name="connsiteX5835" fmla="*/ 2262534 w 6994525"/>
                  <a:gd name="connsiteY5835" fmla="*/ 5859060 h 7571036"/>
                  <a:gd name="connsiteX5836" fmla="*/ 2265742 w 6994525"/>
                  <a:gd name="connsiteY5836" fmla="*/ 5737994 h 7571036"/>
                  <a:gd name="connsiteX5837" fmla="*/ 2264015 w 6994525"/>
                  <a:gd name="connsiteY5837" fmla="*/ 5736266 h 7571036"/>
                  <a:gd name="connsiteX5838" fmla="*/ 2262043 w 6994525"/>
                  <a:gd name="connsiteY5838" fmla="*/ 5737994 h 7571036"/>
                  <a:gd name="connsiteX5839" fmla="*/ 2264015 w 6994525"/>
                  <a:gd name="connsiteY5839" fmla="*/ 5739721 h 7571036"/>
                  <a:gd name="connsiteX5840" fmla="*/ 2265742 w 6994525"/>
                  <a:gd name="connsiteY5840" fmla="*/ 5737994 h 7571036"/>
                  <a:gd name="connsiteX5841" fmla="*/ 2269191 w 6994525"/>
                  <a:gd name="connsiteY5841" fmla="*/ 5615692 h 7571036"/>
                  <a:gd name="connsiteX5842" fmla="*/ 2267467 w 6994525"/>
                  <a:gd name="connsiteY5842" fmla="*/ 5613965 h 7571036"/>
                  <a:gd name="connsiteX5843" fmla="*/ 2265740 w 6994525"/>
                  <a:gd name="connsiteY5843" fmla="*/ 5615692 h 7571036"/>
                  <a:gd name="connsiteX5844" fmla="*/ 2267467 w 6994525"/>
                  <a:gd name="connsiteY5844" fmla="*/ 5617416 h 7571036"/>
                  <a:gd name="connsiteX5845" fmla="*/ 2269191 w 6994525"/>
                  <a:gd name="connsiteY5845" fmla="*/ 5615692 h 7571036"/>
                  <a:gd name="connsiteX5846" fmla="*/ 2270179 w 6994525"/>
                  <a:gd name="connsiteY5846" fmla="*/ 6217091 h 7571036"/>
                  <a:gd name="connsiteX5847" fmla="*/ 2253658 w 6994525"/>
                  <a:gd name="connsiteY5847" fmla="*/ 6200569 h 7571036"/>
                  <a:gd name="connsiteX5848" fmla="*/ 2237137 w 6994525"/>
                  <a:gd name="connsiteY5848" fmla="*/ 6217091 h 7571036"/>
                  <a:gd name="connsiteX5849" fmla="*/ 2253658 w 6994525"/>
                  <a:gd name="connsiteY5849" fmla="*/ 6233609 h 7571036"/>
                  <a:gd name="connsiteX5850" fmla="*/ 2270179 w 6994525"/>
                  <a:gd name="connsiteY5850" fmla="*/ 6217091 h 7571036"/>
                  <a:gd name="connsiteX5851" fmla="*/ 2274370 w 6994525"/>
                  <a:gd name="connsiteY5851" fmla="*/ 4116757 h 7571036"/>
                  <a:gd name="connsiteX5852" fmla="*/ 2268207 w 6994525"/>
                  <a:gd name="connsiteY5852" fmla="*/ 4110594 h 7571036"/>
                  <a:gd name="connsiteX5853" fmla="*/ 2262289 w 6994525"/>
                  <a:gd name="connsiteY5853" fmla="*/ 4116757 h 7571036"/>
                  <a:gd name="connsiteX5854" fmla="*/ 2268207 w 6994525"/>
                  <a:gd name="connsiteY5854" fmla="*/ 4122675 h 7571036"/>
                  <a:gd name="connsiteX5855" fmla="*/ 2274370 w 6994525"/>
                  <a:gd name="connsiteY5855" fmla="*/ 4116757 h 7571036"/>
                  <a:gd name="connsiteX5856" fmla="*/ 2275851 w 6994525"/>
                  <a:gd name="connsiteY5856" fmla="*/ 2891079 h 7571036"/>
                  <a:gd name="connsiteX5857" fmla="*/ 2242068 w 6994525"/>
                  <a:gd name="connsiteY5857" fmla="*/ 2857299 h 7571036"/>
                  <a:gd name="connsiteX5858" fmla="*/ 2208288 w 6994525"/>
                  <a:gd name="connsiteY5858" fmla="*/ 2891079 h 7571036"/>
                  <a:gd name="connsiteX5859" fmla="*/ 2242068 w 6994525"/>
                  <a:gd name="connsiteY5859" fmla="*/ 2924863 h 7571036"/>
                  <a:gd name="connsiteX5860" fmla="*/ 2275851 w 6994525"/>
                  <a:gd name="connsiteY5860" fmla="*/ 2891079 h 7571036"/>
                  <a:gd name="connsiteX5861" fmla="*/ 2275851 w 6994525"/>
                  <a:gd name="connsiteY5861" fmla="*/ 6098485 h 7571036"/>
                  <a:gd name="connsiteX5862" fmla="*/ 2255877 w 6994525"/>
                  <a:gd name="connsiteY5862" fmla="*/ 6078513 h 7571036"/>
                  <a:gd name="connsiteX5863" fmla="*/ 2235905 w 6994525"/>
                  <a:gd name="connsiteY5863" fmla="*/ 6098485 h 7571036"/>
                  <a:gd name="connsiteX5864" fmla="*/ 2255877 w 6994525"/>
                  <a:gd name="connsiteY5864" fmla="*/ 6118457 h 7571036"/>
                  <a:gd name="connsiteX5865" fmla="*/ 2275851 w 6994525"/>
                  <a:gd name="connsiteY5865" fmla="*/ 6098485 h 7571036"/>
                  <a:gd name="connsiteX5866" fmla="*/ 2277575 w 6994525"/>
                  <a:gd name="connsiteY5866" fmla="*/ 3163293 h 7571036"/>
                  <a:gd name="connsiteX5867" fmla="*/ 2258836 w 6994525"/>
                  <a:gd name="connsiteY5867" fmla="*/ 3144554 h 7571036"/>
                  <a:gd name="connsiteX5868" fmla="*/ 2240096 w 6994525"/>
                  <a:gd name="connsiteY5868" fmla="*/ 3163293 h 7571036"/>
                  <a:gd name="connsiteX5869" fmla="*/ 2258836 w 6994525"/>
                  <a:gd name="connsiteY5869" fmla="*/ 3182034 h 7571036"/>
                  <a:gd name="connsiteX5870" fmla="*/ 2277575 w 6994525"/>
                  <a:gd name="connsiteY5870" fmla="*/ 3163293 h 7571036"/>
                  <a:gd name="connsiteX5871" fmla="*/ 2277577 w 6994525"/>
                  <a:gd name="connsiteY5871" fmla="*/ 2315841 h 7571036"/>
                  <a:gd name="connsiteX5872" fmla="*/ 2244043 w 6994525"/>
                  <a:gd name="connsiteY5872" fmla="*/ 2282307 h 7571036"/>
                  <a:gd name="connsiteX5873" fmla="*/ 2210509 w 6994525"/>
                  <a:gd name="connsiteY5873" fmla="*/ 2315841 h 7571036"/>
                  <a:gd name="connsiteX5874" fmla="*/ 2244043 w 6994525"/>
                  <a:gd name="connsiteY5874" fmla="*/ 2349385 h 7571036"/>
                  <a:gd name="connsiteX5875" fmla="*/ 2277577 w 6994525"/>
                  <a:gd name="connsiteY5875" fmla="*/ 2315841 h 7571036"/>
                  <a:gd name="connsiteX5876" fmla="*/ 2278810 w 6994525"/>
                  <a:gd name="connsiteY5876" fmla="*/ 5367389 h 7571036"/>
                  <a:gd name="connsiteX5877" fmla="*/ 2276343 w 6994525"/>
                  <a:gd name="connsiteY5877" fmla="*/ 5364922 h 7571036"/>
                  <a:gd name="connsiteX5878" fmla="*/ 2273879 w 6994525"/>
                  <a:gd name="connsiteY5878" fmla="*/ 5367389 h 7571036"/>
                  <a:gd name="connsiteX5879" fmla="*/ 2276343 w 6994525"/>
                  <a:gd name="connsiteY5879" fmla="*/ 5369854 h 7571036"/>
                  <a:gd name="connsiteX5880" fmla="*/ 2278810 w 6994525"/>
                  <a:gd name="connsiteY5880" fmla="*/ 5367389 h 7571036"/>
                  <a:gd name="connsiteX5881" fmla="*/ 2279055 w 6994525"/>
                  <a:gd name="connsiteY5881" fmla="*/ 5492158 h 7571036"/>
                  <a:gd name="connsiteX5882" fmla="*/ 2271411 w 6994525"/>
                  <a:gd name="connsiteY5882" fmla="*/ 5484513 h 7571036"/>
                  <a:gd name="connsiteX5883" fmla="*/ 2263767 w 6994525"/>
                  <a:gd name="connsiteY5883" fmla="*/ 5492158 h 7571036"/>
                  <a:gd name="connsiteX5884" fmla="*/ 2271411 w 6994525"/>
                  <a:gd name="connsiteY5884" fmla="*/ 5499800 h 7571036"/>
                  <a:gd name="connsiteX5885" fmla="*/ 2279055 w 6994525"/>
                  <a:gd name="connsiteY5885" fmla="*/ 5492158 h 7571036"/>
                  <a:gd name="connsiteX5886" fmla="*/ 2287193 w 6994525"/>
                  <a:gd name="connsiteY5886" fmla="*/ 3848483 h 7571036"/>
                  <a:gd name="connsiteX5887" fmla="*/ 2274617 w 6994525"/>
                  <a:gd name="connsiteY5887" fmla="*/ 3835907 h 7571036"/>
                  <a:gd name="connsiteX5888" fmla="*/ 2261795 w 6994525"/>
                  <a:gd name="connsiteY5888" fmla="*/ 3848483 h 7571036"/>
                  <a:gd name="connsiteX5889" fmla="*/ 2274617 w 6994525"/>
                  <a:gd name="connsiteY5889" fmla="*/ 3861305 h 7571036"/>
                  <a:gd name="connsiteX5890" fmla="*/ 2287193 w 6994525"/>
                  <a:gd name="connsiteY5890" fmla="*/ 3848483 h 7571036"/>
                  <a:gd name="connsiteX5891" fmla="*/ 2293110 w 6994525"/>
                  <a:gd name="connsiteY5891" fmla="*/ 4640730 h 7571036"/>
                  <a:gd name="connsiteX5892" fmla="*/ 2245273 w 6994525"/>
                  <a:gd name="connsiteY5892" fmla="*/ 4592893 h 7571036"/>
                  <a:gd name="connsiteX5893" fmla="*/ 2197439 w 6994525"/>
                  <a:gd name="connsiteY5893" fmla="*/ 4640730 h 7571036"/>
                  <a:gd name="connsiteX5894" fmla="*/ 2245273 w 6994525"/>
                  <a:gd name="connsiteY5894" fmla="*/ 4688564 h 7571036"/>
                  <a:gd name="connsiteX5895" fmla="*/ 2293110 w 6994525"/>
                  <a:gd name="connsiteY5895" fmla="*/ 4640730 h 7571036"/>
                  <a:gd name="connsiteX5896" fmla="*/ 2301246 w 6994525"/>
                  <a:gd name="connsiteY5896" fmla="*/ 5247305 h 7571036"/>
                  <a:gd name="connsiteX5897" fmla="*/ 2291137 w 6994525"/>
                  <a:gd name="connsiteY5897" fmla="*/ 5237197 h 7571036"/>
                  <a:gd name="connsiteX5898" fmla="*/ 2281029 w 6994525"/>
                  <a:gd name="connsiteY5898" fmla="*/ 5247305 h 7571036"/>
                  <a:gd name="connsiteX5899" fmla="*/ 2291137 w 6994525"/>
                  <a:gd name="connsiteY5899" fmla="*/ 5257414 h 7571036"/>
                  <a:gd name="connsiteX5900" fmla="*/ 2301246 w 6994525"/>
                  <a:gd name="connsiteY5900" fmla="*/ 5247305 h 7571036"/>
                  <a:gd name="connsiteX5901" fmla="*/ 2303218 w 6994525"/>
                  <a:gd name="connsiteY5901" fmla="*/ 2457857 h 7571036"/>
                  <a:gd name="connsiteX5902" fmla="*/ 2263274 w 6994525"/>
                  <a:gd name="connsiteY5902" fmla="*/ 2417912 h 7571036"/>
                  <a:gd name="connsiteX5903" fmla="*/ 2223328 w 6994525"/>
                  <a:gd name="connsiteY5903" fmla="*/ 2457857 h 7571036"/>
                  <a:gd name="connsiteX5904" fmla="*/ 2263274 w 6994525"/>
                  <a:gd name="connsiteY5904" fmla="*/ 2497803 h 7571036"/>
                  <a:gd name="connsiteX5905" fmla="*/ 2303218 w 6994525"/>
                  <a:gd name="connsiteY5905" fmla="*/ 2457857 h 7571036"/>
                  <a:gd name="connsiteX5906" fmla="*/ 2303713 w 6994525"/>
                  <a:gd name="connsiteY5906" fmla="*/ 1709797 h 7571036"/>
                  <a:gd name="connsiteX5907" fmla="*/ 2288670 w 6994525"/>
                  <a:gd name="connsiteY5907" fmla="*/ 1694535 h 7571036"/>
                  <a:gd name="connsiteX5908" fmla="*/ 2273630 w 6994525"/>
                  <a:gd name="connsiteY5908" fmla="*/ 1709797 h 7571036"/>
                  <a:gd name="connsiteX5909" fmla="*/ 2288670 w 6994525"/>
                  <a:gd name="connsiteY5909" fmla="*/ 1724852 h 7571036"/>
                  <a:gd name="connsiteX5910" fmla="*/ 2303713 w 6994525"/>
                  <a:gd name="connsiteY5910" fmla="*/ 1709797 h 7571036"/>
                  <a:gd name="connsiteX5911" fmla="*/ 2310125 w 6994525"/>
                  <a:gd name="connsiteY5911" fmla="*/ 1837068 h 7571036"/>
                  <a:gd name="connsiteX5912" fmla="*/ 2295823 w 6994525"/>
                  <a:gd name="connsiteY5912" fmla="*/ 1823019 h 7571036"/>
                  <a:gd name="connsiteX5913" fmla="*/ 2281769 w 6994525"/>
                  <a:gd name="connsiteY5913" fmla="*/ 1837068 h 7571036"/>
                  <a:gd name="connsiteX5914" fmla="*/ 2295823 w 6994525"/>
                  <a:gd name="connsiteY5914" fmla="*/ 1851366 h 7571036"/>
                  <a:gd name="connsiteX5915" fmla="*/ 2310125 w 6994525"/>
                  <a:gd name="connsiteY5915" fmla="*/ 1837068 h 7571036"/>
                  <a:gd name="connsiteX5916" fmla="*/ 2311852 w 6994525"/>
                  <a:gd name="connsiteY5916" fmla="*/ 2604319 h 7571036"/>
                  <a:gd name="connsiteX5917" fmla="*/ 2286454 w 6994525"/>
                  <a:gd name="connsiteY5917" fmla="*/ 2578920 h 7571036"/>
                  <a:gd name="connsiteX5918" fmla="*/ 2261057 w 6994525"/>
                  <a:gd name="connsiteY5918" fmla="*/ 2604319 h 7571036"/>
                  <a:gd name="connsiteX5919" fmla="*/ 2286454 w 6994525"/>
                  <a:gd name="connsiteY5919" fmla="*/ 2629713 h 7571036"/>
                  <a:gd name="connsiteX5920" fmla="*/ 2311852 w 6994525"/>
                  <a:gd name="connsiteY5920" fmla="*/ 2604319 h 7571036"/>
                  <a:gd name="connsiteX5921" fmla="*/ 2312838 w 6994525"/>
                  <a:gd name="connsiteY5921" fmla="*/ 4498453 h 7571036"/>
                  <a:gd name="connsiteX5922" fmla="*/ 2264261 w 6994525"/>
                  <a:gd name="connsiteY5922" fmla="*/ 4449878 h 7571036"/>
                  <a:gd name="connsiteX5923" fmla="*/ 2215686 w 6994525"/>
                  <a:gd name="connsiteY5923" fmla="*/ 4498453 h 7571036"/>
                  <a:gd name="connsiteX5924" fmla="*/ 2264261 w 6994525"/>
                  <a:gd name="connsiteY5924" fmla="*/ 4547031 h 7571036"/>
                  <a:gd name="connsiteX5925" fmla="*/ 2312838 w 6994525"/>
                  <a:gd name="connsiteY5925" fmla="*/ 4498453 h 7571036"/>
                  <a:gd name="connsiteX5926" fmla="*/ 2315795 w 6994525"/>
                  <a:gd name="connsiteY5926" fmla="*/ 3052581 h 7571036"/>
                  <a:gd name="connsiteX5927" fmla="*/ 2292615 w 6994525"/>
                  <a:gd name="connsiteY5927" fmla="*/ 3029402 h 7571036"/>
                  <a:gd name="connsiteX5928" fmla="*/ 2269439 w 6994525"/>
                  <a:gd name="connsiteY5928" fmla="*/ 3052581 h 7571036"/>
                  <a:gd name="connsiteX5929" fmla="*/ 2292615 w 6994525"/>
                  <a:gd name="connsiteY5929" fmla="*/ 3075758 h 7571036"/>
                  <a:gd name="connsiteX5930" fmla="*/ 2315795 w 6994525"/>
                  <a:gd name="connsiteY5930" fmla="*/ 3052581 h 7571036"/>
                  <a:gd name="connsiteX5931" fmla="*/ 2324426 w 6994525"/>
                  <a:gd name="connsiteY5931" fmla="*/ 4351992 h 7571036"/>
                  <a:gd name="connsiteX5932" fmla="*/ 2287441 w 6994525"/>
                  <a:gd name="connsiteY5932" fmla="*/ 4315003 h 7571036"/>
                  <a:gd name="connsiteX5933" fmla="*/ 2250453 w 6994525"/>
                  <a:gd name="connsiteY5933" fmla="*/ 4351992 h 7571036"/>
                  <a:gd name="connsiteX5934" fmla="*/ 2287441 w 6994525"/>
                  <a:gd name="connsiteY5934" fmla="*/ 4388976 h 7571036"/>
                  <a:gd name="connsiteX5935" fmla="*/ 2324426 w 6994525"/>
                  <a:gd name="connsiteY5935" fmla="*/ 4351992 h 7571036"/>
                  <a:gd name="connsiteX5936" fmla="*/ 2326152 w 6994525"/>
                  <a:gd name="connsiteY5936" fmla="*/ 715519 h 7571036"/>
                  <a:gd name="connsiteX5937" fmla="*/ 2304946 w 6994525"/>
                  <a:gd name="connsiteY5937" fmla="*/ 694316 h 7571036"/>
                  <a:gd name="connsiteX5938" fmla="*/ 2283742 w 6994525"/>
                  <a:gd name="connsiteY5938" fmla="*/ 715519 h 7571036"/>
                  <a:gd name="connsiteX5939" fmla="*/ 2304946 w 6994525"/>
                  <a:gd name="connsiteY5939" fmla="*/ 736719 h 7571036"/>
                  <a:gd name="connsiteX5940" fmla="*/ 2326152 w 6994525"/>
                  <a:gd name="connsiteY5940" fmla="*/ 715519 h 7571036"/>
                  <a:gd name="connsiteX5941" fmla="*/ 2327385 w 6994525"/>
                  <a:gd name="connsiteY5941" fmla="*/ 833119 h 7571036"/>
                  <a:gd name="connsiteX5942" fmla="*/ 2306672 w 6994525"/>
                  <a:gd name="connsiteY5942" fmla="*/ 812405 h 7571036"/>
                  <a:gd name="connsiteX5943" fmla="*/ 2285714 w 6994525"/>
                  <a:gd name="connsiteY5943" fmla="*/ 833119 h 7571036"/>
                  <a:gd name="connsiteX5944" fmla="*/ 2306672 w 6994525"/>
                  <a:gd name="connsiteY5944" fmla="*/ 854069 h 7571036"/>
                  <a:gd name="connsiteX5945" fmla="*/ 2327385 w 6994525"/>
                  <a:gd name="connsiteY5945" fmla="*/ 833119 h 7571036"/>
                  <a:gd name="connsiteX5946" fmla="*/ 2327630 w 6994525"/>
                  <a:gd name="connsiteY5946" fmla="*/ 5119333 h 7571036"/>
                  <a:gd name="connsiteX5947" fmla="*/ 2297795 w 6994525"/>
                  <a:gd name="connsiteY5947" fmla="*/ 5089743 h 7571036"/>
                  <a:gd name="connsiteX5948" fmla="*/ 2268207 w 6994525"/>
                  <a:gd name="connsiteY5948" fmla="*/ 5119333 h 7571036"/>
                  <a:gd name="connsiteX5949" fmla="*/ 2297795 w 6994525"/>
                  <a:gd name="connsiteY5949" fmla="*/ 5149167 h 7571036"/>
                  <a:gd name="connsiteX5950" fmla="*/ 2327630 w 6994525"/>
                  <a:gd name="connsiteY5950" fmla="*/ 5119333 h 7571036"/>
                  <a:gd name="connsiteX5951" fmla="*/ 2327878 w 6994525"/>
                  <a:gd name="connsiteY5951" fmla="*/ 3957470 h 7571036"/>
                  <a:gd name="connsiteX5952" fmla="*/ 2313578 w 6994525"/>
                  <a:gd name="connsiteY5952" fmla="*/ 3943167 h 7571036"/>
                  <a:gd name="connsiteX5953" fmla="*/ 2299276 w 6994525"/>
                  <a:gd name="connsiteY5953" fmla="*/ 3957470 h 7571036"/>
                  <a:gd name="connsiteX5954" fmla="*/ 2313578 w 6994525"/>
                  <a:gd name="connsiteY5954" fmla="*/ 3971770 h 7571036"/>
                  <a:gd name="connsiteX5955" fmla="*/ 2327878 w 6994525"/>
                  <a:gd name="connsiteY5955" fmla="*/ 3957470 h 7571036"/>
                  <a:gd name="connsiteX5956" fmla="*/ 2329358 w 6994525"/>
                  <a:gd name="connsiteY5956" fmla="*/ 951698 h 7571036"/>
                  <a:gd name="connsiteX5957" fmla="*/ 2308645 w 6994525"/>
                  <a:gd name="connsiteY5957" fmla="*/ 930982 h 7571036"/>
                  <a:gd name="connsiteX5958" fmla="*/ 2287933 w 6994525"/>
                  <a:gd name="connsiteY5958" fmla="*/ 951698 h 7571036"/>
                  <a:gd name="connsiteX5959" fmla="*/ 2308645 w 6994525"/>
                  <a:gd name="connsiteY5959" fmla="*/ 972410 h 7571036"/>
                  <a:gd name="connsiteX5960" fmla="*/ 2329358 w 6994525"/>
                  <a:gd name="connsiteY5960" fmla="*/ 951698 h 7571036"/>
                  <a:gd name="connsiteX5961" fmla="*/ 2329603 w 6994525"/>
                  <a:gd name="connsiteY5961" fmla="*/ 4216620 h 7571036"/>
                  <a:gd name="connsiteX5962" fmla="*/ 2326149 w 6994525"/>
                  <a:gd name="connsiteY5962" fmla="*/ 4213169 h 7571036"/>
                  <a:gd name="connsiteX5963" fmla="*/ 2322699 w 6994525"/>
                  <a:gd name="connsiteY5963" fmla="*/ 4216620 h 7571036"/>
                  <a:gd name="connsiteX5964" fmla="*/ 2326149 w 6994525"/>
                  <a:gd name="connsiteY5964" fmla="*/ 4220073 h 7571036"/>
                  <a:gd name="connsiteX5965" fmla="*/ 2329603 w 6994525"/>
                  <a:gd name="connsiteY5965" fmla="*/ 4216620 h 7571036"/>
                  <a:gd name="connsiteX5966" fmla="*/ 2329604 w 6994525"/>
                  <a:gd name="connsiteY5966" fmla="*/ 1071028 h 7571036"/>
                  <a:gd name="connsiteX5967" fmla="*/ 2310864 w 6994525"/>
                  <a:gd name="connsiteY5967" fmla="*/ 1052282 h 7571036"/>
                  <a:gd name="connsiteX5968" fmla="*/ 2292124 w 6994525"/>
                  <a:gd name="connsiteY5968" fmla="*/ 1071028 h 7571036"/>
                  <a:gd name="connsiteX5969" fmla="*/ 2310864 w 6994525"/>
                  <a:gd name="connsiteY5969" fmla="*/ 1089767 h 7571036"/>
                  <a:gd name="connsiteX5970" fmla="*/ 2329604 w 6994525"/>
                  <a:gd name="connsiteY5970" fmla="*/ 1071028 h 7571036"/>
                  <a:gd name="connsiteX5971" fmla="*/ 2331575 w 6994525"/>
                  <a:gd name="connsiteY5971" fmla="*/ 2788750 h 7571036"/>
                  <a:gd name="connsiteX5972" fmla="*/ 2295574 w 6994525"/>
                  <a:gd name="connsiteY5972" fmla="*/ 2752749 h 7571036"/>
                  <a:gd name="connsiteX5973" fmla="*/ 2259576 w 6994525"/>
                  <a:gd name="connsiteY5973" fmla="*/ 2788750 h 7571036"/>
                  <a:gd name="connsiteX5974" fmla="*/ 2295574 w 6994525"/>
                  <a:gd name="connsiteY5974" fmla="*/ 2824750 h 7571036"/>
                  <a:gd name="connsiteX5975" fmla="*/ 2331575 w 6994525"/>
                  <a:gd name="connsiteY5975" fmla="*/ 2788750 h 7571036"/>
                  <a:gd name="connsiteX5976" fmla="*/ 2331575 w 6994525"/>
                  <a:gd name="connsiteY5976" fmla="*/ 3449065 h 7571036"/>
                  <a:gd name="connsiteX5977" fmla="*/ 2328122 w 6994525"/>
                  <a:gd name="connsiteY5977" fmla="*/ 3445612 h 7571036"/>
                  <a:gd name="connsiteX5978" fmla="*/ 2324671 w 6994525"/>
                  <a:gd name="connsiteY5978" fmla="*/ 3449065 h 7571036"/>
                  <a:gd name="connsiteX5979" fmla="*/ 2328122 w 6994525"/>
                  <a:gd name="connsiteY5979" fmla="*/ 3452517 h 7571036"/>
                  <a:gd name="connsiteX5980" fmla="*/ 2331575 w 6994525"/>
                  <a:gd name="connsiteY5980" fmla="*/ 3449065 h 7571036"/>
                  <a:gd name="connsiteX5981" fmla="*/ 2331576 w 6994525"/>
                  <a:gd name="connsiteY5981" fmla="*/ 1191089 h 7571036"/>
                  <a:gd name="connsiteX5982" fmla="*/ 2312836 w 6994525"/>
                  <a:gd name="connsiteY5982" fmla="*/ 1172102 h 7571036"/>
                  <a:gd name="connsiteX5983" fmla="*/ 2293851 w 6994525"/>
                  <a:gd name="connsiteY5983" fmla="*/ 1191089 h 7571036"/>
                  <a:gd name="connsiteX5984" fmla="*/ 2312836 w 6994525"/>
                  <a:gd name="connsiteY5984" fmla="*/ 1210080 h 7571036"/>
                  <a:gd name="connsiteX5985" fmla="*/ 2331576 w 6994525"/>
                  <a:gd name="connsiteY5985" fmla="*/ 1191089 h 7571036"/>
                  <a:gd name="connsiteX5986" fmla="*/ 2331823 w 6994525"/>
                  <a:gd name="connsiteY5986" fmla="*/ 4857716 h 7571036"/>
                  <a:gd name="connsiteX5987" fmla="*/ 2315795 w 6994525"/>
                  <a:gd name="connsiteY5987" fmla="*/ 4841690 h 7571036"/>
                  <a:gd name="connsiteX5988" fmla="*/ 2299768 w 6994525"/>
                  <a:gd name="connsiteY5988" fmla="*/ 4857716 h 7571036"/>
                  <a:gd name="connsiteX5989" fmla="*/ 2315795 w 6994525"/>
                  <a:gd name="connsiteY5989" fmla="*/ 4873746 h 7571036"/>
                  <a:gd name="connsiteX5990" fmla="*/ 2331823 w 6994525"/>
                  <a:gd name="connsiteY5990" fmla="*/ 4857716 h 7571036"/>
                  <a:gd name="connsiteX5991" fmla="*/ 2333057 w 6994525"/>
                  <a:gd name="connsiteY5991" fmla="*/ 3564920 h 7571036"/>
                  <a:gd name="connsiteX5992" fmla="*/ 2331083 w 6994525"/>
                  <a:gd name="connsiteY5992" fmla="*/ 3562947 h 7571036"/>
                  <a:gd name="connsiteX5993" fmla="*/ 2329111 w 6994525"/>
                  <a:gd name="connsiteY5993" fmla="*/ 3564920 h 7571036"/>
                  <a:gd name="connsiteX5994" fmla="*/ 2331083 w 6994525"/>
                  <a:gd name="connsiteY5994" fmla="*/ 3566892 h 7571036"/>
                  <a:gd name="connsiteX5995" fmla="*/ 2333057 w 6994525"/>
                  <a:gd name="connsiteY5995" fmla="*/ 3564920 h 7571036"/>
                  <a:gd name="connsiteX5996" fmla="*/ 2333300 w 6994525"/>
                  <a:gd name="connsiteY5996" fmla="*/ 1312636 h 7571036"/>
                  <a:gd name="connsiteX5997" fmla="*/ 2315795 w 6994525"/>
                  <a:gd name="connsiteY5997" fmla="*/ 1295121 h 7571036"/>
                  <a:gd name="connsiteX5998" fmla="*/ 2298287 w 6994525"/>
                  <a:gd name="connsiteY5998" fmla="*/ 1312636 h 7571036"/>
                  <a:gd name="connsiteX5999" fmla="*/ 2315795 w 6994525"/>
                  <a:gd name="connsiteY5999" fmla="*/ 1330137 h 7571036"/>
                  <a:gd name="connsiteX6000" fmla="*/ 2333300 w 6994525"/>
                  <a:gd name="connsiteY6000" fmla="*/ 1312636 h 7571036"/>
                  <a:gd name="connsiteX6001" fmla="*/ 2337248 w 6994525"/>
                  <a:gd name="connsiteY6001" fmla="*/ 1434916 h 7571036"/>
                  <a:gd name="connsiteX6002" fmla="*/ 2319248 w 6994525"/>
                  <a:gd name="connsiteY6002" fmla="*/ 1416919 h 7571036"/>
                  <a:gd name="connsiteX6003" fmla="*/ 2301249 w 6994525"/>
                  <a:gd name="connsiteY6003" fmla="*/ 1434916 h 7571036"/>
                  <a:gd name="connsiteX6004" fmla="*/ 2319248 w 6994525"/>
                  <a:gd name="connsiteY6004" fmla="*/ 1452916 h 7571036"/>
                  <a:gd name="connsiteX6005" fmla="*/ 2337248 w 6994525"/>
                  <a:gd name="connsiteY6005" fmla="*/ 1434916 h 7571036"/>
                  <a:gd name="connsiteX6006" fmla="*/ 2338974 w 6994525"/>
                  <a:gd name="connsiteY6006" fmla="*/ 1966956 h 7571036"/>
                  <a:gd name="connsiteX6007" fmla="*/ 2303962 w 6994525"/>
                  <a:gd name="connsiteY6007" fmla="*/ 1931955 h 7571036"/>
                  <a:gd name="connsiteX6008" fmla="*/ 2268947 w 6994525"/>
                  <a:gd name="connsiteY6008" fmla="*/ 1966956 h 7571036"/>
                  <a:gd name="connsiteX6009" fmla="*/ 2303962 w 6994525"/>
                  <a:gd name="connsiteY6009" fmla="*/ 2001958 h 7571036"/>
                  <a:gd name="connsiteX6010" fmla="*/ 2338974 w 6994525"/>
                  <a:gd name="connsiteY6010" fmla="*/ 1966956 h 7571036"/>
                  <a:gd name="connsiteX6011" fmla="*/ 2339714 w 6994525"/>
                  <a:gd name="connsiteY6011" fmla="*/ 4989635 h 7571036"/>
                  <a:gd name="connsiteX6012" fmla="*/ 2306180 w 6994525"/>
                  <a:gd name="connsiteY6012" fmla="*/ 4956100 h 7571036"/>
                  <a:gd name="connsiteX6013" fmla="*/ 2272892 w 6994525"/>
                  <a:gd name="connsiteY6013" fmla="*/ 4989635 h 7571036"/>
                  <a:gd name="connsiteX6014" fmla="*/ 2306180 w 6994525"/>
                  <a:gd name="connsiteY6014" fmla="*/ 5023169 h 7571036"/>
                  <a:gd name="connsiteX6015" fmla="*/ 2339714 w 6994525"/>
                  <a:gd name="connsiteY6015" fmla="*/ 4989635 h 7571036"/>
                  <a:gd name="connsiteX6016" fmla="*/ 2340206 w 6994525"/>
                  <a:gd name="connsiteY6016" fmla="*/ 1558680 h 7571036"/>
                  <a:gd name="connsiteX6017" fmla="*/ 2322945 w 6994525"/>
                  <a:gd name="connsiteY6017" fmla="*/ 1541425 h 7571036"/>
                  <a:gd name="connsiteX6018" fmla="*/ 2305686 w 6994525"/>
                  <a:gd name="connsiteY6018" fmla="*/ 1558680 h 7571036"/>
                  <a:gd name="connsiteX6019" fmla="*/ 2322945 w 6994525"/>
                  <a:gd name="connsiteY6019" fmla="*/ 1575941 h 7571036"/>
                  <a:gd name="connsiteX6020" fmla="*/ 2340206 w 6994525"/>
                  <a:gd name="connsiteY6020" fmla="*/ 1558680 h 7571036"/>
                  <a:gd name="connsiteX6021" fmla="*/ 2340947 w 6994525"/>
                  <a:gd name="connsiteY6021" fmla="*/ 2098860 h 7571036"/>
                  <a:gd name="connsiteX6022" fmla="*/ 2314068 w 6994525"/>
                  <a:gd name="connsiteY6022" fmla="*/ 2071980 h 7571036"/>
                  <a:gd name="connsiteX6023" fmla="*/ 2287192 w 6994525"/>
                  <a:gd name="connsiteY6023" fmla="*/ 2098860 h 7571036"/>
                  <a:gd name="connsiteX6024" fmla="*/ 2314068 w 6994525"/>
                  <a:gd name="connsiteY6024" fmla="*/ 2125743 h 7571036"/>
                  <a:gd name="connsiteX6025" fmla="*/ 2340947 w 6994525"/>
                  <a:gd name="connsiteY6025" fmla="*/ 2098860 h 7571036"/>
                  <a:gd name="connsiteX6026" fmla="*/ 2345139 w 6994525"/>
                  <a:gd name="connsiteY6026" fmla="*/ 7404105 h 7571036"/>
                  <a:gd name="connsiteX6027" fmla="*/ 2343166 w 6994525"/>
                  <a:gd name="connsiteY6027" fmla="*/ 7402132 h 7571036"/>
                  <a:gd name="connsiteX6028" fmla="*/ 2341193 w 6994525"/>
                  <a:gd name="connsiteY6028" fmla="*/ 7404105 h 7571036"/>
                  <a:gd name="connsiteX6029" fmla="*/ 2343166 w 6994525"/>
                  <a:gd name="connsiteY6029" fmla="*/ 7406077 h 7571036"/>
                  <a:gd name="connsiteX6030" fmla="*/ 2345139 w 6994525"/>
                  <a:gd name="connsiteY6030" fmla="*/ 7404105 h 7571036"/>
                  <a:gd name="connsiteX6031" fmla="*/ 2345384 w 6994525"/>
                  <a:gd name="connsiteY6031" fmla="*/ 7290926 h 7571036"/>
                  <a:gd name="connsiteX6032" fmla="*/ 2343166 w 6994525"/>
                  <a:gd name="connsiteY6032" fmla="*/ 7288952 h 7571036"/>
                  <a:gd name="connsiteX6033" fmla="*/ 2341193 w 6994525"/>
                  <a:gd name="connsiteY6033" fmla="*/ 7290926 h 7571036"/>
                  <a:gd name="connsiteX6034" fmla="*/ 2343166 w 6994525"/>
                  <a:gd name="connsiteY6034" fmla="*/ 7292898 h 7571036"/>
                  <a:gd name="connsiteX6035" fmla="*/ 2345384 w 6994525"/>
                  <a:gd name="connsiteY6035" fmla="*/ 7290926 h 7571036"/>
                  <a:gd name="connsiteX6036" fmla="*/ 2345630 w 6994525"/>
                  <a:gd name="connsiteY6036" fmla="*/ 3333419 h 7571036"/>
                  <a:gd name="connsiteX6037" fmla="*/ 2336754 w 6994525"/>
                  <a:gd name="connsiteY6037" fmla="*/ 3324544 h 7571036"/>
                  <a:gd name="connsiteX6038" fmla="*/ 2327877 w 6994525"/>
                  <a:gd name="connsiteY6038" fmla="*/ 3333419 h 7571036"/>
                  <a:gd name="connsiteX6039" fmla="*/ 2336754 w 6994525"/>
                  <a:gd name="connsiteY6039" fmla="*/ 3342297 h 7571036"/>
                  <a:gd name="connsiteX6040" fmla="*/ 2345630 w 6994525"/>
                  <a:gd name="connsiteY6040" fmla="*/ 3333419 h 7571036"/>
                  <a:gd name="connsiteX6041" fmla="*/ 2345878 w 6994525"/>
                  <a:gd name="connsiteY6041" fmla="*/ 7177504 h 7571036"/>
                  <a:gd name="connsiteX6042" fmla="*/ 2343411 w 6994525"/>
                  <a:gd name="connsiteY6042" fmla="*/ 7175036 h 7571036"/>
                  <a:gd name="connsiteX6043" fmla="*/ 2340947 w 6994525"/>
                  <a:gd name="connsiteY6043" fmla="*/ 7177504 h 7571036"/>
                  <a:gd name="connsiteX6044" fmla="*/ 2343411 w 6994525"/>
                  <a:gd name="connsiteY6044" fmla="*/ 7179967 h 7571036"/>
                  <a:gd name="connsiteX6045" fmla="*/ 2345878 w 6994525"/>
                  <a:gd name="connsiteY6045" fmla="*/ 7177504 h 7571036"/>
                  <a:gd name="connsiteX6046" fmla="*/ 2345879 w 6994525"/>
                  <a:gd name="connsiteY6046" fmla="*/ 3679579 h 7571036"/>
                  <a:gd name="connsiteX6047" fmla="*/ 2345386 w 6994525"/>
                  <a:gd name="connsiteY6047" fmla="*/ 3679084 h 7571036"/>
                  <a:gd name="connsiteX6048" fmla="*/ 2344892 w 6994525"/>
                  <a:gd name="connsiteY6048" fmla="*/ 3679579 h 7571036"/>
                  <a:gd name="connsiteX6049" fmla="*/ 2345386 w 6994525"/>
                  <a:gd name="connsiteY6049" fmla="*/ 3680071 h 7571036"/>
                  <a:gd name="connsiteX6050" fmla="*/ 2345879 w 6994525"/>
                  <a:gd name="connsiteY6050" fmla="*/ 3679579 h 7571036"/>
                  <a:gd name="connsiteX6051" fmla="*/ 2351056 w 6994525"/>
                  <a:gd name="connsiteY6051" fmla="*/ 7065557 h 7571036"/>
                  <a:gd name="connsiteX6052" fmla="*/ 2349083 w 6994525"/>
                  <a:gd name="connsiteY6052" fmla="*/ 7063584 h 7571036"/>
                  <a:gd name="connsiteX6053" fmla="*/ 2347111 w 6994525"/>
                  <a:gd name="connsiteY6053" fmla="*/ 7065557 h 7571036"/>
                  <a:gd name="connsiteX6054" fmla="*/ 2349083 w 6994525"/>
                  <a:gd name="connsiteY6054" fmla="*/ 7067530 h 7571036"/>
                  <a:gd name="connsiteX6055" fmla="*/ 2351056 w 6994525"/>
                  <a:gd name="connsiteY6055" fmla="*/ 7065557 h 7571036"/>
                  <a:gd name="connsiteX6056" fmla="*/ 2352288 w 6994525"/>
                  <a:gd name="connsiteY6056" fmla="*/ 6837475 h 7571036"/>
                  <a:gd name="connsiteX6057" fmla="*/ 2349823 w 6994525"/>
                  <a:gd name="connsiteY6057" fmla="*/ 6835007 h 7571036"/>
                  <a:gd name="connsiteX6058" fmla="*/ 2347357 w 6994525"/>
                  <a:gd name="connsiteY6058" fmla="*/ 6837475 h 7571036"/>
                  <a:gd name="connsiteX6059" fmla="*/ 2349823 w 6994525"/>
                  <a:gd name="connsiteY6059" fmla="*/ 6839938 h 7571036"/>
                  <a:gd name="connsiteX6060" fmla="*/ 2352288 w 6994525"/>
                  <a:gd name="connsiteY6060" fmla="*/ 6837475 h 7571036"/>
                  <a:gd name="connsiteX6061" fmla="*/ 2352782 w 6994525"/>
                  <a:gd name="connsiteY6061" fmla="*/ 6951638 h 7571036"/>
                  <a:gd name="connsiteX6062" fmla="*/ 2349575 w 6994525"/>
                  <a:gd name="connsiteY6062" fmla="*/ 6948432 h 7571036"/>
                  <a:gd name="connsiteX6063" fmla="*/ 2346370 w 6994525"/>
                  <a:gd name="connsiteY6063" fmla="*/ 6951638 h 7571036"/>
                  <a:gd name="connsiteX6064" fmla="*/ 2349575 w 6994525"/>
                  <a:gd name="connsiteY6064" fmla="*/ 6954845 h 7571036"/>
                  <a:gd name="connsiteX6065" fmla="*/ 2352782 w 6994525"/>
                  <a:gd name="connsiteY6065" fmla="*/ 6951638 h 7571036"/>
                  <a:gd name="connsiteX6066" fmla="*/ 2355987 w 6994525"/>
                  <a:gd name="connsiteY6066" fmla="*/ 6376623 h 7571036"/>
                  <a:gd name="connsiteX6067" fmla="*/ 2352779 w 6994525"/>
                  <a:gd name="connsiteY6067" fmla="*/ 6373418 h 7571036"/>
                  <a:gd name="connsiteX6068" fmla="*/ 2349329 w 6994525"/>
                  <a:gd name="connsiteY6068" fmla="*/ 6376623 h 7571036"/>
                  <a:gd name="connsiteX6069" fmla="*/ 2352779 w 6994525"/>
                  <a:gd name="connsiteY6069" fmla="*/ 6380077 h 7571036"/>
                  <a:gd name="connsiteX6070" fmla="*/ 2355987 w 6994525"/>
                  <a:gd name="connsiteY6070" fmla="*/ 6376623 h 7571036"/>
                  <a:gd name="connsiteX6071" fmla="*/ 2357714 w 6994525"/>
                  <a:gd name="connsiteY6071" fmla="*/ 2233236 h 7571036"/>
                  <a:gd name="connsiteX6072" fmla="*/ 2326399 w 6994525"/>
                  <a:gd name="connsiteY6072" fmla="*/ 2201923 h 7571036"/>
                  <a:gd name="connsiteX6073" fmla="*/ 2295083 w 6994525"/>
                  <a:gd name="connsiteY6073" fmla="*/ 2233236 h 7571036"/>
                  <a:gd name="connsiteX6074" fmla="*/ 2326399 w 6994525"/>
                  <a:gd name="connsiteY6074" fmla="*/ 2264552 h 7571036"/>
                  <a:gd name="connsiteX6075" fmla="*/ 2357714 w 6994525"/>
                  <a:gd name="connsiteY6075" fmla="*/ 2233236 h 7571036"/>
                  <a:gd name="connsiteX6076" fmla="*/ 2361164 w 6994525"/>
                  <a:gd name="connsiteY6076" fmla="*/ 6608158 h 7571036"/>
                  <a:gd name="connsiteX6077" fmla="*/ 2351056 w 6994525"/>
                  <a:gd name="connsiteY6077" fmla="*/ 6598049 h 7571036"/>
                  <a:gd name="connsiteX6078" fmla="*/ 2340947 w 6994525"/>
                  <a:gd name="connsiteY6078" fmla="*/ 6608158 h 7571036"/>
                  <a:gd name="connsiteX6079" fmla="*/ 2351056 w 6994525"/>
                  <a:gd name="connsiteY6079" fmla="*/ 6618270 h 7571036"/>
                  <a:gd name="connsiteX6080" fmla="*/ 2361164 w 6994525"/>
                  <a:gd name="connsiteY6080" fmla="*/ 6608158 h 7571036"/>
                  <a:gd name="connsiteX6081" fmla="*/ 2362400 w 6994525"/>
                  <a:gd name="connsiteY6081" fmla="*/ 6492515 h 7571036"/>
                  <a:gd name="connsiteX6082" fmla="*/ 2351796 w 6994525"/>
                  <a:gd name="connsiteY6082" fmla="*/ 6481911 h 7571036"/>
                  <a:gd name="connsiteX6083" fmla="*/ 2341193 w 6994525"/>
                  <a:gd name="connsiteY6083" fmla="*/ 6492515 h 7571036"/>
                  <a:gd name="connsiteX6084" fmla="*/ 2351796 w 6994525"/>
                  <a:gd name="connsiteY6084" fmla="*/ 6503115 h 7571036"/>
                  <a:gd name="connsiteX6085" fmla="*/ 2362400 w 6994525"/>
                  <a:gd name="connsiteY6085" fmla="*/ 6492515 h 7571036"/>
                  <a:gd name="connsiteX6086" fmla="*/ 2363384 w 6994525"/>
                  <a:gd name="connsiteY6086" fmla="*/ 6722815 h 7571036"/>
                  <a:gd name="connsiteX6087" fmla="*/ 2350562 w 6994525"/>
                  <a:gd name="connsiteY6087" fmla="*/ 6709993 h 7571036"/>
                  <a:gd name="connsiteX6088" fmla="*/ 2337740 w 6994525"/>
                  <a:gd name="connsiteY6088" fmla="*/ 6722815 h 7571036"/>
                  <a:gd name="connsiteX6089" fmla="*/ 2350562 w 6994525"/>
                  <a:gd name="connsiteY6089" fmla="*/ 6735637 h 7571036"/>
                  <a:gd name="connsiteX6090" fmla="*/ 2363384 w 6994525"/>
                  <a:gd name="connsiteY6090" fmla="*/ 6722815 h 7571036"/>
                  <a:gd name="connsiteX6091" fmla="*/ 2364619 w 6994525"/>
                  <a:gd name="connsiteY6091" fmla="*/ 2945567 h 7571036"/>
                  <a:gd name="connsiteX6092" fmla="*/ 2336262 w 6994525"/>
                  <a:gd name="connsiteY6092" fmla="*/ 2917209 h 7571036"/>
                  <a:gd name="connsiteX6093" fmla="*/ 2307905 w 6994525"/>
                  <a:gd name="connsiteY6093" fmla="*/ 2945567 h 7571036"/>
                  <a:gd name="connsiteX6094" fmla="*/ 2336262 w 6994525"/>
                  <a:gd name="connsiteY6094" fmla="*/ 2973922 h 7571036"/>
                  <a:gd name="connsiteX6095" fmla="*/ 2364619 w 6994525"/>
                  <a:gd name="connsiteY6095" fmla="*/ 2945567 h 7571036"/>
                  <a:gd name="connsiteX6096" fmla="*/ 2366342 w 6994525"/>
                  <a:gd name="connsiteY6096" fmla="*/ 6028459 h 7571036"/>
                  <a:gd name="connsiteX6097" fmla="*/ 2363383 w 6994525"/>
                  <a:gd name="connsiteY6097" fmla="*/ 6025499 h 7571036"/>
                  <a:gd name="connsiteX6098" fmla="*/ 2360424 w 6994525"/>
                  <a:gd name="connsiteY6098" fmla="*/ 6028459 h 7571036"/>
                  <a:gd name="connsiteX6099" fmla="*/ 2363383 w 6994525"/>
                  <a:gd name="connsiteY6099" fmla="*/ 6031418 h 7571036"/>
                  <a:gd name="connsiteX6100" fmla="*/ 2366342 w 6994525"/>
                  <a:gd name="connsiteY6100" fmla="*/ 6028459 h 7571036"/>
                  <a:gd name="connsiteX6101" fmla="*/ 2366836 w 6994525"/>
                  <a:gd name="connsiteY6101" fmla="*/ 5910102 h 7571036"/>
                  <a:gd name="connsiteX6102" fmla="*/ 2364864 w 6994525"/>
                  <a:gd name="connsiteY6102" fmla="*/ 5908129 h 7571036"/>
                  <a:gd name="connsiteX6103" fmla="*/ 2362892 w 6994525"/>
                  <a:gd name="connsiteY6103" fmla="*/ 5910102 h 7571036"/>
                  <a:gd name="connsiteX6104" fmla="*/ 2364864 w 6994525"/>
                  <a:gd name="connsiteY6104" fmla="*/ 5912074 h 7571036"/>
                  <a:gd name="connsiteX6105" fmla="*/ 2366836 w 6994525"/>
                  <a:gd name="connsiteY6105" fmla="*/ 5910102 h 7571036"/>
                  <a:gd name="connsiteX6106" fmla="*/ 2368563 w 6994525"/>
                  <a:gd name="connsiteY6106" fmla="*/ 4746 h 7571036"/>
                  <a:gd name="connsiteX6107" fmla="*/ 2366609 w 6994525"/>
                  <a:gd name="connsiteY6107" fmla="*/ 0 h 7571036"/>
                  <a:gd name="connsiteX6108" fmla="*/ 2326135 w 6994525"/>
                  <a:gd name="connsiteY6108" fmla="*/ 0 h 7571036"/>
                  <a:gd name="connsiteX6109" fmla="*/ 2324180 w 6994525"/>
                  <a:gd name="connsiteY6109" fmla="*/ 4746 h 7571036"/>
                  <a:gd name="connsiteX6110" fmla="*/ 2346370 w 6994525"/>
                  <a:gd name="connsiteY6110" fmla="*/ 26938 h 7571036"/>
                  <a:gd name="connsiteX6111" fmla="*/ 2368563 w 6994525"/>
                  <a:gd name="connsiteY6111" fmla="*/ 4746 h 7571036"/>
                  <a:gd name="connsiteX6112" fmla="*/ 2368563 w 6994525"/>
                  <a:gd name="connsiteY6112" fmla="*/ 5791251 h 7571036"/>
                  <a:gd name="connsiteX6113" fmla="*/ 2367082 w 6994525"/>
                  <a:gd name="connsiteY6113" fmla="*/ 5789772 h 7571036"/>
                  <a:gd name="connsiteX6114" fmla="*/ 2365604 w 6994525"/>
                  <a:gd name="connsiteY6114" fmla="*/ 5791251 h 7571036"/>
                  <a:gd name="connsiteX6115" fmla="*/ 2367082 w 6994525"/>
                  <a:gd name="connsiteY6115" fmla="*/ 5792732 h 7571036"/>
                  <a:gd name="connsiteX6116" fmla="*/ 2368563 w 6994525"/>
                  <a:gd name="connsiteY6116" fmla="*/ 5791251 h 7571036"/>
                  <a:gd name="connsiteX6117" fmla="*/ 2369055 w 6994525"/>
                  <a:gd name="connsiteY6117" fmla="*/ 118637 h 7571036"/>
                  <a:gd name="connsiteX6118" fmla="*/ 2347111 w 6994525"/>
                  <a:gd name="connsiteY6118" fmla="*/ 96693 h 7571036"/>
                  <a:gd name="connsiteX6119" fmla="*/ 2325412 w 6994525"/>
                  <a:gd name="connsiteY6119" fmla="*/ 118637 h 7571036"/>
                  <a:gd name="connsiteX6120" fmla="*/ 2347111 w 6994525"/>
                  <a:gd name="connsiteY6120" fmla="*/ 140584 h 7571036"/>
                  <a:gd name="connsiteX6121" fmla="*/ 2369055 w 6994525"/>
                  <a:gd name="connsiteY6121" fmla="*/ 118637 h 7571036"/>
                  <a:gd name="connsiteX6122" fmla="*/ 2369550 w 6994525"/>
                  <a:gd name="connsiteY6122" fmla="*/ 233513 h 7571036"/>
                  <a:gd name="connsiteX6123" fmla="*/ 2347851 w 6994525"/>
                  <a:gd name="connsiteY6123" fmla="*/ 211816 h 7571036"/>
                  <a:gd name="connsiteX6124" fmla="*/ 2326152 w 6994525"/>
                  <a:gd name="connsiteY6124" fmla="*/ 233513 h 7571036"/>
                  <a:gd name="connsiteX6125" fmla="*/ 2347851 w 6994525"/>
                  <a:gd name="connsiteY6125" fmla="*/ 255211 h 7571036"/>
                  <a:gd name="connsiteX6126" fmla="*/ 2369550 w 6994525"/>
                  <a:gd name="connsiteY6126" fmla="*/ 233513 h 7571036"/>
                  <a:gd name="connsiteX6127" fmla="*/ 2370288 w 6994525"/>
                  <a:gd name="connsiteY6127" fmla="*/ 463765 h 7571036"/>
                  <a:gd name="connsiteX6128" fmla="*/ 2349329 w 6994525"/>
                  <a:gd name="connsiteY6128" fmla="*/ 442807 h 7571036"/>
                  <a:gd name="connsiteX6129" fmla="*/ 2328617 w 6994525"/>
                  <a:gd name="connsiteY6129" fmla="*/ 463765 h 7571036"/>
                  <a:gd name="connsiteX6130" fmla="*/ 2349329 w 6994525"/>
                  <a:gd name="connsiteY6130" fmla="*/ 484477 h 7571036"/>
                  <a:gd name="connsiteX6131" fmla="*/ 2370288 w 6994525"/>
                  <a:gd name="connsiteY6131" fmla="*/ 463765 h 7571036"/>
                  <a:gd name="connsiteX6132" fmla="*/ 2370536 w 6994525"/>
                  <a:gd name="connsiteY6132" fmla="*/ 348393 h 7571036"/>
                  <a:gd name="connsiteX6133" fmla="*/ 2348838 w 6994525"/>
                  <a:gd name="connsiteY6133" fmla="*/ 326450 h 7571036"/>
                  <a:gd name="connsiteX6134" fmla="*/ 2326893 w 6994525"/>
                  <a:gd name="connsiteY6134" fmla="*/ 348393 h 7571036"/>
                  <a:gd name="connsiteX6135" fmla="*/ 2348838 w 6994525"/>
                  <a:gd name="connsiteY6135" fmla="*/ 370090 h 7571036"/>
                  <a:gd name="connsiteX6136" fmla="*/ 2370536 w 6994525"/>
                  <a:gd name="connsiteY6136" fmla="*/ 348393 h 7571036"/>
                  <a:gd name="connsiteX6137" fmla="*/ 2370536 w 6994525"/>
                  <a:gd name="connsiteY6137" fmla="*/ 579636 h 7571036"/>
                  <a:gd name="connsiteX6138" fmla="*/ 2350070 w 6994525"/>
                  <a:gd name="connsiteY6138" fmla="*/ 559171 h 7571036"/>
                  <a:gd name="connsiteX6139" fmla="*/ 2329604 w 6994525"/>
                  <a:gd name="connsiteY6139" fmla="*/ 579636 h 7571036"/>
                  <a:gd name="connsiteX6140" fmla="*/ 2350070 w 6994525"/>
                  <a:gd name="connsiteY6140" fmla="*/ 600099 h 7571036"/>
                  <a:gd name="connsiteX6141" fmla="*/ 2370536 w 6994525"/>
                  <a:gd name="connsiteY6141" fmla="*/ 579636 h 7571036"/>
                  <a:gd name="connsiteX6142" fmla="*/ 2371771 w 6994525"/>
                  <a:gd name="connsiteY6142" fmla="*/ 5671168 h 7571036"/>
                  <a:gd name="connsiteX6143" fmla="*/ 2369550 w 6994525"/>
                  <a:gd name="connsiteY6143" fmla="*/ 5668949 h 7571036"/>
                  <a:gd name="connsiteX6144" fmla="*/ 2367332 w 6994525"/>
                  <a:gd name="connsiteY6144" fmla="*/ 5671168 h 7571036"/>
                  <a:gd name="connsiteX6145" fmla="*/ 2369550 w 6994525"/>
                  <a:gd name="connsiteY6145" fmla="*/ 5673389 h 7571036"/>
                  <a:gd name="connsiteX6146" fmla="*/ 2371771 w 6994525"/>
                  <a:gd name="connsiteY6146" fmla="*/ 5671168 h 7571036"/>
                  <a:gd name="connsiteX6147" fmla="*/ 2372507 w 6994525"/>
                  <a:gd name="connsiteY6147" fmla="*/ 3219260 h 7571036"/>
                  <a:gd name="connsiteX6148" fmla="*/ 2356728 w 6994525"/>
                  <a:gd name="connsiteY6148" fmla="*/ 3203478 h 7571036"/>
                  <a:gd name="connsiteX6149" fmla="*/ 2340947 w 6994525"/>
                  <a:gd name="connsiteY6149" fmla="*/ 3219260 h 7571036"/>
                  <a:gd name="connsiteX6150" fmla="*/ 2356728 w 6994525"/>
                  <a:gd name="connsiteY6150" fmla="*/ 3235041 h 7571036"/>
                  <a:gd name="connsiteX6151" fmla="*/ 2372507 w 6994525"/>
                  <a:gd name="connsiteY6151" fmla="*/ 3219260 h 7571036"/>
                  <a:gd name="connsiteX6152" fmla="*/ 2372755 w 6994525"/>
                  <a:gd name="connsiteY6152" fmla="*/ 3792755 h 7571036"/>
                  <a:gd name="connsiteX6153" fmla="*/ 2371274 w 6994525"/>
                  <a:gd name="connsiteY6153" fmla="*/ 3791277 h 7571036"/>
                  <a:gd name="connsiteX6154" fmla="*/ 2369796 w 6994525"/>
                  <a:gd name="connsiteY6154" fmla="*/ 3792755 h 7571036"/>
                  <a:gd name="connsiteX6155" fmla="*/ 2371274 w 6994525"/>
                  <a:gd name="connsiteY6155" fmla="*/ 3794237 h 7571036"/>
                  <a:gd name="connsiteX6156" fmla="*/ 2372755 w 6994525"/>
                  <a:gd name="connsiteY6156" fmla="*/ 3792755 h 7571036"/>
                  <a:gd name="connsiteX6157" fmla="*/ 2373495 w 6994525"/>
                  <a:gd name="connsiteY6157" fmla="*/ 4723088 h 7571036"/>
                  <a:gd name="connsiteX6158" fmla="*/ 2327633 w 6994525"/>
                  <a:gd name="connsiteY6158" fmla="*/ 4677223 h 7571036"/>
                  <a:gd name="connsiteX6159" fmla="*/ 2281769 w 6994525"/>
                  <a:gd name="connsiteY6159" fmla="*/ 4723088 h 7571036"/>
                  <a:gd name="connsiteX6160" fmla="*/ 2327633 w 6994525"/>
                  <a:gd name="connsiteY6160" fmla="*/ 4768949 h 7571036"/>
                  <a:gd name="connsiteX6161" fmla="*/ 2373495 w 6994525"/>
                  <a:gd name="connsiteY6161" fmla="*/ 4723088 h 7571036"/>
                  <a:gd name="connsiteX6162" fmla="*/ 2375221 w 6994525"/>
                  <a:gd name="connsiteY6162" fmla="*/ 6262704 h 7571036"/>
                  <a:gd name="connsiteX6163" fmla="*/ 2360178 w 6994525"/>
                  <a:gd name="connsiteY6163" fmla="*/ 6247663 h 7571036"/>
                  <a:gd name="connsiteX6164" fmla="*/ 2345138 w 6994525"/>
                  <a:gd name="connsiteY6164" fmla="*/ 6262704 h 7571036"/>
                  <a:gd name="connsiteX6165" fmla="*/ 2360178 w 6994525"/>
                  <a:gd name="connsiteY6165" fmla="*/ 6277744 h 7571036"/>
                  <a:gd name="connsiteX6166" fmla="*/ 2375221 w 6994525"/>
                  <a:gd name="connsiteY6166" fmla="*/ 6262704 h 7571036"/>
                  <a:gd name="connsiteX6167" fmla="*/ 2378672 w 6994525"/>
                  <a:gd name="connsiteY6167" fmla="*/ 4062265 h 7571036"/>
                  <a:gd name="connsiteX6168" fmla="*/ 2362151 w 6994525"/>
                  <a:gd name="connsiteY6168" fmla="*/ 4045743 h 7571036"/>
                  <a:gd name="connsiteX6169" fmla="*/ 2345630 w 6994525"/>
                  <a:gd name="connsiteY6169" fmla="*/ 4062265 h 7571036"/>
                  <a:gd name="connsiteX6170" fmla="*/ 2362151 w 6994525"/>
                  <a:gd name="connsiteY6170" fmla="*/ 4078783 h 7571036"/>
                  <a:gd name="connsiteX6171" fmla="*/ 2378672 w 6994525"/>
                  <a:gd name="connsiteY6171" fmla="*/ 4062265 h 7571036"/>
                  <a:gd name="connsiteX6172" fmla="*/ 2378675 w 6994525"/>
                  <a:gd name="connsiteY6172" fmla="*/ 5428045 h 7571036"/>
                  <a:gd name="connsiteX6173" fmla="*/ 2375963 w 6994525"/>
                  <a:gd name="connsiteY6173" fmla="*/ 5425332 h 7571036"/>
                  <a:gd name="connsiteX6174" fmla="*/ 2373249 w 6994525"/>
                  <a:gd name="connsiteY6174" fmla="*/ 5428045 h 7571036"/>
                  <a:gd name="connsiteX6175" fmla="*/ 2375963 w 6994525"/>
                  <a:gd name="connsiteY6175" fmla="*/ 5430758 h 7571036"/>
                  <a:gd name="connsiteX6176" fmla="*/ 2378675 w 6994525"/>
                  <a:gd name="connsiteY6176" fmla="*/ 5428045 h 7571036"/>
                  <a:gd name="connsiteX6177" fmla="*/ 2379660 w 6994525"/>
                  <a:gd name="connsiteY6177" fmla="*/ 5550101 h 7571036"/>
                  <a:gd name="connsiteX6178" fmla="*/ 2372508 w 6994525"/>
                  <a:gd name="connsiteY6178" fmla="*/ 5542951 h 7571036"/>
                  <a:gd name="connsiteX6179" fmla="*/ 2365359 w 6994525"/>
                  <a:gd name="connsiteY6179" fmla="*/ 5550101 h 7571036"/>
                  <a:gd name="connsiteX6180" fmla="*/ 2372508 w 6994525"/>
                  <a:gd name="connsiteY6180" fmla="*/ 5557254 h 7571036"/>
                  <a:gd name="connsiteX6181" fmla="*/ 2379660 w 6994525"/>
                  <a:gd name="connsiteY6181" fmla="*/ 5550101 h 7571036"/>
                  <a:gd name="connsiteX6182" fmla="*/ 2379904 w 6994525"/>
                  <a:gd name="connsiteY6182" fmla="*/ 6145829 h 7571036"/>
                  <a:gd name="connsiteX6183" fmla="*/ 2361657 w 6994525"/>
                  <a:gd name="connsiteY6183" fmla="*/ 6127580 h 7571036"/>
                  <a:gd name="connsiteX6184" fmla="*/ 2343411 w 6994525"/>
                  <a:gd name="connsiteY6184" fmla="*/ 6145829 h 7571036"/>
                  <a:gd name="connsiteX6185" fmla="*/ 2361657 w 6994525"/>
                  <a:gd name="connsiteY6185" fmla="*/ 6164073 h 7571036"/>
                  <a:gd name="connsiteX6186" fmla="*/ 2379904 w 6994525"/>
                  <a:gd name="connsiteY6186" fmla="*/ 6145829 h 7571036"/>
                  <a:gd name="connsiteX6187" fmla="*/ 2380891 w 6994525"/>
                  <a:gd name="connsiteY6187" fmla="*/ 2371063 h 7571036"/>
                  <a:gd name="connsiteX6188" fmla="*/ 2340947 w 6994525"/>
                  <a:gd name="connsiteY6188" fmla="*/ 2331115 h 7571036"/>
                  <a:gd name="connsiteX6189" fmla="*/ 2301001 w 6994525"/>
                  <a:gd name="connsiteY6189" fmla="*/ 2371063 h 7571036"/>
                  <a:gd name="connsiteX6190" fmla="*/ 2340947 w 6994525"/>
                  <a:gd name="connsiteY6190" fmla="*/ 2411009 h 7571036"/>
                  <a:gd name="connsiteX6191" fmla="*/ 2380891 w 6994525"/>
                  <a:gd name="connsiteY6191" fmla="*/ 2371063 h 7571036"/>
                  <a:gd name="connsiteX6192" fmla="*/ 2386811 w 6994525"/>
                  <a:gd name="connsiteY6192" fmla="*/ 2512587 h 7571036"/>
                  <a:gd name="connsiteX6193" fmla="*/ 2358946 w 6994525"/>
                  <a:gd name="connsiteY6193" fmla="*/ 2484726 h 7571036"/>
                  <a:gd name="connsiteX6194" fmla="*/ 2331085 w 6994525"/>
                  <a:gd name="connsiteY6194" fmla="*/ 2512587 h 7571036"/>
                  <a:gd name="connsiteX6195" fmla="*/ 2358946 w 6994525"/>
                  <a:gd name="connsiteY6195" fmla="*/ 2540451 h 7571036"/>
                  <a:gd name="connsiteX6196" fmla="*/ 2386811 w 6994525"/>
                  <a:gd name="connsiteY6196" fmla="*/ 2512587 h 7571036"/>
                  <a:gd name="connsiteX6197" fmla="*/ 2392975 w 6994525"/>
                  <a:gd name="connsiteY6197" fmla="*/ 4585005 h 7571036"/>
                  <a:gd name="connsiteX6198" fmla="*/ 2341933 w 6994525"/>
                  <a:gd name="connsiteY6198" fmla="*/ 4533963 h 7571036"/>
                  <a:gd name="connsiteX6199" fmla="*/ 2290892 w 6994525"/>
                  <a:gd name="connsiteY6199" fmla="*/ 4585005 h 7571036"/>
                  <a:gd name="connsiteX6200" fmla="*/ 2341933 w 6994525"/>
                  <a:gd name="connsiteY6200" fmla="*/ 4636044 h 7571036"/>
                  <a:gd name="connsiteX6201" fmla="*/ 2392975 w 6994525"/>
                  <a:gd name="connsiteY6201" fmla="*/ 4585005 h 7571036"/>
                  <a:gd name="connsiteX6202" fmla="*/ 2394947 w 6994525"/>
                  <a:gd name="connsiteY6202" fmla="*/ 4311305 h 7571036"/>
                  <a:gd name="connsiteX6203" fmla="*/ 2392235 w 6994525"/>
                  <a:gd name="connsiteY6203" fmla="*/ 4308591 h 7571036"/>
                  <a:gd name="connsiteX6204" fmla="*/ 2389522 w 6994525"/>
                  <a:gd name="connsiteY6204" fmla="*/ 4311305 h 7571036"/>
                  <a:gd name="connsiteX6205" fmla="*/ 2392235 w 6994525"/>
                  <a:gd name="connsiteY6205" fmla="*/ 4314018 h 7571036"/>
                  <a:gd name="connsiteX6206" fmla="*/ 2394947 w 6994525"/>
                  <a:gd name="connsiteY6206" fmla="*/ 4311305 h 7571036"/>
                  <a:gd name="connsiteX6207" fmla="*/ 2395194 w 6994525"/>
                  <a:gd name="connsiteY6207" fmla="*/ 2691349 h 7571036"/>
                  <a:gd name="connsiteX6208" fmla="*/ 2357714 w 6994525"/>
                  <a:gd name="connsiteY6208" fmla="*/ 2653868 h 7571036"/>
                  <a:gd name="connsiteX6209" fmla="*/ 2320235 w 6994525"/>
                  <a:gd name="connsiteY6209" fmla="*/ 2691349 h 7571036"/>
                  <a:gd name="connsiteX6210" fmla="*/ 2357714 w 6994525"/>
                  <a:gd name="connsiteY6210" fmla="*/ 2728828 h 7571036"/>
                  <a:gd name="connsiteX6211" fmla="*/ 2395194 w 6994525"/>
                  <a:gd name="connsiteY6211" fmla="*/ 2691349 h 7571036"/>
                  <a:gd name="connsiteX6212" fmla="*/ 2402590 w 6994525"/>
                  <a:gd name="connsiteY6212" fmla="*/ 1646947 h 7571036"/>
                  <a:gd name="connsiteX6213" fmla="*/ 2385823 w 6994525"/>
                  <a:gd name="connsiteY6213" fmla="*/ 1630179 h 7571036"/>
                  <a:gd name="connsiteX6214" fmla="*/ 2368810 w 6994525"/>
                  <a:gd name="connsiteY6214" fmla="*/ 1646947 h 7571036"/>
                  <a:gd name="connsiteX6215" fmla="*/ 2385823 w 6994525"/>
                  <a:gd name="connsiteY6215" fmla="*/ 1663959 h 7571036"/>
                  <a:gd name="connsiteX6216" fmla="*/ 2402590 w 6994525"/>
                  <a:gd name="connsiteY6216" fmla="*/ 1646947 h 7571036"/>
                  <a:gd name="connsiteX6217" fmla="*/ 2404562 w 6994525"/>
                  <a:gd name="connsiteY6217" fmla="*/ 4443469 h 7571036"/>
                  <a:gd name="connsiteX6218" fmla="*/ 2359683 w 6994525"/>
                  <a:gd name="connsiteY6218" fmla="*/ 4398591 h 7571036"/>
                  <a:gd name="connsiteX6219" fmla="*/ 2314808 w 6994525"/>
                  <a:gd name="connsiteY6219" fmla="*/ 4443469 h 7571036"/>
                  <a:gd name="connsiteX6220" fmla="*/ 2359683 w 6994525"/>
                  <a:gd name="connsiteY6220" fmla="*/ 4488346 h 7571036"/>
                  <a:gd name="connsiteX6221" fmla="*/ 2404562 w 6994525"/>
                  <a:gd name="connsiteY6221" fmla="*/ 4443469 h 7571036"/>
                  <a:gd name="connsiteX6222" fmla="*/ 2405797 w 6994525"/>
                  <a:gd name="connsiteY6222" fmla="*/ 1771717 h 7571036"/>
                  <a:gd name="connsiteX6223" fmla="*/ 2391248 w 6994525"/>
                  <a:gd name="connsiteY6223" fmla="*/ 1756915 h 7571036"/>
                  <a:gd name="connsiteX6224" fmla="*/ 2376700 w 6994525"/>
                  <a:gd name="connsiteY6224" fmla="*/ 1771717 h 7571036"/>
                  <a:gd name="connsiteX6225" fmla="*/ 2391248 w 6994525"/>
                  <a:gd name="connsiteY6225" fmla="*/ 1786245 h 7571036"/>
                  <a:gd name="connsiteX6226" fmla="*/ 2405797 w 6994525"/>
                  <a:gd name="connsiteY6226" fmla="*/ 1771717 h 7571036"/>
                  <a:gd name="connsiteX6227" fmla="*/ 2411715 w 6994525"/>
                  <a:gd name="connsiteY6227" fmla="*/ 3107560 h 7571036"/>
                  <a:gd name="connsiteX6228" fmla="*/ 2388289 w 6994525"/>
                  <a:gd name="connsiteY6228" fmla="*/ 3084134 h 7571036"/>
                  <a:gd name="connsiteX6229" fmla="*/ 2364864 w 6994525"/>
                  <a:gd name="connsiteY6229" fmla="*/ 3107560 h 7571036"/>
                  <a:gd name="connsiteX6230" fmla="*/ 2388289 w 6994525"/>
                  <a:gd name="connsiteY6230" fmla="*/ 3130985 h 7571036"/>
                  <a:gd name="connsiteX6231" fmla="*/ 2411715 w 6994525"/>
                  <a:gd name="connsiteY6231" fmla="*/ 3107560 h 7571036"/>
                  <a:gd name="connsiteX6232" fmla="*/ 2417877 w 6994525"/>
                  <a:gd name="connsiteY6232" fmla="*/ 3902237 h 7571036"/>
                  <a:gd name="connsiteX6233" fmla="*/ 2408262 w 6994525"/>
                  <a:gd name="connsiteY6233" fmla="*/ 3892620 h 7571036"/>
                  <a:gd name="connsiteX6234" fmla="*/ 2398645 w 6994525"/>
                  <a:gd name="connsiteY6234" fmla="*/ 3902237 h 7571036"/>
                  <a:gd name="connsiteX6235" fmla="*/ 2408262 w 6994525"/>
                  <a:gd name="connsiteY6235" fmla="*/ 3911852 h 7571036"/>
                  <a:gd name="connsiteX6236" fmla="*/ 2417877 w 6994525"/>
                  <a:gd name="connsiteY6236" fmla="*/ 3902237 h 7571036"/>
                  <a:gd name="connsiteX6237" fmla="*/ 2418125 w 6994525"/>
                  <a:gd name="connsiteY6237" fmla="*/ 4930211 h 7571036"/>
                  <a:gd name="connsiteX6238" fmla="*/ 2406535 w 6994525"/>
                  <a:gd name="connsiteY6238" fmla="*/ 4918621 h 7571036"/>
                  <a:gd name="connsiteX6239" fmla="*/ 2394699 w 6994525"/>
                  <a:gd name="connsiteY6239" fmla="*/ 4930211 h 7571036"/>
                  <a:gd name="connsiteX6240" fmla="*/ 2406535 w 6994525"/>
                  <a:gd name="connsiteY6240" fmla="*/ 4941797 h 7571036"/>
                  <a:gd name="connsiteX6241" fmla="*/ 2418125 w 6994525"/>
                  <a:gd name="connsiteY6241" fmla="*/ 4930211 h 7571036"/>
                  <a:gd name="connsiteX6242" fmla="*/ 2421823 w 6994525"/>
                  <a:gd name="connsiteY6242" fmla="*/ 5184924 h 7571036"/>
                  <a:gd name="connsiteX6243" fmla="*/ 2393467 w 6994525"/>
                  <a:gd name="connsiteY6243" fmla="*/ 5156567 h 7571036"/>
                  <a:gd name="connsiteX6244" fmla="*/ 2365110 w 6994525"/>
                  <a:gd name="connsiteY6244" fmla="*/ 5184924 h 7571036"/>
                  <a:gd name="connsiteX6245" fmla="*/ 2393467 w 6994525"/>
                  <a:gd name="connsiteY6245" fmla="*/ 5213281 h 7571036"/>
                  <a:gd name="connsiteX6246" fmla="*/ 2421823 w 6994525"/>
                  <a:gd name="connsiteY6246" fmla="*/ 5184924 h 7571036"/>
                  <a:gd name="connsiteX6247" fmla="*/ 2423302 w 6994525"/>
                  <a:gd name="connsiteY6247" fmla="*/ 2842741 h 7571036"/>
                  <a:gd name="connsiteX6248" fmla="*/ 2389522 w 6994525"/>
                  <a:gd name="connsiteY6248" fmla="*/ 2808961 h 7571036"/>
                  <a:gd name="connsiteX6249" fmla="*/ 2355742 w 6994525"/>
                  <a:gd name="connsiteY6249" fmla="*/ 2842741 h 7571036"/>
                  <a:gd name="connsiteX6250" fmla="*/ 2389522 w 6994525"/>
                  <a:gd name="connsiteY6250" fmla="*/ 2876524 h 7571036"/>
                  <a:gd name="connsiteX6251" fmla="*/ 2423302 w 6994525"/>
                  <a:gd name="connsiteY6251" fmla="*/ 2842741 h 7571036"/>
                  <a:gd name="connsiteX6252" fmla="*/ 2434642 w 6994525"/>
                  <a:gd name="connsiteY6252" fmla="*/ 671874 h 7571036"/>
                  <a:gd name="connsiteX6253" fmla="*/ 2412206 w 6994525"/>
                  <a:gd name="connsiteY6253" fmla="*/ 649433 h 7571036"/>
                  <a:gd name="connsiteX6254" fmla="*/ 2389767 w 6994525"/>
                  <a:gd name="connsiteY6254" fmla="*/ 671874 h 7571036"/>
                  <a:gd name="connsiteX6255" fmla="*/ 2412206 w 6994525"/>
                  <a:gd name="connsiteY6255" fmla="*/ 694316 h 7571036"/>
                  <a:gd name="connsiteX6256" fmla="*/ 2434642 w 6994525"/>
                  <a:gd name="connsiteY6256" fmla="*/ 671874 h 7571036"/>
                  <a:gd name="connsiteX6257" fmla="*/ 2435385 w 6994525"/>
                  <a:gd name="connsiteY6257" fmla="*/ 787992 h 7571036"/>
                  <a:gd name="connsiteX6258" fmla="*/ 2413196 w 6994525"/>
                  <a:gd name="connsiteY6258" fmla="*/ 765804 h 7571036"/>
                  <a:gd name="connsiteX6259" fmla="*/ 2391003 w 6994525"/>
                  <a:gd name="connsiteY6259" fmla="*/ 787992 h 7571036"/>
                  <a:gd name="connsiteX6260" fmla="*/ 2413196 w 6994525"/>
                  <a:gd name="connsiteY6260" fmla="*/ 810184 h 7571036"/>
                  <a:gd name="connsiteX6261" fmla="*/ 2435385 w 6994525"/>
                  <a:gd name="connsiteY6261" fmla="*/ 787992 h 7571036"/>
                  <a:gd name="connsiteX6262" fmla="*/ 2435631 w 6994525"/>
                  <a:gd name="connsiteY6262" fmla="*/ 5058674 h 7571036"/>
                  <a:gd name="connsiteX6263" fmla="*/ 2399630 w 6994525"/>
                  <a:gd name="connsiteY6263" fmla="*/ 5022675 h 7571036"/>
                  <a:gd name="connsiteX6264" fmla="*/ 2363632 w 6994525"/>
                  <a:gd name="connsiteY6264" fmla="*/ 5058674 h 7571036"/>
                  <a:gd name="connsiteX6265" fmla="*/ 2399630 w 6994525"/>
                  <a:gd name="connsiteY6265" fmla="*/ 5094675 h 7571036"/>
                  <a:gd name="connsiteX6266" fmla="*/ 2435631 w 6994525"/>
                  <a:gd name="connsiteY6266" fmla="*/ 5058674 h 7571036"/>
                  <a:gd name="connsiteX6267" fmla="*/ 2436126 w 6994525"/>
                  <a:gd name="connsiteY6267" fmla="*/ 1021957 h 7571036"/>
                  <a:gd name="connsiteX6268" fmla="*/ 2416152 w 6994525"/>
                  <a:gd name="connsiteY6268" fmla="*/ 1001979 h 7571036"/>
                  <a:gd name="connsiteX6269" fmla="*/ 2396180 w 6994525"/>
                  <a:gd name="connsiteY6269" fmla="*/ 1021957 h 7571036"/>
                  <a:gd name="connsiteX6270" fmla="*/ 2416152 w 6994525"/>
                  <a:gd name="connsiteY6270" fmla="*/ 1041923 h 7571036"/>
                  <a:gd name="connsiteX6271" fmla="*/ 2436126 w 6994525"/>
                  <a:gd name="connsiteY6271" fmla="*/ 1021957 h 7571036"/>
                  <a:gd name="connsiteX6272" fmla="*/ 2436617 w 6994525"/>
                  <a:gd name="connsiteY6272" fmla="*/ 904592 h 7571036"/>
                  <a:gd name="connsiteX6273" fmla="*/ 2414671 w 6994525"/>
                  <a:gd name="connsiteY6273" fmla="*/ 882649 h 7571036"/>
                  <a:gd name="connsiteX6274" fmla="*/ 2392727 w 6994525"/>
                  <a:gd name="connsiteY6274" fmla="*/ 904592 h 7571036"/>
                  <a:gd name="connsiteX6275" fmla="*/ 2414671 w 6994525"/>
                  <a:gd name="connsiteY6275" fmla="*/ 926552 h 7571036"/>
                  <a:gd name="connsiteX6276" fmla="*/ 2436617 w 6994525"/>
                  <a:gd name="connsiteY6276" fmla="*/ 904592 h 7571036"/>
                  <a:gd name="connsiteX6277" fmla="*/ 2436867 w 6994525"/>
                  <a:gd name="connsiteY6277" fmla="*/ 1898184 h 7571036"/>
                  <a:gd name="connsiteX6278" fmla="*/ 2397166 w 6994525"/>
                  <a:gd name="connsiteY6278" fmla="*/ 1858253 h 7571036"/>
                  <a:gd name="connsiteX6279" fmla="*/ 2357469 w 6994525"/>
                  <a:gd name="connsiteY6279" fmla="*/ 1898184 h 7571036"/>
                  <a:gd name="connsiteX6280" fmla="*/ 2397166 w 6994525"/>
                  <a:gd name="connsiteY6280" fmla="*/ 1937871 h 7571036"/>
                  <a:gd name="connsiteX6281" fmla="*/ 2436867 w 6994525"/>
                  <a:gd name="connsiteY6281" fmla="*/ 1898184 h 7571036"/>
                  <a:gd name="connsiteX6282" fmla="*/ 2437357 w 6994525"/>
                  <a:gd name="connsiteY6282" fmla="*/ 1140291 h 7571036"/>
                  <a:gd name="connsiteX6283" fmla="*/ 2417136 w 6994525"/>
                  <a:gd name="connsiteY6283" fmla="*/ 1120072 h 7571036"/>
                  <a:gd name="connsiteX6284" fmla="*/ 2396918 w 6994525"/>
                  <a:gd name="connsiteY6284" fmla="*/ 1140291 h 7571036"/>
                  <a:gd name="connsiteX6285" fmla="*/ 2417136 w 6994525"/>
                  <a:gd name="connsiteY6285" fmla="*/ 1160513 h 7571036"/>
                  <a:gd name="connsiteX6286" fmla="*/ 2437357 w 6994525"/>
                  <a:gd name="connsiteY6286" fmla="*/ 1140291 h 7571036"/>
                  <a:gd name="connsiteX6287" fmla="*/ 2437851 w 6994525"/>
                  <a:gd name="connsiteY6287" fmla="*/ 1259365 h 7571036"/>
                  <a:gd name="connsiteX6288" fmla="*/ 2419111 w 6994525"/>
                  <a:gd name="connsiteY6288" fmla="*/ 1240635 h 7571036"/>
                  <a:gd name="connsiteX6289" fmla="*/ 2400371 w 6994525"/>
                  <a:gd name="connsiteY6289" fmla="*/ 1259365 h 7571036"/>
                  <a:gd name="connsiteX6290" fmla="*/ 2419111 w 6994525"/>
                  <a:gd name="connsiteY6290" fmla="*/ 1278112 h 7571036"/>
                  <a:gd name="connsiteX6291" fmla="*/ 2437851 w 6994525"/>
                  <a:gd name="connsiteY6291" fmla="*/ 1259365 h 7571036"/>
                  <a:gd name="connsiteX6292" fmla="*/ 2438097 w 6994525"/>
                  <a:gd name="connsiteY6292" fmla="*/ 2026357 h 7571036"/>
                  <a:gd name="connsiteX6293" fmla="*/ 2404811 w 6994525"/>
                  <a:gd name="connsiteY6293" fmla="*/ 1993073 h 7571036"/>
                  <a:gd name="connsiteX6294" fmla="*/ 2371523 w 6994525"/>
                  <a:gd name="connsiteY6294" fmla="*/ 2026357 h 7571036"/>
                  <a:gd name="connsiteX6295" fmla="*/ 2404811 w 6994525"/>
                  <a:gd name="connsiteY6295" fmla="*/ 2059648 h 7571036"/>
                  <a:gd name="connsiteX6296" fmla="*/ 2438097 w 6994525"/>
                  <a:gd name="connsiteY6296" fmla="*/ 2026357 h 7571036"/>
                  <a:gd name="connsiteX6297" fmla="*/ 2438591 w 6994525"/>
                  <a:gd name="connsiteY6297" fmla="*/ 4162373 h 7571036"/>
                  <a:gd name="connsiteX6298" fmla="*/ 2420097 w 6994525"/>
                  <a:gd name="connsiteY6298" fmla="*/ 4143879 h 7571036"/>
                  <a:gd name="connsiteX6299" fmla="*/ 2401604 w 6994525"/>
                  <a:gd name="connsiteY6299" fmla="*/ 4162373 h 7571036"/>
                  <a:gd name="connsiteX6300" fmla="*/ 2420097 w 6994525"/>
                  <a:gd name="connsiteY6300" fmla="*/ 4180867 h 7571036"/>
                  <a:gd name="connsiteX6301" fmla="*/ 2438591 w 6994525"/>
                  <a:gd name="connsiteY6301" fmla="*/ 4162373 h 7571036"/>
                  <a:gd name="connsiteX6302" fmla="*/ 2441548 w 6994525"/>
                  <a:gd name="connsiteY6302" fmla="*/ 1379191 h 7571036"/>
                  <a:gd name="connsiteX6303" fmla="*/ 2421576 w 6994525"/>
                  <a:gd name="connsiteY6303" fmla="*/ 1359219 h 7571036"/>
                  <a:gd name="connsiteX6304" fmla="*/ 2401604 w 6994525"/>
                  <a:gd name="connsiteY6304" fmla="*/ 1379191 h 7571036"/>
                  <a:gd name="connsiteX6305" fmla="*/ 2421576 w 6994525"/>
                  <a:gd name="connsiteY6305" fmla="*/ 1399167 h 7571036"/>
                  <a:gd name="connsiteX6306" fmla="*/ 2441548 w 6994525"/>
                  <a:gd name="connsiteY6306" fmla="*/ 1379191 h 7571036"/>
                  <a:gd name="connsiteX6307" fmla="*/ 2442781 w 6994525"/>
                  <a:gd name="connsiteY6307" fmla="*/ 2156797 h 7571036"/>
                  <a:gd name="connsiteX6308" fmla="*/ 2413930 w 6994525"/>
                  <a:gd name="connsiteY6308" fmla="*/ 2127948 h 7571036"/>
                  <a:gd name="connsiteX6309" fmla="*/ 2385082 w 6994525"/>
                  <a:gd name="connsiteY6309" fmla="*/ 2156797 h 7571036"/>
                  <a:gd name="connsiteX6310" fmla="*/ 2413930 w 6994525"/>
                  <a:gd name="connsiteY6310" fmla="*/ 2185649 h 7571036"/>
                  <a:gd name="connsiteX6311" fmla="*/ 2442781 w 6994525"/>
                  <a:gd name="connsiteY6311" fmla="*/ 2156797 h 7571036"/>
                  <a:gd name="connsiteX6312" fmla="*/ 2443273 w 6994525"/>
                  <a:gd name="connsiteY6312" fmla="*/ 1500493 h 7571036"/>
                  <a:gd name="connsiteX6313" fmla="*/ 2424039 w 6994525"/>
                  <a:gd name="connsiteY6313" fmla="*/ 1481257 h 7571036"/>
                  <a:gd name="connsiteX6314" fmla="*/ 2404808 w 6994525"/>
                  <a:gd name="connsiteY6314" fmla="*/ 1500493 h 7571036"/>
                  <a:gd name="connsiteX6315" fmla="*/ 2424039 w 6994525"/>
                  <a:gd name="connsiteY6315" fmla="*/ 1519728 h 7571036"/>
                  <a:gd name="connsiteX6316" fmla="*/ 2443273 w 6994525"/>
                  <a:gd name="connsiteY6316" fmla="*/ 1500493 h 7571036"/>
                  <a:gd name="connsiteX6317" fmla="*/ 2444754 w 6994525"/>
                  <a:gd name="connsiteY6317" fmla="*/ 3506726 h 7571036"/>
                  <a:gd name="connsiteX6318" fmla="*/ 2436618 w 6994525"/>
                  <a:gd name="connsiteY6318" fmla="*/ 3498837 h 7571036"/>
                  <a:gd name="connsiteX6319" fmla="*/ 2428728 w 6994525"/>
                  <a:gd name="connsiteY6319" fmla="*/ 3506726 h 7571036"/>
                  <a:gd name="connsiteX6320" fmla="*/ 2436618 w 6994525"/>
                  <a:gd name="connsiteY6320" fmla="*/ 3514863 h 7571036"/>
                  <a:gd name="connsiteX6321" fmla="*/ 2444754 w 6994525"/>
                  <a:gd name="connsiteY6321" fmla="*/ 3506726 h 7571036"/>
                  <a:gd name="connsiteX6322" fmla="*/ 2445990 w 6994525"/>
                  <a:gd name="connsiteY6322" fmla="*/ 3390866 h 7571036"/>
                  <a:gd name="connsiteX6323" fmla="*/ 2439823 w 6994525"/>
                  <a:gd name="connsiteY6323" fmla="*/ 3384700 h 7571036"/>
                  <a:gd name="connsiteX6324" fmla="*/ 2433660 w 6994525"/>
                  <a:gd name="connsiteY6324" fmla="*/ 3390866 h 7571036"/>
                  <a:gd name="connsiteX6325" fmla="*/ 2439823 w 6994525"/>
                  <a:gd name="connsiteY6325" fmla="*/ 3397032 h 7571036"/>
                  <a:gd name="connsiteX6326" fmla="*/ 2445990 w 6994525"/>
                  <a:gd name="connsiteY6326" fmla="*/ 3390866 h 7571036"/>
                  <a:gd name="connsiteX6327" fmla="*/ 2456590 w 6994525"/>
                  <a:gd name="connsiteY6327" fmla="*/ 3622616 h 7571036"/>
                  <a:gd name="connsiteX6328" fmla="*/ 2446232 w 6994525"/>
                  <a:gd name="connsiteY6328" fmla="*/ 3612261 h 7571036"/>
                  <a:gd name="connsiteX6329" fmla="*/ 2435878 w 6994525"/>
                  <a:gd name="connsiteY6329" fmla="*/ 3622616 h 7571036"/>
                  <a:gd name="connsiteX6330" fmla="*/ 2446232 w 6994525"/>
                  <a:gd name="connsiteY6330" fmla="*/ 3632973 h 7571036"/>
                  <a:gd name="connsiteX6331" fmla="*/ 2456590 w 6994525"/>
                  <a:gd name="connsiteY6331" fmla="*/ 3622616 h 7571036"/>
                  <a:gd name="connsiteX6332" fmla="*/ 2457330 w 6994525"/>
                  <a:gd name="connsiteY6332" fmla="*/ 7322733 h 7571036"/>
                  <a:gd name="connsiteX6333" fmla="*/ 2455109 w 6994525"/>
                  <a:gd name="connsiteY6333" fmla="*/ 7320514 h 7571036"/>
                  <a:gd name="connsiteX6334" fmla="*/ 2452891 w 6994525"/>
                  <a:gd name="connsiteY6334" fmla="*/ 7322733 h 7571036"/>
                  <a:gd name="connsiteX6335" fmla="*/ 2455109 w 6994525"/>
                  <a:gd name="connsiteY6335" fmla="*/ 7324951 h 7571036"/>
                  <a:gd name="connsiteX6336" fmla="*/ 2457330 w 6994525"/>
                  <a:gd name="connsiteY6336" fmla="*/ 7322733 h 7571036"/>
                  <a:gd name="connsiteX6337" fmla="*/ 2457330 w 6994525"/>
                  <a:gd name="connsiteY6337" fmla="*/ 7434926 h 7571036"/>
                  <a:gd name="connsiteX6338" fmla="*/ 2455109 w 6994525"/>
                  <a:gd name="connsiteY6338" fmla="*/ 7432707 h 7571036"/>
                  <a:gd name="connsiteX6339" fmla="*/ 2452891 w 6994525"/>
                  <a:gd name="connsiteY6339" fmla="*/ 7434926 h 7571036"/>
                  <a:gd name="connsiteX6340" fmla="*/ 2455109 w 6994525"/>
                  <a:gd name="connsiteY6340" fmla="*/ 7437144 h 7571036"/>
                  <a:gd name="connsiteX6341" fmla="*/ 2457330 w 6994525"/>
                  <a:gd name="connsiteY6341" fmla="*/ 7434926 h 7571036"/>
                  <a:gd name="connsiteX6342" fmla="*/ 2457576 w 6994525"/>
                  <a:gd name="connsiteY6342" fmla="*/ 7210543 h 7571036"/>
                  <a:gd name="connsiteX6343" fmla="*/ 2455110 w 6994525"/>
                  <a:gd name="connsiteY6343" fmla="*/ 7208076 h 7571036"/>
                  <a:gd name="connsiteX6344" fmla="*/ 2452645 w 6994525"/>
                  <a:gd name="connsiteY6344" fmla="*/ 7210543 h 7571036"/>
                  <a:gd name="connsiteX6345" fmla="*/ 2455110 w 6994525"/>
                  <a:gd name="connsiteY6345" fmla="*/ 7213007 h 7571036"/>
                  <a:gd name="connsiteX6346" fmla="*/ 2457576 w 6994525"/>
                  <a:gd name="connsiteY6346" fmla="*/ 7210543 h 7571036"/>
                  <a:gd name="connsiteX6347" fmla="*/ 2458316 w 6994525"/>
                  <a:gd name="connsiteY6347" fmla="*/ 4799279 h 7571036"/>
                  <a:gd name="connsiteX6348" fmla="*/ 2415166 w 6994525"/>
                  <a:gd name="connsiteY6348" fmla="*/ 4756127 h 7571036"/>
                  <a:gd name="connsiteX6349" fmla="*/ 2372014 w 6994525"/>
                  <a:gd name="connsiteY6349" fmla="*/ 4799279 h 7571036"/>
                  <a:gd name="connsiteX6350" fmla="*/ 2415166 w 6994525"/>
                  <a:gd name="connsiteY6350" fmla="*/ 4842431 h 7571036"/>
                  <a:gd name="connsiteX6351" fmla="*/ 2458316 w 6994525"/>
                  <a:gd name="connsiteY6351" fmla="*/ 4799279 h 7571036"/>
                  <a:gd name="connsiteX6352" fmla="*/ 2460287 w 6994525"/>
                  <a:gd name="connsiteY6352" fmla="*/ 3275715 h 7571036"/>
                  <a:gd name="connsiteX6353" fmla="*/ 2455604 w 6994525"/>
                  <a:gd name="connsiteY6353" fmla="*/ 3271032 h 7571036"/>
                  <a:gd name="connsiteX6354" fmla="*/ 2450919 w 6994525"/>
                  <a:gd name="connsiteY6354" fmla="*/ 3275715 h 7571036"/>
                  <a:gd name="connsiteX6355" fmla="*/ 2455604 w 6994525"/>
                  <a:gd name="connsiteY6355" fmla="*/ 3280399 h 7571036"/>
                  <a:gd name="connsiteX6356" fmla="*/ 2460287 w 6994525"/>
                  <a:gd name="connsiteY6356" fmla="*/ 3275715 h 7571036"/>
                  <a:gd name="connsiteX6357" fmla="*/ 2461275 w 6994525"/>
                  <a:gd name="connsiteY6357" fmla="*/ 2999803 h 7571036"/>
                  <a:gd name="connsiteX6358" fmla="*/ 2430700 w 6994525"/>
                  <a:gd name="connsiteY6358" fmla="*/ 2969228 h 7571036"/>
                  <a:gd name="connsiteX6359" fmla="*/ 2400125 w 6994525"/>
                  <a:gd name="connsiteY6359" fmla="*/ 2999803 h 7571036"/>
                  <a:gd name="connsiteX6360" fmla="*/ 2430700 w 6994525"/>
                  <a:gd name="connsiteY6360" fmla="*/ 3030379 h 7571036"/>
                  <a:gd name="connsiteX6361" fmla="*/ 2461275 w 6994525"/>
                  <a:gd name="connsiteY6361" fmla="*/ 2999803 h 7571036"/>
                  <a:gd name="connsiteX6362" fmla="*/ 2462016 w 6994525"/>
                  <a:gd name="connsiteY6362" fmla="*/ 7099088 h 7571036"/>
                  <a:gd name="connsiteX6363" fmla="*/ 2460044 w 6994525"/>
                  <a:gd name="connsiteY6363" fmla="*/ 7097115 h 7571036"/>
                  <a:gd name="connsiteX6364" fmla="*/ 2458072 w 6994525"/>
                  <a:gd name="connsiteY6364" fmla="*/ 7099088 h 7571036"/>
                  <a:gd name="connsiteX6365" fmla="*/ 2460044 w 6994525"/>
                  <a:gd name="connsiteY6365" fmla="*/ 7101061 h 7571036"/>
                  <a:gd name="connsiteX6366" fmla="*/ 2462016 w 6994525"/>
                  <a:gd name="connsiteY6366" fmla="*/ 7099088 h 7571036"/>
                  <a:gd name="connsiteX6367" fmla="*/ 2463003 w 6994525"/>
                  <a:gd name="connsiteY6367" fmla="*/ 6873228 h 7571036"/>
                  <a:gd name="connsiteX6368" fmla="*/ 2460536 w 6994525"/>
                  <a:gd name="connsiteY6368" fmla="*/ 6870760 h 7571036"/>
                  <a:gd name="connsiteX6369" fmla="*/ 2458072 w 6994525"/>
                  <a:gd name="connsiteY6369" fmla="*/ 6873228 h 7571036"/>
                  <a:gd name="connsiteX6370" fmla="*/ 2460536 w 6994525"/>
                  <a:gd name="connsiteY6370" fmla="*/ 6875692 h 7571036"/>
                  <a:gd name="connsiteX6371" fmla="*/ 2463003 w 6994525"/>
                  <a:gd name="connsiteY6371" fmla="*/ 6873228 h 7571036"/>
                  <a:gd name="connsiteX6372" fmla="*/ 2463495 w 6994525"/>
                  <a:gd name="connsiteY6372" fmla="*/ 6986159 h 7571036"/>
                  <a:gd name="connsiteX6373" fmla="*/ 2460290 w 6994525"/>
                  <a:gd name="connsiteY6373" fmla="*/ 6982953 h 7571036"/>
                  <a:gd name="connsiteX6374" fmla="*/ 2457085 w 6994525"/>
                  <a:gd name="connsiteY6374" fmla="*/ 6986159 h 7571036"/>
                  <a:gd name="connsiteX6375" fmla="*/ 2460290 w 6994525"/>
                  <a:gd name="connsiteY6375" fmla="*/ 6989366 h 7571036"/>
                  <a:gd name="connsiteX6376" fmla="*/ 2463495 w 6994525"/>
                  <a:gd name="connsiteY6376" fmla="*/ 6986159 h 7571036"/>
                  <a:gd name="connsiteX6377" fmla="*/ 2464726 w 6994525"/>
                  <a:gd name="connsiteY6377" fmla="*/ 2289937 h 7571036"/>
                  <a:gd name="connsiteX6378" fmla="*/ 2424780 w 6994525"/>
                  <a:gd name="connsiteY6378" fmla="*/ 2250005 h 7571036"/>
                  <a:gd name="connsiteX6379" fmla="*/ 2385082 w 6994525"/>
                  <a:gd name="connsiteY6379" fmla="*/ 2289937 h 7571036"/>
                  <a:gd name="connsiteX6380" fmla="*/ 2424780 w 6994525"/>
                  <a:gd name="connsiteY6380" fmla="*/ 2329882 h 7571036"/>
                  <a:gd name="connsiteX6381" fmla="*/ 2464726 w 6994525"/>
                  <a:gd name="connsiteY6381" fmla="*/ 2289937 h 7571036"/>
                  <a:gd name="connsiteX6382" fmla="*/ 2465221 w 6994525"/>
                  <a:gd name="connsiteY6382" fmla="*/ 6417307 h 7571036"/>
                  <a:gd name="connsiteX6383" fmla="*/ 2461767 w 6994525"/>
                  <a:gd name="connsiteY6383" fmla="*/ 6414102 h 7571036"/>
                  <a:gd name="connsiteX6384" fmla="*/ 2458563 w 6994525"/>
                  <a:gd name="connsiteY6384" fmla="*/ 6417307 h 7571036"/>
                  <a:gd name="connsiteX6385" fmla="*/ 2461767 w 6994525"/>
                  <a:gd name="connsiteY6385" fmla="*/ 6420512 h 7571036"/>
                  <a:gd name="connsiteX6386" fmla="*/ 2465221 w 6994525"/>
                  <a:gd name="connsiteY6386" fmla="*/ 6417307 h 7571036"/>
                  <a:gd name="connsiteX6387" fmla="*/ 2466454 w 6994525"/>
                  <a:gd name="connsiteY6387" fmla="*/ 2599375 h 7571036"/>
                  <a:gd name="connsiteX6388" fmla="*/ 2427493 w 6994525"/>
                  <a:gd name="connsiteY6388" fmla="*/ 2560417 h 7571036"/>
                  <a:gd name="connsiteX6389" fmla="*/ 2388536 w 6994525"/>
                  <a:gd name="connsiteY6389" fmla="*/ 2599375 h 7571036"/>
                  <a:gd name="connsiteX6390" fmla="*/ 2427493 w 6994525"/>
                  <a:gd name="connsiteY6390" fmla="*/ 2638337 h 7571036"/>
                  <a:gd name="connsiteX6391" fmla="*/ 2466454 w 6994525"/>
                  <a:gd name="connsiteY6391" fmla="*/ 2599375 h 7571036"/>
                  <a:gd name="connsiteX6392" fmla="*/ 2467686 w 6994525"/>
                  <a:gd name="connsiteY6392" fmla="*/ 4400073 h 7571036"/>
                  <a:gd name="connsiteX6393" fmla="*/ 2465962 w 6994525"/>
                  <a:gd name="connsiteY6393" fmla="*/ 4398346 h 7571036"/>
                  <a:gd name="connsiteX6394" fmla="*/ 2464235 w 6994525"/>
                  <a:gd name="connsiteY6394" fmla="*/ 4400073 h 7571036"/>
                  <a:gd name="connsiteX6395" fmla="*/ 2465962 w 6994525"/>
                  <a:gd name="connsiteY6395" fmla="*/ 4401797 h 7571036"/>
                  <a:gd name="connsiteX6396" fmla="*/ 2467686 w 6994525"/>
                  <a:gd name="connsiteY6396" fmla="*/ 4400073 h 7571036"/>
                  <a:gd name="connsiteX6397" fmla="*/ 2468426 w 6994525"/>
                  <a:gd name="connsiteY6397" fmla="*/ 2427028 h 7571036"/>
                  <a:gd name="connsiteX6398" fmla="*/ 2438100 w 6994525"/>
                  <a:gd name="connsiteY6398" fmla="*/ 2396699 h 7571036"/>
                  <a:gd name="connsiteX6399" fmla="*/ 2407770 w 6994525"/>
                  <a:gd name="connsiteY6399" fmla="*/ 2427028 h 7571036"/>
                  <a:gd name="connsiteX6400" fmla="*/ 2438100 w 6994525"/>
                  <a:gd name="connsiteY6400" fmla="*/ 2457353 h 7571036"/>
                  <a:gd name="connsiteX6401" fmla="*/ 2468426 w 6994525"/>
                  <a:gd name="connsiteY6401" fmla="*/ 2427028 h 7571036"/>
                  <a:gd name="connsiteX6402" fmla="*/ 2470398 w 6994525"/>
                  <a:gd name="connsiteY6402" fmla="*/ 6646130 h 7571036"/>
                  <a:gd name="connsiteX6403" fmla="*/ 2461026 w 6994525"/>
                  <a:gd name="connsiteY6403" fmla="*/ 6636761 h 7571036"/>
                  <a:gd name="connsiteX6404" fmla="*/ 2451659 w 6994525"/>
                  <a:gd name="connsiteY6404" fmla="*/ 6646130 h 7571036"/>
                  <a:gd name="connsiteX6405" fmla="*/ 2461026 w 6994525"/>
                  <a:gd name="connsiteY6405" fmla="*/ 6655501 h 7571036"/>
                  <a:gd name="connsiteX6406" fmla="*/ 2470398 w 6994525"/>
                  <a:gd name="connsiteY6406" fmla="*/ 6646130 h 7571036"/>
                  <a:gd name="connsiteX6407" fmla="*/ 2471139 w 6994525"/>
                  <a:gd name="connsiteY6407" fmla="*/ 6531718 h 7571036"/>
                  <a:gd name="connsiteX6408" fmla="*/ 2461276 w 6994525"/>
                  <a:gd name="connsiteY6408" fmla="*/ 6521855 h 7571036"/>
                  <a:gd name="connsiteX6409" fmla="*/ 2451413 w 6994525"/>
                  <a:gd name="connsiteY6409" fmla="*/ 6531718 h 7571036"/>
                  <a:gd name="connsiteX6410" fmla="*/ 2461276 w 6994525"/>
                  <a:gd name="connsiteY6410" fmla="*/ 6541581 h 7571036"/>
                  <a:gd name="connsiteX6411" fmla="*/ 2471139 w 6994525"/>
                  <a:gd name="connsiteY6411" fmla="*/ 6531718 h 7571036"/>
                  <a:gd name="connsiteX6412" fmla="*/ 2472125 w 6994525"/>
                  <a:gd name="connsiteY6412" fmla="*/ 6759554 h 7571036"/>
                  <a:gd name="connsiteX6413" fmla="*/ 2460782 w 6994525"/>
                  <a:gd name="connsiteY6413" fmla="*/ 6748213 h 7571036"/>
                  <a:gd name="connsiteX6414" fmla="*/ 2449686 w 6994525"/>
                  <a:gd name="connsiteY6414" fmla="*/ 6759554 h 7571036"/>
                  <a:gd name="connsiteX6415" fmla="*/ 2460782 w 6994525"/>
                  <a:gd name="connsiteY6415" fmla="*/ 6770898 h 7571036"/>
                  <a:gd name="connsiteX6416" fmla="*/ 2472125 w 6994525"/>
                  <a:gd name="connsiteY6416" fmla="*/ 6759554 h 7571036"/>
                  <a:gd name="connsiteX6417" fmla="*/ 2473112 w 6994525"/>
                  <a:gd name="connsiteY6417" fmla="*/ 5956950 h 7571036"/>
                  <a:gd name="connsiteX6418" fmla="*/ 2471138 w 6994525"/>
                  <a:gd name="connsiteY6418" fmla="*/ 5954977 h 7571036"/>
                  <a:gd name="connsiteX6419" fmla="*/ 2469166 w 6994525"/>
                  <a:gd name="connsiteY6419" fmla="*/ 5956950 h 7571036"/>
                  <a:gd name="connsiteX6420" fmla="*/ 2471138 w 6994525"/>
                  <a:gd name="connsiteY6420" fmla="*/ 5958923 h 7571036"/>
                  <a:gd name="connsiteX6421" fmla="*/ 2473112 w 6994525"/>
                  <a:gd name="connsiteY6421" fmla="*/ 5956950 h 7571036"/>
                  <a:gd name="connsiteX6422" fmla="*/ 2473358 w 6994525"/>
                  <a:gd name="connsiteY6422" fmla="*/ 6073334 h 7571036"/>
                  <a:gd name="connsiteX6423" fmla="*/ 2470153 w 6994525"/>
                  <a:gd name="connsiteY6423" fmla="*/ 6070129 h 7571036"/>
                  <a:gd name="connsiteX6424" fmla="*/ 2466948 w 6994525"/>
                  <a:gd name="connsiteY6424" fmla="*/ 6073334 h 7571036"/>
                  <a:gd name="connsiteX6425" fmla="*/ 2470153 w 6994525"/>
                  <a:gd name="connsiteY6425" fmla="*/ 6076542 h 7571036"/>
                  <a:gd name="connsiteX6426" fmla="*/ 2473358 w 6994525"/>
                  <a:gd name="connsiteY6426" fmla="*/ 6073334 h 7571036"/>
                  <a:gd name="connsiteX6427" fmla="*/ 2476316 w 6994525"/>
                  <a:gd name="connsiteY6427" fmla="*/ 5839827 h 7571036"/>
                  <a:gd name="connsiteX6428" fmla="*/ 2472863 w 6994525"/>
                  <a:gd name="connsiteY6428" fmla="*/ 5836374 h 7571036"/>
                  <a:gd name="connsiteX6429" fmla="*/ 2469413 w 6994525"/>
                  <a:gd name="connsiteY6429" fmla="*/ 5839827 h 7571036"/>
                  <a:gd name="connsiteX6430" fmla="*/ 2472863 w 6994525"/>
                  <a:gd name="connsiteY6430" fmla="*/ 5843279 h 7571036"/>
                  <a:gd name="connsiteX6431" fmla="*/ 2476316 w 6994525"/>
                  <a:gd name="connsiteY6431" fmla="*/ 5839827 h 7571036"/>
                  <a:gd name="connsiteX6432" fmla="*/ 2476808 w 6994525"/>
                  <a:gd name="connsiteY6432" fmla="*/ 5721967 h 7571036"/>
                  <a:gd name="connsiteX6433" fmla="*/ 2474342 w 6994525"/>
                  <a:gd name="connsiteY6433" fmla="*/ 5719499 h 7571036"/>
                  <a:gd name="connsiteX6434" fmla="*/ 2471877 w 6994525"/>
                  <a:gd name="connsiteY6434" fmla="*/ 5721967 h 7571036"/>
                  <a:gd name="connsiteX6435" fmla="*/ 2474342 w 6994525"/>
                  <a:gd name="connsiteY6435" fmla="*/ 5724430 h 7571036"/>
                  <a:gd name="connsiteX6436" fmla="*/ 2476808 w 6994525"/>
                  <a:gd name="connsiteY6436" fmla="*/ 5721967 h 7571036"/>
                  <a:gd name="connsiteX6437" fmla="*/ 2477797 w 6994525"/>
                  <a:gd name="connsiteY6437" fmla="*/ 4666128 h 7571036"/>
                  <a:gd name="connsiteX6438" fmla="*/ 2425769 w 6994525"/>
                  <a:gd name="connsiteY6438" fmla="*/ 4614099 h 7571036"/>
                  <a:gd name="connsiteX6439" fmla="*/ 2373741 w 6994525"/>
                  <a:gd name="connsiteY6439" fmla="*/ 4666128 h 7571036"/>
                  <a:gd name="connsiteX6440" fmla="*/ 2425769 w 6994525"/>
                  <a:gd name="connsiteY6440" fmla="*/ 4718156 h 7571036"/>
                  <a:gd name="connsiteX6441" fmla="*/ 2477797 w 6994525"/>
                  <a:gd name="connsiteY6441" fmla="*/ 4666128 h 7571036"/>
                  <a:gd name="connsiteX6442" fmla="*/ 2480262 w 6994525"/>
                  <a:gd name="connsiteY6442" fmla="*/ 83131 h 7571036"/>
                  <a:gd name="connsiteX6443" fmla="*/ 2457577 w 6994525"/>
                  <a:gd name="connsiteY6443" fmla="*/ 60448 h 7571036"/>
                  <a:gd name="connsiteX6444" fmla="*/ 2434892 w 6994525"/>
                  <a:gd name="connsiteY6444" fmla="*/ 83131 h 7571036"/>
                  <a:gd name="connsiteX6445" fmla="*/ 2457577 w 6994525"/>
                  <a:gd name="connsiteY6445" fmla="*/ 105815 h 7571036"/>
                  <a:gd name="connsiteX6446" fmla="*/ 2480262 w 6994525"/>
                  <a:gd name="connsiteY6446" fmla="*/ 83131 h 7571036"/>
                  <a:gd name="connsiteX6447" fmla="*/ 2480507 w 6994525"/>
                  <a:gd name="connsiteY6447" fmla="*/ 196530 h 7571036"/>
                  <a:gd name="connsiteX6448" fmla="*/ 2457823 w 6994525"/>
                  <a:gd name="connsiteY6448" fmla="*/ 173846 h 7571036"/>
                  <a:gd name="connsiteX6449" fmla="*/ 2435138 w 6994525"/>
                  <a:gd name="connsiteY6449" fmla="*/ 196530 h 7571036"/>
                  <a:gd name="connsiteX6450" fmla="*/ 2457823 w 6994525"/>
                  <a:gd name="connsiteY6450" fmla="*/ 219213 h 7571036"/>
                  <a:gd name="connsiteX6451" fmla="*/ 2480507 w 6994525"/>
                  <a:gd name="connsiteY6451" fmla="*/ 196530 h 7571036"/>
                  <a:gd name="connsiteX6452" fmla="*/ 2480507 w 6994525"/>
                  <a:gd name="connsiteY6452" fmla="*/ 424563 h 7571036"/>
                  <a:gd name="connsiteX6453" fmla="*/ 2458809 w 6994525"/>
                  <a:gd name="connsiteY6453" fmla="*/ 402865 h 7571036"/>
                  <a:gd name="connsiteX6454" fmla="*/ 2437110 w 6994525"/>
                  <a:gd name="connsiteY6454" fmla="*/ 424563 h 7571036"/>
                  <a:gd name="connsiteX6455" fmla="*/ 2458809 w 6994525"/>
                  <a:gd name="connsiteY6455" fmla="*/ 446261 h 7571036"/>
                  <a:gd name="connsiteX6456" fmla="*/ 2480507 w 6994525"/>
                  <a:gd name="connsiteY6456" fmla="*/ 424563 h 7571036"/>
                  <a:gd name="connsiteX6457" fmla="*/ 2480754 w 6994525"/>
                  <a:gd name="connsiteY6457" fmla="*/ 538950 h 7571036"/>
                  <a:gd name="connsiteX6458" fmla="*/ 2459303 w 6994525"/>
                  <a:gd name="connsiteY6458" fmla="*/ 517498 h 7571036"/>
                  <a:gd name="connsiteX6459" fmla="*/ 2438097 w 6994525"/>
                  <a:gd name="connsiteY6459" fmla="*/ 538950 h 7571036"/>
                  <a:gd name="connsiteX6460" fmla="*/ 2459303 w 6994525"/>
                  <a:gd name="connsiteY6460" fmla="*/ 560400 h 7571036"/>
                  <a:gd name="connsiteX6461" fmla="*/ 2480754 w 6994525"/>
                  <a:gd name="connsiteY6461" fmla="*/ 538950 h 7571036"/>
                  <a:gd name="connsiteX6462" fmla="*/ 2481247 w 6994525"/>
                  <a:gd name="connsiteY6462" fmla="*/ 310175 h 7571036"/>
                  <a:gd name="connsiteX6463" fmla="*/ 2458563 w 6994525"/>
                  <a:gd name="connsiteY6463" fmla="*/ 287491 h 7571036"/>
                  <a:gd name="connsiteX6464" fmla="*/ 2435878 w 6994525"/>
                  <a:gd name="connsiteY6464" fmla="*/ 310175 h 7571036"/>
                  <a:gd name="connsiteX6465" fmla="*/ 2458563 w 6994525"/>
                  <a:gd name="connsiteY6465" fmla="*/ 332860 h 7571036"/>
                  <a:gd name="connsiteX6466" fmla="*/ 2481247 w 6994525"/>
                  <a:gd name="connsiteY6466" fmla="*/ 310175 h 7571036"/>
                  <a:gd name="connsiteX6467" fmla="*/ 2481248 w 6994525"/>
                  <a:gd name="connsiteY6467" fmla="*/ 3736535 h 7571036"/>
                  <a:gd name="connsiteX6468" fmla="*/ 2468426 w 6994525"/>
                  <a:gd name="connsiteY6468" fmla="*/ 3723713 h 7571036"/>
                  <a:gd name="connsiteX6469" fmla="*/ 2455604 w 6994525"/>
                  <a:gd name="connsiteY6469" fmla="*/ 3736535 h 7571036"/>
                  <a:gd name="connsiteX6470" fmla="*/ 2468426 w 6994525"/>
                  <a:gd name="connsiteY6470" fmla="*/ 3749357 h 7571036"/>
                  <a:gd name="connsiteX6471" fmla="*/ 2481248 w 6994525"/>
                  <a:gd name="connsiteY6471" fmla="*/ 3736535 h 7571036"/>
                  <a:gd name="connsiteX6472" fmla="*/ 2481248 w 6994525"/>
                  <a:gd name="connsiteY6472" fmla="*/ 4007773 h 7571036"/>
                  <a:gd name="connsiteX6473" fmla="*/ 2456098 w 6994525"/>
                  <a:gd name="connsiteY6473" fmla="*/ 3982620 h 7571036"/>
                  <a:gd name="connsiteX6474" fmla="*/ 2430947 w 6994525"/>
                  <a:gd name="connsiteY6474" fmla="*/ 4007773 h 7571036"/>
                  <a:gd name="connsiteX6475" fmla="*/ 2456098 w 6994525"/>
                  <a:gd name="connsiteY6475" fmla="*/ 4032921 h 7571036"/>
                  <a:gd name="connsiteX6476" fmla="*/ 2481248 w 6994525"/>
                  <a:gd name="connsiteY6476" fmla="*/ 4007773 h 7571036"/>
                  <a:gd name="connsiteX6477" fmla="*/ 2481494 w 6994525"/>
                  <a:gd name="connsiteY6477" fmla="*/ 5483524 h 7571036"/>
                  <a:gd name="connsiteX6478" fmla="*/ 2478535 w 6994525"/>
                  <a:gd name="connsiteY6478" fmla="*/ 5480566 h 7571036"/>
                  <a:gd name="connsiteX6479" fmla="*/ 2475576 w 6994525"/>
                  <a:gd name="connsiteY6479" fmla="*/ 5483524 h 7571036"/>
                  <a:gd name="connsiteX6480" fmla="*/ 2478535 w 6994525"/>
                  <a:gd name="connsiteY6480" fmla="*/ 5486483 h 7571036"/>
                  <a:gd name="connsiteX6481" fmla="*/ 2481494 w 6994525"/>
                  <a:gd name="connsiteY6481" fmla="*/ 5483524 h 7571036"/>
                  <a:gd name="connsiteX6482" fmla="*/ 2481986 w 6994525"/>
                  <a:gd name="connsiteY6482" fmla="*/ 6304377 h 7571036"/>
                  <a:gd name="connsiteX6483" fmla="*/ 2468426 w 6994525"/>
                  <a:gd name="connsiteY6483" fmla="*/ 6291060 h 7571036"/>
                  <a:gd name="connsiteX6484" fmla="*/ 2454864 w 6994525"/>
                  <a:gd name="connsiteY6484" fmla="*/ 6304377 h 7571036"/>
                  <a:gd name="connsiteX6485" fmla="*/ 2468426 w 6994525"/>
                  <a:gd name="connsiteY6485" fmla="*/ 6317937 h 7571036"/>
                  <a:gd name="connsiteX6486" fmla="*/ 2481986 w 6994525"/>
                  <a:gd name="connsiteY6486" fmla="*/ 6304377 h 7571036"/>
                  <a:gd name="connsiteX6487" fmla="*/ 2482974 w 6994525"/>
                  <a:gd name="connsiteY6487" fmla="*/ 5603116 h 7571036"/>
                  <a:gd name="connsiteX6488" fmla="*/ 2476316 w 6994525"/>
                  <a:gd name="connsiteY6488" fmla="*/ 5596457 h 7571036"/>
                  <a:gd name="connsiteX6489" fmla="*/ 2469658 w 6994525"/>
                  <a:gd name="connsiteY6489" fmla="*/ 5603116 h 7571036"/>
                  <a:gd name="connsiteX6490" fmla="*/ 2476316 w 6994525"/>
                  <a:gd name="connsiteY6490" fmla="*/ 5609774 h 7571036"/>
                  <a:gd name="connsiteX6491" fmla="*/ 2482974 w 6994525"/>
                  <a:gd name="connsiteY6491" fmla="*/ 5603116 h 7571036"/>
                  <a:gd name="connsiteX6492" fmla="*/ 2484945 w 6994525"/>
                  <a:gd name="connsiteY6492" fmla="*/ 4529277 h 7571036"/>
                  <a:gd name="connsiteX6493" fmla="*/ 2438838 w 6994525"/>
                  <a:gd name="connsiteY6493" fmla="*/ 4483167 h 7571036"/>
                  <a:gd name="connsiteX6494" fmla="*/ 2392727 w 6994525"/>
                  <a:gd name="connsiteY6494" fmla="*/ 4529277 h 7571036"/>
                  <a:gd name="connsiteX6495" fmla="*/ 2438838 w 6994525"/>
                  <a:gd name="connsiteY6495" fmla="*/ 4575388 h 7571036"/>
                  <a:gd name="connsiteX6496" fmla="*/ 2484945 w 6994525"/>
                  <a:gd name="connsiteY6496" fmla="*/ 4529277 h 7571036"/>
                  <a:gd name="connsiteX6497" fmla="*/ 2485439 w 6994525"/>
                  <a:gd name="connsiteY6497" fmla="*/ 6189226 h 7571036"/>
                  <a:gd name="connsiteX6498" fmla="*/ 2469166 w 6994525"/>
                  <a:gd name="connsiteY6498" fmla="*/ 6172950 h 7571036"/>
                  <a:gd name="connsiteX6499" fmla="*/ 2452891 w 6994525"/>
                  <a:gd name="connsiteY6499" fmla="*/ 6189226 h 7571036"/>
                  <a:gd name="connsiteX6500" fmla="*/ 2469166 w 6994525"/>
                  <a:gd name="connsiteY6500" fmla="*/ 6205498 h 7571036"/>
                  <a:gd name="connsiteX6501" fmla="*/ 2485439 w 6994525"/>
                  <a:gd name="connsiteY6501" fmla="*/ 6189226 h 7571036"/>
                  <a:gd name="connsiteX6502" fmla="*/ 2487659 w 6994525"/>
                  <a:gd name="connsiteY6502" fmla="*/ 3163029 h 7571036"/>
                  <a:gd name="connsiteX6503" fmla="*/ 2484206 w 6994525"/>
                  <a:gd name="connsiteY6503" fmla="*/ 3159579 h 7571036"/>
                  <a:gd name="connsiteX6504" fmla="*/ 2480756 w 6994525"/>
                  <a:gd name="connsiteY6504" fmla="*/ 3163029 h 7571036"/>
                  <a:gd name="connsiteX6505" fmla="*/ 2484206 w 6994525"/>
                  <a:gd name="connsiteY6505" fmla="*/ 3166483 h 7571036"/>
                  <a:gd name="connsiteX6506" fmla="*/ 2487659 w 6994525"/>
                  <a:gd name="connsiteY6506" fmla="*/ 3163029 h 7571036"/>
                  <a:gd name="connsiteX6507" fmla="*/ 2490125 w 6994525"/>
                  <a:gd name="connsiteY6507" fmla="*/ 2745593 h 7571036"/>
                  <a:gd name="connsiteX6508" fmla="*/ 2451907 w 6994525"/>
                  <a:gd name="connsiteY6508" fmla="*/ 2707370 h 7571036"/>
                  <a:gd name="connsiteX6509" fmla="*/ 2413933 w 6994525"/>
                  <a:gd name="connsiteY6509" fmla="*/ 2745593 h 7571036"/>
                  <a:gd name="connsiteX6510" fmla="*/ 2451907 w 6994525"/>
                  <a:gd name="connsiteY6510" fmla="*/ 2783562 h 7571036"/>
                  <a:gd name="connsiteX6511" fmla="*/ 2490125 w 6994525"/>
                  <a:gd name="connsiteY6511" fmla="*/ 2745593 h 7571036"/>
                  <a:gd name="connsiteX6512" fmla="*/ 2504919 w 6994525"/>
                  <a:gd name="connsiteY6512" fmla="*/ 1589984 h 7571036"/>
                  <a:gd name="connsiteX6513" fmla="*/ 2486425 w 6994525"/>
                  <a:gd name="connsiteY6513" fmla="*/ 1571491 h 7571036"/>
                  <a:gd name="connsiteX6514" fmla="*/ 2467932 w 6994525"/>
                  <a:gd name="connsiteY6514" fmla="*/ 1589984 h 7571036"/>
                  <a:gd name="connsiteX6515" fmla="*/ 2486425 w 6994525"/>
                  <a:gd name="connsiteY6515" fmla="*/ 1608480 h 7571036"/>
                  <a:gd name="connsiteX6516" fmla="*/ 2504919 w 6994525"/>
                  <a:gd name="connsiteY6516" fmla="*/ 1589984 h 7571036"/>
                  <a:gd name="connsiteX6517" fmla="*/ 2505412 w 6994525"/>
                  <a:gd name="connsiteY6517" fmla="*/ 1711760 h 7571036"/>
                  <a:gd name="connsiteX6518" fmla="*/ 2490372 w 6994525"/>
                  <a:gd name="connsiteY6518" fmla="*/ 1696739 h 7571036"/>
                  <a:gd name="connsiteX6519" fmla="*/ 2475084 w 6994525"/>
                  <a:gd name="connsiteY6519" fmla="*/ 1711760 h 7571036"/>
                  <a:gd name="connsiteX6520" fmla="*/ 2490372 w 6994525"/>
                  <a:gd name="connsiteY6520" fmla="*/ 1726814 h 7571036"/>
                  <a:gd name="connsiteX6521" fmla="*/ 2505412 w 6994525"/>
                  <a:gd name="connsiteY6521" fmla="*/ 1711760 h 7571036"/>
                  <a:gd name="connsiteX6522" fmla="*/ 2508123 w 6994525"/>
                  <a:gd name="connsiteY6522" fmla="*/ 4256813 h 7571036"/>
                  <a:gd name="connsiteX6523" fmla="*/ 2486919 w 6994525"/>
                  <a:gd name="connsiteY6523" fmla="*/ 4235606 h 7571036"/>
                  <a:gd name="connsiteX6524" fmla="*/ 2465713 w 6994525"/>
                  <a:gd name="connsiteY6524" fmla="*/ 4256813 h 7571036"/>
                  <a:gd name="connsiteX6525" fmla="*/ 2486919 w 6994525"/>
                  <a:gd name="connsiteY6525" fmla="*/ 4278016 h 7571036"/>
                  <a:gd name="connsiteX6526" fmla="*/ 2508123 w 6994525"/>
                  <a:gd name="connsiteY6526" fmla="*/ 4256813 h 7571036"/>
                  <a:gd name="connsiteX6527" fmla="*/ 2509357 w 6994525"/>
                  <a:gd name="connsiteY6527" fmla="*/ 4996785 h 7571036"/>
                  <a:gd name="connsiteX6528" fmla="*/ 2501715 w 6994525"/>
                  <a:gd name="connsiteY6528" fmla="*/ 4989140 h 7571036"/>
                  <a:gd name="connsiteX6529" fmla="*/ 2494070 w 6994525"/>
                  <a:gd name="connsiteY6529" fmla="*/ 4996785 h 7571036"/>
                  <a:gd name="connsiteX6530" fmla="*/ 2501715 w 6994525"/>
                  <a:gd name="connsiteY6530" fmla="*/ 5004427 h 7571036"/>
                  <a:gd name="connsiteX6531" fmla="*/ 2509357 w 6994525"/>
                  <a:gd name="connsiteY6531" fmla="*/ 4996785 h 7571036"/>
                  <a:gd name="connsiteX6532" fmla="*/ 2518236 w 6994525"/>
                  <a:gd name="connsiteY6532" fmla="*/ 3847497 h 7571036"/>
                  <a:gd name="connsiteX6533" fmla="*/ 2503192 w 6994525"/>
                  <a:gd name="connsiteY6533" fmla="*/ 3832456 h 7571036"/>
                  <a:gd name="connsiteX6534" fmla="*/ 2488153 w 6994525"/>
                  <a:gd name="connsiteY6534" fmla="*/ 3847497 h 7571036"/>
                  <a:gd name="connsiteX6535" fmla="*/ 2503192 w 6994525"/>
                  <a:gd name="connsiteY6535" fmla="*/ 3862540 h 7571036"/>
                  <a:gd name="connsiteX6536" fmla="*/ 2518236 w 6994525"/>
                  <a:gd name="connsiteY6536" fmla="*/ 3847497 h 7571036"/>
                  <a:gd name="connsiteX6537" fmla="*/ 2518479 w 6994525"/>
                  <a:gd name="connsiteY6537" fmla="*/ 5244839 h 7571036"/>
                  <a:gd name="connsiteX6538" fmla="*/ 2492589 w 6994525"/>
                  <a:gd name="connsiteY6538" fmla="*/ 5218949 h 7571036"/>
                  <a:gd name="connsiteX6539" fmla="*/ 2466700 w 6994525"/>
                  <a:gd name="connsiteY6539" fmla="*/ 5244839 h 7571036"/>
                  <a:gd name="connsiteX6540" fmla="*/ 2492589 w 6994525"/>
                  <a:gd name="connsiteY6540" fmla="*/ 5270732 h 7571036"/>
                  <a:gd name="connsiteX6541" fmla="*/ 2518479 w 6994525"/>
                  <a:gd name="connsiteY6541" fmla="*/ 5244839 h 7571036"/>
                  <a:gd name="connsiteX6542" fmla="*/ 2520453 w 6994525"/>
                  <a:gd name="connsiteY6542" fmla="*/ 2896981 h 7571036"/>
                  <a:gd name="connsiteX6543" fmla="*/ 2483712 w 6994525"/>
                  <a:gd name="connsiteY6543" fmla="*/ 2860242 h 7571036"/>
                  <a:gd name="connsiteX6544" fmla="*/ 2446973 w 6994525"/>
                  <a:gd name="connsiteY6544" fmla="*/ 2896981 h 7571036"/>
                  <a:gd name="connsiteX6545" fmla="*/ 2483712 w 6994525"/>
                  <a:gd name="connsiteY6545" fmla="*/ 2933723 h 7571036"/>
                  <a:gd name="connsiteX6546" fmla="*/ 2520453 w 6994525"/>
                  <a:gd name="connsiteY6546" fmla="*/ 2896981 h 7571036"/>
                  <a:gd name="connsiteX6547" fmla="*/ 2525628 w 6994525"/>
                  <a:gd name="connsiteY6547" fmla="*/ 1835084 h 7571036"/>
                  <a:gd name="connsiteX6548" fmla="*/ 2494315 w 6994525"/>
                  <a:gd name="connsiteY6548" fmla="*/ 1803769 h 7571036"/>
                  <a:gd name="connsiteX6549" fmla="*/ 2463000 w 6994525"/>
                  <a:gd name="connsiteY6549" fmla="*/ 1835084 h 7571036"/>
                  <a:gd name="connsiteX6550" fmla="*/ 2494315 w 6994525"/>
                  <a:gd name="connsiteY6550" fmla="*/ 1866387 h 7571036"/>
                  <a:gd name="connsiteX6551" fmla="*/ 2525628 w 6994525"/>
                  <a:gd name="connsiteY6551" fmla="*/ 1835084 h 7571036"/>
                  <a:gd name="connsiteX6552" fmla="*/ 2529084 w 6994525"/>
                  <a:gd name="connsiteY6552" fmla="*/ 3054292 h 7571036"/>
                  <a:gd name="connsiteX6553" fmla="*/ 2525140 w 6994525"/>
                  <a:gd name="connsiteY6553" fmla="*/ 3050347 h 7571036"/>
                  <a:gd name="connsiteX6554" fmla="*/ 2521194 w 6994525"/>
                  <a:gd name="connsiteY6554" fmla="*/ 3054292 h 7571036"/>
                  <a:gd name="connsiteX6555" fmla="*/ 2525140 w 6994525"/>
                  <a:gd name="connsiteY6555" fmla="*/ 3058237 h 7571036"/>
                  <a:gd name="connsiteX6556" fmla="*/ 2529084 w 6994525"/>
                  <a:gd name="connsiteY6556" fmla="*/ 3054292 h 7571036"/>
                  <a:gd name="connsiteX6557" fmla="*/ 2533030 w 6994525"/>
                  <a:gd name="connsiteY6557" fmla="*/ 2086271 h 7571036"/>
                  <a:gd name="connsiteX6558" fmla="*/ 2506400 w 6994525"/>
                  <a:gd name="connsiteY6558" fmla="*/ 2059638 h 7571036"/>
                  <a:gd name="connsiteX6559" fmla="*/ 2479770 w 6994525"/>
                  <a:gd name="connsiteY6559" fmla="*/ 2086271 h 7571036"/>
                  <a:gd name="connsiteX6560" fmla="*/ 2506400 w 6994525"/>
                  <a:gd name="connsiteY6560" fmla="*/ 2112905 h 7571036"/>
                  <a:gd name="connsiteX6561" fmla="*/ 2533030 w 6994525"/>
                  <a:gd name="connsiteY6561" fmla="*/ 2086271 h 7571036"/>
                  <a:gd name="connsiteX6562" fmla="*/ 2533522 w 6994525"/>
                  <a:gd name="connsiteY6562" fmla="*/ 5121800 h 7571036"/>
                  <a:gd name="connsiteX6563" fmla="*/ 2496779 w 6994525"/>
                  <a:gd name="connsiteY6563" fmla="*/ 5085061 h 7571036"/>
                  <a:gd name="connsiteX6564" fmla="*/ 2460041 w 6994525"/>
                  <a:gd name="connsiteY6564" fmla="*/ 5121800 h 7571036"/>
                  <a:gd name="connsiteX6565" fmla="*/ 2496779 w 6994525"/>
                  <a:gd name="connsiteY6565" fmla="*/ 5158539 h 7571036"/>
                  <a:gd name="connsiteX6566" fmla="*/ 2533522 w 6994525"/>
                  <a:gd name="connsiteY6566" fmla="*/ 5121800 h 7571036"/>
                  <a:gd name="connsiteX6567" fmla="*/ 2533768 w 6994525"/>
                  <a:gd name="connsiteY6567" fmla="*/ 1959549 h 7571036"/>
                  <a:gd name="connsiteX6568" fmla="*/ 2499987 w 6994525"/>
                  <a:gd name="connsiteY6568" fmla="*/ 1925778 h 7571036"/>
                  <a:gd name="connsiteX6569" fmla="*/ 2466207 w 6994525"/>
                  <a:gd name="connsiteY6569" fmla="*/ 1959549 h 7571036"/>
                  <a:gd name="connsiteX6570" fmla="*/ 2499987 w 6994525"/>
                  <a:gd name="connsiteY6570" fmla="*/ 1993319 h 7571036"/>
                  <a:gd name="connsiteX6571" fmla="*/ 2533768 w 6994525"/>
                  <a:gd name="connsiteY6571" fmla="*/ 1959549 h 7571036"/>
                  <a:gd name="connsiteX6572" fmla="*/ 2544374 w 6994525"/>
                  <a:gd name="connsiteY6572" fmla="*/ 632382 h 7571036"/>
                  <a:gd name="connsiteX6573" fmla="*/ 2520949 w 6994525"/>
                  <a:gd name="connsiteY6573" fmla="*/ 608712 h 7571036"/>
                  <a:gd name="connsiteX6574" fmla="*/ 2497523 w 6994525"/>
                  <a:gd name="connsiteY6574" fmla="*/ 632382 h 7571036"/>
                  <a:gd name="connsiteX6575" fmla="*/ 2520949 w 6994525"/>
                  <a:gd name="connsiteY6575" fmla="*/ 655852 h 7571036"/>
                  <a:gd name="connsiteX6576" fmla="*/ 2544374 w 6994525"/>
                  <a:gd name="connsiteY6576" fmla="*/ 632382 h 7571036"/>
                  <a:gd name="connsiteX6577" fmla="*/ 2544616 w 6994525"/>
                  <a:gd name="connsiteY6577" fmla="*/ 977571 h 7571036"/>
                  <a:gd name="connsiteX6578" fmla="*/ 2523412 w 6994525"/>
                  <a:gd name="connsiteY6578" fmla="*/ 956369 h 7571036"/>
                  <a:gd name="connsiteX6579" fmla="*/ 2502206 w 6994525"/>
                  <a:gd name="connsiteY6579" fmla="*/ 977571 h 7571036"/>
                  <a:gd name="connsiteX6580" fmla="*/ 2523412 w 6994525"/>
                  <a:gd name="connsiteY6580" fmla="*/ 998772 h 7571036"/>
                  <a:gd name="connsiteX6581" fmla="*/ 2544616 w 6994525"/>
                  <a:gd name="connsiteY6581" fmla="*/ 977571 h 7571036"/>
                  <a:gd name="connsiteX6582" fmla="*/ 2544865 w 6994525"/>
                  <a:gd name="connsiteY6582" fmla="*/ 747058 h 7571036"/>
                  <a:gd name="connsiteX6583" fmla="*/ 2521440 w 6994525"/>
                  <a:gd name="connsiteY6583" fmla="*/ 723638 h 7571036"/>
                  <a:gd name="connsiteX6584" fmla="*/ 2498015 w 6994525"/>
                  <a:gd name="connsiteY6584" fmla="*/ 747058 h 7571036"/>
                  <a:gd name="connsiteX6585" fmla="*/ 2521440 w 6994525"/>
                  <a:gd name="connsiteY6585" fmla="*/ 770486 h 7571036"/>
                  <a:gd name="connsiteX6586" fmla="*/ 2544865 w 6994525"/>
                  <a:gd name="connsiteY6586" fmla="*/ 747058 h 7571036"/>
                  <a:gd name="connsiteX6587" fmla="*/ 2544865 w 6994525"/>
                  <a:gd name="connsiteY6587" fmla="*/ 1211043 h 7571036"/>
                  <a:gd name="connsiteX6588" fmla="*/ 2524891 w 6994525"/>
                  <a:gd name="connsiteY6588" fmla="*/ 1191071 h 7571036"/>
                  <a:gd name="connsiteX6589" fmla="*/ 2504919 w 6994525"/>
                  <a:gd name="connsiteY6589" fmla="*/ 1211043 h 7571036"/>
                  <a:gd name="connsiteX6590" fmla="*/ 2524891 w 6994525"/>
                  <a:gd name="connsiteY6590" fmla="*/ 1231019 h 7571036"/>
                  <a:gd name="connsiteX6591" fmla="*/ 2544865 w 6994525"/>
                  <a:gd name="connsiteY6591" fmla="*/ 1211043 h 7571036"/>
                  <a:gd name="connsiteX6592" fmla="*/ 2545112 w 6994525"/>
                  <a:gd name="connsiteY6592" fmla="*/ 2513567 h 7571036"/>
                  <a:gd name="connsiteX6593" fmla="*/ 2504673 w 6994525"/>
                  <a:gd name="connsiteY6593" fmla="*/ 2473129 h 7571036"/>
                  <a:gd name="connsiteX6594" fmla="*/ 2464235 w 6994525"/>
                  <a:gd name="connsiteY6594" fmla="*/ 2513567 h 7571036"/>
                  <a:gd name="connsiteX6595" fmla="*/ 2504673 w 6994525"/>
                  <a:gd name="connsiteY6595" fmla="*/ 2554006 h 7571036"/>
                  <a:gd name="connsiteX6596" fmla="*/ 2545112 w 6994525"/>
                  <a:gd name="connsiteY6596" fmla="*/ 2513567 h 7571036"/>
                  <a:gd name="connsiteX6597" fmla="*/ 2545603 w 6994525"/>
                  <a:gd name="connsiteY6597" fmla="*/ 1093938 h 7571036"/>
                  <a:gd name="connsiteX6598" fmla="*/ 2523904 w 6994525"/>
                  <a:gd name="connsiteY6598" fmla="*/ 1072239 h 7571036"/>
                  <a:gd name="connsiteX6599" fmla="*/ 2502206 w 6994525"/>
                  <a:gd name="connsiteY6599" fmla="*/ 1093938 h 7571036"/>
                  <a:gd name="connsiteX6600" fmla="*/ 2523904 w 6994525"/>
                  <a:gd name="connsiteY6600" fmla="*/ 1115634 h 7571036"/>
                  <a:gd name="connsiteX6601" fmla="*/ 2545603 w 6994525"/>
                  <a:gd name="connsiteY6601" fmla="*/ 1093938 h 7571036"/>
                  <a:gd name="connsiteX6602" fmla="*/ 2545852 w 6994525"/>
                  <a:gd name="connsiteY6602" fmla="*/ 861943 h 7571036"/>
                  <a:gd name="connsiteX6603" fmla="*/ 2522426 w 6994525"/>
                  <a:gd name="connsiteY6603" fmla="*/ 838526 h 7571036"/>
                  <a:gd name="connsiteX6604" fmla="*/ 2499001 w 6994525"/>
                  <a:gd name="connsiteY6604" fmla="*/ 861943 h 7571036"/>
                  <a:gd name="connsiteX6605" fmla="*/ 2522426 w 6994525"/>
                  <a:gd name="connsiteY6605" fmla="*/ 885370 h 7571036"/>
                  <a:gd name="connsiteX6606" fmla="*/ 2545852 w 6994525"/>
                  <a:gd name="connsiteY6606" fmla="*/ 861943 h 7571036"/>
                  <a:gd name="connsiteX6607" fmla="*/ 2546344 w 6994525"/>
                  <a:gd name="connsiteY6607" fmla="*/ 3448314 h 7571036"/>
                  <a:gd name="connsiteX6608" fmla="*/ 2545110 w 6994525"/>
                  <a:gd name="connsiteY6608" fmla="*/ 3447081 h 7571036"/>
                  <a:gd name="connsiteX6609" fmla="*/ 2543877 w 6994525"/>
                  <a:gd name="connsiteY6609" fmla="*/ 3448314 h 7571036"/>
                  <a:gd name="connsiteX6610" fmla="*/ 2545110 w 6994525"/>
                  <a:gd name="connsiteY6610" fmla="*/ 3449548 h 7571036"/>
                  <a:gd name="connsiteX6611" fmla="*/ 2546344 w 6994525"/>
                  <a:gd name="connsiteY6611" fmla="*/ 3448314 h 7571036"/>
                  <a:gd name="connsiteX6612" fmla="*/ 2547330 w 6994525"/>
                  <a:gd name="connsiteY6612" fmla="*/ 4482676 h 7571036"/>
                  <a:gd name="connsiteX6613" fmla="*/ 2546592 w 6994525"/>
                  <a:gd name="connsiteY6613" fmla="*/ 4481935 h 7571036"/>
                  <a:gd name="connsiteX6614" fmla="*/ 2545852 w 6994525"/>
                  <a:gd name="connsiteY6614" fmla="*/ 4482676 h 7571036"/>
                  <a:gd name="connsiteX6615" fmla="*/ 2546592 w 6994525"/>
                  <a:gd name="connsiteY6615" fmla="*/ 4483412 h 7571036"/>
                  <a:gd name="connsiteX6616" fmla="*/ 2547330 w 6994525"/>
                  <a:gd name="connsiteY6616" fmla="*/ 4482676 h 7571036"/>
                  <a:gd name="connsiteX6617" fmla="*/ 2547576 w 6994525"/>
                  <a:gd name="connsiteY6617" fmla="*/ 4869798 h 7571036"/>
                  <a:gd name="connsiteX6618" fmla="*/ 2507878 w 6994525"/>
                  <a:gd name="connsiteY6618" fmla="*/ 4830100 h 7571036"/>
                  <a:gd name="connsiteX6619" fmla="*/ 2468180 w 6994525"/>
                  <a:gd name="connsiteY6619" fmla="*/ 4869798 h 7571036"/>
                  <a:gd name="connsiteX6620" fmla="*/ 2507878 w 6994525"/>
                  <a:gd name="connsiteY6620" fmla="*/ 4909499 h 7571036"/>
                  <a:gd name="connsiteX6621" fmla="*/ 2547576 w 6994525"/>
                  <a:gd name="connsiteY6621" fmla="*/ 4869798 h 7571036"/>
                  <a:gd name="connsiteX6622" fmla="*/ 2548071 w 6994525"/>
                  <a:gd name="connsiteY6622" fmla="*/ 1328889 h 7571036"/>
                  <a:gd name="connsiteX6623" fmla="*/ 2526372 w 6994525"/>
                  <a:gd name="connsiteY6623" fmla="*/ 1307188 h 7571036"/>
                  <a:gd name="connsiteX6624" fmla="*/ 2504673 w 6994525"/>
                  <a:gd name="connsiteY6624" fmla="*/ 1328889 h 7571036"/>
                  <a:gd name="connsiteX6625" fmla="*/ 2526372 w 6994525"/>
                  <a:gd name="connsiteY6625" fmla="*/ 1350588 h 7571036"/>
                  <a:gd name="connsiteX6626" fmla="*/ 2548071 w 6994525"/>
                  <a:gd name="connsiteY6626" fmla="*/ 1328889 h 7571036"/>
                  <a:gd name="connsiteX6627" fmla="*/ 2549056 w 6994525"/>
                  <a:gd name="connsiteY6627" fmla="*/ 1447477 h 7571036"/>
                  <a:gd name="connsiteX6628" fmla="*/ 2527852 w 6994525"/>
                  <a:gd name="connsiteY6628" fmla="*/ 1426275 h 7571036"/>
                  <a:gd name="connsiteX6629" fmla="*/ 2506646 w 6994525"/>
                  <a:gd name="connsiteY6629" fmla="*/ 1447477 h 7571036"/>
                  <a:gd name="connsiteX6630" fmla="*/ 2527852 w 6994525"/>
                  <a:gd name="connsiteY6630" fmla="*/ 1468685 h 7571036"/>
                  <a:gd name="connsiteX6631" fmla="*/ 2549056 w 6994525"/>
                  <a:gd name="connsiteY6631" fmla="*/ 1447477 h 7571036"/>
                  <a:gd name="connsiteX6632" fmla="*/ 2551521 w 6994525"/>
                  <a:gd name="connsiteY6632" fmla="*/ 4108126 h 7571036"/>
                  <a:gd name="connsiteX6633" fmla="*/ 2514042 w 6994525"/>
                  <a:gd name="connsiteY6633" fmla="*/ 4070647 h 7571036"/>
                  <a:gd name="connsiteX6634" fmla="*/ 2476563 w 6994525"/>
                  <a:gd name="connsiteY6634" fmla="*/ 4108126 h 7571036"/>
                  <a:gd name="connsiteX6635" fmla="*/ 2514042 w 6994525"/>
                  <a:gd name="connsiteY6635" fmla="*/ 4145606 h 7571036"/>
                  <a:gd name="connsiteX6636" fmla="*/ 2551521 w 6994525"/>
                  <a:gd name="connsiteY6636" fmla="*/ 4108126 h 7571036"/>
                  <a:gd name="connsiteX6637" fmla="*/ 2553987 w 6994525"/>
                  <a:gd name="connsiteY6637" fmla="*/ 2215479 h 7571036"/>
                  <a:gd name="connsiteX6638" fmla="*/ 2514287 w 6994525"/>
                  <a:gd name="connsiteY6638" fmla="*/ 2175778 h 7571036"/>
                  <a:gd name="connsiteX6639" fmla="*/ 2474589 w 6994525"/>
                  <a:gd name="connsiteY6639" fmla="*/ 2215479 h 7571036"/>
                  <a:gd name="connsiteX6640" fmla="*/ 2514287 w 6994525"/>
                  <a:gd name="connsiteY6640" fmla="*/ 2255176 h 7571036"/>
                  <a:gd name="connsiteX6641" fmla="*/ 2553987 w 6994525"/>
                  <a:gd name="connsiteY6641" fmla="*/ 2215479 h 7571036"/>
                  <a:gd name="connsiteX6642" fmla="*/ 2556453 w 6994525"/>
                  <a:gd name="connsiteY6642" fmla="*/ 2347636 h 7571036"/>
                  <a:gd name="connsiteX6643" fmla="*/ 2523659 w 6994525"/>
                  <a:gd name="connsiteY6643" fmla="*/ 2314836 h 7571036"/>
                  <a:gd name="connsiteX6644" fmla="*/ 2490865 w 6994525"/>
                  <a:gd name="connsiteY6644" fmla="*/ 2347636 h 7571036"/>
                  <a:gd name="connsiteX6645" fmla="*/ 2523659 w 6994525"/>
                  <a:gd name="connsiteY6645" fmla="*/ 2380425 h 7571036"/>
                  <a:gd name="connsiteX6646" fmla="*/ 2556453 w 6994525"/>
                  <a:gd name="connsiteY6646" fmla="*/ 2347636 h 7571036"/>
                  <a:gd name="connsiteX6647" fmla="*/ 2565328 w 6994525"/>
                  <a:gd name="connsiteY6647" fmla="*/ 2654109 h 7571036"/>
                  <a:gd name="connsiteX6648" fmla="*/ 2522918 w 6994525"/>
                  <a:gd name="connsiteY6648" fmla="*/ 2611697 h 7571036"/>
                  <a:gd name="connsiteX6649" fmla="*/ 2480507 w 6994525"/>
                  <a:gd name="connsiteY6649" fmla="*/ 2654109 h 7571036"/>
                  <a:gd name="connsiteX6650" fmla="*/ 2522918 w 6994525"/>
                  <a:gd name="connsiteY6650" fmla="*/ 2696520 h 7571036"/>
                  <a:gd name="connsiteX6651" fmla="*/ 2565328 w 6994525"/>
                  <a:gd name="connsiteY6651" fmla="*/ 2654109 h 7571036"/>
                  <a:gd name="connsiteX6652" fmla="*/ 2567302 w 6994525"/>
                  <a:gd name="connsiteY6652" fmla="*/ 4740347 h 7571036"/>
                  <a:gd name="connsiteX6653" fmla="*/ 2515277 w 6994525"/>
                  <a:gd name="connsiteY6653" fmla="*/ 4688318 h 7571036"/>
                  <a:gd name="connsiteX6654" fmla="*/ 2463248 w 6994525"/>
                  <a:gd name="connsiteY6654" fmla="*/ 4740347 h 7571036"/>
                  <a:gd name="connsiteX6655" fmla="*/ 2515277 w 6994525"/>
                  <a:gd name="connsiteY6655" fmla="*/ 4792621 h 7571036"/>
                  <a:gd name="connsiteX6656" fmla="*/ 2567302 w 6994525"/>
                  <a:gd name="connsiteY6656" fmla="*/ 4740347 h 7571036"/>
                  <a:gd name="connsiteX6657" fmla="*/ 2567548 w 6994525"/>
                  <a:gd name="connsiteY6657" fmla="*/ 3953523 h 7571036"/>
                  <a:gd name="connsiteX6658" fmla="*/ 2550043 w 6994525"/>
                  <a:gd name="connsiteY6658" fmla="*/ 3936015 h 7571036"/>
                  <a:gd name="connsiteX6659" fmla="*/ 2532535 w 6994525"/>
                  <a:gd name="connsiteY6659" fmla="*/ 3953523 h 7571036"/>
                  <a:gd name="connsiteX6660" fmla="*/ 2550043 w 6994525"/>
                  <a:gd name="connsiteY6660" fmla="*/ 3971028 h 7571036"/>
                  <a:gd name="connsiteX6661" fmla="*/ 2567548 w 6994525"/>
                  <a:gd name="connsiteY6661" fmla="*/ 3953523 h 7571036"/>
                  <a:gd name="connsiteX6662" fmla="*/ 2569029 w 6994525"/>
                  <a:gd name="connsiteY6662" fmla="*/ 4608428 h 7571036"/>
                  <a:gd name="connsiteX6663" fmla="*/ 2524645 w 6994525"/>
                  <a:gd name="connsiteY6663" fmla="*/ 4564044 h 7571036"/>
                  <a:gd name="connsiteX6664" fmla="*/ 2480262 w 6994525"/>
                  <a:gd name="connsiteY6664" fmla="*/ 4608428 h 7571036"/>
                  <a:gd name="connsiteX6665" fmla="*/ 2524645 w 6994525"/>
                  <a:gd name="connsiteY6665" fmla="*/ 4652812 h 7571036"/>
                  <a:gd name="connsiteX6666" fmla="*/ 2569029 w 6994525"/>
                  <a:gd name="connsiteY6666" fmla="*/ 4608428 h 7571036"/>
                  <a:gd name="connsiteX6667" fmla="*/ 2570015 w 6994525"/>
                  <a:gd name="connsiteY6667" fmla="*/ 7351582 h 7571036"/>
                  <a:gd name="connsiteX6668" fmla="*/ 2567796 w 6994525"/>
                  <a:gd name="connsiteY6668" fmla="*/ 7349363 h 7571036"/>
                  <a:gd name="connsiteX6669" fmla="*/ 2565329 w 6994525"/>
                  <a:gd name="connsiteY6669" fmla="*/ 7351582 h 7571036"/>
                  <a:gd name="connsiteX6670" fmla="*/ 2567796 w 6994525"/>
                  <a:gd name="connsiteY6670" fmla="*/ 7353799 h 7571036"/>
                  <a:gd name="connsiteX6671" fmla="*/ 2570015 w 6994525"/>
                  <a:gd name="connsiteY6671" fmla="*/ 7351582 h 7571036"/>
                  <a:gd name="connsiteX6672" fmla="*/ 2570263 w 6994525"/>
                  <a:gd name="connsiteY6672" fmla="*/ 7463035 h 7571036"/>
                  <a:gd name="connsiteX6673" fmla="*/ 2568042 w 6994525"/>
                  <a:gd name="connsiteY6673" fmla="*/ 7460816 h 7571036"/>
                  <a:gd name="connsiteX6674" fmla="*/ 2565824 w 6994525"/>
                  <a:gd name="connsiteY6674" fmla="*/ 7463035 h 7571036"/>
                  <a:gd name="connsiteX6675" fmla="*/ 2568042 w 6994525"/>
                  <a:gd name="connsiteY6675" fmla="*/ 7465252 h 7571036"/>
                  <a:gd name="connsiteX6676" fmla="*/ 2570263 w 6994525"/>
                  <a:gd name="connsiteY6676" fmla="*/ 7463035 h 7571036"/>
                  <a:gd name="connsiteX6677" fmla="*/ 2570509 w 6994525"/>
                  <a:gd name="connsiteY6677" fmla="*/ 7239637 h 7571036"/>
                  <a:gd name="connsiteX6678" fmla="*/ 2567797 w 6994525"/>
                  <a:gd name="connsiteY6678" fmla="*/ 7236924 h 7571036"/>
                  <a:gd name="connsiteX6679" fmla="*/ 2565084 w 6994525"/>
                  <a:gd name="connsiteY6679" fmla="*/ 7239637 h 7571036"/>
                  <a:gd name="connsiteX6680" fmla="*/ 2567797 w 6994525"/>
                  <a:gd name="connsiteY6680" fmla="*/ 7242351 h 7571036"/>
                  <a:gd name="connsiteX6681" fmla="*/ 2570509 w 6994525"/>
                  <a:gd name="connsiteY6681" fmla="*/ 7239637 h 7571036"/>
                  <a:gd name="connsiteX6682" fmla="*/ 2571247 w 6994525"/>
                  <a:gd name="connsiteY6682" fmla="*/ 3332421 h 7571036"/>
                  <a:gd name="connsiteX6683" fmla="*/ 2555961 w 6994525"/>
                  <a:gd name="connsiteY6683" fmla="*/ 3317135 h 7571036"/>
                  <a:gd name="connsiteX6684" fmla="*/ 2540672 w 6994525"/>
                  <a:gd name="connsiteY6684" fmla="*/ 3332421 h 7571036"/>
                  <a:gd name="connsiteX6685" fmla="*/ 2555961 w 6994525"/>
                  <a:gd name="connsiteY6685" fmla="*/ 3347709 h 7571036"/>
                  <a:gd name="connsiteX6686" fmla="*/ 2571247 w 6994525"/>
                  <a:gd name="connsiteY6686" fmla="*/ 3332421 h 7571036"/>
                  <a:gd name="connsiteX6687" fmla="*/ 2574206 w 6994525"/>
                  <a:gd name="connsiteY6687" fmla="*/ 7129174 h 7571036"/>
                  <a:gd name="connsiteX6688" fmla="*/ 2571987 w 6994525"/>
                  <a:gd name="connsiteY6688" fmla="*/ 7126953 h 7571036"/>
                  <a:gd name="connsiteX6689" fmla="*/ 2569769 w 6994525"/>
                  <a:gd name="connsiteY6689" fmla="*/ 7129174 h 7571036"/>
                  <a:gd name="connsiteX6690" fmla="*/ 2571987 w 6994525"/>
                  <a:gd name="connsiteY6690" fmla="*/ 7131393 h 7571036"/>
                  <a:gd name="connsiteX6691" fmla="*/ 2574206 w 6994525"/>
                  <a:gd name="connsiteY6691" fmla="*/ 7129174 h 7571036"/>
                  <a:gd name="connsiteX6692" fmla="*/ 2574455 w 6994525"/>
                  <a:gd name="connsiteY6692" fmla="*/ 6905282 h 7571036"/>
                  <a:gd name="connsiteX6693" fmla="*/ 2571988 w 6994525"/>
                  <a:gd name="connsiteY6693" fmla="*/ 6902814 h 7571036"/>
                  <a:gd name="connsiteX6694" fmla="*/ 2569524 w 6994525"/>
                  <a:gd name="connsiteY6694" fmla="*/ 6905282 h 7571036"/>
                  <a:gd name="connsiteX6695" fmla="*/ 2571988 w 6994525"/>
                  <a:gd name="connsiteY6695" fmla="*/ 6907745 h 7571036"/>
                  <a:gd name="connsiteX6696" fmla="*/ 2574455 w 6994525"/>
                  <a:gd name="connsiteY6696" fmla="*/ 6905282 h 7571036"/>
                  <a:gd name="connsiteX6697" fmla="*/ 2575195 w 6994525"/>
                  <a:gd name="connsiteY6697" fmla="*/ 7017226 h 7571036"/>
                  <a:gd name="connsiteX6698" fmla="*/ 2571987 w 6994525"/>
                  <a:gd name="connsiteY6698" fmla="*/ 7014021 h 7571036"/>
                  <a:gd name="connsiteX6699" fmla="*/ 2568783 w 6994525"/>
                  <a:gd name="connsiteY6699" fmla="*/ 7017226 h 7571036"/>
                  <a:gd name="connsiteX6700" fmla="*/ 2571987 w 6994525"/>
                  <a:gd name="connsiteY6700" fmla="*/ 7020434 h 7571036"/>
                  <a:gd name="connsiteX6701" fmla="*/ 2575195 w 6994525"/>
                  <a:gd name="connsiteY6701" fmla="*/ 7017226 h 7571036"/>
                  <a:gd name="connsiteX6702" fmla="*/ 2575687 w 6994525"/>
                  <a:gd name="connsiteY6702" fmla="*/ 6453555 h 7571036"/>
                  <a:gd name="connsiteX6703" fmla="*/ 2572479 w 6994525"/>
                  <a:gd name="connsiteY6703" fmla="*/ 6450349 h 7571036"/>
                  <a:gd name="connsiteX6704" fmla="*/ 2569275 w 6994525"/>
                  <a:gd name="connsiteY6704" fmla="*/ 6453555 h 7571036"/>
                  <a:gd name="connsiteX6705" fmla="*/ 2572479 w 6994525"/>
                  <a:gd name="connsiteY6705" fmla="*/ 6457008 h 7571036"/>
                  <a:gd name="connsiteX6706" fmla="*/ 2575687 w 6994525"/>
                  <a:gd name="connsiteY6706" fmla="*/ 6453555 h 7571036"/>
                  <a:gd name="connsiteX6707" fmla="*/ 2580864 w 6994525"/>
                  <a:gd name="connsiteY6707" fmla="*/ 6679913 h 7571036"/>
                  <a:gd name="connsiteX6708" fmla="*/ 2572234 w 6994525"/>
                  <a:gd name="connsiteY6708" fmla="*/ 6671282 h 7571036"/>
                  <a:gd name="connsiteX6709" fmla="*/ 2563357 w 6994525"/>
                  <a:gd name="connsiteY6709" fmla="*/ 6679913 h 7571036"/>
                  <a:gd name="connsiteX6710" fmla="*/ 2572234 w 6994525"/>
                  <a:gd name="connsiteY6710" fmla="*/ 6688789 h 7571036"/>
                  <a:gd name="connsiteX6711" fmla="*/ 2580864 w 6994525"/>
                  <a:gd name="connsiteY6711" fmla="*/ 6679913 h 7571036"/>
                  <a:gd name="connsiteX6712" fmla="*/ 2581359 w 6994525"/>
                  <a:gd name="connsiteY6712" fmla="*/ 6566980 h 7571036"/>
                  <a:gd name="connsiteX6713" fmla="*/ 2572234 w 6994525"/>
                  <a:gd name="connsiteY6713" fmla="*/ 6557857 h 7571036"/>
                  <a:gd name="connsiteX6714" fmla="*/ 2563112 w 6994525"/>
                  <a:gd name="connsiteY6714" fmla="*/ 6566980 h 7571036"/>
                  <a:gd name="connsiteX6715" fmla="*/ 2572234 w 6994525"/>
                  <a:gd name="connsiteY6715" fmla="*/ 6576102 h 7571036"/>
                  <a:gd name="connsiteX6716" fmla="*/ 2581359 w 6994525"/>
                  <a:gd name="connsiteY6716" fmla="*/ 6566980 h 7571036"/>
                  <a:gd name="connsiteX6717" fmla="*/ 2581850 w 6994525"/>
                  <a:gd name="connsiteY6717" fmla="*/ 5998623 h 7571036"/>
                  <a:gd name="connsiteX6718" fmla="*/ 2579629 w 6994525"/>
                  <a:gd name="connsiteY6718" fmla="*/ 5996404 h 7571036"/>
                  <a:gd name="connsiteX6719" fmla="*/ 2577411 w 6994525"/>
                  <a:gd name="connsiteY6719" fmla="*/ 5998623 h 7571036"/>
                  <a:gd name="connsiteX6720" fmla="*/ 2579629 w 6994525"/>
                  <a:gd name="connsiteY6720" fmla="*/ 6000841 h 7571036"/>
                  <a:gd name="connsiteX6721" fmla="*/ 2581850 w 6994525"/>
                  <a:gd name="connsiteY6721" fmla="*/ 5998623 h 7571036"/>
                  <a:gd name="connsiteX6722" fmla="*/ 2581851 w 6994525"/>
                  <a:gd name="connsiteY6722" fmla="*/ 5883469 h 7571036"/>
                  <a:gd name="connsiteX6723" fmla="*/ 2580370 w 6994525"/>
                  <a:gd name="connsiteY6723" fmla="*/ 5881990 h 7571036"/>
                  <a:gd name="connsiteX6724" fmla="*/ 2578892 w 6994525"/>
                  <a:gd name="connsiteY6724" fmla="*/ 5883469 h 7571036"/>
                  <a:gd name="connsiteX6725" fmla="*/ 2580370 w 6994525"/>
                  <a:gd name="connsiteY6725" fmla="*/ 5884950 h 7571036"/>
                  <a:gd name="connsiteX6726" fmla="*/ 2581851 w 6994525"/>
                  <a:gd name="connsiteY6726" fmla="*/ 5883469 h 7571036"/>
                  <a:gd name="connsiteX6727" fmla="*/ 2582097 w 6994525"/>
                  <a:gd name="connsiteY6727" fmla="*/ 2950727 h 7571036"/>
                  <a:gd name="connsiteX6728" fmla="*/ 2577657 w 6994525"/>
                  <a:gd name="connsiteY6728" fmla="*/ 2946290 h 7571036"/>
                  <a:gd name="connsiteX6729" fmla="*/ 2573220 w 6994525"/>
                  <a:gd name="connsiteY6729" fmla="*/ 2950727 h 7571036"/>
                  <a:gd name="connsiteX6730" fmla="*/ 2577657 w 6994525"/>
                  <a:gd name="connsiteY6730" fmla="*/ 2955167 h 7571036"/>
                  <a:gd name="connsiteX6731" fmla="*/ 2582097 w 6994525"/>
                  <a:gd name="connsiteY6731" fmla="*/ 2950727 h 7571036"/>
                  <a:gd name="connsiteX6732" fmla="*/ 2582099 w 6994525"/>
                  <a:gd name="connsiteY6732" fmla="*/ 6792594 h 7571036"/>
                  <a:gd name="connsiteX6733" fmla="*/ 2571988 w 6994525"/>
                  <a:gd name="connsiteY6733" fmla="*/ 6782485 h 7571036"/>
                  <a:gd name="connsiteX6734" fmla="*/ 2561879 w 6994525"/>
                  <a:gd name="connsiteY6734" fmla="*/ 6792594 h 7571036"/>
                  <a:gd name="connsiteX6735" fmla="*/ 2571988 w 6994525"/>
                  <a:gd name="connsiteY6735" fmla="*/ 6802706 h 7571036"/>
                  <a:gd name="connsiteX6736" fmla="*/ 2582099 w 6994525"/>
                  <a:gd name="connsiteY6736" fmla="*/ 6792594 h 7571036"/>
                  <a:gd name="connsiteX6737" fmla="*/ 2582342 w 6994525"/>
                  <a:gd name="connsiteY6737" fmla="*/ 6113528 h 7571036"/>
                  <a:gd name="connsiteX6738" fmla="*/ 2578888 w 6994525"/>
                  <a:gd name="connsiteY6738" fmla="*/ 6110075 h 7571036"/>
                  <a:gd name="connsiteX6739" fmla="*/ 2575438 w 6994525"/>
                  <a:gd name="connsiteY6739" fmla="*/ 6113528 h 7571036"/>
                  <a:gd name="connsiteX6740" fmla="*/ 2578888 w 6994525"/>
                  <a:gd name="connsiteY6740" fmla="*/ 6116979 h 7571036"/>
                  <a:gd name="connsiteX6741" fmla="*/ 2582342 w 6994525"/>
                  <a:gd name="connsiteY6741" fmla="*/ 6113528 h 7571036"/>
                  <a:gd name="connsiteX6742" fmla="*/ 2584071 w 6994525"/>
                  <a:gd name="connsiteY6742" fmla="*/ 5767583 h 7571036"/>
                  <a:gd name="connsiteX6743" fmla="*/ 2581359 w 6994525"/>
                  <a:gd name="connsiteY6743" fmla="*/ 5764869 h 7571036"/>
                  <a:gd name="connsiteX6744" fmla="*/ 2578646 w 6994525"/>
                  <a:gd name="connsiteY6744" fmla="*/ 5767583 h 7571036"/>
                  <a:gd name="connsiteX6745" fmla="*/ 2581359 w 6994525"/>
                  <a:gd name="connsiteY6745" fmla="*/ 5770296 h 7571036"/>
                  <a:gd name="connsiteX6746" fmla="*/ 2584071 w 6994525"/>
                  <a:gd name="connsiteY6746" fmla="*/ 5767583 h 7571036"/>
                  <a:gd name="connsiteX6747" fmla="*/ 2586288 w 6994525"/>
                  <a:gd name="connsiteY6747" fmla="*/ 4344593 h 7571036"/>
                  <a:gd name="connsiteX6748" fmla="*/ 2562125 w 6994525"/>
                  <a:gd name="connsiteY6748" fmla="*/ 4320675 h 7571036"/>
                  <a:gd name="connsiteX6749" fmla="*/ 2537959 w 6994525"/>
                  <a:gd name="connsiteY6749" fmla="*/ 4344593 h 7571036"/>
                  <a:gd name="connsiteX6750" fmla="*/ 2562125 w 6994525"/>
                  <a:gd name="connsiteY6750" fmla="*/ 4368759 h 7571036"/>
                  <a:gd name="connsiteX6751" fmla="*/ 2586288 w 6994525"/>
                  <a:gd name="connsiteY6751" fmla="*/ 4344593 h 7571036"/>
                  <a:gd name="connsiteX6752" fmla="*/ 2587275 w 6994525"/>
                  <a:gd name="connsiteY6752" fmla="*/ 5533335 h 7571036"/>
                  <a:gd name="connsiteX6753" fmla="*/ 2584069 w 6994525"/>
                  <a:gd name="connsiteY6753" fmla="*/ 5530129 h 7571036"/>
                  <a:gd name="connsiteX6754" fmla="*/ 2580865 w 6994525"/>
                  <a:gd name="connsiteY6754" fmla="*/ 5533335 h 7571036"/>
                  <a:gd name="connsiteX6755" fmla="*/ 2584069 w 6994525"/>
                  <a:gd name="connsiteY6755" fmla="*/ 5536542 h 7571036"/>
                  <a:gd name="connsiteX6756" fmla="*/ 2587275 w 6994525"/>
                  <a:gd name="connsiteY6756" fmla="*/ 5533335 h 7571036"/>
                  <a:gd name="connsiteX6757" fmla="*/ 2589001 w 6994525"/>
                  <a:gd name="connsiteY6757" fmla="*/ 5650701 h 7571036"/>
                  <a:gd name="connsiteX6758" fmla="*/ 2582591 w 6994525"/>
                  <a:gd name="connsiteY6758" fmla="*/ 5644291 h 7571036"/>
                  <a:gd name="connsiteX6759" fmla="*/ 2576179 w 6994525"/>
                  <a:gd name="connsiteY6759" fmla="*/ 5650701 h 7571036"/>
                  <a:gd name="connsiteX6760" fmla="*/ 2582591 w 6994525"/>
                  <a:gd name="connsiteY6760" fmla="*/ 5657113 h 7571036"/>
                  <a:gd name="connsiteX6761" fmla="*/ 2589001 w 6994525"/>
                  <a:gd name="connsiteY6761" fmla="*/ 5650701 h 7571036"/>
                  <a:gd name="connsiteX6762" fmla="*/ 2589740 w 6994525"/>
                  <a:gd name="connsiteY6762" fmla="*/ 2799585 h 7571036"/>
                  <a:gd name="connsiteX6763" fmla="*/ 2546590 w 6994525"/>
                  <a:gd name="connsiteY6763" fmla="*/ 2756432 h 7571036"/>
                  <a:gd name="connsiteX6764" fmla="*/ 2503438 w 6994525"/>
                  <a:gd name="connsiteY6764" fmla="*/ 2799585 h 7571036"/>
                  <a:gd name="connsiteX6765" fmla="*/ 2546590 w 6994525"/>
                  <a:gd name="connsiteY6765" fmla="*/ 2842736 h 7571036"/>
                  <a:gd name="connsiteX6766" fmla="*/ 2589740 w 6994525"/>
                  <a:gd name="connsiteY6766" fmla="*/ 2799585 h 7571036"/>
                  <a:gd name="connsiteX6767" fmla="*/ 2589988 w 6994525"/>
                  <a:gd name="connsiteY6767" fmla="*/ 6341856 h 7571036"/>
                  <a:gd name="connsiteX6768" fmla="*/ 2577906 w 6994525"/>
                  <a:gd name="connsiteY6768" fmla="*/ 6329774 h 7571036"/>
                  <a:gd name="connsiteX6769" fmla="*/ 2566070 w 6994525"/>
                  <a:gd name="connsiteY6769" fmla="*/ 6341856 h 7571036"/>
                  <a:gd name="connsiteX6770" fmla="*/ 2577906 w 6994525"/>
                  <a:gd name="connsiteY6770" fmla="*/ 6353940 h 7571036"/>
                  <a:gd name="connsiteX6771" fmla="*/ 2589988 w 6994525"/>
                  <a:gd name="connsiteY6771" fmla="*/ 6341856 h 7571036"/>
                  <a:gd name="connsiteX6772" fmla="*/ 2592206 w 6994525"/>
                  <a:gd name="connsiteY6772" fmla="*/ 389056 h 7571036"/>
                  <a:gd name="connsiteX6773" fmla="*/ 2569520 w 6994525"/>
                  <a:gd name="connsiteY6773" fmla="*/ 366372 h 7571036"/>
                  <a:gd name="connsiteX6774" fmla="*/ 2546836 w 6994525"/>
                  <a:gd name="connsiteY6774" fmla="*/ 389056 h 7571036"/>
                  <a:gd name="connsiteX6775" fmla="*/ 2569520 w 6994525"/>
                  <a:gd name="connsiteY6775" fmla="*/ 411739 h 7571036"/>
                  <a:gd name="connsiteX6776" fmla="*/ 2592206 w 6994525"/>
                  <a:gd name="connsiteY6776" fmla="*/ 389056 h 7571036"/>
                  <a:gd name="connsiteX6777" fmla="*/ 2592206 w 6994525"/>
                  <a:gd name="connsiteY6777" fmla="*/ 502459 h 7571036"/>
                  <a:gd name="connsiteX6778" fmla="*/ 2569769 w 6994525"/>
                  <a:gd name="connsiteY6778" fmla="*/ 480266 h 7571036"/>
                  <a:gd name="connsiteX6779" fmla="*/ 2547576 w 6994525"/>
                  <a:gd name="connsiteY6779" fmla="*/ 502459 h 7571036"/>
                  <a:gd name="connsiteX6780" fmla="*/ 2569769 w 6994525"/>
                  <a:gd name="connsiteY6780" fmla="*/ 524648 h 7571036"/>
                  <a:gd name="connsiteX6781" fmla="*/ 2592206 w 6994525"/>
                  <a:gd name="connsiteY6781" fmla="*/ 502459 h 7571036"/>
                  <a:gd name="connsiteX6782" fmla="*/ 2592452 w 6994525"/>
                  <a:gd name="connsiteY6782" fmla="*/ 51325 h 7571036"/>
                  <a:gd name="connsiteX6783" fmla="*/ 2569029 w 6994525"/>
                  <a:gd name="connsiteY6783" fmla="*/ 27901 h 7571036"/>
                  <a:gd name="connsiteX6784" fmla="*/ 2545604 w 6994525"/>
                  <a:gd name="connsiteY6784" fmla="*/ 51325 h 7571036"/>
                  <a:gd name="connsiteX6785" fmla="*/ 2569029 w 6994525"/>
                  <a:gd name="connsiteY6785" fmla="*/ 74749 h 7571036"/>
                  <a:gd name="connsiteX6786" fmla="*/ 2592452 w 6994525"/>
                  <a:gd name="connsiteY6786" fmla="*/ 51325 h 7571036"/>
                  <a:gd name="connsiteX6787" fmla="*/ 2592948 w 6994525"/>
                  <a:gd name="connsiteY6787" fmla="*/ 163491 h 7571036"/>
                  <a:gd name="connsiteX6788" fmla="*/ 2569277 w 6994525"/>
                  <a:gd name="connsiteY6788" fmla="*/ 140067 h 7571036"/>
                  <a:gd name="connsiteX6789" fmla="*/ 2545852 w 6994525"/>
                  <a:gd name="connsiteY6789" fmla="*/ 163491 h 7571036"/>
                  <a:gd name="connsiteX6790" fmla="*/ 2569277 w 6994525"/>
                  <a:gd name="connsiteY6790" fmla="*/ 187161 h 7571036"/>
                  <a:gd name="connsiteX6791" fmla="*/ 2592948 w 6994525"/>
                  <a:gd name="connsiteY6791" fmla="*/ 163491 h 7571036"/>
                  <a:gd name="connsiteX6792" fmla="*/ 2592948 w 6994525"/>
                  <a:gd name="connsiteY6792" fmla="*/ 6227940 h 7571036"/>
                  <a:gd name="connsiteX6793" fmla="*/ 2578400 w 6994525"/>
                  <a:gd name="connsiteY6793" fmla="*/ 6213391 h 7571036"/>
                  <a:gd name="connsiteX6794" fmla="*/ 2563851 w 6994525"/>
                  <a:gd name="connsiteY6794" fmla="*/ 6227940 h 7571036"/>
                  <a:gd name="connsiteX6795" fmla="*/ 2578400 w 6994525"/>
                  <a:gd name="connsiteY6795" fmla="*/ 6242485 h 7571036"/>
                  <a:gd name="connsiteX6796" fmla="*/ 2592948 w 6994525"/>
                  <a:gd name="connsiteY6796" fmla="*/ 6227940 h 7571036"/>
                  <a:gd name="connsiteX6797" fmla="*/ 2593440 w 6994525"/>
                  <a:gd name="connsiteY6797" fmla="*/ 276150 h 7571036"/>
                  <a:gd name="connsiteX6798" fmla="*/ 2569769 w 6994525"/>
                  <a:gd name="connsiteY6798" fmla="*/ 252480 h 7571036"/>
                  <a:gd name="connsiteX6799" fmla="*/ 2546098 w 6994525"/>
                  <a:gd name="connsiteY6799" fmla="*/ 276150 h 7571036"/>
                  <a:gd name="connsiteX6800" fmla="*/ 2569769 w 6994525"/>
                  <a:gd name="connsiteY6800" fmla="*/ 299820 h 7571036"/>
                  <a:gd name="connsiteX6801" fmla="*/ 2593440 w 6994525"/>
                  <a:gd name="connsiteY6801" fmla="*/ 276150 h 7571036"/>
                  <a:gd name="connsiteX6802" fmla="*/ 2600096 w 6994525"/>
                  <a:gd name="connsiteY6802" fmla="*/ 3218750 h 7571036"/>
                  <a:gd name="connsiteX6803" fmla="*/ 2580862 w 6994525"/>
                  <a:gd name="connsiteY6803" fmla="*/ 3199518 h 7571036"/>
                  <a:gd name="connsiteX6804" fmla="*/ 2561631 w 6994525"/>
                  <a:gd name="connsiteY6804" fmla="*/ 3218750 h 7571036"/>
                  <a:gd name="connsiteX6805" fmla="*/ 2580862 w 6994525"/>
                  <a:gd name="connsiteY6805" fmla="*/ 3237984 h 7571036"/>
                  <a:gd name="connsiteX6806" fmla="*/ 2600096 w 6994525"/>
                  <a:gd name="connsiteY6806" fmla="*/ 3218750 h 7571036"/>
                  <a:gd name="connsiteX6807" fmla="*/ 2604535 w 6994525"/>
                  <a:gd name="connsiteY6807" fmla="*/ 5057196 h 7571036"/>
                  <a:gd name="connsiteX6808" fmla="*/ 2601082 w 6994525"/>
                  <a:gd name="connsiteY6808" fmla="*/ 5053745 h 7571036"/>
                  <a:gd name="connsiteX6809" fmla="*/ 2597632 w 6994525"/>
                  <a:gd name="connsiteY6809" fmla="*/ 5057196 h 7571036"/>
                  <a:gd name="connsiteX6810" fmla="*/ 2601082 w 6994525"/>
                  <a:gd name="connsiteY6810" fmla="*/ 5060648 h 7571036"/>
                  <a:gd name="connsiteX6811" fmla="*/ 2604535 w 6994525"/>
                  <a:gd name="connsiteY6811" fmla="*/ 5057196 h 7571036"/>
                  <a:gd name="connsiteX6812" fmla="*/ 2608480 w 6994525"/>
                  <a:gd name="connsiteY6812" fmla="*/ 1657038 h 7571036"/>
                  <a:gd name="connsiteX6813" fmla="*/ 2592700 w 6994525"/>
                  <a:gd name="connsiteY6813" fmla="*/ 1641508 h 7571036"/>
                  <a:gd name="connsiteX6814" fmla="*/ 2576919 w 6994525"/>
                  <a:gd name="connsiteY6814" fmla="*/ 1657038 h 7571036"/>
                  <a:gd name="connsiteX6815" fmla="*/ 2592700 w 6994525"/>
                  <a:gd name="connsiteY6815" fmla="*/ 1672818 h 7571036"/>
                  <a:gd name="connsiteX6816" fmla="*/ 2608480 w 6994525"/>
                  <a:gd name="connsiteY6816" fmla="*/ 1657038 h 7571036"/>
                  <a:gd name="connsiteX6817" fmla="*/ 2610208 w 6994525"/>
                  <a:gd name="connsiteY6817" fmla="*/ 1538205 h 7571036"/>
                  <a:gd name="connsiteX6818" fmla="*/ 2589987 w 6994525"/>
                  <a:gd name="connsiteY6818" fmla="*/ 1517986 h 7571036"/>
                  <a:gd name="connsiteX6819" fmla="*/ 2569769 w 6994525"/>
                  <a:gd name="connsiteY6819" fmla="*/ 1538205 h 7571036"/>
                  <a:gd name="connsiteX6820" fmla="*/ 2589987 w 6994525"/>
                  <a:gd name="connsiteY6820" fmla="*/ 1558420 h 7571036"/>
                  <a:gd name="connsiteX6821" fmla="*/ 2610208 w 6994525"/>
                  <a:gd name="connsiteY6821" fmla="*/ 1538205 h 7571036"/>
                  <a:gd name="connsiteX6822" fmla="*/ 2613661 w 6994525"/>
                  <a:gd name="connsiteY6822" fmla="*/ 1777625 h 7571036"/>
                  <a:gd name="connsiteX6823" fmla="*/ 2595167 w 6994525"/>
                  <a:gd name="connsiteY6823" fmla="*/ 1759118 h 7571036"/>
                  <a:gd name="connsiteX6824" fmla="*/ 2576674 w 6994525"/>
                  <a:gd name="connsiteY6824" fmla="*/ 1777625 h 7571036"/>
                  <a:gd name="connsiteX6825" fmla="*/ 2595167 w 6994525"/>
                  <a:gd name="connsiteY6825" fmla="*/ 1796127 h 7571036"/>
                  <a:gd name="connsiteX6826" fmla="*/ 2613661 w 6994525"/>
                  <a:gd name="connsiteY6826" fmla="*/ 1777625 h 7571036"/>
                  <a:gd name="connsiteX6827" fmla="*/ 2618344 w 6994525"/>
                  <a:gd name="connsiteY6827" fmla="*/ 5299088 h 7571036"/>
                  <a:gd name="connsiteX6828" fmla="*/ 2594919 w 6994525"/>
                  <a:gd name="connsiteY6828" fmla="*/ 5275663 h 7571036"/>
                  <a:gd name="connsiteX6829" fmla="*/ 2571494 w 6994525"/>
                  <a:gd name="connsiteY6829" fmla="*/ 5299088 h 7571036"/>
                  <a:gd name="connsiteX6830" fmla="*/ 2594919 w 6994525"/>
                  <a:gd name="connsiteY6830" fmla="*/ 5322760 h 7571036"/>
                  <a:gd name="connsiteX6831" fmla="*/ 2618344 w 6994525"/>
                  <a:gd name="connsiteY6831" fmla="*/ 5299088 h 7571036"/>
                  <a:gd name="connsiteX6832" fmla="*/ 2623275 w 6994525"/>
                  <a:gd name="connsiteY6832" fmla="*/ 4202072 h 7571036"/>
                  <a:gd name="connsiteX6833" fmla="*/ 2581850 w 6994525"/>
                  <a:gd name="connsiteY6833" fmla="*/ 4160647 h 7571036"/>
                  <a:gd name="connsiteX6834" fmla="*/ 2540426 w 6994525"/>
                  <a:gd name="connsiteY6834" fmla="*/ 4202072 h 7571036"/>
                  <a:gd name="connsiteX6835" fmla="*/ 2581850 w 6994525"/>
                  <a:gd name="connsiteY6835" fmla="*/ 4243496 h 7571036"/>
                  <a:gd name="connsiteX6836" fmla="*/ 2623275 w 6994525"/>
                  <a:gd name="connsiteY6836" fmla="*/ 4202072 h 7571036"/>
                  <a:gd name="connsiteX6837" fmla="*/ 2627959 w 6994525"/>
                  <a:gd name="connsiteY6837" fmla="*/ 2022403 h 7571036"/>
                  <a:gd name="connsiteX6838" fmla="*/ 2603550 w 6994525"/>
                  <a:gd name="connsiteY6838" fmla="*/ 1997995 h 7571036"/>
                  <a:gd name="connsiteX6839" fmla="*/ 2579138 w 6994525"/>
                  <a:gd name="connsiteY6839" fmla="*/ 2022403 h 7571036"/>
                  <a:gd name="connsiteX6840" fmla="*/ 2603550 w 6994525"/>
                  <a:gd name="connsiteY6840" fmla="*/ 2046815 h 7571036"/>
                  <a:gd name="connsiteX6841" fmla="*/ 2627959 w 6994525"/>
                  <a:gd name="connsiteY6841" fmla="*/ 2022403 h 7571036"/>
                  <a:gd name="connsiteX6842" fmla="*/ 2628207 w 6994525"/>
                  <a:gd name="connsiteY6842" fmla="*/ 4053879 h 7571036"/>
                  <a:gd name="connsiteX6843" fmla="*/ 2608235 w 6994525"/>
                  <a:gd name="connsiteY6843" fmla="*/ 4033907 h 7571036"/>
                  <a:gd name="connsiteX6844" fmla="*/ 2588263 w 6994525"/>
                  <a:gd name="connsiteY6844" fmla="*/ 4053879 h 7571036"/>
                  <a:gd name="connsiteX6845" fmla="*/ 2608235 w 6994525"/>
                  <a:gd name="connsiteY6845" fmla="*/ 4073851 h 7571036"/>
                  <a:gd name="connsiteX6846" fmla="*/ 2628207 w 6994525"/>
                  <a:gd name="connsiteY6846" fmla="*/ 4053879 h 7571036"/>
                  <a:gd name="connsiteX6847" fmla="*/ 2629193 w 6994525"/>
                  <a:gd name="connsiteY6847" fmla="*/ 2434417 h 7571036"/>
                  <a:gd name="connsiteX6848" fmla="*/ 2588755 w 6994525"/>
                  <a:gd name="connsiteY6848" fmla="*/ 2393979 h 7571036"/>
                  <a:gd name="connsiteX6849" fmla="*/ 2548316 w 6994525"/>
                  <a:gd name="connsiteY6849" fmla="*/ 2434417 h 7571036"/>
                  <a:gd name="connsiteX6850" fmla="*/ 2588755 w 6994525"/>
                  <a:gd name="connsiteY6850" fmla="*/ 2474855 h 7571036"/>
                  <a:gd name="connsiteX6851" fmla="*/ 2629193 w 6994525"/>
                  <a:gd name="connsiteY6851" fmla="*/ 2434417 h 7571036"/>
                  <a:gd name="connsiteX6852" fmla="*/ 2631657 w 6994525"/>
                  <a:gd name="connsiteY6852" fmla="*/ 1899157 h 7571036"/>
                  <a:gd name="connsiteX6853" fmla="*/ 2599110 w 6994525"/>
                  <a:gd name="connsiteY6853" fmla="*/ 1866618 h 7571036"/>
                  <a:gd name="connsiteX6854" fmla="*/ 2566562 w 6994525"/>
                  <a:gd name="connsiteY6854" fmla="*/ 1899157 h 7571036"/>
                  <a:gd name="connsiteX6855" fmla="*/ 2599110 w 6994525"/>
                  <a:gd name="connsiteY6855" fmla="*/ 1931695 h 7571036"/>
                  <a:gd name="connsiteX6856" fmla="*/ 2631657 w 6994525"/>
                  <a:gd name="connsiteY6856" fmla="*/ 1899157 h 7571036"/>
                  <a:gd name="connsiteX6857" fmla="*/ 2634618 w 6994525"/>
                  <a:gd name="connsiteY6857" fmla="*/ 5178757 h 7571036"/>
                  <a:gd name="connsiteX6858" fmla="*/ 2597877 w 6994525"/>
                  <a:gd name="connsiteY6858" fmla="*/ 5142018 h 7571036"/>
                  <a:gd name="connsiteX6859" fmla="*/ 2561138 w 6994525"/>
                  <a:gd name="connsiteY6859" fmla="*/ 5178757 h 7571036"/>
                  <a:gd name="connsiteX6860" fmla="*/ 2597877 w 6994525"/>
                  <a:gd name="connsiteY6860" fmla="*/ 5215496 h 7571036"/>
                  <a:gd name="connsiteX6861" fmla="*/ 2634618 w 6994525"/>
                  <a:gd name="connsiteY6861" fmla="*/ 5178757 h 7571036"/>
                  <a:gd name="connsiteX6862" fmla="*/ 2641028 w 6994525"/>
                  <a:gd name="connsiteY6862" fmla="*/ 3109024 h 7571036"/>
                  <a:gd name="connsiteX6863" fmla="*/ 2619576 w 6994525"/>
                  <a:gd name="connsiteY6863" fmla="*/ 3087572 h 7571036"/>
                  <a:gd name="connsiteX6864" fmla="*/ 2598123 w 6994525"/>
                  <a:gd name="connsiteY6864" fmla="*/ 3109024 h 7571036"/>
                  <a:gd name="connsiteX6865" fmla="*/ 2619576 w 6994525"/>
                  <a:gd name="connsiteY6865" fmla="*/ 3130478 h 7571036"/>
                  <a:gd name="connsiteX6866" fmla="*/ 2641028 w 6994525"/>
                  <a:gd name="connsiteY6866" fmla="*/ 3109024 h 7571036"/>
                  <a:gd name="connsiteX6867" fmla="*/ 2641522 w 6994525"/>
                  <a:gd name="connsiteY6867" fmla="*/ 4933663 h 7571036"/>
                  <a:gd name="connsiteX6868" fmla="*/ 2605028 w 6994525"/>
                  <a:gd name="connsiteY6868" fmla="*/ 4897169 h 7571036"/>
                  <a:gd name="connsiteX6869" fmla="*/ 2568535 w 6994525"/>
                  <a:gd name="connsiteY6869" fmla="*/ 4933663 h 7571036"/>
                  <a:gd name="connsiteX6870" fmla="*/ 2605028 w 6994525"/>
                  <a:gd name="connsiteY6870" fmla="*/ 4970156 h 7571036"/>
                  <a:gd name="connsiteX6871" fmla="*/ 2641522 w 6994525"/>
                  <a:gd name="connsiteY6871" fmla="*/ 4933663 h 7571036"/>
                  <a:gd name="connsiteX6872" fmla="*/ 2643987 w 6994525"/>
                  <a:gd name="connsiteY6872" fmla="*/ 3899030 h 7571036"/>
                  <a:gd name="connsiteX6873" fmla="*/ 2643987 w 6994525"/>
                  <a:gd name="connsiteY6873" fmla="*/ 3898784 h 7571036"/>
                  <a:gd name="connsiteX6874" fmla="*/ 2643742 w 6994525"/>
                  <a:gd name="connsiteY6874" fmla="*/ 3898784 h 7571036"/>
                  <a:gd name="connsiteX6875" fmla="*/ 2646947 w 6994525"/>
                  <a:gd name="connsiteY6875" fmla="*/ 2853825 h 7571036"/>
                  <a:gd name="connsiteX6876" fmla="*/ 2641277 w 6994525"/>
                  <a:gd name="connsiteY6876" fmla="*/ 2848153 h 7571036"/>
                  <a:gd name="connsiteX6877" fmla="*/ 2635852 w 6994525"/>
                  <a:gd name="connsiteY6877" fmla="*/ 2853825 h 7571036"/>
                  <a:gd name="connsiteX6878" fmla="*/ 2641277 w 6994525"/>
                  <a:gd name="connsiteY6878" fmla="*/ 2859248 h 7571036"/>
                  <a:gd name="connsiteX6879" fmla="*/ 2646947 w 6994525"/>
                  <a:gd name="connsiteY6879" fmla="*/ 2853825 h 7571036"/>
                  <a:gd name="connsiteX6880" fmla="*/ 2647439 w 6994525"/>
                  <a:gd name="connsiteY6880" fmla="*/ 2569778 h 7571036"/>
                  <a:gd name="connsiteX6881" fmla="*/ 2601823 w 6994525"/>
                  <a:gd name="connsiteY6881" fmla="*/ 2524163 h 7571036"/>
                  <a:gd name="connsiteX6882" fmla="*/ 2556207 w 6994525"/>
                  <a:gd name="connsiteY6882" fmla="*/ 2569778 h 7571036"/>
                  <a:gd name="connsiteX6883" fmla="*/ 2601823 w 6994525"/>
                  <a:gd name="connsiteY6883" fmla="*/ 2615395 h 7571036"/>
                  <a:gd name="connsiteX6884" fmla="*/ 2647439 w 6994525"/>
                  <a:gd name="connsiteY6884" fmla="*/ 2569778 h 7571036"/>
                  <a:gd name="connsiteX6885" fmla="*/ 2648178 w 6994525"/>
                  <a:gd name="connsiteY6885" fmla="*/ 2147420 h 7571036"/>
                  <a:gd name="connsiteX6886" fmla="*/ 2608727 w 6994525"/>
                  <a:gd name="connsiteY6886" fmla="*/ 2107964 h 7571036"/>
                  <a:gd name="connsiteX6887" fmla="*/ 2569275 w 6994525"/>
                  <a:gd name="connsiteY6887" fmla="*/ 2147420 h 7571036"/>
                  <a:gd name="connsiteX6888" fmla="*/ 2608727 w 6994525"/>
                  <a:gd name="connsiteY6888" fmla="*/ 2186871 h 7571036"/>
                  <a:gd name="connsiteX6889" fmla="*/ 2648178 w 6994525"/>
                  <a:gd name="connsiteY6889" fmla="*/ 2147420 h 7571036"/>
                  <a:gd name="connsiteX6890" fmla="*/ 2650400 w 6994525"/>
                  <a:gd name="connsiteY6890" fmla="*/ 2275136 h 7571036"/>
                  <a:gd name="connsiteX6891" fmla="*/ 2615139 w 6994525"/>
                  <a:gd name="connsiteY6891" fmla="*/ 2239878 h 7571036"/>
                  <a:gd name="connsiteX6892" fmla="*/ 2579878 w 6994525"/>
                  <a:gd name="connsiteY6892" fmla="*/ 2275136 h 7571036"/>
                  <a:gd name="connsiteX6893" fmla="*/ 2615139 w 6994525"/>
                  <a:gd name="connsiteY6893" fmla="*/ 2310397 h 7571036"/>
                  <a:gd name="connsiteX6894" fmla="*/ 2650400 w 6994525"/>
                  <a:gd name="connsiteY6894" fmla="*/ 2275136 h 7571036"/>
                  <a:gd name="connsiteX6895" fmla="*/ 2654096 w 6994525"/>
                  <a:gd name="connsiteY6895" fmla="*/ 1167893 h 7571036"/>
                  <a:gd name="connsiteX6896" fmla="*/ 2632892 w 6994525"/>
                  <a:gd name="connsiteY6896" fmla="*/ 1146689 h 7571036"/>
                  <a:gd name="connsiteX6897" fmla="*/ 2611685 w 6994525"/>
                  <a:gd name="connsiteY6897" fmla="*/ 1167893 h 7571036"/>
                  <a:gd name="connsiteX6898" fmla="*/ 2632892 w 6994525"/>
                  <a:gd name="connsiteY6898" fmla="*/ 1189099 h 7571036"/>
                  <a:gd name="connsiteX6899" fmla="*/ 2654096 w 6994525"/>
                  <a:gd name="connsiteY6899" fmla="*/ 1167893 h 7571036"/>
                  <a:gd name="connsiteX6900" fmla="*/ 2655083 w 6994525"/>
                  <a:gd name="connsiteY6900" fmla="*/ 938118 h 7571036"/>
                  <a:gd name="connsiteX6901" fmla="*/ 2632646 w 6994525"/>
                  <a:gd name="connsiteY6901" fmla="*/ 915674 h 7571036"/>
                  <a:gd name="connsiteX6902" fmla="*/ 2610208 w 6994525"/>
                  <a:gd name="connsiteY6902" fmla="*/ 938118 h 7571036"/>
                  <a:gd name="connsiteX6903" fmla="*/ 2632646 w 6994525"/>
                  <a:gd name="connsiteY6903" fmla="*/ 960312 h 7571036"/>
                  <a:gd name="connsiteX6904" fmla="*/ 2655083 w 6994525"/>
                  <a:gd name="connsiteY6904" fmla="*/ 938118 h 7571036"/>
                  <a:gd name="connsiteX6905" fmla="*/ 2655331 w 6994525"/>
                  <a:gd name="connsiteY6905" fmla="*/ 1052756 h 7571036"/>
                  <a:gd name="connsiteX6906" fmla="*/ 2632398 w 6994525"/>
                  <a:gd name="connsiteY6906" fmla="*/ 1029826 h 7571036"/>
                  <a:gd name="connsiteX6907" fmla="*/ 2609468 w 6994525"/>
                  <a:gd name="connsiteY6907" fmla="*/ 1052756 h 7571036"/>
                  <a:gd name="connsiteX6908" fmla="*/ 2632398 w 6994525"/>
                  <a:gd name="connsiteY6908" fmla="*/ 1075692 h 7571036"/>
                  <a:gd name="connsiteX6909" fmla="*/ 2655331 w 6994525"/>
                  <a:gd name="connsiteY6909" fmla="*/ 1052756 h 7571036"/>
                  <a:gd name="connsiteX6910" fmla="*/ 2655824 w 6994525"/>
                  <a:gd name="connsiteY6910" fmla="*/ 597122 h 7571036"/>
                  <a:gd name="connsiteX6911" fmla="*/ 2631166 w 6994525"/>
                  <a:gd name="connsiteY6911" fmla="*/ 572466 h 7571036"/>
                  <a:gd name="connsiteX6912" fmla="*/ 2606509 w 6994525"/>
                  <a:gd name="connsiteY6912" fmla="*/ 597122 h 7571036"/>
                  <a:gd name="connsiteX6913" fmla="*/ 2631166 w 6994525"/>
                  <a:gd name="connsiteY6913" fmla="*/ 621779 h 7571036"/>
                  <a:gd name="connsiteX6914" fmla="*/ 2655824 w 6994525"/>
                  <a:gd name="connsiteY6914" fmla="*/ 597122 h 7571036"/>
                  <a:gd name="connsiteX6915" fmla="*/ 2656069 w 6994525"/>
                  <a:gd name="connsiteY6915" fmla="*/ 710318 h 7571036"/>
                  <a:gd name="connsiteX6916" fmla="*/ 2631412 w 6994525"/>
                  <a:gd name="connsiteY6916" fmla="*/ 685663 h 7571036"/>
                  <a:gd name="connsiteX6917" fmla="*/ 2606754 w 6994525"/>
                  <a:gd name="connsiteY6917" fmla="*/ 710318 h 7571036"/>
                  <a:gd name="connsiteX6918" fmla="*/ 2631412 w 6994525"/>
                  <a:gd name="connsiteY6918" fmla="*/ 734973 h 7571036"/>
                  <a:gd name="connsiteX6919" fmla="*/ 2656069 w 6994525"/>
                  <a:gd name="connsiteY6919" fmla="*/ 710318 h 7571036"/>
                  <a:gd name="connsiteX6920" fmla="*/ 2656810 w 6994525"/>
                  <a:gd name="connsiteY6920" fmla="*/ 4680923 h 7571036"/>
                  <a:gd name="connsiteX6921" fmla="*/ 2616372 w 6994525"/>
                  <a:gd name="connsiteY6921" fmla="*/ 4640483 h 7571036"/>
                  <a:gd name="connsiteX6922" fmla="*/ 2575934 w 6994525"/>
                  <a:gd name="connsiteY6922" fmla="*/ 4680923 h 7571036"/>
                  <a:gd name="connsiteX6923" fmla="*/ 2616372 w 6994525"/>
                  <a:gd name="connsiteY6923" fmla="*/ 4721361 h 7571036"/>
                  <a:gd name="connsiteX6924" fmla="*/ 2656810 w 6994525"/>
                  <a:gd name="connsiteY6924" fmla="*/ 4680923 h 7571036"/>
                  <a:gd name="connsiteX6925" fmla="*/ 2657056 w 6994525"/>
                  <a:gd name="connsiteY6925" fmla="*/ 823728 h 7571036"/>
                  <a:gd name="connsiteX6926" fmla="*/ 2632152 w 6994525"/>
                  <a:gd name="connsiteY6926" fmla="*/ 798823 h 7571036"/>
                  <a:gd name="connsiteX6927" fmla="*/ 2607249 w 6994525"/>
                  <a:gd name="connsiteY6927" fmla="*/ 823728 h 7571036"/>
                  <a:gd name="connsiteX6928" fmla="*/ 2632152 w 6994525"/>
                  <a:gd name="connsiteY6928" fmla="*/ 848631 h 7571036"/>
                  <a:gd name="connsiteX6929" fmla="*/ 2657056 w 6994525"/>
                  <a:gd name="connsiteY6929" fmla="*/ 823728 h 7571036"/>
                  <a:gd name="connsiteX6930" fmla="*/ 2657056 w 6994525"/>
                  <a:gd name="connsiteY6930" fmla="*/ 1283768 h 7571036"/>
                  <a:gd name="connsiteX6931" fmla="*/ 2633633 w 6994525"/>
                  <a:gd name="connsiteY6931" fmla="*/ 1260339 h 7571036"/>
                  <a:gd name="connsiteX6932" fmla="*/ 2610208 w 6994525"/>
                  <a:gd name="connsiteY6932" fmla="*/ 1283768 h 7571036"/>
                  <a:gd name="connsiteX6933" fmla="*/ 2633633 w 6994525"/>
                  <a:gd name="connsiteY6933" fmla="*/ 1307191 h 7571036"/>
                  <a:gd name="connsiteX6934" fmla="*/ 2657056 w 6994525"/>
                  <a:gd name="connsiteY6934" fmla="*/ 1283768 h 7571036"/>
                  <a:gd name="connsiteX6935" fmla="*/ 2657550 w 6994525"/>
                  <a:gd name="connsiteY6935" fmla="*/ 1400137 h 7571036"/>
                  <a:gd name="connsiteX6936" fmla="*/ 2634374 w 6994525"/>
                  <a:gd name="connsiteY6936" fmla="*/ 1376958 h 7571036"/>
                  <a:gd name="connsiteX6937" fmla="*/ 2611194 w 6994525"/>
                  <a:gd name="connsiteY6937" fmla="*/ 1400137 h 7571036"/>
                  <a:gd name="connsiteX6938" fmla="*/ 2634374 w 6994525"/>
                  <a:gd name="connsiteY6938" fmla="*/ 1423317 h 7571036"/>
                  <a:gd name="connsiteX6939" fmla="*/ 2657550 w 6994525"/>
                  <a:gd name="connsiteY6939" fmla="*/ 1400137 h 7571036"/>
                  <a:gd name="connsiteX6940" fmla="*/ 2662236 w 6994525"/>
                  <a:gd name="connsiteY6940" fmla="*/ 4808402 h 7571036"/>
                  <a:gd name="connsiteX6941" fmla="*/ 2609962 w 6994525"/>
                  <a:gd name="connsiteY6941" fmla="*/ 4756127 h 7571036"/>
                  <a:gd name="connsiteX6942" fmla="*/ 2557934 w 6994525"/>
                  <a:gd name="connsiteY6942" fmla="*/ 4808402 h 7571036"/>
                  <a:gd name="connsiteX6943" fmla="*/ 2609962 w 6994525"/>
                  <a:gd name="connsiteY6943" fmla="*/ 4860676 h 7571036"/>
                  <a:gd name="connsiteX6944" fmla="*/ 2662236 w 6994525"/>
                  <a:gd name="connsiteY6944" fmla="*/ 4808402 h 7571036"/>
                  <a:gd name="connsiteX6945" fmla="*/ 2667168 w 6994525"/>
                  <a:gd name="connsiteY6945" fmla="*/ 2708842 h 7571036"/>
                  <a:gd name="connsiteX6946" fmla="*/ 2618840 w 6994525"/>
                  <a:gd name="connsiteY6946" fmla="*/ 2660513 h 7571036"/>
                  <a:gd name="connsiteX6947" fmla="*/ 2570510 w 6994525"/>
                  <a:gd name="connsiteY6947" fmla="*/ 2708842 h 7571036"/>
                  <a:gd name="connsiteX6948" fmla="*/ 2618840 w 6994525"/>
                  <a:gd name="connsiteY6948" fmla="*/ 2757171 h 7571036"/>
                  <a:gd name="connsiteX6949" fmla="*/ 2667168 w 6994525"/>
                  <a:gd name="connsiteY6949" fmla="*/ 2708842 h 7571036"/>
                  <a:gd name="connsiteX6950" fmla="*/ 2671605 w 6994525"/>
                  <a:gd name="connsiteY6950" fmla="*/ 4425468 h 7571036"/>
                  <a:gd name="connsiteX6951" fmla="*/ 2644726 w 6994525"/>
                  <a:gd name="connsiteY6951" fmla="*/ 4398591 h 7571036"/>
                  <a:gd name="connsiteX6952" fmla="*/ 2617850 w 6994525"/>
                  <a:gd name="connsiteY6952" fmla="*/ 4425468 h 7571036"/>
                  <a:gd name="connsiteX6953" fmla="*/ 2644726 w 6994525"/>
                  <a:gd name="connsiteY6953" fmla="*/ 4452347 h 7571036"/>
                  <a:gd name="connsiteX6954" fmla="*/ 2671605 w 6994525"/>
                  <a:gd name="connsiteY6954" fmla="*/ 4425468 h 7571036"/>
                  <a:gd name="connsiteX6955" fmla="*/ 2683440 w 6994525"/>
                  <a:gd name="connsiteY6955" fmla="*/ 3506727 h 7571036"/>
                  <a:gd name="connsiteX6956" fmla="*/ 2653605 w 6994525"/>
                  <a:gd name="connsiteY6956" fmla="*/ 3476892 h 7571036"/>
                  <a:gd name="connsiteX6957" fmla="*/ 2623770 w 6994525"/>
                  <a:gd name="connsiteY6957" fmla="*/ 3506727 h 7571036"/>
                  <a:gd name="connsiteX6958" fmla="*/ 2653605 w 6994525"/>
                  <a:gd name="connsiteY6958" fmla="*/ 3536563 h 7571036"/>
                  <a:gd name="connsiteX6959" fmla="*/ 2683440 w 6994525"/>
                  <a:gd name="connsiteY6959" fmla="*/ 3506727 h 7571036"/>
                  <a:gd name="connsiteX6960" fmla="*/ 2683931 w 6994525"/>
                  <a:gd name="connsiteY6960" fmla="*/ 7376734 h 7571036"/>
                  <a:gd name="connsiteX6961" fmla="*/ 2681467 w 6994525"/>
                  <a:gd name="connsiteY6961" fmla="*/ 7374267 h 7571036"/>
                  <a:gd name="connsiteX6962" fmla="*/ 2679000 w 6994525"/>
                  <a:gd name="connsiteY6962" fmla="*/ 7376734 h 7571036"/>
                  <a:gd name="connsiteX6963" fmla="*/ 2681467 w 6994525"/>
                  <a:gd name="connsiteY6963" fmla="*/ 7379198 h 7571036"/>
                  <a:gd name="connsiteX6964" fmla="*/ 2683931 w 6994525"/>
                  <a:gd name="connsiteY6964" fmla="*/ 7376734 h 7571036"/>
                  <a:gd name="connsiteX6965" fmla="*/ 2683934 w 6994525"/>
                  <a:gd name="connsiteY6965" fmla="*/ 7265776 h 7571036"/>
                  <a:gd name="connsiteX6966" fmla="*/ 2681222 w 6994525"/>
                  <a:gd name="connsiteY6966" fmla="*/ 7263063 h 7571036"/>
                  <a:gd name="connsiteX6967" fmla="*/ 2678509 w 6994525"/>
                  <a:gd name="connsiteY6967" fmla="*/ 7265776 h 7571036"/>
                  <a:gd name="connsiteX6968" fmla="*/ 2681222 w 6994525"/>
                  <a:gd name="connsiteY6968" fmla="*/ 7268489 h 7571036"/>
                  <a:gd name="connsiteX6969" fmla="*/ 2683934 w 6994525"/>
                  <a:gd name="connsiteY6969" fmla="*/ 7265776 h 7571036"/>
                  <a:gd name="connsiteX6970" fmla="*/ 2684180 w 6994525"/>
                  <a:gd name="connsiteY6970" fmla="*/ 7487448 h 7571036"/>
                  <a:gd name="connsiteX6971" fmla="*/ 2681713 w 6994525"/>
                  <a:gd name="connsiteY6971" fmla="*/ 7484981 h 7571036"/>
                  <a:gd name="connsiteX6972" fmla="*/ 2679249 w 6994525"/>
                  <a:gd name="connsiteY6972" fmla="*/ 7487448 h 7571036"/>
                  <a:gd name="connsiteX6973" fmla="*/ 2681713 w 6994525"/>
                  <a:gd name="connsiteY6973" fmla="*/ 7489913 h 7571036"/>
                  <a:gd name="connsiteX6974" fmla="*/ 2684180 w 6994525"/>
                  <a:gd name="connsiteY6974" fmla="*/ 7487448 h 7571036"/>
                  <a:gd name="connsiteX6975" fmla="*/ 2687385 w 6994525"/>
                  <a:gd name="connsiteY6975" fmla="*/ 3390116 h 7571036"/>
                  <a:gd name="connsiteX6976" fmla="*/ 2657796 w 6994525"/>
                  <a:gd name="connsiteY6976" fmla="*/ 3360525 h 7571036"/>
                  <a:gd name="connsiteX6977" fmla="*/ 2628207 w 6994525"/>
                  <a:gd name="connsiteY6977" fmla="*/ 3390116 h 7571036"/>
                  <a:gd name="connsiteX6978" fmla="*/ 2657796 w 6994525"/>
                  <a:gd name="connsiteY6978" fmla="*/ 3419705 h 7571036"/>
                  <a:gd name="connsiteX6979" fmla="*/ 2687385 w 6994525"/>
                  <a:gd name="connsiteY6979" fmla="*/ 3390116 h 7571036"/>
                  <a:gd name="connsiteX6980" fmla="*/ 2687385 w 6994525"/>
                  <a:gd name="connsiteY6980" fmla="*/ 7155553 h 7571036"/>
                  <a:gd name="connsiteX6981" fmla="*/ 2684919 w 6994525"/>
                  <a:gd name="connsiteY6981" fmla="*/ 7153334 h 7571036"/>
                  <a:gd name="connsiteX6982" fmla="*/ 2682700 w 6994525"/>
                  <a:gd name="connsiteY6982" fmla="*/ 7155553 h 7571036"/>
                  <a:gd name="connsiteX6983" fmla="*/ 2684919 w 6994525"/>
                  <a:gd name="connsiteY6983" fmla="*/ 7158021 h 7571036"/>
                  <a:gd name="connsiteX6984" fmla="*/ 2687385 w 6994525"/>
                  <a:gd name="connsiteY6984" fmla="*/ 7155553 h 7571036"/>
                  <a:gd name="connsiteX6985" fmla="*/ 2687387 w 6994525"/>
                  <a:gd name="connsiteY6985" fmla="*/ 6933144 h 7571036"/>
                  <a:gd name="connsiteX6986" fmla="*/ 2684675 w 6994525"/>
                  <a:gd name="connsiteY6986" fmla="*/ 6930431 h 7571036"/>
                  <a:gd name="connsiteX6987" fmla="*/ 2681962 w 6994525"/>
                  <a:gd name="connsiteY6987" fmla="*/ 6933144 h 7571036"/>
                  <a:gd name="connsiteX6988" fmla="*/ 2684675 w 6994525"/>
                  <a:gd name="connsiteY6988" fmla="*/ 6935857 h 7571036"/>
                  <a:gd name="connsiteX6989" fmla="*/ 2687387 w 6994525"/>
                  <a:gd name="connsiteY6989" fmla="*/ 6933144 h 7571036"/>
                  <a:gd name="connsiteX6990" fmla="*/ 2687630 w 6994525"/>
                  <a:gd name="connsiteY6990" fmla="*/ 6485857 h 7571036"/>
                  <a:gd name="connsiteX6991" fmla="*/ 2684177 w 6994525"/>
                  <a:gd name="connsiteY6991" fmla="*/ 6482652 h 7571036"/>
                  <a:gd name="connsiteX6992" fmla="*/ 2680727 w 6994525"/>
                  <a:gd name="connsiteY6992" fmla="*/ 6485857 h 7571036"/>
                  <a:gd name="connsiteX6993" fmla="*/ 2684177 w 6994525"/>
                  <a:gd name="connsiteY6993" fmla="*/ 6489311 h 7571036"/>
                  <a:gd name="connsiteX6994" fmla="*/ 2687630 w 6994525"/>
                  <a:gd name="connsiteY6994" fmla="*/ 6485857 h 7571036"/>
                  <a:gd name="connsiteX6995" fmla="*/ 2687878 w 6994525"/>
                  <a:gd name="connsiteY6995" fmla="*/ 7044596 h 7571036"/>
                  <a:gd name="connsiteX6996" fmla="*/ 2684672 w 6994525"/>
                  <a:gd name="connsiteY6996" fmla="*/ 7041390 h 7571036"/>
                  <a:gd name="connsiteX6997" fmla="*/ 2681468 w 6994525"/>
                  <a:gd name="connsiteY6997" fmla="*/ 7044596 h 7571036"/>
                  <a:gd name="connsiteX6998" fmla="*/ 2684672 w 6994525"/>
                  <a:gd name="connsiteY6998" fmla="*/ 7047803 h 7571036"/>
                  <a:gd name="connsiteX6999" fmla="*/ 2687878 w 6994525"/>
                  <a:gd name="connsiteY6999" fmla="*/ 7044596 h 7571036"/>
                  <a:gd name="connsiteX7000" fmla="*/ 2690836 w 6994525"/>
                  <a:gd name="connsiteY7000" fmla="*/ 6149279 h 7571036"/>
                  <a:gd name="connsiteX7001" fmla="*/ 2689355 w 6994525"/>
                  <a:gd name="connsiteY7001" fmla="*/ 6147800 h 7571036"/>
                  <a:gd name="connsiteX7002" fmla="*/ 2687877 w 6994525"/>
                  <a:gd name="connsiteY7002" fmla="*/ 6149279 h 7571036"/>
                  <a:gd name="connsiteX7003" fmla="*/ 2689355 w 6994525"/>
                  <a:gd name="connsiteY7003" fmla="*/ 6150760 h 7571036"/>
                  <a:gd name="connsiteX7004" fmla="*/ 2690836 w 6994525"/>
                  <a:gd name="connsiteY7004" fmla="*/ 6149279 h 7571036"/>
                  <a:gd name="connsiteX7005" fmla="*/ 2691823 w 6994525"/>
                  <a:gd name="connsiteY7005" fmla="*/ 5922184 h 7571036"/>
                  <a:gd name="connsiteX7006" fmla="*/ 2690099 w 6994525"/>
                  <a:gd name="connsiteY7006" fmla="*/ 5920456 h 7571036"/>
                  <a:gd name="connsiteX7007" fmla="*/ 2688372 w 6994525"/>
                  <a:gd name="connsiteY7007" fmla="*/ 5922184 h 7571036"/>
                  <a:gd name="connsiteX7008" fmla="*/ 2690099 w 6994525"/>
                  <a:gd name="connsiteY7008" fmla="*/ 5923911 h 7571036"/>
                  <a:gd name="connsiteX7009" fmla="*/ 2691823 w 6994525"/>
                  <a:gd name="connsiteY7009" fmla="*/ 5922184 h 7571036"/>
                  <a:gd name="connsiteX7010" fmla="*/ 2692071 w 6994525"/>
                  <a:gd name="connsiteY7010" fmla="*/ 6035854 h 7571036"/>
                  <a:gd name="connsiteX7011" fmla="*/ 2689604 w 6994525"/>
                  <a:gd name="connsiteY7011" fmla="*/ 6033635 h 7571036"/>
                  <a:gd name="connsiteX7012" fmla="*/ 2687385 w 6994525"/>
                  <a:gd name="connsiteY7012" fmla="*/ 6035854 h 7571036"/>
                  <a:gd name="connsiteX7013" fmla="*/ 2689604 w 6994525"/>
                  <a:gd name="connsiteY7013" fmla="*/ 6038321 h 7571036"/>
                  <a:gd name="connsiteX7014" fmla="*/ 2692071 w 6994525"/>
                  <a:gd name="connsiteY7014" fmla="*/ 6035854 h 7571036"/>
                  <a:gd name="connsiteX7015" fmla="*/ 2692565 w 6994525"/>
                  <a:gd name="connsiteY7015" fmla="*/ 6709993 h 7571036"/>
                  <a:gd name="connsiteX7016" fmla="*/ 2684427 w 6994525"/>
                  <a:gd name="connsiteY7016" fmla="*/ 6701857 h 7571036"/>
                  <a:gd name="connsiteX7017" fmla="*/ 2676290 w 6994525"/>
                  <a:gd name="connsiteY7017" fmla="*/ 6709993 h 7571036"/>
                  <a:gd name="connsiteX7018" fmla="*/ 2684427 w 6994525"/>
                  <a:gd name="connsiteY7018" fmla="*/ 6718133 h 7571036"/>
                  <a:gd name="connsiteX7019" fmla="*/ 2692565 w 6994525"/>
                  <a:gd name="connsiteY7019" fmla="*/ 6709993 h 7571036"/>
                  <a:gd name="connsiteX7020" fmla="*/ 2692809 w 6994525"/>
                  <a:gd name="connsiteY7020" fmla="*/ 6598046 h 7571036"/>
                  <a:gd name="connsiteX7021" fmla="*/ 2684424 w 6994525"/>
                  <a:gd name="connsiteY7021" fmla="*/ 6589664 h 7571036"/>
                  <a:gd name="connsiteX7022" fmla="*/ 2676041 w 6994525"/>
                  <a:gd name="connsiteY7022" fmla="*/ 6598046 h 7571036"/>
                  <a:gd name="connsiteX7023" fmla="*/ 2684424 w 6994525"/>
                  <a:gd name="connsiteY7023" fmla="*/ 6606431 h 7571036"/>
                  <a:gd name="connsiteX7024" fmla="*/ 2692809 w 6994525"/>
                  <a:gd name="connsiteY7024" fmla="*/ 6598046 h 7571036"/>
                  <a:gd name="connsiteX7025" fmla="*/ 2693303 w 6994525"/>
                  <a:gd name="connsiteY7025" fmla="*/ 5577719 h 7571036"/>
                  <a:gd name="connsiteX7026" fmla="*/ 2691822 w 6994525"/>
                  <a:gd name="connsiteY7026" fmla="*/ 5576240 h 7571036"/>
                  <a:gd name="connsiteX7027" fmla="*/ 2690344 w 6994525"/>
                  <a:gd name="connsiteY7027" fmla="*/ 5577719 h 7571036"/>
                  <a:gd name="connsiteX7028" fmla="*/ 2691822 w 6994525"/>
                  <a:gd name="connsiteY7028" fmla="*/ 5579200 h 7571036"/>
                  <a:gd name="connsiteX7029" fmla="*/ 2693303 w 6994525"/>
                  <a:gd name="connsiteY7029" fmla="*/ 5577719 h 7571036"/>
                  <a:gd name="connsiteX7030" fmla="*/ 2693795 w 6994525"/>
                  <a:gd name="connsiteY7030" fmla="*/ 5808018 h 7571036"/>
                  <a:gd name="connsiteX7031" fmla="*/ 2690590 w 6994525"/>
                  <a:gd name="connsiteY7031" fmla="*/ 5804813 h 7571036"/>
                  <a:gd name="connsiteX7032" fmla="*/ 2687385 w 6994525"/>
                  <a:gd name="connsiteY7032" fmla="*/ 5808018 h 7571036"/>
                  <a:gd name="connsiteX7033" fmla="*/ 2690590 w 6994525"/>
                  <a:gd name="connsiteY7033" fmla="*/ 5810977 h 7571036"/>
                  <a:gd name="connsiteX7034" fmla="*/ 2693795 w 6994525"/>
                  <a:gd name="connsiteY7034" fmla="*/ 5808018 h 7571036"/>
                  <a:gd name="connsiteX7035" fmla="*/ 2693796 w 6994525"/>
                  <a:gd name="connsiteY7035" fmla="*/ 6821693 h 7571036"/>
                  <a:gd name="connsiteX7036" fmla="*/ 2684426 w 6994525"/>
                  <a:gd name="connsiteY7036" fmla="*/ 6812322 h 7571036"/>
                  <a:gd name="connsiteX7037" fmla="*/ 2675058 w 6994525"/>
                  <a:gd name="connsiteY7037" fmla="*/ 6821693 h 7571036"/>
                  <a:gd name="connsiteX7038" fmla="*/ 2684426 w 6994525"/>
                  <a:gd name="connsiteY7038" fmla="*/ 6831062 h 7571036"/>
                  <a:gd name="connsiteX7039" fmla="*/ 2693796 w 6994525"/>
                  <a:gd name="connsiteY7039" fmla="*/ 6821693 h 7571036"/>
                  <a:gd name="connsiteX7040" fmla="*/ 2694040 w 6994525"/>
                  <a:gd name="connsiteY7040" fmla="*/ 3004724 h 7571036"/>
                  <a:gd name="connsiteX7041" fmla="*/ 2671604 w 6994525"/>
                  <a:gd name="connsiteY7041" fmla="*/ 2982285 h 7571036"/>
                  <a:gd name="connsiteX7042" fmla="*/ 2649165 w 6994525"/>
                  <a:gd name="connsiteY7042" fmla="*/ 3004724 h 7571036"/>
                  <a:gd name="connsiteX7043" fmla="*/ 2671604 w 6994525"/>
                  <a:gd name="connsiteY7043" fmla="*/ 3027161 h 7571036"/>
                  <a:gd name="connsiteX7044" fmla="*/ 2694040 w 6994525"/>
                  <a:gd name="connsiteY7044" fmla="*/ 3004724 h 7571036"/>
                  <a:gd name="connsiteX7045" fmla="*/ 2695522 w 6994525"/>
                  <a:gd name="connsiteY7045" fmla="*/ 3622865 h 7571036"/>
                  <a:gd name="connsiteX7046" fmla="*/ 2665934 w 6994525"/>
                  <a:gd name="connsiteY7046" fmla="*/ 3593276 h 7571036"/>
                  <a:gd name="connsiteX7047" fmla="*/ 2636344 w 6994525"/>
                  <a:gd name="connsiteY7047" fmla="*/ 3622865 h 7571036"/>
                  <a:gd name="connsiteX7048" fmla="*/ 2665934 w 6994525"/>
                  <a:gd name="connsiteY7048" fmla="*/ 3652455 h 7571036"/>
                  <a:gd name="connsiteX7049" fmla="*/ 2695522 w 6994525"/>
                  <a:gd name="connsiteY7049" fmla="*/ 3622865 h 7571036"/>
                  <a:gd name="connsiteX7050" fmla="*/ 2697002 w 6994525"/>
                  <a:gd name="connsiteY7050" fmla="*/ 5693115 h 7571036"/>
                  <a:gd name="connsiteX7051" fmla="*/ 2691084 w 6994525"/>
                  <a:gd name="connsiteY7051" fmla="*/ 5687197 h 7571036"/>
                  <a:gd name="connsiteX7052" fmla="*/ 2685167 w 6994525"/>
                  <a:gd name="connsiteY7052" fmla="*/ 5693115 h 7571036"/>
                  <a:gd name="connsiteX7053" fmla="*/ 2691084 w 6994525"/>
                  <a:gd name="connsiteY7053" fmla="*/ 5699033 h 7571036"/>
                  <a:gd name="connsiteX7054" fmla="*/ 2697002 w 6994525"/>
                  <a:gd name="connsiteY7054" fmla="*/ 5693115 h 7571036"/>
                  <a:gd name="connsiteX7055" fmla="*/ 2699221 w 6994525"/>
                  <a:gd name="connsiteY7055" fmla="*/ 4147333 h 7571036"/>
                  <a:gd name="connsiteX7056" fmla="*/ 2677027 w 6994525"/>
                  <a:gd name="connsiteY7056" fmla="*/ 4125139 h 7571036"/>
                  <a:gd name="connsiteX7057" fmla="*/ 2654837 w 6994525"/>
                  <a:gd name="connsiteY7057" fmla="*/ 4147333 h 7571036"/>
                  <a:gd name="connsiteX7058" fmla="*/ 2677027 w 6994525"/>
                  <a:gd name="connsiteY7058" fmla="*/ 4169523 h 7571036"/>
                  <a:gd name="connsiteX7059" fmla="*/ 2699221 w 6994525"/>
                  <a:gd name="connsiteY7059" fmla="*/ 4147333 h 7571036"/>
                  <a:gd name="connsiteX7060" fmla="*/ 2699468 w 6994525"/>
                  <a:gd name="connsiteY7060" fmla="*/ 6374897 h 7571036"/>
                  <a:gd name="connsiteX7061" fmla="*/ 2689112 w 6994525"/>
                  <a:gd name="connsiteY7061" fmla="*/ 6364541 h 7571036"/>
                  <a:gd name="connsiteX7062" fmla="*/ 2678509 w 6994525"/>
                  <a:gd name="connsiteY7062" fmla="*/ 6374897 h 7571036"/>
                  <a:gd name="connsiteX7063" fmla="*/ 2689112 w 6994525"/>
                  <a:gd name="connsiteY7063" fmla="*/ 6385500 h 7571036"/>
                  <a:gd name="connsiteX7064" fmla="*/ 2699468 w 6994525"/>
                  <a:gd name="connsiteY7064" fmla="*/ 6374897 h 7571036"/>
                  <a:gd name="connsiteX7065" fmla="*/ 2699961 w 6994525"/>
                  <a:gd name="connsiteY7065" fmla="*/ 4288866 h 7571036"/>
                  <a:gd name="connsiteX7066" fmla="*/ 2658536 w 6994525"/>
                  <a:gd name="connsiteY7066" fmla="*/ 4247687 h 7571036"/>
                  <a:gd name="connsiteX7067" fmla="*/ 2617358 w 6994525"/>
                  <a:gd name="connsiteY7067" fmla="*/ 4288866 h 7571036"/>
                  <a:gd name="connsiteX7068" fmla="*/ 2658536 w 6994525"/>
                  <a:gd name="connsiteY7068" fmla="*/ 4330041 h 7571036"/>
                  <a:gd name="connsiteX7069" fmla="*/ 2699961 w 6994525"/>
                  <a:gd name="connsiteY7069" fmla="*/ 4288866 h 7571036"/>
                  <a:gd name="connsiteX7070" fmla="*/ 2701685 w 6994525"/>
                  <a:gd name="connsiteY7070" fmla="*/ 6262212 h 7571036"/>
                  <a:gd name="connsiteX7071" fmla="*/ 2689112 w 6994525"/>
                  <a:gd name="connsiteY7071" fmla="*/ 6249635 h 7571036"/>
                  <a:gd name="connsiteX7072" fmla="*/ 2676536 w 6994525"/>
                  <a:gd name="connsiteY7072" fmla="*/ 6262212 h 7571036"/>
                  <a:gd name="connsiteX7073" fmla="*/ 2689112 w 6994525"/>
                  <a:gd name="connsiteY7073" fmla="*/ 6274785 h 7571036"/>
                  <a:gd name="connsiteX7074" fmla="*/ 2701685 w 6994525"/>
                  <a:gd name="connsiteY7074" fmla="*/ 6262212 h 7571036"/>
                  <a:gd name="connsiteX7075" fmla="*/ 2704398 w 6994525"/>
                  <a:gd name="connsiteY7075" fmla="*/ 3999633 h 7571036"/>
                  <a:gd name="connsiteX7076" fmla="*/ 2702179 w 6994525"/>
                  <a:gd name="connsiteY7076" fmla="*/ 3997414 h 7571036"/>
                  <a:gd name="connsiteX7077" fmla="*/ 2699961 w 6994525"/>
                  <a:gd name="connsiteY7077" fmla="*/ 3999633 h 7571036"/>
                  <a:gd name="connsiteX7078" fmla="*/ 2702179 w 6994525"/>
                  <a:gd name="connsiteY7078" fmla="*/ 4001851 h 7571036"/>
                  <a:gd name="connsiteX7079" fmla="*/ 2704398 w 6994525"/>
                  <a:gd name="connsiteY7079" fmla="*/ 3999633 h 7571036"/>
                  <a:gd name="connsiteX7080" fmla="*/ 2704644 w 6994525"/>
                  <a:gd name="connsiteY7080" fmla="*/ 469911 h 7571036"/>
                  <a:gd name="connsiteX7081" fmla="*/ 2681468 w 6994525"/>
                  <a:gd name="connsiteY7081" fmla="*/ 446733 h 7571036"/>
                  <a:gd name="connsiteX7082" fmla="*/ 2658288 w 6994525"/>
                  <a:gd name="connsiteY7082" fmla="*/ 469911 h 7571036"/>
                  <a:gd name="connsiteX7083" fmla="*/ 2681468 w 6994525"/>
                  <a:gd name="connsiteY7083" fmla="*/ 493087 h 7571036"/>
                  <a:gd name="connsiteX7084" fmla="*/ 2704644 w 6994525"/>
                  <a:gd name="connsiteY7084" fmla="*/ 469911 h 7571036"/>
                  <a:gd name="connsiteX7085" fmla="*/ 2705139 w 6994525"/>
                  <a:gd name="connsiteY7085" fmla="*/ 357742 h 7571036"/>
                  <a:gd name="connsiteX7086" fmla="*/ 2681467 w 6994525"/>
                  <a:gd name="connsiteY7086" fmla="*/ 334071 h 7571036"/>
                  <a:gd name="connsiteX7087" fmla="*/ 2657796 w 6994525"/>
                  <a:gd name="connsiteY7087" fmla="*/ 357742 h 7571036"/>
                  <a:gd name="connsiteX7088" fmla="*/ 2681467 w 6994525"/>
                  <a:gd name="connsiteY7088" fmla="*/ 381412 h 7571036"/>
                  <a:gd name="connsiteX7089" fmla="*/ 2705139 w 6994525"/>
                  <a:gd name="connsiteY7089" fmla="*/ 357742 h 7571036"/>
                  <a:gd name="connsiteX7090" fmla="*/ 2705879 w 6994525"/>
                  <a:gd name="connsiteY7090" fmla="*/ 134394 h 7571036"/>
                  <a:gd name="connsiteX7091" fmla="*/ 2681467 w 6994525"/>
                  <a:gd name="connsiteY7091" fmla="*/ 109984 h 7571036"/>
                  <a:gd name="connsiteX7092" fmla="*/ 2657056 w 6994525"/>
                  <a:gd name="connsiteY7092" fmla="*/ 134394 h 7571036"/>
                  <a:gd name="connsiteX7093" fmla="*/ 2681467 w 6994525"/>
                  <a:gd name="connsiteY7093" fmla="*/ 158803 h 7571036"/>
                  <a:gd name="connsiteX7094" fmla="*/ 2705879 w 6994525"/>
                  <a:gd name="connsiteY7094" fmla="*/ 134394 h 7571036"/>
                  <a:gd name="connsiteX7095" fmla="*/ 2706125 w 6994525"/>
                  <a:gd name="connsiteY7095" fmla="*/ 22724 h 7571036"/>
                  <a:gd name="connsiteX7096" fmla="*/ 2698914 w 6994525"/>
                  <a:gd name="connsiteY7096" fmla="*/ 5433 h 7571036"/>
                  <a:gd name="connsiteX7097" fmla="*/ 2685791 w 6994525"/>
                  <a:gd name="connsiteY7097" fmla="*/ 0 h 7571036"/>
                  <a:gd name="connsiteX7098" fmla="*/ 2677672 w 6994525"/>
                  <a:gd name="connsiteY7098" fmla="*/ 0 h 7571036"/>
                  <a:gd name="connsiteX7099" fmla="*/ 2664424 w 6994525"/>
                  <a:gd name="connsiteY7099" fmla="*/ 5525 h 7571036"/>
                  <a:gd name="connsiteX7100" fmla="*/ 2657305 w 6994525"/>
                  <a:gd name="connsiteY7100" fmla="*/ 22724 h 7571036"/>
                  <a:gd name="connsiteX7101" fmla="*/ 2681716 w 6994525"/>
                  <a:gd name="connsiteY7101" fmla="*/ 47132 h 7571036"/>
                  <a:gd name="connsiteX7102" fmla="*/ 2706125 w 6994525"/>
                  <a:gd name="connsiteY7102" fmla="*/ 22724 h 7571036"/>
                  <a:gd name="connsiteX7103" fmla="*/ 2706370 w 6994525"/>
                  <a:gd name="connsiteY7103" fmla="*/ 5110950 h 7571036"/>
                  <a:gd name="connsiteX7104" fmla="*/ 2703905 w 6994525"/>
                  <a:gd name="connsiteY7104" fmla="*/ 5108237 h 7571036"/>
                  <a:gd name="connsiteX7105" fmla="*/ 2701193 w 6994525"/>
                  <a:gd name="connsiteY7105" fmla="*/ 5110950 h 7571036"/>
                  <a:gd name="connsiteX7106" fmla="*/ 2703905 w 6994525"/>
                  <a:gd name="connsiteY7106" fmla="*/ 5113664 h 7571036"/>
                  <a:gd name="connsiteX7107" fmla="*/ 2706370 w 6994525"/>
                  <a:gd name="connsiteY7107" fmla="*/ 5110950 h 7571036"/>
                  <a:gd name="connsiteX7108" fmla="*/ 2706620 w 6994525"/>
                  <a:gd name="connsiteY7108" fmla="*/ 245822 h 7571036"/>
                  <a:gd name="connsiteX7109" fmla="*/ 2681962 w 6994525"/>
                  <a:gd name="connsiteY7109" fmla="*/ 221165 h 7571036"/>
                  <a:gd name="connsiteX7110" fmla="*/ 2657305 w 6994525"/>
                  <a:gd name="connsiteY7110" fmla="*/ 245822 h 7571036"/>
                  <a:gd name="connsiteX7111" fmla="*/ 2681962 w 6994525"/>
                  <a:gd name="connsiteY7111" fmla="*/ 270478 h 7571036"/>
                  <a:gd name="connsiteX7112" fmla="*/ 2706620 w 6994525"/>
                  <a:gd name="connsiteY7112" fmla="*/ 245822 h 7571036"/>
                  <a:gd name="connsiteX7113" fmla="*/ 2707360 w 6994525"/>
                  <a:gd name="connsiteY7113" fmla="*/ 3274965 h 7571036"/>
                  <a:gd name="connsiteX7114" fmla="*/ 2678017 w 6994525"/>
                  <a:gd name="connsiteY7114" fmla="*/ 3245621 h 7571036"/>
                  <a:gd name="connsiteX7115" fmla="*/ 2648674 w 6994525"/>
                  <a:gd name="connsiteY7115" fmla="*/ 3274965 h 7571036"/>
                  <a:gd name="connsiteX7116" fmla="*/ 2678017 w 6994525"/>
                  <a:gd name="connsiteY7116" fmla="*/ 3304306 h 7571036"/>
                  <a:gd name="connsiteX7117" fmla="*/ 2707360 w 6994525"/>
                  <a:gd name="connsiteY7117" fmla="*/ 3274965 h 7571036"/>
                  <a:gd name="connsiteX7118" fmla="*/ 2713770 w 6994525"/>
                  <a:gd name="connsiteY7118" fmla="*/ 1726555 h 7571036"/>
                  <a:gd name="connsiteX7119" fmla="*/ 2699470 w 6994525"/>
                  <a:gd name="connsiteY7119" fmla="*/ 1712243 h 7571036"/>
                  <a:gd name="connsiteX7120" fmla="*/ 2685167 w 6994525"/>
                  <a:gd name="connsiteY7120" fmla="*/ 1726555 h 7571036"/>
                  <a:gd name="connsiteX7121" fmla="*/ 2699470 w 6994525"/>
                  <a:gd name="connsiteY7121" fmla="*/ 1740864 h 7571036"/>
                  <a:gd name="connsiteX7122" fmla="*/ 2713770 w 6994525"/>
                  <a:gd name="connsiteY7122" fmla="*/ 1726555 h 7571036"/>
                  <a:gd name="connsiteX7123" fmla="*/ 2714755 w 6994525"/>
                  <a:gd name="connsiteY7123" fmla="*/ 1608959 h 7571036"/>
                  <a:gd name="connsiteX7124" fmla="*/ 2697740 w 6994525"/>
                  <a:gd name="connsiteY7124" fmla="*/ 1591945 h 7571036"/>
                  <a:gd name="connsiteX7125" fmla="*/ 2680727 w 6994525"/>
                  <a:gd name="connsiteY7125" fmla="*/ 1608959 h 7571036"/>
                  <a:gd name="connsiteX7126" fmla="*/ 2697740 w 6994525"/>
                  <a:gd name="connsiteY7126" fmla="*/ 1625971 h 7571036"/>
                  <a:gd name="connsiteX7127" fmla="*/ 2714755 w 6994525"/>
                  <a:gd name="connsiteY7127" fmla="*/ 1608959 h 7571036"/>
                  <a:gd name="connsiteX7128" fmla="*/ 2718207 w 6994525"/>
                  <a:gd name="connsiteY7128" fmla="*/ 1492339 h 7571036"/>
                  <a:gd name="connsiteX7129" fmla="*/ 2696262 w 6994525"/>
                  <a:gd name="connsiteY7129" fmla="*/ 1470395 h 7571036"/>
                  <a:gd name="connsiteX7130" fmla="*/ 2674318 w 6994525"/>
                  <a:gd name="connsiteY7130" fmla="*/ 1492339 h 7571036"/>
                  <a:gd name="connsiteX7131" fmla="*/ 2696262 w 6994525"/>
                  <a:gd name="connsiteY7131" fmla="*/ 1514285 h 7571036"/>
                  <a:gd name="connsiteX7132" fmla="*/ 2718207 w 6994525"/>
                  <a:gd name="connsiteY7132" fmla="*/ 1492339 h 7571036"/>
                  <a:gd name="connsiteX7133" fmla="*/ 2719439 w 6994525"/>
                  <a:gd name="connsiteY7133" fmla="*/ 2362665 h 7571036"/>
                  <a:gd name="connsiteX7134" fmla="*/ 2679000 w 6994525"/>
                  <a:gd name="connsiteY7134" fmla="*/ 2322221 h 7571036"/>
                  <a:gd name="connsiteX7135" fmla="*/ 2638562 w 6994525"/>
                  <a:gd name="connsiteY7135" fmla="*/ 2362665 h 7571036"/>
                  <a:gd name="connsiteX7136" fmla="*/ 2679000 w 6994525"/>
                  <a:gd name="connsiteY7136" fmla="*/ 2403101 h 7571036"/>
                  <a:gd name="connsiteX7137" fmla="*/ 2719439 w 6994525"/>
                  <a:gd name="connsiteY7137" fmla="*/ 2362665 h 7571036"/>
                  <a:gd name="connsiteX7138" fmla="*/ 2721414 w 6994525"/>
                  <a:gd name="connsiteY7138" fmla="*/ 5347168 h 7571036"/>
                  <a:gd name="connsiteX7139" fmla="*/ 2700207 w 6994525"/>
                  <a:gd name="connsiteY7139" fmla="*/ 5326210 h 7571036"/>
                  <a:gd name="connsiteX7140" fmla="*/ 2679249 w 6994525"/>
                  <a:gd name="connsiteY7140" fmla="*/ 5347168 h 7571036"/>
                  <a:gd name="connsiteX7141" fmla="*/ 2700207 w 6994525"/>
                  <a:gd name="connsiteY7141" fmla="*/ 5368376 h 7571036"/>
                  <a:gd name="connsiteX7142" fmla="*/ 2721414 w 6994525"/>
                  <a:gd name="connsiteY7142" fmla="*/ 5347168 h 7571036"/>
                  <a:gd name="connsiteX7143" fmla="*/ 2722400 w 6994525"/>
                  <a:gd name="connsiteY7143" fmla="*/ 3736290 h 7571036"/>
                  <a:gd name="connsiteX7144" fmla="*/ 2694044 w 6994525"/>
                  <a:gd name="connsiteY7144" fmla="*/ 3707933 h 7571036"/>
                  <a:gd name="connsiteX7145" fmla="*/ 2665687 w 6994525"/>
                  <a:gd name="connsiteY7145" fmla="*/ 3736290 h 7571036"/>
                  <a:gd name="connsiteX7146" fmla="*/ 2694044 w 6994525"/>
                  <a:gd name="connsiteY7146" fmla="*/ 3764397 h 7571036"/>
                  <a:gd name="connsiteX7147" fmla="*/ 2722400 w 6994525"/>
                  <a:gd name="connsiteY7147" fmla="*/ 3736290 h 7571036"/>
                  <a:gd name="connsiteX7148" fmla="*/ 2724124 w 6994525"/>
                  <a:gd name="connsiteY7148" fmla="*/ 2764068 h 7571036"/>
                  <a:gd name="connsiteX7149" fmla="*/ 2715247 w 6994525"/>
                  <a:gd name="connsiteY7149" fmla="*/ 2755191 h 7571036"/>
                  <a:gd name="connsiteX7150" fmla="*/ 2706371 w 6994525"/>
                  <a:gd name="connsiteY7150" fmla="*/ 2764068 h 7571036"/>
                  <a:gd name="connsiteX7151" fmla="*/ 2715247 w 6994525"/>
                  <a:gd name="connsiteY7151" fmla="*/ 2772944 h 7571036"/>
                  <a:gd name="connsiteX7152" fmla="*/ 2724124 w 6994525"/>
                  <a:gd name="connsiteY7152" fmla="*/ 2764068 h 7571036"/>
                  <a:gd name="connsiteX7153" fmla="*/ 2726590 w 6994525"/>
                  <a:gd name="connsiteY7153" fmla="*/ 1965208 h 7571036"/>
                  <a:gd name="connsiteX7154" fmla="*/ 2704644 w 6994525"/>
                  <a:gd name="connsiteY7154" fmla="*/ 1943270 h 7571036"/>
                  <a:gd name="connsiteX7155" fmla="*/ 2682700 w 6994525"/>
                  <a:gd name="connsiteY7155" fmla="*/ 1965208 h 7571036"/>
                  <a:gd name="connsiteX7156" fmla="*/ 2704644 w 6994525"/>
                  <a:gd name="connsiteY7156" fmla="*/ 1987147 h 7571036"/>
                  <a:gd name="connsiteX7157" fmla="*/ 2726590 w 6994525"/>
                  <a:gd name="connsiteY7157" fmla="*/ 1965208 h 7571036"/>
                  <a:gd name="connsiteX7158" fmla="*/ 2729796 w 6994525"/>
                  <a:gd name="connsiteY7158" fmla="*/ 4625935 h 7571036"/>
                  <a:gd name="connsiteX7159" fmla="*/ 2727332 w 6994525"/>
                  <a:gd name="connsiteY7159" fmla="*/ 4623470 h 7571036"/>
                  <a:gd name="connsiteX7160" fmla="*/ 2724865 w 6994525"/>
                  <a:gd name="connsiteY7160" fmla="*/ 4625935 h 7571036"/>
                  <a:gd name="connsiteX7161" fmla="*/ 2727332 w 6994525"/>
                  <a:gd name="connsiteY7161" fmla="*/ 4628402 h 7571036"/>
                  <a:gd name="connsiteX7162" fmla="*/ 2729796 w 6994525"/>
                  <a:gd name="connsiteY7162" fmla="*/ 4625935 h 7571036"/>
                  <a:gd name="connsiteX7163" fmla="*/ 2731523 w 6994525"/>
                  <a:gd name="connsiteY7163" fmla="*/ 1845171 h 7571036"/>
                  <a:gd name="connsiteX7164" fmla="*/ 2701934 w 6994525"/>
                  <a:gd name="connsiteY7164" fmla="*/ 1815583 h 7571036"/>
                  <a:gd name="connsiteX7165" fmla="*/ 2672345 w 6994525"/>
                  <a:gd name="connsiteY7165" fmla="*/ 1845171 h 7571036"/>
                  <a:gd name="connsiteX7166" fmla="*/ 2701934 w 6994525"/>
                  <a:gd name="connsiteY7166" fmla="*/ 1874752 h 7571036"/>
                  <a:gd name="connsiteX7167" fmla="*/ 2731523 w 6994525"/>
                  <a:gd name="connsiteY7167" fmla="*/ 1845171 h 7571036"/>
                  <a:gd name="connsiteX7168" fmla="*/ 2734481 w 6994525"/>
                  <a:gd name="connsiteY7168" fmla="*/ 2492600 h 7571036"/>
                  <a:gd name="connsiteX7169" fmla="*/ 2688125 w 6994525"/>
                  <a:gd name="connsiteY7169" fmla="*/ 2446245 h 7571036"/>
                  <a:gd name="connsiteX7170" fmla="*/ 2641769 w 6994525"/>
                  <a:gd name="connsiteY7170" fmla="*/ 2492600 h 7571036"/>
                  <a:gd name="connsiteX7171" fmla="*/ 2688125 w 6994525"/>
                  <a:gd name="connsiteY7171" fmla="*/ 2538958 h 7571036"/>
                  <a:gd name="connsiteX7172" fmla="*/ 2734481 w 6994525"/>
                  <a:gd name="connsiteY7172" fmla="*/ 2492600 h 7571036"/>
                  <a:gd name="connsiteX7173" fmla="*/ 2736700 w 6994525"/>
                  <a:gd name="connsiteY7173" fmla="*/ 5229799 h 7571036"/>
                  <a:gd name="connsiteX7174" fmla="*/ 2702180 w 6994525"/>
                  <a:gd name="connsiteY7174" fmla="*/ 5195278 h 7571036"/>
                  <a:gd name="connsiteX7175" fmla="*/ 2667659 w 6994525"/>
                  <a:gd name="connsiteY7175" fmla="*/ 5229799 h 7571036"/>
                  <a:gd name="connsiteX7176" fmla="*/ 2702180 w 6994525"/>
                  <a:gd name="connsiteY7176" fmla="*/ 5264320 h 7571036"/>
                  <a:gd name="connsiteX7177" fmla="*/ 2736700 w 6994525"/>
                  <a:gd name="connsiteY7177" fmla="*/ 5229799 h 7571036"/>
                  <a:gd name="connsiteX7178" fmla="*/ 2739414 w 6994525"/>
                  <a:gd name="connsiteY7178" fmla="*/ 4990867 h 7571036"/>
                  <a:gd name="connsiteX7179" fmla="*/ 2706371 w 6994525"/>
                  <a:gd name="connsiteY7179" fmla="*/ 4957827 h 7571036"/>
                  <a:gd name="connsiteX7180" fmla="*/ 2673331 w 6994525"/>
                  <a:gd name="connsiteY7180" fmla="*/ 4990867 h 7571036"/>
                  <a:gd name="connsiteX7181" fmla="*/ 2706371 w 6994525"/>
                  <a:gd name="connsiteY7181" fmla="*/ 5023909 h 7571036"/>
                  <a:gd name="connsiteX7182" fmla="*/ 2739414 w 6994525"/>
                  <a:gd name="connsiteY7182" fmla="*/ 4990867 h 7571036"/>
                  <a:gd name="connsiteX7183" fmla="*/ 2741878 w 6994525"/>
                  <a:gd name="connsiteY7183" fmla="*/ 3164004 h 7571036"/>
                  <a:gd name="connsiteX7184" fmla="*/ 2714015 w 6994525"/>
                  <a:gd name="connsiteY7184" fmla="*/ 3136141 h 7571036"/>
                  <a:gd name="connsiteX7185" fmla="*/ 2686153 w 6994525"/>
                  <a:gd name="connsiteY7185" fmla="*/ 3164004 h 7571036"/>
                  <a:gd name="connsiteX7186" fmla="*/ 2714015 w 6994525"/>
                  <a:gd name="connsiteY7186" fmla="*/ 3191869 h 7571036"/>
                  <a:gd name="connsiteX7187" fmla="*/ 2741878 w 6994525"/>
                  <a:gd name="connsiteY7187" fmla="*/ 3164004 h 7571036"/>
                  <a:gd name="connsiteX7188" fmla="*/ 2747058 w 6994525"/>
                  <a:gd name="connsiteY7188" fmla="*/ 2086510 h 7571036"/>
                  <a:gd name="connsiteX7189" fmla="*/ 2708100 w 6994525"/>
                  <a:gd name="connsiteY7189" fmla="*/ 2047547 h 7571036"/>
                  <a:gd name="connsiteX7190" fmla="*/ 2669140 w 6994525"/>
                  <a:gd name="connsiteY7190" fmla="*/ 2086510 h 7571036"/>
                  <a:gd name="connsiteX7191" fmla="*/ 2708100 w 6994525"/>
                  <a:gd name="connsiteY7191" fmla="*/ 2125475 h 7571036"/>
                  <a:gd name="connsiteX7192" fmla="*/ 2747058 w 6994525"/>
                  <a:gd name="connsiteY7192" fmla="*/ 2086510 h 7571036"/>
                  <a:gd name="connsiteX7193" fmla="*/ 2748290 w 6994525"/>
                  <a:gd name="connsiteY7193" fmla="*/ 4746016 h 7571036"/>
                  <a:gd name="connsiteX7194" fmla="*/ 2713274 w 6994525"/>
                  <a:gd name="connsiteY7194" fmla="*/ 4711003 h 7571036"/>
                  <a:gd name="connsiteX7195" fmla="*/ 2678262 w 6994525"/>
                  <a:gd name="connsiteY7195" fmla="*/ 4746016 h 7571036"/>
                  <a:gd name="connsiteX7196" fmla="*/ 2713274 w 6994525"/>
                  <a:gd name="connsiteY7196" fmla="*/ 4781031 h 7571036"/>
                  <a:gd name="connsiteX7197" fmla="*/ 2748290 w 6994525"/>
                  <a:gd name="connsiteY7197" fmla="*/ 4746016 h 7571036"/>
                  <a:gd name="connsiteX7198" fmla="*/ 2748537 w 6994525"/>
                  <a:gd name="connsiteY7198" fmla="*/ 2210043 h 7571036"/>
                  <a:gd name="connsiteX7199" fmla="*/ 2712043 w 6994525"/>
                  <a:gd name="connsiteY7199" fmla="*/ 2173552 h 7571036"/>
                  <a:gd name="connsiteX7200" fmla="*/ 2675550 w 6994525"/>
                  <a:gd name="connsiteY7200" fmla="*/ 2210043 h 7571036"/>
                  <a:gd name="connsiteX7201" fmla="*/ 2712043 w 6994525"/>
                  <a:gd name="connsiteY7201" fmla="*/ 2246541 h 7571036"/>
                  <a:gd name="connsiteX7202" fmla="*/ 2748537 w 6994525"/>
                  <a:gd name="connsiteY7202" fmla="*/ 2210043 h 7571036"/>
                  <a:gd name="connsiteX7203" fmla="*/ 2751003 w 6994525"/>
                  <a:gd name="connsiteY7203" fmla="*/ 2626239 h 7571036"/>
                  <a:gd name="connsiteX7204" fmla="*/ 2699715 w 6994525"/>
                  <a:gd name="connsiteY7204" fmla="*/ 2574951 h 7571036"/>
                  <a:gd name="connsiteX7205" fmla="*/ 2648428 w 6994525"/>
                  <a:gd name="connsiteY7205" fmla="*/ 2626239 h 7571036"/>
                  <a:gd name="connsiteX7206" fmla="*/ 2699715 w 6994525"/>
                  <a:gd name="connsiteY7206" fmla="*/ 2677528 h 7571036"/>
                  <a:gd name="connsiteX7207" fmla="*/ 2751003 w 6994525"/>
                  <a:gd name="connsiteY7207" fmla="*/ 2626239 h 7571036"/>
                  <a:gd name="connsiteX7208" fmla="*/ 2759139 w 6994525"/>
                  <a:gd name="connsiteY7208" fmla="*/ 2907817 h 7571036"/>
                  <a:gd name="connsiteX7209" fmla="*/ 2736206 w 6994525"/>
                  <a:gd name="connsiteY7209" fmla="*/ 2884886 h 7571036"/>
                  <a:gd name="connsiteX7210" fmla="*/ 2713275 w 6994525"/>
                  <a:gd name="connsiteY7210" fmla="*/ 2907817 h 7571036"/>
                  <a:gd name="connsiteX7211" fmla="*/ 2736206 w 6994525"/>
                  <a:gd name="connsiteY7211" fmla="*/ 2930751 h 7571036"/>
                  <a:gd name="connsiteX7212" fmla="*/ 2759139 w 6994525"/>
                  <a:gd name="connsiteY7212" fmla="*/ 2907817 h 7571036"/>
                  <a:gd name="connsiteX7213" fmla="*/ 2760126 w 6994525"/>
                  <a:gd name="connsiteY7213" fmla="*/ 4869306 h 7571036"/>
                  <a:gd name="connsiteX7214" fmla="*/ 2709333 w 6994525"/>
                  <a:gd name="connsiteY7214" fmla="*/ 4818510 h 7571036"/>
                  <a:gd name="connsiteX7215" fmla="*/ 2658537 w 6994525"/>
                  <a:gd name="connsiteY7215" fmla="*/ 4869306 h 7571036"/>
                  <a:gd name="connsiteX7216" fmla="*/ 2709333 w 6994525"/>
                  <a:gd name="connsiteY7216" fmla="*/ 4920099 h 7571036"/>
                  <a:gd name="connsiteX7217" fmla="*/ 2760126 w 6994525"/>
                  <a:gd name="connsiteY7217" fmla="*/ 4869306 h 7571036"/>
                  <a:gd name="connsiteX7218" fmla="*/ 2763330 w 6994525"/>
                  <a:gd name="connsiteY7218" fmla="*/ 4498453 h 7571036"/>
                  <a:gd name="connsiteX7219" fmla="*/ 2734233 w 6994525"/>
                  <a:gd name="connsiteY7219" fmla="*/ 4469359 h 7571036"/>
                  <a:gd name="connsiteX7220" fmla="*/ 2705139 w 6994525"/>
                  <a:gd name="connsiteY7220" fmla="*/ 4498453 h 7571036"/>
                  <a:gd name="connsiteX7221" fmla="*/ 2734233 w 6994525"/>
                  <a:gd name="connsiteY7221" fmla="*/ 4527551 h 7571036"/>
                  <a:gd name="connsiteX7222" fmla="*/ 2763330 w 6994525"/>
                  <a:gd name="connsiteY7222" fmla="*/ 4498453 h 7571036"/>
                  <a:gd name="connsiteX7223" fmla="*/ 2763822 w 6994525"/>
                  <a:gd name="connsiteY7223" fmla="*/ 3844289 h 7571036"/>
                  <a:gd name="connsiteX7224" fmla="*/ 2737933 w 6994525"/>
                  <a:gd name="connsiteY7224" fmla="*/ 3818399 h 7571036"/>
                  <a:gd name="connsiteX7225" fmla="*/ 2712043 w 6994525"/>
                  <a:gd name="connsiteY7225" fmla="*/ 3844289 h 7571036"/>
                  <a:gd name="connsiteX7226" fmla="*/ 2737933 w 6994525"/>
                  <a:gd name="connsiteY7226" fmla="*/ 3870181 h 7571036"/>
                  <a:gd name="connsiteX7227" fmla="*/ 2763822 w 6994525"/>
                  <a:gd name="connsiteY7227" fmla="*/ 3844289 h 7571036"/>
                  <a:gd name="connsiteX7228" fmla="*/ 2765303 w 6994525"/>
                  <a:gd name="connsiteY7228" fmla="*/ 1129921 h 7571036"/>
                  <a:gd name="connsiteX7229" fmla="*/ 2742867 w 6994525"/>
                  <a:gd name="connsiteY7229" fmla="*/ 1107479 h 7571036"/>
                  <a:gd name="connsiteX7230" fmla="*/ 2720428 w 6994525"/>
                  <a:gd name="connsiteY7230" fmla="*/ 1129921 h 7571036"/>
                  <a:gd name="connsiteX7231" fmla="*/ 2742867 w 6994525"/>
                  <a:gd name="connsiteY7231" fmla="*/ 1152356 h 7571036"/>
                  <a:gd name="connsiteX7232" fmla="*/ 2765303 w 6994525"/>
                  <a:gd name="connsiteY7232" fmla="*/ 1129921 h 7571036"/>
                  <a:gd name="connsiteX7233" fmla="*/ 2766783 w 6994525"/>
                  <a:gd name="connsiteY7233" fmla="*/ 903103 h 7571036"/>
                  <a:gd name="connsiteX7234" fmla="*/ 2743358 w 6994525"/>
                  <a:gd name="connsiteY7234" fmla="*/ 879679 h 7571036"/>
                  <a:gd name="connsiteX7235" fmla="*/ 2719933 w 6994525"/>
                  <a:gd name="connsiteY7235" fmla="*/ 903103 h 7571036"/>
                  <a:gd name="connsiteX7236" fmla="*/ 2743358 w 6994525"/>
                  <a:gd name="connsiteY7236" fmla="*/ 926534 h 7571036"/>
                  <a:gd name="connsiteX7237" fmla="*/ 2766783 w 6994525"/>
                  <a:gd name="connsiteY7237" fmla="*/ 903103 h 7571036"/>
                  <a:gd name="connsiteX7238" fmla="*/ 2767276 w 6994525"/>
                  <a:gd name="connsiteY7238" fmla="*/ 1016515 h 7571036"/>
                  <a:gd name="connsiteX7239" fmla="*/ 2742867 w 6994525"/>
                  <a:gd name="connsiteY7239" fmla="*/ 992099 h 7571036"/>
                  <a:gd name="connsiteX7240" fmla="*/ 2718455 w 6994525"/>
                  <a:gd name="connsiteY7240" fmla="*/ 1016515 h 7571036"/>
                  <a:gd name="connsiteX7241" fmla="*/ 2742867 w 6994525"/>
                  <a:gd name="connsiteY7241" fmla="*/ 1040919 h 7571036"/>
                  <a:gd name="connsiteX7242" fmla="*/ 2767276 w 6994525"/>
                  <a:gd name="connsiteY7242" fmla="*/ 1016515 h 7571036"/>
                  <a:gd name="connsiteX7243" fmla="*/ 2768261 w 6994525"/>
                  <a:gd name="connsiteY7243" fmla="*/ 1358463 h 7571036"/>
                  <a:gd name="connsiteX7244" fmla="*/ 2743355 w 6994525"/>
                  <a:gd name="connsiteY7244" fmla="*/ 1333316 h 7571036"/>
                  <a:gd name="connsiteX7245" fmla="*/ 2718206 w 6994525"/>
                  <a:gd name="connsiteY7245" fmla="*/ 1358463 h 7571036"/>
                  <a:gd name="connsiteX7246" fmla="*/ 2743355 w 6994525"/>
                  <a:gd name="connsiteY7246" fmla="*/ 1383616 h 7571036"/>
                  <a:gd name="connsiteX7247" fmla="*/ 2768261 w 6994525"/>
                  <a:gd name="connsiteY7247" fmla="*/ 1358463 h 7571036"/>
                  <a:gd name="connsiteX7248" fmla="*/ 2768508 w 6994525"/>
                  <a:gd name="connsiteY7248" fmla="*/ 1244071 h 7571036"/>
                  <a:gd name="connsiteX7249" fmla="*/ 2743112 w 6994525"/>
                  <a:gd name="connsiteY7249" fmla="*/ 1218921 h 7571036"/>
                  <a:gd name="connsiteX7250" fmla="*/ 2717961 w 6994525"/>
                  <a:gd name="connsiteY7250" fmla="*/ 1244071 h 7571036"/>
                  <a:gd name="connsiteX7251" fmla="*/ 2743112 w 6994525"/>
                  <a:gd name="connsiteY7251" fmla="*/ 1269213 h 7571036"/>
                  <a:gd name="connsiteX7252" fmla="*/ 2768508 w 6994525"/>
                  <a:gd name="connsiteY7252" fmla="*/ 1244071 h 7571036"/>
                  <a:gd name="connsiteX7253" fmla="*/ 2768753 w 6994525"/>
                  <a:gd name="connsiteY7253" fmla="*/ 566053 h 7571036"/>
                  <a:gd name="connsiteX7254" fmla="*/ 2742864 w 6994525"/>
                  <a:gd name="connsiteY7254" fmla="*/ 540165 h 7571036"/>
                  <a:gd name="connsiteX7255" fmla="*/ 2716974 w 6994525"/>
                  <a:gd name="connsiteY7255" fmla="*/ 566053 h 7571036"/>
                  <a:gd name="connsiteX7256" fmla="*/ 2742864 w 6994525"/>
                  <a:gd name="connsiteY7256" fmla="*/ 591942 h 7571036"/>
                  <a:gd name="connsiteX7257" fmla="*/ 2768753 w 6994525"/>
                  <a:gd name="connsiteY7257" fmla="*/ 566053 h 7571036"/>
                  <a:gd name="connsiteX7258" fmla="*/ 2768753 w 6994525"/>
                  <a:gd name="connsiteY7258" fmla="*/ 678260 h 7571036"/>
                  <a:gd name="connsiteX7259" fmla="*/ 2742864 w 6994525"/>
                  <a:gd name="connsiteY7259" fmla="*/ 652378 h 7571036"/>
                  <a:gd name="connsiteX7260" fmla="*/ 2716974 w 6994525"/>
                  <a:gd name="connsiteY7260" fmla="*/ 678260 h 7571036"/>
                  <a:gd name="connsiteX7261" fmla="*/ 2742864 w 6994525"/>
                  <a:gd name="connsiteY7261" fmla="*/ 704157 h 7571036"/>
                  <a:gd name="connsiteX7262" fmla="*/ 2768753 w 6994525"/>
                  <a:gd name="connsiteY7262" fmla="*/ 678260 h 7571036"/>
                  <a:gd name="connsiteX7263" fmla="*/ 2769494 w 6994525"/>
                  <a:gd name="connsiteY7263" fmla="*/ 790439 h 7571036"/>
                  <a:gd name="connsiteX7264" fmla="*/ 2743109 w 6994525"/>
                  <a:gd name="connsiteY7264" fmla="*/ 764300 h 7571036"/>
                  <a:gd name="connsiteX7265" fmla="*/ 2716974 w 6994525"/>
                  <a:gd name="connsiteY7265" fmla="*/ 790439 h 7571036"/>
                  <a:gd name="connsiteX7266" fmla="*/ 2743109 w 6994525"/>
                  <a:gd name="connsiteY7266" fmla="*/ 816823 h 7571036"/>
                  <a:gd name="connsiteX7267" fmla="*/ 2769494 w 6994525"/>
                  <a:gd name="connsiteY7267" fmla="*/ 790439 h 7571036"/>
                  <a:gd name="connsiteX7268" fmla="*/ 2778125 w 6994525"/>
                  <a:gd name="connsiteY7268" fmla="*/ 4092345 h 7571036"/>
                  <a:gd name="connsiteX7269" fmla="*/ 2772456 w 6994525"/>
                  <a:gd name="connsiteY7269" fmla="*/ 4086673 h 7571036"/>
                  <a:gd name="connsiteX7270" fmla="*/ 2766784 w 6994525"/>
                  <a:gd name="connsiteY7270" fmla="*/ 4092345 h 7571036"/>
                  <a:gd name="connsiteX7271" fmla="*/ 2772456 w 6994525"/>
                  <a:gd name="connsiteY7271" fmla="*/ 4098017 h 7571036"/>
                  <a:gd name="connsiteX7272" fmla="*/ 2778125 w 6994525"/>
                  <a:gd name="connsiteY7272" fmla="*/ 4092345 h 7571036"/>
                  <a:gd name="connsiteX7273" fmla="*/ 2780343 w 6994525"/>
                  <a:gd name="connsiteY7273" fmla="*/ 4232646 h 7571036"/>
                  <a:gd name="connsiteX7274" fmla="*/ 2755686 w 6994525"/>
                  <a:gd name="connsiteY7274" fmla="*/ 4207988 h 7571036"/>
                  <a:gd name="connsiteX7275" fmla="*/ 2731028 w 6994525"/>
                  <a:gd name="connsiteY7275" fmla="*/ 4232646 h 7571036"/>
                  <a:gd name="connsiteX7276" fmla="*/ 2755686 w 6994525"/>
                  <a:gd name="connsiteY7276" fmla="*/ 4257303 h 7571036"/>
                  <a:gd name="connsiteX7277" fmla="*/ 2780343 w 6994525"/>
                  <a:gd name="connsiteY7277" fmla="*/ 4232646 h 7571036"/>
                  <a:gd name="connsiteX7278" fmla="*/ 2782564 w 6994525"/>
                  <a:gd name="connsiteY7278" fmla="*/ 4367525 h 7571036"/>
                  <a:gd name="connsiteX7279" fmla="*/ 2743358 w 6994525"/>
                  <a:gd name="connsiteY7279" fmla="*/ 4328318 h 7571036"/>
                  <a:gd name="connsiteX7280" fmla="*/ 2704152 w 6994525"/>
                  <a:gd name="connsiteY7280" fmla="*/ 4367525 h 7571036"/>
                  <a:gd name="connsiteX7281" fmla="*/ 2743358 w 6994525"/>
                  <a:gd name="connsiteY7281" fmla="*/ 4406728 h 7571036"/>
                  <a:gd name="connsiteX7282" fmla="*/ 2782564 w 6994525"/>
                  <a:gd name="connsiteY7282" fmla="*/ 4367525 h 7571036"/>
                  <a:gd name="connsiteX7283" fmla="*/ 2791931 w 6994525"/>
                  <a:gd name="connsiteY7283" fmla="*/ 3059212 h 7571036"/>
                  <a:gd name="connsiteX7284" fmla="*/ 2765549 w 6994525"/>
                  <a:gd name="connsiteY7284" fmla="*/ 3032827 h 7571036"/>
                  <a:gd name="connsiteX7285" fmla="*/ 2739165 w 6994525"/>
                  <a:gd name="connsiteY7285" fmla="*/ 3059212 h 7571036"/>
                  <a:gd name="connsiteX7286" fmla="*/ 2765549 w 6994525"/>
                  <a:gd name="connsiteY7286" fmla="*/ 3085594 h 7571036"/>
                  <a:gd name="connsiteX7287" fmla="*/ 2791931 w 6994525"/>
                  <a:gd name="connsiteY7287" fmla="*/ 3059212 h 7571036"/>
                  <a:gd name="connsiteX7288" fmla="*/ 2798096 w 6994525"/>
                  <a:gd name="connsiteY7288" fmla="*/ 7398679 h 7571036"/>
                  <a:gd name="connsiteX7289" fmla="*/ 2795632 w 6994525"/>
                  <a:gd name="connsiteY7289" fmla="*/ 7395965 h 7571036"/>
                  <a:gd name="connsiteX7290" fmla="*/ 2793165 w 6994525"/>
                  <a:gd name="connsiteY7290" fmla="*/ 7398679 h 7571036"/>
                  <a:gd name="connsiteX7291" fmla="*/ 2795632 w 6994525"/>
                  <a:gd name="connsiteY7291" fmla="*/ 7401143 h 7571036"/>
                  <a:gd name="connsiteX7292" fmla="*/ 2798096 w 6994525"/>
                  <a:gd name="connsiteY7292" fmla="*/ 7398679 h 7571036"/>
                  <a:gd name="connsiteX7293" fmla="*/ 2798343 w 6994525"/>
                  <a:gd name="connsiteY7293" fmla="*/ 7508901 h 7571036"/>
                  <a:gd name="connsiteX7294" fmla="*/ 2795878 w 6994525"/>
                  <a:gd name="connsiteY7294" fmla="*/ 7506434 h 7571036"/>
                  <a:gd name="connsiteX7295" fmla="*/ 2793412 w 6994525"/>
                  <a:gd name="connsiteY7295" fmla="*/ 7508901 h 7571036"/>
                  <a:gd name="connsiteX7296" fmla="*/ 2795878 w 6994525"/>
                  <a:gd name="connsiteY7296" fmla="*/ 7511365 h 7571036"/>
                  <a:gd name="connsiteX7297" fmla="*/ 2798343 w 6994525"/>
                  <a:gd name="connsiteY7297" fmla="*/ 7508901 h 7571036"/>
                  <a:gd name="connsiteX7298" fmla="*/ 2798345 w 6994525"/>
                  <a:gd name="connsiteY7298" fmla="*/ 7288461 h 7571036"/>
                  <a:gd name="connsiteX7299" fmla="*/ 2795386 w 6994525"/>
                  <a:gd name="connsiteY7299" fmla="*/ 7285748 h 7571036"/>
                  <a:gd name="connsiteX7300" fmla="*/ 2792674 w 6994525"/>
                  <a:gd name="connsiteY7300" fmla="*/ 7288461 h 7571036"/>
                  <a:gd name="connsiteX7301" fmla="*/ 2795386 w 6994525"/>
                  <a:gd name="connsiteY7301" fmla="*/ 7291174 h 7571036"/>
                  <a:gd name="connsiteX7302" fmla="*/ 2798345 w 6994525"/>
                  <a:gd name="connsiteY7302" fmla="*/ 7288461 h 7571036"/>
                  <a:gd name="connsiteX7303" fmla="*/ 2799577 w 6994525"/>
                  <a:gd name="connsiteY7303" fmla="*/ 3448548 h 7571036"/>
                  <a:gd name="connsiteX7304" fmla="*/ 2762099 w 6994525"/>
                  <a:gd name="connsiteY7304" fmla="*/ 3411069 h 7571036"/>
                  <a:gd name="connsiteX7305" fmla="*/ 2724619 w 6994525"/>
                  <a:gd name="connsiteY7305" fmla="*/ 3448548 h 7571036"/>
                  <a:gd name="connsiteX7306" fmla="*/ 2762099 w 6994525"/>
                  <a:gd name="connsiteY7306" fmla="*/ 3485769 h 7571036"/>
                  <a:gd name="connsiteX7307" fmla="*/ 2799577 w 6994525"/>
                  <a:gd name="connsiteY7307" fmla="*/ 3448548 h 7571036"/>
                  <a:gd name="connsiteX7308" fmla="*/ 2800564 w 6994525"/>
                  <a:gd name="connsiteY7308" fmla="*/ 6513965 h 7571036"/>
                  <a:gd name="connsiteX7309" fmla="*/ 2797356 w 6994525"/>
                  <a:gd name="connsiteY7309" fmla="*/ 6510759 h 7571036"/>
                  <a:gd name="connsiteX7310" fmla="*/ 2794152 w 6994525"/>
                  <a:gd name="connsiteY7310" fmla="*/ 6513965 h 7571036"/>
                  <a:gd name="connsiteX7311" fmla="*/ 2797356 w 6994525"/>
                  <a:gd name="connsiteY7311" fmla="*/ 6517418 h 7571036"/>
                  <a:gd name="connsiteX7312" fmla="*/ 2800564 w 6994525"/>
                  <a:gd name="connsiteY7312" fmla="*/ 6513965 h 7571036"/>
                  <a:gd name="connsiteX7313" fmla="*/ 2800810 w 6994525"/>
                  <a:gd name="connsiteY7313" fmla="*/ 6957801 h 7571036"/>
                  <a:gd name="connsiteX7314" fmla="*/ 2798097 w 6994525"/>
                  <a:gd name="connsiteY7314" fmla="*/ 6955088 h 7571036"/>
                  <a:gd name="connsiteX7315" fmla="*/ 2795384 w 6994525"/>
                  <a:gd name="connsiteY7315" fmla="*/ 6957801 h 7571036"/>
                  <a:gd name="connsiteX7316" fmla="*/ 2798097 w 6994525"/>
                  <a:gd name="connsiteY7316" fmla="*/ 6960514 h 7571036"/>
                  <a:gd name="connsiteX7317" fmla="*/ 2800810 w 6994525"/>
                  <a:gd name="connsiteY7317" fmla="*/ 6957801 h 7571036"/>
                  <a:gd name="connsiteX7318" fmla="*/ 2801055 w 6994525"/>
                  <a:gd name="connsiteY7318" fmla="*/ 7178736 h 7571036"/>
                  <a:gd name="connsiteX7319" fmla="*/ 2798591 w 6994525"/>
                  <a:gd name="connsiteY7319" fmla="*/ 7176268 h 7571036"/>
                  <a:gd name="connsiteX7320" fmla="*/ 2796124 w 6994525"/>
                  <a:gd name="connsiteY7320" fmla="*/ 7178736 h 7571036"/>
                  <a:gd name="connsiteX7321" fmla="*/ 2798591 w 6994525"/>
                  <a:gd name="connsiteY7321" fmla="*/ 7181199 h 7571036"/>
                  <a:gd name="connsiteX7322" fmla="*/ 2801055 w 6994525"/>
                  <a:gd name="connsiteY7322" fmla="*/ 7178736 h 7571036"/>
                  <a:gd name="connsiteX7323" fmla="*/ 2801548 w 6994525"/>
                  <a:gd name="connsiteY7323" fmla="*/ 7068268 h 7571036"/>
                  <a:gd name="connsiteX7324" fmla="*/ 2798343 w 6994525"/>
                  <a:gd name="connsiteY7324" fmla="*/ 7065062 h 7571036"/>
                  <a:gd name="connsiteX7325" fmla="*/ 2795139 w 6994525"/>
                  <a:gd name="connsiteY7325" fmla="*/ 7068268 h 7571036"/>
                  <a:gd name="connsiteX7326" fmla="*/ 2798343 w 6994525"/>
                  <a:gd name="connsiteY7326" fmla="*/ 7071472 h 7571036"/>
                  <a:gd name="connsiteX7327" fmla="*/ 2801548 w 6994525"/>
                  <a:gd name="connsiteY7327" fmla="*/ 7068268 h 7571036"/>
                  <a:gd name="connsiteX7328" fmla="*/ 2803029 w 6994525"/>
                  <a:gd name="connsiteY7328" fmla="*/ 6180349 h 7571036"/>
                  <a:gd name="connsiteX7329" fmla="*/ 2801305 w 6994525"/>
                  <a:gd name="connsiteY7329" fmla="*/ 6178622 h 7571036"/>
                  <a:gd name="connsiteX7330" fmla="*/ 2799578 w 6994525"/>
                  <a:gd name="connsiteY7330" fmla="*/ 6180349 h 7571036"/>
                  <a:gd name="connsiteX7331" fmla="*/ 2801305 w 6994525"/>
                  <a:gd name="connsiteY7331" fmla="*/ 6182076 h 7571036"/>
                  <a:gd name="connsiteX7332" fmla="*/ 2803029 w 6994525"/>
                  <a:gd name="connsiteY7332" fmla="*/ 6180349 h 7571036"/>
                  <a:gd name="connsiteX7333" fmla="*/ 2803275 w 6994525"/>
                  <a:gd name="connsiteY7333" fmla="*/ 5955967 h 7571036"/>
                  <a:gd name="connsiteX7334" fmla="*/ 2801302 w 6994525"/>
                  <a:gd name="connsiteY7334" fmla="*/ 5953993 h 7571036"/>
                  <a:gd name="connsiteX7335" fmla="*/ 2799330 w 6994525"/>
                  <a:gd name="connsiteY7335" fmla="*/ 5955967 h 7571036"/>
                  <a:gd name="connsiteX7336" fmla="*/ 2801302 w 6994525"/>
                  <a:gd name="connsiteY7336" fmla="*/ 5957939 h 7571036"/>
                  <a:gd name="connsiteX7337" fmla="*/ 2803275 w 6994525"/>
                  <a:gd name="connsiteY7337" fmla="*/ 5955967 h 7571036"/>
                  <a:gd name="connsiteX7338" fmla="*/ 2803521 w 6994525"/>
                  <a:gd name="connsiteY7338" fmla="*/ 5616432 h 7571036"/>
                  <a:gd name="connsiteX7339" fmla="*/ 2801796 w 6994525"/>
                  <a:gd name="connsiteY7339" fmla="*/ 5614705 h 7571036"/>
                  <a:gd name="connsiteX7340" fmla="*/ 2800070 w 6994525"/>
                  <a:gd name="connsiteY7340" fmla="*/ 5616432 h 7571036"/>
                  <a:gd name="connsiteX7341" fmla="*/ 2801796 w 6994525"/>
                  <a:gd name="connsiteY7341" fmla="*/ 5618156 h 7571036"/>
                  <a:gd name="connsiteX7342" fmla="*/ 2803521 w 6994525"/>
                  <a:gd name="connsiteY7342" fmla="*/ 5616432 h 7571036"/>
                  <a:gd name="connsiteX7343" fmla="*/ 2803523 w 6994525"/>
                  <a:gd name="connsiteY7343" fmla="*/ 6068155 h 7571036"/>
                  <a:gd name="connsiteX7344" fmla="*/ 2801058 w 6994525"/>
                  <a:gd name="connsiteY7344" fmla="*/ 6065691 h 7571036"/>
                  <a:gd name="connsiteX7345" fmla="*/ 2798592 w 6994525"/>
                  <a:gd name="connsiteY7345" fmla="*/ 6068155 h 7571036"/>
                  <a:gd name="connsiteX7346" fmla="*/ 2801058 w 6994525"/>
                  <a:gd name="connsiteY7346" fmla="*/ 6070623 h 7571036"/>
                  <a:gd name="connsiteX7347" fmla="*/ 2803523 w 6994525"/>
                  <a:gd name="connsiteY7347" fmla="*/ 6068155 h 7571036"/>
                  <a:gd name="connsiteX7348" fmla="*/ 2804754 w 6994525"/>
                  <a:gd name="connsiteY7348" fmla="*/ 5843033 h 7571036"/>
                  <a:gd name="connsiteX7349" fmla="*/ 2801301 w 6994525"/>
                  <a:gd name="connsiteY7349" fmla="*/ 5839580 h 7571036"/>
                  <a:gd name="connsiteX7350" fmla="*/ 2797851 w 6994525"/>
                  <a:gd name="connsiteY7350" fmla="*/ 5843033 h 7571036"/>
                  <a:gd name="connsiteX7351" fmla="*/ 2801301 w 6994525"/>
                  <a:gd name="connsiteY7351" fmla="*/ 5846484 h 7571036"/>
                  <a:gd name="connsiteX7352" fmla="*/ 2804754 w 6994525"/>
                  <a:gd name="connsiteY7352" fmla="*/ 5843033 h 7571036"/>
                  <a:gd name="connsiteX7353" fmla="*/ 2805247 w 6994525"/>
                  <a:gd name="connsiteY7353" fmla="*/ 6736132 h 7571036"/>
                  <a:gd name="connsiteX7354" fmla="*/ 2797852 w 6994525"/>
                  <a:gd name="connsiteY7354" fmla="*/ 6728733 h 7571036"/>
                  <a:gd name="connsiteX7355" fmla="*/ 2790453 w 6994525"/>
                  <a:gd name="connsiteY7355" fmla="*/ 6736132 h 7571036"/>
                  <a:gd name="connsiteX7356" fmla="*/ 2797852 w 6994525"/>
                  <a:gd name="connsiteY7356" fmla="*/ 6743527 h 7571036"/>
                  <a:gd name="connsiteX7357" fmla="*/ 2805247 w 6994525"/>
                  <a:gd name="connsiteY7357" fmla="*/ 6736132 h 7571036"/>
                  <a:gd name="connsiteX7358" fmla="*/ 2805249 w 6994525"/>
                  <a:gd name="connsiteY7358" fmla="*/ 6625171 h 7571036"/>
                  <a:gd name="connsiteX7359" fmla="*/ 2797605 w 6994525"/>
                  <a:gd name="connsiteY7359" fmla="*/ 6617526 h 7571036"/>
                  <a:gd name="connsiteX7360" fmla="*/ 2789961 w 6994525"/>
                  <a:gd name="connsiteY7360" fmla="*/ 6625171 h 7571036"/>
                  <a:gd name="connsiteX7361" fmla="*/ 2797605 w 6994525"/>
                  <a:gd name="connsiteY7361" fmla="*/ 6632812 h 7571036"/>
                  <a:gd name="connsiteX7362" fmla="*/ 2805249 w 6994525"/>
                  <a:gd name="connsiteY7362" fmla="*/ 6625171 h 7571036"/>
                  <a:gd name="connsiteX7363" fmla="*/ 2806235 w 6994525"/>
                  <a:gd name="connsiteY7363" fmla="*/ 6847089 h 7571036"/>
                  <a:gd name="connsiteX7364" fmla="*/ 2797851 w 6994525"/>
                  <a:gd name="connsiteY7364" fmla="*/ 6838704 h 7571036"/>
                  <a:gd name="connsiteX7365" fmla="*/ 2789468 w 6994525"/>
                  <a:gd name="connsiteY7365" fmla="*/ 6847089 h 7571036"/>
                  <a:gd name="connsiteX7366" fmla="*/ 2797851 w 6994525"/>
                  <a:gd name="connsiteY7366" fmla="*/ 6855472 h 7571036"/>
                  <a:gd name="connsiteX7367" fmla="*/ 2806235 w 6994525"/>
                  <a:gd name="connsiteY7367" fmla="*/ 6847089 h 7571036"/>
                  <a:gd name="connsiteX7368" fmla="*/ 2806974 w 6994525"/>
                  <a:gd name="connsiteY7368" fmla="*/ 3565660 h 7571036"/>
                  <a:gd name="connsiteX7369" fmla="*/ 2767028 w 6994525"/>
                  <a:gd name="connsiteY7369" fmla="*/ 3525716 h 7571036"/>
                  <a:gd name="connsiteX7370" fmla="*/ 2727084 w 6994525"/>
                  <a:gd name="connsiteY7370" fmla="*/ 3565660 h 7571036"/>
                  <a:gd name="connsiteX7371" fmla="*/ 2767028 w 6994525"/>
                  <a:gd name="connsiteY7371" fmla="*/ 3605606 h 7571036"/>
                  <a:gd name="connsiteX7372" fmla="*/ 2806974 w 6994525"/>
                  <a:gd name="connsiteY7372" fmla="*/ 3565660 h 7571036"/>
                  <a:gd name="connsiteX7373" fmla="*/ 2807222 w 6994525"/>
                  <a:gd name="connsiteY7373" fmla="*/ 5729856 h 7571036"/>
                  <a:gd name="connsiteX7374" fmla="*/ 2801550 w 6994525"/>
                  <a:gd name="connsiteY7374" fmla="*/ 5724184 h 7571036"/>
                  <a:gd name="connsiteX7375" fmla="*/ 2795878 w 6994525"/>
                  <a:gd name="connsiteY7375" fmla="*/ 5729856 h 7571036"/>
                  <a:gd name="connsiteX7376" fmla="*/ 2801550 w 6994525"/>
                  <a:gd name="connsiteY7376" fmla="*/ 5735525 h 7571036"/>
                  <a:gd name="connsiteX7377" fmla="*/ 2807222 w 6994525"/>
                  <a:gd name="connsiteY7377" fmla="*/ 5729856 h 7571036"/>
                  <a:gd name="connsiteX7378" fmla="*/ 2810672 w 6994525"/>
                  <a:gd name="connsiteY7378" fmla="*/ 6403746 h 7571036"/>
                  <a:gd name="connsiteX7379" fmla="*/ 2801304 w 6994525"/>
                  <a:gd name="connsiteY7379" fmla="*/ 6394376 h 7571036"/>
                  <a:gd name="connsiteX7380" fmla="*/ 2791933 w 6994525"/>
                  <a:gd name="connsiteY7380" fmla="*/ 6403746 h 7571036"/>
                  <a:gd name="connsiteX7381" fmla="*/ 2801304 w 6994525"/>
                  <a:gd name="connsiteY7381" fmla="*/ 6413115 h 7571036"/>
                  <a:gd name="connsiteX7382" fmla="*/ 2810672 w 6994525"/>
                  <a:gd name="connsiteY7382" fmla="*/ 6403746 h 7571036"/>
                  <a:gd name="connsiteX7383" fmla="*/ 2810918 w 6994525"/>
                  <a:gd name="connsiteY7383" fmla="*/ 5158047 h 7571036"/>
                  <a:gd name="connsiteX7384" fmla="*/ 2810180 w 6994525"/>
                  <a:gd name="connsiteY7384" fmla="*/ 5157306 h 7571036"/>
                  <a:gd name="connsiteX7385" fmla="*/ 2809440 w 6994525"/>
                  <a:gd name="connsiteY7385" fmla="*/ 5158047 h 7571036"/>
                  <a:gd name="connsiteX7386" fmla="*/ 2810180 w 6994525"/>
                  <a:gd name="connsiteY7386" fmla="*/ 5159034 h 7571036"/>
                  <a:gd name="connsiteX7387" fmla="*/ 2810918 w 6994525"/>
                  <a:gd name="connsiteY7387" fmla="*/ 5158047 h 7571036"/>
                  <a:gd name="connsiteX7388" fmla="*/ 2810920 w 6994525"/>
                  <a:gd name="connsiteY7388" fmla="*/ 3331917 h 7571036"/>
                  <a:gd name="connsiteX7389" fmla="*/ 2776152 w 6994525"/>
                  <a:gd name="connsiteY7389" fmla="*/ 3297151 h 7571036"/>
                  <a:gd name="connsiteX7390" fmla="*/ 2741386 w 6994525"/>
                  <a:gd name="connsiteY7390" fmla="*/ 3331917 h 7571036"/>
                  <a:gd name="connsiteX7391" fmla="*/ 2776152 w 6994525"/>
                  <a:gd name="connsiteY7391" fmla="*/ 3366687 h 7571036"/>
                  <a:gd name="connsiteX7392" fmla="*/ 2810920 w 6994525"/>
                  <a:gd name="connsiteY7392" fmla="*/ 3331917 h 7571036"/>
                  <a:gd name="connsiteX7393" fmla="*/ 2811905 w 6994525"/>
                  <a:gd name="connsiteY7393" fmla="*/ 6292296 h 7571036"/>
                  <a:gd name="connsiteX7394" fmla="*/ 2801302 w 6994525"/>
                  <a:gd name="connsiteY7394" fmla="*/ 6281691 h 7571036"/>
                  <a:gd name="connsiteX7395" fmla="*/ 2790453 w 6994525"/>
                  <a:gd name="connsiteY7395" fmla="*/ 6292296 h 7571036"/>
                  <a:gd name="connsiteX7396" fmla="*/ 2801302 w 6994525"/>
                  <a:gd name="connsiteY7396" fmla="*/ 6302899 h 7571036"/>
                  <a:gd name="connsiteX7397" fmla="*/ 2811905 w 6994525"/>
                  <a:gd name="connsiteY7397" fmla="*/ 6292296 h 7571036"/>
                  <a:gd name="connsiteX7398" fmla="*/ 2813631 w 6994525"/>
                  <a:gd name="connsiteY7398" fmla="*/ 2683193 h 7571036"/>
                  <a:gd name="connsiteX7399" fmla="*/ 2798345 w 6994525"/>
                  <a:gd name="connsiteY7399" fmla="*/ 2667904 h 7571036"/>
                  <a:gd name="connsiteX7400" fmla="*/ 2783056 w 6994525"/>
                  <a:gd name="connsiteY7400" fmla="*/ 2683193 h 7571036"/>
                  <a:gd name="connsiteX7401" fmla="*/ 2798345 w 6994525"/>
                  <a:gd name="connsiteY7401" fmla="*/ 2698479 h 7571036"/>
                  <a:gd name="connsiteX7402" fmla="*/ 2813631 w 6994525"/>
                  <a:gd name="connsiteY7402" fmla="*/ 2683193 h 7571036"/>
                  <a:gd name="connsiteX7403" fmla="*/ 2815852 w 6994525"/>
                  <a:gd name="connsiteY7403" fmla="*/ 2298799 h 7571036"/>
                  <a:gd name="connsiteX7404" fmla="*/ 2775165 w 6994525"/>
                  <a:gd name="connsiteY7404" fmla="*/ 2258117 h 7571036"/>
                  <a:gd name="connsiteX7405" fmla="*/ 2734481 w 6994525"/>
                  <a:gd name="connsiteY7405" fmla="*/ 2298799 h 7571036"/>
                  <a:gd name="connsiteX7406" fmla="*/ 2775165 w 6994525"/>
                  <a:gd name="connsiteY7406" fmla="*/ 2339238 h 7571036"/>
                  <a:gd name="connsiteX7407" fmla="*/ 2815852 w 6994525"/>
                  <a:gd name="connsiteY7407" fmla="*/ 2298799 h 7571036"/>
                  <a:gd name="connsiteX7408" fmla="*/ 2818563 w 6994525"/>
                  <a:gd name="connsiteY7408" fmla="*/ 441802 h 7571036"/>
                  <a:gd name="connsiteX7409" fmla="*/ 2794398 w 6994525"/>
                  <a:gd name="connsiteY7409" fmla="*/ 417639 h 7571036"/>
                  <a:gd name="connsiteX7410" fmla="*/ 2770234 w 6994525"/>
                  <a:gd name="connsiteY7410" fmla="*/ 441802 h 7571036"/>
                  <a:gd name="connsiteX7411" fmla="*/ 2794398 w 6994525"/>
                  <a:gd name="connsiteY7411" fmla="*/ 465967 h 7571036"/>
                  <a:gd name="connsiteX7412" fmla="*/ 2818563 w 6994525"/>
                  <a:gd name="connsiteY7412" fmla="*/ 441802 h 7571036"/>
                  <a:gd name="connsiteX7413" fmla="*/ 2818809 w 6994525"/>
                  <a:gd name="connsiteY7413" fmla="*/ 3945387 h 7571036"/>
                  <a:gd name="connsiteX7414" fmla="*/ 2796373 w 6994525"/>
                  <a:gd name="connsiteY7414" fmla="*/ 3922947 h 7571036"/>
                  <a:gd name="connsiteX7415" fmla="*/ 2773934 w 6994525"/>
                  <a:gd name="connsiteY7415" fmla="*/ 3945387 h 7571036"/>
                  <a:gd name="connsiteX7416" fmla="*/ 2796373 w 6994525"/>
                  <a:gd name="connsiteY7416" fmla="*/ 3967823 h 7571036"/>
                  <a:gd name="connsiteX7417" fmla="*/ 2818809 w 6994525"/>
                  <a:gd name="connsiteY7417" fmla="*/ 3945387 h 7571036"/>
                  <a:gd name="connsiteX7418" fmla="*/ 2819055 w 6994525"/>
                  <a:gd name="connsiteY7418" fmla="*/ 330867 h 7571036"/>
                  <a:gd name="connsiteX7419" fmla="*/ 2794646 w 6994525"/>
                  <a:gd name="connsiteY7419" fmla="*/ 306456 h 7571036"/>
                  <a:gd name="connsiteX7420" fmla="*/ 2770234 w 6994525"/>
                  <a:gd name="connsiteY7420" fmla="*/ 330867 h 7571036"/>
                  <a:gd name="connsiteX7421" fmla="*/ 2794646 w 6994525"/>
                  <a:gd name="connsiteY7421" fmla="*/ 355275 h 7571036"/>
                  <a:gd name="connsiteX7422" fmla="*/ 2819055 w 6994525"/>
                  <a:gd name="connsiteY7422" fmla="*/ 330867 h 7571036"/>
                  <a:gd name="connsiteX7423" fmla="*/ 2819358 w 6994525"/>
                  <a:gd name="connsiteY7423" fmla="*/ 0 h 7571036"/>
                  <a:gd name="connsiteX7424" fmla="*/ 2770446 w 6994525"/>
                  <a:gd name="connsiteY7424" fmla="*/ 0 h 7571036"/>
                  <a:gd name="connsiteX7425" fmla="*/ 2777140 w 6994525"/>
                  <a:gd name="connsiteY7425" fmla="*/ 16065 h 7571036"/>
                  <a:gd name="connsiteX7426" fmla="*/ 2794895 w 6994525"/>
                  <a:gd name="connsiteY7426" fmla="*/ 23462 h 7571036"/>
                  <a:gd name="connsiteX7427" fmla="*/ 2812831 w 6994525"/>
                  <a:gd name="connsiteY7427" fmla="*/ 16065 h 7571036"/>
                  <a:gd name="connsiteX7428" fmla="*/ 2820289 w 6994525"/>
                  <a:gd name="connsiteY7428" fmla="*/ 108752 h 7571036"/>
                  <a:gd name="connsiteX7429" fmla="*/ 2794892 w 6994525"/>
                  <a:gd name="connsiteY7429" fmla="*/ 83356 h 7571036"/>
                  <a:gd name="connsiteX7430" fmla="*/ 2769494 w 6994525"/>
                  <a:gd name="connsiteY7430" fmla="*/ 108752 h 7571036"/>
                  <a:gd name="connsiteX7431" fmla="*/ 2794892 w 6994525"/>
                  <a:gd name="connsiteY7431" fmla="*/ 134149 h 7571036"/>
                  <a:gd name="connsiteX7432" fmla="*/ 2820289 w 6994525"/>
                  <a:gd name="connsiteY7432" fmla="*/ 108752 h 7571036"/>
                  <a:gd name="connsiteX7433" fmla="*/ 2820783 w 6994525"/>
                  <a:gd name="connsiteY7433" fmla="*/ 219685 h 7571036"/>
                  <a:gd name="connsiteX7434" fmla="*/ 2795139 w 6994525"/>
                  <a:gd name="connsiteY7434" fmla="*/ 194042 h 7571036"/>
                  <a:gd name="connsiteX7435" fmla="*/ 2769494 w 6994525"/>
                  <a:gd name="connsiteY7435" fmla="*/ 219685 h 7571036"/>
                  <a:gd name="connsiteX7436" fmla="*/ 2795139 w 6994525"/>
                  <a:gd name="connsiteY7436" fmla="*/ 245328 h 7571036"/>
                  <a:gd name="connsiteX7437" fmla="*/ 2820783 w 6994525"/>
                  <a:gd name="connsiteY7437" fmla="*/ 219685 h 7571036"/>
                  <a:gd name="connsiteX7438" fmla="*/ 2821523 w 6994525"/>
                  <a:gd name="connsiteY7438" fmla="*/ 1681931 h 7571036"/>
                  <a:gd name="connsiteX7439" fmla="*/ 2806482 w 6994525"/>
                  <a:gd name="connsiteY7439" fmla="*/ 1666889 h 7571036"/>
                  <a:gd name="connsiteX7440" fmla="*/ 2791442 w 6994525"/>
                  <a:gd name="connsiteY7440" fmla="*/ 1681931 h 7571036"/>
                  <a:gd name="connsiteX7441" fmla="*/ 2806482 w 6994525"/>
                  <a:gd name="connsiteY7441" fmla="*/ 1696974 h 7571036"/>
                  <a:gd name="connsiteX7442" fmla="*/ 2821523 w 6994525"/>
                  <a:gd name="connsiteY7442" fmla="*/ 1681931 h 7571036"/>
                  <a:gd name="connsiteX7443" fmla="*/ 2824235 w 6994525"/>
                  <a:gd name="connsiteY7443" fmla="*/ 1566545 h 7571036"/>
                  <a:gd name="connsiteX7444" fmla="*/ 2805742 w 6994525"/>
                  <a:gd name="connsiteY7444" fmla="*/ 1548053 h 7571036"/>
                  <a:gd name="connsiteX7445" fmla="*/ 2787248 w 6994525"/>
                  <a:gd name="connsiteY7445" fmla="*/ 1566545 h 7571036"/>
                  <a:gd name="connsiteX7446" fmla="*/ 2805742 w 6994525"/>
                  <a:gd name="connsiteY7446" fmla="*/ 1585039 h 7571036"/>
                  <a:gd name="connsiteX7447" fmla="*/ 2824235 w 6994525"/>
                  <a:gd name="connsiteY7447" fmla="*/ 1566545 h 7571036"/>
                  <a:gd name="connsiteX7448" fmla="*/ 2825467 w 6994525"/>
                  <a:gd name="connsiteY7448" fmla="*/ 2423559 h 7571036"/>
                  <a:gd name="connsiteX7449" fmla="*/ 2780838 w 6994525"/>
                  <a:gd name="connsiteY7449" fmla="*/ 2378930 h 7571036"/>
                  <a:gd name="connsiteX7450" fmla="*/ 2736208 w 6994525"/>
                  <a:gd name="connsiteY7450" fmla="*/ 2423559 h 7571036"/>
                  <a:gd name="connsiteX7451" fmla="*/ 2780838 w 6994525"/>
                  <a:gd name="connsiteY7451" fmla="*/ 2468191 h 7571036"/>
                  <a:gd name="connsiteX7452" fmla="*/ 2825467 w 6994525"/>
                  <a:gd name="connsiteY7452" fmla="*/ 2423559 h 7571036"/>
                  <a:gd name="connsiteX7453" fmla="*/ 2826453 w 6994525"/>
                  <a:gd name="connsiteY7453" fmla="*/ 5389579 h 7571036"/>
                  <a:gd name="connsiteX7454" fmla="*/ 2808208 w 6994525"/>
                  <a:gd name="connsiteY7454" fmla="*/ 5371334 h 7571036"/>
                  <a:gd name="connsiteX7455" fmla="*/ 2789961 w 6994525"/>
                  <a:gd name="connsiteY7455" fmla="*/ 5389579 h 7571036"/>
                  <a:gd name="connsiteX7456" fmla="*/ 2808208 w 6994525"/>
                  <a:gd name="connsiteY7456" fmla="*/ 5407828 h 7571036"/>
                  <a:gd name="connsiteX7457" fmla="*/ 2826453 w 6994525"/>
                  <a:gd name="connsiteY7457" fmla="*/ 5389579 h 7571036"/>
                  <a:gd name="connsiteX7458" fmla="*/ 2828427 w 6994525"/>
                  <a:gd name="connsiteY7458" fmla="*/ 1452146 h 7571036"/>
                  <a:gd name="connsiteX7459" fmla="*/ 2804755 w 6994525"/>
                  <a:gd name="connsiteY7459" fmla="*/ 1428479 h 7571036"/>
                  <a:gd name="connsiteX7460" fmla="*/ 2781084 w 6994525"/>
                  <a:gd name="connsiteY7460" fmla="*/ 1452146 h 7571036"/>
                  <a:gd name="connsiteX7461" fmla="*/ 2804755 w 6994525"/>
                  <a:gd name="connsiteY7461" fmla="*/ 1475819 h 7571036"/>
                  <a:gd name="connsiteX7462" fmla="*/ 2828427 w 6994525"/>
                  <a:gd name="connsiteY7462" fmla="*/ 1452146 h 7571036"/>
                  <a:gd name="connsiteX7463" fmla="*/ 2829167 w 6994525"/>
                  <a:gd name="connsiteY7463" fmla="*/ 1914919 h 7571036"/>
                  <a:gd name="connsiteX7464" fmla="*/ 2809440 w 6994525"/>
                  <a:gd name="connsiteY7464" fmla="*/ 1895199 h 7571036"/>
                  <a:gd name="connsiteX7465" fmla="*/ 2789715 w 6994525"/>
                  <a:gd name="connsiteY7465" fmla="*/ 1914919 h 7571036"/>
                  <a:gd name="connsiteX7466" fmla="*/ 2809440 w 6994525"/>
                  <a:gd name="connsiteY7466" fmla="*/ 1934640 h 7571036"/>
                  <a:gd name="connsiteX7467" fmla="*/ 2829167 w 6994525"/>
                  <a:gd name="connsiteY7467" fmla="*/ 1914919 h 7571036"/>
                  <a:gd name="connsiteX7468" fmla="*/ 2831137 w 6994525"/>
                  <a:gd name="connsiteY7468" fmla="*/ 4686100 h 7571036"/>
                  <a:gd name="connsiteX7469" fmla="*/ 2825959 w 6994525"/>
                  <a:gd name="connsiteY7469" fmla="*/ 4680922 h 7571036"/>
                  <a:gd name="connsiteX7470" fmla="*/ 2820783 w 6994525"/>
                  <a:gd name="connsiteY7470" fmla="*/ 4686100 h 7571036"/>
                  <a:gd name="connsiteX7471" fmla="*/ 2825959 w 6994525"/>
                  <a:gd name="connsiteY7471" fmla="*/ 4691276 h 7571036"/>
                  <a:gd name="connsiteX7472" fmla="*/ 2831137 w 6994525"/>
                  <a:gd name="connsiteY7472" fmla="*/ 4686100 h 7571036"/>
                  <a:gd name="connsiteX7473" fmla="*/ 2832617 w 6994525"/>
                  <a:gd name="connsiteY7473" fmla="*/ 3680565 h 7571036"/>
                  <a:gd name="connsiteX7474" fmla="*/ 2790452 w 6994525"/>
                  <a:gd name="connsiteY7474" fmla="*/ 3638400 h 7571036"/>
                  <a:gd name="connsiteX7475" fmla="*/ 2748041 w 6994525"/>
                  <a:gd name="connsiteY7475" fmla="*/ 3680565 h 7571036"/>
                  <a:gd name="connsiteX7476" fmla="*/ 2790452 w 6994525"/>
                  <a:gd name="connsiteY7476" fmla="*/ 3722728 h 7571036"/>
                  <a:gd name="connsiteX7477" fmla="*/ 2832617 w 6994525"/>
                  <a:gd name="connsiteY7477" fmla="*/ 3680565 h 7571036"/>
                  <a:gd name="connsiteX7478" fmla="*/ 2834098 w 6994525"/>
                  <a:gd name="connsiteY7478" fmla="*/ 1797840 h 7571036"/>
                  <a:gd name="connsiteX7479" fmla="*/ 2807962 w 6994525"/>
                  <a:gd name="connsiteY7479" fmla="*/ 1771687 h 7571036"/>
                  <a:gd name="connsiteX7480" fmla="*/ 2781824 w 6994525"/>
                  <a:gd name="connsiteY7480" fmla="*/ 1797840 h 7571036"/>
                  <a:gd name="connsiteX7481" fmla="*/ 2807962 w 6994525"/>
                  <a:gd name="connsiteY7481" fmla="*/ 1823969 h 7571036"/>
                  <a:gd name="connsiteX7482" fmla="*/ 2834098 w 6994525"/>
                  <a:gd name="connsiteY7482" fmla="*/ 1797840 h 7571036"/>
                  <a:gd name="connsiteX7483" fmla="*/ 2835330 w 6994525"/>
                  <a:gd name="connsiteY7483" fmla="*/ 2819296 h 7571036"/>
                  <a:gd name="connsiteX7484" fmla="*/ 2811905 w 6994525"/>
                  <a:gd name="connsiteY7484" fmla="*/ 2795869 h 7571036"/>
                  <a:gd name="connsiteX7485" fmla="*/ 2788480 w 6994525"/>
                  <a:gd name="connsiteY7485" fmla="*/ 2819296 h 7571036"/>
                  <a:gd name="connsiteX7486" fmla="*/ 2811905 w 6994525"/>
                  <a:gd name="connsiteY7486" fmla="*/ 2842721 h 7571036"/>
                  <a:gd name="connsiteX7487" fmla="*/ 2835330 w 6994525"/>
                  <a:gd name="connsiteY7487" fmla="*/ 2819296 h 7571036"/>
                  <a:gd name="connsiteX7488" fmla="*/ 2839275 w 6994525"/>
                  <a:gd name="connsiteY7488" fmla="*/ 3219479 h 7571036"/>
                  <a:gd name="connsiteX7489" fmla="*/ 2808949 w 6994525"/>
                  <a:gd name="connsiteY7489" fmla="*/ 3189149 h 7571036"/>
                  <a:gd name="connsiteX7490" fmla="*/ 2778620 w 6994525"/>
                  <a:gd name="connsiteY7490" fmla="*/ 3219479 h 7571036"/>
                  <a:gd name="connsiteX7491" fmla="*/ 2808949 w 6994525"/>
                  <a:gd name="connsiteY7491" fmla="*/ 3249805 h 7571036"/>
                  <a:gd name="connsiteX7492" fmla="*/ 2839275 w 6994525"/>
                  <a:gd name="connsiteY7492" fmla="*/ 3219479 h 7571036"/>
                  <a:gd name="connsiteX7493" fmla="*/ 2840262 w 6994525"/>
                  <a:gd name="connsiteY7493" fmla="*/ 5274185 h 7571036"/>
                  <a:gd name="connsiteX7494" fmla="*/ 2809192 w 6994525"/>
                  <a:gd name="connsiteY7494" fmla="*/ 5243114 h 7571036"/>
                  <a:gd name="connsiteX7495" fmla="*/ 2778125 w 6994525"/>
                  <a:gd name="connsiteY7495" fmla="*/ 5274185 h 7571036"/>
                  <a:gd name="connsiteX7496" fmla="*/ 2809192 w 6994525"/>
                  <a:gd name="connsiteY7496" fmla="*/ 5305251 h 7571036"/>
                  <a:gd name="connsiteX7497" fmla="*/ 2840262 w 6994525"/>
                  <a:gd name="connsiteY7497" fmla="*/ 5274185 h 7571036"/>
                  <a:gd name="connsiteX7498" fmla="*/ 2840510 w 6994525"/>
                  <a:gd name="connsiteY7498" fmla="*/ 2551525 h 7571036"/>
                  <a:gd name="connsiteX7499" fmla="*/ 2788483 w 6994525"/>
                  <a:gd name="connsiteY7499" fmla="*/ 2499498 h 7571036"/>
                  <a:gd name="connsiteX7500" fmla="*/ 2736455 w 6994525"/>
                  <a:gd name="connsiteY7500" fmla="*/ 2551525 h 7571036"/>
                  <a:gd name="connsiteX7501" fmla="*/ 2788483 w 6994525"/>
                  <a:gd name="connsiteY7501" fmla="*/ 2603554 h 7571036"/>
                  <a:gd name="connsiteX7502" fmla="*/ 2840510 w 6994525"/>
                  <a:gd name="connsiteY7502" fmla="*/ 2551525 h 7571036"/>
                  <a:gd name="connsiteX7503" fmla="*/ 2841002 w 6994525"/>
                  <a:gd name="connsiteY7503" fmla="*/ 5041169 h 7571036"/>
                  <a:gd name="connsiteX7504" fmla="*/ 2811413 w 6994525"/>
                  <a:gd name="connsiteY7504" fmla="*/ 5011580 h 7571036"/>
                  <a:gd name="connsiteX7505" fmla="*/ 2781824 w 6994525"/>
                  <a:gd name="connsiteY7505" fmla="*/ 5041169 h 7571036"/>
                  <a:gd name="connsiteX7506" fmla="*/ 2811413 w 6994525"/>
                  <a:gd name="connsiteY7506" fmla="*/ 5070758 h 7571036"/>
                  <a:gd name="connsiteX7507" fmla="*/ 2841002 w 6994525"/>
                  <a:gd name="connsiteY7507" fmla="*/ 5041169 h 7571036"/>
                  <a:gd name="connsiteX7508" fmla="*/ 2843468 w 6994525"/>
                  <a:gd name="connsiteY7508" fmla="*/ 4802978 h 7571036"/>
                  <a:gd name="connsiteX7509" fmla="*/ 2815114 w 6994525"/>
                  <a:gd name="connsiteY7509" fmla="*/ 4774621 h 7571036"/>
                  <a:gd name="connsiteX7510" fmla="*/ 2786756 w 6994525"/>
                  <a:gd name="connsiteY7510" fmla="*/ 4802978 h 7571036"/>
                  <a:gd name="connsiteX7511" fmla="*/ 2815114 w 6994525"/>
                  <a:gd name="connsiteY7511" fmla="*/ 4831335 h 7571036"/>
                  <a:gd name="connsiteX7512" fmla="*/ 2843468 w 6994525"/>
                  <a:gd name="connsiteY7512" fmla="*/ 4802978 h 7571036"/>
                  <a:gd name="connsiteX7513" fmla="*/ 2849139 w 6994525"/>
                  <a:gd name="connsiteY7513" fmla="*/ 2032998 h 7571036"/>
                  <a:gd name="connsiteX7514" fmla="*/ 2811659 w 6994525"/>
                  <a:gd name="connsiteY7514" fmla="*/ 1995521 h 7571036"/>
                  <a:gd name="connsiteX7515" fmla="*/ 2774180 w 6994525"/>
                  <a:gd name="connsiteY7515" fmla="*/ 2032998 h 7571036"/>
                  <a:gd name="connsiteX7516" fmla="*/ 2811659 w 6994525"/>
                  <a:gd name="connsiteY7516" fmla="*/ 2070481 h 7571036"/>
                  <a:gd name="connsiteX7517" fmla="*/ 2849139 w 6994525"/>
                  <a:gd name="connsiteY7517" fmla="*/ 2032998 h 7571036"/>
                  <a:gd name="connsiteX7518" fmla="*/ 2851603 w 6994525"/>
                  <a:gd name="connsiteY7518" fmla="*/ 2152835 h 7571036"/>
                  <a:gd name="connsiteX7519" fmla="*/ 2813877 w 6994525"/>
                  <a:gd name="connsiteY7519" fmla="*/ 2115107 h 7571036"/>
                  <a:gd name="connsiteX7520" fmla="*/ 2776152 w 6994525"/>
                  <a:gd name="connsiteY7520" fmla="*/ 2152835 h 7571036"/>
                  <a:gd name="connsiteX7521" fmla="*/ 2813877 w 6994525"/>
                  <a:gd name="connsiteY7521" fmla="*/ 2190560 h 7571036"/>
                  <a:gd name="connsiteX7522" fmla="*/ 2851603 w 6994525"/>
                  <a:gd name="connsiteY7522" fmla="*/ 2152835 h 7571036"/>
                  <a:gd name="connsiteX7523" fmla="*/ 2855549 w 6994525"/>
                  <a:gd name="connsiteY7523" fmla="*/ 2962304 h 7571036"/>
                  <a:gd name="connsiteX7524" fmla="*/ 2830891 w 6994525"/>
                  <a:gd name="connsiteY7524" fmla="*/ 2937647 h 7571036"/>
                  <a:gd name="connsiteX7525" fmla="*/ 2806234 w 6994525"/>
                  <a:gd name="connsiteY7525" fmla="*/ 2962304 h 7571036"/>
                  <a:gd name="connsiteX7526" fmla="*/ 2830891 w 6994525"/>
                  <a:gd name="connsiteY7526" fmla="*/ 2986962 h 7571036"/>
                  <a:gd name="connsiteX7527" fmla="*/ 2855549 w 6994525"/>
                  <a:gd name="connsiteY7527" fmla="*/ 2962304 h 7571036"/>
                  <a:gd name="connsiteX7528" fmla="*/ 2861468 w 6994525"/>
                  <a:gd name="connsiteY7528" fmla="*/ 4563307 h 7571036"/>
                  <a:gd name="connsiteX7529" fmla="*/ 2830153 w 6994525"/>
                  <a:gd name="connsiteY7529" fmla="*/ 4531990 h 7571036"/>
                  <a:gd name="connsiteX7530" fmla="*/ 2798837 w 6994525"/>
                  <a:gd name="connsiteY7530" fmla="*/ 4563307 h 7571036"/>
                  <a:gd name="connsiteX7531" fmla="*/ 2830153 w 6994525"/>
                  <a:gd name="connsiteY7531" fmla="*/ 4594623 h 7571036"/>
                  <a:gd name="connsiteX7532" fmla="*/ 2861468 w 6994525"/>
                  <a:gd name="connsiteY7532" fmla="*/ 4563307 h 7571036"/>
                  <a:gd name="connsiteX7533" fmla="*/ 2861714 w 6994525"/>
                  <a:gd name="connsiteY7533" fmla="*/ 4922563 h 7571036"/>
                  <a:gd name="connsiteX7534" fmla="*/ 2812891 w 6994525"/>
                  <a:gd name="connsiteY7534" fmla="*/ 4873743 h 7571036"/>
                  <a:gd name="connsiteX7535" fmla="*/ 2764071 w 6994525"/>
                  <a:gd name="connsiteY7535" fmla="*/ 4922563 h 7571036"/>
                  <a:gd name="connsiteX7536" fmla="*/ 2812891 w 6994525"/>
                  <a:gd name="connsiteY7536" fmla="*/ 4971387 h 7571036"/>
                  <a:gd name="connsiteX7537" fmla="*/ 2861714 w 6994525"/>
                  <a:gd name="connsiteY7537" fmla="*/ 4922563 h 7571036"/>
                  <a:gd name="connsiteX7538" fmla="*/ 2866398 w 6994525"/>
                  <a:gd name="connsiteY7538" fmla="*/ 4175932 h 7571036"/>
                  <a:gd name="connsiteX7539" fmla="*/ 2853330 w 6994525"/>
                  <a:gd name="connsiteY7539" fmla="*/ 4162864 h 7571036"/>
                  <a:gd name="connsiteX7540" fmla="*/ 2840262 w 6994525"/>
                  <a:gd name="connsiteY7540" fmla="*/ 4175932 h 7571036"/>
                  <a:gd name="connsiteX7541" fmla="*/ 2853330 w 6994525"/>
                  <a:gd name="connsiteY7541" fmla="*/ 4189000 h 7571036"/>
                  <a:gd name="connsiteX7542" fmla="*/ 2866398 w 6994525"/>
                  <a:gd name="connsiteY7542" fmla="*/ 4175932 h 7571036"/>
                  <a:gd name="connsiteX7543" fmla="*/ 2870098 w 6994525"/>
                  <a:gd name="connsiteY7543" fmla="*/ 4309084 h 7571036"/>
                  <a:gd name="connsiteX7544" fmla="*/ 2843221 w 6994525"/>
                  <a:gd name="connsiteY7544" fmla="*/ 4282207 h 7571036"/>
                  <a:gd name="connsiteX7545" fmla="*/ 2816345 w 6994525"/>
                  <a:gd name="connsiteY7545" fmla="*/ 4309084 h 7571036"/>
                  <a:gd name="connsiteX7546" fmla="*/ 2843221 w 6994525"/>
                  <a:gd name="connsiteY7546" fmla="*/ 4335963 h 7571036"/>
                  <a:gd name="connsiteX7547" fmla="*/ 2870098 w 6994525"/>
                  <a:gd name="connsiteY7547" fmla="*/ 4309084 h 7571036"/>
                  <a:gd name="connsiteX7548" fmla="*/ 2870838 w 6994525"/>
                  <a:gd name="connsiteY7548" fmla="*/ 4437550 h 7571036"/>
                  <a:gd name="connsiteX7549" fmla="*/ 2835823 w 6994525"/>
                  <a:gd name="connsiteY7549" fmla="*/ 4402537 h 7571036"/>
                  <a:gd name="connsiteX7550" fmla="*/ 2800810 w 6994525"/>
                  <a:gd name="connsiteY7550" fmla="*/ 4437550 h 7571036"/>
                  <a:gd name="connsiteX7551" fmla="*/ 2835823 w 6994525"/>
                  <a:gd name="connsiteY7551" fmla="*/ 4472565 h 7571036"/>
                  <a:gd name="connsiteX7552" fmla="*/ 2870838 w 6994525"/>
                  <a:gd name="connsiteY7552" fmla="*/ 4437550 h 7571036"/>
                  <a:gd name="connsiteX7553" fmla="*/ 2875768 w 6994525"/>
                  <a:gd name="connsiteY7553" fmla="*/ 3790043 h 7571036"/>
                  <a:gd name="connsiteX7554" fmla="*/ 2832123 w 6994525"/>
                  <a:gd name="connsiteY7554" fmla="*/ 3746399 h 7571036"/>
                  <a:gd name="connsiteX7555" fmla="*/ 2788480 w 6994525"/>
                  <a:gd name="connsiteY7555" fmla="*/ 3790043 h 7571036"/>
                  <a:gd name="connsiteX7556" fmla="*/ 2832123 w 6994525"/>
                  <a:gd name="connsiteY7556" fmla="*/ 3833689 h 7571036"/>
                  <a:gd name="connsiteX7557" fmla="*/ 2875768 w 6994525"/>
                  <a:gd name="connsiteY7557" fmla="*/ 3790043 h 7571036"/>
                  <a:gd name="connsiteX7558" fmla="*/ 2878233 w 6994525"/>
                  <a:gd name="connsiteY7558" fmla="*/ 1097370 h 7571036"/>
                  <a:gd name="connsiteX7559" fmla="*/ 2854562 w 6994525"/>
                  <a:gd name="connsiteY7559" fmla="*/ 1073698 h 7571036"/>
                  <a:gd name="connsiteX7560" fmla="*/ 2830891 w 6994525"/>
                  <a:gd name="connsiteY7560" fmla="*/ 1097370 h 7571036"/>
                  <a:gd name="connsiteX7561" fmla="*/ 2854562 w 6994525"/>
                  <a:gd name="connsiteY7561" fmla="*/ 1121041 h 7571036"/>
                  <a:gd name="connsiteX7562" fmla="*/ 2878233 w 6994525"/>
                  <a:gd name="connsiteY7562" fmla="*/ 1097370 h 7571036"/>
                  <a:gd name="connsiteX7563" fmla="*/ 2880206 w 6994525"/>
                  <a:gd name="connsiteY7563" fmla="*/ 873259 h 7571036"/>
                  <a:gd name="connsiteX7564" fmla="*/ 2855549 w 6994525"/>
                  <a:gd name="connsiteY7564" fmla="*/ 848611 h 7571036"/>
                  <a:gd name="connsiteX7565" fmla="*/ 2830891 w 6994525"/>
                  <a:gd name="connsiteY7565" fmla="*/ 873259 h 7571036"/>
                  <a:gd name="connsiteX7566" fmla="*/ 2855549 w 6994525"/>
                  <a:gd name="connsiteY7566" fmla="*/ 897925 h 7571036"/>
                  <a:gd name="connsiteX7567" fmla="*/ 2880206 w 6994525"/>
                  <a:gd name="connsiteY7567" fmla="*/ 873259 h 7571036"/>
                  <a:gd name="connsiteX7568" fmla="*/ 2880452 w 6994525"/>
                  <a:gd name="connsiteY7568" fmla="*/ 984949 h 7571036"/>
                  <a:gd name="connsiteX7569" fmla="*/ 2854562 w 6994525"/>
                  <a:gd name="connsiteY7569" fmla="*/ 959062 h 7571036"/>
                  <a:gd name="connsiteX7570" fmla="*/ 2828673 w 6994525"/>
                  <a:gd name="connsiteY7570" fmla="*/ 984949 h 7571036"/>
                  <a:gd name="connsiteX7571" fmla="*/ 2854562 w 6994525"/>
                  <a:gd name="connsiteY7571" fmla="*/ 1010841 h 7571036"/>
                  <a:gd name="connsiteX7572" fmla="*/ 2880452 w 6994525"/>
                  <a:gd name="connsiteY7572" fmla="*/ 984949 h 7571036"/>
                  <a:gd name="connsiteX7573" fmla="*/ 2881195 w 6994525"/>
                  <a:gd name="connsiteY7573" fmla="*/ 1322706 h 7571036"/>
                  <a:gd name="connsiteX7574" fmla="*/ 2854071 w 6994525"/>
                  <a:gd name="connsiteY7574" fmla="*/ 1295582 h 7571036"/>
                  <a:gd name="connsiteX7575" fmla="*/ 2827195 w 6994525"/>
                  <a:gd name="connsiteY7575" fmla="*/ 1322706 h 7571036"/>
                  <a:gd name="connsiteX7576" fmla="*/ 2854071 w 6994525"/>
                  <a:gd name="connsiteY7576" fmla="*/ 1349586 h 7571036"/>
                  <a:gd name="connsiteX7577" fmla="*/ 2881195 w 6994525"/>
                  <a:gd name="connsiteY7577" fmla="*/ 1322706 h 7571036"/>
                  <a:gd name="connsiteX7578" fmla="*/ 2881686 w 6994525"/>
                  <a:gd name="connsiteY7578" fmla="*/ 1209547 h 7571036"/>
                  <a:gd name="connsiteX7579" fmla="*/ 2854564 w 6994525"/>
                  <a:gd name="connsiteY7579" fmla="*/ 1182423 h 7571036"/>
                  <a:gd name="connsiteX7580" fmla="*/ 2827440 w 6994525"/>
                  <a:gd name="connsiteY7580" fmla="*/ 1209547 h 7571036"/>
                  <a:gd name="connsiteX7581" fmla="*/ 2854564 w 6994525"/>
                  <a:gd name="connsiteY7581" fmla="*/ 1236673 h 7571036"/>
                  <a:gd name="connsiteX7582" fmla="*/ 2881686 w 6994525"/>
                  <a:gd name="connsiteY7582" fmla="*/ 1209547 h 7571036"/>
                  <a:gd name="connsiteX7583" fmla="*/ 2882673 w 6994525"/>
                  <a:gd name="connsiteY7583" fmla="*/ 539427 h 7571036"/>
                  <a:gd name="connsiteX7584" fmla="*/ 2855549 w 6994525"/>
                  <a:gd name="connsiteY7584" fmla="*/ 512304 h 7571036"/>
                  <a:gd name="connsiteX7585" fmla="*/ 2828427 w 6994525"/>
                  <a:gd name="connsiteY7585" fmla="*/ 539427 h 7571036"/>
                  <a:gd name="connsiteX7586" fmla="*/ 2855549 w 6994525"/>
                  <a:gd name="connsiteY7586" fmla="*/ 566549 h 7571036"/>
                  <a:gd name="connsiteX7587" fmla="*/ 2882673 w 6994525"/>
                  <a:gd name="connsiteY7587" fmla="*/ 539427 h 7571036"/>
                  <a:gd name="connsiteX7588" fmla="*/ 2882675 w 6994525"/>
                  <a:gd name="connsiteY7588" fmla="*/ 650402 h 7571036"/>
                  <a:gd name="connsiteX7589" fmla="*/ 2855305 w 6994525"/>
                  <a:gd name="connsiteY7589" fmla="*/ 623240 h 7571036"/>
                  <a:gd name="connsiteX7590" fmla="*/ 2827935 w 6994525"/>
                  <a:gd name="connsiteY7590" fmla="*/ 650402 h 7571036"/>
                  <a:gd name="connsiteX7591" fmla="*/ 2855305 w 6994525"/>
                  <a:gd name="connsiteY7591" fmla="*/ 677765 h 7571036"/>
                  <a:gd name="connsiteX7592" fmla="*/ 2882675 w 6994525"/>
                  <a:gd name="connsiteY7592" fmla="*/ 650402 h 7571036"/>
                  <a:gd name="connsiteX7593" fmla="*/ 2883167 w 6994525"/>
                  <a:gd name="connsiteY7593" fmla="*/ 761835 h 7571036"/>
                  <a:gd name="connsiteX7594" fmla="*/ 2855551 w 6994525"/>
                  <a:gd name="connsiteY7594" fmla="*/ 734214 h 7571036"/>
                  <a:gd name="connsiteX7595" fmla="*/ 2827935 w 6994525"/>
                  <a:gd name="connsiteY7595" fmla="*/ 761835 h 7571036"/>
                  <a:gd name="connsiteX7596" fmla="*/ 2855551 w 6994525"/>
                  <a:gd name="connsiteY7596" fmla="*/ 789452 h 7571036"/>
                  <a:gd name="connsiteX7597" fmla="*/ 2883167 w 6994525"/>
                  <a:gd name="connsiteY7597" fmla="*/ 761835 h 7571036"/>
                  <a:gd name="connsiteX7598" fmla="*/ 2883414 w 6994525"/>
                  <a:gd name="connsiteY7598" fmla="*/ 3113451 h 7571036"/>
                  <a:gd name="connsiteX7599" fmla="*/ 2859251 w 6994525"/>
                  <a:gd name="connsiteY7599" fmla="*/ 3089287 h 7571036"/>
                  <a:gd name="connsiteX7600" fmla="*/ 2835085 w 6994525"/>
                  <a:gd name="connsiteY7600" fmla="*/ 3113451 h 7571036"/>
                  <a:gd name="connsiteX7601" fmla="*/ 2859251 w 6994525"/>
                  <a:gd name="connsiteY7601" fmla="*/ 3137616 h 7571036"/>
                  <a:gd name="connsiteX7602" fmla="*/ 2883414 w 6994525"/>
                  <a:gd name="connsiteY7602" fmla="*/ 3113451 h 7571036"/>
                  <a:gd name="connsiteX7603" fmla="*/ 2886618 w 6994525"/>
                  <a:gd name="connsiteY7603" fmla="*/ 4037361 h 7571036"/>
                  <a:gd name="connsiteX7604" fmla="*/ 2868373 w 6994525"/>
                  <a:gd name="connsiteY7604" fmla="*/ 4019113 h 7571036"/>
                  <a:gd name="connsiteX7605" fmla="*/ 2850125 w 6994525"/>
                  <a:gd name="connsiteY7605" fmla="*/ 4037361 h 7571036"/>
                  <a:gd name="connsiteX7606" fmla="*/ 2868373 w 6994525"/>
                  <a:gd name="connsiteY7606" fmla="*/ 4055606 h 7571036"/>
                  <a:gd name="connsiteX7607" fmla="*/ 2886618 w 6994525"/>
                  <a:gd name="connsiteY7607" fmla="*/ 4037361 h 7571036"/>
                  <a:gd name="connsiteX7608" fmla="*/ 2910536 w 6994525"/>
                  <a:gd name="connsiteY7608" fmla="*/ 3420433 h 7571036"/>
                  <a:gd name="connsiteX7609" fmla="*/ 2872561 w 6994525"/>
                  <a:gd name="connsiteY7609" fmla="*/ 3382461 h 7571036"/>
                  <a:gd name="connsiteX7610" fmla="*/ 2834590 w 6994525"/>
                  <a:gd name="connsiteY7610" fmla="*/ 3420433 h 7571036"/>
                  <a:gd name="connsiteX7611" fmla="*/ 2872561 w 6994525"/>
                  <a:gd name="connsiteY7611" fmla="*/ 3458406 h 7571036"/>
                  <a:gd name="connsiteX7612" fmla="*/ 2910536 w 6994525"/>
                  <a:gd name="connsiteY7612" fmla="*/ 3420433 h 7571036"/>
                  <a:gd name="connsiteX7613" fmla="*/ 2913002 w 6994525"/>
                  <a:gd name="connsiteY7613" fmla="*/ 3535084 h 7571036"/>
                  <a:gd name="connsiteX7614" fmla="*/ 2872564 w 6994525"/>
                  <a:gd name="connsiteY7614" fmla="*/ 3494645 h 7571036"/>
                  <a:gd name="connsiteX7615" fmla="*/ 2832125 w 6994525"/>
                  <a:gd name="connsiteY7615" fmla="*/ 3535084 h 7571036"/>
                  <a:gd name="connsiteX7616" fmla="*/ 2872564 w 6994525"/>
                  <a:gd name="connsiteY7616" fmla="*/ 3575523 h 7571036"/>
                  <a:gd name="connsiteX7617" fmla="*/ 2913002 w 6994525"/>
                  <a:gd name="connsiteY7617" fmla="*/ 3535084 h 7571036"/>
                  <a:gd name="connsiteX7618" fmla="*/ 2913248 w 6994525"/>
                  <a:gd name="connsiteY7618" fmla="*/ 7307448 h 7571036"/>
                  <a:gd name="connsiteX7619" fmla="*/ 2910289 w 6994525"/>
                  <a:gd name="connsiteY7619" fmla="*/ 7304488 h 7571036"/>
                  <a:gd name="connsiteX7620" fmla="*/ 2907330 w 6994525"/>
                  <a:gd name="connsiteY7620" fmla="*/ 7307448 h 7571036"/>
                  <a:gd name="connsiteX7621" fmla="*/ 2910289 w 6994525"/>
                  <a:gd name="connsiteY7621" fmla="*/ 7310406 h 7571036"/>
                  <a:gd name="connsiteX7622" fmla="*/ 2913248 w 6994525"/>
                  <a:gd name="connsiteY7622" fmla="*/ 7307448 h 7571036"/>
                  <a:gd name="connsiteX7623" fmla="*/ 2913248 w 6994525"/>
                  <a:gd name="connsiteY7623" fmla="*/ 7417172 h 7571036"/>
                  <a:gd name="connsiteX7624" fmla="*/ 2910536 w 6994525"/>
                  <a:gd name="connsiteY7624" fmla="*/ 7414459 h 7571036"/>
                  <a:gd name="connsiteX7625" fmla="*/ 2907823 w 6994525"/>
                  <a:gd name="connsiteY7625" fmla="*/ 7417172 h 7571036"/>
                  <a:gd name="connsiteX7626" fmla="*/ 2910536 w 6994525"/>
                  <a:gd name="connsiteY7626" fmla="*/ 7419885 h 7571036"/>
                  <a:gd name="connsiteX7627" fmla="*/ 2913248 w 6994525"/>
                  <a:gd name="connsiteY7627" fmla="*/ 7417172 h 7571036"/>
                  <a:gd name="connsiteX7628" fmla="*/ 2913249 w 6994525"/>
                  <a:gd name="connsiteY7628" fmla="*/ 2611930 h 7571036"/>
                  <a:gd name="connsiteX7629" fmla="*/ 2889826 w 6994525"/>
                  <a:gd name="connsiteY7629" fmla="*/ 2588504 h 7571036"/>
                  <a:gd name="connsiteX7630" fmla="*/ 2866401 w 6994525"/>
                  <a:gd name="connsiteY7630" fmla="*/ 2611930 h 7571036"/>
                  <a:gd name="connsiteX7631" fmla="*/ 2889826 w 6994525"/>
                  <a:gd name="connsiteY7631" fmla="*/ 2635353 h 7571036"/>
                  <a:gd name="connsiteX7632" fmla="*/ 2913249 w 6994525"/>
                  <a:gd name="connsiteY7632" fmla="*/ 2611930 h 7571036"/>
                  <a:gd name="connsiteX7633" fmla="*/ 2913497 w 6994525"/>
                  <a:gd name="connsiteY7633" fmla="*/ 7526651 h 7571036"/>
                  <a:gd name="connsiteX7634" fmla="*/ 2910785 w 6994525"/>
                  <a:gd name="connsiteY7634" fmla="*/ 7523938 h 7571036"/>
                  <a:gd name="connsiteX7635" fmla="*/ 2908071 w 6994525"/>
                  <a:gd name="connsiteY7635" fmla="*/ 7526651 h 7571036"/>
                  <a:gd name="connsiteX7636" fmla="*/ 2910785 w 6994525"/>
                  <a:gd name="connsiteY7636" fmla="*/ 7529365 h 7571036"/>
                  <a:gd name="connsiteX7637" fmla="*/ 2913497 w 6994525"/>
                  <a:gd name="connsiteY7637" fmla="*/ 7526651 h 7571036"/>
                  <a:gd name="connsiteX7638" fmla="*/ 2914480 w 6994525"/>
                  <a:gd name="connsiteY7638" fmla="*/ 6537885 h 7571036"/>
                  <a:gd name="connsiteX7639" fmla="*/ 2911276 w 6994525"/>
                  <a:gd name="connsiteY7639" fmla="*/ 6534431 h 7571036"/>
                  <a:gd name="connsiteX7640" fmla="*/ 2908071 w 6994525"/>
                  <a:gd name="connsiteY7640" fmla="*/ 6537885 h 7571036"/>
                  <a:gd name="connsiteX7641" fmla="*/ 2911276 w 6994525"/>
                  <a:gd name="connsiteY7641" fmla="*/ 6541090 h 7571036"/>
                  <a:gd name="connsiteX7642" fmla="*/ 2914480 w 6994525"/>
                  <a:gd name="connsiteY7642" fmla="*/ 6537885 h 7571036"/>
                  <a:gd name="connsiteX7643" fmla="*/ 2914975 w 6994525"/>
                  <a:gd name="connsiteY7643" fmla="*/ 6978268 h 7571036"/>
                  <a:gd name="connsiteX7644" fmla="*/ 2912262 w 6994525"/>
                  <a:gd name="connsiteY7644" fmla="*/ 6975309 h 7571036"/>
                  <a:gd name="connsiteX7645" fmla="*/ 2909303 w 6994525"/>
                  <a:gd name="connsiteY7645" fmla="*/ 6978268 h 7571036"/>
                  <a:gd name="connsiteX7646" fmla="*/ 2912262 w 6994525"/>
                  <a:gd name="connsiteY7646" fmla="*/ 6981226 h 7571036"/>
                  <a:gd name="connsiteX7647" fmla="*/ 2914975 w 6994525"/>
                  <a:gd name="connsiteY7647" fmla="*/ 6978268 h 7571036"/>
                  <a:gd name="connsiteX7648" fmla="*/ 2915467 w 6994525"/>
                  <a:gd name="connsiteY7648" fmla="*/ 5649223 h 7571036"/>
                  <a:gd name="connsiteX7649" fmla="*/ 2913493 w 6994525"/>
                  <a:gd name="connsiteY7649" fmla="*/ 5647250 h 7571036"/>
                  <a:gd name="connsiteX7650" fmla="*/ 2911521 w 6994525"/>
                  <a:gd name="connsiteY7650" fmla="*/ 5649223 h 7571036"/>
                  <a:gd name="connsiteX7651" fmla="*/ 2913493 w 6994525"/>
                  <a:gd name="connsiteY7651" fmla="*/ 5651196 h 7571036"/>
                  <a:gd name="connsiteX7652" fmla="*/ 2915467 w 6994525"/>
                  <a:gd name="connsiteY7652" fmla="*/ 5649223 h 7571036"/>
                  <a:gd name="connsiteX7653" fmla="*/ 2915468 w 6994525"/>
                  <a:gd name="connsiteY7653" fmla="*/ 5873117 h 7571036"/>
                  <a:gd name="connsiteX7654" fmla="*/ 2913743 w 6994525"/>
                  <a:gd name="connsiteY7654" fmla="*/ 5871389 h 7571036"/>
                  <a:gd name="connsiteX7655" fmla="*/ 2912017 w 6994525"/>
                  <a:gd name="connsiteY7655" fmla="*/ 5873117 h 7571036"/>
                  <a:gd name="connsiteX7656" fmla="*/ 2913743 w 6994525"/>
                  <a:gd name="connsiteY7656" fmla="*/ 5874840 h 7571036"/>
                  <a:gd name="connsiteX7657" fmla="*/ 2915468 w 6994525"/>
                  <a:gd name="connsiteY7657" fmla="*/ 5873117 h 7571036"/>
                  <a:gd name="connsiteX7658" fmla="*/ 2915469 w 6994525"/>
                  <a:gd name="connsiteY7658" fmla="*/ 7197966 h 7571036"/>
                  <a:gd name="connsiteX7659" fmla="*/ 2912757 w 6994525"/>
                  <a:gd name="connsiteY7659" fmla="*/ 7195254 h 7571036"/>
                  <a:gd name="connsiteX7660" fmla="*/ 2910043 w 6994525"/>
                  <a:gd name="connsiteY7660" fmla="*/ 7197966 h 7571036"/>
                  <a:gd name="connsiteX7661" fmla="*/ 2912757 w 6994525"/>
                  <a:gd name="connsiteY7661" fmla="*/ 7200680 h 7571036"/>
                  <a:gd name="connsiteX7662" fmla="*/ 2915469 w 6994525"/>
                  <a:gd name="connsiteY7662" fmla="*/ 7197966 h 7571036"/>
                  <a:gd name="connsiteX7663" fmla="*/ 2915713 w 6994525"/>
                  <a:gd name="connsiteY7663" fmla="*/ 7088485 h 7571036"/>
                  <a:gd name="connsiteX7664" fmla="*/ 2912508 w 6994525"/>
                  <a:gd name="connsiteY7664" fmla="*/ 7085280 h 7571036"/>
                  <a:gd name="connsiteX7665" fmla="*/ 2909303 w 6994525"/>
                  <a:gd name="connsiteY7665" fmla="*/ 7088485 h 7571036"/>
                  <a:gd name="connsiteX7666" fmla="*/ 2912508 w 6994525"/>
                  <a:gd name="connsiteY7666" fmla="*/ 7091693 h 7571036"/>
                  <a:gd name="connsiteX7667" fmla="*/ 2915713 w 6994525"/>
                  <a:gd name="connsiteY7667" fmla="*/ 7088485 h 7571036"/>
                  <a:gd name="connsiteX7668" fmla="*/ 2915961 w 6994525"/>
                  <a:gd name="connsiteY7668" fmla="*/ 2242833 h 7571036"/>
                  <a:gd name="connsiteX7669" fmla="*/ 2876015 w 6994525"/>
                  <a:gd name="connsiteY7669" fmla="*/ 2202884 h 7571036"/>
                  <a:gd name="connsiteX7670" fmla="*/ 2836071 w 6994525"/>
                  <a:gd name="connsiteY7670" fmla="*/ 2242833 h 7571036"/>
                  <a:gd name="connsiteX7671" fmla="*/ 2876015 w 6994525"/>
                  <a:gd name="connsiteY7671" fmla="*/ 2282772 h 7571036"/>
                  <a:gd name="connsiteX7672" fmla="*/ 2915961 w 6994525"/>
                  <a:gd name="connsiteY7672" fmla="*/ 2242833 h 7571036"/>
                  <a:gd name="connsiteX7673" fmla="*/ 2916207 w 6994525"/>
                  <a:gd name="connsiteY7673" fmla="*/ 5984567 h 7571036"/>
                  <a:gd name="connsiteX7674" fmla="*/ 2913986 w 6994525"/>
                  <a:gd name="connsiteY7674" fmla="*/ 5982348 h 7571036"/>
                  <a:gd name="connsiteX7675" fmla="*/ 2911768 w 6994525"/>
                  <a:gd name="connsiteY7675" fmla="*/ 5984567 h 7571036"/>
                  <a:gd name="connsiteX7676" fmla="*/ 2913986 w 6994525"/>
                  <a:gd name="connsiteY7676" fmla="*/ 5986784 h 7571036"/>
                  <a:gd name="connsiteX7677" fmla="*/ 2916207 w 6994525"/>
                  <a:gd name="connsiteY7677" fmla="*/ 5984567 h 7571036"/>
                  <a:gd name="connsiteX7678" fmla="*/ 2916208 w 6994525"/>
                  <a:gd name="connsiteY7678" fmla="*/ 6206733 h 7571036"/>
                  <a:gd name="connsiteX7679" fmla="*/ 2914235 w 6994525"/>
                  <a:gd name="connsiteY7679" fmla="*/ 6204760 h 7571036"/>
                  <a:gd name="connsiteX7680" fmla="*/ 2912262 w 6994525"/>
                  <a:gd name="connsiteY7680" fmla="*/ 6206733 h 7571036"/>
                  <a:gd name="connsiteX7681" fmla="*/ 2914235 w 6994525"/>
                  <a:gd name="connsiteY7681" fmla="*/ 6208706 h 7571036"/>
                  <a:gd name="connsiteX7682" fmla="*/ 2916208 w 6994525"/>
                  <a:gd name="connsiteY7682" fmla="*/ 6206733 h 7571036"/>
                  <a:gd name="connsiteX7683" fmla="*/ 2916701 w 6994525"/>
                  <a:gd name="connsiteY7683" fmla="*/ 6095526 h 7571036"/>
                  <a:gd name="connsiteX7684" fmla="*/ 2913989 w 6994525"/>
                  <a:gd name="connsiteY7684" fmla="*/ 6092813 h 7571036"/>
                  <a:gd name="connsiteX7685" fmla="*/ 2911276 w 6994525"/>
                  <a:gd name="connsiteY7685" fmla="*/ 6095526 h 7571036"/>
                  <a:gd name="connsiteX7686" fmla="*/ 2913989 w 6994525"/>
                  <a:gd name="connsiteY7686" fmla="*/ 6098239 h 7571036"/>
                  <a:gd name="connsiteX7687" fmla="*/ 2916701 w 6994525"/>
                  <a:gd name="connsiteY7687" fmla="*/ 6095526 h 7571036"/>
                  <a:gd name="connsiteX7688" fmla="*/ 2917710 w 6994525"/>
                  <a:gd name="connsiteY7688" fmla="*/ 0 h 7571036"/>
                  <a:gd name="connsiteX7689" fmla="*/ 2900853 w 6994525"/>
                  <a:gd name="connsiteY7689" fmla="*/ 0 h 7571036"/>
                  <a:gd name="connsiteX7690" fmla="*/ 2909303 w 6994525"/>
                  <a:gd name="connsiteY7690" fmla="*/ 3490 h 7571036"/>
                  <a:gd name="connsiteX7691" fmla="*/ 2918426 w 6994525"/>
                  <a:gd name="connsiteY7691" fmla="*/ 6648102 h 7571036"/>
                  <a:gd name="connsiteX7692" fmla="*/ 2911523 w 6994525"/>
                  <a:gd name="connsiteY7692" fmla="*/ 6641198 h 7571036"/>
                  <a:gd name="connsiteX7693" fmla="*/ 2904618 w 6994525"/>
                  <a:gd name="connsiteY7693" fmla="*/ 6648102 h 7571036"/>
                  <a:gd name="connsiteX7694" fmla="*/ 2911523 w 6994525"/>
                  <a:gd name="connsiteY7694" fmla="*/ 6655006 h 7571036"/>
                  <a:gd name="connsiteX7695" fmla="*/ 2918426 w 6994525"/>
                  <a:gd name="connsiteY7695" fmla="*/ 6648102 h 7571036"/>
                  <a:gd name="connsiteX7696" fmla="*/ 2918429 w 6994525"/>
                  <a:gd name="connsiteY7696" fmla="*/ 6758323 h 7571036"/>
                  <a:gd name="connsiteX7697" fmla="*/ 2911770 w 6994525"/>
                  <a:gd name="connsiteY7697" fmla="*/ 6751664 h 7571036"/>
                  <a:gd name="connsiteX7698" fmla="*/ 2905113 w 6994525"/>
                  <a:gd name="connsiteY7698" fmla="*/ 6758323 h 7571036"/>
                  <a:gd name="connsiteX7699" fmla="*/ 2911770 w 6994525"/>
                  <a:gd name="connsiteY7699" fmla="*/ 6764980 h 7571036"/>
                  <a:gd name="connsiteX7700" fmla="*/ 2918429 w 6994525"/>
                  <a:gd name="connsiteY7700" fmla="*/ 6758323 h 7571036"/>
                  <a:gd name="connsiteX7701" fmla="*/ 2918917 w 6994525"/>
                  <a:gd name="connsiteY7701" fmla="*/ 5761416 h 7571036"/>
                  <a:gd name="connsiteX7702" fmla="*/ 2913739 w 6994525"/>
                  <a:gd name="connsiteY7702" fmla="*/ 5756238 h 7571036"/>
                  <a:gd name="connsiteX7703" fmla="*/ 2908563 w 6994525"/>
                  <a:gd name="connsiteY7703" fmla="*/ 5761416 h 7571036"/>
                  <a:gd name="connsiteX7704" fmla="*/ 2913739 w 6994525"/>
                  <a:gd name="connsiteY7704" fmla="*/ 5766596 h 7571036"/>
                  <a:gd name="connsiteX7705" fmla="*/ 2918917 w 6994525"/>
                  <a:gd name="connsiteY7705" fmla="*/ 5761416 h 7571036"/>
                  <a:gd name="connsiteX7706" fmla="*/ 2919660 w 6994525"/>
                  <a:gd name="connsiteY7706" fmla="*/ 6868297 h 7571036"/>
                  <a:gd name="connsiteX7707" fmla="*/ 2912016 w 6994525"/>
                  <a:gd name="connsiteY7707" fmla="*/ 6860651 h 7571036"/>
                  <a:gd name="connsiteX7708" fmla="*/ 2904371 w 6994525"/>
                  <a:gd name="connsiteY7708" fmla="*/ 6868297 h 7571036"/>
                  <a:gd name="connsiteX7709" fmla="*/ 2912016 w 6994525"/>
                  <a:gd name="connsiteY7709" fmla="*/ 6875938 h 7571036"/>
                  <a:gd name="connsiteX7710" fmla="*/ 2919660 w 6994525"/>
                  <a:gd name="connsiteY7710" fmla="*/ 6868297 h 7571036"/>
                  <a:gd name="connsiteX7711" fmla="*/ 2920399 w 6994525"/>
                  <a:gd name="connsiteY7711" fmla="*/ 2363148 h 7571036"/>
                  <a:gd name="connsiteX7712" fmla="*/ 2879468 w 6994525"/>
                  <a:gd name="connsiteY7712" fmla="*/ 2322213 h 7571036"/>
                  <a:gd name="connsiteX7713" fmla="*/ 2838290 w 6994525"/>
                  <a:gd name="connsiteY7713" fmla="*/ 2363148 h 7571036"/>
                  <a:gd name="connsiteX7714" fmla="*/ 2879468 w 6994525"/>
                  <a:gd name="connsiteY7714" fmla="*/ 2404325 h 7571036"/>
                  <a:gd name="connsiteX7715" fmla="*/ 2920399 w 6994525"/>
                  <a:gd name="connsiteY7715" fmla="*/ 2363148 h 7571036"/>
                  <a:gd name="connsiteX7716" fmla="*/ 2922617 w 6994525"/>
                  <a:gd name="connsiteY7716" fmla="*/ 2741130 h 7571036"/>
                  <a:gd name="connsiteX7717" fmla="*/ 2897959 w 6994525"/>
                  <a:gd name="connsiteY7717" fmla="*/ 2716473 h 7571036"/>
                  <a:gd name="connsiteX7718" fmla="*/ 2873302 w 6994525"/>
                  <a:gd name="connsiteY7718" fmla="*/ 2741130 h 7571036"/>
                  <a:gd name="connsiteX7719" fmla="*/ 2897959 w 6994525"/>
                  <a:gd name="connsiteY7719" fmla="*/ 2765789 h 7571036"/>
                  <a:gd name="connsiteX7720" fmla="*/ 2922617 w 6994525"/>
                  <a:gd name="connsiteY7720" fmla="*/ 2741130 h 7571036"/>
                  <a:gd name="connsiteX7721" fmla="*/ 2922864 w 6994525"/>
                  <a:gd name="connsiteY7721" fmla="*/ 6427911 h 7571036"/>
                  <a:gd name="connsiteX7722" fmla="*/ 2914480 w 6994525"/>
                  <a:gd name="connsiteY7722" fmla="*/ 6419525 h 7571036"/>
                  <a:gd name="connsiteX7723" fmla="*/ 2906098 w 6994525"/>
                  <a:gd name="connsiteY7723" fmla="*/ 6427911 h 7571036"/>
                  <a:gd name="connsiteX7724" fmla="*/ 2914480 w 6994525"/>
                  <a:gd name="connsiteY7724" fmla="*/ 6436293 h 7571036"/>
                  <a:gd name="connsiteX7725" fmla="*/ 2922864 w 6994525"/>
                  <a:gd name="connsiteY7725" fmla="*/ 6427911 h 7571036"/>
                  <a:gd name="connsiteX7726" fmla="*/ 2923852 w 6994525"/>
                  <a:gd name="connsiteY7726" fmla="*/ 6317445 h 7571036"/>
                  <a:gd name="connsiteX7727" fmla="*/ 2914483 w 6994525"/>
                  <a:gd name="connsiteY7727" fmla="*/ 6308073 h 7571036"/>
                  <a:gd name="connsiteX7728" fmla="*/ 2905113 w 6994525"/>
                  <a:gd name="connsiteY7728" fmla="*/ 6317445 h 7571036"/>
                  <a:gd name="connsiteX7729" fmla="*/ 2914483 w 6994525"/>
                  <a:gd name="connsiteY7729" fmla="*/ 6326813 h 7571036"/>
                  <a:gd name="connsiteX7730" fmla="*/ 2923852 w 6994525"/>
                  <a:gd name="connsiteY7730" fmla="*/ 6317445 h 7571036"/>
                  <a:gd name="connsiteX7731" fmla="*/ 2929029 w 6994525"/>
                  <a:gd name="connsiteY7731" fmla="*/ 3307749 h 7571036"/>
                  <a:gd name="connsiteX7732" fmla="*/ 2893523 w 6994525"/>
                  <a:gd name="connsiteY7732" fmla="*/ 3272244 h 7571036"/>
                  <a:gd name="connsiteX7733" fmla="*/ 2858015 w 6994525"/>
                  <a:gd name="connsiteY7733" fmla="*/ 3307749 h 7571036"/>
                  <a:gd name="connsiteX7734" fmla="*/ 2893523 w 6994525"/>
                  <a:gd name="connsiteY7734" fmla="*/ 3343257 h 7571036"/>
                  <a:gd name="connsiteX7735" fmla="*/ 2929029 w 6994525"/>
                  <a:gd name="connsiteY7735" fmla="*/ 3307749 h 7571036"/>
                  <a:gd name="connsiteX7736" fmla="*/ 2931741 w 6994525"/>
                  <a:gd name="connsiteY7736" fmla="*/ 1643961 h 7571036"/>
                  <a:gd name="connsiteX7737" fmla="*/ 2915961 w 6994525"/>
                  <a:gd name="connsiteY7737" fmla="*/ 1628178 h 7571036"/>
                  <a:gd name="connsiteX7738" fmla="*/ 2900180 w 6994525"/>
                  <a:gd name="connsiteY7738" fmla="*/ 1643961 h 7571036"/>
                  <a:gd name="connsiteX7739" fmla="*/ 2915961 w 6994525"/>
                  <a:gd name="connsiteY7739" fmla="*/ 1659738 h 7571036"/>
                  <a:gd name="connsiteX7740" fmla="*/ 2931741 w 6994525"/>
                  <a:gd name="connsiteY7740" fmla="*/ 1643961 h 7571036"/>
                  <a:gd name="connsiteX7741" fmla="*/ 2931742 w 6994525"/>
                  <a:gd name="connsiteY7741" fmla="*/ 2875509 h 7571036"/>
                  <a:gd name="connsiteX7742" fmla="*/ 2909058 w 6994525"/>
                  <a:gd name="connsiteY7742" fmla="*/ 2852824 h 7571036"/>
                  <a:gd name="connsiteX7743" fmla="*/ 2886373 w 6994525"/>
                  <a:gd name="connsiteY7743" fmla="*/ 2875509 h 7571036"/>
                  <a:gd name="connsiteX7744" fmla="*/ 2909058 w 6994525"/>
                  <a:gd name="connsiteY7744" fmla="*/ 2898194 h 7571036"/>
                  <a:gd name="connsiteX7745" fmla="*/ 2931742 w 6994525"/>
                  <a:gd name="connsiteY7745" fmla="*/ 2875509 h 7571036"/>
                  <a:gd name="connsiteX7746" fmla="*/ 2933469 w 6994525"/>
                  <a:gd name="connsiteY7746" fmla="*/ 417889 h 7571036"/>
                  <a:gd name="connsiteX7747" fmla="*/ 2908317 w 6994525"/>
                  <a:gd name="connsiteY7747" fmla="*/ 392737 h 7571036"/>
                  <a:gd name="connsiteX7748" fmla="*/ 2883414 w 6994525"/>
                  <a:gd name="connsiteY7748" fmla="*/ 417889 h 7571036"/>
                  <a:gd name="connsiteX7749" fmla="*/ 2908317 w 6994525"/>
                  <a:gd name="connsiteY7749" fmla="*/ 443036 h 7571036"/>
                  <a:gd name="connsiteX7750" fmla="*/ 2933469 w 6994525"/>
                  <a:gd name="connsiteY7750" fmla="*/ 417889 h 7571036"/>
                  <a:gd name="connsiteX7751" fmla="*/ 2933714 w 6994525"/>
                  <a:gd name="connsiteY7751" fmla="*/ 5425332 h 7571036"/>
                  <a:gd name="connsiteX7752" fmla="*/ 2918425 w 6994525"/>
                  <a:gd name="connsiteY7752" fmla="*/ 5410045 h 7571036"/>
                  <a:gd name="connsiteX7753" fmla="*/ 2903139 w 6994525"/>
                  <a:gd name="connsiteY7753" fmla="*/ 5425332 h 7571036"/>
                  <a:gd name="connsiteX7754" fmla="*/ 2918425 w 6994525"/>
                  <a:gd name="connsiteY7754" fmla="*/ 5440620 h 7571036"/>
                  <a:gd name="connsiteX7755" fmla="*/ 2933714 w 6994525"/>
                  <a:gd name="connsiteY7755" fmla="*/ 5425332 h 7571036"/>
                  <a:gd name="connsiteX7756" fmla="*/ 2933960 w 6994525"/>
                  <a:gd name="connsiteY7756" fmla="*/ 307690 h 7571036"/>
                  <a:gd name="connsiteX7757" fmla="*/ 2908563 w 6994525"/>
                  <a:gd name="connsiteY7757" fmla="*/ 282294 h 7571036"/>
                  <a:gd name="connsiteX7758" fmla="*/ 2883165 w 6994525"/>
                  <a:gd name="connsiteY7758" fmla="*/ 307690 h 7571036"/>
                  <a:gd name="connsiteX7759" fmla="*/ 2908563 w 6994525"/>
                  <a:gd name="connsiteY7759" fmla="*/ 333085 h 7571036"/>
                  <a:gd name="connsiteX7760" fmla="*/ 2933960 w 6994525"/>
                  <a:gd name="connsiteY7760" fmla="*/ 307690 h 7571036"/>
                  <a:gd name="connsiteX7761" fmla="*/ 2933961 w 6994525"/>
                  <a:gd name="connsiteY7761" fmla="*/ 2485937 h 7571036"/>
                  <a:gd name="connsiteX7762" fmla="*/ 2883906 w 6994525"/>
                  <a:gd name="connsiteY7762" fmla="*/ 2435882 h 7571036"/>
                  <a:gd name="connsiteX7763" fmla="*/ 2833850 w 6994525"/>
                  <a:gd name="connsiteY7763" fmla="*/ 2485937 h 7571036"/>
                  <a:gd name="connsiteX7764" fmla="*/ 2883906 w 6994525"/>
                  <a:gd name="connsiteY7764" fmla="*/ 2535990 h 7571036"/>
                  <a:gd name="connsiteX7765" fmla="*/ 2933961 w 6994525"/>
                  <a:gd name="connsiteY7765" fmla="*/ 2485937 h 7571036"/>
                  <a:gd name="connsiteX7766" fmla="*/ 2935193 w 6994525"/>
                  <a:gd name="connsiteY7766" fmla="*/ 87547 h 7571036"/>
                  <a:gd name="connsiteX7767" fmla="*/ 2909055 w 6994525"/>
                  <a:gd name="connsiteY7767" fmla="*/ 61412 h 7571036"/>
                  <a:gd name="connsiteX7768" fmla="*/ 2882920 w 6994525"/>
                  <a:gd name="connsiteY7768" fmla="*/ 87547 h 7571036"/>
                  <a:gd name="connsiteX7769" fmla="*/ 2909055 w 6994525"/>
                  <a:gd name="connsiteY7769" fmla="*/ 113683 h 7571036"/>
                  <a:gd name="connsiteX7770" fmla="*/ 2935193 w 6994525"/>
                  <a:gd name="connsiteY7770" fmla="*/ 87547 h 7571036"/>
                  <a:gd name="connsiteX7771" fmla="*/ 2935441 w 6994525"/>
                  <a:gd name="connsiteY7771" fmla="*/ 3647522 h 7571036"/>
                  <a:gd name="connsiteX7772" fmla="*/ 2893768 w 6994525"/>
                  <a:gd name="connsiteY7772" fmla="*/ 3605851 h 7571036"/>
                  <a:gd name="connsiteX7773" fmla="*/ 2852098 w 6994525"/>
                  <a:gd name="connsiteY7773" fmla="*/ 3647522 h 7571036"/>
                  <a:gd name="connsiteX7774" fmla="*/ 2893768 w 6994525"/>
                  <a:gd name="connsiteY7774" fmla="*/ 3689196 h 7571036"/>
                  <a:gd name="connsiteX7775" fmla="*/ 2935441 w 6994525"/>
                  <a:gd name="connsiteY7775" fmla="*/ 3647522 h 7571036"/>
                  <a:gd name="connsiteX7776" fmla="*/ 2935441 w 6994525"/>
                  <a:gd name="connsiteY7776" fmla="*/ 3891385 h 7571036"/>
                  <a:gd name="connsiteX7777" fmla="*/ 2890810 w 6994525"/>
                  <a:gd name="connsiteY7777" fmla="*/ 3846756 h 7571036"/>
                  <a:gd name="connsiteX7778" fmla="*/ 2846180 w 6994525"/>
                  <a:gd name="connsiteY7778" fmla="*/ 3891385 h 7571036"/>
                  <a:gd name="connsiteX7779" fmla="*/ 2890810 w 6994525"/>
                  <a:gd name="connsiteY7779" fmla="*/ 3936015 h 7571036"/>
                  <a:gd name="connsiteX7780" fmla="*/ 2935441 w 6994525"/>
                  <a:gd name="connsiteY7780" fmla="*/ 3891385 h 7571036"/>
                  <a:gd name="connsiteX7781" fmla="*/ 2935442 w 6994525"/>
                  <a:gd name="connsiteY7781" fmla="*/ 1872028 h 7571036"/>
                  <a:gd name="connsiteX7782" fmla="*/ 2917688 w 6994525"/>
                  <a:gd name="connsiteY7782" fmla="*/ 1854280 h 7571036"/>
                  <a:gd name="connsiteX7783" fmla="*/ 2899935 w 6994525"/>
                  <a:gd name="connsiteY7783" fmla="*/ 1872028 h 7571036"/>
                  <a:gd name="connsiteX7784" fmla="*/ 2917688 w 6994525"/>
                  <a:gd name="connsiteY7784" fmla="*/ 1889777 h 7571036"/>
                  <a:gd name="connsiteX7785" fmla="*/ 2935442 w 6994525"/>
                  <a:gd name="connsiteY7785" fmla="*/ 1872028 h 7571036"/>
                  <a:gd name="connsiteX7786" fmla="*/ 2935686 w 6994525"/>
                  <a:gd name="connsiteY7786" fmla="*/ 1530547 h 7571036"/>
                  <a:gd name="connsiteX7787" fmla="*/ 2915713 w 6994525"/>
                  <a:gd name="connsiteY7787" fmla="*/ 1510574 h 7571036"/>
                  <a:gd name="connsiteX7788" fmla="*/ 2895741 w 6994525"/>
                  <a:gd name="connsiteY7788" fmla="*/ 1530547 h 7571036"/>
                  <a:gd name="connsiteX7789" fmla="*/ 2915713 w 6994525"/>
                  <a:gd name="connsiteY7789" fmla="*/ 1550520 h 7571036"/>
                  <a:gd name="connsiteX7790" fmla="*/ 2935686 w 6994525"/>
                  <a:gd name="connsiteY7790" fmla="*/ 1530547 h 7571036"/>
                  <a:gd name="connsiteX7791" fmla="*/ 2935932 w 6994525"/>
                  <a:gd name="connsiteY7791" fmla="*/ 197495 h 7571036"/>
                  <a:gd name="connsiteX7792" fmla="*/ 2909303 w 6994525"/>
                  <a:gd name="connsiteY7792" fmla="*/ 170867 h 7571036"/>
                  <a:gd name="connsiteX7793" fmla="*/ 2882673 w 6994525"/>
                  <a:gd name="connsiteY7793" fmla="*/ 197495 h 7571036"/>
                  <a:gd name="connsiteX7794" fmla="*/ 2909303 w 6994525"/>
                  <a:gd name="connsiteY7794" fmla="*/ 224124 h 7571036"/>
                  <a:gd name="connsiteX7795" fmla="*/ 2935932 w 6994525"/>
                  <a:gd name="connsiteY7795" fmla="*/ 197495 h 7571036"/>
                  <a:gd name="connsiteX7796" fmla="*/ 2938401 w 6994525"/>
                  <a:gd name="connsiteY7796" fmla="*/ 1757627 h 7571036"/>
                  <a:gd name="connsiteX7797" fmla="*/ 2916702 w 6994525"/>
                  <a:gd name="connsiteY7797" fmla="*/ 1735918 h 7571036"/>
                  <a:gd name="connsiteX7798" fmla="*/ 2895003 w 6994525"/>
                  <a:gd name="connsiteY7798" fmla="*/ 1757627 h 7571036"/>
                  <a:gd name="connsiteX7799" fmla="*/ 2916702 w 6994525"/>
                  <a:gd name="connsiteY7799" fmla="*/ 1779335 h 7571036"/>
                  <a:gd name="connsiteX7800" fmla="*/ 2938401 w 6994525"/>
                  <a:gd name="connsiteY7800" fmla="*/ 1757627 h 7571036"/>
                  <a:gd name="connsiteX7801" fmla="*/ 2940616 w 6994525"/>
                  <a:gd name="connsiteY7801" fmla="*/ 1417879 h 7571036"/>
                  <a:gd name="connsiteX7802" fmla="*/ 2915220 w 6994525"/>
                  <a:gd name="connsiteY7802" fmla="*/ 1392478 h 7571036"/>
                  <a:gd name="connsiteX7803" fmla="*/ 2889823 w 6994525"/>
                  <a:gd name="connsiteY7803" fmla="*/ 1417879 h 7571036"/>
                  <a:gd name="connsiteX7804" fmla="*/ 2915220 w 6994525"/>
                  <a:gd name="connsiteY7804" fmla="*/ 1443270 h 7571036"/>
                  <a:gd name="connsiteX7805" fmla="*/ 2940616 w 6994525"/>
                  <a:gd name="connsiteY7805" fmla="*/ 1417879 h 7571036"/>
                  <a:gd name="connsiteX7806" fmla="*/ 2941851 w 6994525"/>
                  <a:gd name="connsiteY7806" fmla="*/ 4852045 h 7571036"/>
                  <a:gd name="connsiteX7807" fmla="*/ 2921139 w 6994525"/>
                  <a:gd name="connsiteY7807" fmla="*/ 4831332 h 7571036"/>
                  <a:gd name="connsiteX7808" fmla="*/ 2900427 w 6994525"/>
                  <a:gd name="connsiteY7808" fmla="*/ 4852045 h 7571036"/>
                  <a:gd name="connsiteX7809" fmla="*/ 2921139 w 6994525"/>
                  <a:gd name="connsiteY7809" fmla="*/ 4872757 h 7571036"/>
                  <a:gd name="connsiteX7810" fmla="*/ 2941851 w 6994525"/>
                  <a:gd name="connsiteY7810" fmla="*/ 4852045 h 7571036"/>
                  <a:gd name="connsiteX7811" fmla="*/ 2942096 w 6994525"/>
                  <a:gd name="connsiteY7811" fmla="*/ 4737633 h 7571036"/>
                  <a:gd name="connsiteX7812" fmla="*/ 2929276 w 6994525"/>
                  <a:gd name="connsiteY7812" fmla="*/ 4724811 h 7571036"/>
                  <a:gd name="connsiteX7813" fmla="*/ 2916453 w 6994525"/>
                  <a:gd name="connsiteY7813" fmla="*/ 4737633 h 7571036"/>
                  <a:gd name="connsiteX7814" fmla="*/ 2929276 w 6994525"/>
                  <a:gd name="connsiteY7814" fmla="*/ 4750455 h 7571036"/>
                  <a:gd name="connsiteX7815" fmla="*/ 2942096 w 6994525"/>
                  <a:gd name="connsiteY7815" fmla="*/ 4737633 h 7571036"/>
                  <a:gd name="connsiteX7816" fmla="*/ 2943330 w 6994525"/>
                  <a:gd name="connsiteY7816" fmla="*/ 3017041 h 7571036"/>
                  <a:gd name="connsiteX7817" fmla="*/ 2925825 w 6994525"/>
                  <a:gd name="connsiteY7817" fmla="*/ 2999533 h 7571036"/>
                  <a:gd name="connsiteX7818" fmla="*/ 2908317 w 6994525"/>
                  <a:gd name="connsiteY7818" fmla="*/ 3017041 h 7571036"/>
                  <a:gd name="connsiteX7819" fmla="*/ 2925825 w 6994525"/>
                  <a:gd name="connsiteY7819" fmla="*/ 3034546 h 7571036"/>
                  <a:gd name="connsiteX7820" fmla="*/ 2943330 w 6994525"/>
                  <a:gd name="connsiteY7820" fmla="*/ 3017041 h 7571036"/>
                  <a:gd name="connsiteX7821" fmla="*/ 2944318 w 6994525"/>
                  <a:gd name="connsiteY7821" fmla="*/ 5312157 h 7571036"/>
                  <a:gd name="connsiteX7822" fmla="*/ 2918675 w 6994525"/>
                  <a:gd name="connsiteY7822" fmla="*/ 5286512 h 7571036"/>
                  <a:gd name="connsiteX7823" fmla="*/ 2893030 w 6994525"/>
                  <a:gd name="connsiteY7823" fmla="*/ 5312157 h 7571036"/>
                  <a:gd name="connsiteX7824" fmla="*/ 2918675 w 6994525"/>
                  <a:gd name="connsiteY7824" fmla="*/ 5337801 h 7571036"/>
                  <a:gd name="connsiteX7825" fmla="*/ 2944318 w 6994525"/>
                  <a:gd name="connsiteY7825" fmla="*/ 5312157 h 7571036"/>
                  <a:gd name="connsiteX7826" fmla="*/ 2945796 w 6994525"/>
                  <a:gd name="connsiteY7826" fmla="*/ 5083826 h 7571036"/>
                  <a:gd name="connsiteX7827" fmla="*/ 2919658 w 6994525"/>
                  <a:gd name="connsiteY7827" fmla="*/ 5057690 h 7571036"/>
                  <a:gd name="connsiteX7828" fmla="*/ 2893523 w 6994525"/>
                  <a:gd name="connsiteY7828" fmla="*/ 5083826 h 7571036"/>
                  <a:gd name="connsiteX7829" fmla="*/ 2919658 w 6994525"/>
                  <a:gd name="connsiteY7829" fmla="*/ 5109965 h 7571036"/>
                  <a:gd name="connsiteX7830" fmla="*/ 2945796 w 6994525"/>
                  <a:gd name="connsiteY7830" fmla="*/ 5083826 h 7571036"/>
                  <a:gd name="connsiteX7831" fmla="*/ 2954672 w 6994525"/>
                  <a:gd name="connsiteY7831" fmla="*/ 1987383 h 7571036"/>
                  <a:gd name="connsiteX7832" fmla="*/ 2918671 w 6994525"/>
                  <a:gd name="connsiteY7832" fmla="*/ 1951393 h 7571036"/>
                  <a:gd name="connsiteX7833" fmla="*/ 2882673 w 6994525"/>
                  <a:gd name="connsiteY7833" fmla="*/ 1987383 h 7571036"/>
                  <a:gd name="connsiteX7834" fmla="*/ 2918671 w 6994525"/>
                  <a:gd name="connsiteY7834" fmla="*/ 2023378 h 7571036"/>
                  <a:gd name="connsiteX7835" fmla="*/ 2954672 w 6994525"/>
                  <a:gd name="connsiteY7835" fmla="*/ 1987383 h 7571036"/>
                  <a:gd name="connsiteX7836" fmla="*/ 2958618 w 6994525"/>
                  <a:gd name="connsiteY7836" fmla="*/ 2103518 h 7571036"/>
                  <a:gd name="connsiteX7837" fmla="*/ 2919661 w 6994525"/>
                  <a:gd name="connsiteY7837" fmla="*/ 2064555 h 7571036"/>
                  <a:gd name="connsiteX7838" fmla="*/ 2880700 w 6994525"/>
                  <a:gd name="connsiteY7838" fmla="*/ 2103518 h 7571036"/>
                  <a:gd name="connsiteX7839" fmla="*/ 2919661 w 6994525"/>
                  <a:gd name="connsiteY7839" fmla="*/ 2142479 h 7571036"/>
                  <a:gd name="connsiteX7840" fmla="*/ 2958618 w 6994525"/>
                  <a:gd name="connsiteY7840" fmla="*/ 2103518 h 7571036"/>
                  <a:gd name="connsiteX7841" fmla="*/ 2964536 w 6994525"/>
                  <a:gd name="connsiteY7841" fmla="*/ 4498211 h 7571036"/>
                  <a:gd name="connsiteX7842" fmla="*/ 2934455 w 6994525"/>
                  <a:gd name="connsiteY7842" fmla="*/ 4468127 h 7571036"/>
                  <a:gd name="connsiteX7843" fmla="*/ 2904371 w 6994525"/>
                  <a:gd name="connsiteY7843" fmla="*/ 4498211 h 7571036"/>
                  <a:gd name="connsiteX7844" fmla="*/ 2934455 w 6994525"/>
                  <a:gd name="connsiteY7844" fmla="*/ 4528292 h 7571036"/>
                  <a:gd name="connsiteX7845" fmla="*/ 2964536 w 6994525"/>
                  <a:gd name="connsiteY7845" fmla="*/ 4498211 h 7571036"/>
                  <a:gd name="connsiteX7846" fmla="*/ 2965027 w 6994525"/>
                  <a:gd name="connsiteY7846" fmla="*/ 4619032 h 7571036"/>
                  <a:gd name="connsiteX7847" fmla="*/ 2931493 w 6994525"/>
                  <a:gd name="connsiteY7847" fmla="*/ 4585496 h 7571036"/>
                  <a:gd name="connsiteX7848" fmla="*/ 2897959 w 6994525"/>
                  <a:gd name="connsiteY7848" fmla="*/ 4619032 h 7571036"/>
                  <a:gd name="connsiteX7849" fmla="*/ 2931493 w 6994525"/>
                  <a:gd name="connsiteY7849" fmla="*/ 4652566 h 7571036"/>
                  <a:gd name="connsiteX7850" fmla="*/ 2965027 w 6994525"/>
                  <a:gd name="connsiteY7850" fmla="*/ 4619032 h 7571036"/>
                  <a:gd name="connsiteX7851" fmla="*/ 2965522 w 6994525"/>
                  <a:gd name="connsiteY7851" fmla="*/ 4249167 h 7571036"/>
                  <a:gd name="connsiteX7852" fmla="*/ 2944070 w 6994525"/>
                  <a:gd name="connsiteY7852" fmla="*/ 4227469 h 7571036"/>
                  <a:gd name="connsiteX7853" fmla="*/ 2922617 w 6994525"/>
                  <a:gd name="connsiteY7853" fmla="*/ 4249167 h 7571036"/>
                  <a:gd name="connsiteX7854" fmla="*/ 2944070 w 6994525"/>
                  <a:gd name="connsiteY7854" fmla="*/ 4270621 h 7571036"/>
                  <a:gd name="connsiteX7855" fmla="*/ 2965522 w 6994525"/>
                  <a:gd name="connsiteY7855" fmla="*/ 4249167 h 7571036"/>
                  <a:gd name="connsiteX7856" fmla="*/ 2966263 w 6994525"/>
                  <a:gd name="connsiteY7856" fmla="*/ 4968428 h 7571036"/>
                  <a:gd name="connsiteX7857" fmla="*/ 2920152 w 6994525"/>
                  <a:gd name="connsiteY7857" fmla="*/ 4922318 h 7571036"/>
                  <a:gd name="connsiteX7858" fmla="*/ 2874042 w 6994525"/>
                  <a:gd name="connsiteY7858" fmla="*/ 4968428 h 7571036"/>
                  <a:gd name="connsiteX7859" fmla="*/ 2920152 w 6994525"/>
                  <a:gd name="connsiteY7859" fmla="*/ 5014785 h 7571036"/>
                  <a:gd name="connsiteX7860" fmla="*/ 2966263 w 6994525"/>
                  <a:gd name="connsiteY7860" fmla="*/ 4968428 h 7571036"/>
                  <a:gd name="connsiteX7861" fmla="*/ 2966508 w 6994525"/>
                  <a:gd name="connsiteY7861" fmla="*/ 4118481 h 7571036"/>
                  <a:gd name="connsiteX7862" fmla="*/ 2952454 w 6994525"/>
                  <a:gd name="connsiteY7862" fmla="*/ 4104181 h 7571036"/>
                  <a:gd name="connsiteX7863" fmla="*/ 2938152 w 6994525"/>
                  <a:gd name="connsiteY7863" fmla="*/ 4118481 h 7571036"/>
                  <a:gd name="connsiteX7864" fmla="*/ 2952454 w 6994525"/>
                  <a:gd name="connsiteY7864" fmla="*/ 4132784 h 7571036"/>
                  <a:gd name="connsiteX7865" fmla="*/ 2966508 w 6994525"/>
                  <a:gd name="connsiteY7865" fmla="*/ 4118481 h 7571036"/>
                  <a:gd name="connsiteX7866" fmla="*/ 2967741 w 6994525"/>
                  <a:gd name="connsiteY7866" fmla="*/ 3201229 h 7571036"/>
                  <a:gd name="connsiteX7867" fmla="*/ 2935193 w 6994525"/>
                  <a:gd name="connsiteY7867" fmla="*/ 3168681 h 7571036"/>
                  <a:gd name="connsiteX7868" fmla="*/ 2902645 w 6994525"/>
                  <a:gd name="connsiteY7868" fmla="*/ 3201229 h 7571036"/>
                  <a:gd name="connsiteX7869" fmla="*/ 2935193 w 6994525"/>
                  <a:gd name="connsiteY7869" fmla="*/ 3233778 h 7571036"/>
                  <a:gd name="connsiteX7870" fmla="*/ 2967741 w 6994525"/>
                  <a:gd name="connsiteY7870" fmla="*/ 3201229 h 7571036"/>
                  <a:gd name="connsiteX7871" fmla="*/ 2967741 w 6994525"/>
                  <a:gd name="connsiteY7871" fmla="*/ 4375415 h 7571036"/>
                  <a:gd name="connsiteX7872" fmla="*/ 2938643 w 6994525"/>
                  <a:gd name="connsiteY7872" fmla="*/ 4346318 h 7571036"/>
                  <a:gd name="connsiteX7873" fmla="*/ 2909549 w 6994525"/>
                  <a:gd name="connsiteY7873" fmla="*/ 4375415 h 7571036"/>
                  <a:gd name="connsiteX7874" fmla="*/ 2938643 w 6994525"/>
                  <a:gd name="connsiteY7874" fmla="*/ 4404509 h 7571036"/>
                  <a:gd name="connsiteX7875" fmla="*/ 2967741 w 6994525"/>
                  <a:gd name="connsiteY7875" fmla="*/ 4375415 h 7571036"/>
                  <a:gd name="connsiteX7876" fmla="*/ 2977851 w 6994525"/>
                  <a:gd name="connsiteY7876" fmla="*/ 3754044 h 7571036"/>
                  <a:gd name="connsiteX7877" fmla="*/ 2935192 w 6994525"/>
                  <a:gd name="connsiteY7877" fmla="*/ 3711387 h 7571036"/>
                  <a:gd name="connsiteX7878" fmla="*/ 2892536 w 6994525"/>
                  <a:gd name="connsiteY7878" fmla="*/ 3754044 h 7571036"/>
                  <a:gd name="connsiteX7879" fmla="*/ 2935192 w 6994525"/>
                  <a:gd name="connsiteY7879" fmla="*/ 3796950 h 7571036"/>
                  <a:gd name="connsiteX7880" fmla="*/ 2977851 w 6994525"/>
                  <a:gd name="connsiteY7880" fmla="*/ 3754044 h 7571036"/>
                  <a:gd name="connsiteX7881" fmla="*/ 2989439 w 6994525"/>
                  <a:gd name="connsiteY7881" fmla="*/ 3477633 h 7571036"/>
                  <a:gd name="connsiteX7882" fmla="*/ 2978591 w 6994525"/>
                  <a:gd name="connsiteY7882" fmla="*/ 3466783 h 7571036"/>
                  <a:gd name="connsiteX7883" fmla="*/ 2967741 w 6994525"/>
                  <a:gd name="connsiteY7883" fmla="*/ 3477633 h 7571036"/>
                  <a:gd name="connsiteX7884" fmla="*/ 2978591 w 6994525"/>
                  <a:gd name="connsiteY7884" fmla="*/ 3488483 h 7571036"/>
                  <a:gd name="connsiteX7885" fmla="*/ 2989439 w 6994525"/>
                  <a:gd name="connsiteY7885" fmla="*/ 3477633 h 7571036"/>
                  <a:gd name="connsiteX7886" fmla="*/ 2991658 w 6994525"/>
                  <a:gd name="connsiteY7886" fmla="*/ 3363717 h 7571036"/>
                  <a:gd name="connsiteX7887" fmla="*/ 2991166 w 6994525"/>
                  <a:gd name="connsiteY7887" fmla="*/ 3363225 h 7571036"/>
                  <a:gd name="connsiteX7888" fmla="*/ 2990671 w 6994525"/>
                  <a:gd name="connsiteY7888" fmla="*/ 3363717 h 7571036"/>
                  <a:gd name="connsiteX7889" fmla="*/ 2991166 w 6994525"/>
                  <a:gd name="connsiteY7889" fmla="*/ 3364211 h 7571036"/>
                  <a:gd name="connsiteX7890" fmla="*/ 2991658 w 6994525"/>
                  <a:gd name="connsiteY7890" fmla="*/ 3363717 h 7571036"/>
                  <a:gd name="connsiteX7891" fmla="*/ 2992401 w 6994525"/>
                  <a:gd name="connsiteY7891" fmla="*/ 1070003 h 7571036"/>
                  <a:gd name="connsiteX7892" fmla="*/ 2967495 w 6994525"/>
                  <a:gd name="connsiteY7892" fmla="*/ 1045098 h 7571036"/>
                  <a:gd name="connsiteX7893" fmla="*/ 2942592 w 6994525"/>
                  <a:gd name="connsiteY7893" fmla="*/ 1070003 h 7571036"/>
                  <a:gd name="connsiteX7894" fmla="*/ 2967495 w 6994525"/>
                  <a:gd name="connsiteY7894" fmla="*/ 1094908 h 7571036"/>
                  <a:gd name="connsiteX7895" fmla="*/ 2992401 w 6994525"/>
                  <a:gd name="connsiteY7895" fmla="*/ 1070003 h 7571036"/>
                  <a:gd name="connsiteX7896" fmla="*/ 2994617 w 6994525"/>
                  <a:gd name="connsiteY7896" fmla="*/ 848118 h 7571036"/>
                  <a:gd name="connsiteX7897" fmla="*/ 2968727 w 6994525"/>
                  <a:gd name="connsiteY7897" fmla="*/ 822228 h 7571036"/>
                  <a:gd name="connsiteX7898" fmla="*/ 2942838 w 6994525"/>
                  <a:gd name="connsiteY7898" fmla="*/ 848118 h 7571036"/>
                  <a:gd name="connsiteX7899" fmla="*/ 2968727 w 6994525"/>
                  <a:gd name="connsiteY7899" fmla="*/ 874001 h 7571036"/>
                  <a:gd name="connsiteX7900" fmla="*/ 2994617 w 6994525"/>
                  <a:gd name="connsiteY7900" fmla="*/ 848118 h 7571036"/>
                  <a:gd name="connsiteX7901" fmla="*/ 2994865 w 6994525"/>
                  <a:gd name="connsiteY7901" fmla="*/ 959062 h 7571036"/>
                  <a:gd name="connsiteX7902" fmla="*/ 2967743 w 6994525"/>
                  <a:gd name="connsiteY7902" fmla="*/ 931931 h 7571036"/>
                  <a:gd name="connsiteX7903" fmla="*/ 2940619 w 6994525"/>
                  <a:gd name="connsiteY7903" fmla="*/ 959062 h 7571036"/>
                  <a:gd name="connsiteX7904" fmla="*/ 2967743 w 6994525"/>
                  <a:gd name="connsiteY7904" fmla="*/ 986182 h 7571036"/>
                  <a:gd name="connsiteX7905" fmla="*/ 2994865 w 6994525"/>
                  <a:gd name="connsiteY7905" fmla="*/ 959062 h 7571036"/>
                  <a:gd name="connsiteX7906" fmla="*/ 2995606 w 6994525"/>
                  <a:gd name="connsiteY7906" fmla="*/ 1292622 h 7571036"/>
                  <a:gd name="connsiteX7907" fmla="*/ 2966755 w 6994525"/>
                  <a:gd name="connsiteY7907" fmla="*/ 1263771 h 7571036"/>
                  <a:gd name="connsiteX7908" fmla="*/ 2937906 w 6994525"/>
                  <a:gd name="connsiteY7908" fmla="*/ 1292622 h 7571036"/>
                  <a:gd name="connsiteX7909" fmla="*/ 2966755 w 6994525"/>
                  <a:gd name="connsiteY7909" fmla="*/ 1321473 h 7571036"/>
                  <a:gd name="connsiteX7910" fmla="*/ 2995606 w 6994525"/>
                  <a:gd name="connsiteY7910" fmla="*/ 1292622 h 7571036"/>
                  <a:gd name="connsiteX7911" fmla="*/ 2996095 w 6994525"/>
                  <a:gd name="connsiteY7911" fmla="*/ 1180944 h 7571036"/>
                  <a:gd name="connsiteX7912" fmla="*/ 2967246 w 6994525"/>
                  <a:gd name="connsiteY7912" fmla="*/ 1152097 h 7571036"/>
                  <a:gd name="connsiteX7913" fmla="*/ 2938398 w 6994525"/>
                  <a:gd name="connsiteY7913" fmla="*/ 1180944 h 7571036"/>
                  <a:gd name="connsiteX7914" fmla="*/ 2967246 w 6994525"/>
                  <a:gd name="connsiteY7914" fmla="*/ 1209795 h 7571036"/>
                  <a:gd name="connsiteX7915" fmla="*/ 2996095 w 6994525"/>
                  <a:gd name="connsiteY7915" fmla="*/ 1180944 h 7571036"/>
                  <a:gd name="connsiteX7916" fmla="*/ 2997577 w 6994525"/>
                  <a:gd name="connsiteY7916" fmla="*/ 517235 h 7571036"/>
                  <a:gd name="connsiteX7917" fmla="*/ 2969223 w 6994525"/>
                  <a:gd name="connsiteY7917" fmla="*/ 488879 h 7571036"/>
                  <a:gd name="connsiteX7918" fmla="*/ 2940865 w 6994525"/>
                  <a:gd name="connsiteY7918" fmla="*/ 517235 h 7571036"/>
                  <a:gd name="connsiteX7919" fmla="*/ 2969223 w 6994525"/>
                  <a:gd name="connsiteY7919" fmla="*/ 545588 h 7571036"/>
                  <a:gd name="connsiteX7920" fmla="*/ 2997577 w 6994525"/>
                  <a:gd name="connsiteY7920" fmla="*/ 517235 h 7571036"/>
                  <a:gd name="connsiteX7921" fmla="*/ 2997578 w 6994525"/>
                  <a:gd name="connsiteY7921" fmla="*/ 627185 h 7571036"/>
                  <a:gd name="connsiteX7922" fmla="*/ 2968976 w 6994525"/>
                  <a:gd name="connsiteY7922" fmla="*/ 598584 h 7571036"/>
                  <a:gd name="connsiteX7923" fmla="*/ 2940373 w 6994525"/>
                  <a:gd name="connsiteY7923" fmla="*/ 627185 h 7571036"/>
                  <a:gd name="connsiteX7924" fmla="*/ 2968976 w 6994525"/>
                  <a:gd name="connsiteY7924" fmla="*/ 655828 h 7571036"/>
                  <a:gd name="connsiteX7925" fmla="*/ 2997578 w 6994525"/>
                  <a:gd name="connsiteY7925" fmla="*/ 627185 h 7571036"/>
                  <a:gd name="connsiteX7926" fmla="*/ 2998070 w 6994525"/>
                  <a:gd name="connsiteY7926" fmla="*/ 737668 h 7571036"/>
                  <a:gd name="connsiteX7927" fmla="*/ 2968976 w 6994525"/>
                  <a:gd name="connsiteY7927" fmla="*/ 708571 h 7571036"/>
                  <a:gd name="connsiteX7928" fmla="*/ 2939879 w 6994525"/>
                  <a:gd name="connsiteY7928" fmla="*/ 737668 h 7571036"/>
                  <a:gd name="connsiteX7929" fmla="*/ 2968976 w 6994525"/>
                  <a:gd name="connsiteY7929" fmla="*/ 766767 h 7571036"/>
                  <a:gd name="connsiteX7930" fmla="*/ 2998070 w 6994525"/>
                  <a:gd name="connsiteY7930" fmla="*/ 737668 h 7571036"/>
                  <a:gd name="connsiteX7931" fmla="*/ 3009658 w 6994525"/>
                  <a:gd name="connsiteY7931" fmla="*/ 3982125 h 7571036"/>
                  <a:gd name="connsiteX7932" fmla="*/ 2965028 w 6994525"/>
                  <a:gd name="connsiteY7932" fmla="*/ 3937496 h 7571036"/>
                  <a:gd name="connsiteX7933" fmla="*/ 2920399 w 6994525"/>
                  <a:gd name="connsiteY7933" fmla="*/ 3982125 h 7571036"/>
                  <a:gd name="connsiteX7934" fmla="*/ 2965028 w 6994525"/>
                  <a:gd name="connsiteY7934" fmla="*/ 4026758 h 7571036"/>
                  <a:gd name="connsiteX7935" fmla="*/ 3009658 w 6994525"/>
                  <a:gd name="connsiteY7935" fmla="*/ 3982125 h 7571036"/>
                  <a:gd name="connsiteX7936" fmla="*/ 3018290 w 6994525"/>
                  <a:gd name="connsiteY7936" fmla="*/ 2932465 h 7571036"/>
                  <a:gd name="connsiteX7937" fmla="*/ 3006947 w 6994525"/>
                  <a:gd name="connsiteY7937" fmla="*/ 2921121 h 7571036"/>
                  <a:gd name="connsiteX7938" fmla="*/ 2995606 w 6994525"/>
                  <a:gd name="connsiteY7938" fmla="*/ 2932465 h 7571036"/>
                  <a:gd name="connsiteX7939" fmla="*/ 3006947 w 6994525"/>
                  <a:gd name="connsiteY7939" fmla="*/ 2943805 h 7571036"/>
                  <a:gd name="connsiteX7940" fmla="*/ 3018290 w 6994525"/>
                  <a:gd name="connsiteY7940" fmla="*/ 2932465 h 7571036"/>
                  <a:gd name="connsiteX7941" fmla="*/ 3019274 w 6994525"/>
                  <a:gd name="connsiteY7941" fmla="*/ 2673570 h 7571036"/>
                  <a:gd name="connsiteX7942" fmla="*/ 2992893 w 6994525"/>
                  <a:gd name="connsiteY7942" fmla="*/ 2647185 h 7571036"/>
                  <a:gd name="connsiteX7943" fmla="*/ 2966508 w 6994525"/>
                  <a:gd name="connsiteY7943" fmla="*/ 2673570 h 7571036"/>
                  <a:gd name="connsiteX7944" fmla="*/ 2992893 w 6994525"/>
                  <a:gd name="connsiteY7944" fmla="*/ 2699952 h 7571036"/>
                  <a:gd name="connsiteX7945" fmla="*/ 3019274 w 6994525"/>
                  <a:gd name="connsiteY7945" fmla="*/ 2673570 h 7571036"/>
                  <a:gd name="connsiteX7946" fmla="*/ 3019769 w 6994525"/>
                  <a:gd name="connsiteY7946" fmla="*/ 2800307 h 7571036"/>
                  <a:gd name="connsiteX7947" fmla="*/ 2998564 w 6994525"/>
                  <a:gd name="connsiteY7947" fmla="*/ 2779100 h 7571036"/>
                  <a:gd name="connsiteX7948" fmla="*/ 2977358 w 6994525"/>
                  <a:gd name="connsiteY7948" fmla="*/ 2800307 h 7571036"/>
                  <a:gd name="connsiteX7949" fmla="*/ 2998564 w 6994525"/>
                  <a:gd name="connsiteY7949" fmla="*/ 2821511 h 7571036"/>
                  <a:gd name="connsiteX7950" fmla="*/ 3019769 w 6994525"/>
                  <a:gd name="connsiteY7950" fmla="*/ 2800307 h 7571036"/>
                  <a:gd name="connsiteX7951" fmla="*/ 3020016 w 6994525"/>
                  <a:gd name="connsiteY7951" fmla="*/ 2312107 h 7571036"/>
                  <a:gd name="connsiteX7952" fmla="*/ 2983276 w 6994525"/>
                  <a:gd name="connsiteY7952" fmla="*/ 2275366 h 7571036"/>
                  <a:gd name="connsiteX7953" fmla="*/ 2946538 w 6994525"/>
                  <a:gd name="connsiteY7953" fmla="*/ 2312107 h 7571036"/>
                  <a:gd name="connsiteX7954" fmla="*/ 2983276 w 6994525"/>
                  <a:gd name="connsiteY7954" fmla="*/ 2349099 h 7571036"/>
                  <a:gd name="connsiteX7955" fmla="*/ 3020016 w 6994525"/>
                  <a:gd name="connsiteY7955" fmla="*/ 2312107 h 7571036"/>
                  <a:gd name="connsiteX7956" fmla="*/ 3020261 w 6994525"/>
                  <a:gd name="connsiteY7956" fmla="*/ 2195486 h 7571036"/>
                  <a:gd name="connsiteX7957" fmla="*/ 2981549 w 6994525"/>
                  <a:gd name="connsiteY7957" fmla="*/ 2156773 h 7571036"/>
                  <a:gd name="connsiteX7958" fmla="*/ 2942838 w 6994525"/>
                  <a:gd name="connsiteY7958" fmla="*/ 2195486 h 7571036"/>
                  <a:gd name="connsiteX7959" fmla="*/ 2981549 w 6994525"/>
                  <a:gd name="connsiteY7959" fmla="*/ 2234196 h 7571036"/>
                  <a:gd name="connsiteX7960" fmla="*/ 3020261 w 6994525"/>
                  <a:gd name="connsiteY7960" fmla="*/ 2195486 h 7571036"/>
                  <a:gd name="connsiteX7961" fmla="*/ 3020509 w 6994525"/>
                  <a:gd name="connsiteY7961" fmla="*/ 2550781 h 7571036"/>
                  <a:gd name="connsiteX7962" fmla="*/ 2988456 w 6994525"/>
                  <a:gd name="connsiteY7962" fmla="*/ 2518725 h 7571036"/>
                  <a:gd name="connsiteX7963" fmla="*/ 2956399 w 6994525"/>
                  <a:gd name="connsiteY7963" fmla="*/ 2550781 h 7571036"/>
                  <a:gd name="connsiteX7964" fmla="*/ 2988456 w 6994525"/>
                  <a:gd name="connsiteY7964" fmla="*/ 2582835 h 7571036"/>
                  <a:gd name="connsiteX7965" fmla="*/ 3020509 w 6994525"/>
                  <a:gd name="connsiteY7965" fmla="*/ 2550781 h 7571036"/>
                  <a:gd name="connsiteX7966" fmla="*/ 3023963 w 6994525"/>
                  <a:gd name="connsiteY7966" fmla="*/ 3591549 h 7571036"/>
                  <a:gd name="connsiteX7967" fmla="*/ 2991167 w 6994525"/>
                  <a:gd name="connsiteY7967" fmla="*/ 3558755 h 7571036"/>
                  <a:gd name="connsiteX7968" fmla="*/ 2958373 w 6994525"/>
                  <a:gd name="connsiteY7968" fmla="*/ 3591549 h 7571036"/>
                  <a:gd name="connsiteX7969" fmla="*/ 2991167 w 6994525"/>
                  <a:gd name="connsiteY7969" fmla="*/ 3624347 h 7571036"/>
                  <a:gd name="connsiteX7970" fmla="*/ 3023963 w 6994525"/>
                  <a:gd name="connsiteY7970" fmla="*/ 3591549 h 7571036"/>
                  <a:gd name="connsiteX7971" fmla="*/ 3025192 w 6994525"/>
                  <a:gd name="connsiteY7971" fmla="*/ 3104077 h 7571036"/>
                  <a:gd name="connsiteX7972" fmla="*/ 2995602 w 6994525"/>
                  <a:gd name="connsiteY7972" fmla="*/ 3074488 h 7571036"/>
                  <a:gd name="connsiteX7973" fmla="*/ 2966014 w 6994525"/>
                  <a:gd name="connsiteY7973" fmla="*/ 3104077 h 7571036"/>
                  <a:gd name="connsiteX7974" fmla="*/ 2995602 w 6994525"/>
                  <a:gd name="connsiteY7974" fmla="*/ 3133666 h 7571036"/>
                  <a:gd name="connsiteX7975" fmla="*/ 3025192 w 6994525"/>
                  <a:gd name="connsiteY7975" fmla="*/ 3104077 h 7571036"/>
                  <a:gd name="connsiteX7976" fmla="*/ 3028645 w 6994525"/>
                  <a:gd name="connsiteY7976" fmla="*/ 7322983 h 7571036"/>
                  <a:gd name="connsiteX7977" fmla="*/ 3025686 w 6994525"/>
                  <a:gd name="connsiteY7977" fmla="*/ 7320023 h 7571036"/>
                  <a:gd name="connsiteX7978" fmla="*/ 3022728 w 6994525"/>
                  <a:gd name="connsiteY7978" fmla="*/ 7322983 h 7571036"/>
                  <a:gd name="connsiteX7979" fmla="*/ 3025686 w 6994525"/>
                  <a:gd name="connsiteY7979" fmla="*/ 7325942 h 7571036"/>
                  <a:gd name="connsiteX7980" fmla="*/ 3028645 w 6994525"/>
                  <a:gd name="connsiteY7980" fmla="*/ 7322983 h 7571036"/>
                  <a:gd name="connsiteX7981" fmla="*/ 3028645 w 6994525"/>
                  <a:gd name="connsiteY7981" fmla="*/ 7432216 h 7571036"/>
                  <a:gd name="connsiteX7982" fmla="*/ 3025933 w 6994525"/>
                  <a:gd name="connsiteY7982" fmla="*/ 7429503 h 7571036"/>
                  <a:gd name="connsiteX7983" fmla="*/ 3022974 w 6994525"/>
                  <a:gd name="connsiteY7983" fmla="*/ 7432216 h 7571036"/>
                  <a:gd name="connsiteX7984" fmla="*/ 3025933 w 6994525"/>
                  <a:gd name="connsiteY7984" fmla="*/ 7435175 h 7571036"/>
                  <a:gd name="connsiteX7985" fmla="*/ 3028645 w 6994525"/>
                  <a:gd name="connsiteY7985" fmla="*/ 7432216 h 7571036"/>
                  <a:gd name="connsiteX7986" fmla="*/ 3028894 w 6994525"/>
                  <a:gd name="connsiteY7986" fmla="*/ 7541695 h 7571036"/>
                  <a:gd name="connsiteX7987" fmla="*/ 3026182 w 6994525"/>
                  <a:gd name="connsiteY7987" fmla="*/ 7538982 h 7571036"/>
                  <a:gd name="connsiteX7988" fmla="*/ 3023469 w 6994525"/>
                  <a:gd name="connsiteY7988" fmla="*/ 7541695 h 7571036"/>
                  <a:gd name="connsiteX7989" fmla="*/ 3026182 w 6994525"/>
                  <a:gd name="connsiteY7989" fmla="*/ 7544409 h 7571036"/>
                  <a:gd name="connsiteX7990" fmla="*/ 3028894 w 6994525"/>
                  <a:gd name="connsiteY7990" fmla="*/ 7541695 h 7571036"/>
                  <a:gd name="connsiteX7991" fmla="*/ 3029140 w 6994525"/>
                  <a:gd name="connsiteY7991" fmla="*/ 5676348 h 7571036"/>
                  <a:gd name="connsiteX7992" fmla="*/ 3026919 w 6994525"/>
                  <a:gd name="connsiteY7992" fmla="*/ 5674129 h 7571036"/>
                  <a:gd name="connsiteX7993" fmla="*/ 3024701 w 6994525"/>
                  <a:gd name="connsiteY7993" fmla="*/ 5676348 h 7571036"/>
                  <a:gd name="connsiteX7994" fmla="*/ 3026919 w 6994525"/>
                  <a:gd name="connsiteY7994" fmla="*/ 5678566 h 7571036"/>
                  <a:gd name="connsiteX7995" fmla="*/ 3029140 w 6994525"/>
                  <a:gd name="connsiteY7995" fmla="*/ 5676348 h 7571036"/>
                  <a:gd name="connsiteX7996" fmla="*/ 3029384 w 6994525"/>
                  <a:gd name="connsiteY7996" fmla="*/ 6557362 h 7571036"/>
                  <a:gd name="connsiteX7997" fmla="*/ 3026179 w 6994525"/>
                  <a:gd name="connsiteY7997" fmla="*/ 6554157 h 7571036"/>
                  <a:gd name="connsiteX7998" fmla="*/ 3022974 w 6994525"/>
                  <a:gd name="connsiteY7998" fmla="*/ 6557362 h 7571036"/>
                  <a:gd name="connsiteX7999" fmla="*/ 3026179 w 6994525"/>
                  <a:gd name="connsiteY7999" fmla="*/ 6560566 h 7571036"/>
                  <a:gd name="connsiteX8000" fmla="*/ 3029384 w 6994525"/>
                  <a:gd name="connsiteY8000" fmla="*/ 6557362 h 7571036"/>
                  <a:gd name="connsiteX8001" fmla="*/ 3029632 w 6994525"/>
                  <a:gd name="connsiteY8001" fmla="*/ 5897526 h 7571036"/>
                  <a:gd name="connsiteX8002" fmla="*/ 3027660 w 6994525"/>
                  <a:gd name="connsiteY8002" fmla="*/ 5895552 h 7571036"/>
                  <a:gd name="connsiteX8003" fmla="*/ 3025688 w 6994525"/>
                  <a:gd name="connsiteY8003" fmla="*/ 5897526 h 7571036"/>
                  <a:gd name="connsiteX8004" fmla="*/ 3027660 w 6994525"/>
                  <a:gd name="connsiteY8004" fmla="*/ 5899498 h 7571036"/>
                  <a:gd name="connsiteX8005" fmla="*/ 3029632 w 6994525"/>
                  <a:gd name="connsiteY8005" fmla="*/ 5897526 h 7571036"/>
                  <a:gd name="connsiteX8006" fmla="*/ 3030124 w 6994525"/>
                  <a:gd name="connsiteY8006" fmla="*/ 6995282 h 7571036"/>
                  <a:gd name="connsiteX8007" fmla="*/ 3027166 w 6994525"/>
                  <a:gd name="connsiteY8007" fmla="*/ 6992322 h 7571036"/>
                  <a:gd name="connsiteX8008" fmla="*/ 3024206 w 6994525"/>
                  <a:gd name="connsiteY8008" fmla="*/ 6995282 h 7571036"/>
                  <a:gd name="connsiteX8009" fmla="*/ 3027166 w 6994525"/>
                  <a:gd name="connsiteY8009" fmla="*/ 6998241 h 7571036"/>
                  <a:gd name="connsiteX8010" fmla="*/ 3030124 w 6994525"/>
                  <a:gd name="connsiteY8010" fmla="*/ 6995282 h 7571036"/>
                  <a:gd name="connsiteX8011" fmla="*/ 3030370 w 6994525"/>
                  <a:gd name="connsiteY8011" fmla="*/ 6228183 h 7571036"/>
                  <a:gd name="connsiteX8012" fmla="*/ 3028151 w 6994525"/>
                  <a:gd name="connsiteY8012" fmla="*/ 6225964 h 7571036"/>
                  <a:gd name="connsiteX8013" fmla="*/ 3025933 w 6994525"/>
                  <a:gd name="connsiteY8013" fmla="*/ 6228183 h 7571036"/>
                  <a:gd name="connsiteX8014" fmla="*/ 3028151 w 6994525"/>
                  <a:gd name="connsiteY8014" fmla="*/ 6230401 h 7571036"/>
                  <a:gd name="connsiteX8015" fmla="*/ 3030370 w 6994525"/>
                  <a:gd name="connsiteY8015" fmla="*/ 6228183 h 7571036"/>
                  <a:gd name="connsiteX8016" fmla="*/ 3030372 w 6994525"/>
                  <a:gd name="connsiteY8016" fmla="*/ 6007995 h 7571036"/>
                  <a:gd name="connsiteX8017" fmla="*/ 3027908 w 6994525"/>
                  <a:gd name="connsiteY8017" fmla="*/ 6005527 h 7571036"/>
                  <a:gd name="connsiteX8018" fmla="*/ 3025441 w 6994525"/>
                  <a:gd name="connsiteY8018" fmla="*/ 6007995 h 7571036"/>
                  <a:gd name="connsiteX8019" fmla="*/ 3027908 w 6994525"/>
                  <a:gd name="connsiteY8019" fmla="*/ 6010459 h 7571036"/>
                  <a:gd name="connsiteX8020" fmla="*/ 3030372 w 6994525"/>
                  <a:gd name="connsiteY8020" fmla="*/ 6007995 h 7571036"/>
                  <a:gd name="connsiteX8021" fmla="*/ 3030372 w 6994525"/>
                  <a:gd name="connsiteY8021" fmla="*/ 7214242 h 7571036"/>
                  <a:gd name="connsiteX8022" fmla="*/ 3027660 w 6994525"/>
                  <a:gd name="connsiteY8022" fmla="*/ 7211529 h 7571036"/>
                  <a:gd name="connsiteX8023" fmla="*/ 3024946 w 6994525"/>
                  <a:gd name="connsiteY8023" fmla="*/ 7214242 h 7571036"/>
                  <a:gd name="connsiteX8024" fmla="*/ 3027660 w 6994525"/>
                  <a:gd name="connsiteY8024" fmla="*/ 7216955 h 7571036"/>
                  <a:gd name="connsiteX8025" fmla="*/ 3030372 w 6994525"/>
                  <a:gd name="connsiteY8025" fmla="*/ 7214242 h 7571036"/>
                  <a:gd name="connsiteX8026" fmla="*/ 3030619 w 6994525"/>
                  <a:gd name="connsiteY8026" fmla="*/ 7104760 h 7571036"/>
                  <a:gd name="connsiteX8027" fmla="*/ 3027411 w 6994525"/>
                  <a:gd name="connsiteY8027" fmla="*/ 7101555 h 7571036"/>
                  <a:gd name="connsiteX8028" fmla="*/ 3024206 w 6994525"/>
                  <a:gd name="connsiteY8028" fmla="*/ 7104760 h 7571036"/>
                  <a:gd name="connsiteX8029" fmla="*/ 3027411 w 6994525"/>
                  <a:gd name="connsiteY8029" fmla="*/ 7107968 h 7571036"/>
                  <a:gd name="connsiteX8030" fmla="*/ 3030619 w 6994525"/>
                  <a:gd name="connsiteY8030" fmla="*/ 7104760 h 7571036"/>
                  <a:gd name="connsiteX8031" fmla="*/ 3030621 w 6994525"/>
                  <a:gd name="connsiteY8031" fmla="*/ 6118211 h 7571036"/>
                  <a:gd name="connsiteX8032" fmla="*/ 3027908 w 6994525"/>
                  <a:gd name="connsiteY8032" fmla="*/ 6115498 h 7571036"/>
                  <a:gd name="connsiteX8033" fmla="*/ 3025195 w 6994525"/>
                  <a:gd name="connsiteY8033" fmla="*/ 6118211 h 7571036"/>
                  <a:gd name="connsiteX8034" fmla="*/ 3027908 w 6994525"/>
                  <a:gd name="connsiteY8034" fmla="*/ 6120925 h 7571036"/>
                  <a:gd name="connsiteX8035" fmla="*/ 3030621 w 6994525"/>
                  <a:gd name="connsiteY8035" fmla="*/ 6118211 h 7571036"/>
                  <a:gd name="connsiteX8036" fmla="*/ 3030865 w 6994525"/>
                  <a:gd name="connsiteY8036" fmla="*/ 3255227 h 7571036"/>
                  <a:gd name="connsiteX8037" fmla="*/ 3029141 w 6994525"/>
                  <a:gd name="connsiteY8037" fmla="*/ 3253499 h 7571036"/>
                  <a:gd name="connsiteX8038" fmla="*/ 3027414 w 6994525"/>
                  <a:gd name="connsiteY8038" fmla="*/ 3255227 h 7571036"/>
                  <a:gd name="connsiteX8039" fmla="*/ 3029141 w 6994525"/>
                  <a:gd name="connsiteY8039" fmla="*/ 3256950 h 7571036"/>
                  <a:gd name="connsiteX8040" fmla="*/ 3030865 w 6994525"/>
                  <a:gd name="connsiteY8040" fmla="*/ 3255227 h 7571036"/>
                  <a:gd name="connsiteX8041" fmla="*/ 3031604 w 6994525"/>
                  <a:gd name="connsiteY8041" fmla="*/ 5231525 h 7571036"/>
                  <a:gd name="connsiteX8042" fmla="*/ 3030617 w 6994525"/>
                  <a:gd name="connsiteY8042" fmla="*/ 5230539 h 7571036"/>
                  <a:gd name="connsiteX8043" fmla="*/ 3029632 w 6994525"/>
                  <a:gd name="connsiteY8043" fmla="*/ 5231525 h 7571036"/>
                  <a:gd name="connsiteX8044" fmla="*/ 3030617 w 6994525"/>
                  <a:gd name="connsiteY8044" fmla="*/ 5232511 h 7571036"/>
                  <a:gd name="connsiteX8045" fmla="*/ 3031604 w 6994525"/>
                  <a:gd name="connsiteY8045" fmla="*/ 5231525 h 7571036"/>
                  <a:gd name="connsiteX8046" fmla="*/ 3032098 w 6994525"/>
                  <a:gd name="connsiteY8046" fmla="*/ 5787060 h 7571036"/>
                  <a:gd name="connsiteX8047" fmla="*/ 3027413 w 6994525"/>
                  <a:gd name="connsiteY8047" fmla="*/ 5782128 h 7571036"/>
                  <a:gd name="connsiteX8048" fmla="*/ 3022728 w 6994525"/>
                  <a:gd name="connsiteY8048" fmla="*/ 5787060 h 7571036"/>
                  <a:gd name="connsiteX8049" fmla="*/ 3027413 w 6994525"/>
                  <a:gd name="connsiteY8049" fmla="*/ 5791746 h 7571036"/>
                  <a:gd name="connsiteX8050" fmla="*/ 3032098 w 6994525"/>
                  <a:gd name="connsiteY8050" fmla="*/ 5787060 h 7571036"/>
                  <a:gd name="connsiteX8051" fmla="*/ 3032591 w 6994525"/>
                  <a:gd name="connsiteY8051" fmla="*/ 6776567 h 7571036"/>
                  <a:gd name="connsiteX8052" fmla="*/ 3026673 w 6994525"/>
                  <a:gd name="connsiteY8052" fmla="*/ 6770404 h 7571036"/>
                  <a:gd name="connsiteX8053" fmla="*/ 3020756 w 6994525"/>
                  <a:gd name="connsiteY8053" fmla="*/ 6776567 h 7571036"/>
                  <a:gd name="connsiteX8054" fmla="*/ 3026673 w 6994525"/>
                  <a:gd name="connsiteY8054" fmla="*/ 6782485 h 7571036"/>
                  <a:gd name="connsiteX8055" fmla="*/ 3032591 w 6994525"/>
                  <a:gd name="connsiteY8055" fmla="*/ 6776567 h 7571036"/>
                  <a:gd name="connsiteX8056" fmla="*/ 3032594 w 6994525"/>
                  <a:gd name="connsiteY8056" fmla="*/ 6666842 h 7571036"/>
                  <a:gd name="connsiteX8057" fmla="*/ 3026428 w 6994525"/>
                  <a:gd name="connsiteY8057" fmla="*/ 6660677 h 7571036"/>
                  <a:gd name="connsiteX8058" fmla="*/ 3020264 w 6994525"/>
                  <a:gd name="connsiteY8058" fmla="*/ 6666842 h 7571036"/>
                  <a:gd name="connsiteX8059" fmla="*/ 3026428 w 6994525"/>
                  <a:gd name="connsiteY8059" fmla="*/ 6673008 h 7571036"/>
                  <a:gd name="connsiteX8060" fmla="*/ 3032594 w 6994525"/>
                  <a:gd name="connsiteY8060" fmla="*/ 6666842 h 7571036"/>
                  <a:gd name="connsiteX8061" fmla="*/ 3033085 w 6994525"/>
                  <a:gd name="connsiteY8061" fmla="*/ 2430457 h 7571036"/>
                  <a:gd name="connsiteX8062" fmla="*/ 2985495 w 6994525"/>
                  <a:gd name="connsiteY8062" fmla="*/ 2382867 h 7571036"/>
                  <a:gd name="connsiteX8063" fmla="*/ 2937906 w 6994525"/>
                  <a:gd name="connsiteY8063" fmla="*/ 2430457 h 7571036"/>
                  <a:gd name="connsiteX8064" fmla="*/ 2985495 w 6994525"/>
                  <a:gd name="connsiteY8064" fmla="*/ 2478049 h 7571036"/>
                  <a:gd name="connsiteX8065" fmla="*/ 3033085 w 6994525"/>
                  <a:gd name="connsiteY8065" fmla="*/ 2430457 h 7571036"/>
                  <a:gd name="connsiteX8066" fmla="*/ 3033578 w 6994525"/>
                  <a:gd name="connsiteY8066" fmla="*/ 6886049 h 7571036"/>
                  <a:gd name="connsiteX8067" fmla="*/ 3026922 w 6994525"/>
                  <a:gd name="connsiteY8067" fmla="*/ 6879391 h 7571036"/>
                  <a:gd name="connsiteX8068" fmla="*/ 3020264 w 6994525"/>
                  <a:gd name="connsiteY8068" fmla="*/ 6886049 h 7571036"/>
                  <a:gd name="connsiteX8069" fmla="*/ 3026922 w 6994525"/>
                  <a:gd name="connsiteY8069" fmla="*/ 6892704 h 7571036"/>
                  <a:gd name="connsiteX8070" fmla="*/ 3033578 w 6994525"/>
                  <a:gd name="connsiteY8070" fmla="*/ 6886049 h 7571036"/>
                  <a:gd name="connsiteX8071" fmla="*/ 3036042 w 6994525"/>
                  <a:gd name="connsiteY8071" fmla="*/ 6447885 h 7571036"/>
                  <a:gd name="connsiteX8072" fmla="*/ 3028646 w 6994525"/>
                  <a:gd name="connsiteY8072" fmla="*/ 6440486 h 7571036"/>
                  <a:gd name="connsiteX8073" fmla="*/ 3021248 w 6994525"/>
                  <a:gd name="connsiteY8073" fmla="*/ 6447885 h 7571036"/>
                  <a:gd name="connsiteX8074" fmla="*/ 3028646 w 6994525"/>
                  <a:gd name="connsiteY8074" fmla="*/ 6455280 h 7571036"/>
                  <a:gd name="connsiteX8075" fmla="*/ 3036042 w 6994525"/>
                  <a:gd name="connsiteY8075" fmla="*/ 6447885 h 7571036"/>
                  <a:gd name="connsiteX8076" fmla="*/ 3036537 w 6994525"/>
                  <a:gd name="connsiteY8076" fmla="*/ 6338157 h 7571036"/>
                  <a:gd name="connsiteX8077" fmla="*/ 3028401 w 6994525"/>
                  <a:gd name="connsiteY8077" fmla="*/ 6330021 h 7571036"/>
                  <a:gd name="connsiteX8078" fmla="*/ 3020264 w 6994525"/>
                  <a:gd name="connsiteY8078" fmla="*/ 6338157 h 7571036"/>
                  <a:gd name="connsiteX8079" fmla="*/ 3028401 w 6994525"/>
                  <a:gd name="connsiteY8079" fmla="*/ 6346297 h 7571036"/>
                  <a:gd name="connsiteX8080" fmla="*/ 3036537 w 6994525"/>
                  <a:gd name="connsiteY8080" fmla="*/ 6338157 h 7571036"/>
                  <a:gd name="connsiteX8081" fmla="*/ 3038262 w 6994525"/>
                  <a:gd name="connsiteY8081" fmla="*/ 3851193 h 7571036"/>
                  <a:gd name="connsiteX8082" fmla="*/ 2995602 w 6994525"/>
                  <a:gd name="connsiteY8082" fmla="*/ 3808535 h 7571036"/>
                  <a:gd name="connsiteX8083" fmla="*/ 2952946 w 6994525"/>
                  <a:gd name="connsiteY8083" fmla="*/ 3851193 h 7571036"/>
                  <a:gd name="connsiteX8084" fmla="*/ 2995602 w 6994525"/>
                  <a:gd name="connsiteY8084" fmla="*/ 3893849 h 7571036"/>
                  <a:gd name="connsiteX8085" fmla="*/ 3038262 w 6994525"/>
                  <a:gd name="connsiteY8085" fmla="*/ 3851193 h 7571036"/>
                  <a:gd name="connsiteX8086" fmla="*/ 3042948 w 6994525"/>
                  <a:gd name="connsiteY8086" fmla="*/ 5454925 h 7571036"/>
                  <a:gd name="connsiteX8087" fmla="*/ 3030621 w 6994525"/>
                  <a:gd name="connsiteY8087" fmla="*/ 5442594 h 7571036"/>
                  <a:gd name="connsiteX8088" fmla="*/ 3018291 w 6994525"/>
                  <a:gd name="connsiteY8088" fmla="*/ 5454925 h 7571036"/>
                  <a:gd name="connsiteX8089" fmla="*/ 3030621 w 6994525"/>
                  <a:gd name="connsiteY8089" fmla="*/ 5467251 h 7571036"/>
                  <a:gd name="connsiteX8090" fmla="*/ 3042948 w 6994525"/>
                  <a:gd name="connsiteY8090" fmla="*/ 5454925 h 7571036"/>
                  <a:gd name="connsiteX8091" fmla="*/ 3043686 w 6994525"/>
                  <a:gd name="connsiteY8091" fmla="*/ 4892729 h 7571036"/>
                  <a:gd name="connsiteX8092" fmla="*/ 3030619 w 6994525"/>
                  <a:gd name="connsiteY8092" fmla="*/ 4879661 h 7571036"/>
                  <a:gd name="connsiteX8093" fmla="*/ 3017551 w 6994525"/>
                  <a:gd name="connsiteY8093" fmla="*/ 4892729 h 7571036"/>
                  <a:gd name="connsiteX8094" fmla="*/ 3030619 w 6994525"/>
                  <a:gd name="connsiteY8094" fmla="*/ 4905797 h 7571036"/>
                  <a:gd name="connsiteX8095" fmla="*/ 3043686 w 6994525"/>
                  <a:gd name="connsiteY8095" fmla="*/ 4892729 h 7571036"/>
                  <a:gd name="connsiteX8096" fmla="*/ 3044179 w 6994525"/>
                  <a:gd name="connsiteY8096" fmla="*/ 1612645 h 7571036"/>
                  <a:gd name="connsiteX8097" fmla="*/ 3027659 w 6994525"/>
                  <a:gd name="connsiteY8097" fmla="*/ 1595877 h 7571036"/>
                  <a:gd name="connsiteX8098" fmla="*/ 3010892 w 6994525"/>
                  <a:gd name="connsiteY8098" fmla="*/ 1612645 h 7571036"/>
                  <a:gd name="connsiteX8099" fmla="*/ 3027659 w 6994525"/>
                  <a:gd name="connsiteY8099" fmla="*/ 1629165 h 7571036"/>
                  <a:gd name="connsiteX8100" fmla="*/ 3044179 w 6994525"/>
                  <a:gd name="connsiteY8100" fmla="*/ 1612645 h 7571036"/>
                  <a:gd name="connsiteX8101" fmla="*/ 3044181 w 6994525"/>
                  <a:gd name="connsiteY8101" fmla="*/ 1836528 h 7571036"/>
                  <a:gd name="connsiteX8102" fmla="*/ 3028400 w 6994525"/>
                  <a:gd name="connsiteY8102" fmla="*/ 1820750 h 7571036"/>
                  <a:gd name="connsiteX8103" fmla="*/ 3012619 w 6994525"/>
                  <a:gd name="connsiteY8103" fmla="*/ 1836528 h 7571036"/>
                  <a:gd name="connsiteX8104" fmla="*/ 3028400 w 6994525"/>
                  <a:gd name="connsiteY8104" fmla="*/ 1852307 h 7571036"/>
                  <a:gd name="connsiteX8105" fmla="*/ 3044181 w 6994525"/>
                  <a:gd name="connsiteY8105" fmla="*/ 1836528 h 7571036"/>
                  <a:gd name="connsiteX8106" fmla="*/ 3045412 w 6994525"/>
                  <a:gd name="connsiteY8106" fmla="*/ 1724320 h 7571036"/>
                  <a:gd name="connsiteX8107" fmla="*/ 3028151 w 6994525"/>
                  <a:gd name="connsiteY8107" fmla="*/ 1707068 h 7571036"/>
                  <a:gd name="connsiteX8108" fmla="*/ 3010892 w 6994525"/>
                  <a:gd name="connsiteY8108" fmla="*/ 1724320 h 7571036"/>
                  <a:gd name="connsiteX8109" fmla="*/ 3028151 w 6994525"/>
                  <a:gd name="connsiteY8109" fmla="*/ 1741590 h 7571036"/>
                  <a:gd name="connsiteX8110" fmla="*/ 3045412 w 6994525"/>
                  <a:gd name="connsiteY8110" fmla="*/ 1724320 h 7571036"/>
                  <a:gd name="connsiteX8111" fmla="*/ 3049112 w 6994525"/>
                  <a:gd name="connsiteY8111" fmla="*/ 398651 h 7571036"/>
                  <a:gd name="connsiteX8112" fmla="*/ 3023220 w 6994525"/>
                  <a:gd name="connsiteY8112" fmla="*/ 372763 h 7571036"/>
                  <a:gd name="connsiteX8113" fmla="*/ 2997330 w 6994525"/>
                  <a:gd name="connsiteY8113" fmla="*/ 398651 h 7571036"/>
                  <a:gd name="connsiteX8114" fmla="*/ 3023220 w 6994525"/>
                  <a:gd name="connsiteY8114" fmla="*/ 424543 h 7571036"/>
                  <a:gd name="connsiteX8115" fmla="*/ 3049112 w 6994525"/>
                  <a:gd name="connsiteY8115" fmla="*/ 398651 h 7571036"/>
                  <a:gd name="connsiteX8116" fmla="*/ 3049851 w 6994525"/>
                  <a:gd name="connsiteY8116" fmla="*/ 288703 h 7571036"/>
                  <a:gd name="connsiteX8117" fmla="*/ 3023469 w 6994525"/>
                  <a:gd name="connsiteY8117" fmla="*/ 262319 h 7571036"/>
                  <a:gd name="connsiteX8118" fmla="*/ 2997084 w 6994525"/>
                  <a:gd name="connsiteY8118" fmla="*/ 288703 h 7571036"/>
                  <a:gd name="connsiteX8119" fmla="*/ 3023469 w 6994525"/>
                  <a:gd name="connsiteY8119" fmla="*/ 315083 h 7571036"/>
                  <a:gd name="connsiteX8120" fmla="*/ 3049851 w 6994525"/>
                  <a:gd name="connsiteY8120" fmla="*/ 288703 h 7571036"/>
                  <a:gd name="connsiteX8121" fmla="*/ 3050095 w 6994525"/>
                  <a:gd name="connsiteY8121" fmla="*/ 1500959 h 7571036"/>
                  <a:gd name="connsiteX8122" fmla="*/ 3027659 w 6994525"/>
                  <a:gd name="connsiteY8122" fmla="*/ 1478518 h 7571036"/>
                  <a:gd name="connsiteX8123" fmla="*/ 3005220 w 6994525"/>
                  <a:gd name="connsiteY8123" fmla="*/ 1500959 h 7571036"/>
                  <a:gd name="connsiteX8124" fmla="*/ 3027659 w 6994525"/>
                  <a:gd name="connsiteY8124" fmla="*/ 1523151 h 7571036"/>
                  <a:gd name="connsiteX8125" fmla="*/ 3050095 w 6994525"/>
                  <a:gd name="connsiteY8125" fmla="*/ 1500959 h 7571036"/>
                  <a:gd name="connsiteX8126" fmla="*/ 3050836 w 6994525"/>
                  <a:gd name="connsiteY8126" fmla="*/ 5343226 h 7571036"/>
                  <a:gd name="connsiteX8127" fmla="*/ 3030619 w 6994525"/>
                  <a:gd name="connsiteY8127" fmla="*/ 5323005 h 7571036"/>
                  <a:gd name="connsiteX8128" fmla="*/ 3010398 w 6994525"/>
                  <a:gd name="connsiteY8128" fmla="*/ 5343226 h 7571036"/>
                  <a:gd name="connsiteX8129" fmla="*/ 3030619 w 6994525"/>
                  <a:gd name="connsiteY8129" fmla="*/ 5363445 h 7571036"/>
                  <a:gd name="connsiteX8130" fmla="*/ 3050836 w 6994525"/>
                  <a:gd name="connsiteY8130" fmla="*/ 5343226 h 7571036"/>
                  <a:gd name="connsiteX8131" fmla="*/ 3051085 w 6994525"/>
                  <a:gd name="connsiteY8131" fmla="*/ 69797 h 7571036"/>
                  <a:gd name="connsiteX8132" fmla="*/ 3023963 w 6994525"/>
                  <a:gd name="connsiteY8132" fmla="*/ 42673 h 7571036"/>
                  <a:gd name="connsiteX8133" fmla="*/ 2996838 w 6994525"/>
                  <a:gd name="connsiteY8133" fmla="*/ 69797 h 7571036"/>
                  <a:gd name="connsiteX8134" fmla="*/ 3023963 w 6994525"/>
                  <a:gd name="connsiteY8134" fmla="*/ 96918 h 7571036"/>
                  <a:gd name="connsiteX8135" fmla="*/ 3051085 w 6994525"/>
                  <a:gd name="connsiteY8135" fmla="*/ 69797 h 7571036"/>
                  <a:gd name="connsiteX8136" fmla="*/ 3051576 w 6994525"/>
                  <a:gd name="connsiteY8136" fmla="*/ 179248 h 7571036"/>
                  <a:gd name="connsiteX8137" fmla="*/ 3023960 w 6994525"/>
                  <a:gd name="connsiteY8137" fmla="*/ 151878 h 7571036"/>
                  <a:gd name="connsiteX8138" fmla="*/ 2996344 w 6994525"/>
                  <a:gd name="connsiteY8138" fmla="*/ 179248 h 7571036"/>
                  <a:gd name="connsiteX8139" fmla="*/ 3023960 w 6994525"/>
                  <a:gd name="connsiteY8139" fmla="*/ 206864 h 7571036"/>
                  <a:gd name="connsiteX8140" fmla="*/ 3051576 w 6994525"/>
                  <a:gd name="connsiteY8140" fmla="*/ 179248 h 7571036"/>
                  <a:gd name="connsiteX8141" fmla="*/ 3053057 w 6994525"/>
                  <a:gd name="connsiteY8141" fmla="*/ 5119087 h 7571036"/>
                  <a:gd name="connsiteX8142" fmla="*/ 3030373 w 6994525"/>
                  <a:gd name="connsiteY8142" fmla="*/ 5096402 h 7571036"/>
                  <a:gd name="connsiteX8143" fmla="*/ 3007688 w 6994525"/>
                  <a:gd name="connsiteY8143" fmla="*/ 5119087 h 7571036"/>
                  <a:gd name="connsiteX8144" fmla="*/ 3030373 w 6994525"/>
                  <a:gd name="connsiteY8144" fmla="*/ 5141772 h 7571036"/>
                  <a:gd name="connsiteX8145" fmla="*/ 3053057 w 6994525"/>
                  <a:gd name="connsiteY8145" fmla="*/ 5119087 h 7571036"/>
                  <a:gd name="connsiteX8146" fmla="*/ 3054536 w 6994525"/>
                  <a:gd name="connsiteY8146" fmla="*/ 1389764 h 7571036"/>
                  <a:gd name="connsiteX8147" fmla="*/ 3027414 w 6994525"/>
                  <a:gd name="connsiteY8147" fmla="*/ 1362637 h 7571036"/>
                  <a:gd name="connsiteX8148" fmla="*/ 3000289 w 6994525"/>
                  <a:gd name="connsiteY8148" fmla="*/ 1389764 h 7571036"/>
                  <a:gd name="connsiteX8149" fmla="*/ 3027414 w 6994525"/>
                  <a:gd name="connsiteY8149" fmla="*/ 1416890 h 7571036"/>
                  <a:gd name="connsiteX8150" fmla="*/ 3054536 w 6994525"/>
                  <a:gd name="connsiteY8150" fmla="*/ 1389764 h 7571036"/>
                  <a:gd name="connsiteX8151" fmla="*/ 3057248 w 6994525"/>
                  <a:gd name="connsiteY8151" fmla="*/ 4187277 h 7571036"/>
                  <a:gd name="connsiteX8152" fmla="*/ 3046891 w 6994525"/>
                  <a:gd name="connsiteY8152" fmla="*/ 4176922 h 7571036"/>
                  <a:gd name="connsiteX8153" fmla="*/ 3036536 w 6994525"/>
                  <a:gd name="connsiteY8153" fmla="*/ 4187277 h 7571036"/>
                  <a:gd name="connsiteX8154" fmla="*/ 3046891 w 6994525"/>
                  <a:gd name="connsiteY8154" fmla="*/ 4197635 h 7571036"/>
                  <a:gd name="connsiteX8155" fmla="*/ 3057248 w 6994525"/>
                  <a:gd name="connsiteY8155" fmla="*/ 4187277 h 7571036"/>
                  <a:gd name="connsiteX8156" fmla="*/ 3058727 w 6994525"/>
                  <a:gd name="connsiteY8156" fmla="*/ 4780045 h 7571036"/>
                  <a:gd name="connsiteX8157" fmla="*/ 3036782 w 6994525"/>
                  <a:gd name="connsiteY8157" fmla="*/ 4758100 h 7571036"/>
                  <a:gd name="connsiteX8158" fmla="*/ 3014838 w 6994525"/>
                  <a:gd name="connsiteY8158" fmla="*/ 4780045 h 7571036"/>
                  <a:gd name="connsiteX8159" fmla="*/ 3036782 w 6994525"/>
                  <a:gd name="connsiteY8159" fmla="*/ 4801989 h 7571036"/>
                  <a:gd name="connsiteX8160" fmla="*/ 3058727 w 6994525"/>
                  <a:gd name="connsiteY8160" fmla="*/ 4780045 h 7571036"/>
                  <a:gd name="connsiteX8161" fmla="*/ 3063660 w 6994525"/>
                  <a:gd name="connsiteY8161" fmla="*/ 1949421 h 7571036"/>
                  <a:gd name="connsiteX8162" fmla="*/ 3028892 w 6994525"/>
                  <a:gd name="connsiteY8162" fmla="*/ 1914663 h 7571036"/>
                  <a:gd name="connsiteX8163" fmla="*/ 2994126 w 6994525"/>
                  <a:gd name="connsiteY8163" fmla="*/ 1949421 h 7571036"/>
                  <a:gd name="connsiteX8164" fmla="*/ 3028892 w 6994525"/>
                  <a:gd name="connsiteY8164" fmla="*/ 1983934 h 7571036"/>
                  <a:gd name="connsiteX8165" fmla="*/ 3063660 w 6994525"/>
                  <a:gd name="connsiteY8165" fmla="*/ 1949421 h 7571036"/>
                  <a:gd name="connsiteX8166" fmla="*/ 3063660 w 6994525"/>
                  <a:gd name="connsiteY8166" fmla="*/ 4548509 h 7571036"/>
                  <a:gd name="connsiteX8167" fmla="*/ 3038757 w 6994525"/>
                  <a:gd name="connsiteY8167" fmla="*/ 4523605 h 7571036"/>
                  <a:gd name="connsiteX8168" fmla="*/ 3013606 w 6994525"/>
                  <a:gd name="connsiteY8168" fmla="*/ 4548509 h 7571036"/>
                  <a:gd name="connsiteX8169" fmla="*/ 3038757 w 6994525"/>
                  <a:gd name="connsiteY8169" fmla="*/ 4573661 h 7571036"/>
                  <a:gd name="connsiteX8170" fmla="*/ 3063660 w 6994525"/>
                  <a:gd name="connsiteY8170" fmla="*/ 4548509 h 7571036"/>
                  <a:gd name="connsiteX8171" fmla="*/ 3065138 w 6994525"/>
                  <a:gd name="connsiteY8171" fmla="*/ 3699551 h 7571036"/>
                  <a:gd name="connsiteX8172" fmla="*/ 3029140 w 6994525"/>
                  <a:gd name="connsiteY8172" fmla="*/ 3663549 h 7571036"/>
                  <a:gd name="connsiteX8173" fmla="*/ 2993139 w 6994525"/>
                  <a:gd name="connsiteY8173" fmla="*/ 3699551 h 7571036"/>
                  <a:gd name="connsiteX8174" fmla="*/ 3029140 w 6994525"/>
                  <a:gd name="connsiteY8174" fmla="*/ 3735550 h 7571036"/>
                  <a:gd name="connsiteX8175" fmla="*/ 3065138 w 6994525"/>
                  <a:gd name="connsiteY8175" fmla="*/ 3699551 h 7571036"/>
                  <a:gd name="connsiteX8176" fmla="*/ 3068591 w 6994525"/>
                  <a:gd name="connsiteY8176" fmla="*/ 2062827 h 7571036"/>
                  <a:gd name="connsiteX8177" fmla="*/ 3029140 w 6994525"/>
                  <a:gd name="connsiteY8177" fmla="*/ 2023372 h 7571036"/>
                  <a:gd name="connsiteX8178" fmla="*/ 2989688 w 6994525"/>
                  <a:gd name="connsiteY8178" fmla="*/ 2062827 h 7571036"/>
                  <a:gd name="connsiteX8179" fmla="*/ 3029140 w 6994525"/>
                  <a:gd name="connsiteY8179" fmla="*/ 2102283 h 7571036"/>
                  <a:gd name="connsiteX8180" fmla="*/ 3068591 w 6994525"/>
                  <a:gd name="connsiteY8180" fmla="*/ 2062827 h 7571036"/>
                  <a:gd name="connsiteX8181" fmla="*/ 3071056 w 6994525"/>
                  <a:gd name="connsiteY8181" fmla="*/ 4310318 h 7571036"/>
                  <a:gd name="connsiteX8182" fmla="*/ 3042945 w 6994525"/>
                  <a:gd name="connsiteY8182" fmla="*/ 4282207 h 7571036"/>
                  <a:gd name="connsiteX8183" fmla="*/ 3014838 w 6994525"/>
                  <a:gd name="connsiteY8183" fmla="*/ 4310318 h 7571036"/>
                  <a:gd name="connsiteX8184" fmla="*/ 3042945 w 6994525"/>
                  <a:gd name="connsiteY8184" fmla="*/ 4338427 h 7571036"/>
                  <a:gd name="connsiteX8185" fmla="*/ 3071056 w 6994525"/>
                  <a:gd name="connsiteY8185" fmla="*/ 4310318 h 7571036"/>
                  <a:gd name="connsiteX8186" fmla="*/ 3072289 w 6994525"/>
                  <a:gd name="connsiteY8186" fmla="*/ 4430647 h 7571036"/>
                  <a:gd name="connsiteX8187" fmla="*/ 3040482 w 6994525"/>
                  <a:gd name="connsiteY8187" fmla="*/ 4398840 h 7571036"/>
                  <a:gd name="connsiteX8188" fmla="*/ 3008920 w 6994525"/>
                  <a:gd name="connsiteY8188" fmla="*/ 4430647 h 7571036"/>
                  <a:gd name="connsiteX8189" fmla="*/ 3040482 w 6994525"/>
                  <a:gd name="connsiteY8189" fmla="*/ 4462458 h 7571036"/>
                  <a:gd name="connsiteX8190" fmla="*/ 3072289 w 6994525"/>
                  <a:gd name="connsiteY8190" fmla="*/ 4430647 h 7571036"/>
                  <a:gd name="connsiteX8191" fmla="*/ 3073030 w 6994525"/>
                  <a:gd name="connsiteY8191" fmla="*/ 5006157 h 7571036"/>
                  <a:gd name="connsiteX8192" fmla="*/ 3030619 w 6994525"/>
                  <a:gd name="connsiteY8192" fmla="*/ 4963746 h 7571036"/>
                  <a:gd name="connsiteX8193" fmla="*/ 2988208 w 6994525"/>
                  <a:gd name="connsiteY8193" fmla="*/ 5006157 h 7571036"/>
                  <a:gd name="connsiteX8194" fmla="*/ 3030619 w 6994525"/>
                  <a:gd name="connsiteY8194" fmla="*/ 5048568 h 7571036"/>
                  <a:gd name="connsiteX8195" fmla="*/ 3073030 w 6994525"/>
                  <a:gd name="connsiteY8195" fmla="*/ 5006157 h 7571036"/>
                  <a:gd name="connsiteX8196" fmla="*/ 3073520 w 6994525"/>
                  <a:gd name="connsiteY8196" fmla="*/ 4664892 h 7571036"/>
                  <a:gd name="connsiteX8197" fmla="*/ 3037522 w 6994525"/>
                  <a:gd name="connsiteY8197" fmla="*/ 4628894 h 7571036"/>
                  <a:gd name="connsiteX8198" fmla="*/ 3001521 w 6994525"/>
                  <a:gd name="connsiteY8198" fmla="*/ 4664892 h 7571036"/>
                  <a:gd name="connsiteX8199" fmla="*/ 3037522 w 6994525"/>
                  <a:gd name="connsiteY8199" fmla="*/ 4700894 h 7571036"/>
                  <a:gd name="connsiteX8200" fmla="*/ 3073520 w 6994525"/>
                  <a:gd name="connsiteY8200" fmla="*/ 4664892 h 7571036"/>
                  <a:gd name="connsiteX8201" fmla="*/ 3095220 w 6994525"/>
                  <a:gd name="connsiteY8201" fmla="*/ 4059798 h 7571036"/>
                  <a:gd name="connsiteX8202" fmla="*/ 3052809 w 6994525"/>
                  <a:gd name="connsiteY8202" fmla="*/ 4017386 h 7571036"/>
                  <a:gd name="connsiteX8203" fmla="*/ 3010398 w 6994525"/>
                  <a:gd name="connsiteY8203" fmla="*/ 4059798 h 7571036"/>
                  <a:gd name="connsiteX8204" fmla="*/ 3052809 w 6994525"/>
                  <a:gd name="connsiteY8204" fmla="*/ 4102208 h 7571036"/>
                  <a:gd name="connsiteX8205" fmla="*/ 3095220 w 6994525"/>
                  <a:gd name="connsiteY8205" fmla="*/ 4059798 h 7571036"/>
                  <a:gd name="connsiteX8206" fmla="*/ 3096701 w 6994525"/>
                  <a:gd name="connsiteY8206" fmla="*/ 3158319 h 7571036"/>
                  <a:gd name="connsiteX8207" fmla="*/ 3090291 w 6994525"/>
                  <a:gd name="connsiteY8207" fmla="*/ 3151907 h 7571036"/>
                  <a:gd name="connsiteX8208" fmla="*/ 3083879 w 6994525"/>
                  <a:gd name="connsiteY8208" fmla="*/ 3158319 h 7571036"/>
                  <a:gd name="connsiteX8209" fmla="*/ 3090291 w 6994525"/>
                  <a:gd name="connsiteY8209" fmla="*/ 3164729 h 7571036"/>
                  <a:gd name="connsiteX8210" fmla="*/ 3096701 w 6994525"/>
                  <a:gd name="connsiteY8210" fmla="*/ 3158319 h 7571036"/>
                  <a:gd name="connsiteX8211" fmla="*/ 3099412 w 6994525"/>
                  <a:gd name="connsiteY8211" fmla="*/ 3019255 h 7571036"/>
                  <a:gd name="connsiteX8212" fmla="*/ 3072536 w 6994525"/>
                  <a:gd name="connsiteY8212" fmla="*/ 2992379 h 7571036"/>
                  <a:gd name="connsiteX8213" fmla="*/ 3045659 w 6994525"/>
                  <a:gd name="connsiteY8213" fmla="*/ 3019255 h 7571036"/>
                  <a:gd name="connsiteX8214" fmla="*/ 3072536 w 6994525"/>
                  <a:gd name="connsiteY8214" fmla="*/ 3046134 h 7571036"/>
                  <a:gd name="connsiteX8215" fmla="*/ 3099412 w 6994525"/>
                  <a:gd name="connsiteY8215" fmla="*/ 3019255 h 7571036"/>
                  <a:gd name="connsiteX8216" fmla="*/ 3106072 w 6994525"/>
                  <a:gd name="connsiteY8216" fmla="*/ 3363469 h 7571036"/>
                  <a:gd name="connsiteX8217" fmla="*/ 3103360 w 6994525"/>
                  <a:gd name="connsiteY8217" fmla="*/ 3360756 h 7571036"/>
                  <a:gd name="connsiteX8218" fmla="*/ 3100646 w 6994525"/>
                  <a:gd name="connsiteY8218" fmla="*/ 3363469 h 7571036"/>
                  <a:gd name="connsiteX8219" fmla="*/ 3103360 w 6994525"/>
                  <a:gd name="connsiteY8219" fmla="*/ 3366182 h 7571036"/>
                  <a:gd name="connsiteX8220" fmla="*/ 3106072 w 6994525"/>
                  <a:gd name="connsiteY8220" fmla="*/ 3363469 h 7571036"/>
                  <a:gd name="connsiteX8221" fmla="*/ 3107795 w 6994525"/>
                  <a:gd name="connsiteY8221" fmla="*/ 1047809 h 7571036"/>
                  <a:gd name="connsiteX8222" fmla="*/ 3081657 w 6994525"/>
                  <a:gd name="connsiteY8222" fmla="*/ 1021677 h 7571036"/>
                  <a:gd name="connsiteX8223" fmla="*/ 3055522 w 6994525"/>
                  <a:gd name="connsiteY8223" fmla="*/ 1047809 h 7571036"/>
                  <a:gd name="connsiteX8224" fmla="*/ 3081657 w 6994525"/>
                  <a:gd name="connsiteY8224" fmla="*/ 1073947 h 7571036"/>
                  <a:gd name="connsiteX8225" fmla="*/ 3107795 w 6994525"/>
                  <a:gd name="connsiteY8225" fmla="*/ 1047809 h 7571036"/>
                  <a:gd name="connsiteX8226" fmla="*/ 3108288 w 6994525"/>
                  <a:gd name="connsiteY8226" fmla="*/ 2861945 h 7571036"/>
                  <a:gd name="connsiteX8227" fmla="*/ 3100646 w 6994525"/>
                  <a:gd name="connsiteY8227" fmla="*/ 2854299 h 7571036"/>
                  <a:gd name="connsiteX8228" fmla="*/ 3093001 w 6994525"/>
                  <a:gd name="connsiteY8228" fmla="*/ 2861945 h 7571036"/>
                  <a:gd name="connsiteX8229" fmla="*/ 3100646 w 6994525"/>
                  <a:gd name="connsiteY8229" fmla="*/ 2869586 h 7571036"/>
                  <a:gd name="connsiteX8230" fmla="*/ 3108288 w 6994525"/>
                  <a:gd name="connsiteY8230" fmla="*/ 2861945 h 7571036"/>
                  <a:gd name="connsiteX8231" fmla="*/ 3110263 w 6994525"/>
                  <a:gd name="connsiteY8231" fmla="*/ 828147 h 7571036"/>
                  <a:gd name="connsiteX8232" fmla="*/ 3083139 w 6994525"/>
                  <a:gd name="connsiteY8232" fmla="*/ 801267 h 7571036"/>
                  <a:gd name="connsiteX8233" fmla="*/ 3056263 w 6994525"/>
                  <a:gd name="connsiteY8233" fmla="*/ 828147 h 7571036"/>
                  <a:gd name="connsiteX8234" fmla="*/ 3083139 w 6994525"/>
                  <a:gd name="connsiteY8234" fmla="*/ 855019 h 7571036"/>
                  <a:gd name="connsiteX8235" fmla="*/ 3110263 w 6994525"/>
                  <a:gd name="connsiteY8235" fmla="*/ 828147 h 7571036"/>
                  <a:gd name="connsiteX8236" fmla="*/ 3110755 w 6994525"/>
                  <a:gd name="connsiteY8236" fmla="*/ 937853 h 7571036"/>
                  <a:gd name="connsiteX8237" fmla="*/ 3082152 w 6994525"/>
                  <a:gd name="connsiteY8237" fmla="*/ 909250 h 7571036"/>
                  <a:gd name="connsiteX8238" fmla="*/ 3053549 w 6994525"/>
                  <a:gd name="connsiteY8238" fmla="*/ 937853 h 7571036"/>
                  <a:gd name="connsiteX8239" fmla="*/ 3082152 w 6994525"/>
                  <a:gd name="connsiteY8239" fmla="*/ 966456 h 7571036"/>
                  <a:gd name="connsiteX8240" fmla="*/ 3110755 w 6994525"/>
                  <a:gd name="connsiteY8240" fmla="*/ 937853 h 7571036"/>
                  <a:gd name="connsiteX8241" fmla="*/ 3111498 w 6994525"/>
                  <a:gd name="connsiteY8241" fmla="*/ 1268457 h 7571036"/>
                  <a:gd name="connsiteX8242" fmla="*/ 3080674 w 6994525"/>
                  <a:gd name="connsiteY8242" fmla="*/ 1237642 h 7571036"/>
                  <a:gd name="connsiteX8243" fmla="*/ 3049853 w 6994525"/>
                  <a:gd name="connsiteY8243" fmla="*/ 1268457 h 7571036"/>
                  <a:gd name="connsiteX8244" fmla="*/ 3080674 w 6994525"/>
                  <a:gd name="connsiteY8244" fmla="*/ 1299287 h 7571036"/>
                  <a:gd name="connsiteX8245" fmla="*/ 3111498 w 6994525"/>
                  <a:gd name="connsiteY8245" fmla="*/ 1268457 h 7571036"/>
                  <a:gd name="connsiteX8246" fmla="*/ 3111987 w 6994525"/>
                  <a:gd name="connsiteY8246" fmla="*/ 1158012 h 7571036"/>
                  <a:gd name="connsiteX8247" fmla="*/ 3081412 w 6994525"/>
                  <a:gd name="connsiteY8247" fmla="*/ 1127439 h 7571036"/>
                  <a:gd name="connsiteX8248" fmla="*/ 3050836 w 6994525"/>
                  <a:gd name="connsiteY8248" fmla="*/ 1158012 h 7571036"/>
                  <a:gd name="connsiteX8249" fmla="*/ 3081412 w 6994525"/>
                  <a:gd name="connsiteY8249" fmla="*/ 1188589 h 7571036"/>
                  <a:gd name="connsiteX8250" fmla="*/ 3111987 w 6994525"/>
                  <a:gd name="connsiteY8250" fmla="*/ 1158012 h 7571036"/>
                  <a:gd name="connsiteX8251" fmla="*/ 3113220 w 6994525"/>
                  <a:gd name="connsiteY8251" fmla="*/ 608940 h 7571036"/>
                  <a:gd name="connsiteX8252" fmla="*/ 3083385 w 6994525"/>
                  <a:gd name="connsiteY8252" fmla="*/ 579106 h 7571036"/>
                  <a:gd name="connsiteX8253" fmla="*/ 3053549 w 6994525"/>
                  <a:gd name="connsiteY8253" fmla="*/ 608940 h 7571036"/>
                  <a:gd name="connsiteX8254" fmla="*/ 3083385 w 6994525"/>
                  <a:gd name="connsiteY8254" fmla="*/ 638774 h 7571036"/>
                  <a:gd name="connsiteX8255" fmla="*/ 3113220 w 6994525"/>
                  <a:gd name="connsiteY8255" fmla="*/ 608940 h 7571036"/>
                  <a:gd name="connsiteX8256" fmla="*/ 3113222 w 6994525"/>
                  <a:gd name="connsiteY8256" fmla="*/ 499235 h 7571036"/>
                  <a:gd name="connsiteX8257" fmla="*/ 3083633 w 6994525"/>
                  <a:gd name="connsiteY8257" fmla="*/ 469648 h 7571036"/>
                  <a:gd name="connsiteX8258" fmla="*/ 3054044 w 6994525"/>
                  <a:gd name="connsiteY8258" fmla="*/ 499235 h 7571036"/>
                  <a:gd name="connsiteX8259" fmla="*/ 3083633 w 6994525"/>
                  <a:gd name="connsiteY8259" fmla="*/ 528824 h 7571036"/>
                  <a:gd name="connsiteX8260" fmla="*/ 3113222 w 6994525"/>
                  <a:gd name="connsiteY8260" fmla="*/ 499235 h 7571036"/>
                  <a:gd name="connsiteX8261" fmla="*/ 3113962 w 6994525"/>
                  <a:gd name="connsiteY8261" fmla="*/ 718433 h 7571036"/>
                  <a:gd name="connsiteX8262" fmla="*/ 3083387 w 6994525"/>
                  <a:gd name="connsiteY8262" fmla="*/ 687862 h 7571036"/>
                  <a:gd name="connsiteX8263" fmla="*/ 3053057 w 6994525"/>
                  <a:gd name="connsiteY8263" fmla="*/ 718433 h 7571036"/>
                  <a:gd name="connsiteX8264" fmla="*/ 3083387 w 6994525"/>
                  <a:gd name="connsiteY8264" fmla="*/ 749013 h 7571036"/>
                  <a:gd name="connsiteX8265" fmla="*/ 3113962 w 6994525"/>
                  <a:gd name="connsiteY8265" fmla="*/ 718433 h 7571036"/>
                  <a:gd name="connsiteX8266" fmla="*/ 3114701 w 6994525"/>
                  <a:gd name="connsiteY8266" fmla="*/ 3935769 h 7571036"/>
                  <a:gd name="connsiteX8267" fmla="*/ 3072538 w 6994525"/>
                  <a:gd name="connsiteY8267" fmla="*/ 3893603 h 7571036"/>
                  <a:gd name="connsiteX8268" fmla="*/ 3030373 w 6994525"/>
                  <a:gd name="connsiteY8268" fmla="*/ 3935769 h 7571036"/>
                  <a:gd name="connsiteX8269" fmla="*/ 3072538 w 6994525"/>
                  <a:gd name="connsiteY8269" fmla="*/ 3977931 h 7571036"/>
                  <a:gd name="connsiteX8270" fmla="*/ 3114701 w 6994525"/>
                  <a:gd name="connsiteY8270" fmla="*/ 3935769 h 7571036"/>
                  <a:gd name="connsiteX8271" fmla="*/ 3117167 w 6994525"/>
                  <a:gd name="connsiteY8271" fmla="*/ 2738412 h 7571036"/>
                  <a:gd name="connsiteX8272" fmla="*/ 3097441 w 6994525"/>
                  <a:gd name="connsiteY8272" fmla="*/ 2718687 h 7571036"/>
                  <a:gd name="connsiteX8273" fmla="*/ 3077716 w 6994525"/>
                  <a:gd name="connsiteY8273" fmla="*/ 2738412 h 7571036"/>
                  <a:gd name="connsiteX8274" fmla="*/ 3097441 w 6994525"/>
                  <a:gd name="connsiteY8274" fmla="*/ 2758138 h 7571036"/>
                  <a:gd name="connsiteX8275" fmla="*/ 3117167 w 6994525"/>
                  <a:gd name="connsiteY8275" fmla="*/ 2738412 h 7571036"/>
                  <a:gd name="connsiteX8276" fmla="*/ 3123085 w 6994525"/>
                  <a:gd name="connsiteY8276" fmla="*/ 2618334 h 7571036"/>
                  <a:gd name="connsiteX8277" fmla="*/ 3095220 w 6994525"/>
                  <a:gd name="connsiteY8277" fmla="*/ 2590471 h 7571036"/>
                  <a:gd name="connsiteX8278" fmla="*/ 3067358 w 6994525"/>
                  <a:gd name="connsiteY8278" fmla="*/ 2618334 h 7571036"/>
                  <a:gd name="connsiteX8279" fmla="*/ 3095220 w 6994525"/>
                  <a:gd name="connsiteY8279" fmla="*/ 2646445 h 7571036"/>
                  <a:gd name="connsiteX8280" fmla="*/ 3123085 w 6994525"/>
                  <a:gd name="connsiteY8280" fmla="*/ 2618334 h 7571036"/>
                  <a:gd name="connsiteX8281" fmla="*/ 3123577 w 6994525"/>
                  <a:gd name="connsiteY8281" fmla="*/ 2270927 h 7571036"/>
                  <a:gd name="connsiteX8282" fmla="*/ 3091029 w 6994525"/>
                  <a:gd name="connsiteY8282" fmla="*/ 2238381 h 7571036"/>
                  <a:gd name="connsiteX8283" fmla="*/ 3058235 w 6994525"/>
                  <a:gd name="connsiteY8283" fmla="*/ 2270927 h 7571036"/>
                  <a:gd name="connsiteX8284" fmla="*/ 3091029 w 6994525"/>
                  <a:gd name="connsiteY8284" fmla="*/ 2303477 h 7571036"/>
                  <a:gd name="connsiteX8285" fmla="*/ 3123577 w 6994525"/>
                  <a:gd name="connsiteY8285" fmla="*/ 2270927 h 7571036"/>
                  <a:gd name="connsiteX8286" fmla="*/ 3123826 w 6994525"/>
                  <a:gd name="connsiteY8286" fmla="*/ 3796701 h 7571036"/>
                  <a:gd name="connsiteX8287" fmla="*/ 3090291 w 6994525"/>
                  <a:gd name="connsiteY8287" fmla="*/ 3763166 h 7571036"/>
                  <a:gd name="connsiteX8288" fmla="*/ 3056757 w 6994525"/>
                  <a:gd name="connsiteY8288" fmla="*/ 3796701 h 7571036"/>
                  <a:gd name="connsiteX8289" fmla="*/ 3090291 w 6994525"/>
                  <a:gd name="connsiteY8289" fmla="*/ 3829989 h 7571036"/>
                  <a:gd name="connsiteX8290" fmla="*/ 3123826 w 6994525"/>
                  <a:gd name="connsiteY8290" fmla="*/ 3796701 h 7571036"/>
                  <a:gd name="connsiteX8291" fmla="*/ 3127027 w 6994525"/>
                  <a:gd name="connsiteY8291" fmla="*/ 2157513 h 7571036"/>
                  <a:gd name="connsiteX8292" fmla="*/ 3090288 w 6994525"/>
                  <a:gd name="connsiteY8292" fmla="*/ 2120525 h 7571036"/>
                  <a:gd name="connsiteX8293" fmla="*/ 3053549 w 6994525"/>
                  <a:gd name="connsiteY8293" fmla="*/ 2157513 h 7571036"/>
                  <a:gd name="connsiteX8294" fmla="*/ 3090288 w 6994525"/>
                  <a:gd name="connsiteY8294" fmla="*/ 2194254 h 7571036"/>
                  <a:gd name="connsiteX8295" fmla="*/ 3127027 w 6994525"/>
                  <a:gd name="connsiteY8295" fmla="*/ 2157513 h 7571036"/>
                  <a:gd name="connsiteX8296" fmla="*/ 3133194 w 6994525"/>
                  <a:gd name="connsiteY8296" fmla="*/ 2500968 h 7571036"/>
                  <a:gd name="connsiteX8297" fmla="*/ 3093496 w 6994525"/>
                  <a:gd name="connsiteY8297" fmla="*/ 2461271 h 7571036"/>
                  <a:gd name="connsiteX8298" fmla="*/ 3053798 w 6994525"/>
                  <a:gd name="connsiteY8298" fmla="*/ 2500968 h 7571036"/>
                  <a:gd name="connsiteX8299" fmla="*/ 3093496 w 6994525"/>
                  <a:gd name="connsiteY8299" fmla="*/ 2540669 h 7571036"/>
                  <a:gd name="connsiteX8300" fmla="*/ 3133194 w 6994525"/>
                  <a:gd name="connsiteY8300" fmla="*/ 2500968 h 7571036"/>
                  <a:gd name="connsiteX8301" fmla="*/ 3137631 w 6994525"/>
                  <a:gd name="connsiteY8301" fmla="*/ 2385332 h 7571036"/>
                  <a:gd name="connsiteX8302" fmla="*/ 3092260 w 6994525"/>
                  <a:gd name="connsiteY8302" fmla="*/ 2339965 h 7571036"/>
                  <a:gd name="connsiteX8303" fmla="*/ 3046891 w 6994525"/>
                  <a:gd name="connsiteY8303" fmla="*/ 2385332 h 7571036"/>
                  <a:gd name="connsiteX8304" fmla="*/ 3092260 w 6994525"/>
                  <a:gd name="connsiteY8304" fmla="*/ 2430701 h 7571036"/>
                  <a:gd name="connsiteX8305" fmla="*/ 3137631 w 6994525"/>
                  <a:gd name="connsiteY8305" fmla="*/ 2385332 h 7571036"/>
                  <a:gd name="connsiteX8306" fmla="*/ 3144289 w 6994525"/>
                  <a:gd name="connsiteY8306" fmla="*/ 5697309 h 7571036"/>
                  <a:gd name="connsiteX8307" fmla="*/ 3141825 w 6994525"/>
                  <a:gd name="connsiteY8307" fmla="*/ 5694841 h 7571036"/>
                  <a:gd name="connsiteX8308" fmla="*/ 3139358 w 6994525"/>
                  <a:gd name="connsiteY8308" fmla="*/ 5697309 h 7571036"/>
                  <a:gd name="connsiteX8309" fmla="*/ 3141825 w 6994525"/>
                  <a:gd name="connsiteY8309" fmla="*/ 5699773 h 7571036"/>
                  <a:gd name="connsiteX8310" fmla="*/ 3144289 w 6994525"/>
                  <a:gd name="connsiteY8310" fmla="*/ 5697309 h 7571036"/>
                  <a:gd name="connsiteX8311" fmla="*/ 3144535 w 6994525"/>
                  <a:gd name="connsiteY8311" fmla="*/ 5916760 h 7571036"/>
                  <a:gd name="connsiteX8312" fmla="*/ 3142316 w 6994525"/>
                  <a:gd name="connsiteY8312" fmla="*/ 5914541 h 7571036"/>
                  <a:gd name="connsiteX8313" fmla="*/ 3140098 w 6994525"/>
                  <a:gd name="connsiteY8313" fmla="*/ 5916760 h 7571036"/>
                  <a:gd name="connsiteX8314" fmla="*/ 3142316 w 6994525"/>
                  <a:gd name="connsiteY8314" fmla="*/ 5918977 h 7571036"/>
                  <a:gd name="connsiteX8315" fmla="*/ 3144535 w 6994525"/>
                  <a:gd name="connsiteY8315" fmla="*/ 5916760 h 7571036"/>
                  <a:gd name="connsiteX8316" fmla="*/ 3144535 w 6994525"/>
                  <a:gd name="connsiteY8316" fmla="*/ 7335309 h 7571036"/>
                  <a:gd name="connsiteX8317" fmla="*/ 3141576 w 6994525"/>
                  <a:gd name="connsiteY8317" fmla="*/ 7332350 h 7571036"/>
                  <a:gd name="connsiteX8318" fmla="*/ 3138617 w 6994525"/>
                  <a:gd name="connsiteY8318" fmla="*/ 7335309 h 7571036"/>
                  <a:gd name="connsiteX8319" fmla="*/ 3141576 w 6994525"/>
                  <a:gd name="connsiteY8319" fmla="*/ 7338268 h 7571036"/>
                  <a:gd name="connsiteX8320" fmla="*/ 3144535 w 6994525"/>
                  <a:gd name="connsiteY8320" fmla="*/ 7335309 h 7571036"/>
                  <a:gd name="connsiteX8321" fmla="*/ 3144535 w 6994525"/>
                  <a:gd name="connsiteY8321" fmla="*/ 7444049 h 7571036"/>
                  <a:gd name="connsiteX8322" fmla="*/ 3141576 w 6994525"/>
                  <a:gd name="connsiteY8322" fmla="*/ 7441089 h 7571036"/>
                  <a:gd name="connsiteX8323" fmla="*/ 3138617 w 6994525"/>
                  <a:gd name="connsiteY8323" fmla="*/ 7444049 h 7571036"/>
                  <a:gd name="connsiteX8324" fmla="*/ 3141576 w 6994525"/>
                  <a:gd name="connsiteY8324" fmla="*/ 7447008 h 7571036"/>
                  <a:gd name="connsiteX8325" fmla="*/ 3144535 w 6994525"/>
                  <a:gd name="connsiteY8325" fmla="*/ 7444049 h 7571036"/>
                  <a:gd name="connsiteX8326" fmla="*/ 3144781 w 6994525"/>
                  <a:gd name="connsiteY8326" fmla="*/ 6572403 h 7571036"/>
                  <a:gd name="connsiteX8327" fmla="*/ 3141576 w 6994525"/>
                  <a:gd name="connsiteY8327" fmla="*/ 6569198 h 7571036"/>
                  <a:gd name="connsiteX8328" fmla="*/ 3138372 w 6994525"/>
                  <a:gd name="connsiteY8328" fmla="*/ 6572403 h 7571036"/>
                  <a:gd name="connsiteX8329" fmla="*/ 3141576 w 6994525"/>
                  <a:gd name="connsiteY8329" fmla="*/ 6575611 h 7571036"/>
                  <a:gd name="connsiteX8330" fmla="*/ 3144781 w 6994525"/>
                  <a:gd name="connsiteY8330" fmla="*/ 6572403 h 7571036"/>
                  <a:gd name="connsiteX8331" fmla="*/ 3144784 w 6994525"/>
                  <a:gd name="connsiteY8331" fmla="*/ 7553035 h 7571036"/>
                  <a:gd name="connsiteX8332" fmla="*/ 3141825 w 6994525"/>
                  <a:gd name="connsiteY8332" fmla="*/ 7550077 h 7571036"/>
                  <a:gd name="connsiteX8333" fmla="*/ 3138866 w 6994525"/>
                  <a:gd name="connsiteY8333" fmla="*/ 7553035 h 7571036"/>
                  <a:gd name="connsiteX8334" fmla="*/ 3141825 w 6994525"/>
                  <a:gd name="connsiteY8334" fmla="*/ 7555994 h 7571036"/>
                  <a:gd name="connsiteX8335" fmla="*/ 3144784 w 6994525"/>
                  <a:gd name="connsiteY8335" fmla="*/ 7553035 h 7571036"/>
                  <a:gd name="connsiteX8336" fmla="*/ 3145278 w 6994525"/>
                  <a:gd name="connsiteY8336" fmla="*/ 6026239 h 7571036"/>
                  <a:gd name="connsiteX8337" fmla="*/ 3142566 w 6994525"/>
                  <a:gd name="connsiteY8337" fmla="*/ 6023526 h 7571036"/>
                  <a:gd name="connsiteX8338" fmla="*/ 3139853 w 6994525"/>
                  <a:gd name="connsiteY8338" fmla="*/ 6026239 h 7571036"/>
                  <a:gd name="connsiteX8339" fmla="*/ 3142566 w 6994525"/>
                  <a:gd name="connsiteY8339" fmla="*/ 6028952 h 7571036"/>
                  <a:gd name="connsiteX8340" fmla="*/ 3145278 w 6994525"/>
                  <a:gd name="connsiteY8340" fmla="*/ 6026239 h 7571036"/>
                  <a:gd name="connsiteX8341" fmla="*/ 3145520 w 6994525"/>
                  <a:gd name="connsiteY8341" fmla="*/ 6244953 h 7571036"/>
                  <a:gd name="connsiteX8342" fmla="*/ 3143056 w 6994525"/>
                  <a:gd name="connsiteY8342" fmla="*/ 6242485 h 7571036"/>
                  <a:gd name="connsiteX8343" fmla="*/ 3140590 w 6994525"/>
                  <a:gd name="connsiteY8343" fmla="*/ 6244953 h 7571036"/>
                  <a:gd name="connsiteX8344" fmla="*/ 3143056 w 6994525"/>
                  <a:gd name="connsiteY8344" fmla="*/ 6247416 h 7571036"/>
                  <a:gd name="connsiteX8345" fmla="*/ 3145520 w 6994525"/>
                  <a:gd name="connsiteY8345" fmla="*/ 6244953 h 7571036"/>
                  <a:gd name="connsiteX8346" fmla="*/ 3145524 w 6994525"/>
                  <a:gd name="connsiteY8346" fmla="*/ 7008598 h 7571036"/>
                  <a:gd name="connsiteX8347" fmla="*/ 3142565 w 6994525"/>
                  <a:gd name="connsiteY8347" fmla="*/ 7005638 h 7571036"/>
                  <a:gd name="connsiteX8348" fmla="*/ 3139606 w 6994525"/>
                  <a:gd name="connsiteY8348" fmla="*/ 7008598 h 7571036"/>
                  <a:gd name="connsiteX8349" fmla="*/ 3142565 w 6994525"/>
                  <a:gd name="connsiteY8349" fmla="*/ 7011557 h 7571036"/>
                  <a:gd name="connsiteX8350" fmla="*/ 3145524 w 6994525"/>
                  <a:gd name="connsiteY8350" fmla="*/ 7008598 h 7571036"/>
                  <a:gd name="connsiteX8351" fmla="*/ 3145770 w 6994525"/>
                  <a:gd name="connsiteY8351" fmla="*/ 6135474 h 7571036"/>
                  <a:gd name="connsiteX8352" fmla="*/ 3142811 w 6994525"/>
                  <a:gd name="connsiteY8352" fmla="*/ 6132514 h 7571036"/>
                  <a:gd name="connsiteX8353" fmla="*/ 3139853 w 6994525"/>
                  <a:gd name="connsiteY8353" fmla="*/ 6135474 h 7571036"/>
                  <a:gd name="connsiteX8354" fmla="*/ 3142811 w 6994525"/>
                  <a:gd name="connsiteY8354" fmla="*/ 6138433 h 7571036"/>
                  <a:gd name="connsiteX8355" fmla="*/ 3145770 w 6994525"/>
                  <a:gd name="connsiteY8355" fmla="*/ 6135474 h 7571036"/>
                  <a:gd name="connsiteX8356" fmla="*/ 3145770 w 6994525"/>
                  <a:gd name="connsiteY8356" fmla="*/ 7226321 h 7571036"/>
                  <a:gd name="connsiteX8357" fmla="*/ 3142811 w 6994525"/>
                  <a:gd name="connsiteY8357" fmla="*/ 7223362 h 7571036"/>
                  <a:gd name="connsiteX8358" fmla="*/ 3139853 w 6994525"/>
                  <a:gd name="connsiteY8358" fmla="*/ 7226321 h 7571036"/>
                  <a:gd name="connsiteX8359" fmla="*/ 3142811 w 6994525"/>
                  <a:gd name="connsiteY8359" fmla="*/ 7229280 h 7571036"/>
                  <a:gd name="connsiteX8360" fmla="*/ 3145770 w 6994525"/>
                  <a:gd name="connsiteY8360" fmla="*/ 7226321 h 7571036"/>
                  <a:gd name="connsiteX8361" fmla="*/ 3146016 w 6994525"/>
                  <a:gd name="connsiteY8361" fmla="*/ 5257415 h 7571036"/>
                  <a:gd name="connsiteX8362" fmla="*/ 3143797 w 6994525"/>
                  <a:gd name="connsiteY8362" fmla="*/ 5255196 h 7571036"/>
                  <a:gd name="connsiteX8363" fmla="*/ 3141579 w 6994525"/>
                  <a:gd name="connsiteY8363" fmla="*/ 5257415 h 7571036"/>
                  <a:gd name="connsiteX8364" fmla="*/ 3143797 w 6994525"/>
                  <a:gd name="connsiteY8364" fmla="*/ 5259636 h 7571036"/>
                  <a:gd name="connsiteX8365" fmla="*/ 3146016 w 6994525"/>
                  <a:gd name="connsiteY8365" fmla="*/ 5257415 h 7571036"/>
                  <a:gd name="connsiteX8366" fmla="*/ 3146016 w 6994525"/>
                  <a:gd name="connsiteY8366" fmla="*/ 7117582 h 7571036"/>
                  <a:gd name="connsiteX8367" fmla="*/ 3142810 w 6994525"/>
                  <a:gd name="connsiteY8367" fmla="*/ 7114377 h 7571036"/>
                  <a:gd name="connsiteX8368" fmla="*/ 3139606 w 6994525"/>
                  <a:gd name="connsiteY8368" fmla="*/ 7117582 h 7571036"/>
                  <a:gd name="connsiteX8369" fmla="*/ 3142810 w 6994525"/>
                  <a:gd name="connsiteY8369" fmla="*/ 7120787 h 7571036"/>
                  <a:gd name="connsiteX8370" fmla="*/ 3146016 w 6994525"/>
                  <a:gd name="connsiteY8370" fmla="*/ 7117582 h 7571036"/>
                  <a:gd name="connsiteX8371" fmla="*/ 3146510 w 6994525"/>
                  <a:gd name="connsiteY8371" fmla="*/ 5807031 h 7571036"/>
                  <a:gd name="connsiteX8372" fmla="*/ 3142070 w 6994525"/>
                  <a:gd name="connsiteY8372" fmla="*/ 5802595 h 7571036"/>
                  <a:gd name="connsiteX8373" fmla="*/ 3137634 w 6994525"/>
                  <a:gd name="connsiteY8373" fmla="*/ 5807031 h 7571036"/>
                  <a:gd name="connsiteX8374" fmla="*/ 3142070 w 6994525"/>
                  <a:gd name="connsiteY8374" fmla="*/ 5811471 h 7571036"/>
                  <a:gd name="connsiteX8375" fmla="*/ 3146510 w 6994525"/>
                  <a:gd name="connsiteY8375" fmla="*/ 5807031 h 7571036"/>
                  <a:gd name="connsiteX8376" fmla="*/ 3147248 w 6994525"/>
                  <a:gd name="connsiteY8376" fmla="*/ 6681639 h 7571036"/>
                  <a:gd name="connsiteX8377" fmla="*/ 3141825 w 6994525"/>
                  <a:gd name="connsiteY8377" fmla="*/ 6676213 h 7571036"/>
                  <a:gd name="connsiteX8378" fmla="*/ 3136399 w 6994525"/>
                  <a:gd name="connsiteY8378" fmla="*/ 6681639 h 7571036"/>
                  <a:gd name="connsiteX8379" fmla="*/ 3141825 w 6994525"/>
                  <a:gd name="connsiteY8379" fmla="*/ 6687063 h 7571036"/>
                  <a:gd name="connsiteX8380" fmla="*/ 3147248 w 6994525"/>
                  <a:gd name="connsiteY8380" fmla="*/ 6681639 h 7571036"/>
                  <a:gd name="connsiteX8381" fmla="*/ 3147496 w 6994525"/>
                  <a:gd name="connsiteY8381" fmla="*/ 6790624 h 7571036"/>
                  <a:gd name="connsiteX8382" fmla="*/ 3142070 w 6994525"/>
                  <a:gd name="connsiteY8382" fmla="*/ 6785198 h 7571036"/>
                  <a:gd name="connsiteX8383" fmla="*/ 3136647 w 6994525"/>
                  <a:gd name="connsiteY8383" fmla="*/ 6790624 h 7571036"/>
                  <a:gd name="connsiteX8384" fmla="*/ 3142070 w 6994525"/>
                  <a:gd name="connsiteY8384" fmla="*/ 6796048 h 7571036"/>
                  <a:gd name="connsiteX8385" fmla="*/ 3147496 w 6994525"/>
                  <a:gd name="connsiteY8385" fmla="*/ 6790624 h 7571036"/>
                  <a:gd name="connsiteX8386" fmla="*/ 3148234 w 6994525"/>
                  <a:gd name="connsiteY8386" fmla="*/ 6899609 h 7571036"/>
                  <a:gd name="connsiteX8387" fmla="*/ 3142316 w 6994525"/>
                  <a:gd name="connsiteY8387" fmla="*/ 6893691 h 7571036"/>
                  <a:gd name="connsiteX8388" fmla="*/ 3136399 w 6994525"/>
                  <a:gd name="connsiteY8388" fmla="*/ 6899609 h 7571036"/>
                  <a:gd name="connsiteX8389" fmla="*/ 3142316 w 6994525"/>
                  <a:gd name="connsiteY8389" fmla="*/ 6905526 h 7571036"/>
                  <a:gd name="connsiteX8390" fmla="*/ 3148234 w 6994525"/>
                  <a:gd name="connsiteY8390" fmla="*/ 6899609 h 7571036"/>
                  <a:gd name="connsiteX8391" fmla="*/ 3149960 w 6994525"/>
                  <a:gd name="connsiteY8391" fmla="*/ 4924293 h 7571036"/>
                  <a:gd name="connsiteX8392" fmla="*/ 3143057 w 6994525"/>
                  <a:gd name="connsiteY8392" fmla="*/ 4917389 h 7571036"/>
                  <a:gd name="connsiteX8393" fmla="*/ 3136153 w 6994525"/>
                  <a:gd name="connsiteY8393" fmla="*/ 4924293 h 7571036"/>
                  <a:gd name="connsiteX8394" fmla="*/ 3143057 w 6994525"/>
                  <a:gd name="connsiteY8394" fmla="*/ 4931197 h 7571036"/>
                  <a:gd name="connsiteX8395" fmla="*/ 3149960 w 6994525"/>
                  <a:gd name="connsiteY8395" fmla="*/ 4924293 h 7571036"/>
                  <a:gd name="connsiteX8396" fmla="*/ 3149962 w 6994525"/>
                  <a:gd name="connsiteY8396" fmla="*/ 6463418 h 7571036"/>
                  <a:gd name="connsiteX8397" fmla="*/ 3143551 w 6994525"/>
                  <a:gd name="connsiteY8397" fmla="*/ 6457253 h 7571036"/>
                  <a:gd name="connsiteX8398" fmla="*/ 3137139 w 6994525"/>
                  <a:gd name="connsiteY8398" fmla="*/ 6463418 h 7571036"/>
                  <a:gd name="connsiteX8399" fmla="*/ 3143551 w 6994525"/>
                  <a:gd name="connsiteY8399" fmla="*/ 6469830 h 7571036"/>
                  <a:gd name="connsiteX8400" fmla="*/ 3149962 w 6994525"/>
                  <a:gd name="connsiteY8400" fmla="*/ 6463418 h 7571036"/>
                  <a:gd name="connsiteX8401" fmla="*/ 3150206 w 6994525"/>
                  <a:gd name="connsiteY8401" fmla="*/ 6354184 h 7571036"/>
                  <a:gd name="connsiteX8402" fmla="*/ 3143303 w 6994525"/>
                  <a:gd name="connsiteY8402" fmla="*/ 6347279 h 7571036"/>
                  <a:gd name="connsiteX8403" fmla="*/ 3136399 w 6994525"/>
                  <a:gd name="connsiteY8403" fmla="*/ 6354184 h 7571036"/>
                  <a:gd name="connsiteX8404" fmla="*/ 3143303 w 6994525"/>
                  <a:gd name="connsiteY8404" fmla="*/ 6361088 h 7571036"/>
                  <a:gd name="connsiteX8405" fmla="*/ 3150206 w 6994525"/>
                  <a:gd name="connsiteY8405" fmla="*/ 6354184 h 7571036"/>
                  <a:gd name="connsiteX8406" fmla="*/ 3154152 w 6994525"/>
                  <a:gd name="connsiteY8406" fmla="*/ 5477855 h 7571036"/>
                  <a:gd name="connsiteX8407" fmla="*/ 3144289 w 6994525"/>
                  <a:gd name="connsiteY8407" fmla="*/ 5467992 h 7571036"/>
                  <a:gd name="connsiteX8408" fmla="*/ 3134181 w 6994525"/>
                  <a:gd name="connsiteY8408" fmla="*/ 5477855 h 7571036"/>
                  <a:gd name="connsiteX8409" fmla="*/ 3144289 w 6994525"/>
                  <a:gd name="connsiteY8409" fmla="*/ 5487964 h 7571036"/>
                  <a:gd name="connsiteX8410" fmla="*/ 3154152 w 6994525"/>
                  <a:gd name="connsiteY8410" fmla="*/ 5477855 h 7571036"/>
                  <a:gd name="connsiteX8411" fmla="*/ 3154646 w 6994525"/>
                  <a:gd name="connsiteY8411" fmla="*/ 1698439 h 7571036"/>
                  <a:gd name="connsiteX8412" fmla="*/ 3141329 w 6994525"/>
                  <a:gd name="connsiteY8412" fmla="*/ 1685125 h 7571036"/>
                  <a:gd name="connsiteX8413" fmla="*/ 3128016 w 6994525"/>
                  <a:gd name="connsiteY8413" fmla="*/ 1698439 h 7571036"/>
                  <a:gd name="connsiteX8414" fmla="*/ 3141329 w 6994525"/>
                  <a:gd name="connsiteY8414" fmla="*/ 1711737 h 7571036"/>
                  <a:gd name="connsiteX8415" fmla="*/ 3154646 w 6994525"/>
                  <a:gd name="connsiteY8415" fmla="*/ 1698439 h 7571036"/>
                  <a:gd name="connsiteX8416" fmla="*/ 3155385 w 6994525"/>
                  <a:gd name="connsiteY8416" fmla="*/ 1808915 h 7571036"/>
                  <a:gd name="connsiteX8417" fmla="*/ 3141330 w 6994525"/>
                  <a:gd name="connsiteY8417" fmla="*/ 1794859 h 7571036"/>
                  <a:gd name="connsiteX8418" fmla="*/ 3127276 w 6994525"/>
                  <a:gd name="connsiteY8418" fmla="*/ 1808915 h 7571036"/>
                  <a:gd name="connsiteX8419" fmla="*/ 3141330 w 6994525"/>
                  <a:gd name="connsiteY8419" fmla="*/ 1822969 h 7571036"/>
                  <a:gd name="connsiteX8420" fmla="*/ 3155385 w 6994525"/>
                  <a:gd name="connsiteY8420" fmla="*/ 1808915 h 7571036"/>
                  <a:gd name="connsiteX8421" fmla="*/ 3157357 w 6994525"/>
                  <a:gd name="connsiteY8421" fmla="*/ 4242263 h 7571036"/>
                  <a:gd name="connsiteX8422" fmla="*/ 3149962 w 6994525"/>
                  <a:gd name="connsiteY8422" fmla="*/ 4234865 h 7571036"/>
                  <a:gd name="connsiteX8423" fmla="*/ 3142563 w 6994525"/>
                  <a:gd name="connsiteY8423" fmla="*/ 4242263 h 7571036"/>
                  <a:gd name="connsiteX8424" fmla="*/ 3149962 w 6994525"/>
                  <a:gd name="connsiteY8424" fmla="*/ 4249659 h 7571036"/>
                  <a:gd name="connsiteX8425" fmla="*/ 3157357 w 6994525"/>
                  <a:gd name="connsiteY8425" fmla="*/ 4242263 h 7571036"/>
                  <a:gd name="connsiteX8426" fmla="*/ 3158591 w 6994525"/>
                  <a:gd name="connsiteY8426" fmla="*/ 5367635 h 7571036"/>
                  <a:gd name="connsiteX8427" fmla="*/ 3144044 w 6994525"/>
                  <a:gd name="connsiteY8427" fmla="*/ 5353086 h 7571036"/>
                  <a:gd name="connsiteX8428" fmla="*/ 3129495 w 6994525"/>
                  <a:gd name="connsiteY8428" fmla="*/ 5367635 h 7571036"/>
                  <a:gd name="connsiteX8429" fmla="*/ 3144044 w 6994525"/>
                  <a:gd name="connsiteY8429" fmla="*/ 5382180 h 7571036"/>
                  <a:gd name="connsiteX8430" fmla="*/ 3158591 w 6994525"/>
                  <a:gd name="connsiteY8430" fmla="*/ 5367635 h 7571036"/>
                  <a:gd name="connsiteX8431" fmla="*/ 3158592 w 6994525"/>
                  <a:gd name="connsiteY8431" fmla="*/ 1587983 h 7571036"/>
                  <a:gd name="connsiteX8432" fmla="*/ 3141085 w 6994525"/>
                  <a:gd name="connsiteY8432" fmla="*/ 1570478 h 7571036"/>
                  <a:gd name="connsiteX8433" fmla="*/ 3123577 w 6994525"/>
                  <a:gd name="connsiteY8433" fmla="*/ 1587983 h 7571036"/>
                  <a:gd name="connsiteX8434" fmla="*/ 3141085 w 6994525"/>
                  <a:gd name="connsiteY8434" fmla="*/ 1605493 h 7571036"/>
                  <a:gd name="connsiteX8435" fmla="*/ 3158592 w 6994525"/>
                  <a:gd name="connsiteY8435" fmla="*/ 1587983 h 7571036"/>
                  <a:gd name="connsiteX8436" fmla="*/ 3158838 w 6994525"/>
                  <a:gd name="connsiteY8436" fmla="*/ 3258921 h 7571036"/>
                  <a:gd name="connsiteX8437" fmla="*/ 3151196 w 6994525"/>
                  <a:gd name="connsiteY8437" fmla="*/ 3251276 h 7571036"/>
                  <a:gd name="connsiteX8438" fmla="*/ 3143551 w 6994525"/>
                  <a:gd name="connsiteY8438" fmla="*/ 3258921 h 7571036"/>
                  <a:gd name="connsiteX8439" fmla="*/ 3151196 w 6994525"/>
                  <a:gd name="connsiteY8439" fmla="*/ 3266565 h 7571036"/>
                  <a:gd name="connsiteX8440" fmla="*/ 3158838 w 6994525"/>
                  <a:gd name="connsiteY8440" fmla="*/ 3258921 h 7571036"/>
                  <a:gd name="connsiteX8441" fmla="*/ 3164016 w 6994525"/>
                  <a:gd name="connsiteY8441" fmla="*/ 5146704 h 7571036"/>
                  <a:gd name="connsiteX8442" fmla="*/ 3143551 w 6994525"/>
                  <a:gd name="connsiteY8442" fmla="*/ 5126237 h 7571036"/>
                  <a:gd name="connsiteX8443" fmla="*/ 3123085 w 6994525"/>
                  <a:gd name="connsiteY8443" fmla="*/ 5146704 h 7571036"/>
                  <a:gd name="connsiteX8444" fmla="*/ 3143551 w 6994525"/>
                  <a:gd name="connsiteY8444" fmla="*/ 5167171 h 7571036"/>
                  <a:gd name="connsiteX8445" fmla="*/ 3164016 w 6994525"/>
                  <a:gd name="connsiteY8445" fmla="*/ 5146704 h 7571036"/>
                  <a:gd name="connsiteX8446" fmla="*/ 3165496 w 6994525"/>
                  <a:gd name="connsiteY8446" fmla="*/ 383366 h 7571036"/>
                  <a:gd name="connsiteX8447" fmla="*/ 3138617 w 6994525"/>
                  <a:gd name="connsiteY8447" fmla="*/ 356491 h 7571036"/>
                  <a:gd name="connsiteX8448" fmla="*/ 3111741 w 6994525"/>
                  <a:gd name="connsiteY8448" fmla="*/ 383366 h 7571036"/>
                  <a:gd name="connsiteX8449" fmla="*/ 3138617 w 6994525"/>
                  <a:gd name="connsiteY8449" fmla="*/ 410244 h 7571036"/>
                  <a:gd name="connsiteX8450" fmla="*/ 3165496 w 6994525"/>
                  <a:gd name="connsiteY8450" fmla="*/ 383366 h 7571036"/>
                  <a:gd name="connsiteX8451" fmla="*/ 3165987 w 6994525"/>
                  <a:gd name="connsiteY8451" fmla="*/ 274155 h 7571036"/>
                  <a:gd name="connsiteX8452" fmla="*/ 3138865 w 6994525"/>
                  <a:gd name="connsiteY8452" fmla="*/ 247034 h 7571036"/>
                  <a:gd name="connsiteX8453" fmla="*/ 3111741 w 6994525"/>
                  <a:gd name="connsiteY8453" fmla="*/ 274155 h 7571036"/>
                  <a:gd name="connsiteX8454" fmla="*/ 3138865 w 6994525"/>
                  <a:gd name="connsiteY8454" fmla="*/ 301279 h 7571036"/>
                  <a:gd name="connsiteX8455" fmla="*/ 3165987 w 6994525"/>
                  <a:gd name="connsiteY8455" fmla="*/ 274155 h 7571036"/>
                  <a:gd name="connsiteX8456" fmla="*/ 3165988 w 6994525"/>
                  <a:gd name="connsiteY8456" fmla="*/ 1477778 h 7571036"/>
                  <a:gd name="connsiteX8457" fmla="*/ 3141330 w 6994525"/>
                  <a:gd name="connsiteY8457" fmla="*/ 1453122 h 7571036"/>
                  <a:gd name="connsiteX8458" fmla="*/ 3116673 w 6994525"/>
                  <a:gd name="connsiteY8458" fmla="*/ 1477778 h 7571036"/>
                  <a:gd name="connsiteX8459" fmla="*/ 3141330 w 6994525"/>
                  <a:gd name="connsiteY8459" fmla="*/ 1502437 h 7571036"/>
                  <a:gd name="connsiteX8460" fmla="*/ 3165988 w 6994525"/>
                  <a:gd name="connsiteY8460" fmla="*/ 1477778 h 7571036"/>
                  <a:gd name="connsiteX8461" fmla="*/ 3167222 w 6994525"/>
                  <a:gd name="connsiteY8461" fmla="*/ 56232 h 7571036"/>
                  <a:gd name="connsiteX8462" fmla="*/ 3139112 w 6994525"/>
                  <a:gd name="connsiteY8462" fmla="*/ 28371 h 7571036"/>
                  <a:gd name="connsiteX8463" fmla="*/ 3111250 w 6994525"/>
                  <a:gd name="connsiteY8463" fmla="*/ 56232 h 7571036"/>
                  <a:gd name="connsiteX8464" fmla="*/ 3139112 w 6994525"/>
                  <a:gd name="connsiteY8464" fmla="*/ 84096 h 7571036"/>
                  <a:gd name="connsiteX8465" fmla="*/ 3167222 w 6994525"/>
                  <a:gd name="connsiteY8465" fmla="*/ 56232 h 7571036"/>
                  <a:gd name="connsiteX8466" fmla="*/ 3167222 w 6994525"/>
                  <a:gd name="connsiteY8466" fmla="*/ 4588456 h 7571036"/>
                  <a:gd name="connsiteX8467" fmla="*/ 3147497 w 6994525"/>
                  <a:gd name="connsiteY8467" fmla="*/ 4568730 h 7571036"/>
                  <a:gd name="connsiteX8468" fmla="*/ 3127771 w 6994525"/>
                  <a:gd name="connsiteY8468" fmla="*/ 4588456 h 7571036"/>
                  <a:gd name="connsiteX8469" fmla="*/ 3147497 w 6994525"/>
                  <a:gd name="connsiteY8469" fmla="*/ 4608183 h 7571036"/>
                  <a:gd name="connsiteX8470" fmla="*/ 3167222 w 6994525"/>
                  <a:gd name="connsiteY8470" fmla="*/ 4588456 h 7571036"/>
                  <a:gd name="connsiteX8471" fmla="*/ 3167960 w 6994525"/>
                  <a:gd name="connsiteY8471" fmla="*/ 164948 h 7571036"/>
                  <a:gd name="connsiteX8472" fmla="*/ 3139358 w 6994525"/>
                  <a:gd name="connsiteY8472" fmla="*/ 136593 h 7571036"/>
                  <a:gd name="connsiteX8473" fmla="*/ 3110755 w 6994525"/>
                  <a:gd name="connsiteY8473" fmla="*/ 164948 h 7571036"/>
                  <a:gd name="connsiteX8474" fmla="*/ 3139358 w 6994525"/>
                  <a:gd name="connsiteY8474" fmla="*/ 193550 h 7571036"/>
                  <a:gd name="connsiteX8475" fmla="*/ 3167960 w 6994525"/>
                  <a:gd name="connsiteY8475" fmla="*/ 164948 h 7571036"/>
                  <a:gd name="connsiteX8476" fmla="*/ 3169932 w 6994525"/>
                  <a:gd name="connsiteY8476" fmla="*/ 1367815 h 7571036"/>
                  <a:gd name="connsiteX8477" fmla="*/ 3141084 w 6994525"/>
                  <a:gd name="connsiteY8477" fmla="*/ 1338968 h 7571036"/>
                  <a:gd name="connsiteX8478" fmla="*/ 3112235 w 6994525"/>
                  <a:gd name="connsiteY8478" fmla="*/ 1367815 h 7571036"/>
                  <a:gd name="connsiteX8479" fmla="*/ 3141084 w 6994525"/>
                  <a:gd name="connsiteY8479" fmla="*/ 1396671 h 7571036"/>
                  <a:gd name="connsiteX8480" fmla="*/ 3169932 w 6994525"/>
                  <a:gd name="connsiteY8480" fmla="*/ 1367815 h 7571036"/>
                  <a:gd name="connsiteX8481" fmla="*/ 3174619 w 6994525"/>
                  <a:gd name="connsiteY8481" fmla="*/ 1919841 h 7571036"/>
                  <a:gd name="connsiteX8482" fmla="*/ 3141579 w 6994525"/>
                  <a:gd name="connsiteY8482" fmla="*/ 1886805 h 7571036"/>
                  <a:gd name="connsiteX8483" fmla="*/ 3108536 w 6994525"/>
                  <a:gd name="connsiteY8483" fmla="*/ 1919841 h 7571036"/>
                  <a:gd name="connsiteX8484" fmla="*/ 3141579 w 6994525"/>
                  <a:gd name="connsiteY8484" fmla="*/ 1952873 h 7571036"/>
                  <a:gd name="connsiteX8485" fmla="*/ 3174619 w 6994525"/>
                  <a:gd name="connsiteY8485" fmla="*/ 1919841 h 7571036"/>
                  <a:gd name="connsiteX8486" fmla="*/ 3178072 w 6994525"/>
                  <a:gd name="connsiteY8486" fmla="*/ 4813579 h 7571036"/>
                  <a:gd name="connsiteX8487" fmla="*/ 3147248 w 6994525"/>
                  <a:gd name="connsiteY8487" fmla="*/ 4782757 h 7571036"/>
                  <a:gd name="connsiteX8488" fmla="*/ 3116427 w 6994525"/>
                  <a:gd name="connsiteY8488" fmla="*/ 4813579 h 7571036"/>
                  <a:gd name="connsiteX8489" fmla="*/ 3147248 w 6994525"/>
                  <a:gd name="connsiteY8489" fmla="*/ 4844400 h 7571036"/>
                  <a:gd name="connsiteX8490" fmla="*/ 3178072 w 6994525"/>
                  <a:gd name="connsiteY8490" fmla="*/ 4813579 h 7571036"/>
                  <a:gd name="connsiteX8491" fmla="*/ 3181029 w 6994525"/>
                  <a:gd name="connsiteY8491" fmla="*/ 4359143 h 7571036"/>
                  <a:gd name="connsiteX8492" fmla="*/ 3148729 w 6994525"/>
                  <a:gd name="connsiteY8492" fmla="*/ 4326840 h 7571036"/>
                  <a:gd name="connsiteX8493" fmla="*/ 3116427 w 6994525"/>
                  <a:gd name="connsiteY8493" fmla="*/ 4359143 h 7571036"/>
                  <a:gd name="connsiteX8494" fmla="*/ 3148729 w 6994525"/>
                  <a:gd name="connsiteY8494" fmla="*/ 4391441 h 7571036"/>
                  <a:gd name="connsiteX8495" fmla="*/ 3181029 w 6994525"/>
                  <a:gd name="connsiteY8495" fmla="*/ 4359143 h 7571036"/>
                  <a:gd name="connsiteX8496" fmla="*/ 3181277 w 6994525"/>
                  <a:gd name="connsiteY8496" fmla="*/ 2031019 h 7571036"/>
                  <a:gd name="connsiteX8497" fmla="*/ 3141576 w 6994525"/>
                  <a:gd name="connsiteY8497" fmla="*/ 1991322 h 7571036"/>
                  <a:gd name="connsiteX8498" fmla="*/ 3101879 w 6994525"/>
                  <a:gd name="connsiteY8498" fmla="*/ 2031019 h 7571036"/>
                  <a:gd name="connsiteX8499" fmla="*/ 3141576 w 6994525"/>
                  <a:gd name="connsiteY8499" fmla="*/ 2070721 h 7571036"/>
                  <a:gd name="connsiteX8500" fmla="*/ 3181277 w 6994525"/>
                  <a:gd name="connsiteY8500" fmla="*/ 2031019 h 7571036"/>
                  <a:gd name="connsiteX8501" fmla="*/ 3181769 w 6994525"/>
                  <a:gd name="connsiteY8501" fmla="*/ 5035743 h 7571036"/>
                  <a:gd name="connsiteX8502" fmla="*/ 3143304 w 6994525"/>
                  <a:gd name="connsiteY8502" fmla="*/ 4997277 h 7571036"/>
                  <a:gd name="connsiteX8503" fmla="*/ 3104838 w 6994525"/>
                  <a:gd name="connsiteY8503" fmla="*/ 5035743 h 7571036"/>
                  <a:gd name="connsiteX8504" fmla="*/ 3143304 w 6994525"/>
                  <a:gd name="connsiteY8504" fmla="*/ 5074208 h 7571036"/>
                  <a:gd name="connsiteX8505" fmla="*/ 3181769 w 6994525"/>
                  <a:gd name="connsiteY8505" fmla="*/ 5035743 h 7571036"/>
                  <a:gd name="connsiteX8506" fmla="*/ 3182261 w 6994525"/>
                  <a:gd name="connsiteY8506" fmla="*/ 4474539 h 7571036"/>
                  <a:gd name="connsiteX8507" fmla="*/ 3147989 w 6994525"/>
                  <a:gd name="connsiteY8507" fmla="*/ 4440264 h 7571036"/>
                  <a:gd name="connsiteX8508" fmla="*/ 3113714 w 6994525"/>
                  <a:gd name="connsiteY8508" fmla="*/ 4474539 h 7571036"/>
                  <a:gd name="connsiteX8509" fmla="*/ 3147989 w 6994525"/>
                  <a:gd name="connsiteY8509" fmla="*/ 4508811 h 7571036"/>
                  <a:gd name="connsiteX8510" fmla="*/ 3182261 w 6994525"/>
                  <a:gd name="connsiteY8510" fmla="*/ 4474539 h 7571036"/>
                  <a:gd name="connsiteX8511" fmla="*/ 3184730 w 6994525"/>
                  <a:gd name="connsiteY8511" fmla="*/ 4122675 h 7571036"/>
                  <a:gd name="connsiteX8512" fmla="*/ 3151688 w 6994525"/>
                  <a:gd name="connsiteY8512" fmla="*/ 4089632 h 7571036"/>
                  <a:gd name="connsiteX8513" fmla="*/ 3118894 w 6994525"/>
                  <a:gd name="connsiteY8513" fmla="*/ 4122675 h 7571036"/>
                  <a:gd name="connsiteX8514" fmla="*/ 3151688 w 6994525"/>
                  <a:gd name="connsiteY8514" fmla="*/ 4155715 h 7571036"/>
                  <a:gd name="connsiteX8515" fmla="*/ 3184730 w 6994525"/>
                  <a:gd name="connsiteY8515" fmla="*/ 4122675 h 7571036"/>
                  <a:gd name="connsiteX8516" fmla="*/ 3185713 w 6994525"/>
                  <a:gd name="connsiteY8516" fmla="*/ 4701389 h 7571036"/>
                  <a:gd name="connsiteX8517" fmla="*/ 3147496 w 6994525"/>
                  <a:gd name="connsiteY8517" fmla="*/ 4663169 h 7571036"/>
                  <a:gd name="connsiteX8518" fmla="*/ 3109276 w 6994525"/>
                  <a:gd name="connsiteY8518" fmla="*/ 4701389 h 7571036"/>
                  <a:gd name="connsiteX8519" fmla="*/ 3147496 w 6994525"/>
                  <a:gd name="connsiteY8519" fmla="*/ 4739606 h 7571036"/>
                  <a:gd name="connsiteX8520" fmla="*/ 3185713 w 6994525"/>
                  <a:gd name="connsiteY8520" fmla="*/ 4701389 h 7571036"/>
                  <a:gd name="connsiteX8521" fmla="*/ 3188181 w 6994525"/>
                  <a:gd name="connsiteY8521" fmla="*/ 2950213 h 7571036"/>
                  <a:gd name="connsiteX8522" fmla="*/ 3163769 w 6994525"/>
                  <a:gd name="connsiteY8522" fmla="*/ 2926047 h 7571036"/>
                  <a:gd name="connsiteX8523" fmla="*/ 3139606 w 6994525"/>
                  <a:gd name="connsiteY8523" fmla="*/ 2950213 h 7571036"/>
                  <a:gd name="connsiteX8524" fmla="*/ 3163769 w 6994525"/>
                  <a:gd name="connsiteY8524" fmla="*/ 2974622 h 7571036"/>
                  <a:gd name="connsiteX8525" fmla="*/ 3188181 w 6994525"/>
                  <a:gd name="connsiteY8525" fmla="*/ 2950213 h 7571036"/>
                  <a:gd name="connsiteX8526" fmla="*/ 3188181 w 6994525"/>
                  <a:gd name="connsiteY8526" fmla="*/ 3077442 h 7571036"/>
                  <a:gd name="connsiteX8527" fmla="*/ 3171414 w 6994525"/>
                  <a:gd name="connsiteY8527" fmla="*/ 3060675 h 7571036"/>
                  <a:gd name="connsiteX8528" fmla="*/ 3154647 w 6994525"/>
                  <a:gd name="connsiteY8528" fmla="*/ 3077442 h 7571036"/>
                  <a:gd name="connsiteX8529" fmla="*/ 3171414 w 6994525"/>
                  <a:gd name="connsiteY8529" fmla="*/ 3094209 h 7571036"/>
                  <a:gd name="connsiteX8530" fmla="*/ 3188181 w 6994525"/>
                  <a:gd name="connsiteY8530" fmla="*/ 3077442 h 7571036"/>
                  <a:gd name="connsiteX8531" fmla="*/ 3201989 w 6994525"/>
                  <a:gd name="connsiteY8531" fmla="*/ 3877578 h 7571036"/>
                  <a:gd name="connsiteX8532" fmla="*/ 3171165 w 6994525"/>
                  <a:gd name="connsiteY8532" fmla="*/ 3846756 h 7571036"/>
                  <a:gd name="connsiteX8533" fmla="*/ 3140344 w 6994525"/>
                  <a:gd name="connsiteY8533" fmla="*/ 3877578 h 7571036"/>
                  <a:gd name="connsiteX8534" fmla="*/ 3171165 w 6994525"/>
                  <a:gd name="connsiteY8534" fmla="*/ 3908402 h 7571036"/>
                  <a:gd name="connsiteX8535" fmla="*/ 3201989 w 6994525"/>
                  <a:gd name="connsiteY8535" fmla="*/ 3877578 h 7571036"/>
                  <a:gd name="connsiteX8536" fmla="*/ 3204456 w 6994525"/>
                  <a:gd name="connsiteY8536" fmla="*/ 4004811 h 7571036"/>
                  <a:gd name="connsiteX8537" fmla="*/ 3163769 w 6994525"/>
                  <a:gd name="connsiteY8537" fmla="*/ 3964125 h 7571036"/>
                  <a:gd name="connsiteX8538" fmla="*/ 3123085 w 6994525"/>
                  <a:gd name="connsiteY8538" fmla="*/ 4004811 h 7571036"/>
                  <a:gd name="connsiteX8539" fmla="*/ 3163769 w 6994525"/>
                  <a:gd name="connsiteY8539" fmla="*/ 4045497 h 7571036"/>
                  <a:gd name="connsiteX8540" fmla="*/ 3204456 w 6994525"/>
                  <a:gd name="connsiteY8540" fmla="*/ 4004811 h 7571036"/>
                  <a:gd name="connsiteX8541" fmla="*/ 3211112 w 6994525"/>
                  <a:gd name="connsiteY8541" fmla="*/ 2807203 h 7571036"/>
                  <a:gd name="connsiteX8542" fmla="*/ 3204209 w 6994525"/>
                  <a:gd name="connsiteY8542" fmla="*/ 2800298 h 7571036"/>
                  <a:gd name="connsiteX8543" fmla="*/ 3197304 w 6994525"/>
                  <a:gd name="connsiteY8543" fmla="*/ 2807203 h 7571036"/>
                  <a:gd name="connsiteX8544" fmla="*/ 3204209 w 6994525"/>
                  <a:gd name="connsiteY8544" fmla="*/ 2814107 h 7571036"/>
                  <a:gd name="connsiteX8545" fmla="*/ 3211112 w 6994525"/>
                  <a:gd name="connsiteY8545" fmla="*/ 2807203 h 7571036"/>
                  <a:gd name="connsiteX8546" fmla="*/ 3222455 w 6994525"/>
                  <a:gd name="connsiteY8546" fmla="*/ 2690824 h 7571036"/>
                  <a:gd name="connsiteX8547" fmla="*/ 3203962 w 6994525"/>
                  <a:gd name="connsiteY8547" fmla="*/ 2672329 h 7571036"/>
                  <a:gd name="connsiteX8548" fmla="*/ 3185468 w 6994525"/>
                  <a:gd name="connsiteY8548" fmla="*/ 2690824 h 7571036"/>
                  <a:gd name="connsiteX8549" fmla="*/ 3203962 w 6994525"/>
                  <a:gd name="connsiteY8549" fmla="*/ 2709318 h 7571036"/>
                  <a:gd name="connsiteX8550" fmla="*/ 3222455 w 6994525"/>
                  <a:gd name="connsiteY8550" fmla="*/ 2690824 h 7571036"/>
                  <a:gd name="connsiteX8551" fmla="*/ 3224182 w 6994525"/>
                  <a:gd name="connsiteY8551" fmla="*/ 1031534 h 7571036"/>
                  <a:gd name="connsiteX8552" fmla="*/ 3196812 w 6994525"/>
                  <a:gd name="connsiteY8552" fmla="*/ 1004165 h 7571036"/>
                  <a:gd name="connsiteX8553" fmla="*/ 3169441 w 6994525"/>
                  <a:gd name="connsiteY8553" fmla="*/ 1031534 h 7571036"/>
                  <a:gd name="connsiteX8554" fmla="*/ 3196812 w 6994525"/>
                  <a:gd name="connsiteY8554" fmla="*/ 1058902 h 7571036"/>
                  <a:gd name="connsiteX8555" fmla="*/ 3224182 w 6994525"/>
                  <a:gd name="connsiteY8555" fmla="*/ 1031534 h 7571036"/>
                  <a:gd name="connsiteX8556" fmla="*/ 3226398 w 6994525"/>
                  <a:gd name="connsiteY8556" fmla="*/ 813105 h 7571036"/>
                  <a:gd name="connsiteX8557" fmla="*/ 3198290 w 6994525"/>
                  <a:gd name="connsiteY8557" fmla="*/ 784995 h 7571036"/>
                  <a:gd name="connsiteX8558" fmla="*/ 3170179 w 6994525"/>
                  <a:gd name="connsiteY8558" fmla="*/ 813105 h 7571036"/>
                  <a:gd name="connsiteX8559" fmla="*/ 3198290 w 6994525"/>
                  <a:gd name="connsiteY8559" fmla="*/ 841220 h 7571036"/>
                  <a:gd name="connsiteX8560" fmla="*/ 3226398 w 6994525"/>
                  <a:gd name="connsiteY8560" fmla="*/ 813105 h 7571036"/>
                  <a:gd name="connsiteX8561" fmla="*/ 3227387 w 6994525"/>
                  <a:gd name="connsiteY8561" fmla="*/ 922319 h 7571036"/>
                  <a:gd name="connsiteX8562" fmla="*/ 3197304 w 6994525"/>
                  <a:gd name="connsiteY8562" fmla="*/ 892235 h 7571036"/>
                  <a:gd name="connsiteX8563" fmla="*/ 3167469 w 6994525"/>
                  <a:gd name="connsiteY8563" fmla="*/ 922319 h 7571036"/>
                  <a:gd name="connsiteX8564" fmla="*/ 3197304 w 6994525"/>
                  <a:gd name="connsiteY8564" fmla="*/ 952156 h 7571036"/>
                  <a:gd name="connsiteX8565" fmla="*/ 3227387 w 6994525"/>
                  <a:gd name="connsiteY8565" fmla="*/ 922319 h 7571036"/>
                  <a:gd name="connsiteX8566" fmla="*/ 3228865 w 6994525"/>
                  <a:gd name="connsiteY8566" fmla="*/ 1250215 h 7571036"/>
                  <a:gd name="connsiteX8567" fmla="*/ 3196069 w 6994525"/>
                  <a:gd name="connsiteY8567" fmla="*/ 1217423 h 7571036"/>
                  <a:gd name="connsiteX8568" fmla="*/ 3163275 w 6994525"/>
                  <a:gd name="connsiteY8568" fmla="*/ 1250215 h 7571036"/>
                  <a:gd name="connsiteX8569" fmla="*/ 3196069 w 6994525"/>
                  <a:gd name="connsiteY8569" fmla="*/ 1283015 h 7571036"/>
                  <a:gd name="connsiteX8570" fmla="*/ 3228865 w 6994525"/>
                  <a:gd name="connsiteY8570" fmla="*/ 1250215 h 7571036"/>
                  <a:gd name="connsiteX8571" fmla="*/ 3229112 w 6994525"/>
                  <a:gd name="connsiteY8571" fmla="*/ 1140505 h 7571036"/>
                  <a:gd name="connsiteX8572" fmla="*/ 3196563 w 6994525"/>
                  <a:gd name="connsiteY8572" fmla="*/ 1107958 h 7571036"/>
                  <a:gd name="connsiteX8573" fmla="*/ 3164016 w 6994525"/>
                  <a:gd name="connsiteY8573" fmla="*/ 1140505 h 7571036"/>
                  <a:gd name="connsiteX8574" fmla="*/ 3196563 w 6994525"/>
                  <a:gd name="connsiteY8574" fmla="*/ 1173053 h 7571036"/>
                  <a:gd name="connsiteX8575" fmla="*/ 3229112 w 6994525"/>
                  <a:gd name="connsiteY8575" fmla="*/ 1140505 h 7571036"/>
                  <a:gd name="connsiteX8576" fmla="*/ 3229605 w 6994525"/>
                  <a:gd name="connsiteY8576" fmla="*/ 485920 h 7571036"/>
                  <a:gd name="connsiteX8577" fmla="*/ 3198781 w 6994525"/>
                  <a:gd name="connsiteY8577" fmla="*/ 455099 h 7571036"/>
                  <a:gd name="connsiteX8578" fmla="*/ 3167960 w 6994525"/>
                  <a:gd name="connsiteY8578" fmla="*/ 485920 h 7571036"/>
                  <a:gd name="connsiteX8579" fmla="*/ 3198781 w 6994525"/>
                  <a:gd name="connsiteY8579" fmla="*/ 516743 h 7571036"/>
                  <a:gd name="connsiteX8580" fmla="*/ 3229605 w 6994525"/>
                  <a:gd name="connsiteY8580" fmla="*/ 485920 h 7571036"/>
                  <a:gd name="connsiteX8581" fmla="*/ 3229606 w 6994525"/>
                  <a:gd name="connsiteY8581" fmla="*/ 595131 h 7571036"/>
                  <a:gd name="connsiteX8582" fmla="*/ 3198537 w 6994525"/>
                  <a:gd name="connsiteY8582" fmla="*/ 564066 h 7571036"/>
                  <a:gd name="connsiteX8583" fmla="*/ 3167469 w 6994525"/>
                  <a:gd name="connsiteY8583" fmla="*/ 595131 h 7571036"/>
                  <a:gd name="connsiteX8584" fmla="*/ 3198537 w 6994525"/>
                  <a:gd name="connsiteY8584" fmla="*/ 626201 h 7571036"/>
                  <a:gd name="connsiteX8585" fmla="*/ 3229606 w 6994525"/>
                  <a:gd name="connsiteY8585" fmla="*/ 595131 h 7571036"/>
                  <a:gd name="connsiteX8586" fmla="*/ 3230345 w 6994525"/>
                  <a:gd name="connsiteY8586" fmla="*/ 704134 h 7571036"/>
                  <a:gd name="connsiteX8587" fmla="*/ 3198535 w 6994525"/>
                  <a:gd name="connsiteY8587" fmla="*/ 672324 h 7571036"/>
                  <a:gd name="connsiteX8588" fmla="*/ 3166728 w 6994525"/>
                  <a:gd name="connsiteY8588" fmla="*/ 704134 h 7571036"/>
                  <a:gd name="connsiteX8589" fmla="*/ 3198535 w 6994525"/>
                  <a:gd name="connsiteY8589" fmla="*/ 735938 h 7571036"/>
                  <a:gd name="connsiteX8590" fmla="*/ 3230345 w 6994525"/>
                  <a:gd name="connsiteY8590" fmla="*/ 704134 h 7571036"/>
                  <a:gd name="connsiteX8591" fmla="*/ 3231083 w 6994525"/>
                  <a:gd name="connsiteY8591" fmla="*/ 2239616 h 7571036"/>
                  <a:gd name="connsiteX8592" fmla="*/ 3202481 w 6994525"/>
                  <a:gd name="connsiteY8592" fmla="*/ 2211012 h 7571036"/>
                  <a:gd name="connsiteX8593" fmla="*/ 3173878 w 6994525"/>
                  <a:gd name="connsiteY8593" fmla="*/ 2239616 h 7571036"/>
                  <a:gd name="connsiteX8594" fmla="*/ 3202481 w 6994525"/>
                  <a:gd name="connsiteY8594" fmla="*/ 2267969 h 7571036"/>
                  <a:gd name="connsiteX8595" fmla="*/ 3231083 w 6994525"/>
                  <a:gd name="connsiteY8595" fmla="*/ 2239616 h 7571036"/>
                  <a:gd name="connsiteX8596" fmla="*/ 3233303 w 6994525"/>
                  <a:gd name="connsiteY8596" fmla="*/ 2576418 h 7571036"/>
                  <a:gd name="connsiteX8597" fmla="*/ 3203713 w 6994525"/>
                  <a:gd name="connsiteY8597" fmla="*/ 2546829 h 7571036"/>
                  <a:gd name="connsiteX8598" fmla="*/ 3174125 w 6994525"/>
                  <a:gd name="connsiteY8598" fmla="*/ 2576418 h 7571036"/>
                  <a:gd name="connsiteX8599" fmla="*/ 3203713 w 6994525"/>
                  <a:gd name="connsiteY8599" fmla="*/ 2606007 h 7571036"/>
                  <a:gd name="connsiteX8600" fmla="*/ 3233303 w 6994525"/>
                  <a:gd name="connsiteY8600" fmla="*/ 2576418 h 7571036"/>
                  <a:gd name="connsiteX8601" fmla="*/ 3236755 w 6994525"/>
                  <a:gd name="connsiteY8601" fmla="*/ 2128413 h 7571036"/>
                  <a:gd name="connsiteX8602" fmla="*/ 3202234 w 6994525"/>
                  <a:gd name="connsiteY8602" fmla="*/ 2094138 h 7571036"/>
                  <a:gd name="connsiteX8603" fmla="*/ 3167960 w 6994525"/>
                  <a:gd name="connsiteY8603" fmla="*/ 2128413 h 7571036"/>
                  <a:gd name="connsiteX8604" fmla="*/ 3202234 w 6994525"/>
                  <a:gd name="connsiteY8604" fmla="*/ 2162934 h 7571036"/>
                  <a:gd name="connsiteX8605" fmla="*/ 3236755 w 6994525"/>
                  <a:gd name="connsiteY8605" fmla="*/ 2128413 h 7571036"/>
                  <a:gd name="connsiteX8606" fmla="*/ 3243905 w 6994525"/>
                  <a:gd name="connsiteY8606" fmla="*/ 3172372 h 7571036"/>
                  <a:gd name="connsiteX8607" fmla="*/ 3226644 w 6994525"/>
                  <a:gd name="connsiteY8607" fmla="*/ 3155113 h 7571036"/>
                  <a:gd name="connsiteX8608" fmla="*/ 3209385 w 6994525"/>
                  <a:gd name="connsiteY8608" fmla="*/ 3172372 h 7571036"/>
                  <a:gd name="connsiteX8609" fmla="*/ 3226644 w 6994525"/>
                  <a:gd name="connsiteY8609" fmla="*/ 3189633 h 7571036"/>
                  <a:gd name="connsiteX8610" fmla="*/ 3243905 w 6994525"/>
                  <a:gd name="connsiteY8610" fmla="*/ 3172372 h 7571036"/>
                  <a:gd name="connsiteX8611" fmla="*/ 3246126 w 6994525"/>
                  <a:gd name="connsiteY8611" fmla="*/ 2351066 h 7571036"/>
                  <a:gd name="connsiteX8612" fmla="*/ 3202729 w 6994525"/>
                  <a:gd name="connsiteY8612" fmla="*/ 2307907 h 7571036"/>
                  <a:gd name="connsiteX8613" fmla="*/ 3159578 w 6994525"/>
                  <a:gd name="connsiteY8613" fmla="*/ 2351066 h 7571036"/>
                  <a:gd name="connsiteX8614" fmla="*/ 3202729 w 6994525"/>
                  <a:gd name="connsiteY8614" fmla="*/ 2394457 h 7571036"/>
                  <a:gd name="connsiteX8615" fmla="*/ 3246126 w 6994525"/>
                  <a:gd name="connsiteY8615" fmla="*/ 2351066 h 7571036"/>
                  <a:gd name="connsiteX8616" fmla="*/ 3248097 w 6994525"/>
                  <a:gd name="connsiteY8616" fmla="*/ 2463246 h 7571036"/>
                  <a:gd name="connsiteX8617" fmla="*/ 3203222 w 6994525"/>
                  <a:gd name="connsiteY8617" fmla="*/ 2418369 h 7571036"/>
                  <a:gd name="connsiteX8618" fmla="*/ 3158344 w 6994525"/>
                  <a:gd name="connsiteY8618" fmla="*/ 2463246 h 7571036"/>
                  <a:gd name="connsiteX8619" fmla="*/ 3203222 w 6994525"/>
                  <a:gd name="connsiteY8619" fmla="*/ 2508120 h 7571036"/>
                  <a:gd name="connsiteX8620" fmla="*/ 3248097 w 6994525"/>
                  <a:gd name="connsiteY8620" fmla="*/ 2463246 h 7571036"/>
                  <a:gd name="connsiteX8621" fmla="*/ 3259687 w 6994525"/>
                  <a:gd name="connsiteY8621" fmla="*/ 4946976 h 7571036"/>
                  <a:gd name="connsiteX8622" fmla="*/ 3257468 w 6994525"/>
                  <a:gd name="connsiteY8622" fmla="*/ 4944757 h 7571036"/>
                  <a:gd name="connsiteX8623" fmla="*/ 3255250 w 6994525"/>
                  <a:gd name="connsiteY8623" fmla="*/ 4946976 h 7571036"/>
                  <a:gd name="connsiteX8624" fmla="*/ 3257468 w 6994525"/>
                  <a:gd name="connsiteY8624" fmla="*/ 4949194 h 7571036"/>
                  <a:gd name="connsiteX8625" fmla="*/ 3259687 w 6994525"/>
                  <a:gd name="connsiteY8625" fmla="*/ 4946976 h 7571036"/>
                  <a:gd name="connsiteX8626" fmla="*/ 3260181 w 6994525"/>
                  <a:gd name="connsiteY8626" fmla="*/ 5712349 h 7571036"/>
                  <a:gd name="connsiteX8627" fmla="*/ 3257469 w 6994525"/>
                  <a:gd name="connsiteY8627" fmla="*/ 5709636 h 7571036"/>
                  <a:gd name="connsiteX8628" fmla="*/ 3254756 w 6994525"/>
                  <a:gd name="connsiteY8628" fmla="*/ 5712349 h 7571036"/>
                  <a:gd name="connsiteX8629" fmla="*/ 3257469 w 6994525"/>
                  <a:gd name="connsiteY8629" fmla="*/ 5715062 h 7571036"/>
                  <a:gd name="connsiteX8630" fmla="*/ 3260181 w 6994525"/>
                  <a:gd name="connsiteY8630" fmla="*/ 5712349 h 7571036"/>
                  <a:gd name="connsiteX8631" fmla="*/ 3260673 w 6994525"/>
                  <a:gd name="connsiteY8631" fmla="*/ 7452680 h 7571036"/>
                  <a:gd name="connsiteX8632" fmla="*/ 3257715 w 6994525"/>
                  <a:gd name="connsiteY8632" fmla="*/ 7449720 h 7571036"/>
                  <a:gd name="connsiteX8633" fmla="*/ 3254756 w 6994525"/>
                  <a:gd name="connsiteY8633" fmla="*/ 7452680 h 7571036"/>
                  <a:gd name="connsiteX8634" fmla="*/ 3257715 w 6994525"/>
                  <a:gd name="connsiteY8634" fmla="*/ 7455639 h 7571036"/>
                  <a:gd name="connsiteX8635" fmla="*/ 3260673 w 6994525"/>
                  <a:gd name="connsiteY8635" fmla="*/ 7452680 h 7571036"/>
                  <a:gd name="connsiteX8636" fmla="*/ 3260675 w 6994525"/>
                  <a:gd name="connsiteY8636" fmla="*/ 5930074 h 7571036"/>
                  <a:gd name="connsiteX8637" fmla="*/ 3257963 w 6994525"/>
                  <a:gd name="connsiteY8637" fmla="*/ 5927361 h 7571036"/>
                  <a:gd name="connsiteX8638" fmla="*/ 3255250 w 6994525"/>
                  <a:gd name="connsiteY8638" fmla="*/ 5930074 h 7571036"/>
                  <a:gd name="connsiteX8639" fmla="*/ 3257963 w 6994525"/>
                  <a:gd name="connsiteY8639" fmla="*/ 5932787 h 7571036"/>
                  <a:gd name="connsiteX8640" fmla="*/ 3260675 w 6994525"/>
                  <a:gd name="connsiteY8640" fmla="*/ 5930074 h 7571036"/>
                  <a:gd name="connsiteX8641" fmla="*/ 3260675 w 6994525"/>
                  <a:gd name="connsiteY8641" fmla="*/ 6583252 h 7571036"/>
                  <a:gd name="connsiteX8642" fmla="*/ 3257468 w 6994525"/>
                  <a:gd name="connsiteY8642" fmla="*/ 6580046 h 7571036"/>
                  <a:gd name="connsiteX8643" fmla="*/ 3254264 w 6994525"/>
                  <a:gd name="connsiteY8643" fmla="*/ 6583252 h 7571036"/>
                  <a:gd name="connsiteX8644" fmla="*/ 3257468 w 6994525"/>
                  <a:gd name="connsiteY8644" fmla="*/ 6586459 h 7571036"/>
                  <a:gd name="connsiteX8645" fmla="*/ 3260675 w 6994525"/>
                  <a:gd name="connsiteY8645" fmla="*/ 6583252 h 7571036"/>
                  <a:gd name="connsiteX8646" fmla="*/ 3260675 w 6994525"/>
                  <a:gd name="connsiteY8646" fmla="*/ 7343940 h 7571036"/>
                  <a:gd name="connsiteX8647" fmla="*/ 3257468 w 6994525"/>
                  <a:gd name="connsiteY8647" fmla="*/ 7340735 h 7571036"/>
                  <a:gd name="connsiteX8648" fmla="*/ 3254264 w 6994525"/>
                  <a:gd name="connsiteY8648" fmla="*/ 7343940 h 7571036"/>
                  <a:gd name="connsiteX8649" fmla="*/ 3257468 w 6994525"/>
                  <a:gd name="connsiteY8649" fmla="*/ 7347148 h 7571036"/>
                  <a:gd name="connsiteX8650" fmla="*/ 3260675 w 6994525"/>
                  <a:gd name="connsiteY8650" fmla="*/ 7343940 h 7571036"/>
                  <a:gd name="connsiteX8651" fmla="*/ 3260919 w 6994525"/>
                  <a:gd name="connsiteY8651" fmla="*/ 7561173 h 7571036"/>
                  <a:gd name="connsiteX8652" fmla="*/ 3257960 w 6994525"/>
                  <a:gd name="connsiteY8652" fmla="*/ 7558213 h 7571036"/>
                  <a:gd name="connsiteX8653" fmla="*/ 3255001 w 6994525"/>
                  <a:gd name="connsiteY8653" fmla="*/ 7561173 h 7571036"/>
                  <a:gd name="connsiteX8654" fmla="*/ 3257960 w 6994525"/>
                  <a:gd name="connsiteY8654" fmla="*/ 7564132 h 7571036"/>
                  <a:gd name="connsiteX8655" fmla="*/ 3260919 w 6994525"/>
                  <a:gd name="connsiteY8655" fmla="*/ 7561173 h 7571036"/>
                  <a:gd name="connsiteX8656" fmla="*/ 3261167 w 6994525"/>
                  <a:gd name="connsiteY8656" fmla="*/ 6039062 h 7571036"/>
                  <a:gd name="connsiteX8657" fmla="*/ 3258208 w 6994525"/>
                  <a:gd name="connsiteY8657" fmla="*/ 6036102 h 7571036"/>
                  <a:gd name="connsiteX8658" fmla="*/ 3255496 w 6994525"/>
                  <a:gd name="connsiteY8658" fmla="*/ 6039062 h 7571036"/>
                  <a:gd name="connsiteX8659" fmla="*/ 3258208 w 6994525"/>
                  <a:gd name="connsiteY8659" fmla="*/ 6042021 h 7571036"/>
                  <a:gd name="connsiteX8660" fmla="*/ 3261167 w 6994525"/>
                  <a:gd name="connsiteY8660" fmla="*/ 6039062 h 7571036"/>
                  <a:gd name="connsiteX8661" fmla="*/ 3261167 w 6994525"/>
                  <a:gd name="connsiteY8661" fmla="*/ 6257034 h 7571036"/>
                  <a:gd name="connsiteX8662" fmla="*/ 3258455 w 6994525"/>
                  <a:gd name="connsiteY8662" fmla="*/ 6254075 h 7571036"/>
                  <a:gd name="connsiteX8663" fmla="*/ 3255741 w 6994525"/>
                  <a:gd name="connsiteY8663" fmla="*/ 6257034 h 7571036"/>
                  <a:gd name="connsiteX8664" fmla="*/ 3258455 w 6994525"/>
                  <a:gd name="connsiteY8664" fmla="*/ 6259747 h 7571036"/>
                  <a:gd name="connsiteX8665" fmla="*/ 3261167 w 6994525"/>
                  <a:gd name="connsiteY8665" fmla="*/ 6257034 h 7571036"/>
                  <a:gd name="connsiteX8666" fmla="*/ 3261168 w 6994525"/>
                  <a:gd name="connsiteY8666" fmla="*/ 6148048 h 7571036"/>
                  <a:gd name="connsiteX8667" fmla="*/ 3258209 w 6994525"/>
                  <a:gd name="connsiteY8667" fmla="*/ 6145088 h 7571036"/>
                  <a:gd name="connsiteX8668" fmla="*/ 3255250 w 6994525"/>
                  <a:gd name="connsiteY8668" fmla="*/ 6148048 h 7571036"/>
                  <a:gd name="connsiteX8669" fmla="*/ 3258209 w 6994525"/>
                  <a:gd name="connsiteY8669" fmla="*/ 6151006 h 7571036"/>
                  <a:gd name="connsiteX8670" fmla="*/ 3261168 w 6994525"/>
                  <a:gd name="connsiteY8670" fmla="*/ 6148048 h 7571036"/>
                  <a:gd name="connsiteX8671" fmla="*/ 3261413 w 6994525"/>
                  <a:gd name="connsiteY8671" fmla="*/ 7017966 h 7571036"/>
                  <a:gd name="connsiteX8672" fmla="*/ 3258206 w 6994525"/>
                  <a:gd name="connsiteY8672" fmla="*/ 7014760 h 7571036"/>
                  <a:gd name="connsiteX8673" fmla="*/ 3255001 w 6994525"/>
                  <a:gd name="connsiteY8673" fmla="*/ 7017966 h 7571036"/>
                  <a:gd name="connsiteX8674" fmla="*/ 3258206 w 6994525"/>
                  <a:gd name="connsiteY8674" fmla="*/ 7021174 h 7571036"/>
                  <a:gd name="connsiteX8675" fmla="*/ 3261413 w 6994525"/>
                  <a:gd name="connsiteY8675" fmla="*/ 7017966 h 7571036"/>
                  <a:gd name="connsiteX8676" fmla="*/ 3261413 w 6994525"/>
                  <a:gd name="connsiteY8676" fmla="*/ 7235446 h 7571036"/>
                  <a:gd name="connsiteX8677" fmla="*/ 3258455 w 6994525"/>
                  <a:gd name="connsiteY8677" fmla="*/ 7232487 h 7571036"/>
                  <a:gd name="connsiteX8678" fmla="*/ 3255496 w 6994525"/>
                  <a:gd name="connsiteY8678" fmla="*/ 7235446 h 7571036"/>
                  <a:gd name="connsiteX8679" fmla="*/ 3258455 w 6994525"/>
                  <a:gd name="connsiteY8679" fmla="*/ 7238405 h 7571036"/>
                  <a:gd name="connsiteX8680" fmla="*/ 3261413 w 6994525"/>
                  <a:gd name="connsiteY8680" fmla="*/ 7235446 h 7571036"/>
                  <a:gd name="connsiteX8681" fmla="*/ 3261660 w 6994525"/>
                  <a:gd name="connsiteY8681" fmla="*/ 5275909 h 7571036"/>
                  <a:gd name="connsiteX8682" fmla="*/ 3258455 w 6994525"/>
                  <a:gd name="connsiteY8682" fmla="*/ 5272704 h 7571036"/>
                  <a:gd name="connsiteX8683" fmla="*/ 3255250 w 6994525"/>
                  <a:gd name="connsiteY8683" fmla="*/ 5275909 h 7571036"/>
                  <a:gd name="connsiteX8684" fmla="*/ 3258455 w 6994525"/>
                  <a:gd name="connsiteY8684" fmla="*/ 5279114 h 7571036"/>
                  <a:gd name="connsiteX8685" fmla="*/ 3261660 w 6994525"/>
                  <a:gd name="connsiteY8685" fmla="*/ 5275909 h 7571036"/>
                  <a:gd name="connsiteX8686" fmla="*/ 3261660 w 6994525"/>
                  <a:gd name="connsiteY8686" fmla="*/ 5821334 h 7571036"/>
                  <a:gd name="connsiteX8687" fmla="*/ 3257715 w 6994525"/>
                  <a:gd name="connsiteY8687" fmla="*/ 5817143 h 7571036"/>
                  <a:gd name="connsiteX8688" fmla="*/ 3253524 w 6994525"/>
                  <a:gd name="connsiteY8688" fmla="*/ 5821334 h 7571036"/>
                  <a:gd name="connsiteX8689" fmla="*/ 3257715 w 6994525"/>
                  <a:gd name="connsiteY8689" fmla="*/ 5825280 h 7571036"/>
                  <a:gd name="connsiteX8690" fmla="*/ 3261660 w 6994525"/>
                  <a:gd name="connsiteY8690" fmla="*/ 5821334 h 7571036"/>
                  <a:gd name="connsiteX8691" fmla="*/ 3261660 w 6994525"/>
                  <a:gd name="connsiteY8691" fmla="*/ 7126706 h 7571036"/>
                  <a:gd name="connsiteX8692" fmla="*/ 3258455 w 6994525"/>
                  <a:gd name="connsiteY8692" fmla="*/ 7123500 h 7571036"/>
                  <a:gd name="connsiteX8693" fmla="*/ 3255250 w 6994525"/>
                  <a:gd name="connsiteY8693" fmla="*/ 7126706 h 7571036"/>
                  <a:gd name="connsiteX8694" fmla="*/ 3258455 w 6994525"/>
                  <a:gd name="connsiteY8694" fmla="*/ 7129913 h 7571036"/>
                  <a:gd name="connsiteX8695" fmla="*/ 3261660 w 6994525"/>
                  <a:gd name="connsiteY8695" fmla="*/ 7126706 h 7571036"/>
                  <a:gd name="connsiteX8696" fmla="*/ 3262400 w 6994525"/>
                  <a:gd name="connsiteY8696" fmla="*/ 6691995 h 7571036"/>
                  <a:gd name="connsiteX8697" fmla="*/ 3257715 w 6994525"/>
                  <a:gd name="connsiteY8697" fmla="*/ 6687308 h 7571036"/>
                  <a:gd name="connsiteX8698" fmla="*/ 3253029 w 6994525"/>
                  <a:gd name="connsiteY8698" fmla="*/ 6691995 h 7571036"/>
                  <a:gd name="connsiteX8699" fmla="*/ 3257715 w 6994525"/>
                  <a:gd name="connsiteY8699" fmla="*/ 6696680 h 7571036"/>
                  <a:gd name="connsiteX8700" fmla="*/ 3262400 w 6994525"/>
                  <a:gd name="connsiteY8700" fmla="*/ 6691995 h 7571036"/>
                  <a:gd name="connsiteX8701" fmla="*/ 3262645 w 6994525"/>
                  <a:gd name="connsiteY8701" fmla="*/ 6800488 h 7571036"/>
                  <a:gd name="connsiteX8702" fmla="*/ 3257962 w 6994525"/>
                  <a:gd name="connsiteY8702" fmla="*/ 6795801 h 7571036"/>
                  <a:gd name="connsiteX8703" fmla="*/ 3253277 w 6994525"/>
                  <a:gd name="connsiteY8703" fmla="*/ 6800488 h 7571036"/>
                  <a:gd name="connsiteX8704" fmla="*/ 3257962 w 6994525"/>
                  <a:gd name="connsiteY8704" fmla="*/ 6805173 h 7571036"/>
                  <a:gd name="connsiteX8705" fmla="*/ 3262645 w 6994525"/>
                  <a:gd name="connsiteY8705" fmla="*/ 6800488 h 7571036"/>
                  <a:gd name="connsiteX8706" fmla="*/ 3263139 w 6994525"/>
                  <a:gd name="connsiteY8706" fmla="*/ 6909473 h 7571036"/>
                  <a:gd name="connsiteX8707" fmla="*/ 3258208 w 6994525"/>
                  <a:gd name="connsiteY8707" fmla="*/ 6904541 h 7571036"/>
                  <a:gd name="connsiteX8708" fmla="*/ 3253277 w 6994525"/>
                  <a:gd name="connsiteY8708" fmla="*/ 6909473 h 7571036"/>
                  <a:gd name="connsiteX8709" fmla="*/ 3258208 w 6994525"/>
                  <a:gd name="connsiteY8709" fmla="*/ 6914404 h 7571036"/>
                  <a:gd name="connsiteX8710" fmla="*/ 3263139 w 6994525"/>
                  <a:gd name="connsiteY8710" fmla="*/ 6909473 h 7571036"/>
                  <a:gd name="connsiteX8711" fmla="*/ 3263880 w 6994525"/>
                  <a:gd name="connsiteY8711" fmla="*/ 6474762 h 7571036"/>
                  <a:gd name="connsiteX8712" fmla="*/ 3258702 w 6994525"/>
                  <a:gd name="connsiteY8712" fmla="*/ 6469336 h 7571036"/>
                  <a:gd name="connsiteX8713" fmla="*/ 3253277 w 6994525"/>
                  <a:gd name="connsiteY8713" fmla="*/ 6474762 h 7571036"/>
                  <a:gd name="connsiteX8714" fmla="*/ 3258702 w 6994525"/>
                  <a:gd name="connsiteY8714" fmla="*/ 6479940 h 7571036"/>
                  <a:gd name="connsiteX8715" fmla="*/ 3263880 w 6994525"/>
                  <a:gd name="connsiteY8715" fmla="*/ 6474762 h 7571036"/>
                  <a:gd name="connsiteX8716" fmla="*/ 3264372 w 6994525"/>
                  <a:gd name="connsiteY8716" fmla="*/ 6365774 h 7571036"/>
                  <a:gd name="connsiteX8717" fmla="*/ 3258701 w 6994525"/>
                  <a:gd name="connsiteY8717" fmla="*/ 6360102 h 7571036"/>
                  <a:gd name="connsiteX8718" fmla="*/ 3253029 w 6994525"/>
                  <a:gd name="connsiteY8718" fmla="*/ 6365774 h 7571036"/>
                  <a:gd name="connsiteX8719" fmla="*/ 3258701 w 6994525"/>
                  <a:gd name="connsiteY8719" fmla="*/ 6371443 h 7571036"/>
                  <a:gd name="connsiteX8720" fmla="*/ 3264372 w 6994525"/>
                  <a:gd name="connsiteY8720" fmla="*/ 6365774 h 7571036"/>
                  <a:gd name="connsiteX8721" fmla="*/ 3265605 w 6994525"/>
                  <a:gd name="connsiteY8721" fmla="*/ 4282210 h 7571036"/>
                  <a:gd name="connsiteX8722" fmla="*/ 3259687 w 6994525"/>
                  <a:gd name="connsiteY8722" fmla="*/ 4276292 h 7571036"/>
                  <a:gd name="connsiteX8723" fmla="*/ 3253769 w 6994525"/>
                  <a:gd name="connsiteY8723" fmla="*/ 4282210 h 7571036"/>
                  <a:gd name="connsiteX8724" fmla="*/ 3259687 w 6994525"/>
                  <a:gd name="connsiteY8724" fmla="*/ 4288128 h 7571036"/>
                  <a:gd name="connsiteX8725" fmla="*/ 3265605 w 6994525"/>
                  <a:gd name="connsiteY8725" fmla="*/ 4282210 h 7571036"/>
                  <a:gd name="connsiteX8726" fmla="*/ 3265605 w 6994525"/>
                  <a:gd name="connsiteY8726" fmla="*/ 1679698 h 7571036"/>
                  <a:gd name="connsiteX8727" fmla="*/ 3255991 w 6994525"/>
                  <a:gd name="connsiteY8727" fmla="*/ 1670078 h 7571036"/>
                  <a:gd name="connsiteX8728" fmla="*/ 3246374 w 6994525"/>
                  <a:gd name="connsiteY8728" fmla="*/ 1679698 h 7571036"/>
                  <a:gd name="connsiteX8729" fmla="*/ 3255991 w 6994525"/>
                  <a:gd name="connsiteY8729" fmla="*/ 1689069 h 7571036"/>
                  <a:gd name="connsiteX8730" fmla="*/ 3265605 w 6994525"/>
                  <a:gd name="connsiteY8730" fmla="*/ 1679698 h 7571036"/>
                  <a:gd name="connsiteX8731" fmla="*/ 3266594 w 6994525"/>
                  <a:gd name="connsiteY8731" fmla="*/ 5494376 h 7571036"/>
                  <a:gd name="connsiteX8732" fmla="*/ 3258949 w 6994525"/>
                  <a:gd name="connsiteY8732" fmla="*/ 5486485 h 7571036"/>
                  <a:gd name="connsiteX8733" fmla="*/ 3251059 w 6994525"/>
                  <a:gd name="connsiteY8733" fmla="*/ 5494376 h 7571036"/>
                  <a:gd name="connsiteX8734" fmla="*/ 3258949 w 6994525"/>
                  <a:gd name="connsiteY8734" fmla="*/ 5502021 h 7571036"/>
                  <a:gd name="connsiteX8735" fmla="*/ 3266594 w 6994525"/>
                  <a:gd name="connsiteY8735" fmla="*/ 5494376 h 7571036"/>
                  <a:gd name="connsiteX8736" fmla="*/ 3267825 w 6994525"/>
                  <a:gd name="connsiteY8736" fmla="*/ 5385142 h 7571036"/>
                  <a:gd name="connsiteX8737" fmla="*/ 3258703 w 6994525"/>
                  <a:gd name="connsiteY8737" fmla="*/ 5375771 h 7571036"/>
                  <a:gd name="connsiteX8738" fmla="*/ 3249332 w 6994525"/>
                  <a:gd name="connsiteY8738" fmla="*/ 5385142 h 7571036"/>
                  <a:gd name="connsiteX8739" fmla="*/ 3258703 w 6994525"/>
                  <a:gd name="connsiteY8739" fmla="*/ 5394511 h 7571036"/>
                  <a:gd name="connsiteX8740" fmla="*/ 3267825 w 6994525"/>
                  <a:gd name="connsiteY8740" fmla="*/ 5385142 h 7571036"/>
                  <a:gd name="connsiteX8741" fmla="*/ 3269055 w 6994525"/>
                  <a:gd name="connsiteY8741" fmla="*/ 1788925 h 7571036"/>
                  <a:gd name="connsiteX8742" fmla="*/ 3255987 w 6994525"/>
                  <a:gd name="connsiteY8742" fmla="*/ 1775867 h 7571036"/>
                  <a:gd name="connsiteX8743" fmla="*/ 3242919 w 6994525"/>
                  <a:gd name="connsiteY8743" fmla="*/ 1788925 h 7571036"/>
                  <a:gd name="connsiteX8744" fmla="*/ 3255987 w 6994525"/>
                  <a:gd name="connsiteY8744" fmla="*/ 1802260 h 7571036"/>
                  <a:gd name="connsiteX8745" fmla="*/ 3269055 w 6994525"/>
                  <a:gd name="connsiteY8745" fmla="*/ 1788925 h 7571036"/>
                  <a:gd name="connsiteX8746" fmla="*/ 3274973 w 6994525"/>
                  <a:gd name="connsiteY8746" fmla="*/ 4617059 h 7571036"/>
                  <a:gd name="connsiteX8747" fmla="*/ 3259933 w 6994525"/>
                  <a:gd name="connsiteY8747" fmla="*/ 4602018 h 7571036"/>
                  <a:gd name="connsiteX8748" fmla="*/ 3244892 w 6994525"/>
                  <a:gd name="connsiteY8748" fmla="*/ 4617059 h 7571036"/>
                  <a:gd name="connsiteX8749" fmla="*/ 3259933 w 6994525"/>
                  <a:gd name="connsiteY8749" fmla="*/ 4632102 h 7571036"/>
                  <a:gd name="connsiteX8750" fmla="*/ 3274973 w 6994525"/>
                  <a:gd name="connsiteY8750" fmla="*/ 4617059 h 7571036"/>
                  <a:gd name="connsiteX8751" fmla="*/ 3275223 w 6994525"/>
                  <a:gd name="connsiteY8751" fmla="*/ 1570478 h 7571036"/>
                  <a:gd name="connsiteX8752" fmla="*/ 3255743 w 6994525"/>
                  <a:gd name="connsiteY8752" fmla="*/ 1550999 h 7571036"/>
                  <a:gd name="connsiteX8753" fmla="*/ 3236264 w 6994525"/>
                  <a:gd name="connsiteY8753" fmla="*/ 1570478 h 7571036"/>
                  <a:gd name="connsiteX8754" fmla="*/ 3255743 w 6994525"/>
                  <a:gd name="connsiteY8754" fmla="*/ 1589953 h 7571036"/>
                  <a:gd name="connsiteX8755" fmla="*/ 3275223 w 6994525"/>
                  <a:gd name="connsiteY8755" fmla="*/ 1570478 h 7571036"/>
                  <a:gd name="connsiteX8756" fmla="*/ 3276702 w 6994525"/>
                  <a:gd name="connsiteY8756" fmla="*/ 5166430 h 7571036"/>
                  <a:gd name="connsiteX8757" fmla="*/ 3258209 w 6994525"/>
                  <a:gd name="connsiteY8757" fmla="*/ 5147936 h 7571036"/>
                  <a:gd name="connsiteX8758" fmla="*/ 3239715 w 6994525"/>
                  <a:gd name="connsiteY8758" fmla="*/ 5166430 h 7571036"/>
                  <a:gd name="connsiteX8759" fmla="*/ 3258209 w 6994525"/>
                  <a:gd name="connsiteY8759" fmla="*/ 5184924 h 7571036"/>
                  <a:gd name="connsiteX8760" fmla="*/ 3276702 w 6994525"/>
                  <a:gd name="connsiteY8760" fmla="*/ 5166430 h 7571036"/>
                  <a:gd name="connsiteX8761" fmla="*/ 3282372 w 6994525"/>
                  <a:gd name="connsiteY8761" fmla="*/ 372271 h 7571036"/>
                  <a:gd name="connsiteX8762" fmla="*/ 3254509 w 6994525"/>
                  <a:gd name="connsiteY8762" fmla="*/ 344410 h 7571036"/>
                  <a:gd name="connsiteX8763" fmla="*/ 3226647 w 6994525"/>
                  <a:gd name="connsiteY8763" fmla="*/ 372271 h 7571036"/>
                  <a:gd name="connsiteX8764" fmla="*/ 3254509 w 6994525"/>
                  <a:gd name="connsiteY8764" fmla="*/ 400132 h 7571036"/>
                  <a:gd name="connsiteX8765" fmla="*/ 3282372 w 6994525"/>
                  <a:gd name="connsiteY8765" fmla="*/ 372271 h 7571036"/>
                  <a:gd name="connsiteX8766" fmla="*/ 3282865 w 6994525"/>
                  <a:gd name="connsiteY8766" fmla="*/ 263552 h 7571036"/>
                  <a:gd name="connsiteX8767" fmla="*/ 3254755 w 6994525"/>
                  <a:gd name="connsiteY8767" fmla="*/ 235445 h 7571036"/>
                  <a:gd name="connsiteX8768" fmla="*/ 3226647 w 6994525"/>
                  <a:gd name="connsiteY8768" fmla="*/ 263552 h 7571036"/>
                  <a:gd name="connsiteX8769" fmla="*/ 3254755 w 6994525"/>
                  <a:gd name="connsiteY8769" fmla="*/ 291662 h 7571036"/>
                  <a:gd name="connsiteX8770" fmla="*/ 3282865 w 6994525"/>
                  <a:gd name="connsiteY8770" fmla="*/ 263552 h 7571036"/>
                  <a:gd name="connsiteX8771" fmla="*/ 3283112 w 6994525"/>
                  <a:gd name="connsiteY8771" fmla="*/ 1461013 h 7571036"/>
                  <a:gd name="connsiteX8772" fmla="*/ 3255990 w 6994525"/>
                  <a:gd name="connsiteY8772" fmla="*/ 1433889 h 7571036"/>
                  <a:gd name="connsiteX8773" fmla="*/ 3228866 w 6994525"/>
                  <a:gd name="connsiteY8773" fmla="*/ 1461013 h 7571036"/>
                  <a:gd name="connsiteX8774" fmla="*/ 3255990 w 6994525"/>
                  <a:gd name="connsiteY8774" fmla="*/ 1488135 h 7571036"/>
                  <a:gd name="connsiteX8775" fmla="*/ 3283112 w 6994525"/>
                  <a:gd name="connsiteY8775" fmla="*/ 1461013 h 7571036"/>
                  <a:gd name="connsiteX8776" fmla="*/ 3283850 w 6994525"/>
                  <a:gd name="connsiteY8776" fmla="*/ 46369 h 7571036"/>
                  <a:gd name="connsiteX8777" fmla="*/ 3255001 w 6994525"/>
                  <a:gd name="connsiteY8777" fmla="*/ 17521 h 7571036"/>
                  <a:gd name="connsiteX8778" fmla="*/ 3226153 w 6994525"/>
                  <a:gd name="connsiteY8778" fmla="*/ 46369 h 7571036"/>
                  <a:gd name="connsiteX8779" fmla="*/ 3255001 w 6994525"/>
                  <a:gd name="connsiteY8779" fmla="*/ 75218 h 7571036"/>
                  <a:gd name="connsiteX8780" fmla="*/ 3283850 w 6994525"/>
                  <a:gd name="connsiteY8780" fmla="*/ 46369 h 7571036"/>
                  <a:gd name="connsiteX8781" fmla="*/ 3284346 w 6994525"/>
                  <a:gd name="connsiteY8781" fmla="*/ 4168783 h 7571036"/>
                  <a:gd name="connsiteX8782" fmla="*/ 3259440 w 6994525"/>
                  <a:gd name="connsiteY8782" fmla="*/ 4143879 h 7571036"/>
                  <a:gd name="connsiteX8783" fmla="*/ 3234537 w 6994525"/>
                  <a:gd name="connsiteY8783" fmla="*/ 4168783 h 7571036"/>
                  <a:gd name="connsiteX8784" fmla="*/ 3259440 w 6994525"/>
                  <a:gd name="connsiteY8784" fmla="*/ 4193686 h 7571036"/>
                  <a:gd name="connsiteX8785" fmla="*/ 3284346 w 6994525"/>
                  <a:gd name="connsiteY8785" fmla="*/ 4168783 h 7571036"/>
                  <a:gd name="connsiteX8786" fmla="*/ 3284592 w 6994525"/>
                  <a:gd name="connsiteY8786" fmla="*/ 155085 h 7571036"/>
                  <a:gd name="connsiteX8787" fmla="*/ 3255249 w 6994525"/>
                  <a:gd name="connsiteY8787" fmla="*/ 125743 h 7571036"/>
                  <a:gd name="connsiteX8788" fmla="*/ 3225906 w 6994525"/>
                  <a:gd name="connsiteY8788" fmla="*/ 155085 h 7571036"/>
                  <a:gd name="connsiteX8789" fmla="*/ 3255249 w 6994525"/>
                  <a:gd name="connsiteY8789" fmla="*/ 184425 h 7571036"/>
                  <a:gd name="connsiteX8790" fmla="*/ 3284592 w 6994525"/>
                  <a:gd name="connsiteY8790" fmla="*/ 155085 h 7571036"/>
                  <a:gd name="connsiteX8791" fmla="*/ 3286070 w 6994525"/>
                  <a:gd name="connsiteY8791" fmla="*/ 1352285 h 7571036"/>
                  <a:gd name="connsiteX8792" fmla="*/ 3255741 w 6994525"/>
                  <a:gd name="connsiteY8792" fmla="*/ 1321957 h 7571036"/>
                  <a:gd name="connsiteX8793" fmla="*/ 3225412 w 6994525"/>
                  <a:gd name="connsiteY8793" fmla="*/ 1352285 h 7571036"/>
                  <a:gd name="connsiteX8794" fmla="*/ 3255741 w 6994525"/>
                  <a:gd name="connsiteY8794" fmla="*/ 1382615 h 7571036"/>
                  <a:gd name="connsiteX8795" fmla="*/ 3286070 w 6994525"/>
                  <a:gd name="connsiteY8795" fmla="*/ 1352285 h 7571036"/>
                  <a:gd name="connsiteX8796" fmla="*/ 3287057 w 6994525"/>
                  <a:gd name="connsiteY8796" fmla="*/ 1898390 h 7571036"/>
                  <a:gd name="connsiteX8797" fmla="*/ 3256233 w 6994525"/>
                  <a:gd name="connsiteY8797" fmla="*/ 1867576 h 7571036"/>
                  <a:gd name="connsiteX8798" fmla="*/ 3225412 w 6994525"/>
                  <a:gd name="connsiteY8798" fmla="*/ 1898390 h 7571036"/>
                  <a:gd name="connsiteX8799" fmla="*/ 3256233 w 6994525"/>
                  <a:gd name="connsiteY8799" fmla="*/ 1929208 h 7571036"/>
                  <a:gd name="connsiteX8800" fmla="*/ 3287057 w 6994525"/>
                  <a:gd name="connsiteY8800" fmla="*/ 1898390 h 7571036"/>
                  <a:gd name="connsiteX8801" fmla="*/ 3292234 w 6994525"/>
                  <a:gd name="connsiteY8801" fmla="*/ 2899171 h 7571036"/>
                  <a:gd name="connsiteX8802" fmla="*/ 3266099 w 6994525"/>
                  <a:gd name="connsiteY8802" fmla="*/ 2873035 h 7571036"/>
                  <a:gd name="connsiteX8803" fmla="*/ 3239960 w 6994525"/>
                  <a:gd name="connsiteY8803" fmla="*/ 2899171 h 7571036"/>
                  <a:gd name="connsiteX8804" fmla="*/ 3266099 w 6994525"/>
                  <a:gd name="connsiteY8804" fmla="*/ 2925310 h 7571036"/>
                  <a:gd name="connsiteX8805" fmla="*/ 3292234 w 6994525"/>
                  <a:gd name="connsiteY8805" fmla="*/ 2899171 h 7571036"/>
                  <a:gd name="connsiteX8806" fmla="*/ 3292481 w 6994525"/>
                  <a:gd name="connsiteY8806" fmla="*/ 5056949 h 7571036"/>
                  <a:gd name="connsiteX8807" fmla="*/ 3257960 w 6994525"/>
                  <a:gd name="connsiteY8807" fmla="*/ 5022428 h 7571036"/>
                  <a:gd name="connsiteX8808" fmla="*/ 3223440 w 6994525"/>
                  <a:gd name="connsiteY8808" fmla="*/ 5056949 h 7571036"/>
                  <a:gd name="connsiteX8809" fmla="*/ 3257960 w 6994525"/>
                  <a:gd name="connsiteY8809" fmla="*/ 5091470 h 7571036"/>
                  <a:gd name="connsiteX8810" fmla="*/ 3292481 w 6994525"/>
                  <a:gd name="connsiteY8810" fmla="*/ 5056949 h 7571036"/>
                  <a:gd name="connsiteX8811" fmla="*/ 3294949 w 6994525"/>
                  <a:gd name="connsiteY8811" fmla="*/ 4394649 h 7571036"/>
                  <a:gd name="connsiteX8812" fmla="*/ 3259689 w 6994525"/>
                  <a:gd name="connsiteY8812" fmla="*/ 4359387 h 7571036"/>
                  <a:gd name="connsiteX8813" fmla="*/ 3224428 w 6994525"/>
                  <a:gd name="connsiteY8813" fmla="*/ 4394649 h 7571036"/>
                  <a:gd name="connsiteX8814" fmla="*/ 3259689 w 6994525"/>
                  <a:gd name="connsiteY8814" fmla="*/ 4429909 h 7571036"/>
                  <a:gd name="connsiteX8815" fmla="*/ 3294949 w 6994525"/>
                  <a:gd name="connsiteY8815" fmla="*/ 4394649 h 7571036"/>
                  <a:gd name="connsiteX8816" fmla="*/ 3295934 w 6994525"/>
                  <a:gd name="connsiteY8816" fmla="*/ 2008083 h 7571036"/>
                  <a:gd name="connsiteX8817" fmla="*/ 3255988 w 6994525"/>
                  <a:gd name="connsiteY8817" fmla="*/ 1968392 h 7571036"/>
                  <a:gd name="connsiteX8818" fmla="*/ 3216290 w 6994525"/>
                  <a:gd name="connsiteY8818" fmla="*/ 2008083 h 7571036"/>
                  <a:gd name="connsiteX8819" fmla="*/ 3255988 w 6994525"/>
                  <a:gd name="connsiteY8819" fmla="*/ 2048032 h 7571036"/>
                  <a:gd name="connsiteX8820" fmla="*/ 3295934 w 6994525"/>
                  <a:gd name="connsiteY8820" fmla="*/ 2008083 h 7571036"/>
                  <a:gd name="connsiteX8821" fmla="*/ 3295934 w 6994525"/>
                  <a:gd name="connsiteY8821" fmla="*/ 3016291 h 7571036"/>
                  <a:gd name="connsiteX8822" fmla="*/ 3268318 w 6994525"/>
                  <a:gd name="connsiteY8822" fmla="*/ 2988675 h 7571036"/>
                  <a:gd name="connsiteX8823" fmla="*/ 3240701 w 6994525"/>
                  <a:gd name="connsiteY8823" fmla="*/ 3016291 h 7571036"/>
                  <a:gd name="connsiteX8824" fmla="*/ 3268318 w 6994525"/>
                  <a:gd name="connsiteY8824" fmla="*/ 3043908 h 7571036"/>
                  <a:gd name="connsiteX8825" fmla="*/ 3295934 w 6994525"/>
                  <a:gd name="connsiteY8825" fmla="*/ 3016291 h 7571036"/>
                  <a:gd name="connsiteX8826" fmla="*/ 3296428 w 6994525"/>
                  <a:gd name="connsiteY8826" fmla="*/ 3938483 h 7571036"/>
                  <a:gd name="connsiteX8827" fmla="*/ 3268072 w 6994525"/>
                  <a:gd name="connsiteY8827" fmla="*/ 3910125 h 7571036"/>
                  <a:gd name="connsiteX8828" fmla="*/ 3239715 w 6994525"/>
                  <a:gd name="connsiteY8828" fmla="*/ 3938483 h 7571036"/>
                  <a:gd name="connsiteX8829" fmla="*/ 3268072 w 6994525"/>
                  <a:gd name="connsiteY8829" fmla="*/ 3966840 h 7571036"/>
                  <a:gd name="connsiteX8830" fmla="*/ 3296428 w 6994525"/>
                  <a:gd name="connsiteY8830" fmla="*/ 3938483 h 7571036"/>
                  <a:gd name="connsiteX8831" fmla="*/ 3296674 w 6994525"/>
                  <a:gd name="connsiteY8831" fmla="*/ 4506102 h 7571036"/>
                  <a:gd name="connsiteX8832" fmla="*/ 3259689 w 6994525"/>
                  <a:gd name="connsiteY8832" fmla="*/ 4469114 h 7571036"/>
                  <a:gd name="connsiteX8833" fmla="*/ 3222702 w 6994525"/>
                  <a:gd name="connsiteY8833" fmla="*/ 4506102 h 7571036"/>
                  <a:gd name="connsiteX8834" fmla="*/ 3259689 w 6994525"/>
                  <a:gd name="connsiteY8834" fmla="*/ 4543086 h 7571036"/>
                  <a:gd name="connsiteX8835" fmla="*/ 3296674 w 6994525"/>
                  <a:gd name="connsiteY8835" fmla="*/ 4506102 h 7571036"/>
                  <a:gd name="connsiteX8836" fmla="*/ 3299633 w 6994525"/>
                  <a:gd name="connsiteY8836" fmla="*/ 4837500 h 7571036"/>
                  <a:gd name="connsiteX8837" fmla="*/ 3260181 w 6994525"/>
                  <a:gd name="connsiteY8837" fmla="*/ 4798047 h 7571036"/>
                  <a:gd name="connsiteX8838" fmla="*/ 3220729 w 6994525"/>
                  <a:gd name="connsiteY8838" fmla="*/ 4837500 h 7571036"/>
                  <a:gd name="connsiteX8839" fmla="*/ 3260181 w 6994525"/>
                  <a:gd name="connsiteY8839" fmla="*/ 4876951 h 7571036"/>
                  <a:gd name="connsiteX8840" fmla="*/ 3299633 w 6994525"/>
                  <a:gd name="connsiteY8840" fmla="*/ 4837500 h 7571036"/>
                  <a:gd name="connsiteX8841" fmla="*/ 3300373 w 6994525"/>
                  <a:gd name="connsiteY8841" fmla="*/ 4727525 h 7571036"/>
                  <a:gd name="connsiteX8842" fmla="*/ 3260181 w 6994525"/>
                  <a:gd name="connsiteY8842" fmla="*/ 4687332 h 7571036"/>
                  <a:gd name="connsiteX8843" fmla="*/ 3219988 w 6994525"/>
                  <a:gd name="connsiteY8843" fmla="*/ 4727525 h 7571036"/>
                  <a:gd name="connsiteX8844" fmla="*/ 3260181 w 6994525"/>
                  <a:gd name="connsiteY8844" fmla="*/ 4767714 h 7571036"/>
                  <a:gd name="connsiteX8845" fmla="*/ 3300373 w 6994525"/>
                  <a:gd name="connsiteY8845" fmla="*/ 4727525 h 7571036"/>
                  <a:gd name="connsiteX8846" fmla="*/ 3304070 w 6994525"/>
                  <a:gd name="connsiteY8846" fmla="*/ 4055852 h 7571036"/>
                  <a:gd name="connsiteX8847" fmla="*/ 3266345 w 6994525"/>
                  <a:gd name="connsiteY8847" fmla="*/ 4018126 h 7571036"/>
                  <a:gd name="connsiteX8848" fmla="*/ 3228619 w 6994525"/>
                  <a:gd name="connsiteY8848" fmla="*/ 4055852 h 7571036"/>
                  <a:gd name="connsiteX8849" fmla="*/ 3266345 w 6994525"/>
                  <a:gd name="connsiteY8849" fmla="*/ 4093578 h 7571036"/>
                  <a:gd name="connsiteX8850" fmla="*/ 3304070 w 6994525"/>
                  <a:gd name="connsiteY8850" fmla="*/ 4055852 h 7571036"/>
                  <a:gd name="connsiteX8851" fmla="*/ 3326755 w 6994525"/>
                  <a:gd name="connsiteY8851" fmla="*/ 2769971 h 7571036"/>
                  <a:gd name="connsiteX8852" fmla="*/ 3315414 w 6994525"/>
                  <a:gd name="connsiteY8852" fmla="*/ 2758627 h 7571036"/>
                  <a:gd name="connsiteX8853" fmla="*/ 3304070 w 6994525"/>
                  <a:gd name="connsiteY8853" fmla="*/ 2769971 h 7571036"/>
                  <a:gd name="connsiteX8854" fmla="*/ 3315414 w 6994525"/>
                  <a:gd name="connsiteY8854" fmla="*/ 2781312 h 7571036"/>
                  <a:gd name="connsiteX8855" fmla="*/ 3326755 w 6994525"/>
                  <a:gd name="connsiteY8855" fmla="*/ 2769971 h 7571036"/>
                  <a:gd name="connsiteX8856" fmla="*/ 3334893 w 6994525"/>
                  <a:gd name="connsiteY8856" fmla="*/ 2658524 h 7571036"/>
                  <a:gd name="connsiteX8857" fmla="*/ 3316400 w 6994525"/>
                  <a:gd name="connsiteY8857" fmla="*/ 2640030 h 7571036"/>
                  <a:gd name="connsiteX8858" fmla="*/ 3297906 w 6994525"/>
                  <a:gd name="connsiteY8858" fmla="*/ 2658524 h 7571036"/>
                  <a:gd name="connsiteX8859" fmla="*/ 3316400 w 6994525"/>
                  <a:gd name="connsiteY8859" fmla="*/ 2677018 h 7571036"/>
                  <a:gd name="connsiteX8860" fmla="*/ 3334893 w 6994525"/>
                  <a:gd name="connsiteY8860" fmla="*/ 2658524 h 7571036"/>
                  <a:gd name="connsiteX8861" fmla="*/ 3340318 w 6994525"/>
                  <a:gd name="connsiteY8861" fmla="*/ 2218657 h 7571036"/>
                  <a:gd name="connsiteX8862" fmla="*/ 3316155 w 6994525"/>
                  <a:gd name="connsiteY8862" fmla="*/ 2194491 h 7571036"/>
                  <a:gd name="connsiteX8863" fmla="*/ 3291988 w 6994525"/>
                  <a:gd name="connsiteY8863" fmla="*/ 2218657 h 7571036"/>
                  <a:gd name="connsiteX8864" fmla="*/ 3316155 w 6994525"/>
                  <a:gd name="connsiteY8864" fmla="*/ 2242822 h 7571036"/>
                  <a:gd name="connsiteX8865" fmla="*/ 3340318 w 6994525"/>
                  <a:gd name="connsiteY8865" fmla="*/ 2218657 h 7571036"/>
                  <a:gd name="connsiteX8866" fmla="*/ 3341303 w 6994525"/>
                  <a:gd name="connsiteY8866" fmla="*/ 1020443 h 7571036"/>
                  <a:gd name="connsiteX8867" fmla="*/ 3312702 w 6994525"/>
                  <a:gd name="connsiteY8867" fmla="*/ 991836 h 7571036"/>
                  <a:gd name="connsiteX8868" fmla="*/ 3284098 w 6994525"/>
                  <a:gd name="connsiteY8868" fmla="*/ 1020443 h 7571036"/>
                  <a:gd name="connsiteX8869" fmla="*/ 3312702 w 6994525"/>
                  <a:gd name="connsiteY8869" fmla="*/ 1049039 h 7571036"/>
                  <a:gd name="connsiteX8870" fmla="*/ 3341303 w 6994525"/>
                  <a:gd name="connsiteY8870" fmla="*/ 1020443 h 7571036"/>
                  <a:gd name="connsiteX8871" fmla="*/ 3343277 w 6994525"/>
                  <a:gd name="connsiteY8871" fmla="*/ 802994 h 7571036"/>
                  <a:gd name="connsiteX8872" fmla="*/ 3313936 w 6994525"/>
                  <a:gd name="connsiteY8872" fmla="*/ 773651 h 7571036"/>
                  <a:gd name="connsiteX8873" fmla="*/ 3284593 w 6994525"/>
                  <a:gd name="connsiteY8873" fmla="*/ 802994 h 7571036"/>
                  <a:gd name="connsiteX8874" fmla="*/ 3313936 w 6994525"/>
                  <a:gd name="connsiteY8874" fmla="*/ 832338 h 7571036"/>
                  <a:gd name="connsiteX8875" fmla="*/ 3343277 w 6994525"/>
                  <a:gd name="connsiteY8875" fmla="*/ 802994 h 7571036"/>
                  <a:gd name="connsiteX8876" fmla="*/ 3344262 w 6994525"/>
                  <a:gd name="connsiteY8876" fmla="*/ 911718 h 7571036"/>
                  <a:gd name="connsiteX8877" fmla="*/ 3312947 w 6994525"/>
                  <a:gd name="connsiteY8877" fmla="*/ 880395 h 7571036"/>
                  <a:gd name="connsiteX8878" fmla="*/ 3281631 w 6994525"/>
                  <a:gd name="connsiteY8878" fmla="*/ 911718 h 7571036"/>
                  <a:gd name="connsiteX8879" fmla="*/ 3312947 w 6994525"/>
                  <a:gd name="connsiteY8879" fmla="*/ 943030 h 7571036"/>
                  <a:gd name="connsiteX8880" fmla="*/ 3344262 w 6994525"/>
                  <a:gd name="connsiteY8880" fmla="*/ 911718 h 7571036"/>
                  <a:gd name="connsiteX8881" fmla="*/ 3346235 w 6994525"/>
                  <a:gd name="connsiteY8881" fmla="*/ 477042 h 7571036"/>
                  <a:gd name="connsiteX8882" fmla="*/ 3314182 w 6994525"/>
                  <a:gd name="connsiteY8882" fmla="*/ 444990 h 7571036"/>
                  <a:gd name="connsiteX8883" fmla="*/ 3282125 w 6994525"/>
                  <a:gd name="connsiteY8883" fmla="*/ 477042 h 7571036"/>
                  <a:gd name="connsiteX8884" fmla="*/ 3314182 w 6994525"/>
                  <a:gd name="connsiteY8884" fmla="*/ 509097 h 7571036"/>
                  <a:gd name="connsiteX8885" fmla="*/ 3346235 w 6994525"/>
                  <a:gd name="connsiteY8885" fmla="*/ 477042 h 7571036"/>
                  <a:gd name="connsiteX8886" fmla="*/ 3346235 w 6994525"/>
                  <a:gd name="connsiteY8886" fmla="*/ 585764 h 7571036"/>
                  <a:gd name="connsiteX8887" fmla="*/ 3313933 w 6994525"/>
                  <a:gd name="connsiteY8887" fmla="*/ 553463 h 7571036"/>
                  <a:gd name="connsiteX8888" fmla="*/ 3281631 w 6994525"/>
                  <a:gd name="connsiteY8888" fmla="*/ 585764 h 7571036"/>
                  <a:gd name="connsiteX8889" fmla="*/ 3313933 w 6994525"/>
                  <a:gd name="connsiteY8889" fmla="*/ 618062 h 7571036"/>
                  <a:gd name="connsiteX8890" fmla="*/ 3346235 w 6994525"/>
                  <a:gd name="connsiteY8890" fmla="*/ 585764 h 7571036"/>
                  <a:gd name="connsiteX8891" fmla="*/ 3346727 w 6994525"/>
                  <a:gd name="connsiteY8891" fmla="*/ 1237891 h 7571036"/>
                  <a:gd name="connsiteX8892" fmla="*/ 3311960 w 6994525"/>
                  <a:gd name="connsiteY8892" fmla="*/ 1203122 h 7571036"/>
                  <a:gd name="connsiteX8893" fmla="*/ 3277194 w 6994525"/>
                  <a:gd name="connsiteY8893" fmla="*/ 1237891 h 7571036"/>
                  <a:gd name="connsiteX8894" fmla="*/ 3311960 w 6994525"/>
                  <a:gd name="connsiteY8894" fmla="*/ 1272649 h 7571036"/>
                  <a:gd name="connsiteX8895" fmla="*/ 3346727 w 6994525"/>
                  <a:gd name="connsiteY8895" fmla="*/ 1237891 h 7571036"/>
                  <a:gd name="connsiteX8896" fmla="*/ 3346728 w 6994525"/>
                  <a:gd name="connsiteY8896" fmla="*/ 1129164 h 7571036"/>
                  <a:gd name="connsiteX8897" fmla="*/ 3312456 w 6994525"/>
                  <a:gd name="connsiteY8897" fmla="*/ 1094890 h 7571036"/>
                  <a:gd name="connsiteX8898" fmla="*/ 3278181 w 6994525"/>
                  <a:gd name="connsiteY8898" fmla="*/ 1129164 h 7571036"/>
                  <a:gd name="connsiteX8899" fmla="*/ 3312456 w 6994525"/>
                  <a:gd name="connsiteY8899" fmla="*/ 1163439 h 7571036"/>
                  <a:gd name="connsiteX8900" fmla="*/ 3346728 w 6994525"/>
                  <a:gd name="connsiteY8900" fmla="*/ 1129164 h 7571036"/>
                  <a:gd name="connsiteX8901" fmla="*/ 3347222 w 6994525"/>
                  <a:gd name="connsiteY8901" fmla="*/ 2109183 h 7571036"/>
                  <a:gd name="connsiteX8902" fmla="*/ 3316155 w 6994525"/>
                  <a:gd name="connsiteY8902" fmla="*/ 2078111 h 7571036"/>
                  <a:gd name="connsiteX8903" fmla="*/ 3285085 w 6994525"/>
                  <a:gd name="connsiteY8903" fmla="*/ 2109183 h 7571036"/>
                  <a:gd name="connsiteX8904" fmla="*/ 3316155 w 6994525"/>
                  <a:gd name="connsiteY8904" fmla="*/ 2140251 h 7571036"/>
                  <a:gd name="connsiteX8905" fmla="*/ 3347222 w 6994525"/>
                  <a:gd name="connsiteY8905" fmla="*/ 2109183 h 7571036"/>
                  <a:gd name="connsiteX8906" fmla="*/ 3347467 w 6994525"/>
                  <a:gd name="connsiteY8906" fmla="*/ 694278 h 7571036"/>
                  <a:gd name="connsiteX8907" fmla="*/ 3314182 w 6994525"/>
                  <a:gd name="connsiteY8907" fmla="*/ 660985 h 7571036"/>
                  <a:gd name="connsiteX8908" fmla="*/ 3280893 w 6994525"/>
                  <a:gd name="connsiteY8908" fmla="*/ 694278 h 7571036"/>
                  <a:gd name="connsiteX8909" fmla="*/ 3314182 w 6994525"/>
                  <a:gd name="connsiteY8909" fmla="*/ 727554 h 7571036"/>
                  <a:gd name="connsiteX8910" fmla="*/ 3347467 w 6994525"/>
                  <a:gd name="connsiteY8910" fmla="*/ 694278 h 7571036"/>
                  <a:gd name="connsiteX8911" fmla="*/ 3347960 w 6994525"/>
                  <a:gd name="connsiteY8911" fmla="*/ 2547815 h 7571036"/>
                  <a:gd name="connsiteX8912" fmla="*/ 3316647 w 6994525"/>
                  <a:gd name="connsiteY8912" fmla="*/ 2516498 h 7571036"/>
                  <a:gd name="connsiteX8913" fmla="*/ 3285331 w 6994525"/>
                  <a:gd name="connsiteY8913" fmla="*/ 2547815 h 7571036"/>
                  <a:gd name="connsiteX8914" fmla="*/ 3316647 w 6994525"/>
                  <a:gd name="connsiteY8914" fmla="*/ 2579128 h 7571036"/>
                  <a:gd name="connsiteX8915" fmla="*/ 3347960 w 6994525"/>
                  <a:gd name="connsiteY8915" fmla="*/ 2547815 h 7571036"/>
                  <a:gd name="connsiteX8916" fmla="*/ 3349440 w 6994525"/>
                  <a:gd name="connsiteY8916" fmla="*/ 3110237 h 7571036"/>
                  <a:gd name="connsiteX8917" fmla="*/ 3323058 w 6994525"/>
                  <a:gd name="connsiteY8917" fmla="*/ 3083853 h 7571036"/>
                  <a:gd name="connsiteX8918" fmla="*/ 3296674 w 6994525"/>
                  <a:gd name="connsiteY8918" fmla="*/ 3110237 h 7571036"/>
                  <a:gd name="connsiteX8919" fmla="*/ 3323058 w 6994525"/>
                  <a:gd name="connsiteY8919" fmla="*/ 3136619 h 7571036"/>
                  <a:gd name="connsiteX8920" fmla="*/ 3349440 w 6994525"/>
                  <a:gd name="connsiteY8920" fmla="*/ 3110237 h 7571036"/>
                  <a:gd name="connsiteX8921" fmla="*/ 3356839 w 6994525"/>
                  <a:gd name="connsiteY8921" fmla="*/ 2328124 h 7571036"/>
                  <a:gd name="connsiteX8922" fmla="*/ 3316400 w 6994525"/>
                  <a:gd name="connsiteY8922" fmla="*/ 2287690 h 7571036"/>
                  <a:gd name="connsiteX8923" fmla="*/ 3275962 w 6994525"/>
                  <a:gd name="connsiteY8923" fmla="*/ 2328124 h 7571036"/>
                  <a:gd name="connsiteX8924" fmla="*/ 3316400 w 6994525"/>
                  <a:gd name="connsiteY8924" fmla="*/ 2368567 h 7571036"/>
                  <a:gd name="connsiteX8925" fmla="*/ 3356839 w 6994525"/>
                  <a:gd name="connsiteY8925" fmla="*/ 2328124 h 7571036"/>
                  <a:gd name="connsiteX8926" fmla="*/ 3363248 w 6994525"/>
                  <a:gd name="connsiteY8926" fmla="*/ 2437845 h 7571036"/>
                  <a:gd name="connsiteX8927" fmla="*/ 3316397 w 6994525"/>
                  <a:gd name="connsiteY8927" fmla="*/ 2390997 h 7571036"/>
                  <a:gd name="connsiteX8928" fmla="*/ 3269550 w 6994525"/>
                  <a:gd name="connsiteY8928" fmla="*/ 2437845 h 7571036"/>
                  <a:gd name="connsiteX8929" fmla="*/ 3316397 w 6994525"/>
                  <a:gd name="connsiteY8929" fmla="*/ 2484695 h 7571036"/>
                  <a:gd name="connsiteX8930" fmla="*/ 3363248 w 6994525"/>
                  <a:gd name="connsiteY8930" fmla="*/ 2437845 h 7571036"/>
                  <a:gd name="connsiteX8931" fmla="*/ 3374592 w 6994525"/>
                  <a:gd name="connsiteY8931" fmla="*/ 4960787 h 7571036"/>
                  <a:gd name="connsiteX8932" fmla="*/ 3373605 w 6994525"/>
                  <a:gd name="connsiteY8932" fmla="*/ 4959800 h 7571036"/>
                  <a:gd name="connsiteX8933" fmla="*/ 3372620 w 6994525"/>
                  <a:gd name="connsiteY8933" fmla="*/ 4960787 h 7571036"/>
                  <a:gd name="connsiteX8934" fmla="*/ 3373605 w 6994525"/>
                  <a:gd name="connsiteY8934" fmla="*/ 4961772 h 7571036"/>
                  <a:gd name="connsiteX8935" fmla="*/ 3374592 w 6994525"/>
                  <a:gd name="connsiteY8935" fmla="*/ 4960787 h 7571036"/>
                  <a:gd name="connsiteX8936" fmla="*/ 3376316 w 6994525"/>
                  <a:gd name="connsiteY8936" fmla="*/ 5286758 h 7571036"/>
                  <a:gd name="connsiteX8937" fmla="*/ 3374098 w 6994525"/>
                  <a:gd name="connsiteY8937" fmla="*/ 5284539 h 7571036"/>
                  <a:gd name="connsiteX8938" fmla="*/ 3371880 w 6994525"/>
                  <a:gd name="connsiteY8938" fmla="*/ 5286758 h 7571036"/>
                  <a:gd name="connsiteX8939" fmla="*/ 3374098 w 6994525"/>
                  <a:gd name="connsiteY8939" fmla="*/ 5288976 h 7571036"/>
                  <a:gd name="connsiteX8940" fmla="*/ 3376316 w 6994525"/>
                  <a:gd name="connsiteY8940" fmla="*/ 5286758 h 7571036"/>
                  <a:gd name="connsiteX8941" fmla="*/ 3376565 w 6994525"/>
                  <a:gd name="connsiteY8941" fmla="*/ 5721471 h 7571036"/>
                  <a:gd name="connsiteX8942" fmla="*/ 3373606 w 6994525"/>
                  <a:gd name="connsiteY8942" fmla="*/ 5718512 h 7571036"/>
                  <a:gd name="connsiteX8943" fmla="*/ 3370647 w 6994525"/>
                  <a:gd name="connsiteY8943" fmla="*/ 5721471 h 7571036"/>
                  <a:gd name="connsiteX8944" fmla="*/ 3373606 w 6994525"/>
                  <a:gd name="connsiteY8944" fmla="*/ 5724430 h 7571036"/>
                  <a:gd name="connsiteX8945" fmla="*/ 3376565 w 6994525"/>
                  <a:gd name="connsiteY8945" fmla="*/ 5721471 h 7571036"/>
                  <a:gd name="connsiteX8946" fmla="*/ 3377056 w 6994525"/>
                  <a:gd name="connsiteY8946" fmla="*/ 5938459 h 7571036"/>
                  <a:gd name="connsiteX8947" fmla="*/ 3374098 w 6994525"/>
                  <a:gd name="connsiteY8947" fmla="*/ 5935499 h 7571036"/>
                  <a:gd name="connsiteX8948" fmla="*/ 3371139 w 6994525"/>
                  <a:gd name="connsiteY8948" fmla="*/ 5938459 h 7571036"/>
                  <a:gd name="connsiteX8949" fmla="*/ 3374098 w 6994525"/>
                  <a:gd name="connsiteY8949" fmla="*/ 5941418 h 7571036"/>
                  <a:gd name="connsiteX8950" fmla="*/ 3377056 w 6994525"/>
                  <a:gd name="connsiteY8950" fmla="*/ 5938459 h 7571036"/>
                  <a:gd name="connsiteX8951" fmla="*/ 3377056 w 6994525"/>
                  <a:gd name="connsiteY8951" fmla="*/ 6046951 h 7571036"/>
                  <a:gd name="connsiteX8952" fmla="*/ 3374098 w 6994525"/>
                  <a:gd name="connsiteY8952" fmla="*/ 6043992 h 7571036"/>
                  <a:gd name="connsiteX8953" fmla="*/ 3370893 w 6994525"/>
                  <a:gd name="connsiteY8953" fmla="*/ 6046951 h 7571036"/>
                  <a:gd name="connsiteX8954" fmla="*/ 3374098 w 6994525"/>
                  <a:gd name="connsiteY8954" fmla="*/ 6050156 h 7571036"/>
                  <a:gd name="connsiteX8955" fmla="*/ 3377056 w 6994525"/>
                  <a:gd name="connsiteY8955" fmla="*/ 6046951 h 7571036"/>
                  <a:gd name="connsiteX8956" fmla="*/ 3377060 w 6994525"/>
                  <a:gd name="connsiteY8956" fmla="*/ 6589665 h 7571036"/>
                  <a:gd name="connsiteX8957" fmla="*/ 3373852 w 6994525"/>
                  <a:gd name="connsiteY8957" fmla="*/ 6586459 h 7571036"/>
                  <a:gd name="connsiteX8958" fmla="*/ 3370647 w 6994525"/>
                  <a:gd name="connsiteY8958" fmla="*/ 6589665 h 7571036"/>
                  <a:gd name="connsiteX8959" fmla="*/ 3373852 w 6994525"/>
                  <a:gd name="connsiteY8959" fmla="*/ 6592873 h 7571036"/>
                  <a:gd name="connsiteX8960" fmla="*/ 3377060 w 6994525"/>
                  <a:gd name="connsiteY8960" fmla="*/ 6589665 h 7571036"/>
                  <a:gd name="connsiteX8961" fmla="*/ 3377060 w 6994525"/>
                  <a:gd name="connsiteY8961" fmla="*/ 7349118 h 7571036"/>
                  <a:gd name="connsiteX8962" fmla="*/ 3373852 w 6994525"/>
                  <a:gd name="connsiteY8962" fmla="*/ 7345913 h 7571036"/>
                  <a:gd name="connsiteX8963" fmla="*/ 3370647 w 6994525"/>
                  <a:gd name="connsiteY8963" fmla="*/ 7349118 h 7571036"/>
                  <a:gd name="connsiteX8964" fmla="*/ 3373852 w 6994525"/>
                  <a:gd name="connsiteY8964" fmla="*/ 7352326 h 7571036"/>
                  <a:gd name="connsiteX8965" fmla="*/ 3377060 w 6994525"/>
                  <a:gd name="connsiteY8965" fmla="*/ 7349118 h 7571036"/>
                  <a:gd name="connsiteX8966" fmla="*/ 3377303 w 6994525"/>
                  <a:gd name="connsiteY8966" fmla="*/ 6155443 h 7571036"/>
                  <a:gd name="connsiteX8967" fmla="*/ 3374098 w 6994525"/>
                  <a:gd name="connsiteY8967" fmla="*/ 6152238 h 7571036"/>
                  <a:gd name="connsiteX8968" fmla="*/ 3370893 w 6994525"/>
                  <a:gd name="connsiteY8968" fmla="*/ 6155443 h 7571036"/>
                  <a:gd name="connsiteX8969" fmla="*/ 3374098 w 6994525"/>
                  <a:gd name="connsiteY8969" fmla="*/ 6158651 h 7571036"/>
                  <a:gd name="connsiteX8970" fmla="*/ 3377303 w 6994525"/>
                  <a:gd name="connsiteY8970" fmla="*/ 6155443 h 7571036"/>
                  <a:gd name="connsiteX8971" fmla="*/ 3377303 w 6994525"/>
                  <a:gd name="connsiteY8971" fmla="*/ 6264185 h 7571036"/>
                  <a:gd name="connsiteX8972" fmla="*/ 3374344 w 6994525"/>
                  <a:gd name="connsiteY8972" fmla="*/ 6261225 h 7571036"/>
                  <a:gd name="connsiteX8973" fmla="*/ 3371385 w 6994525"/>
                  <a:gd name="connsiteY8973" fmla="*/ 6264185 h 7571036"/>
                  <a:gd name="connsiteX8974" fmla="*/ 3374344 w 6994525"/>
                  <a:gd name="connsiteY8974" fmla="*/ 6267144 h 7571036"/>
                  <a:gd name="connsiteX8975" fmla="*/ 3377303 w 6994525"/>
                  <a:gd name="connsiteY8975" fmla="*/ 6264185 h 7571036"/>
                  <a:gd name="connsiteX8976" fmla="*/ 3377303 w 6994525"/>
                  <a:gd name="connsiteY8976" fmla="*/ 7457611 h 7571036"/>
                  <a:gd name="connsiteX8977" fmla="*/ 3374098 w 6994525"/>
                  <a:gd name="connsiteY8977" fmla="*/ 7454406 h 7571036"/>
                  <a:gd name="connsiteX8978" fmla="*/ 3370893 w 6994525"/>
                  <a:gd name="connsiteY8978" fmla="*/ 7457611 h 7571036"/>
                  <a:gd name="connsiteX8979" fmla="*/ 3374098 w 6994525"/>
                  <a:gd name="connsiteY8979" fmla="*/ 7460819 h 7571036"/>
                  <a:gd name="connsiteX8980" fmla="*/ 3377303 w 6994525"/>
                  <a:gd name="connsiteY8980" fmla="*/ 7457611 h 7571036"/>
                  <a:gd name="connsiteX8981" fmla="*/ 3377303 w 6994525"/>
                  <a:gd name="connsiteY8981" fmla="*/ 7566104 h 7571036"/>
                  <a:gd name="connsiteX8982" fmla="*/ 3374098 w 6994525"/>
                  <a:gd name="connsiteY8982" fmla="*/ 7562899 h 7571036"/>
                  <a:gd name="connsiteX8983" fmla="*/ 3370893 w 6994525"/>
                  <a:gd name="connsiteY8983" fmla="*/ 7566104 h 7571036"/>
                  <a:gd name="connsiteX8984" fmla="*/ 3374098 w 6994525"/>
                  <a:gd name="connsiteY8984" fmla="*/ 7569308 h 7571036"/>
                  <a:gd name="connsiteX8985" fmla="*/ 3377303 w 6994525"/>
                  <a:gd name="connsiteY8985" fmla="*/ 7566104 h 7571036"/>
                  <a:gd name="connsiteX8986" fmla="*/ 3377549 w 6994525"/>
                  <a:gd name="connsiteY8986" fmla="*/ 7023638 h 7571036"/>
                  <a:gd name="connsiteX8987" fmla="*/ 3374343 w 6994525"/>
                  <a:gd name="connsiteY8987" fmla="*/ 7020433 h 7571036"/>
                  <a:gd name="connsiteX8988" fmla="*/ 3371139 w 6994525"/>
                  <a:gd name="connsiteY8988" fmla="*/ 7023638 h 7571036"/>
                  <a:gd name="connsiteX8989" fmla="*/ 3374343 w 6994525"/>
                  <a:gd name="connsiteY8989" fmla="*/ 7026843 h 7571036"/>
                  <a:gd name="connsiteX8990" fmla="*/ 3377549 w 6994525"/>
                  <a:gd name="connsiteY8990" fmla="*/ 7023638 h 7571036"/>
                  <a:gd name="connsiteX8991" fmla="*/ 3377549 w 6994525"/>
                  <a:gd name="connsiteY8991" fmla="*/ 7132131 h 7571036"/>
                  <a:gd name="connsiteX8992" fmla="*/ 3374343 w 6994525"/>
                  <a:gd name="connsiteY8992" fmla="*/ 7128926 h 7571036"/>
                  <a:gd name="connsiteX8993" fmla="*/ 3371139 w 6994525"/>
                  <a:gd name="connsiteY8993" fmla="*/ 7132131 h 7571036"/>
                  <a:gd name="connsiteX8994" fmla="*/ 3374343 w 6994525"/>
                  <a:gd name="connsiteY8994" fmla="*/ 7135339 h 7571036"/>
                  <a:gd name="connsiteX8995" fmla="*/ 3377549 w 6994525"/>
                  <a:gd name="connsiteY8995" fmla="*/ 7132131 h 7571036"/>
                  <a:gd name="connsiteX8996" fmla="*/ 3377549 w 6994525"/>
                  <a:gd name="connsiteY8996" fmla="*/ 7240624 h 7571036"/>
                  <a:gd name="connsiteX8997" fmla="*/ 3374343 w 6994525"/>
                  <a:gd name="connsiteY8997" fmla="*/ 7237419 h 7571036"/>
                  <a:gd name="connsiteX8998" fmla="*/ 3371139 w 6994525"/>
                  <a:gd name="connsiteY8998" fmla="*/ 7240624 h 7571036"/>
                  <a:gd name="connsiteX8999" fmla="*/ 3374343 w 6994525"/>
                  <a:gd name="connsiteY8999" fmla="*/ 7243832 h 7571036"/>
                  <a:gd name="connsiteX9000" fmla="*/ 3377549 w 6994525"/>
                  <a:gd name="connsiteY9000" fmla="*/ 7240624 h 7571036"/>
                  <a:gd name="connsiteX9001" fmla="*/ 3377551 w 6994525"/>
                  <a:gd name="connsiteY9001" fmla="*/ 1668355 h 7571036"/>
                  <a:gd name="connsiteX9002" fmla="*/ 3371633 w 6994525"/>
                  <a:gd name="connsiteY9002" fmla="*/ 1662437 h 7571036"/>
                  <a:gd name="connsiteX9003" fmla="*/ 3365715 w 6994525"/>
                  <a:gd name="connsiteY9003" fmla="*/ 1668355 h 7571036"/>
                  <a:gd name="connsiteX9004" fmla="*/ 3371633 w 6994525"/>
                  <a:gd name="connsiteY9004" fmla="*/ 1674270 h 7571036"/>
                  <a:gd name="connsiteX9005" fmla="*/ 3377551 w 6994525"/>
                  <a:gd name="connsiteY9005" fmla="*/ 1668355 h 7571036"/>
                  <a:gd name="connsiteX9006" fmla="*/ 3377551 w 6994525"/>
                  <a:gd name="connsiteY9006" fmla="*/ 5829965 h 7571036"/>
                  <a:gd name="connsiteX9007" fmla="*/ 3373852 w 6994525"/>
                  <a:gd name="connsiteY9007" fmla="*/ 5826265 h 7571036"/>
                  <a:gd name="connsiteX9008" fmla="*/ 3370153 w 6994525"/>
                  <a:gd name="connsiteY9008" fmla="*/ 5829965 h 7571036"/>
                  <a:gd name="connsiteX9009" fmla="*/ 3373852 w 6994525"/>
                  <a:gd name="connsiteY9009" fmla="*/ 5833664 h 7571036"/>
                  <a:gd name="connsiteX9010" fmla="*/ 3377551 w 6994525"/>
                  <a:gd name="connsiteY9010" fmla="*/ 5829965 h 7571036"/>
                  <a:gd name="connsiteX9011" fmla="*/ 3378043 w 6994525"/>
                  <a:gd name="connsiteY9011" fmla="*/ 6698158 h 7571036"/>
                  <a:gd name="connsiteX9012" fmla="*/ 3374098 w 6994525"/>
                  <a:gd name="connsiteY9012" fmla="*/ 6694213 h 7571036"/>
                  <a:gd name="connsiteX9013" fmla="*/ 3370153 w 6994525"/>
                  <a:gd name="connsiteY9013" fmla="*/ 6698158 h 7571036"/>
                  <a:gd name="connsiteX9014" fmla="*/ 3374098 w 6994525"/>
                  <a:gd name="connsiteY9014" fmla="*/ 6702102 h 7571036"/>
                  <a:gd name="connsiteX9015" fmla="*/ 3378043 w 6994525"/>
                  <a:gd name="connsiteY9015" fmla="*/ 6698158 h 7571036"/>
                  <a:gd name="connsiteX9016" fmla="*/ 3378043 w 6994525"/>
                  <a:gd name="connsiteY9016" fmla="*/ 6806651 h 7571036"/>
                  <a:gd name="connsiteX9017" fmla="*/ 3374098 w 6994525"/>
                  <a:gd name="connsiteY9017" fmla="*/ 6802706 h 7571036"/>
                  <a:gd name="connsiteX9018" fmla="*/ 3370153 w 6994525"/>
                  <a:gd name="connsiteY9018" fmla="*/ 6806651 h 7571036"/>
                  <a:gd name="connsiteX9019" fmla="*/ 3374098 w 6994525"/>
                  <a:gd name="connsiteY9019" fmla="*/ 6810595 h 7571036"/>
                  <a:gd name="connsiteX9020" fmla="*/ 3378043 w 6994525"/>
                  <a:gd name="connsiteY9020" fmla="*/ 6806651 h 7571036"/>
                  <a:gd name="connsiteX9021" fmla="*/ 3378288 w 6994525"/>
                  <a:gd name="connsiteY9021" fmla="*/ 6915144 h 7571036"/>
                  <a:gd name="connsiteX9022" fmla="*/ 3374098 w 6994525"/>
                  <a:gd name="connsiteY9022" fmla="*/ 6910953 h 7571036"/>
                  <a:gd name="connsiteX9023" fmla="*/ 3369906 w 6994525"/>
                  <a:gd name="connsiteY9023" fmla="*/ 6915144 h 7571036"/>
                  <a:gd name="connsiteX9024" fmla="*/ 3374098 w 6994525"/>
                  <a:gd name="connsiteY9024" fmla="*/ 6919335 h 7571036"/>
                  <a:gd name="connsiteX9025" fmla="*/ 3378288 w 6994525"/>
                  <a:gd name="connsiteY9025" fmla="*/ 6915144 h 7571036"/>
                  <a:gd name="connsiteX9026" fmla="*/ 3378783 w 6994525"/>
                  <a:gd name="connsiteY9026" fmla="*/ 6372675 h 7571036"/>
                  <a:gd name="connsiteX9027" fmla="*/ 3374346 w 6994525"/>
                  <a:gd name="connsiteY9027" fmla="*/ 6368238 h 7571036"/>
                  <a:gd name="connsiteX9028" fmla="*/ 3369906 w 6994525"/>
                  <a:gd name="connsiteY9028" fmla="*/ 6372675 h 7571036"/>
                  <a:gd name="connsiteX9029" fmla="*/ 3374346 w 6994525"/>
                  <a:gd name="connsiteY9029" fmla="*/ 6377115 h 7571036"/>
                  <a:gd name="connsiteX9030" fmla="*/ 3378783 w 6994525"/>
                  <a:gd name="connsiteY9030" fmla="*/ 6372675 h 7571036"/>
                  <a:gd name="connsiteX9031" fmla="*/ 3378783 w 6994525"/>
                  <a:gd name="connsiteY9031" fmla="*/ 6481171 h 7571036"/>
                  <a:gd name="connsiteX9032" fmla="*/ 3374344 w 6994525"/>
                  <a:gd name="connsiteY9032" fmla="*/ 6476980 h 7571036"/>
                  <a:gd name="connsiteX9033" fmla="*/ 3370153 w 6994525"/>
                  <a:gd name="connsiteY9033" fmla="*/ 6481171 h 7571036"/>
                  <a:gd name="connsiteX9034" fmla="*/ 3374344 w 6994525"/>
                  <a:gd name="connsiteY9034" fmla="*/ 6485362 h 7571036"/>
                  <a:gd name="connsiteX9035" fmla="*/ 3378783 w 6994525"/>
                  <a:gd name="connsiteY9035" fmla="*/ 6481171 h 7571036"/>
                  <a:gd name="connsiteX9036" fmla="*/ 3379524 w 6994525"/>
                  <a:gd name="connsiteY9036" fmla="*/ 4306373 h 7571036"/>
                  <a:gd name="connsiteX9037" fmla="*/ 3373854 w 6994525"/>
                  <a:gd name="connsiteY9037" fmla="*/ 4300701 h 7571036"/>
                  <a:gd name="connsiteX9038" fmla="*/ 3368428 w 6994525"/>
                  <a:gd name="connsiteY9038" fmla="*/ 4306373 h 7571036"/>
                  <a:gd name="connsiteX9039" fmla="*/ 3373854 w 6994525"/>
                  <a:gd name="connsiteY9039" fmla="*/ 4312046 h 7571036"/>
                  <a:gd name="connsiteX9040" fmla="*/ 3379524 w 6994525"/>
                  <a:gd name="connsiteY9040" fmla="*/ 4306373 h 7571036"/>
                  <a:gd name="connsiteX9041" fmla="*/ 3379770 w 6994525"/>
                  <a:gd name="connsiteY9041" fmla="*/ 5504239 h 7571036"/>
                  <a:gd name="connsiteX9042" fmla="*/ 3374346 w 6994525"/>
                  <a:gd name="connsiteY9042" fmla="*/ 5498813 h 7571036"/>
                  <a:gd name="connsiteX9043" fmla="*/ 3368921 w 6994525"/>
                  <a:gd name="connsiteY9043" fmla="*/ 5504239 h 7571036"/>
                  <a:gd name="connsiteX9044" fmla="*/ 3374346 w 6994525"/>
                  <a:gd name="connsiteY9044" fmla="*/ 5509663 h 7571036"/>
                  <a:gd name="connsiteX9045" fmla="*/ 3379770 w 6994525"/>
                  <a:gd name="connsiteY9045" fmla="*/ 5504239 h 7571036"/>
                  <a:gd name="connsiteX9046" fmla="*/ 3380017 w 6994525"/>
                  <a:gd name="connsiteY9046" fmla="*/ 5395500 h 7571036"/>
                  <a:gd name="connsiteX9047" fmla="*/ 3374346 w 6994525"/>
                  <a:gd name="connsiteY9047" fmla="*/ 5389828 h 7571036"/>
                  <a:gd name="connsiteX9048" fmla="*/ 3368674 w 6994525"/>
                  <a:gd name="connsiteY9048" fmla="*/ 5395500 h 7571036"/>
                  <a:gd name="connsiteX9049" fmla="*/ 3374346 w 6994525"/>
                  <a:gd name="connsiteY9049" fmla="*/ 5401169 h 7571036"/>
                  <a:gd name="connsiteX9050" fmla="*/ 3380017 w 6994525"/>
                  <a:gd name="connsiteY9050" fmla="*/ 5395500 h 7571036"/>
                  <a:gd name="connsiteX9051" fmla="*/ 3384210 w 6994525"/>
                  <a:gd name="connsiteY9051" fmla="*/ 1777103 h 7571036"/>
                  <a:gd name="connsiteX9052" fmla="*/ 3371882 w 6994525"/>
                  <a:gd name="connsiteY9052" fmla="*/ 1764769 h 7571036"/>
                  <a:gd name="connsiteX9053" fmla="*/ 3359552 w 6994525"/>
                  <a:gd name="connsiteY9053" fmla="*/ 1777103 h 7571036"/>
                  <a:gd name="connsiteX9054" fmla="*/ 3371882 w 6994525"/>
                  <a:gd name="connsiteY9054" fmla="*/ 1789420 h 7571036"/>
                  <a:gd name="connsiteX9055" fmla="*/ 3384210 w 6994525"/>
                  <a:gd name="connsiteY9055" fmla="*/ 1777103 h 7571036"/>
                  <a:gd name="connsiteX9056" fmla="*/ 3386673 w 6994525"/>
                  <a:gd name="connsiteY9056" fmla="*/ 4634318 h 7571036"/>
                  <a:gd name="connsiteX9057" fmla="*/ 3374589 w 6994525"/>
                  <a:gd name="connsiteY9057" fmla="*/ 4622235 h 7571036"/>
                  <a:gd name="connsiteX9058" fmla="*/ 3362508 w 6994525"/>
                  <a:gd name="connsiteY9058" fmla="*/ 4634318 h 7571036"/>
                  <a:gd name="connsiteX9059" fmla="*/ 3374589 w 6994525"/>
                  <a:gd name="connsiteY9059" fmla="*/ 4646399 h 7571036"/>
                  <a:gd name="connsiteX9060" fmla="*/ 3386673 w 6994525"/>
                  <a:gd name="connsiteY9060" fmla="*/ 4634318 h 7571036"/>
                  <a:gd name="connsiteX9061" fmla="*/ 3391356 w 6994525"/>
                  <a:gd name="connsiteY9061" fmla="*/ 4196894 h 7571036"/>
                  <a:gd name="connsiteX9062" fmla="*/ 3373356 w 6994525"/>
                  <a:gd name="connsiteY9062" fmla="*/ 4178894 h 7571036"/>
                  <a:gd name="connsiteX9063" fmla="*/ 3355358 w 6994525"/>
                  <a:gd name="connsiteY9063" fmla="*/ 4196894 h 7571036"/>
                  <a:gd name="connsiteX9064" fmla="*/ 3373356 w 6994525"/>
                  <a:gd name="connsiteY9064" fmla="*/ 4214893 h 7571036"/>
                  <a:gd name="connsiteX9065" fmla="*/ 3391356 w 6994525"/>
                  <a:gd name="connsiteY9065" fmla="*/ 4196894 h 7571036"/>
                  <a:gd name="connsiteX9066" fmla="*/ 3391854 w 6994525"/>
                  <a:gd name="connsiteY9066" fmla="*/ 5178018 h 7571036"/>
                  <a:gd name="connsiteX9067" fmla="*/ 3374100 w 6994525"/>
                  <a:gd name="connsiteY9067" fmla="*/ 5160511 h 7571036"/>
                  <a:gd name="connsiteX9068" fmla="*/ 3356593 w 6994525"/>
                  <a:gd name="connsiteY9068" fmla="*/ 5178018 h 7571036"/>
                  <a:gd name="connsiteX9069" fmla="*/ 3374100 w 6994525"/>
                  <a:gd name="connsiteY9069" fmla="*/ 5195773 h 7571036"/>
                  <a:gd name="connsiteX9070" fmla="*/ 3391854 w 6994525"/>
                  <a:gd name="connsiteY9070" fmla="*/ 5178018 h 7571036"/>
                  <a:gd name="connsiteX9071" fmla="*/ 3392591 w 6994525"/>
                  <a:gd name="connsiteY9071" fmla="*/ 1559877 h 7571036"/>
                  <a:gd name="connsiteX9072" fmla="*/ 3371142 w 6994525"/>
                  <a:gd name="connsiteY9072" fmla="*/ 1538425 h 7571036"/>
                  <a:gd name="connsiteX9073" fmla="*/ 3349689 w 6994525"/>
                  <a:gd name="connsiteY9073" fmla="*/ 1559877 h 7571036"/>
                  <a:gd name="connsiteX9074" fmla="*/ 3371142 w 6994525"/>
                  <a:gd name="connsiteY9074" fmla="*/ 1581323 h 7571036"/>
                  <a:gd name="connsiteX9075" fmla="*/ 3392591 w 6994525"/>
                  <a:gd name="connsiteY9075" fmla="*/ 1559877 h 7571036"/>
                  <a:gd name="connsiteX9076" fmla="*/ 3399741 w 6994525"/>
                  <a:gd name="connsiteY9076" fmla="*/ 257144 h 7571036"/>
                  <a:gd name="connsiteX9077" fmla="*/ 3370893 w 6994525"/>
                  <a:gd name="connsiteY9077" fmla="*/ 228048 h 7571036"/>
                  <a:gd name="connsiteX9078" fmla="*/ 3341796 w 6994525"/>
                  <a:gd name="connsiteY9078" fmla="*/ 257144 h 7571036"/>
                  <a:gd name="connsiteX9079" fmla="*/ 3370893 w 6994525"/>
                  <a:gd name="connsiteY9079" fmla="*/ 286237 h 7571036"/>
                  <a:gd name="connsiteX9080" fmla="*/ 3399741 w 6994525"/>
                  <a:gd name="connsiteY9080" fmla="*/ 257144 h 7571036"/>
                  <a:gd name="connsiteX9081" fmla="*/ 3399744 w 6994525"/>
                  <a:gd name="connsiteY9081" fmla="*/ 365613 h 7571036"/>
                  <a:gd name="connsiteX9082" fmla="*/ 3370893 w 6994525"/>
                  <a:gd name="connsiteY9082" fmla="*/ 336765 h 7571036"/>
                  <a:gd name="connsiteX9083" fmla="*/ 3342045 w 6994525"/>
                  <a:gd name="connsiteY9083" fmla="*/ 365613 h 7571036"/>
                  <a:gd name="connsiteX9084" fmla="*/ 3370893 w 6994525"/>
                  <a:gd name="connsiteY9084" fmla="*/ 394462 h 7571036"/>
                  <a:gd name="connsiteX9085" fmla="*/ 3399744 w 6994525"/>
                  <a:gd name="connsiteY9085" fmla="*/ 365613 h 7571036"/>
                  <a:gd name="connsiteX9086" fmla="*/ 3400481 w 6994525"/>
                  <a:gd name="connsiteY9086" fmla="*/ 1885820 h 7571036"/>
                  <a:gd name="connsiteX9087" fmla="*/ 3372125 w 6994525"/>
                  <a:gd name="connsiteY9087" fmla="*/ 1857469 h 7571036"/>
                  <a:gd name="connsiteX9088" fmla="*/ 3343522 w 6994525"/>
                  <a:gd name="connsiteY9088" fmla="*/ 1885820 h 7571036"/>
                  <a:gd name="connsiteX9089" fmla="*/ 3372125 w 6994525"/>
                  <a:gd name="connsiteY9089" fmla="*/ 1914171 h 7571036"/>
                  <a:gd name="connsiteX9090" fmla="*/ 3400481 w 6994525"/>
                  <a:gd name="connsiteY9090" fmla="*/ 1885820 h 7571036"/>
                  <a:gd name="connsiteX9091" fmla="*/ 3400728 w 6994525"/>
                  <a:gd name="connsiteY9091" fmla="*/ 40205 h 7571036"/>
                  <a:gd name="connsiteX9092" fmla="*/ 3370893 w 6994525"/>
                  <a:gd name="connsiteY9092" fmla="*/ 10371 h 7571036"/>
                  <a:gd name="connsiteX9093" fmla="*/ 3341058 w 6994525"/>
                  <a:gd name="connsiteY9093" fmla="*/ 40205 h 7571036"/>
                  <a:gd name="connsiteX9094" fmla="*/ 3370893 w 6994525"/>
                  <a:gd name="connsiteY9094" fmla="*/ 70041 h 7571036"/>
                  <a:gd name="connsiteX9095" fmla="*/ 3400728 w 6994525"/>
                  <a:gd name="connsiteY9095" fmla="*/ 40205 h 7571036"/>
                  <a:gd name="connsiteX9096" fmla="*/ 3400730 w 6994525"/>
                  <a:gd name="connsiteY9096" fmla="*/ 1451145 h 7571036"/>
                  <a:gd name="connsiteX9097" fmla="*/ 3371387 w 6994525"/>
                  <a:gd name="connsiteY9097" fmla="*/ 1421807 h 7571036"/>
                  <a:gd name="connsiteX9098" fmla="*/ 3342045 w 6994525"/>
                  <a:gd name="connsiteY9098" fmla="*/ 1451145 h 7571036"/>
                  <a:gd name="connsiteX9099" fmla="*/ 3371387 w 6994525"/>
                  <a:gd name="connsiteY9099" fmla="*/ 1480489 h 7571036"/>
                  <a:gd name="connsiteX9100" fmla="*/ 3400730 w 6994525"/>
                  <a:gd name="connsiteY9100" fmla="*/ 1451145 h 7571036"/>
                  <a:gd name="connsiteX9101" fmla="*/ 3401468 w 6994525"/>
                  <a:gd name="connsiteY9101" fmla="*/ 148921 h 7571036"/>
                  <a:gd name="connsiteX9102" fmla="*/ 3371142 w 6994525"/>
                  <a:gd name="connsiteY9102" fmla="*/ 118593 h 7571036"/>
                  <a:gd name="connsiteX9103" fmla="*/ 3340812 w 6994525"/>
                  <a:gd name="connsiteY9103" fmla="*/ 148921 h 7571036"/>
                  <a:gd name="connsiteX9104" fmla="*/ 3371142 w 6994525"/>
                  <a:gd name="connsiteY9104" fmla="*/ 179249 h 7571036"/>
                  <a:gd name="connsiteX9105" fmla="*/ 3401468 w 6994525"/>
                  <a:gd name="connsiteY9105" fmla="*/ 148921 h 7571036"/>
                  <a:gd name="connsiteX9106" fmla="*/ 3401961 w 6994525"/>
                  <a:gd name="connsiteY9106" fmla="*/ 3976702 h 7571036"/>
                  <a:gd name="connsiteX9107" fmla="*/ 3376316 w 6994525"/>
                  <a:gd name="connsiteY9107" fmla="*/ 3951058 h 7571036"/>
                  <a:gd name="connsiteX9108" fmla="*/ 3350672 w 6994525"/>
                  <a:gd name="connsiteY9108" fmla="*/ 3976702 h 7571036"/>
                  <a:gd name="connsiteX9109" fmla="*/ 3376316 w 6994525"/>
                  <a:gd name="connsiteY9109" fmla="*/ 4002346 h 7571036"/>
                  <a:gd name="connsiteX9110" fmla="*/ 3401961 w 6994525"/>
                  <a:gd name="connsiteY9110" fmla="*/ 3976702 h 7571036"/>
                  <a:gd name="connsiteX9111" fmla="*/ 3403195 w 6994525"/>
                  <a:gd name="connsiteY9111" fmla="*/ 1342669 h 7571036"/>
                  <a:gd name="connsiteX9112" fmla="*/ 3371142 w 6994525"/>
                  <a:gd name="connsiteY9112" fmla="*/ 1310615 h 7571036"/>
                  <a:gd name="connsiteX9113" fmla="*/ 3339085 w 6994525"/>
                  <a:gd name="connsiteY9113" fmla="*/ 1342669 h 7571036"/>
                  <a:gd name="connsiteX9114" fmla="*/ 3371142 w 6994525"/>
                  <a:gd name="connsiteY9114" fmla="*/ 1374727 h 7571036"/>
                  <a:gd name="connsiteX9115" fmla="*/ 3403195 w 6994525"/>
                  <a:gd name="connsiteY9115" fmla="*/ 1342669 h 7571036"/>
                  <a:gd name="connsiteX9116" fmla="*/ 3404427 w 6994525"/>
                  <a:gd name="connsiteY9116" fmla="*/ 5069525 h 7571036"/>
                  <a:gd name="connsiteX9117" fmla="*/ 3373852 w 6994525"/>
                  <a:gd name="connsiteY9117" fmla="*/ 5038950 h 7571036"/>
                  <a:gd name="connsiteX9118" fmla="*/ 3343277 w 6994525"/>
                  <a:gd name="connsiteY9118" fmla="*/ 5069525 h 7571036"/>
                  <a:gd name="connsiteX9119" fmla="*/ 3373852 w 6994525"/>
                  <a:gd name="connsiteY9119" fmla="*/ 5100101 h 7571036"/>
                  <a:gd name="connsiteX9120" fmla="*/ 3404427 w 6994525"/>
                  <a:gd name="connsiteY9120" fmla="*/ 5069525 h 7571036"/>
                  <a:gd name="connsiteX9121" fmla="*/ 3405167 w 6994525"/>
                  <a:gd name="connsiteY9121" fmla="*/ 2867609 h 7571036"/>
                  <a:gd name="connsiteX9122" fmla="*/ 3376070 w 6994525"/>
                  <a:gd name="connsiteY9122" fmla="*/ 2838515 h 7571036"/>
                  <a:gd name="connsiteX9123" fmla="*/ 3346975 w 6994525"/>
                  <a:gd name="connsiteY9123" fmla="*/ 2867609 h 7571036"/>
                  <a:gd name="connsiteX9124" fmla="*/ 3376070 w 6994525"/>
                  <a:gd name="connsiteY9124" fmla="*/ 2896706 h 7571036"/>
                  <a:gd name="connsiteX9125" fmla="*/ 3405167 w 6994525"/>
                  <a:gd name="connsiteY9125" fmla="*/ 2867609 h 7571036"/>
                  <a:gd name="connsiteX9126" fmla="*/ 3410344 w 6994525"/>
                  <a:gd name="connsiteY9126" fmla="*/ 4087169 h 7571036"/>
                  <a:gd name="connsiteX9127" fmla="*/ 3376315 w 6994525"/>
                  <a:gd name="connsiteY9127" fmla="*/ 4053139 h 7571036"/>
                  <a:gd name="connsiteX9128" fmla="*/ 3342536 w 6994525"/>
                  <a:gd name="connsiteY9128" fmla="*/ 4087169 h 7571036"/>
                  <a:gd name="connsiteX9129" fmla="*/ 3376315 w 6994525"/>
                  <a:gd name="connsiteY9129" fmla="*/ 4121195 h 7571036"/>
                  <a:gd name="connsiteX9130" fmla="*/ 3410344 w 6994525"/>
                  <a:gd name="connsiteY9130" fmla="*/ 4087169 h 7571036"/>
                  <a:gd name="connsiteX9131" fmla="*/ 3410837 w 6994525"/>
                  <a:gd name="connsiteY9131" fmla="*/ 4415853 h 7571036"/>
                  <a:gd name="connsiteX9132" fmla="*/ 3374098 w 6994525"/>
                  <a:gd name="connsiteY9132" fmla="*/ 4379114 h 7571036"/>
                  <a:gd name="connsiteX9133" fmla="*/ 3337605 w 6994525"/>
                  <a:gd name="connsiteY9133" fmla="*/ 4415853 h 7571036"/>
                  <a:gd name="connsiteX9134" fmla="*/ 3374098 w 6994525"/>
                  <a:gd name="connsiteY9134" fmla="*/ 4452592 h 7571036"/>
                  <a:gd name="connsiteX9135" fmla="*/ 3410837 w 6994525"/>
                  <a:gd name="connsiteY9135" fmla="*/ 4415853 h 7571036"/>
                  <a:gd name="connsiteX9136" fmla="*/ 3411084 w 6994525"/>
                  <a:gd name="connsiteY9136" fmla="*/ 1994527 h 7571036"/>
                  <a:gd name="connsiteX9137" fmla="*/ 3371880 w 6994525"/>
                  <a:gd name="connsiteY9137" fmla="*/ 1955328 h 7571036"/>
                  <a:gd name="connsiteX9138" fmla="*/ 3332673 w 6994525"/>
                  <a:gd name="connsiteY9138" fmla="*/ 1994527 h 7571036"/>
                  <a:gd name="connsiteX9139" fmla="*/ 3371880 w 6994525"/>
                  <a:gd name="connsiteY9139" fmla="*/ 2033730 h 7571036"/>
                  <a:gd name="connsiteX9140" fmla="*/ 3411084 w 6994525"/>
                  <a:gd name="connsiteY9140" fmla="*/ 1994527 h 7571036"/>
                  <a:gd name="connsiteX9141" fmla="*/ 3411825 w 6994525"/>
                  <a:gd name="connsiteY9141" fmla="*/ 2978320 h 7571036"/>
                  <a:gd name="connsiteX9142" fmla="*/ 3376318 w 6994525"/>
                  <a:gd name="connsiteY9142" fmla="*/ 2942813 h 7571036"/>
                  <a:gd name="connsiteX9143" fmla="*/ 3341058 w 6994525"/>
                  <a:gd name="connsiteY9143" fmla="*/ 2978320 h 7571036"/>
                  <a:gd name="connsiteX9144" fmla="*/ 3376318 w 6994525"/>
                  <a:gd name="connsiteY9144" fmla="*/ 3013827 h 7571036"/>
                  <a:gd name="connsiteX9145" fmla="*/ 3411825 w 6994525"/>
                  <a:gd name="connsiteY9145" fmla="*/ 2978320 h 7571036"/>
                  <a:gd name="connsiteX9146" fmla="*/ 3414043 w 6994525"/>
                  <a:gd name="connsiteY9146" fmla="*/ 4525084 h 7571036"/>
                  <a:gd name="connsiteX9147" fmla="*/ 3374343 w 6994525"/>
                  <a:gd name="connsiteY9147" fmla="*/ 4485386 h 7571036"/>
                  <a:gd name="connsiteX9148" fmla="*/ 3334646 w 6994525"/>
                  <a:gd name="connsiteY9148" fmla="*/ 4525084 h 7571036"/>
                  <a:gd name="connsiteX9149" fmla="*/ 3374343 w 6994525"/>
                  <a:gd name="connsiteY9149" fmla="*/ 4564784 h 7571036"/>
                  <a:gd name="connsiteX9150" fmla="*/ 3414043 w 6994525"/>
                  <a:gd name="connsiteY9150" fmla="*/ 4525084 h 7571036"/>
                  <a:gd name="connsiteX9151" fmla="*/ 3415525 w 6994525"/>
                  <a:gd name="connsiteY9151" fmla="*/ 4743305 h 7571036"/>
                  <a:gd name="connsiteX9152" fmla="*/ 3374838 w 6994525"/>
                  <a:gd name="connsiteY9152" fmla="*/ 4702620 h 7571036"/>
                  <a:gd name="connsiteX9153" fmla="*/ 3334153 w 6994525"/>
                  <a:gd name="connsiteY9153" fmla="*/ 4743305 h 7571036"/>
                  <a:gd name="connsiteX9154" fmla="*/ 3374838 w 6994525"/>
                  <a:gd name="connsiteY9154" fmla="*/ 4783992 h 7571036"/>
                  <a:gd name="connsiteX9155" fmla="*/ 3415525 w 6994525"/>
                  <a:gd name="connsiteY9155" fmla="*/ 4743305 h 7571036"/>
                  <a:gd name="connsiteX9156" fmla="*/ 3420208 w 6994525"/>
                  <a:gd name="connsiteY9156" fmla="*/ 4852045 h 7571036"/>
                  <a:gd name="connsiteX9157" fmla="*/ 3374838 w 6994525"/>
                  <a:gd name="connsiteY9157" fmla="*/ 4806675 h 7571036"/>
                  <a:gd name="connsiteX9158" fmla="*/ 3329468 w 6994525"/>
                  <a:gd name="connsiteY9158" fmla="*/ 4852045 h 7571036"/>
                  <a:gd name="connsiteX9159" fmla="*/ 3374838 w 6994525"/>
                  <a:gd name="connsiteY9159" fmla="*/ 4897415 h 7571036"/>
                  <a:gd name="connsiteX9160" fmla="*/ 3420208 w 6994525"/>
                  <a:gd name="connsiteY9160" fmla="*/ 4852045 h 7571036"/>
                  <a:gd name="connsiteX9161" fmla="*/ 3448318 w 6994525"/>
                  <a:gd name="connsiteY9161" fmla="*/ 2751230 h 7571036"/>
                  <a:gd name="connsiteX9162" fmla="*/ 3431303 w 6994525"/>
                  <a:gd name="connsiteY9162" fmla="*/ 2734217 h 7571036"/>
                  <a:gd name="connsiteX9163" fmla="*/ 3414290 w 6994525"/>
                  <a:gd name="connsiteY9163" fmla="*/ 2751230 h 7571036"/>
                  <a:gd name="connsiteX9164" fmla="*/ 3431303 w 6994525"/>
                  <a:gd name="connsiteY9164" fmla="*/ 2768245 h 7571036"/>
                  <a:gd name="connsiteX9165" fmla="*/ 3448318 w 6994525"/>
                  <a:gd name="connsiteY9165" fmla="*/ 2751230 h 7571036"/>
                  <a:gd name="connsiteX9166" fmla="*/ 3450783 w 6994525"/>
                  <a:gd name="connsiteY9166" fmla="*/ 2208053 h 7571036"/>
                  <a:gd name="connsiteX9167" fmla="*/ 3431303 w 6994525"/>
                  <a:gd name="connsiteY9167" fmla="*/ 2188574 h 7571036"/>
                  <a:gd name="connsiteX9168" fmla="*/ 3411824 w 6994525"/>
                  <a:gd name="connsiteY9168" fmla="*/ 2208053 h 7571036"/>
                  <a:gd name="connsiteX9169" fmla="*/ 3431303 w 6994525"/>
                  <a:gd name="connsiteY9169" fmla="*/ 2227533 h 7571036"/>
                  <a:gd name="connsiteX9170" fmla="*/ 3450783 w 6994525"/>
                  <a:gd name="connsiteY9170" fmla="*/ 2208053 h 7571036"/>
                  <a:gd name="connsiteX9171" fmla="*/ 3450783 w 6994525"/>
                  <a:gd name="connsiteY9171" fmla="*/ 2642494 h 7571036"/>
                  <a:gd name="connsiteX9172" fmla="*/ 3432043 w 6994525"/>
                  <a:gd name="connsiteY9172" fmla="*/ 2623755 h 7571036"/>
                  <a:gd name="connsiteX9173" fmla="*/ 3413303 w 6994525"/>
                  <a:gd name="connsiteY9173" fmla="*/ 2642494 h 7571036"/>
                  <a:gd name="connsiteX9174" fmla="*/ 3432043 w 6994525"/>
                  <a:gd name="connsiteY9174" fmla="*/ 2661234 h 7571036"/>
                  <a:gd name="connsiteX9175" fmla="*/ 3450783 w 6994525"/>
                  <a:gd name="connsiteY9175" fmla="*/ 2642494 h 7571036"/>
                  <a:gd name="connsiteX9176" fmla="*/ 3458428 w 6994525"/>
                  <a:gd name="connsiteY9176" fmla="*/ 2099565 h 7571036"/>
                  <a:gd name="connsiteX9177" fmla="*/ 3431058 w 6994525"/>
                  <a:gd name="connsiteY9177" fmla="*/ 2072192 h 7571036"/>
                  <a:gd name="connsiteX9178" fmla="*/ 3403687 w 6994525"/>
                  <a:gd name="connsiteY9178" fmla="*/ 2099565 h 7571036"/>
                  <a:gd name="connsiteX9179" fmla="*/ 3431058 w 6994525"/>
                  <a:gd name="connsiteY9179" fmla="*/ 2126934 h 7571036"/>
                  <a:gd name="connsiteX9180" fmla="*/ 3458428 w 6994525"/>
                  <a:gd name="connsiteY9180" fmla="*/ 2099565 h 7571036"/>
                  <a:gd name="connsiteX9181" fmla="*/ 3458674 w 6994525"/>
                  <a:gd name="connsiteY9181" fmla="*/ 1014770 h 7571036"/>
                  <a:gd name="connsiteX9182" fmla="*/ 3428839 w 6994525"/>
                  <a:gd name="connsiteY9182" fmla="*/ 984932 h 7571036"/>
                  <a:gd name="connsiteX9183" fmla="*/ 3399004 w 6994525"/>
                  <a:gd name="connsiteY9183" fmla="*/ 1014770 h 7571036"/>
                  <a:gd name="connsiteX9184" fmla="*/ 3428839 w 6994525"/>
                  <a:gd name="connsiteY9184" fmla="*/ 1044604 h 7571036"/>
                  <a:gd name="connsiteX9185" fmla="*/ 3458674 w 6994525"/>
                  <a:gd name="connsiteY9185" fmla="*/ 1014770 h 7571036"/>
                  <a:gd name="connsiteX9186" fmla="*/ 3460646 w 6994525"/>
                  <a:gd name="connsiteY9186" fmla="*/ 797817 h 7571036"/>
                  <a:gd name="connsiteX9187" fmla="*/ 3430071 w 6994525"/>
                  <a:gd name="connsiteY9187" fmla="*/ 767239 h 7571036"/>
                  <a:gd name="connsiteX9188" fmla="*/ 3399496 w 6994525"/>
                  <a:gd name="connsiteY9188" fmla="*/ 797817 h 7571036"/>
                  <a:gd name="connsiteX9189" fmla="*/ 3430071 w 6994525"/>
                  <a:gd name="connsiteY9189" fmla="*/ 828393 h 7571036"/>
                  <a:gd name="connsiteX9190" fmla="*/ 3460646 w 6994525"/>
                  <a:gd name="connsiteY9190" fmla="*/ 797817 h 7571036"/>
                  <a:gd name="connsiteX9191" fmla="*/ 3461879 w 6994525"/>
                  <a:gd name="connsiteY9191" fmla="*/ 906283 h 7571036"/>
                  <a:gd name="connsiteX9192" fmla="*/ 3429085 w 6994525"/>
                  <a:gd name="connsiteY9192" fmla="*/ 873489 h 7571036"/>
                  <a:gd name="connsiteX9193" fmla="*/ 3396292 w 6994525"/>
                  <a:gd name="connsiteY9193" fmla="*/ 906283 h 7571036"/>
                  <a:gd name="connsiteX9194" fmla="*/ 3429085 w 6994525"/>
                  <a:gd name="connsiteY9194" fmla="*/ 939080 h 7571036"/>
                  <a:gd name="connsiteX9195" fmla="*/ 3461879 w 6994525"/>
                  <a:gd name="connsiteY9195" fmla="*/ 906283 h 7571036"/>
                  <a:gd name="connsiteX9196" fmla="*/ 3463358 w 6994525"/>
                  <a:gd name="connsiteY9196" fmla="*/ 472605 h 7571036"/>
                  <a:gd name="connsiteX9197" fmla="*/ 3430071 w 6994525"/>
                  <a:gd name="connsiteY9197" fmla="*/ 439318 h 7571036"/>
                  <a:gd name="connsiteX9198" fmla="*/ 3396783 w 6994525"/>
                  <a:gd name="connsiteY9198" fmla="*/ 472605 h 7571036"/>
                  <a:gd name="connsiteX9199" fmla="*/ 3430071 w 6994525"/>
                  <a:gd name="connsiteY9199" fmla="*/ 505890 h 7571036"/>
                  <a:gd name="connsiteX9200" fmla="*/ 3463358 w 6994525"/>
                  <a:gd name="connsiteY9200" fmla="*/ 472605 h 7571036"/>
                  <a:gd name="connsiteX9201" fmla="*/ 3463605 w 6994525"/>
                  <a:gd name="connsiteY9201" fmla="*/ 580833 h 7571036"/>
                  <a:gd name="connsiteX9202" fmla="*/ 3429823 w 6994525"/>
                  <a:gd name="connsiteY9202" fmla="*/ 547299 h 7571036"/>
                  <a:gd name="connsiteX9203" fmla="*/ 3396043 w 6994525"/>
                  <a:gd name="connsiteY9203" fmla="*/ 580833 h 7571036"/>
                  <a:gd name="connsiteX9204" fmla="*/ 3429823 w 6994525"/>
                  <a:gd name="connsiteY9204" fmla="*/ 614612 h 7571036"/>
                  <a:gd name="connsiteX9205" fmla="*/ 3463605 w 6994525"/>
                  <a:gd name="connsiteY9205" fmla="*/ 580833 h 7571036"/>
                  <a:gd name="connsiteX9206" fmla="*/ 3464100 w 6994525"/>
                  <a:gd name="connsiteY9206" fmla="*/ 3078181 h 7571036"/>
                  <a:gd name="connsiteX9207" fmla="*/ 3433276 w 6994525"/>
                  <a:gd name="connsiteY9207" fmla="*/ 3047360 h 7571036"/>
                  <a:gd name="connsiteX9208" fmla="*/ 3402455 w 6994525"/>
                  <a:gd name="connsiteY9208" fmla="*/ 3078181 h 7571036"/>
                  <a:gd name="connsiteX9209" fmla="*/ 3433276 w 6994525"/>
                  <a:gd name="connsiteY9209" fmla="*/ 3109005 h 7571036"/>
                  <a:gd name="connsiteX9210" fmla="*/ 3464100 w 6994525"/>
                  <a:gd name="connsiteY9210" fmla="*/ 3078181 h 7571036"/>
                  <a:gd name="connsiteX9211" fmla="*/ 3464343 w 6994525"/>
                  <a:gd name="connsiteY9211" fmla="*/ 2533760 h 7571036"/>
                  <a:gd name="connsiteX9212" fmla="*/ 3432043 w 6994525"/>
                  <a:gd name="connsiteY9212" fmla="*/ 2501457 h 7571036"/>
                  <a:gd name="connsiteX9213" fmla="*/ 3399741 w 6994525"/>
                  <a:gd name="connsiteY9213" fmla="*/ 2533760 h 7571036"/>
                  <a:gd name="connsiteX9214" fmla="*/ 3432043 w 6994525"/>
                  <a:gd name="connsiteY9214" fmla="*/ 2566061 h 7571036"/>
                  <a:gd name="connsiteX9215" fmla="*/ 3464343 w 6994525"/>
                  <a:gd name="connsiteY9215" fmla="*/ 2533760 h 7571036"/>
                  <a:gd name="connsiteX9216" fmla="*/ 3464836 w 6994525"/>
                  <a:gd name="connsiteY9216" fmla="*/ 1123247 h 7571036"/>
                  <a:gd name="connsiteX9217" fmla="*/ 3428836 w 6994525"/>
                  <a:gd name="connsiteY9217" fmla="*/ 1087248 h 7571036"/>
                  <a:gd name="connsiteX9218" fmla="*/ 3392837 w 6994525"/>
                  <a:gd name="connsiteY9218" fmla="*/ 1123247 h 7571036"/>
                  <a:gd name="connsiteX9219" fmla="*/ 3428836 w 6994525"/>
                  <a:gd name="connsiteY9219" fmla="*/ 1159245 h 7571036"/>
                  <a:gd name="connsiteX9220" fmla="*/ 3464836 w 6994525"/>
                  <a:gd name="connsiteY9220" fmla="*/ 1123247 h 7571036"/>
                  <a:gd name="connsiteX9221" fmla="*/ 3464840 w 6994525"/>
                  <a:gd name="connsiteY9221" fmla="*/ 689341 h 7571036"/>
                  <a:gd name="connsiteX9222" fmla="*/ 3430071 w 6994525"/>
                  <a:gd name="connsiteY9222" fmla="*/ 654578 h 7571036"/>
                  <a:gd name="connsiteX9223" fmla="*/ 3395305 w 6994525"/>
                  <a:gd name="connsiteY9223" fmla="*/ 689341 h 7571036"/>
                  <a:gd name="connsiteX9224" fmla="*/ 3430071 w 6994525"/>
                  <a:gd name="connsiteY9224" fmla="*/ 724106 h 7571036"/>
                  <a:gd name="connsiteX9225" fmla="*/ 3464840 w 6994525"/>
                  <a:gd name="connsiteY9225" fmla="*/ 689341 h 7571036"/>
                  <a:gd name="connsiteX9226" fmla="*/ 3465083 w 6994525"/>
                  <a:gd name="connsiteY9226" fmla="*/ 1231724 h 7571036"/>
                  <a:gd name="connsiteX9227" fmla="*/ 3428343 w 6994525"/>
                  <a:gd name="connsiteY9227" fmla="*/ 1194982 h 7571036"/>
                  <a:gd name="connsiteX9228" fmla="*/ 3391605 w 6994525"/>
                  <a:gd name="connsiteY9228" fmla="*/ 1231724 h 7571036"/>
                  <a:gd name="connsiteX9229" fmla="*/ 3428343 w 6994525"/>
                  <a:gd name="connsiteY9229" fmla="*/ 1268457 h 7571036"/>
                  <a:gd name="connsiteX9230" fmla="*/ 3465083 w 6994525"/>
                  <a:gd name="connsiteY9230" fmla="*/ 1231724 h 7571036"/>
                  <a:gd name="connsiteX9231" fmla="*/ 3469029 w 6994525"/>
                  <a:gd name="connsiteY9231" fmla="*/ 2316786 h 7571036"/>
                  <a:gd name="connsiteX9232" fmla="*/ 3431549 w 6994525"/>
                  <a:gd name="connsiteY9232" fmla="*/ 2279059 h 7571036"/>
                  <a:gd name="connsiteX9233" fmla="*/ 3393824 w 6994525"/>
                  <a:gd name="connsiteY9233" fmla="*/ 2316786 h 7571036"/>
                  <a:gd name="connsiteX9234" fmla="*/ 3431549 w 6994525"/>
                  <a:gd name="connsiteY9234" fmla="*/ 2354269 h 7571036"/>
                  <a:gd name="connsiteX9235" fmla="*/ 3469029 w 6994525"/>
                  <a:gd name="connsiteY9235" fmla="*/ 2316786 h 7571036"/>
                  <a:gd name="connsiteX9236" fmla="*/ 3478154 w 6994525"/>
                  <a:gd name="connsiteY9236" fmla="*/ 2425025 h 7571036"/>
                  <a:gd name="connsiteX9237" fmla="*/ 3431798 w 6994525"/>
                  <a:gd name="connsiteY9237" fmla="*/ 2378670 h 7571036"/>
                  <a:gd name="connsiteX9238" fmla="*/ 3385442 w 6994525"/>
                  <a:gd name="connsiteY9238" fmla="*/ 2425025 h 7571036"/>
                  <a:gd name="connsiteX9239" fmla="*/ 3431798 w 6994525"/>
                  <a:gd name="connsiteY9239" fmla="*/ 2471382 h 7571036"/>
                  <a:gd name="connsiteX9240" fmla="*/ 3478154 w 6994525"/>
                  <a:gd name="connsiteY9240" fmla="*/ 2425025 h 7571036"/>
                  <a:gd name="connsiteX9241" fmla="*/ 3491468 w 6994525"/>
                  <a:gd name="connsiteY9241" fmla="*/ 1664411 h 7571036"/>
                  <a:gd name="connsiteX9242" fmla="*/ 3487768 w 6994525"/>
                  <a:gd name="connsiteY9242" fmla="*/ 1660711 h 7571036"/>
                  <a:gd name="connsiteX9243" fmla="*/ 3484318 w 6994525"/>
                  <a:gd name="connsiteY9243" fmla="*/ 1664411 h 7571036"/>
                  <a:gd name="connsiteX9244" fmla="*/ 3487768 w 6994525"/>
                  <a:gd name="connsiteY9244" fmla="*/ 1668111 h 7571036"/>
                  <a:gd name="connsiteX9245" fmla="*/ 3491468 w 6994525"/>
                  <a:gd name="connsiteY9245" fmla="*/ 1664411 h 7571036"/>
                  <a:gd name="connsiteX9246" fmla="*/ 3493439 w 6994525"/>
                  <a:gd name="connsiteY9246" fmla="*/ 5290704 h 7571036"/>
                  <a:gd name="connsiteX9247" fmla="*/ 3490235 w 6994525"/>
                  <a:gd name="connsiteY9247" fmla="*/ 5287498 h 7571036"/>
                  <a:gd name="connsiteX9248" fmla="*/ 3487030 w 6994525"/>
                  <a:gd name="connsiteY9248" fmla="*/ 5290704 h 7571036"/>
                  <a:gd name="connsiteX9249" fmla="*/ 3490235 w 6994525"/>
                  <a:gd name="connsiteY9249" fmla="*/ 5293911 h 7571036"/>
                  <a:gd name="connsiteX9250" fmla="*/ 3493439 w 6994525"/>
                  <a:gd name="connsiteY9250" fmla="*/ 5290704 h 7571036"/>
                  <a:gd name="connsiteX9251" fmla="*/ 3493439 w 6994525"/>
                  <a:gd name="connsiteY9251" fmla="*/ 5399198 h 7571036"/>
                  <a:gd name="connsiteX9252" fmla="*/ 3490235 w 6994525"/>
                  <a:gd name="connsiteY9252" fmla="*/ 5395992 h 7571036"/>
                  <a:gd name="connsiteX9253" fmla="*/ 3487030 w 6994525"/>
                  <a:gd name="connsiteY9253" fmla="*/ 5399198 h 7571036"/>
                  <a:gd name="connsiteX9254" fmla="*/ 3490235 w 6994525"/>
                  <a:gd name="connsiteY9254" fmla="*/ 5402402 h 7571036"/>
                  <a:gd name="connsiteX9255" fmla="*/ 3493439 w 6994525"/>
                  <a:gd name="connsiteY9255" fmla="*/ 5399198 h 7571036"/>
                  <a:gd name="connsiteX9256" fmla="*/ 3493439 w 6994525"/>
                  <a:gd name="connsiteY9256" fmla="*/ 5507445 h 7571036"/>
                  <a:gd name="connsiteX9257" fmla="*/ 3490235 w 6994525"/>
                  <a:gd name="connsiteY9257" fmla="*/ 5504239 h 7571036"/>
                  <a:gd name="connsiteX9258" fmla="*/ 3487030 w 6994525"/>
                  <a:gd name="connsiteY9258" fmla="*/ 5507445 h 7571036"/>
                  <a:gd name="connsiteX9259" fmla="*/ 3490235 w 6994525"/>
                  <a:gd name="connsiteY9259" fmla="*/ 5510649 h 7571036"/>
                  <a:gd name="connsiteX9260" fmla="*/ 3493439 w 6994525"/>
                  <a:gd name="connsiteY9260" fmla="*/ 5507445 h 7571036"/>
                  <a:gd name="connsiteX9261" fmla="*/ 3493439 w 6994525"/>
                  <a:gd name="connsiteY9261" fmla="*/ 5724431 h 7571036"/>
                  <a:gd name="connsiteX9262" fmla="*/ 3490235 w 6994525"/>
                  <a:gd name="connsiteY9262" fmla="*/ 5721226 h 7571036"/>
                  <a:gd name="connsiteX9263" fmla="*/ 3487030 w 6994525"/>
                  <a:gd name="connsiteY9263" fmla="*/ 5724431 h 7571036"/>
                  <a:gd name="connsiteX9264" fmla="*/ 3490235 w 6994525"/>
                  <a:gd name="connsiteY9264" fmla="*/ 5727636 h 7571036"/>
                  <a:gd name="connsiteX9265" fmla="*/ 3493439 w 6994525"/>
                  <a:gd name="connsiteY9265" fmla="*/ 5724431 h 7571036"/>
                  <a:gd name="connsiteX9266" fmla="*/ 3493439 w 6994525"/>
                  <a:gd name="connsiteY9266" fmla="*/ 5832924 h 7571036"/>
                  <a:gd name="connsiteX9267" fmla="*/ 3490235 w 6994525"/>
                  <a:gd name="connsiteY9267" fmla="*/ 5829719 h 7571036"/>
                  <a:gd name="connsiteX9268" fmla="*/ 3487030 w 6994525"/>
                  <a:gd name="connsiteY9268" fmla="*/ 5832924 h 7571036"/>
                  <a:gd name="connsiteX9269" fmla="*/ 3490235 w 6994525"/>
                  <a:gd name="connsiteY9269" fmla="*/ 5836132 h 7571036"/>
                  <a:gd name="connsiteX9270" fmla="*/ 3493439 w 6994525"/>
                  <a:gd name="connsiteY9270" fmla="*/ 5832924 h 7571036"/>
                  <a:gd name="connsiteX9271" fmla="*/ 3493439 w 6994525"/>
                  <a:gd name="connsiteY9271" fmla="*/ 5941169 h 7571036"/>
                  <a:gd name="connsiteX9272" fmla="*/ 3490235 w 6994525"/>
                  <a:gd name="connsiteY9272" fmla="*/ 5937964 h 7571036"/>
                  <a:gd name="connsiteX9273" fmla="*/ 3487030 w 6994525"/>
                  <a:gd name="connsiteY9273" fmla="*/ 5941169 h 7571036"/>
                  <a:gd name="connsiteX9274" fmla="*/ 3490235 w 6994525"/>
                  <a:gd name="connsiteY9274" fmla="*/ 5944377 h 7571036"/>
                  <a:gd name="connsiteX9275" fmla="*/ 3493439 w 6994525"/>
                  <a:gd name="connsiteY9275" fmla="*/ 5941169 h 7571036"/>
                  <a:gd name="connsiteX9276" fmla="*/ 3493439 w 6994525"/>
                  <a:gd name="connsiteY9276" fmla="*/ 6049662 h 7571036"/>
                  <a:gd name="connsiteX9277" fmla="*/ 3490235 w 6994525"/>
                  <a:gd name="connsiteY9277" fmla="*/ 6046457 h 7571036"/>
                  <a:gd name="connsiteX9278" fmla="*/ 3487030 w 6994525"/>
                  <a:gd name="connsiteY9278" fmla="*/ 6049662 h 7571036"/>
                  <a:gd name="connsiteX9279" fmla="*/ 3490235 w 6994525"/>
                  <a:gd name="connsiteY9279" fmla="*/ 6052867 h 7571036"/>
                  <a:gd name="connsiteX9280" fmla="*/ 3493439 w 6994525"/>
                  <a:gd name="connsiteY9280" fmla="*/ 6049662 h 7571036"/>
                  <a:gd name="connsiteX9281" fmla="*/ 3493439 w 6994525"/>
                  <a:gd name="connsiteY9281" fmla="*/ 6158155 h 7571036"/>
                  <a:gd name="connsiteX9282" fmla="*/ 3490235 w 6994525"/>
                  <a:gd name="connsiteY9282" fmla="*/ 6154950 h 7571036"/>
                  <a:gd name="connsiteX9283" fmla="*/ 3487030 w 6994525"/>
                  <a:gd name="connsiteY9283" fmla="*/ 6158155 h 7571036"/>
                  <a:gd name="connsiteX9284" fmla="*/ 3490235 w 6994525"/>
                  <a:gd name="connsiteY9284" fmla="*/ 6161363 h 7571036"/>
                  <a:gd name="connsiteX9285" fmla="*/ 3493439 w 6994525"/>
                  <a:gd name="connsiteY9285" fmla="*/ 6158155 h 7571036"/>
                  <a:gd name="connsiteX9286" fmla="*/ 3493439 w 6994525"/>
                  <a:gd name="connsiteY9286" fmla="*/ 6266649 h 7571036"/>
                  <a:gd name="connsiteX9287" fmla="*/ 3490235 w 6994525"/>
                  <a:gd name="connsiteY9287" fmla="*/ 6263444 h 7571036"/>
                  <a:gd name="connsiteX9288" fmla="*/ 3487030 w 6994525"/>
                  <a:gd name="connsiteY9288" fmla="*/ 6266649 h 7571036"/>
                  <a:gd name="connsiteX9289" fmla="*/ 3490235 w 6994525"/>
                  <a:gd name="connsiteY9289" fmla="*/ 6269857 h 7571036"/>
                  <a:gd name="connsiteX9290" fmla="*/ 3493439 w 6994525"/>
                  <a:gd name="connsiteY9290" fmla="*/ 6266649 h 7571036"/>
                  <a:gd name="connsiteX9291" fmla="*/ 3493439 w 6994525"/>
                  <a:gd name="connsiteY9291" fmla="*/ 6374897 h 7571036"/>
                  <a:gd name="connsiteX9292" fmla="*/ 3490235 w 6994525"/>
                  <a:gd name="connsiteY9292" fmla="*/ 6371691 h 7571036"/>
                  <a:gd name="connsiteX9293" fmla="*/ 3487030 w 6994525"/>
                  <a:gd name="connsiteY9293" fmla="*/ 6374897 h 7571036"/>
                  <a:gd name="connsiteX9294" fmla="*/ 3490235 w 6994525"/>
                  <a:gd name="connsiteY9294" fmla="*/ 6378101 h 7571036"/>
                  <a:gd name="connsiteX9295" fmla="*/ 3493439 w 6994525"/>
                  <a:gd name="connsiteY9295" fmla="*/ 6374897 h 7571036"/>
                  <a:gd name="connsiteX9296" fmla="*/ 3493439 w 6994525"/>
                  <a:gd name="connsiteY9296" fmla="*/ 6483390 h 7571036"/>
                  <a:gd name="connsiteX9297" fmla="*/ 3490235 w 6994525"/>
                  <a:gd name="connsiteY9297" fmla="*/ 6480184 h 7571036"/>
                  <a:gd name="connsiteX9298" fmla="*/ 3487030 w 6994525"/>
                  <a:gd name="connsiteY9298" fmla="*/ 6483390 h 7571036"/>
                  <a:gd name="connsiteX9299" fmla="*/ 3490235 w 6994525"/>
                  <a:gd name="connsiteY9299" fmla="*/ 6486594 h 7571036"/>
                  <a:gd name="connsiteX9300" fmla="*/ 3493439 w 6994525"/>
                  <a:gd name="connsiteY9300" fmla="*/ 6483390 h 7571036"/>
                  <a:gd name="connsiteX9301" fmla="*/ 3493439 w 6994525"/>
                  <a:gd name="connsiteY9301" fmla="*/ 6591883 h 7571036"/>
                  <a:gd name="connsiteX9302" fmla="*/ 3490235 w 6994525"/>
                  <a:gd name="connsiteY9302" fmla="*/ 6588677 h 7571036"/>
                  <a:gd name="connsiteX9303" fmla="*/ 3487030 w 6994525"/>
                  <a:gd name="connsiteY9303" fmla="*/ 6591883 h 7571036"/>
                  <a:gd name="connsiteX9304" fmla="*/ 3490235 w 6994525"/>
                  <a:gd name="connsiteY9304" fmla="*/ 6595090 h 7571036"/>
                  <a:gd name="connsiteX9305" fmla="*/ 3493439 w 6994525"/>
                  <a:gd name="connsiteY9305" fmla="*/ 6591883 h 7571036"/>
                  <a:gd name="connsiteX9306" fmla="*/ 3493439 w 6994525"/>
                  <a:gd name="connsiteY9306" fmla="*/ 6700377 h 7571036"/>
                  <a:gd name="connsiteX9307" fmla="*/ 3490235 w 6994525"/>
                  <a:gd name="connsiteY9307" fmla="*/ 6697171 h 7571036"/>
                  <a:gd name="connsiteX9308" fmla="*/ 3487030 w 6994525"/>
                  <a:gd name="connsiteY9308" fmla="*/ 6700377 h 7571036"/>
                  <a:gd name="connsiteX9309" fmla="*/ 3490235 w 6994525"/>
                  <a:gd name="connsiteY9309" fmla="*/ 6703584 h 7571036"/>
                  <a:gd name="connsiteX9310" fmla="*/ 3493439 w 6994525"/>
                  <a:gd name="connsiteY9310" fmla="*/ 6700377 h 7571036"/>
                  <a:gd name="connsiteX9311" fmla="*/ 3493439 w 6994525"/>
                  <a:gd name="connsiteY9311" fmla="*/ 6808624 h 7571036"/>
                  <a:gd name="connsiteX9312" fmla="*/ 3490235 w 6994525"/>
                  <a:gd name="connsiteY9312" fmla="*/ 6805419 h 7571036"/>
                  <a:gd name="connsiteX9313" fmla="*/ 3487030 w 6994525"/>
                  <a:gd name="connsiteY9313" fmla="*/ 6808624 h 7571036"/>
                  <a:gd name="connsiteX9314" fmla="*/ 3490235 w 6994525"/>
                  <a:gd name="connsiteY9314" fmla="*/ 6811829 h 7571036"/>
                  <a:gd name="connsiteX9315" fmla="*/ 3493439 w 6994525"/>
                  <a:gd name="connsiteY9315" fmla="*/ 6808624 h 7571036"/>
                  <a:gd name="connsiteX9316" fmla="*/ 3493439 w 6994525"/>
                  <a:gd name="connsiteY9316" fmla="*/ 6917117 h 7571036"/>
                  <a:gd name="connsiteX9317" fmla="*/ 3490235 w 6994525"/>
                  <a:gd name="connsiteY9317" fmla="*/ 6913912 h 7571036"/>
                  <a:gd name="connsiteX9318" fmla="*/ 3487030 w 6994525"/>
                  <a:gd name="connsiteY9318" fmla="*/ 6917117 h 7571036"/>
                  <a:gd name="connsiteX9319" fmla="*/ 3490235 w 6994525"/>
                  <a:gd name="connsiteY9319" fmla="*/ 6920325 h 7571036"/>
                  <a:gd name="connsiteX9320" fmla="*/ 3493439 w 6994525"/>
                  <a:gd name="connsiteY9320" fmla="*/ 6917117 h 7571036"/>
                  <a:gd name="connsiteX9321" fmla="*/ 3493439 w 6994525"/>
                  <a:gd name="connsiteY9321" fmla="*/ 7025610 h 7571036"/>
                  <a:gd name="connsiteX9322" fmla="*/ 3490235 w 6994525"/>
                  <a:gd name="connsiteY9322" fmla="*/ 7022405 h 7571036"/>
                  <a:gd name="connsiteX9323" fmla="*/ 3487030 w 6994525"/>
                  <a:gd name="connsiteY9323" fmla="*/ 7025610 h 7571036"/>
                  <a:gd name="connsiteX9324" fmla="*/ 3490235 w 6994525"/>
                  <a:gd name="connsiteY9324" fmla="*/ 7028818 h 7571036"/>
                  <a:gd name="connsiteX9325" fmla="*/ 3493439 w 6994525"/>
                  <a:gd name="connsiteY9325" fmla="*/ 7025610 h 7571036"/>
                  <a:gd name="connsiteX9326" fmla="*/ 3493439 w 6994525"/>
                  <a:gd name="connsiteY9326" fmla="*/ 7134103 h 7571036"/>
                  <a:gd name="connsiteX9327" fmla="*/ 3490235 w 6994525"/>
                  <a:gd name="connsiteY9327" fmla="*/ 7130898 h 7571036"/>
                  <a:gd name="connsiteX9328" fmla="*/ 3487030 w 6994525"/>
                  <a:gd name="connsiteY9328" fmla="*/ 7134103 h 7571036"/>
                  <a:gd name="connsiteX9329" fmla="*/ 3490235 w 6994525"/>
                  <a:gd name="connsiteY9329" fmla="*/ 7137311 h 7571036"/>
                  <a:gd name="connsiteX9330" fmla="*/ 3493439 w 6994525"/>
                  <a:gd name="connsiteY9330" fmla="*/ 7134103 h 7571036"/>
                  <a:gd name="connsiteX9331" fmla="*/ 3493439 w 6994525"/>
                  <a:gd name="connsiteY9331" fmla="*/ 7242351 h 7571036"/>
                  <a:gd name="connsiteX9332" fmla="*/ 3490235 w 6994525"/>
                  <a:gd name="connsiteY9332" fmla="*/ 7239145 h 7571036"/>
                  <a:gd name="connsiteX9333" fmla="*/ 3487030 w 6994525"/>
                  <a:gd name="connsiteY9333" fmla="*/ 7242351 h 7571036"/>
                  <a:gd name="connsiteX9334" fmla="*/ 3490235 w 6994525"/>
                  <a:gd name="connsiteY9334" fmla="*/ 7245555 h 7571036"/>
                  <a:gd name="connsiteX9335" fmla="*/ 3493439 w 6994525"/>
                  <a:gd name="connsiteY9335" fmla="*/ 7242351 h 7571036"/>
                  <a:gd name="connsiteX9336" fmla="*/ 3493439 w 6994525"/>
                  <a:gd name="connsiteY9336" fmla="*/ 7350845 h 7571036"/>
                  <a:gd name="connsiteX9337" fmla="*/ 3490235 w 6994525"/>
                  <a:gd name="connsiteY9337" fmla="*/ 7347639 h 7571036"/>
                  <a:gd name="connsiteX9338" fmla="*/ 3487030 w 6994525"/>
                  <a:gd name="connsiteY9338" fmla="*/ 7350845 h 7571036"/>
                  <a:gd name="connsiteX9339" fmla="*/ 3490235 w 6994525"/>
                  <a:gd name="connsiteY9339" fmla="*/ 7354052 h 7571036"/>
                  <a:gd name="connsiteX9340" fmla="*/ 3493439 w 6994525"/>
                  <a:gd name="connsiteY9340" fmla="*/ 7350845 h 7571036"/>
                  <a:gd name="connsiteX9341" fmla="*/ 3493439 w 6994525"/>
                  <a:gd name="connsiteY9341" fmla="*/ 7459335 h 7571036"/>
                  <a:gd name="connsiteX9342" fmla="*/ 3490235 w 6994525"/>
                  <a:gd name="connsiteY9342" fmla="*/ 7456129 h 7571036"/>
                  <a:gd name="connsiteX9343" fmla="*/ 3487030 w 6994525"/>
                  <a:gd name="connsiteY9343" fmla="*/ 7459335 h 7571036"/>
                  <a:gd name="connsiteX9344" fmla="*/ 3490235 w 6994525"/>
                  <a:gd name="connsiteY9344" fmla="*/ 7462542 h 7571036"/>
                  <a:gd name="connsiteX9345" fmla="*/ 3493439 w 6994525"/>
                  <a:gd name="connsiteY9345" fmla="*/ 7459335 h 7571036"/>
                  <a:gd name="connsiteX9346" fmla="*/ 3493439 w 6994525"/>
                  <a:gd name="connsiteY9346" fmla="*/ 7567829 h 7571036"/>
                  <a:gd name="connsiteX9347" fmla="*/ 3490235 w 6994525"/>
                  <a:gd name="connsiteY9347" fmla="*/ 7564623 h 7571036"/>
                  <a:gd name="connsiteX9348" fmla="*/ 3487030 w 6994525"/>
                  <a:gd name="connsiteY9348" fmla="*/ 7567829 h 7571036"/>
                  <a:gd name="connsiteX9349" fmla="*/ 3490235 w 6994525"/>
                  <a:gd name="connsiteY9349" fmla="*/ 7571036 h 7571036"/>
                  <a:gd name="connsiteX9350" fmla="*/ 3493439 w 6994525"/>
                  <a:gd name="connsiteY9350" fmla="*/ 7567829 h 7571036"/>
                  <a:gd name="connsiteX9351" fmla="*/ 3496646 w 6994525"/>
                  <a:gd name="connsiteY9351" fmla="*/ 4314513 h 7571036"/>
                  <a:gd name="connsiteX9352" fmla="*/ 3490236 w 6994525"/>
                  <a:gd name="connsiteY9352" fmla="*/ 4308100 h 7571036"/>
                  <a:gd name="connsiteX9353" fmla="*/ 3483824 w 6994525"/>
                  <a:gd name="connsiteY9353" fmla="*/ 4314513 h 7571036"/>
                  <a:gd name="connsiteX9354" fmla="*/ 3490236 w 6994525"/>
                  <a:gd name="connsiteY9354" fmla="*/ 4320922 h 7571036"/>
                  <a:gd name="connsiteX9355" fmla="*/ 3496646 w 6994525"/>
                  <a:gd name="connsiteY9355" fmla="*/ 4314513 h 7571036"/>
                  <a:gd name="connsiteX9356" fmla="*/ 3499358 w 6994525"/>
                  <a:gd name="connsiteY9356" fmla="*/ 1773150 h 7571036"/>
                  <a:gd name="connsiteX9357" fmla="*/ 3488017 w 6994525"/>
                  <a:gd name="connsiteY9357" fmla="*/ 1761807 h 7571036"/>
                  <a:gd name="connsiteX9358" fmla="*/ 3476674 w 6994525"/>
                  <a:gd name="connsiteY9358" fmla="*/ 1773150 h 7571036"/>
                  <a:gd name="connsiteX9359" fmla="*/ 3488017 w 6994525"/>
                  <a:gd name="connsiteY9359" fmla="*/ 1784492 h 7571036"/>
                  <a:gd name="connsiteX9360" fmla="*/ 3499358 w 6994525"/>
                  <a:gd name="connsiteY9360" fmla="*/ 1773150 h 7571036"/>
                  <a:gd name="connsiteX9361" fmla="*/ 3500592 w 6994525"/>
                  <a:gd name="connsiteY9361" fmla="*/ 4639744 h 7571036"/>
                  <a:gd name="connsiteX9362" fmla="*/ 3490235 w 6994525"/>
                  <a:gd name="connsiteY9362" fmla="*/ 4629635 h 7571036"/>
                  <a:gd name="connsiteX9363" fmla="*/ 3479881 w 6994525"/>
                  <a:gd name="connsiteY9363" fmla="*/ 4639744 h 7571036"/>
                  <a:gd name="connsiteX9364" fmla="*/ 3490235 w 6994525"/>
                  <a:gd name="connsiteY9364" fmla="*/ 4650102 h 7571036"/>
                  <a:gd name="connsiteX9365" fmla="*/ 3500592 w 6994525"/>
                  <a:gd name="connsiteY9365" fmla="*/ 4639744 h 7571036"/>
                  <a:gd name="connsiteX9366" fmla="*/ 3503303 w 6994525"/>
                  <a:gd name="connsiteY9366" fmla="*/ 4206262 h 7571036"/>
                  <a:gd name="connsiteX9367" fmla="*/ 3490236 w 6994525"/>
                  <a:gd name="connsiteY9367" fmla="*/ 4193194 h 7571036"/>
                  <a:gd name="connsiteX9368" fmla="*/ 3477168 w 6994525"/>
                  <a:gd name="connsiteY9368" fmla="*/ 4206262 h 7571036"/>
                  <a:gd name="connsiteX9369" fmla="*/ 3490236 w 6994525"/>
                  <a:gd name="connsiteY9369" fmla="*/ 4219329 h 7571036"/>
                  <a:gd name="connsiteX9370" fmla="*/ 3503303 w 6994525"/>
                  <a:gd name="connsiteY9370" fmla="*/ 4206262 h 7571036"/>
                  <a:gd name="connsiteX9371" fmla="*/ 3507002 w 6994525"/>
                  <a:gd name="connsiteY9371" fmla="*/ 5182211 h 7571036"/>
                  <a:gd name="connsiteX9372" fmla="*/ 3490235 w 6994525"/>
                  <a:gd name="connsiteY9372" fmla="*/ 5165443 h 7571036"/>
                  <a:gd name="connsiteX9373" fmla="*/ 3473468 w 6994525"/>
                  <a:gd name="connsiteY9373" fmla="*/ 5182211 h 7571036"/>
                  <a:gd name="connsiteX9374" fmla="*/ 3490235 w 6994525"/>
                  <a:gd name="connsiteY9374" fmla="*/ 5198977 h 7571036"/>
                  <a:gd name="connsiteX9375" fmla="*/ 3507002 w 6994525"/>
                  <a:gd name="connsiteY9375" fmla="*/ 5182211 h 7571036"/>
                  <a:gd name="connsiteX9376" fmla="*/ 3510453 w 6994525"/>
                  <a:gd name="connsiteY9376" fmla="*/ 1556176 h 7571036"/>
                  <a:gd name="connsiteX9377" fmla="*/ 3487030 w 6994525"/>
                  <a:gd name="connsiteY9377" fmla="*/ 1532754 h 7571036"/>
                  <a:gd name="connsiteX9378" fmla="*/ 3463605 w 6994525"/>
                  <a:gd name="connsiteY9378" fmla="*/ 1556176 h 7571036"/>
                  <a:gd name="connsiteX9379" fmla="*/ 3487030 w 6994525"/>
                  <a:gd name="connsiteY9379" fmla="*/ 1579603 h 7571036"/>
                  <a:gd name="connsiteX9380" fmla="*/ 3510453 w 6994525"/>
                  <a:gd name="connsiteY9380" fmla="*/ 1556176 h 7571036"/>
                  <a:gd name="connsiteX9381" fmla="*/ 3513415 w 6994525"/>
                  <a:gd name="connsiteY9381" fmla="*/ 3989277 h 7571036"/>
                  <a:gd name="connsiteX9382" fmla="*/ 3490239 w 6994525"/>
                  <a:gd name="connsiteY9382" fmla="*/ 3966098 h 7571036"/>
                  <a:gd name="connsiteX9383" fmla="*/ 3467059 w 6994525"/>
                  <a:gd name="connsiteY9383" fmla="*/ 3989277 h 7571036"/>
                  <a:gd name="connsiteX9384" fmla="*/ 3490239 w 6994525"/>
                  <a:gd name="connsiteY9384" fmla="*/ 4012454 h 7571036"/>
                  <a:gd name="connsiteX9385" fmla="*/ 3513415 w 6994525"/>
                  <a:gd name="connsiteY9385" fmla="*/ 3989277 h 7571036"/>
                  <a:gd name="connsiteX9386" fmla="*/ 3514646 w 6994525"/>
                  <a:gd name="connsiteY9386" fmla="*/ 1881627 h 7571036"/>
                  <a:gd name="connsiteX9387" fmla="*/ 3488508 w 6994525"/>
                  <a:gd name="connsiteY9387" fmla="*/ 1855497 h 7571036"/>
                  <a:gd name="connsiteX9388" fmla="*/ 3462373 w 6994525"/>
                  <a:gd name="connsiteY9388" fmla="*/ 1881627 h 7571036"/>
                  <a:gd name="connsiteX9389" fmla="*/ 3488508 w 6994525"/>
                  <a:gd name="connsiteY9389" fmla="*/ 1907760 h 7571036"/>
                  <a:gd name="connsiteX9390" fmla="*/ 3514646 w 6994525"/>
                  <a:gd name="connsiteY9390" fmla="*/ 1881627 h 7571036"/>
                  <a:gd name="connsiteX9391" fmla="*/ 3516864 w 6994525"/>
                  <a:gd name="connsiteY9391" fmla="*/ 5073718 h 7571036"/>
                  <a:gd name="connsiteX9392" fmla="*/ 3490235 w 6994525"/>
                  <a:gd name="connsiteY9392" fmla="*/ 5047087 h 7571036"/>
                  <a:gd name="connsiteX9393" fmla="*/ 3463605 w 6994525"/>
                  <a:gd name="connsiteY9393" fmla="*/ 5073718 h 7571036"/>
                  <a:gd name="connsiteX9394" fmla="*/ 3490235 w 6994525"/>
                  <a:gd name="connsiteY9394" fmla="*/ 5100347 h 7571036"/>
                  <a:gd name="connsiteX9395" fmla="*/ 3516864 w 6994525"/>
                  <a:gd name="connsiteY9395" fmla="*/ 5073718 h 7571036"/>
                  <a:gd name="connsiteX9396" fmla="*/ 3516866 w 6994525"/>
                  <a:gd name="connsiteY9396" fmla="*/ 363640 h 7571036"/>
                  <a:gd name="connsiteX9397" fmla="*/ 3487276 w 6994525"/>
                  <a:gd name="connsiteY9397" fmla="*/ 334052 h 7571036"/>
                  <a:gd name="connsiteX9398" fmla="*/ 3457688 w 6994525"/>
                  <a:gd name="connsiteY9398" fmla="*/ 363640 h 7571036"/>
                  <a:gd name="connsiteX9399" fmla="*/ 3487276 w 6994525"/>
                  <a:gd name="connsiteY9399" fmla="*/ 393228 h 7571036"/>
                  <a:gd name="connsiteX9400" fmla="*/ 3516866 w 6994525"/>
                  <a:gd name="connsiteY9400" fmla="*/ 363640 h 7571036"/>
                  <a:gd name="connsiteX9401" fmla="*/ 3517112 w 6994525"/>
                  <a:gd name="connsiteY9401" fmla="*/ 255169 h 7571036"/>
                  <a:gd name="connsiteX9402" fmla="*/ 3487277 w 6994525"/>
                  <a:gd name="connsiteY9402" fmla="*/ 225335 h 7571036"/>
                  <a:gd name="connsiteX9403" fmla="*/ 3457442 w 6994525"/>
                  <a:gd name="connsiteY9403" fmla="*/ 255169 h 7571036"/>
                  <a:gd name="connsiteX9404" fmla="*/ 3487277 w 6994525"/>
                  <a:gd name="connsiteY9404" fmla="*/ 285006 h 7571036"/>
                  <a:gd name="connsiteX9405" fmla="*/ 3517112 w 6994525"/>
                  <a:gd name="connsiteY9405" fmla="*/ 255169 h 7571036"/>
                  <a:gd name="connsiteX9406" fmla="*/ 3517606 w 6994525"/>
                  <a:gd name="connsiteY9406" fmla="*/ 38479 h 7571036"/>
                  <a:gd name="connsiteX9407" fmla="*/ 3487030 w 6994525"/>
                  <a:gd name="connsiteY9407" fmla="*/ 7904 h 7571036"/>
                  <a:gd name="connsiteX9408" fmla="*/ 3456455 w 6994525"/>
                  <a:gd name="connsiteY9408" fmla="*/ 38479 h 7571036"/>
                  <a:gd name="connsiteX9409" fmla="*/ 3487030 w 6994525"/>
                  <a:gd name="connsiteY9409" fmla="*/ 69053 h 7571036"/>
                  <a:gd name="connsiteX9410" fmla="*/ 3517606 w 6994525"/>
                  <a:gd name="connsiteY9410" fmla="*/ 38479 h 7571036"/>
                  <a:gd name="connsiteX9411" fmla="*/ 3518837 w 6994525"/>
                  <a:gd name="connsiteY9411" fmla="*/ 146703 h 7571036"/>
                  <a:gd name="connsiteX9412" fmla="*/ 3487523 w 6994525"/>
                  <a:gd name="connsiteY9412" fmla="*/ 115388 h 7571036"/>
                  <a:gd name="connsiteX9413" fmla="*/ 3456206 w 6994525"/>
                  <a:gd name="connsiteY9413" fmla="*/ 146703 h 7571036"/>
                  <a:gd name="connsiteX9414" fmla="*/ 3487523 w 6994525"/>
                  <a:gd name="connsiteY9414" fmla="*/ 178018 h 7571036"/>
                  <a:gd name="connsiteX9415" fmla="*/ 3518837 w 6994525"/>
                  <a:gd name="connsiteY9415" fmla="*/ 146703 h 7571036"/>
                  <a:gd name="connsiteX9416" fmla="*/ 3519086 w 6994525"/>
                  <a:gd name="connsiteY9416" fmla="*/ 1447693 h 7571036"/>
                  <a:gd name="connsiteX9417" fmla="*/ 3487277 w 6994525"/>
                  <a:gd name="connsiteY9417" fmla="*/ 1415889 h 7571036"/>
                  <a:gd name="connsiteX9418" fmla="*/ 3455470 w 6994525"/>
                  <a:gd name="connsiteY9418" fmla="*/ 1447693 h 7571036"/>
                  <a:gd name="connsiteX9419" fmla="*/ 3487277 w 6994525"/>
                  <a:gd name="connsiteY9419" fmla="*/ 1479504 h 7571036"/>
                  <a:gd name="connsiteX9420" fmla="*/ 3519086 w 6994525"/>
                  <a:gd name="connsiteY9420" fmla="*/ 1447693 h 7571036"/>
                  <a:gd name="connsiteX9421" fmla="*/ 3519824 w 6994525"/>
                  <a:gd name="connsiteY9421" fmla="*/ 4097772 h 7571036"/>
                  <a:gd name="connsiteX9422" fmla="*/ 3490236 w 6994525"/>
                  <a:gd name="connsiteY9422" fmla="*/ 4068182 h 7571036"/>
                  <a:gd name="connsiteX9423" fmla="*/ 3460646 w 6994525"/>
                  <a:gd name="connsiteY9423" fmla="*/ 4097772 h 7571036"/>
                  <a:gd name="connsiteX9424" fmla="*/ 3490236 w 6994525"/>
                  <a:gd name="connsiteY9424" fmla="*/ 4127361 h 7571036"/>
                  <a:gd name="connsiteX9425" fmla="*/ 3519824 w 6994525"/>
                  <a:gd name="connsiteY9425" fmla="*/ 4097772 h 7571036"/>
                  <a:gd name="connsiteX9426" fmla="*/ 3520564 w 6994525"/>
                  <a:gd name="connsiteY9426" fmla="*/ 1339212 h 7571036"/>
                  <a:gd name="connsiteX9427" fmla="*/ 3486782 w 6994525"/>
                  <a:gd name="connsiteY9427" fmla="*/ 1305432 h 7571036"/>
                  <a:gd name="connsiteX9428" fmla="*/ 3453002 w 6994525"/>
                  <a:gd name="connsiteY9428" fmla="*/ 1339212 h 7571036"/>
                  <a:gd name="connsiteX9429" fmla="*/ 3486782 w 6994525"/>
                  <a:gd name="connsiteY9429" fmla="*/ 1372999 h 7571036"/>
                  <a:gd name="connsiteX9430" fmla="*/ 3520564 w 6994525"/>
                  <a:gd name="connsiteY9430" fmla="*/ 1339212 h 7571036"/>
                  <a:gd name="connsiteX9431" fmla="*/ 3521551 w 6994525"/>
                  <a:gd name="connsiteY9431" fmla="*/ 2857254 h 7571036"/>
                  <a:gd name="connsiteX9432" fmla="*/ 3489989 w 6994525"/>
                  <a:gd name="connsiteY9432" fmla="*/ 2825693 h 7571036"/>
                  <a:gd name="connsiteX9433" fmla="*/ 3458428 w 6994525"/>
                  <a:gd name="connsiteY9433" fmla="*/ 2857254 h 7571036"/>
                  <a:gd name="connsiteX9434" fmla="*/ 3489989 w 6994525"/>
                  <a:gd name="connsiteY9434" fmla="*/ 2888815 h 7571036"/>
                  <a:gd name="connsiteX9435" fmla="*/ 3521551 w 6994525"/>
                  <a:gd name="connsiteY9435" fmla="*/ 2857254 h 7571036"/>
                  <a:gd name="connsiteX9436" fmla="*/ 3524756 w 6994525"/>
                  <a:gd name="connsiteY9436" fmla="*/ 1989842 h 7571036"/>
                  <a:gd name="connsiteX9437" fmla="*/ 3488509 w 6994525"/>
                  <a:gd name="connsiteY9437" fmla="*/ 1953602 h 7571036"/>
                  <a:gd name="connsiteX9438" fmla="*/ 3452262 w 6994525"/>
                  <a:gd name="connsiteY9438" fmla="*/ 1989842 h 7571036"/>
                  <a:gd name="connsiteX9439" fmla="*/ 3488509 w 6994525"/>
                  <a:gd name="connsiteY9439" fmla="*/ 2026085 h 7571036"/>
                  <a:gd name="connsiteX9440" fmla="*/ 3524756 w 6994525"/>
                  <a:gd name="connsiteY9440" fmla="*/ 1989842 h 7571036"/>
                  <a:gd name="connsiteX9441" fmla="*/ 3527714 w 6994525"/>
                  <a:gd name="connsiteY9441" fmla="*/ 4423003 h 7571036"/>
                  <a:gd name="connsiteX9442" fmla="*/ 3490236 w 6994525"/>
                  <a:gd name="connsiteY9442" fmla="*/ 4385524 h 7571036"/>
                  <a:gd name="connsiteX9443" fmla="*/ 3452756 w 6994525"/>
                  <a:gd name="connsiteY9443" fmla="*/ 4423003 h 7571036"/>
                  <a:gd name="connsiteX9444" fmla="*/ 3490236 w 6994525"/>
                  <a:gd name="connsiteY9444" fmla="*/ 4460483 h 7571036"/>
                  <a:gd name="connsiteX9445" fmla="*/ 3527714 w 6994525"/>
                  <a:gd name="connsiteY9445" fmla="*/ 4423003 h 7571036"/>
                  <a:gd name="connsiteX9446" fmla="*/ 3528701 w 6994525"/>
                  <a:gd name="connsiteY9446" fmla="*/ 2965743 h 7571036"/>
                  <a:gd name="connsiteX9447" fmla="*/ 3490235 w 6994525"/>
                  <a:gd name="connsiteY9447" fmla="*/ 2927278 h 7571036"/>
                  <a:gd name="connsiteX9448" fmla="*/ 3451770 w 6994525"/>
                  <a:gd name="connsiteY9448" fmla="*/ 2965743 h 7571036"/>
                  <a:gd name="connsiteX9449" fmla="*/ 3490235 w 6994525"/>
                  <a:gd name="connsiteY9449" fmla="*/ 3004208 h 7571036"/>
                  <a:gd name="connsiteX9450" fmla="*/ 3528701 w 6994525"/>
                  <a:gd name="connsiteY9450" fmla="*/ 2965743 h 7571036"/>
                  <a:gd name="connsiteX9451" fmla="*/ 3529196 w 6994525"/>
                  <a:gd name="connsiteY9451" fmla="*/ 4748485 h 7571036"/>
                  <a:gd name="connsiteX9452" fmla="*/ 3490239 w 6994525"/>
                  <a:gd name="connsiteY9452" fmla="*/ 4709525 h 7571036"/>
                  <a:gd name="connsiteX9453" fmla="*/ 3451278 w 6994525"/>
                  <a:gd name="connsiteY9453" fmla="*/ 4748485 h 7571036"/>
                  <a:gd name="connsiteX9454" fmla="*/ 3490239 w 6994525"/>
                  <a:gd name="connsiteY9454" fmla="*/ 4787443 h 7571036"/>
                  <a:gd name="connsiteX9455" fmla="*/ 3529196 w 6994525"/>
                  <a:gd name="connsiteY9455" fmla="*/ 4748485 h 7571036"/>
                  <a:gd name="connsiteX9456" fmla="*/ 3532398 w 6994525"/>
                  <a:gd name="connsiteY9456" fmla="*/ 4531499 h 7571036"/>
                  <a:gd name="connsiteX9457" fmla="*/ 3490236 w 6994525"/>
                  <a:gd name="connsiteY9457" fmla="*/ 4489333 h 7571036"/>
                  <a:gd name="connsiteX9458" fmla="*/ 3448071 w 6994525"/>
                  <a:gd name="connsiteY9458" fmla="*/ 4531499 h 7571036"/>
                  <a:gd name="connsiteX9459" fmla="*/ 3490236 w 6994525"/>
                  <a:gd name="connsiteY9459" fmla="*/ 4573661 h 7571036"/>
                  <a:gd name="connsiteX9460" fmla="*/ 3532398 w 6994525"/>
                  <a:gd name="connsiteY9460" fmla="*/ 4531499 h 7571036"/>
                  <a:gd name="connsiteX9461" fmla="*/ 3539551 w 6994525"/>
                  <a:gd name="connsiteY9461" fmla="*/ 4856730 h 7571036"/>
                  <a:gd name="connsiteX9462" fmla="*/ 3490236 w 6994525"/>
                  <a:gd name="connsiteY9462" fmla="*/ 4807414 h 7571036"/>
                  <a:gd name="connsiteX9463" fmla="*/ 3440921 w 6994525"/>
                  <a:gd name="connsiteY9463" fmla="*/ 4856730 h 7571036"/>
                  <a:gd name="connsiteX9464" fmla="*/ 3490236 w 6994525"/>
                  <a:gd name="connsiteY9464" fmla="*/ 4906044 h 7571036"/>
                  <a:gd name="connsiteX9465" fmla="*/ 3539551 w 6994525"/>
                  <a:gd name="connsiteY9465" fmla="*/ 4856730 h 7571036"/>
                  <a:gd name="connsiteX9466" fmla="*/ 3561989 w 6994525"/>
                  <a:gd name="connsiteY9466" fmla="*/ 2207807 h 7571036"/>
                  <a:gd name="connsiteX9467" fmla="*/ 3546946 w 6994525"/>
                  <a:gd name="connsiteY9467" fmla="*/ 2192765 h 7571036"/>
                  <a:gd name="connsiteX9468" fmla="*/ 3531906 w 6994525"/>
                  <a:gd name="connsiteY9468" fmla="*/ 2207807 h 7571036"/>
                  <a:gd name="connsiteX9469" fmla="*/ 3546946 w 6994525"/>
                  <a:gd name="connsiteY9469" fmla="*/ 2222848 h 7571036"/>
                  <a:gd name="connsiteX9470" fmla="*/ 3561989 w 6994525"/>
                  <a:gd name="connsiteY9470" fmla="*/ 2207807 h 7571036"/>
                  <a:gd name="connsiteX9471" fmla="*/ 3567167 w 6994525"/>
                  <a:gd name="connsiteY9471" fmla="*/ 2642249 h 7571036"/>
                  <a:gd name="connsiteX9472" fmla="*/ 3548674 w 6994525"/>
                  <a:gd name="connsiteY9472" fmla="*/ 2624000 h 7571036"/>
                  <a:gd name="connsiteX9473" fmla="*/ 3530180 w 6994525"/>
                  <a:gd name="connsiteY9473" fmla="*/ 2642249 h 7571036"/>
                  <a:gd name="connsiteX9474" fmla="*/ 3548674 w 6994525"/>
                  <a:gd name="connsiteY9474" fmla="*/ 2660740 h 7571036"/>
                  <a:gd name="connsiteX9475" fmla="*/ 3567167 w 6994525"/>
                  <a:gd name="connsiteY9475" fmla="*/ 2642249 h 7571036"/>
                  <a:gd name="connsiteX9476" fmla="*/ 3568645 w 6994525"/>
                  <a:gd name="connsiteY9476" fmla="*/ 2751229 h 7571036"/>
                  <a:gd name="connsiteX9477" fmla="*/ 3548427 w 6994525"/>
                  <a:gd name="connsiteY9477" fmla="*/ 2731011 h 7571036"/>
                  <a:gd name="connsiteX9478" fmla="*/ 3528207 w 6994525"/>
                  <a:gd name="connsiteY9478" fmla="*/ 2751229 h 7571036"/>
                  <a:gd name="connsiteX9479" fmla="*/ 3548427 w 6994525"/>
                  <a:gd name="connsiteY9479" fmla="*/ 2771449 h 7571036"/>
                  <a:gd name="connsiteX9480" fmla="*/ 3568645 w 6994525"/>
                  <a:gd name="connsiteY9480" fmla="*/ 2751229 h 7571036"/>
                  <a:gd name="connsiteX9481" fmla="*/ 3570372 w 6994525"/>
                  <a:gd name="connsiteY9481" fmla="*/ 2099563 h 7571036"/>
                  <a:gd name="connsiteX9482" fmla="*/ 3546699 w 6994525"/>
                  <a:gd name="connsiteY9482" fmla="*/ 2075889 h 7571036"/>
                  <a:gd name="connsiteX9483" fmla="*/ 3522783 w 6994525"/>
                  <a:gd name="connsiteY9483" fmla="*/ 2099563 h 7571036"/>
                  <a:gd name="connsiteX9484" fmla="*/ 3546699 w 6994525"/>
                  <a:gd name="connsiteY9484" fmla="*/ 2123235 h 7571036"/>
                  <a:gd name="connsiteX9485" fmla="*/ 3570372 w 6994525"/>
                  <a:gd name="connsiteY9485" fmla="*/ 2099563 h 7571036"/>
                  <a:gd name="connsiteX9486" fmla="*/ 3576290 w 6994525"/>
                  <a:gd name="connsiteY9486" fmla="*/ 1014526 h 7571036"/>
                  <a:gd name="connsiteX9487" fmla="*/ 3545221 w 6994525"/>
                  <a:gd name="connsiteY9487" fmla="*/ 983453 h 7571036"/>
                  <a:gd name="connsiteX9488" fmla="*/ 3514153 w 6994525"/>
                  <a:gd name="connsiteY9488" fmla="*/ 1014526 h 7571036"/>
                  <a:gd name="connsiteX9489" fmla="*/ 3545221 w 6994525"/>
                  <a:gd name="connsiteY9489" fmla="*/ 1045592 h 7571036"/>
                  <a:gd name="connsiteX9490" fmla="*/ 3576290 w 6994525"/>
                  <a:gd name="connsiteY9490" fmla="*/ 1014526 h 7571036"/>
                  <a:gd name="connsiteX9491" fmla="*/ 3577771 w 6994525"/>
                  <a:gd name="connsiteY9491" fmla="*/ 797821 h 7571036"/>
                  <a:gd name="connsiteX9492" fmla="*/ 3546209 w 6994525"/>
                  <a:gd name="connsiteY9492" fmla="*/ 766257 h 7571036"/>
                  <a:gd name="connsiteX9493" fmla="*/ 3514648 w 6994525"/>
                  <a:gd name="connsiteY9493" fmla="*/ 797821 h 7571036"/>
                  <a:gd name="connsiteX9494" fmla="*/ 3546209 w 6994525"/>
                  <a:gd name="connsiteY9494" fmla="*/ 829381 h 7571036"/>
                  <a:gd name="connsiteX9495" fmla="*/ 3577771 w 6994525"/>
                  <a:gd name="connsiteY9495" fmla="*/ 797821 h 7571036"/>
                  <a:gd name="connsiteX9496" fmla="*/ 3579002 w 6994525"/>
                  <a:gd name="connsiteY9496" fmla="*/ 3078181 h 7571036"/>
                  <a:gd name="connsiteX9497" fmla="*/ 3548179 w 6994525"/>
                  <a:gd name="connsiteY9497" fmla="*/ 3047359 h 7571036"/>
                  <a:gd name="connsiteX9498" fmla="*/ 3517357 w 6994525"/>
                  <a:gd name="connsiteY9498" fmla="*/ 3078181 h 7571036"/>
                  <a:gd name="connsiteX9499" fmla="*/ 3548179 w 6994525"/>
                  <a:gd name="connsiteY9499" fmla="*/ 3109005 h 7571036"/>
                  <a:gd name="connsiteX9500" fmla="*/ 3579002 w 6994525"/>
                  <a:gd name="connsiteY9500" fmla="*/ 3078181 h 7571036"/>
                  <a:gd name="connsiteX9501" fmla="*/ 3579497 w 6994525"/>
                  <a:gd name="connsiteY9501" fmla="*/ 906283 h 7571036"/>
                  <a:gd name="connsiteX9502" fmla="*/ 3545469 w 6994525"/>
                  <a:gd name="connsiteY9502" fmla="*/ 872257 h 7571036"/>
                  <a:gd name="connsiteX9503" fmla="*/ 3511442 w 6994525"/>
                  <a:gd name="connsiteY9503" fmla="*/ 906283 h 7571036"/>
                  <a:gd name="connsiteX9504" fmla="*/ 3545469 w 6994525"/>
                  <a:gd name="connsiteY9504" fmla="*/ 940313 h 7571036"/>
                  <a:gd name="connsiteX9505" fmla="*/ 3579497 w 6994525"/>
                  <a:gd name="connsiteY9505" fmla="*/ 906283 h 7571036"/>
                  <a:gd name="connsiteX9506" fmla="*/ 3579988 w 6994525"/>
                  <a:gd name="connsiteY9506" fmla="*/ 472605 h 7571036"/>
                  <a:gd name="connsiteX9507" fmla="*/ 3545716 w 6994525"/>
                  <a:gd name="connsiteY9507" fmla="*/ 438331 h 7571036"/>
                  <a:gd name="connsiteX9508" fmla="*/ 3511442 w 6994525"/>
                  <a:gd name="connsiteY9508" fmla="*/ 472605 h 7571036"/>
                  <a:gd name="connsiteX9509" fmla="*/ 3545716 w 6994525"/>
                  <a:gd name="connsiteY9509" fmla="*/ 506879 h 7571036"/>
                  <a:gd name="connsiteX9510" fmla="*/ 3579988 w 6994525"/>
                  <a:gd name="connsiteY9510" fmla="*/ 472605 h 7571036"/>
                  <a:gd name="connsiteX9511" fmla="*/ 3580729 w 6994525"/>
                  <a:gd name="connsiteY9511" fmla="*/ 580833 h 7571036"/>
                  <a:gd name="connsiteX9512" fmla="*/ 3545714 w 6994525"/>
                  <a:gd name="connsiteY9512" fmla="*/ 545819 h 7571036"/>
                  <a:gd name="connsiteX9513" fmla="*/ 3510702 w 6994525"/>
                  <a:gd name="connsiteY9513" fmla="*/ 580833 h 7571036"/>
                  <a:gd name="connsiteX9514" fmla="*/ 3545714 w 6994525"/>
                  <a:gd name="connsiteY9514" fmla="*/ 615844 h 7571036"/>
                  <a:gd name="connsiteX9515" fmla="*/ 3580729 w 6994525"/>
                  <a:gd name="connsiteY9515" fmla="*/ 580833 h 7571036"/>
                  <a:gd name="connsiteX9516" fmla="*/ 3581470 w 6994525"/>
                  <a:gd name="connsiteY9516" fmla="*/ 2316536 h 7571036"/>
                  <a:gd name="connsiteX9517" fmla="*/ 3547441 w 6994525"/>
                  <a:gd name="connsiteY9517" fmla="*/ 2282511 h 7571036"/>
                  <a:gd name="connsiteX9518" fmla="*/ 3513415 w 6994525"/>
                  <a:gd name="connsiteY9518" fmla="*/ 2316536 h 7571036"/>
                  <a:gd name="connsiteX9519" fmla="*/ 3547441 w 6994525"/>
                  <a:gd name="connsiteY9519" fmla="*/ 2350569 h 7571036"/>
                  <a:gd name="connsiteX9520" fmla="*/ 3581470 w 6994525"/>
                  <a:gd name="connsiteY9520" fmla="*/ 2316536 h 7571036"/>
                  <a:gd name="connsiteX9521" fmla="*/ 3581712 w 6994525"/>
                  <a:gd name="connsiteY9521" fmla="*/ 2533759 h 7571036"/>
                  <a:gd name="connsiteX9522" fmla="*/ 3548427 w 6994525"/>
                  <a:gd name="connsiteY9522" fmla="*/ 2500470 h 7571036"/>
                  <a:gd name="connsiteX9523" fmla="*/ 3515139 w 6994525"/>
                  <a:gd name="connsiteY9523" fmla="*/ 2533759 h 7571036"/>
                  <a:gd name="connsiteX9524" fmla="*/ 3548427 w 6994525"/>
                  <a:gd name="connsiteY9524" fmla="*/ 2567044 h 7571036"/>
                  <a:gd name="connsiteX9525" fmla="*/ 3581712 w 6994525"/>
                  <a:gd name="connsiteY9525" fmla="*/ 2533759 h 7571036"/>
                  <a:gd name="connsiteX9526" fmla="*/ 3581961 w 6994525"/>
                  <a:gd name="connsiteY9526" fmla="*/ 689341 h 7571036"/>
                  <a:gd name="connsiteX9527" fmla="*/ 3545961 w 6994525"/>
                  <a:gd name="connsiteY9527" fmla="*/ 653345 h 7571036"/>
                  <a:gd name="connsiteX9528" fmla="*/ 3509962 w 6994525"/>
                  <a:gd name="connsiteY9528" fmla="*/ 689341 h 7571036"/>
                  <a:gd name="connsiteX9529" fmla="*/ 3545961 w 6994525"/>
                  <a:gd name="connsiteY9529" fmla="*/ 725334 h 7571036"/>
                  <a:gd name="connsiteX9530" fmla="*/ 3581961 w 6994525"/>
                  <a:gd name="connsiteY9530" fmla="*/ 689341 h 7571036"/>
                  <a:gd name="connsiteX9531" fmla="*/ 3582702 w 6994525"/>
                  <a:gd name="connsiteY9531" fmla="*/ 1123249 h 7571036"/>
                  <a:gd name="connsiteX9532" fmla="*/ 3545223 w 6994525"/>
                  <a:gd name="connsiteY9532" fmla="*/ 1085768 h 7571036"/>
                  <a:gd name="connsiteX9533" fmla="*/ 3507743 w 6994525"/>
                  <a:gd name="connsiteY9533" fmla="*/ 1123249 h 7571036"/>
                  <a:gd name="connsiteX9534" fmla="*/ 3545223 w 6994525"/>
                  <a:gd name="connsiteY9534" fmla="*/ 1160726 h 7571036"/>
                  <a:gd name="connsiteX9535" fmla="*/ 3582702 w 6994525"/>
                  <a:gd name="connsiteY9535" fmla="*/ 1123249 h 7571036"/>
                  <a:gd name="connsiteX9536" fmla="*/ 3583442 w 6994525"/>
                  <a:gd name="connsiteY9536" fmla="*/ 1231478 h 7571036"/>
                  <a:gd name="connsiteX9537" fmla="*/ 3544976 w 6994525"/>
                  <a:gd name="connsiteY9537" fmla="*/ 1193009 h 7571036"/>
                  <a:gd name="connsiteX9538" fmla="*/ 3506757 w 6994525"/>
                  <a:gd name="connsiteY9538" fmla="*/ 1231478 h 7571036"/>
                  <a:gd name="connsiteX9539" fmla="*/ 3544976 w 6994525"/>
                  <a:gd name="connsiteY9539" fmla="*/ 1269941 h 7571036"/>
                  <a:gd name="connsiteX9540" fmla="*/ 3583442 w 6994525"/>
                  <a:gd name="connsiteY9540" fmla="*/ 1231478 h 7571036"/>
                  <a:gd name="connsiteX9541" fmla="*/ 3592811 w 6994525"/>
                  <a:gd name="connsiteY9541" fmla="*/ 2425023 h 7571036"/>
                  <a:gd name="connsiteX9542" fmla="*/ 3547936 w 6994525"/>
                  <a:gd name="connsiteY9542" fmla="*/ 2380147 h 7571036"/>
                  <a:gd name="connsiteX9543" fmla="*/ 3503058 w 6994525"/>
                  <a:gd name="connsiteY9543" fmla="*/ 2425023 h 7571036"/>
                  <a:gd name="connsiteX9544" fmla="*/ 3547936 w 6994525"/>
                  <a:gd name="connsiteY9544" fmla="*/ 2469902 h 7571036"/>
                  <a:gd name="connsiteX9545" fmla="*/ 3592811 w 6994525"/>
                  <a:gd name="connsiteY9545" fmla="*/ 2425023 h 7571036"/>
                  <a:gd name="connsiteX9546" fmla="*/ 3607359 w 6994525"/>
                  <a:gd name="connsiteY9546" fmla="*/ 1668110 h 7571036"/>
                  <a:gd name="connsiteX9547" fmla="*/ 3603905 w 6994525"/>
                  <a:gd name="connsiteY9547" fmla="*/ 1664656 h 7571036"/>
                  <a:gd name="connsiteX9548" fmla="*/ 3600455 w 6994525"/>
                  <a:gd name="connsiteY9548" fmla="*/ 1668110 h 7571036"/>
                  <a:gd name="connsiteX9549" fmla="*/ 3603905 w 6994525"/>
                  <a:gd name="connsiteY9549" fmla="*/ 1671557 h 7571036"/>
                  <a:gd name="connsiteX9550" fmla="*/ 3607359 w 6994525"/>
                  <a:gd name="connsiteY9550" fmla="*/ 1668110 h 7571036"/>
                  <a:gd name="connsiteX9551" fmla="*/ 3613770 w 6994525"/>
                  <a:gd name="connsiteY9551" fmla="*/ 6155445 h 7571036"/>
                  <a:gd name="connsiteX9552" fmla="*/ 3610811 w 6994525"/>
                  <a:gd name="connsiteY9552" fmla="*/ 6152486 h 7571036"/>
                  <a:gd name="connsiteX9553" fmla="*/ 3607852 w 6994525"/>
                  <a:gd name="connsiteY9553" fmla="*/ 6155445 h 7571036"/>
                  <a:gd name="connsiteX9554" fmla="*/ 3610811 w 6994525"/>
                  <a:gd name="connsiteY9554" fmla="*/ 6158404 h 7571036"/>
                  <a:gd name="connsiteX9555" fmla="*/ 3613770 w 6994525"/>
                  <a:gd name="connsiteY9555" fmla="*/ 6155445 h 7571036"/>
                  <a:gd name="connsiteX9556" fmla="*/ 3614017 w 6994525"/>
                  <a:gd name="connsiteY9556" fmla="*/ 6263938 h 7571036"/>
                  <a:gd name="connsiteX9557" fmla="*/ 3611058 w 6994525"/>
                  <a:gd name="connsiteY9557" fmla="*/ 6260979 h 7571036"/>
                  <a:gd name="connsiteX9558" fmla="*/ 3608100 w 6994525"/>
                  <a:gd name="connsiteY9558" fmla="*/ 6263938 h 7571036"/>
                  <a:gd name="connsiteX9559" fmla="*/ 3611058 w 6994525"/>
                  <a:gd name="connsiteY9559" fmla="*/ 6266897 h 7571036"/>
                  <a:gd name="connsiteX9560" fmla="*/ 3614017 w 6994525"/>
                  <a:gd name="connsiteY9560" fmla="*/ 6263938 h 7571036"/>
                  <a:gd name="connsiteX9561" fmla="*/ 3614263 w 6994525"/>
                  <a:gd name="connsiteY9561" fmla="*/ 6372431 h 7571036"/>
                  <a:gd name="connsiteX9562" fmla="*/ 3611551 w 6994525"/>
                  <a:gd name="connsiteY9562" fmla="*/ 6369472 h 7571036"/>
                  <a:gd name="connsiteX9563" fmla="*/ 3608592 w 6994525"/>
                  <a:gd name="connsiteY9563" fmla="*/ 6372431 h 7571036"/>
                  <a:gd name="connsiteX9564" fmla="*/ 3611551 w 6994525"/>
                  <a:gd name="connsiteY9564" fmla="*/ 6375145 h 7571036"/>
                  <a:gd name="connsiteX9565" fmla="*/ 3614263 w 6994525"/>
                  <a:gd name="connsiteY9565" fmla="*/ 6372431 h 7571036"/>
                  <a:gd name="connsiteX9566" fmla="*/ 3614510 w 6994525"/>
                  <a:gd name="connsiteY9566" fmla="*/ 5503745 h 7571036"/>
                  <a:gd name="connsiteX9567" fmla="*/ 3612536 w 6994525"/>
                  <a:gd name="connsiteY9567" fmla="*/ 5501771 h 7571036"/>
                  <a:gd name="connsiteX9568" fmla="*/ 3610564 w 6994525"/>
                  <a:gd name="connsiteY9568" fmla="*/ 5503745 h 7571036"/>
                  <a:gd name="connsiteX9569" fmla="*/ 3612536 w 6994525"/>
                  <a:gd name="connsiteY9569" fmla="*/ 5505717 h 7571036"/>
                  <a:gd name="connsiteX9570" fmla="*/ 3614510 w 6994525"/>
                  <a:gd name="connsiteY9570" fmla="*/ 5503745 h 7571036"/>
                  <a:gd name="connsiteX9571" fmla="*/ 3614510 w 6994525"/>
                  <a:gd name="connsiteY9571" fmla="*/ 6480925 h 7571036"/>
                  <a:gd name="connsiteX9572" fmla="*/ 3611551 w 6994525"/>
                  <a:gd name="connsiteY9572" fmla="*/ 6477965 h 7571036"/>
                  <a:gd name="connsiteX9573" fmla="*/ 3608592 w 6994525"/>
                  <a:gd name="connsiteY9573" fmla="*/ 6480925 h 7571036"/>
                  <a:gd name="connsiteX9574" fmla="*/ 3611551 w 6994525"/>
                  <a:gd name="connsiteY9574" fmla="*/ 6483884 h 7571036"/>
                  <a:gd name="connsiteX9575" fmla="*/ 3614510 w 6994525"/>
                  <a:gd name="connsiteY9575" fmla="*/ 6480925 h 7571036"/>
                  <a:gd name="connsiteX9576" fmla="*/ 3614755 w 6994525"/>
                  <a:gd name="connsiteY9576" fmla="*/ 5286512 h 7571036"/>
                  <a:gd name="connsiteX9577" fmla="*/ 3611796 w 6994525"/>
                  <a:gd name="connsiteY9577" fmla="*/ 5283554 h 7571036"/>
                  <a:gd name="connsiteX9578" fmla="*/ 3608837 w 6994525"/>
                  <a:gd name="connsiteY9578" fmla="*/ 5286512 h 7571036"/>
                  <a:gd name="connsiteX9579" fmla="*/ 3611796 w 6994525"/>
                  <a:gd name="connsiteY9579" fmla="*/ 5289471 h 7571036"/>
                  <a:gd name="connsiteX9580" fmla="*/ 3614755 w 6994525"/>
                  <a:gd name="connsiteY9580" fmla="*/ 5286512 h 7571036"/>
                  <a:gd name="connsiteX9581" fmla="*/ 3615250 w 6994525"/>
                  <a:gd name="connsiteY9581" fmla="*/ 6806404 h 7571036"/>
                  <a:gd name="connsiteX9582" fmla="*/ 3612291 w 6994525"/>
                  <a:gd name="connsiteY9582" fmla="*/ 6803446 h 7571036"/>
                  <a:gd name="connsiteX9583" fmla="*/ 3609332 w 6994525"/>
                  <a:gd name="connsiteY9583" fmla="*/ 6806404 h 7571036"/>
                  <a:gd name="connsiteX9584" fmla="*/ 3612291 w 6994525"/>
                  <a:gd name="connsiteY9584" fmla="*/ 6809363 h 7571036"/>
                  <a:gd name="connsiteX9585" fmla="*/ 3615250 w 6994525"/>
                  <a:gd name="connsiteY9585" fmla="*/ 6806404 h 7571036"/>
                  <a:gd name="connsiteX9586" fmla="*/ 3615496 w 6994525"/>
                  <a:gd name="connsiteY9586" fmla="*/ 5395251 h 7571036"/>
                  <a:gd name="connsiteX9587" fmla="*/ 3612537 w 6994525"/>
                  <a:gd name="connsiteY9587" fmla="*/ 5392292 h 7571036"/>
                  <a:gd name="connsiteX9588" fmla="*/ 3609578 w 6994525"/>
                  <a:gd name="connsiteY9588" fmla="*/ 5395251 h 7571036"/>
                  <a:gd name="connsiteX9589" fmla="*/ 3612537 w 6994525"/>
                  <a:gd name="connsiteY9589" fmla="*/ 5398210 h 7571036"/>
                  <a:gd name="connsiteX9590" fmla="*/ 3615496 w 6994525"/>
                  <a:gd name="connsiteY9590" fmla="*/ 5395251 h 7571036"/>
                  <a:gd name="connsiteX9591" fmla="*/ 3615496 w 6994525"/>
                  <a:gd name="connsiteY9591" fmla="*/ 6046704 h 7571036"/>
                  <a:gd name="connsiteX9592" fmla="*/ 3612289 w 6994525"/>
                  <a:gd name="connsiteY9592" fmla="*/ 6043498 h 7571036"/>
                  <a:gd name="connsiteX9593" fmla="*/ 3609084 w 6994525"/>
                  <a:gd name="connsiteY9593" fmla="*/ 6046704 h 7571036"/>
                  <a:gd name="connsiteX9594" fmla="*/ 3612289 w 6994525"/>
                  <a:gd name="connsiteY9594" fmla="*/ 6049911 h 7571036"/>
                  <a:gd name="connsiteX9595" fmla="*/ 3615496 w 6994525"/>
                  <a:gd name="connsiteY9595" fmla="*/ 6046704 h 7571036"/>
                  <a:gd name="connsiteX9596" fmla="*/ 3615987 w 6994525"/>
                  <a:gd name="connsiteY9596" fmla="*/ 1776855 h 7571036"/>
                  <a:gd name="connsiteX9597" fmla="*/ 3604401 w 6994525"/>
                  <a:gd name="connsiteY9597" fmla="*/ 1765254 h 7571036"/>
                  <a:gd name="connsiteX9598" fmla="*/ 3592811 w 6994525"/>
                  <a:gd name="connsiteY9598" fmla="*/ 1776855 h 7571036"/>
                  <a:gd name="connsiteX9599" fmla="*/ 3604401 w 6994525"/>
                  <a:gd name="connsiteY9599" fmla="*/ 1788431 h 7571036"/>
                  <a:gd name="connsiteX9600" fmla="*/ 3615987 w 6994525"/>
                  <a:gd name="connsiteY9600" fmla="*/ 1776855 h 7571036"/>
                  <a:gd name="connsiteX9601" fmla="*/ 3615987 w 6994525"/>
                  <a:gd name="connsiteY9601" fmla="*/ 6589418 h 7571036"/>
                  <a:gd name="connsiteX9602" fmla="*/ 3612783 w 6994525"/>
                  <a:gd name="connsiteY9602" fmla="*/ 6586459 h 7571036"/>
                  <a:gd name="connsiteX9603" fmla="*/ 3609824 w 6994525"/>
                  <a:gd name="connsiteY9603" fmla="*/ 6589418 h 7571036"/>
                  <a:gd name="connsiteX9604" fmla="*/ 3612783 w 6994525"/>
                  <a:gd name="connsiteY9604" fmla="*/ 6592623 h 7571036"/>
                  <a:gd name="connsiteX9605" fmla="*/ 3615987 w 6994525"/>
                  <a:gd name="connsiteY9605" fmla="*/ 6589418 h 7571036"/>
                  <a:gd name="connsiteX9606" fmla="*/ 3615987 w 6994525"/>
                  <a:gd name="connsiteY9606" fmla="*/ 6697911 h 7571036"/>
                  <a:gd name="connsiteX9607" fmla="*/ 3612783 w 6994525"/>
                  <a:gd name="connsiteY9607" fmla="*/ 6694952 h 7571036"/>
                  <a:gd name="connsiteX9608" fmla="*/ 3609824 w 6994525"/>
                  <a:gd name="connsiteY9608" fmla="*/ 6697911 h 7571036"/>
                  <a:gd name="connsiteX9609" fmla="*/ 3612783 w 6994525"/>
                  <a:gd name="connsiteY9609" fmla="*/ 6701116 h 7571036"/>
                  <a:gd name="connsiteX9610" fmla="*/ 3615987 w 6994525"/>
                  <a:gd name="connsiteY9610" fmla="*/ 6697911 h 7571036"/>
                  <a:gd name="connsiteX9611" fmla="*/ 3615987 w 6994525"/>
                  <a:gd name="connsiteY9611" fmla="*/ 6915145 h 7571036"/>
                  <a:gd name="connsiteX9612" fmla="*/ 3612783 w 6994525"/>
                  <a:gd name="connsiteY9612" fmla="*/ 6912185 h 7571036"/>
                  <a:gd name="connsiteX9613" fmla="*/ 3609824 w 6994525"/>
                  <a:gd name="connsiteY9613" fmla="*/ 6915145 h 7571036"/>
                  <a:gd name="connsiteX9614" fmla="*/ 3612783 w 6994525"/>
                  <a:gd name="connsiteY9614" fmla="*/ 6918104 h 7571036"/>
                  <a:gd name="connsiteX9615" fmla="*/ 3615987 w 6994525"/>
                  <a:gd name="connsiteY9615" fmla="*/ 6915145 h 7571036"/>
                  <a:gd name="connsiteX9616" fmla="*/ 3616236 w 6994525"/>
                  <a:gd name="connsiteY9616" fmla="*/ 7023638 h 7571036"/>
                  <a:gd name="connsiteX9617" fmla="*/ 3613029 w 6994525"/>
                  <a:gd name="connsiteY9617" fmla="*/ 7020433 h 7571036"/>
                  <a:gd name="connsiteX9618" fmla="*/ 3609578 w 6994525"/>
                  <a:gd name="connsiteY9618" fmla="*/ 7023638 h 7571036"/>
                  <a:gd name="connsiteX9619" fmla="*/ 3613029 w 6994525"/>
                  <a:gd name="connsiteY9619" fmla="*/ 7026843 h 7571036"/>
                  <a:gd name="connsiteX9620" fmla="*/ 3616236 w 6994525"/>
                  <a:gd name="connsiteY9620" fmla="*/ 7023638 h 7571036"/>
                  <a:gd name="connsiteX9621" fmla="*/ 3616482 w 6994525"/>
                  <a:gd name="connsiteY9621" fmla="*/ 5938210 h 7571036"/>
                  <a:gd name="connsiteX9622" fmla="*/ 3612536 w 6994525"/>
                  <a:gd name="connsiteY9622" fmla="*/ 5934264 h 7571036"/>
                  <a:gd name="connsiteX9623" fmla="*/ 3608592 w 6994525"/>
                  <a:gd name="connsiteY9623" fmla="*/ 5938210 h 7571036"/>
                  <a:gd name="connsiteX9624" fmla="*/ 3612536 w 6994525"/>
                  <a:gd name="connsiteY9624" fmla="*/ 5942154 h 7571036"/>
                  <a:gd name="connsiteX9625" fmla="*/ 3616482 w 6994525"/>
                  <a:gd name="connsiteY9625" fmla="*/ 5938210 h 7571036"/>
                  <a:gd name="connsiteX9626" fmla="*/ 3616727 w 6994525"/>
                  <a:gd name="connsiteY9626" fmla="*/ 7131885 h 7571036"/>
                  <a:gd name="connsiteX9627" fmla="*/ 3613275 w 6994525"/>
                  <a:gd name="connsiteY9627" fmla="*/ 7128431 h 7571036"/>
                  <a:gd name="connsiteX9628" fmla="*/ 3609824 w 6994525"/>
                  <a:gd name="connsiteY9628" fmla="*/ 7131885 h 7571036"/>
                  <a:gd name="connsiteX9629" fmla="*/ 3613275 w 6994525"/>
                  <a:gd name="connsiteY9629" fmla="*/ 7135336 h 7571036"/>
                  <a:gd name="connsiteX9630" fmla="*/ 3616727 w 6994525"/>
                  <a:gd name="connsiteY9630" fmla="*/ 7131885 h 7571036"/>
                  <a:gd name="connsiteX9631" fmla="*/ 3616728 w 6994525"/>
                  <a:gd name="connsiteY9631" fmla="*/ 5829720 h 7571036"/>
                  <a:gd name="connsiteX9632" fmla="*/ 3613770 w 6994525"/>
                  <a:gd name="connsiteY9632" fmla="*/ 5826760 h 7571036"/>
                  <a:gd name="connsiteX9633" fmla="*/ 3610811 w 6994525"/>
                  <a:gd name="connsiteY9633" fmla="*/ 5829720 h 7571036"/>
                  <a:gd name="connsiteX9634" fmla="*/ 3613770 w 6994525"/>
                  <a:gd name="connsiteY9634" fmla="*/ 5832678 h 7571036"/>
                  <a:gd name="connsiteX9635" fmla="*/ 3616728 w 6994525"/>
                  <a:gd name="connsiteY9635" fmla="*/ 5829720 h 7571036"/>
                  <a:gd name="connsiteX9636" fmla="*/ 3617222 w 6994525"/>
                  <a:gd name="connsiteY9636" fmla="*/ 5720978 h 7571036"/>
                  <a:gd name="connsiteX9637" fmla="*/ 3613769 w 6994525"/>
                  <a:gd name="connsiteY9637" fmla="*/ 5717527 h 7571036"/>
                  <a:gd name="connsiteX9638" fmla="*/ 3610318 w 6994525"/>
                  <a:gd name="connsiteY9638" fmla="*/ 5720978 h 7571036"/>
                  <a:gd name="connsiteX9639" fmla="*/ 3613769 w 6994525"/>
                  <a:gd name="connsiteY9639" fmla="*/ 5724431 h 7571036"/>
                  <a:gd name="connsiteX9640" fmla="*/ 3617222 w 6994525"/>
                  <a:gd name="connsiteY9640" fmla="*/ 5720978 h 7571036"/>
                  <a:gd name="connsiteX9641" fmla="*/ 3617467 w 6994525"/>
                  <a:gd name="connsiteY9641" fmla="*/ 7240378 h 7571036"/>
                  <a:gd name="connsiteX9642" fmla="*/ 3613769 w 6994525"/>
                  <a:gd name="connsiteY9642" fmla="*/ 7236679 h 7571036"/>
                  <a:gd name="connsiteX9643" fmla="*/ 3610070 w 6994525"/>
                  <a:gd name="connsiteY9643" fmla="*/ 7240378 h 7571036"/>
                  <a:gd name="connsiteX9644" fmla="*/ 3613769 w 6994525"/>
                  <a:gd name="connsiteY9644" fmla="*/ 7244074 h 7571036"/>
                  <a:gd name="connsiteX9645" fmla="*/ 3617467 w 6994525"/>
                  <a:gd name="connsiteY9645" fmla="*/ 7240378 h 7571036"/>
                  <a:gd name="connsiteX9646" fmla="*/ 3617960 w 6994525"/>
                  <a:gd name="connsiteY9646" fmla="*/ 7457364 h 7571036"/>
                  <a:gd name="connsiteX9647" fmla="*/ 3614506 w 6994525"/>
                  <a:gd name="connsiteY9647" fmla="*/ 7453911 h 7571036"/>
                  <a:gd name="connsiteX9648" fmla="*/ 3611056 w 6994525"/>
                  <a:gd name="connsiteY9648" fmla="*/ 7457364 h 7571036"/>
                  <a:gd name="connsiteX9649" fmla="*/ 3614506 w 6994525"/>
                  <a:gd name="connsiteY9649" fmla="*/ 7460816 h 7571036"/>
                  <a:gd name="connsiteX9650" fmla="*/ 3617960 w 6994525"/>
                  <a:gd name="connsiteY9650" fmla="*/ 7457364 h 7571036"/>
                  <a:gd name="connsiteX9651" fmla="*/ 3618209 w 6994525"/>
                  <a:gd name="connsiteY9651" fmla="*/ 7348871 h 7571036"/>
                  <a:gd name="connsiteX9652" fmla="*/ 3614510 w 6994525"/>
                  <a:gd name="connsiteY9652" fmla="*/ 7345172 h 7571036"/>
                  <a:gd name="connsiteX9653" fmla="*/ 3610811 w 6994525"/>
                  <a:gd name="connsiteY9653" fmla="*/ 7348871 h 7571036"/>
                  <a:gd name="connsiteX9654" fmla="*/ 3614510 w 6994525"/>
                  <a:gd name="connsiteY9654" fmla="*/ 7352570 h 7571036"/>
                  <a:gd name="connsiteX9655" fmla="*/ 3618209 w 6994525"/>
                  <a:gd name="connsiteY9655" fmla="*/ 7348871 h 7571036"/>
                  <a:gd name="connsiteX9656" fmla="*/ 3618454 w 6994525"/>
                  <a:gd name="connsiteY9656" fmla="*/ 7565857 h 7571036"/>
                  <a:gd name="connsiteX9657" fmla="*/ 3615001 w 6994525"/>
                  <a:gd name="connsiteY9657" fmla="*/ 7562404 h 7571036"/>
                  <a:gd name="connsiteX9658" fmla="*/ 3611551 w 6994525"/>
                  <a:gd name="connsiteY9658" fmla="*/ 7565857 h 7571036"/>
                  <a:gd name="connsiteX9659" fmla="*/ 3615001 w 6994525"/>
                  <a:gd name="connsiteY9659" fmla="*/ 7569308 h 7571036"/>
                  <a:gd name="connsiteX9660" fmla="*/ 3618454 w 6994525"/>
                  <a:gd name="connsiteY9660" fmla="*/ 7565857 h 7571036"/>
                  <a:gd name="connsiteX9661" fmla="*/ 3618455 w 6994525"/>
                  <a:gd name="connsiteY9661" fmla="*/ 4634072 h 7571036"/>
                  <a:gd name="connsiteX9662" fmla="*/ 3607605 w 6994525"/>
                  <a:gd name="connsiteY9662" fmla="*/ 4623223 h 7571036"/>
                  <a:gd name="connsiteX9663" fmla="*/ 3596756 w 6994525"/>
                  <a:gd name="connsiteY9663" fmla="*/ 4634072 h 7571036"/>
                  <a:gd name="connsiteX9664" fmla="*/ 3607605 w 6994525"/>
                  <a:gd name="connsiteY9664" fmla="*/ 4644921 h 7571036"/>
                  <a:gd name="connsiteX9665" fmla="*/ 3618455 w 6994525"/>
                  <a:gd name="connsiteY9665" fmla="*/ 4634072 h 7571036"/>
                  <a:gd name="connsiteX9666" fmla="*/ 3621413 w 6994525"/>
                  <a:gd name="connsiteY9666" fmla="*/ 4196647 h 7571036"/>
                  <a:gd name="connsiteX9667" fmla="*/ 3608100 w 6994525"/>
                  <a:gd name="connsiteY9667" fmla="*/ 4183330 h 7571036"/>
                  <a:gd name="connsiteX9668" fmla="*/ 3594784 w 6994525"/>
                  <a:gd name="connsiteY9668" fmla="*/ 4196647 h 7571036"/>
                  <a:gd name="connsiteX9669" fmla="*/ 3608100 w 6994525"/>
                  <a:gd name="connsiteY9669" fmla="*/ 4209961 h 7571036"/>
                  <a:gd name="connsiteX9670" fmla="*/ 3621413 w 6994525"/>
                  <a:gd name="connsiteY9670" fmla="*/ 4196647 h 7571036"/>
                  <a:gd name="connsiteX9671" fmla="*/ 3624621 w 6994525"/>
                  <a:gd name="connsiteY9671" fmla="*/ 3976703 h 7571036"/>
                  <a:gd name="connsiteX9672" fmla="*/ 3604155 w 6994525"/>
                  <a:gd name="connsiteY9672" fmla="*/ 3956235 h 7571036"/>
                  <a:gd name="connsiteX9673" fmla="*/ 3583689 w 6994525"/>
                  <a:gd name="connsiteY9673" fmla="*/ 3976703 h 7571036"/>
                  <a:gd name="connsiteX9674" fmla="*/ 3604155 w 6994525"/>
                  <a:gd name="connsiteY9674" fmla="*/ 3997167 h 7571036"/>
                  <a:gd name="connsiteX9675" fmla="*/ 3624621 w 6994525"/>
                  <a:gd name="connsiteY9675" fmla="*/ 3976703 h 7571036"/>
                  <a:gd name="connsiteX9676" fmla="*/ 3626098 w 6994525"/>
                  <a:gd name="connsiteY9676" fmla="*/ 4087169 h 7571036"/>
                  <a:gd name="connsiteX9677" fmla="*/ 3604645 w 6994525"/>
                  <a:gd name="connsiteY9677" fmla="*/ 4065716 h 7571036"/>
                  <a:gd name="connsiteX9678" fmla="*/ 3583193 w 6994525"/>
                  <a:gd name="connsiteY9678" fmla="*/ 4087169 h 7571036"/>
                  <a:gd name="connsiteX9679" fmla="*/ 3604645 w 6994525"/>
                  <a:gd name="connsiteY9679" fmla="*/ 4108867 h 7571036"/>
                  <a:gd name="connsiteX9680" fmla="*/ 3626098 w 6994525"/>
                  <a:gd name="connsiteY9680" fmla="*/ 4087169 h 7571036"/>
                  <a:gd name="connsiteX9681" fmla="*/ 3628317 w 6994525"/>
                  <a:gd name="connsiteY9681" fmla="*/ 4960538 h 7571036"/>
                  <a:gd name="connsiteX9682" fmla="*/ 3610564 w 6994525"/>
                  <a:gd name="connsiteY9682" fmla="*/ 4942784 h 7571036"/>
                  <a:gd name="connsiteX9683" fmla="*/ 3592811 w 6994525"/>
                  <a:gd name="connsiteY9683" fmla="*/ 4960538 h 7571036"/>
                  <a:gd name="connsiteX9684" fmla="*/ 3610564 w 6994525"/>
                  <a:gd name="connsiteY9684" fmla="*/ 4978291 h 7571036"/>
                  <a:gd name="connsiteX9685" fmla="*/ 3628317 w 6994525"/>
                  <a:gd name="connsiteY9685" fmla="*/ 4960538 h 7571036"/>
                  <a:gd name="connsiteX9686" fmla="*/ 3628564 w 6994525"/>
                  <a:gd name="connsiteY9686" fmla="*/ 5178019 h 7571036"/>
                  <a:gd name="connsiteX9687" fmla="*/ 3611058 w 6994525"/>
                  <a:gd name="connsiteY9687" fmla="*/ 5160511 h 7571036"/>
                  <a:gd name="connsiteX9688" fmla="*/ 3593551 w 6994525"/>
                  <a:gd name="connsiteY9688" fmla="*/ 5178019 h 7571036"/>
                  <a:gd name="connsiteX9689" fmla="*/ 3611058 w 6994525"/>
                  <a:gd name="connsiteY9689" fmla="*/ 5195524 h 7571036"/>
                  <a:gd name="connsiteX9690" fmla="*/ 3628564 w 6994525"/>
                  <a:gd name="connsiteY9690" fmla="*/ 5178019 h 7571036"/>
                  <a:gd name="connsiteX9691" fmla="*/ 3628811 w 6994525"/>
                  <a:gd name="connsiteY9691" fmla="*/ 1559381 h 7571036"/>
                  <a:gd name="connsiteX9692" fmla="*/ 3603166 w 6994525"/>
                  <a:gd name="connsiteY9692" fmla="*/ 1533739 h 7571036"/>
                  <a:gd name="connsiteX9693" fmla="*/ 3577522 w 6994525"/>
                  <a:gd name="connsiteY9693" fmla="*/ 1559381 h 7571036"/>
                  <a:gd name="connsiteX9694" fmla="*/ 3603166 w 6994525"/>
                  <a:gd name="connsiteY9694" fmla="*/ 1585023 h 7571036"/>
                  <a:gd name="connsiteX9695" fmla="*/ 3628811 w 6994525"/>
                  <a:gd name="connsiteY9695" fmla="*/ 1559381 h 7571036"/>
                  <a:gd name="connsiteX9696" fmla="*/ 3628811 w 6994525"/>
                  <a:gd name="connsiteY9696" fmla="*/ 5069031 h 7571036"/>
                  <a:gd name="connsiteX9697" fmla="*/ 3610566 w 6994525"/>
                  <a:gd name="connsiteY9697" fmla="*/ 5050537 h 7571036"/>
                  <a:gd name="connsiteX9698" fmla="*/ 3592071 w 6994525"/>
                  <a:gd name="connsiteY9698" fmla="*/ 5069031 h 7571036"/>
                  <a:gd name="connsiteX9699" fmla="*/ 3610566 w 6994525"/>
                  <a:gd name="connsiteY9699" fmla="*/ 5087525 h 7571036"/>
                  <a:gd name="connsiteX9700" fmla="*/ 3628811 w 6994525"/>
                  <a:gd name="connsiteY9700" fmla="*/ 5069031 h 7571036"/>
                  <a:gd name="connsiteX9701" fmla="*/ 3628812 w 6994525"/>
                  <a:gd name="connsiteY9701" fmla="*/ 1885571 h 7571036"/>
                  <a:gd name="connsiteX9702" fmla="*/ 3604892 w 6994525"/>
                  <a:gd name="connsiteY9702" fmla="*/ 1861659 h 7571036"/>
                  <a:gd name="connsiteX9703" fmla="*/ 3580976 w 6994525"/>
                  <a:gd name="connsiteY9703" fmla="*/ 1885571 h 7571036"/>
                  <a:gd name="connsiteX9704" fmla="*/ 3604892 w 6994525"/>
                  <a:gd name="connsiteY9704" fmla="*/ 1909482 h 7571036"/>
                  <a:gd name="connsiteX9705" fmla="*/ 3628812 w 6994525"/>
                  <a:gd name="connsiteY9705" fmla="*/ 1885571 h 7571036"/>
                  <a:gd name="connsiteX9706" fmla="*/ 3630045 w 6994525"/>
                  <a:gd name="connsiteY9706" fmla="*/ 4306622 h 7571036"/>
                  <a:gd name="connsiteX9707" fmla="*/ 3606868 w 6994525"/>
                  <a:gd name="connsiteY9707" fmla="*/ 4283443 h 7571036"/>
                  <a:gd name="connsiteX9708" fmla="*/ 3583689 w 6994525"/>
                  <a:gd name="connsiteY9708" fmla="*/ 4306622 h 7571036"/>
                  <a:gd name="connsiteX9709" fmla="*/ 3606868 w 6994525"/>
                  <a:gd name="connsiteY9709" fmla="*/ 4329799 h 7571036"/>
                  <a:gd name="connsiteX9710" fmla="*/ 3630045 w 6994525"/>
                  <a:gd name="connsiteY9710" fmla="*/ 4306622 h 7571036"/>
                  <a:gd name="connsiteX9711" fmla="*/ 3634482 w 6994525"/>
                  <a:gd name="connsiteY9711" fmla="*/ 365612 h 7571036"/>
                  <a:gd name="connsiteX9712" fmla="*/ 3603660 w 6994525"/>
                  <a:gd name="connsiteY9712" fmla="*/ 334792 h 7571036"/>
                  <a:gd name="connsiteX9713" fmla="*/ 3573085 w 6994525"/>
                  <a:gd name="connsiteY9713" fmla="*/ 365612 h 7571036"/>
                  <a:gd name="connsiteX9714" fmla="*/ 3603660 w 6994525"/>
                  <a:gd name="connsiteY9714" fmla="*/ 396187 h 7571036"/>
                  <a:gd name="connsiteX9715" fmla="*/ 3634482 w 6994525"/>
                  <a:gd name="connsiteY9715" fmla="*/ 365612 h 7571036"/>
                  <a:gd name="connsiteX9716" fmla="*/ 3634484 w 6994525"/>
                  <a:gd name="connsiteY9716" fmla="*/ 257142 h 7571036"/>
                  <a:gd name="connsiteX9717" fmla="*/ 3603660 w 6994525"/>
                  <a:gd name="connsiteY9717" fmla="*/ 226321 h 7571036"/>
                  <a:gd name="connsiteX9718" fmla="*/ 3572839 w 6994525"/>
                  <a:gd name="connsiteY9718" fmla="*/ 257142 h 7571036"/>
                  <a:gd name="connsiteX9719" fmla="*/ 3603660 w 6994525"/>
                  <a:gd name="connsiteY9719" fmla="*/ 287964 h 7571036"/>
                  <a:gd name="connsiteX9720" fmla="*/ 3634484 w 6994525"/>
                  <a:gd name="connsiteY9720" fmla="*/ 257142 h 7571036"/>
                  <a:gd name="connsiteX9721" fmla="*/ 3634729 w 6994525"/>
                  <a:gd name="connsiteY9721" fmla="*/ 39959 h 7571036"/>
                  <a:gd name="connsiteX9722" fmla="*/ 3603169 w 6994525"/>
                  <a:gd name="connsiteY9722" fmla="*/ 8399 h 7571036"/>
                  <a:gd name="connsiteX9723" fmla="*/ 3571607 w 6994525"/>
                  <a:gd name="connsiteY9723" fmla="*/ 39959 h 7571036"/>
                  <a:gd name="connsiteX9724" fmla="*/ 3603169 w 6994525"/>
                  <a:gd name="connsiteY9724" fmla="*/ 71519 h 7571036"/>
                  <a:gd name="connsiteX9725" fmla="*/ 3634729 w 6994525"/>
                  <a:gd name="connsiteY9725" fmla="*/ 39959 h 7571036"/>
                  <a:gd name="connsiteX9726" fmla="*/ 3636207 w 6994525"/>
                  <a:gd name="connsiteY9726" fmla="*/ 148427 h 7571036"/>
                  <a:gd name="connsiteX9727" fmla="*/ 3603660 w 6994525"/>
                  <a:gd name="connsiteY9727" fmla="*/ 116126 h 7571036"/>
                  <a:gd name="connsiteX9728" fmla="*/ 3571358 w 6994525"/>
                  <a:gd name="connsiteY9728" fmla="*/ 148427 h 7571036"/>
                  <a:gd name="connsiteX9729" fmla="*/ 3603660 w 6994525"/>
                  <a:gd name="connsiteY9729" fmla="*/ 180973 h 7571036"/>
                  <a:gd name="connsiteX9730" fmla="*/ 3636207 w 6994525"/>
                  <a:gd name="connsiteY9730" fmla="*/ 148427 h 7571036"/>
                  <a:gd name="connsiteX9731" fmla="*/ 3637195 w 6994525"/>
                  <a:gd name="connsiteY9731" fmla="*/ 1450898 h 7571036"/>
                  <a:gd name="connsiteX9732" fmla="*/ 3603169 w 6994525"/>
                  <a:gd name="connsiteY9732" fmla="*/ 1416875 h 7571036"/>
                  <a:gd name="connsiteX9733" fmla="*/ 3569141 w 6994525"/>
                  <a:gd name="connsiteY9733" fmla="*/ 1450898 h 7571036"/>
                  <a:gd name="connsiteX9734" fmla="*/ 3603169 w 6994525"/>
                  <a:gd name="connsiteY9734" fmla="*/ 1484931 h 7571036"/>
                  <a:gd name="connsiteX9735" fmla="*/ 3637195 w 6994525"/>
                  <a:gd name="connsiteY9735" fmla="*/ 1450898 h 7571036"/>
                  <a:gd name="connsiteX9736" fmla="*/ 3638180 w 6994525"/>
                  <a:gd name="connsiteY9736" fmla="*/ 1342178 h 7571036"/>
                  <a:gd name="connsiteX9737" fmla="*/ 3602673 w 6994525"/>
                  <a:gd name="connsiteY9737" fmla="*/ 1306668 h 7571036"/>
                  <a:gd name="connsiteX9738" fmla="*/ 3567167 w 6994525"/>
                  <a:gd name="connsiteY9738" fmla="*/ 1342178 h 7571036"/>
                  <a:gd name="connsiteX9739" fmla="*/ 3602673 w 6994525"/>
                  <a:gd name="connsiteY9739" fmla="*/ 1377684 h 7571036"/>
                  <a:gd name="connsiteX9740" fmla="*/ 3638180 w 6994525"/>
                  <a:gd name="connsiteY9740" fmla="*/ 1342178 h 7571036"/>
                  <a:gd name="connsiteX9741" fmla="*/ 3638180 w 6994525"/>
                  <a:gd name="connsiteY9741" fmla="*/ 1994278 h 7571036"/>
                  <a:gd name="connsiteX9742" fmla="*/ 3605384 w 6994525"/>
                  <a:gd name="connsiteY9742" fmla="*/ 1961490 h 7571036"/>
                  <a:gd name="connsiteX9743" fmla="*/ 3572590 w 6994525"/>
                  <a:gd name="connsiteY9743" fmla="*/ 1994278 h 7571036"/>
                  <a:gd name="connsiteX9744" fmla="*/ 3605384 w 6994525"/>
                  <a:gd name="connsiteY9744" fmla="*/ 2027072 h 7571036"/>
                  <a:gd name="connsiteX9745" fmla="*/ 3638180 w 6994525"/>
                  <a:gd name="connsiteY9745" fmla="*/ 1994278 h 7571036"/>
                  <a:gd name="connsiteX9746" fmla="*/ 3638427 w 6994525"/>
                  <a:gd name="connsiteY9746" fmla="*/ 2867857 h 7571036"/>
                  <a:gd name="connsiteX9747" fmla="*/ 3604155 w 6994525"/>
                  <a:gd name="connsiteY9747" fmla="*/ 2833583 h 7571036"/>
                  <a:gd name="connsiteX9748" fmla="*/ 3569880 w 6994525"/>
                  <a:gd name="connsiteY9748" fmla="*/ 2867857 h 7571036"/>
                  <a:gd name="connsiteX9749" fmla="*/ 3604155 w 6994525"/>
                  <a:gd name="connsiteY9749" fmla="*/ 2902131 h 7571036"/>
                  <a:gd name="connsiteX9750" fmla="*/ 3638427 w 6994525"/>
                  <a:gd name="connsiteY9750" fmla="*/ 2867857 h 7571036"/>
                  <a:gd name="connsiteX9751" fmla="*/ 3640399 w 6994525"/>
                  <a:gd name="connsiteY9751" fmla="*/ 2978562 h 7571036"/>
                  <a:gd name="connsiteX9752" fmla="*/ 3604398 w 6994525"/>
                  <a:gd name="connsiteY9752" fmla="*/ 2942564 h 7571036"/>
                  <a:gd name="connsiteX9753" fmla="*/ 3568399 w 6994525"/>
                  <a:gd name="connsiteY9753" fmla="*/ 2978562 h 7571036"/>
                  <a:gd name="connsiteX9754" fmla="*/ 3604398 w 6994525"/>
                  <a:gd name="connsiteY9754" fmla="*/ 3014564 h 7571036"/>
                  <a:gd name="connsiteX9755" fmla="*/ 3640399 w 6994525"/>
                  <a:gd name="connsiteY9755" fmla="*/ 2978562 h 7571036"/>
                  <a:gd name="connsiteX9756" fmla="*/ 3641139 w 6994525"/>
                  <a:gd name="connsiteY9756" fmla="*/ 4743057 h 7571036"/>
                  <a:gd name="connsiteX9757" fmla="*/ 3608098 w 6994525"/>
                  <a:gd name="connsiteY9757" fmla="*/ 4710017 h 7571036"/>
                  <a:gd name="connsiteX9758" fmla="*/ 3575058 w 6994525"/>
                  <a:gd name="connsiteY9758" fmla="*/ 4743057 h 7571036"/>
                  <a:gd name="connsiteX9759" fmla="*/ 3608098 w 6994525"/>
                  <a:gd name="connsiteY9759" fmla="*/ 4776099 h 7571036"/>
                  <a:gd name="connsiteX9760" fmla="*/ 3641139 w 6994525"/>
                  <a:gd name="connsiteY9760" fmla="*/ 4743057 h 7571036"/>
                  <a:gd name="connsiteX9761" fmla="*/ 3644836 w 6994525"/>
                  <a:gd name="connsiteY9761" fmla="*/ 4416099 h 7571036"/>
                  <a:gd name="connsiteX9762" fmla="*/ 3606619 w 6994525"/>
                  <a:gd name="connsiteY9762" fmla="*/ 4377878 h 7571036"/>
                  <a:gd name="connsiteX9763" fmla="*/ 3568399 w 6994525"/>
                  <a:gd name="connsiteY9763" fmla="*/ 4416099 h 7571036"/>
                  <a:gd name="connsiteX9764" fmla="*/ 3606619 w 6994525"/>
                  <a:gd name="connsiteY9764" fmla="*/ 4454318 h 7571036"/>
                  <a:gd name="connsiteX9765" fmla="*/ 3644836 w 6994525"/>
                  <a:gd name="connsiteY9765" fmla="*/ 4416099 h 7571036"/>
                  <a:gd name="connsiteX9766" fmla="*/ 3651743 w 6994525"/>
                  <a:gd name="connsiteY9766" fmla="*/ 4525086 h 7571036"/>
                  <a:gd name="connsiteX9767" fmla="*/ 3607114 w 6994525"/>
                  <a:gd name="connsiteY9767" fmla="*/ 4480457 h 7571036"/>
                  <a:gd name="connsiteX9768" fmla="*/ 3562731 w 6994525"/>
                  <a:gd name="connsiteY9768" fmla="*/ 4525086 h 7571036"/>
                  <a:gd name="connsiteX9769" fmla="*/ 3607114 w 6994525"/>
                  <a:gd name="connsiteY9769" fmla="*/ 4569716 h 7571036"/>
                  <a:gd name="connsiteX9770" fmla="*/ 3651743 w 6994525"/>
                  <a:gd name="connsiteY9770" fmla="*/ 4525086 h 7571036"/>
                  <a:gd name="connsiteX9771" fmla="*/ 3658893 w 6994525"/>
                  <a:gd name="connsiteY9771" fmla="*/ 4851798 h 7571036"/>
                  <a:gd name="connsiteX9772" fmla="*/ 3608592 w 6994525"/>
                  <a:gd name="connsiteY9772" fmla="*/ 4801497 h 7571036"/>
                  <a:gd name="connsiteX9773" fmla="*/ 3558290 w 6994525"/>
                  <a:gd name="connsiteY9773" fmla="*/ 4851798 h 7571036"/>
                  <a:gd name="connsiteX9774" fmla="*/ 3608592 w 6994525"/>
                  <a:gd name="connsiteY9774" fmla="*/ 4902100 h 7571036"/>
                  <a:gd name="connsiteX9775" fmla="*/ 3658893 w 6994525"/>
                  <a:gd name="connsiteY9775" fmla="*/ 4851798 h 7571036"/>
                  <a:gd name="connsiteX9776" fmla="*/ 3673441 w 6994525"/>
                  <a:gd name="connsiteY9776" fmla="*/ 2218160 h 7571036"/>
                  <a:gd name="connsiteX9777" fmla="*/ 3662100 w 6994525"/>
                  <a:gd name="connsiteY9777" fmla="*/ 2206819 h 7571036"/>
                  <a:gd name="connsiteX9778" fmla="*/ 3650757 w 6994525"/>
                  <a:gd name="connsiteY9778" fmla="*/ 2218160 h 7571036"/>
                  <a:gd name="connsiteX9779" fmla="*/ 3662100 w 6994525"/>
                  <a:gd name="connsiteY9779" fmla="*/ 2229504 h 7571036"/>
                  <a:gd name="connsiteX9780" fmla="*/ 3673441 w 6994525"/>
                  <a:gd name="connsiteY9780" fmla="*/ 2218160 h 7571036"/>
                  <a:gd name="connsiteX9781" fmla="*/ 3681332 w 6994525"/>
                  <a:gd name="connsiteY9781" fmla="*/ 2658767 h 7571036"/>
                  <a:gd name="connsiteX9782" fmla="*/ 3664317 w 6994525"/>
                  <a:gd name="connsiteY9782" fmla="*/ 2641754 h 7571036"/>
                  <a:gd name="connsiteX9783" fmla="*/ 3647304 w 6994525"/>
                  <a:gd name="connsiteY9783" fmla="*/ 2658767 h 7571036"/>
                  <a:gd name="connsiteX9784" fmla="*/ 3664317 w 6994525"/>
                  <a:gd name="connsiteY9784" fmla="*/ 2675783 h 7571036"/>
                  <a:gd name="connsiteX9785" fmla="*/ 3681332 w 6994525"/>
                  <a:gd name="connsiteY9785" fmla="*/ 2658767 h 7571036"/>
                  <a:gd name="connsiteX9786" fmla="*/ 3681824 w 6994525"/>
                  <a:gd name="connsiteY9786" fmla="*/ 2108934 h 7571036"/>
                  <a:gd name="connsiteX9787" fmla="*/ 3661852 w 6994525"/>
                  <a:gd name="connsiteY9787" fmla="*/ 2088960 h 7571036"/>
                  <a:gd name="connsiteX9788" fmla="*/ 3641881 w 6994525"/>
                  <a:gd name="connsiteY9788" fmla="*/ 2108934 h 7571036"/>
                  <a:gd name="connsiteX9789" fmla="*/ 3661852 w 6994525"/>
                  <a:gd name="connsiteY9789" fmla="*/ 2128907 h 7571036"/>
                  <a:gd name="connsiteX9790" fmla="*/ 3681824 w 6994525"/>
                  <a:gd name="connsiteY9790" fmla="*/ 2108934 h 7571036"/>
                  <a:gd name="connsiteX9791" fmla="*/ 3684784 w 6994525"/>
                  <a:gd name="connsiteY9791" fmla="*/ 3110728 h 7571036"/>
                  <a:gd name="connsiteX9792" fmla="*/ 3658647 w 6994525"/>
                  <a:gd name="connsiteY9792" fmla="*/ 3084344 h 7571036"/>
                  <a:gd name="connsiteX9793" fmla="*/ 3632263 w 6994525"/>
                  <a:gd name="connsiteY9793" fmla="*/ 3110728 h 7571036"/>
                  <a:gd name="connsiteX9794" fmla="*/ 3658647 w 6994525"/>
                  <a:gd name="connsiteY9794" fmla="*/ 3137110 h 7571036"/>
                  <a:gd name="connsiteX9795" fmla="*/ 3684784 w 6994525"/>
                  <a:gd name="connsiteY9795" fmla="*/ 3110728 h 7571036"/>
                  <a:gd name="connsiteX9796" fmla="*/ 3686757 w 6994525"/>
                  <a:gd name="connsiteY9796" fmla="*/ 2769723 h 7571036"/>
                  <a:gd name="connsiteX9797" fmla="*/ 3664319 w 6994525"/>
                  <a:gd name="connsiteY9797" fmla="*/ 2747283 h 7571036"/>
                  <a:gd name="connsiteX9798" fmla="*/ 3641881 w 6994525"/>
                  <a:gd name="connsiteY9798" fmla="*/ 2769723 h 7571036"/>
                  <a:gd name="connsiteX9799" fmla="*/ 3664319 w 6994525"/>
                  <a:gd name="connsiteY9799" fmla="*/ 2792161 h 7571036"/>
                  <a:gd name="connsiteX9800" fmla="*/ 3686757 w 6994525"/>
                  <a:gd name="connsiteY9800" fmla="*/ 2769723 h 7571036"/>
                  <a:gd name="connsiteX9801" fmla="*/ 3692922 w 6994525"/>
                  <a:gd name="connsiteY9801" fmla="*/ 2327878 h 7571036"/>
                  <a:gd name="connsiteX9802" fmla="*/ 3662841 w 6994525"/>
                  <a:gd name="connsiteY9802" fmla="*/ 2297797 h 7571036"/>
                  <a:gd name="connsiteX9803" fmla="*/ 3632757 w 6994525"/>
                  <a:gd name="connsiteY9803" fmla="*/ 2327878 h 7571036"/>
                  <a:gd name="connsiteX9804" fmla="*/ 3662841 w 6994525"/>
                  <a:gd name="connsiteY9804" fmla="*/ 2357964 h 7571036"/>
                  <a:gd name="connsiteX9805" fmla="*/ 3692922 w 6994525"/>
                  <a:gd name="connsiteY9805" fmla="*/ 2327878 h 7571036"/>
                  <a:gd name="connsiteX9806" fmla="*/ 3693905 w 6994525"/>
                  <a:gd name="connsiteY9806" fmla="*/ 1019951 h 7571036"/>
                  <a:gd name="connsiteX9807" fmla="*/ 3661606 w 6994525"/>
                  <a:gd name="connsiteY9807" fmla="*/ 987643 h 7571036"/>
                  <a:gd name="connsiteX9808" fmla="*/ 3629304 w 6994525"/>
                  <a:gd name="connsiteY9808" fmla="*/ 1019951 h 7571036"/>
                  <a:gd name="connsiteX9809" fmla="*/ 3661606 w 6994525"/>
                  <a:gd name="connsiteY9809" fmla="*/ 1052247 h 7571036"/>
                  <a:gd name="connsiteX9810" fmla="*/ 3693905 w 6994525"/>
                  <a:gd name="connsiteY9810" fmla="*/ 1019951 h 7571036"/>
                  <a:gd name="connsiteX9811" fmla="*/ 3694894 w 6994525"/>
                  <a:gd name="connsiteY9811" fmla="*/ 802501 h 7571036"/>
                  <a:gd name="connsiteX9812" fmla="*/ 3662098 w 6994525"/>
                  <a:gd name="connsiteY9812" fmla="*/ 769705 h 7571036"/>
                  <a:gd name="connsiteX9813" fmla="*/ 3629304 w 6994525"/>
                  <a:gd name="connsiteY9813" fmla="*/ 802501 h 7571036"/>
                  <a:gd name="connsiteX9814" fmla="*/ 3662098 w 6994525"/>
                  <a:gd name="connsiteY9814" fmla="*/ 835297 h 7571036"/>
                  <a:gd name="connsiteX9815" fmla="*/ 3694894 w 6994525"/>
                  <a:gd name="connsiteY9815" fmla="*/ 802501 h 7571036"/>
                  <a:gd name="connsiteX9816" fmla="*/ 3696866 w 6994525"/>
                  <a:gd name="connsiteY9816" fmla="*/ 911467 h 7571036"/>
                  <a:gd name="connsiteX9817" fmla="*/ 3661606 w 6994525"/>
                  <a:gd name="connsiteY9817" fmla="*/ 876204 h 7571036"/>
                  <a:gd name="connsiteX9818" fmla="*/ 3626345 w 6994525"/>
                  <a:gd name="connsiteY9818" fmla="*/ 911467 h 7571036"/>
                  <a:gd name="connsiteX9819" fmla="*/ 3661606 w 6994525"/>
                  <a:gd name="connsiteY9819" fmla="*/ 946731 h 7571036"/>
                  <a:gd name="connsiteX9820" fmla="*/ 3696866 w 6994525"/>
                  <a:gd name="connsiteY9820" fmla="*/ 911467 h 7571036"/>
                  <a:gd name="connsiteX9821" fmla="*/ 3697113 w 6994525"/>
                  <a:gd name="connsiteY9821" fmla="*/ 476797 h 7571036"/>
                  <a:gd name="connsiteX9822" fmla="*/ 3661606 w 6994525"/>
                  <a:gd name="connsiteY9822" fmla="*/ 441290 h 7571036"/>
                  <a:gd name="connsiteX9823" fmla="*/ 3626099 w 6994525"/>
                  <a:gd name="connsiteY9823" fmla="*/ 476797 h 7571036"/>
                  <a:gd name="connsiteX9824" fmla="*/ 3661606 w 6994525"/>
                  <a:gd name="connsiteY9824" fmla="*/ 512302 h 7571036"/>
                  <a:gd name="connsiteX9825" fmla="*/ 3697113 w 6994525"/>
                  <a:gd name="connsiteY9825" fmla="*/ 476797 h 7571036"/>
                  <a:gd name="connsiteX9826" fmla="*/ 3697359 w 6994525"/>
                  <a:gd name="connsiteY9826" fmla="*/ 2548062 h 7571036"/>
                  <a:gd name="connsiteX9827" fmla="*/ 3664074 w 6994525"/>
                  <a:gd name="connsiteY9827" fmla="*/ 2514773 h 7571036"/>
                  <a:gd name="connsiteX9828" fmla="*/ 3630785 w 6994525"/>
                  <a:gd name="connsiteY9828" fmla="*/ 2548062 h 7571036"/>
                  <a:gd name="connsiteX9829" fmla="*/ 3664074 w 6994525"/>
                  <a:gd name="connsiteY9829" fmla="*/ 2581348 h 7571036"/>
                  <a:gd name="connsiteX9830" fmla="*/ 3697359 w 6994525"/>
                  <a:gd name="connsiteY9830" fmla="*/ 2548062 h 7571036"/>
                  <a:gd name="connsiteX9831" fmla="*/ 3697605 w 6994525"/>
                  <a:gd name="connsiteY9831" fmla="*/ 585515 h 7571036"/>
                  <a:gd name="connsiteX9832" fmla="*/ 3661607 w 6994525"/>
                  <a:gd name="connsiteY9832" fmla="*/ 549517 h 7571036"/>
                  <a:gd name="connsiteX9833" fmla="*/ 3625605 w 6994525"/>
                  <a:gd name="connsiteY9833" fmla="*/ 585515 h 7571036"/>
                  <a:gd name="connsiteX9834" fmla="*/ 3661607 w 6994525"/>
                  <a:gd name="connsiteY9834" fmla="*/ 621515 h 7571036"/>
                  <a:gd name="connsiteX9835" fmla="*/ 3697605 w 6994525"/>
                  <a:gd name="connsiteY9835" fmla="*/ 585515 h 7571036"/>
                  <a:gd name="connsiteX9836" fmla="*/ 3699331 w 6994525"/>
                  <a:gd name="connsiteY9836" fmla="*/ 694028 h 7571036"/>
                  <a:gd name="connsiteX9837" fmla="*/ 3662098 w 6994525"/>
                  <a:gd name="connsiteY9837" fmla="*/ 656792 h 7571036"/>
                  <a:gd name="connsiteX9838" fmla="*/ 3624864 w 6994525"/>
                  <a:gd name="connsiteY9838" fmla="*/ 694028 h 7571036"/>
                  <a:gd name="connsiteX9839" fmla="*/ 3662098 w 6994525"/>
                  <a:gd name="connsiteY9839" fmla="*/ 731259 h 7571036"/>
                  <a:gd name="connsiteX9840" fmla="*/ 3699331 w 6994525"/>
                  <a:gd name="connsiteY9840" fmla="*/ 694028 h 7571036"/>
                  <a:gd name="connsiteX9841" fmla="*/ 3700564 w 6994525"/>
                  <a:gd name="connsiteY9841" fmla="*/ 1128671 h 7571036"/>
                  <a:gd name="connsiteX9842" fmla="*/ 3661607 w 6994525"/>
                  <a:gd name="connsiteY9842" fmla="*/ 1089713 h 7571036"/>
                  <a:gd name="connsiteX9843" fmla="*/ 3622646 w 6994525"/>
                  <a:gd name="connsiteY9843" fmla="*/ 1128671 h 7571036"/>
                  <a:gd name="connsiteX9844" fmla="*/ 3661607 w 6994525"/>
                  <a:gd name="connsiteY9844" fmla="*/ 1167628 h 7571036"/>
                  <a:gd name="connsiteX9845" fmla="*/ 3700564 w 6994525"/>
                  <a:gd name="connsiteY9845" fmla="*/ 1128671 h 7571036"/>
                  <a:gd name="connsiteX9846" fmla="*/ 3701303 w 6994525"/>
                  <a:gd name="connsiteY9846" fmla="*/ 1237395 h 7571036"/>
                  <a:gd name="connsiteX9847" fmla="*/ 3661603 w 6994525"/>
                  <a:gd name="connsiteY9847" fmla="*/ 1197696 h 7571036"/>
                  <a:gd name="connsiteX9848" fmla="*/ 3621905 w 6994525"/>
                  <a:gd name="connsiteY9848" fmla="*/ 1237395 h 7571036"/>
                  <a:gd name="connsiteX9849" fmla="*/ 3661603 w 6994525"/>
                  <a:gd name="connsiteY9849" fmla="*/ 1277094 h 7571036"/>
                  <a:gd name="connsiteX9850" fmla="*/ 3701303 w 6994525"/>
                  <a:gd name="connsiteY9850" fmla="*/ 1237395 h 7571036"/>
                  <a:gd name="connsiteX9851" fmla="*/ 3705742 w 6994525"/>
                  <a:gd name="connsiteY9851" fmla="*/ 2437603 h 7571036"/>
                  <a:gd name="connsiteX9852" fmla="*/ 3663579 w 6994525"/>
                  <a:gd name="connsiteY9852" fmla="*/ 2395437 h 7571036"/>
                  <a:gd name="connsiteX9853" fmla="*/ 3621414 w 6994525"/>
                  <a:gd name="connsiteY9853" fmla="*/ 2437603 h 7571036"/>
                  <a:gd name="connsiteX9854" fmla="*/ 3663579 w 6994525"/>
                  <a:gd name="connsiteY9854" fmla="*/ 2479763 h 7571036"/>
                  <a:gd name="connsiteX9855" fmla="*/ 3705742 w 6994525"/>
                  <a:gd name="connsiteY9855" fmla="*/ 2437603 h 7571036"/>
                  <a:gd name="connsiteX9856" fmla="*/ 3722755 w 6994525"/>
                  <a:gd name="connsiteY9856" fmla="*/ 1678957 h 7571036"/>
                  <a:gd name="connsiteX9857" fmla="*/ 3719550 w 6994525"/>
                  <a:gd name="connsiteY9857" fmla="*/ 1675751 h 7571036"/>
                  <a:gd name="connsiteX9858" fmla="*/ 3716345 w 6994525"/>
                  <a:gd name="connsiteY9858" fmla="*/ 1678957 h 7571036"/>
                  <a:gd name="connsiteX9859" fmla="*/ 3719550 w 6994525"/>
                  <a:gd name="connsiteY9859" fmla="*/ 1682166 h 7571036"/>
                  <a:gd name="connsiteX9860" fmla="*/ 3722755 w 6994525"/>
                  <a:gd name="connsiteY9860" fmla="*/ 1678957 h 7571036"/>
                  <a:gd name="connsiteX9861" fmla="*/ 3723989 w 6994525"/>
                  <a:gd name="connsiteY9861" fmla="*/ 4055852 h 7571036"/>
                  <a:gd name="connsiteX9862" fmla="*/ 3714864 w 6994525"/>
                  <a:gd name="connsiteY9862" fmla="*/ 4046729 h 7571036"/>
                  <a:gd name="connsiteX9863" fmla="*/ 3705742 w 6994525"/>
                  <a:gd name="connsiteY9863" fmla="*/ 4055852 h 7571036"/>
                  <a:gd name="connsiteX9864" fmla="*/ 3714864 w 6994525"/>
                  <a:gd name="connsiteY9864" fmla="*/ 4064975 h 7571036"/>
                  <a:gd name="connsiteX9865" fmla="*/ 3723989 w 6994525"/>
                  <a:gd name="connsiteY9865" fmla="*/ 4055852 h 7571036"/>
                  <a:gd name="connsiteX9866" fmla="*/ 3727439 w 6994525"/>
                  <a:gd name="connsiteY9866" fmla="*/ 5275168 h 7571036"/>
                  <a:gd name="connsiteX9867" fmla="*/ 3727194 w 6994525"/>
                  <a:gd name="connsiteY9867" fmla="*/ 5274923 h 7571036"/>
                  <a:gd name="connsiteX9868" fmla="*/ 3727194 w 6994525"/>
                  <a:gd name="connsiteY9868" fmla="*/ 5275168 h 7571036"/>
                  <a:gd name="connsiteX9869" fmla="*/ 3729415 w 6994525"/>
                  <a:gd name="connsiteY9869" fmla="*/ 6147554 h 7571036"/>
                  <a:gd name="connsiteX9870" fmla="*/ 3726702 w 6994525"/>
                  <a:gd name="connsiteY9870" fmla="*/ 6144841 h 7571036"/>
                  <a:gd name="connsiteX9871" fmla="*/ 3723989 w 6994525"/>
                  <a:gd name="connsiteY9871" fmla="*/ 6147554 h 7571036"/>
                  <a:gd name="connsiteX9872" fmla="*/ 3726702 w 6994525"/>
                  <a:gd name="connsiteY9872" fmla="*/ 6150268 h 7571036"/>
                  <a:gd name="connsiteX9873" fmla="*/ 3729415 w 6994525"/>
                  <a:gd name="connsiteY9873" fmla="*/ 6147554 h 7571036"/>
                  <a:gd name="connsiteX9874" fmla="*/ 3729415 w 6994525"/>
                  <a:gd name="connsiteY9874" fmla="*/ 6365527 h 7571036"/>
                  <a:gd name="connsiteX9875" fmla="*/ 3727196 w 6994525"/>
                  <a:gd name="connsiteY9875" fmla="*/ 6363306 h 7571036"/>
                  <a:gd name="connsiteX9876" fmla="*/ 3724729 w 6994525"/>
                  <a:gd name="connsiteY9876" fmla="*/ 6365527 h 7571036"/>
                  <a:gd name="connsiteX9877" fmla="*/ 3727196 w 6994525"/>
                  <a:gd name="connsiteY9877" fmla="*/ 6367746 h 7571036"/>
                  <a:gd name="connsiteX9878" fmla="*/ 3729415 w 6994525"/>
                  <a:gd name="connsiteY9878" fmla="*/ 6365527 h 7571036"/>
                  <a:gd name="connsiteX9879" fmla="*/ 3729660 w 6994525"/>
                  <a:gd name="connsiteY9879" fmla="*/ 6256543 h 7571036"/>
                  <a:gd name="connsiteX9880" fmla="*/ 3726948 w 6994525"/>
                  <a:gd name="connsiteY9880" fmla="*/ 6253829 h 7571036"/>
                  <a:gd name="connsiteX9881" fmla="*/ 3724235 w 6994525"/>
                  <a:gd name="connsiteY9881" fmla="*/ 6256543 h 7571036"/>
                  <a:gd name="connsiteX9882" fmla="*/ 3726948 w 6994525"/>
                  <a:gd name="connsiteY9882" fmla="*/ 6259253 h 7571036"/>
                  <a:gd name="connsiteX9883" fmla="*/ 3729660 w 6994525"/>
                  <a:gd name="connsiteY9883" fmla="*/ 6256543 h 7571036"/>
                  <a:gd name="connsiteX9884" fmla="*/ 3729660 w 6994525"/>
                  <a:gd name="connsiteY9884" fmla="*/ 6474021 h 7571036"/>
                  <a:gd name="connsiteX9885" fmla="*/ 3727196 w 6994525"/>
                  <a:gd name="connsiteY9885" fmla="*/ 6471553 h 7571036"/>
                  <a:gd name="connsiteX9886" fmla="*/ 3724729 w 6994525"/>
                  <a:gd name="connsiteY9886" fmla="*/ 6474021 h 7571036"/>
                  <a:gd name="connsiteX9887" fmla="*/ 3727196 w 6994525"/>
                  <a:gd name="connsiteY9887" fmla="*/ 6476484 h 7571036"/>
                  <a:gd name="connsiteX9888" fmla="*/ 3729660 w 6994525"/>
                  <a:gd name="connsiteY9888" fmla="*/ 6474021 h 7571036"/>
                  <a:gd name="connsiteX9889" fmla="*/ 3730398 w 6994525"/>
                  <a:gd name="connsiteY9889" fmla="*/ 3938728 h 7571036"/>
                  <a:gd name="connsiteX9890" fmla="*/ 3712398 w 6994525"/>
                  <a:gd name="connsiteY9890" fmla="*/ 3920729 h 7571036"/>
                  <a:gd name="connsiteX9891" fmla="*/ 3694400 w 6994525"/>
                  <a:gd name="connsiteY9891" fmla="*/ 3938728 h 7571036"/>
                  <a:gd name="connsiteX9892" fmla="*/ 3712398 w 6994525"/>
                  <a:gd name="connsiteY9892" fmla="*/ 3956727 h 7571036"/>
                  <a:gd name="connsiteX9893" fmla="*/ 3730398 w 6994525"/>
                  <a:gd name="connsiteY9893" fmla="*/ 3938728 h 7571036"/>
                  <a:gd name="connsiteX9894" fmla="*/ 3730647 w 6994525"/>
                  <a:gd name="connsiteY9894" fmla="*/ 5493636 h 7571036"/>
                  <a:gd name="connsiteX9895" fmla="*/ 3727935 w 6994525"/>
                  <a:gd name="connsiteY9895" fmla="*/ 5490923 h 7571036"/>
                  <a:gd name="connsiteX9896" fmla="*/ 3725222 w 6994525"/>
                  <a:gd name="connsiteY9896" fmla="*/ 5493636 h 7571036"/>
                  <a:gd name="connsiteX9897" fmla="*/ 3727935 w 6994525"/>
                  <a:gd name="connsiteY9897" fmla="*/ 5496350 h 7571036"/>
                  <a:gd name="connsiteX9898" fmla="*/ 3730647 w 6994525"/>
                  <a:gd name="connsiteY9898" fmla="*/ 5493636 h 7571036"/>
                  <a:gd name="connsiteX9899" fmla="*/ 3730893 w 6994525"/>
                  <a:gd name="connsiteY9899" fmla="*/ 5384157 h 7571036"/>
                  <a:gd name="connsiteX9900" fmla="*/ 3728180 w 6994525"/>
                  <a:gd name="connsiteY9900" fmla="*/ 5381443 h 7571036"/>
                  <a:gd name="connsiteX9901" fmla="*/ 3725222 w 6994525"/>
                  <a:gd name="connsiteY9901" fmla="*/ 5384157 h 7571036"/>
                  <a:gd name="connsiteX9902" fmla="*/ 3728180 w 6994525"/>
                  <a:gd name="connsiteY9902" fmla="*/ 5387115 h 7571036"/>
                  <a:gd name="connsiteX9903" fmla="*/ 3730893 w 6994525"/>
                  <a:gd name="connsiteY9903" fmla="*/ 5384157 h 7571036"/>
                  <a:gd name="connsiteX9904" fmla="*/ 3730893 w 6994525"/>
                  <a:gd name="connsiteY9904" fmla="*/ 6800241 h 7571036"/>
                  <a:gd name="connsiteX9905" fmla="*/ 3728179 w 6994525"/>
                  <a:gd name="connsiteY9905" fmla="*/ 6797528 h 7571036"/>
                  <a:gd name="connsiteX9906" fmla="*/ 3725467 w 6994525"/>
                  <a:gd name="connsiteY9906" fmla="*/ 6800241 h 7571036"/>
                  <a:gd name="connsiteX9907" fmla="*/ 3728179 w 6994525"/>
                  <a:gd name="connsiteY9907" fmla="*/ 6802954 h 7571036"/>
                  <a:gd name="connsiteX9908" fmla="*/ 3730893 w 6994525"/>
                  <a:gd name="connsiteY9908" fmla="*/ 6800241 h 7571036"/>
                  <a:gd name="connsiteX9909" fmla="*/ 3731385 w 6994525"/>
                  <a:gd name="connsiteY9909" fmla="*/ 6038813 h 7571036"/>
                  <a:gd name="connsiteX9910" fmla="*/ 3728426 w 6994525"/>
                  <a:gd name="connsiteY9910" fmla="*/ 6035854 h 7571036"/>
                  <a:gd name="connsiteX9911" fmla="*/ 3725467 w 6994525"/>
                  <a:gd name="connsiteY9911" fmla="*/ 6038813 h 7571036"/>
                  <a:gd name="connsiteX9912" fmla="*/ 3728426 w 6994525"/>
                  <a:gd name="connsiteY9912" fmla="*/ 6041771 h 7571036"/>
                  <a:gd name="connsiteX9913" fmla="*/ 3731385 w 6994525"/>
                  <a:gd name="connsiteY9913" fmla="*/ 6038813 h 7571036"/>
                  <a:gd name="connsiteX9914" fmla="*/ 3731635 w 6994525"/>
                  <a:gd name="connsiteY9914" fmla="*/ 5056458 h 7571036"/>
                  <a:gd name="connsiteX9915" fmla="*/ 3726210 w 6994525"/>
                  <a:gd name="connsiteY9915" fmla="*/ 5050786 h 7571036"/>
                  <a:gd name="connsiteX9916" fmla="*/ 3720785 w 6994525"/>
                  <a:gd name="connsiteY9916" fmla="*/ 5056458 h 7571036"/>
                  <a:gd name="connsiteX9917" fmla="*/ 3726210 w 6994525"/>
                  <a:gd name="connsiteY9917" fmla="*/ 5061881 h 7571036"/>
                  <a:gd name="connsiteX9918" fmla="*/ 3731635 w 6994525"/>
                  <a:gd name="connsiteY9918" fmla="*/ 5056458 h 7571036"/>
                  <a:gd name="connsiteX9919" fmla="*/ 3731879 w 6994525"/>
                  <a:gd name="connsiteY9919" fmla="*/ 6691499 h 7571036"/>
                  <a:gd name="connsiteX9920" fmla="*/ 3728920 w 6994525"/>
                  <a:gd name="connsiteY9920" fmla="*/ 6688540 h 7571036"/>
                  <a:gd name="connsiteX9921" fmla="*/ 3725961 w 6994525"/>
                  <a:gd name="connsiteY9921" fmla="*/ 6691499 h 7571036"/>
                  <a:gd name="connsiteX9922" fmla="*/ 3728920 w 6994525"/>
                  <a:gd name="connsiteY9922" fmla="*/ 6694458 h 7571036"/>
                  <a:gd name="connsiteX9923" fmla="*/ 3731879 w 6994525"/>
                  <a:gd name="connsiteY9923" fmla="*/ 6691499 h 7571036"/>
                  <a:gd name="connsiteX9924" fmla="*/ 3731879 w 6994525"/>
                  <a:gd name="connsiteY9924" fmla="*/ 6908732 h 7571036"/>
                  <a:gd name="connsiteX9925" fmla="*/ 3728920 w 6994525"/>
                  <a:gd name="connsiteY9925" fmla="*/ 6905773 h 7571036"/>
                  <a:gd name="connsiteX9926" fmla="*/ 3726208 w 6994525"/>
                  <a:gd name="connsiteY9926" fmla="*/ 6908732 h 7571036"/>
                  <a:gd name="connsiteX9927" fmla="*/ 3728920 w 6994525"/>
                  <a:gd name="connsiteY9927" fmla="*/ 6911691 h 7571036"/>
                  <a:gd name="connsiteX9928" fmla="*/ 3731879 w 6994525"/>
                  <a:gd name="connsiteY9928" fmla="*/ 6908732 h 7571036"/>
                  <a:gd name="connsiteX9929" fmla="*/ 3732125 w 6994525"/>
                  <a:gd name="connsiteY9929" fmla="*/ 1788431 h 7571036"/>
                  <a:gd name="connsiteX9930" fmla="*/ 3720290 w 6994525"/>
                  <a:gd name="connsiteY9930" fmla="*/ 1776607 h 7571036"/>
                  <a:gd name="connsiteX9931" fmla="*/ 3708454 w 6994525"/>
                  <a:gd name="connsiteY9931" fmla="*/ 1788431 h 7571036"/>
                  <a:gd name="connsiteX9932" fmla="*/ 3720290 w 6994525"/>
                  <a:gd name="connsiteY9932" fmla="*/ 1800288 h 7571036"/>
                  <a:gd name="connsiteX9933" fmla="*/ 3732125 w 6994525"/>
                  <a:gd name="connsiteY9933" fmla="*/ 1788431 h 7571036"/>
                  <a:gd name="connsiteX9934" fmla="*/ 3732125 w 6994525"/>
                  <a:gd name="connsiteY9934" fmla="*/ 7017474 h 7571036"/>
                  <a:gd name="connsiteX9935" fmla="*/ 3728917 w 6994525"/>
                  <a:gd name="connsiteY9935" fmla="*/ 7014268 h 7571036"/>
                  <a:gd name="connsiteX9936" fmla="*/ 3725467 w 6994525"/>
                  <a:gd name="connsiteY9936" fmla="*/ 7017474 h 7571036"/>
                  <a:gd name="connsiteX9937" fmla="*/ 3728917 w 6994525"/>
                  <a:gd name="connsiteY9937" fmla="*/ 7020927 h 7571036"/>
                  <a:gd name="connsiteX9938" fmla="*/ 3732125 w 6994525"/>
                  <a:gd name="connsiteY9938" fmla="*/ 7017474 h 7571036"/>
                  <a:gd name="connsiteX9939" fmla="*/ 3732126 w 6994525"/>
                  <a:gd name="connsiteY9939" fmla="*/ 6582760 h 7571036"/>
                  <a:gd name="connsiteX9940" fmla="*/ 3729167 w 6994525"/>
                  <a:gd name="connsiteY9940" fmla="*/ 6579801 h 7571036"/>
                  <a:gd name="connsiteX9941" fmla="*/ 3726208 w 6994525"/>
                  <a:gd name="connsiteY9941" fmla="*/ 6582760 h 7571036"/>
                  <a:gd name="connsiteX9942" fmla="*/ 3729167 w 6994525"/>
                  <a:gd name="connsiteY9942" fmla="*/ 6585718 h 7571036"/>
                  <a:gd name="connsiteX9943" fmla="*/ 3732126 w 6994525"/>
                  <a:gd name="connsiteY9943" fmla="*/ 6582760 h 7571036"/>
                  <a:gd name="connsiteX9944" fmla="*/ 3732619 w 6994525"/>
                  <a:gd name="connsiteY9944" fmla="*/ 5820594 h 7571036"/>
                  <a:gd name="connsiteX9945" fmla="*/ 3729907 w 6994525"/>
                  <a:gd name="connsiteY9945" fmla="*/ 5817881 h 7571036"/>
                  <a:gd name="connsiteX9946" fmla="*/ 3727194 w 6994525"/>
                  <a:gd name="connsiteY9946" fmla="*/ 5820594 h 7571036"/>
                  <a:gd name="connsiteX9947" fmla="*/ 3729907 w 6994525"/>
                  <a:gd name="connsiteY9947" fmla="*/ 5823308 h 7571036"/>
                  <a:gd name="connsiteX9948" fmla="*/ 3732619 w 6994525"/>
                  <a:gd name="connsiteY9948" fmla="*/ 5820594 h 7571036"/>
                  <a:gd name="connsiteX9949" fmla="*/ 3732865 w 6994525"/>
                  <a:gd name="connsiteY9949" fmla="*/ 7126213 h 7571036"/>
                  <a:gd name="connsiteX9950" fmla="*/ 3729166 w 6994525"/>
                  <a:gd name="connsiteY9950" fmla="*/ 7122762 h 7571036"/>
                  <a:gd name="connsiteX9951" fmla="*/ 3725467 w 6994525"/>
                  <a:gd name="connsiteY9951" fmla="*/ 7126213 h 7571036"/>
                  <a:gd name="connsiteX9952" fmla="*/ 3729166 w 6994525"/>
                  <a:gd name="connsiteY9952" fmla="*/ 7129912 h 7571036"/>
                  <a:gd name="connsiteX9953" fmla="*/ 3732865 w 6994525"/>
                  <a:gd name="connsiteY9953" fmla="*/ 7126213 h 7571036"/>
                  <a:gd name="connsiteX9954" fmla="*/ 3733360 w 6994525"/>
                  <a:gd name="connsiteY9954" fmla="*/ 5929828 h 7571036"/>
                  <a:gd name="connsiteX9955" fmla="*/ 3728675 w 6994525"/>
                  <a:gd name="connsiteY9955" fmla="*/ 5925142 h 7571036"/>
                  <a:gd name="connsiteX9956" fmla="*/ 3723989 w 6994525"/>
                  <a:gd name="connsiteY9956" fmla="*/ 5929828 h 7571036"/>
                  <a:gd name="connsiteX9957" fmla="*/ 3728675 w 6994525"/>
                  <a:gd name="connsiteY9957" fmla="*/ 5934514 h 7571036"/>
                  <a:gd name="connsiteX9958" fmla="*/ 3733360 w 6994525"/>
                  <a:gd name="connsiteY9958" fmla="*/ 5929828 h 7571036"/>
                  <a:gd name="connsiteX9959" fmla="*/ 3733606 w 6994525"/>
                  <a:gd name="connsiteY9959" fmla="*/ 5711609 h 7571036"/>
                  <a:gd name="connsiteX9960" fmla="*/ 3729907 w 6994525"/>
                  <a:gd name="connsiteY9960" fmla="*/ 5707909 h 7571036"/>
                  <a:gd name="connsiteX9961" fmla="*/ 3726208 w 6994525"/>
                  <a:gd name="connsiteY9961" fmla="*/ 5711609 h 7571036"/>
                  <a:gd name="connsiteX9962" fmla="*/ 3729907 w 6994525"/>
                  <a:gd name="connsiteY9962" fmla="*/ 5715305 h 7571036"/>
                  <a:gd name="connsiteX9963" fmla="*/ 3733606 w 6994525"/>
                  <a:gd name="connsiteY9963" fmla="*/ 5711609 h 7571036"/>
                  <a:gd name="connsiteX9964" fmla="*/ 3733606 w 6994525"/>
                  <a:gd name="connsiteY9964" fmla="*/ 7234706 h 7571036"/>
                  <a:gd name="connsiteX9965" fmla="*/ 3729661 w 6994525"/>
                  <a:gd name="connsiteY9965" fmla="*/ 7230761 h 7571036"/>
                  <a:gd name="connsiteX9966" fmla="*/ 3725716 w 6994525"/>
                  <a:gd name="connsiteY9966" fmla="*/ 7234706 h 7571036"/>
                  <a:gd name="connsiteX9967" fmla="*/ 3729661 w 6994525"/>
                  <a:gd name="connsiteY9967" fmla="*/ 7238652 h 7571036"/>
                  <a:gd name="connsiteX9968" fmla="*/ 3733606 w 6994525"/>
                  <a:gd name="connsiteY9968" fmla="*/ 7234706 h 7571036"/>
                  <a:gd name="connsiteX9969" fmla="*/ 3734098 w 6994525"/>
                  <a:gd name="connsiteY9969" fmla="*/ 7452185 h 7571036"/>
                  <a:gd name="connsiteX9970" fmla="*/ 3730645 w 6994525"/>
                  <a:gd name="connsiteY9970" fmla="*/ 7448734 h 7571036"/>
                  <a:gd name="connsiteX9971" fmla="*/ 3727194 w 6994525"/>
                  <a:gd name="connsiteY9971" fmla="*/ 7452185 h 7571036"/>
                  <a:gd name="connsiteX9972" fmla="*/ 3730645 w 6994525"/>
                  <a:gd name="connsiteY9972" fmla="*/ 7455638 h 7571036"/>
                  <a:gd name="connsiteX9973" fmla="*/ 3734098 w 6994525"/>
                  <a:gd name="connsiteY9973" fmla="*/ 7452185 h 7571036"/>
                  <a:gd name="connsiteX9974" fmla="*/ 3734839 w 6994525"/>
                  <a:gd name="connsiteY9974" fmla="*/ 7560681 h 7571036"/>
                  <a:gd name="connsiteX9975" fmla="*/ 3731139 w 6994525"/>
                  <a:gd name="connsiteY9975" fmla="*/ 7556981 h 7571036"/>
                  <a:gd name="connsiteX9976" fmla="*/ 3727440 w 6994525"/>
                  <a:gd name="connsiteY9976" fmla="*/ 7560681 h 7571036"/>
                  <a:gd name="connsiteX9977" fmla="*/ 3731139 w 6994525"/>
                  <a:gd name="connsiteY9977" fmla="*/ 7564380 h 7571036"/>
                  <a:gd name="connsiteX9978" fmla="*/ 3734839 w 6994525"/>
                  <a:gd name="connsiteY9978" fmla="*/ 7560681 h 7571036"/>
                  <a:gd name="connsiteX9979" fmla="*/ 3735085 w 6994525"/>
                  <a:gd name="connsiteY9979" fmla="*/ 7343445 h 7571036"/>
                  <a:gd name="connsiteX9980" fmla="*/ 3730894 w 6994525"/>
                  <a:gd name="connsiteY9980" fmla="*/ 7339254 h 7571036"/>
                  <a:gd name="connsiteX9981" fmla="*/ 3726702 w 6994525"/>
                  <a:gd name="connsiteY9981" fmla="*/ 7343445 h 7571036"/>
                  <a:gd name="connsiteX9982" fmla="*/ 3730894 w 6994525"/>
                  <a:gd name="connsiteY9982" fmla="*/ 7347636 h 7571036"/>
                  <a:gd name="connsiteX9983" fmla="*/ 3735085 w 6994525"/>
                  <a:gd name="connsiteY9983" fmla="*/ 7343445 h 7571036"/>
                  <a:gd name="connsiteX9984" fmla="*/ 3735578 w 6994525"/>
                  <a:gd name="connsiteY9984" fmla="*/ 4616814 h 7571036"/>
                  <a:gd name="connsiteX9985" fmla="*/ 3722016 w 6994525"/>
                  <a:gd name="connsiteY9985" fmla="*/ 4603251 h 7571036"/>
                  <a:gd name="connsiteX9986" fmla="*/ 3708454 w 6994525"/>
                  <a:gd name="connsiteY9986" fmla="*/ 4616814 h 7571036"/>
                  <a:gd name="connsiteX9987" fmla="*/ 3722016 w 6994525"/>
                  <a:gd name="connsiteY9987" fmla="*/ 4630376 h 7571036"/>
                  <a:gd name="connsiteX9988" fmla="*/ 3735578 w 6994525"/>
                  <a:gd name="connsiteY9988" fmla="*/ 4616814 h 7571036"/>
                  <a:gd name="connsiteX9989" fmla="*/ 3741004 w 6994525"/>
                  <a:gd name="connsiteY9989" fmla="*/ 4168538 h 7571036"/>
                  <a:gd name="connsiteX9990" fmla="*/ 3722016 w 6994525"/>
                  <a:gd name="connsiteY9990" fmla="*/ 4149551 h 7571036"/>
                  <a:gd name="connsiteX9991" fmla="*/ 3703031 w 6994525"/>
                  <a:gd name="connsiteY9991" fmla="*/ 4168538 h 7571036"/>
                  <a:gd name="connsiteX9992" fmla="*/ 3722016 w 6994525"/>
                  <a:gd name="connsiteY9992" fmla="*/ 4187523 h 7571036"/>
                  <a:gd name="connsiteX9993" fmla="*/ 3741004 w 6994525"/>
                  <a:gd name="connsiteY9993" fmla="*/ 4168538 h 7571036"/>
                  <a:gd name="connsiteX9994" fmla="*/ 3741497 w 6994525"/>
                  <a:gd name="connsiteY9994" fmla="*/ 3016539 h 7571036"/>
                  <a:gd name="connsiteX9995" fmla="*/ 3712399 w 6994525"/>
                  <a:gd name="connsiteY9995" fmla="*/ 2987442 h 7571036"/>
                  <a:gd name="connsiteX9996" fmla="*/ 3683305 w 6994525"/>
                  <a:gd name="connsiteY9996" fmla="*/ 3016539 h 7571036"/>
                  <a:gd name="connsiteX9997" fmla="*/ 3712399 w 6994525"/>
                  <a:gd name="connsiteY9997" fmla="*/ 3045633 h 7571036"/>
                  <a:gd name="connsiteX9998" fmla="*/ 3741497 w 6994525"/>
                  <a:gd name="connsiteY9998" fmla="*/ 3016539 h 7571036"/>
                  <a:gd name="connsiteX9999" fmla="*/ 3742482 w 6994525"/>
                  <a:gd name="connsiteY9999" fmla="*/ 1897898 h 7571036"/>
                  <a:gd name="connsiteX10000" fmla="*/ 3721030 w 6994525"/>
                  <a:gd name="connsiteY10000" fmla="*/ 1876205 h 7571036"/>
                  <a:gd name="connsiteX10001" fmla="*/ 3699332 w 6994525"/>
                  <a:gd name="connsiteY10001" fmla="*/ 1897898 h 7571036"/>
                  <a:gd name="connsiteX10002" fmla="*/ 3721030 w 6994525"/>
                  <a:gd name="connsiteY10002" fmla="*/ 1919592 h 7571036"/>
                  <a:gd name="connsiteX10003" fmla="*/ 3742482 w 6994525"/>
                  <a:gd name="connsiteY10003" fmla="*/ 1897898 h 7571036"/>
                  <a:gd name="connsiteX10004" fmla="*/ 3745196 w 6994525"/>
                  <a:gd name="connsiteY10004" fmla="*/ 4727033 h 7571036"/>
                  <a:gd name="connsiteX10005" fmla="*/ 3722512 w 6994525"/>
                  <a:gd name="connsiteY10005" fmla="*/ 4704348 h 7571036"/>
                  <a:gd name="connsiteX10006" fmla="*/ 3699826 w 6994525"/>
                  <a:gd name="connsiteY10006" fmla="*/ 4727033 h 7571036"/>
                  <a:gd name="connsiteX10007" fmla="*/ 3722512 w 6994525"/>
                  <a:gd name="connsiteY10007" fmla="*/ 4749718 h 7571036"/>
                  <a:gd name="connsiteX10008" fmla="*/ 3745196 w 6994525"/>
                  <a:gd name="connsiteY10008" fmla="*/ 4727033 h 7571036"/>
                  <a:gd name="connsiteX10009" fmla="*/ 3745441 w 6994525"/>
                  <a:gd name="connsiteY10009" fmla="*/ 5165937 h 7571036"/>
                  <a:gd name="connsiteX10010" fmla="*/ 3726948 w 6994525"/>
                  <a:gd name="connsiteY10010" fmla="*/ 5147443 h 7571036"/>
                  <a:gd name="connsiteX10011" fmla="*/ 3708454 w 6994525"/>
                  <a:gd name="connsiteY10011" fmla="*/ 5165937 h 7571036"/>
                  <a:gd name="connsiteX10012" fmla="*/ 3726948 w 6994525"/>
                  <a:gd name="connsiteY10012" fmla="*/ 5184432 h 7571036"/>
                  <a:gd name="connsiteX10013" fmla="*/ 3745441 w 6994525"/>
                  <a:gd name="connsiteY10013" fmla="*/ 5165937 h 7571036"/>
                  <a:gd name="connsiteX10014" fmla="*/ 3746675 w 6994525"/>
                  <a:gd name="connsiteY10014" fmla="*/ 1569737 h 7571036"/>
                  <a:gd name="connsiteX10015" fmla="*/ 3718812 w 6994525"/>
                  <a:gd name="connsiteY10015" fmla="*/ 1541877 h 7571036"/>
                  <a:gd name="connsiteX10016" fmla="*/ 3690950 w 6994525"/>
                  <a:gd name="connsiteY10016" fmla="*/ 1569737 h 7571036"/>
                  <a:gd name="connsiteX10017" fmla="*/ 3718812 w 6994525"/>
                  <a:gd name="connsiteY10017" fmla="*/ 1597603 h 7571036"/>
                  <a:gd name="connsiteX10018" fmla="*/ 3746675 w 6994525"/>
                  <a:gd name="connsiteY10018" fmla="*/ 1569737 h 7571036"/>
                  <a:gd name="connsiteX10019" fmla="*/ 3750619 w 6994525"/>
                  <a:gd name="connsiteY10019" fmla="*/ 2007840 h 7571036"/>
                  <a:gd name="connsiteX10020" fmla="*/ 3721276 w 6994525"/>
                  <a:gd name="connsiteY10020" fmla="*/ 1978503 h 7571036"/>
                  <a:gd name="connsiteX10021" fmla="*/ 3691933 w 6994525"/>
                  <a:gd name="connsiteY10021" fmla="*/ 2007840 h 7571036"/>
                  <a:gd name="connsiteX10022" fmla="*/ 3721276 w 6994525"/>
                  <a:gd name="connsiteY10022" fmla="*/ 2037181 h 7571036"/>
                  <a:gd name="connsiteX10023" fmla="*/ 3750619 w 6994525"/>
                  <a:gd name="connsiteY10023" fmla="*/ 2007840 h 7571036"/>
                  <a:gd name="connsiteX10024" fmla="*/ 3751359 w 6994525"/>
                  <a:gd name="connsiteY10024" fmla="*/ 2898925 h 7571036"/>
                  <a:gd name="connsiteX10025" fmla="*/ 3714127 w 6994525"/>
                  <a:gd name="connsiteY10025" fmla="*/ 2861691 h 7571036"/>
                  <a:gd name="connsiteX10026" fmla="*/ 3676892 w 6994525"/>
                  <a:gd name="connsiteY10026" fmla="*/ 2898925 h 7571036"/>
                  <a:gd name="connsiteX10027" fmla="*/ 3714127 w 6994525"/>
                  <a:gd name="connsiteY10027" fmla="*/ 2936156 h 7571036"/>
                  <a:gd name="connsiteX10028" fmla="*/ 3751359 w 6994525"/>
                  <a:gd name="connsiteY10028" fmla="*/ 2898925 h 7571036"/>
                  <a:gd name="connsiteX10029" fmla="*/ 3751603 w 6994525"/>
                  <a:gd name="connsiteY10029" fmla="*/ 45877 h 7571036"/>
                  <a:gd name="connsiteX10030" fmla="*/ 3719304 w 6994525"/>
                  <a:gd name="connsiteY10030" fmla="*/ 13576 h 7571036"/>
                  <a:gd name="connsiteX10031" fmla="*/ 3687002 w 6994525"/>
                  <a:gd name="connsiteY10031" fmla="*/ 45877 h 7571036"/>
                  <a:gd name="connsiteX10032" fmla="*/ 3719304 w 6994525"/>
                  <a:gd name="connsiteY10032" fmla="*/ 78178 h 7571036"/>
                  <a:gd name="connsiteX10033" fmla="*/ 3751603 w 6994525"/>
                  <a:gd name="connsiteY10033" fmla="*/ 45877 h 7571036"/>
                  <a:gd name="connsiteX10034" fmla="*/ 3751605 w 6994525"/>
                  <a:gd name="connsiteY10034" fmla="*/ 263306 h 7571036"/>
                  <a:gd name="connsiteX10035" fmla="*/ 3719795 w 6994525"/>
                  <a:gd name="connsiteY10035" fmla="*/ 231499 h 7571036"/>
                  <a:gd name="connsiteX10036" fmla="*/ 3687988 w 6994525"/>
                  <a:gd name="connsiteY10036" fmla="*/ 263306 h 7571036"/>
                  <a:gd name="connsiteX10037" fmla="*/ 3719795 w 6994525"/>
                  <a:gd name="connsiteY10037" fmla="*/ 295114 h 7571036"/>
                  <a:gd name="connsiteX10038" fmla="*/ 3751605 w 6994525"/>
                  <a:gd name="connsiteY10038" fmla="*/ 263306 h 7571036"/>
                  <a:gd name="connsiteX10039" fmla="*/ 3751851 w 6994525"/>
                  <a:gd name="connsiteY10039" fmla="*/ 372021 h 7571036"/>
                  <a:gd name="connsiteX10040" fmla="*/ 3720044 w 6994525"/>
                  <a:gd name="connsiteY10040" fmla="*/ 340214 h 7571036"/>
                  <a:gd name="connsiteX10041" fmla="*/ 3688482 w 6994525"/>
                  <a:gd name="connsiteY10041" fmla="*/ 372021 h 7571036"/>
                  <a:gd name="connsiteX10042" fmla="*/ 3720044 w 6994525"/>
                  <a:gd name="connsiteY10042" fmla="*/ 403582 h 7571036"/>
                  <a:gd name="connsiteX10043" fmla="*/ 3751851 w 6994525"/>
                  <a:gd name="connsiteY10043" fmla="*/ 372021 h 7571036"/>
                  <a:gd name="connsiteX10044" fmla="*/ 3753333 w 6994525"/>
                  <a:gd name="connsiteY10044" fmla="*/ 154590 h 7571036"/>
                  <a:gd name="connsiteX10045" fmla="*/ 3719798 w 6994525"/>
                  <a:gd name="connsiteY10045" fmla="*/ 121057 h 7571036"/>
                  <a:gd name="connsiteX10046" fmla="*/ 3686264 w 6994525"/>
                  <a:gd name="connsiteY10046" fmla="*/ 154590 h 7571036"/>
                  <a:gd name="connsiteX10047" fmla="*/ 3719798 w 6994525"/>
                  <a:gd name="connsiteY10047" fmla="*/ 188123 h 7571036"/>
                  <a:gd name="connsiteX10048" fmla="*/ 3753333 w 6994525"/>
                  <a:gd name="connsiteY10048" fmla="*/ 154590 h 7571036"/>
                  <a:gd name="connsiteX10049" fmla="*/ 3754810 w 6994525"/>
                  <a:gd name="connsiteY10049" fmla="*/ 1460518 h 7571036"/>
                  <a:gd name="connsiteX10050" fmla="*/ 3718563 w 6994525"/>
                  <a:gd name="connsiteY10050" fmla="*/ 1424274 h 7571036"/>
                  <a:gd name="connsiteX10051" fmla="*/ 3682564 w 6994525"/>
                  <a:gd name="connsiteY10051" fmla="*/ 1460518 h 7571036"/>
                  <a:gd name="connsiteX10052" fmla="*/ 3718563 w 6994525"/>
                  <a:gd name="connsiteY10052" fmla="*/ 1496767 h 7571036"/>
                  <a:gd name="connsiteX10053" fmla="*/ 3754810 w 6994525"/>
                  <a:gd name="connsiteY10053" fmla="*/ 1460518 h 7571036"/>
                  <a:gd name="connsiteX10054" fmla="*/ 3755304 w 6994525"/>
                  <a:gd name="connsiteY10054" fmla="*/ 1351543 h 7571036"/>
                  <a:gd name="connsiteX10055" fmla="*/ 3718072 w 6994525"/>
                  <a:gd name="connsiteY10055" fmla="*/ 1314313 h 7571036"/>
                  <a:gd name="connsiteX10056" fmla="*/ 3680838 w 6994525"/>
                  <a:gd name="connsiteY10056" fmla="*/ 1351543 h 7571036"/>
                  <a:gd name="connsiteX10057" fmla="*/ 3718072 w 6994525"/>
                  <a:gd name="connsiteY10057" fmla="*/ 1388777 h 7571036"/>
                  <a:gd name="connsiteX10058" fmla="*/ 3755304 w 6994525"/>
                  <a:gd name="connsiteY10058" fmla="*/ 1351543 h 7571036"/>
                  <a:gd name="connsiteX10059" fmla="*/ 3756042 w 6994525"/>
                  <a:gd name="connsiteY10059" fmla="*/ 4946484 h 7571036"/>
                  <a:gd name="connsiteX10060" fmla="*/ 3726453 w 6994525"/>
                  <a:gd name="connsiteY10060" fmla="*/ 4916894 h 7571036"/>
                  <a:gd name="connsiteX10061" fmla="*/ 3696864 w 6994525"/>
                  <a:gd name="connsiteY10061" fmla="*/ 4946484 h 7571036"/>
                  <a:gd name="connsiteX10062" fmla="*/ 3726453 w 6994525"/>
                  <a:gd name="connsiteY10062" fmla="*/ 4976072 h 7571036"/>
                  <a:gd name="connsiteX10063" fmla="*/ 3756042 w 6994525"/>
                  <a:gd name="connsiteY10063" fmla="*/ 4946484 h 7571036"/>
                  <a:gd name="connsiteX10064" fmla="*/ 3759991 w 6994525"/>
                  <a:gd name="connsiteY10064" fmla="*/ 4394649 h 7571036"/>
                  <a:gd name="connsiteX10065" fmla="*/ 3721034 w 6994525"/>
                  <a:gd name="connsiteY10065" fmla="*/ 4355688 h 7571036"/>
                  <a:gd name="connsiteX10066" fmla="*/ 3682073 w 6994525"/>
                  <a:gd name="connsiteY10066" fmla="*/ 4394649 h 7571036"/>
                  <a:gd name="connsiteX10067" fmla="*/ 3721034 w 6994525"/>
                  <a:gd name="connsiteY10067" fmla="*/ 4433606 h 7571036"/>
                  <a:gd name="connsiteX10068" fmla="*/ 3759991 w 6994525"/>
                  <a:gd name="connsiteY10068" fmla="*/ 4394649 h 7571036"/>
                  <a:gd name="connsiteX10069" fmla="*/ 3766153 w 6994525"/>
                  <a:gd name="connsiteY10069" fmla="*/ 4506098 h 7571036"/>
                  <a:gd name="connsiteX10070" fmla="*/ 3721522 w 6994525"/>
                  <a:gd name="connsiteY10070" fmla="*/ 4461468 h 7571036"/>
                  <a:gd name="connsiteX10071" fmla="*/ 3676892 w 6994525"/>
                  <a:gd name="connsiteY10071" fmla="*/ 4506098 h 7571036"/>
                  <a:gd name="connsiteX10072" fmla="*/ 3721522 w 6994525"/>
                  <a:gd name="connsiteY10072" fmla="*/ 4550730 h 7571036"/>
                  <a:gd name="connsiteX10073" fmla="*/ 3766153 w 6994525"/>
                  <a:gd name="connsiteY10073" fmla="*/ 4506098 h 7571036"/>
                  <a:gd name="connsiteX10074" fmla="*/ 3769851 w 6994525"/>
                  <a:gd name="connsiteY10074" fmla="*/ 4282453 h 7571036"/>
                  <a:gd name="connsiteX10075" fmla="*/ 3721030 w 6994525"/>
                  <a:gd name="connsiteY10075" fmla="*/ 4233632 h 7571036"/>
                  <a:gd name="connsiteX10076" fmla="*/ 3672207 w 6994525"/>
                  <a:gd name="connsiteY10076" fmla="*/ 4282453 h 7571036"/>
                  <a:gd name="connsiteX10077" fmla="*/ 3721030 w 6994525"/>
                  <a:gd name="connsiteY10077" fmla="*/ 4331277 h 7571036"/>
                  <a:gd name="connsiteX10078" fmla="*/ 3769851 w 6994525"/>
                  <a:gd name="connsiteY10078" fmla="*/ 4282453 h 7571036"/>
                  <a:gd name="connsiteX10079" fmla="*/ 3771578 w 6994525"/>
                  <a:gd name="connsiteY10079" fmla="*/ 4837251 h 7571036"/>
                  <a:gd name="connsiteX10080" fmla="*/ 3723248 w 6994525"/>
                  <a:gd name="connsiteY10080" fmla="*/ 4788921 h 7571036"/>
                  <a:gd name="connsiteX10081" fmla="*/ 3674920 w 6994525"/>
                  <a:gd name="connsiteY10081" fmla="*/ 4837251 h 7571036"/>
                  <a:gd name="connsiteX10082" fmla="*/ 3723248 w 6994525"/>
                  <a:gd name="connsiteY10082" fmla="*/ 4885580 h 7571036"/>
                  <a:gd name="connsiteX10083" fmla="*/ 3771578 w 6994525"/>
                  <a:gd name="connsiteY10083" fmla="*/ 4837251 h 7571036"/>
                  <a:gd name="connsiteX10084" fmla="*/ 3772319 w 6994525"/>
                  <a:gd name="connsiteY10084" fmla="*/ 3173111 h 7571036"/>
                  <a:gd name="connsiteX10085" fmla="*/ 3755057 w 6994525"/>
                  <a:gd name="connsiteY10085" fmla="*/ 3155852 h 7571036"/>
                  <a:gd name="connsiteX10086" fmla="*/ 3737798 w 6994525"/>
                  <a:gd name="connsiteY10086" fmla="*/ 3173111 h 7571036"/>
                  <a:gd name="connsiteX10087" fmla="*/ 3755057 w 6994525"/>
                  <a:gd name="connsiteY10087" fmla="*/ 3190373 h 7571036"/>
                  <a:gd name="connsiteX10088" fmla="*/ 3772319 w 6994525"/>
                  <a:gd name="connsiteY10088" fmla="*/ 3173111 h 7571036"/>
                  <a:gd name="connsiteX10089" fmla="*/ 3784154 w 6994525"/>
                  <a:gd name="connsiteY10089" fmla="*/ 2239120 h 7571036"/>
                  <a:gd name="connsiteX10090" fmla="*/ 3776015 w 6994525"/>
                  <a:gd name="connsiteY10090" fmla="*/ 2230983 h 7571036"/>
                  <a:gd name="connsiteX10091" fmla="*/ 3767879 w 6994525"/>
                  <a:gd name="connsiteY10091" fmla="*/ 2239120 h 7571036"/>
                  <a:gd name="connsiteX10092" fmla="*/ 3776015 w 6994525"/>
                  <a:gd name="connsiteY10092" fmla="*/ 2247263 h 7571036"/>
                  <a:gd name="connsiteX10093" fmla="*/ 3784154 w 6994525"/>
                  <a:gd name="connsiteY10093" fmla="*/ 2239120 h 7571036"/>
                  <a:gd name="connsiteX10094" fmla="*/ 3792044 w 6994525"/>
                  <a:gd name="connsiteY10094" fmla="*/ 2127920 h 7571036"/>
                  <a:gd name="connsiteX10095" fmla="*/ 3775772 w 6994525"/>
                  <a:gd name="connsiteY10095" fmla="*/ 2111647 h 7571036"/>
                  <a:gd name="connsiteX10096" fmla="*/ 3759496 w 6994525"/>
                  <a:gd name="connsiteY10096" fmla="*/ 2127920 h 7571036"/>
                  <a:gd name="connsiteX10097" fmla="*/ 3775772 w 6994525"/>
                  <a:gd name="connsiteY10097" fmla="*/ 2144195 h 7571036"/>
                  <a:gd name="connsiteX10098" fmla="*/ 3792044 w 6994525"/>
                  <a:gd name="connsiteY10098" fmla="*/ 2127920 h 7571036"/>
                  <a:gd name="connsiteX10099" fmla="*/ 3792291 w 6994525"/>
                  <a:gd name="connsiteY10099" fmla="*/ 2690823 h 7571036"/>
                  <a:gd name="connsiteX10100" fmla="*/ 3776510 w 6994525"/>
                  <a:gd name="connsiteY10100" fmla="*/ 2675043 h 7571036"/>
                  <a:gd name="connsiteX10101" fmla="*/ 3760729 w 6994525"/>
                  <a:gd name="connsiteY10101" fmla="*/ 2690823 h 7571036"/>
                  <a:gd name="connsiteX10102" fmla="*/ 3776510 w 6994525"/>
                  <a:gd name="connsiteY10102" fmla="*/ 2706603 h 7571036"/>
                  <a:gd name="connsiteX10103" fmla="*/ 3792291 w 6994525"/>
                  <a:gd name="connsiteY10103" fmla="*/ 2690823 h 7571036"/>
                  <a:gd name="connsiteX10104" fmla="*/ 3800183 w 6994525"/>
                  <a:gd name="connsiteY10104" fmla="*/ 2806708 h 7571036"/>
                  <a:gd name="connsiteX10105" fmla="*/ 3775525 w 6994525"/>
                  <a:gd name="connsiteY10105" fmla="*/ 2782051 h 7571036"/>
                  <a:gd name="connsiteX10106" fmla="*/ 3751114 w 6994525"/>
                  <a:gd name="connsiteY10106" fmla="*/ 2806708 h 7571036"/>
                  <a:gd name="connsiteX10107" fmla="*/ 3775525 w 6994525"/>
                  <a:gd name="connsiteY10107" fmla="*/ 2831366 h 7571036"/>
                  <a:gd name="connsiteX10108" fmla="*/ 3800183 w 6994525"/>
                  <a:gd name="connsiteY10108" fmla="*/ 2806708 h 7571036"/>
                  <a:gd name="connsiteX10109" fmla="*/ 3802400 w 6994525"/>
                  <a:gd name="connsiteY10109" fmla="*/ 2350815 h 7571036"/>
                  <a:gd name="connsiteX10110" fmla="*/ 3776509 w 6994525"/>
                  <a:gd name="connsiteY10110" fmla="*/ 2324919 h 7571036"/>
                  <a:gd name="connsiteX10111" fmla="*/ 3750619 w 6994525"/>
                  <a:gd name="connsiteY10111" fmla="*/ 2350815 h 7571036"/>
                  <a:gd name="connsiteX10112" fmla="*/ 3776509 w 6994525"/>
                  <a:gd name="connsiteY10112" fmla="*/ 2376700 h 7571036"/>
                  <a:gd name="connsiteX10113" fmla="*/ 3802400 w 6994525"/>
                  <a:gd name="connsiteY10113" fmla="*/ 2350815 h 7571036"/>
                  <a:gd name="connsiteX10114" fmla="*/ 3809551 w 6994525"/>
                  <a:gd name="connsiteY10114" fmla="*/ 2576417 h 7571036"/>
                  <a:gd name="connsiteX10115" fmla="*/ 3777004 w 6994525"/>
                  <a:gd name="connsiteY10115" fmla="*/ 2543869 h 7571036"/>
                  <a:gd name="connsiteX10116" fmla="*/ 3744456 w 6994525"/>
                  <a:gd name="connsiteY10116" fmla="*/ 2576417 h 7571036"/>
                  <a:gd name="connsiteX10117" fmla="*/ 3777004 w 6994525"/>
                  <a:gd name="connsiteY10117" fmla="*/ 2608965 h 7571036"/>
                  <a:gd name="connsiteX10118" fmla="*/ 3809551 w 6994525"/>
                  <a:gd name="connsiteY10118" fmla="*/ 2576417 h 7571036"/>
                  <a:gd name="connsiteX10119" fmla="*/ 3811030 w 6994525"/>
                  <a:gd name="connsiteY10119" fmla="*/ 1030549 h 7571036"/>
                  <a:gd name="connsiteX10120" fmla="*/ 3777495 w 6994525"/>
                  <a:gd name="connsiteY10120" fmla="*/ 997016 h 7571036"/>
                  <a:gd name="connsiteX10121" fmla="*/ 3743962 w 6994525"/>
                  <a:gd name="connsiteY10121" fmla="*/ 1030549 h 7571036"/>
                  <a:gd name="connsiteX10122" fmla="*/ 3777495 w 6994525"/>
                  <a:gd name="connsiteY10122" fmla="*/ 1064085 h 7571036"/>
                  <a:gd name="connsiteX10123" fmla="*/ 3811030 w 6994525"/>
                  <a:gd name="connsiteY10123" fmla="*/ 1030549 h 7571036"/>
                  <a:gd name="connsiteX10124" fmla="*/ 3811770 w 6994525"/>
                  <a:gd name="connsiteY10124" fmla="*/ 812611 h 7571036"/>
                  <a:gd name="connsiteX10125" fmla="*/ 3777990 w 6994525"/>
                  <a:gd name="connsiteY10125" fmla="*/ 778830 h 7571036"/>
                  <a:gd name="connsiteX10126" fmla="*/ 3744210 w 6994525"/>
                  <a:gd name="connsiteY10126" fmla="*/ 812611 h 7571036"/>
                  <a:gd name="connsiteX10127" fmla="*/ 3777990 w 6994525"/>
                  <a:gd name="connsiteY10127" fmla="*/ 846393 h 7571036"/>
                  <a:gd name="connsiteX10128" fmla="*/ 3811770 w 6994525"/>
                  <a:gd name="connsiteY10128" fmla="*/ 812611 h 7571036"/>
                  <a:gd name="connsiteX10129" fmla="*/ 3813743 w 6994525"/>
                  <a:gd name="connsiteY10129" fmla="*/ 485427 h 7571036"/>
                  <a:gd name="connsiteX10130" fmla="*/ 3777003 w 6994525"/>
                  <a:gd name="connsiteY10130" fmla="*/ 448689 h 7571036"/>
                  <a:gd name="connsiteX10131" fmla="*/ 3740264 w 6994525"/>
                  <a:gd name="connsiteY10131" fmla="*/ 485427 h 7571036"/>
                  <a:gd name="connsiteX10132" fmla="*/ 3777003 w 6994525"/>
                  <a:gd name="connsiteY10132" fmla="*/ 522164 h 7571036"/>
                  <a:gd name="connsiteX10133" fmla="*/ 3813743 w 6994525"/>
                  <a:gd name="connsiteY10133" fmla="*/ 485427 h 7571036"/>
                  <a:gd name="connsiteX10134" fmla="*/ 3813988 w 6994525"/>
                  <a:gd name="connsiteY10134" fmla="*/ 921575 h 7571036"/>
                  <a:gd name="connsiteX10135" fmla="*/ 3777249 w 6994525"/>
                  <a:gd name="connsiteY10135" fmla="*/ 884838 h 7571036"/>
                  <a:gd name="connsiteX10136" fmla="*/ 3740510 w 6994525"/>
                  <a:gd name="connsiteY10136" fmla="*/ 921575 h 7571036"/>
                  <a:gd name="connsiteX10137" fmla="*/ 3777249 w 6994525"/>
                  <a:gd name="connsiteY10137" fmla="*/ 958075 h 7571036"/>
                  <a:gd name="connsiteX10138" fmla="*/ 3813988 w 6994525"/>
                  <a:gd name="connsiteY10138" fmla="*/ 921575 h 7571036"/>
                  <a:gd name="connsiteX10139" fmla="*/ 3813990 w 6994525"/>
                  <a:gd name="connsiteY10139" fmla="*/ 2462998 h 7571036"/>
                  <a:gd name="connsiteX10140" fmla="*/ 3776755 w 6994525"/>
                  <a:gd name="connsiteY10140" fmla="*/ 2425763 h 7571036"/>
                  <a:gd name="connsiteX10141" fmla="*/ 3739276 w 6994525"/>
                  <a:gd name="connsiteY10141" fmla="*/ 2462998 h 7571036"/>
                  <a:gd name="connsiteX10142" fmla="*/ 3776755 w 6994525"/>
                  <a:gd name="connsiteY10142" fmla="*/ 2500477 h 7571036"/>
                  <a:gd name="connsiteX10143" fmla="*/ 3813990 w 6994525"/>
                  <a:gd name="connsiteY10143" fmla="*/ 2462998 h 7571036"/>
                  <a:gd name="connsiteX10144" fmla="*/ 3814482 w 6994525"/>
                  <a:gd name="connsiteY10144" fmla="*/ 594391 h 7571036"/>
                  <a:gd name="connsiteX10145" fmla="*/ 3777250 w 6994525"/>
                  <a:gd name="connsiteY10145" fmla="*/ 557159 h 7571036"/>
                  <a:gd name="connsiteX10146" fmla="*/ 3740016 w 6994525"/>
                  <a:gd name="connsiteY10146" fmla="*/ 594391 h 7571036"/>
                  <a:gd name="connsiteX10147" fmla="*/ 3777250 w 6994525"/>
                  <a:gd name="connsiteY10147" fmla="*/ 631624 h 7571036"/>
                  <a:gd name="connsiteX10148" fmla="*/ 3814482 w 6994525"/>
                  <a:gd name="connsiteY10148" fmla="*/ 594391 h 7571036"/>
                  <a:gd name="connsiteX10149" fmla="*/ 3816207 w 6994525"/>
                  <a:gd name="connsiteY10149" fmla="*/ 703396 h 7571036"/>
                  <a:gd name="connsiteX10150" fmla="*/ 3777741 w 6994525"/>
                  <a:gd name="connsiteY10150" fmla="*/ 664929 h 7571036"/>
                  <a:gd name="connsiteX10151" fmla="*/ 3739276 w 6994525"/>
                  <a:gd name="connsiteY10151" fmla="*/ 703396 h 7571036"/>
                  <a:gd name="connsiteX10152" fmla="*/ 3777741 w 6994525"/>
                  <a:gd name="connsiteY10152" fmla="*/ 741866 h 7571036"/>
                  <a:gd name="connsiteX10153" fmla="*/ 3816207 w 6994525"/>
                  <a:gd name="connsiteY10153" fmla="*/ 703396 h 7571036"/>
                  <a:gd name="connsiteX10154" fmla="*/ 3817934 w 6994525"/>
                  <a:gd name="connsiteY10154" fmla="*/ 1140013 h 7571036"/>
                  <a:gd name="connsiteX10155" fmla="*/ 3777744 w 6994525"/>
                  <a:gd name="connsiteY10155" fmla="*/ 1099819 h 7571036"/>
                  <a:gd name="connsiteX10156" fmla="*/ 3737552 w 6994525"/>
                  <a:gd name="connsiteY10156" fmla="*/ 1140013 h 7571036"/>
                  <a:gd name="connsiteX10157" fmla="*/ 3777744 w 6994525"/>
                  <a:gd name="connsiteY10157" fmla="*/ 1180204 h 7571036"/>
                  <a:gd name="connsiteX10158" fmla="*/ 3817934 w 6994525"/>
                  <a:gd name="connsiteY10158" fmla="*/ 1140013 h 7571036"/>
                  <a:gd name="connsiteX10159" fmla="*/ 3818428 w 6994525"/>
                  <a:gd name="connsiteY10159" fmla="*/ 1248982 h 7571036"/>
                  <a:gd name="connsiteX10160" fmla="*/ 3777498 w 6994525"/>
                  <a:gd name="connsiteY10160" fmla="*/ 1207805 h 7571036"/>
                  <a:gd name="connsiteX10161" fmla="*/ 3736566 w 6994525"/>
                  <a:gd name="connsiteY10161" fmla="*/ 1248982 h 7571036"/>
                  <a:gd name="connsiteX10162" fmla="*/ 3777498 w 6994525"/>
                  <a:gd name="connsiteY10162" fmla="*/ 1290161 h 7571036"/>
                  <a:gd name="connsiteX10163" fmla="*/ 3818428 w 6994525"/>
                  <a:gd name="connsiteY10163" fmla="*/ 1248982 h 7571036"/>
                  <a:gd name="connsiteX10164" fmla="*/ 3818919 w 6994525"/>
                  <a:gd name="connsiteY10164" fmla="*/ 4004565 h 7571036"/>
                  <a:gd name="connsiteX10165" fmla="*/ 3816947 w 6994525"/>
                  <a:gd name="connsiteY10165" fmla="*/ 4002592 h 7571036"/>
                  <a:gd name="connsiteX10166" fmla="*/ 3814975 w 6994525"/>
                  <a:gd name="connsiteY10166" fmla="*/ 4004565 h 7571036"/>
                  <a:gd name="connsiteX10167" fmla="*/ 3816947 w 6994525"/>
                  <a:gd name="connsiteY10167" fmla="*/ 4006537 h 7571036"/>
                  <a:gd name="connsiteX10168" fmla="*/ 3818919 w 6994525"/>
                  <a:gd name="connsiteY10168" fmla="*/ 4004565 h 7571036"/>
                  <a:gd name="connsiteX10169" fmla="*/ 3824838 w 6994525"/>
                  <a:gd name="connsiteY10169" fmla="*/ 3877577 h 7571036"/>
                  <a:gd name="connsiteX10170" fmla="*/ 3809306 w 6994525"/>
                  <a:gd name="connsiteY10170" fmla="*/ 3862041 h 7571036"/>
                  <a:gd name="connsiteX10171" fmla="*/ 3793770 w 6994525"/>
                  <a:gd name="connsiteY10171" fmla="*/ 3877577 h 7571036"/>
                  <a:gd name="connsiteX10172" fmla="*/ 3809306 w 6994525"/>
                  <a:gd name="connsiteY10172" fmla="*/ 3893109 h 7571036"/>
                  <a:gd name="connsiteX10173" fmla="*/ 3824838 w 6994525"/>
                  <a:gd name="connsiteY10173" fmla="*/ 3877577 h 7571036"/>
                  <a:gd name="connsiteX10174" fmla="*/ 3828042 w 6994525"/>
                  <a:gd name="connsiteY10174" fmla="*/ 3077443 h 7571036"/>
                  <a:gd name="connsiteX10175" fmla="*/ 3809303 w 6994525"/>
                  <a:gd name="connsiteY10175" fmla="*/ 3058457 h 7571036"/>
                  <a:gd name="connsiteX10176" fmla="*/ 3790317 w 6994525"/>
                  <a:gd name="connsiteY10176" fmla="*/ 3077443 h 7571036"/>
                  <a:gd name="connsiteX10177" fmla="*/ 3809303 w 6994525"/>
                  <a:gd name="connsiteY10177" fmla="*/ 3096428 h 7571036"/>
                  <a:gd name="connsiteX10178" fmla="*/ 3828042 w 6994525"/>
                  <a:gd name="connsiteY10178" fmla="*/ 3077443 h 7571036"/>
                  <a:gd name="connsiteX10179" fmla="*/ 3837660 w 6994525"/>
                  <a:gd name="connsiteY10179" fmla="*/ 3259905 h 7571036"/>
                  <a:gd name="connsiteX10180" fmla="*/ 3830018 w 6994525"/>
                  <a:gd name="connsiteY10180" fmla="*/ 3252261 h 7571036"/>
                  <a:gd name="connsiteX10181" fmla="*/ 3822619 w 6994525"/>
                  <a:gd name="connsiteY10181" fmla="*/ 3259905 h 7571036"/>
                  <a:gd name="connsiteX10182" fmla="*/ 3830018 w 6994525"/>
                  <a:gd name="connsiteY10182" fmla="*/ 3267547 h 7571036"/>
                  <a:gd name="connsiteX10183" fmla="*/ 3837660 w 6994525"/>
                  <a:gd name="connsiteY10183" fmla="*/ 3259905 h 7571036"/>
                  <a:gd name="connsiteX10184" fmla="*/ 3837906 w 6994525"/>
                  <a:gd name="connsiteY10184" fmla="*/ 1697205 h 7571036"/>
                  <a:gd name="connsiteX10185" fmla="*/ 3834209 w 6994525"/>
                  <a:gd name="connsiteY10185" fmla="*/ 1693509 h 7571036"/>
                  <a:gd name="connsiteX10186" fmla="*/ 3830510 w 6994525"/>
                  <a:gd name="connsiteY10186" fmla="*/ 1697205 h 7571036"/>
                  <a:gd name="connsiteX10187" fmla="*/ 3834209 w 6994525"/>
                  <a:gd name="connsiteY10187" fmla="*/ 1700903 h 7571036"/>
                  <a:gd name="connsiteX10188" fmla="*/ 3837906 w 6994525"/>
                  <a:gd name="connsiteY10188" fmla="*/ 1697205 h 7571036"/>
                  <a:gd name="connsiteX10189" fmla="*/ 3841359 w 6994525"/>
                  <a:gd name="connsiteY10189" fmla="*/ 5035005 h 7571036"/>
                  <a:gd name="connsiteX10190" fmla="*/ 3840868 w 6994525"/>
                  <a:gd name="connsiteY10190" fmla="*/ 5034510 h 7571036"/>
                  <a:gd name="connsiteX10191" fmla="*/ 3840373 w 6994525"/>
                  <a:gd name="connsiteY10191" fmla="*/ 5035005 h 7571036"/>
                  <a:gd name="connsiteX10192" fmla="*/ 3840868 w 6994525"/>
                  <a:gd name="connsiteY10192" fmla="*/ 5035497 h 7571036"/>
                  <a:gd name="connsiteX10193" fmla="*/ 3841359 w 6994525"/>
                  <a:gd name="connsiteY10193" fmla="*/ 5035005 h 7571036"/>
                  <a:gd name="connsiteX10194" fmla="*/ 3842840 w 6994525"/>
                  <a:gd name="connsiteY10194" fmla="*/ 5256429 h 7571036"/>
                  <a:gd name="connsiteX10195" fmla="*/ 3841853 w 6994525"/>
                  <a:gd name="connsiteY10195" fmla="*/ 5255442 h 7571036"/>
                  <a:gd name="connsiteX10196" fmla="*/ 3840868 w 6994525"/>
                  <a:gd name="connsiteY10196" fmla="*/ 5256429 h 7571036"/>
                  <a:gd name="connsiteX10197" fmla="*/ 3841853 w 6994525"/>
                  <a:gd name="connsiteY10197" fmla="*/ 5257414 h 7571036"/>
                  <a:gd name="connsiteX10198" fmla="*/ 3842840 w 6994525"/>
                  <a:gd name="connsiteY10198" fmla="*/ 5256429 h 7571036"/>
                  <a:gd name="connsiteX10199" fmla="*/ 3844072 w 6994525"/>
                  <a:gd name="connsiteY10199" fmla="*/ 5476867 h 7571036"/>
                  <a:gd name="connsiteX10200" fmla="*/ 3842591 w 6994525"/>
                  <a:gd name="connsiteY10200" fmla="*/ 5475388 h 7571036"/>
                  <a:gd name="connsiteX10201" fmla="*/ 3841113 w 6994525"/>
                  <a:gd name="connsiteY10201" fmla="*/ 5476867 h 7571036"/>
                  <a:gd name="connsiteX10202" fmla="*/ 3842591 w 6994525"/>
                  <a:gd name="connsiteY10202" fmla="*/ 5478348 h 7571036"/>
                  <a:gd name="connsiteX10203" fmla="*/ 3844072 w 6994525"/>
                  <a:gd name="connsiteY10203" fmla="*/ 5476867 h 7571036"/>
                  <a:gd name="connsiteX10204" fmla="*/ 3844565 w 6994525"/>
                  <a:gd name="connsiteY10204" fmla="*/ 6134979 h 7571036"/>
                  <a:gd name="connsiteX10205" fmla="*/ 3842345 w 6994525"/>
                  <a:gd name="connsiteY10205" fmla="*/ 6132760 h 7571036"/>
                  <a:gd name="connsiteX10206" fmla="*/ 3839879 w 6994525"/>
                  <a:gd name="connsiteY10206" fmla="*/ 6134979 h 7571036"/>
                  <a:gd name="connsiteX10207" fmla="*/ 3842345 w 6994525"/>
                  <a:gd name="connsiteY10207" fmla="*/ 6137446 h 7571036"/>
                  <a:gd name="connsiteX10208" fmla="*/ 3844565 w 6994525"/>
                  <a:gd name="connsiteY10208" fmla="*/ 6134979 h 7571036"/>
                  <a:gd name="connsiteX10209" fmla="*/ 3844565 w 6994525"/>
                  <a:gd name="connsiteY10209" fmla="*/ 6244462 h 7571036"/>
                  <a:gd name="connsiteX10210" fmla="*/ 3842345 w 6994525"/>
                  <a:gd name="connsiteY10210" fmla="*/ 6241994 h 7571036"/>
                  <a:gd name="connsiteX10211" fmla="*/ 3839879 w 6994525"/>
                  <a:gd name="connsiteY10211" fmla="*/ 6244462 h 7571036"/>
                  <a:gd name="connsiteX10212" fmla="*/ 3842345 w 6994525"/>
                  <a:gd name="connsiteY10212" fmla="*/ 6246680 h 7571036"/>
                  <a:gd name="connsiteX10213" fmla="*/ 3844565 w 6994525"/>
                  <a:gd name="connsiteY10213" fmla="*/ 6244462 h 7571036"/>
                  <a:gd name="connsiteX10214" fmla="*/ 3844565 w 6994525"/>
                  <a:gd name="connsiteY10214" fmla="*/ 6462926 h 7571036"/>
                  <a:gd name="connsiteX10215" fmla="*/ 3842591 w 6994525"/>
                  <a:gd name="connsiteY10215" fmla="*/ 6460952 h 7571036"/>
                  <a:gd name="connsiteX10216" fmla="*/ 3840619 w 6994525"/>
                  <a:gd name="connsiteY10216" fmla="*/ 6462926 h 7571036"/>
                  <a:gd name="connsiteX10217" fmla="*/ 3842591 w 6994525"/>
                  <a:gd name="connsiteY10217" fmla="*/ 6464898 h 7571036"/>
                  <a:gd name="connsiteX10218" fmla="*/ 3844565 w 6994525"/>
                  <a:gd name="connsiteY10218" fmla="*/ 6462926 h 7571036"/>
                  <a:gd name="connsiteX10219" fmla="*/ 3844567 w 6994525"/>
                  <a:gd name="connsiteY10219" fmla="*/ 6353446 h 7571036"/>
                  <a:gd name="connsiteX10220" fmla="*/ 3842595 w 6994525"/>
                  <a:gd name="connsiteY10220" fmla="*/ 6351719 h 7571036"/>
                  <a:gd name="connsiteX10221" fmla="*/ 3840868 w 6994525"/>
                  <a:gd name="connsiteY10221" fmla="*/ 6353446 h 7571036"/>
                  <a:gd name="connsiteX10222" fmla="*/ 3842595 w 6994525"/>
                  <a:gd name="connsiteY10222" fmla="*/ 6355419 h 7571036"/>
                  <a:gd name="connsiteX10223" fmla="*/ 3844567 w 6994525"/>
                  <a:gd name="connsiteY10223" fmla="*/ 6353446 h 7571036"/>
                  <a:gd name="connsiteX10224" fmla="*/ 3846537 w 6994525"/>
                  <a:gd name="connsiteY10224" fmla="*/ 6790132 h 7571036"/>
                  <a:gd name="connsiteX10225" fmla="*/ 3844070 w 6994525"/>
                  <a:gd name="connsiteY10225" fmla="*/ 6787665 h 7571036"/>
                  <a:gd name="connsiteX10226" fmla="*/ 3841605 w 6994525"/>
                  <a:gd name="connsiteY10226" fmla="*/ 6790132 h 7571036"/>
                  <a:gd name="connsiteX10227" fmla="*/ 3844070 w 6994525"/>
                  <a:gd name="connsiteY10227" fmla="*/ 6792597 h 7571036"/>
                  <a:gd name="connsiteX10228" fmla="*/ 3846537 w 6994525"/>
                  <a:gd name="connsiteY10228" fmla="*/ 6790132 h 7571036"/>
                  <a:gd name="connsiteX10229" fmla="*/ 3846785 w 6994525"/>
                  <a:gd name="connsiteY10229" fmla="*/ 6025254 h 7571036"/>
                  <a:gd name="connsiteX10230" fmla="*/ 3843827 w 6994525"/>
                  <a:gd name="connsiteY10230" fmla="*/ 6022294 h 7571036"/>
                  <a:gd name="connsiteX10231" fmla="*/ 3840868 w 6994525"/>
                  <a:gd name="connsiteY10231" fmla="*/ 6025254 h 7571036"/>
                  <a:gd name="connsiteX10232" fmla="*/ 3843827 w 6994525"/>
                  <a:gd name="connsiteY10232" fmla="*/ 6028212 h 7571036"/>
                  <a:gd name="connsiteX10233" fmla="*/ 3846785 w 6994525"/>
                  <a:gd name="connsiteY10233" fmla="*/ 6025254 h 7571036"/>
                  <a:gd name="connsiteX10234" fmla="*/ 3847031 w 6994525"/>
                  <a:gd name="connsiteY10234" fmla="*/ 1807924 h 7571036"/>
                  <a:gd name="connsiteX10235" fmla="*/ 3834947 w 6994525"/>
                  <a:gd name="connsiteY10235" fmla="*/ 1795846 h 7571036"/>
                  <a:gd name="connsiteX10236" fmla="*/ 3822866 w 6994525"/>
                  <a:gd name="connsiteY10236" fmla="*/ 1807924 h 7571036"/>
                  <a:gd name="connsiteX10237" fmla="*/ 3834947 w 6994525"/>
                  <a:gd name="connsiteY10237" fmla="*/ 1820008 h 7571036"/>
                  <a:gd name="connsiteX10238" fmla="*/ 3847031 w 6994525"/>
                  <a:gd name="connsiteY10238" fmla="*/ 1807924 h 7571036"/>
                  <a:gd name="connsiteX10239" fmla="*/ 3847278 w 6994525"/>
                  <a:gd name="connsiteY10239" fmla="*/ 6898872 h 7571036"/>
                  <a:gd name="connsiteX10240" fmla="*/ 3844567 w 6994525"/>
                  <a:gd name="connsiteY10240" fmla="*/ 6896159 h 7571036"/>
                  <a:gd name="connsiteX10241" fmla="*/ 3842100 w 6994525"/>
                  <a:gd name="connsiteY10241" fmla="*/ 6898872 h 7571036"/>
                  <a:gd name="connsiteX10242" fmla="*/ 3844567 w 6994525"/>
                  <a:gd name="connsiteY10242" fmla="*/ 6901585 h 7571036"/>
                  <a:gd name="connsiteX10243" fmla="*/ 3847278 w 6994525"/>
                  <a:gd name="connsiteY10243" fmla="*/ 6898872 h 7571036"/>
                  <a:gd name="connsiteX10244" fmla="*/ 3847523 w 6994525"/>
                  <a:gd name="connsiteY10244" fmla="*/ 5366649 h 7571036"/>
                  <a:gd name="connsiteX10245" fmla="*/ 3842840 w 6994525"/>
                  <a:gd name="connsiteY10245" fmla="*/ 5361963 h 7571036"/>
                  <a:gd name="connsiteX10246" fmla="*/ 3838155 w 6994525"/>
                  <a:gd name="connsiteY10246" fmla="*/ 5366649 h 7571036"/>
                  <a:gd name="connsiteX10247" fmla="*/ 3842840 w 6994525"/>
                  <a:gd name="connsiteY10247" fmla="*/ 5371335 h 7571036"/>
                  <a:gd name="connsiteX10248" fmla="*/ 3847523 w 6994525"/>
                  <a:gd name="connsiteY10248" fmla="*/ 5366649 h 7571036"/>
                  <a:gd name="connsiteX10249" fmla="*/ 3847525 w 6994525"/>
                  <a:gd name="connsiteY10249" fmla="*/ 6680898 h 7571036"/>
                  <a:gd name="connsiteX10250" fmla="*/ 3844813 w 6994525"/>
                  <a:gd name="connsiteY10250" fmla="*/ 6678185 h 7571036"/>
                  <a:gd name="connsiteX10251" fmla="*/ 3842100 w 6994525"/>
                  <a:gd name="connsiteY10251" fmla="*/ 6680898 h 7571036"/>
                  <a:gd name="connsiteX10252" fmla="*/ 3844813 w 6994525"/>
                  <a:gd name="connsiteY10252" fmla="*/ 6683611 h 7571036"/>
                  <a:gd name="connsiteX10253" fmla="*/ 3847525 w 6994525"/>
                  <a:gd name="connsiteY10253" fmla="*/ 6680898 h 7571036"/>
                  <a:gd name="connsiteX10254" fmla="*/ 3847771 w 6994525"/>
                  <a:gd name="connsiteY10254" fmla="*/ 5806049 h 7571036"/>
                  <a:gd name="connsiteX10255" fmla="*/ 3845304 w 6994525"/>
                  <a:gd name="connsiteY10255" fmla="*/ 5803581 h 7571036"/>
                  <a:gd name="connsiteX10256" fmla="*/ 3842840 w 6994525"/>
                  <a:gd name="connsiteY10256" fmla="*/ 5806049 h 7571036"/>
                  <a:gd name="connsiteX10257" fmla="*/ 3845304 w 6994525"/>
                  <a:gd name="connsiteY10257" fmla="*/ 5808513 h 7571036"/>
                  <a:gd name="connsiteX10258" fmla="*/ 3847771 w 6994525"/>
                  <a:gd name="connsiteY10258" fmla="*/ 5806049 h 7571036"/>
                  <a:gd name="connsiteX10259" fmla="*/ 3847771 w 6994525"/>
                  <a:gd name="connsiteY10259" fmla="*/ 6571665 h 7571036"/>
                  <a:gd name="connsiteX10260" fmla="*/ 3845059 w 6994525"/>
                  <a:gd name="connsiteY10260" fmla="*/ 6568952 h 7571036"/>
                  <a:gd name="connsiteX10261" fmla="*/ 3842345 w 6994525"/>
                  <a:gd name="connsiteY10261" fmla="*/ 6571665 h 7571036"/>
                  <a:gd name="connsiteX10262" fmla="*/ 3845059 w 6994525"/>
                  <a:gd name="connsiteY10262" fmla="*/ 6574378 h 7571036"/>
                  <a:gd name="connsiteX10263" fmla="*/ 3847771 w 6994525"/>
                  <a:gd name="connsiteY10263" fmla="*/ 6571665 h 7571036"/>
                  <a:gd name="connsiteX10264" fmla="*/ 3848017 w 6994525"/>
                  <a:gd name="connsiteY10264" fmla="*/ 7007856 h 7571036"/>
                  <a:gd name="connsiteX10265" fmla="*/ 3844563 w 6994525"/>
                  <a:gd name="connsiteY10265" fmla="*/ 7004403 h 7571036"/>
                  <a:gd name="connsiteX10266" fmla="*/ 3841113 w 6994525"/>
                  <a:gd name="connsiteY10266" fmla="*/ 7007856 h 7571036"/>
                  <a:gd name="connsiteX10267" fmla="*/ 3844563 w 6994525"/>
                  <a:gd name="connsiteY10267" fmla="*/ 7011307 h 7571036"/>
                  <a:gd name="connsiteX10268" fmla="*/ 3848017 w 6994525"/>
                  <a:gd name="connsiteY10268" fmla="*/ 7007856 h 7571036"/>
                  <a:gd name="connsiteX10269" fmla="*/ 3848509 w 6994525"/>
                  <a:gd name="connsiteY10269" fmla="*/ 4700894 h 7571036"/>
                  <a:gd name="connsiteX10270" fmla="*/ 3835192 w 6994525"/>
                  <a:gd name="connsiteY10270" fmla="*/ 4687577 h 7571036"/>
                  <a:gd name="connsiteX10271" fmla="*/ 3821879 w 6994525"/>
                  <a:gd name="connsiteY10271" fmla="*/ 4700894 h 7571036"/>
                  <a:gd name="connsiteX10272" fmla="*/ 3835192 w 6994525"/>
                  <a:gd name="connsiteY10272" fmla="*/ 4714207 h 7571036"/>
                  <a:gd name="connsiteX10273" fmla="*/ 3848509 w 6994525"/>
                  <a:gd name="connsiteY10273" fmla="*/ 4700894 h 7571036"/>
                  <a:gd name="connsiteX10274" fmla="*/ 3848511 w 6994525"/>
                  <a:gd name="connsiteY10274" fmla="*/ 7116845 h 7571036"/>
                  <a:gd name="connsiteX10275" fmla="*/ 3844812 w 6994525"/>
                  <a:gd name="connsiteY10275" fmla="*/ 7113145 h 7571036"/>
                  <a:gd name="connsiteX10276" fmla="*/ 3841113 w 6994525"/>
                  <a:gd name="connsiteY10276" fmla="*/ 7116845 h 7571036"/>
                  <a:gd name="connsiteX10277" fmla="*/ 3844812 w 6994525"/>
                  <a:gd name="connsiteY10277" fmla="*/ 7120543 h 7571036"/>
                  <a:gd name="connsiteX10278" fmla="*/ 3848511 w 6994525"/>
                  <a:gd name="connsiteY10278" fmla="*/ 7116845 h 7571036"/>
                  <a:gd name="connsiteX10279" fmla="*/ 3849250 w 6994525"/>
                  <a:gd name="connsiteY10279" fmla="*/ 7225829 h 7571036"/>
                  <a:gd name="connsiteX10280" fmla="*/ 3845059 w 6994525"/>
                  <a:gd name="connsiteY10280" fmla="*/ 7221638 h 7571036"/>
                  <a:gd name="connsiteX10281" fmla="*/ 3840868 w 6994525"/>
                  <a:gd name="connsiteY10281" fmla="*/ 7225829 h 7571036"/>
                  <a:gd name="connsiteX10282" fmla="*/ 3845059 w 6994525"/>
                  <a:gd name="connsiteY10282" fmla="*/ 7230020 h 7571036"/>
                  <a:gd name="connsiteX10283" fmla="*/ 3849250 w 6994525"/>
                  <a:gd name="connsiteY10283" fmla="*/ 7225829 h 7571036"/>
                  <a:gd name="connsiteX10284" fmla="*/ 3849495 w 6994525"/>
                  <a:gd name="connsiteY10284" fmla="*/ 5696319 h 7571036"/>
                  <a:gd name="connsiteX10285" fmla="*/ 3845551 w 6994525"/>
                  <a:gd name="connsiteY10285" fmla="*/ 5692374 h 7571036"/>
                  <a:gd name="connsiteX10286" fmla="*/ 3841605 w 6994525"/>
                  <a:gd name="connsiteY10286" fmla="*/ 5696319 h 7571036"/>
                  <a:gd name="connsiteX10287" fmla="*/ 3845551 w 6994525"/>
                  <a:gd name="connsiteY10287" fmla="*/ 5700019 h 7571036"/>
                  <a:gd name="connsiteX10288" fmla="*/ 3849495 w 6994525"/>
                  <a:gd name="connsiteY10288" fmla="*/ 5696319 h 7571036"/>
                  <a:gd name="connsiteX10289" fmla="*/ 3849496 w 6994525"/>
                  <a:gd name="connsiteY10289" fmla="*/ 5915774 h 7571036"/>
                  <a:gd name="connsiteX10290" fmla="*/ 3844073 w 6994525"/>
                  <a:gd name="connsiteY10290" fmla="*/ 5910348 h 7571036"/>
                  <a:gd name="connsiteX10291" fmla="*/ 3838647 w 6994525"/>
                  <a:gd name="connsiteY10291" fmla="*/ 5915774 h 7571036"/>
                  <a:gd name="connsiteX10292" fmla="*/ 3844073 w 6994525"/>
                  <a:gd name="connsiteY10292" fmla="*/ 5921197 h 7571036"/>
                  <a:gd name="connsiteX10293" fmla="*/ 3849496 w 6994525"/>
                  <a:gd name="connsiteY10293" fmla="*/ 5915774 h 7571036"/>
                  <a:gd name="connsiteX10294" fmla="*/ 3850484 w 6994525"/>
                  <a:gd name="connsiteY10294" fmla="*/ 7443311 h 7571036"/>
                  <a:gd name="connsiteX10295" fmla="*/ 3846785 w 6994525"/>
                  <a:gd name="connsiteY10295" fmla="*/ 7439611 h 7571036"/>
                  <a:gd name="connsiteX10296" fmla="*/ 3843087 w 6994525"/>
                  <a:gd name="connsiteY10296" fmla="*/ 7443311 h 7571036"/>
                  <a:gd name="connsiteX10297" fmla="*/ 3846785 w 6994525"/>
                  <a:gd name="connsiteY10297" fmla="*/ 7447007 h 7571036"/>
                  <a:gd name="connsiteX10298" fmla="*/ 3850484 w 6994525"/>
                  <a:gd name="connsiteY10298" fmla="*/ 7443311 h 7571036"/>
                  <a:gd name="connsiteX10299" fmla="*/ 3850976 w 6994525"/>
                  <a:gd name="connsiteY10299" fmla="*/ 7552295 h 7571036"/>
                  <a:gd name="connsiteX10300" fmla="*/ 3847032 w 6994525"/>
                  <a:gd name="connsiteY10300" fmla="*/ 7548350 h 7571036"/>
                  <a:gd name="connsiteX10301" fmla="*/ 3843087 w 6994525"/>
                  <a:gd name="connsiteY10301" fmla="*/ 7552295 h 7571036"/>
                  <a:gd name="connsiteX10302" fmla="*/ 3847032 w 6994525"/>
                  <a:gd name="connsiteY10302" fmla="*/ 7556241 h 7571036"/>
                  <a:gd name="connsiteX10303" fmla="*/ 3850976 w 6994525"/>
                  <a:gd name="connsiteY10303" fmla="*/ 7552295 h 7571036"/>
                  <a:gd name="connsiteX10304" fmla="*/ 3851222 w 6994525"/>
                  <a:gd name="connsiteY10304" fmla="*/ 7334569 h 7571036"/>
                  <a:gd name="connsiteX10305" fmla="*/ 3846782 w 6994525"/>
                  <a:gd name="connsiteY10305" fmla="*/ 7330132 h 7571036"/>
                  <a:gd name="connsiteX10306" fmla="*/ 3842345 w 6994525"/>
                  <a:gd name="connsiteY10306" fmla="*/ 7334569 h 7571036"/>
                  <a:gd name="connsiteX10307" fmla="*/ 3846782 w 6994525"/>
                  <a:gd name="connsiteY10307" fmla="*/ 7339009 h 7571036"/>
                  <a:gd name="connsiteX10308" fmla="*/ 3851222 w 6994525"/>
                  <a:gd name="connsiteY10308" fmla="*/ 7334569 h 7571036"/>
                  <a:gd name="connsiteX10309" fmla="*/ 3852454 w 6994525"/>
                  <a:gd name="connsiteY10309" fmla="*/ 4588208 h 7571036"/>
                  <a:gd name="connsiteX10310" fmla="*/ 3834209 w 6994525"/>
                  <a:gd name="connsiteY10310" fmla="*/ 4569962 h 7571036"/>
                  <a:gd name="connsiteX10311" fmla="*/ 3815962 w 6994525"/>
                  <a:gd name="connsiteY10311" fmla="*/ 4588208 h 7571036"/>
                  <a:gd name="connsiteX10312" fmla="*/ 3834209 w 6994525"/>
                  <a:gd name="connsiteY10312" fmla="*/ 4606456 h 7571036"/>
                  <a:gd name="connsiteX10313" fmla="*/ 3852454 w 6994525"/>
                  <a:gd name="connsiteY10313" fmla="*/ 4588208 h 7571036"/>
                  <a:gd name="connsiteX10314" fmla="*/ 3853934 w 6994525"/>
                  <a:gd name="connsiteY10314" fmla="*/ 4122180 h 7571036"/>
                  <a:gd name="connsiteX10315" fmla="*/ 3829523 w 6994525"/>
                  <a:gd name="connsiteY10315" fmla="*/ 4097769 h 7571036"/>
                  <a:gd name="connsiteX10316" fmla="*/ 3805112 w 6994525"/>
                  <a:gd name="connsiteY10316" fmla="*/ 4122180 h 7571036"/>
                  <a:gd name="connsiteX10317" fmla="*/ 3829523 w 6994525"/>
                  <a:gd name="connsiteY10317" fmla="*/ 4146589 h 7571036"/>
                  <a:gd name="connsiteX10318" fmla="*/ 3853934 w 6994525"/>
                  <a:gd name="connsiteY10318" fmla="*/ 4122180 h 7571036"/>
                  <a:gd name="connsiteX10319" fmla="*/ 3854675 w 6994525"/>
                  <a:gd name="connsiteY10319" fmla="*/ 1919098 h 7571036"/>
                  <a:gd name="connsiteX10320" fmla="*/ 3835442 w 6994525"/>
                  <a:gd name="connsiteY10320" fmla="*/ 1899870 h 7571036"/>
                  <a:gd name="connsiteX10321" fmla="*/ 3816210 w 6994525"/>
                  <a:gd name="connsiteY10321" fmla="*/ 1919098 h 7571036"/>
                  <a:gd name="connsiteX10322" fmla="*/ 3835442 w 6994525"/>
                  <a:gd name="connsiteY10322" fmla="*/ 1938329 h 7571036"/>
                  <a:gd name="connsiteX10323" fmla="*/ 3854675 w 6994525"/>
                  <a:gd name="connsiteY10323" fmla="*/ 1919098 h 7571036"/>
                  <a:gd name="connsiteX10324" fmla="*/ 3856893 w 6994525"/>
                  <a:gd name="connsiteY10324" fmla="*/ 2950213 h 7571036"/>
                  <a:gd name="connsiteX10325" fmla="*/ 3816702 w 6994525"/>
                  <a:gd name="connsiteY10325" fmla="*/ 2910021 h 7571036"/>
                  <a:gd name="connsiteX10326" fmla="*/ 3776510 w 6994525"/>
                  <a:gd name="connsiteY10326" fmla="*/ 2950213 h 7571036"/>
                  <a:gd name="connsiteX10327" fmla="*/ 3816702 w 6994525"/>
                  <a:gd name="connsiteY10327" fmla="*/ 2990403 h 7571036"/>
                  <a:gd name="connsiteX10328" fmla="*/ 3856893 w 6994525"/>
                  <a:gd name="connsiteY10328" fmla="*/ 2950213 h 7571036"/>
                  <a:gd name="connsiteX10329" fmla="*/ 3861823 w 6994525"/>
                  <a:gd name="connsiteY10329" fmla="*/ 2030277 h 7571036"/>
                  <a:gd name="connsiteX10330" fmla="*/ 3835933 w 6994525"/>
                  <a:gd name="connsiteY10330" fmla="*/ 2004388 h 7571036"/>
                  <a:gd name="connsiteX10331" fmla="*/ 3810044 w 6994525"/>
                  <a:gd name="connsiteY10331" fmla="*/ 2030277 h 7571036"/>
                  <a:gd name="connsiteX10332" fmla="*/ 3835933 w 6994525"/>
                  <a:gd name="connsiteY10332" fmla="*/ 2056168 h 7571036"/>
                  <a:gd name="connsiteX10333" fmla="*/ 3861823 w 6994525"/>
                  <a:gd name="connsiteY10333" fmla="*/ 2030277 h 7571036"/>
                  <a:gd name="connsiteX10334" fmla="*/ 3862317 w 6994525"/>
                  <a:gd name="connsiteY10334" fmla="*/ 5145963 h 7571036"/>
                  <a:gd name="connsiteX10335" fmla="*/ 3841359 w 6994525"/>
                  <a:gd name="connsiteY10335" fmla="*/ 5125005 h 7571036"/>
                  <a:gd name="connsiteX10336" fmla="*/ 3820401 w 6994525"/>
                  <a:gd name="connsiteY10336" fmla="*/ 5145963 h 7571036"/>
                  <a:gd name="connsiteX10337" fmla="*/ 3841359 w 6994525"/>
                  <a:gd name="connsiteY10337" fmla="*/ 5166675 h 7571036"/>
                  <a:gd name="connsiteX10338" fmla="*/ 3862317 w 6994525"/>
                  <a:gd name="connsiteY10338" fmla="*/ 5145963 h 7571036"/>
                  <a:gd name="connsiteX10339" fmla="*/ 3863796 w 6994525"/>
                  <a:gd name="connsiteY10339" fmla="*/ 1586748 h 7571036"/>
                  <a:gd name="connsiteX10340" fmla="*/ 3833469 w 6994525"/>
                  <a:gd name="connsiteY10340" fmla="*/ 1556424 h 7571036"/>
                  <a:gd name="connsiteX10341" fmla="*/ 3803139 w 6994525"/>
                  <a:gd name="connsiteY10341" fmla="*/ 1586748 h 7571036"/>
                  <a:gd name="connsiteX10342" fmla="*/ 3833469 w 6994525"/>
                  <a:gd name="connsiteY10342" fmla="*/ 1617079 h 7571036"/>
                  <a:gd name="connsiteX10343" fmla="*/ 3863796 w 6994525"/>
                  <a:gd name="connsiteY10343" fmla="*/ 1586748 h 7571036"/>
                  <a:gd name="connsiteX10344" fmla="*/ 3868481 w 6994525"/>
                  <a:gd name="connsiteY10344" fmla="*/ 55493 h 7571036"/>
                  <a:gd name="connsiteX10345" fmla="*/ 3835195 w 6994525"/>
                  <a:gd name="connsiteY10345" fmla="*/ 22205 h 7571036"/>
                  <a:gd name="connsiteX10346" fmla="*/ 3801907 w 6994525"/>
                  <a:gd name="connsiteY10346" fmla="*/ 55493 h 7571036"/>
                  <a:gd name="connsiteX10347" fmla="*/ 3835195 w 6994525"/>
                  <a:gd name="connsiteY10347" fmla="*/ 88779 h 7571036"/>
                  <a:gd name="connsiteX10348" fmla="*/ 3868481 w 6994525"/>
                  <a:gd name="connsiteY10348" fmla="*/ 55493 h 7571036"/>
                  <a:gd name="connsiteX10349" fmla="*/ 3868484 w 6994525"/>
                  <a:gd name="connsiteY10349" fmla="*/ 273413 h 7571036"/>
                  <a:gd name="connsiteX10350" fmla="*/ 3835688 w 6994525"/>
                  <a:gd name="connsiteY10350" fmla="*/ 240621 h 7571036"/>
                  <a:gd name="connsiteX10351" fmla="*/ 3802894 w 6994525"/>
                  <a:gd name="connsiteY10351" fmla="*/ 273413 h 7571036"/>
                  <a:gd name="connsiteX10352" fmla="*/ 3835688 w 6994525"/>
                  <a:gd name="connsiteY10352" fmla="*/ 306206 h 7571036"/>
                  <a:gd name="connsiteX10353" fmla="*/ 3868484 w 6994525"/>
                  <a:gd name="connsiteY10353" fmla="*/ 273413 h 7571036"/>
                  <a:gd name="connsiteX10354" fmla="*/ 3868728 w 6994525"/>
                  <a:gd name="connsiteY10354" fmla="*/ 382625 h 7571036"/>
                  <a:gd name="connsiteX10355" fmla="*/ 3835933 w 6994525"/>
                  <a:gd name="connsiteY10355" fmla="*/ 349832 h 7571036"/>
                  <a:gd name="connsiteX10356" fmla="*/ 3803139 w 6994525"/>
                  <a:gd name="connsiteY10356" fmla="*/ 382625 h 7571036"/>
                  <a:gd name="connsiteX10357" fmla="*/ 3835933 w 6994525"/>
                  <a:gd name="connsiteY10357" fmla="*/ 415418 h 7571036"/>
                  <a:gd name="connsiteX10358" fmla="*/ 3868728 w 6994525"/>
                  <a:gd name="connsiteY10358" fmla="*/ 382625 h 7571036"/>
                  <a:gd name="connsiteX10359" fmla="*/ 3870208 w 6994525"/>
                  <a:gd name="connsiteY10359" fmla="*/ 164453 h 7571036"/>
                  <a:gd name="connsiteX10360" fmla="*/ 3835688 w 6994525"/>
                  <a:gd name="connsiteY10360" fmla="*/ 129933 h 7571036"/>
                  <a:gd name="connsiteX10361" fmla="*/ 3801167 w 6994525"/>
                  <a:gd name="connsiteY10361" fmla="*/ 164453 h 7571036"/>
                  <a:gd name="connsiteX10362" fmla="*/ 3835688 w 6994525"/>
                  <a:gd name="connsiteY10362" fmla="*/ 198971 h 7571036"/>
                  <a:gd name="connsiteX10363" fmla="*/ 3870208 w 6994525"/>
                  <a:gd name="connsiteY10363" fmla="*/ 164453 h 7571036"/>
                  <a:gd name="connsiteX10364" fmla="*/ 3871688 w 6994525"/>
                  <a:gd name="connsiteY10364" fmla="*/ 4359140 h 7571036"/>
                  <a:gd name="connsiteX10365" fmla="*/ 3831988 w 6994525"/>
                  <a:gd name="connsiteY10365" fmla="*/ 4319441 h 7571036"/>
                  <a:gd name="connsiteX10366" fmla="*/ 3792291 w 6994525"/>
                  <a:gd name="connsiteY10366" fmla="*/ 4359140 h 7571036"/>
                  <a:gd name="connsiteX10367" fmla="*/ 3831988 w 6994525"/>
                  <a:gd name="connsiteY10367" fmla="*/ 4398840 h 7571036"/>
                  <a:gd name="connsiteX10368" fmla="*/ 3871688 w 6994525"/>
                  <a:gd name="connsiteY10368" fmla="*/ 4359140 h 7571036"/>
                  <a:gd name="connsiteX10369" fmla="*/ 3871934 w 6994525"/>
                  <a:gd name="connsiteY10369" fmla="*/ 1476545 h 7571036"/>
                  <a:gd name="connsiteX10370" fmla="*/ 3833469 w 6994525"/>
                  <a:gd name="connsiteY10370" fmla="*/ 1438080 h 7571036"/>
                  <a:gd name="connsiteX10371" fmla="*/ 3795003 w 6994525"/>
                  <a:gd name="connsiteY10371" fmla="*/ 1476545 h 7571036"/>
                  <a:gd name="connsiteX10372" fmla="*/ 3833469 w 6994525"/>
                  <a:gd name="connsiteY10372" fmla="*/ 1515013 h 7571036"/>
                  <a:gd name="connsiteX10373" fmla="*/ 3871934 w 6994525"/>
                  <a:gd name="connsiteY10373" fmla="*/ 1476545 h 7571036"/>
                  <a:gd name="connsiteX10374" fmla="*/ 3871935 w 6994525"/>
                  <a:gd name="connsiteY10374" fmla="*/ 1366832 h 7571036"/>
                  <a:gd name="connsiteX10375" fmla="*/ 3832731 w 6994525"/>
                  <a:gd name="connsiteY10375" fmla="*/ 1327624 h 7571036"/>
                  <a:gd name="connsiteX10376" fmla="*/ 3793525 w 6994525"/>
                  <a:gd name="connsiteY10376" fmla="*/ 1366832 h 7571036"/>
                  <a:gd name="connsiteX10377" fmla="*/ 3832731 w 6994525"/>
                  <a:gd name="connsiteY10377" fmla="*/ 1406040 h 7571036"/>
                  <a:gd name="connsiteX10378" fmla="*/ 3871935 w 6994525"/>
                  <a:gd name="connsiteY10378" fmla="*/ 1366832 h 7571036"/>
                  <a:gd name="connsiteX10379" fmla="*/ 3876620 w 6994525"/>
                  <a:gd name="connsiteY10379" fmla="*/ 4923553 h 7571036"/>
                  <a:gd name="connsiteX10380" fmla="*/ 3840865 w 6994525"/>
                  <a:gd name="connsiteY10380" fmla="*/ 4887800 h 7571036"/>
                  <a:gd name="connsiteX10381" fmla="*/ 3805112 w 6994525"/>
                  <a:gd name="connsiteY10381" fmla="*/ 4923553 h 7571036"/>
                  <a:gd name="connsiteX10382" fmla="*/ 3840865 w 6994525"/>
                  <a:gd name="connsiteY10382" fmla="*/ 4959555 h 7571036"/>
                  <a:gd name="connsiteX10383" fmla="*/ 3876620 w 6994525"/>
                  <a:gd name="connsiteY10383" fmla="*/ 4923553 h 7571036"/>
                  <a:gd name="connsiteX10384" fmla="*/ 3877360 w 6994525"/>
                  <a:gd name="connsiteY10384" fmla="*/ 4474291 h 7571036"/>
                  <a:gd name="connsiteX10385" fmla="*/ 3833222 w 6994525"/>
                  <a:gd name="connsiteY10385" fmla="*/ 4430153 h 7571036"/>
                  <a:gd name="connsiteX10386" fmla="*/ 3789085 w 6994525"/>
                  <a:gd name="connsiteY10386" fmla="*/ 4474291 h 7571036"/>
                  <a:gd name="connsiteX10387" fmla="*/ 3833222 w 6994525"/>
                  <a:gd name="connsiteY10387" fmla="*/ 4518428 h 7571036"/>
                  <a:gd name="connsiteX10388" fmla="*/ 3877360 w 6994525"/>
                  <a:gd name="connsiteY10388" fmla="*/ 4474291 h 7571036"/>
                  <a:gd name="connsiteX10389" fmla="*/ 3880074 w 6994525"/>
                  <a:gd name="connsiteY10389" fmla="*/ 4813088 h 7571036"/>
                  <a:gd name="connsiteX10390" fmla="*/ 3835935 w 6994525"/>
                  <a:gd name="connsiteY10390" fmla="*/ 4768949 h 7571036"/>
                  <a:gd name="connsiteX10391" fmla="*/ 3791798 w 6994525"/>
                  <a:gd name="connsiteY10391" fmla="*/ 4813088 h 7571036"/>
                  <a:gd name="connsiteX10392" fmla="*/ 3835935 w 6994525"/>
                  <a:gd name="connsiteY10392" fmla="*/ 4857225 h 7571036"/>
                  <a:gd name="connsiteX10393" fmla="*/ 3880074 w 6994525"/>
                  <a:gd name="connsiteY10393" fmla="*/ 4813088 h 7571036"/>
                  <a:gd name="connsiteX10394" fmla="*/ 3880320 w 6994525"/>
                  <a:gd name="connsiteY10394" fmla="*/ 3364950 h 7571036"/>
                  <a:gd name="connsiteX10395" fmla="*/ 3877607 w 6994525"/>
                  <a:gd name="connsiteY10395" fmla="*/ 3362233 h 7571036"/>
                  <a:gd name="connsiteX10396" fmla="*/ 3874894 w 6994525"/>
                  <a:gd name="connsiteY10396" fmla="*/ 3364950 h 7571036"/>
                  <a:gd name="connsiteX10397" fmla="*/ 3877607 w 6994525"/>
                  <a:gd name="connsiteY10397" fmla="*/ 3367625 h 7571036"/>
                  <a:gd name="connsiteX10398" fmla="*/ 3880320 w 6994525"/>
                  <a:gd name="connsiteY10398" fmla="*/ 3364950 h 7571036"/>
                  <a:gd name="connsiteX10399" fmla="*/ 3882289 w 6994525"/>
                  <a:gd name="connsiteY10399" fmla="*/ 4242263 h 7571036"/>
                  <a:gd name="connsiteX10400" fmla="*/ 3830755 w 6994525"/>
                  <a:gd name="connsiteY10400" fmla="*/ 4190729 h 7571036"/>
                  <a:gd name="connsiteX10401" fmla="*/ 3779222 w 6994525"/>
                  <a:gd name="connsiteY10401" fmla="*/ 4242263 h 7571036"/>
                  <a:gd name="connsiteX10402" fmla="*/ 3830755 w 6994525"/>
                  <a:gd name="connsiteY10402" fmla="*/ 4293797 h 7571036"/>
                  <a:gd name="connsiteX10403" fmla="*/ 3882289 w 6994525"/>
                  <a:gd name="connsiteY10403" fmla="*/ 4242263 h 7571036"/>
                  <a:gd name="connsiteX10404" fmla="*/ 3893879 w 6994525"/>
                  <a:gd name="connsiteY10404" fmla="*/ 2270187 h 7571036"/>
                  <a:gd name="connsiteX10405" fmla="*/ 3887470 w 6994525"/>
                  <a:gd name="connsiteY10405" fmla="*/ 2263777 h 7571036"/>
                  <a:gd name="connsiteX10406" fmla="*/ 3881057 w 6994525"/>
                  <a:gd name="connsiteY10406" fmla="*/ 2270187 h 7571036"/>
                  <a:gd name="connsiteX10407" fmla="*/ 3887470 w 6994525"/>
                  <a:gd name="connsiteY10407" fmla="*/ 2276843 h 7571036"/>
                  <a:gd name="connsiteX10408" fmla="*/ 3893879 w 6994525"/>
                  <a:gd name="connsiteY10408" fmla="*/ 2270187 h 7571036"/>
                  <a:gd name="connsiteX10409" fmla="*/ 3897330 w 6994525"/>
                  <a:gd name="connsiteY10409" fmla="*/ 2738657 h 7571036"/>
                  <a:gd name="connsiteX10410" fmla="*/ 3883276 w 6994525"/>
                  <a:gd name="connsiteY10410" fmla="*/ 2724603 h 7571036"/>
                  <a:gd name="connsiteX10411" fmla="*/ 3869222 w 6994525"/>
                  <a:gd name="connsiteY10411" fmla="*/ 2738657 h 7571036"/>
                  <a:gd name="connsiteX10412" fmla="*/ 3883276 w 6994525"/>
                  <a:gd name="connsiteY10412" fmla="*/ 2752712 h 7571036"/>
                  <a:gd name="connsiteX10413" fmla="*/ 3897330 w 6994525"/>
                  <a:gd name="connsiteY10413" fmla="*/ 2738657 h 7571036"/>
                  <a:gd name="connsiteX10414" fmla="*/ 3899305 w 6994525"/>
                  <a:gd name="connsiteY10414" fmla="*/ 3158564 h 7571036"/>
                  <a:gd name="connsiteX10415" fmla="*/ 3890428 w 6994525"/>
                  <a:gd name="connsiteY10415" fmla="*/ 3149687 h 7571036"/>
                  <a:gd name="connsiteX10416" fmla="*/ 3881552 w 6994525"/>
                  <a:gd name="connsiteY10416" fmla="*/ 3158564 h 7571036"/>
                  <a:gd name="connsiteX10417" fmla="*/ 3890428 w 6994525"/>
                  <a:gd name="connsiteY10417" fmla="*/ 3167441 h 7571036"/>
                  <a:gd name="connsiteX10418" fmla="*/ 3899305 w 6994525"/>
                  <a:gd name="connsiteY10418" fmla="*/ 3158564 h 7571036"/>
                  <a:gd name="connsiteX10419" fmla="*/ 3900289 w 6994525"/>
                  <a:gd name="connsiteY10419" fmla="*/ 2156524 h 7571036"/>
                  <a:gd name="connsiteX10420" fmla="*/ 3887716 w 6994525"/>
                  <a:gd name="connsiteY10420" fmla="*/ 2143947 h 7571036"/>
                  <a:gd name="connsiteX10421" fmla="*/ 3875140 w 6994525"/>
                  <a:gd name="connsiteY10421" fmla="*/ 2156524 h 7571036"/>
                  <a:gd name="connsiteX10422" fmla="*/ 3887716 w 6994525"/>
                  <a:gd name="connsiteY10422" fmla="*/ 2169101 h 7571036"/>
                  <a:gd name="connsiteX10423" fmla="*/ 3900289 w 6994525"/>
                  <a:gd name="connsiteY10423" fmla="*/ 2156524 h 7571036"/>
                  <a:gd name="connsiteX10424" fmla="*/ 3903248 w 6994525"/>
                  <a:gd name="connsiteY10424" fmla="*/ 3796700 h 7571036"/>
                  <a:gd name="connsiteX10425" fmla="*/ 3890179 w 6994525"/>
                  <a:gd name="connsiteY10425" fmla="*/ 3783633 h 7571036"/>
                  <a:gd name="connsiteX10426" fmla="*/ 3877112 w 6994525"/>
                  <a:gd name="connsiteY10426" fmla="*/ 3796700 h 7571036"/>
                  <a:gd name="connsiteX10427" fmla="*/ 3890179 w 6994525"/>
                  <a:gd name="connsiteY10427" fmla="*/ 3809522 h 7571036"/>
                  <a:gd name="connsiteX10428" fmla="*/ 3903248 w 6994525"/>
                  <a:gd name="connsiteY10428" fmla="*/ 3796700 h 7571036"/>
                  <a:gd name="connsiteX10429" fmla="*/ 3905223 w 6994525"/>
                  <a:gd name="connsiteY10429" fmla="*/ 2861449 h 7571036"/>
                  <a:gd name="connsiteX10430" fmla="*/ 3879085 w 6994525"/>
                  <a:gd name="connsiteY10430" fmla="*/ 2835314 h 7571036"/>
                  <a:gd name="connsiteX10431" fmla="*/ 3852949 w 6994525"/>
                  <a:gd name="connsiteY10431" fmla="*/ 2861449 h 7571036"/>
                  <a:gd name="connsiteX10432" fmla="*/ 3879085 w 6994525"/>
                  <a:gd name="connsiteY10432" fmla="*/ 2887588 h 7571036"/>
                  <a:gd name="connsiteX10433" fmla="*/ 3905223 w 6994525"/>
                  <a:gd name="connsiteY10433" fmla="*/ 2861449 h 7571036"/>
                  <a:gd name="connsiteX10434" fmla="*/ 3908675 w 6994525"/>
                  <a:gd name="connsiteY10434" fmla="*/ 3935523 h 7571036"/>
                  <a:gd name="connsiteX10435" fmla="*/ 3908183 w 6994525"/>
                  <a:gd name="connsiteY10435" fmla="*/ 3935031 h 7571036"/>
                  <a:gd name="connsiteX10436" fmla="*/ 3907688 w 6994525"/>
                  <a:gd name="connsiteY10436" fmla="*/ 3935523 h 7571036"/>
                  <a:gd name="connsiteX10437" fmla="*/ 3908183 w 6994525"/>
                  <a:gd name="connsiteY10437" fmla="*/ 3936018 h 7571036"/>
                  <a:gd name="connsiteX10438" fmla="*/ 3908675 w 6994525"/>
                  <a:gd name="connsiteY10438" fmla="*/ 3935523 h 7571036"/>
                  <a:gd name="connsiteX10439" fmla="*/ 3909168 w 6994525"/>
                  <a:gd name="connsiteY10439" fmla="*/ 2384837 h 7571036"/>
                  <a:gd name="connsiteX10440" fmla="*/ 3887224 w 6994525"/>
                  <a:gd name="connsiteY10440" fmla="*/ 2362892 h 7571036"/>
                  <a:gd name="connsiteX10441" fmla="*/ 3865525 w 6994525"/>
                  <a:gd name="connsiteY10441" fmla="*/ 2384837 h 7571036"/>
                  <a:gd name="connsiteX10442" fmla="*/ 3887224 w 6994525"/>
                  <a:gd name="connsiteY10442" fmla="*/ 2406785 h 7571036"/>
                  <a:gd name="connsiteX10443" fmla="*/ 3909168 w 6994525"/>
                  <a:gd name="connsiteY10443" fmla="*/ 2384837 h 7571036"/>
                  <a:gd name="connsiteX10444" fmla="*/ 3917305 w 6994525"/>
                  <a:gd name="connsiteY10444" fmla="*/ 2618580 h 7571036"/>
                  <a:gd name="connsiteX10445" fmla="*/ 3885494 w 6994525"/>
                  <a:gd name="connsiteY10445" fmla="*/ 2586771 h 7571036"/>
                  <a:gd name="connsiteX10446" fmla="*/ 3853687 w 6994525"/>
                  <a:gd name="connsiteY10446" fmla="*/ 2618580 h 7571036"/>
                  <a:gd name="connsiteX10447" fmla="*/ 3885494 w 6994525"/>
                  <a:gd name="connsiteY10447" fmla="*/ 2650389 h 7571036"/>
                  <a:gd name="connsiteX10448" fmla="*/ 3917305 w 6994525"/>
                  <a:gd name="connsiteY10448" fmla="*/ 2618580 h 7571036"/>
                  <a:gd name="connsiteX10449" fmla="*/ 3919278 w 6994525"/>
                  <a:gd name="connsiteY10449" fmla="*/ 2500971 h 7571036"/>
                  <a:gd name="connsiteX10450" fmla="*/ 3886730 w 6994525"/>
                  <a:gd name="connsiteY10450" fmla="*/ 2468423 h 7571036"/>
                  <a:gd name="connsiteX10451" fmla="*/ 3854181 w 6994525"/>
                  <a:gd name="connsiteY10451" fmla="*/ 2500971 h 7571036"/>
                  <a:gd name="connsiteX10452" fmla="*/ 3886730 w 6994525"/>
                  <a:gd name="connsiteY10452" fmla="*/ 2533519 h 7571036"/>
                  <a:gd name="connsiteX10453" fmla="*/ 3919278 w 6994525"/>
                  <a:gd name="connsiteY10453" fmla="*/ 2500971 h 7571036"/>
                  <a:gd name="connsiteX10454" fmla="*/ 3927413 w 6994525"/>
                  <a:gd name="connsiteY10454" fmla="*/ 1046822 h 7571036"/>
                  <a:gd name="connsiteX10455" fmla="*/ 3892647 w 6994525"/>
                  <a:gd name="connsiteY10455" fmla="*/ 1012057 h 7571036"/>
                  <a:gd name="connsiteX10456" fmla="*/ 3857881 w 6994525"/>
                  <a:gd name="connsiteY10456" fmla="*/ 1046822 h 7571036"/>
                  <a:gd name="connsiteX10457" fmla="*/ 3892647 w 6994525"/>
                  <a:gd name="connsiteY10457" fmla="*/ 1081588 h 7571036"/>
                  <a:gd name="connsiteX10458" fmla="*/ 3927413 w 6994525"/>
                  <a:gd name="connsiteY10458" fmla="*/ 1046822 h 7571036"/>
                  <a:gd name="connsiteX10459" fmla="*/ 3927908 w 6994525"/>
                  <a:gd name="connsiteY10459" fmla="*/ 827405 h 7571036"/>
                  <a:gd name="connsiteX10460" fmla="*/ 3893138 w 6994525"/>
                  <a:gd name="connsiteY10460" fmla="*/ 792635 h 7571036"/>
                  <a:gd name="connsiteX10461" fmla="*/ 3858372 w 6994525"/>
                  <a:gd name="connsiteY10461" fmla="*/ 827405 h 7571036"/>
                  <a:gd name="connsiteX10462" fmla="*/ 3893138 w 6994525"/>
                  <a:gd name="connsiteY10462" fmla="*/ 862168 h 7571036"/>
                  <a:gd name="connsiteX10463" fmla="*/ 3927908 w 6994525"/>
                  <a:gd name="connsiteY10463" fmla="*/ 827405 h 7571036"/>
                  <a:gd name="connsiteX10464" fmla="*/ 3929882 w 6994525"/>
                  <a:gd name="connsiteY10464" fmla="*/ 498740 h 7571036"/>
                  <a:gd name="connsiteX10465" fmla="*/ 3892154 w 6994525"/>
                  <a:gd name="connsiteY10465" fmla="*/ 461016 h 7571036"/>
                  <a:gd name="connsiteX10466" fmla="*/ 3854428 w 6994525"/>
                  <a:gd name="connsiteY10466" fmla="*/ 498740 h 7571036"/>
                  <a:gd name="connsiteX10467" fmla="*/ 3892154 w 6994525"/>
                  <a:gd name="connsiteY10467" fmla="*/ 536465 h 7571036"/>
                  <a:gd name="connsiteX10468" fmla="*/ 3929882 w 6994525"/>
                  <a:gd name="connsiteY10468" fmla="*/ 498740 h 7571036"/>
                  <a:gd name="connsiteX10469" fmla="*/ 3930621 w 6994525"/>
                  <a:gd name="connsiteY10469" fmla="*/ 936866 h 7571036"/>
                  <a:gd name="connsiteX10470" fmla="*/ 3892647 w 6994525"/>
                  <a:gd name="connsiteY10470" fmla="*/ 898893 h 7571036"/>
                  <a:gd name="connsiteX10471" fmla="*/ 3854675 w 6994525"/>
                  <a:gd name="connsiteY10471" fmla="*/ 936866 h 7571036"/>
                  <a:gd name="connsiteX10472" fmla="*/ 3892647 w 6994525"/>
                  <a:gd name="connsiteY10472" fmla="*/ 974839 h 7571036"/>
                  <a:gd name="connsiteX10473" fmla="*/ 3930621 w 6994525"/>
                  <a:gd name="connsiteY10473" fmla="*/ 936866 h 7571036"/>
                  <a:gd name="connsiteX10474" fmla="*/ 3930867 w 6994525"/>
                  <a:gd name="connsiteY10474" fmla="*/ 608199 h 7571036"/>
                  <a:gd name="connsiteX10475" fmla="*/ 3892402 w 6994525"/>
                  <a:gd name="connsiteY10475" fmla="*/ 569735 h 7571036"/>
                  <a:gd name="connsiteX10476" fmla="*/ 3853935 w 6994525"/>
                  <a:gd name="connsiteY10476" fmla="*/ 608199 h 7571036"/>
                  <a:gd name="connsiteX10477" fmla="*/ 3892402 w 6994525"/>
                  <a:gd name="connsiteY10477" fmla="*/ 646695 h 7571036"/>
                  <a:gd name="connsiteX10478" fmla="*/ 3930867 w 6994525"/>
                  <a:gd name="connsiteY10478" fmla="*/ 608199 h 7571036"/>
                  <a:gd name="connsiteX10479" fmla="*/ 3932591 w 6994525"/>
                  <a:gd name="connsiteY10479" fmla="*/ 717691 h 7571036"/>
                  <a:gd name="connsiteX10480" fmla="*/ 3892894 w 6994525"/>
                  <a:gd name="connsiteY10480" fmla="*/ 677995 h 7571036"/>
                  <a:gd name="connsiteX10481" fmla="*/ 3853441 w 6994525"/>
                  <a:gd name="connsiteY10481" fmla="*/ 717691 h 7571036"/>
                  <a:gd name="connsiteX10482" fmla="*/ 3892894 w 6994525"/>
                  <a:gd name="connsiteY10482" fmla="*/ 757399 h 7571036"/>
                  <a:gd name="connsiteX10483" fmla="*/ 3932591 w 6994525"/>
                  <a:gd name="connsiteY10483" fmla="*/ 717691 h 7571036"/>
                  <a:gd name="connsiteX10484" fmla="*/ 3934318 w 6994525"/>
                  <a:gd name="connsiteY10484" fmla="*/ 1157025 h 7571036"/>
                  <a:gd name="connsiteX10485" fmla="*/ 3892894 w 6994525"/>
                  <a:gd name="connsiteY10485" fmla="*/ 1115600 h 7571036"/>
                  <a:gd name="connsiteX10486" fmla="*/ 3851469 w 6994525"/>
                  <a:gd name="connsiteY10486" fmla="*/ 1157025 h 7571036"/>
                  <a:gd name="connsiteX10487" fmla="*/ 3892894 w 6994525"/>
                  <a:gd name="connsiteY10487" fmla="*/ 1198451 h 7571036"/>
                  <a:gd name="connsiteX10488" fmla="*/ 3934318 w 6994525"/>
                  <a:gd name="connsiteY10488" fmla="*/ 1157025 h 7571036"/>
                  <a:gd name="connsiteX10489" fmla="*/ 3935305 w 6994525"/>
                  <a:gd name="connsiteY10489" fmla="*/ 1266976 h 7571036"/>
                  <a:gd name="connsiteX10490" fmla="*/ 3892894 w 6994525"/>
                  <a:gd name="connsiteY10490" fmla="*/ 1224572 h 7571036"/>
                  <a:gd name="connsiteX10491" fmla="*/ 3850482 w 6994525"/>
                  <a:gd name="connsiteY10491" fmla="*/ 1266976 h 7571036"/>
                  <a:gd name="connsiteX10492" fmla="*/ 3892894 w 6994525"/>
                  <a:gd name="connsiteY10492" fmla="*/ 1309391 h 7571036"/>
                  <a:gd name="connsiteX10493" fmla="*/ 3935305 w 6994525"/>
                  <a:gd name="connsiteY10493" fmla="*/ 1266976 h 7571036"/>
                  <a:gd name="connsiteX10494" fmla="*/ 3949853 w 6994525"/>
                  <a:gd name="connsiteY10494" fmla="*/ 3019255 h 7571036"/>
                  <a:gd name="connsiteX10495" fmla="*/ 3907937 w 6994525"/>
                  <a:gd name="connsiteY10495" fmla="*/ 2977335 h 7571036"/>
                  <a:gd name="connsiteX10496" fmla="*/ 3866018 w 6994525"/>
                  <a:gd name="connsiteY10496" fmla="*/ 3019255 h 7571036"/>
                  <a:gd name="connsiteX10497" fmla="*/ 3907937 w 6994525"/>
                  <a:gd name="connsiteY10497" fmla="*/ 3061171 h 7571036"/>
                  <a:gd name="connsiteX10498" fmla="*/ 3949853 w 6994525"/>
                  <a:gd name="connsiteY10498" fmla="*/ 3019255 h 7571036"/>
                  <a:gd name="connsiteX10499" fmla="*/ 3952071 w 6994525"/>
                  <a:gd name="connsiteY10499" fmla="*/ 1723087 h 7571036"/>
                  <a:gd name="connsiteX10500" fmla="*/ 3947634 w 6994525"/>
                  <a:gd name="connsiteY10500" fmla="*/ 1718645 h 7571036"/>
                  <a:gd name="connsiteX10501" fmla="*/ 3943194 w 6994525"/>
                  <a:gd name="connsiteY10501" fmla="*/ 1723087 h 7571036"/>
                  <a:gd name="connsiteX10502" fmla="*/ 3947634 w 6994525"/>
                  <a:gd name="connsiteY10502" fmla="*/ 1727527 h 7571036"/>
                  <a:gd name="connsiteX10503" fmla="*/ 3952071 w 6994525"/>
                  <a:gd name="connsiteY10503" fmla="*/ 1723087 h 7571036"/>
                  <a:gd name="connsiteX10504" fmla="*/ 3954047 w 6994525"/>
                  <a:gd name="connsiteY10504" fmla="*/ 3255469 h 7571036"/>
                  <a:gd name="connsiteX10505" fmla="*/ 3951334 w 6994525"/>
                  <a:gd name="connsiteY10505" fmla="*/ 3252757 h 7571036"/>
                  <a:gd name="connsiteX10506" fmla="*/ 3948621 w 6994525"/>
                  <a:gd name="connsiteY10506" fmla="*/ 3255469 h 7571036"/>
                  <a:gd name="connsiteX10507" fmla="*/ 3951334 w 6994525"/>
                  <a:gd name="connsiteY10507" fmla="*/ 3258184 h 7571036"/>
                  <a:gd name="connsiteX10508" fmla="*/ 3954047 w 6994525"/>
                  <a:gd name="connsiteY10508" fmla="*/ 3255469 h 7571036"/>
                  <a:gd name="connsiteX10509" fmla="*/ 3954536 w 6994525"/>
                  <a:gd name="connsiteY10509" fmla="*/ 4664155 h 7571036"/>
                  <a:gd name="connsiteX10510" fmla="*/ 3944922 w 6994525"/>
                  <a:gd name="connsiteY10510" fmla="*/ 4654538 h 7571036"/>
                  <a:gd name="connsiteX10511" fmla="*/ 3935305 w 6994525"/>
                  <a:gd name="connsiteY10511" fmla="*/ 4664155 h 7571036"/>
                  <a:gd name="connsiteX10512" fmla="*/ 3944922 w 6994525"/>
                  <a:gd name="connsiteY10512" fmla="*/ 4674018 h 7571036"/>
                  <a:gd name="connsiteX10513" fmla="*/ 3954536 w 6994525"/>
                  <a:gd name="connsiteY10513" fmla="*/ 4664155 h 7571036"/>
                  <a:gd name="connsiteX10514" fmla="*/ 3956017 w 6994525"/>
                  <a:gd name="connsiteY10514" fmla="*/ 5005168 h 7571036"/>
                  <a:gd name="connsiteX10515" fmla="*/ 3953550 w 6994525"/>
                  <a:gd name="connsiteY10515" fmla="*/ 5002949 h 7571036"/>
                  <a:gd name="connsiteX10516" fmla="*/ 3951085 w 6994525"/>
                  <a:gd name="connsiteY10516" fmla="*/ 5005168 h 7571036"/>
                  <a:gd name="connsiteX10517" fmla="*/ 3953550 w 6994525"/>
                  <a:gd name="connsiteY10517" fmla="*/ 5007635 h 7571036"/>
                  <a:gd name="connsiteX10518" fmla="*/ 3956017 w 6994525"/>
                  <a:gd name="connsiteY10518" fmla="*/ 5005168 h 7571036"/>
                  <a:gd name="connsiteX10519" fmla="*/ 3956511 w 6994525"/>
                  <a:gd name="connsiteY10519" fmla="*/ 4059304 h 7571036"/>
                  <a:gd name="connsiteX10520" fmla="*/ 3928400 w 6994525"/>
                  <a:gd name="connsiteY10520" fmla="*/ 4031195 h 7571036"/>
                  <a:gd name="connsiteX10521" fmla="*/ 3900291 w 6994525"/>
                  <a:gd name="connsiteY10521" fmla="*/ 4059304 h 7571036"/>
                  <a:gd name="connsiteX10522" fmla="*/ 3928400 w 6994525"/>
                  <a:gd name="connsiteY10522" fmla="*/ 4087414 h 7571036"/>
                  <a:gd name="connsiteX10523" fmla="*/ 3956511 w 6994525"/>
                  <a:gd name="connsiteY10523" fmla="*/ 4059304 h 7571036"/>
                  <a:gd name="connsiteX10524" fmla="*/ 3956756 w 6994525"/>
                  <a:gd name="connsiteY10524" fmla="*/ 5453692 h 7571036"/>
                  <a:gd name="connsiteX10525" fmla="*/ 3956019 w 6994525"/>
                  <a:gd name="connsiteY10525" fmla="*/ 5452951 h 7571036"/>
                  <a:gd name="connsiteX10526" fmla="*/ 3955278 w 6994525"/>
                  <a:gd name="connsiteY10526" fmla="*/ 5453692 h 7571036"/>
                  <a:gd name="connsiteX10527" fmla="*/ 3956019 w 6994525"/>
                  <a:gd name="connsiteY10527" fmla="*/ 5454429 h 7571036"/>
                  <a:gd name="connsiteX10528" fmla="*/ 3956756 w 6994525"/>
                  <a:gd name="connsiteY10528" fmla="*/ 5453692 h 7571036"/>
                  <a:gd name="connsiteX10529" fmla="*/ 3957252 w 6994525"/>
                  <a:gd name="connsiteY10529" fmla="*/ 5230290 h 7571036"/>
                  <a:gd name="connsiteX10530" fmla="*/ 3955031 w 6994525"/>
                  <a:gd name="connsiteY10530" fmla="*/ 5228071 h 7571036"/>
                  <a:gd name="connsiteX10531" fmla="*/ 3952812 w 6994525"/>
                  <a:gd name="connsiteY10531" fmla="*/ 5230290 h 7571036"/>
                  <a:gd name="connsiteX10532" fmla="*/ 3955031 w 6994525"/>
                  <a:gd name="connsiteY10532" fmla="*/ 5232511 h 7571036"/>
                  <a:gd name="connsiteX10533" fmla="*/ 3957252 w 6994525"/>
                  <a:gd name="connsiteY10533" fmla="*/ 5230290 h 7571036"/>
                  <a:gd name="connsiteX10534" fmla="*/ 3958976 w 6994525"/>
                  <a:gd name="connsiteY10534" fmla="*/ 6117471 h 7571036"/>
                  <a:gd name="connsiteX10535" fmla="*/ 3957003 w 6994525"/>
                  <a:gd name="connsiteY10535" fmla="*/ 6115498 h 7571036"/>
                  <a:gd name="connsiteX10536" fmla="*/ 3955030 w 6994525"/>
                  <a:gd name="connsiteY10536" fmla="*/ 6117471 h 7571036"/>
                  <a:gd name="connsiteX10537" fmla="*/ 3957003 w 6994525"/>
                  <a:gd name="connsiteY10537" fmla="*/ 6119443 h 7571036"/>
                  <a:gd name="connsiteX10538" fmla="*/ 3958976 w 6994525"/>
                  <a:gd name="connsiteY10538" fmla="*/ 6117471 h 7571036"/>
                  <a:gd name="connsiteX10539" fmla="*/ 3958976 w 6994525"/>
                  <a:gd name="connsiteY10539" fmla="*/ 6227445 h 7571036"/>
                  <a:gd name="connsiteX10540" fmla="*/ 3957003 w 6994525"/>
                  <a:gd name="connsiteY10540" fmla="*/ 6225472 h 7571036"/>
                  <a:gd name="connsiteX10541" fmla="*/ 3955030 w 6994525"/>
                  <a:gd name="connsiteY10541" fmla="*/ 6227445 h 7571036"/>
                  <a:gd name="connsiteX10542" fmla="*/ 3957003 w 6994525"/>
                  <a:gd name="connsiteY10542" fmla="*/ 6229418 h 7571036"/>
                  <a:gd name="connsiteX10543" fmla="*/ 3958976 w 6994525"/>
                  <a:gd name="connsiteY10543" fmla="*/ 6227445 h 7571036"/>
                  <a:gd name="connsiteX10544" fmla="*/ 3958976 w 6994525"/>
                  <a:gd name="connsiteY10544" fmla="*/ 6447144 h 7571036"/>
                  <a:gd name="connsiteX10545" fmla="*/ 3957252 w 6994525"/>
                  <a:gd name="connsiteY10545" fmla="*/ 6445418 h 7571036"/>
                  <a:gd name="connsiteX10546" fmla="*/ 3955771 w 6994525"/>
                  <a:gd name="connsiteY10546" fmla="*/ 6447144 h 7571036"/>
                  <a:gd name="connsiteX10547" fmla="*/ 3957252 w 6994525"/>
                  <a:gd name="connsiteY10547" fmla="*/ 6448623 h 7571036"/>
                  <a:gd name="connsiteX10548" fmla="*/ 3958976 w 6994525"/>
                  <a:gd name="connsiteY10548" fmla="*/ 6447144 h 7571036"/>
                  <a:gd name="connsiteX10549" fmla="*/ 3960456 w 6994525"/>
                  <a:gd name="connsiteY10549" fmla="*/ 1835543 h 7571036"/>
                  <a:gd name="connsiteX10550" fmla="*/ 3948129 w 6994525"/>
                  <a:gd name="connsiteY10550" fmla="*/ 1823215 h 7571036"/>
                  <a:gd name="connsiteX10551" fmla="*/ 3935799 w 6994525"/>
                  <a:gd name="connsiteY10551" fmla="*/ 1835543 h 7571036"/>
                  <a:gd name="connsiteX10552" fmla="*/ 3948129 w 6994525"/>
                  <a:gd name="connsiteY10552" fmla="*/ 1847867 h 7571036"/>
                  <a:gd name="connsiteX10553" fmla="*/ 3960456 w 6994525"/>
                  <a:gd name="connsiteY10553" fmla="*/ 1835543 h 7571036"/>
                  <a:gd name="connsiteX10554" fmla="*/ 3960702 w 6994525"/>
                  <a:gd name="connsiteY10554" fmla="*/ 6337416 h 7571036"/>
                  <a:gd name="connsiteX10555" fmla="*/ 3957248 w 6994525"/>
                  <a:gd name="connsiteY10555" fmla="*/ 6333965 h 7571036"/>
                  <a:gd name="connsiteX10556" fmla="*/ 3953797 w 6994525"/>
                  <a:gd name="connsiteY10556" fmla="*/ 6337416 h 7571036"/>
                  <a:gd name="connsiteX10557" fmla="*/ 3957248 w 6994525"/>
                  <a:gd name="connsiteY10557" fmla="*/ 6340869 h 7571036"/>
                  <a:gd name="connsiteX10558" fmla="*/ 3960702 w 6994525"/>
                  <a:gd name="connsiteY10558" fmla="*/ 6337416 h 7571036"/>
                  <a:gd name="connsiteX10559" fmla="*/ 3961198 w 6994525"/>
                  <a:gd name="connsiteY10559" fmla="*/ 6007005 h 7571036"/>
                  <a:gd name="connsiteX10560" fmla="*/ 3958484 w 6994525"/>
                  <a:gd name="connsiteY10560" fmla="*/ 6004292 h 7571036"/>
                  <a:gd name="connsiteX10561" fmla="*/ 3955771 w 6994525"/>
                  <a:gd name="connsiteY10561" fmla="*/ 6007005 h 7571036"/>
                  <a:gd name="connsiteX10562" fmla="*/ 3958484 w 6994525"/>
                  <a:gd name="connsiteY10562" fmla="*/ 6009718 h 7571036"/>
                  <a:gd name="connsiteX10563" fmla="*/ 3961198 w 6994525"/>
                  <a:gd name="connsiteY10563" fmla="*/ 6007005 h 7571036"/>
                  <a:gd name="connsiteX10564" fmla="*/ 3961688 w 6994525"/>
                  <a:gd name="connsiteY10564" fmla="*/ 6775829 h 7571036"/>
                  <a:gd name="connsiteX10565" fmla="*/ 3959470 w 6994525"/>
                  <a:gd name="connsiteY10565" fmla="*/ 6773610 h 7571036"/>
                  <a:gd name="connsiteX10566" fmla="*/ 3957252 w 6994525"/>
                  <a:gd name="connsiteY10566" fmla="*/ 6775829 h 7571036"/>
                  <a:gd name="connsiteX10567" fmla="*/ 3959470 w 6994525"/>
                  <a:gd name="connsiteY10567" fmla="*/ 6778047 h 7571036"/>
                  <a:gd name="connsiteX10568" fmla="*/ 3961688 w 6994525"/>
                  <a:gd name="connsiteY10568" fmla="*/ 6775829 h 7571036"/>
                  <a:gd name="connsiteX10569" fmla="*/ 3961690 w 6994525"/>
                  <a:gd name="connsiteY10569" fmla="*/ 3699795 h 7571036"/>
                  <a:gd name="connsiteX10570" fmla="*/ 3951332 w 6994525"/>
                  <a:gd name="connsiteY10570" fmla="*/ 3689439 h 7571036"/>
                  <a:gd name="connsiteX10571" fmla="*/ 3940976 w 6994525"/>
                  <a:gd name="connsiteY10571" fmla="*/ 3699795 h 7571036"/>
                  <a:gd name="connsiteX10572" fmla="*/ 3951332 w 6994525"/>
                  <a:gd name="connsiteY10572" fmla="*/ 3710153 h 7571036"/>
                  <a:gd name="connsiteX10573" fmla="*/ 3961690 w 6994525"/>
                  <a:gd name="connsiteY10573" fmla="*/ 3699795 h 7571036"/>
                  <a:gd name="connsiteX10574" fmla="*/ 3961934 w 6994525"/>
                  <a:gd name="connsiteY10574" fmla="*/ 5785828 h 7571036"/>
                  <a:gd name="connsiteX10575" fmla="*/ 3959962 w 6994525"/>
                  <a:gd name="connsiteY10575" fmla="*/ 5783855 h 7571036"/>
                  <a:gd name="connsiteX10576" fmla="*/ 3957988 w 6994525"/>
                  <a:gd name="connsiteY10576" fmla="*/ 5785828 h 7571036"/>
                  <a:gd name="connsiteX10577" fmla="*/ 3959962 w 6994525"/>
                  <a:gd name="connsiteY10577" fmla="*/ 5787800 h 7571036"/>
                  <a:gd name="connsiteX10578" fmla="*/ 3961934 w 6994525"/>
                  <a:gd name="connsiteY10578" fmla="*/ 5785828 h 7571036"/>
                  <a:gd name="connsiteX10579" fmla="*/ 3962430 w 6994525"/>
                  <a:gd name="connsiteY10579" fmla="*/ 6885060 h 7571036"/>
                  <a:gd name="connsiteX10580" fmla="*/ 3959965 w 6994525"/>
                  <a:gd name="connsiteY10580" fmla="*/ 6882596 h 7571036"/>
                  <a:gd name="connsiteX10581" fmla="*/ 3957498 w 6994525"/>
                  <a:gd name="connsiteY10581" fmla="*/ 6885060 h 7571036"/>
                  <a:gd name="connsiteX10582" fmla="*/ 3959965 w 6994525"/>
                  <a:gd name="connsiteY10582" fmla="*/ 6887528 h 7571036"/>
                  <a:gd name="connsiteX10583" fmla="*/ 3962430 w 6994525"/>
                  <a:gd name="connsiteY10583" fmla="*/ 6885060 h 7571036"/>
                  <a:gd name="connsiteX10584" fmla="*/ 3962674 w 6994525"/>
                  <a:gd name="connsiteY10584" fmla="*/ 6666101 h 7571036"/>
                  <a:gd name="connsiteX10585" fmla="*/ 3960210 w 6994525"/>
                  <a:gd name="connsiteY10585" fmla="*/ 6663636 h 7571036"/>
                  <a:gd name="connsiteX10586" fmla="*/ 3957743 w 6994525"/>
                  <a:gd name="connsiteY10586" fmla="*/ 6666101 h 7571036"/>
                  <a:gd name="connsiteX10587" fmla="*/ 3960210 w 6994525"/>
                  <a:gd name="connsiteY10587" fmla="*/ 6668568 h 7571036"/>
                  <a:gd name="connsiteX10588" fmla="*/ 3962674 w 6994525"/>
                  <a:gd name="connsiteY10588" fmla="*/ 6666101 h 7571036"/>
                  <a:gd name="connsiteX10589" fmla="*/ 3962921 w 6994525"/>
                  <a:gd name="connsiteY10589" fmla="*/ 5341991 h 7571036"/>
                  <a:gd name="connsiteX10590" fmla="*/ 3956016 w 6994525"/>
                  <a:gd name="connsiteY10590" fmla="*/ 5335086 h 7571036"/>
                  <a:gd name="connsiteX10591" fmla="*/ 3949112 w 6994525"/>
                  <a:gd name="connsiteY10591" fmla="*/ 5341991 h 7571036"/>
                  <a:gd name="connsiteX10592" fmla="*/ 3956016 w 6994525"/>
                  <a:gd name="connsiteY10592" fmla="*/ 5348895 h 7571036"/>
                  <a:gd name="connsiteX10593" fmla="*/ 3962921 w 6994525"/>
                  <a:gd name="connsiteY10593" fmla="*/ 5341991 h 7571036"/>
                  <a:gd name="connsiteX10594" fmla="*/ 3962921 w 6994525"/>
                  <a:gd name="connsiteY10594" fmla="*/ 6556379 h 7571036"/>
                  <a:gd name="connsiteX10595" fmla="*/ 3960453 w 6994525"/>
                  <a:gd name="connsiteY10595" fmla="*/ 6553911 h 7571036"/>
                  <a:gd name="connsiteX10596" fmla="*/ 3957988 w 6994525"/>
                  <a:gd name="connsiteY10596" fmla="*/ 6556379 h 7571036"/>
                  <a:gd name="connsiteX10597" fmla="*/ 3960453 w 6994525"/>
                  <a:gd name="connsiteY10597" fmla="*/ 6558842 h 7571036"/>
                  <a:gd name="connsiteX10598" fmla="*/ 3962921 w 6994525"/>
                  <a:gd name="connsiteY10598" fmla="*/ 6556379 h 7571036"/>
                  <a:gd name="connsiteX10599" fmla="*/ 3963415 w 6994525"/>
                  <a:gd name="connsiteY10599" fmla="*/ 6994541 h 7571036"/>
                  <a:gd name="connsiteX10600" fmla="*/ 3959962 w 6994525"/>
                  <a:gd name="connsiteY10600" fmla="*/ 6991090 h 7571036"/>
                  <a:gd name="connsiteX10601" fmla="*/ 3956511 w 6994525"/>
                  <a:gd name="connsiteY10601" fmla="*/ 6994541 h 7571036"/>
                  <a:gd name="connsiteX10602" fmla="*/ 3959962 w 6994525"/>
                  <a:gd name="connsiteY10602" fmla="*/ 6997994 h 7571036"/>
                  <a:gd name="connsiteX10603" fmla="*/ 3963415 w 6994525"/>
                  <a:gd name="connsiteY10603" fmla="*/ 6994541 h 7571036"/>
                  <a:gd name="connsiteX10604" fmla="*/ 3964152 w 6994525"/>
                  <a:gd name="connsiteY10604" fmla="*/ 5674869 h 7571036"/>
                  <a:gd name="connsiteX10605" fmla="*/ 3960208 w 6994525"/>
                  <a:gd name="connsiteY10605" fmla="*/ 5670924 h 7571036"/>
                  <a:gd name="connsiteX10606" fmla="*/ 3956262 w 6994525"/>
                  <a:gd name="connsiteY10606" fmla="*/ 5674869 h 7571036"/>
                  <a:gd name="connsiteX10607" fmla="*/ 3960208 w 6994525"/>
                  <a:gd name="connsiteY10607" fmla="*/ 5678814 h 7571036"/>
                  <a:gd name="connsiteX10608" fmla="*/ 3964152 w 6994525"/>
                  <a:gd name="connsiteY10608" fmla="*/ 5674869 h 7571036"/>
                  <a:gd name="connsiteX10609" fmla="*/ 3964152 w 6994525"/>
                  <a:gd name="connsiteY10609" fmla="*/ 7103774 h 7571036"/>
                  <a:gd name="connsiteX10610" fmla="*/ 3960208 w 6994525"/>
                  <a:gd name="connsiteY10610" fmla="*/ 7099828 h 7571036"/>
                  <a:gd name="connsiteX10611" fmla="*/ 3956262 w 6994525"/>
                  <a:gd name="connsiteY10611" fmla="*/ 7103774 h 7571036"/>
                  <a:gd name="connsiteX10612" fmla="*/ 3960208 w 6994525"/>
                  <a:gd name="connsiteY10612" fmla="*/ 7107719 h 7571036"/>
                  <a:gd name="connsiteX10613" fmla="*/ 3964152 w 6994525"/>
                  <a:gd name="connsiteY10613" fmla="*/ 7103774 h 7571036"/>
                  <a:gd name="connsiteX10614" fmla="*/ 3964893 w 6994525"/>
                  <a:gd name="connsiteY10614" fmla="*/ 7213253 h 7571036"/>
                  <a:gd name="connsiteX10615" fmla="*/ 3960453 w 6994525"/>
                  <a:gd name="connsiteY10615" fmla="*/ 7208817 h 7571036"/>
                  <a:gd name="connsiteX10616" fmla="*/ 3956016 w 6994525"/>
                  <a:gd name="connsiteY10616" fmla="*/ 7213253 h 7571036"/>
                  <a:gd name="connsiteX10617" fmla="*/ 3960453 w 6994525"/>
                  <a:gd name="connsiteY10617" fmla="*/ 7217693 h 7571036"/>
                  <a:gd name="connsiteX10618" fmla="*/ 3964893 w 6994525"/>
                  <a:gd name="connsiteY10618" fmla="*/ 7213253 h 7571036"/>
                  <a:gd name="connsiteX10619" fmla="*/ 3965143 w 6994525"/>
                  <a:gd name="connsiteY10619" fmla="*/ 5896540 h 7571036"/>
                  <a:gd name="connsiteX10620" fmla="*/ 3958976 w 6994525"/>
                  <a:gd name="connsiteY10620" fmla="*/ 5890376 h 7571036"/>
                  <a:gd name="connsiteX10621" fmla="*/ 3952812 w 6994525"/>
                  <a:gd name="connsiteY10621" fmla="*/ 5896540 h 7571036"/>
                  <a:gd name="connsiteX10622" fmla="*/ 3958976 w 6994525"/>
                  <a:gd name="connsiteY10622" fmla="*/ 5902706 h 7571036"/>
                  <a:gd name="connsiteX10623" fmla="*/ 3965143 w 6994525"/>
                  <a:gd name="connsiteY10623" fmla="*/ 5896540 h 7571036"/>
                  <a:gd name="connsiteX10624" fmla="*/ 3965385 w 6994525"/>
                  <a:gd name="connsiteY10624" fmla="*/ 1948435 h 7571036"/>
                  <a:gd name="connsiteX10625" fmla="*/ 3948372 w 6994525"/>
                  <a:gd name="connsiteY10625" fmla="*/ 1931425 h 7571036"/>
                  <a:gd name="connsiteX10626" fmla="*/ 3931359 w 6994525"/>
                  <a:gd name="connsiteY10626" fmla="*/ 1948435 h 7571036"/>
                  <a:gd name="connsiteX10627" fmla="*/ 3948372 w 6994525"/>
                  <a:gd name="connsiteY10627" fmla="*/ 1965447 h 7571036"/>
                  <a:gd name="connsiteX10628" fmla="*/ 3965385 w 6994525"/>
                  <a:gd name="connsiteY10628" fmla="*/ 1948435 h 7571036"/>
                  <a:gd name="connsiteX10629" fmla="*/ 3966128 w 6994525"/>
                  <a:gd name="connsiteY10629" fmla="*/ 7431475 h 7571036"/>
                  <a:gd name="connsiteX10630" fmla="*/ 3962430 w 6994525"/>
                  <a:gd name="connsiteY10630" fmla="*/ 7427775 h 7571036"/>
                  <a:gd name="connsiteX10631" fmla="*/ 3958729 w 6994525"/>
                  <a:gd name="connsiteY10631" fmla="*/ 7431475 h 7571036"/>
                  <a:gd name="connsiteX10632" fmla="*/ 3962430 w 6994525"/>
                  <a:gd name="connsiteY10632" fmla="*/ 7435171 h 7571036"/>
                  <a:gd name="connsiteX10633" fmla="*/ 3966128 w 6994525"/>
                  <a:gd name="connsiteY10633" fmla="*/ 7431475 h 7571036"/>
                  <a:gd name="connsiteX10634" fmla="*/ 3966869 w 6994525"/>
                  <a:gd name="connsiteY10634" fmla="*/ 7540706 h 7571036"/>
                  <a:gd name="connsiteX10635" fmla="*/ 3962675 w 6994525"/>
                  <a:gd name="connsiteY10635" fmla="*/ 7536515 h 7571036"/>
                  <a:gd name="connsiteX10636" fmla="*/ 3958484 w 6994525"/>
                  <a:gd name="connsiteY10636" fmla="*/ 7540706 h 7571036"/>
                  <a:gd name="connsiteX10637" fmla="*/ 3962675 w 6994525"/>
                  <a:gd name="connsiteY10637" fmla="*/ 7544897 h 7571036"/>
                  <a:gd name="connsiteX10638" fmla="*/ 3966869 w 6994525"/>
                  <a:gd name="connsiteY10638" fmla="*/ 7540706 h 7571036"/>
                  <a:gd name="connsiteX10639" fmla="*/ 3967360 w 6994525"/>
                  <a:gd name="connsiteY10639" fmla="*/ 4548264 h 7571036"/>
                  <a:gd name="connsiteX10640" fmla="*/ 3943194 w 6994525"/>
                  <a:gd name="connsiteY10640" fmla="*/ 4524100 h 7571036"/>
                  <a:gd name="connsiteX10641" fmla="*/ 3919031 w 6994525"/>
                  <a:gd name="connsiteY10641" fmla="*/ 4548264 h 7571036"/>
                  <a:gd name="connsiteX10642" fmla="*/ 3943194 w 6994525"/>
                  <a:gd name="connsiteY10642" fmla="*/ 4572430 h 7571036"/>
                  <a:gd name="connsiteX10643" fmla="*/ 3967360 w 6994525"/>
                  <a:gd name="connsiteY10643" fmla="*/ 4548264 h 7571036"/>
                  <a:gd name="connsiteX10644" fmla="*/ 3967606 w 6994525"/>
                  <a:gd name="connsiteY10644" fmla="*/ 7322242 h 7571036"/>
                  <a:gd name="connsiteX10645" fmla="*/ 3962675 w 6994525"/>
                  <a:gd name="connsiteY10645" fmla="*/ 7317310 h 7571036"/>
                  <a:gd name="connsiteX10646" fmla="*/ 3957743 w 6994525"/>
                  <a:gd name="connsiteY10646" fmla="*/ 7322242 h 7571036"/>
                  <a:gd name="connsiteX10647" fmla="*/ 3962675 w 6994525"/>
                  <a:gd name="connsiteY10647" fmla="*/ 7327173 h 7571036"/>
                  <a:gd name="connsiteX10648" fmla="*/ 3967606 w 6994525"/>
                  <a:gd name="connsiteY10648" fmla="*/ 7322242 h 7571036"/>
                  <a:gd name="connsiteX10649" fmla="*/ 3970811 w 6994525"/>
                  <a:gd name="connsiteY10649" fmla="*/ 2061843 h 7571036"/>
                  <a:gd name="connsiteX10650" fmla="*/ 3948375 w 6994525"/>
                  <a:gd name="connsiteY10650" fmla="*/ 2039402 h 7571036"/>
                  <a:gd name="connsiteX10651" fmla="*/ 3925935 w 6994525"/>
                  <a:gd name="connsiteY10651" fmla="*/ 2061843 h 7571036"/>
                  <a:gd name="connsiteX10652" fmla="*/ 3948375 w 6994525"/>
                  <a:gd name="connsiteY10652" fmla="*/ 2084281 h 7571036"/>
                  <a:gd name="connsiteX10653" fmla="*/ 3970811 w 6994525"/>
                  <a:gd name="connsiteY10653" fmla="*/ 2061843 h 7571036"/>
                  <a:gd name="connsiteX10654" fmla="*/ 3976975 w 6994525"/>
                  <a:gd name="connsiteY10654" fmla="*/ 4310565 h 7571036"/>
                  <a:gd name="connsiteX10655" fmla="*/ 3937523 w 6994525"/>
                  <a:gd name="connsiteY10655" fmla="*/ 4271112 h 7571036"/>
                  <a:gd name="connsiteX10656" fmla="*/ 3898070 w 6994525"/>
                  <a:gd name="connsiteY10656" fmla="*/ 4310565 h 7571036"/>
                  <a:gd name="connsiteX10657" fmla="*/ 3937523 w 6994525"/>
                  <a:gd name="connsiteY10657" fmla="*/ 4350016 h 7571036"/>
                  <a:gd name="connsiteX10658" fmla="*/ 3976975 w 6994525"/>
                  <a:gd name="connsiteY10658" fmla="*/ 4310565 h 7571036"/>
                  <a:gd name="connsiteX10659" fmla="*/ 3978456 w 6994525"/>
                  <a:gd name="connsiteY10659" fmla="*/ 5117855 h 7571036"/>
                  <a:gd name="connsiteX10660" fmla="*/ 3954290 w 6994525"/>
                  <a:gd name="connsiteY10660" fmla="*/ 5093689 h 7571036"/>
                  <a:gd name="connsiteX10661" fmla="*/ 3930127 w 6994525"/>
                  <a:gd name="connsiteY10661" fmla="*/ 5117855 h 7571036"/>
                  <a:gd name="connsiteX10662" fmla="*/ 3954290 w 6994525"/>
                  <a:gd name="connsiteY10662" fmla="*/ 5142018 h 7571036"/>
                  <a:gd name="connsiteX10663" fmla="*/ 3978456 w 6994525"/>
                  <a:gd name="connsiteY10663" fmla="*/ 5117855 h 7571036"/>
                  <a:gd name="connsiteX10664" fmla="*/ 3979688 w 6994525"/>
                  <a:gd name="connsiteY10664" fmla="*/ 1611162 h 7571036"/>
                  <a:gd name="connsiteX10665" fmla="*/ 3946894 w 6994525"/>
                  <a:gd name="connsiteY10665" fmla="*/ 1578368 h 7571036"/>
                  <a:gd name="connsiteX10666" fmla="*/ 3914346 w 6994525"/>
                  <a:gd name="connsiteY10666" fmla="*/ 1611162 h 7571036"/>
                  <a:gd name="connsiteX10667" fmla="*/ 3946894 w 6994525"/>
                  <a:gd name="connsiteY10667" fmla="*/ 1643711 h 7571036"/>
                  <a:gd name="connsiteX10668" fmla="*/ 3979688 w 6994525"/>
                  <a:gd name="connsiteY10668" fmla="*/ 1611162 h 7571036"/>
                  <a:gd name="connsiteX10669" fmla="*/ 3984128 w 6994525"/>
                  <a:gd name="connsiteY10669" fmla="*/ 4187524 h 7571036"/>
                  <a:gd name="connsiteX10670" fmla="*/ 3933826 w 6994525"/>
                  <a:gd name="connsiteY10670" fmla="*/ 4137223 h 7571036"/>
                  <a:gd name="connsiteX10671" fmla="*/ 3883525 w 6994525"/>
                  <a:gd name="connsiteY10671" fmla="*/ 4187524 h 7571036"/>
                  <a:gd name="connsiteX10672" fmla="*/ 3933826 w 6994525"/>
                  <a:gd name="connsiteY10672" fmla="*/ 4237827 h 7571036"/>
                  <a:gd name="connsiteX10673" fmla="*/ 3984128 w 6994525"/>
                  <a:gd name="connsiteY10673" fmla="*/ 4187524 h 7571036"/>
                  <a:gd name="connsiteX10674" fmla="*/ 3984374 w 6994525"/>
                  <a:gd name="connsiteY10674" fmla="*/ 4430400 h 7571036"/>
                  <a:gd name="connsiteX10675" fmla="*/ 3940731 w 6994525"/>
                  <a:gd name="connsiteY10675" fmla="*/ 4386756 h 7571036"/>
                  <a:gd name="connsiteX10676" fmla="*/ 3897087 w 6994525"/>
                  <a:gd name="connsiteY10676" fmla="*/ 4430400 h 7571036"/>
                  <a:gd name="connsiteX10677" fmla="*/ 3940731 w 6994525"/>
                  <a:gd name="connsiteY10677" fmla="*/ 4474046 h 7571036"/>
                  <a:gd name="connsiteX10678" fmla="*/ 3984374 w 6994525"/>
                  <a:gd name="connsiteY10678" fmla="*/ 4430400 h 7571036"/>
                  <a:gd name="connsiteX10679" fmla="*/ 3984619 w 6994525"/>
                  <a:gd name="connsiteY10679" fmla="*/ 69052 h 7571036"/>
                  <a:gd name="connsiteX10680" fmla="*/ 3950594 w 6994525"/>
                  <a:gd name="connsiteY10680" fmla="*/ 35027 h 7571036"/>
                  <a:gd name="connsiteX10681" fmla="*/ 3916565 w 6994525"/>
                  <a:gd name="connsiteY10681" fmla="*/ 69052 h 7571036"/>
                  <a:gd name="connsiteX10682" fmla="*/ 3950594 w 6994525"/>
                  <a:gd name="connsiteY10682" fmla="*/ 103079 h 7571036"/>
                  <a:gd name="connsiteX10683" fmla="*/ 3984619 w 6994525"/>
                  <a:gd name="connsiteY10683" fmla="*/ 69052 h 7571036"/>
                  <a:gd name="connsiteX10684" fmla="*/ 3984868 w 6994525"/>
                  <a:gd name="connsiteY10684" fmla="*/ 287962 h 7571036"/>
                  <a:gd name="connsiteX10685" fmla="*/ 3951085 w 6994525"/>
                  <a:gd name="connsiteY10685" fmla="*/ 254183 h 7571036"/>
                  <a:gd name="connsiteX10686" fmla="*/ 3917305 w 6994525"/>
                  <a:gd name="connsiteY10686" fmla="*/ 287962 h 7571036"/>
                  <a:gd name="connsiteX10687" fmla="*/ 3951085 w 6994525"/>
                  <a:gd name="connsiteY10687" fmla="*/ 321741 h 7571036"/>
                  <a:gd name="connsiteX10688" fmla="*/ 3984868 w 6994525"/>
                  <a:gd name="connsiteY10688" fmla="*/ 287962 h 7571036"/>
                  <a:gd name="connsiteX10689" fmla="*/ 3985361 w 6994525"/>
                  <a:gd name="connsiteY10689" fmla="*/ 397419 h 7571036"/>
                  <a:gd name="connsiteX10690" fmla="*/ 3951577 w 6994525"/>
                  <a:gd name="connsiteY10690" fmla="*/ 363640 h 7571036"/>
                  <a:gd name="connsiteX10691" fmla="*/ 3917797 w 6994525"/>
                  <a:gd name="connsiteY10691" fmla="*/ 397419 h 7571036"/>
                  <a:gd name="connsiteX10692" fmla="*/ 3951577 w 6994525"/>
                  <a:gd name="connsiteY10692" fmla="*/ 431201 h 7571036"/>
                  <a:gd name="connsiteX10693" fmla="*/ 3985361 w 6994525"/>
                  <a:gd name="connsiteY10693" fmla="*/ 397419 h 7571036"/>
                  <a:gd name="connsiteX10694" fmla="*/ 3985605 w 6994525"/>
                  <a:gd name="connsiteY10694" fmla="*/ 4779553 h 7571036"/>
                  <a:gd name="connsiteX10695" fmla="*/ 3946402 w 6994525"/>
                  <a:gd name="connsiteY10695" fmla="*/ 4740592 h 7571036"/>
                  <a:gd name="connsiteX10696" fmla="*/ 3907441 w 6994525"/>
                  <a:gd name="connsiteY10696" fmla="*/ 4779553 h 7571036"/>
                  <a:gd name="connsiteX10697" fmla="*/ 3946402 w 6994525"/>
                  <a:gd name="connsiteY10697" fmla="*/ 4818511 h 7571036"/>
                  <a:gd name="connsiteX10698" fmla="*/ 3985605 w 6994525"/>
                  <a:gd name="connsiteY10698" fmla="*/ 4779553 h 7571036"/>
                  <a:gd name="connsiteX10699" fmla="*/ 3986841 w 6994525"/>
                  <a:gd name="connsiteY10699" fmla="*/ 178506 h 7571036"/>
                  <a:gd name="connsiteX10700" fmla="*/ 3951085 w 6994525"/>
                  <a:gd name="connsiteY10700" fmla="*/ 142755 h 7571036"/>
                  <a:gd name="connsiteX10701" fmla="*/ 3915333 w 6994525"/>
                  <a:gd name="connsiteY10701" fmla="*/ 178506 h 7571036"/>
                  <a:gd name="connsiteX10702" fmla="*/ 3951085 w 6994525"/>
                  <a:gd name="connsiteY10702" fmla="*/ 214258 h 7571036"/>
                  <a:gd name="connsiteX10703" fmla="*/ 3986841 w 6994525"/>
                  <a:gd name="connsiteY10703" fmla="*/ 178506 h 7571036"/>
                  <a:gd name="connsiteX10704" fmla="*/ 3987581 w 6994525"/>
                  <a:gd name="connsiteY10704" fmla="*/ 1499477 h 7571036"/>
                  <a:gd name="connsiteX10705" fmla="*/ 3946894 w 6994525"/>
                  <a:gd name="connsiteY10705" fmla="*/ 1458792 h 7571036"/>
                  <a:gd name="connsiteX10706" fmla="*/ 3906210 w 6994525"/>
                  <a:gd name="connsiteY10706" fmla="*/ 1499477 h 7571036"/>
                  <a:gd name="connsiteX10707" fmla="*/ 3946894 w 6994525"/>
                  <a:gd name="connsiteY10707" fmla="*/ 1540165 h 7571036"/>
                  <a:gd name="connsiteX10708" fmla="*/ 3987581 w 6994525"/>
                  <a:gd name="connsiteY10708" fmla="*/ 1499477 h 7571036"/>
                  <a:gd name="connsiteX10709" fmla="*/ 3988073 w 6994525"/>
                  <a:gd name="connsiteY10709" fmla="*/ 1388283 h 7571036"/>
                  <a:gd name="connsiteX10710" fmla="*/ 3946648 w 6994525"/>
                  <a:gd name="connsiteY10710" fmla="*/ 1346862 h 7571036"/>
                  <a:gd name="connsiteX10711" fmla="*/ 3905223 w 6994525"/>
                  <a:gd name="connsiteY10711" fmla="*/ 1388283 h 7571036"/>
                  <a:gd name="connsiteX10712" fmla="*/ 3946648 w 6994525"/>
                  <a:gd name="connsiteY10712" fmla="*/ 1429709 h 7571036"/>
                  <a:gd name="connsiteX10713" fmla="*/ 3988073 w 6994525"/>
                  <a:gd name="connsiteY10713" fmla="*/ 1388283 h 7571036"/>
                  <a:gd name="connsiteX10714" fmla="*/ 3988073 w 6994525"/>
                  <a:gd name="connsiteY10714" fmla="*/ 3850949 h 7571036"/>
                  <a:gd name="connsiteX10715" fmla="*/ 3985361 w 6994525"/>
                  <a:gd name="connsiteY10715" fmla="*/ 3848236 h 7571036"/>
                  <a:gd name="connsiteX10716" fmla="*/ 3982647 w 6994525"/>
                  <a:gd name="connsiteY10716" fmla="*/ 3850949 h 7571036"/>
                  <a:gd name="connsiteX10717" fmla="*/ 3985361 w 6994525"/>
                  <a:gd name="connsiteY10717" fmla="*/ 3853663 h 7571036"/>
                  <a:gd name="connsiteX10718" fmla="*/ 3988073 w 6994525"/>
                  <a:gd name="connsiteY10718" fmla="*/ 3850949 h 7571036"/>
                  <a:gd name="connsiteX10719" fmla="*/ 3992018 w 6994525"/>
                  <a:gd name="connsiteY10719" fmla="*/ 3363718 h 7571036"/>
                  <a:gd name="connsiteX10720" fmla="*/ 3989305 w 6994525"/>
                  <a:gd name="connsiteY10720" fmla="*/ 3361005 h 7571036"/>
                  <a:gd name="connsiteX10721" fmla="*/ 3986591 w 6994525"/>
                  <a:gd name="connsiteY10721" fmla="*/ 3363718 h 7571036"/>
                  <a:gd name="connsiteX10722" fmla="*/ 3989305 w 6994525"/>
                  <a:gd name="connsiteY10722" fmla="*/ 3366428 h 7571036"/>
                  <a:gd name="connsiteX10723" fmla="*/ 3992018 w 6994525"/>
                  <a:gd name="connsiteY10723" fmla="*/ 3363718 h 7571036"/>
                  <a:gd name="connsiteX10724" fmla="*/ 3994237 w 6994525"/>
                  <a:gd name="connsiteY10724" fmla="*/ 2800549 h 7571036"/>
                  <a:gd name="connsiteX10725" fmla="*/ 3982153 w 6994525"/>
                  <a:gd name="connsiteY10725" fmla="*/ 2788467 h 7571036"/>
                  <a:gd name="connsiteX10726" fmla="*/ 3970071 w 6994525"/>
                  <a:gd name="connsiteY10726" fmla="*/ 2800549 h 7571036"/>
                  <a:gd name="connsiteX10727" fmla="*/ 3982153 w 6994525"/>
                  <a:gd name="connsiteY10727" fmla="*/ 2812630 h 7571036"/>
                  <a:gd name="connsiteX10728" fmla="*/ 3994237 w 6994525"/>
                  <a:gd name="connsiteY10728" fmla="*/ 2800549 h 7571036"/>
                  <a:gd name="connsiteX10729" fmla="*/ 3994237 w 6994525"/>
                  <a:gd name="connsiteY10729" fmla="*/ 4891745 h 7571036"/>
                  <a:gd name="connsiteX10730" fmla="*/ 3953058 w 6994525"/>
                  <a:gd name="connsiteY10730" fmla="*/ 4850566 h 7571036"/>
                  <a:gd name="connsiteX10731" fmla="*/ 3911879 w 6994525"/>
                  <a:gd name="connsiteY10731" fmla="*/ 4891745 h 7571036"/>
                  <a:gd name="connsiteX10732" fmla="*/ 3953058 w 6994525"/>
                  <a:gd name="connsiteY10732" fmla="*/ 4932924 h 7571036"/>
                  <a:gd name="connsiteX10733" fmla="*/ 3994237 w 6994525"/>
                  <a:gd name="connsiteY10733" fmla="*/ 4891745 h 7571036"/>
                  <a:gd name="connsiteX10734" fmla="*/ 3996950 w 6994525"/>
                  <a:gd name="connsiteY10734" fmla="*/ 3591551 h 7571036"/>
                  <a:gd name="connsiteX10735" fmla="*/ 3989306 w 6994525"/>
                  <a:gd name="connsiteY10735" fmla="*/ 3583907 h 7571036"/>
                  <a:gd name="connsiteX10736" fmla="*/ 3981660 w 6994525"/>
                  <a:gd name="connsiteY10736" fmla="*/ 3591551 h 7571036"/>
                  <a:gd name="connsiteX10737" fmla="*/ 3989306 w 6994525"/>
                  <a:gd name="connsiteY10737" fmla="*/ 3599194 h 7571036"/>
                  <a:gd name="connsiteX10738" fmla="*/ 3996950 w 6994525"/>
                  <a:gd name="connsiteY10738" fmla="*/ 3591551 h 7571036"/>
                  <a:gd name="connsiteX10739" fmla="*/ 4000646 w 6994525"/>
                  <a:gd name="connsiteY10739" fmla="*/ 2931969 h 7571036"/>
                  <a:gd name="connsiteX10740" fmla="*/ 3972784 w 6994525"/>
                  <a:gd name="connsiteY10740" fmla="*/ 2904107 h 7571036"/>
                  <a:gd name="connsiteX10741" fmla="*/ 3944921 w 6994525"/>
                  <a:gd name="connsiteY10741" fmla="*/ 2931969 h 7571036"/>
                  <a:gd name="connsiteX10742" fmla="*/ 3972784 w 6994525"/>
                  <a:gd name="connsiteY10742" fmla="*/ 2959834 h 7571036"/>
                  <a:gd name="connsiteX10743" fmla="*/ 4000646 w 6994525"/>
                  <a:gd name="connsiteY10743" fmla="*/ 2931969 h 7571036"/>
                  <a:gd name="connsiteX10744" fmla="*/ 4000649 w 6994525"/>
                  <a:gd name="connsiteY10744" fmla="*/ 2311611 h 7571036"/>
                  <a:gd name="connsiteX10745" fmla="*/ 3995718 w 6994525"/>
                  <a:gd name="connsiteY10745" fmla="*/ 2306680 h 7571036"/>
                  <a:gd name="connsiteX10746" fmla="*/ 3990786 w 6994525"/>
                  <a:gd name="connsiteY10746" fmla="*/ 2311611 h 7571036"/>
                  <a:gd name="connsiteX10747" fmla="*/ 3995718 w 6994525"/>
                  <a:gd name="connsiteY10747" fmla="*/ 2316542 h 7571036"/>
                  <a:gd name="connsiteX10748" fmla="*/ 4000649 w 6994525"/>
                  <a:gd name="connsiteY10748" fmla="*/ 2311611 h 7571036"/>
                  <a:gd name="connsiteX10749" fmla="*/ 4005577 w 6994525"/>
                  <a:gd name="connsiteY10749" fmla="*/ 2194499 h 7571036"/>
                  <a:gd name="connsiteX10750" fmla="*/ 3996700 w 6994525"/>
                  <a:gd name="connsiteY10750" fmla="*/ 2185621 h 7571036"/>
                  <a:gd name="connsiteX10751" fmla="*/ 3987824 w 6994525"/>
                  <a:gd name="connsiteY10751" fmla="*/ 2194499 h 7571036"/>
                  <a:gd name="connsiteX10752" fmla="*/ 3996700 w 6994525"/>
                  <a:gd name="connsiteY10752" fmla="*/ 2203377 h 7571036"/>
                  <a:gd name="connsiteX10753" fmla="*/ 4005577 w 6994525"/>
                  <a:gd name="connsiteY10753" fmla="*/ 2194499 h 7571036"/>
                  <a:gd name="connsiteX10754" fmla="*/ 4005827 w 6994525"/>
                  <a:gd name="connsiteY10754" fmla="*/ 3477387 h 7571036"/>
                  <a:gd name="connsiteX10755" fmla="*/ 4002128 w 6994525"/>
                  <a:gd name="connsiteY10755" fmla="*/ 3473688 h 7571036"/>
                  <a:gd name="connsiteX10756" fmla="*/ 3998428 w 6994525"/>
                  <a:gd name="connsiteY10756" fmla="*/ 3477387 h 7571036"/>
                  <a:gd name="connsiteX10757" fmla="*/ 4002128 w 6994525"/>
                  <a:gd name="connsiteY10757" fmla="*/ 3481086 h 7571036"/>
                  <a:gd name="connsiteX10758" fmla="*/ 4005827 w 6994525"/>
                  <a:gd name="connsiteY10758" fmla="*/ 3477387 h 7571036"/>
                  <a:gd name="connsiteX10759" fmla="*/ 4011745 w 6994525"/>
                  <a:gd name="connsiteY10759" fmla="*/ 2429960 h 7571036"/>
                  <a:gd name="connsiteX10760" fmla="*/ 3993991 w 6994525"/>
                  <a:gd name="connsiteY10760" fmla="*/ 2412207 h 7571036"/>
                  <a:gd name="connsiteX10761" fmla="*/ 3976237 w 6994525"/>
                  <a:gd name="connsiteY10761" fmla="*/ 2429960 h 7571036"/>
                  <a:gd name="connsiteX10762" fmla="*/ 3993991 w 6994525"/>
                  <a:gd name="connsiteY10762" fmla="*/ 2447715 h 7571036"/>
                  <a:gd name="connsiteX10763" fmla="*/ 4011745 w 6994525"/>
                  <a:gd name="connsiteY10763" fmla="*/ 2429960 h 7571036"/>
                  <a:gd name="connsiteX10764" fmla="*/ 4016676 w 6994525"/>
                  <a:gd name="connsiteY10764" fmla="*/ 2673815 h 7571036"/>
                  <a:gd name="connsiteX10765" fmla="*/ 3988073 w 6994525"/>
                  <a:gd name="connsiteY10765" fmla="*/ 2645213 h 7571036"/>
                  <a:gd name="connsiteX10766" fmla="*/ 3959469 w 6994525"/>
                  <a:gd name="connsiteY10766" fmla="*/ 2673815 h 7571036"/>
                  <a:gd name="connsiteX10767" fmla="*/ 3988073 w 6994525"/>
                  <a:gd name="connsiteY10767" fmla="*/ 2702419 h 7571036"/>
                  <a:gd name="connsiteX10768" fmla="*/ 4016676 w 6994525"/>
                  <a:gd name="connsiteY10768" fmla="*/ 2673815 h 7571036"/>
                  <a:gd name="connsiteX10769" fmla="*/ 4019140 w 6994525"/>
                  <a:gd name="connsiteY10769" fmla="*/ 2550531 h 7571036"/>
                  <a:gd name="connsiteX10770" fmla="*/ 3991524 w 6994525"/>
                  <a:gd name="connsiteY10770" fmla="*/ 2522915 h 7571036"/>
                  <a:gd name="connsiteX10771" fmla="*/ 3963908 w 6994525"/>
                  <a:gd name="connsiteY10771" fmla="*/ 2550531 h 7571036"/>
                  <a:gd name="connsiteX10772" fmla="*/ 3991524 w 6994525"/>
                  <a:gd name="connsiteY10772" fmla="*/ 2578148 h 7571036"/>
                  <a:gd name="connsiteX10773" fmla="*/ 4019140 w 6994525"/>
                  <a:gd name="connsiteY10773" fmla="*/ 2550531 h 7571036"/>
                  <a:gd name="connsiteX10774" fmla="*/ 4027031 w 6994525"/>
                  <a:gd name="connsiteY10774" fmla="*/ 3103830 h 7571036"/>
                  <a:gd name="connsiteX10775" fmla="*/ 3984868 w 6994525"/>
                  <a:gd name="connsiteY10775" fmla="*/ 3061665 h 7571036"/>
                  <a:gd name="connsiteX10776" fmla="*/ 3942703 w 6994525"/>
                  <a:gd name="connsiteY10776" fmla="*/ 3103830 h 7571036"/>
                  <a:gd name="connsiteX10777" fmla="*/ 3984868 w 6994525"/>
                  <a:gd name="connsiteY10777" fmla="*/ 3145995 h 7571036"/>
                  <a:gd name="connsiteX10778" fmla="*/ 4027031 w 6994525"/>
                  <a:gd name="connsiteY10778" fmla="*/ 3103830 h 7571036"/>
                  <a:gd name="connsiteX10779" fmla="*/ 4043059 w 6994525"/>
                  <a:gd name="connsiteY10779" fmla="*/ 1068517 h 7571036"/>
                  <a:gd name="connsiteX10780" fmla="*/ 4007058 w 6994525"/>
                  <a:gd name="connsiteY10780" fmla="*/ 1032517 h 7571036"/>
                  <a:gd name="connsiteX10781" fmla="*/ 3971059 w 6994525"/>
                  <a:gd name="connsiteY10781" fmla="*/ 1068517 h 7571036"/>
                  <a:gd name="connsiteX10782" fmla="*/ 4007058 w 6994525"/>
                  <a:gd name="connsiteY10782" fmla="*/ 1104520 h 7571036"/>
                  <a:gd name="connsiteX10783" fmla="*/ 4043059 w 6994525"/>
                  <a:gd name="connsiteY10783" fmla="*/ 1068517 h 7571036"/>
                  <a:gd name="connsiteX10784" fmla="*/ 4043552 w 6994525"/>
                  <a:gd name="connsiteY10784" fmla="*/ 847130 h 7571036"/>
                  <a:gd name="connsiteX10785" fmla="*/ 4007553 w 6994525"/>
                  <a:gd name="connsiteY10785" fmla="*/ 811132 h 7571036"/>
                  <a:gd name="connsiteX10786" fmla="*/ 3971551 w 6994525"/>
                  <a:gd name="connsiteY10786" fmla="*/ 847130 h 7571036"/>
                  <a:gd name="connsiteX10787" fmla="*/ 4007553 w 6994525"/>
                  <a:gd name="connsiteY10787" fmla="*/ 883125 h 7571036"/>
                  <a:gd name="connsiteX10788" fmla="*/ 4043552 w 6994525"/>
                  <a:gd name="connsiteY10788" fmla="*/ 847130 h 7571036"/>
                  <a:gd name="connsiteX10789" fmla="*/ 4045770 w 6994525"/>
                  <a:gd name="connsiteY10789" fmla="*/ 516247 h 7571036"/>
                  <a:gd name="connsiteX10790" fmla="*/ 4006813 w 6994525"/>
                  <a:gd name="connsiteY10790" fmla="*/ 477291 h 7571036"/>
                  <a:gd name="connsiteX10791" fmla="*/ 3967852 w 6994525"/>
                  <a:gd name="connsiteY10791" fmla="*/ 516247 h 7571036"/>
                  <a:gd name="connsiteX10792" fmla="*/ 4006813 w 6994525"/>
                  <a:gd name="connsiteY10792" fmla="*/ 555207 h 7571036"/>
                  <a:gd name="connsiteX10793" fmla="*/ 4045770 w 6994525"/>
                  <a:gd name="connsiteY10793" fmla="*/ 516247 h 7571036"/>
                  <a:gd name="connsiteX10794" fmla="*/ 4046016 w 6994525"/>
                  <a:gd name="connsiteY10794" fmla="*/ 957829 h 7571036"/>
                  <a:gd name="connsiteX10795" fmla="*/ 4006813 w 6994525"/>
                  <a:gd name="connsiteY10795" fmla="*/ 918616 h 7571036"/>
                  <a:gd name="connsiteX10796" fmla="*/ 3967606 w 6994525"/>
                  <a:gd name="connsiteY10796" fmla="*/ 957829 h 7571036"/>
                  <a:gd name="connsiteX10797" fmla="*/ 4006813 w 6994525"/>
                  <a:gd name="connsiteY10797" fmla="*/ 997033 h 7571036"/>
                  <a:gd name="connsiteX10798" fmla="*/ 4046016 w 6994525"/>
                  <a:gd name="connsiteY10798" fmla="*/ 957829 h 7571036"/>
                  <a:gd name="connsiteX10799" fmla="*/ 4046265 w 6994525"/>
                  <a:gd name="connsiteY10799" fmla="*/ 626445 h 7571036"/>
                  <a:gd name="connsiteX10800" fmla="*/ 4006813 w 6994525"/>
                  <a:gd name="connsiteY10800" fmla="*/ 586995 h 7571036"/>
                  <a:gd name="connsiteX10801" fmla="*/ 3967360 w 6994525"/>
                  <a:gd name="connsiteY10801" fmla="*/ 626445 h 7571036"/>
                  <a:gd name="connsiteX10802" fmla="*/ 4006813 w 6994525"/>
                  <a:gd name="connsiteY10802" fmla="*/ 665936 h 7571036"/>
                  <a:gd name="connsiteX10803" fmla="*/ 4046265 w 6994525"/>
                  <a:gd name="connsiteY10803" fmla="*/ 626445 h 7571036"/>
                  <a:gd name="connsiteX10804" fmla="*/ 4047743 w 6994525"/>
                  <a:gd name="connsiteY10804" fmla="*/ 3981385 h 7571036"/>
                  <a:gd name="connsiteX10805" fmla="*/ 4016181 w 6994525"/>
                  <a:gd name="connsiteY10805" fmla="*/ 3949823 h 7571036"/>
                  <a:gd name="connsiteX10806" fmla="*/ 3984619 w 6994525"/>
                  <a:gd name="connsiteY10806" fmla="*/ 3981385 h 7571036"/>
                  <a:gd name="connsiteX10807" fmla="*/ 4016181 w 6994525"/>
                  <a:gd name="connsiteY10807" fmla="*/ 4012946 h 7571036"/>
                  <a:gd name="connsiteX10808" fmla="*/ 4047743 w 6994525"/>
                  <a:gd name="connsiteY10808" fmla="*/ 3981385 h 7571036"/>
                  <a:gd name="connsiteX10809" fmla="*/ 4047991 w 6994525"/>
                  <a:gd name="connsiteY10809" fmla="*/ 736928 h 7571036"/>
                  <a:gd name="connsiteX10810" fmla="*/ 4007306 w 6994525"/>
                  <a:gd name="connsiteY10810" fmla="*/ 696251 h 7571036"/>
                  <a:gd name="connsiteX10811" fmla="*/ 3966374 w 6994525"/>
                  <a:gd name="connsiteY10811" fmla="*/ 736928 h 7571036"/>
                  <a:gd name="connsiteX10812" fmla="*/ 4007306 w 6994525"/>
                  <a:gd name="connsiteY10812" fmla="*/ 777615 h 7571036"/>
                  <a:gd name="connsiteX10813" fmla="*/ 4047991 w 6994525"/>
                  <a:gd name="connsiteY10813" fmla="*/ 736928 h 7571036"/>
                  <a:gd name="connsiteX10814" fmla="*/ 4049964 w 6994525"/>
                  <a:gd name="connsiteY10814" fmla="*/ 1179460 h 7571036"/>
                  <a:gd name="connsiteX10815" fmla="*/ 4007058 w 6994525"/>
                  <a:gd name="connsiteY10815" fmla="*/ 1136559 h 7571036"/>
                  <a:gd name="connsiteX10816" fmla="*/ 3964155 w 6994525"/>
                  <a:gd name="connsiteY10816" fmla="*/ 1179460 h 7571036"/>
                  <a:gd name="connsiteX10817" fmla="*/ 4007058 w 6994525"/>
                  <a:gd name="connsiteY10817" fmla="*/ 1222370 h 7571036"/>
                  <a:gd name="connsiteX10818" fmla="*/ 4049964 w 6994525"/>
                  <a:gd name="connsiteY10818" fmla="*/ 1179460 h 7571036"/>
                  <a:gd name="connsiteX10819" fmla="*/ 4050702 w 6994525"/>
                  <a:gd name="connsiteY10819" fmla="*/ 1290895 h 7571036"/>
                  <a:gd name="connsiteX10820" fmla="*/ 4007056 w 6994525"/>
                  <a:gd name="connsiteY10820" fmla="*/ 1247257 h 7571036"/>
                  <a:gd name="connsiteX10821" fmla="*/ 3963166 w 6994525"/>
                  <a:gd name="connsiteY10821" fmla="*/ 1290895 h 7571036"/>
                  <a:gd name="connsiteX10822" fmla="*/ 4007056 w 6994525"/>
                  <a:gd name="connsiteY10822" fmla="*/ 1334545 h 7571036"/>
                  <a:gd name="connsiteX10823" fmla="*/ 4050702 w 6994525"/>
                  <a:gd name="connsiteY10823" fmla="*/ 1290895 h 7571036"/>
                  <a:gd name="connsiteX10824" fmla="*/ 4051442 w 6994525"/>
                  <a:gd name="connsiteY10824" fmla="*/ 3753797 h 7571036"/>
                  <a:gd name="connsiteX10825" fmla="*/ 4045773 w 6994525"/>
                  <a:gd name="connsiteY10825" fmla="*/ 3748125 h 7571036"/>
                  <a:gd name="connsiteX10826" fmla="*/ 4040101 w 6994525"/>
                  <a:gd name="connsiteY10826" fmla="*/ 3753797 h 7571036"/>
                  <a:gd name="connsiteX10827" fmla="*/ 4045773 w 6994525"/>
                  <a:gd name="connsiteY10827" fmla="*/ 3759467 h 7571036"/>
                  <a:gd name="connsiteX10828" fmla="*/ 4051442 w 6994525"/>
                  <a:gd name="connsiteY10828" fmla="*/ 3753797 h 7571036"/>
                  <a:gd name="connsiteX10829" fmla="*/ 4064511 w 6994525"/>
                  <a:gd name="connsiteY10829" fmla="*/ 1755902 h 7571036"/>
                  <a:gd name="connsiteX10830" fmla="*/ 4059087 w 6994525"/>
                  <a:gd name="connsiteY10830" fmla="*/ 1750474 h 7571036"/>
                  <a:gd name="connsiteX10831" fmla="*/ 4053660 w 6994525"/>
                  <a:gd name="connsiteY10831" fmla="*/ 1755902 h 7571036"/>
                  <a:gd name="connsiteX10832" fmla="*/ 4059087 w 6994525"/>
                  <a:gd name="connsiteY10832" fmla="*/ 1761327 h 7571036"/>
                  <a:gd name="connsiteX10833" fmla="*/ 4064511 w 6994525"/>
                  <a:gd name="connsiteY10833" fmla="*/ 1755902 h 7571036"/>
                  <a:gd name="connsiteX10834" fmla="*/ 4066237 w 6994525"/>
                  <a:gd name="connsiteY10834" fmla="*/ 4618045 h 7571036"/>
                  <a:gd name="connsiteX10835" fmla="*/ 4050702 w 6994525"/>
                  <a:gd name="connsiteY10835" fmla="*/ 4602510 h 7571036"/>
                  <a:gd name="connsiteX10836" fmla="*/ 4035166 w 6994525"/>
                  <a:gd name="connsiteY10836" fmla="*/ 4618045 h 7571036"/>
                  <a:gd name="connsiteX10837" fmla="*/ 4050702 w 6994525"/>
                  <a:gd name="connsiteY10837" fmla="*/ 4633577 h 7571036"/>
                  <a:gd name="connsiteX10838" fmla="*/ 4066237 w 6994525"/>
                  <a:gd name="connsiteY10838" fmla="*/ 4618045 h 7571036"/>
                  <a:gd name="connsiteX10839" fmla="*/ 4068455 w 6994525"/>
                  <a:gd name="connsiteY10839" fmla="*/ 5423854 h 7571036"/>
                  <a:gd name="connsiteX10840" fmla="*/ 4067960 w 6994525"/>
                  <a:gd name="connsiteY10840" fmla="*/ 5423362 h 7571036"/>
                  <a:gd name="connsiteX10841" fmla="*/ 4067468 w 6994525"/>
                  <a:gd name="connsiteY10841" fmla="*/ 5423854 h 7571036"/>
                  <a:gd name="connsiteX10842" fmla="*/ 4067960 w 6994525"/>
                  <a:gd name="connsiteY10842" fmla="*/ 5424348 h 7571036"/>
                  <a:gd name="connsiteX10843" fmla="*/ 4068455 w 6994525"/>
                  <a:gd name="connsiteY10843" fmla="*/ 5423854 h 7571036"/>
                  <a:gd name="connsiteX10844" fmla="*/ 4069441 w 6994525"/>
                  <a:gd name="connsiteY10844" fmla="*/ 5196756 h 7571036"/>
                  <a:gd name="connsiteX10845" fmla="*/ 4066237 w 6994525"/>
                  <a:gd name="connsiteY10845" fmla="*/ 5193551 h 7571036"/>
                  <a:gd name="connsiteX10846" fmla="*/ 4063031 w 6994525"/>
                  <a:gd name="connsiteY10846" fmla="*/ 5196756 h 7571036"/>
                  <a:gd name="connsiteX10847" fmla="*/ 4066237 w 6994525"/>
                  <a:gd name="connsiteY10847" fmla="*/ 5199961 h 7571036"/>
                  <a:gd name="connsiteX10848" fmla="*/ 4069441 w 6994525"/>
                  <a:gd name="connsiteY10848" fmla="*/ 5196756 h 7571036"/>
                  <a:gd name="connsiteX10849" fmla="*/ 4072403 w 6994525"/>
                  <a:gd name="connsiteY10849" fmla="*/ 1870545 h 7571036"/>
                  <a:gd name="connsiteX10850" fmla="*/ 4058841 w 6994525"/>
                  <a:gd name="connsiteY10850" fmla="*/ 1856987 h 7571036"/>
                  <a:gd name="connsiteX10851" fmla="*/ 4045278 w 6994525"/>
                  <a:gd name="connsiteY10851" fmla="*/ 1870545 h 7571036"/>
                  <a:gd name="connsiteX10852" fmla="*/ 4058841 w 6994525"/>
                  <a:gd name="connsiteY10852" fmla="*/ 1884102 h 7571036"/>
                  <a:gd name="connsiteX10853" fmla="*/ 4072403 w 6994525"/>
                  <a:gd name="connsiteY10853" fmla="*/ 1870545 h 7571036"/>
                  <a:gd name="connsiteX10854" fmla="*/ 4072646 w 6994525"/>
                  <a:gd name="connsiteY10854" fmla="*/ 6094787 h 7571036"/>
                  <a:gd name="connsiteX10855" fmla="*/ 4070922 w 6994525"/>
                  <a:gd name="connsiteY10855" fmla="*/ 6093060 h 7571036"/>
                  <a:gd name="connsiteX10856" fmla="*/ 4069195 w 6994525"/>
                  <a:gd name="connsiteY10856" fmla="*/ 6094787 h 7571036"/>
                  <a:gd name="connsiteX10857" fmla="*/ 4070922 w 6994525"/>
                  <a:gd name="connsiteY10857" fmla="*/ 6096514 h 7571036"/>
                  <a:gd name="connsiteX10858" fmla="*/ 4072646 w 6994525"/>
                  <a:gd name="connsiteY10858" fmla="*/ 6094787 h 7571036"/>
                  <a:gd name="connsiteX10859" fmla="*/ 4072646 w 6994525"/>
                  <a:gd name="connsiteY10859" fmla="*/ 6205747 h 7571036"/>
                  <a:gd name="connsiteX10860" fmla="*/ 4070922 w 6994525"/>
                  <a:gd name="connsiteY10860" fmla="*/ 6204019 h 7571036"/>
                  <a:gd name="connsiteX10861" fmla="*/ 4069195 w 6994525"/>
                  <a:gd name="connsiteY10861" fmla="*/ 6205747 h 7571036"/>
                  <a:gd name="connsiteX10862" fmla="*/ 4070922 w 6994525"/>
                  <a:gd name="connsiteY10862" fmla="*/ 6207473 h 7571036"/>
                  <a:gd name="connsiteX10863" fmla="*/ 4072646 w 6994525"/>
                  <a:gd name="connsiteY10863" fmla="*/ 6205747 h 7571036"/>
                  <a:gd name="connsiteX10864" fmla="*/ 4073387 w 6994525"/>
                  <a:gd name="connsiteY10864" fmla="*/ 1985905 h 7571036"/>
                  <a:gd name="connsiteX10865" fmla="*/ 4058592 w 6994525"/>
                  <a:gd name="connsiteY10865" fmla="*/ 1971114 h 7571036"/>
                  <a:gd name="connsiteX10866" fmla="*/ 4044043 w 6994525"/>
                  <a:gd name="connsiteY10866" fmla="*/ 1985905 h 7571036"/>
                  <a:gd name="connsiteX10867" fmla="*/ 4058592 w 6994525"/>
                  <a:gd name="connsiteY10867" fmla="*/ 2000696 h 7571036"/>
                  <a:gd name="connsiteX10868" fmla="*/ 4073387 w 6994525"/>
                  <a:gd name="connsiteY10868" fmla="*/ 1985905 h 7571036"/>
                  <a:gd name="connsiteX10869" fmla="*/ 4073387 w 6994525"/>
                  <a:gd name="connsiteY10869" fmla="*/ 4967197 h 7571036"/>
                  <a:gd name="connsiteX10870" fmla="*/ 4063773 w 6994525"/>
                  <a:gd name="connsiteY10870" fmla="*/ 4957579 h 7571036"/>
                  <a:gd name="connsiteX10871" fmla="*/ 4054155 w 6994525"/>
                  <a:gd name="connsiteY10871" fmla="*/ 4967197 h 7571036"/>
                  <a:gd name="connsiteX10872" fmla="*/ 4063773 w 6994525"/>
                  <a:gd name="connsiteY10872" fmla="*/ 4976811 h 7571036"/>
                  <a:gd name="connsiteX10873" fmla="*/ 4073387 w 6994525"/>
                  <a:gd name="connsiteY10873" fmla="*/ 4967197 h 7571036"/>
                  <a:gd name="connsiteX10874" fmla="*/ 4074372 w 6994525"/>
                  <a:gd name="connsiteY10874" fmla="*/ 6316459 h 7571036"/>
                  <a:gd name="connsiteX10875" fmla="*/ 4071414 w 6994525"/>
                  <a:gd name="connsiteY10875" fmla="*/ 6313499 h 7571036"/>
                  <a:gd name="connsiteX10876" fmla="*/ 4068455 w 6994525"/>
                  <a:gd name="connsiteY10876" fmla="*/ 6316459 h 7571036"/>
                  <a:gd name="connsiteX10877" fmla="*/ 4071414 w 6994525"/>
                  <a:gd name="connsiteY10877" fmla="*/ 6319418 h 7571036"/>
                  <a:gd name="connsiteX10878" fmla="*/ 4074372 w 6994525"/>
                  <a:gd name="connsiteY10878" fmla="*/ 6316459 h 7571036"/>
                  <a:gd name="connsiteX10879" fmla="*/ 4074619 w 6994525"/>
                  <a:gd name="connsiteY10879" fmla="*/ 6427171 h 7571036"/>
                  <a:gd name="connsiteX10880" fmla="*/ 4071415 w 6994525"/>
                  <a:gd name="connsiteY10880" fmla="*/ 6423965 h 7571036"/>
                  <a:gd name="connsiteX10881" fmla="*/ 4068209 w 6994525"/>
                  <a:gd name="connsiteY10881" fmla="*/ 6427171 h 7571036"/>
                  <a:gd name="connsiteX10882" fmla="*/ 4071415 w 6994525"/>
                  <a:gd name="connsiteY10882" fmla="*/ 6430375 h 7571036"/>
                  <a:gd name="connsiteX10883" fmla="*/ 4074619 w 6994525"/>
                  <a:gd name="connsiteY10883" fmla="*/ 6427171 h 7571036"/>
                  <a:gd name="connsiteX10884" fmla="*/ 4074622 w 6994525"/>
                  <a:gd name="connsiteY10884" fmla="*/ 5983336 h 7571036"/>
                  <a:gd name="connsiteX10885" fmla="*/ 4072155 w 6994525"/>
                  <a:gd name="connsiteY10885" fmla="*/ 5980869 h 7571036"/>
                  <a:gd name="connsiteX10886" fmla="*/ 4069690 w 6994525"/>
                  <a:gd name="connsiteY10886" fmla="*/ 5983336 h 7571036"/>
                  <a:gd name="connsiteX10887" fmla="*/ 4072155 w 6994525"/>
                  <a:gd name="connsiteY10887" fmla="*/ 5985801 h 7571036"/>
                  <a:gd name="connsiteX10888" fmla="*/ 4074622 w 6994525"/>
                  <a:gd name="connsiteY10888" fmla="*/ 5983336 h 7571036"/>
                  <a:gd name="connsiteX10889" fmla="*/ 4075113 w 6994525"/>
                  <a:gd name="connsiteY10889" fmla="*/ 5759693 h 7571036"/>
                  <a:gd name="connsiteX10890" fmla="*/ 4073389 w 6994525"/>
                  <a:gd name="connsiteY10890" fmla="*/ 5757965 h 7571036"/>
                  <a:gd name="connsiteX10891" fmla="*/ 4071662 w 6994525"/>
                  <a:gd name="connsiteY10891" fmla="*/ 5759693 h 7571036"/>
                  <a:gd name="connsiteX10892" fmla="*/ 4073389 w 6994525"/>
                  <a:gd name="connsiteY10892" fmla="*/ 5761419 h 7571036"/>
                  <a:gd name="connsiteX10893" fmla="*/ 4075113 w 6994525"/>
                  <a:gd name="connsiteY10893" fmla="*/ 5759693 h 7571036"/>
                  <a:gd name="connsiteX10894" fmla="*/ 4075359 w 6994525"/>
                  <a:gd name="connsiteY10894" fmla="*/ 4118482 h 7571036"/>
                  <a:gd name="connsiteX10895" fmla="*/ 4028016 w 6994525"/>
                  <a:gd name="connsiteY10895" fmla="*/ 4071139 h 7571036"/>
                  <a:gd name="connsiteX10896" fmla="*/ 3980674 w 6994525"/>
                  <a:gd name="connsiteY10896" fmla="*/ 4118482 h 7571036"/>
                  <a:gd name="connsiteX10897" fmla="*/ 4028016 w 6994525"/>
                  <a:gd name="connsiteY10897" fmla="*/ 4165824 h 7571036"/>
                  <a:gd name="connsiteX10898" fmla="*/ 4075359 w 6994525"/>
                  <a:gd name="connsiteY10898" fmla="*/ 4118482 h 7571036"/>
                  <a:gd name="connsiteX10899" fmla="*/ 4075606 w 6994525"/>
                  <a:gd name="connsiteY10899" fmla="*/ 4249169 h 7571036"/>
                  <a:gd name="connsiteX10900" fmla="*/ 4036403 w 6994525"/>
                  <a:gd name="connsiteY10900" fmla="*/ 4209962 h 7571036"/>
                  <a:gd name="connsiteX10901" fmla="*/ 3997196 w 6994525"/>
                  <a:gd name="connsiteY10901" fmla="*/ 4249169 h 7571036"/>
                  <a:gd name="connsiteX10902" fmla="*/ 4036403 w 6994525"/>
                  <a:gd name="connsiteY10902" fmla="*/ 4288372 h 7571036"/>
                  <a:gd name="connsiteX10903" fmla="*/ 4075606 w 6994525"/>
                  <a:gd name="connsiteY10903" fmla="*/ 4249169 h 7571036"/>
                  <a:gd name="connsiteX10904" fmla="*/ 4076100 w 6994525"/>
                  <a:gd name="connsiteY10904" fmla="*/ 6757336 h 7571036"/>
                  <a:gd name="connsiteX10905" fmla="*/ 4074128 w 6994525"/>
                  <a:gd name="connsiteY10905" fmla="*/ 6755363 h 7571036"/>
                  <a:gd name="connsiteX10906" fmla="*/ 4072155 w 6994525"/>
                  <a:gd name="connsiteY10906" fmla="*/ 6757336 h 7571036"/>
                  <a:gd name="connsiteX10907" fmla="*/ 4074128 w 6994525"/>
                  <a:gd name="connsiteY10907" fmla="*/ 6759308 h 7571036"/>
                  <a:gd name="connsiteX10908" fmla="*/ 4076100 w 6994525"/>
                  <a:gd name="connsiteY10908" fmla="*/ 6757336 h 7571036"/>
                  <a:gd name="connsiteX10909" fmla="*/ 4077086 w 6994525"/>
                  <a:gd name="connsiteY10909" fmla="*/ 6867307 h 7571036"/>
                  <a:gd name="connsiteX10910" fmla="*/ 4074865 w 6994525"/>
                  <a:gd name="connsiteY10910" fmla="*/ 6865088 h 7571036"/>
                  <a:gd name="connsiteX10911" fmla="*/ 4072646 w 6994525"/>
                  <a:gd name="connsiteY10911" fmla="*/ 6867307 h 7571036"/>
                  <a:gd name="connsiteX10912" fmla="*/ 4074865 w 6994525"/>
                  <a:gd name="connsiteY10912" fmla="*/ 6869525 h 7571036"/>
                  <a:gd name="connsiteX10913" fmla="*/ 4077086 w 6994525"/>
                  <a:gd name="connsiteY10913" fmla="*/ 6867307 h 7571036"/>
                  <a:gd name="connsiteX10914" fmla="*/ 4077087 w 6994525"/>
                  <a:gd name="connsiteY10914" fmla="*/ 2102283 h 7571036"/>
                  <a:gd name="connsiteX10915" fmla="*/ 4058099 w 6994525"/>
                  <a:gd name="connsiteY10915" fmla="*/ 2083295 h 7571036"/>
                  <a:gd name="connsiteX10916" fmla="*/ 4039112 w 6994525"/>
                  <a:gd name="connsiteY10916" fmla="*/ 2102283 h 7571036"/>
                  <a:gd name="connsiteX10917" fmla="*/ 4058099 w 6994525"/>
                  <a:gd name="connsiteY10917" fmla="*/ 2121270 h 7571036"/>
                  <a:gd name="connsiteX10918" fmla="*/ 4077087 w 6994525"/>
                  <a:gd name="connsiteY10918" fmla="*/ 2102283 h 7571036"/>
                  <a:gd name="connsiteX10919" fmla="*/ 4077332 w 6994525"/>
                  <a:gd name="connsiteY10919" fmla="*/ 4497470 h 7571036"/>
                  <a:gd name="connsiteX10920" fmla="*/ 4047251 w 6994525"/>
                  <a:gd name="connsiteY10920" fmla="*/ 4467386 h 7571036"/>
                  <a:gd name="connsiteX10921" fmla="*/ 4017168 w 6994525"/>
                  <a:gd name="connsiteY10921" fmla="*/ 4497470 h 7571036"/>
                  <a:gd name="connsiteX10922" fmla="*/ 4047251 w 6994525"/>
                  <a:gd name="connsiteY10922" fmla="*/ 4527551 h 7571036"/>
                  <a:gd name="connsiteX10923" fmla="*/ 4077332 w 6994525"/>
                  <a:gd name="connsiteY10923" fmla="*/ 4497470 h 7571036"/>
                  <a:gd name="connsiteX10924" fmla="*/ 4077332 w 6994525"/>
                  <a:gd name="connsiteY10924" fmla="*/ 5310430 h 7571036"/>
                  <a:gd name="connsiteX10925" fmla="*/ 4067718 w 6994525"/>
                  <a:gd name="connsiteY10925" fmla="*/ 5300812 h 7571036"/>
                  <a:gd name="connsiteX10926" fmla="*/ 4058101 w 6994525"/>
                  <a:gd name="connsiteY10926" fmla="*/ 5310430 h 7571036"/>
                  <a:gd name="connsiteX10927" fmla="*/ 4067718 w 6994525"/>
                  <a:gd name="connsiteY10927" fmla="*/ 5320044 h 7571036"/>
                  <a:gd name="connsiteX10928" fmla="*/ 4077332 w 6994525"/>
                  <a:gd name="connsiteY10928" fmla="*/ 5310430 h 7571036"/>
                  <a:gd name="connsiteX10929" fmla="*/ 4077334 w 6994525"/>
                  <a:gd name="connsiteY10929" fmla="*/ 6536896 h 7571036"/>
                  <a:gd name="connsiteX10930" fmla="*/ 4075113 w 6994525"/>
                  <a:gd name="connsiteY10930" fmla="*/ 6534677 h 7571036"/>
                  <a:gd name="connsiteX10931" fmla="*/ 4072895 w 6994525"/>
                  <a:gd name="connsiteY10931" fmla="*/ 6536896 h 7571036"/>
                  <a:gd name="connsiteX10932" fmla="*/ 4075113 w 6994525"/>
                  <a:gd name="connsiteY10932" fmla="*/ 6539114 h 7571036"/>
                  <a:gd name="connsiteX10933" fmla="*/ 4077334 w 6994525"/>
                  <a:gd name="connsiteY10933" fmla="*/ 6536896 h 7571036"/>
                  <a:gd name="connsiteX10934" fmla="*/ 4077334 w 6994525"/>
                  <a:gd name="connsiteY10934" fmla="*/ 6647115 h 7571036"/>
                  <a:gd name="connsiteX10935" fmla="*/ 4075113 w 6994525"/>
                  <a:gd name="connsiteY10935" fmla="*/ 6644897 h 7571036"/>
                  <a:gd name="connsiteX10936" fmla="*/ 4072895 w 6994525"/>
                  <a:gd name="connsiteY10936" fmla="*/ 6647115 h 7571036"/>
                  <a:gd name="connsiteX10937" fmla="*/ 4075113 w 6994525"/>
                  <a:gd name="connsiteY10937" fmla="*/ 6649333 h 7571036"/>
                  <a:gd name="connsiteX10938" fmla="*/ 4077334 w 6994525"/>
                  <a:gd name="connsiteY10938" fmla="*/ 6647115 h 7571036"/>
                  <a:gd name="connsiteX10939" fmla="*/ 4077577 w 6994525"/>
                  <a:gd name="connsiteY10939" fmla="*/ 5647499 h 7571036"/>
                  <a:gd name="connsiteX10940" fmla="*/ 4073386 w 6994525"/>
                  <a:gd name="connsiteY10940" fmla="*/ 5643308 h 7571036"/>
                  <a:gd name="connsiteX10941" fmla="*/ 4069195 w 6994525"/>
                  <a:gd name="connsiteY10941" fmla="*/ 5647499 h 7571036"/>
                  <a:gd name="connsiteX10942" fmla="*/ 4073386 w 6994525"/>
                  <a:gd name="connsiteY10942" fmla="*/ 5651690 h 7571036"/>
                  <a:gd name="connsiteX10943" fmla="*/ 4077577 w 6994525"/>
                  <a:gd name="connsiteY10943" fmla="*/ 5647499 h 7571036"/>
                  <a:gd name="connsiteX10944" fmla="*/ 4078072 w 6994525"/>
                  <a:gd name="connsiteY10944" fmla="*/ 6977281 h 7571036"/>
                  <a:gd name="connsiteX10945" fmla="*/ 4074619 w 6994525"/>
                  <a:gd name="connsiteY10945" fmla="*/ 6973828 h 7571036"/>
                  <a:gd name="connsiteX10946" fmla="*/ 4071168 w 6994525"/>
                  <a:gd name="connsiteY10946" fmla="*/ 6977281 h 7571036"/>
                  <a:gd name="connsiteX10947" fmla="*/ 4074619 w 6994525"/>
                  <a:gd name="connsiteY10947" fmla="*/ 6980732 h 7571036"/>
                  <a:gd name="connsiteX10948" fmla="*/ 4078072 w 6994525"/>
                  <a:gd name="connsiteY10948" fmla="*/ 6977281 h 7571036"/>
                  <a:gd name="connsiteX10949" fmla="*/ 4078813 w 6994525"/>
                  <a:gd name="connsiteY10949" fmla="*/ 7087253 h 7571036"/>
                  <a:gd name="connsiteX10950" fmla="*/ 4074868 w 6994525"/>
                  <a:gd name="connsiteY10950" fmla="*/ 7083307 h 7571036"/>
                  <a:gd name="connsiteX10951" fmla="*/ 4070922 w 6994525"/>
                  <a:gd name="connsiteY10951" fmla="*/ 7087253 h 7571036"/>
                  <a:gd name="connsiteX10952" fmla="*/ 4074868 w 6994525"/>
                  <a:gd name="connsiteY10952" fmla="*/ 7091197 h 7571036"/>
                  <a:gd name="connsiteX10953" fmla="*/ 4078813 w 6994525"/>
                  <a:gd name="connsiteY10953" fmla="*/ 7087253 h 7571036"/>
                  <a:gd name="connsiteX10954" fmla="*/ 4079551 w 6994525"/>
                  <a:gd name="connsiteY10954" fmla="*/ 5871636 h 7571036"/>
                  <a:gd name="connsiteX10955" fmla="*/ 4072646 w 6994525"/>
                  <a:gd name="connsiteY10955" fmla="*/ 5864731 h 7571036"/>
                  <a:gd name="connsiteX10956" fmla="*/ 4065742 w 6994525"/>
                  <a:gd name="connsiteY10956" fmla="*/ 5871636 h 7571036"/>
                  <a:gd name="connsiteX10957" fmla="*/ 4072646 w 6994525"/>
                  <a:gd name="connsiteY10957" fmla="*/ 5878540 h 7571036"/>
                  <a:gd name="connsiteX10958" fmla="*/ 4079551 w 6994525"/>
                  <a:gd name="connsiteY10958" fmla="*/ 5871636 h 7571036"/>
                  <a:gd name="connsiteX10959" fmla="*/ 4079799 w 6994525"/>
                  <a:gd name="connsiteY10959" fmla="*/ 7197227 h 7571036"/>
                  <a:gd name="connsiteX10960" fmla="*/ 4075113 w 6994525"/>
                  <a:gd name="connsiteY10960" fmla="*/ 7192540 h 7571036"/>
                  <a:gd name="connsiteX10961" fmla="*/ 4070427 w 6994525"/>
                  <a:gd name="connsiteY10961" fmla="*/ 7197227 h 7571036"/>
                  <a:gd name="connsiteX10962" fmla="*/ 4075113 w 6994525"/>
                  <a:gd name="connsiteY10962" fmla="*/ 7201912 h 7571036"/>
                  <a:gd name="connsiteX10963" fmla="*/ 4079799 w 6994525"/>
                  <a:gd name="connsiteY10963" fmla="*/ 7197227 h 7571036"/>
                  <a:gd name="connsiteX10964" fmla="*/ 4081522 w 6994525"/>
                  <a:gd name="connsiteY10964" fmla="*/ 7415941 h 7571036"/>
                  <a:gd name="connsiteX10965" fmla="*/ 4077827 w 6994525"/>
                  <a:gd name="connsiteY10965" fmla="*/ 7412241 h 7571036"/>
                  <a:gd name="connsiteX10966" fmla="*/ 4074127 w 6994525"/>
                  <a:gd name="connsiteY10966" fmla="*/ 7415941 h 7571036"/>
                  <a:gd name="connsiteX10967" fmla="*/ 4077827 w 6994525"/>
                  <a:gd name="connsiteY10967" fmla="*/ 7419636 h 7571036"/>
                  <a:gd name="connsiteX10968" fmla="*/ 4081522 w 6994525"/>
                  <a:gd name="connsiteY10968" fmla="*/ 7415941 h 7571036"/>
                  <a:gd name="connsiteX10969" fmla="*/ 4082266 w 6994525"/>
                  <a:gd name="connsiteY10969" fmla="*/ 2875755 h 7571036"/>
                  <a:gd name="connsiteX10970" fmla="*/ 4071663 w 6994525"/>
                  <a:gd name="connsiteY10970" fmla="*/ 2865153 h 7571036"/>
                  <a:gd name="connsiteX10971" fmla="*/ 4061059 w 6994525"/>
                  <a:gd name="connsiteY10971" fmla="*/ 2875755 h 7571036"/>
                  <a:gd name="connsiteX10972" fmla="*/ 4071663 w 6994525"/>
                  <a:gd name="connsiteY10972" fmla="*/ 2886360 h 7571036"/>
                  <a:gd name="connsiteX10973" fmla="*/ 4082266 w 6994525"/>
                  <a:gd name="connsiteY10973" fmla="*/ 2875755 h 7571036"/>
                  <a:gd name="connsiteX10974" fmla="*/ 4082513 w 6994525"/>
                  <a:gd name="connsiteY10974" fmla="*/ 7525666 h 7571036"/>
                  <a:gd name="connsiteX10975" fmla="*/ 4078072 w 6994525"/>
                  <a:gd name="connsiteY10975" fmla="*/ 7521228 h 7571036"/>
                  <a:gd name="connsiteX10976" fmla="*/ 4073635 w 6994525"/>
                  <a:gd name="connsiteY10976" fmla="*/ 7525666 h 7571036"/>
                  <a:gd name="connsiteX10977" fmla="*/ 4078072 w 6994525"/>
                  <a:gd name="connsiteY10977" fmla="*/ 7530106 h 7571036"/>
                  <a:gd name="connsiteX10978" fmla="*/ 4082513 w 6994525"/>
                  <a:gd name="connsiteY10978" fmla="*/ 7525666 h 7571036"/>
                  <a:gd name="connsiteX10979" fmla="*/ 4083253 w 6994525"/>
                  <a:gd name="connsiteY10979" fmla="*/ 7306458 h 7571036"/>
                  <a:gd name="connsiteX10980" fmla="*/ 4078072 w 6994525"/>
                  <a:gd name="connsiteY10980" fmla="*/ 7301280 h 7571036"/>
                  <a:gd name="connsiteX10981" fmla="*/ 4072895 w 6994525"/>
                  <a:gd name="connsiteY10981" fmla="*/ 7306458 h 7571036"/>
                  <a:gd name="connsiteX10982" fmla="*/ 4078072 w 6994525"/>
                  <a:gd name="connsiteY10982" fmla="*/ 7311638 h 7571036"/>
                  <a:gd name="connsiteX10983" fmla="*/ 4083253 w 6994525"/>
                  <a:gd name="connsiteY10983" fmla="*/ 7306458 h 7571036"/>
                  <a:gd name="connsiteX10984" fmla="*/ 4084236 w 6994525"/>
                  <a:gd name="connsiteY10984" fmla="*/ 3016299 h 7571036"/>
                  <a:gd name="connsiteX10985" fmla="*/ 4054155 w 6994525"/>
                  <a:gd name="connsiteY10985" fmla="*/ 2986216 h 7571036"/>
                  <a:gd name="connsiteX10986" fmla="*/ 4024071 w 6994525"/>
                  <a:gd name="connsiteY10986" fmla="*/ 3016299 h 7571036"/>
                  <a:gd name="connsiteX10987" fmla="*/ 4054155 w 6994525"/>
                  <a:gd name="connsiteY10987" fmla="*/ 3046381 h 7571036"/>
                  <a:gd name="connsiteX10988" fmla="*/ 4084236 w 6994525"/>
                  <a:gd name="connsiteY10988" fmla="*/ 3016299 h 7571036"/>
                  <a:gd name="connsiteX10989" fmla="*/ 4085471 w 6994525"/>
                  <a:gd name="connsiteY10989" fmla="*/ 3200980 h 7571036"/>
                  <a:gd name="connsiteX10990" fmla="*/ 4045278 w 6994525"/>
                  <a:gd name="connsiteY10990" fmla="*/ 3160787 h 7571036"/>
                  <a:gd name="connsiteX10991" fmla="*/ 4005086 w 6994525"/>
                  <a:gd name="connsiteY10991" fmla="*/ 3200980 h 7571036"/>
                  <a:gd name="connsiteX10992" fmla="*/ 4045278 w 6994525"/>
                  <a:gd name="connsiteY10992" fmla="*/ 3241171 h 7571036"/>
                  <a:gd name="connsiteX10993" fmla="*/ 4085471 w 6994525"/>
                  <a:gd name="connsiteY10993" fmla="*/ 3200980 h 7571036"/>
                  <a:gd name="connsiteX10994" fmla="*/ 4085717 w 6994525"/>
                  <a:gd name="connsiteY10994" fmla="*/ 4374922 h 7571036"/>
                  <a:gd name="connsiteX10995" fmla="*/ 4042565 w 6994525"/>
                  <a:gd name="connsiteY10995" fmla="*/ 4331771 h 7571036"/>
                  <a:gd name="connsiteX10996" fmla="*/ 3999413 w 6994525"/>
                  <a:gd name="connsiteY10996" fmla="*/ 4374922 h 7571036"/>
                  <a:gd name="connsiteX10997" fmla="*/ 4042565 w 6994525"/>
                  <a:gd name="connsiteY10997" fmla="*/ 4418074 h 7571036"/>
                  <a:gd name="connsiteX10998" fmla="*/ 4085717 w 6994525"/>
                  <a:gd name="connsiteY10998" fmla="*/ 4374922 h 7571036"/>
                  <a:gd name="connsiteX10999" fmla="*/ 4088181 w 6994525"/>
                  <a:gd name="connsiteY10999" fmla="*/ 4736647 h 7571036"/>
                  <a:gd name="connsiteX11000" fmla="*/ 4053660 w 6994525"/>
                  <a:gd name="connsiteY11000" fmla="*/ 4701880 h 7571036"/>
                  <a:gd name="connsiteX11001" fmla="*/ 4018894 w 6994525"/>
                  <a:gd name="connsiteY11001" fmla="*/ 4736647 h 7571036"/>
                  <a:gd name="connsiteX11002" fmla="*/ 4053660 w 6994525"/>
                  <a:gd name="connsiteY11002" fmla="*/ 4771167 h 7571036"/>
                  <a:gd name="connsiteX11003" fmla="*/ 4088181 w 6994525"/>
                  <a:gd name="connsiteY11003" fmla="*/ 4736647 h 7571036"/>
                  <a:gd name="connsiteX11004" fmla="*/ 4089694 w 6994525"/>
                  <a:gd name="connsiteY11004" fmla="*/ 0 h 7571036"/>
                  <a:gd name="connsiteX11005" fmla="*/ 4040315 w 6994525"/>
                  <a:gd name="connsiteY11005" fmla="*/ 0 h 7571036"/>
                  <a:gd name="connsiteX11006" fmla="*/ 4040625 w 6994525"/>
                  <a:gd name="connsiteY11006" fmla="*/ 744 h 7571036"/>
                  <a:gd name="connsiteX11007" fmla="*/ 4065005 w 6994525"/>
                  <a:gd name="connsiteY11007" fmla="*/ 10885 h 7571036"/>
                  <a:gd name="connsiteX11008" fmla="*/ 4089385 w 6994525"/>
                  <a:gd name="connsiteY11008" fmla="*/ 744 h 7571036"/>
                  <a:gd name="connsiteX11009" fmla="*/ 4093112 w 6994525"/>
                  <a:gd name="connsiteY11009" fmla="*/ 5082594 h 7571036"/>
                  <a:gd name="connsiteX11010" fmla="*/ 4065250 w 6994525"/>
                  <a:gd name="connsiteY11010" fmla="*/ 5054731 h 7571036"/>
                  <a:gd name="connsiteX11011" fmla="*/ 4037388 w 6994525"/>
                  <a:gd name="connsiteY11011" fmla="*/ 5082594 h 7571036"/>
                  <a:gd name="connsiteX11012" fmla="*/ 4065250 w 6994525"/>
                  <a:gd name="connsiteY11012" fmla="*/ 5110459 h 7571036"/>
                  <a:gd name="connsiteX11013" fmla="*/ 4093112 w 6994525"/>
                  <a:gd name="connsiteY11013" fmla="*/ 5082594 h 7571036"/>
                  <a:gd name="connsiteX11014" fmla="*/ 4093853 w 6994525"/>
                  <a:gd name="connsiteY11014" fmla="*/ 1641985 h 7571036"/>
                  <a:gd name="connsiteX11015" fmla="*/ 4058839 w 6994525"/>
                  <a:gd name="connsiteY11015" fmla="*/ 1606969 h 7571036"/>
                  <a:gd name="connsiteX11016" fmla="*/ 4023825 w 6994525"/>
                  <a:gd name="connsiteY11016" fmla="*/ 1641985 h 7571036"/>
                  <a:gd name="connsiteX11017" fmla="*/ 4058839 w 6994525"/>
                  <a:gd name="connsiteY11017" fmla="*/ 1676996 h 7571036"/>
                  <a:gd name="connsiteX11018" fmla="*/ 4093853 w 6994525"/>
                  <a:gd name="connsiteY11018" fmla="*/ 1641985 h 7571036"/>
                  <a:gd name="connsiteX11019" fmla="*/ 4100263 w 6994525"/>
                  <a:gd name="connsiteY11019" fmla="*/ 86313 h 7571036"/>
                  <a:gd name="connsiteX11020" fmla="*/ 4065248 w 6994525"/>
                  <a:gd name="connsiteY11020" fmla="*/ 51300 h 7571036"/>
                  <a:gd name="connsiteX11021" fmla="*/ 4030235 w 6994525"/>
                  <a:gd name="connsiteY11021" fmla="*/ 86313 h 7571036"/>
                  <a:gd name="connsiteX11022" fmla="*/ 4065248 w 6994525"/>
                  <a:gd name="connsiteY11022" fmla="*/ 121324 h 7571036"/>
                  <a:gd name="connsiteX11023" fmla="*/ 4100263 w 6994525"/>
                  <a:gd name="connsiteY11023" fmla="*/ 86313 h 7571036"/>
                  <a:gd name="connsiteX11024" fmla="*/ 4100266 w 6994525"/>
                  <a:gd name="connsiteY11024" fmla="*/ 3646785 h 7571036"/>
                  <a:gd name="connsiteX11025" fmla="*/ 4086950 w 6994525"/>
                  <a:gd name="connsiteY11025" fmla="*/ 3633469 h 7571036"/>
                  <a:gd name="connsiteX11026" fmla="*/ 4073881 w 6994525"/>
                  <a:gd name="connsiteY11026" fmla="*/ 3646785 h 7571036"/>
                  <a:gd name="connsiteX11027" fmla="*/ 4086950 w 6994525"/>
                  <a:gd name="connsiteY11027" fmla="*/ 3660099 h 7571036"/>
                  <a:gd name="connsiteX11028" fmla="*/ 4100266 w 6994525"/>
                  <a:gd name="connsiteY11028" fmla="*/ 3646785 h 7571036"/>
                  <a:gd name="connsiteX11029" fmla="*/ 4100757 w 6994525"/>
                  <a:gd name="connsiteY11029" fmla="*/ 306701 h 7571036"/>
                  <a:gd name="connsiteX11030" fmla="*/ 4065990 w 6994525"/>
                  <a:gd name="connsiteY11030" fmla="*/ 271935 h 7571036"/>
                  <a:gd name="connsiteX11031" fmla="*/ 4031224 w 6994525"/>
                  <a:gd name="connsiteY11031" fmla="*/ 306701 h 7571036"/>
                  <a:gd name="connsiteX11032" fmla="*/ 4065990 w 6994525"/>
                  <a:gd name="connsiteY11032" fmla="*/ 341466 h 7571036"/>
                  <a:gd name="connsiteX11033" fmla="*/ 4100757 w 6994525"/>
                  <a:gd name="connsiteY11033" fmla="*/ 306701 h 7571036"/>
                  <a:gd name="connsiteX11034" fmla="*/ 4101002 w 6994525"/>
                  <a:gd name="connsiteY11034" fmla="*/ 416897 h 7571036"/>
                  <a:gd name="connsiteX11035" fmla="*/ 4066236 w 6994525"/>
                  <a:gd name="connsiteY11035" fmla="*/ 382133 h 7571036"/>
                  <a:gd name="connsiteX11036" fmla="*/ 4031470 w 6994525"/>
                  <a:gd name="connsiteY11036" fmla="*/ 416897 h 7571036"/>
                  <a:gd name="connsiteX11037" fmla="*/ 4066236 w 6994525"/>
                  <a:gd name="connsiteY11037" fmla="*/ 451662 h 7571036"/>
                  <a:gd name="connsiteX11038" fmla="*/ 4101002 w 6994525"/>
                  <a:gd name="connsiteY11038" fmla="*/ 416897 h 7571036"/>
                  <a:gd name="connsiteX11039" fmla="*/ 4101990 w 6994525"/>
                  <a:gd name="connsiteY11039" fmla="*/ 1528821 h 7571036"/>
                  <a:gd name="connsiteX11040" fmla="*/ 4059084 w 6994525"/>
                  <a:gd name="connsiteY11040" fmla="*/ 1485914 h 7571036"/>
                  <a:gd name="connsiteX11041" fmla="*/ 4016181 w 6994525"/>
                  <a:gd name="connsiteY11041" fmla="*/ 1528821 h 7571036"/>
                  <a:gd name="connsiteX11042" fmla="*/ 4059084 w 6994525"/>
                  <a:gd name="connsiteY11042" fmla="*/ 1571721 h 7571036"/>
                  <a:gd name="connsiteX11043" fmla="*/ 4101990 w 6994525"/>
                  <a:gd name="connsiteY11043" fmla="*/ 1528821 h 7571036"/>
                  <a:gd name="connsiteX11044" fmla="*/ 4102484 w 6994525"/>
                  <a:gd name="connsiteY11044" fmla="*/ 1415901 h 7571036"/>
                  <a:gd name="connsiteX11045" fmla="*/ 4058841 w 6994525"/>
                  <a:gd name="connsiteY11045" fmla="*/ 1372257 h 7571036"/>
                  <a:gd name="connsiteX11046" fmla="*/ 4015443 w 6994525"/>
                  <a:gd name="connsiteY11046" fmla="*/ 1415901 h 7571036"/>
                  <a:gd name="connsiteX11047" fmla="*/ 4058841 w 6994525"/>
                  <a:gd name="connsiteY11047" fmla="*/ 1459542 h 7571036"/>
                  <a:gd name="connsiteX11048" fmla="*/ 4102484 w 6994525"/>
                  <a:gd name="connsiteY11048" fmla="*/ 1415901 h 7571036"/>
                  <a:gd name="connsiteX11049" fmla="*/ 4102730 w 6994525"/>
                  <a:gd name="connsiteY11049" fmla="*/ 196505 h 7571036"/>
                  <a:gd name="connsiteX11050" fmla="*/ 4065991 w 6994525"/>
                  <a:gd name="connsiteY11050" fmla="*/ 159767 h 7571036"/>
                  <a:gd name="connsiteX11051" fmla="*/ 4029252 w 6994525"/>
                  <a:gd name="connsiteY11051" fmla="*/ 196505 h 7571036"/>
                  <a:gd name="connsiteX11052" fmla="*/ 4065991 w 6994525"/>
                  <a:gd name="connsiteY11052" fmla="*/ 233242 h 7571036"/>
                  <a:gd name="connsiteX11053" fmla="*/ 4102730 w 6994525"/>
                  <a:gd name="connsiteY11053" fmla="*/ 196505 h 7571036"/>
                  <a:gd name="connsiteX11054" fmla="*/ 4104704 w 6994525"/>
                  <a:gd name="connsiteY11054" fmla="*/ 2362408 h 7571036"/>
                  <a:gd name="connsiteX11055" fmla="*/ 4099525 w 6994525"/>
                  <a:gd name="connsiteY11055" fmla="*/ 2357233 h 7571036"/>
                  <a:gd name="connsiteX11056" fmla="*/ 4094099 w 6994525"/>
                  <a:gd name="connsiteY11056" fmla="*/ 2362408 h 7571036"/>
                  <a:gd name="connsiteX11057" fmla="*/ 4099525 w 6994525"/>
                  <a:gd name="connsiteY11057" fmla="*/ 2367835 h 7571036"/>
                  <a:gd name="connsiteX11058" fmla="*/ 4104704 w 6994525"/>
                  <a:gd name="connsiteY11058" fmla="*/ 2362408 h 7571036"/>
                  <a:gd name="connsiteX11059" fmla="*/ 4105689 w 6994525"/>
                  <a:gd name="connsiteY11059" fmla="*/ 2741130 h 7571036"/>
                  <a:gd name="connsiteX11060" fmla="*/ 4083003 w 6994525"/>
                  <a:gd name="connsiteY11060" fmla="*/ 2718445 h 7571036"/>
                  <a:gd name="connsiteX11061" fmla="*/ 4060319 w 6994525"/>
                  <a:gd name="connsiteY11061" fmla="*/ 2741130 h 7571036"/>
                  <a:gd name="connsiteX11062" fmla="*/ 4083003 w 6994525"/>
                  <a:gd name="connsiteY11062" fmla="*/ 2763815 h 7571036"/>
                  <a:gd name="connsiteX11063" fmla="*/ 4105689 w 6994525"/>
                  <a:gd name="connsiteY11063" fmla="*/ 2741130 h 7571036"/>
                  <a:gd name="connsiteX11064" fmla="*/ 4108154 w 6994525"/>
                  <a:gd name="connsiteY11064" fmla="*/ 4850813 h 7571036"/>
                  <a:gd name="connsiteX11065" fmla="*/ 4062537 w 6994525"/>
                  <a:gd name="connsiteY11065" fmla="*/ 4805197 h 7571036"/>
                  <a:gd name="connsiteX11066" fmla="*/ 4016921 w 6994525"/>
                  <a:gd name="connsiteY11066" fmla="*/ 4850813 h 7571036"/>
                  <a:gd name="connsiteX11067" fmla="*/ 4062537 w 6994525"/>
                  <a:gd name="connsiteY11067" fmla="*/ 4896429 h 7571036"/>
                  <a:gd name="connsiteX11068" fmla="*/ 4108154 w 6994525"/>
                  <a:gd name="connsiteY11068" fmla="*/ 4850813 h 7571036"/>
                  <a:gd name="connsiteX11069" fmla="*/ 4108647 w 6994525"/>
                  <a:gd name="connsiteY11069" fmla="*/ 2241351 h 7571036"/>
                  <a:gd name="connsiteX11070" fmla="*/ 4102235 w 6994525"/>
                  <a:gd name="connsiteY11070" fmla="*/ 2234936 h 7571036"/>
                  <a:gd name="connsiteX11071" fmla="*/ 4095825 w 6994525"/>
                  <a:gd name="connsiteY11071" fmla="*/ 2241351 h 7571036"/>
                  <a:gd name="connsiteX11072" fmla="*/ 4102235 w 6994525"/>
                  <a:gd name="connsiteY11072" fmla="*/ 2247763 h 7571036"/>
                  <a:gd name="connsiteX11073" fmla="*/ 4108647 w 6994525"/>
                  <a:gd name="connsiteY11073" fmla="*/ 2241351 h 7571036"/>
                  <a:gd name="connsiteX11074" fmla="*/ 4109139 w 6994525"/>
                  <a:gd name="connsiteY11074" fmla="*/ 2485688 h 7571036"/>
                  <a:gd name="connsiteX11075" fmla="*/ 4095580 w 6994525"/>
                  <a:gd name="connsiteY11075" fmla="*/ 2471881 h 7571036"/>
                  <a:gd name="connsiteX11076" fmla="*/ 4082017 w 6994525"/>
                  <a:gd name="connsiteY11076" fmla="*/ 2485688 h 7571036"/>
                  <a:gd name="connsiteX11077" fmla="*/ 4095580 w 6994525"/>
                  <a:gd name="connsiteY11077" fmla="*/ 2499250 h 7571036"/>
                  <a:gd name="connsiteX11078" fmla="*/ 4109139 w 6994525"/>
                  <a:gd name="connsiteY11078" fmla="*/ 2485688 h 7571036"/>
                  <a:gd name="connsiteX11079" fmla="*/ 4113088 w 6994525"/>
                  <a:gd name="connsiteY11079" fmla="*/ 2611437 h 7571036"/>
                  <a:gd name="connsiteX11080" fmla="*/ 4090402 w 6994525"/>
                  <a:gd name="connsiteY11080" fmla="*/ 2588751 h 7571036"/>
                  <a:gd name="connsiteX11081" fmla="*/ 4067717 w 6994525"/>
                  <a:gd name="connsiteY11081" fmla="*/ 2611437 h 7571036"/>
                  <a:gd name="connsiteX11082" fmla="*/ 4090402 w 6994525"/>
                  <a:gd name="connsiteY11082" fmla="*/ 2634121 h 7571036"/>
                  <a:gd name="connsiteX11083" fmla="*/ 4113088 w 6994525"/>
                  <a:gd name="connsiteY11083" fmla="*/ 2611437 h 7571036"/>
                  <a:gd name="connsiteX11084" fmla="*/ 4123197 w 6994525"/>
                  <a:gd name="connsiteY11084" fmla="*/ 3307499 h 7571036"/>
                  <a:gd name="connsiteX11085" fmla="*/ 4086950 w 6994525"/>
                  <a:gd name="connsiteY11085" fmla="*/ 3271007 h 7571036"/>
                  <a:gd name="connsiteX11086" fmla="*/ 4050702 w 6994525"/>
                  <a:gd name="connsiteY11086" fmla="*/ 3307499 h 7571036"/>
                  <a:gd name="connsiteX11087" fmla="*/ 4086950 w 6994525"/>
                  <a:gd name="connsiteY11087" fmla="*/ 3343747 h 7571036"/>
                  <a:gd name="connsiteX11088" fmla="*/ 4123197 w 6994525"/>
                  <a:gd name="connsiteY11088" fmla="*/ 3307499 h 7571036"/>
                  <a:gd name="connsiteX11089" fmla="*/ 4124921 w 6994525"/>
                  <a:gd name="connsiteY11089" fmla="*/ 3890890 h 7571036"/>
                  <a:gd name="connsiteX11090" fmla="*/ 4090154 w 6994525"/>
                  <a:gd name="connsiteY11090" fmla="*/ 3856124 h 7571036"/>
                  <a:gd name="connsiteX11091" fmla="*/ 4055388 w 6994525"/>
                  <a:gd name="connsiteY11091" fmla="*/ 3890890 h 7571036"/>
                  <a:gd name="connsiteX11092" fmla="*/ 4090154 w 6994525"/>
                  <a:gd name="connsiteY11092" fmla="*/ 3925659 h 7571036"/>
                  <a:gd name="connsiteX11093" fmla="*/ 4124921 w 6994525"/>
                  <a:gd name="connsiteY11093" fmla="*/ 3890890 h 7571036"/>
                  <a:gd name="connsiteX11094" fmla="*/ 4129360 w 6994525"/>
                  <a:gd name="connsiteY11094" fmla="*/ 3534593 h 7571036"/>
                  <a:gd name="connsiteX11095" fmla="*/ 4107908 w 6994525"/>
                  <a:gd name="connsiteY11095" fmla="*/ 3513139 h 7571036"/>
                  <a:gd name="connsiteX11096" fmla="*/ 4086455 w 6994525"/>
                  <a:gd name="connsiteY11096" fmla="*/ 3534593 h 7571036"/>
                  <a:gd name="connsiteX11097" fmla="*/ 4107908 w 6994525"/>
                  <a:gd name="connsiteY11097" fmla="*/ 3556043 h 7571036"/>
                  <a:gd name="connsiteX11098" fmla="*/ 4129360 w 6994525"/>
                  <a:gd name="connsiteY11098" fmla="*/ 3534593 h 7571036"/>
                  <a:gd name="connsiteX11099" fmla="*/ 4137743 w 6994525"/>
                  <a:gd name="connsiteY11099" fmla="*/ 3419939 h 7571036"/>
                  <a:gd name="connsiteX11100" fmla="*/ 4107908 w 6994525"/>
                  <a:gd name="connsiteY11100" fmla="*/ 3390103 h 7571036"/>
                  <a:gd name="connsiteX11101" fmla="*/ 4078072 w 6994525"/>
                  <a:gd name="connsiteY11101" fmla="*/ 3419939 h 7571036"/>
                  <a:gd name="connsiteX11102" fmla="*/ 4107908 w 6994525"/>
                  <a:gd name="connsiteY11102" fmla="*/ 3449773 h 7571036"/>
                  <a:gd name="connsiteX11103" fmla="*/ 4137743 w 6994525"/>
                  <a:gd name="connsiteY11103" fmla="*/ 3419939 h 7571036"/>
                  <a:gd name="connsiteX11104" fmla="*/ 4153281 w 6994525"/>
                  <a:gd name="connsiteY11104" fmla="*/ 3112711 h 7571036"/>
                  <a:gd name="connsiteX11105" fmla="*/ 4120978 w 6994525"/>
                  <a:gd name="connsiteY11105" fmla="*/ 3080409 h 7571036"/>
                  <a:gd name="connsiteX11106" fmla="*/ 4088676 w 6994525"/>
                  <a:gd name="connsiteY11106" fmla="*/ 3112711 h 7571036"/>
                  <a:gd name="connsiteX11107" fmla="*/ 4120978 w 6994525"/>
                  <a:gd name="connsiteY11107" fmla="*/ 3145010 h 7571036"/>
                  <a:gd name="connsiteX11108" fmla="*/ 4153281 w 6994525"/>
                  <a:gd name="connsiteY11108" fmla="*/ 3112711 h 7571036"/>
                  <a:gd name="connsiteX11109" fmla="*/ 4154512 w 6994525"/>
                  <a:gd name="connsiteY11109" fmla="*/ 4037605 h 7571036"/>
                  <a:gd name="connsiteX11110" fmla="*/ 4112102 w 6994525"/>
                  <a:gd name="connsiteY11110" fmla="*/ 3995193 h 7571036"/>
                  <a:gd name="connsiteX11111" fmla="*/ 4069690 w 6994525"/>
                  <a:gd name="connsiteY11111" fmla="*/ 4037605 h 7571036"/>
                  <a:gd name="connsiteX11112" fmla="*/ 4112102 w 6994525"/>
                  <a:gd name="connsiteY11112" fmla="*/ 4080016 h 7571036"/>
                  <a:gd name="connsiteX11113" fmla="*/ 4154512 w 6994525"/>
                  <a:gd name="connsiteY11113" fmla="*/ 4037605 h 7571036"/>
                  <a:gd name="connsiteX11114" fmla="*/ 4157471 w 6994525"/>
                  <a:gd name="connsiteY11114" fmla="*/ 1095646 h 7571036"/>
                  <a:gd name="connsiteX11115" fmla="*/ 4120237 w 6994525"/>
                  <a:gd name="connsiteY11115" fmla="*/ 1058408 h 7571036"/>
                  <a:gd name="connsiteX11116" fmla="*/ 4083003 w 6994525"/>
                  <a:gd name="connsiteY11116" fmla="*/ 1095646 h 7571036"/>
                  <a:gd name="connsiteX11117" fmla="*/ 4120237 w 6994525"/>
                  <a:gd name="connsiteY11117" fmla="*/ 1132876 h 7571036"/>
                  <a:gd name="connsiteX11118" fmla="*/ 4157471 w 6994525"/>
                  <a:gd name="connsiteY11118" fmla="*/ 1095646 h 7571036"/>
                  <a:gd name="connsiteX11119" fmla="*/ 4157962 w 6994525"/>
                  <a:gd name="connsiteY11119" fmla="*/ 872277 h 7571036"/>
                  <a:gd name="connsiteX11120" fmla="*/ 4120978 w 6994525"/>
                  <a:gd name="connsiteY11120" fmla="*/ 835300 h 7571036"/>
                  <a:gd name="connsiteX11121" fmla="*/ 4083990 w 6994525"/>
                  <a:gd name="connsiteY11121" fmla="*/ 872277 h 7571036"/>
                  <a:gd name="connsiteX11122" fmla="*/ 4120978 w 6994525"/>
                  <a:gd name="connsiteY11122" fmla="*/ 909265 h 7571036"/>
                  <a:gd name="connsiteX11123" fmla="*/ 4157962 w 6994525"/>
                  <a:gd name="connsiteY11123" fmla="*/ 872277 h 7571036"/>
                  <a:gd name="connsiteX11124" fmla="*/ 4159195 w 6994525"/>
                  <a:gd name="connsiteY11124" fmla="*/ 2962552 h 7571036"/>
                  <a:gd name="connsiteX11125" fmla="*/ 4149826 w 6994525"/>
                  <a:gd name="connsiteY11125" fmla="*/ 2953180 h 7571036"/>
                  <a:gd name="connsiteX11126" fmla="*/ 4140455 w 6994525"/>
                  <a:gd name="connsiteY11126" fmla="*/ 2962552 h 7571036"/>
                  <a:gd name="connsiteX11127" fmla="*/ 4149826 w 6994525"/>
                  <a:gd name="connsiteY11127" fmla="*/ 2971920 h 7571036"/>
                  <a:gd name="connsiteX11128" fmla="*/ 4159195 w 6994525"/>
                  <a:gd name="connsiteY11128" fmla="*/ 2962552 h 7571036"/>
                  <a:gd name="connsiteX11129" fmla="*/ 4160427 w 6994525"/>
                  <a:gd name="connsiteY11129" fmla="*/ 538439 h 7571036"/>
                  <a:gd name="connsiteX11130" fmla="*/ 4120483 w 6994525"/>
                  <a:gd name="connsiteY11130" fmla="*/ 498249 h 7571036"/>
                  <a:gd name="connsiteX11131" fmla="*/ 4080291 w 6994525"/>
                  <a:gd name="connsiteY11131" fmla="*/ 538439 h 7571036"/>
                  <a:gd name="connsiteX11132" fmla="*/ 4120483 w 6994525"/>
                  <a:gd name="connsiteY11132" fmla="*/ 578382 h 7571036"/>
                  <a:gd name="connsiteX11133" fmla="*/ 4160427 w 6994525"/>
                  <a:gd name="connsiteY11133" fmla="*/ 538439 h 7571036"/>
                  <a:gd name="connsiteX11134" fmla="*/ 4160677 w 6994525"/>
                  <a:gd name="connsiteY11134" fmla="*/ 983715 h 7571036"/>
                  <a:gd name="connsiteX11135" fmla="*/ 4120238 w 6994525"/>
                  <a:gd name="connsiteY11135" fmla="*/ 943274 h 7571036"/>
                  <a:gd name="connsiteX11136" fmla="*/ 4079799 w 6994525"/>
                  <a:gd name="connsiteY11136" fmla="*/ 983715 h 7571036"/>
                  <a:gd name="connsiteX11137" fmla="*/ 4120238 w 6994525"/>
                  <a:gd name="connsiteY11137" fmla="*/ 1024156 h 7571036"/>
                  <a:gd name="connsiteX11138" fmla="*/ 4160677 w 6994525"/>
                  <a:gd name="connsiteY11138" fmla="*/ 983715 h 7571036"/>
                  <a:gd name="connsiteX11139" fmla="*/ 4161168 w 6994525"/>
                  <a:gd name="connsiteY11139" fmla="*/ 649412 h 7571036"/>
                  <a:gd name="connsiteX11140" fmla="*/ 4120484 w 6994525"/>
                  <a:gd name="connsiteY11140" fmla="*/ 608692 h 7571036"/>
                  <a:gd name="connsiteX11141" fmla="*/ 4079799 w 6994525"/>
                  <a:gd name="connsiteY11141" fmla="*/ 649412 h 7571036"/>
                  <a:gd name="connsiteX11142" fmla="*/ 4120484 w 6994525"/>
                  <a:gd name="connsiteY11142" fmla="*/ 690103 h 7571036"/>
                  <a:gd name="connsiteX11143" fmla="*/ 4161168 w 6994525"/>
                  <a:gd name="connsiteY11143" fmla="*/ 649412 h 7571036"/>
                  <a:gd name="connsiteX11144" fmla="*/ 4162648 w 6994525"/>
                  <a:gd name="connsiteY11144" fmla="*/ 760846 h 7571036"/>
                  <a:gd name="connsiteX11145" fmla="*/ 4120729 w 6994525"/>
                  <a:gd name="connsiteY11145" fmla="*/ 718922 h 7571036"/>
                  <a:gd name="connsiteX11146" fmla="*/ 4078812 w 6994525"/>
                  <a:gd name="connsiteY11146" fmla="*/ 760846 h 7571036"/>
                  <a:gd name="connsiteX11147" fmla="*/ 4120729 w 6994525"/>
                  <a:gd name="connsiteY11147" fmla="*/ 802765 h 7571036"/>
                  <a:gd name="connsiteX11148" fmla="*/ 4162648 w 6994525"/>
                  <a:gd name="connsiteY11148" fmla="*/ 760846 h 7571036"/>
                  <a:gd name="connsiteX11149" fmla="*/ 4164129 w 6994525"/>
                  <a:gd name="connsiteY11149" fmla="*/ 1208069 h 7571036"/>
                  <a:gd name="connsiteX11150" fmla="*/ 4119992 w 6994525"/>
                  <a:gd name="connsiteY11150" fmla="*/ 1163932 h 7571036"/>
                  <a:gd name="connsiteX11151" fmla="*/ 4075853 w 6994525"/>
                  <a:gd name="connsiteY11151" fmla="*/ 1208069 h 7571036"/>
                  <a:gd name="connsiteX11152" fmla="*/ 4119992 w 6994525"/>
                  <a:gd name="connsiteY11152" fmla="*/ 1252204 h 7571036"/>
                  <a:gd name="connsiteX11153" fmla="*/ 4164129 w 6994525"/>
                  <a:gd name="connsiteY11153" fmla="*/ 1208069 h 7571036"/>
                  <a:gd name="connsiteX11154" fmla="*/ 4164870 w 6994525"/>
                  <a:gd name="connsiteY11154" fmla="*/ 1320489 h 7571036"/>
                  <a:gd name="connsiteX11155" fmla="*/ 4119746 w 6994525"/>
                  <a:gd name="connsiteY11155" fmla="*/ 1275366 h 7571036"/>
                  <a:gd name="connsiteX11156" fmla="*/ 4074621 w 6994525"/>
                  <a:gd name="connsiteY11156" fmla="*/ 1320489 h 7571036"/>
                  <a:gd name="connsiteX11157" fmla="*/ 4119746 w 6994525"/>
                  <a:gd name="connsiteY11157" fmla="*/ 1365612 h 7571036"/>
                  <a:gd name="connsiteX11158" fmla="*/ 4164870 w 6994525"/>
                  <a:gd name="connsiteY11158" fmla="*/ 1320489 h 7571036"/>
                  <a:gd name="connsiteX11159" fmla="*/ 4165854 w 6994525"/>
                  <a:gd name="connsiteY11159" fmla="*/ 4176184 h 7571036"/>
                  <a:gd name="connsiteX11160" fmla="*/ 4126895 w 6994525"/>
                  <a:gd name="connsiteY11160" fmla="*/ 4137223 h 7571036"/>
                  <a:gd name="connsiteX11161" fmla="*/ 4087934 w 6994525"/>
                  <a:gd name="connsiteY11161" fmla="*/ 4176184 h 7571036"/>
                  <a:gd name="connsiteX11162" fmla="*/ 4126895 w 6994525"/>
                  <a:gd name="connsiteY11162" fmla="*/ 4215141 h 7571036"/>
                  <a:gd name="connsiteX11163" fmla="*/ 4165854 w 6994525"/>
                  <a:gd name="connsiteY11163" fmla="*/ 4176184 h 7571036"/>
                  <a:gd name="connsiteX11164" fmla="*/ 4174976 w 6994525"/>
                  <a:gd name="connsiteY11164" fmla="*/ 1796111 h 7571036"/>
                  <a:gd name="connsiteX11165" fmla="*/ 4168071 w 6994525"/>
                  <a:gd name="connsiteY11165" fmla="*/ 1789185 h 7571036"/>
                  <a:gd name="connsiteX11166" fmla="*/ 4161167 w 6994525"/>
                  <a:gd name="connsiteY11166" fmla="*/ 1796111 h 7571036"/>
                  <a:gd name="connsiteX11167" fmla="*/ 4168071 w 6994525"/>
                  <a:gd name="connsiteY11167" fmla="*/ 1803015 h 7571036"/>
                  <a:gd name="connsiteX11168" fmla="*/ 4174976 w 6994525"/>
                  <a:gd name="connsiteY11168" fmla="*/ 1796111 h 7571036"/>
                  <a:gd name="connsiteX11169" fmla="*/ 4178922 w 6994525"/>
                  <a:gd name="connsiteY11169" fmla="*/ 2031763 h 7571036"/>
                  <a:gd name="connsiteX11170" fmla="*/ 4165854 w 6994525"/>
                  <a:gd name="connsiteY11170" fmla="*/ 2018941 h 7571036"/>
                  <a:gd name="connsiteX11171" fmla="*/ 4153031 w 6994525"/>
                  <a:gd name="connsiteY11171" fmla="*/ 2031763 h 7571036"/>
                  <a:gd name="connsiteX11172" fmla="*/ 4165854 w 6994525"/>
                  <a:gd name="connsiteY11172" fmla="*/ 2044588 h 7571036"/>
                  <a:gd name="connsiteX11173" fmla="*/ 4178922 w 6994525"/>
                  <a:gd name="connsiteY11173" fmla="*/ 2031763 h 7571036"/>
                  <a:gd name="connsiteX11174" fmla="*/ 4179662 w 6994525"/>
                  <a:gd name="connsiteY11174" fmla="*/ 4308591 h 7571036"/>
                  <a:gd name="connsiteX11175" fmla="*/ 4137987 w 6994525"/>
                  <a:gd name="connsiteY11175" fmla="*/ 4266921 h 7571036"/>
                  <a:gd name="connsiteX11176" fmla="*/ 4096071 w 6994525"/>
                  <a:gd name="connsiteY11176" fmla="*/ 4308591 h 7571036"/>
                  <a:gd name="connsiteX11177" fmla="*/ 4137987 w 6994525"/>
                  <a:gd name="connsiteY11177" fmla="*/ 4350511 h 7571036"/>
                  <a:gd name="connsiteX11178" fmla="*/ 4179662 w 6994525"/>
                  <a:gd name="connsiteY11178" fmla="*/ 4308591 h 7571036"/>
                  <a:gd name="connsiteX11179" fmla="*/ 4179910 w 6994525"/>
                  <a:gd name="connsiteY11179" fmla="*/ 2151353 h 7571036"/>
                  <a:gd name="connsiteX11180" fmla="*/ 4164129 w 6994525"/>
                  <a:gd name="connsiteY11180" fmla="*/ 2135817 h 7571036"/>
                  <a:gd name="connsiteX11181" fmla="*/ 4148594 w 6994525"/>
                  <a:gd name="connsiteY11181" fmla="*/ 2151353 h 7571036"/>
                  <a:gd name="connsiteX11182" fmla="*/ 4164129 w 6994525"/>
                  <a:gd name="connsiteY11182" fmla="*/ 2166893 h 7571036"/>
                  <a:gd name="connsiteX11183" fmla="*/ 4179910 w 6994525"/>
                  <a:gd name="connsiteY11183" fmla="*/ 2151353 h 7571036"/>
                  <a:gd name="connsiteX11184" fmla="*/ 4181389 w 6994525"/>
                  <a:gd name="connsiteY11184" fmla="*/ 4562071 h 7571036"/>
                  <a:gd name="connsiteX11185" fmla="*/ 4152046 w 6994525"/>
                  <a:gd name="connsiteY11185" fmla="*/ 4532728 h 7571036"/>
                  <a:gd name="connsiteX11186" fmla="*/ 4122702 w 6994525"/>
                  <a:gd name="connsiteY11186" fmla="*/ 4562071 h 7571036"/>
                  <a:gd name="connsiteX11187" fmla="*/ 4152046 w 6994525"/>
                  <a:gd name="connsiteY11187" fmla="*/ 4591661 h 7571036"/>
                  <a:gd name="connsiteX11188" fmla="*/ 4181389 w 6994525"/>
                  <a:gd name="connsiteY11188" fmla="*/ 4562071 h 7571036"/>
                  <a:gd name="connsiteX11189" fmla="*/ 4182129 w 6994525"/>
                  <a:gd name="connsiteY11189" fmla="*/ 1913195 h 7571036"/>
                  <a:gd name="connsiteX11190" fmla="*/ 4167334 w 6994525"/>
                  <a:gd name="connsiteY11190" fmla="*/ 1898403 h 7571036"/>
                  <a:gd name="connsiteX11191" fmla="*/ 4152539 w 6994525"/>
                  <a:gd name="connsiteY11191" fmla="*/ 1913195 h 7571036"/>
                  <a:gd name="connsiteX11192" fmla="*/ 4167334 w 6994525"/>
                  <a:gd name="connsiteY11192" fmla="*/ 1927985 h 7571036"/>
                  <a:gd name="connsiteX11193" fmla="*/ 4182129 w 6994525"/>
                  <a:gd name="connsiteY11193" fmla="*/ 1913195 h 7571036"/>
                  <a:gd name="connsiteX11194" fmla="*/ 4182129 w 6994525"/>
                  <a:gd name="connsiteY11194" fmla="*/ 5156320 h 7571036"/>
                  <a:gd name="connsiteX11195" fmla="*/ 4175224 w 6994525"/>
                  <a:gd name="connsiteY11195" fmla="*/ 5149416 h 7571036"/>
                  <a:gd name="connsiteX11196" fmla="*/ 4168320 w 6994525"/>
                  <a:gd name="connsiteY11196" fmla="*/ 5156320 h 7571036"/>
                  <a:gd name="connsiteX11197" fmla="*/ 4175224 w 6994525"/>
                  <a:gd name="connsiteY11197" fmla="*/ 5163224 h 7571036"/>
                  <a:gd name="connsiteX11198" fmla="*/ 4182129 w 6994525"/>
                  <a:gd name="connsiteY11198" fmla="*/ 5156320 h 7571036"/>
                  <a:gd name="connsiteX11199" fmla="*/ 4184347 w 6994525"/>
                  <a:gd name="connsiteY11199" fmla="*/ 2819786 h 7571036"/>
                  <a:gd name="connsiteX11200" fmla="*/ 4169058 w 6994525"/>
                  <a:gd name="connsiteY11200" fmla="*/ 2804499 h 7571036"/>
                  <a:gd name="connsiteX11201" fmla="*/ 4153771 w 6994525"/>
                  <a:gd name="connsiteY11201" fmla="*/ 2819786 h 7571036"/>
                  <a:gd name="connsiteX11202" fmla="*/ 4169058 w 6994525"/>
                  <a:gd name="connsiteY11202" fmla="*/ 2835075 h 7571036"/>
                  <a:gd name="connsiteX11203" fmla="*/ 4184347 w 6994525"/>
                  <a:gd name="connsiteY11203" fmla="*/ 2819786 h 7571036"/>
                  <a:gd name="connsiteX11204" fmla="*/ 4186320 w 6994525"/>
                  <a:gd name="connsiteY11204" fmla="*/ 3789305 h 7571036"/>
                  <a:gd name="connsiteX11205" fmla="*/ 4148840 w 6994525"/>
                  <a:gd name="connsiteY11205" fmla="*/ 3751825 h 7571036"/>
                  <a:gd name="connsiteX11206" fmla="*/ 4111361 w 6994525"/>
                  <a:gd name="connsiteY11206" fmla="*/ 3789305 h 7571036"/>
                  <a:gd name="connsiteX11207" fmla="*/ 4148840 w 6994525"/>
                  <a:gd name="connsiteY11207" fmla="*/ 3826784 h 7571036"/>
                  <a:gd name="connsiteX11208" fmla="*/ 4186320 w 6994525"/>
                  <a:gd name="connsiteY11208" fmla="*/ 3789305 h 7571036"/>
                  <a:gd name="connsiteX11209" fmla="*/ 4186321 w 6994525"/>
                  <a:gd name="connsiteY11209" fmla="*/ 4436812 h 7571036"/>
                  <a:gd name="connsiteX11210" fmla="*/ 4145882 w 6994525"/>
                  <a:gd name="connsiteY11210" fmla="*/ 4396372 h 7571036"/>
                  <a:gd name="connsiteX11211" fmla="*/ 4105443 w 6994525"/>
                  <a:gd name="connsiteY11211" fmla="*/ 4436812 h 7571036"/>
                  <a:gd name="connsiteX11212" fmla="*/ 4145882 w 6994525"/>
                  <a:gd name="connsiteY11212" fmla="*/ 4477250 h 7571036"/>
                  <a:gd name="connsiteX11213" fmla="*/ 4186321 w 6994525"/>
                  <a:gd name="connsiteY11213" fmla="*/ 4436812 h 7571036"/>
                  <a:gd name="connsiteX11214" fmla="*/ 4186812 w 6994525"/>
                  <a:gd name="connsiteY11214" fmla="*/ 6291063 h 7571036"/>
                  <a:gd name="connsiteX11215" fmla="*/ 4184345 w 6994525"/>
                  <a:gd name="connsiteY11215" fmla="*/ 6288596 h 7571036"/>
                  <a:gd name="connsiteX11216" fmla="*/ 4181880 w 6994525"/>
                  <a:gd name="connsiteY11216" fmla="*/ 6291063 h 7571036"/>
                  <a:gd name="connsiteX11217" fmla="*/ 4184345 w 6994525"/>
                  <a:gd name="connsiteY11217" fmla="*/ 6293527 h 7571036"/>
                  <a:gd name="connsiteX11218" fmla="*/ 4186812 w 6994525"/>
                  <a:gd name="connsiteY11218" fmla="*/ 6291063 h 7571036"/>
                  <a:gd name="connsiteX11219" fmla="*/ 4187058 w 6994525"/>
                  <a:gd name="connsiteY11219" fmla="*/ 6067172 h 7571036"/>
                  <a:gd name="connsiteX11220" fmla="*/ 4183605 w 6994525"/>
                  <a:gd name="connsiteY11220" fmla="*/ 6063719 h 7571036"/>
                  <a:gd name="connsiteX11221" fmla="*/ 4180154 w 6994525"/>
                  <a:gd name="connsiteY11221" fmla="*/ 6067172 h 7571036"/>
                  <a:gd name="connsiteX11222" fmla="*/ 4183605 w 6994525"/>
                  <a:gd name="connsiteY11222" fmla="*/ 6070623 h 7571036"/>
                  <a:gd name="connsiteX11223" fmla="*/ 4187058 w 6994525"/>
                  <a:gd name="connsiteY11223" fmla="*/ 6067172 h 7571036"/>
                  <a:gd name="connsiteX11224" fmla="*/ 4187061 w 6994525"/>
                  <a:gd name="connsiteY11224" fmla="*/ 5728128 h 7571036"/>
                  <a:gd name="connsiteX11225" fmla="*/ 4185580 w 6994525"/>
                  <a:gd name="connsiteY11225" fmla="*/ 5726649 h 7571036"/>
                  <a:gd name="connsiteX11226" fmla="*/ 4184101 w 6994525"/>
                  <a:gd name="connsiteY11226" fmla="*/ 5728128 h 7571036"/>
                  <a:gd name="connsiteX11227" fmla="*/ 4185580 w 6994525"/>
                  <a:gd name="connsiteY11227" fmla="*/ 5729609 h 7571036"/>
                  <a:gd name="connsiteX11228" fmla="*/ 4187061 w 6994525"/>
                  <a:gd name="connsiteY11228" fmla="*/ 5728128 h 7571036"/>
                  <a:gd name="connsiteX11229" fmla="*/ 4187303 w 6994525"/>
                  <a:gd name="connsiteY11229" fmla="*/ 6179363 h 7571036"/>
                  <a:gd name="connsiteX11230" fmla="*/ 4183854 w 6994525"/>
                  <a:gd name="connsiteY11230" fmla="*/ 6175912 h 7571036"/>
                  <a:gd name="connsiteX11231" fmla="*/ 4180154 w 6994525"/>
                  <a:gd name="connsiteY11231" fmla="*/ 6179363 h 7571036"/>
                  <a:gd name="connsiteX11232" fmla="*/ 4183854 w 6994525"/>
                  <a:gd name="connsiteY11232" fmla="*/ 6182816 h 7571036"/>
                  <a:gd name="connsiteX11233" fmla="*/ 4187303 w 6994525"/>
                  <a:gd name="connsiteY11233" fmla="*/ 6179363 h 7571036"/>
                  <a:gd name="connsiteX11234" fmla="*/ 4187306 w 6994525"/>
                  <a:gd name="connsiteY11234" fmla="*/ 5954236 h 7571036"/>
                  <a:gd name="connsiteX11235" fmla="*/ 4184842 w 6994525"/>
                  <a:gd name="connsiteY11235" fmla="*/ 5951772 h 7571036"/>
                  <a:gd name="connsiteX11236" fmla="*/ 4182374 w 6994525"/>
                  <a:gd name="connsiteY11236" fmla="*/ 5954236 h 7571036"/>
                  <a:gd name="connsiteX11237" fmla="*/ 4184842 w 6994525"/>
                  <a:gd name="connsiteY11237" fmla="*/ 5956704 h 7571036"/>
                  <a:gd name="connsiteX11238" fmla="*/ 4187306 w 6994525"/>
                  <a:gd name="connsiteY11238" fmla="*/ 5954236 h 7571036"/>
                  <a:gd name="connsiteX11239" fmla="*/ 4187552 w 6994525"/>
                  <a:gd name="connsiteY11239" fmla="*/ 6402267 h 7571036"/>
                  <a:gd name="connsiteX11240" fmla="*/ 4184594 w 6994525"/>
                  <a:gd name="connsiteY11240" fmla="*/ 6399308 h 7571036"/>
                  <a:gd name="connsiteX11241" fmla="*/ 4181634 w 6994525"/>
                  <a:gd name="connsiteY11241" fmla="*/ 6402267 h 7571036"/>
                  <a:gd name="connsiteX11242" fmla="*/ 4184594 w 6994525"/>
                  <a:gd name="connsiteY11242" fmla="*/ 6405226 h 7571036"/>
                  <a:gd name="connsiteX11243" fmla="*/ 4187552 w 6994525"/>
                  <a:gd name="connsiteY11243" fmla="*/ 6402267 h 7571036"/>
                  <a:gd name="connsiteX11244" fmla="*/ 4189029 w 6994525"/>
                  <a:gd name="connsiteY11244" fmla="*/ 4684865 h 7571036"/>
                  <a:gd name="connsiteX11245" fmla="*/ 4156976 w 6994525"/>
                  <a:gd name="connsiteY11245" fmla="*/ 4652811 h 7571036"/>
                  <a:gd name="connsiteX11246" fmla="*/ 4124920 w 6994525"/>
                  <a:gd name="connsiteY11246" fmla="*/ 4684865 h 7571036"/>
                  <a:gd name="connsiteX11247" fmla="*/ 4156976 w 6994525"/>
                  <a:gd name="connsiteY11247" fmla="*/ 4716921 h 7571036"/>
                  <a:gd name="connsiteX11248" fmla="*/ 4189029 w 6994525"/>
                  <a:gd name="connsiteY11248" fmla="*/ 4684865 h 7571036"/>
                  <a:gd name="connsiteX11249" fmla="*/ 4189524 w 6994525"/>
                  <a:gd name="connsiteY11249" fmla="*/ 5272213 h 7571036"/>
                  <a:gd name="connsiteX11250" fmla="*/ 4177198 w 6994525"/>
                  <a:gd name="connsiteY11250" fmla="*/ 5259882 h 7571036"/>
                  <a:gd name="connsiteX11251" fmla="*/ 4164867 w 6994525"/>
                  <a:gd name="connsiteY11251" fmla="*/ 5272213 h 7571036"/>
                  <a:gd name="connsiteX11252" fmla="*/ 4177198 w 6994525"/>
                  <a:gd name="connsiteY11252" fmla="*/ 5284539 h 7571036"/>
                  <a:gd name="connsiteX11253" fmla="*/ 4189524 w 6994525"/>
                  <a:gd name="connsiteY11253" fmla="*/ 5272213 h 7571036"/>
                  <a:gd name="connsiteX11254" fmla="*/ 4189524 w 6994525"/>
                  <a:gd name="connsiteY11254" fmla="*/ 5614210 h 7571036"/>
                  <a:gd name="connsiteX11255" fmla="*/ 4185085 w 6994525"/>
                  <a:gd name="connsiteY11255" fmla="*/ 5609774 h 7571036"/>
                  <a:gd name="connsiteX11256" fmla="*/ 4180648 w 6994525"/>
                  <a:gd name="connsiteY11256" fmla="*/ 5614210 h 7571036"/>
                  <a:gd name="connsiteX11257" fmla="*/ 4185085 w 6994525"/>
                  <a:gd name="connsiteY11257" fmla="*/ 5618650 h 7571036"/>
                  <a:gd name="connsiteX11258" fmla="*/ 4189524 w 6994525"/>
                  <a:gd name="connsiteY11258" fmla="*/ 5614210 h 7571036"/>
                  <a:gd name="connsiteX11259" fmla="*/ 4190017 w 6994525"/>
                  <a:gd name="connsiteY11259" fmla="*/ 6735146 h 7571036"/>
                  <a:gd name="connsiteX11260" fmla="*/ 4188293 w 6994525"/>
                  <a:gd name="connsiteY11260" fmla="*/ 6733419 h 7571036"/>
                  <a:gd name="connsiteX11261" fmla="*/ 4186565 w 6994525"/>
                  <a:gd name="connsiteY11261" fmla="*/ 6735146 h 7571036"/>
                  <a:gd name="connsiteX11262" fmla="*/ 4188293 w 6994525"/>
                  <a:gd name="connsiteY11262" fmla="*/ 6736873 h 7571036"/>
                  <a:gd name="connsiteX11263" fmla="*/ 4190017 w 6994525"/>
                  <a:gd name="connsiteY11263" fmla="*/ 6735146 h 7571036"/>
                  <a:gd name="connsiteX11264" fmla="*/ 4190757 w 6994525"/>
                  <a:gd name="connsiteY11264" fmla="*/ 6845857 h 7571036"/>
                  <a:gd name="connsiteX11265" fmla="*/ 4188784 w 6994525"/>
                  <a:gd name="connsiteY11265" fmla="*/ 6843884 h 7571036"/>
                  <a:gd name="connsiteX11266" fmla="*/ 4186811 w 6994525"/>
                  <a:gd name="connsiteY11266" fmla="*/ 6845857 h 7571036"/>
                  <a:gd name="connsiteX11267" fmla="*/ 4188784 w 6994525"/>
                  <a:gd name="connsiteY11267" fmla="*/ 6847829 h 7571036"/>
                  <a:gd name="connsiteX11268" fmla="*/ 4190757 w 6994525"/>
                  <a:gd name="connsiteY11268" fmla="*/ 6845857 h 7571036"/>
                  <a:gd name="connsiteX11269" fmla="*/ 4191002 w 6994525"/>
                  <a:gd name="connsiteY11269" fmla="*/ 6512735 h 7571036"/>
                  <a:gd name="connsiteX11270" fmla="*/ 4189029 w 6994525"/>
                  <a:gd name="connsiteY11270" fmla="*/ 6510513 h 7571036"/>
                  <a:gd name="connsiteX11271" fmla="*/ 4187057 w 6994525"/>
                  <a:gd name="connsiteY11271" fmla="*/ 6512735 h 7571036"/>
                  <a:gd name="connsiteX11272" fmla="*/ 4189029 w 6994525"/>
                  <a:gd name="connsiteY11272" fmla="*/ 6514954 h 7571036"/>
                  <a:gd name="connsiteX11273" fmla="*/ 4191002 w 6994525"/>
                  <a:gd name="connsiteY11273" fmla="*/ 6512735 h 7571036"/>
                  <a:gd name="connsiteX11274" fmla="*/ 4191002 w 6994525"/>
                  <a:gd name="connsiteY11274" fmla="*/ 6623939 h 7571036"/>
                  <a:gd name="connsiteX11275" fmla="*/ 4189030 w 6994525"/>
                  <a:gd name="connsiteY11275" fmla="*/ 6621966 h 7571036"/>
                  <a:gd name="connsiteX11276" fmla="*/ 4187057 w 6994525"/>
                  <a:gd name="connsiteY11276" fmla="*/ 6623939 h 7571036"/>
                  <a:gd name="connsiteX11277" fmla="*/ 4189030 w 6994525"/>
                  <a:gd name="connsiteY11277" fmla="*/ 6626157 h 7571036"/>
                  <a:gd name="connsiteX11278" fmla="*/ 4191002 w 6994525"/>
                  <a:gd name="connsiteY11278" fmla="*/ 6623939 h 7571036"/>
                  <a:gd name="connsiteX11279" fmla="*/ 4192237 w 6994525"/>
                  <a:gd name="connsiteY11279" fmla="*/ 6956571 h 7571036"/>
                  <a:gd name="connsiteX11280" fmla="*/ 4188784 w 6994525"/>
                  <a:gd name="connsiteY11280" fmla="*/ 6953118 h 7571036"/>
                  <a:gd name="connsiteX11281" fmla="*/ 4185333 w 6994525"/>
                  <a:gd name="connsiteY11281" fmla="*/ 6956571 h 7571036"/>
                  <a:gd name="connsiteX11282" fmla="*/ 4188784 w 6994525"/>
                  <a:gd name="connsiteY11282" fmla="*/ 6960022 h 7571036"/>
                  <a:gd name="connsiteX11283" fmla="*/ 4192237 w 6994525"/>
                  <a:gd name="connsiteY11283" fmla="*/ 6956571 h 7571036"/>
                  <a:gd name="connsiteX11284" fmla="*/ 4192483 w 6994525"/>
                  <a:gd name="connsiteY11284" fmla="*/ 5841555 h 7571036"/>
                  <a:gd name="connsiteX11285" fmla="*/ 4184842 w 6994525"/>
                  <a:gd name="connsiteY11285" fmla="*/ 5833910 h 7571036"/>
                  <a:gd name="connsiteX11286" fmla="*/ 4177196 w 6994525"/>
                  <a:gd name="connsiteY11286" fmla="*/ 5841555 h 7571036"/>
                  <a:gd name="connsiteX11287" fmla="*/ 4184842 w 6994525"/>
                  <a:gd name="connsiteY11287" fmla="*/ 5849199 h 7571036"/>
                  <a:gd name="connsiteX11288" fmla="*/ 4192483 w 6994525"/>
                  <a:gd name="connsiteY11288" fmla="*/ 5841555 h 7571036"/>
                  <a:gd name="connsiteX11289" fmla="*/ 4193221 w 6994525"/>
                  <a:gd name="connsiteY11289" fmla="*/ 7067034 h 7571036"/>
                  <a:gd name="connsiteX11290" fmla="*/ 4189030 w 6994525"/>
                  <a:gd name="connsiteY11290" fmla="*/ 7062843 h 7571036"/>
                  <a:gd name="connsiteX11291" fmla="*/ 4184839 w 6994525"/>
                  <a:gd name="connsiteY11291" fmla="*/ 7067034 h 7571036"/>
                  <a:gd name="connsiteX11292" fmla="*/ 4189030 w 6994525"/>
                  <a:gd name="connsiteY11292" fmla="*/ 7071225 h 7571036"/>
                  <a:gd name="connsiteX11293" fmla="*/ 4193221 w 6994525"/>
                  <a:gd name="connsiteY11293" fmla="*/ 7067034 h 7571036"/>
                  <a:gd name="connsiteX11294" fmla="*/ 4193718 w 6994525"/>
                  <a:gd name="connsiteY11294" fmla="*/ 4921332 h 7571036"/>
                  <a:gd name="connsiteX11295" fmla="*/ 4170784 w 6994525"/>
                  <a:gd name="connsiteY11295" fmla="*/ 4898401 h 7571036"/>
                  <a:gd name="connsiteX11296" fmla="*/ 4147854 w 6994525"/>
                  <a:gd name="connsiteY11296" fmla="*/ 4921332 h 7571036"/>
                  <a:gd name="connsiteX11297" fmla="*/ 4170784 w 6994525"/>
                  <a:gd name="connsiteY11297" fmla="*/ 4944266 h 7571036"/>
                  <a:gd name="connsiteX11298" fmla="*/ 4193718 w 6994525"/>
                  <a:gd name="connsiteY11298" fmla="*/ 4921332 h 7571036"/>
                  <a:gd name="connsiteX11299" fmla="*/ 4194455 w 6994525"/>
                  <a:gd name="connsiteY11299" fmla="*/ 7177255 h 7571036"/>
                  <a:gd name="connsiteX11300" fmla="*/ 4189279 w 6994525"/>
                  <a:gd name="connsiteY11300" fmla="*/ 7172323 h 7571036"/>
                  <a:gd name="connsiteX11301" fmla="*/ 4184101 w 6994525"/>
                  <a:gd name="connsiteY11301" fmla="*/ 7177255 h 7571036"/>
                  <a:gd name="connsiteX11302" fmla="*/ 4189279 w 6994525"/>
                  <a:gd name="connsiteY11302" fmla="*/ 7182433 h 7571036"/>
                  <a:gd name="connsiteX11303" fmla="*/ 4194455 w 6994525"/>
                  <a:gd name="connsiteY11303" fmla="*/ 7177255 h 7571036"/>
                  <a:gd name="connsiteX11304" fmla="*/ 4196428 w 6994525"/>
                  <a:gd name="connsiteY11304" fmla="*/ 7397201 h 7571036"/>
                  <a:gd name="connsiteX11305" fmla="*/ 4192483 w 6994525"/>
                  <a:gd name="connsiteY11305" fmla="*/ 7393255 h 7571036"/>
                  <a:gd name="connsiteX11306" fmla="*/ 4188538 w 6994525"/>
                  <a:gd name="connsiteY11306" fmla="*/ 7397201 h 7571036"/>
                  <a:gd name="connsiteX11307" fmla="*/ 4192483 w 6994525"/>
                  <a:gd name="connsiteY11307" fmla="*/ 7401145 h 7571036"/>
                  <a:gd name="connsiteX11308" fmla="*/ 4196428 w 6994525"/>
                  <a:gd name="connsiteY11308" fmla="*/ 7397201 h 7571036"/>
                  <a:gd name="connsiteX11309" fmla="*/ 4197415 w 6994525"/>
                  <a:gd name="connsiteY11309" fmla="*/ 7507420 h 7571036"/>
                  <a:gd name="connsiteX11310" fmla="*/ 4192733 w 6994525"/>
                  <a:gd name="connsiteY11310" fmla="*/ 7502734 h 7571036"/>
                  <a:gd name="connsiteX11311" fmla="*/ 4188046 w 6994525"/>
                  <a:gd name="connsiteY11311" fmla="*/ 7507420 h 7571036"/>
                  <a:gd name="connsiteX11312" fmla="*/ 4192733 w 6994525"/>
                  <a:gd name="connsiteY11312" fmla="*/ 7512106 h 7571036"/>
                  <a:gd name="connsiteX11313" fmla="*/ 4197415 w 6994525"/>
                  <a:gd name="connsiteY11313" fmla="*/ 7507420 h 7571036"/>
                  <a:gd name="connsiteX11314" fmla="*/ 4198401 w 6994525"/>
                  <a:gd name="connsiteY11314" fmla="*/ 7286980 h 7571036"/>
                  <a:gd name="connsiteX11315" fmla="*/ 4192729 w 6994525"/>
                  <a:gd name="connsiteY11315" fmla="*/ 7281308 h 7571036"/>
                  <a:gd name="connsiteX11316" fmla="*/ 4187057 w 6994525"/>
                  <a:gd name="connsiteY11316" fmla="*/ 7286980 h 7571036"/>
                  <a:gd name="connsiteX11317" fmla="*/ 4192729 w 6994525"/>
                  <a:gd name="connsiteY11317" fmla="*/ 7292649 h 7571036"/>
                  <a:gd name="connsiteX11318" fmla="*/ 4198401 w 6994525"/>
                  <a:gd name="connsiteY11318" fmla="*/ 7286980 h 7571036"/>
                  <a:gd name="connsiteX11319" fmla="*/ 4199879 w 6994525"/>
                  <a:gd name="connsiteY11319" fmla="*/ 2682697 h 7571036"/>
                  <a:gd name="connsiteX11320" fmla="*/ 4181880 w 6994525"/>
                  <a:gd name="connsiteY11320" fmla="*/ 2664697 h 7571036"/>
                  <a:gd name="connsiteX11321" fmla="*/ 4164126 w 6994525"/>
                  <a:gd name="connsiteY11321" fmla="*/ 2682697 h 7571036"/>
                  <a:gd name="connsiteX11322" fmla="*/ 4181880 w 6994525"/>
                  <a:gd name="connsiteY11322" fmla="*/ 2700696 h 7571036"/>
                  <a:gd name="connsiteX11323" fmla="*/ 4199879 w 6994525"/>
                  <a:gd name="connsiteY11323" fmla="*/ 2682697 h 7571036"/>
                  <a:gd name="connsiteX11324" fmla="*/ 4200866 w 6994525"/>
                  <a:gd name="connsiteY11324" fmla="*/ 2550784 h 7571036"/>
                  <a:gd name="connsiteX11325" fmla="*/ 4191252 w 6994525"/>
                  <a:gd name="connsiteY11325" fmla="*/ 2541169 h 7571036"/>
                  <a:gd name="connsiteX11326" fmla="*/ 4181634 w 6994525"/>
                  <a:gd name="connsiteY11326" fmla="*/ 2550784 h 7571036"/>
                  <a:gd name="connsiteX11327" fmla="*/ 4191252 w 6994525"/>
                  <a:gd name="connsiteY11327" fmla="*/ 2560400 h 7571036"/>
                  <a:gd name="connsiteX11328" fmla="*/ 4200866 w 6994525"/>
                  <a:gd name="connsiteY11328" fmla="*/ 2550784 h 7571036"/>
                  <a:gd name="connsiteX11329" fmla="*/ 4203827 w 6994525"/>
                  <a:gd name="connsiteY11329" fmla="*/ 2422570 h 7571036"/>
                  <a:gd name="connsiteX11330" fmla="*/ 4198155 w 6994525"/>
                  <a:gd name="connsiteY11330" fmla="*/ 2416902 h 7571036"/>
                  <a:gd name="connsiteX11331" fmla="*/ 4192483 w 6994525"/>
                  <a:gd name="connsiteY11331" fmla="*/ 2422570 h 7571036"/>
                  <a:gd name="connsiteX11332" fmla="*/ 4198155 w 6994525"/>
                  <a:gd name="connsiteY11332" fmla="*/ 2428241 h 7571036"/>
                  <a:gd name="connsiteX11333" fmla="*/ 4203827 w 6994525"/>
                  <a:gd name="connsiteY11333" fmla="*/ 2422570 h 7571036"/>
                  <a:gd name="connsiteX11334" fmla="*/ 4205057 w 6994525"/>
                  <a:gd name="connsiteY11334" fmla="*/ 5039196 h 7571036"/>
                  <a:gd name="connsiteX11335" fmla="*/ 4173249 w 6994525"/>
                  <a:gd name="connsiteY11335" fmla="*/ 5007388 h 7571036"/>
                  <a:gd name="connsiteX11336" fmla="*/ 4141442 w 6994525"/>
                  <a:gd name="connsiteY11336" fmla="*/ 5039196 h 7571036"/>
                  <a:gd name="connsiteX11337" fmla="*/ 4173249 w 6994525"/>
                  <a:gd name="connsiteY11337" fmla="*/ 5071006 h 7571036"/>
                  <a:gd name="connsiteX11338" fmla="*/ 4205057 w 6994525"/>
                  <a:gd name="connsiteY11338" fmla="*/ 5039196 h 7571036"/>
                  <a:gd name="connsiteX11339" fmla="*/ 4206045 w 6994525"/>
                  <a:gd name="connsiteY11339" fmla="*/ 1679711 h 7571036"/>
                  <a:gd name="connsiteX11340" fmla="*/ 4168566 w 6994525"/>
                  <a:gd name="connsiteY11340" fmla="*/ 1642233 h 7571036"/>
                  <a:gd name="connsiteX11341" fmla="*/ 4131086 w 6994525"/>
                  <a:gd name="connsiteY11341" fmla="*/ 1679711 h 7571036"/>
                  <a:gd name="connsiteX11342" fmla="*/ 4168566 w 6994525"/>
                  <a:gd name="connsiteY11342" fmla="*/ 1717177 h 7571036"/>
                  <a:gd name="connsiteX11343" fmla="*/ 4206045 w 6994525"/>
                  <a:gd name="connsiteY11343" fmla="*/ 1679711 h 7571036"/>
                  <a:gd name="connsiteX11344" fmla="*/ 4206291 w 6994525"/>
                  <a:gd name="connsiteY11344" fmla="*/ 3218490 h 7571036"/>
                  <a:gd name="connsiteX11345" fmla="*/ 4171524 w 6994525"/>
                  <a:gd name="connsiteY11345" fmla="*/ 3183724 h 7571036"/>
                  <a:gd name="connsiteX11346" fmla="*/ 4136758 w 6994525"/>
                  <a:gd name="connsiteY11346" fmla="*/ 3218490 h 7571036"/>
                  <a:gd name="connsiteX11347" fmla="*/ 4171524 w 6994525"/>
                  <a:gd name="connsiteY11347" fmla="*/ 3253257 h 7571036"/>
                  <a:gd name="connsiteX11348" fmla="*/ 4206291 w 6994525"/>
                  <a:gd name="connsiteY11348" fmla="*/ 3218490 h 7571036"/>
                  <a:gd name="connsiteX11349" fmla="*/ 4207277 w 6994525"/>
                  <a:gd name="connsiteY11349" fmla="*/ 2297319 h 7571036"/>
                  <a:gd name="connsiteX11350" fmla="*/ 4203333 w 6994525"/>
                  <a:gd name="connsiteY11350" fmla="*/ 2293374 h 7571036"/>
                  <a:gd name="connsiteX11351" fmla="*/ 4199387 w 6994525"/>
                  <a:gd name="connsiteY11351" fmla="*/ 2297319 h 7571036"/>
                  <a:gd name="connsiteX11352" fmla="*/ 4203333 w 6994525"/>
                  <a:gd name="connsiteY11352" fmla="*/ 2301265 h 7571036"/>
                  <a:gd name="connsiteX11353" fmla="*/ 4207277 w 6994525"/>
                  <a:gd name="connsiteY11353" fmla="*/ 2297319 h 7571036"/>
                  <a:gd name="connsiteX11354" fmla="*/ 4213444 w 6994525"/>
                  <a:gd name="connsiteY11354" fmla="*/ 1564571 h 7571036"/>
                  <a:gd name="connsiteX11355" fmla="*/ 4169307 w 6994525"/>
                  <a:gd name="connsiteY11355" fmla="*/ 1520436 h 7571036"/>
                  <a:gd name="connsiteX11356" fmla="*/ 4125168 w 6994525"/>
                  <a:gd name="connsiteY11356" fmla="*/ 1564571 h 7571036"/>
                  <a:gd name="connsiteX11357" fmla="*/ 4169307 w 6994525"/>
                  <a:gd name="connsiteY11357" fmla="*/ 1608710 h 7571036"/>
                  <a:gd name="connsiteX11358" fmla="*/ 4213444 w 6994525"/>
                  <a:gd name="connsiteY11358" fmla="*/ 1564571 h 7571036"/>
                  <a:gd name="connsiteX11359" fmla="*/ 4213452 w 6994525"/>
                  <a:gd name="connsiteY11359" fmla="*/ 0 h 7571036"/>
                  <a:gd name="connsiteX11360" fmla="*/ 4145118 w 6994525"/>
                  <a:gd name="connsiteY11360" fmla="*/ 0 h 7571036"/>
                  <a:gd name="connsiteX11361" fmla="*/ 4154234 w 6994525"/>
                  <a:gd name="connsiteY11361" fmla="*/ 22011 h 7571036"/>
                  <a:gd name="connsiteX11362" fmla="*/ 4179169 w 6994525"/>
                  <a:gd name="connsiteY11362" fmla="*/ 32336 h 7571036"/>
                  <a:gd name="connsiteX11363" fmla="*/ 4204227 w 6994525"/>
                  <a:gd name="connsiteY11363" fmla="*/ 22011 h 7571036"/>
                  <a:gd name="connsiteX11364" fmla="*/ 4214428 w 6994525"/>
                  <a:gd name="connsiteY11364" fmla="*/ 1449924 h 7571036"/>
                  <a:gd name="connsiteX11365" fmla="*/ 4169552 w 6994525"/>
                  <a:gd name="connsiteY11365" fmla="*/ 1405051 h 7571036"/>
                  <a:gd name="connsiteX11366" fmla="*/ 4124674 w 6994525"/>
                  <a:gd name="connsiteY11366" fmla="*/ 1449924 h 7571036"/>
                  <a:gd name="connsiteX11367" fmla="*/ 4169552 w 6994525"/>
                  <a:gd name="connsiteY11367" fmla="*/ 1494805 h 7571036"/>
                  <a:gd name="connsiteX11368" fmla="*/ 4214428 w 6994525"/>
                  <a:gd name="connsiteY11368" fmla="*/ 1449924 h 7571036"/>
                  <a:gd name="connsiteX11369" fmla="*/ 4215168 w 6994525"/>
                  <a:gd name="connsiteY11369" fmla="*/ 107764 h 7571036"/>
                  <a:gd name="connsiteX11370" fmla="*/ 4179415 w 6994525"/>
                  <a:gd name="connsiteY11370" fmla="*/ 72014 h 7571036"/>
                  <a:gd name="connsiteX11371" fmla="*/ 4143662 w 6994525"/>
                  <a:gd name="connsiteY11371" fmla="*/ 107764 h 7571036"/>
                  <a:gd name="connsiteX11372" fmla="*/ 4179415 w 6994525"/>
                  <a:gd name="connsiteY11372" fmla="*/ 143516 h 7571036"/>
                  <a:gd name="connsiteX11373" fmla="*/ 4215168 w 6994525"/>
                  <a:gd name="connsiteY11373" fmla="*/ 107764 h 7571036"/>
                  <a:gd name="connsiteX11374" fmla="*/ 4215906 w 6994525"/>
                  <a:gd name="connsiteY11374" fmla="*/ 329385 h 7571036"/>
                  <a:gd name="connsiteX11375" fmla="*/ 4180154 w 6994525"/>
                  <a:gd name="connsiteY11375" fmla="*/ 293633 h 7571036"/>
                  <a:gd name="connsiteX11376" fmla="*/ 4144400 w 6994525"/>
                  <a:gd name="connsiteY11376" fmla="*/ 329385 h 7571036"/>
                  <a:gd name="connsiteX11377" fmla="*/ 4180154 w 6994525"/>
                  <a:gd name="connsiteY11377" fmla="*/ 365139 h 7571036"/>
                  <a:gd name="connsiteX11378" fmla="*/ 4215906 w 6994525"/>
                  <a:gd name="connsiteY11378" fmla="*/ 329385 h 7571036"/>
                  <a:gd name="connsiteX11379" fmla="*/ 4216155 w 6994525"/>
                  <a:gd name="connsiteY11379" fmla="*/ 440568 h 7571036"/>
                  <a:gd name="connsiteX11380" fmla="*/ 4180399 w 6994525"/>
                  <a:gd name="connsiteY11380" fmla="*/ 404817 h 7571036"/>
                  <a:gd name="connsiteX11381" fmla="*/ 4144646 w 6994525"/>
                  <a:gd name="connsiteY11381" fmla="*/ 440568 h 7571036"/>
                  <a:gd name="connsiteX11382" fmla="*/ 4180399 w 6994525"/>
                  <a:gd name="connsiteY11382" fmla="*/ 476323 h 7571036"/>
                  <a:gd name="connsiteX11383" fmla="*/ 4216155 w 6994525"/>
                  <a:gd name="connsiteY11383" fmla="*/ 440568 h 7571036"/>
                  <a:gd name="connsiteX11384" fmla="*/ 4216892 w 6994525"/>
                  <a:gd name="connsiteY11384" fmla="*/ 4801744 h 7571036"/>
                  <a:gd name="connsiteX11385" fmla="*/ 4168318 w 6994525"/>
                  <a:gd name="connsiteY11385" fmla="*/ 4753414 h 7571036"/>
                  <a:gd name="connsiteX11386" fmla="*/ 4119989 w 6994525"/>
                  <a:gd name="connsiteY11386" fmla="*/ 4801744 h 7571036"/>
                  <a:gd name="connsiteX11387" fmla="*/ 4168318 w 6994525"/>
                  <a:gd name="connsiteY11387" fmla="*/ 4850072 h 7571036"/>
                  <a:gd name="connsiteX11388" fmla="*/ 4216892 w 6994525"/>
                  <a:gd name="connsiteY11388" fmla="*/ 4801744 h 7571036"/>
                  <a:gd name="connsiteX11389" fmla="*/ 4218127 w 6994525"/>
                  <a:gd name="connsiteY11389" fmla="*/ 218452 h 7571036"/>
                  <a:gd name="connsiteX11390" fmla="*/ 4180154 w 6994525"/>
                  <a:gd name="connsiteY11390" fmla="*/ 180479 h 7571036"/>
                  <a:gd name="connsiteX11391" fmla="*/ 4142182 w 6994525"/>
                  <a:gd name="connsiteY11391" fmla="*/ 218452 h 7571036"/>
                  <a:gd name="connsiteX11392" fmla="*/ 4180154 w 6994525"/>
                  <a:gd name="connsiteY11392" fmla="*/ 256422 h 7571036"/>
                  <a:gd name="connsiteX11393" fmla="*/ 4218127 w 6994525"/>
                  <a:gd name="connsiteY11393" fmla="*/ 218452 h 7571036"/>
                  <a:gd name="connsiteX11394" fmla="*/ 4220595 w 6994525"/>
                  <a:gd name="connsiteY11394" fmla="*/ 3945387 h 7571036"/>
                  <a:gd name="connsiteX11395" fmla="*/ 4184102 w 6994525"/>
                  <a:gd name="connsiteY11395" fmla="*/ 3908893 h 7571036"/>
                  <a:gd name="connsiteX11396" fmla="*/ 4147608 w 6994525"/>
                  <a:gd name="connsiteY11396" fmla="*/ 3945387 h 7571036"/>
                  <a:gd name="connsiteX11397" fmla="*/ 4184102 w 6994525"/>
                  <a:gd name="connsiteY11397" fmla="*/ 3981880 h 7571036"/>
                  <a:gd name="connsiteX11398" fmla="*/ 4220595 w 6994525"/>
                  <a:gd name="connsiteY11398" fmla="*/ 3945387 h 7571036"/>
                  <a:gd name="connsiteX11399" fmla="*/ 4223554 w 6994525"/>
                  <a:gd name="connsiteY11399" fmla="*/ 3059207 h 7571036"/>
                  <a:gd name="connsiteX11400" fmla="*/ 4215168 w 6994525"/>
                  <a:gd name="connsiteY11400" fmla="*/ 3050824 h 7571036"/>
                  <a:gd name="connsiteX11401" fmla="*/ 4206786 w 6994525"/>
                  <a:gd name="connsiteY11401" fmla="*/ 3059207 h 7571036"/>
                  <a:gd name="connsiteX11402" fmla="*/ 4215168 w 6994525"/>
                  <a:gd name="connsiteY11402" fmla="*/ 3067591 h 7571036"/>
                  <a:gd name="connsiteX11403" fmla="*/ 4223554 w 6994525"/>
                  <a:gd name="connsiteY11403" fmla="*/ 3059207 h 7571036"/>
                  <a:gd name="connsiteX11404" fmla="*/ 4229223 w 6994525"/>
                  <a:gd name="connsiteY11404" fmla="*/ 3679331 h 7571036"/>
                  <a:gd name="connsiteX11405" fmla="*/ 4190511 w 6994525"/>
                  <a:gd name="connsiteY11405" fmla="*/ 3640619 h 7571036"/>
                  <a:gd name="connsiteX11406" fmla="*/ 4151799 w 6994525"/>
                  <a:gd name="connsiteY11406" fmla="*/ 3679331 h 7571036"/>
                  <a:gd name="connsiteX11407" fmla="*/ 4190511 w 6994525"/>
                  <a:gd name="connsiteY11407" fmla="*/ 3718043 h 7571036"/>
                  <a:gd name="connsiteX11408" fmla="*/ 4229223 w 6994525"/>
                  <a:gd name="connsiteY11408" fmla="*/ 3679331 h 7571036"/>
                  <a:gd name="connsiteX11409" fmla="*/ 4241058 w 6994525"/>
                  <a:gd name="connsiteY11409" fmla="*/ 3330927 h 7571036"/>
                  <a:gd name="connsiteX11410" fmla="*/ 4204319 w 6994525"/>
                  <a:gd name="connsiteY11410" fmla="*/ 3294190 h 7571036"/>
                  <a:gd name="connsiteX11411" fmla="*/ 4167580 w 6994525"/>
                  <a:gd name="connsiteY11411" fmla="*/ 3330927 h 7571036"/>
                  <a:gd name="connsiteX11412" fmla="*/ 4204319 w 6994525"/>
                  <a:gd name="connsiteY11412" fmla="*/ 3367669 h 7571036"/>
                  <a:gd name="connsiteX11413" fmla="*/ 4241058 w 6994525"/>
                  <a:gd name="connsiteY11413" fmla="*/ 3330927 h 7571036"/>
                  <a:gd name="connsiteX11414" fmla="*/ 4245990 w 6994525"/>
                  <a:gd name="connsiteY11414" fmla="*/ 4092595 h 7571036"/>
                  <a:gd name="connsiteX11415" fmla="*/ 4208019 w 6994525"/>
                  <a:gd name="connsiteY11415" fmla="*/ 4054620 h 7571036"/>
                  <a:gd name="connsiteX11416" fmla="*/ 4170044 w 6994525"/>
                  <a:gd name="connsiteY11416" fmla="*/ 4092595 h 7571036"/>
                  <a:gd name="connsiteX11417" fmla="*/ 4208019 w 6994525"/>
                  <a:gd name="connsiteY11417" fmla="*/ 4130566 h 7571036"/>
                  <a:gd name="connsiteX11418" fmla="*/ 4245990 w 6994525"/>
                  <a:gd name="connsiteY11418" fmla="*/ 4092595 h 7571036"/>
                  <a:gd name="connsiteX11419" fmla="*/ 4252157 w 6994525"/>
                  <a:gd name="connsiteY11419" fmla="*/ 2908063 h 7571036"/>
                  <a:gd name="connsiteX11420" fmla="*/ 4244758 w 6994525"/>
                  <a:gd name="connsiteY11420" fmla="*/ 2900665 h 7571036"/>
                  <a:gd name="connsiteX11421" fmla="*/ 4237362 w 6994525"/>
                  <a:gd name="connsiteY11421" fmla="*/ 2908063 h 7571036"/>
                  <a:gd name="connsiteX11422" fmla="*/ 4244758 w 6994525"/>
                  <a:gd name="connsiteY11422" fmla="*/ 2915460 h 7571036"/>
                  <a:gd name="connsiteX11423" fmla="*/ 4252157 w 6994525"/>
                  <a:gd name="connsiteY11423" fmla="*/ 2908063 h 7571036"/>
                  <a:gd name="connsiteX11424" fmla="*/ 4252893 w 6994525"/>
                  <a:gd name="connsiteY11424" fmla="*/ 3564427 h 7571036"/>
                  <a:gd name="connsiteX11425" fmla="*/ 4213936 w 6994525"/>
                  <a:gd name="connsiteY11425" fmla="*/ 3525467 h 7571036"/>
                  <a:gd name="connsiteX11426" fmla="*/ 4174976 w 6994525"/>
                  <a:gd name="connsiteY11426" fmla="*/ 3564427 h 7571036"/>
                  <a:gd name="connsiteX11427" fmla="*/ 4213936 w 6994525"/>
                  <a:gd name="connsiteY11427" fmla="*/ 3603386 h 7571036"/>
                  <a:gd name="connsiteX11428" fmla="*/ 4252893 w 6994525"/>
                  <a:gd name="connsiteY11428" fmla="*/ 3564427 h 7571036"/>
                  <a:gd name="connsiteX11429" fmla="*/ 4256839 w 6994525"/>
                  <a:gd name="connsiteY11429" fmla="*/ 3447313 h 7571036"/>
                  <a:gd name="connsiteX11430" fmla="*/ 4218373 w 6994525"/>
                  <a:gd name="connsiteY11430" fmla="*/ 3408849 h 7571036"/>
                  <a:gd name="connsiteX11431" fmla="*/ 4179907 w 6994525"/>
                  <a:gd name="connsiteY11431" fmla="*/ 3447313 h 7571036"/>
                  <a:gd name="connsiteX11432" fmla="*/ 4218373 w 6994525"/>
                  <a:gd name="connsiteY11432" fmla="*/ 3485769 h 7571036"/>
                  <a:gd name="connsiteX11433" fmla="*/ 4256839 w 6994525"/>
                  <a:gd name="connsiteY11433" fmla="*/ 3447313 h 7571036"/>
                  <a:gd name="connsiteX11434" fmla="*/ 4265716 w 6994525"/>
                  <a:gd name="connsiteY11434" fmla="*/ 4232155 h 7571036"/>
                  <a:gd name="connsiteX11435" fmla="*/ 4225278 w 6994525"/>
                  <a:gd name="connsiteY11435" fmla="*/ 4191716 h 7571036"/>
                  <a:gd name="connsiteX11436" fmla="*/ 4184839 w 6994525"/>
                  <a:gd name="connsiteY11436" fmla="*/ 4232155 h 7571036"/>
                  <a:gd name="connsiteX11437" fmla="*/ 4225278 w 6994525"/>
                  <a:gd name="connsiteY11437" fmla="*/ 4272594 h 7571036"/>
                  <a:gd name="connsiteX11438" fmla="*/ 4265716 w 6994525"/>
                  <a:gd name="connsiteY11438" fmla="*/ 4232155 h 7571036"/>
                  <a:gd name="connsiteX11439" fmla="*/ 4270402 w 6994525"/>
                  <a:gd name="connsiteY11439" fmla="*/ 1128191 h 7571036"/>
                  <a:gd name="connsiteX11440" fmla="*/ 4231936 w 6994525"/>
                  <a:gd name="connsiteY11440" fmla="*/ 1089728 h 7571036"/>
                  <a:gd name="connsiteX11441" fmla="*/ 4193715 w 6994525"/>
                  <a:gd name="connsiteY11441" fmla="*/ 1128191 h 7571036"/>
                  <a:gd name="connsiteX11442" fmla="*/ 4231936 w 6994525"/>
                  <a:gd name="connsiteY11442" fmla="*/ 1166413 h 7571036"/>
                  <a:gd name="connsiteX11443" fmla="*/ 4270402 w 6994525"/>
                  <a:gd name="connsiteY11443" fmla="*/ 1128191 h 7571036"/>
                  <a:gd name="connsiteX11444" fmla="*/ 4271142 w 6994525"/>
                  <a:gd name="connsiteY11444" fmla="*/ 902115 h 7571036"/>
                  <a:gd name="connsiteX11445" fmla="*/ 4233168 w 6994525"/>
                  <a:gd name="connsiteY11445" fmla="*/ 864143 h 7571036"/>
                  <a:gd name="connsiteX11446" fmla="*/ 4195196 w 6994525"/>
                  <a:gd name="connsiteY11446" fmla="*/ 902115 h 7571036"/>
                  <a:gd name="connsiteX11447" fmla="*/ 4233168 w 6994525"/>
                  <a:gd name="connsiteY11447" fmla="*/ 940085 h 7571036"/>
                  <a:gd name="connsiteX11448" fmla="*/ 4271142 w 6994525"/>
                  <a:gd name="connsiteY11448" fmla="*/ 902115 h 7571036"/>
                  <a:gd name="connsiteX11449" fmla="*/ 4272865 w 6994525"/>
                  <a:gd name="connsiteY11449" fmla="*/ 3844291 h 7571036"/>
                  <a:gd name="connsiteX11450" fmla="*/ 4242785 w 6994525"/>
                  <a:gd name="connsiteY11450" fmla="*/ 3813962 h 7571036"/>
                  <a:gd name="connsiteX11451" fmla="*/ 4212455 w 6994525"/>
                  <a:gd name="connsiteY11451" fmla="*/ 3844291 h 7571036"/>
                  <a:gd name="connsiteX11452" fmla="*/ 4242785 w 6994525"/>
                  <a:gd name="connsiteY11452" fmla="*/ 3874618 h 7571036"/>
                  <a:gd name="connsiteX11453" fmla="*/ 4272865 w 6994525"/>
                  <a:gd name="connsiteY11453" fmla="*/ 3844291 h 7571036"/>
                  <a:gd name="connsiteX11454" fmla="*/ 4273855 w 6994525"/>
                  <a:gd name="connsiteY11454" fmla="*/ 1014786 h 7571036"/>
                  <a:gd name="connsiteX11455" fmla="*/ 4232182 w 6994525"/>
                  <a:gd name="connsiteY11455" fmla="*/ 973111 h 7571036"/>
                  <a:gd name="connsiteX11456" fmla="*/ 4190511 w 6994525"/>
                  <a:gd name="connsiteY11456" fmla="*/ 1014786 h 7571036"/>
                  <a:gd name="connsiteX11457" fmla="*/ 4232182 w 6994525"/>
                  <a:gd name="connsiteY11457" fmla="*/ 1056441 h 7571036"/>
                  <a:gd name="connsiteX11458" fmla="*/ 4273855 w 6994525"/>
                  <a:gd name="connsiteY11458" fmla="*/ 1014786 h 7571036"/>
                  <a:gd name="connsiteX11459" fmla="*/ 4274346 w 6994525"/>
                  <a:gd name="connsiteY11459" fmla="*/ 564822 h 7571036"/>
                  <a:gd name="connsiteX11460" fmla="*/ 4233168 w 6994525"/>
                  <a:gd name="connsiteY11460" fmla="*/ 523645 h 7571036"/>
                  <a:gd name="connsiteX11461" fmla="*/ 4191989 w 6994525"/>
                  <a:gd name="connsiteY11461" fmla="*/ 564822 h 7571036"/>
                  <a:gd name="connsiteX11462" fmla="*/ 4233168 w 6994525"/>
                  <a:gd name="connsiteY11462" fmla="*/ 606000 h 7571036"/>
                  <a:gd name="connsiteX11463" fmla="*/ 4274346 w 6994525"/>
                  <a:gd name="connsiteY11463" fmla="*/ 564822 h 7571036"/>
                  <a:gd name="connsiteX11464" fmla="*/ 4274841 w 6994525"/>
                  <a:gd name="connsiteY11464" fmla="*/ 3164249 h 7571036"/>
                  <a:gd name="connsiteX11465" fmla="*/ 4266455 w 6994525"/>
                  <a:gd name="connsiteY11465" fmla="*/ 3155867 h 7571036"/>
                  <a:gd name="connsiteX11466" fmla="*/ 4258074 w 6994525"/>
                  <a:gd name="connsiteY11466" fmla="*/ 3164249 h 7571036"/>
                  <a:gd name="connsiteX11467" fmla="*/ 4266455 w 6994525"/>
                  <a:gd name="connsiteY11467" fmla="*/ 3172635 h 7571036"/>
                  <a:gd name="connsiteX11468" fmla="*/ 4274841 w 6994525"/>
                  <a:gd name="connsiteY11468" fmla="*/ 3164249 h 7571036"/>
                  <a:gd name="connsiteX11469" fmla="*/ 4275086 w 6994525"/>
                  <a:gd name="connsiteY11469" fmla="*/ 676783 h 7571036"/>
                  <a:gd name="connsiteX11470" fmla="*/ 4233167 w 6994525"/>
                  <a:gd name="connsiteY11470" fmla="*/ 634829 h 7571036"/>
                  <a:gd name="connsiteX11471" fmla="*/ 4191251 w 6994525"/>
                  <a:gd name="connsiteY11471" fmla="*/ 676783 h 7571036"/>
                  <a:gd name="connsiteX11472" fmla="*/ 4233167 w 6994525"/>
                  <a:gd name="connsiteY11472" fmla="*/ 718697 h 7571036"/>
                  <a:gd name="connsiteX11473" fmla="*/ 4275086 w 6994525"/>
                  <a:gd name="connsiteY11473" fmla="*/ 676783 h 7571036"/>
                  <a:gd name="connsiteX11474" fmla="*/ 4276072 w 6994525"/>
                  <a:gd name="connsiteY11474" fmla="*/ 1356241 h 7571036"/>
                  <a:gd name="connsiteX11475" fmla="*/ 4230704 w 6994525"/>
                  <a:gd name="connsiteY11475" fmla="*/ 1310873 h 7571036"/>
                  <a:gd name="connsiteX11476" fmla="*/ 4185333 w 6994525"/>
                  <a:gd name="connsiteY11476" fmla="*/ 1356241 h 7571036"/>
                  <a:gd name="connsiteX11477" fmla="*/ 4230704 w 6994525"/>
                  <a:gd name="connsiteY11477" fmla="*/ 1401611 h 7571036"/>
                  <a:gd name="connsiteX11478" fmla="*/ 4276072 w 6994525"/>
                  <a:gd name="connsiteY11478" fmla="*/ 1356241 h 7571036"/>
                  <a:gd name="connsiteX11479" fmla="*/ 4276320 w 6994525"/>
                  <a:gd name="connsiteY11479" fmla="*/ 1241849 h 7571036"/>
                  <a:gd name="connsiteX11480" fmla="*/ 4231444 w 6994525"/>
                  <a:gd name="connsiteY11480" fmla="*/ 1196972 h 7571036"/>
                  <a:gd name="connsiteX11481" fmla="*/ 4186565 w 6994525"/>
                  <a:gd name="connsiteY11481" fmla="*/ 1241849 h 7571036"/>
                  <a:gd name="connsiteX11482" fmla="*/ 4231444 w 6994525"/>
                  <a:gd name="connsiteY11482" fmla="*/ 1286709 h 7571036"/>
                  <a:gd name="connsiteX11483" fmla="*/ 4276320 w 6994525"/>
                  <a:gd name="connsiteY11483" fmla="*/ 1241849 h 7571036"/>
                  <a:gd name="connsiteX11484" fmla="*/ 4276567 w 6994525"/>
                  <a:gd name="connsiteY11484" fmla="*/ 789449 h 7571036"/>
                  <a:gd name="connsiteX11485" fmla="*/ 4233416 w 6994525"/>
                  <a:gd name="connsiteY11485" fmla="*/ 746300 h 7571036"/>
                  <a:gd name="connsiteX11486" fmla="*/ 4190264 w 6994525"/>
                  <a:gd name="connsiteY11486" fmla="*/ 789449 h 7571036"/>
                  <a:gd name="connsiteX11487" fmla="*/ 4233416 w 6994525"/>
                  <a:gd name="connsiteY11487" fmla="*/ 832604 h 7571036"/>
                  <a:gd name="connsiteX11488" fmla="*/ 4276567 w 6994525"/>
                  <a:gd name="connsiteY11488" fmla="*/ 789449 h 7571036"/>
                  <a:gd name="connsiteX11489" fmla="*/ 4278291 w 6994525"/>
                  <a:gd name="connsiteY11489" fmla="*/ 2208564 h 7571036"/>
                  <a:gd name="connsiteX11490" fmla="*/ 4265964 w 6994525"/>
                  <a:gd name="connsiteY11490" fmla="*/ 2196234 h 7571036"/>
                  <a:gd name="connsiteX11491" fmla="*/ 4253633 w 6994525"/>
                  <a:gd name="connsiteY11491" fmla="*/ 2208564 h 7571036"/>
                  <a:gd name="connsiteX11492" fmla="*/ 4265964 w 6994525"/>
                  <a:gd name="connsiteY11492" fmla="*/ 2220892 h 7571036"/>
                  <a:gd name="connsiteX11493" fmla="*/ 4278291 w 6994525"/>
                  <a:gd name="connsiteY11493" fmla="*/ 2208564 h 7571036"/>
                  <a:gd name="connsiteX11494" fmla="*/ 4279768 w 6994525"/>
                  <a:gd name="connsiteY11494" fmla="*/ 2763819 h 7571036"/>
                  <a:gd name="connsiteX11495" fmla="*/ 4265223 w 6994525"/>
                  <a:gd name="connsiteY11495" fmla="*/ 2749271 h 7571036"/>
                  <a:gd name="connsiteX11496" fmla="*/ 4250675 w 6994525"/>
                  <a:gd name="connsiteY11496" fmla="*/ 2763819 h 7571036"/>
                  <a:gd name="connsiteX11497" fmla="*/ 4265223 w 6994525"/>
                  <a:gd name="connsiteY11497" fmla="*/ 2778368 h 7571036"/>
                  <a:gd name="connsiteX11498" fmla="*/ 4279768 w 6994525"/>
                  <a:gd name="connsiteY11498" fmla="*/ 2763819 h 7571036"/>
                  <a:gd name="connsiteX11499" fmla="*/ 4281005 w 6994525"/>
                  <a:gd name="connsiteY11499" fmla="*/ 2084781 h 7571036"/>
                  <a:gd name="connsiteX11500" fmla="*/ 4269664 w 6994525"/>
                  <a:gd name="connsiteY11500" fmla="*/ 2073439 h 7571036"/>
                  <a:gd name="connsiteX11501" fmla="*/ 4258320 w 6994525"/>
                  <a:gd name="connsiteY11501" fmla="*/ 2084781 h 7571036"/>
                  <a:gd name="connsiteX11502" fmla="*/ 4269664 w 6994525"/>
                  <a:gd name="connsiteY11502" fmla="*/ 2096125 h 7571036"/>
                  <a:gd name="connsiteX11503" fmla="*/ 4281005 w 6994525"/>
                  <a:gd name="connsiteY11503" fmla="*/ 2084781 h 7571036"/>
                  <a:gd name="connsiteX11504" fmla="*/ 4282975 w 6994525"/>
                  <a:gd name="connsiteY11504" fmla="*/ 1842955 h 7571036"/>
                  <a:gd name="connsiteX11505" fmla="*/ 4274346 w 6994525"/>
                  <a:gd name="connsiteY11505" fmla="*/ 1834321 h 7571036"/>
                  <a:gd name="connsiteX11506" fmla="*/ 4265715 w 6994525"/>
                  <a:gd name="connsiteY11506" fmla="*/ 1842955 h 7571036"/>
                  <a:gd name="connsiteX11507" fmla="*/ 4274346 w 6994525"/>
                  <a:gd name="connsiteY11507" fmla="*/ 1851579 h 7571036"/>
                  <a:gd name="connsiteX11508" fmla="*/ 4282975 w 6994525"/>
                  <a:gd name="connsiteY11508" fmla="*/ 1842955 h 7571036"/>
                  <a:gd name="connsiteX11509" fmla="*/ 4286182 w 6994525"/>
                  <a:gd name="connsiteY11509" fmla="*/ 4497470 h 7571036"/>
                  <a:gd name="connsiteX11510" fmla="*/ 4247717 w 6994525"/>
                  <a:gd name="connsiteY11510" fmla="*/ 4459004 h 7571036"/>
                  <a:gd name="connsiteX11511" fmla="*/ 4209251 w 6994525"/>
                  <a:gd name="connsiteY11511" fmla="*/ 4497470 h 7571036"/>
                  <a:gd name="connsiteX11512" fmla="*/ 4247717 w 6994525"/>
                  <a:gd name="connsiteY11512" fmla="*/ 4535936 h 7571036"/>
                  <a:gd name="connsiteX11513" fmla="*/ 4286182 w 6994525"/>
                  <a:gd name="connsiteY11513" fmla="*/ 4497470 h 7571036"/>
                  <a:gd name="connsiteX11514" fmla="*/ 4286182 w 6994525"/>
                  <a:gd name="connsiteY11514" fmla="*/ 5345196 h 7571036"/>
                  <a:gd name="connsiteX11515" fmla="*/ 4285934 w 6994525"/>
                  <a:gd name="connsiteY11515" fmla="*/ 5344950 h 7571036"/>
                  <a:gd name="connsiteX11516" fmla="*/ 4285687 w 6994525"/>
                  <a:gd name="connsiteY11516" fmla="*/ 5345196 h 7571036"/>
                  <a:gd name="connsiteX11517" fmla="*/ 4285934 w 6994525"/>
                  <a:gd name="connsiteY11517" fmla="*/ 5345445 h 7571036"/>
                  <a:gd name="connsiteX11518" fmla="*/ 4286182 w 6994525"/>
                  <a:gd name="connsiteY11518" fmla="*/ 5345196 h 7571036"/>
                  <a:gd name="connsiteX11519" fmla="*/ 4286185 w 6994525"/>
                  <a:gd name="connsiteY11519" fmla="*/ 4624703 h 7571036"/>
                  <a:gd name="connsiteX11520" fmla="*/ 4255362 w 6994525"/>
                  <a:gd name="connsiteY11520" fmla="*/ 4593882 h 7571036"/>
                  <a:gd name="connsiteX11521" fmla="*/ 4224539 w 6994525"/>
                  <a:gd name="connsiteY11521" fmla="*/ 4624703 h 7571036"/>
                  <a:gd name="connsiteX11522" fmla="*/ 4255362 w 6994525"/>
                  <a:gd name="connsiteY11522" fmla="*/ 4655527 h 7571036"/>
                  <a:gd name="connsiteX11523" fmla="*/ 4286185 w 6994525"/>
                  <a:gd name="connsiteY11523" fmla="*/ 4624703 h 7571036"/>
                  <a:gd name="connsiteX11524" fmla="*/ 4286427 w 6994525"/>
                  <a:gd name="connsiteY11524" fmla="*/ 2625497 h 7571036"/>
                  <a:gd name="connsiteX11525" fmla="*/ 4280018 w 6994525"/>
                  <a:gd name="connsiteY11525" fmla="*/ 2619085 h 7571036"/>
                  <a:gd name="connsiteX11526" fmla="*/ 4273605 w 6994525"/>
                  <a:gd name="connsiteY11526" fmla="*/ 2625497 h 7571036"/>
                  <a:gd name="connsiteX11527" fmla="*/ 4280018 w 6994525"/>
                  <a:gd name="connsiteY11527" fmla="*/ 2631907 h 7571036"/>
                  <a:gd name="connsiteX11528" fmla="*/ 4286427 w 6994525"/>
                  <a:gd name="connsiteY11528" fmla="*/ 2625497 h 7571036"/>
                  <a:gd name="connsiteX11529" fmla="*/ 4287906 w 6994525"/>
                  <a:gd name="connsiteY11529" fmla="*/ 5461826 h 7571036"/>
                  <a:gd name="connsiteX11530" fmla="*/ 4287660 w 6994525"/>
                  <a:gd name="connsiteY11530" fmla="*/ 5461579 h 7571036"/>
                  <a:gd name="connsiteX11531" fmla="*/ 4287414 w 6994525"/>
                  <a:gd name="connsiteY11531" fmla="*/ 5461826 h 7571036"/>
                  <a:gd name="connsiteX11532" fmla="*/ 4287660 w 6994525"/>
                  <a:gd name="connsiteY11532" fmla="*/ 5462075 h 7571036"/>
                  <a:gd name="connsiteX11533" fmla="*/ 4287906 w 6994525"/>
                  <a:gd name="connsiteY11533" fmla="*/ 5461826 h 7571036"/>
                  <a:gd name="connsiteX11534" fmla="*/ 4287908 w 6994525"/>
                  <a:gd name="connsiteY11534" fmla="*/ 4366783 h 7571036"/>
                  <a:gd name="connsiteX11535" fmla="*/ 4238099 w 6994525"/>
                  <a:gd name="connsiteY11535" fmla="*/ 4317222 h 7571036"/>
                  <a:gd name="connsiteX11536" fmla="*/ 4188538 w 6994525"/>
                  <a:gd name="connsiteY11536" fmla="*/ 4366783 h 7571036"/>
                  <a:gd name="connsiteX11537" fmla="*/ 4238099 w 6994525"/>
                  <a:gd name="connsiteY11537" fmla="*/ 4416593 h 7571036"/>
                  <a:gd name="connsiteX11538" fmla="*/ 4287908 w 6994525"/>
                  <a:gd name="connsiteY11538" fmla="*/ 4366783 h 7571036"/>
                  <a:gd name="connsiteX11539" fmla="*/ 4288402 w 6994525"/>
                  <a:gd name="connsiteY11539" fmla="*/ 1962988 h 7571036"/>
                  <a:gd name="connsiteX11540" fmla="*/ 4272373 w 6994525"/>
                  <a:gd name="connsiteY11540" fmla="*/ 1946966 h 7571036"/>
                  <a:gd name="connsiteX11541" fmla="*/ 4256347 w 6994525"/>
                  <a:gd name="connsiteY11541" fmla="*/ 1962988 h 7571036"/>
                  <a:gd name="connsiteX11542" fmla="*/ 4272373 w 6994525"/>
                  <a:gd name="connsiteY11542" fmla="*/ 1979011 h 7571036"/>
                  <a:gd name="connsiteX11543" fmla="*/ 4288402 w 6994525"/>
                  <a:gd name="connsiteY11543" fmla="*/ 1962988 h 7571036"/>
                  <a:gd name="connsiteX11544" fmla="*/ 4293087 w 6994525"/>
                  <a:gd name="connsiteY11544" fmla="*/ 5108732 h 7571036"/>
                  <a:gd name="connsiteX11545" fmla="*/ 4281250 w 6994525"/>
                  <a:gd name="connsiteY11545" fmla="*/ 5097142 h 7571036"/>
                  <a:gd name="connsiteX11546" fmla="*/ 4269660 w 6994525"/>
                  <a:gd name="connsiteY11546" fmla="*/ 5108732 h 7571036"/>
                  <a:gd name="connsiteX11547" fmla="*/ 4281250 w 6994525"/>
                  <a:gd name="connsiteY11547" fmla="*/ 5120568 h 7571036"/>
                  <a:gd name="connsiteX11548" fmla="*/ 4293087 w 6994525"/>
                  <a:gd name="connsiteY11548" fmla="*/ 5108732 h 7571036"/>
                  <a:gd name="connsiteX11549" fmla="*/ 4297280 w 6994525"/>
                  <a:gd name="connsiteY11549" fmla="*/ 2491367 h 7571036"/>
                  <a:gd name="connsiteX11550" fmla="*/ 4291113 w 6994525"/>
                  <a:gd name="connsiteY11550" fmla="*/ 2485204 h 7571036"/>
                  <a:gd name="connsiteX11551" fmla="*/ 4284950 w 6994525"/>
                  <a:gd name="connsiteY11551" fmla="*/ 2491367 h 7571036"/>
                  <a:gd name="connsiteX11552" fmla="*/ 4291113 w 6994525"/>
                  <a:gd name="connsiteY11552" fmla="*/ 2497533 h 7571036"/>
                  <a:gd name="connsiteX11553" fmla="*/ 4297280 w 6994525"/>
                  <a:gd name="connsiteY11553" fmla="*/ 2491367 h 7571036"/>
                  <a:gd name="connsiteX11554" fmla="*/ 4298018 w 6994525"/>
                  <a:gd name="connsiteY11554" fmla="*/ 5920456 h 7571036"/>
                  <a:gd name="connsiteX11555" fmla="*/ 4295799 w 6994525"/>
                  <a:gd name="connsiteY11555" fmla="*/ 5918238 h 7571036"/>
                  <a:gd name="connsiteX11556" fmla="*/ 4293580 w 6994525"/>
                  <a:gd name="connsiteY11556" fmla="*/ 5920456 h 7571036"/>
                  <a:gd name="connsiteX11557" fmla="*/ 4295799 w 6994525"/>
                  <a:gd name="connsiteY11557" fmla="*/ 5922674 h 7571036"/>
                  <a:gd name="connsiteX11558" fmla="*/ 4298018 w 6994525"/>
                  <a:gd name="connsiteY11558" fmla="*/ 5920456 h 7571036"/>
                  <a:gd name="connsiteX11559" fmla="*/ 4298264 w 6994525"/>
                  <a:gd name="connsiteY11559" fmla="*/ 6034622 h 7571036"/>
                  <a:gd name="connsiteX11560" fmla="*/ 4295059 w 6994525"/>
                  <a:gd name="connsiteY11560" fmla="*/ 6031417 h 7571036"/>
                  <a:gd name="connsiteX11561" fmla="*/ 4291854 w 6994525"/>
                  <a:gd name="connsiteY11561" fmla="*/ 6034622 h 7571036"/>
                  <a:gd name="connsiteX11562" fmla="*/ 4295059 w 6994525"/>
                  <a:gd name="connsiteY11562" fmla="*/ 6037830 h 7571036"/>
                  <a:gd name="connsiteX11563" fmla="*/ 4298264 w 6994525"/>
                  <a:gd name="connsiteY11563" fmla="*/ 6034622 h 7571036"/>
                  <a:gd name="connsiteX11564" fmla="*/ 4298264 w 6994525"/>
                  <a:gd name="connsiteY11564" fmla="*/ 6260979 h 7571036"/>
                  <a:gd name="connsiteX11565" fmla="*/ 4296292 w 6994525"/>
                  <a:gd name="connsiteY11565" fmla="*/ 6259006 h 7571036"/>
                  <a:gd name="connsiteX11566" fmla="*/ 4294318 w 6994525"/>
                  <a:gd name="connsiteY11566" fmla="*/ 6260979 h 7571036"/>
                  <a:gd name="connsiteX11567" fmla="*/ 4296292 w 6994525"/>
                  <a:gd name="connsiteY11567" fmla="*/ 6262952 h 7571036"/>
                  <a:gd name="connsiteX11568" fmla="*/ 4298264 w 6994525"/>
                  <a:gd name="connsiteY11568" fmla="*/ 6260979 h 7571036"/>
                  <a:gd name="connsiteX11569" fmla="*/ 4298755 w 6994525"/>
                  <a:gd name="connsiteY11569" fmla="*/ 6148047 h 7571036"/>
                  <a:gd name="connsiteX11570" fmla="*/ 4295551 w 6994525"/>
                  <a:gd name="connsiteY11570" fmla="*/ 6144841 h 7571036"/>
                  <a:gd name="connsiteX11571" fmla="*/ 4292345 w 6994525"/>
                  <a:gd name="connsiteY11571" fmla="*/ 6148047 h 7571036"/>
                  <a:gd name="connsiteX11572" fmla="*/ 4295551 w 6994525"/>
                  <a:gd name="connsiteY11572" fmla="*/ 6151254 h 7571036"/>
                  <a:gd name="connsiteX11573" fmla="*/ 4298755 w 6994525"/>
                  <a:gd name="connsiteY11573" fmla="*/ 6148047 h 7571036"/>
                  <a:gd name="connsiteX11574" fmla="*/ 4299004 w 6994525"/>
                  <a:gd name="connsiteY11574" fmla="*/ 5690894 h 7571036"/>
                  <a:gd name="connsiteX11575" fmla="*/ 4295797 w 6994525"/>
                  <a:gd name="connsiteY11575" fmla="*/ 5687688 h 7571036"/>
                  <a:gd name="connsiteX11576" fmla="*/ 4292592 w 6994525"/>
                  <a:gd name="connsiteY11576" fmla="*/ 5690894 h 7571036"/>
                  <a:gd name="connsiteX11577" fmla="*/ 4295797 w 6994525"/>
                  <a:gd name="connsiteY11577" fmla="*/ 5694102 h 7571036"/>
                  <a:gd name="connsiteX11578" fmla="*/ 4299004 w 6994525"/>
                  <a:gd name="connsiteY11578" fmla="*/ 5690894 h 7571036"/>
                  <a:gd name="connsiteX11579" fmla="*/ 4299004 w 6994525"/>
                  <a:gd name="connsiteY11579" fmla="*/ 6373415 h 7571036"/>
                  <a:gd name="connsiteX11580" fmla="*/ 4296540 w 6994525"/>
                  <a:gd name="connsiteY11580" fmla="*/ 6370950 h 7571036"/>
                  <a:gd name="connsiteX11581" fmla="*/ 4294072 w 6994525"/>
                  <a:gd name="connsiteY11581" fmla="*/ 6373415 h 7571036"/>
                  <a:gd name="connsiteX11582" fmla="*/ 4296540 w 6994525"/>
                  <a:gd name="connsiteY11582" fmla="*/ 6375882 h 7571036"/>
                  <a:gd name="connsiteX11583" fmla="*/ 4299004 w 6994525"/>
                  <a:gd name="connsiteY11583" fmla="*/ 6373415 h 7571036"/>
                  <a:gd name="connsiteX11584" fmla="*/ 4299253 w 6994525"/>
                  <a:gd name="connsiteY11584" fmla="*/ 5227331 h 7571036"/>
                  <a:gd name="connsiteX11585" fmla="*/ 4284210 w 6994525"/>
                  <a:gd name="connsiteY11585" fmla="*/ 5212290 h 7571036"/>
                  <a:gd name="connsiteX11586" fmla="*/ 4269169 w 6994525"/>
                  <a:gd name="connsiteY11586" fmla="*/ 5227331 h 7571036"/>
                  <a:gd name="connsiteX11587" fmla="*/ 4284210 w 6994525"/>
                  <a:gd name="connsiteY11587" fmla="*/ 5242374 h 7571036"/>
                  <a:gd name="connsiteX11588" fmla="*/ 4299253 w 6994525"/>
                  <a:gd name="connsiteY11588" fmla="*/ 5227331 h 7571036"/>
                  <a:gd name="connsiteX11589" fmla="*/ 4299495 w 6994525"/>
                  <a:gd name="connsiteY11589" fmla="*/ 5575499 h 7571036"/>
                  <a:gd name="connsiteX11590" fmla="*/ 4295058 w 6994525"/>
                  <a:gd name="connsiteY11590" fmla="*/ 5571059 h 7571036"/>
                  <a:gd name="connsiteX11591" fmla="*/ 4290373 w 6994525"/>
                  <a:gd name="connsiteY11591" fmla="*/ 5575499 h 7571036"/>
                  <a:gd name="connsiteX11592" fmla="*/ 4295058 w 6994525"/>
                  <a:gd name="connsiteY11592" fmla="*/ 5579935 h 7571036"/>
                  <a:gd name="connsiteX11593" fmla="*/ 4299495 w 6994525"/>
                  <a:gd name="connsiteY11593" fmla="*/ 5575499 h 7571036"/>
                  <a:gd name="connsiteX11594" fmla="*/ 4301964 w 6994525"/>
                  <a:gd name="connsiteY11594" fmla="*/ 2361179 h 7571036"/>
                  <a:gd name="connsiteX11595" fmla="*/ 4299497 w 6994525"/>
                  <a:gd name="connsiteY11595" fmla="*/ 2358719 h 7571036"/>
                  <a:gd name="connsiteX11596" fmla="*/ 4297032 w 6994525"/>
                  <a:gd name="connsiteY11596" fmla="*/ 2361179 h 7571036"/>
                  <a:gd name="connsiteX11597" fmla="*/ 4299497 w 6994525"/>
                  <a:gd name="connsiteY11597" fmla="*/ 2363651 h 7571036"/>
                  <a:gd name="connsiteX11598" fmla="*/ 4301964 w 6994525"/>
                  <a:gd name="connsiteY11598" fmla="*/ 2361179 h 7571036"/>
                  <a:gd name="connsiteX11599" fmla="*/ 4302950 w 6994525"/>
                  <a:gd name="connsiteY11599" fmla="*/ 6708759 h 7571036"/>
                  <a:gd name="connsiteX11600" fmla="*/ 4301469 w 6994525"/>
                  <a:gd name="connsiteY11600" fmla="*/ 6707280 h 7571036"/>
                  <a:gd name="connsiteX11601" fmla="*/ 4299990 w 6994525"/>
                  <a:gd name="connsiteY11601" fmla="*/ 6708759 h 7571036"/>
                  <a:gd name="connsiteX11602" fmla="*/ 4301469 w 6994525"/>
                  <a:gd name="connsiteY11602" fmla="*/ 6710240 h 7571036"/>
                  <a:gd name="connsiteX11603" fmla="*/ 4302950 w 6994525"/>
                  <a:gd name="connsiteY11603" fmla="*/ 6708759 h 7571036"/>
                  <a:gd name="connsiteX11604" fmla="*/ 4303936 w 6994525"/>
                  <a:gd name="connsiteY11604" fmla="*/ 5806045 h 7571036"/>
                  <a:gd name="connsiteX11605" fmla="*/ 4295554 w 6994525"/>
                  <a:gd name="connsiteY11605" fmla="*/ 5797662 h 7571036"/>
                  <a:gd name="connsiteX11606" fmla="*/ 4287168 w 6994525"/>
                  <a:gd name="connsiteY11606" fmla="*/ 5806045 h 7571036"/>
                  <a:gd name="connsiteX11607" fmla="*/ 4295554 w 6994525"/>
                  <a:gd name="connsiteY11607" fmla="*/ 5814430 h 7571036"/>
                  <a:gd name="connsiteX11608" fmla="*/ 4303936 w 6994525"/>
                  <a:gd name="connsiteY11608" fmla="*/ 5806045 h 7571036"/>
                  <a:gd name="connsiteX11609" fmla="*/ 4303936 w 6994525"/>
                  <a:gd name="connsiteY11609" fmla="*/ 6484376 h 7571036"/>
                  <a:gd name="connsiteX11610" fmla="*/ 4301964 w 6994525"/>
                  <a:gd name="connsiteY11610" fmla="*/ 6482403 h 7571036"/>
                  <a:gd name="connsiteX11611" fmla="*/ 4299990 w 6994525"/>
                  <a:gd name="connsiteY11611" fmla="*/ 6484376 h 7571036"/>
                  <a:gd name="connsiteX11612" fmla="*/ 4301964 w 6994525"/>
                  <a:gd name="connsiteY11612" fmla="*/ 6486349 h 7571036"/>
                  <a:gd name="connsiteX11613" fmla="*/ 4303936 w 6994525"/>
                  <a:gd name="connsiteY11613" fmla="*/ 6484376 h 7571036"/>
                  <a:gd name="connsiteX11614" fmla="*/ 4303936 w 6994525"/>
                  <a:gd name="connsiteY11614" fmla="*/ 6596568 h 7571036"/>
                  <a:gd name="connsiteX11615" fmla="*/ 4301964 w 6994525"/>
                  <a:gd name="connsiteY11615" fmla="*/ 6594595 h 7571036"/>
                  <a:gd name="connsiteX11616" fmla="*/ 4299990 w 6994525"/>
                  <a:gd name="connsiteY11616" fmla="*/ 6596568 h 7571036"/>
                  <a:gd name="connsiteX11617" fmla="*/ 4301964 w 6994525"/>
                  <a:gd name="connsiteY11617" fmla="*/ 6598541 h 7571036"/>
                  <a:gd name="connsiteX11618" fmla="*/ 4303936 w 6994525"/>
                  <a:gd name="connsiteY11618" fmla="*/ 6596568 h 7571036"/>
                  <a:gd name="connsiteX11619" fmla="*/ 4303936 w 6994525"/>
                  <a:gd name="connsiteY11619" fmla="*/ 6820214 h 7571036"/>
                  <a:gd name="connsiteX11620" fmla="*/ 4302212 w 6994525"/>
                  <a:gd name="connsiteY11620" fmla="*/ 6818486 h 7571036"/>
                  <a:gd name="connsiteX11621" fmla="*/ 4300485 w 6994525"/>
                  <a:gd name="connsiteY11621" fmla="*/ 6820214 h 7571036"/>
                  <a:gd name="connsiteX11622" fmla="*/ 4302212 w 6994525"/>
                  <a:gd name="connsiteY11622" fmla="*/ 6821938 h 7571036"/>
                  <a:gd name="connsiteX11623" fmla="*/ 4303936 w 6994525"/>
                  <a:gd name="connsiteY11623" fmla="*/ 6820214 h 7571036"/>
                  <a:gd name="connsiteX11624" fmla="*/ 4305662 w 6994525"/>
                  <a:gd name="connsiteY11624" fmla="*/ 6931914 h 7571036"/>
                  <a:gd name="connsiteX11625" fmla="*/ 4302209 w 6994525"/>
                  <a:gd name="connsiteY11625" fmla="*/ 6928460 h 7571036"/>
                  <a:gd name="connsiteX11626" fmla="*/ 4298758 w 6994525"/>
                  <a:gd name="connsiteY11626" fmla="*/ 6931914 h 7571036"/>
                  <a:gd name="connsiteX11627" fmla="*/ 4302209 w 6994525"/>
                  <a:gd name="connsiteY11627" fmla="*/ 6935365 h 7571036"/>
                  <a:gd name="connsiteX11628" fmla="*/ 4305662 w 6994525"/>
                  <a:gd name="connsiteY11628" fmla="*/ 6931914 h 7571036"/>
                  <a:gd name="connsiteX11629" fmla="*/ 4306895 w 6994525"/>
                  <a:gd name="connsiteY11629" fmla="*/ 7043118 h 7571036"/>
                  <a:gd name="connsiteX11630" fmla="*/ 4302455 w 6994525"/>
                  <a:gd name="connsiteY11630" fmla="*/ 7038927 h 7571036"/>
                  <a:gd name="connsiteX11631" fmla="*/ 4298264 w 6994525"/>
                  <a:gd name="connsiteY11631" fmla="*/ 7043118 h 7571036"/>
                  <a:gd name="connsiteX11632" fmla="*/ 4302455 w 6994525"/>
                  <a:gd name="connsiteY11632" fmla="*/ 7047309 h 7571036"/>
                  <a:gd name="connsiteX11633" fmla="*/ 4306895 w 6994525"/>
                  <a:gd name="connsiteY11633" fmla="*/ 7043118 h 7571036"/>
                  <a:gd name="connsiteX11634" fmla="*/ 4307883 w 6994525"/>
                  <a:gd name="connsiteY11634" fmla="*/ 4867579 h 7571036"/>
                  <a:gd name="connsiteX11635" fmla="*/ 4274101 w 6994525"/>
                  <a:gd name="connsiteY11635" fmla="*/ 4833799 h 7571036"/>
                  <a:gd name="connsiteX11636" fmla="*/ 4240320 w 6994525"/>
                  <a:gd name="connsiteY11636" fmla="*/ 4867579 h 7571036"/>
                  <a:gd name="connsiteX11637" fmla="*/ 4274101 w 6994525"/>
                  <a:gd name="connsiteY11637" fmla="*/ 4901359 h 7571036"/>
                  <a:gd name="connsiteX11638" fmla="*/ 4307883 w 6994525"/>
                  <a:gd name="connsiteY11638" fmla="*/ 4867579 h 7571036"/>
                  <a:gd name="connsiteX11639" fmla="*/ 4308373 w 6994525"/>
                  <a:gd name="connsiteY11639" fmla="*/ 7154078 h 7571036"/>
                  <a:gd name="connsiteX11640" fmla="*/ 4302949 w 6994525"/>
                  <a:gd name="connsiteY11640" fmla="*/ 7148652 h 7571036"/>
                  <a:gd name="connsiteX11641" fmla="*/ 4297523 w 6994525"/>
                  <a:gd name="connsiteY11641" fmla="*/ 7154078 h 7571036"/>
                  <a:gd name="connsiteX11642" fmla="*/ 4302949 w 6994525"/>
                  <a:gd name="connsiteY11642" fmla="*/ 7159502 h 7571036"/>
                  <a:gd name="connsiteX11643" fmla="*/ 4308373 w 6994525"/>
                  <a:gd name="connsiteY11643" fmla="*/ 7154078 h 7571036"/>
                  <a:gd name="connsiteX11644" fmla="*/ 4310348 w 6994525"/>
                  <a:gd name="connsiteY11644" fmla="*/ 3736290 h 7571036"/>
                  <a:gd name="connsiteX11645" fmla="*/ 4286428 w 6994525"/>
                  <a:gd name="connsiteY11645" fmla="*/ 3712373 h 7571036"/>
                  <a:gd name="connsiteX11646" fmla="*/ 4262511 w 6994525"/>
                  <a:gd name="connsiteY11646" fmla="*/ 3736290 h 7571036"/>
                  <a:gd name="connsiteX11647" fmla="*/ 4286428 w 6994525"/>
                  <a:gd name="connsiteY11647" fmla="*/ 3760207 h 7571036"/>
                  <a:gd name="connsiteX11648" fmla="*/ 4310348 w 6994525"/>
                  <a:gd name="connsiteY11648" fmla="*/ 3736290 h 7571036"/>
                  <a:gd name="connsiteX11649" fmla="*/ 4310593 w 6994525"/>
                  <a:gd name="connsiteY11649" fmla="*/ 7375253 h 7571036"/>
                  <a:gd name="connsiteX11650" fmla="*/ 4306648 w 6994525"/>
                  <a:gd name="connsiteY11650" fmla="*/ 7371308 h 7571036"/>
                  <a:gd name="connsiteX11651" fmla="*/ 4302703 w 6994525"/>
                  <a:gd name="connsiteY11651" fmla="*/ 7375253 h 7571036"/>
                  <a:gd name="connsiteX11652" fmla="*/ 4306648 w 6994525"/>
                  <a:gd name="connsiteY11652" fmla="*/ 7379198 h 7571036"/>
                  <a:gd name="connsiteX11653" fmla="*/ 4310593 w 6994525"/>
                  <a:gd name="connsiteY11653" fmla="*/ 7375253 h 7571036"/>
                  <a:gd name="connsiteX11654" fmla="*/ 4310594 w 6994525"/>
                  <a:gd name="connsiteY11654" fmla="*/ 3004966 h 7571036"/>
                  <a:gd name="connsiteX11655" fmla="*/ 4309114 w 6994525"/>
                  <a:gd name="connsiteY11655" fmla="*/ 3003487 h 7571036"/>
                  <a:gd name="connsiteX11656" fmla="*/ 4307635 w 6994525"/>
                  <a:gd name="connsiteY11656" fmla="*/ 3004966 h 7571036"/>
                  <a:gd name="connsiteX11657" fmla="*/ 4309114 w 6994525"/>
                  <a:gd name="connsiteY11657" fmla="*/ 3006445 h 7571036"/>
                  <a:gd name="connsiteX11658" fmla="*/ 4310594 w 6994525"/>
                  <a:gd name="connsiteY11658" fmla="*/ 3004966 h 7571036"/>
                  <a:gd name="connsiteX11659" fmla="*/ 4311826 w 6994525"/>
                  <a:gd name="connsiteY11659" fmla="*/ 7485720 h 7571036"/>
                  <a:gd name="connsiteX11660" fmla="*/ 4306895 w 6994525"/>
                  <a:gd name="connsiteY11660" fmla="*/ 7480788 h 7571036"/>
                  <a:gd name="connsiteX11661" fmla="*/ 4301963 w 6994525"/>
                  <a:gd name="connsiteY11661" fmla="*/ 7485720 h 7571036"/>
                  <a:gd name="connsiteX11662" fmla="*/ 4306895 w 6994525"/>
                  <a:gd name="connsiteY11662" fmla="*/ 7490651 h 7571036"/>
                  <a:gd name="connsiteX11663" fmla="*/ 4311826 w 6994525"/>
                  <a:gd name="connsiteY11663" fmla="*/ 7485720 h 7571036"/>
                  <a:gd name="connsiteX11664" fmla="*/ 4312072 w 6994525"/>
                  <a:gd name="connsiteY11664" fmla="*/ 3275207 h 7571036"/>
                  <a:gd name="connsiteX11665" fmla="*/ 4302704 w 6994525"/>
                  <a:gd name="connsiteY11665" fmla="*/ 3265839 h 7571036"/>
                  <a:gd name="connsiteX11666" fmla="*/ 4293332 w 6994525"/>
                  <a:gd name="connsiteY11666" fmla="*/ 3275207 h 7571036"/>
                  <a:gd name="connsiteX11667" fmla="*/ 4302704 w 6994525"/>
                  <a:gd name="connsiteY11667" fmla="*/ 3284578 h 7571036"/>
                  <a:gd name="connsiteX11668" fmla="*/ 4312072 w 6994525"/>
                  <a:gd name="connsiteY11668" fmla="*/ 3275207 h 7571036"/>
                  <a:gd name="connsiteX11669" fmla="*/ 4312812 w 6994525"/>
                  <a:gd name="connsiteY11669" fmla="*/ 7264047 h 7571036"/>
                  <a:gd name="connsiteX11670" fmla="*/ 4306893 w 6994525"/>
                  <a:gd name="connsiteY11670" fmla="*/ 7257883 h 7571036"/>
                  <a:gd name="connsiteX11671" fmla="*/ 4300730 w 6994525"/>
                  <a:gd name="connsiteY11671" fmla="*/ 7264047 h 7571036"/>
                  <a:gd name="connsiteX11672" fmla="*/ 4306893 w 6994525"/>
                  <a:gd name="connsiteY11672" fmla="*/ 7270214 h 7571036"/>
                  <a:gd name="connsiteX11673" fmla="*/ 4312812 w 6994525"/>
                  <a:gd name="connsiteY11673" fmla="*/ 7264047 h 7571036"/>
                  <a:gd name="connsiteX11674" fmla="*/ 4313552 w 6994525"/>
                  <a:gd name="connsiteY11674" fmla="*/ 4988895 h 7571036"/>
                  <a:gd name="connsiteX11675" fmla="*/ 4278047 w 6994525"/>
                  <a:gd name="connsiteY11675" fmla="*/ 4953388 h 7571036"/>
                  <a:gd name="connsiteX11676" fmla="*/ 4242539 w 6994525"/>
                  <a:gd name="connsiteY11676" fmla="*/ 4988895 h 7571036"/>
                  <a:gd name="connsiteX11677" fmla="*/ 4278047 w 6994525"/>
                  <a:gd name="connsiteY11677" fmla="*/ 5024402 h 7571036"/>
                  <a:gd name="connsiteX11678" fmla="*/ 4313552 w 6994525"/>
                  <a:gd name="connsiteY11678" fmla="*/ 4988895 h 7571036"/>
                  <a:gd name="connsiteX11679" fmla="*/ 4315279 w 6994525"/>
                  <a:gd name="connsiteY11679" fmla="*/ 1724081 h 7571036"/>
                  <a:gd name="connsiteX11680" fmla="*/ 4275579 w 6994525"/>
                  <a:gd name="connsiteY11680" fmla="*/ 1684394 h 7571036"/>
                  <a:gd name="connsiteX11681" fmla="*/ 4235880 w 6994525"/>
                  <a:gd name="connsiteY11681" fmla="*/ 1724081 h 7571036"/>
                  <a:gd name="connsiteX11682" fmla="*/ 4275579 w 6994525"/>
                  <a:gd name="connsiteY11682" fmla="*/ 1763805 h 7571036"/>
                  <a:gd name="connsiteX11683" fmla="*/ 4315279 w 6994525"/>
                  <a:gd name="connsiteY11683" fmla="*/ 1724081 h 7571036"/>
                  <a:gd name="connsiteX11684" fmla="*/ 4315279 w 6994525"/>
                  <a:gd name="connsiteY11684" fmla="*/ 3999633 h 7571036"/>
                  <a:gd name="connsiteX11685" fmla="*/ 4278292 w 6994525"/>
                  <a:gd name="connsiteY11685" fmla="*/ 3962893 h 7571036"/>
                  <a:gd name="connsiteX11686" fmla="*/ 4241552 w 6994525"/>
                  <a:gd name="connsiteY11686" fmla="*/ 3999633 h 7571036"/>
                  <a:gd name="connsiteX11687" fmla="*/ 4278292 w 6994525"/>
                  <a:gd name="connsiteY11687" fmla="*/ 4036621 h 7571036"/>
                  <a:gd name="connsiteX11688" fmla="*/ 4315279 w 6994525"/>
                  <a:gd name="connsiteY11688" fmla="*/ 3999633 h 7571036"/>
                  <a:gd name="connsiteX11689" fmla="*/ 4319222 w 6994525"/>
                  <a:gd name="connsiteY11689" fmla="*/ 4744291 h 7571036"/>
                  <a:gd name="connsiteX11690" fmla="*/ 4269907 w 6994525"/>
                  <a:gd name="connsiteY11690" fmla="*/ 4694976 h 7571036"/>
                  <a:gd name="connsiteX11691" fmla="*/ 4220592 w 6994525"/>
                  <a:gd name="connsiteY11691" fmla="*/ 4744291 h 7571036"/>
                  <a:gd name="connsiteX11692" fmla="*/ 4269907 w 6994525"/>
                  <a:gd name="connsiteY11692" fmla="*/ 4793606 h 7571036"/>
                  <a:gd name="connsiteX11693" fmla="*/ 4319222 w 6994525"/>
                  <a:gd name="connsiteY11693" fmla="*/ 4744291 h 7571036"/>
                  <a:gd name="connsiteX11694" fmla="*/ 4322676 w 6994525"/>
                  <a:gd name="connsiteY11694" fmla="*/ 1606737 h 7571036"/>
                  <a:gd name="connsiteX11695" fmla="*/ 4277552 w 6994525"/>
                  <a:gd name="connsiteY11695" fmla="*/ 1561611 h 7571036"/>
                  <a:gd name="connsiteX11696" fmla="*/ 4232427 w 6994525"/>
                  <a:gd name="connsiteY11696" fmla="*/ 1606737 h 7571036"/>
                  <a:gd name="connsiteX11697" fmla="*/ 4277552 w 6994525"/>
                  <a:gd name="connsiteY11697" fmla="*/ 1651860 h 7571036"/>
                  <a:gd name="connsiteX11698" fmla="*/ 4322676 w 6994525"/>
                  <a:gd name="connsiteY11698" fmla="*/ 1606737 h 7571036"/>
                  <a:gd name="connsiteX11699" fmla="*/ 4323416 w 6994525"/>
                  <a:gd name="connsiteY11699" fmla="*/ 1489627 h 7571036"/>
                  <a:gd name="connsiteX11700" fmla="*/ 4278292 w 6994525"/>
                  <a:gd name="connsiteY11700" fmla="*/ 1444502 h 7571036"/>
                  <a:gd name="connsiteX11701" fmla="*/ 4233416 w 6994525"/>
                  <a:gd name="connsiteY11701" fmla="*/ 1489627 h 7571036"/>
                  <a:gd name="connsiteX11702" fmla="*/ 4278292 w 6994525"/>
                  <a:gd name="connsiteY11702" fmla="*/ 1534753 h 7571036"/>
                  <a:gd name="connsiteX11703" fmla="*/ 4323416 w 6994525"/>
                  <a:gd name="connsiteY11703" fmla="*/ 1489627 h 7571036"/>
                  <a:gd name="connsiteX11704" fmla="*/ 4329086 w 6994525"/>
                  <a:gd name="connsiteY11704" fmla="*/ 21488 h 7571036"/>
                  <a:gd name="connsiteX11705" fmla="*/ 4320166 w 6994525"/>
                  <a:gd name="connsiteY11705" fmla="*/ 0 h 7571036"/>
                  <a:gd name="connsiteX11706" fmla="*/ 4265514 w 6994525"/>
                  <a:gd name="connsiteY11706" fmla="*/ 0 h 7571036"/>
                  <a:gd name="connsiteX11707" fmla="*/ 4256594 w 6994525"/>
                  <a:gd name="connsiteY11707" fmla="*/ 21488 h 7571036"/>
                  <a:gd name="connsiteX11708" fmla="*/ 4292842 w 6994525"/>
                  <a:gd name="connsiteY11708" fmla="*/ 57733 h 7571036"/>
                  <a:gd name="connsiteX11709" fmla="*/ 4329086 w 6994525"/>
                  <a:gd name="connsiteY11709" fmla="*/ 21488 h 7571036"/>
                  <a:gd name="connsiteX11710" fmla="*/ 4329580 w 6994525"/>
                  <a:gd name="connsiteY11710" fmla="*/ 132913 h 7571036"/>
                  <a:gd name="connsiteX11711" fmla="*/ 4292841 w 6994525"/>
                  <a:gd name="connsiteY11711" fmla="*/ 96176 h 7571036"/>
                  <a:gd name="connsiteX11712" fmla="*/ 4256101 w 6994525"/>
                  <a:gd name="connsiteY11712" fmla="*/ 132913 h 7571036"/>
                  <a:gd name="connsiteX11713" fmla="*/ 4292841 w 6994525"/>
                  <a:gd name="connsiteY11713" fmla="*/ 169653 h 7571036"/>
                  <a:gd name="connsiteX11714" fmla="*/ 4329580 w 6994525"/>
                  <a:gd name="connsiteY11714" fmla="*/ 132913 h 7571036"/>
                  <a:gd name="connsiteX11715" fmla="*/ 4330071 w 6994525"/>
                  <a:gd name="connsiteY11715" fmla="*/ 356259 h 7571036"/>
                  <a:gd name="connsiteX11716" fmla="*/ 4293333 w 6994525"/>
                  <a:gd name="connsiteY11716" fmla="*/ 319522 h 7571036"/>
                  <a:gd name="connsiteX11717" fmla="*/ 4256594 w 6994525"/>
                  <a:gd name="connsiteY11717" fmla="*/ 356259 h 7571036"/>
                  <a:gd name="connsiteX11718" fmla="*/ 4293333 w 6994525"/>
                  <a:gd name="connsiteY11718" fmla="*/ 392997 h 7571036"/>
                  <a:gd name="connsiteX11719" fmla="*/ 4330071 w 6994525"/>
                  <a:gd name="connsiteY11719" fmla="*/ 356259 h 7571036"/>
                  <a:gd name="connsiteX11720" fmla="*/ 4330071 w 6994525"/>
                  <a:gd name="connsiteY11720" fmla="*/ 468430 h 7571036"/>
                  <a:gd name="connsiteX11721" fmla="*/ 4293333 w 6994525"/>
                  <a:gd name="connsiteY11721" fmla="*/ 431692 h 7571036"/>
                  <a:gd name="connsiteX11722" fmla="*/ 4256594 w 6994525"/>
                  <a:gd name="connsiteY11722" fmla="*/ 468430 h 7571036"/>
                  <a:gd name="connsiteX11723" fmla="*/ 4293333 w 6994525"/>
                  <a:gd name="connsiteY11723" fmla="*/ 505170 h 7571036"/>
                  <a:gd name="connsiteX11724" fmla="*/ 4330071 w 6994525"/>
                  <a:gd name="connsiteY11724" fmla="*/ 468430 h 7571036"/>
                  <a:gd name="connsiteX11725" fmla="*/ 4332538 w 6994525"/>
                  <a:gd name="connsiteY11725" fmla="*/ 244586 h 7571036"/>
                  <a:gd name="connsiteX11726" fmla="*/ 4293580 w 6994525"/>
                  <a:gd name="connsiteY11726" fmla="*/ 205630 h 7571036"/>
                  <a:gd name="connsiteX11727" fmla="*/ 4254620 w 6994525"/>
                  <a:gd name="connsiteY11727" fmla="*/ 244586 h 7571036"/>
                  <a:gd name="connsiteX11728" fmla="*/ 4293580 w 6994525"/>
                  <a:gd name="connsiteY11728" fmla="*/ 283545 h 7571036"/>
                  <a:gd name="connsiteX11729" fmla="*/ 4332538 w 6994525"/>
                  <a:gd name="connsiteY11729" fmla="*/ 244586 h 7571036"/>
                  <a:gd name="connsiteX11730" fmla="*/ 4333034 w 6994525"/>
                  <a:gd name="connsiteY11730" fmla="*/ 3622865 h 7571036"/>
                  <a:gd name="connsiteX11731" fmla="*/ 4314787 w 6994525"/>
                  <a:gd name="connsiteY11731" fmla="*/ 3604617 h 7571036"/>
                  <a:gd name="connsiteX11732" fmla="*/ 4296539 w 6994525"/>
                  <a:gd name="connsiteY11732" fmla="*/ 3622865 h 7571036"/>
                  <a:gd name="connsiteX11733" fmla="*/ 4314787 w 6994525"/>
                  <a:gd name="connsiteY11733" fmla="*/ 3641111 h 7571036"/>
                  <a:gd name="connsiteX11734" fmla="*/ 4333034 w 6994525"/>
                  <a:gd name="connsiteY11734" fmla="*/ 3622865 h 7571036"/>
                  <a:gd name="connsiteX11735" fmla="*/ 4334020 w 6994525"/>
                  <a:gd name="connsiteY11735" fmla="*/ 3390114 h 7571036"/>
                  <a:gd name="connsiteX11736" fmla="*/ 4322921 w 6994525"/>
                  <a:gd name="connsiteY11736" fmla="*/ 3379017 h 7571036"/>
                  <a:gd name="connsiteX11737" fmla="*/ 4311826 w 6994525"/>
                  <a:gd name="connsiteY11737" fmla="*/ 3390114 h 7571036"/>
                  <a:gd name="connsiteX11738" fmla="*/ 4322921 w 6994525"/>
                  <a:gd name="connsiteY11738" fmla="*/ 3401209 h 7571036"/>
                  <a:gd name="connsiteX11739" fmla="*/ 4334020 w 6994525"/>
                  <a:gd name="connsiteY11739" fmla="*/ 3390114 h 7571036"/>
                  <a:gd name="connsiteX11740" fmla="*/ 4340676 w 6994525"/>
                  <a:gd name="connsiteY11740" fmla="*/ 3506727 h 7571036"/>
                  <a:gd name="connsiteX11741" fmla="*/ 4326867 w 6994525"/>
                  <a:gd name="connsiteY11741" fmla="*/ 3492919 h 7571036"/>
                  <a:gd name="connsiteX11742" fmla="*/ 4313058 w 6994525"/>
                  <a:gd name="connsiteY11742" fmla="*/ 3506727 h 7571036"/>
                  <a:gd name="connsiteX11743" fmla="*/ 4326867 w 6994525"/>
                  <a:gd name="connsiteY11743" fmla="*/ 3520536 h 7571036"/>
                  <a:gd name="connsiteX11744" fmla="*/ 4340676 w 6994525"/>
                  <a:gd name="connsiteY11744" fmla="*/ 3506727 h 7571036"/>
                  <a:gd name="connsiteX11745" fmla="*/ 4342895 w 6994525"/>
                  <a:gd name="connsiteY11745" fmla="*/ 4146841 h 7571036"/>
                  <a:gd name="connsiteX11746" fmla="*/ 4303939 w 6994525"/>
                  <a:gd name="connsiteY11746" fmla="*/ 4107881 h 7571036"/>
                  <a:gd name="connsiteX11747" fmla="*/ 4264977 w 6994525"/>
                  <a:gd name="connsiteY11747" fmla="*/ 4146841 h 7571036"/>
                  <a:gd name="connsiteX11748" fmla="*/ 4303939 w 6994525"/>
                  <a:gd name="connsiteY11748" fmla="*/ 4185798 h 7571036"/>
                  <a:gd name="connsiteX11749" fmla="*/ 4342895 w 6994525"/>
                  <a:gd name="connsiteY11749" fmla="*/ 4146841 h 7571036"/>
                  <a:gd name="connsiteX11750" fmla="*/ 4352019 w 6994525"/>
                  <a:gd name="connsiteY11750" fmla="*/ 2853328 h 7571036"/>
                  <a:gd name="connsiteX11751" fmla="*/ 4339197 w 6994525"/>
                  <a:gd name="connsiteY11751" fmla="*/ 2840506 h 7571036"/>
                  <a:gd name="connsiteX11752" fmla="*/ 4326375 w 6994525"/>
                  <a:gd name="connsiteY11752" fmla="*/ 2853328 h 7571036"/>
                  <a:gd name="connsiteX11753" fmla="*/ 4339197 w 6994525"/>
                  <a:gd name="connsiteY11753" fmla="*/ 2866149 h 7571036"/>
                  <a:gd name="connsiteX11754" fmla="*/ 4352019 w 6994525"/>
                  <a:gd name="connsiteY11754" fmla="*/ 2853328 h 7571036"/>
                  <a:gd name="connsiteX11755" fmla="*/ 4361390 w 6994525"/>
                  <a:gd name="connsiteY11755" fmla="*/ 3109023 h 7571036"/>
                  <a:gd name="connsiteX11756" fmla="*/ 4361142 w 6994525"/>
                  <a:gd name="connsiteY11756" fmla="*/ 3109023 h 7571036"/>
                  <a:gd name="connsiteX11757" fmla="*/ 4360895 w 6994525"/>
                  <a:gd name="connsiteY11757" fmla="*/ 3109023 h 7571036"/>
                  <a:gd name="connsiteX11758" fmla="*/ 4361142 w 6994525"/>
                  <a:gd name="connsiteY11758" fmla="*/ 3109267 h 7571036"/>
                  <a:gd name="connsiteX11759" fmla="*/ 4364591 w 6994525"/>
                  <a:gd name="connsiteY11759" fmla="*/ 2708101 h 7571036"/>
                  <a:gd name="connsiteX11760" fmla="*/ 4360895 w 6994525"/>
                  <a:gd name="connsiteY11760" fmla="*/ 2704402 h 7571036"/>
                  <a:gd name="connsiteX11761" fmla="*/ 4357195 w 6994525"/>
                  <a:gd name="connsiteY11761" fmla="*/ 2708101 h 7571036"/>
                  <a:gd name="connsiteX11762" fmla="*/ 4360895 w 6994525"/>
                  <a:gd name="connsiteY11762" fmla="*/ 2711801 h 7571036"/>
                  <a:gd name="connsiteX11763" fmla="*/ 4364591 w 6994525"/>
                  <a:gd name="connsiteY11763" fmla="*/ 2708101 h 7571036"/>
                  <a:gd name="connsiteX11764" fmla="*/ 4367554 w 6994525"/>
                  <a:gd name="connsiteY11764" fmla="*/ 4288125 h 7571036"/>
                  <a:gd name="connsiteX11765" fmla="*/ 4322921 w 6994525"/>
                  <a:gd name="connsiteY11765" fmla="*/ 4243496 h 7571036"/>
                  <a:gd name="connsiteX11766" fmla="*/ 4278292 w 6994525"/>
                  <a:gd name="connsiteY11766" fmla="*/ 4288125 h 7571036"/>
                  <a:gd name="connsiteX11767" fmla="*/ 4322921 w 6994525"/>
                  <a:gd name="connsiteY11767" fmla="*/ 4332754 h 7571036"/>
                  <a:gd name="connsiteX11768" fmla="*/ 4367554 w 6994525"/>
                  <a:gd name="connsiteY11768" fmla="*/ 4288125 h 7571036"/>
                  <a:gd name="connsiteX11769" fmla="*/ 4371251 w 6994525"/>
                  <a:gd name="connsiteY11769" fmla="*/ 4424238 h 7571036"/>
                  <a:gd name="connsiteX11770" fmla="*/ 4337221 w 6994525"/>
                  <a:gd name="connsiteY11770" fmla="*/ 4390209 h 7571036"/>
                  <a:gd name="connsiteX11771" fmla="*/ 4303195 w 6994525"/>
                  <a:gd name="connsiteY11771" fmla="*/ 4424238 h 7571036"/>
                  <a:gd name="connsiteX11772" fmla="*/ 4337221 w 6994525"/>
                  <a:gd name="connsiteY11772" fmla="*/ 4458264 h 7571036"/>
                  <a:gd name="connsiteX11773" fmla="*/ 4371251 w 6994525"/>
                  <a:gd name="connsiteY11773" fmla="*/ 4424238 h 7571036"/>
                  <a:gd name="connsiteX11774" fmla="*/ 4371991 w 6994525"/>
                  <a:gd name="connsiteY11774" fmla="*/ 3899031 h 7571036"/>
                  <a:gd name="connsiteX11775" fmla="*/ 4336730 w 6994525"/>
                  <a:gd name="connsiteY11775" fmla="*/ 3863769 h 7571036"/>
                  <a:gd name="connsiteX11776" fmla="*/ 4301468 w 6994525"/>
                  <a:gd name="connsiteY11776" fmla="*/ 3899031 h 7571036"/>
                  <a:gd name="connsiteX11777" fmla="*/ 4336730 w 6994525"/>
                  <a:gd name="connsiteY11777" fmla="*/ 3934291 h 7571036"/>
                  <a:gd name="connsiteX11778" fmla="*/ 4371991 w 6994525"/>
                  <a:gd name="connsiteY11778" fmla="*/ 3899031 h 7571036"/>
                  <a:gd name="connsiteX11779" fmla="*/ 4372483 w 6994525"/>
                  <a:gd name="connsiteY11779" fmla="*/ 2273407 h 7571036"/>
                  <a:gd name="connsiteX11780" fmla="*/ 4362868 w 6994525"/>
                  <a:gd name="connsiteY11780" fmla="*/ 2263793 h 7571036"/>
                  <a:gd name="connsiteX11781" fmla="*/ 4353251 w 6994525"/>
                  <a:gd name="connsiteY11781" fmla="*/ 2273407 h 7571036"/>
                  <a:gd name="connsiteX11782" fmla="*/ 4362868 w 6994525"/>
                  <a:gd name="connsiteY11782" fmla="*/ 2283027 h 7571036"/>
                  <a:gd name="connsiteX11783" fmla="*/ 4372483 w 6994525"/>
                  <a:gd name="connsiteY11783" fmla="*/ 2273407 h 7571036"/>
                  <a:gd name="connsiteX11784" fmla="*/ 4378400 w 6994525"/>
                  <a:gd name="connsiteY11784" fmla="*/ 4556648 h 7571036"/>
                  <a:gd name="connsiteX11785" fmla="*/ 4348565 w 6994525"/>
                  <a:gd name="connsiteY11785" fmla="*/ 4526813 h 7571036"/>
                  <a:gd name="connsiteX11786" fmla="*/ 4318730 w 6994525"/>
                  <a:gd name="connsiteY11786" fmla="*/ 4556648 h 7571036"/>
                  <a:gd name="connsiteX11787" fmla="*/ 4348565 w 6994525"/>
                  <a:gd name="connsiteY11787" fmla="*/ 4586483 h 7571036"/>
                  <a:gd name="connsiteX11788" fmla="*/ 4378400 w 6994525"/>
                  <a:gd name="connsiteY11788" fmla="*/ 4556648 h 7571036"/>
                  <a:gd name="connsiteX11789" fmla="*/ 4378649 w 6994525"/>
                  <a:gd name="connsiteY11789" fmla="*/ 2145445 h 7571036"/>
                  <a:gd name="connsiteX11790" fmla="*/ 4369031 w 6994525"/>
                  <a:gd name="connsiteY11790" fmla="*/ 2135825 h 7571036"/>
                  <a:gd name="connsiteX11791" fmla="*/ 4359168 w 6994525"/>
                  <a:gd name="connsiteY11791" fmla="*/ 2145445 h 7571036"/>
                  <a:gd name="connsiteX11792" fmla="*/ 4369031 w 6994525"/>
                  <a:gd name="connsiteY11792" fmla="*/ 2155308 h 7571036"/>
                  <a:gd name="connsiteX11793" fmla="*/ 4378649 w 6994525"/>
                  <a:gd name="connsiteY11793" fmla="*/ 2145445 h 7571036"/>
                  <a:gd name="connsiteX11794" fmla="*/ 4381608 w 6994525"/>
                  <a:gd name="connsiteY11794" fmla="*/ 1165673 h 7571036"/>
                  <a:gd name="connsiteX11795" fmla="*/ 4341906 w 6994525"/>
                  <a:gd name="connsiteY11795" fmla="*/ 1126222 h 7571036"/>
                  <a:gd name="connsiteX11796" fmla="*/ 4302208 w 6994525"/>
                  <a:gd name="connsiteY11796" fmla="*/ 1165673 h 7571036"/>
                  <a:gd name="connsiteX11797" fmla="*/ 4341906 w 6994525"/>
                  <a:gd name="connsiteY11797" fmla="*/ 1205371 h 7571036"/>
                  <a:gd name="connsiteX11798" fmla="*/ 4381608 w 6994525"/>
                  <a:gd name="connsiteY11798" fmla="*/ 1165673 h 7571036"/>
                  <a:gd name="connsiteX11799" fmla="*/ 4383335 w 6994525"/>
                  <a:gd name="connsiteY11799" fmla="*/ 936637 h 7571036"/>
                  <a:gd name="connsiteX11800" fmla="*/ 4344129 w 6994525"/>
                  <a:gd name="connsiteY11800" fmla="*/ 897429 h 7571036"/>
                  <a:gd name="connsiteX11801" fmla="*/ 4304922 w 6994525"/>
                  <a:gd name="connsiteY11801" fmla="*/ 936637 h 7571036"/>
                  <a:gd name="connsiteX11802" fmla="*/ 4344129 w 6994525"/>
                  <a:gd name="connsiteY11802" fmla="*/ 975846 h 7571036"/>
                  <a:gd name="connsiteX11803" fmla="*/ 4383335 w 6994525"/>
                  <a:gd name="connsiteY11803" fmla="*/ 936637 h 7571036"/>
                  <a:gd name="connsiteX11804" fmla="*/ 4384811 w 6994525"/>
                  <a:gd name="connsiteY11804" fmla="*/ 2568297 h 7571036"/>
                  <a:gd name="connsiteX11805" fmla="*/ 4377417 w 6994525"/>
                  <a:gd name="connsiteY11805" fmla="*/ 2560900 h 7571036"/>
                  <a:gd name="connsiteX11806" fmla="*/ 4370017 w 6994525"/>
                  <a:gd name="connsiteY11806" fmla="*/ 2568297 h 7571036"/>
                  <a:gd name="connsiteX11807" fmla="*/ 4377417 w 6994525"/>
                  <a:gd name="connsiteY11807" fmla="*/ 2575693 h 7571036"/>
                  <a:gd name="connsiteX11808" fmla="*/ 4384811 w 6994525"/>
                  <a:gd name="connsiteY11808" fmla="*/ 2568297 h 7571036"/>
                  <a:gd name="connsiteX11809" fmla="*/ 4385058 w 6994525"/>
                  <a:gd name="connsiteY11809" fmla="*/ 1050782 h 7571036"/>
                  <a:gd name="connsiteX11810" fmla="*/ 4342648 w 6994525"/>
                  <a:gd name="connsiteY11810" fmla="*/ 1008373 h 7571036"/>
                  <a:gd name="connsiteX11811" fmla="*/ 4300236 w 6994525"/>
                  <a:gd name="connsiteY11811" fmla="*/ 1050782 h 7571036"/>
                  <a:gd name="connsiteX11812" fmla="*/ 4342648 w 6994525"/>
                  <a:gd name="connsiteY11812" fmla="*/ 1093196 h 7571036"/>
                  <a:gd name="connsiteX11813" fmla="*/ 4385058 w 6994525"/>
                  <a:gd name="connsiteY11813" fmla="*/ 1050782 h 7571036"/>
                  <a:gd name="connsiteX11814" fmla="*/ 4385551 w 6994525"/>
                  <a:gd name="connsiteY11814" fmla="*/ 1397667 h 7571036"/>
                  <a:gd name="connsiteX11815" fmla="*/ 4339935 w 6994525"/>
                  <a:gd name="connsiteY11815" fmla="*/ 1352049 h 7571036"/>
                  <a:gd name="connsiteX11816" fmla="*/ 4294318 w 6994525"/>
                  <a:gd name="connsiteY11816" fmla="*/ 1397667 h 7571036"/>
                  <a:gd name="connsiteX11817" fmla="*/ 4339935 w 6994525"/>
                  <a:gd name="connsiteY11817" fmla="*/ 1443283 h 7571036"/>
                  <a:gd name="connsiteX11818" fmla="*/ 4385551 w 6994525"/>
                  <a:gd name="connsiteY11818" fmla="*/ 1397667 h 7571036"/>
                  <a:gd name="connsiteX11819" fmla="*/ 4386293 w 6994525"/>
                  <a:gd name="connsiteY11819" fmla="*/ 1281297 h 7571036"/>
                  <a:gd name="connsiteX11820" fmla="*/ 4341170 w 6994525"/>
                  <a:gd name="connsiteY11820" fmla="*/ 1236178 h 7571036"/>
                  <a:gd name="connsiteX11821" fmla="*/ 4296045 w 6994525"/>
                  <a:gd name="connsiteY11821" fmla="*/ 1281297 h 7571036"/>
                  <a:gd name="connsiteX11822" fmla="*/ 4341170 w 6994525"/>
                  <a:gd name="connsiteY11822" fmla="*/ 1326418 h 7571036"/>
                  <a:gd name="connsiteX11823" fmla="*/ 4386293 w 6994525"/>
                  <a:gd name="connsiteY11823" fmla="*/ 1281297 h 7571036"/>
                  <a:gd name="connsiteX11824" fmla="*/ 4387279 w 6994525"/>
                  <a:gd name="connsiteY11824" fmla="*/ 595640 h 7571036"/>
                  <a:gd name="connsiteX11825" fmla="*/ 4344869 w 6994525"/>
                  <a:gd name="connsiteY11825" fmla="*/ 553231 h 7571036"/>
                  <a:gd name="connsiteX11826" fmla="*/ 4302457 w 6994525"/>
                  <a:gd name="connsiteY11826" fmla="*/ 595640 h 7571036"/>
                  <a:gd name="connsiteX11827" fmla="*/ 4344869 w 6994525"/>
                  <a:gd name="connsiteY11827" fmla="*/ 638050 h 7571036"/>
                  <a:gd name="connsiteX11828" fmla="*/ 4387279 w 6994525"/>
                  <a:gd name="connsiteY11828" fmla="*/ 595640 h 7571036"/>
                  <a:gd name="connsiteX11829" fmla="*/ 4387526 w 6994525"/>
                  <a:gd name="connsiteY11829" fmla="*/ 708837 h 7571036"/>
                  <a:gd name="connsiteX11830" fmla="*/ 4344620 w 6994525"/>
                  <a:gd name="connsiteY11830" fmla="*/ 665936 h 7571036"/>
                  <a:gd name="connsiteX11831" fmla="*/ 4301717 w 6994525"/>
                  <a:gd name="connsiteY11831" fmla="*/ 708837 h 7571036"/>
                  <a:gd name="connsiteX11832" fmla="*/ 4344620 w 6994525"/>
                  <a:gd name="connsiteY11832" fmla="*/ 751747 h 7571036"/>
                  <a:gd name="connsiteX11833" fmla="*/ 4387526 w 6994525"/>
                  <a:gd name="connsiteY11833" fmla="*/ 708837 h 7571036"/>
                  <a:gd name="connsiteX11834" fmla="*/ 4387772 w 6994525"/>
                  <a:gd name="connsiteY11834" fmla="*/ 1896935 h 7571036"/>
                  <a:gd name="connsiteX11835" fmla="*/ 4377414 w 6994525"/>
                  <a:gd name="connsiteY11835" fmla="*/ 1886581 h 7571036"/>
                  <a:gd name="connsiteX11836" fmla="*/ 4367059 w 6994525"/>
                  <a:gd name="connsiteY11836" fmla="*/ 1896935 h 7571036"/>
                  <a:gd name="connsiteX11837" fmla="*/ 4377414 w 6994525"/>
                  <a:gd name="connsiteY11837" fmla="*/ 1907287 h 7571036"/>
                  <a:gd name="connsiteX11838" fmla="*/ 4387772 w 6994525"/>
                  <a:gd name="connsiteY11838" fmla="*/ 1896935 h 7571036"/>
                  <a:gd name="connsiteX11839" fmla="*/ 4388265 w 6994525"/>
                  <a:gd name="connsiteY11839" fmla="*/ 822738 h 7571036"/>
                  <a:gd name="connsiteX11840" fmla="*/ 4344374 w 6994525"/>
                  <a:gd name="connsiteY11840" fmla="*/ 778847 h 7571036"/>
                  <a:gd name="connsiteX11841" fmla="*/ 4300485 w 6994525"/>
                  <a:gd name="connsiteY11841" fmla="*/ 822738 h 7571036"/>
                  <a:gd name="connsiteX11842" fmla="*/ 4344374 w 6994525"/>
                  <a:gd name="connsiteY11842" fmla="*/ 866629 h 7571036"/>
                  <a:gd name="connsiteX11843" fmla="*/ 4388265 w 6994525"/>
                  <a:gd name="connsiteY11843" fmla="*/ 822738 h 7571036"/>
                  <a:gd name="connsiteX11844" fmla="*/ 4390976 w 6994525"/>
                  <a:gd name="connsiteY11844" fmla="*/ 2020180 h 7571036"/>
                  <a:gd name="connsiteX11845" fmla="*/ 4373717 w 6994525"/>
                  <a:gd name="connsiteY11845" fmla="*/ 2002921 h 7571036"/>
                  <a:gd name="connsiteX11846" fmla="*/ 4356455 w 6994525"/>
                  <a:gd name="connsiteY11846" fmla="*/ 2020180 h 7571036"/>
                  <a:gd name="connsiteX11847" fmla="*/ 4373717 w 6994525"/>
                  <a:gd name="connsiteY11847" fmla="*/ 2037441 h 7571036"/>
                  <a:gd name="connsiteX11848" fmla="*/ 4390976 w 6994525"/>
                  <a:gd name="connsiteY11848" fmla="*/ 2020180 h 7571036"/>
                  <a:gd name="connsiteX11849" fmla="*/ 4393444 w 6994525"/>
                  <a:gd name="connsiteY11849" fmla="*/ 2432935 h 7571036"/>
                  <a:gd name="connsiteX11850" fmla="*/ 4389990 w 6994525"/>
                  <a:gd name="connsiteY11850" fmla="*/ 2429483 h 7571036"/>
                  <a:gd name="connsiteX11851" fmla="*/ 4386539 w 6994525"/>
                  <a:gd name="connsiteY11851" fmla="*/ 2432935 h 7571036"/>
                  <a:gd name="connsiteX11852" fmla="*/ 4389990 w 6994525"/>
                  <a:gd name="connsiteY11852" fmla="*/ 2436390 h 7571036"/>
                  <a:gd name="connsiteX11853" fmla="*/ 4393444 w 6994525"/>
                  <a:gd name="connsiteY11853" fmla="*/ 2432935 h 7571036"/>
                  <a:gd name="connsiteX11854" fmla="*/ 4393444 w 6994525"/>
                  <a:gd name="connsiteY11854" fmla="*/ 5296373 h 7571036"/>
                  <a:gd name="connsiteX11855" fmla="*/ 4390979 w 6994525"/>
                  <a:gd name="connsiteY11855" fmla="*/ 5293908 h 7571036"/>
                  <a:gd name="connsiteX11856" fmla="*/ 4388512 w 6994525"/>
                  <a:gd name="connsiteY11856" fmla="*/ 5296373 h 7571036"/>
                  <a:gd name="connsiteX11857" fmla="*/ 4390979 w 6994525"/>
                  <a:gd name="connsiteY11857" fmla="*/ 5298840 h 7571036"/>
                  <a:gd name="connsiteX11858" fmla="*/ 4393444 w 6994525"/>
                  <a:gd name="connsiteY11858" fmla="*/ 5296373 h 7571036"/>
                  <a:gd name="connsiteX11859" fmla="*/ 4394673 w 6994525"/>
                  <a:gd name="connsiteY11859" fmla="*/ 5415473 h 7571036"/>
                  <a:gd name="connsiteX11860" fmla="*/ 4393935 w 6994525"/>
                  <a:gd name="connsiteY11860" fmla="*/ 5414732 h 7571036"/>
                  <a:gd name="connsiteX11861" fmla="*/ 4393195 w 6994525"/>
                  <a:gd name="connsiteY11861" fmla="*/ 5415473 h 7571036"/>
                  <a:gd name="connsiteX11862" fmla="*/ 4393935 w 6994525"/>
                  <a:gd name="connsiteY11862" fmla="*/ 5416210 h 7571036"/>
                  <a:gd name="connsiteX11863" fmla="*/ 4394673 w 6994525"/>
                  <a:gd name="connsiteY11863" fmla="*/ 5415473 h 7571036"/>
                  <a:gd name="connsiteX11864" fmla="*/ 4400347 w 6994525"/>
                  <a:gd name="connsiteY11864" fmla="*/ 5054731 h 7571036"/>
                  <a:gd name="connsiteX11865" fmla="*/ 4383826 w 6994525"/>
                  <a:gd name="connsiteY11865" fmla="*/ 5038209 h 7571036"/>
                  <a:gd name="connsiteX11866" fmla="*/ 4367304 w 6994525"/>
                  <a:gd name="connsiteY11866" fmla="*/ 5054731 h 7571036"/>
                  <a:gd name="connsiteX11867" fmla="*/ 4383826 w 6994525"/>
                  <a:gd name="connsiteY11867" fmla="*/ 5071249 h 7571036"/>
                  <a:gd name="connsiteX11868" fmla="*/ 4400347 w 6994525"/>
                  <a:gd name="connsiteY11868" fmla="*/ 5054731 h 7571036"/>
                  <a:gd name="connsiteX11869" fmla="*/ 4402075 w 6994525"/>
                  <a:gd name="connsiteY11869" fmla="*/ 3218750 h 7571036"/>
                  <a:gd name="connsiteX11870" fmla="*/ 4399856 w 6994525"/>
                  <a:gd name="connsiteY11870" fmla="*/ 3216284 h 7571036"/>
                  <a:gd name="connsiteX11871" fmla="*/ 4397388 w 6994525"/>
                  <a:gd name="connsiteY11871" fmla="*/ 3218750 h 7571036"/>
                  <a:gd name="connsiteX11872" fmla="*/ 4399856 w 6994525"/>
                  <a:gd name="connsiteY11872" fmla="*/ 3221215 h 7571036"/>
                  <a:gd name="connsiteX11873" fmla="*/ 4402075 w 6994525"/>
                  <a:gd name="connsiteY11873" fmla="*/ 3218750 h 7571036"/>
                  <a:gd name="connsiteX11874" fmla="*/ 4406261 w 6994525"/>
                  <a:gd name="connsiteY11874" fmla="*/ 5176046 h 7571036"/>
                  <a:gd name="connsiteX11875" fmla="*/ 4388263 w 6994525"/>
                  <a:gd name="connsiteY11875" fmla="*/ 5158046 h 7571036"/>
                  <a:gd name="connsiteX11876" fmla="*/ 4370263 w 6994525"/>
                  <a:gd name="connsiteY11876" fmla="*/ 5176046 h 7571036"/>
                  <a:gd name="connsiteX11877" fmla="*/ 4388263 w 6994525"/>
                  <a:gd name="connsiteY11877" fmla="*/ 5194045 h 7571036"/>
                  <a:gd name="connsiteX11878" fmla="*/ 4406261 w 6994525"/>
                  <a:gd name="connsiteY11878" fmla="*/ 5176046 h 7571036"/>
                  <a:gd name="connsiteX11879" fmla="*/ 4407248 w 6994525"/>
                  <a:gd name="connsiteY11879" fmla="*/ 5881253 h 7571036"/>
                  <a:gd name="connsiteX11880" fmla="*/ 4405276 w 6994525"/>
                  <a:gd name="connsiteY11880" fmla="*/ 5879280 h 7571036"/>
                  <a:gd name="connsiteX11881" fmla="*/ 4403058 w 6994525"/>
                  <a:gd name="connsiteY11881" fmla="*/ 5881253 h 7571036"/>
                  <a:gd name="connsiteX11882" fmla="*/ 4405276 w 6994525"/>
                  <a:gd name="connsiteY11882" fmla="*/ 5883471 h 7571036"/>
                  <a:gd name="connsiteX11883" fmla="*/ 4407248 w 6994525"/>
                  <a:gd name="connsiteY11883" fmla="*/ 5881253 h 7571036"/>
                  <a:gd name="connsiteX11884" fmla="*/ 4407251 w 6994525"/>
                  <a:gd name="connsiteY11884" fmla="*/ 5648240 h 7571036"/>
                  <a:gd name="connsiteX11885" fmla="*/ 4404292 w 6994525"/>
                  <a:gd name="connsiteY11885" fmla="*/ 5645280 h 7571036"/>
                  <a:gd name="connsiteX11886" fmla="*/ 4401333 w 6994525"/>
                  <a:gd name="connsiteY11886" fmla="*/ 5648240 h 7571036"/>
                  <a:gd name="connsiteX11887" fmla="*/ 4404292 w 6994525"/>
                  <a:gd name="connsiteY11887" fmla="*/ 5651199 h 7571036"/>
                  <a:gd name="connsiteX11888" fmla="*/ 4407251 w 6994525"/>
                  <a:gd name="connsiteY11888" fmla="*/ 5648240 h 7571036"/>
                  <a:gd name="connsiteX11889" fmla="*/ 4407252 w 6994525"/>
                  <a:gd name="connsiteY11889" fmla="*/ 5530622 h 7571036"/>
                  <a:gd name="connsiteX11890" fmla="*/ 4402567 w 6994525"/>
                  <a:gd name="connsiteY11890" fmla="*/ 5525935 h 7571036"/>
                  <a:gd name="connsiteX11891" fmla="*/ 4397880 w 6994525"/>
                  <a:gd name="connsiteY11891" fmla="*/ 5530622 h 7571036"/>
                  <a:gd name="connsiteX11892" fmla="*/ 4402567 w 6994525"/>
                  <a:gd name="connsiteY11892" fmla="*/ 5535307 h 7571036"/>
                  <a:gd name="connsiteX11893" fmla="*/ 4407252 w 6994525"/>
                  <a:gd name="connsiteY11893" fmla="*/ 5530622 h 7571036"/>
                  <a:gd name="connsiteX11894" fmla="*/ 4407989 w 6994525"/>
                  <a:gd name="connsiteY11894" fmla="*/ 5997141 h 7571036"/>
                  <a:gd name="connsiteX11895" fmla="*/ 4405030 w 6994525"/>
                  <a:gd name="connsiteY11895" fmla="*/ 5994429 h 7571036"/>
                  <a:gd name="connsiteX11896" fmla="*/ 4402071 w 6994525"/>
                  <a:gd name="connsiteY11896" fmla="*/ 5997141 h 7571036"/>
                  <a:gd name="connsiteX11897" fmla="*/ 4405030 w 6994525"/>
                  <a:gd name="connsiteY11897" fmla="*/ 6000101 h 7571036"/>
                  <a:gd name="connsiteX11898" fmla="*/ 4407989 w 6994525"/>
                  <a:gd name="connsiteY11898" fmla="*/ 5997141 h 7571036"/>
                  <a:gd name="connsiteX11899" fmla="*/ 4408485 w 6994525"/>
                  <a:gd name="connsiteY11899" fmla="*/ 6226457 h 7571036"/>
                  <a:gd name="connsiteX11900" fmla="*/ 4407003 w 6994525"/>
                  <a:gd name="connsiteY11900" fmla="*/ 6224978 h 7571036"/>
                  <a:gd name="connsiteX11901" fmla="*/ 4405525 w 6994525"/>
                  <a:gd name="connsiteY11901" fmla="*/ 6226457 h 7571036"/>
                  <a:gd name="connsiteX11902" fmla="*/ 4407003 w 6994525"/>
                  <a:gd name="connsiteY11902" fmla="*/ 6227938 h 7571036"/>
                  <a:gd name="connsiteX11903" fmla="*/ 4408485 w 6994525"/>
                  <a:gd name="connsiteY11903" fmla="*/ 6226457 h 7571036"/>
                  <a:gd name="connsiteX11904" fmla="*/ 4408729 w 6994525"/>
                  <a:gd name="connsiteY11904" fmla="*/ 6112047 h 7571036"/>
                  <a:gd name="connsiteX11905" fmla="*/ 4405770 w 6994525"/>
                  <a:gd name="connsiteY11905" fmla="*/ 6109088 h 7571036"/>
                  <a:gd name="connsiteX11906" fmla="*/ 4402811 w 6994525"/>
                  <a:gd name="connsiteY11906" fmla="*/ 6112047 h 7571036"/>
                  <a:gd name="connsiteX11907" fmla="*/ 4405770 w 6994525"/>
                  <a:gd name="connsiteY11907" fmla="*/ 6115006 h 7571036"/>
                  <a:gd name="connsiteX11908" fmla="*/ 4408729 w 6994525"/>
                  <a:gd name="connsiteY11908" fmla="*/ 6112047 h 7571036"/>
                  <a:gd name="connsiteX11909" fmla="*/ 4409470 w 6994525"/>
                  <a:gd name="connsiteY11909" fmla="*/ 6340376 h 7571036"/>
                  <a:gd name="connsiteX11910" fmla="*/ 4407498 w 6994525"/>
                  <a:gd name="connsiteY11910" fmla="*/ 6338403 h 7571036"/>
                  <a:gd name="connsiteX11911" fmla="*/ 4405525 w 6994525"/>
                  <a:gd name="connsiteY11911" fmla="*/ 6340376 h 7571036"/>
                  <a:gd name="connsiteX11912" fmla="*/ 4407498 w 6994525"/>
                  <a:gd name="connsiteY11912" fmla="*/ 6342348 h 7571036"/>
                  <a:gd name="connsiteX11913" fmla="*/ 4409470 w 6994525"/>
                  <a:gd name="connsiteY11913" fmla="*/ 6340376 h 7571036"/>
                  <a:gd name="connsiteX11914" fmla="*/ 4409964 w 6994525"/>
                  <a:gd name="connsiteY11914" fmla="*/ 4053388 h 7571036"/>
                  <a:gd name="connsiteX11915" fmla="*/ 4372731 w 6994525"/>
                  <a:gd name="connsiteY11915" fmla="*/ 4016154 h 7571036"/>
                  <a:gd name="connsiteX11916" fmla="*/ 4335497 w 6994525"/>
                  <a:gd name="connsiteY11916" fmla="*/ 4053388 h 7571036"/>
                  <a:gd name="connsiteX11917" fmla="*/ 4372731 w 6994525"/>
                  <a:gd name="connsiteY11917" fmla="*/ 4090622 h 7571036"/>
                  <a:gd name="connsiteX11918" fmla="*/ 4409964 w 6994525"/>
                  <a:gd name="connsiteY11918" fmla="*/ 4053388 h 7571036"/>
                  <a:gd name="connsiteX11919" fmla="*/ 4413664 w 6994525"/>
                  <a:gd name="connsiteY11919" fmla="*/ 5765362 h 7571036"/>
                  <a:gd name="connsiteX11920" fmla="*/ 4404539 w 6994525"/>
                  <a:gd name="connsiteY11920" fmla="*/ 5756238 h 7571036"/>
                  <a:gd name="connsiteX11921" fmla="*/ 4395416 w 6994525"/>
                  <a:gd name="connsiteY11921" fmla="*/ 5765362 h 7571036"/>
                  <a:gd name="connsiteX11922" fmla="*/ 4404539 w 6994525"/>
                  <a:gd name="connsiteY11922" fmla="*/ 5774487 h 7571036"/>
                  <a:gd name="connsiteX11923" fmla="*/ 4413664 w 6994525"/>
                  <a:gd name="connsiteY11923" fmla="*/ 5765362 h 7571036"/>
                  <a:gd name="connsiteX11924" fmla="*/ 4414401 w 6994525"/>
                  <a:gd name="connsiteY11924" fmla="*/ 4806678 h 7571036"/>
                  <a:gd name="connsiteX11925" fmla="*/ 4373469 w 6994525"/>
                  <a:gd name="connsiteY11925" fmla="*/ 4765744 h 7571036"/>
                  <a:gd name="connsiteX11926" fmla="*/ 4332538 w 6994525"/>
                  <a:gd name="connsiteY11926" fmla="*/ 4806678 h 7571036"/>
                  <a:gd name="connsiteX11927" fmla="*/ 4373469 w 6994525"/>
                  <a:gd name="connsiteY11927" fmla="*/ 4847607 h 7571036"/>
                  <a:gd name="connsiteX11928" fmla="*/ 4414401 w 6994525"/>
                  <a:gd name="connsiteY11928" fmla="*/ 4806678 h 7571036"/>
                  <a:gd name="connsiteX11929" fmla="*/ 4414648 w 6994525"/>
                  <a:gd name="connsiteY11929" fmla="*/ 2950231 h 7571036"/>
                  <a:gd name="connsiteX11930" fmla="*/ 4402812 w 6994525"/>
                  <a:gd name="connsiteY11930" fmla="*/ 2938396 h 7571036"/>
                  <a:gd name="connsiteX11931" fmla="*/ 4390976 w 6994525"/>
                  <a:gd name="connsiteY11931" fmla="*/ 2950231 h 7571036"/>
                  <a:gd name="connsiteX11932" fmla="*/ 4402812 w 6994525"/>
                  <a:gd name="connsiteY11932" fmla="*/ 2962067 h 7571036"/>
                  <a:gd name="connsiteX11933" fmla="*/ 4414648 w 6994525"/>
                  <a:gd name="connsiteY11933" fmla="*/ 2950231 h 7571036"/>
                  <a:gd name="connsiteX11934" fmla="*/ 4414897 w 6994525"/>
                  <a:gd name="connsiteY11934" fmla="*/ 3791769 h 7571036"/>
                  <a:gd name="connsiteX11935" fmla="*/ 4382100 w 6994525"/>
                  <a:gd name="connsiteY11935" fmla="*/ 3758975 h 7571036"/>
                  <a:gd name="connsiteX11936" fmla="*/ 4349305 w 6994525"/>
                  <a:gd name="connsiteY11936" fmla="*/ 3791769 h 7571036"/>
                  <a:gd name="connsiteX11937" fmla="*/ 4382100 w 6994525"/>
                  <a:gd name="connsiteY11937" fmla="*/ 3824563 h 7571036"/>
                  <a:gd name="connsiteX11938" fmla="*/ 4414897 w 6994525"/>
                  <a:gd name="connsiteY11938" fmla="*/ 3791769 h 7571036"/>
                  <a:gd name="connsiteX11939" fmla="*/ 4415633 w 6994525"/>
                  <a:gd name="connsiteY11939" fmla="*/ 6452077 h 7571036"/>
                  <a:gd name="connsiteX11940" fmla="*/ 4413910 w 6994525"/>
                  <a:gd name="connsiteY11940" fmla="*/ 6450349 h 7571036"/>
                  <a:gd name="connsiteX11941" fmla="*/ 4412182 w 6994525"/>
                  <a:gd name="connsiteY11941" fmla="*/ 6452077 h 7571036"/>
                  <a:gd name="connsiteX11942" fmla="*/ 4413910 w 6994525"/>
                  <a:gd name="connsiteY11942" fmla="*/ 6453803 h 7571036"/>
                  <a:gd name="connsiteX11943" fmla="*/ 4415633 w 6994525"/>
                  <a:gd name="connsiteY11943" fmla="*/ 6452077 h 7571036"/>
                  <a:gd name="connsiteX11944" fmla="*/ 4415880 w 6994525"/>
                  <a:gd name="connsiteY11944" fmla="*/ 6565256 h 7571036"/>
                  <a:gd name="connsiteX11945" fmla="*/ 4414157 w 6994525"/>
                  <a:gd name="connsiteY11945" fmla="*/ 6563529 h 7571036"/>
                  <a:gd name="connsiteX11946" fmla="*/ 4412429 w 6994525"/>
                  <a:gd name="connsiteY11946" fmla="*/ 6565256 h 7571036"/>
                  <a:gd name="connsiteX11947" fmla="*/ 4414157 w 6994525"/>
                  <a:gd name="connsiteY11947" fmla="*/ 6566980 h 7571036"/>
                  <a:gd name="connsiteX11948" fmla="*/ 4415880 w 6994525"/>
                  <a:gd name="connsiteY11948" fmla="*/ 6565256 h 7571036"/>
                  <a:gd name="connsiteX11949" fmla="*/ 4415883 w 6994525"/>
                  <a:gd name="connsiteY11949" fmla="*/ 6791117 h 7571036"/>
                  <a:gd name="connsiteX11950" fmla="*/ 4414402 w 6994525"/>
                  <a:gd name="connsiteY11950" fmla="*/ 6789638 h 7571036"/>
                  <a:gd name="connsiteX11951" fmla="*/ 4412923 w 6994525"/>
                  <a:gd name="connsiteY11951" fmla="*/ 6791117 h 7571036"/>
                  <a:gd name="connsiteX11952" fmla="*/ 4414402 w 6994525"/>
                  <a:gd name="connsiteY11952" fmla="*/ 6792598 h 7571036"/>
                  <a:gd name="connsiteX11953" fmla="*/ 4415883 w 6994525"/>
                  <a:gd name="connsiteY11953" fmla="*/ 6791117 h 7571036"/>
                  <a:gd name="connsiteX11954" fmla="*/ 4416374 w 6994525"/>
                  <a:gd name="connsiteY11954" fmla="*/ 4678948 h 7571036"/>
                  <a:gd name="connsiteX11955" fmla="*/ 4366811 w 6994525"/>
                  <a:gd name="connsiteY11955" fmla="*/ 4629386 h 7571036"/>
                  <a:gd name="connsiteX11956" fmla="*/ 4317249 w 6994525"/>
                  <a:gd name="connsiteY11956" fmla="*/ 4678948 h 7571036"/>
                  <a:gd name="connsiteX11957" fmla="*/ 4366811 w 6994525"/>
                  <a:gd name="connsiteY11957" fmla="*/ 4728511 h 7571036"/>
                  <a:gd name="connsiteX11958" fmla="*/ 4416374 w 6994525"/>
                  <a:gd name="connsiteY11958" fmla="*/ 4678948 h 7571036"/>
                  <a:gd name="connsiteX11959" fmla="*/ 4416868 w 6994525"/>
                  <a:gd name="connsiteY11959" fmla="*/ 6678677 h 7571036"/>
                  <a:gd name="connsiteX11960" fmla="*/ 4413661 w 6994525"/>
                  <a:gd name="connsiteY11960" fmla="*/ 6675226 h 7571036"/>
                  <a:gd name="connsiteX11961" fmla="*/ 4410455 w 6994525"/>
                  <a:gd name="connsiteY11961" fmla="*/ 6678677 h 7571036"/>
                  <a:gd name="connsiteX11962" fmla="*/ 4413661 w 6994525"/>
                  <a:gd name="connsiteY11962" fmla="*/ 6681885 h 7571036"/>
                  <a:gd name="connsiteX11963" fmla="*/ 4416868 w 6994525"/>
                  <a:gd name="connsiteY11963" fmla="*/ 6678677 h 7571036"/>
                  <a:gd name="connsiteX11964" fmla="*/ 4418101 w 6994525"/>
                  <a:gd name="connsiteY11964" fmla="*/ 6903308 h 7571036"/>
                  <a:gd name="connsiteX11965" fmla="*/ 4414648 w 6994525"/>
                  <a:gd name="connsiteY11965" fmla="*/ 6899854 h 7571036"/>
                  <a:gd name="connsiteX11966" fmla="*/ 4411197 w 6994525"/>
                  <a:gd name="connsiteY11966" fmla="*/ 6903308 h 7571036"/>
                  <a:gd name="connsiteX11967" fmla="*/ 4414648 w 6994525"/>
                  <a:gd name="connsiteY11967" fmla="*/ 6906759 h 7571036"/>
                  <a:gd name="connsiteX11968" fmla="*/ 4418101 w 6994525"/>
                  <a:gd name="connsiteY11968" fmla="*/ 6903308 h 7571036"/>
                  <a:gd name="connsiteX11969" fmla="*/ 4418348 w 6994525"/>
                  <a:gd name="connsiteY11969" fmla="*/ 4931444 h 7571036"/>
                  <a:gd name="connsiteX11970" fmla="*/ 4379142 w 6994525"/>
                  <a:gd name="connsiteY11970" fmla="*/ 4892237 h 7571036"/>
                  <a:gd name="connsiteX11971" fmla="*/ 4339935 w 6994525"/>
                  <a:gd name="connsiteY11971" fmla="*/ 4931444 h 7571036"/>
                  <a:gd name="connsiteX11972" fmla="*/ 4379142 w 6994525"/>
                  <a:gd name="connsiteY11972" fmla="*/ 4970650 h 7571036"/>
                  <a:gd name="connsiteX11973" fmla="*/ 4418348 w 6994525"/>
                  <a:gd name="connsiteY11973" fmla="*/ 4931444 h 7571036"/>
                  <a:gd name="connsiteX11974" fmla="*/ 4419578 w 6994525"/>
                  <a:gd name="connsiteY11974" fmla="*/ 7015499 h 7571036"/>
                  <a:gd name="connsiteX11975" fmla="*/ 4415139 w 6994525"/>
                  <a:gd name="connsiteY11975" fmla="*/ 7011062 h 7571036"/>
                  <a:gd name="connsiteX11976" fmla="*/ 4410703 w 6994525"/>
                  <a:gd name="connsiteY11976" fmla="*/ 7015499 h 7571036"/>
                  <a:gd name="connsiteX11977" fmla="*/ 4415139 w 6994525"/>
                  <a:gd name="connsiteY11977" fmla="*/ 7019939 h 7571036"/>
                  <a:gd name="connsiteX11978" fmla="*/ 4419578 w 6994525"/>
                  <a:gd name="connsiteY11978" fmla="*/ 7015499 h 7571036"/>
                  <a:gd name="connsiteX11979" fmla="*/ 4421306 w 6994525"/>
                  <a:gd name="connsiteY11979" fmla="*/ 7127199 h 7571036"/>
                  <a:gd name="connsiteX11980" fmla="*/ 4415637 w 6994525"/>
                  <a:gd name="connsiteY11980" fmla="*/ 7121527 h 7571036"/>
                  <a:gd name="connsiteX11981" fmla="*/ 4409964 w 6994525"/>
                  <a:gd name="connsiteY11981" fmla="*/ 7127199 h 7571036"/>
                  <a:gd name="connsiteX11982" fmla="*/ 4415637 w 6994525"/>
                  <a:gd name="connsiteY11982" fmla="*/ 7132871 h 7571036"/>
                  <a:gd name="connsiteX11983" fmla="*/ 4421306 w 6994525"/>
                  <a:gd name="connsiteY11983" fmla="*/ 7127199 h 7571036"/>
                  <a:gd name="connsiteX11984" fmla="*/ 4422044 w 6994525"/>
                  <a:gd name="connsiteY11984" fmla="*/ 1774663 h 7571036"/>
                  <a:gd name="connsiteX11985" fmla="*/ 4379882 w 6994525"/>
                  <a:gd name="connsiteY11985" fmla="*/ 1732473 h 7571036"/>
                  <a:gd name="connsiteX11986" fmla="*/ 4337715 w 6994525"/>
                  <a:gd name="connsiteY11986" fmla="*/ 1774663 h 7571036"/>
                  <a:gd name="connsiteX11987" fmla="*/ 4379882 w 6994525"/>
                  <a:gd name="connsiteY11987" fmla="*/ 1816833 h 7571036"/>
                  <a:gd name="connsiteX11988" fmla="*/ 4422044 w 6994525"/>
                  <a:gd name="connsiteY11988" fmla="*/ 1774663 h 7571036"/>
                  <a:gd name="connsiteX11989" fmla="*/ 4424264 w 6994525"/>
                  <a:gd name="connsiteY11989" fmla="*/ 7349609 h 7571036"/>
                  <a:gd name="connsiteX11990" fmla="*/ 4420319 w 6994525"/>
                  <a:gd name="connsiteY11990" fmla="*/ 7345418 h 7571036"/>
                  <a:gd name="connsiteX11991" fmla="*/ 4416128 w 6994525"/>
                  <a:gd name="connsiteY11991" fmla="*/ 7349609 h 7571036"/>
                  <a:gd name="connsiteX11992" fmla="*/ 4420319 w 6994525"/>
                  <a:gd name="connsiteY11992" fmla="*/ 7353801 h 7571036"/>
                  <a:gd name="connsiteX11993" fmla="*/ 4424264 w 6994525"/>
                  <a:gd name="connsiteY11993" fmla="*/ 7349609 h 7571036"/>
                  <a:gd name="connsiteX11994" fmla="*/ 4425745 w 6994525"/>
                  <a:gd name="connsiteY11994" fmla="*/ 7461061 h 7571036"/>
                  <a:gd name="connsiteX11995" fmla="*/ 4420566 w 6994525"/>
                  <a:gd name="connsiteY11995" fmla="*/ 7455884 h 7571036"/>
                  <a:gd name="connsiteX11996" fmla="*/ 4415388 w 6994525"/>
                  <a:gd name="connsiteY11996" fmla="*/ 7461061 h 7571036"/>
                  <a:gd name="connsiteX11997" fmla="*/ 4420566 w 6994525"/>
                  <a:gd name="connsiteY11997" fmla="*/ 7466238 h 7571036"/>
                  <a:gd name="connsiteX11998" fmla="*/ 4425745 w 6994525"/>
                  <a:gd name="connsiteY11998" fmla="*/ 7461061 h 7571036"/>
                  <a:gd name="connsiteX11999" fmla="*/ 4426729 w 6994525"/>
                  <a:gd name="connsiteY11999" fmla="*/ 7238161 h 7571036"/>
                  <a:gd name="connsiteX12000" fmla="*/ 4420320 w 6994525"/>
                  <a:gd name="connsiteY12000" fmla="*/ 7231748 h 7571036"/>
                  <a:gd name="connsiteX12001" fmla="*/ 4413906 w 6994525"/>
                  <a:gd name="connsiteY12001" fmla="*/ 7238161 h 7571036"/>
                  <a:gd name="connsiteX12002" fmla="*/ 4420320 w 6994525"/>
                  <a:gd name="connsiteY12002" fmla="*/ 7244570 h 7571036"/>
                  <a:gd name="connsiteX12003" fmla="*/ 4426729 w 6994525"/>
                  <a:gd name="connsiteY12003" fmla="*/ 7238161 h 7571036"/>
                  <a:gd name="connsiteX12004" fmla="*/ 4428950 w 6994525"/>
                  <a:gd name="connsiteY12004" fmla="*/ 1535493 h 7571036"/>
                  <a:gd name="connsiteX12005" fmla="*/ 4384813 w 6994525"/>
                  <a:gd name="connsiteY12005" fmla="*/ 1491353 h 7571036"/>
                  <a:gd name="connsiteX12006" fmla="*/ 4340674 w 6994525"/>
                  <a:gd name="connsiteY12006" fmla="*/ 1535493 h 7571036"/>
                  <a:gd name="connsiteX12007" fmla="*/ 4384813 w 6994525"/>
                  <a:gd name="connsiteY12007" fmla="*/ 1579629 h 7571036"/>
                  <a:gd name="connsiteX12008" fmla="*/ 4428950 w 6994525"/>
                  <a:gd name="connsiteY12008" fmla="*/ 1535493 h 7571036"/>
                  <a:gd name="connsiteX12009" fmla="*/ 4429196 w 6994525"/>
                  <a:gd name="connsiteY12009" fmla="*/ 1654569 h 7571036"/>
                  <a:gd name="connsiteX12010" fmla="*/ 4382839 w 6994525"/>
                  <a:gd name="connsiteY12010" fmla="*/ 1608215 h 7571036"/>
                  <a:gd name="connsiteX12011" fmla="*/ 4336483 w 6994525"/>
                  <a:gd name="connsiteY12011" fmla="*/ 1654569 h 7571036"/>
                  <a:gd name="connsiteX12012" fmla="*/ 4382839 w 6994525"/>
                  <a:gd name="connsiteY12012" fmla="*/ 1700929 h 7571036"/>
                  <a:gd name="connsiteX12013" fmla="*/ 4429196 w 6994525"/>
                  <a:gd name="connsiteY12013" fmla="*/ 1654569 h 7571036"/>
                  <a:gd name="connsiteX12014" fmla="*/ 4430183 w 6994525"/>
                  <a:gd name="connsiteY12014" fmla="*/ 4201084 h 7571036"/>
                  <a:gd name="connsiteX12015" fmla="*/ 4399608 w 6994525"/>
                  <a:gd name="connsiteY12015" fmla="*/ 4170509 h 7571036"/>
                  <a:gd name="connsiteX12016" fmla="*/ 4369031 w 6994525"/>
                  <a:gd name="connsiteY12016" fmla="*/ 4201084 h 7571036"/>
                  <a:gd name="connsiteX12017" fmla="*/ 4399608 w 6994525"/>
                  <a:gd name="connsiteY12017" fmla="*/ 4231659 h 7571036"/>
                  <a:gd name="connsiteX12018" fmla="*/ 4430183 w 6994525"/>
                  <a:gd name="connsiteY12018" fmla="*/ 4201084 h 7571036"/>
                  <a:gd name="connsiteX12019" fmla="*/ 4434622 w 6994525"/>
                  <a:gd name="connsiteY12019" fmla="*/ 3332416 h 7571036"/>
                  <a:gd name="connsiteX12020" fmla="*/ 4424759 w 6994525"/>
                  <a:gd name="connsiteY12020" fmla="*/ 3322556 h 7571036"/>
                  <a:gd name="connsiteX12021" fmla="*/ 4414896 w 6994525"/>
                  <a:gd name="connsiteY12021" fmla="*/ 3332416 h 7571036"/>
                  <a:gd name="connsiteX12022" fmla="*/ 4424759 w 6994525"/>
                  <a:gd name="connsiteY12022" fmla="*/ 3342280 h 7571036"/>
                  <a:gd name="connsiteX12023" fmla="*/ 4434622 w 6994525"/>
                  <a:gd name="connsiteY12023" fmla="*/ 3332416 h 7571036"/>
                  <a:gd name="connsiteX12024" fmla="*/ 4436595 w 6994525"/>
                  <a:gd name="connsiteY12024" fmla="*/ 2798594 h 7571036"/>
                  <a:gd name="connsiteX12025" fmla="*/ 4433388 w 6994525"/>
                  <a:gd name="connsiteY12025" fmla="*/ 2795143 h 7571036"/>
                  <a:gd name="connsiteX12026" fmla="*/ 4429936 w 6994525"/>
                  <a:gd name="connsiteY12026" fmla="*/ 2798594 h 7571036"/>
                  <a:gd name="connsiteX12027" fmla="*/ 4433388 w 6994525"/>
                  <a:gd name="connsiteY12027" fmla="*/ 2801801 h 7571036"/>
                  <a:gd name="connsiteX12028" fmla="*/ 4436595 w 6994525"/>
                  <a:gd name="connsiteY12028" fmla="*/ 2798594 h 7571036"/>
                  <a:gd name="connsiteX12029" fmla="*/ 4441770 w 6994525"/>
                  <a:gd name="connsiteY12029" fmla="*/ 4343359 h 7571036"/>
                  <a:gd name="connsiteX12030" fmla="*/ 4419826 w 6994525"/>
                  <a:gd name="connsiteY12030" fmla="*/ 4321413 h 7571036"/>
                  <a:gd name="connsiteX12031" fmla="*/ 4397880 w 6994525"/>
                  <a:gd name="connsiteY12031" fmla="*/ 4343359 h 7571036"/>
                  <a:gd name="connsiteX12032" fmla="*/ 4419826 w 6994525"/>
                  <a:gd name="connsiteY12032" fmla="*/ 4365303 h 7571036"/>
                  <a:gd name="connsiteX12033" fmla="*/ 4441770 w 6994525"/>
                  <a:gd name="connsiteY12033" fmla="*/ 4343359 h 7571036"/>
                  <a:gd name="connsiteX12034" fmla="*/ 4442509 w 6994525"/>
                  <a:gd name="connsiteY12034" fmla="*/ 49596 h 7571036"/>
                  <a:gd name="connsiteX12035" fmla="*/ 4405525 w 6994525"/>
                  <a:gd name="connsiteY12035" fmla="*/ 12611 h 7571036"/>
                  <a:gd name="connsiteX12036" fmla="*/ 4368536 w 6994525"/>
                  <a:gd name="connsiteY12036" fmla="*/ 49596 h 7571036"/>
                  <a:gd name="connsiteX12037" fmla="*/ 4405525 w 6994525"/>
                  <a:gd name="connsiteY12037" fmla="*/ 86580 h 7571036"/>
                  <a:gd name="connsiteX12038" fmla="*/ 4442509 w 6994525"/>
                  <a:gd name="connsiteY12038" fmla="*/ 49596 h 7571036"/>
                  <a:gd name="connsiteX12039" fmla="*/ 4443004 w 6994525"/>
                  <a:gd name="connsiteY12039" fmla="*/ 162008 h 7571036"/>
                  <a:gd name="connsiteX12040" fmla="*/ 4405525 w 6994525"/>
                  <a:gd name="connsiteY12040" fmla="*/ 124531 h 7571036"/>
                  <a:gd name="connsiteX12041" fmla="*/ 4368045 w 6994525"/>
                  <a:gd name="connsiteY12041" fmla="*/ 162008 h 7571036"/>
                  <a:gd name="connsiteX12042" fmla="*/ 4405525 w 6994525"/>
                  <a:gd name="connsiteY12042" fmla="*/ 199486 h 7571036"/>
                  <a:gd name="connsiteX12043" fmla="*/ 4443004 w 6994525"/>
                  <a:gd name="connsiteY12043" fmla="*/ 162008 h 7571036"/>
                  <a:gd name="connsiteX12044" fmla="*/ 4443004 w 6994525"/>
                  <a:gd name="connsiteY12044" fmla="*/ 500729 h 7571036"/>
                  <a:gd name="connsiteX12045" fmla="*/ 4405279 w 6994525"/>
                  <a:gd name="connsiteY12045" fmla="*/ 463005 h 7571036"/>
                  <a:gd name="connsiteX12046" fmla="*/ 4367552 w 6994525"/>
                  <a:gd name="connsiteY12046" fmla="*/ 500729 h 7571036"/>
                  <a:gd name="connsiteX12047" fmla="*/ 4405279 w 6994525"/>
                  <a:gd name="connsiteY12047" fmla="*/ 538457 h 7571036"/>
                  <a:gd name="connsiteX12048" fmla="*/ 4443004 w 6994525"/>
                  <a:gd name="connsiteY12048" fmla="*/ 500729 h 7571036"/>
                  <a:gd name="connsiteX12049" fmla="*/ 4443251 w 6994525"/>
                  <a:gd name="connsiteY12049" fmla="*/ 387329 h 7571036"/>
                  <a:gd name="connsiteX12050" fmla="*/ 4405525 w 6994525"/>
                  <a:gd name="connsiteY12050" fmla="*/ 349605 h 7571036"/>
                  <a:gd name="connsiteX12051" fmla="*/ 4367800 w 6994525"/>
                  <a:gd name="connsiteY12051" fmla="*/ 387329 h 7571036"/>
                  <a:gd name="connsiteX12052" fmla="*/ 4405525 w 6994525"/>
                  <a:gd name="connsiteY12052" fmla="*/ 425056 h 7571036"/>
                  <a:gd name="connsiteX12053" fmla="*/ 4443251 w 6994525"/>
                  <a:gd name="connsiteY12053" fmla="*/ 387329 h 7571036"/>
                  <a:gd name="connsiteX12054" fmla="*/ 4444485 w 6994525"/>
                  <a:gd name="connsiteY12054" fmla="*/ 3679825 h 7571036"/>
                  <a:gd name="connsiteX12055" fmla="*/ 4414155 w 6994525"/>
                  <a:gd name="connsiteY12055" fmla="*/ 3649495 h 7571036"/>
                  <a:gd name="connsiteX12056" fmla="*/ 4383826 w 6994525"/>
                  <a:gd name="connsiteY12056" fmla="*/ 3679825 h 7571036"/>
                  <a:gd name="connsiteX12057" fmla="*/ 4414155 w 6994525"/>
                  <a:gd name="connsiteY12057" fmla="*/ 3710151 h 7571036"/>
                  <a:gd name="connsiteX12058" fmla="*/ 4444485 w 6994525"/>
                  <a:gd name="connsiteY12058" fmla="*/ 3679825 h 7571036"/>
                  <a:gd name="connsiteX12059" fmla="*/ 4445716 w 6994525"/>
                  <a:gd name="connsiteY12059" fmla="*/ 274668 h 7571036"/>
                  <a:gd name="connsiteX12060" fmla="*/ 4405770 w 6994525"/>
                  <a:gd name="connsiteY12060" fmla="*/ 234726 h 7571036"/>
                  <a:gd name="connsiteX12061" fmla="*/ 4365826 w 6994525"/>
                  <a:gd name="connsiteY12061" fmla="*/ 274668 h 7571036"/>
                  <a:gd name="connsiteX12062" fmla="*/ 4405770 w 6994525"/>
                  <a:gd name="connsiteY12062" fmla="*/ 314613 h 7571036"/>
                  <a:gd name="connsiteX12063" fmla="*/ 4445716 w 6994525"/>
                  <a:gd name="connsiteY12063" fmla="*/ 274668 h 7571036"/>
                  <a:gd name="connsiteX12064" fmla="*/ 4453361 w 6994525"/>
                  <a:gd name="connsiteY12064" fmla="*/ 3448311 h 7571036"/>
                  <a:gd name="connsiteX12065" fmla="*/ 4435359 w 6994525"/>
                  <a:gd name="connsiteY12065" fmla="*/ 3430313 h 7571036"/>
                  <a:gd name="connsiteX12066" fmla="*/ 4417360 w 6994525"/>
                  <a:gd name="connsiteY12066" fmla="*/ 3448311 h 7571036"/>
                  <a:gd name="connsiteX12067" fmla="*/ 4435359 w 6994525"/>
                  <a:gd name="connsiteY12067" fmla="*/ 3466289 h 7571036"/>
                  <a:gd name="connsiteX12068" fmla="*/ 4453361 w 6994525"/>
                  <a:gd name="connsiteY12068" fmla="*/ 3448311 h 7571036"/>
                  <a:gd name="connsiteX12069" fmla="*/ 4457798 w 6994525"/>
                  <a:gd name="connsiteY12069" fmla="*/ 3564673 h 7571036"/>
                  <a:gd name="connsiteX12070" fmla="*/ 4431909 w 6994525"/>
                  <a:gd name="connsiteY12070" fmla="*/ 3538783 h 7571036"/>
                  <a:gd name="connsiteX12071" fmla="*/ 4406019 w 6994525"/>
                  <a:gd name="connsiteY12071" fmla="*/ 3564673 h 7571036"/>
                  <a:gd name="connsiteX12072" fmla="*/ 4431909 w 6994525"/>
                  <a:gd name="connsiteY12072" fmla="*/ 3590566 h 7571036"/>
                  <a:gd name="connsiteX12073" fmla="*/ 4457798 w 6994525"/>
                  <a:gd name="connsiteY12073" fmla="*/ 3564673 h 7571036"/>
                  <a:gd name="connsiteX12074" fmla="*/ 4461990 w 6994525"/>
                  <a:gd name="connsiteY12074" fmla="*/ 2345662 h 7571036"/>
                  <a:gd name="connsiteX12075" fmla="*/ 4454594 w 6994525"/>
                  <a:gd name="connsiteY12075" fmla="*/ 2338259 h 7571036"/>
                  <a:gd name="connsiteX12076" fmla="*/ 4447195 w 6994525"/>
                  <a:gd name="connsiteY12076" fmla="*/ 2345662 h 7571036"/>
                  <a:gd name="connsiteX12077" fmla="*/ 4454594 w 6994525"/>
                  <a:gd name="connsiteY12077" fmla="*/ 2353055 h 7571036"/>
                  <a:gd name="connsiteX12078" fmla="*/ 4461990 w 6994525"/>
                  <a:gd name="connsiteY12078" fmla="*/ 2345662 h 7571036"/>
                  <a:gd name="connsiteX12079" fmla="*/ 4464700 w 6994525"/>
                  <a:gd name="connsiteY12079" fmla="*/ 4480949 h 7571036"/>
                  <a:gd name="connsiteX12080" fmla="*/ 4435851 w 6994525"/>
                  <a:gd name="connsiteY12080" fmla="*/ 4452100 h 7571036"/>
                  <a:gd name="connsiteX12081" fmla="*/ 4407003 w 6994525"/>
                  <a:gd name="connsiteY12081" fmla="*/ 4480949 h 7571036"/>
                  <a:gd name="connsiteX12082" fmla="*/ 4435851 w 6994525"/>
                  <a:gd name="connsiteY12082" fmla="*/ 4509797 h 7571036"/>
                  <a:gd name="connsiteX12083" fmla="*/ 4464700 w 6994525"/>
                  <a:gd name="connsiteY12083" fmla="*/ 4480949 h 7571036"/>
                  <a:gd name="connsiteX12084" fmla="*/ 4465443 w 6994525"/>
                  <a:gd name="connsiteY12084" fmla="*/ 3952783 h 7571036"/>
                  <a:gd name="connsiteX12085" fmla="*/ 4430922 w 6994525"/>
                  <a:gd name="connsiteY12085" fmla="*/ 3918262 h 7571036"/>
                  <a:gd name="connsiteX12086" fmla="*/ 4396401 w 6994525"/>
                  <a:gd name="connsiteY12086" fmla="*/ 3952783 h 7571036"/>
                  <a:gd name="connsiteX12087" fmla="*/ 4430922 w 6994525"/>
                  <a:gd name="connsiteY12087" fmla="*/ 3987303 h 7571036"/>
                  <a:gd name="connsiteX12088" fmla="*/ 4465443 w 6994525"/>
                  <a:gd name="connsiteY12088" fmla="*/ 3952783 h 7571036"/>
                  <a:gd name="connsiteX12089" fmla="*/ 4465689 w 6994525"/>
                  <a:gd name="connsiteY12089" fmla="*/ 2652625 h 7571036"/>
                  <a:gd name="connsiteX12090" fmla="*/ 4456318 w 6994525"/>
                  <a:gd name="connsiteY12090" fmla="*/ 2643258 h 7571036"/>
                  <a:gd name="connsiteX12091" fmla="*/ 4446950 w 6994525"/>
                  <a:gd name="connsiteY12091" fmla="*/ 2652625 h 7571036"/>
                  <a:gd name="connsiteX12092" fmla="*/ 4456318 w 6994525"/>
                  <a:gd name="connsiteY12092" fmla="*/ 2661997 h 7571036"/>
                  <a:gd name="connsiteX12093" fmla="*/ 4465689 w 6994525"/>
                  <a:gd name="connsiteY12093" fmla="*/ 2652625 h 7571036"/>
                  <a:gd name="connsiteX12094" fmla="*/ 4467412 w 6994525"/>
                  <a:gd name="connsiteY12094" fmla="*/ 3053795 h 7571036"/>
                  <a:gd name="connsiteX12095" fmla="*/ 4455331 w 6994525"/>
                  <a:gd name="connsiteY12095" fmla="*/ 3041713 h 7571036"/>
                  <a:gd name="connsiteX12096" fmla="*/ 4443250 w 6994525"/>
                  <a:gd name="connsiteY12096" fmla="*/ 3053795 h 7571036"/>
                  <a:gd name="connsiteX12097" fmla="*/ 4455331 w 6994525"/>
                  <a:gd name="connsiteY12097" fmla="*/ 3065879 h 7571036"/>
                  <a:gd name="connsiteX12098" fmla="*/ 4467412 w 6994525"/>
                  <a:gd name="connsiteY12098" fmla="*/ 3053795 h 7571036"/>
                  <a:gd name="connsiteX12099" fmla="*/ 4472099 w 6994525"/>
                  <a:gd name="connsiteY12099" fmla="*/ 2213503 h 7571036"/>
                  <a:gd name="connsiteX12100" fmla="*/ 4463963 w 6994525"/>
                  <a:gd name="connsiteY12100" fmla="*/ 2205366 h 7571036"/>
                  <a:gd name="connsiteX12101" fmla="*/ 4455826 w 6994525"/>
                  <a:gd name="connsiteY12101" fmla="*/ 2213503 h 7571036"/>
                  <a:gd name="connsiteX12102" fmla="*/ 4463963 w 6994525"/>
                  <a:gd name="connsiteY12102" fmla="*/ 2221642 h 7571036"/>
                  <a:gd name="connsiteX12103" fmla="*/ 4472099 w 6994525"/>
                  <a:gd name="connsiteY12103" fmla="*/ 2213503 h 7571036"/>
                  <a:gd name="connsiteX12104" fmla="*/ 4475798 w 6994525"/>
                  <a:gd name="connsiteY12104" fmla="*/ 2511837 h 7571036"/>
                  <a:gd name="connsiteX12105" fmla="*/ 4474320 w 6994525"/>
                  <a:gd name="connsiteY12105" fmla="*/ 2510358 h 7571036"/>
                  <a:gd name="connsiteX12106" fmla="*/ 4472839 w 6994525"/>
                  <a:gd name="connsiteY12106" fmla="*/ 2511837 h 7571036"/>
                  <a:gd name="connsiteX12107" fmla="*/ 4474320 w 6994525"/>
                  <a:gd name="connsiteY12107" fmla="*/ 2513318 h 7571036"/>
                  <a:gd name="connsiteX12108" fmla="*/ 4475798 w 6994525"/>
                  <a:gd name="connsiteY12108" fmla="*/ 2511837 h 7571036"/>
                  <a:gd name="connsiteX12109" fmla="*/ 4489115 w 6994525"/>
                  <a:gd name="connsiteY12109" fmla="*/ 1956836 h 7571036"/>
                  <a:gd name="connsiteX12110" fmla="*/ 4476538 w 6994525"/>
                  <a:gd name="connsiteY12110" fmla="*/ 1944264 h 7571036"/>
                  <a:gd name="connsiteX12111" fmla="*/ 4463962 w 6994525"/>
                  <a:gd name="connsiteY12111" fmla="*/ 1956836 h 7571036"/>
                  <a:gd name="connsiteX12112" fmla="*/ 4476538 w 6994525"/>
                  <a:gd name="connsiteY12112" fmla="*/ 1969405 h 7571036"/>
                  <a:gd name="connsiteX12113" fmla="*/ 4489115 w 6994525"/>
                  <a:gd name="connsiteY12113" fmla="*/ 1956836 h 7571036"/>
                  <a:gd name="connsiteX12114" fmla="*/ 4489606 w 6994525"/>
                  <a:gd name="connsiteY12114" fmla="*/ 2084052 h 7571036"/>
                  <a:gd name="connsiteX12115" fmla="*/ 4470866 w 6994525"/>
                  <a:gd name="connsiteY12115" fmla="*/ 2065310 h 7571036"/>
                  <a:gd name="connsiteX12116" fmla="*/ 4452126 w 6994525"/>
                  <a:gd name="connsiteY12116" fmla="*/ 2084052 h 7571036"/>
                  <a:gd name="connsiteX12117" fmla="*/ 4470866 w 6994525"/>
                  <a:gd name="connsiteY12117" fmla="*/ 2102793 h 7571036"/>
                  <a:gd name="connsiteX12118" fmla="*/ 4489606 w 6994525"/>
                  <a:gd name="connsiteY12118" fmla="*/ 2084052 h 7571036"/>
                  <a:gd name="connsiteX12119" fmla="*/ 4490841 w 6994525"/>
                  <a:gd name="connsiteY12119" fmla="*/ 1208823 h 7571036"/>
                  <a:gd name="connsiteX12120" fmla="*/ 4450156 w 6994525"/>
                  <a:gd name="connsiteY12120" fmla="*/ 1168137 h 7571036"/>
                  <a:gd name="connsiteX12121" fmla="*/ 4409223 w 6994525"/>
                  <a:gd name="connsiteY12121" fmla="*/ 1208823 h 7571036"/>
                  <a:gd name="connsiteX12122" fmla="*/ 4450156 w 6994525"/>
                  <a:gd name="connsiteY12122" fmla="*/ 1249508 h 7571036"/>
                  <a:gd name="connsiteX12123" fmla="*/ 4490841 w 6994525"/>
                  <a:gd name="connsiteY12123" fmla="*/ 1208823 h 7571036"/>
                  <a:gd name="connsiteX12124" fmla="*/ 4491825 w 6994525"/>
                  <a:gd name="connsiteY12124" fmla="*/ 4106894 h 7571036"/>
                  <a:gd name="connsiteX12125" fmla="*/ 4467167 w 6994525"/>
                  <a:gd name="connsiteY12125" fmla="*/ 4082236 h 7571036"/>
                  <a:gd name="connsiteX12126" fmla="*/ 4442509 w 6994525"/>
                  <a:gd name="connsiteY12126" fmla="*/ 4106894 h 7571036"/>
                  <a:gd name="connsiteX12127" fmla="*/ 4467167 w 6994525"/>
                  <a:gd name="connsiteY12127" fmla="*/ 4131551 h 7571036"/>
                  <a:gd name="connsiteX12128" fmla="*/ 4491825 w 6994525"/>
                  <a:gd name="connsiteY12128" fmla="*/ 4106894 h 7571036"/>
                  <a:gd name="connsiteX12129" fmla="*/ 4492566 w 6994525"/>
                  <a:gd name="connsiteY12129" fmla="*/ 1444764 h 7571036"/>
                  <a:gd name="connsiteX12130" fmla="*/ 4446704 w 6994525"/>
                  <a:gd name="connsiteY12130" fmla="*/ 1398901 h 7571036"/>
                  <a:gd name="connsiteX12131" fmla="*/ 4400839 w 6994525"/>
                  <a:gd name="connsiteY12131" fmla="*/ 1444764 h 7571036"/>
                  <a:gd name="connsiteX12132" fmla="*/ 4446704 w 6994525"/>
                  <a:gd name="connsiteY12132" fmla="*/ 1490627 h 7571036"/>
                  <a:gd name="connsiteX12133" fmla="*/ 4492566 w 6994525"/>
                  <a:gd name="connsiteY12133" fmla="*/ 1444764 h 7571036"/>
                  <a:gd name="connsiteX12134" fmla="*/ 4493554 w 6994525"/>
                  <a:gd name="connsiteY12134" fmla="*/ 976089 h 7571036"/>
                  <a:gd name="connsiteX12135" fmla="*/ 4453361 w 6994525"/>
                  <a:gd name="connsiteY12135" fmla="*/ 935894 h 7571036"/>
                  <a:gd name="connsiteX12136" fmla="*/ 4413168 w 6994525"/>
                  <a:gd name="connsiteY12136" fmla="*/ 976089 h 7571036"/>
                  <a:gd name="connsiteX12137" fmla="*/ 4453361 w 6994525"/>
                  <a:gd name="connsiteY12137" fmla="*/ 1016285 h 7571036"/>
                  <a:gd name="connsiteX12138" fmla="*/ 4493554 w 6994525"/>
                  <a:gd name="connsiteY12138" fmla="*/ 976089 h 7571036"/>
                  <a:gd name="connsiteX12139" fmla="*/ 4493797 w 6994525"/>
                  <a:gd name="connsiteY12139" fmla="*/ 1326170 h 7571036"/>
                  <a:gd name="connsiteX12140" fmla="*/ 4448428 w 6994525"/>
                  <a:gd name="connsiteY12140" fmla="*/ 1280803 h 7571036"/>
                  <a:gd name="connsiteX12141" fmla="*/ 4403058 w 6994525"/>
                  <a:gd name="connsiteY12141" fmla="*/ 1326170 h 7571036"/>
                  <a:gd name="connsiteX12142" fmla="*/ 4448428 w 6994525"/>
                  <a:gd name="connsiteY12142" fmla="*/ 1371546 h 7571036"/>
                  <a:gd name="connsiteX12143" fmla="*/ 4493797 w 6994525"/>
                  <a:gd name="connsiteY12143" fmla="*/ 1326170 h 7571036"/>
                  <a:gd name="connsiteX12144" fmla="*/ 4494787 w 6994525"/>
                  <a:gd name="connsiteY12144" fmla="*/ 1091964 h 7571036"/>
                  <a:gd name="connsiteX12145" fmla="*/ 4451635 w 6994525"/>
                  <a:gd name="connsiteY12145" fmla="*/ 1048809 h 7571036"/>
                  <a:gd name="connsiteX12146" fmla="*/ 4408484 w 6994525"/>
                  <a:gd name="connsiteY12146" fmla="*/ 1091964 h 7571036"/>
                  <a:gd name="connsiteX12147" fmla="*/ 4451635 w 6994525"/>
                  <a:gd name="connsiteY12147" fmla="*/ 1135113 h 7571036"/>
                  <a:gd name="connsiteX12148" fmla="*/ 4494787 w 6994525"/>
                  <a:gd name="connsiteY12148" fmla="*/ 1091964 h 7571036"/>
                  <a:gd name="connsiteX12149" fmla="*/ 4497745 w 6994525"/>
                  <a:gd name="connsiteY12149" fmla="*/ 5241881 h 7571036"/>
                  <a:gd name="connsiteX12150" fmla="*/ 4493060 w 6994525"/>
                  <a:gd name="connsiteY12150" fmla="*/ 5236949 h 7571036"/>
                  <a:gd name="connsiteX12151" fmla="*/ 4488128 w 6994525"/>
                  <a:gd name="connsiteY12151" fmla="*/ 5241881 h 7571036"/>
                  <a:gd name="connsiteX12152" fmla="*/ 4493060 w 6994525"/>
                  <a:gd name="connsiteY12152" fmla="*/ 5246812 h 7571036"/>
                  <a:gd name="connsiteX12153" fmla="*/ 4497745 w 6994525"/>
                  <a:gd name="connsiteY12153" fmla="*/ 5241881 h 7571036"/>
                  <a:gd name="connsiteX12154" fmla="*/ 4497991 w 6994525"/>
                  <a:gd name="connsiteY12154" fmla="*/ 745333 h 7571036"/>
                  <a:gd name="connsiteX12155" fmla="*/ 4454594 w 6994525"/>
                  <a:gd name="connsiteY12155" fmla="*/ 701935 h 7571036"/>
                  <a:gd name="connsiteX12156" fmla="*/ 4411197 w 6994525"/>
                  <a:gd name="connsiteY12156" fmla="*/ 745333 h 7571036"/>
                  <a:gd name="connsiteX12157" fmla="*/ 4454594 w 6994525"/>
                  <a:gd name="connsiteY12157" fmla="*/ 788729 h 7571036"/>
                  <a:gd name="connsiteX12158" fmla="*/ 4497991 w 6994525"/>
                  <a:gd name="connsiteY12158" fmla="*/ 745333 h 7571036"/>
                  <a:gd name="connsiteX12159" fmla="*/ 4498237 w 6994525"/>
                  <a:gd name="connsiteY12159" fmla="*/ 2895746 h 7571036"/>
                  <a:gd name="connsiteX12160" fmla="*/ 4496263 w 6994525"/>
                  <a:gd name="connsiteY12160" fmla="*/ 2893774 h 7571036"/>
                  <a:gd name="connsiteX12161" fmla="*/ 4494291 w 6994525"/>
                  <a:gd name="connsiteY12161" fmla="*/ 2895746 h 7571036"/>
                  <a:gd name="connsiteX12162" fmla="*/ 4496263 w 6994525"/>
                  <a:gd name="connsiteY12162" fmla="*/ 2897719 h 7571036"/>
                  <a:gd name="connsiteX12163" fmla="*/ 4498237 w 6994525"/>
                  <a:gd name="connsiteY12163" fmla="*/ 2895746 h 7571036"/>
                  <a:gd name="connsiteX12164" fmla="*/ 4498238 w 6994525"/>
                  <a:gd name="connsiteY12164" fmla="*/ 630657 h 7571036"/>
                  <a:gd name="connsiteX12165" fmla="*/ 4455335 w 6994525"/>
                  <a:gd name="connsiteY12165" fmla="*/ 587753 h 7571036"/>
                  <a:gd name="connsiteX12166" fmla="*/ 4412429 w 6994525"/>
                  <a:gd name="connsiteY12166" fmla="*/ 630657 h 7571036"/>
                  <a:gd name="connsiteX12167" fmla="*/ 4455335 w 6994525"/>
                  <a:gd name="connsiteY12167" fmla="*/ 673593 h 7571036"/>
                  <a:gd name="connsiteX12168" fmla="*/ 4498238 w 6994525"/>
                  <a:gd name="connsiteY12168" fmla="*/ 630657 h 7571036"/>
                  <a:gd name="connsiteX12169" fmla="*/ 4498483 w 6994525"/>
                  <a:gd name="connsiteY12169" fmla="*/ 860461 h 7571036"/>
                  <a:gd name="connsiteX12170" fmla="*/ 4454099 w 6994525"/>
                  <a:gd name="connsiteY12170" fmla="*/ 816080 h 7571036"/>
                  <a:gd name="connsiteX12171" fmla="*/ 4409716 w 6994525"/>
                  <a:gd name="connsiteY12171" fmla="*/ 860461 h 7571036"/>
                  <a:gd name="connsiteX12172" fmla="*/ 4454099 w 6994525"/>
                  <a:gd name="connsiteY12172" fmla="*/ 904835 h 7571036"/>
                  <a:gd name="connsiteX12173" fmla="*/ 4498483 w 6994525"/>
                  <a:gd name="connsiteY12173" fmla="*/ 860461 h 7571036"/>
                  <a:gd name="connsiteX12174" fmla="*/ 4498486 w 6994525"/>
                  <a:gd name="connsiteY12174" fmla="*/ 5363689 h 7571036"/>
                  <a:gd name="connsiteX12175" fmla="*/ 4497251 w 6994525"/>
                  <a:gd name="connsiteY12175" fmla="*/ 5362457 h 7571036"/>
                  <a:gd name="connsiteX12176" fmla="*/ 4495772 w 6994525"/>
                  <a:gd name="connsiteY12176" fmla="*/ 5363689 h 7571036"/>
                  <a:gd name="connsiteX12177" fmla="*/ 4497251 w 6994525"/>
                  <a:gd name="connsiteY12177" fmla="*/ 5364922 h 7571036"/>
                  <a:gd name="connsiteX12178" fmla="*/ 4498486 w 6994525"/>
                  <a:gd name="connsiteY12178" fmla="*/ 5363689 h 7571036"/>
                  <a:gd name="connsiteX12179" fmla="*/ 4504401 w 6994525"/>
                  <a:gd name="connsiteY12179" fmla="*/ 4994072 h 7571036"/>
                  <a:gd name="connsiteX12180" fmla="*/ 4482951 w 6994525"/>
                  <a:gd name="connsiteY12180" fmla="*/ 4972619 h 7571036"/>
                  <a:gd name="connsiteX12181" fmla="*/ 4461498 w 6994525"/>
                  <a:gd name="connsiteY12181" fmla="*/ 4994072 h 7571036"/>
                  <a:gd name="connsiteX12182" fmla="*/ 4482951 w 6994525"/>
                  <a:gd name="connsiteY12182" fmla="*/ 5015525 h 7571036"/>
                  <a:gd name="connsiteX12183" fmla="*/ 4504401 w 6994525"/>
                  <a:gd name="connsiteY12183" fmla="*/ 4994072 h 7571036"/>
                  <a:gd name="connsiteX12184" fmla="*/ 4506373 w 6994525"/>
                  <a:gd name="connsiteY12184" fmla="*/ 4606458 h 7571036"/>
                  <a:gd name="connsiteX12185" fmla="*/ 4458293 w 6994525"/>
                  <a:gd name="connsiteY12185" fmla="*/ 4558374 h 7571036"/>
                  <a:gd name="connsiteX12186" fmla="*/ 4410210 w 6994525"/>
                  <a:gd name="connsiteY12186" fmla="*/ 4606458 h 7571036"/>
                  <a:gd name="connsiteX12187" fmla="*/ 4458293 w 6994525"/>
                  <a:gd name="connsiteY12187" fmla="*/ 4654538 h 7571036"/>
                  <a:gd name="connsiteX12188" fmla="*/ 4506373 w 6994525"/>
                  <a:gd name="connsiteY12188" fmla="*/ 4606458 h 7571036"/>
                  <a:gd name="connsiteX12189" fmla="*/ 4509577 w 6994525"/>
                  <a:gd name="connsiteY12189" fmla="*/ 3162289 h 7571036"/>
                  <a:gd name="connsiteX12190" fmla="*/ 4496265 w 6994525"/>
                  <a:gd name="connsiteY12190" fmla="*/ 3149221 h 7571036"/>
                  <a:gd name="connsiteX12191" fmla="*/ 4482948 w 6994525"/>
                  <a:gd name="connsiteY12191" fmla="*/ 3162289 h 7571036"/>
                  <a:gd name="connsiteX12192" fmla="*/ 4496265 w 6994525"/>
                  <a:gd name="connsiteY12192" fmla="*/ 3175605 h 7571036"/>
                  <a:gd name="connsiteX12193" fmla="*/ 4509577 w 6994525"/>
                  <a:gd name="connsiteY12193" fmla="*/ 3162289 h 7571036"/>
                  <a:gd name="connsiteX12194" fmla="*/ 4509581 w 6994525"/>
                  <a:gd name="connsiteY12194" fmla="*/ 3846509 h 7571036"/>
                  <a:gd name="connsiteX12195" fmla="*/ 4477771 w 6994525"/>
                  <a:gd name="connsiteY12195" fmla="*/ 3814702 h 7571036"/>
                  <a:gd name="connsiteX12196" fmla="*/ 4445963 w 6994525"/>
                  <a:gd name="connsiteY12196" fmla="*/ 3846509 h 7571036"/>
                  <a:gd name="connsiteX12197" fmla="*/ 4477771 w 6994525"/>
                  <a:gd name="connsiteY12197" fmla="*/ 3878320 h 7571036"/>
                  <a:gd name="connsiteX12198" fmla="*/ 4509581 w 6994525"/>
                  <a:gd name="connsiteY12198" fmla="*/ 3846509 h 7571036"/>
                  <a:gd name="connsiteX12199" fmla="*/ 4509581 w 6994525"/>
                  <a:gd name="connsiteY12199" fmla="*/ 5118841 h 7571036"/>
                  <a:gd name="connsiteX12200" fmla="*/ 4488868 w 6994525"/>
                  <a:gd name="connsiteY12200" fmla="*/ 5098128 h 7571036"/>
                  <a:gd name="connsiteX12201" fmla="*/ 4468155 w 6994525"/>
                  <a:gd name="connsiteY12201" fmla="*/ 5118841 h 7571036"/>
                  <a:gd name="connsiteX12202" fmla="*/ 4488868 w 6994525"/>
                  <a:gd name="connsiteY12202" fmla="*/ 5139553 h 7571036"/>
                  <a:gd name="connsiteX12203" fmla="*/ 4509581 w 6994525"/>
                  <a:gd name="connsiteY12203" fmla="*/ 5118841 h 7571036"/>
                  <a:gd name="connsiteX12204" fmla="*/ 4512785 w 6994525"/>
                  <a:gd name="connsiteY12204" fmla="*/ 5480566 h 7571036"/>
                  <a:gd name="connsiteX12205" fmla="*/ 4507854 w 6994525"/>
                  <a:gd name="connsiteY12205" fmla="*/ 5475388 h 7571036"/>
                  <a:gd name="connsiteX12206" fmla="*/ 4502677 w 6994525"/>
                  <a:gd name="connsiteY12206" fmla="*/ 5480566 h 7571036"/>
                  <a:gd name="connsiteX12207" fmla="*/ 4507854 w 6994525"/>
                  <a:gd name="connsiteY12207" fmla="*/ 5485497 h 7571036"/>
                  <a:gd name="connsiteX12208" fmla="*/ 4512785 w 6994525"/>
                  <a:gd name="connsiteY12208" fmla="*/ 5480566 h 7571036"/>
                  <a:gd name="connsiteX12209" fmla="*/ 4513032 w 6994525"/>
                  <a:gd name="connsiteY12209" fmla="*/ 5600156 h 7571036"/>
                  <a:gd name="connsiteX12210" fmla="*/ 4510319 w 6994525"/>
                  <a:gd name="connsiteY12210" fmla="*/ 5597443 h 7571036"/>
                  <a:gd name="connsiteX12211" fmla="*/ 4507606 w 6994525"/>
                  <a:gd name="connsiteY12211" fmla="*/ 5600156 h 7571036"/>
                  <a:gd name="connsiteX12212" fmla="*/ 4510319 w 6994525"/>
                  <a:gd name="connsiteY12212" fmla="*/ 5602869 h 7571036"/>
                  <a:gd name="connsiteX12213" fmla="*/ 4513032 w 6994525"/>
                  <a:gd name="connsiteY12213" fmla="*/ 5600156 h 7571036"/>
                  <a:gd name="connsiteX12214" fmla="*/ 4515004 w 6994525"/>
                  <a:gd name="connsiteY12214" fmla="*/ 5837607 h 7571036"/>
                  <a:gd name="connsiteX12215" fmla="*/ 4512783 w 6994525"/>
                  <a:gd name="connsiteY12215" fmla="*/ 5835389 h 7571036"/>
                  <a:gd name="connsiteX12216" fmla="*/ 4510565 w 6994525"/>
                  <a:gd name="connsiteY12216" fmla="*/ 5837607 h 7571036"/>
                  <a:gd name="connsiteX12217" fmla="*/ 4512783 w 6994525"/>
                  <a:gd name="connsiteY12217" fmla="*/ 5839825 h 7571036"/>
                  <a:gd name="connsiteX12218" fmla="*/ 4515004 w 6994525"/>
                  <a:gd name="connsiteY12218" fmla="*/ 5837607 h 7571036"/>
                  <a:gd name="connsiteX12219" fmla="*/ 4515005 w 6994525"/>
                  <a:gd name="connsiteY12219" fmla="*/ 4738620 h 7571036"/>
                  <a:gd name="connsiteX12220" fmla="*/ 4467908 w 6994525"/>
                  <a:gd name="connsiteY12220" fmla="*/ 4691523 h 7571036"/>
                  <a:gd name="connsiteX12221" fmla="*/ 4420811 w 6994525"/>
                  <a:gd name="connsiteY12221" fmla="*/ 4738620 h 7571036"/>
                  <a:gd name="connsiteX12222" fmla="*/ 4467908 w 6994525"/>
                  <a:gd name="connsiteY12222" fmla="*/ 4785717 h 7571036"/>
                  <a:gd name="connsiteX12223" fmla="*/ 4515005 w 6994525"/>
                  <a:gd name="connsiteY12223" fmla="*/ 4738620 h 7571036"/>
                  <a:gd name="connsiteX12224" fmla="*/ 4515251 w 6994525"/>
                  <a:gd name="connsiteY12224" fmla="*/ 4255086 h 7571036"/>
                  <a:gd name="connsiteX12225" fmla="*/ 4494785 w 6994525"/>
                  <a:gd name="connsiteY12225" fmla="*/ 4234373 h 7571036"/>
                  <a:gd name="connsiteX12226" fmla="*/ 4474071 w 6994525"/>
                  <a:gd name="connsiteY12226" fmla="*/ 4255086 h 7571036"/>
                  <a:gd name="connsiteX12227" fmla="*/ 4494785 w 6994525"/>
                  <a:gd name="connsiteY12227" fmla="*/ 4275798 h 7571036"/>
                  <a:gd name="connsiteX12228" fmla="*/ 4515251 w 6994525"/>
                  <a:gd name="connsiteY12228" fmla="*/ 4255086 h 7571036"/>
                  <a:gd name="connsiteX12229" fmla="*/ 4515745 w 6994525"/>
                  <a:gd name="connsiteY12229" fmla="*/ 5955226 h 7571036"/>
                  <a:gd name="connsiteX12230" fmla="*/ 4513032 w 6994525"/>
                  <a:gd name="connsiteY12230" fmla="*/ 5952513 h 7571036"/>
                  <a:gd name="connsiteX12231" fmla="*/ 4510319 w 6994525"/>
                  <a:gd name="connsiteY12231" fmla="*/ 5955226 h 7571036"/>
                  <a:gd name="connsiteX12232" fmla="*/ 4513032 w 6994525"/>
                  <a:gd name="connsiteY12232" fmla="*/ 5957936 h 7571036"/>
                  <a:gd name="connsiteX12233" fmla="*/ 4515745 w 6994525"/>
                  <a:gd name="connsiteY12233" fmla="*/ 5955226 h 7571036"/>
                  <a:gd name="connsiteX12234" fmla="*/ 4516977 w 6994525"/>
                  <a:gd name="connsiteY12234" fmla="*/ 6071858 h 7571036"/>
                  <a:gd name="connsiteX12235" fmla="*/ 4514512 w 6994525"/>
                  <a:gd name="connsiteY12235" fmla="*/ 6069390 h 7571036"/>
                  <a:gd name="connsiteX12236" fmla="*/ 4511798 w 6994525"/>
                  <a:gd name="connsiteY12236" fmla="*/ 6071858 h 7571036"/>
                  <a:gd name="connsiteX12237" fmla="*/ 4514512 w 6994525"/>
                  <a:gd name="connsiteY12237" fmla="*/ 6074323 h 7571036"/>
                  <a:gd name="connsiteX12238" fmla="*/ 4516977 w 6994525"/>
                  <a:gd name="connsiteY12238" fmla="*/ 6071858 h 7571036"/>
                  <a:gd name="connsiteX12239" fmla="*/ 4516977 w 6994525"/>
                  <a:gd name="connsiteY12239" fmla="*/ 6187498 h 7571036"/>
                  <a:gd name="connsiteX12240" fmla="*/ 4515991 w 6994525"/>
                  <a:gd name="connsiteY12240" fmla="*/ 6186512 h 7571036"/>
                  <a:gd name="connsiteX12241" fmla="*/ 4515004 w 6994525"/>
                  <a:gd name="connsiteY12241" fmla="*/ 6187498 h 7571036"/>
                  <a:gd name="connsiteX12242" fmla="*/ 4515991 w 6994525"/>
                  <a:gd name="connsiteY12242" fmla="*/ 6188485 h 7571036"/>
                  <a:gd name="connsiteX12243" fmla="*/ 4516977 w 6994525"/>
                  <a:gd name="connsiteY12243" fmla="*/ 6187498 h 7571036"/>
                  <a:gd name="connsiteX12244" fmla="*/ 4518701 w 6994525"/>
                  <a:gd name="connsiteY12244" fmla="*/ 4867334 h 7571036"/>
                  <a:gd name="connsiteX12245" fmla="*/ 4476044 w 6994525"/>
                  <a:gd name="connsiteY12245" fmla="*/ 4824676 h 7571036"/>
                  <a:gd name="connsiteX12246" fmla="*/ 4433386 w 6994525"/>
                  <a:gd name="connsiteY12246" fmla="*/ 4867334 h 7571036"/>
                  <a:gd name="connsiteX12247" fmla="*/ 4476044 w 6994525"/>
                  <a:gd name="connsiteY12247" fmla="*/ 4909990 h 7571036"/>
                  <a:gd name="connsiteX12248" fmla="*/ 4518701 w 6994525"/>
                  <a:gd name="connsiteY12248" fmla="*/ 4867334 h 7571036"/>
                  <a:gd name="connsiteX12249" fmla="*/ 4518703 w 6994525"/>
                  <a:gd name="connsiteY12249" fmla="*/ 6302646 h 7571036"/>
                  <a:gd name="connsiteX12250" fmla="*/ 4516977 w 6994525"/>
                  <a:gd name="connsiteY12250" fmla="*/ 6301169 h 7571036"/>
                  <a:gd name="connsiteX12251" fmla="*/ 4515498 w 6994525"/>
                  <a:gd name="connsiteY12251" fmla="*/ 6302646 h 7571036"/>
                  <a:gd name="connsiteX12252" fmla="*/ 4516977 w 6994525"/>
                  <a:gd name="connsiteY12252" fmla="*/ 6304374 h 7571036"/>
                  <a:gd name="connsiteX12253" fmla="*/ 4518703 w 6994525"/>
                  <a:gd name="connsiteY12253" fmla="*/ 6302646 h 7571036"/>
                  <a:gd name="connsiteX12254" fmla="*/ 4521169 w 6994525"/>
                  <a:gd name="connsiteY12254" fmla="*/ 5719500 h 7571036"/>
                  <a:gd name="connsiteX12255" fmla="*/ 4511306 w 6994525"/>
                  <a:gd name="connsiteY12255" fmla="*/ 5709882 h 7571036"/>
                  <a:gd name="connsiteX12256" fmla="*/ 4501688 w 6994525"/>
                  <a:gd name="connsiteY12256" fmla="*/ 5719500 h 7571036"/>
                  <a:gd name="connsiteX12257" fmla="*/ 4511306 w 6994525"/>
                  <a:gd name="connsiteY12257" fmla="*/ 5729363 h 7571036"/>
                  <a:gd name="connsiteX12258" fmla="*/ 4521169 w 6994525"/>
                  <a:gd name="connsiteY12258" fmla="*/ 5719500 h 7571036"/>
                  <a:gd name="connsiteX12259" fmla="*/ 4525853 w 6994525"/>
                  <a:gd name="connsiteY12259" fmla="*/ 6415335 h 7571036"/>
                  <a:gd name="connsiteX12260" fmla="*/ 4524376 w 6994525"/>
                  <a:gd name="connsiteY12260" fmla="*/ 6413856 h 7571036"/>
                  <a:gd name="connsiteX12261" fmla="*/ 4522894 w 6994525"/>
                  <a:gd name="connsiteY12261" fmla="*/ 6415335 h 7571036"/>
                  <a:gd name="connsiteX12262" fmla="*/ 4524376 w 6994525"/>
                  <a:gd name="connsiteY12262" fmla="*/ 6416816 h 7571036"/>
                  <a:gd name="connsiteX12263" fmla="*/ 4525853 w 6994525"/>
                  <a:gd name="connsiteY12263" fmla="*/ 6415335 h 7571036"/>
                  <a:gd name="connsiteX12264" fmla="*/ 4526346 w 6994525"/>
                  <a:gd name="connsiteY12264" fmla="*/ 6529993 h 7571036"/>
                  <a:gd name="connsiteX12265" fmla="*/ 4524865 w 6994525"/>
                  <a:gd name="connsiteY12265" fmla="*/ 6528514 h 7571036"/>
                  <a:gd name="connsiteX12266" fmla="*/ 4523386 w 6994525"/>
                  <a:gd name="connsiteY12266" fmla="*/ 6529993 h 7571036"/>
                  <a:gd name="connsiteX12267" fmla="*/ 4524865 w 6994525"/>
                  <a:gd name="connsiteY12267" fmla="*/ 6531474 h 7571036"/>
                  <a:gd name="connsiteX12268" fmla="*/ 4526346 w 6994525"/>
                  <a:gd name="connsiteY12268" fmla="*/ 6529993 h 7571036"/>
                  <a:gd name="connsiteX12269" fmla="*/ 4526592 w 6994525"/>
                  <a:gd name="connsiteY12269" fmla="*/ 1831874 h 7571036"/>
                  <a:gd name="connsiteX12270" fmla="*/ 4480976 w 6994525"/>
                  <a:gd name="connsiteY12270" fmla="*/ 1786232 h 7571036"/>
                  <a:gd name="connsiteX12271" fmla="*/ 4435359 w 6994525"/>
                  <a:gd name="connsiteY12271" fmla="*/ 1831874 h 7571036"/>
                  <a:gd name="connsiteX12272" fmla="*/ 4480976 w 6994525"/>
                  <a:gd name="connsiteY12272" fmla="*/ 1877479 h 7571036"/>
                  <a:gd name="connsiteX12273" fmla="*/ 4526592 w 6994525"/>
                  <a:gd name="connsiteY12273" fmla="*/ 1831874 h 7571036"/>
                  <a:gd name="connsiteX12274" fmla="*/ 4527581 w 6994525"/>
                  <a:gd name="connsiteY12274" fmla="*/ 6644402 h 7571036"/>
                  <a:gd name="connsiteX12275" fmla="*/ 4524622 w 6994525"/>
                  <a:gd name="connsiteY12275" fmla="*/ 6641443 h 7571036"/>
                  <a:gd name="connsiteX12276" fmla="*/ 4521663 w 6994525"/>
                  <a:gd name="connsiteY12276" fmla="*/ 6644402 h 7571036"/>
                  <a:gd name="connsiteX12277" fmla="*/ 4524622 w 6994525"/>
                  <a:gd name="connsiteY12277" fmla="*/ 6647361 h 7571036"/>
                  <a:gd name="connsiteX12278" fmla="*/ 4527581 w 6994525"/>
                  <a:gd name="connsiteY12278" fmla="*/ 6644402 h 7571036"/>
                  <a:gd name="connsiteX12279" fmla="*/ 4529308 w 6994525"/>
                  <a:gd name="connsiteY12279" fmla="*/ 6757827 h 7571036"/>
                  <a:gd name="connsiteX12280" fmla="*/ 4525854 w 6994525"/>
                  <a:gd name="connsiteY12280" fmla="*/ 6754376 h 7571036"/>
                  <a:gd name="connsiteX12281" fmla="*/ 4522403 w 6994525"/>
                  <a:gd name="connsiteY12281" fmla="*/ 6757827 h 7571036"/>
                  <a:gd name="connsiteX12282" fmla="*/ 4525854 w 6994525"/>
                  <a:gd name="connsiteY12282" fmla="*/ 6761281 h 7571036"/>
                  <a:gd name="connsiteX12283" fmla="*/ 4529308 w 6994525"/>
                  <a:gd name="connsiteY12283" fmla="*/ 6757827 h 7571036"/>
                  <a:gd name="connsiteX12284" fmla="*/ 4529798 w 6994525"/>
                  <a:gd name="connsiteY12284" fmla="*/ 6871252 h 7571036"/>
                  <a:gd name="connsiteX12285" fmla="*/ 4526346 w 6994525"/>
                  <a:gd name="connsiteY12285" fmla="*/ 6867801 h 7571036"/>
                  <a:gd name="connsiteX12286" fmla="*/ 4522894 w 6994525"/>
                  <a:gd name="connsiteY12286" fmla="*/ 6871252 h 7571036"/>
                  <a:gd name="connsiteX12287" fmla="*/ 4526346 w 6994525"/>
                  <a:gd name="connsiteY12287" fmla="*/ 6874706 h 7571036"/>
                  <a:gd name="connsiteX12288" fmla="*/ 4529798 w 6994525"/>
                  <a:gd name="connsiteY12288" fmla="*/ 6871252 h 7571036"/>
                  <a:gd name="connsiteX12289" fmla="*/ 4530539 w 6994525"/>
                  <a:gd name="connsiteY12289" fmla="*/ 1587020 h 7571036"/>
                  <a:gd name="connsiteX12290" fmla="*/ 4488375 w 6994525"/>
                  <a:gd name="connsiteY12290" fmla="*/ 1544859 h 7571036"/>
                  <a:gd name="connsiteX12291" fmla="*/ 4446209 w 6994525"/>
                  <a:gd name="connsiteY12291" fmla="*/ 1587020 h 7571036"/>
                  <a:gd name="connsiteX12292" fmla="*/ 4488375 w 6994525"/>
                  <a:gd name="connsiteY12292" fmla="*/ 1629187 h 7571036"/>
                  <a:gd name="connsiteX12293" fmla="*/ 4530539 w 6994525"/>
                  <a:gd name="connsiteY12293" fmla="*/ 1587020 h 7571036"/>
                  <a:gd name="connsiteX12294" fmla="*/ 4531278 w 6994525"/>
                  <a:gd name="connsiteY12294" fmla="*/ 6984185 h 7571036"/>
                  <a:gd name="connsiteX12295" fmla="*/ 4526841 w 6994525"/>
                  <a:gd name="connsiteY12295" fmla="*/ 6979746 h 7571036"/>
                  <a:gd name="connsiteX12296" fmla="*/ 4522154 w 6994525"/>
                  <a:gd name="connsiteY12296" fmla="*/ 6984185 h 7571036"/>
                  <a:gd name="connsiteX12297" fmla="*/ 4526841 w 6994525"/>
                  <a:gd name="connsiteY12297" fmla="*/ 6988868 h 7571036"/>
                  <a:gd name="connsiteX12298" fmla="*/ 4531278 w 6994525"/>
                  <a:gd name="connsiteY12298" fmla="*/ 6984185 h 7571036"/>
                  <a:gd name="connsiteX12299" fmla="*/ 4531371 w 6994525"/>
                  <a:gd name="connsiteY12299" fmla="*/ 0 h 7571036"/>
                  <a:gd name="connsiteX12300" fmla="*/ 4502634 w 6994525"/>
                  <a:gd name="connsiteY12300" fmla="*/ 0 h 7571036"/>
                  <a:gd name="connsiteX12301" fmla="*/ 4516978 w 6994525"/>
                  <a:gd name="connsiteY12301" fmla="*/ 5976 h 7571036"/>
                  <a:gd name="connsiteX12302" fmla="*/ 4531772 w 6994525"/>
                  <a:gd name="connsiteY12302" fmla="*/ 1708807 h 7571036"/>
                  <a:gd name="connsiteX12303" fmla="*/ 4485416 w 6994525"/>
                  <a:gd name="connsiteY12303" fmla="*/ 1662462 h 7571036"/>
                  <a:gd name="connsiteX12304" fmla="*/ 4439058 w 6994525"/>
                  <a:gd name="connsiteY12304" fmla="*/ 1708807 h 7571036"/>
                  <a:gd name="connsiteX12305" fmla="*/ 4485416 w 6994525"/>
                  <a:gd name="connsiteY12305" fmla="*/ 1755186 h 7571036"/>
                  <a:gd name="connsiteX12306" fmla="*/ 4531772 w 6994525"/>
                  <a:gd name="connsiteY12306" fmla="*/ 1708807 h 7571036"/>
                  <a:gd name="connsiteX12307" fmla="*/ 4533498 w 6994525"/>
                  <a:gd name="connsiteY12307" fmla="*/ 7097119 h 7571036"/>
                  <a:gd name="connsiteX12308" fmla="*/ 4527581 w 6994525"/>
                  <a:gd name="connsiteY12308" fmla="*/ 7091200 h 7571036"/>
                  <a:gd name="connsiteX12309" fmla="*/ 4521663 w 6994525"/>
                  <a:gd name="connsiteY12309" fmla="*/ 7097119 h 7571036"/>
                  <a:gd name="connsiteX12310" fmla="*/ 4527581 w 6994525"/>
                  <a:gd name="connsiteY12310" fmla="*/ 7103037 h 7571036"/>
                  <a:gd name="connsiteX12311" fmla="*/ 4533498 w 6994525"/>
                  <a:gd name="connsiteY12311" fmla="*/ 7097119 h 7571036"/>
                  <a:gd name="connsiteX12312" fmla="*/ 4537194 w 6994525"/>
                  <a:gd name="connsiteY12312" fmla="*/ 7320760 h 7571036"/>
                  <a:gd name="connsiteX12313" fmla="*/ 4533003 w 6994525"/>
                  <a:gd name="connsiteY12313" fmla="*/ 7316569 h 7571036"/>
                  <a:gd name="connsiteX12314" fmla="*/ 4528812 w 6994525"/>
                  <a:gd name="connsiteY12314" fmla="*/ 7320760 h 7571036"/>
                  <a:gd name="connsiteX12315" fmla="*/ 4533003 w 6994525"/>
                  <a:gd name="connsiteY12315" fmla="*/ 7324951 h 7571036"/>
                  <a:gd name="connsiteX12316" fmla="*/ 4537194 w 6994525"/>
                  <a:gd name="connsiteY12316" fmla="*/ 7320760 h 7571036"/>
                  <a:gd name="connsiteX12317" fmla="*/ 4538676 w 6994525"/>
                  <a:gd name="connsiteY12317" fmla="*/ 7432954 h 7571036"/>
                  <a:gd name="connsiteX12318" fmla="*/ 4533253 w 6994525"/>
                  <a:gd name="connsiteY12318" fmla="*/ 7427527 h 7571036"/>
                  <a:gd name="connsiteX12319" fmla="*/ 4527826 w 6994525"/>
                  <a:gd name="connsiteY12319" fmla="*/ 7432954 h 7571036"/>
                  <a:gd name="connsiteX12320" fmla="*/ 4533253 w 6994525"/>
                  <a:gd name="connsiteY12320" fmla="*/ 7438377 h 7571036"/>
                  <a:gd name="connsiteX12321" fmla="*/ 4538676 w 6994525"/>
                  <a:gd name="connsiteY12321" fmla="*/ 7432954 h 7571036"/>
                  <a:gd name="connsiteX12322" fmla="*/ 4538921 w 6994525"/>
                  <a:gd name="connsiteY12322" fmla="*/ 2743859 h 7571036"/>
                  <a:gd name="connsiteX12323" fmla="*/ 4527577 w 6994525"/>
                  <a:gd name="connsiteY12323" fmla="*/ 2732519 h 7571036"/>
                  <a:gd name="connsiteX12324" fmla="*/ 4516237 w 6994525"/>
                  <a:gd name="connsiteY12324" fmla="*/ 2743859 h 7571036"/>
                  <a:gd name="connsiteX12325" fmla="*/ 4527577 w 6994525"/>
                  <a:gd name="connsiteY12325" fmla="*/ 2755203 h 7571036"/>
                  <a:gd name="connsiteX12326" fmla="*/ 4538921 w 6994525"/>
                  <a:gd name="connsiteY12326" fmla="*/ 2743859 h 7571036"/>
                  <a:gd name="connsiteX12327" fmla="*/ 4539662 w 6994525"/>
                  <a:gd name="connsiteY12327" fmla="*/ 7208322 h 7571036"/>
                  <a:gd name="connsiteX12328" fmla="*/ 4532757 w 6994525"/>
                  <a:gd name="connsiteY12328" fmla="*/ 7201418 h 7571036"/>
                  <a:gd name="connsiteX12329" fmla="*/ 4525853 w 6994525"/>
                  <a:gd name="connsiteY12329" fmla="*/ 7208322 h 7571036"/>
                  <a:gd name="connsiteX12330" fmla="*/ 4532757 w 6994525"/>
                  <a:gd name="connsiteY12330" fmla="*/ 7215227 h 7571036"/>
                  <a:gd name="connsiteX12331" fmla="*/ 4539662 w 6994525"/>
                  <a:gd name="connsiteY12331" fmla="*/ 7208322 h 7571036"/>
                  <a:gd name="connsiteX12332" fmla="*/ 4540153 w 6994525"/>
                  <a:gd name="connsiteY12332" fmla="*/ 3274973 h 7571036"/>
                  <a:gd name="connsiteX12333" fmla="*/ 4524864 w 6994525"/>
                  <a:gd name="connsiteY12333" fmla="*/ 3259687 h 7571036"/>
                  <a:gd name="connsiteX12334" fmla="*/ 4509577 w 6994525"/>
                  <a:gd name="connsiteY12334" fmla="*/ 3274973 h 7571036"/>
                  <a:gd name="connsiteX12335" fmla="*/ 4524864 w 6994525"/>
                  <a:gd name="connsiteY12335" fmla="*/ 3290263 h 7571036"/>
                  <a:gd name="connsiteX12336" fmla="*/ 4540153 w 6994525"/>
                  <a:gd name="connsiteY12336" fmla="*/ 3274973 h 7571036"/>
                  <a:gd name="connsiteX12337" fmla="*/ 4540894 w 6994525"/>
                  <a:gd name="connsiteY12337" fmla="*/ 3735799 h 7571036"/>
                  <a:gd name="connsiteX12338" fmla="*/ 4512291 w 6994525"/>
                  <a:gd name="connsiteY12338" fmla="*/ 3707195 h 7571036"/>
                  <a:gd name="connsiteX12339" fmla="*/ 4483688 w 6994525"/>
                  <a:gd name="connsiteY12339" fmla="*/ 3735799 h 7571036"/>
                  <a:gd name="connsiteX12340" fmla="*/ 4512291 w 6994525"/>
                  <a:gd name="connsiteY12340" fmla="*/ 3764401 h 7571036"/>
                  <a:gd name="connsiteX12341" fmla="*/ 4540894 w 6994525"/>
                  <a:gd name="connsiteY12341" fmla="*/ 3735799 h 7571036"/>
                  <a:gd name="connsiteX12342" fmla="*/ 4544102 w 6994525"/>
                  <a:gd name="connsiteY12342" fmla="*/ 4398346 h 7571036"/>
                  <a:gd name="connsiteX12343" fmla="*/ 4516485 w 6994525"/>
                  <a:gd name="connsiteY12343" fmla="*/ 4370728 h 7571036"/>
                  <a:gd name="connsiteX12344" fmla="*/ 4488868 w 6994525"/>
                  <a:gd name="connsiteY12344" fmla="*/ 4398346 h 7571036"/>
                  <a:gd name="connsiteX12345" fmla="*/ 4516485 w 6994525"/>
                  <a:gd name="connsiteY12345" fmla="*/ 4425962 h 7571036"/>
                  <a:gd name="connsiteX12346" fmla="*/ 4544102 w 6994525"/>
                  <a:gd name="connsiteY12346" fmla="*/ 4398346 h 7571036"/>
                  <a:gd name="connsiteX12347" fmla="*/ 4545579 w 6994525"/>
                  <a:gd name="connsiteY12347" fmla="*/ 2424802 h 7571036"/>
                  <a:gd name="connsiteX12348" fmla="*/ 4540400 w 6994525"/>
                  <a:gd name="connsiteY12348" fmla="*/ 2419628 h 7571036"/>
                  <a:gd name="connsiteX12349" fmla="*/ 4535221 w 6994525"/>
                  <a:gd name="connsiteY12349" fmla="*/ 2424802 h 7571036"/>
                  <a:gd name="connsiteX12350" fmla="*/ 4540400 w 6994525"/>
                  <a:gd name="connsiteY12350" fmla="*/ 2429983 h 7571036"/>
                  <a:gd name="connsiteX12351" fmla="*/ 4545579 w 6994525"/>
                  <a:gd name="connsiteY12351" fmla="*/ 2424802 h 7571036"/>
                  <a:gd name="connsiteX12352" fmla="*/ 4545826 w 6994525"/>
                  <a:gd name="connsiteY12352" fmla="*/ 4006783 h 7571036"/>
                  <a:gd name="connsiteX12353" fmla="*/ 4525114 w 6994525"/>
                  <a:gd name="connsiteY12353" fmla="*/ 3986070 h 7571036"/>
                  <a:gd name="connsiteX12354" fmla="*/ 4504401 w 6994525"/>
                  <a:gd name="connsiteY12354" fmla="*/ 4006783 h 7571036"/>
                  <a:gd name="connsiteX12355" fmla="*/ 4525114 w 6994525"/>
                  <a:gd name="connsiteY12355" fmla="*/ 4027495 h 7571036"/>
                  <a:gd name="connsiteX12356" fmla="*/ 4545826 w 6994525"/>
                  <a:gd name="connsiteY12356" fmla="*/ 4006783 h 7571036"/>
                  <a:gd name="connsiteX12357" fmla="*/ 4551747 w 6994525"/>
                  <a:gd name="connsiteY12357" fmla="*/ 2998817 h 7571036"/>
                  <a:gd name="connsiteX12358" fmla="*/ 4549525 w 6994525"/>
                  <a:gd name="connsiteY12358" fmla="*/ 2996350 h 7571036"/>
                  <a:gd name="connsiteX12359" fmla="*/ 4547060 w 6994525"/>
                  <a:gd name="connsiteY12359" fmla="*/ 2998817 h 7571036"/>
                  <a:gd name="connsiteX12360" fmla="*/ 4549525 w 6994525"/>
                  <a:gd name="connsiteY12360" fmla="*/ 3001035 h 7571036"/>
                  <a:gd name="connsiteX12361" fmla="*/ 4551747 w 6994525"/>
                  <a:gd name="connsiteY12361" fmla="*/ 2998817 h 7571036"/>
                  <a:gd name="connsiteX12362" fmla="*/ 4552976 w 6994525"/>
                  <a:gd name="connsiteY12362" fmla="*/ 2597403 h 7571036"/>
                  <a:gd name="connsiteX12363" fmla="*/ 4551495 w 6994525"/>
                  <a:gd name="connsiteY12363" fmla="*/ 2595923 h 7571036"/>
                  <a:gd name="connsiteX12364" fmla="*/ 4550016 w 6994525"/>
                  <a:gd name="connsiteY12364" fmla="*/ 2597403 h 7571036"/>
                  <a:gd name="connsiteX12365" fmla="*/ 4551495 w 6994525"/>
                  <a:gd name="connsiteY12365" fmla="*/ 2598881 h 7571036"/>
                  <a:gd name="connsiteX12366" fmla="*/ 4552976 w 6994525"/>
                  <a:gd name="connsiteY12366" fmla="*/ 2597403 h 7571036"/>
                  <a:gd name="connsiteX12367" fmla="*/ 4554701 w 6994525"/>
                  <a:gd name="connsiteY12367" fmla="*/ 536977 h 7571036"/>
                  <a:gd name="connsiteX12368" fmla="*/ 4515990 w 6994525"/>
                  <a:gd name="connsiteY12368" fmla="*/ 498266 h 7571036"/>
                  <a:gd name="connsiteX12369" fmla="*/ 4477278 w 6994525"/>
                  <a:gd name="connsiteY12369" fmla="*/ 536977 h 7571036"/>
                  <a:gd name="connsiteX12370" fmla="*/ 4515990 w 6994525"/>
                  <a:gd name="connsiteY12370" fmla="*/ 575686 h 7571036"/>
                  <a:gd name="connsiteX12371" fmla="*/ 4554701 w 6994525"/>
                  <a:gd name="connsiteY12371" fmla="*/ 536977 h 7571036"/>
                  <a:gd name="connsiteX12372" fmla="*/ 4554702 w 6994525"/>
                  <a:gd name="connsiteY12372" fmla="*/ 422342 h 7571036"/>
                  <a:gd name="connsiteX12373" fmla="*/ 4516237 w 6994525"/>
                  <a:gd name="connsiteY12373" fmla="*/ 383877 h 7571036"/>
                  <a:gd name="connsiteX12374" fmla="*/ 4477771 w 6994525"/>
                  <a:gd name="connsiteY12374" fmla="*/ 422342 h 7571036"/>
                  <a:gd name="connsiteX12375" fmla="*/ 4516237 w 6994525"/>
                  <a:gd name="connsiteY12375" fmla="*/ 461052 h 7571036"/>
                  <a:gd name="connsiteX12376" fmla="*/ 4554702 w 6994525"/>
                  <a:gd name="connsiteY12376" fmla="*/ 422342 h 7571036"/>
                  <a:gd name="connsiteX12377" fmla="*/ 4554949 w 6994525"/>
                  <a:gd name="connsiteY12377" fmla="*/ 81403 h 7571036"/>
                  <a:gd name="connsiteX12378" fmla="*/ 4516978 w 6994525"/>
                  <a:gd name="connsiteY12378" fmla="*/ 43433 h 7571036"/>
                  <a:gd name="connsiteX12379" fmla="*/ 4479003 w 6994525"/>
                  <a:gd name="connsiteY12379" fmla="*/ 81403 h 7571036"/>
                  <a:gd name="connsiteX12380" fmla="*/ 4516978 w 6994525"/>
                  <a:gd name="connsiteY12380" fmla="*/ 119375 h 7571036"/>
                  <a:gd name="connsiteX12381" fmla="*/ 4554949 w 6994525"/>
                  <a:gd name="connsiteY12381" fmla="*/ 81403 h 7571036"/>
                  <a:gd name="connsiteX12382" fmla="*/ 4555196 w 6994525"/>
                  <a:gd name="connsiteY12382" fmla="*/ 194555 h 7571036"/>
                  <a:gd name="connsiteX12383" fmla="*/ 4516731 w 6994525"/>
                  <a:gd name="connsiteY12383" fmla="*/ 156091 h 7571036"/>
                  <a:gd name="connsiteX12384" fmla="*/ 4478264 w 6994525"/>
                  <a:gd name="connsiteY12384" fmla="*/ 194555 h 7571036"/>
                  <a:gd name="connsiteX12385" fmla="*/ 4516731 w 6994525"/>
                  <a:gd name="connsiteY12385" fmla="*/ 233019 h 7571036"/>
                  <a:gd name="connsiteX12386" fmla="*/ 4555196 w 6994525"/>
                  <a:gd name="connsiteY12386" fmla="*/ 194555 h 7571036"/>
                  <a:gd name="connsiteX12387" fmla="*/ 4557910 w 6994525"/>
                  <a:gd name="connsiteY12387" fmla="*/ 308447 h 7571036"/>
                  <a:gd name="connsiteX12388" fmla="*/ 4516978 w 6994525"/>
                  <a:gd name="connsiteY12388" fmla="*/ 267518 h 7571036"/>
                  <a:gd name="connsiteX12389" fmla="*/ 4476293 w 6994525"/>
                  <a:gd name="connsiteY12389" fmla="*/ 308447 h 7571036"/>
                  <a:gd name="connsiteX12390" fmla="*/ 4516978 w 6994525"/>
                  <a:gd name="connsiteY12390" fmla="*/ 349377 h 7571036"/>
                  <a:gd name="connsiteX12391" fmla="*/ 4557910 w 6994525"/>
                  <a:gd name="connsiteY12391" fmla="*/ 308447 h 7571036"/>
                  <a:gd name="connsiteX12392" fmla="*/ 4558897 w 6994525"/>
                  <a:gd name="connsiteY12392" fmla="*/ 3389880 h 7571036"/>
                  <a:gd name="connsiteX12393" fmla="*/ 4540648 w 6994525"/>
                  <a:gd name="connsiteY12393" fmla="*/ 3371626 h 7571036"/>
                  <a:gd name="connsiteX12394" fmla="*/ 4522403 w 6994525"/>
                  <a:gd name="connsiteY12394" fmla="*/ 3389880 h 7571036"/>
                  <a:gd name="connsiteX12395" fmla="*/ 4540648 w 6994525"/>
                  <a:gd name="connsiteY12395" fmla="*/ 3408126 h 7571036"/>
                  <a:gd name="connsiteX12396" fmla="*/ 4558897 w 6994525"/>
                  <a:gd name="connsiteY12396" fmla="*/ 3389880 h 7571036"/>
                  <a:gd name="connsiteX12397" fmla="*/ 4559388 w 6994525"/>
                  <a:gd name="connsiteY12397" fmla="*/ 3621879 h 7571036"/>
                  <a:gd name="connsiteX12398" fmla="*/ 4534482 w 6994525"/>
                  <a:gd name="connsiteY12398" fmla="*/ 3596975 h 7571036"/>
                  <a:gd name="connsiteX12399" fmla="*/ 4509577 w 6994525"/>
                  <a:gd name="connsiteY12399" fmla="*/ 3621879 h 7571036"/>
                  <a:gd name="connsiteX12400" fmla="*/ 4534482 w 6994525"/>
                  <a:gd name="connsiteY12400" fmla="*/ 3646785 h 7571036"/>
                  <a:gd name="connsiteX12401" fmla="*/ 4559388 w 6994525"/>
                  <a:gd name="connsiteY12401" fmla="*/ 3621879 h 7571036"/>
                  <a:gd name="connsiteX12402" fmla="*/ 4560128 w 6994525"/>
                  <a:gd name="connsiteY12402" fmla="*/ 2287969 h 7571036"/>
                  <a:gd name="connsiteX12403" fmla="*/ 4553471 w 6994525"/>
                  <a:gd name="connsiteY12403" fmla="*/ 2281308 h 7571036"/>
                  <a:gd name="connsiteX12404" fmla="*/ 4546812 w 6994525"/>
                  <a:gd name="connsiteY12404" fmla="*/ 2287969 h 7571036"/>
                  <a:gd name="connsiteX12405" fmla="*/ 4553471 w 6994525"/>
                  <a:gd name="connsiteY12405" fmla="*/ 2294626 h 7571036"/>
                  <a:gd name="connsiteX12406" fmla="*/ 4560128 w 6994525"/>
                  <a:gd name="connsiteY12406" fmla="*/ 2287969 h 7571036"/>
                  <a:gd name="connsiteX12407" fmla="*/ 4565059 w 6994525"/>
                  <a:gd name="connsiteY12407" fmla="*/ 3505989 h 7571036"/>
                  <a:gd name="connsiteX12408" fmla="*/ 4543856 w 6994525"/>
                  <a:gd name="connsiteY12408" fmla="*/ 3484782 h 7571036"/>
                  <a:gd name="connsiteX12409" fmla="*/ 4522649 w 6994525"/>
                  <a:gd name="connsiteY12409" fmla="*/ 3505989 h 7571036"/>
                  <a:gd name="connsiteX12410" fmla="*/ 4543856 w 6994525"/>
                  <a:gd name="connsiteY12410" fmla="*/ 3527193 h 7571036"/>
                  <a:gd name="connsiteX12411" fmla="*/ 4565059 w 6994525"/>
                  <a:gd name="connsiteY12411" fmla="*/ 3505989 h 7571036"/>
                  <a:gd name="connsiteX12412" fmla="*/ 4581578 w 6994525"/>
                  <a:gd name="connsiteY12412" fmla="*/ 4160892 h 7571036"/>
                  <a:gd name="connsiteX12413" fmla="*/ 4561606 w 6994525"/>
                  <a:gd name="connsiteY12413" fmla="*/ 4140920 h 7571036"/>
                  <a:gd name="connsiteX12414" fmla="*/ 4541634 w 6994525"/>
                  <a:gd name="connsiteY12414" fmla="*/ 4160892 h 7571036"/>
                  <a:gd name="connsiteX12415" fmla="*/ 4561606 w 6994525"/>
                  <a:gd name="connsiteY12415" fmla="*/ 4180867 h 7571036"/>
                  <a:gd name="connsiteX12416" fmla="*/ 4581578 w 6994525"/>
                  <a:gd name="connsiteY12416" fmla="*/ 4160892 h 7571036"/>
                  <a:gd name="connsiteX12417" fmla="*/ 4583553 w 6994525"/>
                  <a:gd name="connsiteY12417" fmla="*/ 2154331 h 7571036"/>
                  <a:gd name="connsiteX12418" fmla="*/ 4563581 w 6994525"/>
                  <a:gd name="connsiteY12418" fmla="*/ 2134357 h 7571036"/>
                  <a:gd name="connsiteX12419" fmla="*/ 4543361 w 6994525"/>
                  <a:gd name="connsiteY12419" fmla="*/ 2154331 h 7571036"/>
                  <a:gd name="connsiteX12420" fmla="*/ 4563581 w 6994525"/>
                  <a:gd name="connsiteY12420" fmla="*/ 2174307 h 7571036"/>
                  <a:gd name="connsiteX12421" fmla="*/ 4583553 w 6994525"/>
                  <a:gd name="connsiteY12421" fmla="*/ 2154331 h 7571036"/>
                  <a:gd name="connsiteX12422" fmla="*/ 4586509 w 6994525"/>
                  <a:gd name="connsiteY12422" fmla="*/ 2023397 h 7571036"/>
                  <a:gd name="connsiteX12423" fmla="*/ 4571964 w 6994525"/>
                  <a:gd name="connsiteY12423" fmla="*/ 2008849 h 7571036"/>
                  <a:gd name="connsiteX12424" fmla="*/ 4557661 w 6994525"/>
                  <a:gd name="connsiteY12424" fmla="*/ 2023397 h 7571036"/>
                  <a:gd name="connsiteX12425" fmla="*/ 4571964 w 6994525"/>
                  <a:gd name="connsiteY12425" fmla="*/ 2037699 h 7571036"/>
                  <a:gd name="connsiteX12426" fmla="*/ 4586509 w 6994525"/>
                  <a:gd name="connsiteY12426" fmla="*/ 2023397 h 7571036"/>
                  <a:gd name="connsiteX12427" fmla="*/ 4589963 w 6994525"/>
                  <a:gd name="connsiteY12427" fmla="*/ 3901249 h 7571036"/>
                  <a:gd name="connsiteX12428" fmla="*/ 4572951 w 6994525"/>
                  <a:gd name="connsiteY12428" fmla="*/ 3884235 h 7571036"/>
                  <a:gd name="connsiteX12429" fmla="*/ 4555937 w 6994525"/>
                  <a:gd name="connsiteY12429" fmla="*/ 3901249 h 7571036"/>
                  <a:gd name="connsiteX12430" fmla="*/ 4572951 w 6994525"/>
                  <a:gd name="connsiteY12430" fmla="*/ 3918265 h 7571036"/>
                  <a:gd name="connsiteX12431" fmla="*/ 4589963 w 6994525"/>
                  <a:gd name="connsiteY12431" fmla="*/ 3901249 h 7571036"/>
                  <a:gd name="connsiteX12432" fmla="*/ 4590703 w 6994525"/>
                  <a:gd name="connsiteY12432" fmla="*/ 4526811 h 7571036"/>
                  <a:gd name="connsiteX12433" fmla="*/ 4543853 w 6994525"/>
                  <a:gd name="connsiteY12433" fmla="*/ 4480208 h 7571036"/>
                  <a:gd name="connsiteX12434" fmla="*/ 4497251 w 6994525"/>
                  <a:gd name="connsiteY12434" fmla="*/ 4526811 h 7571036"/>
                  <a:gd name="connsiteX12435" fmla="*/ 4543853 w 6994525"/>
                  <a:gd name="connsiteY12435" fmla="*/ 4573661 h 7571036"/>
                  <a:gd name="connsiteX12436" fmla="*/ 4590703 w 6994525"/>
                  <a:gd name="connsiteY12436" fmla="*/ 4526811 h 7571036"/>
                  <a:gd name="connsiteX12437" fmla="*/ 4593909 w 6994525"/>
                  <a:gd name="connsiteY12437" fmla="*/ 3106323 h 7571036"/>
                  <a:gd name="connsiteX12438" fmla="*/ 4591937 w 6994525"/>
                  <a:gd name="connsiteY12438" fmla="*/ 3104350 h 7571036"/>
                  <a:gd name="connsiteX12439" fmla="*/ 4589963 w 6994525"/>
                  <a:gd name="connsiteY12439" fmla="*/ 3106323 h 7571036"/>
                  <a:gd name="connsiteX12440" fmla="*/ 4591937 w 6994525"/>
                  <a:gd name="connsiteY12440" fmla="*/ 3108295 h 7571036"/>
                  <a:gd name="connsiteX12441" fmla="*/ 4593909 w 6994525"/>
                  <a:gd name="connsiteY12441" fmla="*/ 3106323 h 7571036"/>
                  <a:gd name="connsiteX12442" fmla="*/ 4596866 w 6994525"/>
                  <a:gd name="connsiteY12442" fmla="*/ 1497282 h 7571036"/>
                  <a:gd name="connsiteX12443" fmla="*/ 4550759 w 6994525"/>
                  <a:gd name="connsiteY12443" fmla="*/ 1451171 h 7571036"/>
                  <a:gd name="connsiteX12444" fmla="*/ 4504648 w 6994525"/>
                  <a:gd name="connsiteY12444" fmla="*/ 1497282 h 7571036"/>
                  <a:gd name="connsiteX12445" fmla="*/ 4550759 w 6994525"/>
                  <a:gd name="connsiteY12445" fmla="*/ 1543393 h 7571036"/>
                  <a:gd name="connsiteX12446" fmla="*/ 4596866 w 6994525"/>
                  <a:gd name="connsiteY12446" fmla="*/ 1497282 h 7571036"/>
                  <a:gd name="connsiteX12447" fmla="*/ 4598099 w 6994525"/>
                  <a:gd name="connsiteY12447" fmla="*/ 1256654 h 7571036"/>
                  <a:gd name="connsiteX12448" fmla="*/ 4555937 w 6994525"/>
                  <a:gd name="connsiteY12448" fmla="*/ 1214741 h 7571036"/>
                  <a:gd name="connsiteX12449" fmla="*/ 4514018 w 6994525"/>
                  <a:gd name="connsiteY12449" fmla="*/ 1256654 h 7571036"/>
                  <a:gd name="connsiteX12450" fmla="*/ 4555937 w 6994525"/>
                  <a:gd name="connsiteY12450" fmla="*/ 1298822 h 7571036"/>
                  <a:gd name="connsiteX12451" fmla="*/ 4598099 w 6994525"/>
                  <a:gd name="connsiteY12451" fmla="*/ 1256654 h 7571036"/>
                  <a:gd name="connsiteX12452" fmla="*/ 4599088 w 6994525"/>
                  <a:gd name="connsiteY12452" fmla="*/ 1376478 h 7571036"/>
                  <a:gd name="connsiteX12453" fmla="*/ 4553471 w 6994525"/>
                  <a:gd name="connsiteY12453" fmla="*/ 1330859 h 7571036"/>
                  <a:gd name="connsiteX12454" fmla="*/ 4507854 w 6994525"/>
                  <a:gd name="connsiteY12454" fmla="*/ 1376478 h 7571036"/>
                  <a:gd name="connsiteX12455" fmla="*/ 4553471 w 6994525"/>
                  <a:gd name="connsiteY12455" fmla="*/ 1422096 h 7571036"/>
                  <a:gd name="connsiteX12456" fmla="*/ 4599088 w 6994525"/>
                  <a:gd name="connsiteY12456" fmla="*/ 1376478 h 7571036"/>
                  <a:gd name="connsiteX12457" fmla="*/ 4600073 w 6994525"/>
                  <a:gd name="connsiteY12457" fmla="*/ 5306239 h 7571036"/>
                  <a:gd name="connsiteX12458" fmla="*/ 4597606 w 6994525"/>
                  <a:gd name="connsiteY12458" fmla="*/ 5303771 h 7571036"/>
                  <a:gd name="connsiteX12459" fmla="*/ 4595387 w 6994525"/>
                  <a:gd name="connsiteY12459" fmla="*/ 5306239 h 7571036"/>
                  <a:gd name="connsiteX12460" fmla="*/ 4597606 w 6994525"/>
                  <a:gd name="connsiteY12460" fmla="*/ 5308458 h 7571036"/>
                  <a:gd name="connsiteX12461" fmla="*/ 4600073 w 6994525"/>
                  <a:gd name="connsiteY12461" fmla="*/ 5306239 h 7571036"/>
                  <a:gd name="connsiteX12462" fmla="*/ 4601799 w 6994525"/>
                  <a:gd name="connsiteY12462" fmla="*/ 1020231 h 7571036"/>
                  <a:gd name="connsiteX12463" fmla="*/ 4560620 w 6994525"/>
                  <a:gd name="connsiteY12463" fmla="*/ 979045 h 7571036"/>
                  <a:gd name="connsiteX12464" fmla="*/ 4519441 w 6994525"/>
                  <a:gd name="connsiteY12464" fmla="*/ 1020231 h 7571036"/>
                  <a:gd name="connsiteX12465" fmla="*/ 4560620 w 6994525"/>
                  <a:gd name="connsiteY12465" fmla="*/ 1061401 h 7571036"/>
                  <a:gd name="connsiteX12466" fmla="*/ 4601799 w 6994525"/>
                  <a:gd name="connsiteY12466" fmla="*/ 1020231 h 7571036"/>
                  <a:gd name="connsiteX12467" fmla="*/ 4602044 w 6994525"/>
                  <a:gd name="connsiteY12467" fmla="*/ 1138069 h 7571036"/>
                  <a:gd name="connsiteX12468" fmla="*/ 4558401 w 6994525"/>
                  <a:gd name="connsiteY12468" fmla="*/ 1094428 h 7571036"/>
                  <a:gd name="connsiteX12469" fmla="*/ 4514758 w 6994525"/>
                  <a:gd name="connsiteY12469" fmla="*/ 1138069 h 7571036"/>
                  <a:gd name="connsiteX12470" fmla="*/ 4558401 w 6994525"/>
                  <a:gd name="connsiteY12470" fmla="*/ 1181716 h 7571036"/>
                  <a:gd name="connsiteX12471" fmla="*/ 4602044 w 6994525"/>
                  <a:gd name="connsiteY12471" fmla="*/ 1138069 h 7571036"/>
                  <a:gd name="connsiteX12472" fmla="*/ 4603524 w 6994525"/>
                  <a:gd name="connsiteY12472" fmla="*/ 2841261 h 7571036"/>
                  <a:gd name="connsiteX12473" fmla="*/ 4589963 w 6994525"/>
                  <a:gd name="connsiteY12473" fmla="*/ 2827697 h 7571036"/>
                  <a:gd name="connsiteX12474" fmla="*/ 4576400 w 6994525"/>
                  <a:gd name="connsiteY12474" fmla="*/ 2841261 h 7571036"/>
                  <a:gd name="connsiteX12475" fmla="*/ 4589963 w 6994525"/>
                  <a:gd name="connsiteY12475" fmla="*/ 2854819 h 7571036"/>
                  <a:gd name="connsiteX12476" fmla="*/ 4603524 w 6994525"/>
                  <a:gd name="connsiteY12476" fmla="*/ 2841261 h 7571036"/>
                  <a:gd name="connsiteX12477" fmla="*/ 4603525 w 6994525"/>
                  <a:gd name="connsiteY12477" fmla="*/ 5181718 h 7571036"/>
                  <a:gd name="connsiteX12478" fmla="*/ 4591936 w 6994525"/>
                  <a:gd name="connsiteY12478" fmla="*/ 5170129 h 7571036"/>
                  <a:gd name="connsiteX12479" fmla="*/ 4580346 w 6994525"/>
                  <a:gd name="connsiteY12479" fmla="*/ 5181718 h 7571036"/>
                  <a:gd name="connsiteX12480" fmla="*/ 4591936 w 6994525"/>
                  <a:gd name="connsiteY12480" fmla="*/ 5193308 h 7571036"/>
                  <a:gd name="connsiteX12481" fmla="*/ 4603525 w 6994525"/>
                  <a:gd name="connsiteY12481" fmla="*/ 5181718 h 7571036"/>
                  <a:gd name="connsiteX12482" fmla="*/ 4604263 w 6994525"/>
                  <a:gd name="connsiteY12482" fmla="*/ 4927253 h 7571036"/>
                  <a:gd name="connsiteX12483" fmla="*/ 4577883 w 6994525"/>
                  <a:gd name="connsiteY12483" fmla="*/ 4900868 h 7571036"/>
                  <a:gd name="connsiteX12484" fmla="*/ 4551497 w 6994525"/>
                  <a:gd name="connsiteY12484" fmla="*/ 4927253 h 7571036"/>
                  <a:gd name="connsiteX12485" fmla="*/ 4577883 w 6994525"/>
                  <a:gd name="connsiteY12485" fmla="*/ 4953634 h 7571036"/>
                  <a:gd name="connsiteX12486" fmla="*/ 4604263 w 6994525"/>
                  <a:gd name="connsiteY12486" fmla="*/ 4927253 h 7571036"/>
                  <a:gd name="connsiteX12487" fmla="*/ 4606484 w 6994525"/>
                  <a:gd name="connsiteY12487" fmla="*/ 4663660 h 7571036"/>
                  <a:gd name="connsiteX12488" fmla="*/ 4557169 w 6994525"/>
                  <a:gd name="connsiteY12488" fmla="*/ 4614345 h 7571036"/>
                  <a:gd name="connsiteX12489" fmla="*/ 4507854 w 6994525"/>
                  <a:gd name="connsiteY12489" fmla="*/ 4663660 h 7571036"/>
                  <a:gd name="connsiteX12490" fmla="*/ 4557169 w 6994525"/>
                  <a:gd name="connsiteY12490" fmla="*/ 4712975 h 7571036"/>
                  <a:gd name="connsiteX12491" fmla="*/ 4606484 w 6994525"/>
                  <a:gd name="connsiteY12491" fmla="*/ 4663660 h 7571036"/>
                  <a:gd name="connsiteX12492" fmla="*/ 4606730 w 6994525"/>
                  <a:gd name="connsiteY12492" fmla="*/ 903118 h 7571036"/>
                  <a:gd name="connsiteX12493" fmla="*/ 4562100 w 6994525"/>
                  <a:gd name="connsiteY12493" fmla="*/ 858487 h 7571036"/>
                  <a:gd name="connsiteX12494" fmla="*/ 4517471 w 6994525"/>
                  <a:gd name="connsiteY12494" fmla="*/ 903118 h 7571036"/>
                  <a:gd name="connsiteX12495" fmla="*/ 4562100 w 6994525"/>
                  <a:gd name="connsiteY12495" fmla="*/ 947752 h 7571036"/>
                  <a:gd name="connsiteX12496" fmla="*/ 4606730 w 6994525"/>
                  <a:gd name="connsiteY12496" fmla="*/ 903118 h 7571036"/>
                  <a:gd name="connsiteX12497" fmla="*/ 4606731 w 6994525"/>
                  <a:gd name="connsiteY12497" fmla="*/ 786019 h 7571036"/>
                  <a:gd name="connsiteX12498" fmla="*/ 4563084 w 6994525"/>
                  <a:gd name="connsiteY12498" fmla="*/ 742131 h 7571036"/>
                  <a:gd name="connsiteX12499" fmla="*/ 4519195 w 6994525"/>
                  <a:gd name="connsiteY12499" fmla="*/ 786019 h 7571036"/>
                  <a:gd name="connsiteX12500" fmla="*/ 4563084 w 6994525"/>
                  <a:gd name="connsiteY12500" fmla="*/ 829910 h 7571036"/>
                  <a:gd name="connsiteX12501" fmla="*/ 4606731 w 6994525"/>
                  <a:gd name="connsiteY12501" fmla="*/ 786019 h 7571036"/>
                  <a:gd name="connsiteX12502" fmla="*/ 4607717 w 6994525"/>
                  <a:gd name="connsiteY12502" fmla="*/ 670149 h 7571036"/>
                  <a:gd name="connsiteX12503" fmla="*/ 4564320 w 6994525"/>
                  <a:gd name="connsiteY12503" fmla="*/ 626709 h 7571036"/>
                  <a:gd name="connsiteX12504" fmla="*/ 4520922 w 6994525"/>
                  <a:gd name="connsiteY12504" fmla="*/ 670149 h 7571036"/>
                  <a:gd name="connsiteX12505" fmla="*/ 4564320 w 6994525"/>
                  <a:gd name="connsiteY12505" fmla="*/ 713543 h 7571036"/>
                  <a:gd name="connsiteX12506" fmla="*/ 4607717 w 6994525"/>
                  <a:gd name="connsiteY12506" fmla="*/ 670149 h 7571036"/>
                  <a:gd name="connsiteX12507" fmla="*/ 4609689 w 6994525"/>
                  <a:gd name="connsiteY12507" fmla="*/ 5055223 h 7571036"/>
                  <a:gd name="connsiteX12508" fmla="*/ 4586019 w 6994525"/>
                  <a:gd name="connsiteY12508" fmla="*/ 5031552 h 7571036"/>
                  <a:gd name="connsiteX12509" fmla="*/ 4562347 w 6994525"/>
                  <a:gd name="connsiteY12509" fmla="*/ 5055223 h 7571036"/>
                  <a:gd name="connsiteX12510" fmla="*/ 4586019 w 6994525"/>
                  <a:gd name="connsiteY12510" fmla="*/ 5078894 h 7571036"/>
                  <a:gd name="connsiteX12511" fmla="*/ 4609689 w 6994525"/>
                  <a:gd name="connsiteY12511" fmla="*/ 5055223 h 7571036"/>
                  <a:gd name="connsiteX12512" fmla="*/ 4613140 w 6994525"/>
                  <a:gd name="connsiteY12512" fmla="*/ 4797057 h 7571036"/>
                  <a:gd name="connsiteX12513" fmla="*/ 4568510 w 6994525"/>
                  <a:gd name="connsiteY12513" fmla="*/ 4752428 h 7571036"/>
                  <a:gd name="connsiteX12514" fmla="*/ 4523881 w 6994525"/>
                  <a:gd name="connsiteY12514" fmla="*/ 4797057 h 7571036"/>
                  <a:gd name="connsiteX12515" fmla="*/ 4568510 w 6994525"/>
                  <a:gd name="connsiteY12515" fmla="*/ 4841687 h 7571036"/>
                  <a:gd name="connsiteX12516" fmla="*/ 4613140 w 6994525"/>
                  <a:gd name="connsiteY12516" fmla="*/ 4797057 h 7571036"/>
                  <a:gd name="connsiteX12517" fmla="*/ 4615853 w 6994525"/>
                  <a:gd name="connsiteY12517" fmla="*/ 5424841 h 7571036"/>
                  <a:gd name="connsiteX12518" fmla="*/ 4610184 w 6994525"/>
                  <a:gd name="connsiteY12518" fmla="*/ 5419169 h 7571036"/>
                  <a:gd name="connsiteX12519" fmla="*/ 4604512 w 6994525"/>
                  <a:gd name="connsiteY12519" fmla="*/ 5424841 h 7571036"/>
                  <a:gd name="connsiteX12520" fmla="*/ 4610184 w 6994525"/>
                  <a:gd name="connsiteY12520" fmla="*/ 5430513 h 7571036"/>
                  <a:gd name="connsiteX12521" fmla="*/ 4615853 w 6994525"/>
                  <a:gd name="connsiteY12521" fmla="*/ 5424841 h 7571036"/>
                  <a:gd name="connsiteX12522" fmla="*/ 4616101 w 6994525"/>
                  <a:gd name="connsiteY12522" fmla="*/ 5546897 h 7571036"/>
                  <a:gd name="connsiteX12523" fmla="*/ 4613881 w 6994525"/>
                  <a:gd name="connsiteY12523" fmla="*/ 5544678 h 7571036"/>
                  <a:gd name="connsiteX12524" fmla="*/ 4611662 w 6994525"/>
                  <a:gd name="connsiteY12524" fmla="*/ 5546897 h 7571036"/>
                  <a:gd name="connsiteX12525" fmla="*/ 4613881 w 6994525"/>
                  <a:gd name="connsiteY12525" fmla="*/ 5549364 h 7571036"/>
                  <a:gd name="connsiteX12526" fmla="*/ 4616101 w 6994525"/>
                  <a:gd name="connsiteY12526" fmla="*/ 5546897 h 7571036"/>
                  <a:gd name="connsiteX12527" fmla="*/ 4616593 w 6994525"/>
                  <a:gd name="connsiteY12527" fmla="*/ 4309332 h 7571036"/>
                  <a:gd name="connsiteX12528" fmla="*/ 4589963 w 6994525"/>
                  <a:gd name="connsiteY12528" fmla="*/ 4282702 h 7571036"/>
                  <a:gd name="connsiteX12529" fmla="*/ 4563333 w 6994525"/>
                  <a:gd name="connsiteY12529" fmla="*/ 4309332 h 7571036"/>
                  <a:gd name="connsiteX12530" fmla="*/ 4589963 w 6994525"/>
                  <a:gd name="connsiteY12530" fmla="*/ 4335962 h 7571036"/>
                  <a:gd name="connsiteX12531" fmla="*/ 4616593 w 6994525"/>
                  <a:gd name="connsiteY12531" fmla="*/ 4309332 h 7571036"/>
                  <a:gd name="connsiteX12532" fmla="*/ 4620785 w 6994525"/>
                  <a:gd name="connsiteY12532" fmla="*/ 5788786 h 7571036"/>
                  <a:gd name="connsiteX12533" fmla="*/ 4618318 w 6994525"/>
                  <a:gd name="connsiteY12533" fmla="*/ 5786321 h 7571036"/>
                  <a:gd name="connsiteX12534" fmla="*/ 4615853 w 6994525"/>
                  <a:gd name="connsiteY12534" fmla="*/ 5788786 h 7571036"/>
                  <a:gd name="connsiteX12535" fmla="*/ 4618318 w 6994525"/>
                  <a:gd name="connsiteY12535" fmla="*/ 5791252 h 7571036"/>
                  <a:gd name="connsiteX12536" fmla="*/ 4620785 w 6994525"/>
                  <a:gd name="connsiteY12536" fmla="*/ 5788786 h 7571036"/>
                  <a:gd name="connsiteX12537" fmla="*/ 4622019 w 6994525"/>
                  <a:gd name="connsiteY12537" fmla="*/ 5908623 h 7571036"/>
                  <a:gd name="connsiteX12538" fmla="*/ 4619306 w 6994525"/>
                  <a:gd name="connsiteY12538" fmla="*/ 5905910 h 7571036"/>
                  <a:gd name="connsiteX12539" fmla="*/ 4616593 w 6994525"/>
                  <a:gd name="connsiteY12539" fmla="*/ 5908623 h 7571036"/>
                  <a:gd name="connsiteX12540" fmla="*/ 4619306 w 6994525"/>
                  <a:gd name="connsiteY12540" fmla="*/ 5911336 h 7571036"/>
                  <a:gd name="connsiteX12541" fmla="*/ 4622019 w 6994525"/>
                  <a:gd name="connsiteY12541" fmla="*/ 5908623 h 7571036"/>
                  <a:gd name="connsiteX12542" fmla="*/ 4623743 w 6994525"/>
                  <a:gd name="connsiteY12542" fmla="*/ 2510367 h 7571036"/>
                  <a:gd name="connsiteX12543" fmla="*/ 4619799 w 6994525"/>
                  <a:gd name="connsiteY12543" fmla="*/ 2506421 h 7571036"/>
                  <a:gd name="connsiteX12544" fmla="*/ 4615853 w 6994525"/>
                  <a:gd name="connsiteY12544" fmla="*/ 2510367 h 7571036"/>
                  <a:gd name="connsiteX12545" fmla="*/ 4619799 w 6994525"/>
                  <a:gd name="connsiteY12545" fmla="*/ 2514313 h 7571036"/>
                  <a:gd name="connsiteX12546" fmla="*/ 4623743 w 6994525"/>
                  <a:gd name="connsiteY12546" fmla="*/ 2510367 h 7571036"/>
                  <a:gd name="connsiteX12547" fmla="*/ 4623744 w 6994525"/>
                  <a:gd name="connsiteY12547" fmla="*/ 3791523 h 7571036"/>
                  <a:gd name="connsiteX12548" fmla="*/ 4609689 w 6994525"/>
                  <a:gd name="connsiteY12548" fmla="*/ 3777221 h 7571036"/>
                  <a:gd name="connsiteX12549" fmla="*/ 4595387 w 6994525"/>
                  <a:gd name="connsiteY12549" fmla="*/ 3791523 h 7571036"/>
                  <a:gd name="connsiteX12550" fmla="*/ 4609689 w 6994525"/>
                  <a:gd name="connsiteY12550" fmla="*/ 3805578 h 7571036"/>
                  <a:gd name="connsiteX12551" fmla="*/ 4623744 w 6994525"/>
                  <a:gd name="connsiteY12551" fmla="*/ 3791523 h 7571036"/>
                  <a:gd name="connsiteX12552" fmla="*/ 4623746 w 6994525"/>
                  <a:gd name="connsiteY12552" fmla="*/ 6026732 h 7571036"/>
                  <a:gd name="connsiteX12553" fmla="*/ 4621526 w 6994525"/>
                  <a:gd name="connsiteY12553" fmla="*/ 6024513 h 7571036"/>
                  <a:gd name="connsiteX12554" fmla="*/ 4619306 w 6994525"/>
                  <a:gd name="connsiteY12554" fmla="*/ 6026732 h 7571036"/>
                  <a:gd name="connsiteX12555" fmla="*/ 4621526 w 6994525"/>
                  <a:gd name="connsiteY12555" fmla="*/ 6028949 h 7571036"/>
                  <a:gd name="connsiteX12556" fmla="*/ 4623746 w 6994525"/>
                  <a:gd name="connsiteY12556" fmla="*/ 6026732 h 7571036"/>
                  <a:gd name="connsiteX12557" fmla="*/ 4624235 w 6994525"/>
                  <a:gd name="connsiteY12557" fmla="*/ 6144104 h 7571036"/>
                  <a:gd name="connsiteX12558" fmla="*/ 4623498 w 6994525"/>
                  <a:gd name="connsiteY12558" fmla="*/ 6143363 h 7571036"/>
                  <a:gd name="connsiteX12559" fmla="*/ 4622757 w 6994525"/>
                  <a:gd name="connsiteY12559" fmla="*/ 6144104 h 7571036"/>
                  <a:gd name="connsiteX12560" fmla="*/ 4623498 w 6994525"/>
                  <a:gd name="connsiteY12560" fmla="*/ 6144841 h 7571036"/>
                  <a:gd name="connsiteX12561" fmla="*/ 4624235 w 6994525"/>
                  <a:gd name="connsiteY12561" fmla="*/ 6144104 h 7571036"/>
                  <a:gd name="connsiteX12562" fmla="*/ 4624238 w 6994525"/>
                  <a:gd name="connsiteY12562" fmla="*/ 2689130 h 7571036"/>
                  <a:gd name="connsiteX12563" fmla="*/ 4621526 w 6994525"/>
                  <a:gd name="connsiteY12563" fmla="*/ 2686417 h 7571036"/>
                  <a:gd name="connsiteX12564" fmla="*/ 4618812 w 6994525"/>
                  <a:gd name="connsiteY12564" fmla="*/ 2689130 h 7571036"/>
                  <a:gd name="connsiteX12565" fmla="*/ 4621526 w 6994525"/>
                  <a:gd name="connsiteY12565" fmla="*/ 2691840 h 7571036"/>
                  <a:gd name="connsiteX12566" fmla="*/ 4624238 w 6994525"/>
                  <a:gd name="connsiteY12566" fmla="*/ 2689130 h 7571036"/>
                  <a:gd name="connsiteX12567" fmla="*/ 4626207 w 6994525"/>
                  <a:gd name="connsiteY12567" fmla="*/ 6260979 h 7571036"/>
                  <a:gd name="connsiteX12568" fmla="*/ 4624975 w 6994525"/>
                  <a:gd name="connsiteY12568" fmla="*/ 6259747 h 7571036"/>
                  <a:gd name="connsiteX12569" fmla="*/ 4623743 w 6994525"/>
                  <a:gd name="connsiteY12569" fmla="*/ 6260979 h 7571036"/>
                  <a:gd name="connsiteX12570" fmla="*/ 4624975 w 6994525"/>
                  <a:gd name="connsiteY12570" fmla="*/ 6262215 h 7571036"/>
                  <a:gd name="connsiteX12571" fmla="*/ 4626207 w 6994525"/>
                  <a:gd name="connsiteY12571" fmla="*/ 6260979 h 7571036"/>
                  <a:gd name="connsiteX12572" fmla="*/ 4626211 w 6994525"/>
                  <a:gd name="connsiteY12572" fmla="*/ 1894729 h 7571036"/>
                  <a:gd name="connsiteX12573" fmla="*/ 4578374 w 6994525"/>
                  <a:gd name="connsiteY12573" fmla="*/ 1846910 h 7571036"/>
                  <a:gd name="connsiteX12574" fmla="*/ 4530539 w 6994525"/>
                  <a:gd name="connsiteY12574" fmla="*/ 1894729 h 7571036"/>
                  <a:gd name="connsiteX12575" fmla="*/ 4578374 w 6994525"/>
                  <a:gd name="connsiteY12575" fmla="*/ 1942549 h 7571036"/>
                  <a:gd name="connsiteX12576" fmla="*/ 4626211 w 6994525"/>
                  <a:gd name="connsiteY12576" fmla="*/ 1894729 h 7571036"/>
                  <a:gd name="connsiteX12577" fmla="*/ 4626211 w 6994525"/>
                  <a:gd name="connsiteY12577" fmla="*/ 5668704 h 7571036"/>
                  <a:gd name="connsiteX12578" fmla="*/ 4615853 w 6994525"/>
                  <a:gd name="connsiteY12578" fmla="*/ 5658349 h 7571036"/>
                  <a:gd name="connsiteX12579" fmla="*/ 4605497 w 6994525"/>
                  <a:gd name="connsiteY12579" fmla="*/ 5668704 h 7571036"/>
                  <a:gd name="connsiteX12580" fmla="*/ 4615853 w 6994525"/>
                  <a:gd name="connsiteY12580" fmla="*/ 5679062 h 7571036"/>
                  <a:gd name="connsiteX12581" fmla="*/ 4626211 w 6994525"/>
                  <a:gd name="connsiteY12581" fmla="*/ 5668704 h 7571036"/>
                  <a:gd name="connsiteX12582" fmla="*/ 4627197 w 6994525"/>
                  <a:gd name="connsiteY12582" fmla="*/ 3217777 h 7571036"/>
                  <a:gd name="connsiteX12583" fmla="*/ 4623498 w 6994525"/>
                  <a:gd name="connsiteY12583" fmla="*/ 3214078 h 7571036"/>
                  <a:gd name="connsiteX12584" fmla="*/ 4619799 w 6994525"/>
                  <a:gd name="connsiteY12584" fmla="*/ 3217777 h 7571036"/>
                  <a:gd name="connsiteX12585" fmla="*/ 4623498 w 6994525"/>
                  <a:gd name="connsiteY12585" fmla="*/ 3221477 h 7571036"/>
                  <a:gd name="connsiteX12586" fmla="*/ 4627197 w 6994525"/>
                  <a:gd name="connsiteY12586" fmla="*/ 3217777 h 7571036"/>
                  <a:gd name="connsiteX12587" fmla="*/ 4628429 w 6994525"/>
                  <a:gd name="connsiteY12587" fmla="*/ 1643740 h 7571036"/>
                  <a:gd name="connsiteX12588" fmla="*/ 4589223 w 6994525"/>
                  <a:gd name="connsiteY12588" fmla="*/ 1604531 h 7571036"/>
                  <a:gd name="connsiteX12589" fmla="*/ 4550016 w 6994525"/>
                  <a:gd name="connsiteY12589" fmla="*/ 1643740 h 7571036"/>
                  <a:gd name="connsiteX12590" fmla="*/ 4589223 w 6994525"/>
                  <a:gd name="connsiteY12590" fmla="*/ 1682945 h 7571036"/>
                  <a:gd name="connsiteX12591" fmla="*/ 4628429 w 6994525"/>
                  <a:gd name="connsiteY12591" fmla="*/ 1643740 h 7571036"/>
                  <a:gd name="connsiteX12592" fmla="*/ 4631139 w 6994525"/>
                  <a:gd name="connsiteY12592" fmla="*/ 1768505 h 7571036"/>
                  <a:gd name="connsiteX12593" fmla="*/ 4584537 w 6994525"/>
                  <a:gd name="connsiteY12593" fmla="*/ 1721874 h 7571036"/>
                  <a:gd name="connsiteX12594" fmla="*/ 4537935 w 6994525"/>
                  <a:gd name="connsiteY12594" fmla="*/ 1768505 h 7571036"/>
                  <a:gd name="connsiteX12595" fmla="*/ 4584537 w 6994525"/>
                  <a:gd name="connsiteY12595" fmla="*/ 1815125 h 7571036"/>
                  <a:gd name="connsiteX12596" fmla="*/ 4631139 w 6994525"/>
                  <a:gd name="connsiteY12596" fmla="*/ 1768505 h 7571036"/>
                  <a:gd name="connsiteX12597" fmla="*/ 4636814 w 6994525"/>
                  <a:gd name="connsiteY12597" fmla="*/ 6374650 h 7571036"/>
                  <a:gd name="connsiteX12598" fmla="*/ 4633361 w 6994525"/>
                  <a:gd name="connsiteY12598" fmla="*/ 6371197 h 7571036"/>
                  <a:gd name="connsiteX12599" fmla="*/ 4629909 w 6994525"/>
                  <a:gd name="connsiteY12599" fmla="*/ 6374650 h 7571036"/>
                  <a:gd name="connsiteX12600" fmla="*/ 4633361 w 6994525"/>
                  <a:gd name="connsiteY12600" fmla="*/ 6378101 h 7571036"/>
                  <a:gd name="connsiteX12601" fmla="*/ 4636814 w 6994525"/>
                  <a:gd name="connsiteY12601" fmla="*/ 6374650 h 7571036"/>
                  <a:gd name="connsiteX12602" fmla="*/ 4637306 w 6994525"/>
                  <a:gd name="connsiteY12602" fmla="*/ 6606186 h 7571036"/>
                  <a:gd name="connsiteX12603" fmla="*/ 4634596 w 6994525"/>
                  <a:gd name="connsiteY12603" fmla="*/ 6603473 h 7571036"/>
                  <a:gd name="connsiteX12604" fmla="*/ 4631883 w 6994525"/>
                  <a:gd name="connsiteY12604" fmla="*/ 6606186 h 7571036"/>
                  <a:gd name="connsiteX12605" fmla="*/ 4634596 w 6994525"/>
                  <a:gd name="connsiteY12605" fmla="*/ 6608899 h 7571036"/>
                  <a:gd name="connsiteX12606" fmla="*/ 4637306 w 6994525"/>
                  <a:gd name="connsiteY12606" fmla="*/ 6606186 h 7571036"/>
                  <a:gd name="connsiteX12607" fmla="*/ 4637797 w 6994525"/>
                  <a:gd name="connsiteY12607" fmla="*/ 6490540 h 7571036"/>
                  <a:gd name="connsiteX12608" fmla="*/ 4634344 w 6994525"/>
                  <a:gd name="connsiteY12608" fmla="*/ 6487089 h 7571036"/>
                  <a:gd name="connsiteX12609" fmla="*/ 4630892 w 6994525"/>
                  <a:gd name="connsiteY12609" fmla="*/ 6490540 h 7571036"/>
                  <a:gd name="connsiteX12610" fmla="*/ 4634344 w 6994525"/>
                  <a:gd name="connsiteY12610" fmla="*/ 6493993 h 7571036"/>
                  <a:gd name="connsiteX12611" fmla="*/ 4637797 w 6994525"/>
                  <a:gd name="connsiteY12611" fmla="*/ 6490540 h 7571036"/>
                  <a:gd name="connsiteX12612" fmla="*/ 4639030 w 6994525"/>
                  <a:gd name="connsiteY12612" fmla="*/ 6720843 h 7571036"/>
                  <a:gd name="connsiteX12613" fmla="*/ 4635825 w 6994525"/>
                  <a:gd name="connsiteY12613" fmla="*/ 6717638 h 7571036"/>
                  <a:gd name="connsiteX12614" fmla="*/ 4632620 w 6994525"/>
                  <a:gd name="connsiteY12614" fmla="*/ 6720843 h 7571036"/>
                  <a:gd name="connsiteX12615" fmla="*/ 4635825 w 6994525"/>
                  <a:gd name="connsiteY12615" fmla="*/ 6724048 h 7571036"/>
                  <a:gd name="connsiteX12616" fmla="*/ 4639030 w 6994525"/>
                  <a:gd name="connsiteY12616" fmla="*/ 6720843 h 7571036"/>
                  <a:gd name="connsiteX12617" fmla="*/ 4639524 w 6994525"/>
                  <a:gd name="connsiteY12617" fmla="*/ 4060785 h 7571036"/>
                  <a:gd name="connsiteX12618" fmla="*/ 4619304 w 6994525"/>
                  <a:gd name="connsiteY12618" fmla="*/ 4040565 h 7571036"/>
                  <a:gd name="connsiteX12619" fmla="*/ 4599086 w 6994525"/>
                  <a:gd name="connsiteY12619" fmla="*/ 4060785 h 7571036"/>
                  <a:gd name="connsiteX12620" fmla="*/ 4619304 w 6994525"/>
                  <a:gd name="connsiteY12620" fmla="*/ 4081005 h 7571036"/>
                  <a:gd name="connsiteX12621" fmla="*/ 4639524 w 6994525"/>
                  <a:gd name="connsiteY12621" fmla="*/ 4060785 h 7571036"/>
                  <a:gd name="connsiteX12622" fmla="*/ 4640019 w 6994525"/>
                  <a:gd name="connsiteY12622" fmla="*/ 6835502 h 7571036"/>
                  <a:gd name="connsiteX12623" fmla="*/ 4636566 w 6994525"/>
                  <a:gd name="connsiteY12623" fmla="*/ 6832048 h 7571036"/>
                  <a:gd name="connsiteX12624" fmla="*/ 4633114 w 6994525"/>
                  <a:gd name="connsiteY12624" fmla="*/ 6835502 h 7571036"/>
                  <a:gd name="connsiteX12625" fmla="*/ 4636566 w 6994525"/>
                  <a:gd name="connsiteY12625" fmla="*/ 6838953 h 7571036"/>
                  <a:gd name="connsiteX12626" fmla="*/ 4640019 w 6994525"/>
                  <a:gd name="connsiteY12626" fmla="*/ 6835502 h 7571036"/>
                  <a:gd name="connsiteX12627" fmla="*/ 4642238 w 6994525"/>
                  <a:gd name="connsiteY12627" fmla="*/ 6949663 h 7571036"/>
                  <a:gd name="connsiteX12628" fmla="*/ 4637553 w 6994525"/>
                  <a:gd name="connsiteY12628" fmla="*/ 6944979 h 7571036"/>
                  <a:gd name="connsiteX12629" fmla="*/ 4632866 w 6994525"/>
                  <a:gd name="connsiteY12629" fmla="*/ 6949663 h 7571036"/>
                  <a:gd name="connsiteX12630" fmla="*/ 4637553 w 6994525"/>
                  <a:gd name="connsiteY12630" fmla="*/ 6954348 h 7571036"/>
                  <a:gd name="connsiteX12631" fmla="*/ 4642238 w 6994525"/>
                  <a:gd name="connsiteY12631" fmla="*/ 6949663 h 7571036"/>
                  <a:gd name="connsiteX12632" fmla="*/ 4643225 w 6994525"/>
                  <a:gd name="connsiteY12632" fmla="*/ 2368599 h 7571036"/>
                  <a:gd name="connsiteX12633" fmla="*/ 4637307 w 6994525"/>
                  <a:gd name="connsiteY12633" fmla="*/ 2362678 h 7571036"/>
                  <a:gd name="connsiteX12634" fmla="*/ 4631388 w 6994525"/>
                  <a:gd name="connsiteY12634" fmla="*/ 2368599 h 7571036"/>
                  <a:gd name="connsiteX12635" fmla="*/ 4637307 w 6994525"/>
                  <a:gd name="connsiteY12635" fmla="*/ 2374513 h 7571036"/>
                  <a:gd name="connsiteX12636" fmla="*/ 4643225 w 6994525"/>
                  <a:gd name="connsiteY12636" fmla="*/ 2368599 h 7571036"/>
                  <a:gd name="connsiteX12637" fmla="*/ 4644705 w 6994525"/>
                  <a:gd name="connsiteY12637" fmla="*/ 7063582 h 7571036"/>
                  <a:gd name="connsiteX12638" fmla="*/ 4638538 w 6994525"/>
                  <a:gd name="connsiteY12638" fmla="*/ 7057418 h 7571036"/>
                  <a:gd name="connsiteX12639" fmla="*/ 4632374 w 6994525"/>
                  <a:gd name="connsiteY12639" fmla="*/ 7063582 h 7571036"/>
                  <a:gd name="connsiteX12640" fmla="*/ 4638538 w 6994525"/>
                  <a:gd name="connsiteY12640" fmla="*/ 7069748 h 7571036"/>
                  <a:gd name="connsiteX12641" fmla="*/ 4644705 w 6994525"/>
                  <a:gd name="connsiteY12641" fmla="*/ 7063582 h 7571036"/>
                  <a:gd name="connsiteX12642" fmla="*/ 4646923 w 6994525"/>
                  <a:gd name="connsiteY12642" fmla="*/ 3678347 h 7571036"/>
                  <a:gd name="connsiteX12643" fmla="*/ 4635333 w 6994525"/>
                  <a:gd name="connsiteY12643" fmla="*/ 3666757 h 7571036"/>
                  <a:gd name="connsiteX12644" fmla="*/ 4623743 w 6994525"/>
                  <a:gd name="connsiteY12644" fmla="*/ 3678347 h 7571036"/>
                  <a:gd name="connsiteX12645" fmla="*/ 4635333 w 6994525"/>
                  <a:gd name="connsiteY12645" fmla="*/ 3689937 h 7571036"/>
                  <a:gd name="connsiteX12646" fmla="*/ 4646923 w 6994525"/>
                  <a:gd name="connsiteY12646" fmla="*/ 3678347 h 7571036"/>
                  <a:gd name="connsiteX12647" fmla="*/ 4648893 w 6994525"/>
                  <a:gd name="connsiteY12647" fmla="*/ 7288707 h 7571036"/>
                  <a:gd name="connsiteX12648" fmla="*/ 4644702 w 6994525"/>
                  <a:gd name="connsiteY12648" fmla="*/ 7284516 h 7571036"/>
                  <a:gd name="connsiteX12649" fmla="*/ 4640511 w 6994525"/>
                  <a:gd name="connsiteY12649" fmla="*/ 7288707 h 7571036"/>
                  <a:gd name="connsiteX12650" fmla="*/ 4644702 w 6994525"/>
                  <a:gd name="connsiteY12650" fmla="*/ 7292898 h 7571036"/>
                  <a:gd name="connsiteX12651" fmla="*/ 4648893 w 6994525"/>
                  <a:gd name="connsiteY12651" fmla="*/ 7288707 h 7571036"/>
                  <a:gd name="connsiteX12652" fmla="*/ 4649387 w 6994525"/>
                  <a:gd name="connsiteY12652" fmla="*/ 3331935 h 7571036"/>
                  <a:gd name="connsiteX12653" fmla="*/ 4643718 w 6994525"/>
                  <a:gd name="connsiteY12653" fmla="*/ 3326266 h 7571036"/>
                  <a:gd name="connsiteX12654" fmla="*/ 4638046 w 6994525"/>
                  <a:gd name="connsiteY12654" fmla="*/ 3331935 h 7571036"/>
                  <a:gd name="connsiteX12655" fmla="*/ 4643718 w 6994525"/>
                  <a:gd name="connsiteY12655" fmla="*/ 3337609 h 7571036"/>
                  <a:gd name="connsiteX12656" fmla="*/ 4649387 w 6994525"/>
                  <a:gd name="connsiteY12656" fmla="*/ 3331935 h 7571036"/>
                  <a:gd name="connsiteX12657" fmla="*/ 4650865 w 6994525"/>
                  <a:gd name="connsiteY12657" fmla="*/ 7401638 h 7571036"/>
                  <a:gd name="connsiteX12658" fmla="*/ 4645196 w 6994525"/>
                  <a:gd name="connsiteY12658" fmla="*/ 7395965 h 7571036"/>
                  <a:gd name="connsiteX12659" fmla="*/ 4639524 w 6994525"/>
                  <a:gd name="connsiteY12659" fmla="*/ 7401638 h 7571036"/>
                  <a:gd name="connsiteX12660" fmla="*/ 4645196 w 6994525"/>
                  <a:gd name="connsiteY12660" fmla="*/ 7407310 h 7571036"/>
                  <a:gd name="connsiteX12661" fmla="*/ 4650865 w 6994525"/>
                  <a:gd name="connsiteY12661" fmla="*/ 7401638 h 7571036"/>
                  <a:gd name="connsiteX12662" fmla="*/ 4651609 w 6994525"/>
                  <a:gd name="connsiteY12662" fmla="*/ 7175282 h 7571036"/>
                  <a:gd name="connsiteX12663" fmla="*/ 4644456 w 6994525"/>
                  <a:gd name="connsiteY12663" fmla="*/ 7168132 h 7571036"/>
                  <a:gd name="connsiteX12664" fmla="*/ 4637306 w 6994525"/>
                  <a:gd name="connsiteY12664" fmla="*/ 7175282 h 7571036"/>
                  <a:gd name="connsiteX12665" fmla="*/ 4644456 w 6994525"/>
                  <a:gd name="connsiteY12665" fmla="*/ 7182432 h 7571036"/>
                  <a:gd name="connsiteX12666" fmla="*/ 4651609 w 6994525"/>
                  <a:gd name="connsiteY12666" fmla="*/ 7175282 h 7571036"/>
                  <a:gd name="connsiteX12667" fmla="*/ 4659253 w 6994525"/>
                  <a:gd name="connsiteY12667" fmla="*/ 3563195 h 7571036"/>
                  <a:gd name="connsiteX12668" fmla="*/ 4649636 w 6994525"/>
                  <a:gd name="connsiteY12668" fmla="*/ 3553578 h 7571036"/>
                  <a:gd name="connsiteX12669" fmla="*/ 4640018 w 6994525"/>
                  <a:gd name="connsiteY12669" fmla="*/ 3563195 h 7571036"/>
                  <a:gd name="connsiteX12670" fmla="*/ 4649636 w 6994525"/>
                  <a:gd name="connsiteY12670" fmla="*/ 3572810 h 7571036"/>
                  <a:gd name="connsiteX12671" fmla="*/ 4659253 w 6994525"/>
                  <a:gd name="connsiteY12671" fmla="*/ 3563195 h 7571036"/>
                  <a:gd name="connsiteX12672" fmla="*/ 4659746 w 6994525"/>
                  <a:gd name="connsiteY12672" fmla="*/ 2943591 h 7571036"/>
                  <a:gd name="connsiteX12673" fmla="*/ 4643470 w 6994525"/>
                  <a:gd name="connsiteY12673" fmla="*/ 2927315 h 7571036"/>
                  <a:gd name="connsiteX12674" fmla="*/ 4627197 w 6994525"/>
                  <a:gd name="connsiteY12674" fmla="*/ 2943591 h 7571036"/>
                  <a:gd name="connsiteX12675" fmla="*/ 4643470 w 6994525"/>
                  <a:gd name="connsiteY12675" fmla="*/ 2959864 h 7571036"/>
                  <a:gd name="connsiteX12676" fmla="*/ 4659746 w 6994525"/>
                  <a:gd name="connsiteY12676" fmla="*/ 2943591 h 7571036"/>
                  <a:gd name="connsiteX12677" fmla="*/ 4659991 w 6994525"/>
                  <a:gd name="connsiteY12677" fmla="*/ 3447336 h 7571036"/>
                  <a:gd name="connsiteX12678" fmla="*/ 4652347 w 6994525"/>
                  <a:gd name="connsiteY12678" fmla="*/ 3439692 h 7571036"/>
                  <a:gd name="connsiteX12679" fmla="*/ 4644702 w 6994525"/>
                  <a:gd name="connsiteY12679" fmla="*/ 3447336 h 7571036"/>
                  <a:gd name="connsiteX12680" fmla="*/ 4652347 w 6994525"/>
                  <a:gd name="connsiteY12680" fmla="*/ 3454981 h 7571036"/>
                  <a:gd name="connsiteX12681" fmla="*/ 4659991 w 6994525"/>
                  <a:gd name="connsiteY12681" fmla="*/ 3447336 h 7571036"/>
                  <a:gd name="connsiteX12682" fmla="*/ 4665171 w 6994525"/>
                  <a:gd name="connsiteY12682" fmla="*/ 577659 h 7571036"/>
                  <a:gd name="connsiteX12683" fmla="*/ 4625224 w 6994525"/>
                  <a:gd name="connsiteY12683" fmla="*/ 537962 h 7571036"/>
                  <a:gd name="connsiteX12684" fmla="*/ 4585526 w 6994525"/>
                  <a:gd name="connsiteY12684" fmla="*/ 577659 h 7571036"/>
                  <a:gd name="connsiteX12685" fmla="*/ 4625224 w 6994525"/>
                  <a:gd name="connsiteY12685" fmla="*/ 617357 h 7571036"/>
                  <a:gd name="connsiteX12686" fmla="*/ 4665171 w 6994525"/>
                  <a:gd name="connsiteY12686" fmla="*/ 577659 h 7571036"/>
                  <a:gd name="connsiteX12687" fmla="*/ 4665414 w 6994525"/>
                  <a:gd name="connsiteY12687" fmla="*/ 461792 h 7571036"/>
                  <a:gd name="connsiteX12688" fmla="*/ 4625962 w 6994525"/>
                  <a:gd name="connsiteY12688" fmla="*/ 422342 h 7571036"/>
                  <a:gd name="connsiteX12689" fmla="*/ 4586264 w 6994525"/>
                  <a:gd name="connsiteY12689" fmla="*/ 461792 h 7571036"/>
                  <a:gd name="connsiteX12690" fmla="*/ 4625962 w 6994525"/>
                  <a:gd name="connsiteY12690" fmla="*/ 501243 h 7571036"/>
                  <a:gd name="connsiteX12691" fmla="*/ 4665414 w 6994525"/>
                  <a:gd name="connsiteY12691" fmla="*/ 461792 h 7571036"/>
                  <a:gd name="connsiteX12692" fmla="*/ 4666400 w 6994525"/>
                  <a:gd name="connsiteY12692" fmla="*/ 2525 h 7571036"/>
                  <a:gd name="connsiteX12693" fmla="*/ 4665350 w 6994525"/>
                  <a:gd name="connsiteY12693" fmla="*/ 0 h 7571036"/>
                  <a:gd name="connsiteX12694" fmla="*/ 4590027 w 6994525"/>
                  <a:gd name="connsiteY12694" fmla="*/ 0 h 7571036"/>
                  <a:gd name="connsiteX12695" fmla="*/ 4588976 w 6994525"/>
                  <a:gd name="connsiteY12695" fmla="*/ 2525 h 7571036"/>
                  <a:gd name="connsiteX12696" fmla="*/ 4627688 w 6994525"/>
                  <a:gd name="connsiteY12696" fmla="*/ 41235 h 7571036"/>
                  <a:gd name="connsiteX12697" fmla="*/ 4666400 w 6994525"/>
                  <a:gd name="connsiteY12697" fmla="*/ 2525 h 7571036"/>
                  <a:gd name="connsiteX12698" fmla="*/ 4666400 w 6994525"/>
                  <a:gd name="connsiteY12698" fmla="*/ 116908 h 7571036"/>
                  <a:gd name="connsiteX12699" fmla="*/ 4627688 w 6994525"/>
                  <a:gd name="connsiteY12699" fmla="*/ 78197 h 7571036"/>
                  <a:gd name="connsiteX12700" fmla="*/ 4588976 w 6994525"/>
                  <a:gd name="connsiteY12700" fmla="*/ 116908 h 7571036"/>
                  <a:gd name="connsiteX12701" fmla="*/ 4627688 w 6994525"/>
                  <a:gd name="connsiteY12701" fmla="*/ 155621 h 7571036"/>
                  <a:gd name="connsiteX12702" fmla="*/ 4666400 w 6994525"/>
                  <a:gd name="connsiteY12702" fmla="*/ 116908 h 7571036"/>
                  <a:gd name="connsiteX12703" fmla="*/ 4666403 w 6994525"/>
                  <a:gd name="connsiteY12703" fmla="*/ 231293 h 7571036"/>
                  <a:gd name="connsiteX12704" fmla="*/ 4627197 w 6994525"/>
                  <a:gd name="connsiteY12704" fmla="*/ 192088 h 7571036"/>
                  <a:gd name="connsiteX12705" fmla="*/ 4587990 w 6994525"/>
                  <a:gd name="connsiteY12705" fmla="*/ 231293 h 7571036"/>
                  <a:gd name="connsiteX12706" fmla="*/ 4627197 w 6994525"/>
                  <a:gd name="connsiteY12706" fmla="*/ 270498 h 7571036"/>
                  <a:gd name="connsiteX12707" fmla="*/ 4666403 w 6994525"/>
                  <a:gd name="connsiteY12707" fmla="*/ 231293 h 7571036"/>
                  <a:gd name="connsiteX12708" fmla="*/ 4668374 w 6994525"/>
                  <a:gd name="connsiteY12708" fmla="*/ 346419 h 7571036"/>
                  <a:gd name="connsiteX12709" fmla="*/ 4626951 w 6994525"/>
                  <a:gd name="connsiteY12709" fmla="*/ 304997 h 7571036"/>
                  <a:gd name="connsiteX12710" fmla="*/ 4585526 w 6994525"/>
                  <a:gd name="connsiteY12710" fmla="*/ 346419 h 7571036"/>
                  <a:gd name="connsiteX12711" fmla="*/ 4626951 w 6994525"/>
                  <a:gd name="connsiteY12711" fmla="*/ 387841 h 7571036"/>
                  <a:gd name="connsiteX12712" fmla="*/ 4668374 w 6994525"/>
                  <a:gd name="connsiteY12712" fmla="*/ 346419 h 7571036"/>
                  <a:gd name="connsiteX12713" fmla="*/ 4668376 w 6994525"/>
                  <a:gd name="connsiteY12713" fmla="*/ 4441003 h 7571036"/>
                  <a:gd name="connsiteX12714" fmla="*/ 4623005 w 6994525"/>
                  <a:gd name="connsiteY12714" fmla="*/ 4395632 h 7571036"/>
                  <a:gd name="connsiteX12715" fmla="*/ 4577881 w 6994525"/>
                  <a:gd name="connsiteY12715" fmla="*/ 4441003 h 7571036"/>
                  <a:gd name="connsiteX12716" fmla="*/ 4623005 w 6994525"/>
                  <a:gd name="connsiteY12716" fmla="*/ 4486372 h 7571036"/>
                  <a:gd name="connsiteX12717" fmla="*/ 4668376 w 6994525"/>
                  <a:gd name="connsiteY12717" fmla="*/ 4441003 h 7571036"/>
                  <a:gd name="connsiteX12718" fmla="*/ 4672812 w 6994525"/>
                  <a:gd name="connsiteY12718" fmla="*/ 2230774 h 7571036"/>
                  <a:gd name="connsiteX12719" fmla="*/ 4651363 w 6994525"/>
                  <a:gd name="connsiteY12719" fmla="*/ 2209317 h 7571036"/>
                  <a:gd name="connsiteX12720" fmla="*/ 4629909 w 6994525"/>
                  <a:gd name="connsiteY12720" fmla="*/ 2230774 h 7571036"/>
                  <a:gd name="connsiteX12721" fmla="*/ 4651363 w 6994525"/>
                  <a:gd name="connsiteY12721" fmla="*/ 2252225 h 7571036"/>
                  <a:gd name="connsiteX12722" fmla="*/ 4672812 w 6994525"/>
                  <a:gd name="connsiteY12722" fmla="*/ 2230774 h 7571036"/>
                  <a:gd name="connsiteX12723" fmla="*/ 4678484 w 6994525"/>
                  <a:gd name="connsiteY12723" fmla="*/ 2095898 h 7571036"/>
                  <a:gd name="connsiteX12724" fmla="*/ 4662703 w 6994525"/>
                  <a:gd name="connsiteY12724" fmla="*/ 2080115 h 7571036"/>
                  <a:gd name="connsiteX12725" fmla="*/ 4646923 w 6994525"/>
                  <a:gd name="connsiteY12725" fmla="*/ 2095898 h 7571036"/>
                  <a:gd name="connsiteX12726" fmla="*/ 4662703 w 6994525"/>
                  <a:gd name="connsiteY12726" fmla="*/ 2111681 h 7571036"/>
                  <a:gd name="connsiteX12727" fmla="*/ 4678484 w 6994525"/>
                  <a:gd name="connsiteY12727" fmla="*/ 2095898 h 7571036"/>
                  <a:gd name="connsiteX12728" fmla="*/ 4681444 w 6994525"/>
                  <a:gd name="connsiteY12728" fmla="*/ 4214401 h 7571036"/>
                  <a:gd name="connsiteX12729" fmla="*/ 4655800 w 6994525"/>
                  <a:gd name="connsiteY12729" fmla="*/ 4188757 h 7571036"/>
                  <a:gd name="connsiteX12730" fmla="*/ 4630156 w 6994525"/>
                  <a:gd name="connsiteY12730" fmla="*/ 4214401 h 7571036"/>
                  <a:gd name="connsiteX12731" fmla="*/ 4655800 w 6994525"/>
                  <a:gd name="connsiteY12731" fmla="*/ 4240045 h 7571036"/>
                  <a:gd name="connsiteX12732" fmla="*/ 4681444 w 6994525"/>
                  <a:gd name="connsiteY12732" fmla="*/ 4214401 h 7571036"/>
                  <a:gd name="connsiteX12733" fmla="*/ 4688349 w 6994525"/>
                  <a:gd name="connsiteY12733" fmla="*/ 2786527 h 7571036"/>
                  <a:gd name="connsiteX12734" fmla="*/ 4683663 w 6994525"/>
                  <a:gd name="connsiteY12734" fmla="*/ 2781842 h 7571036"/>
                  <a:gd name="connsiteX12735" fmla="*/ 4678977 w 6994525"/>
                  <a:gd name="connsiteY12735" fmla="*/ 2786527 h 7571036"/>
                  <a:gd name="connsiteX12736" fmla="*/ 4683663 w 6994525"/>
                  <a:gd name="connsiteY12736" fmla="*/ 2791214 h 7571036"/>
                  <a:gd name="connsiteX12737" fmla="*/ 4688349 w 6994525"/>
                  <a:gd name="connsiteY12737" fmla="*/ 2786527 h 7571036"/>
                  <a:gd name="connsiteX12738" fmla="*/ 4688839 w 6994525"/>
                  <a:gd name="connsiteY12738" fmla="*/ 3955741 h 7571036"/>
                  <a:gd name="connsiteX12739" fmla="*/ 4667881 w 6994525"/>
                  <a:gd name="connsiteY12739" fmla="*/ 3934783 h 7571036"/>
                  <a:gd name="connsiteX12740" fmla="*/ 4646923 w 6994525"/>
                  <a:gd name="connsiteY12740" fmla="*/ 3955741 h 7571036"/>
                  <a:gd name="connsiteX12741" fmla="*/ 4667881 w 6994525"/>
                  <a:gd name="connsiteY12741" fmla="*/ 3976699 h 7571036"/>
                  <a:gd name="connsiteX12742" fmla="*/ 4688839 w 6994525"/>
                  <a:gd name="connsiteY12742" fmla="*/ 3955741 h 7571036"/>
                  <a:gd name="connsiteX12743" fmla="*/ 4689085 w 6994525"/>
                  <a:gd name="connsiteY12743" fmla="*/ 4582784 h 7571036"/>
                  <a:gd name="connsiteX12744" fmla="*/ 4641006 w 6994525"/>
                  <a:gd name="connsiteY12744" fmla="*/ 4534701 h 7571036"/>
                  <a:gd name="connsiteX12745" fmla="*/ 4592922 w 6994525"/>
                  <a:gd name="connsiteY12745" fmla="*/ 4582784 h 7571036"/>
                  <a:gd name="connsiteX12746" fmla="*/ 4641006 w 6994525"/>
                  <a:gd name="connsiteY12746" fmla="*/ 4630867 h 7571036"/>
                  <a:gd name="connsiteX12747" fmla="*/ 4689085 w 6994525"/>
                  <a:gd name="connsiteY12747" fmla="*/ 4582784 h 7571036"/>
                  <a:gd name="connsiteX12748" fmla="*/ 4695743 w 6994525"/>
                  <a:gd name="connsiteY12748" fmla="*/ 2601599 h 7571036"/>
                  <a:gd name="connsiteX12749" fmla="*/ 4692290 w 6994525"/>
                  <a:gd name="connsiteY12749" fmla="*/ 2598148 h 7571036"/>
                  <a:gd name="connsiteX12750" fmla="*/ 4688839 w 6994525"/>
                  <a:gd name="connsiteY12750" fmla="*/ 2601599 h 7571036"/>
                  <a:gd name="connsiteX12751" fmla="*/ 4692290 w 6994525"/>
                  <a:gd name="connsiteY12751" fmla="*/ 2605053 h 7571036"/>
                  <a:gd name="connsiteX12752" fmla="*/ 4695743 w 6994525"/>
                  <a:gd name="connsiteY12752" fmla="*/ 2601599 h 7571036"/>
                  <a:gd name="connsiteX12753" fmla="*/ 4696978 w 6994525"/>
                  <a:gd name="connsiteY12753" fmla="*/ 5243608 h 7571036"/>
                  <a:gd name="connsiteX12754" fmla="*/ 4695006 w 6994525"/>
                  <a:gd name="connsiteY12754" fmla="*/ 5241634 h 7571036"/>
                  <a:gd name="connsiteX12755" fmla="*/ 4693034 w 6994525"/>
                  <a:gd name="connsiteY12755" fmla="*/ 5243608 h 7571036"/>
                  <a:gd name="connsiteX12756" fmla="*/ 4695006 w 6994525"/>
                  <a:gd name="connsiteY12756" fmla="*/ 5245580 h 7571036"/>
                  <a:gd name="connsiteX12757" fmla="*/ 4696978 w 6994525"/>
                  <a:gd name="connsiteY12757" fmla="*/ 5243608 h 7571036"/>
                  <a:gd name="connsiteX12758" fmla="*/ 4698456 w 6994525"/>
                  <a:gd name="connsiteY12758" fmla="*/ 1555226 h 7571036"/>
                  <a:gd name="connsiteX12759" fmla="*/ 4652100 w 6994525"/>
                  <a:gd name="connsiteY12759" fmla="*/ 1508871 h 7571036"/>
                  <a:gd name="connsiteX12760" fmla="*/ 4605744 w 6994525"/>
                  <a:gd name="connsiteY12760" fmla="*/ 1555226 h 7571036"/>
                  <a:gd name="connsiteX12761" fmla="*/ 4652100 w 6994525"/>
                  <a:gd name="connsiteY12761" fmla="*/ 1601583 h 7571036"/>
                  <a:gd name="connsiteX12762" fmla="*/ 4698456 w 6994525"/>
                  <a:gd name="connsiteY12762" fmla="*/ 1555226 h 7571036"/>
                  <a:gd name="connsiteX12763" fmla="*/ 4701171 w 6994525"/>
                  <a:gd name="connsiteY12763" fmla="*/ 4854509 h 7571036"/>
                  <a:gd name="connsiteX12764" fmla="*/ 4668374 w 6994525"/>
                  <a:gd name="connsiteY12764" fmla="*/ 4821715 h 7571036"/>
                  <a:gd name="connsiteX12765" fmla="*/ 4635579 w 6994525"/>
                  <a:gd name="connsiteY12765" fmla="*/ 4854509 h 7571036"/>
                  <a:gd name="connsiteX12766" fmla="*/ 4668374 w 6994525"/>
                  <a:gd name="connsiteY12766" fmla="*/ 4887306 h 7571036"/>
                  <a:gd name="connsiteX12767" fmla="*/ 4701171 w 6994525"/>
                  <a:gd name="connsiteY12767" fmla="*/ 4854509 h 7571036"/>
                  <a:gd name="connsiteX12768" fmla="*/ 4702153 w 6994525"/>
                  <a:gd name="connsiteY12768" fmla="*/ 1431708 h 7571036"/>
                  <a:gd name="connsiteX12769" fmla="*/ 4656046 w 6994525"/>
                  <a:gd name="connsiteY12769" fmla="*/ 1385599 h 7571036"/>
                  <a:gd name="connsiteX12770" fmla="*/ 4609935 w 6994525"/>
                  <a:gd name="connsiteY12770" fmla="*/ 1431708 h 7571036"/>
                  <a:gd name="connsiteX12771" fmla="*/ 4656046 w 6994525"/>
                  <a:gd name="connsiteY12771" fmla="*/ 1477569 h 7571036"/>
                  <a:gd name="connsiteX12772" fmla="*/ 4702153 w 6994525"/>
                  <a:gd name="connsiteY12772" fmla="*/ 1431708 h 7571036"/>
                  <a:gd name="connsiteX12773" fmla="*/ 4702156 w 6994525"/>
                  <a:gd name="connsiteY12773" fmla="*/ 4720129 h 7571036"/>
                  <a:gd name="connsiteX12774" fmla="*/ 4656048 w 6994525"/>
                  <a:gd name="connsiteY12774" fmla="*/ 4674264 h 7571036"/>
                  <a:gd name="connsiteX12775" fmla="*/ 4610184 w 6994525"/>
                  <a:gd name="connsiteY12775" fmla="*/ 4720129 h 7571036"/>
                  <a:gd name="connsiteX12776" fmla="*/ 4656048 w 6994525"/>
                  <a:gd name="connsiteY12776" fmla="*/ 4766236 h 7571036"/>
                  <a:gd name="connsiteX12777" fmla="*/ 4702156 w 6994525"/>
                  <a:gd name="connsiteY12777" fmla="*/ 4720129 h 7571036"/>
                  <a:gd name="connsiteX12778" fmla="*/ 4702896 w 6994525"/>
                  <a:gd name="connsiteY12778" fmla="*/ 1309671 h 7571036"/>
                  <a:gd name="connsiteX12779" fmla="*/ 4659745 w 6994525"/>
                  <a:gd name="connsiteY12779" fmla="*/ 1266513 h 7571036"/>
                  <a:gd name="connsiteX12780" fmla="*/ 4616593 w 6994525"/>
                  <a:gd name="connsiteY12780" fmla="*/ 1309671 h 7571036"/>
                  <a:gd name="connsiteX12781" fmla="*/ 4659745 w 6994525"/>
                  <a:gd name="connsiteY12781" fmla="*/ 1352821 h 7571036"/>
                  <a:gd name="connsiteX12782" fmla="*/ 4702896 w 6994525"/>
                  <a:gd name="connsiteY12782" fmla="*/ 1309671 h 7571036"/>
                  <a:gd name="connsiteX12783" fmla="*/ 4706100 w 6994525"/>
                  <a:gd name="connsiteY12783" fmla="*/ 3050605 h 7571036"/>
                  <a:gd name="connsiteX12784" fmla="*/ 4687361 w 6994525"/>
                  <a:gd name="connsiteY12784" fmla="*/ 3031865 h 7571036"/>
                  <a:gd name="connsiteX12785" fmla="*/ 4668621 w 6994525"/>
                  <a:gd name="connsiteY12785" fmla="*/ 3050605 h 7571036"/>
                  <a:gd name="connsiteX12786" fmla="*/ 4687361 w 6994525"/>
                  <a:gd name="connsiteY12786" fmla="*/ 3069345 h 7571036"/>
                  <a:gd name="connsiteX12787" fmla="*/ 4706100 w 6994525"/>
                  <a:gd name="connsiteY12787" fmla="*/ 3050605 h 7571036"/>
                  <a:gd name="connsiteX12788" fmla="*/ 4706101 w 6994525"/>
                  <a:gd name="connsiteY12788" fmla="*/ 4985936 h 7571036"/>
                  <a:gd name="connsiteX12789" fmla="*/ 4679222 w 6994525"/>
                  <a:gd name="connsiteY12789" fmla="*/ 4959059 h 7571036"/>
                  <a:gd name="connsiteX12790" fmla="*/ 4652346 w 6994525"/>
                  <a:gd name="connsiteY12790" fmla="*/ 4985936 h 7571036"/>
                  <a:gd name="connsiteX12791" fmla="*/ 4679222 w 6994525"/>
                  <a:gd name="connsiteY12791" fmla="*/ 5012812 h 7571036"/>
                  <a:gd name="connsiteX12792" fmla="*/ 4706101 w 6994525"/>
                  <a:gd name="connsiteY12792" fmla="*/ 4985936 h 7571036"/>
                  <a:gd name="connsiteX12793" fmla="*/ 4706347 w 6994525"/>
                  <a:gd name="connsiteY12793" fmla="*/ 5116128 h 7571036"/>
                  <a:gd name="connsiteX12794" fmla="*/ 4687362 w 6994525"/>
                  <a:gd name="connsiteY12794" fmla="*/ 5097142 h 7571036"/>
                  <a:gd name="connsiteX12795" fmla="*/ 4668376 w 6994525"/>
                  <a:gd name="connsiteY12795" fmla="*/ 5116128 h 7571036"/>
                  <a:gd name="connsiteX12796" fmla="*/ 4687362 w 6994525"/>
                  <a:gd name="connsiteY12796" fmla="*/ 5135117 h 7571036"/>
                  <a:gd name="connsiteX12797" fmla="*/ 4706347 w 6994525"/>
                  <a:gd name="connsiteY12797" fmla="*/ 5116128 h 7571036"/>
                  <a:gd name="connsiteX12798" fmla="*/ 4707334 w 6994525"/>
                  <a:gd name="connsiteY12798" fmla="*/ 1188866 h 7571036"/>
                  <a:gd name="connsiteX12799" fmla="*/ 4662950 w 6994525"/>
                  <a:gd name="connsiteY12799" fmla="*/ 1144477 h 7571036"/>
                  <a:gd name="connsiteX12800" fmla="*/ 4618566 w 6994525"/>
                  <a:gd name="connsiteY12800" fmla="*/ 1188866 h 7571036"/>
                  <a:gd name="connsiteX12801" fmla="*/ 4662950 w 6994525"/>
                  <a:gd name="connsiteY12801" fmla="*/ 1233252 h 7571036"/>
                  <a:gd name="connsiteX12802" fmla="*/ 4707334 w 6994525"/>
                  <a:gd name="connsiteY12802" fmla="*/ 1188866 h 7571036"/>
                  <a:gd name="connsiteX12803" fmla="*/ 4708320 w 6994525"/>
                  <a:gd name="connsiteY12803" fmla="*/ 1069047 h 7571036"/>
                  <a:gd name="connsiteX12804" fmla="*/ 4665909 w 6994525"/>
                  <a:gd name="connsiteY12804" fmla="*/ 1026636 h 7571036"/>
                  <a:gd name="connsiteX12805" fmla="*/ 4623497 w 6994525"/>
                  <a:gd name="connsiteY12805" fmla="*/ 1069047 h 7571036"/>
                  <a:gd name="connsiteX12806" fmla="*/ 4665909 w 6994525"/>
                  <a:gd name="connsiteY12806" fmla="*/ 1111456 h 7571036"/>
                  <a:gd name="connsiteX12807" fmla="*/ 4708320 w 6994525"/>
                  <a:gd name="connsiteY12807" fmla="*/ 1069047 h 7571036"/>
                  <a:gd name="connsiteX12808" fmla="*/ 4713251 w 6994525"/>
                  <a:gd name="connsiteY12808" fmla="*/ 949970 h 7571036"/>
                  <a:gd name="connsiteX12809" fmla="*/ 4668129 w 6994525"/>
                  <a:gd name="connsiteY12809" fmla="*/ 904835 h 7571036"/>
                  <a:gd name="connsiteX12810" fmla="*/ 4623005 w 6994525"/>
                  <a:gd name="connsiteY12810" fmla="*/ 949970 h 7571036"/>
                  <a:gd name="connsiteX12811" fmla="*/ 4668129 w 6994525"/>
                  <a:gd name="connsiteY12811" fmla="*/ 995095 h 7571036"/>
                  <a:gd name="connsiteX12812" fmla="*/ 4713251 w 6994525"/>
                  <a:gd name="connsiteY12812" fmla="*/ 949970 h 7571036"/>
                  <a:gd name="connsiteX12813" fmla="*/ 4713745 w 6994525"/>
                  <a:gd name="connsiteY12813" fmla="*/ 831388 h 7571036"/>
                  <a:gd name="connsiteX12814" fmla="*/ 4669608 w 6994525"/>
                  <a:gd name="connsiteY12814" fmla="*/ 787001 h 7571036"/>
                  <a:gd name="connsiteX12815" fmla="*/ 4625224 w 6994525"/>
                  <a:gd name="connsiteY12815" fmla="*/ 831388 h 7571036"/>
                  <a:gd name="connsiteX12816" fmla="*/ 4669608 w 6994525"/>
                  <a:gd name="connsiteY12816" fmla="*/ 875515 h 7571036"/>
                  <a:gd name="connsiteX12817" fmla="*/ 4713745 w 6994525"/>
                  <a:gd name="connsiteY12817" fmla="*/ 831388 h 7571036"/>
                  <a:gd name="connsiteX12818" fmla="*/ 4715224 w 6994525"/>
                  <a:gd name="connsiteY12818" fmla="*/ 1963503 h 7571036"/>
                  <a:gd name="connsiteX12819" fmla="*/ 4672072 w 6994525"/>
                  <a:gd name="connsiteY12819" fmla="*/ 1920367 h 7571036"/>
                  <a:gd name="connsiteX12820" fmla="*/ 4628921 w 6994525"/>
                  <a:gd name="connsiteY12820" fmla="*/ 1963503 h 7571036"/>
                  <a:gd name="connsiteX12821" fmla="*/ 4672072 w 6994525"/>
                  <a:gd name="connsiteY12821" fmla="*/ 2006640 h 7571036"/>
                  <a:gd name="connsiteX12822" fmla="*/ 4715224 w 6994525"/>
                  <a:gd name="connsiteY12822" fmla="*/ 1963503 h 7571036"/>
                  <a:gd name="connsiteX12823" fmla="*/ 4715470 w 6994525"/>
                  <a:gd name="connsiteY12823" fmla="*/ 713788 h 7571036"/>
                  <a:gd name="connsiteX12824" fmla="*/ 4671581 w 6994525"/>
                  <a:gd name="connsiteY12824" fmla="*/ 669902 h 7571036"/>
                  <a:gd name="connsiteX12825" fmla="*/ 4627688 w 6994525"/>
                  <a:gd name="connsiteY12825" fmla="*/ 713788 h 7571036"/>
                  <a:gd name="connsiteX12826" fmla="*/ 4671581 w 6994525"/>
                  <a:gd name="connsiteY12826" fmla="*/ 757681 h 7571036"/>
                  <a:gd name="connsiteX12827" fmla="*/ 4715470 w 6994525"/>
                  <a:gd name="connsiteY12827" fmla="*/ 713788 h 7571036"/>
                  <a:gd name="connsiteX12828" fmla="*/ 4715718 w 6994525"/>
                  <a:gd name="connsiteY12828" fmla="*/ 5363936 h 7571036"/>
                  <a:gd name="connsiteX12829" fmla="*/ 4709552 w 6994525"/>
                  <a:gd name="connsiteY12829" fmla="*/ 5357772 h 7571036"/>
                  <a:gd name="connsiteX12830" fmla="*/ 4703387 w 6994525"/>
                  <a:gd name="connsiteY12830" fmla="*/ 5363936 h 7571036"/>
                  <a:gd name="connsiteX12831" fmla="*/ 4709552 w 6994525"/>
                  <a:gd name="connsiteY12831" fmla="*/ 5370102 h 7571036"/>
                  <a:gd name="connsiteX12832" fmla="*/ 4715718 w 6994525"/>
                  <a:gd name="connsiteY12832" fmla="*/ 5363936 h 7571036"/>
                  <a:gd name="connsiteX12833" fmla="*/ 4716456 w 6994525"/>
                  <a:gd name="connsiteY12833" fmla="*/ 5488951 h 7571036"/>
                  <a:gd name="connsiteX12834" fmla="*/ 4714482 w 6994525"/>
                  <a:gd name="connsiteY12834" fmla="*/ 5486978 h 7571036"/>
                  <a:gd name="connsiteX12835" fmla="*/ 4712511 w 6994525"/>
                  <a:gd name="connsiteY12835" fmla="*/ 5488951 h 7571036"/>
                  <a:gd name="connsiteX12836" fmla="*/ 4714482 w 6994525"/>
                  <a:gd name="connsiteY12836" fmla="*/ 5490923 h 7571036"/>
                  <a:gd name="connsiteX12837" fmla="*/ 4716456 w 6994525"/>
                  <a:gd name="connsiteY12837" fmla="*/ 5488951 h 7571036"/>
                  <a:gd name="connsiteX12838" fmla="*/ 4721143 w 6994525"/>
                  <a:gd name="connsiteY12838" fmla="*/ 2455143 h 7571036"/>
                  <a:gd name="connsiteX12839" fmla="*/ 4715224 w 6994525"/>
                  <a:gd name="connsiteY12839" fmla="*/ 2449226 h 7571036"/>
                  <a:gd name="connsiteX12840" fmla="*/ 4709306 w 6994525"/>
                  <a:gd name="connsiteY12840" fmla="*/ 2455143 h 7571036"/>
                  <a:gd name="connsiteX12841" fmla="*/ 4715224 w 6994525"/>
                  <a:gd name="connsiteY12841" fmla="*/ 2461061 h 7571036"/>
                  <a:gd name="connsiteX12842" fmla="*/ 4721143 w 6994525"/>
                  <a:gd name="connsiteY12842" fmla="*/ 2455143 h 7571036"/>
                  <a:gd name="connsiteX12843" fmla="*/ 4723855 w 6994525"/>
                  <a:gd name="connsiteY12843" fmla="*/ 5735526 h 7571036"/>
                  <a:gd name="connsiteX12844" fmla="*/ 4721387 w 6994525"/>
                  <a:gd name="connsiteY12844" fmla="*/ 5733059 h 7571036"/>
                  <a:gd name="connsiteX12845" fmla="*/ 4718923 w 6994525"/>
                  <a:gd name="connsiteY12845" fmla="*/ 5735526 h 7571036"/>
                  <a:gd name="connsiteX12846" fmla="*/ 4721387 w 6994525"/>
                  <a:gd name="connsiteY12846" fmla="*/ 5737990 h 7571036"/>
                  <a:gd name="connsiteX12847" fmla="*/ 4723855 w 6994525"/>
                  <a:gd name="connsiteY12847" fmla="*/ 5735526 h 7571036"/>
                  <a:gd name="connsiteX12848" fmla="*/ 4725087 w 6994525"/>
                  <a:gd name="connsiteY12848" fmla="*/ 1706119 h 7571036"/>
                  <a:gd name="connsiteX12849" fmla="*/ 4686620 w 6994525"/>
                  <a:gd name="connsiteY12849" fmla="*/ 1667651 h 7571036"/>
                  <a:gd name="connsiteX12850" fmla="*/ 4648155 w 6994525"/>
                  <a:gd name="connsiteY12850" fmla="*/ 1706119 h 7571036"/>
                  <a:gd name="connsiteX12851" fmla="*/ 4686620 w 6994525"/>
                  <a:gd name="connsiteY12851" fmla="*/ 1744589 h 7571036"/>
                  <a:gd name="connsiteX12852" fmla="*/ 4725087 w 6994525"/>
                  <a:gd name="connsiteY12852" fmla="*/ 1706119 h 7571036"/>
                  <a:gd name="connsiteX12853" fmla="*/ 4726072 w 6994525"/>
                  <a:gd name="connsiteY12853" fmla="*/ 5857336 h 7571036"/>
                  <a:gd name="connsiteX12854" fmla="*/ 4723359 w 6994525"/>
                  <a:gd name="connsiteY12854" fmla="*/ 5854623 h 7571036"/>
                  <a:gd name="connsiteX12855" fmla="*/ 4720401 w 6994525"/>
                  <a:gd name="connsiteY12855" fmla="*/ 5857336 h 7571036"/>
                  <a:gd name="connsiteX12856" fmla="*/ 4723359 w 6994525"/>
                  <a:gd name="connsiteY12856" fmla="*/ 5860049 h 7571036"/>
                  <a:gd name="connsiteX12857" fmla="*/ 4726072 w 6994525"/>
                  <a:gd name="connsiteY12857" fmla="*/ 5857336 h 7571036"/>
                  <a:gd name="connsiteX12858" fmla="*/ 4726810 w 6994525"/>
                  <a:gd name="connsiteY12858" fmla="*/ 1834107 h 7571036"/>
                  <a:gd name="connsiteX12859" fmla="*/ 4680208 w 6994525"/>
                  <a:gd name="connsiteY12859" fmla="*/ 1787480 h 7571036"/>
                  <a:gd name="connsiteX12860" fmla="*/ 4633606 w 6994525"/>
                  <a:gd name="connsiteY12860" fmla="*/ 1834107 h 7571036"/>
                  <a:gd name="connsiteX12861" fmla="*/ 4680208 w 6994525"/>
                  <a:gd name="connsiteY12861" fmla="*/ 1880694 h 7571036"/>
                  <a:gd name="connsiteX12862" fmla="*/ 4726810 w 6994525"/>
                  <a:gd name="connsiteY12862" fmla="*/ 1834107 h 7571036"/>
                  <a:gd name="connsiteX12863" fmla="*/ 4728292 w 6994525"/>
                  <a:gd name="connsiteY12863" fmla="*/ 5977171 h 7571036"/>
                  <a:gd name="connsiteX12864" fmla="*/ 4726318 w 6994525"/>
                  <a:gd name="connsiteY12864" fmla="*/ 5975198 h 7571036"/>
                  <a:gd name="connsiteX12865" fmla="*/ 4724346 w 6994525"/>
                  <a:gd name="connsiteY12865" fmla="*/ 5977171 h 7571036"/>
                  <a:gd name="connsiteX12866" fmla="*/ 4726318 w 6994525"/>
                  <a:gd name="connsiteY12866" fmla="*/ 5979143 h 7571036"/>
                  <a:gd name="connsiteX12867" fmla="*/ 4728292 w 6994525"/>
                  <a:gd name="connsiteY12867" fmla="*/ 5977171 h 7571036"/>
                  <a:gd name="connsiteX12868" fmla="*/ 4728785 w 6994525"/>
                  <a:gd name="connsiteY12868" fmla="*/ 3846507 h 7571036"/>
                  <a:gd name="connsiteX12869" fmla="*/ 4706595 w 6994525"/>
                  <a:gd name="connsiteY12869" fmla="*/ 3824317 h 7571036"/>
                  <a:gd name="connsiteX12870" fmla="*/ 4684402 w 6994525"/>
                  <a:gd name="connsiteY12870" fmla="*/ 3846507 h 7571036"/>
                  <a:gd name="connsiteX12871" fmla="*/ 4706595 w 6994525"/>
                  <a:gd name="connsiteY12871" fmla="*/ 3868701 h 7571036"/>
                  <a:gd name="connsiteX12872" fmla="*/ 4728785 w 6994525"/>
                  <a:gd name="connsiteY12872" fmla="*/ 3846507 h 7571036"/>
                  <a:gd name="connsiteX12873" fmla="*/ 4729030 w 6994525"/>
                  <a:gd name="connsiteY12873" fmla="*/ 5612976 h 7571036"/>
                  <a:gd name="connsiteX12874" fmla="*/ 4717934 w 6994525"/>
                  <a:gd name="connsiteY12874" fmla="*/ 5601881 h 7571036"/>
                  <a:gd name="connsiteX12875" fmla="*/ 4706838 w 6994525"/>
                  <a:gd name="connsiteY12875" fmla="*/ 5612976 h 7571036"/>
                  <a:gd name="connsiteX12876" fmla="*/ 4717934 w 6994525"/>
                  <a:gd name="connsiteY12876" fmla="*/ 5624075 h 7571036"/>
                  <a:gd name="connsiteX12877" fmla="*/ 4729030 w 6994525"/>
                  <a:gd name="connsiteY12877" fmla="*/ 5612976 h 7571036"/>
                  <a:gd name="connsiteX12878" fmla="*/ 4730018 w 6994525"/>
                  <a:gd name="connsiteY12878" fmla="*/ 6096513 h 7571036"/>
                  <a:gd name="connsiteX12879" fmla="*/ 4729280 w 6994525"/>
                  <a:gd name="connsiteY12879" fmla="*/ 6095772 h 7571036"/>
                  <a:gd name="connsiteX12880" fmla="*/ 4728541 w 6994525"/>
                  <a:gd name="connsiteY12880" fmla="*/ 6096513 h 7571036"/>
                  <a:gd name="connsiteX12881" fmla="*/ 4729280 w 6994525"/>
                  <a:gd name="connsiteY12881" fmla="*/ 6097250 h 7571036"/>
                  <a:gd name="connsiteX12882" fmla="*/ 4730018 w 6994525"/>
                  <a:gd name="connsiteY12882" fmla="*/ 6096513 h 7571036"/>
                  <a:gd name="connsiteX12883" fmla="*/ 4732236 w 6994525"/>
                  <a:gd name="connsiteY12883" fmla="*/ 6214869 h 7571036"/>
                  <a:gd name="connsiteX12884" fmla="*/ 4731250 w 6994525"/>
                  <a:gd name="connsiteY12884" fmla="*/ 6213882 h 7571036"/>
                  <a:gd name="connsiteX12885" fmla="*/ 4730263 w 6994525"/>
                  <a:gd name="connsiteY12885" fmla="*/ 6214869 h 7571036"/>
                  <a:gd name="connsiteX12886" fmla="*/ 4731250 w 6994525"/>
                  <a:gd name="connsiteY12886" fmla="*/ 6215855 h 7571036"/>
                  <a:gd name="connsiteX12887" fmla="*/ 4732236 w 6994525"/>
                  <a:gd name="connsiteY12887" fmla="*/ 6214869 h 7571036"/>
                  <a:gd name="connsiteX12888" fmla="*/ 4738154 w 6994525"/>
                  <a:gd name="connsiteY12888" fmla="*/ 4114538 h 7571036"/>
                  <a:gd name="connsiteX12889" fmla="*/ 4713496 w 6994525"/>
                  <a:gd name="connsiteY12889" fmla="*/ 4089881 h 7571036"/>
                  <a:gd name="connsiteX12890" fmla="*/ 4688839 w 6994525"/>
                  <a:gd name="connsiteY12890" fmla="*/ 4114538 h 7571036"/>
                  <a:gd name="connsiteX12891" fmla="*/ 4713496 w 6994525"/>
                  <a:gd name="connsiteY12891" fmla="*/ 4139196 h 7571036"/>
                  <a:gd name="connsiteX12892" fmla="*/ 4738154 w 6994525"/>
                  <a:gd name="connsiteY12892" fmla="*/ 4114538 h 7571036"/>
                  <a:gd name="connsiteX12893" fmla="*/ 4738895 w 6994525"/>
                  <a:gd name="connsiteY12893" fmla="*/ 4349276 h 7571036"/>
                  <a:gd name="connsiteX12894" fmla="*/ 4695004 w 6994525"/>
                  <a:gd name="connsiteY12894" fmla="*/ 4305387 h 7571036"/>
                  <a:gd name="connsiteX12895" fmla="*/ 4651114 w 6994525"/>
                  <a:gd name="connsiteY12895" fmla="*/ 4349276 h 7571036"/>
                  <a:gd name="connsiteX12896" fmla="*/ 4695004 w 6994525"/>
                  <a:gd name="connsiteY12896" fmla="*/ 4393168 h 7571036"/>
                  <a:gd name="connsiteX12897" fmla="*/ 4738895 w 6994525"/>
                  <a:gd name="connsiteY12897" fmla="*/ 4349276 h 7571036"/>
                  <a:gd name="connsiteX12898" fmla="*/ 4742345 w 6994525"/>
                  <a:gd name="connsiteY12898" fmla="*/ 3161071 h 7571036"/>
                  <a:gd name="connsiteX12899" fmla="*/ 4721387 w 6994525"/>
                  <a:gd name="connsiteY12899" fmla="*/ 3140113 h 7571036"/>
                  <a:gd name="connsiteX12900" fmla="*/ 4700429 w 6994525"/>
                  <a:gd name="connsiteY12900" fmla="*/ 3161071 h 7571036"/>
                  <a:gd name="connsiteX12901" fmla="*/ 4721387 w 6994525"/>
                  <a:gd name="connsiteY12901" fmla="*/ 3182030 h 7571036"/>
                  <a:gd name="connsiteX12902" fmla="*/ 4742345 w 6994525"/>
                  <a:gd name="connsiteY12902" fmla="*/ 3161071 h 7571036"/>
                  <a:gd name="connsiteX12903" fmla="*/ 4743827 w 6994525"/>
                  <a:gd name="connsiteY12903" fmla="*/ 6329773 h 7571036"/>
                  <a:gd name="connsiteX12904" fmla="*/ 4740622 w 6994525"/>
                  <a:gd name="connsiteY12904" fmla="*/ 6326568 h 7571036"/>
                  <a:gd name="connsiteX12905" fmla="*/ 4737417 w 6994525"/>
                  <a:gd name="connsiteY12905" fmla="*/ 6329773 h 7571036"/>
                  <a:gd name="connsiteX12906" fmla="*/ 4740622 w 6994525"/>
                  <a:gd name="connsiteY12906" fmla="*/ 6332981 h 7571036"/>
                  <a:gd name="connsiteX12907" fmla="*/ 4743827 w 6994525"/>
                  <a:gd name="connsiteY12907" fmla="*/ 6329773 h 7571036"/>
                  <a:gd name="connsiteX12908" fmla="*/ 4744321 w 6994525"/>
                  <a:gd name="connsiteY12908" fmla="*/ 2888611 h 7571036"/>
                  <a:gd name="connsiteX12909" fmla="*/ 4737417 w 6994525"/>
                  <a:gd name="connsiteY12909" fmla="*/ 2881708 h 7571036"/>
                  <a:gd name="connsiteX12910" fmla="*/ 4730513 w 6994525"/>
                  <a:gd name="connsiteY12910" fmla="*/ 2888611 h 7571036"/>
                  <a:gd name="connsiteX12911" fmla="*/ 4737417 w 6994525"/>
                  <a:gd name="connsiteY12911" fmla="*/ 2895515 h 7571036"/>
                  <a:gd name="connsiteX12912" fmla="*/ 4744321 w 6994525"/>
                  <a:gd name="connsiteY12912" fmla="*/ 2888611 h 7571036"/>
                  <a:gd name="connsiteX12913" fmla="*/ 4745305 w 6994525"/>
                  <a:gd name="connsiteY12913" fmla="*/ 6447143 h 7571036"/>
                  <a:gd name="connsiteX12914" fmla="*/ 4742100 w 6994525"/>
                  <a:gd name="connsiteY12914" fmla="*/ 6443937 h 7571036"/>
                  <a:gd name="connsiteX12915" fmla="*/ 4738895 w 6994525"/>
                  <a:gd name="connsiteY12915" fmla="*/ 6447143 h 7571036"/>
                  <a:gd name="connsiteX12916" fmla="*/ 4742100 w 6994525"/>
                  <a:gd name="connsiteY12916" fmla="*/ 6450347 h 7571036"/>
                  <a:gd name="connsiteX12917" fmla="*/ 4745305 w 6994525"/>
                  <a:gd name="connsiteY12917" fmla="*/ 6447143 h 7571036"/>
                  <a:gd name="connsiteX12918" fmla="*/ 4745308 w 6994525"/>
                  <a:gd name="connsiteY12918" fmla="*/ 6564270 h 7571036"/>
                  <a:gd name="connsiteX12919" fmla="*/ 4742843 w 6994525"/>
                  <a:gd name="connsiteY12919" fmla="*/ 6561802 h 7571036"/>
                  <a:gd name="connsiteX12920" fmla="*/ 4740376 w 6994525"/>
                  <a:gd name="connsiteY12920" fmla="*/ 6564270 h 7571036"/>
                  <a:gd name="connsiteX12921" fmla="*/ 4742843 w 6994525"/>
                  <a:gd name="connsiteY12921" fmla="*/ 6566734 h 7571036"/>
                  <a:gd name="connsiteX12922" fmla="*/ 4745308 w 6994525"/>
                  <a:gd name="connsiteY12922" fmla="*/ 6564270 h 7571036"/>
                  <a:gd name="connsiteX12923" fmla="*/ 4747771 w 6994525"/>
                  <a:gd name="connsiteY12923" fmla="*/ 6680405 h 7571036"/>
                  <a:gd name="connsiteX12924" fmla="*/ 4744812 w 6994525"/>
                  <a:gd name="connsiteY12924" fmla="*/ 6677445 h 7571036"/>
                  <a:gd name="connsiteX12925" fmla="*/ 4741854 w 6994525"/>
                  <a:gd name="connsiteY12925" fmla="*/ 6680405 h 7571036"/>
                  <a:gd name="connsiteX12926" fmla="*/ 4744812 w 6994525"/>
                  <a:gd name="connsiteY12926" fmla="*/ 6683364 h 7571036"/>
                  <a:gd name="connsiteX12927" fmla="*/ 4747771 w 6994525"/>
                  <a:gd name="connsiteY12927" fmla="*/ 6680405 h 7571036"/>
                  <a:gd name="connsiteX12928" fmla="*/ 4749249 w 6994525"/>
                  <a:gd name="connsiteY12928" fmla="*/ 6796050 h 7571036"/>
                  <a:gd name="connsiteX12929" fmla="*/ 4745799 w 6994525"/>
                  <a:gd name="connsiteY12929" fmla="*/ 6792597 h 7571036"/>
                  <a:gd name="connsiteX12930" fmla="*/ 4742099 w 6994525"/>
                  <a:gd name="connsiteY12930" fmla="*/ 6796050 h 7571036"/>
                  <a:gd name="connsiteX12931" fmla="*/ 4745799 w 6994525"/>
                  <a:gd name="connsiteY12931" fmla="*/ 6799747 h 7571036"/>
                  <a:gd name="connsiteX12932" fmla="*/ 4749249 w 6994525"/>
                  <a:gd name="connsiteY12932" fmla="*/ 6796050 h 7571036"/>
                  <a:gd name="connsiteX12933" fmla="*/ 4751962 w 6994525"/>
                  <a:gd name="connsiteY12933" fmla="*/ 6911445 h 7571036"/>
                  <a:gd name="connsiteX12934" fmla="*/ 4747031 w 6994525"/>
                  <a:gd name="connsiteY12934" fmla="*/ 6906513 h 7571036"/>
                  <a:gd name="connsiteX12935" fmla="*/ 4742099 w 6994525"/>
                  <a:gd name="connsiteY12935" fmla="*/ 6911445 h 7571036"/>
                  <a:gd name="connsiteX12936" fmla="*/ 4747031 w 6994525"/>
                  <a:gd name="connsiteY12936" fmla="*/ 6916376 h 7571036"/>
                  <a:gd name="connsiteX12937" fmla="*/ 4751962 w 6994525"/>
                  <a:gd name="connsiteY12937" fmla="*/ 6911445 h 7571036"/>
                  <a:gd name="connsiteX12938" fmla="*/ 4754921 w 6994525"/>
                  <a:gd name="connsiteY12938" fmla="*/ 7026350 h 7571036"/>
                  <a:gd name="connsiteX12939" fmla="*/ 4748265 w 6994525"/>
                  <a:gd name="connsiteY12939" fmla="*/ 7019692 h 7571036"/>
                  <a:gd name="connsiteX12940" fmla="*/ 4741607 w 6994525"/>
                  <a:gd name="connsiteY12940" fmla="*/ 7026350 h 7571036"/>
                  <a:gd name="connsiteX12941" fmla="*/ 4748265 w 6994525"/>
                  <a:gd name="connsiteY12941" fmla="*/ 7032759 h 7571036"/>
                  <a:gd name="connsiteX12942" fmla="*/ 4754921 w 6994525"/>
                  <a:gd name="connsiteY12942" fmla="*/ 7026350 h 7571036"/>
                  <a:gd name="connsiteX12943" fmla="*/ 4756651 w 6994525"/>
                  <a:gd name="connsiteY12943" fmla="*/ 2312629 h 7571036"/>
                  <a:gd name="connsiteX12944" fmla="*/ 4733717 w 6994525"/>
                  <a:gd name="connsiteY12944" fmla="*/ 2289695 h 7571036"/>
                  <a:gd name="connsiteX12945" fmla="*/ 4710786 w 6994525"/>
                  <a:gd name="connsiteY12945" fmla="*/ 2312629 h 7571036"/>
                  <a:gd name="connsiteX12946" fmla="*/ 4733717 w 6994525"/>
                  <a:gd name="connsiteY12946" fmla="*/ 2335565 h 7571036"/>
                  <a:gd name="connsiteX12947" fmla="*/ 4756651 w 6994525"/>
                  <a:gd name="connsiteY12947" fmla="*/ 2312629 h 7571036"/>
                  <a:gd name="connsiteX12948" fmla="*/ 4758622 w 6994525"/>
                  <a:gd name="connsiteY12948" fmla="*/ 3734317 h 7571036"/>
                  <a:gd name="connsiteX12949" fmla="*/ 4735195 w 6994525"/>
                  <a:gd name="connsiteY12949" fmla="*/ 3710891 h 7571036"/>
                  <a:gd name="connsiteX12950" fmla="*/ 4711771 w 6994525"/>
                  <a:gd name="connsiteY12950" fmla="*/ 3734317 h 7571036"/>
                  <a:gd name="connsiteX12951" fmla="*/ 4735195 w 6994525"/>
                  <a:gd name="connsiteY12951" fmla="*/ 3757743 h 7571036"/>
                  <a:gd name="connsiteX12952" fmla="*/ 4758622 w 6994525"/>
                  <a:gd name="connsiteY12952" fmla="*/ 3734317 h 7571036"/>
                  <a:gd name="connsiteX12953" fmla="*/ 4759853 w 6994525"/>
                  <a:gd name="connsiteY12953" fmla="*/ 7253199 h 7571036"/>
                  <a:gd name="connsiteX12954" fmla="*/ 4755417 w 6994525"/>
                  <a:gd name="connsiteY12954" fmla="*/ 7248760 h 7571036"/>
                  <a:gd name="connsiteX12955" fmla="*/ 4750977 w 6994525"/>
                  <a:gd name="connsiteY12955" fmla="*/ 7253199 h 7571036"/>
                  <a:gd name="connsiteX12956" fmla="*/ 4755417 w 6994525"/>
                  <a:gd name="connsiteY12956" fmla="*/ 7257636 h 7571036"/>
                  <a:gd name="connsiteX12957" fmla="*/ 4759853 w 6994525"/>
                  <a:gd name="connsiteY12957" fmla="*/ 7253199 h 7571036"/>
                  <a:gd name="connsiteX12958" fmla="*/ 4761580 w 6994525"/>
                  <a:gd name="connsiteY12958" fmla="*/ 2698505 h 7571036"/>
                  <a:gd name="connsiteX12959" fmla="*/ 4757389 w 6994525"/>
                  <a:gd name="connsiteY12959" fmla="*/ 2694313 h 7571036"/>
                  <a:gd name="connsiteX12960" fmla="*/ 4753197 w 6994525"/>
                  <a:gd name="connsiteY12960" fmla="*/ 2698505 h 7571036"/>
                  <a:gd name="connsiteX12961" fmla="*/ 4757389 w 6994525"/>
                  <a:gd name="connsiteY12961" fmla="*/ 2702696 h 7571036"/>
                  <a:gd name="connsiteX12962" fmla="*/ 4761580 w 6994525"/>
                  <a:gd name="connsiteY12962" fmla="*/ 2698505 h 7571036"/>
                  <a:gd name="connsiteX12963" fmla="*/ 4762071 w 6994525"/>
                  <a:gd name="connsiteY12963" fmla="*/ 7367117 h 7571036"/>
                  <a:gd name="connsiteX12964" fmla="*/ 4756154 w 6994525"/>
                  <a:gd name="connsiteY12964" fmla="*/ 7361199 h 7571036"/>
                  <a:gd name="connsiteX12965" fmla="*/ 4750235 w 6994525"/>
                  <a:gd name="connsiteY12965" fmla="*/ 7367117 h 7571036"/>
                  <a:gd name="connsiteX12966" fmla="*/ 4756154 w 6994525"/>
                  <a:gd name="connsiteY12966" fmla="*/ 7373035 h 7571036"/>
                  <a:gd name="connsiteX12967" fmla="*/ 4762071 w 6994525"/>
                  <a:gd name="connsiteY12967" fmla="*/ 7367117 h 7571036"/>
                  <a:gd name="connsiteX12968" fmla="*/ 4762564 w 6994525"/>
                  <a:gd name="connsiteY12968" fmla="*/ 7138790 h 7571036"/>
                  <a:gd name="connsiteX12969" fmla="*/ 4754921 w 6994525"/>
                  <a:gd name="connsiteY12969" fmla="*/ 7131144 h 7571036"/>
                  <a:gd name="connsiteX12970" fmla="*/ 4747277 w 6994525"/>
                  <a:gd name="connsiteY12970" fmla="*/ 7138790 h 7571036"/>
                  <a:gd name="connsiteX12971" fmla="*/ 4754921 w 6994525"/>
                  <a:gd name="connsiteY12971" fmla="*/ 7146431 h 7571036"/>
                  <a:gd name="connsiteX12972" fmla="*/ 4762564 w 6994525"/>
                  <a:gd name="connsiteY12972" fmla="*/ 7138790 h 7571036"/>
                  <a:gd name="connsiteX12973" fmla="*/ 4764045 w 6994525"/>
                  <a:gd name="connsiteY12973" fmla="*/ 4495989 h 7571036"/>
                  <a:gd name="connsiteX12974" fmla="*/ 4718675 w 6994525"/>
                  <a:gd name="connsiteY12974" fmla="*/ 4450619 h 7571036"/>
                  <a:gd name="connsiteX12975" fmla="*/ 4673305 w 6994525"/>
                  <a:gd name="connsiteY12975" fmla="*/ 4495989 h 7571036"/>
                  <a:gd name="connsiteX12976" fmla="*/ 4718675 w 6994525"/>
                  <a:gd name="connsiteY12976" fmla="*/ 4541359 h 7571036"/>
                  <a:gd name="connsiteX12977" fmla="*/ 4764045 w 6994525"/>
                  <a:gd name="connsiteY12977" fmla="*/ 4495989 h 7571036"/>
                  <a:gd name="connsiteX12978" fmla="*/ 4766017 w 6994525"/>
                  <a:gd name="connsiteY12978" fmla="*/ 2173579 h 7571036"/>
                  <a:gd name="connsiteX12979" fmla="*/ 4748755 w 6994525"/>
                  <a:gd name="connsiteY12979" fmla="*/ 2156314 h 7571036"/>
                  <a:gd name="connsiteX12980" fmla="*/ 4731496 w 6994525"/>
                  <a:gd name="connsiteY12980" fmla="*/ 2173579 h 7571036"/>
                  <a:gd name="connsiteX12981" fmla="*/ 4748755 w 6994525"/>
                  <a:gd name="connsiteY12981" fmla="*/ 2190835 h 7571036"/>
                  <a:gd name="connsiteX12982" fmla="*/ 4766017 w 6994525"/>
                  <a:gd name="connsiteY12982" fmla="*/ 2173579 h 7571036"/>
                  <a:gd name="connsiteX12983" fmla="*/ 4768238 w 6994525"/>
                  <a:gd name="connsiteY12983" fmla="*/ 3274251 h 7571036"/>
                  <a:gd name="connsiteX12984" fmla="*/ 4745061 w 6994525"/>
                  <a:gd name="connsiteY12984" fmla="*/ 3251070 h 7571036"/>
                  <a:gd name="connsiteX12985" fmla="*/ 4721882 w 6994525"/>
                  <a:gd name="connsiteY12985" fmla="*/ 3274251 h 7571036"/>
                  <a:gd name="connsiteX12986" fmla="*/ 4745061 w 6994525"/>
                  <a:gd name="connsiteY12986" fmla="*/ 3297427 h 7571036"/>
                  <a:gd name="connsiteX12987" fmla="*/ 4768238 w 6994525"/>
                  <a:gd name="connsiteY12987" fmla="*/ 3274251 h 7571036"/>
                  <a:gd name="connsiteX12988" fmla="*/ 4773416 w 6994525"/>
                  <a:gd name="connsiteY12988" fmla="*/ 622287 h 7571036"/>
                  <a:gd name="connsiteX12989" fmla="*/ 4732483 w 6994525"/>
                  <a:gd name="connsiteY12989" fmla="*/ 581604 h 7571036"/>
                  <a:gd name="connsiteX12990" fmla="*/ 4691799 w 6994525"/>
                  <a:gd name="connsiteY12990" fmla="*/ 622287 h 7571036"/>
                  <a:gd name="connsiteX12991" fmla="*/ 4732483 w 6994525"/>
                  <a:gd name="connsiteY12991" fmla="*/ 663014 h 7571036"/>
                  <a:gd name="connsiteX12992" fmla="*/ 4773416 w 6994525"/>
                  <a:gd name="connsiteY12992" fmla="*/ 622287 h 7571036"/>
                  <a:gd name="connsiteX12993" fmla="*/ 4774402 w 6994525"/>
                  <a:gd name="connsiteY12993" fmla="*/ 504693 h 7571036"/>
                  <a:gd name="connsiteX12994" fmla="*/ 4733964 w 6994525"/>
                  <a:gd name="connsiteY12994" fmla="*/ 464256 h 7571036"/>
                  <a:gd name="connsiteX12995" fmla="*/ 4693525 w 6994525"/>
                  <a:gd name="connsiteY12995" fmla="*/ 504693 h 7571036"/>
                  <a:gd name="connsiteX12996" fmla="*/ 4733964 w 6994525"/>
                  <a:gd name="connsiteY12996" fmla="*/ 545131 h 7571036"/>
                  <a:gd name="connsiteX12997" fmla="*/ 4774402 w 6994525"/>
                  <a:gd name="connsiteY12997" fmla="*/ 504693 h 7571036"/>
                  <a:gd name="connsiteX12998" fmla="*/ 4776125 w 6994525"/>
                  <a:gd name="connsiteY12998" fmla="*/ 271730 h 7571036"/>
                  <a:gd name="connsiteX12999" fmla="*/ 4735936 w 6994525"/>
                  <a:gd name="connsiteY12999" fmla="*/ 231539 h 7571036"/>
                  <a:gd name="connsiteX13000" fmla="*/ 4695743 w 6994525"/>
                  <a:gd name="connsiteY13000" fmla="*/ 271730 h 7571036"/>
                  <a:gd name="connsiteX13001" fmla="*/ 4735936 w 6994525"/>
                  <a:gd name="connsiteY13001" fmla="*/ 311920 h 7571036"/>
                  <a:gd name="connsiteX13002" fmla="*/ 4776125 w 6994525"/>
                  <a:gd name="connsiteY13002" fmla="*/ 271730 h 7571036"/>
                  <a:gd name="connsiteX13003" fmla="*/ 4776623 w 6994525"/>
                  <a:gd name="connsiteY13003" fmla="*/ 155863 h 7571036"/>
                  <a:gd name="connsiteX13004" fmla="*/ 4736923 w 6994525"/>
                  <a:gd name="connsiteY13004" fmla="*/ 116168 h 7571036"/>
                  <a:gd name="connsiteX13005" fmla="*/ 4697224 w 6994525"/>
                  <a:gd name="connsiteY13005" fmla="*/ 155863 h 7571036"/>
                  <a:gd name="connsiteX13006" fmla="*/ 4736923 w 6994525"/>
                  <a:gd name="connsiteY13006" fmla="*/ 195563 h 7571036"/>
                  <a:gd name="connsiteX13007" fmla="*/ 4776623 w 6994525"/>
                  <a:gd name="connsiteY13007" fmla="*/ 155863 h 7571036"/>
                  <a:gd name="connsiteX13008" fmla="*/ 4776867 w 6994525"/>
                  <a:gd name="connsiteY13008" fmla="*/ 40498 h 7571036"/>
                  <a:gd name="connsiteX13009" fmla="*/ 4737414 w 6994525"/>
                  <a:gd name="connsiteY13009" fmla="*/ 1047 h 7571036"/>
                  <a:gd name="connsiteX13010" fmla="*/ 4697962 w 6994525"/>
                  <a:gd name="connsiteY13010" fmla="*/ 40498 h 7571036"/>
                  <a:gd name="connsiteX13011" fmla="*/ 4737414 w 6994525"/>
                  <a:gd name="connsiteY13011" fmla="*/ 79947 h 7571036"/>
                  <a:gd name="connsiteX13012" fmla="*/ 4776867 w 6994525"/>
                  <a:gd name="connsiteY13012" fmla="*/ 40498 h 7571036"/>
                  <a:gd name="connsiteX13013" fmla="*/ 4777607 w 6994525"/>
                  <a:gd name="connsiteY13013" fmla="*/ 388087 h 7571036"/>
                  <a:gd name="connsiteX13014" fmla="*/ 4735444 w 6994525"/>
                  <a:gd name="connsiteY13014" fmla="*/ 345924 h 7571036"/>
                  <a:gd name="connsiteX13015" fmla="*/ 4693279 w 6994525"/>
                  <a:gd name="connsiteY13015" fmla="*/ 388087 h 7571036"/>
                  <a:gd name="connsiteX13016" fmla="*/ 4735444 w 6994525"/>
                  <a:gd name="connsiteY13016" fmla="*/ 430251 h 7571036"/>
                  <a:gd name="connsiteX13017" fmla="*/ 4777607 w 6994525"/>
                  <a:gd name="connsiteY13017" fmla="*/ 388087 h 7571036"/>
                  <a:gd name="connsiteX13018" fmla="*/ 4777610 w 6994525"/>
                  <a:gd name="connsiteY13018" fmla="*/ 3620398 h 7571036"/>
                  <a:gd name="connsiteX13019" fmla="*/ 4753197 w 6994525"/>
                  <a:gd name="connsiteY13019" fmla="*/ 3595741 h 7571036"/>
                  <a:gd name="connsiteX13020" fmla="*/ 4728541 w 6994525"/>
                  <a:gd name="connsiteY13020" fmla="*/ 3620398 h 7571036"/>
                  <a:gd name="connsiteX13021" fmla="*/ 4753197 w 6994525"/>
                  <a:gd name="connsiteY13021" fmla="*/ 3644810 h 7571036"/>
                  <a:gd name="connsiteX13022" fmla="*/ 4777610 w 6994525"/>
                  <a:gd name="connsiteY13022" fmla="*/ 3620398 h 7571036"/>
                  <a:gd name="connsiteX13023" fmla="*/ 4783524 w 6994525"/>
                  <a:gd name="connsiteY13023" fmla="*/ 3389403 h 7571036"/>
                  <a:gd name="connsiteX13024" fmla="*/ 4758129 w 6994525"/>
                  <a:gd name="connsiteY13024" fmla="*/ 3364003 h 7571036"/>
                  <a:gd name="connsiteX13025" fmla="*/ 4732977 w 6994525"/>
                  <a:gd name="connsiteY13025" fmla="*/ 3389403 h 7571036"/>
                  <a:gd name="connsiteX13026" fmla="*/ 4758129 w 6994525"/>
                  <a:gd name="connsiteY13026" fmla="*/ 3414551 h 7571036"/>
                  <a:gd name="connsiteX13027" fmla="*/ 4783524 w 6994525"/>
                  <a:gd name="connsiteY13027" fmla="*/ 3389403 h 7571036"/>
                  <a:gd name="connsiteX13028" fmla="*/ 4784265 w 6994525"/>
                  <a:gd name="connsiteY13028" fmla="*/ 4637771 h 7571036"/>
                  <a:gd name="connsiteX13029" fmla="*/ 4737909 w 6994525"/>
                  <a:gd name="connsiteY13029" fmla="*/ 4591661 h 7571036"/>
                  <a:gd name="connsiteX13030" fmla="*/ 4691799 w 6994525"/>
                  <a:gd name="connsiteY13030" fmla="*/ 4637771 h 7571036"/>
                  <a:gd name="connsiteX13031" fmla="*/ 4737909 w 6994525"/>
                  <a:gd name="connsiteY13031" fmla="*/ 4683882 h 7571036"/>
                  <a:gd name="connsiteX13032" fmla="*/ 4784265 w 6994525"/>
                  <a:gd name="connsiteY13032" fmla="*/ 4637771 h 7571036"/>
                  <a:gd name="connsiteX13033" fmla="*/ 4786730 w 6994525"/>
                  <a:gd name="connsiteY13033" fmla="*/ 3505001 h 7571036"/>
                  <a:gd name="connsiteX13034" fmla="*/ 4760840 w 6994525"/>
                  <a:gd name="connsiteY13034" fmla="*/ 3479357 h 7571036"/>
                  <a:gd name="connsiteX13035" fmla="*/ 4735195 w 6994525"/>
                  <a:gd name="connsiteY13035" fmla="*/ 3505001 h 7571036"/>
                  <a:gd name="connsiteX13036" fmla="*/ 4760840 w 6994525"/>
                  <a:gd name="connsiteY13036" fmla="*/ 3530645 h 7571036"/>
                  <a:gd name="connsiteX13037" fmla="*/ 4786730 w 6994525"/>
                  <a:gd name="connsiteY13037" fmla="*/ 3505001 h 7571036"/>
                  <a:gd name="connsiteX13038" fmla="*/ 4786732 w 6994525"/>
                  <a:gd name="connsiteY13038" fmla="*/ 4009987 h 7571036"/>
                  <a:gd name="connsiteX13039" fmla="*/ 4762812 w 6994525"/>
                  <a:gd name="connsiteY13039" fmla="*/ 3986070 h 7571036"/>
                  <a:gd name="connsiteX13040" fmla="*/ 4738895 w 6994525"/>
                  <a:gd name="connsiteY13040" fmla="*/ 4009987 h 7571036"/>
                  <a:gd name="connsiteX13041" fmla="*/ 4762812 w 6994525"/>
                  <a:gd name="connsiteY13041" fmla="*/ 4033907 h 7571036"/>
                  <a:gd name="connsiteX13042" fmla="*/ 4786732 w 6994525"/>
                  <a:gd name="connsiteY13042" fmla="*/ 4009987 h 7571036"/>
                  <a:gd name="connsiteX13043" fmla="*/ 4792156 w 6994525"/>
                  <a:gd name="connsiteY13043" fmla="*/ 2995134 h 7571036"/>
                  <a:gd name="connsiteX13044" fmla="*/ 4782538 w 6994525"/>
                  <a:gd name="connsiteY13044" fmla="*/ 2985517 h 7571036"/>
                  <a:gd name="connsiteX13045" fmla="*/ 4772921 w 6994525"/>
                  <a:gd name="connsiteY13045" fmla="*/ 2995134 h 7571036"/>
                  <a:gd name="connsiteX13046" fmla="*/ 4782538 w 6994525"/>
                  <a:gd name="connsiteY13046" fmla="*/ 3004749 h 7571036"/>
                  <a:gd name="connsiteX13047" fmla="*/ 4792156 w 6994525"/>
                  <a:gd name="connsiteY13047" fmla="*/ 2995134 h 7571036"/>
                  <a:gd name="connsiteX13048" fmla="*/ 4792404 w 6994525"/>
                  <a:gd name="connsiteY13048" fmla="*/ 5175552 h 7571036"/>
                  <a:gd name="connsiteX13049" fmla="*/ 4788704 w 6994525"/>
                  <a:gd name="connsiteY13049" fmla="*/ 5171852 h 7571036"/>
                  <a:gd name="connsiteX13050" fmla="*/ 4785005 w 6994525"/>
                  <a:gd name="connsiteY13050" fmla="*/ 5175552 h 7571036"/>
                  <a:gd name="connsiteX13051" fmla="*/ 4788704 w 6994525"/>
                  <a:gd name="connsiteY13051" fmla="*/ 5179251 h 7571036"/>
                  <a:gd name="connsiteX13052" fmla="*/ 4792404 w 6994525"/>
                  <a:gd name="connsiteY13052" fmla="*/ 5175552 h 7571036"/>
                  <a:gd name="connsiteX13053" fmla="*/ 4792647 w 6994525"/>
                  <a:gd name="connsiteY13053" fmla="*/ 2547365 h 7571036"/>
                  <a:gd name="connsiteX13054" fmla="*/ 4786729 w 6994525"/>
                  <a:gd name="connsiteY13054" fmla="*/ 2541447 h 7571036"/>
                  <a:gd name="connsiteX13055" fmla="*/ 4780811 w 6994525"/>
                  <a:gd name="connsiteY13055" fmla="*/ 2547365 h 7571036"/>
                  <a:gd name="connsiteX13056" fmla="*/ 4786729 w 6994525"/>
                  <a:gd name="connsiteY13056" fmla="*/ 2553281 h 7571036"/>
                  <a:gd name="connsiteX13057" fmla="*/ 4792647 w 6994525"/>
                  <a:gd name="connsiteY13057" fmla="*/ 2547365 h 7571036"/>
                  <a:gd name="connsiteX13058" fmla="*/ 4794620 w 6994525"/>
                  <a:gd name="connsiteY13058" fmla="*/ 4776348 h 7571036"/>
                  <a:gd name="connsiteX13059" fmla="*/ 4754181 w 6994525"/>
                  <a:gd name="connsiteY13059" fmla="*/ 4735909 h 7571036"/>
                  <a:gd name="connsiteX13060" fmla="*/ 4713742 w 6994525"/>
                  <a:gd name="connsiteY13060" fmla="*/ 4776348 h 7571036"/>
                  <a:gd name="connsiteX13061" fmla="*/ 4754181 w 6994525"/>
                  <a:gd name="connsiteY13061" fmla="*/ 4816786 h 7571036"/>
                  <a:gd name="connsiteX13062" fmla="*/ 4794620 w 6994525"/>
                  <a:gd name="connsiteY13062" fmla="*/ 4776348 h 7571036"/>
                  <a:gd name="connsiteX13063" fmla="*/ 4794868 w 6994525"/>
                  <a:gd name="connsiteY13063" fmla="*/ 2037458 h 7571036"/>
                  <a:gd name="connsiteX13064" fmla="*/ 4761086 w 6994525"/>
                  <a:gd name="connsiteY13064" fmla="*/ 2003679 h 7571036"/>
                  <a:gd name="connsiteX13065" fmla="*/ 4727305 w 6994525"/>
                  <a:gd name="connsiteY13065" fmla="*/ 2037458 h 7571036"/>
                  <a:gd name="connsiteX13066" fmla="*/ 4761086 w 6994525"/>
                  <a:gd name="connsiteY13066" fmla="*/ 2071246 h 7571036"/>
                  <a:gd name="connsiteX13067" fmla="*/ 4794868 w 6994525"/>
                  <a:gd name="connsiteY13067" fmla="*/ 2037458 h 7571036"/>
                  <a:gd name="connsiteX13068" fmla="*/ 4796592 w 6994525"/>
                  <a:gd name="connsiteY13068" fmla="*/ 1618105 h 7571036"/>
                  <a:gd name="connsiteX13069" fmla="*/ 4749990 w 6994525"/>
                  <a:gd name="connsiteY13069" fmla="*/ 1571502 h 7571036"/>
                  <a:gd name="connsiteX13070" fmla="*/ 4703387 w 6994525"/>
                  <a:gd name="connsiteY13070" fmla="*/ 1618105 h 7571036"/>
                  <a:gd name="connsiteX13071" fmla="*/ 4749990 w 6994525"/>
                  <a:gd name="connsiteY13071" fmla="*/ 1664706 h 7571036"/>
                  <a:gd name="connsiteX13072" fmla="*/ 4796592 w 6994525"/>
                  <a:gd name="connsiteY13072" fmla="*/ 1618105 h 7571036"/>
                  <a:gd name="connsiteX13073" fmla="*/ 4798072 w 6994525"/>
                  <a:gd name="connsiteY13073" fmla="*/ 4911472 h 7571036"/>
                  <a:gd name="connsiteX13074" fmla="*/ 4767992 w 6994525"/>
                  <a:gd name="connsiteY13074" fmla="*/ 4881388 h 7571036"/>
                  <a:gd name="connsiteX13075" fmla="*/ 4737908 w 6994525"/>
                  <a:gd name="connsiteY13075" fmla="*/ 4911472 h 7571036"/>
                  <a:gd name="connsiteX13076" fmla="*/ 4767992 w 6994525"/>
                  <a:gd name="connsiteY13076" fmla="*/ 4941553 h 7571036"/>
                  <a:gd name="connsiteX13077" fmla="*/ 4798072 w 6994525"/>
                  <a:gd name="connsiteY13077" fmla="*/ 4911472 h 7571036"/>
                  <a:gd name="connsiteX13078" fmla="*/ 4801524 w 6994525"/>
                  <a:gd name="connsiteY13078" fmla="*/ 4252372 h 7571036"/>
                  <a:gd name="connsiteX13079" fmla="*/ 4759853 w 6994525"/>
                  <a:gd name="connsiteY13079" fmla="*/ 4210947 h 7571036"/>
                  <a:gd name="connsiteX13080" fmla="*/ 4718183 w 6994525"/>
                  <a:gd name="connsiteY13080" fmla="*/ 4252372 h 7571036"/>
                  <a:gd name="connsiteX13081" fmla="*/ 4759853 w 6994525"/>
                  <a:gd name="connsiteY13081" fmla="*/ 4293796 h 7571036"/>
                  <a:gd name="connsiteX13082" fmla="*/ 4801524 w 6994525"/>
                  <a:gd name="connsiteY13082" fmla="*/ 4252372 h 7571036"/>
                  <a:gd name="connsiteX13083" fmla="*/ 4802019 w 6994525"/>
                  <a:gd name="connsiteY13083" fmla="*/ 1491873 h 7571036"/>
                  <a:gd name="connsiteX13084" fmla="*/ 4755662 w 6994525"/>
                  <a:gd name="connsiteY13084" fmla="*/ 1445516 h 7571036"/>
                  <a:gd name="connsiteX13085" fmla="*/ 4709306 w 6994525"/>
                  <a:gd name="connsiteY13085" fmla="*/ 1491873 h 7571036"/>
                  <a:gd name="connsiteX13086" fmla="*/ 4755662 w 6994525"/>
                  <a:gd name="connsiteY13086" fmla="*/ 1538229 h 7571036"/>
                  <a:gd name="connsiteX13087" fmla="*/ 4802019 w 6994525"/>
                  <a:gd name="connsiteY13087" fmla="*/ 1491873 h 7571036"/>
                  <a:gd name="connsiteX13088" fmla="*/ 4804732 w 6994525"/>
                  <a:gd name="connsiteY13088" fmla="*/ 5044864 h 7571036"/>
                  <a:gd name="connsiteX13089" fmla="*/ 4778838 w 6994525"/>
                  <a:gd name="connsiteY13089" fmla="*/ 5018975 h 7571036"/>
                  <a:gd name="connsiteX13090" fmla="*/ 4752949 w 6994525"/>
                  <a:gd name="connsiteY13090" fmla="*/ 5044864 h 7571036"/>
                  <a:gd name="connsiteX13091" fmla="*/ 4778838 w 6994525"/>
                  <a:gd name="connsiteY13091" fmla="*/ 5070758 h 7571036"/>
                  <a:gd name="connsiteX13092" fmla="*/ 4804732 w 6994525"/>
                  <a:gd name="connsiteY13092" fmla="*/ 5044864 h 7571036"/>
                  <a:gd name="connsiteX13093" fmla="*/ 4804977 w 6994525"/>
                  <a:gd name="connsiteY13093" fmla="*/ 1367613 h 7571036"/>
                  <a:gd name="connsiteX13094" fmla="*/ 4760593 w 6994525"/>
                  <a:gd name="connsiteY13094" fmla="*/ 1323233 h 7571036"/>
                  <a:gd name="connsiteX13095" fmla="*/ 4716210 w 6994525"/>
                  <a:gd name="connsiteY13095" fmla="*/ 1367613 h 7571036"/>
                  <a:gd name="connsiteX13096" fmla="*/ 4760593 w 6994525"/>
                  <a:gd name="connsiteY13096" fmla="*/ 1412000 h 7571036"/>
                  <a:gd name="connsiteX13097" fmla="*/ 4804977 w 6994525"/>
                  <a:gd name="connsiteY13097" fmla="*/ 1367613 h 7571036"/>
                  <a:gd name="connsiteX13098" fmla="*/ 4808182 w 6994525"/>
                  <a:gd name="connsiteY13098" fmla="*/ 1904601 h 7571036"/>
                  <a:gd name="connsiteX13099" fmla="*/ 4772180 w 6994525"/>
                  <a:gd name="connsiteY13099" fmla="*/ 1868617 h 7571036"/>
                  <a:gd name="connsiteX13100" fmla="*/ 4736182 w 6994525"/>
                  <a:gd name="connsiteY13100" fmla="*/ 1904601 h 7571036"/>
                  <a:gd name="connsiteX13101" fmla="*/ 4772180 w 6994525"/>
                  <a:gd name="connsiteY13101" fmla="*/ 1940589 h 7571036"/>
                  <a:gd name="connsiteX13102" fmla="*/ 4808182 w 6994525"/>
                  <a:gd name="connsiteY13102" fmla="*/ 1904601 h 7571036"/>
                  <a:gd name="connsiteX13103" fmla="*/ 4810158 w 6994525"/>
                  <a:gd name="connsiteY13103" fmla="*/ 1244102 h 7571036"/>
                  <a:gd name="connsiteX13104" fmla="*/ 4765033 w 6994525"/>
                  <a:gd name="connsiteY13104" fmla="*/ 1198975 h 7571036"/>
                  <a:gd name="connsiteX13105" fmla="*/ 4719909 w 6994525"/>
                  <a:gd name="connsiteY13105" fmla="*/ 1244102 h 7571036"/>
                  <a:gd name="connsiteX13106" fmla="*/ 4765033 w 6994525"/>
                  <a:gd name="connsiteY13106" fmla="*/ 1289220 h 7571036"/>
                  <a:gd name="connsiteX13107" fmla="*/ 4810158 w 6994525"/>
                  <a:gd name="connsiteY13107" fmla="*/ 1244102 h 7571036"/>
                  <a:gd name="connsiteX13108" fmla="*/ 4812373 w 6994525"/>
                  <a:gd name="connsiteY13108" fmla="*/ 5298102 h 7571036"/>
                  <a:gd name="connsiteX13109" fmla="*/ 4805717 w 6994525"/>
                  <a:gd name="connsiteY13109" fmla="*/ 5291444 h 7571036"/>
                  <a:gd name="connsiteX13110" fmla="*/ 4799059 w 6994525"/>
                  <a:gd name="connsiteY13110" fmla="*/ 5298102 h 7571036"/>
                  <a:gd name="connsiteX13111" fmla="*/ 4805717 w 6994525"/>
                  <a:gd name="connsiteY13111" fmla="*/ 5304757 h 7571036"/>
                  <a:gd name="connsiteX13112" fmla="*/ 4812373 w 6994525"/>
                  <a:gd name="connsiteY13112" fmla="*/ 5298102 h 7571036"/>
                  <a:gd name="connsiteX13113" fmla="*/ 4812623 w 6994525"/>
                  <a:gd name="connsiteY13113" fmla="*/ 1122558 h 7571036"/>
                  <a:gd name="connsiteX13114" fmla="*/ 4769224 w 6994525"/>
                  <a:gd name="connsiteY13114" fmla="*/ 1079160 h 7571036"/>
                  <a:gd name="connsiteX13115" fmla="*/ 4725827 w 6994525"/>
                  <a:gd name="connsiteY13115" fmla="*/ 1122558 h 7571036"/>
                  <a:gd name="connsiteX13116" fmla="*/ 4769224 w 6994525"/>
                  <a:gd name="connsiteY13116" fmla="*/ 1165952 h 7571036"/>
                  <a:gd name="connsiteX13117" fmla="*/ 4812623 w 6994525"/>
                  <a:gd name="connsiteY13117" fmla="*/ 1122558 h 7571036"/>
                  <a:gd name="connsiteX13118" fmla="*/ 4814100 w 6994525"/>
                  <a:gd name="connsiteY13118" fmla="*/ 5425827 h 7571036"/>
                  <a:gd name="connsiteX13119" fmla="*/ 4812375 w 6994525"/>
                  <a:gd name="connsiteY13119" fmla="*/ 5424100 h 7571036"/>
                  <a:gd name="connsiteX13120" fmla="*/ 4810649 w 6994525"/>
                  <a:gd name="connsiteY13120" fmla="*/ 5425827 h 7571036"/>
                  <a:gd name="connsiteX13121" fmla="*/ 4812375 w 6994525"/>
                  <a:gd name="connsiteY13121" fmla="*/ 5427551 h 7571036"/>
                  <a:gd name="connsiteX13122" fmla="*/ 4814100 w 6994525"/>
                  <a:gd name="connsiteY13122" fmla="*/ 5425827 h 7571036"/>
                  <a:gd name="connsiteX13123" fmla="*/ 4817554 w 6994525"/>
                  <a:gd name="connsiteY13123" fmla="*/ 1001256 h 7571036"/>
                  <a:gd name="connsiteX13124" fmla="*/ 4772184 w 6994525"/>
                  <a:gd name="connsiteY13124" fmla="*/ 955893 h 7571036"/>
                  <a:gd name="connsiteX13125" fmla="*/ 4726814 w 6994525"/>
                  <a:gd name="connsiteY13125" fmla="*/ 1001256 h 7571036"/>
                  <a:gd name="connsiteX13126" fmla="*/ 4772184 w 6994525"/>
                  <a:gd name="connsiteY13126" fmla="*/ 1046629 h 7571036"/>
                  <a:gd name="connsiteX13127" fmla="*/ 4817554 w 6994525"/>
                  <a:gd name="connsiteY13127" fmla="*/ 1001256 h 7571036"/>
                  <a:gd name="connsiteX13128" fmla="*/ 4819280 w 6994525"/>
                  <a:gd name="connsiteY13128" fmla="*/ 880942 h 7571036"/>
                  <a:gd name="connsiteX13129" fmla="*/ 4774651 w 6994525"/>
                  <a:gd name="connsiteY13129" fmla="*/ 836321 h 7571036"/>
                  <a:gd name="connsiteX13130" fmla="*/ 4729772 w 6994525"/>
                  <a:gd name="connsiteY13130" fmla="*/ 880942 h 7571036"/>
                  <a:gd name="connsiteX13131" fmla="*/ 4774651 w 6994525"/>
                  <a:gd name="connsiteY13131" fmla="*/ 925582 h 7571036"/>
                  <a:gd name="connsiteX13132" fmla="*/ 4819280 w 6994525"/>
                  <a:gd name="connsiteY13132" fmla="*/ 880942 h 7571036"/>
                  <a:gd name="connsiteX13133" fmla="*/ 4821007 w 6994525"/>
                  <a:gd name="connsiteY13133" fmla="*/ 2800343 h 7571036"/>
                  <a:gd name="connsiteX13134" fmla="*/ 4814840 w 6994525"/>
                  <a:gd name="connsiteY13134" fmla="*/ 2794181 h 7571036"/>
                  <a:gd name="connsiteX13135" fmla="*/ 4808676 w 6994525"/>
                  <a:gd name="connsiteY13135" fmla="*/ 2800343 h 7571036"/>
                  <a:gd name="connsiteX13136" fmla="*/ 4814840 w 6994525"/>
                  <a:gd name="connsiteY13136" fmla="*/ 2806511 h 7571036"/>
                  <a:gd name="connsiteX13137" fmla="*/ 4821007 w 6994525"/>
                  <a:gd name="connsiteY13137" fmla="*/ 2800343 h 7571036"/>
                  <a:gd name="connsiteX13138" fmla="*/ 4821499 w 6994525"/>
                  <a:gd name="connsiteY13138" fmla="*/ 761380 h 7571036"/>
                  <a:gd name="connsiteX13139" fmla="*/ 4777115 w 6994525"/>
                  <a:gd name="connsiteY13139" fmla="*/ 716993 h 7571036"/>
                  <a:gd name="connsiteX13140" fmla="*/ 4732732 w 6994525"/>
                  <a:gd name="connsiteY13140" fmla="*/ 761380 h 7571036"/>
                  <a:gd name="connsiteX13141" fmla="*/ 4777115 w 6994525"/>
                  <a:gd name="connsiteY13141" fmla="*/ 805763 h 7571036"/>
                  <a:gd name="connsiteX13142" fmla="*/ 4821499 w 6994525"/>
                  <a:gd name="connsiteY13142" fmla="*/ 761380 h 7571036"/>
                  <a:gd name="connsiteX13143" fmla="*/ 4823468 w 6994525"/>
                  <a:gd name="connsiteY13143" fmla="*/ 1773704 h 7571036"/>
                  <a:gd name="connsiteX13144" fmla="*/ 4780812 w 6994525"/>
                  <a:gd name="connsiteY13144" fmla="*/ 1731019 h 7571036"/>
                  <a:gd name="connsiteX13145" fmla="*/ 4738155 w 6994525"/>
                  <a:gd name="connsiteY13145" fmla="*/ 1773704 h 7571036"/>
                  <a:gd name="connsiteX13146" fmla="*/ 4780812 w 6994525"/>
                  <a:gd name="connsiteY13146" fmla="*/ 1816374 h 7571036"/>
                  <a:gd name="connsiteX13147" fmla="*/ 4823468 w 6994525"/>
                  <a:gd name="connsiteY13147" fmla="*/ 1773704 h 7571036"/>
                  <a:gd name="connsiteX13148" fmla="*/ 4824703 w 6994525"/>
                  <a:gd name="connsiteY13148" fmla="*/ 5677334 h 7571036"/>
                  <a:gd name="connsiteX13149" fmla="*/ 4821990 w 6994525"/>
                  <a:gd name="connsiteY13149" fmla="*/ 5674621 h 7571036"/>
                  <a:gd name="connsiteX13150" fmla="*/ 4819278 w 6994525"/>
                  <a:gd name="connsiteY13150" fmla="*/ 5677334 h 7571036"/>
                  <a:gd name="connsiteX13151" fmla="*/ 4821990 w 6994525"/>
                  <a:gd name="connsiteY13151" fmla="*/ 5680047 h 7571036"/>
                  <a:gd name="connsiteX13152" fmla="*/ 4824703 w 6994525"/>
                  <a:gd name="connsiteY13152" fmla="*/ 5677334 h 7571036"/>
                  <a:gd name="connsiteX13153" fmla="*/ 4826184 w 6994525"/>
                  <a:gd name="connsiteY13153" fmla="*/ 3901743 h 7571036"/>
                  <a:gd name="connsiteX13154" fmla="*/ 4803005 w 6994525"/>
                  <a:gd name="connsiteY13154" fmla="*/ 3878563 h 7571036"/>
                  <a:gd name="connsiteX13155" fmla="*/ 4779827 w 6994525"/>
                  <a:gd name="connsiteY13155" fmla="*/ 3901743 h 7571036"/>
                  <a:gd name="connsiteX13156" fmla="*/ 4803005 w 6994525"/>
                  <a:gd name="connsiteY13156" fmla="*/ 3924919 h 7571036"/>
                  <a:gd name="connsiteX13157" fmla="*/ 4826184 w 6994525"/>
                  <a:gd name="connsiteY13157" fmla="*/ 3901743 h 7571036"/>
                  <a:gd name="connsiteX13158" fmla="*/ 4827911 w 6994525"/>
                  <a:gd name="connsiteY13158" fmla="*/ 5801608 h 7571036"/>
                  <a:gd name="connsiteX13159" fmla="*/ 4825198 w 6994525"/>
                  <a:gd name="connsiteY13159" fmla="*/ 5798895 h 7571036"/>
                  <a:gd name="connsiteX13160" fmla="*/ 4822485 w 6994525"/>
                  <a:gd name="connsiteY13160" fmla="*/ 5801608 h 7571036"/>
                  <a:gd name="connsiteX13161" fmla="*/ 4825198 w 6994525"/>
                  <a:gd name="connsiteY13161" fmla="*/ 5804321 h 7571036"/>
                  <a:gd name="connsiteX13162" fmla="*/ 4827911 w 6994525"/>
                  <a:gd name="connsiteY13162" fmla="*/ 5801608 h 7571036"/>
                  <a:gd name="connsiteX13163" fmla="*/ 4829140 w 6994525"/>
                  <a:gd name="connsiteY13163" fmla="*/ 5552569 h 7571036"/>
                  <a:gd name="connsiteX13164" fmla="*/ 4817305 w 6994525"/>
                  <a:gd name="connsiteY13164" fmla="*/ 5540732 h 7571036"/>
                  <a:gd name="connsiteX13165" fmla="*/ 4805469 w 6994525"/>
                  <a:gd name="connsiteY13165" fmla="*/ 5552569 h 7571036"/>
                  <a:gd name="connsiteX13166" fmla="*/ 4817305 w 6994525"/>
                  <a:gd name="connsiteY13166" fmla="*/ 5564404 h 7571036"/>
                  <a:gd name="connsiteX13167" fmla="*/ 4829140 w 6994525"/>
                  <a:gd name="connsiteY13167" fmla="*/ 5552569 h 7571036"/>
                  <a:gd name="connsiteX13168" fmla="*/ 4830621 w 6994525"/>
                  <a:gd name="connsiteY13168" fmla="*/ 3104860 h 7571036"/>
                  <a:gd name="connsiteX13169" fmla="*/ 4818294 w 6994525"/>
                  <a:gd name="connsiteY13169" fmla="*/ 3092531 h 7571036"/>
                  <a:gd name="connsiteX13170" fmla="*/ 4805963 w 6994525"/>
                  <a:gd name="connsiteY13170" fmla="*/ 3104860 h 7571036"/>
                  <a:gd name="connsiteX13171" fmla="*/ 4818294 w 6994525"/>
                  <a:gd name="connsiteY13171" fmla="*/ 3117188 h 7571036"/>
                  <a:gd name="connsiteX13172" fmla="*/ 4830621 w 6994525"/>
                  <a:gd name="connsiteY13172" fmla="*/ 3104860 h 7571036"/>
                  <a:gd name="connsiteX13173" fmla="*/ 4830866 w 6994525"/>
                  <a:gd name="connsiteY13173" fmla="*/ 5923418 h 7571036"/>
                  <a:gd name="connsiteX13174" fmla="*/ 4829144 w 6994525"/>
                  <a:gd name="connsiteY13174" fmla="*/ 5921691 h 7571036"/>
                  <a:gd name="connsiteX13175" fmla="*/ 4827662 w 6994525"/>
                  <a:gd name="connsiteY13175" fmla="*/ 5923418 h 7571036"/>
                  <a:gd name="connsiteX13176" fmla="*/ 4829144 w 6994525"/>
                  <a:gd name="connsiteY13176" fmla="*/ 5925142 h 7571036"/>
                  <a:gd name="connsiteX13177" fmla="*/ 4830866 w 6994525"/>
                  <a:gd name="connsiteY13177" fmla="*/ 5923418 h 7571036"/>
                  <a:gd name="connsiteX13178" fmla="*/ 4832595 w 6994525"/>
                  <a:gd name="connsiteY13178" fmla="*/ 4403525 h 7571036"/>
                  <a:gd name="connsiteX13179" fmla="*/ 4789692 w 6994525"/>
                  <a:gd name="connsiteY13179" fmla="*/ 4360619 h 7571036"/>
                  <a:gd name="connsiteX13180" fmla="*/ 4746785 w 6994525"/>
                  <a:gd name="connsiteY13180" fmla="*/ 4403525 h 7571036"/>
                  <a:gd name="connsiteX13181" fmla="*/ 4789692 w 6994525"/>
                  <a:gd name="connsiteY13181" fmla="*/ 4446428 h 7571036"/>
                  <a:gd name="connsiteX13182" fmla="*/ 4832595 w 6994525"/>
                  <a:gd name="connsiteY13182" fmla="*/ 4403525 h 7571036"/>
                  <a:gd name="connsiteX13183" fmla="*/ 4833335 w 6994525"/>
                  <a:gd name="connsiteY13183" fmla="*/ 6044731 h 7571036"/>
                  <a:gd name="connsiteX13184" fmla="*/ 4832842 w 6994525"/>
                  <a:gd name="connsiteY13184" fmla="*/ 6044239 h 7571036"/>
                  <a:gd name="connsiteX13185" fmla="*/ 4832347 w 6994525"/>
                  <a:gd name="connsiteY13185" fmla="*/ 6044731 h 7571036"/>
                  <a:gd name="connsiteX13186" fmla="*/ 4832842 w 6994525"/>
                  <a:gd name="connsiteY13186" fmla="*/ 6045226 h 7571036"/>
                  <a:gd name="connsiteX13187" fmla="*/ 4833335 w 6994525"/>
                  <a:gd name="connsiteY13187" fmla="*/ 6044731 h 7571036"/>
                  <a:gd name="connsiteX13188" fmla="*/ 4834812 w 6994525"/>
                  <a:gd name="connsiteY13188" fmla="*/ 2400169 h 7571036"/>
                  <a:gd name="connsiteX13189" fmla="*/ 4810404 w 6994525"/>
                  <a:gd name="connsiteY13189" fmla="*/ 2375756 h 7571036"/>
                  <a:gd name="connsiteX13190" fmla="*/ 4785992 w 6994525"/>
                  <a:gd name="connsiteY13190" fmla="*/ 2400169 h 7571036"/>
                  <a:gd name="connsiteX13191" fmla="*/ 4810404 w 6994525"/>
                  <a:gd name="connsiteY13191" fmla="*/ 2424575 h 7571036"/>
                  <a:gd name="connsiteX13192" fmla="*/ 4834812 w 6994525"/>
                  <a:gd name="connsiteY13192" fmla="*/ 2400169 h 7571036"/>
                  <a:gd name="connsiteX13193" fmla="*/ 4836785 w 6994525"/>
                  <a:gd name="connsiteY13193" fmla="*/ 6165062 h 7571036"/>
                  <a:gd name="connsiteX13194" fmla="*/ 4835799 w 6994525"/>
                  <a:gd name="connsiteY13194" fmla="*/ 6164075 h 7571036"/>
                  <a:gd name="connsiteX13195" fmla="*/ 4834812 w 6994525"/>
                  <a:gd name="connsiteY13195" fmla="*/ 6165062 h 7571036"/>
                  <a:gd name="connsiteX13196" fmla="*/ 4835799 w 6994525"/>
                  <a:gd name="connsiteY13196" fmla="*/ 6166048 h 7571036"/>
                  <a:gd name="connsiteX13197" fmla="*/ 4836785 w 6994525"/>
                  <a:gd name="connsiteY13197" fmla="*/ 6165062 h 7571036"/>
                  <a:gd name="connsiteX13198" fmla="*/ 4849115 w 6994525"/>
                  <a:gd name="connsiteY13198" fmla="*/ 2256921 h 7571036"/>
                  <a:gd name="connsiteX13199" fmla="*/ 4829881 w 6994525"/>
                  <a:gd name="connsiteY13199" fmla="*/ 2237687 h 7571036"/>
                  <a:gd name="connsiteX13200" fmla="*/ 4810649 w 6994525"/>
                  <a:gd name="connsiteY13200" fmla="*/ 2256921 h 7571036"/>
                  <a:gd name="connsiteX13201" fmla="*/ 4829881 w 6994525"/>
                  <a:gd name="connsiteY13201" fmla="*/ 2276148 h 7571036"/>
                  <a:gd name="connsiteX13202" fmla="*/ 4849115 w 6994525"/>
                  <a:gd name="connsiteY13202" fmla="*/ 2256921 h 7571036"/>
                  <a:gd name="connsiteX13203" fmla="*/ 4849361 w 6994525"/>
                  <a:gd name="connsiteY13203" fmla="*/ 6280952 h 7571036"/>
                  <a:gd name="connsiteX13204" fmla="*/ 4846402 w 6994525"/>
                  <a:gd name="connsiteY13204" fmla="*/ 6277993 h 7571036"/>
                  <a:gd name="connsiteX13205" fmla="*/ 4843443 w 6994525"/>
                  <a:gd name="connsiteY13205" fmla="*/ 6280952 h 7571036"/>
                  <a:gd name="connsiteX13206" fmla="*/ 4846402 w 6994525"/>
                  <a:gd name="connsiteY13206" fmla="*/ 6283911 h 7571036"/>
                  <a:gd name="connsiteX13207" fmla="*/ 4849361 w 6994525"/>
                  <a:gd name="connsiteY13207" fmla="*/ 6280952 h 7571036"/>
                  <a:gd name="connsiteX13208" fmla="*/ 4851333 w 6994525"/>
                  <a:gd name="connsiteY13208" fmla="*/ 6400049 h 7571036"/>
                  <a:gd name="connsiteX13209" fmla="*/ 4848374 w 6994525"/>
                  <a:gd name="connsiteY13209" fmla="*/ 6397089 h 7571036"/>
                  <a:gd name="connsiteX13210" fmla="*/ 4845415 w 6994525"/>
                  <a:gd name="connsiteY13210" fmla="*/ 6400049 h 7571036"/>
                  <a:gd name="connsiteX13211" fmla="*/ 4848374 w 6994525"/>
                  <a:gd name="connsiteY13211" fmla="*/ 6403007 h 7571036"/>
                  <a:gd name="connsiteX13212" fmla="*/ 4851333 w 6994525"/>
                  <a:gd name="connsiteY13212" fmla="*/ 6400049 h 7571036"/>
                  <a:gd name="connsiteX13213" fmla="*/ 4851827 w 6994525"/>
                  <a:gd name="connsiteY13213" fmla="*/ 6518650 h 7571036"/>
                  <a:gd name="connsiteX13214" fmla="*/ 4849606 w 6994525"/>
                  <a:gd name="connsiteY13214" fmla="*/ 6516432 h 7571036"/>
                  <a:gd name="connsiteX13215" fmla="*/ 4847388 w 6994525"/>
                  <a:gd name="connsiteY13215" fmla="*/ 6518650 h 7571036"/>
                  <a:gd name="connsiteX13216" fmla="*/ 4849606 w 6994525"/>
                  <a:gd name="connsiteY13216" fmla="*/ 6520868 h 7571036"/>
                  <a:gd name="connsiteX13217" fmla="*/ 4851827 w 6994525"/>
                  <a:gd name="connsiteY13217" fmla="*/ 6518650 h 7571036"/>
                  <a:gd name="connsiteX13218" fmla="*/ 4854787 w 6994525"/>
                  <a:gd name="connsiteY13218" fmla="*/ 6636020 h 7571036"/>
                  <a:gd name="connsiteX13219" fmla="*/ 4852074 w 6994525"/>
                  <a:gd name="connsiteY13219" fmla="*/ 6633307 h 7571036"/>
                  <a:gd name="connsiteX13220" fmla="*/ 4849361 w 6994525"/>
                  <a:gd name="connsiteY13220" fmla="*/ 6636020 h 7571036"/>
                  <a:gd name="connsiteX13221" fmla="*/ 4852074 w 6994525"/>
                  <a:gd name="connsiteY13221" fmla="*/ 6638733 h 7571036"/>
                  <a:gd name="connsiteX13222" fmla="*/ 4854787 w 6994525"/>
                  <a:gd name="connsiteY13222" fmla="*/ 6636020 h 7571036"/>
                  <a:gd name="connsiteX13223" fmla="*/ 4856018 w 6994525"/>
                  <a:gd name="connsiteY13223" fmla="*/ 4150538 h 7571036"/>
                  <a:gd name="connsiteX13224" fmla="*/ 4817058 w 6994525"/>
                  <a:gd name="connsiteY13224" fmla="*/ 4111577 h 7571036"/>
                  <a:gd name="connsiteX13225" fmla="*/ 4778346 w 6994525"/>
                  <a:gd name="connsiteY13225" fmla="*/ 4150538 h 7571036"/>
                  <a:gd name="connsiteX13226" fmla="*/ 4817058 w 6994525"/>
                  <a:gd name="connsiteY13226" fmla="*/ 4189250 h 7571036"/>
                  <a:gd name="connsiteX13227" fmla="*/ 4856018 w 6994525"/>
                  <a:gd name="connsiteY13227" fmla="*/ 4150538 h 7571036"/>
                  <a:gd name="connsiteX13228" fmla="*/ 4856264 w 6994525"/>
                  <a:gd name="connsiteY13228" fmla="*/ 3790290 h 7571036"/>
                  <a:gd name="connsiteX13229" fmla="*/ 4833828 w 6994525"/>
                  <a:gd name="connsiteY13229" fmla="*/ 3767851 h 7571036"/>
                  <a:gd name="connsiteX13230" fmla="*/ 4811389 w 6994525"/>
                  <a:gd name="connsiteY13230" fmla="*/ 3790290 h 7571036"/>
                  <a:gd name="connsiteX13231" fmla="*/ 4833828 w 6994525"/>
                  <a:gd name="connsiteY13231" fmla="*/ 3812727 h 7571036"/>
                  <a:gd name="connsiteX13232" fmla="*/ 4856264 w 6994525"/>
                  <a:gd name="connsiteY13232" fmla="*/ 3790290 h 7571036"/>
                  <a:gd name="connsiteX13233" fmla="*/ 4857005 w 6994525"/>
                  <a:gd name="connsiteY13233" fmla="*/ 2644515 h 7571036"/>
                  <a:gd name="connsiteX13234" fmla="*/ 4851333 w 6994525"/>
                  <a:gd name="connsiteY13234" fmla="*/ 2638843 h 7571036"/>
                  <a:gd name="connsiteX13235" fmla="*/ 4845415 w 6994525"/>
                  <a:gd name="connsiteY13235" fmla="*/ 2644515 h 7571036"/>
                  <a:gd name="connsiteX13236" fmla="*/ 4851333 w 6994525"/>
                  <a:gd name="connsiteY13236" fmla="*/ 2650187 h 7571036"/>
                  <a:gd name="connsiteX13237" fmla="*/ 4857005 w 6994525"/>
                  <a:gd name="connsiteY13237" fmla="*/ 2644515 h 7571036"/>
                  <a:gd name="connsiteX13238" fmla="*/ 4857005 w 6994525"/>
                  <a:gd name="connsiteY13238" fmla="*/ 6753391 h 7571036"/>
                  <a:gd name="connsiteX13239" fmla="*/ 4853555 w 6994525"/>
                  <a:gd name="connsiteY13239" fmla="*/ 6749691 h 7571036"/>
                  <a:gd name="connsiteX13240" fmla="*/ 4849855 w 6994525"/>
                  <a:gd name="connsiteY13240" fmla="*/ 6753391 h 7571036"/>
                  <a:gd name="connsiteX13241" fmla="*/ 4853555 w 6994525"/>
                  <a:gd name="connsiteY13241" fmla="*/ 6756841 h 7571036"/>
                  <a:gd name="connsiteX13242" fmla="*/ 4857005 w 6994525"/>
                  <a:gd name="connsiteY13242" fmla="*/ 6753391 h 7571036"/>
                  <a:gd name="connsiteX13243" fmla="*/ 4859717 w 6994525"/>
                  <a:gd name="connsiteY13243" fmla="*/ 3217054 h 7571036"/>
                  <a:gd name="connsiteX13244" fmla="*/ 4844921 w 6994525"/>
                  <a:gd name="connsiteY13244" fmla="*/ 3202260 h 7571036"/>
                  <a:gd name="connsiteX13245" fmla="*/ 4830126 w 6994525"/>
                  <a:gd name="connsiteY13245" fmla="*/ 3217054 h 7571036"/>
                  <a:gd name="connsiteX13246" fmla="*/ 4844921 w 6994525"/>
                  <a:gd name="connsiteY13246" fmla="*/ 3231849 h 7571036"/>
                  <a:gd name="connsiteX13247" fmla="*/ 4859717 w 6994525"/>
                  <a:gd name="connsiteY13247" fmla="*/ 3217054 h 7571036"/>
                  <a:gd name="connsiteX13248" fmla="*/ 4859719 w 6994525"/>
                  <a:gd name="connsiteY13248" fmla="*/ 4549990 h 7571036"/>
                  <a:gd name="connsiteX13249" fmla="*/ 4814348 w 6994525"/>
                  <a:gd name="connsiteY13249" fmla="*/ 4504619 h 7571036"/>
                  <a:gd name="connsiteX13250" fmla="*/ 4768979 w 6994525"/>
                  <a:gd name="connsiteY13250" fmla="*/ 4549990 h 7571036"/>
                  <a:gd name="connsiteX13251" fmla="*/ 4814348 w 6994525"/>
                  <a:gd name="connsiteY13251" fmla="*/ 4595360 h 7571036"/>
                  <a:gd name="connsiteX13252" fmla="*/ 4859719 w 6994525"/>
                  <a:gd name="connsiteY13252" fmla="*/ 4549990 h 7571036"/>
                  <a:gd name="connsiteX13253" fmla="*/ 4859977 w 6994525"/>
                  <a:gd name="connsiteY13253" fmla="*/ 0 h 7571036"/>
                  <a:gd name="connsiteX13254" fmla="*/ 4833424 w 6994525"/>
                  <a:gd name="connsiteY13254" fmla="*/ 0 h 7571036"/>
                  <a:gd name="connsiteX13255" fmla="*/ 4846648 w 6994525"/>
                  <a:gd name="connsiteY13255" fmla="*/ 5506 h 7571036"/>
                  <a:gd name="connsiteX13256" fmla="*/ 4860210 w 6994525"/>
                  <a:gd name="connsiteY13256" fmla="*/ 6869775 h 7571036"/>
                  <a:gd name="connsiteX13257" fmla="*/ 4855278 w 6994525"/>
                  <a:gd name="connsiteY13257" fmla="*/ 6864842 h 7571036"/>
                  <a:gd name="connsiteX13258" fmla="*/ 4850346 w 6994525"/>
                  <a:gd name="connsiteY13258" fmla="*/ 6869775 h 7571036"/>
                  <a:gd name="connsiteX13259" fmla="*/ 4855278 w 6994525"/>
                  <a:gd name="connsiteY13259" fmla="*/ 6874706 h 7571036"/>
                  <a:gd name="connsiteX13260" fmla="*/ 4860210 w 6994525"/>
                  <a:gd name="connsiteY13260" fmla="*/ 6869775 h 7571036"/>
                  <a:gd name="connsiteX13261" fmla="*/ 4863664 w 6994525"/>
                  <a:gd name="connsiteY13261" fmla="*/ 6985666 h 7571036"/>
                  <a:gd name="connsiteX13262" fmla="*/ 4856760 w 6994525"/>
                  <a:gd name="connsiteY13262" fmla="*/ 6978762 h 7571036"/>
                  <a:gd name="connsiteX13263" fmla="*/ 4849855 w 6994525"/>
                  <a:gd name="connsiteY13263" fmla="*/ 6985666 h 7571036"/>
                  <a:gd name="connsiteX13264" fmla="*/ 4856760 w 6994525"/>
                  <a:gd name="connsiteY13264" fmla="*/ 6992571 h 7571036"/>
                  <a:gd name="connsiteX13265" fmla="*/ 4863664 w 6994525"/>
                  <a:gd name="connsiteY13265" fmla="*/ 6985666 h 7571036"/>
                  <a:gd name="connsiteX13266" fmla="*/ 4869333 w 6994525"/>
                  <a:gd name="connsiteY13266" fmla="*/ 2116869 h 7571036"/>
                  <a:gd name="connsiteX13267" fmla="*/ 4845661 w 6994525"/>
                  <a:gd name="connsiteY13267" fmla="*/ 2093194 h 7571036"/>
                  <a:gd name="connsiteX13268" fmla="*/ 4821990 w 6994525"/>
                  <a:gd name="connsiteY13268" fmla="*/ 2116869 h 7571036"/>
                  <a:gd name="connsiteX13269" fmla="*/ 4845661 w 6994525"/>
                  <a:gd name="connsiteY13269" fmla="*/ 2140541 h 7571036"/>
                  <a:gd name="connsiteX13270" fmla="*/ 4869333 w 6994525"/>
                  <a:gd name="connsiteY13270" fmla="*/ 2116869 h 7571036"/>
                  <a:gd name="connsiteX13271" fmla="*/ 4869581 w 6994525"/>
                  <a:gd name="connsiteY13271" fmla="*/ 7214731 h 7571036"/>
                  <a:gd name="connsiteX13272" fmla="*/ 4865141 w 6994525"/>
                  <a:gd name="connsiteY13272" fmla="*/ 7210295 h 7571036"/>
                  <a:gd name="connsiteX13273" fmla="*/ 4860704 w 6994525"/>
                  <a:gd name="connsiteY13273" fmla="*/ 7214731 h 7571036"/>
                  <a:gd name="connsiteX13274" fmla="*/ 4865141 w 6994525"/>
                  <a:gd name="connsiteY13274" fmla="*/ 7219171 h 7571036"/>
                  <a:gd name="connsiteX13275" fmla="*/ 4869581 w 6994525"/>
                  <a:gd name="connsiteY13275" fmla="*/ 7214731 h 7571036"/>
                  <a:gd name="connsiteX13276" fmla="*/ 4872292 w 6994525"/>
                  <a:gd name="connsiteY13276" fmla="*/ 2906126 h 7571036"/>
                  <a:gd name="connsiteX13277" fmla="*/ 4863907 w 6994525"/>
                  <a:gd name="connsiteY13277" fmla="*/ 2897744 h 7571036"/>
                  <a:gd name="connsiteX13278" fmla="*/ 4855524 w 6994525"/>
                  <a:gd name="connsiteY13278" fmla="*/ 2906126 h 7571036"/>
                  <a:gd name="connsiteX13279" fmla="*/ 4863907 w 6994525"/>
                  <a:gd name="connsiteY13279" fmla="*/ 2914511 h 7571036"/>
                  <a:gd name="connsiteX13280" fmla="*/ 4872292 w 6994525"/>
                  <a:gd name="connsiteY13280" fmla="*/ 2906126 h 7571036"/>
                  <a:gd name="connsiteX13281" fmla="*/ 4872292 w 6994525"/>
                  <a:gd name="connsiteY13281" fmla="*/ 7099091 h 7571036"/>
                  <a:gd name="connsiteX13282" fmla="*/ 4864155 w 6994525"/>
                  <a:gd name="connsiteY13282" fmla="*/ 7091200 h 7571036"/>
                  <a:gd name="connsiteX13283" fmla="*/ 4856265 w 6994525"/>
                  <a:gd name="connsiteY13283" fmla="*/ 7099091 h 7571036"/>
                  <a:gd name="connsiteX13284" fmla="*/ 4864155 w 6994525"/>
                  <a:gd name="connsiteY13284" fmla="*/ 7107227 h 7571036"/>
                  <a:gd name="connsiteX13285" fmla="*/ 4872292 w 6994525"/>
                  <a:gd name="connsiteY13285" fmla="*/ 7099091 h 7571036"/>
                  <a:gd name="connsiteX13286" fmla="*/ 4872295 w 6994525"/>
                  <a:gd name="connsiteY13286" fmla="*/ 7329637 h 7571036"/>
                  <a:gd name="connsiteX13287" fmla="*/ 4866128 w 6994525"/>
                  <a:gd name="connsiteY13287" fmla="*/ 7323473 h 7571036"/>
                  <a:gd name="connsiteX13288" fmla="*/ 4859964 w 6994525"/>
                  <a:gd name="connsiteY13288" fmla="*/ 7329637 h 7571036"/>
                  <a:gd name="connsiteX13289" fmla="*/ 4866128 w 6994525"/>
                  <a:gd name="connsiteY13289" fmla="*/ 7335804 h 7571036"/>
                  <a:gd name="connsiteX13290" fmla="*/ 4872295 w 6994525"/>
                  <a:gd name="connsiteY13290" fmla="*/ 7329637 h 7571036"/>
                  <a:gd name="connsiteX13291" fmla="*/ 4874018 w 6994525"/>
                  <a:gd name="connsiteY13291" fmla="*/ 1980521 h 7571036"/>
                  <a:gd name="connsiteX13292" fmla="*/ 4859719 w 6994525"/>
                  <a:gd name="connsiteY13292" fmla="*/ 1966225 h 7571036"/>
                  <a:gd name="connsiteX13293" fmla="*/ 4845415 w 6994525"/>
                  <a:gd name="connsiteY13293" fmla="*/ 1980521 h 7571036"/>
                  <a:gd name="connsiteX13294" fmla="*/ 4859719 w 6994525"/>
                  <a:gd name="connsiteY13294" fmla="*/ 1994816 h 7571036"/>
                  <a:gd name="connsiteX13295" fmla="*/ 4874018 w 6994525"/>
                  <a:gd name="connsiteY13295" fmla="*/ 1980521 h 7571036"/>
                  <a:gd name="connsiteX13296" fmla="*/ 4876978 w 6994525"/>
                  <a:gd name="connsiteY13296" fmla="*/ 3676866 h 7571036"/>
                  <a:gd name="connsiteX13297" fmla="*/ 4855279 w 6994525"/>
                  <a:gd name="connsiteY13297" fmla="*/ 3655167 h 7571036"/>
                  <a:gd name="connsiteX13298" fmla="*/ 4833580 w 6994525"/>
                  <a:gd name="connsiteY13298" fmla="*/ 3676866 h 7571036"/>
                  <a:gd name="connsiteX13299" fmla="*/ 4855279 w 6994525"/>
                  <a:gd name="connsiteY13299" fmla="*/ 3698565 h 7571036"/>
                  <a:gd name="connsiteX13300" fmla="*/ 4876978 w 6994525"/>
                  <a:gd name="connsiteY13300" fmla="*/ 3676866 h 7571036"/>
                  <a:gd name="connsiteX13301" fmla="*/ 4879198 w 6994525"/>
                  <a:gd name="connsiteY13301" fmla="*/ 3331211 h 7571036"/>
                  <a:gd name="connsiteX13302" fmla="*/ 4861936 w 6994525"/>
                  <a:gd name="connsiteY13302" fmla="*/ 3313959 h 7571036"/>
                  <a:gd name="connsiteX13303" fmla="*/ 4844923 w 6994525"/>
                  <a:gd name="connsiteY13303" fmla="*/ 3331211 h 7571036"/>
                  <a:gd name="connsiteX13304" fmla="*/ 4861936 w 6994525"/>
                  <a:gd name="connsiteY13304" fmla="*/ 3348475 h 7571036"/>
                  <a:gd name="connsiteX13305" fmla="*/ 4879198 w 6994525"/>
                  <a:gd name="connsiteY13305" fmla="*/ 3331211 h 7571036"/>
                  <a:gd name="connsiteX13306" fmla="*/ 4880182 w 6994525"/>
                  <a:gd name="connsiteY13306" fmla="*/ 670660 h 7571036"/>
                  <a:gd name="connsiteX13307" fmla="*/ 4838263 w 6994525"/>
                  <a:gd name="connsiteY13307" fmla="*/ 628698 h 7571036"/>
                  <a:gd name="connsiteX13308" fmla="*/ 4796592 w 6994525"/>
                  <a:gd name="connsiteY13308" fmla="*/ 670660 h 7571036"/>
                  <a:gd name="connsiteX13309" fmla="*/ 4838263 w 6994525"/>
                  <a:gd name="connsiteY13309" fmla="*/ 712573 h 7571036"/>
                  <a:gd name="connsiteX13310" fmla="*/ 4880182 w 6994525"/>
                  <a:gd name="connsiteY13310" fmla="*/ 670660 h 7571036"/>
                  <a:gd name="connsiteX13311" fmla="*/ 4880921 w 6994525"/>
                  <a:gd name="connsiteY13311" fmla="*/ 4692758 h 7571036"/>
                  <a:gd name="connsiteX13312" fmla="*/ 4834814 w 6994525"/>
                  <a:gd name="connsiteY13312" fmla="*/ 4646648 h 7571036"/>
                  <a:gd name="connsiteX13313" fmla="*/ 4788704 w 6994525"/>
                  <a:gd name="connsiteY13313" fmla="*/ 4692758 h 7571036"/>
                  <a:gd name="connsiteX13314" fmla="*/ 4834814 w 6994525"/>
                  <a:gd name="connsiteY13314" fmla="*/ 4738866 h 7571036"/>
                  <a:gd name="connsiteX13315" fmla="*/ 4880921 w 6994525"/>
                  <a:gd name="connsiteY13315" fmla="*/ 4692758 h 7571036"/>
                  <a:gd name="connsiteX13316" fmla="*/ 4881908 w 6994525"/>
                  <a:gd name="connsiteY13316" fmla="*/ 551787 h 7571036"/>
                  <a:gd name="connsiteX13317" fmla="*/ 4840484 w 6994525"/>
                  <a:gd name="connsiteY13317" fmla="*/ 510364 h 7571036"/>
                  <a:gd name="connsiteX13318" fmla="*/ 4799059 w 6994525"/>
                  <a:gd name="connsiteY13318" fmla="*/ 551787 h 7571036"/>
                  <a:gd name="connsiteX13319" fmla="*/ 4840484 w 6994525"/>
                  <a:gd name="connsiteY13319" fmla="*/ 593210 h 7571036"/>
                  <a:gd name="connsiteX13320" fmla="*/ 4881908 w 6994525"/>
                  <a:gd name="connsiteY13320" fmla="*/ 551787 h 7571036"/>
                  <a:gd name="connsiteX13321" fmla="*/ 4884376 w 6994525"/>
                  <a:gd name="connsiteY13321" fmla="*/ 315616 h 7571036"/>
                  <a:gd name="connsiteX13322" fmla="*/ 4843443 w 6994525"/>
                  <a:gd name="connsiteY13322" fmla="*/ 274688 h 7571036"/>
                  <a:gd name="connsiteX13323" fmla="*/ 4802513 w 6994525"/>
                  <a:gd name="connsiteY13323" fmla="*/ 315616 h 7571036"/>
                  <a:gd name="connsiteX13324" fmla="*/ 4843443 w 6994525"/>
                  <a:gd name="connsiteY13324" fmla="*/ 356548 h 7571036"/>
                  <a:gd name="connsiteX13325" fmla="*/ 4884376 w 6994525"/>
                  <a:gd name="connsiteY13325" fmla="*/ 315616 h 7571036"/>
                  <a:gd name="connsiteX13326" fmla="*/ 4884867 w 6994525"/>
                  <a:gd name="connsiteY13326" fmla="*/ 5102566 h 7571036"/>
                  <a:gd name="connsiteX13327" fmla="*/ 4878457 w 6994525"/>
                  <a:gd name="connsiteY13327" fmla="*/ 5096156 h 7571036"/>
                  <a:gd name="connsiteX13328" fmla="*/ 4872045 w 6994525"/>
                  <a:gd name="connsiteY13328" fmla="*/ 5102566 h 7571036"/>
                  <a:gd name="connsiteX13329" fmla="*/ 4878457 w 6994525"/>
                  <a:gd name="connsiteY13329" fmla="*/ 5108978 h 7571036"/>
                  <a:gd name="connsiteX13330" fmla="*/ 4884867 w 6994525"/>
                  <a:gd name="connsiteY13330" fmla="*/ 5102566 h 7571036"/>
                  <a:gd name="connsiteX13331" fmla="*/ 4885360 w 6994525"/>
                  <a:gd name="connsiteY13331" fmla="*/ 433455 h 7571036"/>
                  <a:gd name="connsiteX13332" fmla="*/ 4842457 w 6994525"/>
                  <a:gd name="connsiteY13332" fmla="*/ 390800 h 7571036"/>
                  <a:gd name="connsiteX13333" fmla="*/ 4799550 w 6994525"/>
                  <a:gd name="connsiteY13333" fmla="*/ 433455 h 7571036"/>
                  <a:gd name="connsiteX13334" fmla="*/ 4842457 w 6994525"/>
                  <a:gd name="connsiteY13334" fmla="*/ 476359 h 7571036"/>
                  <a:gd name="connsiteX13335" fmla="*/ 4885360 w 6994525"/>
                  <a:gd name="connsiteY13335" fmla="*/ 433455 h 7571036"/>
                  <a:gd name="connsiteX13336" fmla="*/ 4885363 w 6994525"/>
                  <a:gd name="connsiteY13336" fmla="*/ 198767 h 7571036"/>
                  <a:gd name="connsiteX13337" fmla="*/ 4844923 w 6994525"/>
                  <a:gd name="connsiteY13337" fmla="*/ 158331 h 7571036"/>
                  <a:gd name="connsiteX13338" fmla="*/ 4804485 w 6994525"/>
                  <a:gd name="connsiteY13338" fmla="*/ 198767 h 7571036"/>
                  <a:gd name="connsiteX13339" fmla="*/ 4844923 w 6994525"/>
                  <a:gd name="connsiteY13339" fmla="*/ 239204 h 7571036"/>
                  <a:gd name="connsiteX13340" fmla="*/ 4885363 w 6994525"/>
                  <a:gd name="connsiteY13340" fmla="*/ 198767 h 7571036"/>
                  <a:gd name="connsiteX13341" fmla="*/ 4885363 w 6994525"/>
                  <a:gd name="connsiteY13341" fmla="*/ 4831826 h 7571036"/>
                  <a:gd name="connsiteX13342" fmla="*/ 4852074 w 6994525"/>
                  <a:gd name="connsiteY13342" fmla="*/ 4798538 h 7571036"/>
                  <a:gd name="connsiteX13343" fmla="*/ 4818786 w 6994525"/>
                  <a:gd name="connsiteY13343" fmla="*/ 4831826 h 7571036"/>
                  <a:gd name="connsiteX13344" fmla="*/ 4852074 w 6994525"/>
                  <a:gd name="connsiteY13344" fmla="*/ 4865115 h 7571036"/>
                  <a:gd name="connsiteX13345" fmla="*/ 4885363 w 6994525"/>
                  <a:gd name="connsiteY13345" fmla="*/ 4831826 h 7571036"/>
                  <a:gd name="connsiteX13346" fmla="*/ 4886103 w 6994525"/>
                  <a:gd name="connsiteY13346" fmla="*/ 81920 h 7571036"/>
                  <a:gd name="connsiteX13347" fmla="*/ 4845910 w 6994525"/>
                  <a:gd name="connsiteY13347" fmla="*/ 41729 h 7571036"/>
                  <a:gd name="connsiteX13348" fmla="*/ 4805717 w 6994525"/>
                  <a:gd name="connsiteY13348" fmla="*/ 81920 h 7571036"/>
                  <a:gd name="connsiteX13349" fmla="*/ 4845910 w 6994525"/>
                  <a:gd name="connsiteY13349" fmla="*/ 122110 h 7571036"/>
                  <a:gd name="connsiteX13350" fmla="*/ 4886103 w 6994525"/>
                  <a:gd name="connsiteY13350" fmla="*/ 81920 h 7571036"/>
                  <a:gd name="connsiteX13351" fmla="*/ 4888075 w 6994525"/>
                  <a:gd name="connsiteY13351" fmla="*/ 3561960 h 7571036"/>
                  <a:gd name="connsiteX13352" fmla="*/ 4867114 w 6994525"/>
                  <a:gd name="connsiteY13352" fmla="*/ 3541001 h 7571036"/>
                  <a:gd name="connsiteX13353" fmla="*/ 4846155 w 6994525"/>
                  <a:gd name="connsiteY13353" fmla="*/ 3561960 h 7571036"/>
                  <a:gd name="connsiteX13354" fmla="*/ 4867114 w 6994525"/>
                  <a:gd name="connsiteY13354" fmla="*/ 3582921 h 7571036"/>
                  <a:gd name="connsiteX13355" fmla="*/ 4888075 w 6994525"/>
                  <a:gd name="connsiteY13355" fmla="*/ 3561960 h 7571036"/>
                  <a:gd name="connsiteX13356" fmla="*/ 4889058 w 6994525"/>
                  <a:gd name="connsiteY13356" fmla="*/ 3446611 h 7571036"/>
                  <a:gd name="connsiteX13357" fmla="*/ 4869333 w 6994525"/>
                  <a:gd name="connsiteY13357" fmla="*/ 3426887 h 7571036"/>
                  <a:gd name="connsiteX13358" fmla="*/ 4849606 w 6994525"/>
                  <a:gd name="connsiteY13358" fmla="*/ 3446611 h 7571036"/>
                  <a:gd name="connsiteX13359" fmla="*/ 4869333 w 6994525"/>
                  <a:gd name="connsiteY13359" fmla="*/ 3466289 h 7571036"/>
                  <a:gd name="connsiteX13360" fmla="*/ 4889058 w 6994525"/>
                  <a:gd name="connsiteY13360" fmla="*/ 3446611 h 7571036"/>
                  <a:gd name="connsiteX13361" fmla="*/ 4890787 w 6994525"/>
                  <a:gd name="connsiteY13361" fmla="*/ 1686163 h 7571036"/>
                  <a:gd name="connsiteX13362" fmla="*/ 4844679 w 6994525"/>
                  <a:gd name="connsiteY13362" fmla="*/ 1640052 h 7571036"/>
                  <a:gd name="connsiteX13363" fmla="*/ 4798814 w 6994525"/>
                  <a:gd name="connsiteY13363" fmla="*/ 1686163 h 7571036"/>
                  <a:gd name="connsiteX13364" fmla="*/ 4844679 w 6994525"/>
                  <a:gd name="connsiteY13364" fmla="*/ 1732017 h 7571036"/>
                  <a:gd name="connsiteX13365" fmla="*/ 4890787 w 6994525"/>
                  <a:gd name="connsiteY13365" fmla="*/ 1686163 h 7571036"/>
                  <a:gd name="connsiteX13366" fmla="*/ 4893004 w 6994525"/>
                  <a:gd name="connsiteY13366" fmla="*/ 4306376 h 7571036"/>
                  <a:gd name="connsiteX13367" fmla="*/ 4854046 w 6994525"/>
                  <a:gd name="connsiteY13367" fmla="*/ 4267415 h 7571036"/>
                  <a:gd name="connsiteX13368" fmla="*/ 4815086 w 6994525"/>
                  <a:gd name="connsiteY13368" fmla="*/ 4306376 h 7571036"/>
                  <a:gd name="connsiteX13369" fmla="*/ 4854046 w 6994525"/>
                  <a:gd name="connsiteY13369" fmla="*/ 4345333 h 7571036"/>
                  <a:gd name="connsiteX13370" fmla="*/ 4893004 w 6994525"/>
                  <a:gd name="connsiteY13370" fmla="*/ 4306376 h 7571036"/>
                  <a:gd name="connsiteX13371" fmla="*/ 4897442 w 6994525"/>
                  <a:gd name="connsiteY13371" fmla="*/ 4968677 h 7571036"/>
                  <a:gd name="connsiteX13372" fmla="*/ 4866128 w 6994525"/>
                  <a:gd name="connsiteY13372" fmla="*/ 4937361 h 7571036"/>
                  <a:gd name="connsiteX13373" fmla="*/ 4834812 w 6994525"/>
                  <a:gd name="connsiteY13373" fmla="*/ 4968677 h 7571036"/>
                  <a:gd name="connsiteX13374" fmla="*/ 4866128 w 6994525"/>
                  <a:gd name="connsiteY13374" fmla="*/ 4999989 h 7571036"/>
                  <a:gd name="connsiteX13375" fmla="*/ 4897442 w 6994525"/>
                  <a:gd name="connsiteY13375" fmla="*/ 4968677 h 7571036"/>
                  <a:gd name="connsiteX13376" fmla="*/ 4898922 w 6994525"/>
                  <a:gd name="connsiteY13376" fmla="*/ 1557213 h 7571036"/>
                  <a:gd name="connsiteX13377" fmla="*/ 4852320 w 6994525"/>
                  <a:gd name="connsiteY13377" fmla="*/ 1510614 h 7571036"/>
                  <a:gd name="connsiteX13378" fmla="*/ 4805717 w 6994525"/>
                  <a:gd name="connsiteY13378" fmla="*/ 1557213 h 7571036"/>
                  <a:gd name="connsiteX13379" fmla="*/ 4852320 w 6994525"/>
                  <a:gd name="connsiteY13379" fmla="*/ 1603820 h 7571036"/>
                  <a:gd name="connsiteX13380" fmla="*/ 4898922 w 6994525"/>
                  <a:gd name="connsiteY13380" fmla="*/ 1557213 h 7571036"/>
                  <a:gd name="connsiteX13381" fmla="*/ 4898922 w 6994525"/>
                  <a:gd name="connsiteY13381" fmla="*/ 1846202 h 7571036"/>
                  <a:gd name="connsiteX13382" fmla="*/ 4871060 w 6994525"/>
                  <a:gd name="connsiteY13382" fmla="*/ 1818337 h 7571036"/>
                  <a:gd name="connsiteX13383" fmla="*/ 4843197 w 6994525"/>
                  <a:gd name="connsiteY13383" fmla="*/ 1846202 h 7571036"/>
                  <a:gd name="connsiteX13384" fmla="*/ 4871060 w 6994525"/>
                  <a:gd name="connsiteY13384" fmla="*/ 1874055 h 7571036"/>
                  <a:gd name="connsiteX13385" fmla="*/ 4898922 w 6994525"/>
                  <a:gd name="connsiteY13385" fmla="*/ 1846202 h 7571036"/>
                  <a:gd name="connsiteX13386" fmla="*/ 4901880 w 6994525"/>
                  <a:gd name="connsiteY13386" fmla="*/ 4044508 h 7571036"/>
                  <a:gd name="connsiteX13387" fmla="*/ 4865879 w 6994525"/>
                  <a:gd name="connsiteY13387" fmla="*/ 4008509 h 7571036"/>
                  <a:gd name="connsiteX13388" fmla="*/ 4829880 w 6994525"/>
                  <a:gd name="connsiteY13388" fmla="*/ 4044508 h 7571036"/>
                  <a:gd name="connsiteX13389" fmla="*/ 4865879 w 6994525"/>
                  <a:gd name="connsiteY13389" fmla="*/ 4080510 h 7571036"/>
                  <a:gd name="connsiteX13390" fmla="*/ 4901880 w 6994525"/>
                  <a:gd name="connsiteY13390" fmla="*/ 4044508 h 7571036"/>
                  <a:gd name="connsiteX13391" fmla="*/ 4904346 w 6994525"/>
                  <a:gd name="connsiteY13391" fmla="*/ 1429999 h 7571036"/>
                  <a:gd name="connsiteX13392" fmla="*/ 4858730 w 6994525"/>
                  <a:gd name="connsiteY13392" fmla="*/ 1384382 h 7571036"/>
                  <a:gd name="connsiteX13393" fmla="*/ 4813114 w 6994525"/>
                  <a:gd name="connsiteY13393" fmla="*/ 1429999 h 7571036"/>
                  <a:gd name="connsiteX13394" fmla="*/ 4858730 w 6994525"/>
                  <a:gd name="connsiteY13394" fmla="*/ 1475615 h 7571036"/>
                  <a:gd name="connsiteX13395" fmla="*/ 4904346 w 6994525"/>
                  <a:gd name="connsiteY13395" fmla="*/ 1429999 h 7571036"/>
                  <a:gd name="connsiteX13396" fmla="*/ 4905829 w 6994525"/>
                  <a:gd name="connsiteY13396" fmla="*/ 5227089 h 7571036"/>
                  <a:gd name="connsiteX13397" fmla="*/ 4898184 w 6994525"/>
                  <a:gd name="connsiteY13397" fmla="*/ 5219443 h 7571036"/>
                  <a:gd name="connsiteX13398" fmla="*/ 4890539 w 6994525"/>
                  <a:gd name="connsiteY13398" fmla="*/ 5227089 h 7571036"/>
                  <a:gd name="connsiteX13399" fmla="*/ 4898184 w 6994525"/>
                  <a:gd name="connsiteY13399" fmla="*/ 5234730 h 7571036"/>
                  <a:gd name="connsiteX13400" fmla="*/ 4905829 w 6994525"/>
                  <a:gd name="connsiteY13400" fmla="*/ 5227089 h 7571036"/>
                  <a:gd name="connsiteX13401" fmla="*/ 4906567 w 6994525"/>
                  <a:gd name="connsiteY13401" fmla="*/ 2492877 h 7571036"/>
                  <a:gd name="connsiteX13402" fmla="*/ 4880923 w 6994525"/>
                  <a:gd name="connsiteY13402" fmla="*/ 2467232 h 7571036"/>
                  <a:gd name="connsiteX13403" fmla="*/ 4855279 w 6994525"/>
                  <a:gd name="connsiteY13403" fmla="*/ 2492877 h 7571036"/>
                  <a:gd name="connsiteX13404" fmla="*/ 4880923 w 6994525"/>
                  <a:gd name="connsiteY13404" fmla="*/ 2518520 h 7571036"/>
                  <a:gd name="connsiteX13405" fmla="*/ 4906567 w 6994525"/>
                  <a:gd name="connsiteY13405" fmla="*/ 2492877 h 7571036"/>
                  <a:gd name="connsiteX13406" fmla="*/ 4908540 w 6994525"/>
                  <a:gd name="connsiteY13406" fmla="*/ 5358017 h 7571036"/>
                  <a:gd name="connsiteX13407" fmla="*/ 4907059 w 6994525"/>
                  <a:gd name="connsiteY13407" fmla="*/ 5356539 h 7571036"/>
                  <a:gd name="connsiteX13408" fmla="*/ 4905580 w 6994525"/>
                  <a:gd name="connsiteY13408" fmla="*/ 5358017 h 7571036"/>
                  <a:gd name="connsiteX13409" fmla="*/ 4907059 w 6994525"/>
                  <a:gd name="connsiteY13409" fmla="*/ 5359253 h 7571036"/>
                  <a:gd name="connsiteX13410" fmla="*/ 4908540 w 6994525"/>
                  <a:gd name="connsiteY13410" fmla="*/ 5358017 h 7571036"/>
                  <a:gd name="connsiteX13411" fmla="*/ 4910020 w 6994525"/>
                  <a:gd name="connsiteY13411" fmla="*/ 1304508 h 7571036"/>
                  <a:gd name="connsiteX13412" fmla="*/ 4864402 w 6994525"/>
                  <a:gd name="connsiteY13412" fmla="*/ 1258641 h 7571036"/>
                  <a:gd name="connsiteX13413" fmla="*/ 4818786 w 6994525"/>
                  <a:gd name="connsiteY13413" fmla="*/ 1304508 h 7571036"/>
                  <a:gd name="connsiteX13414" fmla="*/ 4864402 w 6994525"/>
                  <a:gd name="connsiteY13414" fmla="*/ 1350126 h 7571036"/>
                  <a:gd name="connsiteX13415" fmla="*/ 4910020 w 6994525"/>
                  <a:gd name="connsiteY13415" fmla="*/ 1304508 h 7571036"/>
                  <a:gd name="connsiteX13416" fmla="*/ 4914210 w 6994525"/>
                  <a:gd name="connsiteY13416" fmla="*/ 2745859 h 7571036"/>
                  <a:gd name="connsiteX13417" fmla="*/ 4908539 w 6994525"/>
                  <a:gd name="connsiteY13417" fmla="*/ 2740187 h 7571036"/>
                  <a:gd name="connsiteX13418" fmla="*/ 4902867 w 6994525"/>
                  <a:gd name="connsiteY13418" fmla="*/ 2745859 h 7571036"/>
                  <a:gd name="connsiteX13419" fmla="*/ 4908539 w 6994525"/>
                  <a:gd name="connsiteY13419" fmla="*/ 2751533 h 7571036"/>
                  <a:gd name="connsiteX13420" fmla="*/ 4914210 w 6994525"/>
                  <a:gd name="connsiteY13420" fmla="*/ 2745859 h 7571036"/>
                  <a:gd name="connsiteX13421" fmla="*/ 4914211 w 6994525"/>
                  <a:gd name="connsiteY13421" fmla="*/ 1180250 h 7571036"/>
                  <a:gd name="connsiteX13422" fmla="*/ 4869827 w 6994525"/>
                  <a:gd name="connsiteY13422" fmla="*/ 1135621 h 7571036"/>
                  <a:gd name="connsiteX13423" fmla="*/ 4825198 w 6994525"/>
                  <a:gd name="connsiteY13423" fmla="*/ 1180250 h 7571036"/>
                  <a:gd name="connsiteX13424" fmla="*/ 4869827 w 6994525"/>
                  <a:gd name="connsiteY13424" fmla="*/ 1224639 h 7571036"/>
                  <a:gd name="connsiteX13425" fmla="*/ 4914211 w 6994525"/>
                  <a:gd name="connsiteY13425" fmla="*/ 1180250 h 7571036"/>
                  <a:gd name="connsiteX13426" fmla="*/ 4914949 w 6994525"/>
                  <a:gd name="connsiteY13426" fmla="*/ 3015609 h 7571036"/>
                  <a:gd name="connsiteX13427" fmla="*/ 4904594 w 6994525"/>
                  <a:gd name="connsiteY13427" fmla="*/ 3005005 h 7571036"/>
                  <a:gd name="connsiteX13428" fmla="*/ 4893990 w 6994525"/>
                  <a:gd name="connsiteY13428" fmla="*/ 3015609 h 7571036"/>
                  <a:gd name="connsiteX13429" fmla="*/ 4904594 w 6994525"/>
                  <a:gd name="connsiteY13429" fmla="*/ 3026213 h 7571036"/>
                  <a:gd name="connsiteX13430" fmla="*/ 4914949 w 6994525"/>
                  <a:gd name="connsiteY13430" fmla="*/ 3015609 h 7571036"/>
                  <a:gd name="connsiteX13431" fmla="*/ 4919880 w 6994525"/>
                  <a:gd name="connsiteY13431" fmla="*/ 1056723 h 7571036"/>
                  <a:gd name="connsiteX13432" fmla="*/ 4874018 w 6994525"/>
                  <a:gd name="connsiteY13432" fmla="*/ 1011123 h 7571036"/>
                  <a:gd name="connsiteX13433" fmla="*/ 4828154 w 6994525"/>
                  <a:gd name="connsiteY13433" fmla="*/ 1056723 h 7571036"/>
                  <a:gd name="connsiteX13434" fmla="*/ 4874018 w 6994525"/>
                  <a:gd name="connsiteY13434" fmla="*/ 1102600 h 7571036"/>
                  <a:gd name="connsiteX13435" fmla="*/ 4919880 w 6994525"/>
                  <a:gd name="connsiteY13435" fmla="*/ 1056723 h 7571036"/>
                  <a:gd name="connsiteX13436" fmla="*/ 4922350 w 6994525"/>
                  <a:gd name="connsiteY13436" fmla="*/ 934452 h 7571036"/>
                  <a:gd name="connsiteX13437" fmla="*/ 4877226 w 6994525"/>
                  <a:gd name="connsiteY13437" fmla="*/ 889331 h 7571036"/>
                  <a:gd name="connsiteX13438" fmla="*/ 4832102 w 6994525"/>
                  <a:gd name="connsiteY13438" fmla="*/ 934452 h 7571036"/>
                  <a:gd name="connsiteX13439" fmla="*/ 4877226 w 6994525"/>
                  <a:gd name="connsiteY13439" fmla="*/ 979577 h 7571036"/>
                  <a:gd name="connsiteX13440" fmla="*/ 4922350 w 6994525"/>
                  <a:gd name="connsiteY13440" fmla="*/ 934452 h 7571036"/>
                  <a:gd name="connsiteX13441" fmla="*/ 4923579 w 6994525"/>
                  <a:gd name="connsiteY13441" fmla="*/ 5614706 h 7571036"/>
                  <a:gd name="connsiteX13442" fmla="*/ 4919882 w 6994525"/>
                  <a:gd name="connsiteY13442" fmla="*/ 5611006 h 7571036"/>
                  <a:gd name="connsiteX13443" fmla="*/ 4916183 w 6994525"/>
                  <a:gd name="connsiteY13443" fmla="*/ 5614706 h 7571036"/>
                  <a:gd name="connsiteX13444" fmla="*/ 4919882 w 6994525"/>
                  <a:gd name="connsiteY13444" fmla="*/ 5618402 h 7571036"/>
                  <a:gd name="connsiteX13445" fmla="*/ 4923579 w 6994525"/>
                  <a:gd name="connsiteY13445" fmla="*/ 5614706 h 7571036"/>
                  <a:gd name="connsiteX13446" fmla="*/ 4925552 w 6994525"/>
                  <a:gd name="connsiteY13446" fmla="*/ 813158 h 7571036"/>
                  <a:gd name="connsiteX13447" fmla="*/ 4880676 w 6994525"/>
                  <a:gd name="connsiteY13447" fmla="*/ 768281 h 7571036"/>
                  <a:gd name="connsiteX13448" fmla="*/ 4835798 w 6994525"/>
                  <a:gd name="connsiteY13448" fmla="*/ 813158 h 7571036"/>
                  <a:gd name="connsiteX13449" fmla="*/ 4880676 w 6994525"/>
                  <a:gd name="connsiteY13449" fmla="*/ 858032 h 7571036"/>
                  <a:gd name="connsiteX13450" fmla="*/ 4925552 w 6994525"/>
                  <a:gd name="connsiteY13450" fmla="*/ 813158 h 7571036"/>
                  <a:gd name="connsiteX13451" fmla="*/ 4926292 w 6994525"/>
                  <a:gd name="connsiteY13451" fmla="*/ 5487472 h 7571036"/>
                  <a:gd name="connsiteX13452" fmla="*/ 4913719 w 6994525"/>
                  <a:gd name="connsiteY13452" fmla="*/ 5474896 h 7571036"/>
                  <a:gd name="connsiteX13453" fmla="*/ 4901142 w 6994525"/>
                  <a:gd name="connsiteY13453" fmla="*/ 5487472 h 7571036"/>
                  <a:gd name="connsiteX13454" fmla="*/ 4913719 w 6994525"/>
                  <a:gd name="connsiteY13454" fmla="*/ 5500048 h 7571036"/>
                  <a:gd name="connsiteX13455" fmla="*/ 4926292 w 6994525"/>
                  <a:gd name="connsiteY13455" fmla="*/ 5487472 h 7571036"/>
                  <a:gd name="connsiteX13456" fmla="*/ 4926788 w 6994525"/>
                  <a:gd name="connsiteY13456" fmla="*/ 2345200 h 7571036"/>
                  <a:gd name="connsiteX13457" fmla="*/ 4905335 w 6994525"/>
                  <a:gd name="connsiteY13457" fmla="*/ 2323732 h 7571036"/>
                  <a:gd name="connsiteX13458" fmla="*/ 4883882 w 6994525"/>
                  <a:gd name="connsiteY13458" fmla="*/ 2345200 h 7571036"/>
                  <a:gd name="connsiteX13459" fmla="*/ 4905335 w 6994525"/>
                  <a:gd name="connsiteY13459" fmla="*/ 2366650 h 7571036"/>
                  <a:gd name="connsiteX13460" fmla="*/ 4926788 w 6994525"/>
                  <a:gd name="connsiteY13460" fmla="*/ 2345200 h 7571036"/>
                  <a:gd name="connsiteX13461" fmla="*/ 4927528 w 6994525"/>
                  <a:gd name="connsiteY13461" fmla="*/ 5741443 h 7571036"/>
                  <a:gd name="connsiteX13462" fmla="*/ 4924569 w 6994525"/>
                  <a:gd name="connsiteY13462" fmla="*/ 5738484 h 7571036"/>
                  <a:gd name="connsiteX13463" fmla="*/ 4921856 w 6994525"/>
                  <a:gd name="connsiteY13463" fmla="*/ 5741443 h 7571036"/>
                  <a:gd name="connsiteX13464" fmla="*/ 4924569 w 6994525"/>
                  <a:gd name="connsiteY13464" fmla="*/ 5744156 h 7571036"/>
                  <a:gd name="connsiteX13465" fmla="*/ 4927528 w 6994525"/>
                  <a:gd name="connsiteY13465" fmla="*/ 5741443 h 7571036"/>
                  <a:gd name="connsiteX13466" fmla="*/ 4928019 w 6994525"/>
                  <a:gd name="connsiteY13466" fmla="*/ 4457278 h 7571036"/>
                  <a:gd name="connsiteX13467" fmla="*/ 4884622 w 6994525"/>
                  <a:gd name="connsiteY13467" fmla="*/ 4413880 h 7571036"/>
                  <a:gd name="connsiteX13468" fmla="*/ 4841224 w 6994525"/>
                  <a:gd name="connsiteY13468" fmla="*/ 4457278 h 7571036"/>
                  <a:gd name="connsiteX13469" fmla="*/ 4884622 w 6994525"/>
                  <a:gd name="connsiteY13469" fmla="*/ 4500675 h 7571036"/>
                  <a:gd name="connsiteX13470" fmla="*/ 4928019 w 6994525"/>
                  <a:gd name="connsiteY13470" fmla="*/ 4457278 h 7571036"/>
                  <a:gd name="connsiteX13471" fmla="*/ 4930731 w 6994525"/>
                  <a:gd name="connsiteY13471" fmla="*/ 5865718 h 7571036"/>
                  <a:gd name="connsiteX13472" fmla="*/ 4929497 w 6994525"/>
                  <a:gd name="connsiteY13472" fmla="*/ 5864486 h 7571036"/>
                  <a:gd name="connsiteX13473" fmla="*/ 4928265 w 6994525"/>
                  <a:gd name="connsiteY13473" fmla="*/ 5865718 h 7571036"/>
                  <a:gd name="connsiteX13474" fmla="*/ 4929497 w 6994525"/>
                  <a:gd name="connsiteY13474" fmla="*/ 5866953 h 7571036"/>
                  <a:gd name="connsiteX13475" fmla="*/ 4930731 w 6994525"/>
                  <a:gd name="connsiteY13475" fmla="*/ 5865718 h 7571036"/>
                  <a:gd name="connsiteX13476" fmla="*/ 4934675 w 6994525"/>
                  <a:gd name="connsiteY13476" fmla="*/ 5988761 h 7571036"/>
                  <a:gd name="connsiteX13477" fmla="*/ 4934182 w 6994525"/>
                  <a:gd name="connsiteY13477" fmla="*/ 5988265 h 7571036"/>
                  <a:gd name="connsiteX13478" fmla="*/ 4933688 w 6994525"/>
                  <a:gd name="connsiteY13478" fmla="*/ 5988761 h 7571036"/>
                  <a:gd name="connsiteX13479" fmla="*/ 4934182 w 6994525"/>
                  <a:gd name="connsiteY13479" fmla="*/ 5989252 h 7571036"/>
                  <a:gd name="connsiteX13480" fmla="*/ 4934675 w 6994525"/>
                  <a:gd name="connsiteY13480" fmla="*/ 5988761 h 7571036"/>
                  <a:gd name="connsiteX13481" fmla="*/ 4939114 w 6994525"/>
                  <a:gd name="connsiteY13481" fmla="*/ 6111061 h 7571036"/>
                  <a:gd name="connsiteX13482" fmla="*/ 4938129 w 6994525"/>
                  <a:gd name="connsiteY13482" fmla="*/ 6110075 h 7571036"/>
                  <a:gd name="connsiteX13483" fmla="*/ 4937142 w 6994525"/>
                  <a:gd name="connsiteY13483" fmla="*/ 6111061 h 7571036"/>
                  <a:gd name="connsiteX13484" fmla="*/ 4938129 w 6994525"/>
                  <a:gd name="connsiteY13484" fmla="*/ 6112047 h 7571036"/>
                  <a:gd name="connsiteX13485" fmla="*/ 4939114 w 6994525"/>
                  <a:gd name="connsiteY13485" fmla="*/ 6111061 h 7571036"/>
                  <a:gd name="connsiteX13486" fmla="*/ 4939360 w 6994525"/>
                  <a:gd name="connsiteY13486" fmla="*/ 3934785 h 7571036"/>
                  <a:gd name="connsiteX13487" fmla="*/ 4906075 w 6994525"/>
                  <a:gd name="connsiteY13487" fmla="*/ 3901497 h 7571036"/>
                  <a:gd name="connsiteX13488" fmla="*/ 4872787 w 6994525"/>
                  <a:gd name="connsiteY13488" fmla="*/ 3934785 h 7571036"/>
                  <a:gd name="connsiteX13489" fmla="*/ 4906075 w 6994525"/>
                  <a:gd name="connsiteY13489" fmla="*/ 3968070 h 7571036"/>
                  <a:gd name="connsiteX13490" fmla="*/ 4939360 w 6994525"/>
                  <a:gd name="connsiteY13490" fmla="*/ 3934785 h 7571036"/>
                  <a:gd name="connsiteX13491" fmla="*/ 4941824 w 6994525"/>
                  <a:gd name="connsiteY13491" fmla="*/ 2201203 h 7571036"/>
                  <a:gd name="connsiteX13492" fmla="*/ 4925306 w 6994525"/>
                  <a:gd name="connsiteY13492" fmla="*/ 2184681 h 7571036"/>
                  <a:gd name="connsiteX13493" fmla="*/ 4908785 w 6994525"/>
                  <a:gd name="connsiteY13493" fmla="*/ 2201203 h 7571036"/>
                  <a:gd name="connsiteX13494" fmla="*/ 4925306 w 6994525"/>
                  <a:gd name="connsiteY13494" fmla="*/ 2217723 h 7571036"/>
                  <a:gd name="connsiteX13495" fmla="*/ 4941824 w 6994525"/>
                  <a:gd name="connsiteY13495" fmla="*/ 2201203 h 7571036"/>
                  <a:gd name="connsiteX13496" fmla="*/ 4946019 w 6994525"/>
                  <a:gd name="connsiteY13496" fmla="*/ 4204536 h 7571036"/>
                  <a:gd name="connsiteX13497" fmla="*/ 4911004 w 6994525"/>
                  <a:gd name="connsiteY13497" fmla="*/ 4169523 h 7571036"/>
                  <a:gd name="connsiteX13498" fmla="*/ 4875991 w 6994525"/>
                  <a:gd name="connsiteY13498" fmla="*/ 4204536 h 7571036"/>
                  <a:gd name="connsiteX13499" fmla="*/ 4911004 w 6994525"/>
                  <a:gd name="connsiteY13499" fmla="*/ 4239551 h 7571036"/>
                  <a:gd name="connsiteX13500" fmla="*/ 4946019 w 6994525"/>
                  <a:gd name="connsiteY13500" fmla="*/ 4204536 h 7571036"/>
                  <a:gd name="connsiteX13501" fmla="*/ 4947497 w 6994525"/>
                  <a:gd name="connsiteY13501" fmla="*/ 2061146 h 7571036"/>
                  <a:gd name="connsiteX13502" fmla="*/ 4942813 w 6994525"/>
                  <a:gd name="connsiteY13502" fmla="*/ 2056459 h 7571036"/>
                  <a:gd name="connsiteX13503" fmla="*/ 4938128 w 6994525"/>
                  <a:gd name="connsiteY13503" fmla="*/ 2061146 h 7571036"/>
                  <a:gd name="connsiteX13504" fmla="*/ 4942813 w 6994525"/>
                  <a:gd name="connsiteY13504" fmla="*/ 2065832 h 7571036"/>
                  <a:gd name="connsiteX13505" fmla="*/ 4947497 w 6994525"/>
                  <a:gd name="connsiteY13505" fmla="*/ 2061146 h 7571036"/>
                  <a:gd name="connsiteX13506" fmla="*/ 4949717 w 6994525"/>
                  <a:gd name="connsiteY13506" fmla="*/ 3127801 h 7571036"/>
                  <a:gd name="connsiteX13507" fmla="*/ 4936647 w 6994525"/>
                  <a:gd name="connsiteY13507" fmla="*/ 3114734 h 7571036"/>
                  <a:gd name="connsiteX13508" fmla="*/ 4923579 w 6994525"/>
                  <a:gd name="connsiteY13508" fmla="*/ 3127801 h 7571036"/>
                  <a:gd name="connsiteX13509" fmla="*/ 4936647 w 6994525"/>
                  <a:gd name="connsiteY13509" fmla="*/ 3140870 h 7571036"/>
                  <a:gd name="connsiteX13510" fmla="*/ 4949717 w 6994525"/>
                  <a:gd name="connsiteY13510" fmla="*/ 3127801 h 7571036"/>
                  <a:gd name="connsiteX13511" fmla="*/ 4952923 w 6994525"/>
                  <a:gd name="connsiteY13511" fmla="*/ 6228185 h 7571036"/>
                  <a:gd name="connsiteX13512" fmla="*/ 4949964 w 6994525"/>
                  <a:gd name="connsiteY13512" fmla="*/ 6225227 h 7571036"/>
                  <a:gd name="connsiteX13513" fmla="*/ 4947251 w 6994525"/>
                  <a:gd name="connsiteY13513" fmla="*/ 6228185 h 7571036"/>
                  <a:gd name="connsiteX13514" fmla="*/ 4949964 w 6994525"/>
                  <a:gd name="connsiteY13514" fmla="*/ 6230899 h 7571036"/>
                  <a:gd name="connsiteX13515" fmla="*/ 4952923 w 6994525"/>
                  <a:gd name="connsiteY13515" fmla="*/ 6228185 h 7571036"/>
                  <a:gd name="connsiteX13516" fmla="*/ 4955636 w 6994525"/>
                  <a:gd name="connsiteY13516" fmla="*/ 6349006 h 7571036"/>
                  <a:gd name="connsiteX13517" fmla="*/ 4952923 w 6994525"/>
                  <a:gd name="connsiteY13517" fmla="*/ 6346293 h 7571036"/>
                  <a:gd name="connsiteX13518" fmla="*/ 4950210 w 6994525"/>
                  <a:gd name="connsiteY13518" fmla="*/ 6349006 h 7571036"/>
                  <a:gd name="connsiteX13519" fmla="*/ 4952923 w 6994525"/>
                  <a:gd name="connsiteY13519" fmla="*/ 6351716 h 7571036"/>
                  <a:gd name="connsiteX13520" fmla="*/ 4955636 w 6994525"/>
                  <a:gd name="connsiteY13520" fmla="*/ 6349006 h 7571036"/>
                  <a:gd name="connsiteX13521" fmla="*/ 4956868 w 6994525"/>
                  <a:gd name="connsiteY13521" fmla="*/ 6469090 h 7571036"/>
                  <a:gd name="connsiteX13522" fmla="*/ 4954896 w 6994525"/>
                  <a:gd name="connsiteY13522" fmla="*/ 6467117 h 7571036"/>
                  <a:gd name="connsiteX13523" fmla="*/ 4952923 w 6994525"/>
                  <a:gd name="connsiteY13523" fmla="*/ 6469090 h 7571036"/>
                  <a:gd name="connsiteX13524" fmla="*/ 4954896 w 6994525"/>
                  <a:gd name="connsiteY13524" fmla="*/ 6471062 h 7571036"/>
                  <a:gd name="connsiteX13525" fmla="*/ 4956868 w 6994525"/>
                  <a:gd name="connsiteY13525" fmla="*/ 6469090 h 7571036"/>
                  <a:gd name="connsiteX13526" fmla="*/ 4957113 w 6994525"/>
                  <a:gd name="connsiteY13526" fmla="*/ 4603989 h 7571036"/>
                  <a:gd name="connsiteX13527" fmla="*/ 4910019 w 6994525"/>
                  <a:gd name="connsiteY13527" fmla="*/ 4557140 h 7571036"/>
                  <a:gd name="connsiteX13528" fmla="*/ 4863169 w 6994525"/>
                  <a:gd name="connsiteY13528" fmla="*/ 4603989 h 7571036"/>
                  <a:gd name="connsiteX13529" fmla="*/ 4910019 w 6994525"/>
                  <a:gd name="connsiteY13529" fmla="*/ 4651085 h 7571036"/>
                  <a:gd name="connsiteX13530" fmla="*/ 4957113 w 6994525"/>
                  <a:gd name="connsiteY13530" fmla="*/ 4603989 h 7571036"/>
                  <a:gd name="connsiteX13531" fmla="*/ 4960322 w 6994525"/>
                  <a:gd name="connsiteY13531" fmla="*/ 6588186 h 7571036"/>
                  <a:gd name="connsiteX13532" fmla="*/ 4957854 w 6994525"/>
                  <a:gd name="connsiteY13532" fmla="*/ 6585718 h 7571036"/>
                  <a:gd name="connsiteX13533" fmla="*/ 4955390 w 6994525"/>
                  <a:gd name="connsiteY13533" fmla="*/ 6588186 h 7571036"/>
                  <a:gd name="connsiteX13534" fmla="*/ 4957854 w 6994525"/>
                  <a:gd name="connsiteY13534" fmla="*/ 6590651 h 7571036"/>
                  <a:gd name="connsiteX13535" fmla="*/ 4960322 w 6994525"/>
                  <a:gd name="connsiteY13535" fmla="*/ 6588186 h 7571036"/>
                  <a:gd name="connsiteX13536" fmla="*/ 4963526 w 6994525"/>
                  <a:gd name="connsiteY13536" fmla="*/ 6706542 h 7571036"/>
                  <a:gd name="connsiteX13537" fmla="*/ 4959826 w 6994525"/>
                  <a:gd name="connsiteY13537" fmla="*/ 6702842 h 7571036"/>
                  <a:gd name="connsiteX13538" fmla="*/ 4956127 w 6994525"/>
                  <a:gd name="connsiteY13538" fmla="*/ 6706542 h 7571036"/>
                  <a:gd name="connsiteX13539" fmla="*/ 4959826 w 6994525"/>
                  <a:gd name="connsiteY13539" fmla="*/ 6710238 h 7571036"/>
                  <a:gd name="connsiteX13540" fmla="*/ 4963526 w 6994525"/>
                  <a:gd name="connsiteY13540" fmla="*/ 6706542 h 7571036"/>
                  <a:gd name="connsiteX13541" fmla="*/ 4964758 w 6994525"/>
                  <a:gd name="connsiteY13541" fmla="*/ 2851147 h 7571036"/>
                  <a:gd name="connsiteX13542" fmla="*/ 4958346 w 6994525"/>
                  <a:gd name="connsiteY13542" fmla="*/ 2844737 h 7571036"/>
                  <a:gd name="connsiteX13543" fmla="*/ 4951936 w 6994525"/>
                  <a:gd name="connsiteY13543" fmla="*/ 2851147 h 7571036"/>
                  <a:gd name="connsiteX13544" fmla="*/ 4958346 w 6994525"/>
                  <a:gd name="connsiteY13544" fmla="*/ 2857558 h 7571036"/>
                  <a:gd name="connsiteX13545" fmla="*/ 4964758 w 6994525"/>
                  <a:gd name="connsiteY13545" fmla="*/ 2851147 h 7571036"/>
                  <a:gd name="connsiteX13546" fmla="*/ 4967222 w 6994525"/>
                  <a:gd name="connsiteY13546" fmla="*/ 6824650 h 7571036"/>
                  <a:gd name="connsiteX13547" fmla="*/ 4962045 w 6994525"/>
                  <a:gd name="connsiteY13547" fmla="*/ 6819472 h 7571036"/>
                  <a:gd name="connsiteX13548" fmla="*/ 4956867 w 6994525"/>
                  <a:gd name="connsiteY13548" fmla="*/ 6824650 h 7571036"/>
                  <a:gd name="connsiteX13549" fmla="*/ 4962045 w 6994525"/>
                  <a:gd name="connsiteY13549" fmla="*/ 6829830 h 7571036"/>
                  <a:gd name="connsiteX13550" fmla="*/ 4967222 w 6994525"/>
                  <a:gd name="connsiteY13550" fmla="*/ 6824650 h 7571036"/>
                  <a:gd name="connsiteX13551" fmla="*/ 4967963 w 6994525"/>
                  <a:gd name="connsiteY13551" fmla="*/ 3822347 h 7571036"/>
                  <a:gd name="connsiteX13552" fmla="*/ 4937636 w 6994525"/>
                  <a:gd name="connsiteY13552" fmla="*/ 3792017 h 7571036"/>
                  <a:gd name="connsiteX13553" fmla="*/ 4907307 w 6994525"/>
                  <a:gd name="connsiteY13553" fmla="*/ 3822347 h 7571036"/>
                  <a:gd name="connsiteX13554" fmla="*/ 4937636 w 6994525"/>
                  <a:gd name="connsiteY13554" fmla="*/ 3852427 h 7571036"/>
                  <a:gd name="connsiteX13555" fmla="*/ 4967963 w 6994525"/>
                  <a:gd name="connsiteY13555" fmla="*/ 3822347 h 7571036"/>
                  <a:gd name="connsiteX13556" fmla="*/ 4968704 w 6994525"/>
                  <a:gd name="connsiteY13556" fmla="*/ 1923101 h 7571036"/>
                  <a:gd name="connsiteX13557" fmla="*/ 4957360 w 6994525"/>
                  <a:gd name="connsiteY13557" fmla="*/ 1911765 h 7571036"/>
                  <a:gd name="connsiteX13558" fmla="*/ 4946264 w 6994525"/>
                  <a:gd name="connsiteY13558" fmla="*/ 1923101 h 7571036"/>
                  <a:gd name="connsiteX13559" fmla="*/ 4957360 w 6994525"/>
                  <a:gd name="connsiteY13559" fmla="*/ 1934441 h 7571036"/>
                  <a:gd name="connsiteX13560" fmla="*/ 4968704 w 6994525"/>
                  <a:gd name="connsiteY13560" fmla="*/ 1923101 h 7571036"/>
                  <a:gd name="connsiteX13561" fmla="*/ 4968704 w 6994525"/>
                  <a:gd name="connsiteY13561" fmla="*/ 4747005 h 7571036"/>
                  <a:gd name="connsiteX13562" fmla="*/ 4931473 w 6994525"/>
                  <a:gd name="connsiteY13562" fmla="*/ 4709771 h 7571036"/>
                  <a:gd name="connsiteX13563" fmla="*/ 4894239 w 6994525"/>
                  <a:gd name="connsiteY13563" fmla="*/ 4747005 h 7571036"/>
                  <a:gd name="connsiteX13564" fmla="*/ 4931473 w 6994525"/>
                  <a:gd name="connsiteY13564" fmla="*/ 4784236 h 7571036"/>
                  <a:gd name="connsiteX13565" fmla="*/ 4968704 w 6994525"/>
                  <a:gd name="connsiteY13565" fmla="*/ 4747005 h 7571036"/>
                  <a:gd name="connsiteX13566" fmla="*/ 4971170 w 6994525"/>
                  <a:gd name="connsiteY13566" fmla="*/ 6941774 h 7571036"/>
                  <a:gd name="connsiteX13567" fmla="*/ 4964017 w 6994525"/>
                  <a:gd name="connsiteY13567" fmla="*/ 6934624 h 7571036"/>
                  <a:gd name="connsiteX13568" fmla="*/ 4956867 w 6994525"/>
                  <a:gd name="connsiteY13568" fmla="*/ 6941774 h 7571036"/>
                  <a:gd name="connsiteX13569" fmla="*/ 4964017 w 6994525"/>
                  <a:gd name="connsiteY13569" fmla="*/ 6948924 h 7571036"/>
                  <a:gd name="connsiteX13570" fmla="*/ 4971170 w 6994525"/>
                  <a:gd name="connsiteY13570" fmla="*/ 6941774 h 7571036"/>
                  <a:gd name="connsiteX13571" fmla="*/ 4971663 w 6994525"/>
                  <a:gd name="connsiteY13571" fmla="*/ 2589784 h 7571036"/>
                  <a:gd name="connsiteX13572" fmla="*/ 4945033 w 6994525"/>
                  <a:gd name="connsiteY13572" fmla="*/ 2563153 h 7571036"/>
                  <a:gd name="connsiteX13573" fmla="*/ 4918402 w 6994525"/>
                  <a:gd name="connsiteY13573" fmla="*/ 2589784 h 7571036"/>
                  <a:gd name="connsiteX13574" fmla="*/ 4945033 w 6994525"/>
                  <a:gd name="connsiteY13574" fmla="*/ 2616416 h 7571036"/>
                  <a:gd name="connsiteX13575" fmla="*/ 4971663 w 6994525"/>
                  <a:gd name="connsiteY13575" fmla="*/ 2589784 h 7571036"/>
                  <a:gd name="connsiteX13576" fmla="*/ 4973635 w 6994525"/>
                  <a:gd name="connsiteY13576" fmla="*/ 5025390 h 7571036"/>
                  <a:gd name="connsiteX13577" fmla="*/ 4964266 w 6994525"/>
                  <a:gd name="connsiteY13577" fmla="*/ 5016019 h 7571036"/>
                  <a:gd name="connsiteX13578" fmla="*/ 4954895 w 6994525"/>
                  <a:gd name="connsiteY13578" fmla="*/ 5025390 h 7571036"/>
                  <a:gd name="connsiteX13579" fmla="*/ 4964266 w 6994525"/>
                  <a:gd name="connsiteY13579" fmla="*/ 5034759 h 7571036"/>
                  <a:gd name="connsiteX13580" fmla="*/ 4973635 w 6994525"/>
                  <a:gd name="connsiteY13580" fmla="*/ 5025390 h 7571036"/>
                  <a:gd name="connsiteX13581" fmla="*/ 4975116 w 6994525"/>
                  <a:gd name="connsiteY13581" fmla="*/ 3242213 h 7571036"/>
                  <a:gd name="connsiteX13582" fmla="*/ 4959580 w 6994525"/>
                  <a:gd name="connsiteY13582" fmla="*/ 3226433 h 7571036"/>
                  <a:gd name="connsiteX13583" fmla="*/ 4943800 w 6994525"/>
                  <a:gd name="connsiteY13583" fmla="*/ 3242213 h 7571036"/>
                  <a:gd name="connsiteX13584" fmla="*/ 4959580 w 6994525"/>
                  <a:gd name="connsiteY13584" fmla="*/ 3257992 h 7571036"/>
                  <a:gd name="connsiteX13585" fmla="*/ 4975116 w 6994525"/>
                  <a:gd name="connsiteY13585" fmla="*/ 3242213 h 7571036"/>
                  <a:gd name="connsiteX13586" fmla="*/ 4978318 w 6994525"/>
                  <a:gd name="connsiteY13586" fmla="*/ 7172569 h 7571036"/>
                  <a:gd name="connsiteX13587" fmla="*/ 4973635 w 6994525"/>
                  <a:gd name="connsiteY13587" fmla="*/ 7167883 h 7571036"/>
                  <a:gd name="connsiteX13588" fmla="*/ 4968950 w 6994525"/>
                  <a:gd name="connsiteY13588" fmla="*/ 7172569 h 7571036"/>
                  <a:gd name="connsiteX13589" fmla="*/ 4973635 w 6994525"/>
                  <a:gd name="connsiteY13589" fmla="*/ 7177255 h 7571036"/>
                  <a:gd name="connsiteX13590" fmla="*/ 4978318 w 6994525"/>
                  <a:gd name="connsiteY13590" fmla="*/ 7172569 h 7571036"/>
                  <a:gd name="connsiteX13591" fmla="*/ 4979553 w 6994525"/>
                  <a:gd name="connsiteY13591" fmla="*/ 1758915 h 7571036"/>
                  <a:gd name="connsiteX13592" fmla="*/ 4935907 w 6994525"/>
                  <a:gd name="connsiteY13592" fmla="*/ 1715235 h 7571036"/>
                  <a:gd name="connsiteX13593" fmla="*/ 4892017 w 6994525"/>
                  <a:gd name="connsiteY13593" fmla="*/ 1758915 h 7571036"/>
                  <a:gd name="connsiteX13594" fmla="*/ 4935907 w 6994525"/>
                  <a:gd name="connsiteY13594" fmla="*/ 1802835 h 7571036"/>
                  <a:gd name="connsiteX13595" fmla="*/ 4979553 w 6994525"/>
                  <a:gd name="connsiteY13595" fmla="*/ 1758915 h 7571036"/>
                  <a:gd name="connsiteX13596" fmla="*/ 4980785 w 6994525"/>
                  <a:gd name="connsiteY13596" fmla="*/ 7056182 h 7571036"/>
                  <a:gd name="connsiteX13597" fmla="*/ 4972403 w 6994525"/>
                  <a:gd name="connsiteY13597" fmla="*/ 7047800 h 7571036"/>
                  <a:gd name="connsiteX13598" fmla="*/ 4964017 w 6994525"/>
                  <a:gd name="connsiteY13598" fmla="*/ 7056182 h 7571036"/>
                  <a:gd name="connsiteX13599" fmla="*/ 4972403 w 6994525"/>
                  <a:gd name="connsiteY13599" fmla="*/ 7064568 h 7571036"/>
                  <a:gd name="connsiteX13600" fmla="*/ 4980785 w 6994525"/>
                  <a:gd name="connsiteY13600" fmla="*/ 7056182 h 7571036"/>
                  <a:gd name="connsiteX13601" fmla="*/ 4981526 w 6994525"/>
                  <a:gd name="connsiteY13601" fmla="*/ 7288952 h 7571036"/>
                  <a:gd name="connsiteX13602" fmla="*/ 4975116 w 6994525"/>
                  <a:gd name="connsiteY13602" fmla="*/ 7282540 h 7571036"/>
                  <a:gd name="connsiteX13603" fmla="*/ 4968704 w 6994525"/>
                  <a:gd name="connsiteY13603" fmla="*/ 7288952 h 7571036"/>
                  <a:gd name="connsiteX13604" fmla="*/ 4975116 w 6994525"/>
                  <a:gd name="connsiteY13604" fmla="*/ 7295117 h 7571036"/>
                  <a:gd name="connsiteX13605" fmla="*/ 4981526 w 6994525"/>
                  <a:gd name="connsiteY13605" fmla="*/ 7288952 h 7571036"/>
                  <a:gd name="connsiteX13606" fmla="*/ 4985225 w 6994525"/>
                  <a:gd name="connsiteY13606" fmla="*/ 723182 h 7571036"/>
                  <a:gd name="connsiteX13607" fmla="*/ 4942322 w 6994525"/>
                  <a:gd name="connsiteY13607" fmla="*/ 680272 h 7571036"/>
                  <a:gd name="connsiteX13608" fmla="*/ 4899416 w 6994525"/>
                  <a:gd name="connsiteY13608" fmla="*/ 723182 h 7571036"/>
                  <a:gd name="connsiteX13609" fmla="*/ 4942322 w 6994525"/>
                  <a:gd name="connsiteY13609" fmla="*/ 766087 h 7571036"/>
                  <a:gd name="connsiteX13610" fmla="*/ 4985225 w 6994525"/>
                  <a:gd name="connsiteY13610" fmla="*/ 723182 h 7571036"/>
                  <a:gd name="connsiteX13611" fmla="*/ 4985716 w 6994525"/>
                  <a:gd name="connsiteY13611" fmla="*/ 4887798 h 7571036"/>
                  <a:gd name="connsiteX13612" fmla="*/ 4948978 w 6994525"/>
                  <a:gd name="connsiteY13612" fmla="*/ 4851058 h 7571036"/>
                  <a:gd name="connsiteX13613" fmla="*/ 4912238 w 6994525"/>
                  <a:gd name="connsiteY13613" fmla="*/ 4887798 h 7571036"/>
                  <a:gd name="connsiteX13614" fmla="*/ 4948978 w 6994525"/>
                  <a:gd name="connsiteY13614" fmla="*/ 4924536 h 7571036"/>
                  <a:gd name="connsiteX13615" fmla="*/ 4985716 w 6994525"/>
                  <a:gd name="connsiteY13615" fmla="*/ 4887798 h 7571036"/>
                  <a:gd name="connsiteX13616" fmla="*/ 4987444 w 6994525"/>
                  <a:gd name="connsiteY13616" fmla="*/ 602582 h 7571036"/>
                  <a:gd name="connsiteX13617" fmla="*/ 4945033 w 6994525"/>
                  <a:gd name="connsiteY13617" fmla="*/ 560173 h 7571036"/>
                  <a:gd name="connsiteX13618" fmla="*/ 4902621 w 6994525"/>
                  <a:gd name="connsiteY13618" fmla="*/ 602582 h 7571036"/>
                  <a:gd name="connsiteX13619" fmla="*/ 4945033 w 6994525"/>
                  <a:gd name="connsiteY13619" fmla="*/ 645025 h 7571036"/>
                  <a:gd name="connsiteX13620" fmla="*/ 4987444 w 6994525"/>
                  <a:gd name="connsiteY13620" fmla="*/ 602582 h 7571036"/>
                  <a:gd name="connsiteX13621" fmla="*/ 4987444 w 6994525"/>
                  <a:gd name="connsiteY13621" fmla="*/ 3707688 h 7571036"/>
                  <a:gd name="connsiteX13622" fmla="*/ 4960322 w 6994525"/>
                  <a:gd name="connsiteY13622" fmla="*/ 3680563 h 7571036"/>
                  <a:gd name="connsiteX13623" fmla="*/ 4933197 w 6994525"/>
                  <a:gd name="connsiteY13623" fmla="*/ 3707688 h 7571036"/>
                  <a:gd name="connsiteX13624" fmla="*/ 4960322 w 6994525"/>
                  <a:gd name="connsiteY13624" fmla="*/ 3734810 h 7571036"/>
                  <a:gd name="connsiteX13625" fmla="*/ 4987444 w 6994525"/>
                  <a:gd name="connsiteY13625" fmla="*/ 3707688 h 7571036"/>
                  <a:gd name="connsiteX13626" fmla="*/ 4988184 w 6994525"/>
                  <a:gd name="connsiteY13626" fmla="*/ 4359880 h 7571036"/>
                  <a:gd name="connsiteX13627" fmla="*/ 4948238 w 6994525"/>
                  <a:gd name="connsiteY13627" fmla="*/ 4319935 h 7571036"/>
                  <a:gd name="connsiteX13628" fmla="*/ 4908294 w 6994525"/>
                  <a:gd name="connsiteY13628" fmla="*/ 4359880 h 7571036"/>
                  <a:gd name="connsiteX13629" fmla="*/ 4948238 w 6994525"/>
                  <a:gd name="connsiteY13629" fmla="*/ 4399827 h 7571036"/>
                  <a:gd name="connsiteX13630" fmla="*/ 4988184 w 6994525"/>
                  <a:gd name="connsiteY13630" fmla="*/ 4359880 h 7571036"/>
                  <a:gd name="connsiteX13631" fmla="*/ 4990895 w 6994525"/>
                  <a:gd name="connsiteY13631" fmla="*/ 4099251 h 7571036"/>
                  <a:gd name="connsiteX13632" fmla="*/ 4960319 w 6994525"/>
                  <a:gd name="connsiteY13632" fmla="*/ 4068674 h 7571036"/>
                  <a:gd name="connsiteX13633" fmla="*/ 4929743 w 6994525"/>
                  <a:gd name="connsiteY13633" fmla="*/ 4099251 h 7571036"/>
                  <a:gd name="connsiteX13634" fmla="*/ 4960319 w 6994525"/>
                  <a:gd name="connsiteY13634" fmla="*/ 4129825 h 7571036"/>
                  <a:gd name="connsiteX13635" fmla="*/ 4990895 w 6994525"/>
                  <a:gd name="connsiteY13635" fmla="*/ 4099251 h 7571036"/>
                  <a:gd name="connsiteX13636" fmla="*/ 4991142 w 6994525"/>
                  <a:gd name="connsiteY13636" fmla="*/ 482768 h 7571036"/>
                  <a:gd name="connsiteX13637" fmla="*/ 4947745 w 6994525"/>
                  <a:gd name="connsiteY13637" fmla="*/ 439373 h 7571036"/>
                  <a:gd name="connsiteX13638" fmla="*/ 4904348 w 6994525"/>
                  <a:gd name="connsiteY13638" fmla="*/ 482768 h 7571036"/>
                  <a:gd name="connsiteX13639" fmla="*/ 4947745 w 6994525"/>
                  <a:gd name="connsiteY13639" fmla="*/ 526163 h 7571036"/>
                  <a:gd name="connsiteX13640" fmla="*/ 4991142 w 6994525"/>
                  <a:gd name="connsiteY13640" fmla="*/ 482768 h 7571036"/>
                  <a:gd name="connsiteX13641" fmla="*/ 4991142 w 6994525"/>
                  <a:gd name="connsiteY13641" fmla="*/ 1626999 h 7571036"/>
                  <a:gd name="connsiteX13642" fmla="*/ 4945281 w 6994525"/>
                  <a:gd name="connsiteY13642" fmla="*/ 1581129 h 7571036"/>
                  <a:gd name="connsiteX13643" fmla="*/ 4899416 w 6994525"/>
                  <a:gd name="connsiteY13643" fmla="*/ 1626999 h 7571036"/>
                  <a:gd name="connsiteX13644" fmla="*/ 4945281 w 6994525"/>
                  <a:gd name="connsiteY13644" fmla="*/ 1672857 h 7571036"/>
                  <a:gd name="connsiteX13645" fmla="*/ 4991142 w 6994525"/>
                  <a:gd name="connsiteY13645" fmla="*/ 1626999 h 7571036"/>
                  <a:gd name="connsiteX13646" fmla="*/ 4991389 w 6994525"/>
                  <a:gd name="connsiteY13646" fmla="*/ 363204 h 7571036"/>
                  <a:gd name="connsiteX13647" fmla="*/ 4949470 w 6994525"/>
                  <a:gd name="connsiteY13647" fmla="*/ 321288 h 7571036"/>
                  <a:gd name="connsiteX13648" fmla="*/ 4907553 w 6994525"/>
                  <a:gd name="connsiteY13648" fmla="*/ 363204 h 7571036"/>
                  <a:gd name="connsiteX13649" fmla="*/ 4949470 w 6994525"/>
                  <a:gd name="connsiteY13649" fmla="*/ 405120 h 7571036"/>
                  <a:gd name="connsiteX13650" fmla="*/ 4991389 w 6994525"/>
                  <a:gd name="connsiteY13650" fmla="*/ 363204 h 7571036"/>
                  <a:gd name="connsiteX13651" fmla="*/ 4991635 w 6994525"/>
                  <a:gd name="connsiteY13651" fmla="*/ 3358349 h 7571036"/>
                  <a:gd name="connsiteX13652" fmla="*/ 4973386 w 6994525"/>
                  <a:gd name="connsiteY13652" fmla="*/ 3340101 h 7571036"/>
                  <a:gd name="connsiteX13653" fmla="*/ 4955141 w 6994525"/>
                  <a:gd name="connsiteY13653" fmla="*/ 3358349 h 7571036"/>
                  <a:gd name="connsiteX13654" fmla="*/ 4973386 w 6994525"/>
                  <a:gd name="connsiteY13654" fmla="*/ 3376597 h 7571036"/>
                  <a:gd name="connsiteX13655" fmla="*/ 4991635 w 6994525"/>
                  <a:gd name="connsiteY13655" fmla="*/ 3358349 h 7571036"/>
                  <a:gd name="connsiteX13656" fmla="*/ 4992869 w 6994525"/>
                  <a:gd name="connsiteY13656" fmla="*/ 244629 h 7571036"/>
                  <a:gd name="connsiteX13657" fmla="*/ 4951445 w 6994525"/>
                  <a:gd name="connsiteY13657" fmla="*/ 203206 h 7571036"/>
                  <a:gd name="connsiteX13658" fmla="*/ 4910020 w 6994525"/>
                  <a:gd name="connsiteY13658" fmla="*/ 244629 h 7571036"/>
                  <a:gd name="connsiteX13659" fmla="*/ 4951445 w 6994525"/>
                  <a:gd name="connsiteY13659" fmla="*/ 286052 h 7571036"/>
                  <a:gd name="connsiteX13660" fmla="*/ 4992869 w 6994525"/>
                  <a:gd name="connsiteY13660" fmla="*/ 244629 h 7571036"/>
                  <a:gd name="connsiteX13661" fmla="*/ 4993853 w 6994525"/>
                  <a:gd name="connsiteY13661" fmla="*/ 126546 h 7571036"/>
                  <a:gd name="connsiteX13662" fmla="*/ 4952923 w 6994525"/>
                  <a:gd name="connsiteY13662" fmla="*/ 85370 h 7571036"/>
                  <a:gd name="connsiteX13663" fmla="*/ 4911744 w 6994525"/>
                  <a:gd name="connsiteY13663" fmla="*/ 126546 h 7571036"/>
                  <a:gd name="connsiteX13664" fmla="*/ 4952923 w 6994525"/>
                  <a:gd name="connsiteY13664" fmla="*/ 167722 h 7571036"/>
                  <a:gd name="connsiteX13665" fmla="*/ 4993853 w 6994525"/>
                  <a:gd name="connsiteY13665" fmla="*/ 126546 h 7571036"/>
                  <a:gd name="connsiteX13666" fmla="*/ 4994839 w 6994525"/>
                  <a:gd name="connsiteY13666" fmla="*/ 9203 h 7571036"/>
                  <a:gd name="connsiteX13667" fmla="*/ 4991022 w 6994525"/>
                  <a:gd name="connsiteY13667" fmla="*/ 0 h 7571036"/>
                  <a:gd name="connsiteX13668" fmla="*/ 4917288 w 6994525"/>
                  <a:gd name="connsiteY13668" fmla="*/ 0 h 7571036"/>
                  <a:gd name="connsiteX13669" fmla="*/ 4913470 w 6994525"/>
                  <a:gd name="connsiteY13669" fmla="*/ 9203 h 7571036"/>
                  <a:gd name="connsiteX13670" fmla="*/ 4954155 w 6994525"/>
                  <a:gd name="connsiteY13670" fmla="*/ 49888 h 7571036"/>
                  <a:gd name="connsiteX13671" fmla="*/ 4994839 w 6994525"/>
                  <a:gd name="connsiteY13671" fmla="*/ 9203 h 7571036"/>
                  <a:gd name="connsiteX13672" fmla="*/ 4996074 w 6994525"/>
                  <a:gd name="connsiteY13672" fmla="*/ 5151634 h 7571036"/>
                  <a:gd name="connsiteX13673" fmla="*/ 4987197 w 6994525"/>
                  <a:gd name="connsiteY13673" fmla="*/ 5142758 h 7571036"/>
                  <a:gd name="connsiteX13674" fmla="*/ 4978320 w 6994525"/>
                  <a:gd name="connsiteY13674" fmla="*/ 5151634 h 7571036"/>
                  <a:gd name="connsiteX13675" fmla="*/ 4987197 w 6994525"/>
                  <a:gd name="connsiteY13675" fmla="*/ 5160511 h 7571036"/>
                  <a:gd name="connsiteX13676" fmla="*/ 4996074 w 6994525"/>
                  <a:gd name="connsiteY13676" fmla="*/ 5151634 h 7571036"/>
                  <a:gd name="connsiteX13677" fmla="*/ 4997551 w 6994525"/>
                  <a:gd name="connsiteY13677" fmla="*/ 3591549 h 7571036"/>
                  <a:gd name="connsiteX13678" fmla="*/ 4973635 w 6994525"/>
                  <a:gd name="connsiteY13678" fmla="*/ 3567632 h 7571036"/>
                  <a:gd name="connsiteX13679" fmla="*/ 4949717 w 6994525"/>
                  <a:gd name="connsiteY13679" fmla="*/ 3591549 h 7571036"/>
                  <a:gd name="connsiteX13680" fmla="*/ 4973635 w 6994525"/>
                  <a:gd name="connsiteY13680" fmla="*/ 3615469 h 7571036"/>
                  <a:gd name="connsiteX13681" fmla="*/ 4997551 w 6994525"/>
                  <a:gd name="connsiteY13681" fmla="*/ 3591549 h 7571036"/>
                  <a:gd name="connsiteX13682" fmla="*/ 4998785 w 6994525"/>
                  <a:gd name="connsiteY13682" fmla="*/ 3474919 h 7571036"/>
                  <a:gd name="connsiteX13683" fmla="*/ 4978073 w 6994525"/>
                  <a:gd name="connsiteY13683" fmla="*/ 3454267 h 7571036"/>
                  <a:gd name="connsiteX13684" fmla="*/ 4957114 w 6994525"/>
                  <a:gd name="connsiteY13684" fmla="*/ 3474919 h 7571036"/>
                  <a:gd name="connsiteX13685" fmla="*/ 4978073 w 6994525"/>
                  <a:gd name="connsiteY13685" fmla="*/ 3495632 h 7571036"/>
                  <a:gd name="connsiteX13686" fmla="*/ 4998785 w 6994525"/>
                  <a:gd name="connsiteY13686" fmla="*/ 3474919 h 7571036"/>
                  <a:gd name="connsiteX13687" fmla="*/ 4999032 w 6994525"/>
                  <a:gd name="connsiteY13687" fmla="*/ 5285526 h 7571036"/>
                  <a:gd name="connsiteX13688" fmla="*/ 4998047 w 6994525"/>
                  <a:gd name="connsiteY13688" fmla="*/ 5284539 h 7571036"/>
                  <a:gd name="connsiteX13689" fmla="*/ 4997060 w 6994525"/>
                  <a:gd name="connsiteY13689" fmla="*/ 5285526 h 7571036"/>
                  <a:gd name="connsiteX13690" fmla="*/ 4998047 w 6994525"/>
                  <a:gd name="connsiteY13690" fmla="*/ 5286511 h 7571036"/>
                  <a:gd name="connsiteX13691" fmla="*/ 4999032 w 6994525"/>
                  <a:gd name="connsiteY13691" fmla="*/ 5285526 h 7571036"/>
                  <a:gd name="connsiteX13692" fmla="*/ 4999033 w 6994525"/>
                  <a:gd name="connsiteY13692" fmla="*/ 2438150 h 7571036"/>
                  <a:gd name="connsiteX13693" fmla="*/ 4975114 w 6994525"/>
                  <a:gd name="connsiteY13693" fmla="*/ 2414231 h 7571036"/>
                  <a:gd name="connsiteX13694" fmla="*/ 4951196 w 6994525"/>
                  <a:gd name="connsiteY13694" fmla="*/ 2438150 h 7571036"/>
                  <a:gd name="connsiteX13695" fmla="*/ 4975114 w 6994525"/>
                  <a:gd name="connsiteY13695" fmla="*/ 2462065 h 7571036"/>
                  <a:gd name="connsiteX13696" fmla="*/ 4999033 w 6994525"/>
                  <a:gd name="connsiteY13696" fmla="*/ 2438150 h 7571036"/>
                  <a:gd name="connsiteX13697" fmla="*/ 5000511 w 6994525"/>
                  <a:gd name="connsiteY13697" fmla="*/ 1497065 h 7571036"/>
                  <a:gd name="connsiteX13698" fmla="*/ 4953660 w 6994525"/>
                  <a:gd name="connsiteY13698" fmla="*/ 1450463 h 7571036"/>
                  <a:gd name="connsiteX13699" fmla="*/ 4907058 w 6994525"/>
                  <a:gd name="connsiteY13699" fmla="*/ 1497065 h 7571036"/>
                  <a:gd name="connsiteX13700" fmla="*/ 4953660 w 6994525"/>
                  <a:gd name="connsiteY13700" fmla="*/ 1543670 h 7571036"/>
                  <a:gd name="connsiteX13701" fmla="*/ 5000511 w 6994525"/>
                  <a:gd name="connsiteY13701" fmla="*/ 1497065 h 7571036"/>
                  <a:gd name="connsiteX13702" fmla="*/ 5007418 w 6994525"/>
                  <a:gd name="connsiteY13702" fmla="*/ 2959888 h 7571036"/>
                  <a:gd name="connsiteX13703" fmla="*/ 5000265 w 6994525"/>
                  <a:gd name="connsiteY13703" fmla="*/ 2952738 h 7571036"/>
                  <a:gd name="connsiteX13704" fmla="*/ 4993115 w 6994525"/>
                  <a:gd name="connsiteY13704" fmla="*/ 2959888 h 7571036"/>
                  <a:gd name="connsiteX13705" fmla="*/ 5000265 w 6994525"/>
                  <a:gd name="connsiteY13705" fmla="*/ 2967040 h 7571036"/>
                  <a:gd name="connsiteX13706" fmla="*/ 5007418 w 6994525"/>
                  <a:gd name="connsiteY13706" fmla="*/ 2959888 h 7571036"/>
                  <a:gd name="connsiteX13707" fmla="*/ 5007664 w 6994525"/>
                  <a:gd name="connsiteY13707" fmla="*/ 1368862 h 7571036"/>
                  <a:gd name="connsiteX13708" fmla="*/ 4961307 w 6994525"/>
                  <a:gd name="connsiteY13708" fmla="*/ 1322504 h 7571036"/>
                  <a:gd name="connsiteX13709" fmla="*/ 4914951 w 6994525"/>
                  <a:gd name="connsiteY13709" fmla="*/ 1368862 h 7571036"/>
                  <a:gd name="connsiteX13710" fmla="*/ 4961307 w 6994525"/>
                  <a:gd name="connsiteY13710" fmla="*/ 1415223 h 7571036"/>
                  <a:gd name="connsiteX13711" fmla="*/ 5007664 w 6994525"/>
                  <a:gd name="connsiteY13711" fmla="*/ 1368862 h 7571036"/>
                  <a:gd name="connsiteX13712" fmla="*/ 5013579 w 6994525"/>
                  <a:gd name="connsiteY13712" fmla="*/ 1242148 h 7571036"/>
                  <a:gd name="connsiteX13713" fmla="*/ 4967963 w 6994525"/>
                  <a:gd name="connsiteY13713" fmla="*/ 1196530 h 7571036"/>
                  <a:gd name="connsiteX13714" fmla="*/ 4922347 w 6994525"/>
                  <a:gd name="connsiteY13714" fmla="*/ 1242148 h 7571036"/>
                  <a:gd name="connsiteX13715" fmla="*/ 4967963 w 6994525"/>
                  <a:gd name="connsiteY13715" fmla="*/ 1287743 h 7571036"/>
                  <a:gd name="connsiteX13716" fmla="*/ 5013579 w 6994525"/>
                  <a:gd name="connsiteY13716" fmla="*/ 1242148 h 7571036"/>
                  <a:gd name="connsiteX13717" fmla="*/ 5014322 w 6994525"/>
                  <a:gd name="connsiteY13717" fmla="*/ 2289966 h 7571036"/>
                  <a:gd name="connsiteX13718" fmla="*/ 4999773 w 6994525"/>
                  <a:gd name="connsiteY13718" fmla="*/ 2275417 h 7571036"/>
                  <a:gd name="connsiteX13719" fmla="*/ 4985225 w 6994525"/>
                  <a:gd name="connsiteY13719" fmla="*/ 2289966 h 7571036"/>
                  <a:gd name="connsiteX13720" fmla="*/ 4999773 w 6994525"/>
                  <a:gd name="connsiteY13720" fmla="*/ 2304519 h 7571036"/>
                  <a:gd name="connsiteX13721" fmla="*/ 5014322 w 6994525"/>
                  <a:gd name="connsiteY13721" fmla="*/ 2289966 h 7571036"/>
                  <a:gd name="connsiteX13722" fmla="*/ 5019497 w 6994525"/>
                  <a:gd name="connsiteY13722" fmla="*/ 1116652 h 7571036"/>
                  <a:gd name="connsiteX13723" fmla="*/ 4973389 w 6994525"/>
                  <a:gd name="connsiteY13723" fmla="*/ 1070548 h 7571036"/>
                  <a:gd name="connsiteX13724" fmla="*/ 4927279 w 6994525"/>
                  <a:gd name="connsiteY13724" fmla="*/ 1116652 h 7571036"/>
                  <a:gd name="connsiteX13725" fmla="*/ 4973389 w 6994525"/>
                  <a:gd name="connsiteY13725" fmla="*/ 1162767 h 7571036"/>
                  <a:gd name="connsiteX13726" fmla="*/ 5019497 w 6994525"/>
                  <a:gd name="connsiteY13726" fmla="*/ 1116652 h 7571036"/>
                  <a:gd name="connsiteX13727" fmla="*/ 5019500 w 6994525"/>
                  <a:gd name="connsiteY13727" fmla="*/ 5547879 h 7571036"/>
                  <a:gd name="connsiteX13728" fmla="*/ 5015060 w 6994525"/>
                  <a:gd name="connsiteY13728" fmla="*/ 5543443 h 7571036"/>
                  <a:gd name="connsiteX13729" fmla="*/ 5010622 w 6994525"/>
                  <a:gd name="connsiteY13729" fmla="*/ 5547879 h 7571036"/>
                  <a:gd name="connsiteX13730" fmla="*/ 5015060 w 6994525"/>
                  <a:gd name="connsiteY13730" fmla="*/ 5552319 h 7571036"/>
                  <a:gd name="connsiteX13731" fmla="*/ 5019500 w 6994525"/>
                  <a:gd name="connsiteY13731" fmla="*/ 5547879 h 7571036"/>
                  <a:gd name="connsiteX13732" fmla="*/ 5020237 w 6994525"/>
                  <a:gd name="connsiteY13732" fmla="*/ 5417936 h 7571036"/>
                  <a:gd name="connsiteX13733" fmla="*/ 5006920 w 6994525"/>
                  <a:gd name="connsiteY13733" fmla="*/ 5404620 h 7571036"/>
                  <a:gd name="connsiteX13734" fmla="*/ 4993607 w 6994525"/>
                  <a:gd name="connsiteY13734" fmla="*/ 5417936 h 7571036"/>
                  <a:gd name="connsiteX13735" fmla="*/ 5006920 w 6994525"/>
                  <a:gd name="connsiteY13735" fmla="*/ 5431250 h 7571036"/>
                  <a:gd name="connsiteX13736" fmla="*/ 5020237 w 6994525"/>
                  <a:gd name="connsiteY13736" fmla="*/ 5417936 h 7571036"/>
                  <a:gd name="connsiteX13737" fmla="*/ 5023442 w 6994525"/>
                  <a:gd name="connsiteY13737" fmla="*/ 992151 h 7571036"/>
                  <a:gd name="connsiteX13738" fmla="*/ 4977826 w 6994525"/>
                  <a:gd name="connsiteY13738" fmla="*/ 946536 h 7571036"/>
                  <a:gd name="connsiteX13739" fmla="*/ 4932210 w 6994525"/>
                  <a:gd name="connsiteY13739" fmla="*/ 992151 h 7571036"/>
                  <a:gd name="connsiteX13740" fmla="*/ 4977826 w 6994525"/>
                  <a:gd name="connsiteY13740" fmla="*/ 1037760 h 7571036"/>
                  <a:gd name="connsiteX13741" fmla="*/ 5023442 w 6994525"/>
                  <a:gd name="connsiteY13741" fmla="*/ 992151 h 7571036"/>
                  <a:gd name="connsiteX13742" fmla="*/ 5023937 w 6994525"/>
                  <a:gd name="connsiteY13742" fmla="*/ 5677088 h 7571036"/>
                  <a:gd name="connsiteX13743" fmla="*/ 5020978 w 6994525"/>
                  <a:gd name="connsiteY13743" fmla="*/ 5674129 h 7571036"/>
                  <a:gd name="connsiteX13744" fmla="*/ 5018019 w 6994525"/>
                  <a:gd name="connsiteY13744" fmla="*/ 5677088 h 7571036"/>
                  <a:gd name="connsiteX13745" fmla="*/ 5020978 w 6994525"/>
                  <a:gd name="connsiteY13745" fmla="*/ 5679802 h 7571036"/>
                  <a:gd name="connsiteX13746" fmla="*/ 5023937 w 6994525"/>
                  <a:gd name="connsiteY13746" fmla="*/ 5677088 h 7571036"/>
                  <a:gd name="connsiteX13747" fmla="*/ 5024920 w 6994525"/>
                  <a:gd name="connsiteY13747" fmla="*/ 4510784 h 7571036"/>
                  <a:gd name="connsiteX13748" fmla="*/ 4979304 w 6994525"/>
                  <a:gd name="connsiteY13748" fmla="*/ 4465168 h 7571036"/>
                  <a:gd name="connsiteX13749" fmla="*/ 4933688 w 6994525"/>
                  <a:gd name="connsiteY13749" fmla="*/ 4510784 h 7571036"/>
                  <a:gd name="connsiteX13750" fmla="*/ 4979304 w 6994525"/>
                  <a:gd name="connsiteY13750" fmla="*/ 4556400 h 7571036"/>
                  <a:gd name="connsiteX13751" fmla="*/ 5024920 w 6994525"/>
                  <a:gd name="connsiteY13751" fmla="*/ 4510784 h 7571036"/>
                  <a:gd name="connsiteX13752" fmla="*/ 5026647 w 6994525"/>
                  <a:gd name="connsiteY13752" fmla="*/ 2146225 h 7571036"/>
                  <a:gd name="connsiteX13753" fmla="*/ 5021470 w 6994525"/>
                  <a:gd name="connsiteY13753" fmla="*/ 2141045 h 7571036"/>
                  <a:gd name="connsiteX13754" fmla="*/ 5016292 w 6994525"/>
                  <a:gd name="connsiteY13754" fmla="*/ 2146225 h 7571036"/>
                  <a:gd name="connsiteX13755" fmla="*/ 5021470 w 6994525"/>
                  <a:gd name="connsiteY13755" fmla="*/ 2151402 h 7571036"/>
                  <a:gd name="connsiteX13756" fmla="*/ 5026647 w 6994525"/>
                  <a:gd name="connsiteY13756" fmla="*/ 2146225 h 7571036"/>
                  <a:gd name="connsiteX13757" fmla="*/ 5027635 w 6994525"/>
                  <a:gd name="connsiteY13757" fmla="*/ 868879 h 7571036"/>
                  <a:gd name="connsiteX13758" fmla="*/ 4982265 w 6994525"/>
                  <a:gd name="connsiteY13758" fmla="*/ 823519 h 7571036"/>
                  <a:gd name="connsiteX13759" fmla="*/ 4936895 w 6994525"/>
                  <a:gd name="connsiteY13759" fmla="*/ 868879 h 7571036"/>
                  <a:gd name="connsiteX13760" fmla="*/ 4982265 w 6994525"/>
                  <a:gd name="connsiteY13760" fmla="*/ 914249 h 7571036"/>
                  <a:gd name="connsiteX13761" fmla="*/ 5027635 w 6994525"/>
                  <a:gd name="connsiteY13761" fmla="*/ 868879 h 7571036"/>
                  <a:gd name="connsiteX13762" fmla="*/ 5028128 w 6994525"/>
                  <a:gd name="connsiteY13762" fmla="*/ 3990015 h 7571036"/>
                  <a:gd name="connsiteX13763" fmla="*/ 5001989 w 6994525"/>
                  <a:gd name="connsiteY13763" fmla="*/ 3964125 h 7571036"/>
                  <a:gd name="connsiteX13764" fmla="*/ 4976099 w 6994525"/>
                  <a:gd name="connsiteY13764" fmla="*/ 3990015 h 7571036"/>
                  <a:gd name="connsiteX13765" fmla="*/ 5001989 w 6994525"/>
                  <a:gd name="connsiteY13765" fmla="*/ 4016154 h 7571036"/>
                  <a:gd name="connsiteX13766" fmla="*/ 5028128 w 6994525"/>
                  <a:gd name="connsiteY13766" fmla="*/ 3990015 h 7571036"/>
                  <a:gd name="connsiteX13767" fmla="*/ 5028622 w 6994525"/>
                  <a:gd name="connsiteY13767" fmla="*/ 5803581 h 7571036"/>
                  <a:gd name="connsiteX13768" fmla="*/ 5027636 w 6994525"/>
                  <a:gd name="connsiteY13768" fmla="*/ 5802595 h 7571036"/>
                  <a:gd name="connsiteX13769" fmla="*/ 5026650 w 6994525"/>
                  <a:gd name="connsiteY13769" fmla="*/ 5803581 h 7571036"/>
                  <a:gd name="connsiteX13770" fmla="*/ 5027636 w 6994525"/>
                  <a:gd name="connsiteY13770" fmla="*/ 5804567 h 7571036"/>
                  <a:gd name="connsiteX13771" fmla="*/ 5028622 w 6994525"/>
                  <a:gd name="connsiteY13771" fmla="*/ 5803581 h 7571036"/>
                  <a:gd name="connsiteX13772" fmla="*/ 5029363 w 6994525"/>
                  <a:gd name="connsiteY13772" fmla="*/ 2690881 h 7571036"/>
                  <a:gd name="connsiteX13773" fmla="*/ 5002238 w 6994525"/>
                  <a:gd name="connsiteY13773" fmla="*/ 2664005 h 7571036"/>
                  <a:gd name="connsiteX13774" fmla="*/ 4975116 w 6994525"/>
                  <a:gd name="connsiteY13774" fmla="*/ 2690881 h 7571036"/>
                  <a:gd name="connsiteX13775" fmla="*/ 5002238 w 6994525"/>
                  <a:gd name="connsiteY13775" fmla="*/ 2718007 h 7571036"/>
                  <a:gd name="connsiteX13776" fmla="*/ 5029363 w 6994525"/>
                  <a:gd name="connsiteY13776" fmla="*/ 2690881 h 7571036"/>
                  <a:gd name="connsiteX13777" fmla="*/ 5034045 w 6994525"/>
                  <a:gd name="connsiteY13777" fmla="*/ 5928842 h 7571036"/>
                  <a:gd name="connsiteX13778" fmla="*/ 5033553 w 6994525"/>
                  <a:gd name="connsiteY13778" fmla="*/ 5928349 h 7571036"/>
                  <a:gd name="connsiteX13779" fmla="*/ 5033059 w 6994525"/>
                  <a:gd name="connsiteY13779" fmla="*/ 5928842 h 7571036"/>
                  <a:gd name="connsiteX13780" fmla="*/ 5033553 w 6994525"/>
                  <a:gd name="connsiteY13780" fmla="*/ 5929336 h 7571036"/>
                  <a:gd name="connsiteX13781" fmla="*/ 5034045 w 6994525"/>
                  <a:gd name="connsiteY13781" fmla="*/ 5928842 h 7571036"/>
                  <a:gd name="connsiteX13782" fmla="*/ 5039471 w 6994525"/>
                  <a:gd name="connsiteY13782" fmla="*/ 6053361 h 7571036"/>
                  <a:gd name="connsiteX13783" fmla="*/ 5038485 w 6994525"/>
                  <a:gd name="connsiteY13783" fmla="*/ 6052375 h 7571036"/>
                  <a:gd name="connsiteX13784" fmla="*/ 5037499 w 6994525"/>
                  <a:gd name="connsiteY13784" fmla="*/ 6053361 h 7571036"/>
                  <a:gd name="connsiteX13785" fmla="*/ 5038485 w 6994525"/>
                  <a:gd name="connsiteY13785" fmla="*/ 6054348 h 7571036"/>
                  <a:gd name="connsiteX13786" fmla="*/ 5039471 w 6994525"/>
                  <a:gd name="connsiteY13786" fmla="*/ 6053361 h 7571036"/>
                  <a:gd name="connsiteX13787" fmla="*/ 5039964 w 6994525"/>
                  <a:gd name="connsiteY13787" fmla="*/ 4258535 h 7571036"/>
                  <a:gd name="connsiteX13788" fmla="*/ 5005197 w 6994525"/>
                  <a:gd name="connsiteY13788" fmla="*/ 4223769 h 7571036"/>
                  <a:gd name="connsiteX13789" fmla="*/ 4970430 w 6994525"/>
                  <a:gd name="connsiteY13789" fmla="*/ 4258535 h 7571036"/>
                  <a:gd name="connsiteX13790" fmla="*/ 5005197 w 6994525"/>
                  <a:gd name="connsiteY13790" fmla="*/ 4293305 h 7571036"/>
                  <a:gd name="connsiteX13791" fmla="*/ 5039964 w 6994525"/>
                  <a:gd name="connsiteY13791" fmla="*/ 4258535 h 7571036"/>
                  <a:gd name="connsiteX13792" fmla="*/ 5040950 w 6994525"/>
                  <a:gd name="connsiteY13792" fmla="*/ 2004933 h 7571036"/>
                  <a:gd name="connsiteX13793" fmla="*/ 5039225 w 6994525"/>
                  <a:gd name="connsiteY13793" fmla="*/ 2003207 h 7571036"/>
                  <a:gd name="connsiteX13794" fmla="*/ 5037499 w 6994525"/>
                  <a:gd name="connsiteY13794" fmla="*/ 2004933 h 7571036"/>
                  <a:gd name="connsiteX13795" fmla="*/ 5039225 w 6994525"/>
                  <a:gd name="connsiteY13795" fmla="*/ 2006656 h 7571036"/>
                  <a:gd name="connsiteX13796" fmla="*/ 5040950 w 6994525"/>
                  <a:gd name="connsiteY13796" fmla="*/ 2004933 h 7571036"/>
                  <a:gd name="connsiteX13797" fmla="*/ 5041935 w 6994525"/>
                  <a:gd name="connsiteY13797" fmla="*/ 3071346 h 7571036"/>
                  <a:gd name="connsiteX13798" fmla="*/ 5034045 w 6994525"/>
                  <a:gd name="connsiteY13798" fmla="*/ 3063209 h 7571036"/>
                  <a:gd name="connsiteX13799" fmla="*/ 5025908 w 6994525"/>
                  <a:gd name="connsiteY13799" fmla="*/ 3071346 h 7571036"/>
                  <a:gd name="connsiteX13800" fmla="*/ 5034045 w 6994525"/>
                  <a:gd name="connsiteY13800" fmla="*/ 3079236 h 7571036"/>
                  <a:gd name="connsiteX13801" fmla="*/ 5041935 w 6994525"/>
                  <a:gd name="connsiteY13801" fmla="*/ 3071346 h 7571036"/>
                  <a:gd name="connsiteX13802" fmla="*/ 5047854 w 6994525"/>
                  <a:gd name="connsiteY13802" fmla="*/ 4657743 h 7571036"/>
                  <a:gd name="connsiteX13803" fmla="*/ 5005443 w 6994525"/>
                  <a:gd name="connsiteY13803" fmla="*/ 4615331 h 7571036"/>
                  <a:gd name="connsiteX13804" fmla="*/ 4963032 w 6994525"/>
                  <a:gd name="connsiteY13804" fmla="*/ 4657743 h 7571036"/>
                  <a:gd name="connsiteX13805" fmla="*/ 5005443 w 6994525"/>
                  <a:gd name="connsiteY13805" fmla="*/ 4700154 h 7571036"/>
                  <a:gd name="connsiteX13806" fmla="*/ 5047854 w 6994525"/>
                  <a:gd name="connsiteY13806" fmla="*/ 4657743 h 7571036"/>
                  <a:gd name="connsiteX13807" fmla="*/ 5054515 w 6994525"/>
                  <a:gd name="connsiteY13807" fmla="*/ 6171226 h 7571036"/>
                  <a:gd name="connsiteX13808" fmla="*/ 5051802 w 6994525"/>
                  <a:gd name="connsiteY13808" fmla="*/ 6168513 h 7571036"/>
                  <a:gd name="connsiteX13809" fmla="*/ 5049088 w 6994525"/>
                  <a:gd name="connsiteY13809" fmla="*/ 6171226 h 7571036"/>
                  <a:gd name="connsiteX13810" fmla="*/ 5051802 w 6994525"/>
                  <a:gd name="connsiteY13810" fmla="*/ 6173939 h 7571036"/>
                  <a:gd name="connsiteX13811" fmla="*/ 5054515 w 6994525"/>
                  <a:gd name="connsiteY13811" fmla="*/ 6171226 h 7571036"/>
                  <a:gd name="connsiteX13812" fmla="*/ 5057225 w 6994525"/>
                  <a:gd name="connsiteY13812" fmla="*/ 3878563 h 7571036"/>
                  <a:gd name="connsiteX13813" fmla="*/ 5035526 w 6994525"/>
                  <a:gd name="connsiteY13813" fmla="*/ 3856865 h 7571036"/>
                  <a:gd name="connsiteX13814" fmla="*/ 5013828 w 6994525"/>
                  <a:gd name="connsiteY13814" fmla="*/ 3878563 h 7571036"/>
                  <a:gd name="connsiteX13815" fmla="*/ 5035526 w 6994525"/>
                  <a:gd name="connsiteY13815" fmla="*/ 3900262 h 7571036"/>
                  <a:gd name="connsiteX13816" fmla="*/ 5057225 w 6994525"/>
                  <a:gd name="connsiteY13816" fmla="*/ 3878563 h 7571036"/>
                  <a:gd name="connsiteX13817" fmla="*/ 5058208 w 6994525"/>
                  <a:gd name="connsiteY13817" fmla="*/ 6294019 h 7571036"/>
                  <a:gd name="connsiteX13818" fmla="*/ 5055498 w 6994525"/>
                  <a:gd name="connsiteY13818" fmla="*/ 6291555 h 7571036"/>
                  <a:gd name="connsiteX13819" fmla="*/ 5053031 w 6994525"/>
                  <a:gd name="connsiteY13819" fmla="*/ 6294019 h 7571036"/>
                  <a:gd name="connsiteX13820" fmla="*/ 5055498 w 6994525"/>
                  <a:gd name="connsiteY13820" fmla="*/ 6296732 h 7571036"/>
                  <a:gd name="connsiteX13821" fmla="*/ 5058208 w 6994525"/>
                  <a:gd name="connsiteY13821" fmla="*/ 6294019 h 7571036"/>
                  <a:gd name="connsiteX13822" fmla="*/ 5058457 w 6994525"/>
                  <a:gd name="connsiteY13822" fmla="*/ 4943034 h 7571036"/>
                  <a:gd name="connsiteX13823" fmla="*/ 5045884 w 6994525"/>
                  <a:gd name="connsiteY13823" fmla="*/ 4930457 h 7571036"/>
                  <a:gd name="connsiteX13824" fmla="*/ 5033307 w 6994525"/>
                  <a:gd name="connsiteY13824" fmla="*/ 4943034 h 7571036"/>
                  <a:gd name="connsiteX13825" fmla="*/ 5045884 w 6994525"/>
                  <a:gd name="connsiteY13825" fmla="*/ 4955610 h 7571036"/>
                  <a:gd name="connsiteX13826" fmla="*/ 5058457 w 6994525"/>
                  <a:gd name="connsiteY13826" fmla="*/ 4943034 h 7571036"/>
                  <a:gd name="connsiteX13827" fmla="*/ 5059938 w 6994525"/>
                  <a:gd name="connsiteY13827" fmla="*/ 6416075 h 7571036"/>
                  <a:gd name="connsiteX13828" fmla="*/ 5058211 w 6994525"/>
                  <a:gd name="connsiteY13828" fmla="*/ 6414348 h 7571036"/>
                  <a:gd name="connsiteX13829" fmla="*/ 5056484 w 6994525"/>
                  <a:gd name="connsiteY13829" fmla="*/ 6416075 h 7571036"/>
                  <a:gd name="connsiteX13830" fmla="*/ 5058211 w 6994525"/>
                  <a:gd name="connsiteY13830" fmla="*/ 6417802 h 7571036"/>
                  <a:gd name="connsiteX13831" fmla="*/ 5059938 w 6994525"/>
                  <a:gd name="connsiteY13831" fmla="*/ 6416075 h 7571036"/>
                  <a:gd name="connsiteX13832" fmla="*/ 5062157 w 6994525"/>
                  <a:gd name="connsiteY13832" fmla="*/ 1836356 h 7571036"/>
                  <a:gd name="connsiteX13833" fmla="*/ 5022950 w 6994525"/>
                  <a:gd name="connsiteY13833" fmla="*/ 1797164 h 7571036"/>
                  <a:gd name="connsiteX13834" fmla="*/ 4983744 w 6994525"/>
                  <a:gd name="connsiteY13834" fmla="*/ 1836356 h 7571036"/>
                  <a:gd name="connsiteX13835" fmla="*/ 5022950 w 6994525"/>
                  <a:gd name="connsiteY13835" fmla="*/ 1875551 h 7571036"/>
                  <a:gd name="connsiteX13836" fmla="*/ 5062157 w 6994525"/>
                  <a:gd name="connsiteY13836" fmla="*/ 1836356 h 7571036"/>
                  <a:gd name="connsiteX13837" fmla="*/ 5064129 w 6994525"/>
                  <a:gd name="connsiteY13837" fmla="*/ 6536650 h 7571036"/>
                  <a:gd name="connsiteX13838" fmla="*/ 5061908 w 6994525"/>
                  <a:gd name="connsiteY13838" fmla="*/ 6534431 h 7571036"/>
                  <a:gd name="connsiteX13839" fmla="*/ 5059689 w 6994525"/>
                  <a:gd name="connsiteY13839" fmla="*/ 6536650 h 7571036"/>
                  <a:gd name="connsiteX13840" fmla="*/ 5061908 w 6994525"/>
                  <a:gd name="connsiteY13840" fmla="*/ 6538871 h 7571036"/>
                  <a:gd name="connsiteX13841" fmla="*/ 5064129 w 6994525"/>
                  <a:gd name="connsiteY13841" fmla="*/ 6536650 h 7571036"/>
                  <a:gd name="connsiteX13842" fmla="*/ 5067826 w 6994525"/>
                  <a:gd name="connsiteY13842" fmla="*/ 2535052 h 7571036"/>
                  <a:gd name="connsiteX13843" fmla="*/ 5038732 w 6994525"/>
                  <a:gd name="connsiteY13843" fmla="*/ 2505707 h 7571036"/>
                  <a:gd name="connsiteX13844" fmla="*/ 5009388 w 6994525"/>
                  <a:gd name="connsiteY13844" fmla="*/ 2535052 h 7571036"/>
                  <a:gd name="connsiteX13845" fmla="*/ 5038732 w 6994525"/>
                  <a:gd name="connsiteY13845" fmla="*/ 2564394 h 7571036"/>
                  <a:gd name="connsiteX13846" fmla="*/ 5067826 w 6994525"/>
                  <a:gd name="connsiteY13846" fmla="*/ 2535052 h 7571036"/>
                  <a:gd name="connsiteX13847" fmla="*/ 5067829 w 6994525"/>
                  <a:gd name="connsiteY13847" fmla="*/ 4802485 h 7571036"/>
                  <a:gd name="connsiteX13848" fmla="*/ 5027142 w 6994525"/>
                  <a:gd name="connsiteY13848" fmla="*/ 4761800 h 7571036"/>
                  <a:gd name="connsiteX13849" fmla="*/ 4986457 w 6994525"/>
                  <a:gd name="connsiteY13849" fmla="*/ 4802485 h 7571036"/>
                  <a:gd name="connsiteX13850" fmla="*/ 5027142 w 6994525"/>
                  <a:gd name="connsiteY13850" fmla="*/ 4843169 h 7571036"/>
                  <a:gd name="connsiteX13851" fmla="*/ 5067829 w 6994525"/>
                  <a:gd name="connsiteY13851" fmla="*/ 4802485 h 7571036"/>
                  <a:gd name="connsiteX13852" fmla="*/ 5068322 w 6994525"/>
                  <a:gd name="connsiteY13852" fmla="*/ 6656733 h 7571036"/>
                  <a:gd name="connsiteX13853" fmla="*/ 5064623 w 6994525"/>
                  <a:gd name="connsiteY13853" fmla="*/ 6653033 h 7571036"/>
                  <a:gd name="connsiteX13854" fmla="*/ 5060924 w 6994525"/>
                  <a:gd name="connsiteY13854" fmla="*/ 6656733 h 7571036"/>
                  <a:gd name="connsiteX13855" fmla="*/ 5064623 w 6994525"/>
                  <a:gd name="connsiteY13855" fmla="*/ 6660432 h 7571036"/>
                  <a:gd name="connsiteX13856" fmla="*/ 5068322 w 6994525"/>
                  <a:gd name="connsiteY13856" fmla="*/ 6656733 h 7571036"/>
                  <a:gd name="connsiteX13857" fmla="*/ 5068566 w 6994525"/>
                  <a:gd name="connsiteY13857" fmla="*/ 3185017 h 7571036"/>
                  <a:gd name="connsiteX13858" fmla="*/ 5059689 w 6994525"/>
                  <a:gd name="connsiteY13858" fmla="*/ 3176141 h 7571036"/>
                  <a:gd name="connsiteX13859" fmla="*/ 5050813 w 6994525"/>
                  <a:gd name="connsiteY13859" fmla="*/ 3185017 h 7571036"/>
                  <a:gd name="connsiteX13860" fmla="*/ 5059689 w 6994525"/>
                  <a:gd name="connsiteY13860" fmla="*/ 3193895 h 7571036"/>
                  <a:gd name="connsiteX13861" fmla="*/ 5068566 w 6994525"/>
                  <a:gd name="connsiteY13861" fmla="*/ 3185017 h 7571036"/>
                  <a:gd name="connsiteX13862" fmla="*/ 5072757 w 6994525"/>
                  <a:gd name="connsiteY13862" fmla="*/ 6776325 h 7571036"/>
                  <a:gd name="connsiteX13863" fmla="*/ 5067334 w 6994525"/>
                  <a:gd name="connsiteY13863" fmla="*/ 6770898 h 7571036"/>
                  <a:gd name="connsiteX13864" fmla="*/ 5061907 w 6994525"/>
                  <a:gd name="connsiteY13864" fmla="*/ 6776325 h 7571036"/>
                  <a:gd name="connsiteX13865" fmla="*/ 5067334 w 6994525"/>
                  <a:gd name="connsiteY13865" fmla="*/ 6781502 h 7571036"/>
                  <a:gd name="connsiteX13866" fmla="*/ 5072757 w 6994525"/>
                  <a:gd name="connsiteY13866" fmla="*/ 6776325 h 7571036"/>
                  <a:gd name="connsiteX13867" fmla="*/ 5077197 w 6994525"/>
                  <a:gd name="connsiteY13867" fmla="*/ 6894926 h 7571036"/>
                  <a:gd name="connsiteX13868" fmla="*/ 5069801 w 6994525"/>
                  <a:gd name="connsiteY13868" fmla="*/ 6887528 h 7571036"/>
                  <a:gd name="connsiteX13869" fmla="*/ 5062403 w 6994525"/>
                  <a:gd name="connsiteY13869" fmla="*/ 6894926 h 7571036"/>
                  <a:gd name="connsiteX13870" fmla="*/ 5069801 w 6994525"/>
                  <a:gd name="connsiteY13870" fmla="*/ 6902322 h 7571036"/>
                  <a:gd name="connsiteX13871" fmla="*/ 5077197 w 6994525"/>
                  <a:gd name="connsiteY13871" fmla="*/ 6894926 h 7571036"/>
                  <a:gd name="connsiteX13872" fmla="*/ 5078675 w 6994525"/>
                  <a:gd name="connsiteY13872" fmla="*/ 3764647 h 7571036"/>
                  <a:gd name="connsiteX13873" fmla="*/ 5060675 w 6994525"/>
                  <a:gd name="connsiteY13873" fmla="*/ 3746647 h 7571036"/>
                  <a:gd name="connsiteX13874" fmla="*/ 5042922 w 6994525"/>
                  <a:gd name="connsiteY13874" fmla="*/ 3764647 h 7571036"/>
                  <a:gd name="connsiteX13875" fmla="*/ 5060675 w 6994525"/>
                  <a:gd name="connsiteY13875" fmla="*/ 3782646 h 7571036"/>
                  <a:gd name="connsiteX13876" fmla="*/ 5078675 w 6994525"/>
                  <a:gd name="connsiteY13876" fmla="*/ 3764647 h 7571036"/>
                  <a:gd name="connsiteX13877" fmla="*/ 5078678 w 6994525"/>
                  <a:gd name="connsiteY13877" fmla="*/ 1701218 h 7571036"/>
                  <a:gd name="connsiteX13878" fmla="*/ 5035031 w 6994525"/>
                  <a:gd name="connsiteY13878" fmla="*/ 1657570 h 7571036"/>
                  <a:gd name="connsiteX13879" fmla="*/ 4991388 w 6994525"/>
                  <a:gd name="connsiteY13879" fmla="*/ 1701218 h 7571036"/>
                  <a:gd name="connsiteX13880" fmla="*/ 5035031 w 6994525"/>
                  <a:gd name="connsiteY13880" fmla="*/ 1744866 h 7571036"/>
                  <a:gd name="connsiteX13881" fmla="*/ 5078678 w 6994525"/>
                  <a:gd name="connsiteY13881" fmla="*/ 1701218 h 7571036"/>
                  <a:gd name="connsiteX13882" fmla="*/ 5079910 w 6994525"/>
                  <a:gd name="connsiteY13882" fmla="*/ 2795676 h 7571036"/>
                  <a:gd name="connsiteX13883" fmla="*/ 5052539 w 6994525"/>
                  <a:gd name="connsiteY13883" fmla="*/ 2768305 h 7571036"/>
                  <a:gd name="connsiteX13884" fmla="*/ 5025169 w 6994525"/>
                  <a:gd name="connsiteY13884" fmla="*/ 2795676 h 7571036"/>
                  <a:gd name="connsiteX13885" fmla="*/ 5052539 w 6994525"/>
                  <a:gd name="connsiteY13885" fmla="*/ 2823047 h 7571036"/>
                  <a:gd name="connsiteX13886" fmla="*/ 5079910 w 6994525"/>
                  <a:gd name="connsiteY13886" fmla="*/ 2795676 h 7571036"/>
                  <a:gd name="connsiteX13887" fmla="*/ 5082128 w 6994525"/>
                  <a:gd name="connsiteY13887" fmla="*/ 5071744 h 7571036"/>
                  <a:gd name="connsiteX13888" fmla="*/ 5072016 w 6994525"/>
                  <a:gd name="connsiteY13888" fmla="*/ 5061635 h 7571036"/>
                  <a:gd name="connsiteX13889" fmla="*/ 5061907 w 6994525"/>
                  <a:gd name="connsiteY13889" fmla="*/ 5071744 h 7571036"/>
                  <a:gd name="connsiteX13890" fmla="*/ 5072016 w 6994525"/>
                  <a:gd name="connsiteY13890" fmla="*/ 5081856 h 7571036"/>
                  <a:gd name="connsiteX13891" fmla="*/ 5082128 w 6994525"/>
                  <a:gd name="connsiteY13891" fmla="*/ 5071744 h 7571036"/>
                  <a:gd name="connsiteX13892" fmla="*/ 5084350 w 6994525"/>
                  <a:gd name="connsiteY13892" fmla="*/ 4413386 h 7571036"/>
                  <a:gd name="connsiteX13893" fmla="*/ 5042676 w 6994525"/>
                  <a:gd name="connsiteY13893" fmla="*/ 4371715 h 7571036"/>
                  <a:gd name="connsiteX13894" fmla="*/ 5001006 w 6994525"/>
                  <a:gd name="connsiteY13894" fmla="*/ 4413386 h 7571036"/>
                  <a:gd name="connsiteX13895" fmla="*/ 5042676 w 6994525"/>
                  <a:gd name="connsiteY13895" fmla="*/ 4455059 h 7571036"/>
                  <a:gd name="connsiteX13896" fmla="*/ 5084350 w 6994525"/>
                  <a:gd name="connsiteY13896" fmla="*/ 4413386 h 7571036"/>
                  <a:gd name="connsiteX13897" fmla="*/ 5084596 w 6994525"/>
                  <a:gd name="connsiteY13897" fmla="*/ 4153251 h 7571036"/>
                  <a:gd name="connsiteX13898" fmla="*/ 5055252 w 6994525"/>
                  <a:gd name="connsiteY13898" fmla="*/ 4123907 h 7571036"/>
                  <a:gd name="connsiteX13899" fmla="*/ 5025908 w 6994525"/>
                  <a:gd name="connsiteY13899" fmla="*/ 4153251 h 7571036"/>
                  <a:gd name="connsiteX13900" fmla="*/ 5055252 w 6994525"/>
                  <a:gd name="connsiteY13900" fmla="*/ 4182594 h 7571036"/>
                  <a:gd name="connsiteX13901" fmla="*/ 5084596 w 6994525"/>
                  <a:gd name="connsiteY13901" fmla="*/ 4153251 h 7571036"/>
                  <a:gd name="connsiteX13902" fmla="*/ 5085582 w 6994525"/>
                  <a:gd name="connsiteY13902" fmla="*/ 7127691 h 7571036"/>
                  <a:gd name="connsiteX13903" fmla="*/ 5080896 w 6994525"/>
                  <a:gd name="connsiteY13903" fmla="*/ 7123007 h 7571036"/>
                  <a:gd name="connsiteX13904" fmla="*/ 5076210 w 6994525"/>
                  <a:gd name="connsiteY13904" fmla="*/ 7127691 h 7571036"/>
                  <a:gd name="connsiteX13905" fmla="*/ 5080896 w 6994525"/>
                  <a:gd name="connsiteY13905" fmla="*/ 7132377 h 7571036"/>
                  <a:gd name="connsiteX13906" fmla="*/ 5085582 w 6994525"/>
                  <a:gd name="connsiteY13906" fmla="*/ 7127691 h 7571036"/>
                  <a:gd name="connsiteX13907" fmla="*/ 5086074 w 6994525"/>
                  <a:gd name="connsiteY13907" fmla="*/ 2383423 h 7571036"/>
                  <a:gd name="connsiteX13908" fmla="*/ 5068812 w 6994525"/>
                  <a:gd name="connsiteY13908" fmla="*/ 2366164 h 7571036"/>
                  <a:gd name="connsiteX13909" fmla="*/ 5051798 w 6994525"/>
                  <a:gd name="connsiteY13909" fmla="*/ 2383423 h 7571036"/>
                  <a:gd name="connsiteX13910" fmla="*/ 5068812 w 6994525"/>
                  <a:gd name="connsiteY13910" fmla="*/ 2400436 h 7571036"/>
                  <a:gd name="connsiteX13911" fmla="*/ 5086074 w 6994525"/>
                  <a:gd name="connsiteY13911" fmla="*/ 2383423 h 7571036"/>
                  <a:gd name="connsiteX13912" fmla="*/ 5086319 w 6994525"/>
                  <a:gd name="connsiteY13912" fmla="*/ 5208595 h 7571036"/>
                  <a:gd name="connsiteX13913" fmla="*/ 5085581 w 6994525"/>
                  <a:gd name="connsiteY13913" fmla="*/ 5207854 h 7571036"/>
                  <a:gd name="connsiteX13914" fmla="*/ 5084841 w 6994525"/>
                  <a:gd name="connsiteY13914" fmla="*/ 5208595 h 7571036"/>
                  <a:gd name="connsiteX13915" fmla="*/ 5085581 w 6994525"/>
                  <a:gd name="connsiteY13915" fmla="*/ 5209332 h 7571036"/>
                  <a:gd name="connsiteX13916" fmla="*/ 5086319 w 6994525"/>
                  <a:gd name="connsiteY13916" fmla="*/ 5208595 h 7571036"/>
                  <a:gd name="connsiteX13917" fmla="*/ 5086320 w 6994525"/>
                  <a:gd name="connsiteY13917" fmla="*/ 3300168 h 7571036"/>
                  <a:gd name="connsiteX13918" fmla="*/ 5076706 w 6994525"/>
                  <a:gd name="connsiteY13918" fmla="*/ 3290552 h 7571036"/>
                  <a:gd name="connsiteX13919" fmla="*/ 5067088 w 6994525"/>
                  <a:gd name="connsiteY13919" fmla="*/ 3300168 h 7571036"/>
                  <a:gd name="connsiteX13920" fmla="*/ 5076706 w 6994525"/>
                  <a:gd name="connsiteY13920" fmla="*/ 3309785 h 7571036"/>
                  <a:gd name="connsiteX13921" fmla="*/ 5086320 w 6994525"/>
                  <a:gd name="connsiteY13921" fmla="*/ 3300168 h 7571036"/>
                  <a:gd name="connsiteX13922" fmla="*/ 5088046 w 6994525"/>
                  <a:gd name="connsiteY13922" fmla="*/ 779645 h 7571036"/>
                  <a:gd name="connsiteX13923" fmla="*/ 5044154 w 6994525"/>
                  <a:gd name="connsiteY13923" fmla="*/ 735752 h 7571036"/>
                  <a:gd name="connsiteX13924" fmla="*/ 5000265 w 6994525"/>
                  <a:gd name="connsiteY13924" fmla="*/ 779645 h 7571036"/>
                  <a:gd name="connsiteX13925" fmla="*/ 5044154 w 6994525"/>
                  <a:gd name="connsiteY13925" fmla="*/ 823539 h 7571036"/>
                  <a:gd name="connsiteX13926" fmla="*/ 5088046 w 6994525"/>
                  <a:gd name="connsiteY13926" fmla="*/ 779645 h 7571036"/>
                  <a:gd name="connsiteX13927" fmla="*/ 5088046 w 6994525"/>
                  <a:gd name="connsiteY13927" fmla="*/ 7009828 h 7571036"/>
                  <a:gd name="connsiteX13928" fmla="*/ 5079169 w 6994525"/>
                  <a:gd name="connsiteY13928" fmla="*/ 7000952 h 7571036"/>
                  <a:gd name="connsiteX13929" fmla="*/ 5070293 w 6994525"/>
                  <a:gd name="connsiteY13929" fmla="*/ 7009828 h 7571036"/>
                  <a:gd name="connsiteX13930" fmla="*/ 5079169 w 6994525"/>
                  <a:gd name="connsiteY13930" fmla="*/ 7018705 h 7571036"/>
                  <a:gd name="connsiteX13931" fmla="*/ 5088046 w 6994525"/>
                  <a:gd name="connsiteY13931" fmla="*/ 7009828 h 7571036"/>
                  <a:gd name="connsiteX13932" fmla="*/ 5089278 w 6994525"/>
                  <a:gd name="connsiteY13932" fmla="*/ 7244815 h 7571036"/>
                  <a:gd name="connsiteX13933" fmla="*/ 5082622 w 6994525"/>
                  <a:gd name="connsiteY13933" fmla="*/ 7238157 h 7571036"/>
                  <a:gd name="connsiteX13934" fmla="*/ 5075965 w 6994525"/>
                  <a:gd name="connsiteY13934" fmla="*/ 7244815 h 7571036"/>
                  <a:gd name="connsiteX13935" fmla="*/ 5082622 w 6994525"/>
                  <a:gd name="connsiteY13935" fmla="*/ 7251473 h 7571036"/>
                  <a:gd name="connsiteX13936" fmla="*/ 5089278 w 6994525"/>
                  <a:gd name="connsiteY13936" fmla="*/ 7244815 h 7571036"/>
                  <a:gd name="connsiteX13937" fmla="*/ 5091251 w 6994525"/>
                  <a:gd name="connsiteY13937" fmla="*/ 657121 h 7571036"/>
                  <a:gd name="connsiteX13938" fmla="*/ 5047853 w 6994525"/>
                  <a:gd name="connsiteY13938" fmla="*/ 613677 h 7571036"/>
                  <a:gd name="connsiteX13939" fmla="*/ 5004456 w 6994525"/>
                  <a:gd name="connsiteY13939" fmla="*/ 657121 h 7571036"/>
                  <a:gd name="connsiteX13940" fmla="*/ 5047853 w 6994525"/>
                  <a:gd name="connsiteY13940" fmla="*/ 700520 h 7571036"/>
                  <a:gd name="connsiteX13941" fmla="*/ 5091251 w 6994525"/>
                  <a:gd name="connsiteY13941" fmla="*/ 657121 h 7571036"/>
                  <a:gd name="connsiteX13942" fmla="*/ 5091251 w 6994525"/>
                  <a:gd name="connsiteY13942" fmla="*/ 3649250 h 7571036"/>
                  <a:gd name="connsiteX13943" fmla="*/ 5077197 w 6994525"/>
                  <a:gd name="connsiteY13943" fmla="*/ 3635195 h 7571036"/>
                  <a:gd name="connsiteX13944" fmla="*/ 5063143 w 6994525"/>
                  <a:gd name="connsiteY13944" fmla="*/ 3649250 h 7571036"/>
                  <a:gd name="connsiteX13945" fmla="*/ 5077197 w 6994525"/>
                  <a:gd name="connsiteY13945" fmla="*/ 3663304 h 7571036"/>
                  <a:gd name="connsiteX13946" fmla="*/ 5091251 w 6994525"/>
                  <a:gd name="connsiteY13946" fmla="*/ 3649250 h 7571036"/>
                  <a:gd name="connsiteX13947" fmla="*/ 5092484 w 6994525"/>
                  <a:gd name="connsiteY13947" fmla="*/ 1568331 h 7571036"/>
                  <a:gd name="connsiteX13948" fmla="*/ 5045635 w 6994525"/>
                  <a:gd name="connsiteY13948" fmla="*/ 1521481 h 7571036"/>
                  <a:gd name="connsiteX13949" fmla="*/ 4998785 w 6994525"/>
                  <a:gd name="connsiteY13949" fmla="*/ 1568331 h 7571036"/>
                  <a:gd name="connsiteX13950" fmla="*/ 5045635 w 6994525"/>
                  <a:gd name="connsiteY13950" fmla="*/ 1615178 h 7571036"/>
                  <a:gd name="connsiteX13951" fmla="*/ 5092484 w 6994525"/>
                  <a:gd name="connsiteY13951" fmla="*/ 1568331 h 7571036"/>
                  <a:gd name="connsiteX13952" fmla="*/ 5095441 w 6994525"/>
                  <a:gd name="connsiteY13952" fmla="*/ 3416553 h 7571036"/>
                  <a:gd name="connsiteX13953" fmla="*/ 5085333 w 6994525"/>
                  <a:gd name="connsiteY13953" fmla="*/ 3406447 h 7571036"/>
                  <a:gd name="connsiteX13954" fmla="*/ 5075224 w 6994525"/>
                  <a:gd name="connsiteY13954" fmla="*/ 3416553 h 7571036"/>
                  <a:gd name="connsiteX13955" fmla="*/ 5085333 w 6994525"/>
                  <a:gd name="connsiteY13955" fmla="*/ 3426661 h 7571036"/>
                  <a:gd name="connsiteX13956" fmla="*/ 5095441 w 6994525"/>
                  <a:gd name="connsiteY13956" fmla="*/ 3416553 h 7571036"/>
                  <a:gd name="connsiteX13957" fmla="*/ 5095444 w 6994525"/>
                  <a:gd name="connsiteY13957" fmla="*/ 535534 h 7571036"/>
                  <a:gd name="connsiteX13958" fmla="*/ 5051306 w 6994525"/>
                  <a:gd name="connsiteY13958" fmla="*/ 491399 h 7571036"/>
                  <a:gd name="connsiteX13959" fmla="*/ 5007169 w 6994525"/>
                  <a:gd name="connsiteY13959" fmla="*/ 535534 h 7571036"/>
                  <a:gd name="connsiteX13960" fmla="*/ 5051306 w 6994525"/>
                  <a:gd name="connsiteY13960" fmla="*/ 579667 h 7571036"/>
                  <a:gd name="connsiteX13961" fmla="*/ 5095444 w 6994525"/>
                  <a:gd name="connsiteY13961" fmla="*/ 535534 h 7571036"/>
                  <a:gd name="connsiteX13962" fmla="*/ 5096431 w 6994525"/>
                  <a:gd name="connsiteY13962" fmla="*/ 414491 h 7571036"/>
                  <a:gd name="connsiteX13963" fmla="*/ 5053772 w 6994525"/>
                  <a:gd name="connsiteY13963" fmla="*/ 371835 h 7571036"/>
                  <a:gd name="connsiteX13964" fmla="*/ 5011114 w 6994525"/>
                  <a:gd name="connsiteY13964" fmla="*/ 414491 h 7571036"/>
                  <a:gd name="connsiteX13965" fmla="*/ 5053772 w 6994525"/>
                  <a:gd name="connsiteY13965" fmla="*/ 457146 h 7571036"/>
                  <a:gd name="connsiteX13966" fmla="*/ 5096431 w 6994525"/>
                  <a:gd name="connsiteY13966" fmla="*/ 414491 h 7571036"/>
                  <a:gd name="connsiteX13967" fmla="*/ 5096922 w 6994525"/>
                  <a:gd name="connsiteY13967" fmla="*/ 3532866 h 7571036"/>
                  <a:gd name="connsiteX13968" fmla="*/ 5085581 w 6994525"/>
                  <a:gd name="connsiteY13968" fmla="*/ 3521276 h 7571036"/>
                  <a:gd name="connsiteX13969" fmla="*/ 5073991 w 6994525"/>
                  <a:gd name="connsiteY13969" fmla="*/ 3532866 h 7571036"/>
                  <a:gd name="connsiteX13970" fmla="*/ 5085581 w 6994525"/>
                  <a:gd name="connsiteY13970" fmla="*/ 3544453 h 7571036"/>
                  <a:gd name="connsiteX13971" fmla="*/ 5096922 w 6994525"/>
                  <a:gd name="connsiteY13971" fmla="*/ 3532866 h 7571036"/>
                  <a:gd name="connsiteX13972" fmla="*/ 5098401 w 6994525"/>
                  <a:gd name="connsiteY13972" fmla="*/ 294433 h 7571036"/>
                  <a:gd name="connsiteX13973" fmla="*/ 5056238 w 6994525"/>
                  <a:gd name="connsiteY13973" fmla="*/ 252270 h 7571036"/>
                  <a:gd name="connsiteX13974" fmla="*/ 5014073 w 6994525"/>
                  <a:gd name="connsiteY13974" fmla="*/ 294433 h 7571036"/>
                  <a:gd name="connsiteX13975" fmla="*/ 5056238 w 6994525"/>
                  <a:gd name="connsiteY13975" fmla="*/ 336597 h 7571036"/>
                  <a:gd name="connsiteX13976" fmla="*/ 5098401 w 6994525"/>
                  <a:gd name="connsiteY13976" fmla="*/ 294433 h 7571036"/>
                  <a:gd name="connsiteX13977" fmla="*/ 5100129 w 6994525"/>
                  <a:gd name="connsiteY13977" fmla="*/ 174872 h 7571036"/>
                  <a:gd name="connsiteX13978" fmla="*/ 5058210 w 6994525"/>
                  <a:gd name="connsiteY13978" fmla="*/ 132955 h 7571036"/>
                  <a:gd name="connsiteX13979" fmla="*/ 5016292 w 6994525"/>
                  <a:gd name="connsiteY13979" fmla="*/ 174872 h 7571036"/>
                  <a:gd name="connsiteX13980" fmla="*/ 5058210 w 6994525"/>
                  <a:gd name="connsiteY13980" fmla="*/ 216786 h 7571036"/>
                  <a:gd name="connsiteX13981" fmla="*/ 5100129 w 6994525"/>
                  <a:gd name="connsiteY13981" fmla="*/ 174872 h 7571036"/>
                  <a:gd name="connsiteX13982" fmla="*/ 5101363 w 6994525"/>
                  <a:gd name="connsiteY13982" fmla="*/ 1437412 h 7571036"/>
                  <a:gd name="connsiteX13983" fmla="*/ 5055006 w 6994525"/>
                  <a:gd name="connsiteY13983" fmla="*/ 1391055 h 7571036"/>
                  <a:gd name="connsiteX13984" fmla="*/ 5008650 w 6994525"/>
                  <a:gd name="connsiteY13984" fmla="*/ 1437412 h 7571036"/>
                  <a:gd name="connsiteX13985" fmla="*/ 5055006 w 6994525"/>
                  <a:gd name="connsiteY13985" fmla="*/ 1483769 h 7571036"/>
                  <a:gd name="connsiteX13986" fmla="*/ 5101363 w 6994525"/>
                  <a:gd name="connsiteY13986" fmla="*/ 1437412 h 7571036"/>
                  <a:gd name="connsiteX13987" fmla="*/ 5101607 w 6994525"/>
                  <a:gd name="connsiteY13987" fmla="*/ 56299 h 7571036"/>
                  <a:gd name="connsiteX13988" fmla="*/ 5060184 w 6994525"/>
                  <a:gd name="connsiteY13988" fmla="*/ 14877 h 7571036"/>
                  <a:gd name="connsiteX13989" fmla="*/ 5018759 w 6994525"/>
                  <a:gd name="connsiteY13989" fmla="*/ 56299 h 7571036"/>
                  <a:gd name="connsiteX13990" fmla="*/ 5060184 w 6994525"/>
                  <a:gd name="connsiteY13990" fmla="*/ 97722 h 7571036"/>
                  <a:gd name="connsiteX13991" fmla="*/ 5101607 w 6994525"/>
                  <a:gd name="connsiteY13991" fmla="*/ 56299 h 7571036"/>
                  <a:gd name="connsiteX13992" fmla="*/ 5102346 w 6994525"/>
                  <a:gd name="connsiteY13992" fmla="*/ 2235487 h 7571036"/>
                  <a:gd name="connsiteX13993" fmla="*/ 5094951 w 6994525"/>
                  <a:gd name="connsiteY13993" fmla="*/ 2227849 h 7571036"/>
                  <a:gd name="connsiteX13994" fmla="*/ 5087306 w 6994525"/>
                  <a:gd name="connsiteY13994" fmla="*/ 2235487 h 7571036"/>
                  <a:gd name="connsiteX13995" fmla="*/ 5094951 w 6994525"/>
                  <a:gd name="connsiteY13995" fmla="*/ 2243140 h 7571036"/>
                  <a:gd name="connsiteX13996" fmla="*/ 5102346 w 6994525"/>
                  <a:gd name="connsiteY13996" fmla="*/ 2235487 h 7571036"/>
                  <a:gd name="connsiteX13997" fmla="*/ 5110240 w 6994525"/>
                  <a:gd name="connsiteY13997" fmla="*/ 1308470 h 7571036"/>
                  <a:gd name="connsiteX13998" fmla="*/ 5063388 w 6994525"/>
                  <a:gd name="connsiteY13998" fmla="*/ 1261862 h 7571036"/>
                  <a:gd name="connsiteX13999" fmla="*/ 5016787 w 6994525"/>
                  <a:gd name="connsiteY13999" fmla="*/ 1308470 h 7571036"/>
                  <a:gd name="connsiteX14000" fmla="*/ 5063388 w 6994525"/>
                  <a:gd name="connsiteY14000" fmla="*/ 1355073 h 7571036"/>
                  <a:gd name="connsiteX14001" fmla="*/ 5110240 w 6994525"/>
                  <a:gd name="connsiteY14001" fmla="*/ 1308470 h 7571036"/>
                  <a:gd name="connsiteX14002" fmla="*/ 5110731 w 6994525"/>
                  <a:gd name="connsiteY14002" fmla="*/ 5343964 h 7571036"/>
                  <a:gd name="connsiteX14003" fmla="*/ 5096677 w 6994525"/>
                  <a:gd name="connsiteY14003" fmla="*/ 5329910 h 7571036"/>
                  <a:gd name="connsiteX14004" fmla="*/ 5082622 w 6994525"/>
                  <a:gd name="connsiteY14004" fmla="*/ 5343964 h 7571036"/>
                  <a:gd name="connsiteX14005" fmla="*/ 5096677 w 6994525"/>
                  <a:gd name="connsiteY14005" fmla="*/ 5358018 h 7571036"/>
                  <a:gd name="connsiteX14006" fmla="*/ 5110731 w 6994525"/>
                  <a:gd name="connsiteY14006" fmla="*/ 5343964 h 7571036"/>
                  <a:gd name="connsiteX14007" fmla="*/ 5111963 w 6994525"/>
                  <a:gd name="connsiteY14007" fmla="*/ 5476866 h 7571036"/>
                  <a:gd name="connsiteX14008" fmla="*/ 5106787 w 6994525"/>
                  <a:gd name="connsiteY14008" fmla="*/ 5471688 h 7571036"/>
                  <a:gd name="connsiteX14009" fmla="*/ 5101608 w 6994525"/>
                  <a:gd name="connsiteY14009" fmla="*/ 5476866 h 7571036"/>
                  <a:gd name="connsiteX14010" fmla="*/ 5106787 w 6994525"/>
                  <a:gd name="connsiteY14010" fmla="*/ 5482042 h 7571036"/>
                  <a:gd name="connsiteX14011" fmla="*/ 5111963 w 6994525"/>
                  <a:gd name="connsiteY14011" fmla="*/ 5476866 h 7571036"/>
                  <a:gd name="connsiteX14012" fmla="*/ 5116895 w 6994525"/>
                  <a:gd name="connsiteY14012" fmla="*/ 1180518 h 7571036"/>
                  <a:gd name="connsiteX14013" fmla="*/ 5070293 w 6994525"/>
                  <a:gd name="connsiteY14013" fmla="*/ 1134163 h 7571036"/>
                  <a:gd name="connsiteX14014" fmla="*/ 5023937 w 6994525"/>
                  <a:gd name="connsiteY14014" fmla="*/ 1180518 h 7571036"/>
                  <a:gd name="connsiteX14015" fmla="*/ 5070293 w 6994525"/>
                  <a:gd name="connsiteY14015" fmla="*/ 1227125 h 7571036"/>
                  <a:gd name="connsiteX14016" fmla="*/ 5116895 w 6994525"/>
                  <a:gd name="connsiteY14016" fmla="*/ 1180518 h 7571036"/>
                  <a:gd name="connsiteX14017" fmla="*/ 5117390 w 6994525"/>
                  <a:gd name="connsiteY14017" fmla="*/ 5608293 h 7571036"/>
                  <a:gd name="connsiteX14018" fmla="*/ 5114676 w 6994525"/>
                  <a:gd name="connsiteY14018" fmla="*/ 5605334 h 7571036"/>
                  <a:gd name="connsiteX14019" fmla="*/ 5111718 w 6994525"/>
                  <a:gd name="connsiteY14019" fmla="*/ 5608293 h 7571036"/>
                  <a:gd name="connsiteX14020" fmla="*/ 5114676 w 6994525"/>
                  <a:gd name="connsiteY14020" fmla="*/ 5611252 h 7571036"/>
                  <a:gd name="connsiteX14021" fmla="*/ 5117390 w 6994525"/>
                  <a:gd name="connsiteY14021" fmla="*/ 5608293 h 7571036"/>
                  <a:gd name="connsiteX14022" fmla="*/ 5119608 w 6994525"/>
                  <a:gd name="connsiteY14022" fmla="*/ 2090751 h 7571036"/>
                  <a:gd name="connsiteX14023" fmla="*/ 5116649 w 6994525"/>
                  <a:gd name="connsiteY14023" fmla="*/ 2087791 h 7571036"/>
                  <a:gd name="connsiteX14024" fmla="*/ 5113690 w 6994525"/>
                  <a:gd name="connsiteY14024" fmla="*/ 2090751 h 7571036"/>
                  <a:gd name="connsiteX14025" fmla="*/ 5116649 w 6994525"/>
                  <a:gd name="connsiteY14025" fmla="*/ 2093710 h 7571036"/>
                  <a:gd name="connsiteX14026" fmla="*/ 5119608 w 6994525"/>
                  <a:gd name="connsiteY14026" fmla="*/ 2090751 h 7571036"/>
                  <a:gd name="connsiteX14027" fmla="*/ 5121085 w 6994525"/>
                  <a:gd name="connsiteY14027" fmla="*/ 4564290 h 7571036"/>
                  <a:gd name="connsiteX14028" fmla="*/ 5074235 w 6994525"/>
                  <a:gd name="connsiteY14028" fmla="*/ 4517442 h 7571036"/>
                  <a:gd name="connsiteX14029" fmla="*/ 5027386 w 6994525"/>
                  <a:gd name="connsiteY14029" fmla="*/ 4564290 h 7571036"/>
                  <a:gd name="connsiteX14030" fmla="*/ 5074235 w 6994525"/>
                  <a:gd name="connsiteY14030" fmla="*/ 4611141 h 7571036"/>
                  <a:gd name="connsiteX14031" fmla="*/ 5121085 w 6994525"/>
                  <a:gd name="connsiteY14031" fmla="*/ 4564290 h 7571036"/>
                  <a:gd name="connsiteX14032" fmla="*/ 5121581 w 6994525"/>
                  <a:gd name="connsiteY14032" fmla="*/ 4045003 h 7571036"/>
                  <a:gd name="connsiteX14033" fmla="*/ 5097910 w 6994525"/>
                  <a:gd name="connsiteY14033" fmla="*/ 4021331 h 7571036"/>
                  <a:gd name="connsiteX14034" fmla="*/ 5074238 w 6994525"/>
                  <a:gd name="connsiteY14034" fmla="*/ 4045003 h 7571036"/>
                  <a:gd name="connsiteX14035" fmla="*/ 5097910 w 6994525"/>
                  <a:gd name="connsiteY14035" fmla="*/ 4068674 h 7571036"/>
                  <a:gd name="connsiteX14036" fmla="*/ 5121581 w 6994525"/>
                  <a:gd name="connsiteY14036" fmla="*/ 4045003 h 7571036"/>
                  <a:gd name="connsiteX14037" fmla="*/ 5122072 w 6994525"/>
                  <a:gd name="connsiteY14037" fmla="*/ 1053800 h 7571036"/>
                  <a:gd name="connsiteX14038" fmla="*/ 5075965 w 6994525"/>
                  <a:gd name="connsiteY14038" fmla="*/ 1007687 h 7571036"/>
                  <a:gd name="connsiteX14039" fmla="*/ 5029854 w 6994525"/>
                  <a:gd name="connsiteY14039" fmla="*/ 1053800 h 7571036"/>
                  <a:gd name="connsiteX14040" fmla="*/ 5075965 w 6994525"/>
                  <a:gd name="connsiteY14040" fmla="*/ 1099906 h 7571036"/>
                  <a:gd name="connsiteX14041" fmla="*/ 5122072 w 6994525"/>
                  <a:gd name="connsiteY14041" fmla="*/ 1053800 h 7571036"/>
                  <a:gd name="connsiteX14042" fmla="*/ 5123550 w 6994525"/>
                  <a:gd name="connsiteY14042" fmla="*/ 5737499 h 7571036"/>
                  <a:gd name="connsiteX14043" fmla="*/ 5122812 w 6994525"/>
                  <a:gd name="connsiteY14043" fmla="*/ 5736758 h 7571036"/>
                  <a:gd name="connsiteX14044" fmla="*/ 5122072 w 6994525"/>
                  <a:gd name="connsiteY14044" fmla="*/ 5737499 h 7571036"/>
                  <a:gd name="connsiteX14045" fmla="*/ 5122812 w 6994525"/>
                  <a:gd name="connsiteY14045" fmla="*/ 5738236 h 7571036"/>
                  <a:gd name="connsiteX14046" fmla="*/ 5123550 w 6994525"/>
                  <a:gd name="connsiteY14046" fmla="*/ 5737499 h 7571036"/>
                  <a:gd name="connsiteX14047" fmla="*/ 5123799 w 6994525"/>
                  <a:gd name="connsiteY14047" fmla="*/ 2903926 h 7571036"/>
                  <a:gd name="connsiteX14048" fmla="*/ 5095688 w 6994525"/>
                  <a:gd name="connsiteY14048" fmla="*/ 2875570 h 7571036"/>
                  <a:gd name="connsiteX14049" fmla="*/ 5067579 w 6994525"/>
                  <a:gd name="connsiteY14049" fmla="*/ 2903926 h 7571036"/>
                  <a:gd name="connsiteX14050" fmla="*/ 5095688 w 6994525"/>
                  <a:gd name="connsiteY14050" fmla="*/ 2932035 h 7571036"/>
                  <a:gd name="connsiteX14051" fmla="*/ 5123799 w 6994525"/>
                  <a:gd name="connsiteY14051" fmla="*/ 2903926 h 7571036"/>
                  <a:gd name="connsiteX14052" fmla="*/ 5127498 w 6994525"/>
                  <a:gd name="connsiteY14052" fmla="*/ 928555 h 7571036"/>
                  <a:gd name="connsiteX14053" fmla="*/ 5081636 w 6994525"/>
                  <a:gd name="connsiteY14053" fmla="*/ 882683 h 7571036"/>
                  <a:gd name="connsiteX14054" fmla="*/ 5035772 w 6994525"/>
                  <a:gd name="connsiteY14054" fmla="*/ 928555 h 7571036"/>
                  <a:gd name="connsiteX14055" fmla="*/ 5081636 w 6994525"/>
                  <a:gd name="connsiteY14055" fmla="*/ 974417 h 7571036"/>
                  <a:gd name="connsiteX14056" fmla="*/ 5127498 w 6994525"/>
                  <a:gd name="connsiteY14056" fmla="*/ 928555 h 7571036"/>
                  <a:gd name="connsiteX14057" fmla="*/ 5130702 w 6994525"/>
                  <a:gd name="connsiteY14057" fmla="*/ 5864978 h 7571036"/>
                  <a:gd name="connsiteX14058" fmla="*/ 5130211 w 6994525"/>
                  <a:gd name="connsiteY14058" fmla="*/ 5864486 h 7571036"/>
                  <a:gd name="connsiteX14059" fmla="*/ 5129716 w 6994525"/>
                  <a:gd name="connsiteY14059" fmla="*/ 5864978 h 7571036"/>
                  <a:gd name="connsiteX14060" fmla="*/ 5130211 w 6994525"/>
                  <a:gd name="connsiteY14060" fmla="*/ 5865472 h 7571036"/>
                  <a:gd name="connsiteX14061" fmla="*/ 5130702 w 6994525"/>
                  <a:gd name="connsiteY14061" fmla="*/ 5864978 h 7571036"/>
                  <a:gd name="connsiteX14062" fmla="*/ 5132678 w 6994525"/>
                  <a:gd name="connsiteY14062" fmla="*/ 2636149 h 7571036"/>
                  <a:gd name="connsiteX14063" fmla="*/ 5095937 w 6994525"/>
                  <a:gd name="connsiteY14063" fmla="*/ 2599408 h 7571036"/>
                  <a:gd name="connsiteX14064" fmla="*/ 5059197 w 6994525"/>
                  <a:gd name="connsiteY14064" fmla="*/ 2636149 h 7571036"/>
                  <a:gd name="connsiteX14065" fmla="*/ 5095937 w 6994525"/>
                  <a:gd name="connsiteY14065" fmla="*/ 2672890 h 7571036"/>
                  <a:gd name="connsiteX14066" fmla="*/ 5132678 w 6994525"/>
                  <a:gd name="connsiteY14066" fmla="*/ 2636149 h 7571036"/>
                  <a:gd name="connsiteX14067" fmla="*/ 5135883 w 6994525"/>
                  <a:gd name="connsiteY14067" fmla="*/ 4312291 h 7571036"/>
                  <a:gd name="connsiteX14068" fmla="*/ 5099391 w 6994525"/>
                  <a:gd name="connsiteY14068" fmla="*/ 4275797 h 7571036"/>
                  <a:gd name="connsiteX14069" fmla="*/ 5062897 w 6994525"/>
                  <a:gd name="connsiteY14069" fmla="*/ 4312291 h 7571036"/>
                  <a:gd name="connsiteX14070" fmla="*/ 5099391 w 6994525"/>
                  <a:gd name="connsiteY14070" fmla="*/ 4348784 h 7571036"/>
                  <a:gd name="connsiteX14071" fmla="*/ 5135883 w 6994525"/>
                  <a:gd name="connsiteY14071" fmla="*/ 4312291 h 7571036"/>
                  <a:gd name="connsiteX14072" fmla="*/ 5137525 w 6994525"/>
                  <a:gd name="connsiteY14072" fmla="*/ 0 h 7571036"/>
                  <a:gd name="connsiteX14073" fmla="*/ 5106131 w 6994525"/>
                  <a:gd name="connsiteY14073" fmla="*/ 0 h 7571036"/>
                  <a:gd name="connsiteX14074" fmla="*/ 5121828 w 6994525"/>
                  <a:gd name="connsiteY14074" fmla="*/ 6518 h 7571036"/>
                  <a:gd name="connsiteX14075" fmla="*/ 5137610 w 6994525"/>
                  <a:gd name="connsiteY14075" fmla="*/ 5991470 h 7571036"/>
                  <a:gd name="connsiteX14076" fmla="*/ 5136375 w 6994525"/>
                  <a:gd name="connsiteY14076" fmla="*/ 5990238 h 7571036"/>
                  <a:gd name="connsiteX14077" fmla="*/ 5135143 w 6994525"/>
                  <a:gd name="connsiteY14077" fmla="*/ 5991470 h 7571036"/>
                  <a:gd name="connsiteX14078" fmla="*/ 5136375 w 6994525"/>
                  <a:gd name="connsiteY14078" fmla="*/ 5992702 h 7571036"/>
                  <a:gd name="connsiteX14079" fmla="*/ 5137610 w 6994525"/>
                  <a:gd name="connsiteY14079" fmla="*/ 5991470 h 7571036"/>
                  <a:gd name="connsiteX14080" fmla="*/ 5138594 w 6994525"/>
                  <a:gd name="connsiteY14080" fmla="*/ 1917939 h 7571036"/>
                  <a:gd name="connsiteX14081" fmla="*/ 5106046 w 6994525"/>
                  <a:gd name="connsiteY14081" fmla="*/ 1885407 h 7571036"/>
                  <a:gd name="connsiteX14082" fmla="*/ 5073497 w 6994525"/>
                  <a:gd name="connsiteY14082" fmla="*/ 1917939 h 7571036"/>
                  <a:gd name="connsiteX14083" fmla="*/ 5106046 w 6994525"/>
                  <a:gd name="connsiteY14083" fmla="*/ 1950473 h 7571036"/>
                  <a:gd name="connsiteX14084" fmla="*/ 5138594 w 6994525"/>
                  <a:gd name="connsiteY14084" fmla="*/ 1917939 h 7571036"/>
                  <a:gd name="connsiteX14085" fmla="*/ 5138594 w 6994525"/>
                  <a:gd name="connsiteY14085" fmla="*/ 4856979 h 7571036"/>
                  <a:gd name="connsiteX14086" fmla="*/ 5123062 w 6994525"/>
                  <a:gd name="connsiteY14086" fmla="*/ 4841444 h 7571036"/>
                  <a:gd name="connsiteX14087" fmla="*/ 5107526 w 6994525"/>
                  <a:gd name="connsiteY14087" fmla="*/ 4856979 h 7571036"/>
                  <a:gd name="connsiteX14088" fmla="*/ 5123062 w 6994525"/>
                  <a:gd name="connsiteY14088" fmla="*/ 4872511 h 7571036"/>
                  <a:gd name="connsiteX14089" fmla="*/ 5138594 w 6994525"/>
                  <a:gd name="connsiteY14089" fmla="*/ 4856979 h 7571036"/>
                  <a:gd name="connsiteX14090" fmla="*/ 5140074 w 6994525"/>
                  <a:gd name="connsiteY14090" fmla="*/ 4712485 h 7571036"/>
                  <a:gd name="connsiteX14091" fmla="*/ 5100373 w 6994525"/>
                  <a:gd name="connsiteY14091" fmla="*/ 4672786 h 7571036"/>
                  <a:gd name="connsiteX14092" fmla="*/ 5060675 w 6994525"/>
                  <a:gd name="connsiteY14092" fmla="*/ 4712485 h 7571036"/>
                  <a:gd name="connsiteX14093" fmla="*/ 5100373 w 6994525"/>
                  <a:gd name="connsiteY14093" fmla="*/ 4752185 h 7571036"/>
                  <a:gd name="connsiteX14094" fmla="*/ 5140074 w 6994525"/>
                  <a:gd name="connsiteY14094" fmla="*/ 4712485 h 7571036"/>
                  <a:gd name="connsiteX14095" fmla="*/ 5150675 w 6994525"/>
                  <a:gd name="connsiteY14095" fmla="*/ 3934291 h 7571036"/>
                  <a:gd name="connsiteX14096" fmla="*/ 5132922 w 6994525"/>
                  <a:gd name="connsiteY14096" fmla="*/ 3916537 h 7571036"/>
                  <a:gd name="connsiteX14097" fmla="*/ 5115168 w 6994525"/>
                  <a:gd name="connsiteY14097" fmla="*/ 3934291 h 7571036"/>
                  <a:gd name="connsiteX14098" fmla="*/ 5132922 w 6994525"/>
                  <a:gd name="connsiteY14098" fmla="*/ 3952045 h 7571036"/>
                  <a:gd name="connsiteX14099" fmla="*/ 5150675 w 6994525"/>
                  <a:gd name="connsiteY14099" fmla="*/ 3934291 h 7571036"/>
                  <a:gd name="connsiteX14100" fmla="*/ 5153635 w 6994525"/>
                  <a:gd name="connsiteY14100" fmla="*/ 6111061 h 7571036"/>
                  <a:gd name="connsiteX14101" fmla="*/ 5151170 w 6994525"/>
                  <a:gd name="connsiteY14101" fmla="*/ 6108594 h 7571036"/>
                  <a:gd name="connsiteX14102" fmla="*/ 5148703 w 6994525"/>
                  <a:gd name="connsiteY14102" fmla="*/ 6111061 h 7571036"/>
                  <a:gd name="connsiteX14103" fmla="*/ 5151170 w 6994525"/>
                  <a:gd name="connsiteY14103" fmla="*/ 6113525 h 7571036"/>
                  <a:gd name="connsiteX14104" fmla="*/ 5153635 w 6994525"/>
                  <a:gd name="connsiteY14104" fmla="*/ 6111061 h 7571036"/>
                  <a:gd name="connsiteX14105" fmla="*/ 5154869 w 6994525"/>
                  <a:gd name="connsiteY14105" fmla="*/ 2480568 h 7571036"/>
                  <a:gd name="connsiteX14106" fmla="*/ 5132184 w 6994525"/>
                  <a:gd name="connsiteY14106" fmla="*/ 2457883 h 7571036"/>
                  <a:gd name="connsiteX14107" fmla="*/ 5109499 w 6994525"/>
                  <a:gd name="connsiteY14107" fmla="*/ 2480568 h 7571036"/>
                  <a:gd name="connsiteX14108" fmla="*/ 5132184 w 6994525"/>
                  <a:gd name="connsiteY14108" fmla="*/ 2503255 h 7571036"/>
                  <a:gd name="connsiteX14109" fmla="*/ 5154869 w 6994525"/>
                  <a:gd name="connsiteY14109" fmla="*/ 2480568 h 7571036"/>
                  <a:gd name="connsiteX14110" fmla="*/ 5158320 w 6994525"/>
                  <a:gd name="connsiteY14110" fmla="*/ 6235582 h 7571036"/>
                  <a:gd name="connsiteX14111" fmla="*/ 5155856 w 6994525"/>
                  <a:gd name="connsiteY14111" fmla="*/ 6233114 h 7571036"/>
                  <a:gd name="connsiteX14112" fmla="*/ 5153388 w 6994525"/>
                  <a:gd name="connsiteY14112" fmla="*/ 6235582 h 7571036"/>
                  <a:gd name="connsiteX14113" fmla="*/ 5155856 w 6994525"/>
                  <a:gd name="connsiteY14113" fmla="*/ 6238045 h 7571036"/>
                  <a:gd name="connsiteX14114" fmla="*/ 5158320 w 6994525"/>
                  <a:gd name="connsiteY14114" fmla="*/ 6235582 h 7571036"/>
                  <a:gd name="connsiteX14115" fmla="*/ 5160541 w 6994525"/>
                  <a:gd name="connsiteY14115" fmla="*/ 1779663 h 7571036"/>
                  <a:gd name="connsiteX14116" fmla="*/ 5120841 w 6994525"/>
                  <a:gd name="connsiteY14116" fmla="*/ 1739931 h 7571036"/>
                  <a:gd name="connsiteX14117" fmla="*/ 5081142 w 6994525"/>
                  <a:gd name="connsiteY14117" fmla="*/ 1779663 h 7571036"/>
                  <a:gd name="connsiteX14118" fmla="*/ 5120841 w 6994525"/>
                  <a:gd name="connsiteY14118" fmla="*/ 1819364 h 7571036"/>
                  <a:gd name="connsiteX14119" fmla="*/ 5160541 w 6994525"/>
                  <a:gd name="connsiteY14119" fmla="*/ 1779663 h 7571036"/>
                  <a:gd name="connsiteX14120" fmla="*/ 5160787 w 6994525"/>
                  <a:gd name="connsiteY14120" fmla="*/ 3014641 h 7571036"/>
                  <a:gd name="connsiteX14121" fmla="*/ 5131198 w 6994525"/>
                  <a:gd name="connsiteY14121" fmla="*/ 2985051 h 7571036"/>
                  <a:gd name="connsiteX14122" fmla="*/ 5101608 w 6994525"/>
                  <a:gd name="connsiteY14122" fmla="*/ 3014641 h 7571036"/>
                  <a:gd name="connsiteX14123" fmla="*/ 5131198 w 6994525"/>
                  <a:gd name="connsiteY14123" fmla="*/ 3044231 h 7571036"/>
                  <a:gd name="connsiteX14124" fmla="*/ 5160787 w 6994525"/>
                  <a:gd name="connsiteY14124" fmla="*/ 3014641 h 7571036"/>
                  <a:gd name="connsiteX14125" fmla="*/ 5161525 w 6994525"/>
                  <a:gd name="connsiteY14125" fmla="*/ 6359362 h 7571036"/>
                  <a:gd name="connsiteX14126" fmla="*/ 5159553 w 6994525"/>
                  <a:gd name="connsiteY14126" fmla="*/ 6357388 h 7571036"/>
                  <a:gd name="connsiteX14127" fmla="*/ 5157579 w 6994525"/>
                  <a:gd name="connsiteY14127" fmla="*/ 6359362 h 7571036"/>
                  <a:gd name="connsiteX14128" fmla="*/ 5159553 w 6994525"/>
                  <a:gd name="connsiteY14128" fmla="*/ 6361334 h 7571036"/>
                  <a:gd name="connsiteX14129" fmla="*/ 5161525 w 6994525"/>
                  <a:gd name="connsiteY14129" fmla="*/ 6359362 h 7571036"/>
                  <a:gd name="connsiteX14130" fmla="*/ 5163991 w 6994525"/>
                  <a:gd name="connsiteY14130" fmla="*/ 4987662 h 7571036"/>
                  <a:gd name="connsiteX14131" fmla="*/ 5152650 w 6994525"/>
                  <a:gd name="connsiteY14131" fmla="*/ 4976072 h 7571036"/>
                  <a:gd name="connsiteX14132" fmla="*/ 5141306 w 6994525"/>
                  <a:gd name="connsiteY14132" fmla="*/ 4987662 h 7571036"/>
                  <a:gd name="connsiteX14133" fmla="*/ 5152650 w 6994525"/>
                  <a:gd name="connsiteY14133" fmla="*/ 4999003 h 7571036"/>
                  <a:gd name="connsiteX14134" fmla="*/ 5163991 w 6994525"/>
                  <a:gd name="connsiteY14134" fmla="*/ 4987662 h 7571036"/>
                  <a:gd name="connsiteX14135" fmla="*/ 5165965 w 6994525"/>
                  <a:gd name="connsiteY14135" fmla="*/ 6481912 h 7571036"/>
                  <a:gd name="connsiteX14136" fmla="*/ 5163991 w 6994525"/>
                  <a:gd name="connsiteY14136" fmla="*/ 6479939 h 7571036"/>
                  <a:gd name="connsiteX14137" fmla="*/ 5162019 w 6994525"/>
                  <a:gd name="connsiteY14137" fmla="*/ 6481912 h 7571036"/>
                  <a:gd name="connsiteX14138" fmla="*/ 5163991 w 6994525"/>
                  <a:gd name="connsiteY14138" fmla="*/ 6483884 h 7571036"/>
                  <a:gd name="connsiteX14139" fmla="*/ 5165965 w 6994525"/>
                  <a:gd name="connsiteY14139" fmla="*/ 6481912 h 7571036"/>
                  <a:gd name="connsiteX14140" fmla="*/ 5169663 w 6994525"/>
                  <a:gd name="connsiteY14140" fmla="*/ 5127718 h 7571036"/>
                  <a:gd name="connsiteX14141" fmla="*/ 5169171 w 6994525"/>
                  <a:gd name="connsiteY14141" fmla="*/ 5127223 h 7571036"/>
                  <a:gd name="connsiteX14142" fmla="*/ 5168677 w 6994525"/>
                  <a:gd name="connsiteY14142" fmla="*/ 5127718 h 7571036"/>
                  <a:gd name="connsiteX14143" fmla="*/ 5169171 w 6994525"/>
                  <a:gd name="connsiteY14143" fmla="*/ 5128209 h 7571036"/>
                  <a:gd name="connsiteX14144" fmla="*/ 5169663 w 6994525"/>
                  <a:gd name="connsiteY14144" fmla="*/ 5127718 h 7571036"/>
                  <a:gd name="connsiteX14145" fmla="*/ 5171390 w 6994525"/>
                  <a:gd name="connsiteY14145" fmla="*/ 6603473 h 7571036"/>
                  <a:gd name="connsiteX14146" fmla="*/ 5167690 w 6994525"/>
                  <a:gd name="connsiteY14146" fmla="*/ 6599773 h 7571036"/>
                  <a:gd name="connsiteX14147" fmla="*/ 5163991 w 6994525"/>
                  <a:gd name="connsiteY14147" fmla="*/ 6603473 h 7571036"/>
                  <a:gd name="connsiteX14148" fmla="*/ 5167690 w 6994525"/>
                  <a:gd name="connsiteY14148" fmla="*/ 6607168 h 7571036"/>
                  <a:gd name="connsiteX14149" fmla="*/ 5171390 w 6994525"/>
                  <a:gd name="connsiteY14149" fmla="*/ 6603473 h 7571036"/>
                  <a:gd name="connsiteX14150" fmla="*/ 5171882 w 6994525"/>
                  <a:gd name="connsiteY14150" fmla="*/ 3821112 h 7571036"/>
                  <a:gd name="connsiteX14151" fmla="*/ 5160046 w 6994525"/>
                  <a:gd name="connsiteY14151" fmla="*/ 3809030 h 7571036"/>
                  <a:gd name="connsiteX14152" fmla="*/ 5148210 w 6994525"/>
                  <a:gd name="connsiteY14152" fmla="*/ 3821112 h 7571036"/>
                  <a:gd name="connsiteX14153" fmla="*/ 5160046 w 6994525"/>
                  <a:gd name="connsiteY14153" fmla="*/ 3832947 h 7571036"/>
                  <a:gd name="connsiteX14154" fmla="*/ 5171882 w 6994525"/>
                  <a:gd name="connsiteY14154" fmla="*/ 3821112 h 7571036"/>
                  <a:gd name="connsiteX14155" fmla="*/ 5175086 w 6994525"/>
                  <a:gd name="connsiteY14155" fmla="*/ 2329178 h 7571036"/>
                  <a:gd name="connsiteX14156" fmla="*/ 5163250 w 6994525"/>
                  <a:gd name="connsiteY14156" fmla="*/ 2317347 h 7571036"/>
                  <a:gd name="connsiteX14157" fmla="*/ 5151415 w 6994525"/>
                  <a:gd name="connsiteY14157" fmla="*/ 2329178 h 7571036"/>
                  <a:gd name="connsiteX14158" fmla="*/ 5163250 w 6994525"/>
                  <a:gd name="connsiteY14158" fmla="*/ 2341027 h 7571036"/>
                  <a:gd name="connsiteX14159" fmla="*/ 5175086 w 6994525"/>
                  <a:gd name="connsiteY14159" fmla="*/ 2329178 h 7571036"/>
                  <a:gd name="connsiteX14160" fmla="*/ 5176568 w 6994525"/>
                  <a:gd name="connsiteY14160" fmla="*/ 6724296 h 7571036"/>
                  <a:gd name="connsiteX14161" fmla="*/ 5171144 w 6994525"/>
                  <a:gd name="connsiteY14161" fmla="*/ 6718870 h 7571036"/>
                  <a:gd name="connsiteX14162" fmla="*/ 5165718 w 6994525"/>
                  <a:gd name="connsiteY14162" fmla="*/ 6724296 h 7571036"/>
                  <a:gd name="connsiteX14163" fmla="*/ 5171144 w 6994525"/>
                  <a:gd name="connsiteY14163" fmla="*/ 6729720 h 7571036"/>
                  <a:gd name="connsiteX14164" fmla="*/ 5176568 w 6994525"/>
                  <a:gd name="connsiteY14164" fmla="*/ 6724296 h 7571036"/>
                  <a:gd name="connsiteX14165" fmla="*/ 5180021 w 6994525"/>
                  <a:gd name="connsiteY14165" fmla="*/ 1644031 h 7571036"/>
                  <a:gd name="connsiteX14166" fmla="*/ 5133911 w 6994525"/>
                  <a:gd name="connsiteY14166" fmla="*/ 1597920 h 7571036"/>
                  <a:gd name="connsiteX14167" fmla="*/ 5087800 w 6994525"/>
                  <a:gd name="connsiteY14167" fmla="*/ 1644031 h 7571036"/>
                  <a:gd name="connsiteX14168" fmla="*/ 5133911 w 6994525"/>
                  <a:gd name="connsiteY14168" fmla="*/ 1690139 h 7571036"/>
                  <a:gd name="connsiteX14169" fmla="*/ 5180021 w 6994525"/>
                  <a:gd name="connsiteY14169" fmla="*/ 1644031 h 7571036"/>
                  <a:gd name="connsiteX14170" fmla="*/ 5181253 w 6994525"/>
                  <a:gd name="connsiteY14170" fmla="*/ 4207497 h 7571036"/>
                  <a:gd name="connsiteX14171" fmla="*/ 5149937 w 6994525"/>
                  <a:gd name="connsiteY14171" fmla="*/ 4176181 h 7571036"/>
                  <a:gd name="connsiteX14172" fmla="*/ 5118375 w 6994525"/>
                  <a:gd name="connsiteY14172" fmla="*/ 4207497 h 7571036"/>
                  <a:gd name="connsiteX14173" fmla="*/ 5149937 w 6994525"/>
                  <a:gd name="connsiteY14173" fmla="*/ 4239059 h 7571036"/>
                  <a:gd name="connsiteX14174" fmla="*/ 5181253 w 6994525"/>
                  <a:gd name="connsiteY14174" fmla="*/ 4207497 h 7571036"/>
                  <a:gd name="connsiteX14175" fmla="*/ 5181742 w 6994525"/>
                  <a:gd name="connsiteY14175" fmla="*/ 6844377 h 7571036"/>
                  <a:gd name="connsiteX14176" fmla="*/ 5174101 w 6994525"/>
                  <a:gd name="connsiteY14176" fmla="*/ 6836732 h 7571036"/>
                  <a:gd name="connsiteX14177" fmla="*/ 5166456 w 6994525"/>
                  <a:gd name="connsiteY14177" fmla="*/ 6844377 h 7571036"/>
                  <a:gd name="connsiteX14178" fmla="*/ 5174101 w 6994525"/>
                  <a:gd name="connsiteY14178" fmla="*/ 6852018 h 7571036"/>
                  <a:gd name="connsiteX14179" fmla="*/ 5181742 w 6994525"/>
                  <a:gd name="connsiteY14179" fmla="*/ 6844377 h 7571036"/>
                  <a:gd name="connsiteX14180" fmla="*/ 5183472 w 6994525"/>
                  <a:gd name="connsiteY14180" fmla="*/ 4466896 h 7571036"/>
                  <a:gd name="connsiteX14181" fmla="*/ 5137115 w 6994525"/>
                  <a:gd name="connsiteY14181" fmla="*/ 4420539 h 7571036"/>
                  <a:gd name="connsiteX14182" fmla="*/ 5090759 w 6994525"/>
                  <a:gd name="connsiteY14182" fmla="*/ 4466896 h 7571036"/>
                  <a:gd name="connsiteX14183" fmla="*/ 5137115 w 6994525"/>
                  <a:gd name="connsiteY14183" fmla="*/ 4513497 h 7571036"/>
                  <a:gd name="connsiteX14184" fmla="*/ 5183472 w 6994525"/>
                  <a:gd name="connsiteY14184" fmla="*/ 4466896 h 7571036"/>
                  <a:gd name="connsiteX14185" fmla="*/ 5186922 w 6994525"/>
                  <a:gd name="connsiteY14185" fmla="*/ 3706455 h 7571036"/>
                  <a:gd name="connsiteX14186" fmla="*/ 5179527 w 6994525"/>
                  <a:gd name="connsiteY14186" fmla="*/ 3699056 h 7571036"/>
                  <a:gd name="connsiteX14187" fmla="*/ 5172128 w 6994525"/>
                  <a:gd name="connsiteY14187" fmla="*/ 3706455 h 7571036"/>
                  <a:gd name="connsiteX14188" fmla="*/ 5179527 w 6994525"/>
                  <a:gd name="connsiteY14188" fmla="*/ 3713850 h 7571036"/>
                  <a:gd name="connsiteX14189" fmla="*/ 5186922 w 6994525"/>
                  <a:gd name="connsiteY14189" fmla="*/ 3706455 h 7571036"/>
                  <a:gd name="connsiteX14190" fmla="*/ 5188649 w 6994525"/>
                  <a:gd name="connsiteY14190" fmla="*/ 1510400 h 7571036"/>
                  <a:gd name="connsiteX14191" fmla="*/ 5145497 w 6994525"/>
                  <a:gd name="connsiteY14191" fmla="*/ 1467250 h 7571036"/>
                  <a:gd name="connsiteX14192" fmla="*/ 5102346 w 6994525"/>
                  <a:gd name="connsiteY14192" fmla="*/ 1510400 h 7571036"/>
                  <a:gd name="connsiteX14193" fmla="*/ 5145497 w 6994525"/>
                  <a:gd name="connsiteY14193" fmla="*/ 1553553 h 7571036"/>
                  <a:gd name="connsiteX14194" fmla="*/ 5188649 w 6994525"/>
                  <a:gd name="connsiteY14194" fmla="*/ 1510400 h 7571036"/>
                  <a:gd name="connsiteX14195" fmla="*/ 5188650 w 6994525"/>
                  <a:gd name="connsiteY14195" fmla="*/ 839816 h 7571036"/>
                  <a:gd name="connsiteX14196" fmla="*/ 5143774 w 6994525"/>
                  <a:gd name="connsiteY14196" fmla="*/ 794932 h 7571036"/>
                  <a:gd name="connsiteX14197" fmla="*/ 5098895 w 6994525"/>
                  <a:gd name="connsiteY14197" fmla="*/ 839816 h 7571036"/>
                  <a:gd name="connsiteX14198" fmla="*/ 5143774 w 6994525"/>
                  <a:gd name="connsiteY14198" fmla="*/ 884685 h 7571036"/>
                  <a:gd name="connsiteX14199" fmla="*/ 5188650 w 6994525"/>
                  <a:gd name="connsiteY14199" fmla="*/ 839816 h 7571036"/>
                  <a:gd name="connsiteX14200" fmla="*/ 5189639 w 6994525"/>
                  <a:gd name="connsiteY14200" fmla="*/ 3127576 h 7571036"/>
                  <a:gd name="connsiteX14201" fmla="*/ 5158815 w 6994525"/>
                  <a:gd name="connsiteY14201" fmla="*/ 3096754 h 7571036"/>
                  <a:gd name="connsiteX14202" fmla="*/ 5127993 w 6994525"/>
                  <a:gd name="connsiteY14202" fmla="*/ 3127576 h 7571036"/>
                  <a:gd name="connsiteX14203" fmla="*/ 5158815 w 6994525"/>
                  <a:gd name="connsiteY14203" fmla="*/ 3158401 h 7571036"/>
                  <a:gd name="connsiteX14204" fmla="*/ 5189639 w 6994525"/>
                  <a:gd name="connsiteY14204" fmla="*/ 3127576 h 7571036"/>
                  <a:gd name="connsiteX14205" fmla="*/ 5190373 w 6994525"/>
                  <a:gd name="connsiteY14205" fmla="*/ 2740453 h 7571036"/>
                  <a:gd name="connsiteX14206" fmla="*/ 5146731 w 6994525"/>
                  <a:gd name="connsiteY14206" fmla="*/ 2696810 h 7571036"/>
                  <a:gd name="connsiteX14207" fmla="*/ 5103086 w 6994525"/>
                  <a:gd name="connsiteY14207" fmla="*/ 2740453 h 7571036"/>
                  <a:gd name="connsiteX14208" fmla="*/ 5146731 w 6994525"/>
                  <a:gd name="connsiteY14208" fmla="*/ 2784098 h 7571036"/>
                  <a:gd name="connsiteX14209" fmla="*/ 5190373 w 6994525"/>
                  <a:gd name="connsiteY14209" fmla="*/ 2740453 h 7571036"/>
                  <a:gd name="connsiteX14210" fmla="*/ 5191362 w 6994525"/>
                  <a:gd name="connsiteY14210" fmla="*/ 7079364 h 7571036"/>
                  <a:gd name="connsiteX14211" fmla="*/ 5186676 w 6994525"/>
                  <a:gd name="connsiteY14211" fmla="*/ 7074679 h 7571036"/>
                  <a:gd name="connsiteX14212" fmla="*/ 5181744 w 6994525"/>
                  <a:gd name="connsiteY14212" fmla="*/ 7079364 h 7571036"/>
                  <a:gd name="connsiteX14213" fmla="*/ 5186676 w 6994525"/>
                  <a:gd name="connsiteY14213" fmla="*/ 7084296 h 7571036"/>
                  <a:gd name="connsiteX14214" fmla="*/ 5191362 w 6994525"/>
                  <a:gd name="connsiteY14214" fmla="*/ 7079364 h 7571036"/>
                  <a:gd name="connsiteX14215" fmla="*/ 5192841 w 6994525"/>
                  <a:gd name="connsiteY14215" fmla="*/ 715311 h 7571036"/>
                  <a:gd name="connsiteX14216" fmla="*/ 5148457 w 6994525"/>
                  <a:gd name="connsiteY14216" fmla="*/ 670931 h 7571036"/>
                  <a:gd name="connsiteX14217" fmla="*/ 5104073 w 6994525"/>
                  <a:gd name="connsiteY14217" fmla="*/ 715311 h 7571036"/>
                  <a:gd name="connsiteX14218" fmla="*/ 5148457 w 6994525"/>
                  <a:gd name="connsiteY14218" fmla="*/ 759693 h 7571036"/>
                  <a:gd name="connsiteX14219" fmla="*/ 5192841 w 6994525"/>
                  <a:gd name="connsiteY14219" fmla="*/ 715311 h 7571036"/>
                  <a:gd name="connsiteX14220" fmla="*/ 5193581 w 6994525"/>
                  <a:gd name="connsiteY14220" fmla="*/ 6960514 h 7571036"/>
                  <a:gd name="connsiteX14221" fmla="*/ 5184456 w 6994525"/>
                  <a:gd name="connsiteY14221" fmla="*/ 6951391 h 7571036"/>
                  <a:gd name="connsiteX14222" fmla="*/ 5175332 w 6994525"/>
                  <a:gd name="connsiteY14222" fmla="*/ 6960514 h 7571036"/>
                  <a:gd name="connsiteX14223" fmla="*/ 5184456 w 6994525"/>
                  <a:gd name="connsiteY14223" fmla="*/ 6969640 h 7571036"/>
                  <a:gd name="connsiteX14224" fmla="*/ 5193581 w 6994525"/>
                  <a:gd name="connsiteY14224" fmla="*/ 6960514 h 7571036"/>
                  <a:gd name="connsiteX14225" fmla="*/ 5195553 w 6994525"/>
                  <a:gd name="connsiteY14225" fmla="*/ 3590317 h 7571036"/>
                  <a:gd name="connsiteX14226" fmla="*/ 5191359 w 6994525"/>
                  <a:gd name="connsiteY14226" fmla="*/ 3586126 h 7571036"/>
                  <a:gd name="connsiteX14227" fmla="*/ 5187168 w 6994525"/>
                  <a:gd name="connsiteY14227" fmla="*/ 3590317 h 7571036"/>
                  <a:gd name="connsiteX14228" fmla="*/ 5191359 w 6994525"/>
                  <a:gd name="connsiteY14228" fmla="*/ 3594509 h 7571036"/>
                  <a:gd name="connsiteX14229" fmla="*/ 5195553 w 6994525"/>
                  <a:gd name="connsiteY14229" fmla="*/ 3590317 h 7571036"/>
                  <a:gd name="connsiteX14230" fmla="*/ 5195553 w 6994525"/>
                  <a:gd name="connsiteY14230" fmla="*/ 7197968 h 7571036"/>
                  <a:gd name="connsiteX14231" fmla="*/ 5188895 w 6994525"/>
                  <a:gd name="connsiteY14231" fmla="*/ 7191309 h 7571036"/>
                  <a:gd name="connsiteX14232" fmla="*/ 5181991 w 6994525"/>
                  <a:gd name="connsiteY14232" fmla="*/ 7197968 h 7571036"/>
                  <a:gd name="connsiteX14233" fmla="*/ 5188895 w 6994525"/>
                  <a:gd name="connsiteY14233" fmla="*/ 7204872 h 7571036"/>
                  <a:gd name="connsiteX14234" fmla="*/ 5195553 w 6994525"/>
                  <a:gd name="connsiteY14234" fmla="*/ 7197968 h 7571036"/>
                  <a:gd name="connsiteX14235" fmla="*/ 5196540 w 6994525"/>
                  <a:gd name="connsiteY14235" fmla="*/ 3473933 h 7571036"/>
                  <a:gd name="connsiteX14236" fmla="*/ 5194815 w 6994525"/>
                  <a:gd name="connsiteY14236" fmla="*/ 3472207 h 7571036"/>
                  <a:gd name="connsiteX14237" fmla="*/ 5193089 w 6994525"/>
                  <a:gd name="connsiteY14237" fmla="*/ 3473933 h 7571036"/>
                  <a:gd name="connsiteX14238" fmla="*/ 5194815 w 6994525"/>
                  <a:gd name="connsiteY14238" fmla="*/ 3475658 h 7571036"/>
                  <a:gd name="connsiteX14239" fmla="*/ 5196540 w 6994525"/>
                  <a:gd name="connsiteY14239" fmla="*/ 3473933 h 7571036"/>
                  <a:gd name="connsiteX14240" fmla="*/ 5197524 w 6994525"/>
                  <a:gd name="connsiteY14240" fmla="*/ 592243 h 7571036"/>
                  <a:gd name="connsiteX14241" fmla="*/ 5152894 w 6994525"/>
                  <a:gd name="connsiteY14241" fmla="*/ 547615 h 7571036"/>
                  <a:gd name="connsiteX14242" fmla="*/ 5108264 w 6994525"/>
                  <a:gd name="connsiteY14242" fmla="*/ 592243 h 7571036"/>
                  <a:gd name="connsiteX14243" fmla="*/ 5152894 w 6994525"/>
                  <a:gd name="connsiteY14243" fmla="*/ 636873 h 7571036"/>
                  <a:gd name="connsiteX14244" fmla="*/ 5197524 w 6994525"/>
                  <a:gd name="connsiteY14244" fmla="*/ 592243 h 7571036"/>
                  <a:gd name="connsiteX14245" fmla="*/ 5197772 w 6994525"/>
                  <a:gd name="connsiteY14245" fmla="*/ 5266046 h 7571036"/>
                  <a:gd name="connsiteX14246" fmla="*/ 5182977 w 6994525"/>
                  <a:gd name="connsiteY14246" fmla="*/ 5251251 h 7571036"/>
                  <a:gd name="connsiteX14247" fmla="*/ 5168182 w 6994525"/>
                  <a:gd name="connsiteY14247" fmla="*/ 5266046 h 7571036"/>
                  <a:gd name="connsiteX14248" fmla="*/ 5182977 w 6994525"/>
                  <a:gd name="connsiteY14248" fmla="*/ 5280840 h 7571036"/>
                  <a:gd name="connsiteX14249" fmla="*/ 5197772 w 6994525"/>
                  <a:gd name="connsiteY14249" fmla="*/ 5266046 h 7571036"/>
                  <a:gd name="connsiteX14250" fmla="*/ 5199747 w 6994525"/>
                  <a:gd name="connsiteY14250" fmla="*/ 469226 h 7571036"/>
                  <a:gd name="connsiteX14251" fmla="*/ 5156101 w 6994525"/>
                  <a:gd name="connsiteY14251" fmla="*/ 425585 h 7571036"/>
                  <a:gd name="connsiteX14252" fmla="*/ 5112458 w 6994525"/>
                  <a:gd name="connsiteY14252" fmla="*/ 469226 h 7571036"/>
                  <a:gd name="connsiteX14253" fmla="*/ 5156101 w 6994525"/>
                  <a:gd name="connsiteY14253" fmla="*/ 512871 h 7571036"/>
                  <a:gd name="connsiteX14254" fmla="*/ 5199747 w 6994525"/>
                  <a:gd name="connsiteY14254" fmla="*/ 469226 h 7571036"/>
                  <a:gd name="connsiteX14255" fmla="*/ 5201472 w 6994525"/>
                  <a:gd name="connsiteY14255" fmla="*/ 5401661 h 7571036"/>
                  <a:gd name="connsiteX14256" fmla="*/ 5195305 w 6994525"/>
                  <a:gd name="connsiteY14256" fmla="*/ 5395497 h 7571036"/>
                  <a:gd name="connsiteX14257" fmla="*/ 5189141 w 6994525"/>
                  <a:gd name="connsiteY14257" fmla="*/ 5401661 h 7571036"/>
                  <a:gd name="connsiteX14258" fmla="*/ 5195305 w 6994525"/>
                  <a:gd name="connsiteY14258" fmla="*/ 5407828 h 7571036"/>
                  <a:gd name="connsiteX14259" fmla="*/ 5201472 w 6994525"/>
                  <a:gd name="connsiteY14259" fmla="*/ 5401661 h 7571036"/>
                  <a:gd name="connsiteX14260" fmla="*/ 5202706 w 6994525"/>
                  <a:gd name="connsiteY14260" fmla="*/ 347445 h 7571036"/>
                  <a:gd name="connsiteX14261" fmla="*/ 5159555 w 6994525"/>
                  <a:gd name="connsiteY14261" fmla="*/ 304296 h 7571036"/>
                  <a:gd name="connsiteX14262" fmla="*/ 5116403 w 6994525"/>
                  <a:gd name="connsiteY14262" fmla="*/ 347445 h 7571036"/>
                  <a:gd name="connsiteX14263" fmla="*/ 5159555 w 6994525"/>
                  <a:gd name="connsiteY14263" fmla="*/ 390594 h 7571036"/>
                  <a:gd name="connsiteX14264" fmla="*/ 5202706 w 6994525"/>
                  <a:gd name="connsiteY14264" fmla="*/ 347445 h 7571036"/>
                  <a:gd name="connsiteX14265" fmla="*/ 5202950 w 6994525"/>
                  <a:gd name="connsiteY14265" fmla="*/ 1378749 h 7571036"/>
                  <a:gd name="connsiteX14266" fmla="*/ 5155856 w 6994525"/>
                  <a:gd name="connsiteY14266" fmla="*/ 1331645 h 7571036"/>
                  <a:gd name="connsiteX14267" fmla="*/ 5108759 w 6994525"/>
                  <a:gd name="connsiteY14267" fmla="*/ 1378749 h 7571036"/>
                  <a:gd name="connsiteX14268" fmla="*/ 5155856 w 6994525"/>
                  <a:gd name="connsiteY14268" fmla="*/ 1425846 h 7571036"/>
                  <a:gd name="connsiteX14269" fmla="*/ 5202950 w 6994525"/>
                  <a:gd name="connsiteY14269" fmla="*/ 1378749 h 7571036"/>
                  <a:gd name="connsiteX14270" fmla="*/ 5203444 w 6994525"/>
                  <a:gd name="connsiteY14270" fmla="*/ 4618786 h 7571036"/>
                  <a:gd name="connsiteX14271" fmla="*/ 5168184 w 6994525"/>
                  <a:gd name="connsiteY14271" fmla="*/ 4583524 h 7571036"/>
                  <a:gd name="connsiteX14272" fmla="*/ 5132922 w 6994525"/>
                  <a:gd name="connsiteY14272" fmla="*/ 4618786 h 7571036"/>
                  <a:gd name="connsiteX14273" fmla="*/ 5168184 w 6994525"/>
                  <a:gd name="connsiteY14273" fmla="*/ 4654046 h 7571036"/>
                  <a:gd name="connsiteX14274" fmla="*/ 5203444 w 6994525"/>
                  <a:gd name="connsiteY14274" fmla="*/ 4618786 h 7571036"/>
                  <a:gd name="connsiteX14275" fmla="*/ 5203935 w 6994525"/>
                  <a:gd name="connsiteY14275" fmla="*/ 2180762 h 7571036"/>
                  <a:gd name="connsiteX14276" fmla="*/ 5189390 w 6994525"/>
                  <a:gd name="connsiteY14276" fmla="*/ 2166455 h 7571036"/>
                  <a:gd name="connsiteX14277" fmla="*/ 5175087 w 6994525"/>
                  <a:gd name="connsiteY14277" fmla="*/ 2180762 h 7571036"/>
                  <a:gd name="connsiteX14278" fmla="*/ 5189390 w 6994525"/>
                  <a:gd name="connsiteY14278" fmla="*/ 2195305 h 7571036"/>
                  <a:gd name="connsiteX14279" fmla="*/ 5203935 w 6994525"/>
                  <a:gd name="connsiteY14279" fmla="*/ 2180762 h 7571036"/>
                  <a:gd name="connsiteX14280" fmla="*/ 5204921 w 6994525"/>
                  <a:gd name="connsiteY14280" fmla="*/ 226650 h 7571036"/>
                  <a:gd name="connsiteX14281" fmla="*/ 5162265 w 6994525"/>
                  <a:gd name="connsiteY14281" fmla="*/ 183995 h 7571036"/>
                  <a:gd name="connsiteX14282" fmla="*/ 5119608 w 6994525"/>
                  <a:gd name="connsiteY14282" fmla="*/ 226650 h 7571036"/>
                  <a:gd name="connsiteX14283" fmla="*/ 5162265 w 6994525"/>
                  <a:gd name="connsiteY14283" fmla="*/ 269305 h 7571036"/>
                  <a:gd name="connsiteX14284" fmla="*/ 5204921 w 6994525"/>
                  <a:gd name="connsiteY14284" fmla="*/ 226650 h 7571036"/>
                  <a:gd name="connsiteX14285" fmla="*/ 5206897 w 6994525"/>
                  <a:gd name="connsiteY14285" fmla="*/ 106350 h 7571036"/>
                  <a:gd name="connsiteX14286" fmla="*/ 5164732 w 6994525"/>
                  <a:gd name="connsiteY14286" fmla="*/ 63941 h 7571036"/>
                  <a:gd name="connsiteX14287" fmla="*/ 5122321 w 6994525"/>
                  <a:gd name="connsiteY14287" fmla="*/ 106350 h 7571036"/>
                  <a:gd name="connsiteX14288" fmla="*/ 5164732 w 6994525"/>
                  <a:gd name="connsiteY14288" fmla="*/ 148513 h 7571036"/>
                  <a:gd name="connsiteX14289" fmla="*/ 5206897 w 6994525"/>
                  <a:gd name="connsiteY14289" fmla="*/ 106350 h 7571036"/>
                  <a:gd name="connsiteX14290" fmla="*/ 5208376 w 6994525"/>
                  <a:gd name="connsiteY14290" fmla="*/ 5535801 h 7571036"/>
                  <a:gd name="connsiteX14291" fmla="*/ 5205416 w 6994525"/>
                  <a:gd name="connsiteY14291" fmla="*/ 5533088 h 7571036"/>
                  <a:gd name="connsiteX14292" fmla="*/ 5202457 w 6994525"/>
                  <a:gd name="connsiteY14292" fmla="*/ 5535801 h 7571036"/>
                  <a:gd name="connsiteX14293" fmla="*/ 5205416 w 6994525"/>
                  <a:gd name="connsiteY14293" fmla="*/ 5538760 h 7571036"/>
                  <a:gd name="connsiteX14294" fmla="*/ 5208376 w 6994525"/>
                  <a:gd name="connsiteY14294" fmla="*/ 5535801 h 7571036"/>
                  <a:gd name="connsiteX14295" fmla="*/ 5208623 w 6994525"/>
                  <a:gd name="connsiteY14295" fmla="*/ 3242235 h 7571036"/>
                  <a:gd name="connsiteX14296" fmla="*/ 5178786 w 6994525"/>
                  <a:gd name="connsiteY14296" fmla="*/ 3212399 h 7571036"/>
                  <a:gd name="connsiteX14297" fmla="*/ 5148950 w 6994525"/>
                  <a:gd name="connsiteY14297" fmla="*/ 3242235 h 7571036"/>
                  <a:gd name="connsiteX14298" fmla="*/ 5178786 w 6994525"/>
                  <a:gd name="connsiteY14298" fmla="*/ 3272073 h 7571036"/>
                  <a:gd name="connsiteX14299" fmla="*/ 5208623 w 6994525"/>
                  <a:gd name="connsiteY14299" fmla="*/ 3242235 h 7571036"/>
                  <a:gd name="connsiteX14300" fmla="*/ 5209853 w 6994525"/>
                  <a:gd name="connsiteY14300" fmla="*/ 2003708 h 7571036"/>
                  <a:gd name="connsiteX14301" fmla="*/ 5184950 w 6994525"/>
                  <a:gd name="connsiteY14301" fmla="*/ 1978816 h 7571036"/>
                  <a:gd name="connsiteX14302" fmla="*/ 5160046 w 6994525"/>
                  <a:gd name="connsiteY14302" fmla="*/ 2003708 h 7571036"/>
                  <a:gd name="connsiteX14303" fmla="*/ 5184950 w 6994525"/>
                  <a:gd name="connsiteY14303" fmla="*/ 2028609 h 7571036"/>
                  <a:gd name="connsiteX14304" fmla="*/ 5209853 w 6994525"/>
                  <a:gd name="connsiteY14304" fmla="*/ 2003708 h 7571036"/>
                  <a:gd name="connsiteX14305" fmla="*/ 5210593 w 6994525"/>
                  <a:gd name="connsiteY14305" fmla="*/ 1248574 h 7571036"/>
                  <a:gd name="connsiteX14306" fmla="*/ 5164486 w 6994525"/>
                  <a:gd name="connsiteY14306" fmla="*/ 1202465 h 7571036"/>
                  <a:gd name="connsiteX14307" fmla="*/ 5118375 w 6994525"/>
                  <a:gd name="connsiteY14307" fmla="*/ 1248574 h 7571036"/>
                  <a:gd name="connsiteX14308" fmla="*/ 5164486 w 6994525"/>
                  <a:gd name="connsiteY14308" fmla="*/ 1294428 h 7571036"/>
                  <a:gd name="connsiteX14309" fmla="*/ 5210593 w 6994525"/>
                  <a:gd name="connsiteY14309" fmla="*/ 1248574 h 7571036"/>
                  <a:gd name="connsiteX14310" fmla="*/ 5214047 w 6994525"/>
                  <a:gd name="connsiteY14310" fmla="*/ 4766482 h 7571036"/>
                  <a:gd name="connsiteX14311" fmla="*/ 5195308 w 6994525"/>
                  <a:gd name="connsiteY14311" fmla="*/ 4747742 h 7571036"/>
                  <a:gd name="connsiteX14312" fmla="*/ 5176568 w 6994525"/>
                  <a:gd name="connsiteY14312" fmla="*/ 4766482 h 7571036"/>
                  <a:gd name="connsiteX14313" fmla="*/ 5195308 w 6994525"/>
                  <a:gd name="connsiteY14313" fmla="*/ 4785222 h 7571036"/>
                  <a:gd name="connsiteX14314" fmla="*/ 5214047 w 6994525"/>
                  <a:gd name="connsiteY14314" fmla="*/ 4766482 h 7571036"/>
                  <a:gd name="connsiteX14315" fmla="*/ 5214539 w 6994525"/>
                  <a:gd name="connsiteY14315" fmla="*/ 4099744 h 7571036"/>
                  <a:gd name="connsiteX14316" fmla="*/ 5193334 w 6994525"/>
                  <a:gd name="connsiteY14316" fmla="*/ 4078537 h 7571036"/>
                  <a:gd name="connsiteX14317" fmla="*/ 5172128 w 6994525"/>
                  <a:gd name="connsiteY14317" fmla="*/ 4099744 h 7571036"/>
                  <a:gd name="connsiteX14318" fmla="*/ 5193334 w 6994525"/>
                  <a:gd name="connsiteY14318" fmla="*/ 4120947 h 7571036"/>
                  <a:gd name="connsiteX14319" fmla="*/ 5214539 w 6994525"/>
                  <a:gd name="connsiteY14319" fmla="*/ 4099744 h 7571036"/>
                  <a:gd name="connsiteX14320" fmla="*/ 5215527 w 6994525"/>
                  <a:gd name="connsiteY14320" fmla="*/ 5667472 h 7571036"/>
                  <a:gd name="connsiteX14321" fmla="*/ 5215279 w 6994525"/>
                  <a:gd name="connsiteY14321" fmla="*/ 5666976 h 7571036"/>
                  <a:gd name="connsiteX14322" fmla="*/ 5214787 w 6994525"/>
                  <a:gd name="connsiteY14322" fmla="*/ 5667472 h 7571036"/>
                  <a:gd name="connsiteX14323" fmla="*/ 5215279 w 6994525"/>
                  <a:gd name="connsiteY14323" fmla="*/ 5667963 h 7571036"/>
                  <a:gd name="connsiteX14324" fmla="*/ 5215527 w 6994525"/>
                  <a:gd name="connsiteY14324" fmla="*/ 5667472 h 7571036"/>
                  <a:gd name="connsiteX14325" fmla="*/ 5216265 w 6994525"/>
                  <a:gd name="connsiteY14325" fmla="*/ 3357877 h 7571036"/>
                  <a:gd name="connsiteX14326" fmla="*/ 5190870 w 6994525"/>
                  <a:gd name="connsiteY14326" fmla="*/ 3332464 h 7571036"/>
                  <a:gd name="connsiteX14327" fmla="*/ 5165472 w 6994525"/>
                  <a:gd name="connsiteY14327" fmla="*/ 3357877 h 7571036"/>
                  <a:gd name="connsiteX14328" fmla="*/ 5190870 w 6994525"/>
                  <a:gd name="connsiteY14328" fmla="*/ 3383271 h 7571036"/>
                  <a:gd name="connsiteX14329" fmla="*/ 5216265 w 6994525"/>
                  <a:gd name="connsiteY14329" fmla="*/ 3357877 h 7571036"/>
                  <a:gd name="connsiteX14330" fmla="*/ 5217993 w 6994525"/>
                  <a:gd name="connsiteY14330" fmla="*/ 2581175 h 7571036"/>
                  <a:gd name="connsiteX14331" fmla="*/ 5189635 w 6994525"/>
                  <a:gd name="connsiteY14331" fmla="*/ 2552817 h 7571036"/>
                  <a:gd name="connsiteX14332" fmla="*/ 5161278 w 6994525"/>
                  <a:gd name="connsiteY14332" fmla="*/ 2581175 h 7571036"/>
                  <a:gd name="connsiteX14333" fmla="*/ 5189635 w 6994525"/>
                  <a:gd name="connsiteY14333" fmla="*/ 2609533 h 7571036"/>
                  <a:gd name="connsiteX14334" fmla="*/ 5217993 w 6994525"/>
                  <a:gd name="connsiteY14334" fmla="*/ 2581175 h 7571036"/>
                  <a:gd name="connsiteX14335" fmla="*/ 5218238 w 6994525"/>
                  <a:gd name="connsiteY14335" fmla="*/ 1119382 h 7571036"/>
                  <a:gd name="connsiteX14336" fmla="*/ 5171637 w 6994525"/>
                  <a:gd name="connsiteY14336" fmla="*/ 1072784 h 7571036"/>
                  <a:gd name="connsiteX14337" fmla="*/ 5125033 w 6994525"/>
                  <a:gd name="connsiteY14337" fmla="*/ 1119382 h 7571036"/>
                  <a:gd name="connsiteX14338" fmla="*/ 5171637 w 6994525"/>
                  <a:gd name="connsiteY14338" fmla="*/ 1165989 h 7571036"/>
                  <a:gd name="connsiteX14339" fmla="*/ 5218238 w 6994525"/>
                  <a:gd name="connsiteY14339" fmla="*/ 1119382 h 7571036"/>
                  <a:gd name="connsiteX14340" fmla="*/ 5224650 w 6994525"/>
                  <a:gd name="connsiteY14340" fmla="*/ 5797418 h 7571036"/>
                  <a:gd name="connsiteX14341" fmla="*/ 5224156 w 6994525"/>
                  <a:gd name="connsiteY14341" fmla="*/ 5796922 h 7571036"/>
                  <a:gd name="connsiteX14342" fmla="*/ 5223664 w 6994525"/>
                  <a:gd name="connsiteY14342" fmla="*/ 5797418 h 7571036"/>
                  <a:gd name="connsiteX14343" fmla="*/ 5224156 w 6994525"/>
                  <a:gd name="connsiteY14343" fmla="*/ 5797909 h 7571036"/>
                  <a:gd name="connsiteX14344" fmla="*/ 5224650 w 6994525"/>
                  <a:gd name="connsiteY14344" fmla="*/ 5797418 h 7571036"/>
                  <a:gd name="connsiteX14345" fmla="*/ 5224897 w 6994525"/>
                  <a:gd name="connsiteY14345" fmla="*/ 991925 h 7571036"/>
                  <a:gd name="connsiteX14346" fmla="*/ 5178540 w 6994525"/>
                  <a:gd name="connsiteY14346" fmla="*/ 945569 h 7571036"/>
                  <a:gd name="connsiteX14347" fmla="*/ 5132184 w 6994525"/>
                  <a:gd name="connsiteY14347" fmla="*/ 991925 h 7571036"/>
                  <a:gd name="connsiteX14348" fmla="*/ 5178540 w 6994525"/>
                  <a:gd name="connsiteY14348" fmla="*/ 1038274 h 7571036"/>
                  <a:gd name="connsiteX14349" fmla="*/ 5224897 w 6994525"/>
                  <a:gd name="connsiteY14349" fmla="*/ 991925 h 7571036"/>
                  <a:gd name="connsiteX14350" fmla="*/ 5233033 w 6994525"/>
                  <a:gd name="connsiteY14350" fmla="*/ 4365798 h 7571036"/>
                  <a:gd name="connsiteX14351" fmla="*/ 5193829 w 6994525"/>
                  <a:gd name="connsiteY14351" fmla="*/ 4326591 h 7571036"/>
                  <a:gd name="connsiteX14352" fmla="*/ 5154623 w 6994525"/>
                  <a:gd name="connsiteY14352" fmla="*/ 4365798 h 7571036"/>
                  <a:gd name="connsiteX14353" fmla="*/ 5193829 w 6994525"/>
                  <a:gd name="connsiteY14353" fmla="*/ 4405004 h 7571036"/>
                  <a:gd name="connsiteX14354" fmla="*/ 5233033 w 6994525"/>
                  <a:gd name="connsiteY14354" fmla="*/ 4365798 h 7571036"/>
                  <a:gd name="connsiteX14355" fmla="*/ 5233033 w 6994525"/>
                  <a:gd name="connsiteY14355" fmla="*/ 5926128 h 7571036"/>
                  <a:gd name="connsiteX14356" fmla="*/ 5231800 w 6994525"/>
                  <a:gd name="connsiteY14356" fmla="*/ 5924896 h 7571036"/>
                  <a:gd name="connsiteX14357" fmla="*/ 5230568 w 6994525"/>
                  <a:gd name="connsiteY14357" fmla="*/ 5926128 h 7571036"/>
                  <a:gd name="connsiteX14358" fmla="*/ 5231800 w 6994525"/>
                  <a:gd name="connsiteY14358" fmla="*/ 5927364 h 7571036"/>
                  <a:gd name="connsiteX14359" fmla="*/ 5233033 w 6994525"/>
                  <a:gd name="connsiteY14359" fmla="*/ 5926128 h 7571036"/>
                  <a:gd name="connsiteX14360" fmla="*/ 5237224 w 6994525"/>
                  <a:gd name="connsiteY14360" fmla="*/ 2848209 h 7571036"/>
                  <a:gd name="connsiteX14361" fmla="*/ 5190622 w 6994525"/>
                  <a:gd name="connsiteY14361" fmla="*/ 2801605 h 7571036"/>
                  <a:gd name="connsiteX14362" fmla="*/ 5144019 w 6994525"/>
                  <a:gd name="connsiteY14362" fmla="*/ 2848209 h 7571036"/>
                  <a:gd name="connsiteX14363" fmla="*/ 5190622 w 6994525"/>
                  <a:gd name="connsiteY14363" fmla="*/ 2894812 h 7571036"/>
                  <a:gd name="connsiteX14364" fmla="*/ 5237224 w 6994525"/>
                  <a:gd name="connsiteY14364" fmla="*/ 2848209 h 7571036"/>
                  <a:gd name="connsiteX14365" fmla="*/ 5237472 w 6994525"/>
                  <a:gd name="connsiteY14365" fmla="*/ 1862503 h 7571036"/>
                  <a:gd name="connsiteX14366" fmla="*/ 5202952 w 6994525"/>
                  <a:gd name="connsiteY14366" fmla="*/ 1828000 h 7571036"/>
                  <a:gd name="connsiteX14367" fmla="*/ 5168431 w 6994525"/>
                  <a:gd name="connsiteY14367" fmla="*/ 1862503 h 7571036"/>
                  <a:gd name="connsiteX14368" fmla="*/ 5202952 w 6994525"/>
                  <a:gd name="connsiteY14368" fmla="*/ 1897007 h 7571036"/>
                  <a:gd name="connsiteX14369" fmla="*/ 5237472 w 6994525"/>
                  <a:gd name="connsiteY14369" fmla="*/ 1862503 h 7571036"/>
                  <a:gd name="connsiteX14370" fmla="*/ 5241664 w 6994525"/>
                  <a:gd name="connsiteY14370" fmla="*/ 4899387 h 7571036"/>
                  <a:gd name="connsiteX14371" fmla="*/ 5228842 w 6994525"/>
                  <a:gd name="connsiteY14371" fmla="*/ 4886565 h 7571036"/>
                  <a:gd name="connsiteX14372" fmla="*/ 5216020 w 6994525"/>
                  <a:gd name="connsiteY14372" fmla="*/ 4899387 h 7571036"/>
                  <a:gd name="connsiteX14373" fmla="*/ 5228842 w 6994525"/>
                  <a:gd name="connsiteY14373" fmla="*/ 4912209 h 7571036"/>
                  <a:gd name="connsiteX14374" fmla="*/ 5241664 w 6994525"/>
                  <a:gd name="connsiteY14374" fmla="*/ 4899387 h 7571036"/>
                  <a:gd name="connsiteX14375" fmla="*/ 5243882 w 6994525"/>
                  <a:gd name="connsiteY14375" fmla="*/ 2426333 h 7571036"/>
                  <a:gd name="connsiteX14376" fmla="*/ 5226377 w 6994525"/>
                  <a:gd name="connsiteY14376" fmla="*/ 2408827 h 7571036"/>
                  <a:gd name="connsiteX14377" fmla="*/ 5208870 w 6994525"/>
                  <a:gd name="connsiteY14377" fmla="*/ 2426333 h 7571036"/>
                  <a:gd name="connsiteX14378" fmla="*/ 5226377 w 6994525"/>
                  <a:gd name="connsiteY14378" fmla="*/ 2443845 h 7571036"/>
                  <a:gd name="connsiteX14379" fmla="*/ 5243882 w 6994525"/>
                  <a:gd name="connsiteY14379" fmla="*/ 2426333 h 7571036"/>
                  <a:gd name="connsiteX14380" fmla="*/ 5249063 w 6994525"/>
                  <a:gd name="connsiteY14380" fmla="*/ 5042649 h 7571036"/>
                  <a:gd name="connsiteX14381" fmla="*/ 5248815 w 6994525"/>
                  <a:gd name="connsiteY14381" fmla="*/ 5042649 h 7571036"/>
                  <a:gd name="connsiteX14382" fmla="*/ 5248568 w 6994525"/>
                  <a:gd name="connsiteY14382" fmla="*/ 5042649 h 7571036"/>
                  <a:gd name="connsiteX14383" fmla="*/ 5248815 w 6994525"/>
                  <a:gd name="connsiteY14383" fmla="*/ 5042895 h 7571036"/>
                  <a:gd name="connsiteX14384" fmla="*/ 5250540 w 6994525"/>
                  <a:gd name="connsiteY14384" fmla="*/ 6046952 h 7571036"/>
                  <a:gd name="connsiteX14385" fmla="*/ 5248319 w 6994525"/>
                  <a:gd name="connsiteY14385" fmla="*/ 6044733 h 7571036"/>
                  <a:gd name="connsiteX14386" fmla="*/ 5246100 w 6994525"/>
                  <a:gd name="connsiteY14386" fmla="*/ 6046952 h 7571036"/>
                  <a:gd name="connsiteX14387" fmla="*/ 5248319 w 6994525"/>
                  <a:gd name="connsiteY14387" fmla="*/ 6049170 h 7571036"/>
                  <a:gd name="connsiteX14388" fmla="*/ 5250540 w 6994525"/>
                  <a:gd name="connsiteY14388" fmla="*/ 6046952 h 7571036"/>
                  <a:gd name="connsiteX14389" fmla="*/ 5251031 w 6994525"/>
                  <a:gd name="connsiteY14389" fmla="*/ 3989524 h 7571036"/>
                  <a:gd name="connsiteX14390" fmla="*/ 5229827 w 6994525"/>
                  <a:gd name="connsiteY14390" fmla="*/ 3968317 h 7571036"/>
                  <a:gd name="connsiteX14391" fmla="*/ 5208621 w 6994525"/>
                  <a:gd name="connsiteY14391" fmla="*/ 3989524 h 7571036"/>
                  <a:gd name="connsiteX14392" fmla="*/ 5229827 w 6994525"/>
                  <a:gd name="connsiteY14392" fmla="*/ 4010727 h 7571036"/>
                  <a:gd name="connsiteX14393" fmla="*/ 5251031 w 6994525"/>
                  <a:gd name="connsiteY14393" fmla="*/ 3989524 h 7571036"/>
                  <a:gd name="connsiteX14394" fmla="*/ 5253250 w 6994525"/>
                  <a:gd name="connsiteY14394" fmla="*/ 4521387 h 7571036"/>
                  <a:gd name="connsiteX14395" fmla="*/ 5230812 w 6994525"/>
                  <a:gd name="connsiteY14395" fmla="*/ 4498948 h 7571036"/>
                  <a:gd name="connsiteX14396" fmla="*/ 5208621 w 6994525"/>
                  <a:gd name="connsiteY14396" fmla="*/ 4521387 h 7571036"/>
                  <a:gd name="connsiteX14397" fmla="*/ 5230812 w 6994525"/>
                  <a:gd name="connsiteY14397" fmla="*/ 4543577 h 7571036"/>
                  <a:gd name="connsiteX14398" fmla="*/ 5253250 w 6994525"/>
                  <a:gd name="connsiteY14398" fmla="*/ 4521387 h 7571036"/>
                  <a:gd name="connsiteX14399" fmla="*/ 5256455 w 6994525"/>
                  <a:gd name="connsiteY14399" fmla="*/ 6173445 h 7571036"/>
                  <a:gd name="connsiteX14400" fmla="*/ 5254237 w 6994525"/>
                  <a:gd name="connsiteY14400" fmla="*/ 6171226 h 7571036"/>
                  <a:gd name="connsiteX14401" fmla="*/ 5252018 w 6994525"/>
                  <a:gd name="connsiteY14401" fmla="*/ 6173445 h 7571036"/>
                  <a:gd name="connsiteX14402" fmla="*/ 5254237 w 6994525"/>
                  <a:gd name="connsiteY14402" fmla="*/ 6175663 h 7571036"/>
                  <a:gd name="connsiteX14403" fmla="*/ 5256455 w 6994525"/>
                  <a:gd name="connsiteY14403" fmla="*/ 6173445 h 7571036"/>
                  <a:gd name="connsiteX14404" fmla="*/ 5261140 w 6994525"/>
                  <a:gd name="connsiteY14404" fmla="*/ 6299442 h 7571036"/>
                  <a:gd name="connsiteX14405" fmla="*/ 5258922 w 6994525"/>
                  <a:gd name="connsiteY14405" fmla="*/ 6297224 h 7571036"/>
                  <a:gd name="connsiteX14406" fmla="*/ 5256704 w 6994525"/>
                  <a:gd name="connsiteY14406" fmla="*/ 6299442 h 7571036"/>
                  <a:gd name="connsiteX14407" fmla="*/ 5258922 w 6994525"/>
                  <a:gd name="connsiteY14407" fmla="*/ 6301660 h 7571036"/>
                  <a:gd name="connsiteX14408" fmla="*/ 5261140 w 6994525"/>
                  <a:gd name="connsiteY14408" fmla="*/ 6299442 h 7571036"/>
                  <a:gd name="connsiteX14409" fmla="*/ 5263855 w 6994525"/>
                  <a:gd name="connsiteY14409" fmla="*/ 1723659 h 7571036"/>
                  <a:gd name="connsiteX14410" fmla="*/ 5218731 w 6994525"/>
                  <a:gd name="connsiteY14410" fmla="*/ 1678546 h 7571036"/>
                  <a:gd name="connsiteX14411" fmla="*/ 5173855 w 6994525"/>
                  <a:gd name="connsiteY14411" fmla="*/ 1723659 h 7571036"/>
                  <a:gd name="connsiteX14412" fmla="*/ 5218731 w 6994525"/>
                  <a:gd name="connsiteY14412" fmla="*/ 1768577 h 7571036"/>
                  <a:gd name="connsiteX14413" fmla="*/ 5263855 w 6994525"/>
                  <a:gd name="connsiteY14413" fmla="*/ 1723659 h 7571036"/>
                  <a:gd name="connsiteX14414" fmla="*/ 5266567 w 6994525"/>
                  <a:gd name="connsiteY14414" fmla="*/ 4261250 h 7571036"/>
                  <a:gd name="connsiteX14415" fmla="*/ 5244622 w 6994525"/>
                  <a:gd name="connsiteY14415" fmla="*/ 4239304 h 7571036"/>
                  <a:gd name="connsiteX14416" fmla="*/ 5222924 w 6994525"/>
                  <a:gd name="connsiteY14416" fmla="*/ 4261250 h 7571036"/>
                  <a:gd name="connsiteX14417" fmla="*/ 5244622 w 6994525"/>
                  <a:gd name="connsiteY14417" fmla="*/ 4283194 h 7571036"/>
                  <a:gd name="connsiteX14418" fmla="*/ 5266567 w 6994525"/>
                  <a:gd name="connsiteY14418" fmla="*/ 4261250 h 7571036"/>
                  <a:gd name="connsiteX14419" fmla="*/ 5267062 w 6994525"/>
                  <a:gd name="connsiteY14419" fmla="*/ 6423225 h 7571036"/>
                  <a:gd name="connsiteX14420" fmla="*/ 5264349 w 6994525"/>
                  <a:gd name="connsiteY14420" fmla="*/ 6420512 h 7571036"/>
                  <a:gd name="connsiteX14421" fmla="*/ 5261636 w 6994525"/>
                  <a:gd name="connsiteY14421" fmla="*/ 6423225 h 7571036"/>
                  <a:gd name="connsiteX14422" fmla="*/ 5264349 w 6994525"/>
                  <a:gd name="connsiteY14422" fmla="*/ 6425938 h 7571036"/>
                  <a:gd name="connsiteX14423" fmla="*/ 5267062 w 6994525"/>
                  <a:gd name="connsiteY14423" fmla="*/ 6423225 h 7571036"/>
                  <a:gd name="connsiteX14424" fmla="*/ 5268540 w 6994525"/>
                  <a:gd name="connsiteY14424" fmla="*/ 16131 h 7571036"/>
                  <a:gd name="connsiteX14425" fmla="*/ 5261866 w 6994525"/>
                  <a:gd name="connsiteY14425" fmla="*/ 0 h 7571036"/>
                  <a:gd name="connsiteX14426" fmla="*/ 5191377 w 6994525"/>
                  <a:gd name="connsiteY14426" fmla="*/ 0 h 7571036"/>
                  <a:gd name="connsiteX14427" fmla="*/ 5184703 w 6994525"/>
                  <a:gd name="connsiteY14427" fmla="*/ 16131 h 7571036"/>
                  <a:gd name="connsiteX14428" fmla="*/ 5226621 w 6994525"/>
                  <a:gd name="connsiteY14428" fmla="*/ 58047 h 7571036"/>
                  <a:gd name="connsiteX14429" fmla="*/ 5268540 w 6994525"/>
                  <a:gd name="connsiteY14429" fmla="*/ 16131 h 7571036"/>
                  <a:gd name="connsiteX14430" fmla="*/ 5270512 w 6994525"/>
                  <a:gd name="connsiteY14430" fmla="*/ 1587079 h 7571036"/>
                  <a:gd name="connsiteX14431" fmla="*/ 5232540 w 6994525"/>
                  <a:gd name="connsiteY14431" fmla="*/ 1549107 h 7571036"/>
                  <a:gd name="connsiteX14432" fmla="*/ 5194566 w 6994525"/>
                  <a:gd name="connsiteY14432" fmla="*/ 1587079 h 7571036"/>
                  <a:gd name="connsiteX14433" fmla="*/ 5232540 w 6994525"/>
                  <a:gd name="connsiteY14433" fmla="*/ 1625055 h 7571036"/>
                  <a:gd name="connsiteX14434" fmla="*/ 5270512 w 6994525"/>
                  <a:gd name="connsiteY14434" fmla="*/ 1587079 h 7571036"/>
                  <a:gd name="connsiteX14435" fmla="*/ 5272236 w 6994525"/>
                  <a:gd name="connsiteY14435" fmla="*/ 2958185 h 7571036"/>
                  <a:gd name="connsiteX14436" fmla="*/ 5227606 w 6994525"/>
                  <a:gd name="connsiteY14436" fmla="*/ 2913555 h 7571036"/>
                  <a:gd name="connsiteX14437" fmla="*/ 5182977 w 6994525"/>
                  <a:gd name="connsiteY14437" fmla="*/ 2958185 h 7571036"/>
                  <a:gd name="connsiteX14438" fmla="*/ 5227606 w 6994525"/>
                  <a:gd name="connsiteY14438" fmla="*/ 3002816 h 7571036"/>
                  <a:gd name="connsiteX14439" fmla="*/ 5272236 w 6994525"/>
                  <a:gd name="connsiteY14439" fmla="*/ 2958185 h 7571036"/>
                  <a:gd name="connsiteX14440" fmla="*/ 5272484 w 6994525"/>
                  <a:gd name="connsiteY14440" fmla="*/ 6546762 h 7571036"/>
                  <a:gd name="connsiteX14441" fmla="*/ 5268785 w 6994525"/>
                  <a:gd name="connsiteY14441" fmla="*/ 6543062 h 7571036"/>
                  <a:gd name="connsiteX14442" fmla="*/ 5265086 w 6994525"/>
                  <a:gd name="connsiteY14442" fmla="*/ 6546762 h 7571036"/>
                  <a:gd name="connsiteX14443" fmla="*/ 5268785 w 6994525"/>
                  <a:gd name="connsiteY14443" fmla="*/ 6550461 h 7571036"/>
                  <a:gd name="connsiteX14444" fmla="*/ 5272484 w 6994525"/>
                  <a:gd name="connsiteY14444" fmla="*/ 6546762 h 7571036"/>
                  <a:gd name="connsiteX14445" fmla="*/ 5274212 w 6994525"/>
                  <a:gd name="connsiteY14445" fmla="*/ 2685230 h 7571036"/>
                  <a:gd name="connsiteX14446" fmla="*/ 5240678 w 6994525"/>
                  <a:gd name="connsiteY14446" fmla="*/ 2651694 h 7571036"/>
                  <a:gd name="connsiteX14447" fmla="*/ 5207143 w 6994525"/>
                  <a:gd name="connsiteY14447" fmla="*/ 2685230 h 7571036"/>
                  <a:gd name="connsiteX14448" fmla="*/ 5240678 w 6994525"/>
                  <a:gd name="connsiteY14448" fmla="*/ 2718765 h 7571036"/>
                  <a:gd name="connsiteX14449" fmla="*/ 5274212 w 6994525"/>
                  <a:gd name="connsiteY14449" fmla="*/ 2685230 h 7571036"/>
                  <a:gd name="connsiteX14450" fmla="*/ 5276676 w 6994525"/>
                  <a:gd name="connsiteY14450" fmla="*/ 2093967 h 7571036"/>
                  <a:gd name="connsiteX14451" fmla="*/ 5259168 w 6994525"/>
                  <a:gd name="connsiteY14451" fmla="*/ 2076455 h 7571036"/>
                  <a:gd name="connsiteX14452" fmla="*/ 5241909 w 6994525"/>
                  <a:gd name="connsiteY14452" fmla="*/ 2093967 h 7571036"/>
                  <a:gd name="connsiteX14453" fmla="*/ 5259168 w 6994525"/>
                  <a:gd name="connsiteY14453" fmla="*/ 2111229 h 7571036"/>
                  <a:gd name="connsiteX14454" fmla="*/ 5276676 w 6994525"/>
                  <a:gd name="connsiteY14454" fmla="*/ 2093967 h 7571036"/>
                  <a:gd name="connsiteX14455" fmla="*/ 5278652 w 6994525"/>
                  <a:gd name="connsiteY14455" fmla="*/ 6669063 h 7571036"/>
                  <a:gd name="connsiteX14456" fmla="*/ 5272980 w 6994525"/>
                  <a:gd name="connsiteY14456" fmla="*/ 6663391 h 7571036"/>
                  <a:gd name="connsiteX14457" fmla="*/ 5267308 w 6994525"/>
                  <a:gd name="connsiteY14457" fmla="*/ 6669063 h 7571036"/>
                  <a:gd name="connsiteX14458" fmla="*/ 5272980 w 6994525"/>
                  <a:gd name="connsiteY14458" fmla="*/ 6674732 h 7571036"/>
                  <a:gd name="connsiteX14459" fmla="*/ 5278652 w 6994525"/>
                  <a:gd name="connsiteY14459" fmla="*/ 6669063 h 7571036"/>
                  <a:gd name="connsiteX14460" fmla="*/ 5281112 w 6994525"/>
                  <a:gd name="connsiteY14460" fmla="*/ 3762919 h 7571036"/>
                  <a:gd name="connsiteX14461" fmla="*/ 5280867 w 6994525"/>
                  <a:gd name="connsiteY14461" fmla="*/ 3762919 h 7571036"/>
                  <a:gd name="connsiteX14462" fmla="*/ 5280867 w 6994525"/>
                  <a:gd name="connsiteY14462" fmla="*/ 3763165 h 7571036"/>
                  <a:gd name="connsiteX14463" fmla="*/ 5281113 w 6994525"/>
                  <a:gd name="connsiteY14463" fmla="*/ 5184183 h 7571036"/>
                  <a:gd name="connsiteX14464" fmla="*/ 5265581 w 6994525"/>
                  <a:gd name="connsiteY14464" fmla="*/ 5168648 h 7571036"/>
                  <a:gd name="connsiteX14465" fmla="*/ 5250046 w 6994525"/>
                  <a:gd name="connsiteY14465" fmla="*/ 5184183 h 7571036"/>
                  <a:gd name="connsiteX14466" fmla="*/ 5265581 w 6994525"/>
                  <a:gd name="connsiteY14466" fmla="*/ 5199715 h 7571036"/>
                  <a:gd name="connsiteX14467" fmla="*/ 5281113 w 6994525"/>
                  <a:gd name="connsiteY14467" fmla="*/ 5184183 h 7571036"/>
                  <a:gd name="connsiteX14468" fmla="*/ 5284568 w 6994525"/>
                  <a:gd name="connsiteY14468" fmla="*/ 4672539 h 7571036"/>
                  <a:gd name="connsiteX14469" fmla="*/ 5262868 w 6994525"/>
                  <a:gd name="connsiteY14469" fmla="*/ 4650839 h 7571036"/>
                  <a:gd name="connsiteX14470" fmla="*/ 5241169 w 6994525"/>
                  <a:gd name="connsiteY14470" fmla="*/ 4672539 h 7571036"/>
                  <a:gd name="connsiteX14471" fmla="*/ 5262868 w 6994525"/>
                  <a:gd name="connsiteY14471" fmla="*/ 4694237 h 7571036"/>
                  <a:gd name="connsiteX14472" fmla="*/ 5284568 w 6994525"/>
                  <a:gd name="connsiteY14472" fmla="*/ 4672539 h 7571036"/>
                  <a:gd name="connsiteX14473" fmla="*/ 5285061 w 6994525"/>
                  <a:gd name="connsiteY14473" fmla="*/ 6790870 h 7571036"/>
                  <a:gd name="connsiteX14474" fmla="*/ 5276924 w 6994525"/>
                  <a:gd name="connsiteY14474" fmla="*/ 6782734 h 7571036"/>
                  <a:gd name="connsiteX14475" fmla="*/ 5269034 w 6994525"/>
                  <a:gd name="connsiteY14475" fmla="*/ 6790870 h 7571036"/>
                  <a:gd name="connsiteX14476" fmla="*/ 5276924 w 6994525"/>
                  <a:gd name="connsiteY14476" fmla="*/ 6798760 h 7571036"/>
                  <a:gd name="connsiteX14477" fmla="*/ 5285061 w 6994525"/>
                  <a:gd name="connsiteY14477" fmla="*/ 6790870 h 7571036"/>
                  <a:gd name="connsiteX14478" fmla="*/ 5287034 w 6994525"/>
                  <a:gd name="connsiteY14478" fmla="*/ 903668 h 7571036"/>
                  <a:gd name="connsiteX14479" fmla="*/ 5241172 w 6994525"/>
                  <a:gd name="connsiteY14479" fmla="*/ 857805 h 7571036"/>
                  <a:gd name="connsiteX14480" fmla="*/ 5195308 w 6994525"/>
                  <a:gd name="connsiteY14480" fmla="*/ 903668 h 7571036"/>
                  <a:gd name="connsiteX14481" fmla="*/ 5241172 w 6994525"/>
                  <a:gd name="connsiteY14481" fmla="*/ 949533 h 7571036"/>
                  <a:gd name="connsiteX14482" fmla="*/ 5287034 w 6994525"/>
                  <a:gd name="connsiteY14482" fmla="*/ 903668 h 7571036"/>
                  <a:gd name="connsiteX14483" fmla="*/ 5288265 w 6994525"/>
                  <a:gd name="connsiteY14483" fmla="*/ 5322512 h 7571036"/>
                  <a:gd name="connsiteX14484" fmla="*/ 5280623 w 6994525"/>
                  <a:gd name="connsiteY14484" fmla="*/ 5314866 h 7571036"/>
                  <a:gd name="connsiteX14485" fmla="*/ 5272979 w 6994525"/>
                  <a:gd name="connsiteY14485" fmla="*/ 5322512 h 7571036"/>
                  <a:gd name="connsiteX14486" fmla="*/ 5280623 w 6994525"/>
                  <a:gd name="connsiteY14486" fmla="*/ 5330153 h 7571036"/>
                  <a:gd name="connsiteX14487" fmla="*/ 5288265 w 6994525"/>
                  <a:gd name="connsiteY14487" fmla="*/ 5322512 h 7571036"/>
                  <a:gd name="connsiteX14488" fmla="*/ 5288512 w 6994525"/>
                  <a:gd name="connsiteY14488" fmla="*/ 2274701 h 7571036"/>
                  <a:gd name="connsiteX14489" fmla="*/ 5257198 w 6994525"/>
                  <a:gd name="connsiteY14489" fmla="*/ 2243397 h 7571036"/>
                  <a:gd name="connsiteX14490" fmla="*/ 5225882 w 6994525"/>
                  <a:gd name="connsiteY14490" fmla="*/ 2274701 h 7571036"/>
                  <a:gd name="connsiteX14491" fmla="*/ 5257198 w 6994525"/>
                  <a:gd name="connsiteY14491" fmla="*/ 2306018 h 7571036"/>
                  <a:gd name="connsiteX14492" fmla="*/ 5288512 w 6994525"/>
                  <a:gd name="connsiteY14492" fmla="*/ 2274701 h 7571036"/>
                  <a:gd name="connsiteX14493" fmla="*/ 5292456 w 6994525"/>
                  <a:gd name="connsiteY14493" fmla="*/ 777201 h 7571036"/>
                  <a:gd name="connsiteX14494" fmla="*/ 5247086 w 6994525"/>
                  <a:gd name="connsiteY14494" fmla="*/ 731825 h 7571036"/>
                  <a:gd name="connsiteX14495" fmla="*/ 5201717 w 6994525"/>
                  <a:gd name="connsiteY14495" fmla="*/ 777201 h 7571036"/>
                  <a:gd name="connsiteX14496" fmla="*/ 5247086 w 6994525"/>
                  <a:gd name="connsiteY14496" fmla="*/ 822575 h 7571036"/>
                  <a:gd name="connsiteX14497" fmla="*/ 5292456 w 6994525"/>
                  <a:gd name="connsiteY14497" fmla="*/ 777201 h 7571036"/>
                  <a:gd name="connsiteX14498" fmla="*/ 5292457 w 6994525"/>
                  <a:gd name="connsiteY14498" fmla="*/ 1452965 h 7571036"/>
                  <a:gd name="connsiteX14499" fmla="*/ 5245115 w 6994525"/>
                  <a:gd name="connsiteY14499" fmla="*/ 1405623 h 7571036"/>
                  <a:gd name="connsiteX14500" fmla="*/ 5197772 w 6994525"/>
                  <a:gd name="connsiteY14500" fmla="*/ 1452965 h 7571036"/>
                  <a:gd name="connsiteX14501" fmla="*/ 5245115 w 6994525"/>
                  <a:gd name="connsiteY14501" fmla="*/ 1500309 h 7571036"/>
                  <a:gd name="connsiteX14502" fmla="*/ 5292457 w 6994525"/>
                  <a:gd name="connsiteY14502" fmla="*/ 1452965 h 7571036"/>
                  <a:gd name="connsiteX14503" fmla="*/ 5293934 w 6994525"/>
                  <a:gd name="connsiteY14503" fmla="*/ 4154235 h 7571036"/>
                  <a:gd name="connsiteX14504" fmla="*/ 5288758 w 6994525"/>
                  <a:gd name="connsiteY14504" fmla="*/ 4149057 h 7571036"/>
                  <a:gd name="connsiteX14505" fmla="*/ 5283580 w 6994525"/>
                  <a:gd name="connsiteY14505" fmla="*/ 4154235 h 7571036"/>
                  <a:gd name="connsiteX14506" fmla="*/ 5288758 w 6994525"/>
                  <a:gd name="connsiteY14506" fmla="*/ 4159411 h 7571036"/>
                  <a:gd name="connsiteX14507" fmla="*/ 5293934 w 6994525"/>
                  <a:gd name="connsiteY14507" fmla="*/ 4154235 h 7571036"/>
                  <a:gd name="connsiteX14508" fmla="*/ 5295911 w 6994525"/>
                  <a:gd name="connsiteY14508" fmla="*/ 7028324 h 7571036"/>
                  <a:gd name="connsiteX14509" fmla="*/ 5290979 w 6994525"/>
                  <a:gd name="connsiteY14509" fmla="*/ 7023391 h 7571036"/>
                  <a:gd name="connsiteX14510" fmla="*/ 5286047 w 6994525"/>
                  <a:gd name="connsiteY14510" fmla="*/ 7028324 h 7571036"/>
                  <a:gd name="connsiteX14511" fmla="*/ 5290979 w 6994525"/>
                  <a:gd name="connsiteY14511" fmla="*/ 7033255 h 7571036"/>
                  <a:gd name="connsiteX14512" fmla="*/ 5295911 w 6994525"/>
                  <a:gd name="connsiteY14512" fmla="*/ 7028324 h 7571036"/>
                  <a:gd name="connsiteX14513" fmla="*/ 5296153 w 6994525"/>
                  <a:gd name="connsiteY14513" fmla="*/ 5459854 h 7571036"/>
                  <a:gd name="connsiteX14514" fmla="*/ 5292949 w 6994525"/>
                  <a:gd name="connsiteY14514" fmla="*/ 5456648 h 7571036"/>
                  <a:gd name="connsiteX14515" fmla="*/ 5289743 w 6994525"/>
                  <a:gd name="connsiteY14515" fmla="*/ 5459854 h 7571036"/>
                  <a:gd name="connsiteX14516" fmla="*/ 5292949 w 6994525"/>
                  <a:gd name="connsiteY14516" fmla="*/ 5463061 h 7571036"/>
                  <a:gd name="connsiteX14517" fmla="*/ 5296153 w 6994525"/>
                  <a:gd name="connsiteY14517" fmla="*/ 5459854 h 7571036"/>
                  <a:gd name="connsiteX14518" fmla="*/ 5296647 w 6994525"/>
                  <a:gd name="connsiteY14518" fmla="*/ 3647769 h 7571036"/>
                  <a:gd name="connsiteX14519" fmla="*/ 5295415 w 6994525"/>
                  <a:gd name="connsiteY14519" fmla="*/ 3646537 h 7571036"/>
                  <a:gd name="connsiteX14520" fmla="*/ 5294183 w 6994525"/>
                  <a:gd name="connsiteY14520" fmla="*/ 3647769 h 7571036"/>
                  <a:gd name="connsiteX14521" fmla="*/ 5295415 w 6994525"/>
                  <a:gd name="connsiteY14521" fmla="*/ 3649004 h 7571036"/>
                  <a:gd name="connsiteX14522" fmla="*/ 5296647 w 6994525"/>
                  <a:gd name="connsiteY14522" fmla="*/ 3647769 h 7571036"/>
                  <a:gd name="connsiteX14523" fmla="*/ 5296651 w 6994525"/>
                  <a:gd name="connsiteY14523" fmla="*/ 3070627 h 7571036"/>
                  <a:gd name="connsiteX14524" fmla="*/ 5257198 w 6994525"/>
                  <a:gd name="connsiteY14524" fmla="*/ 3031175 h 7571036"/>
                  <a:gd name="connsiteX14525" fmla="*/ 5217746 w 6994525"/>
                  <a:gd name="connsiteY14525" fmla="*/ 3070627 h 7571036"/>
                  <a:gd name="connsiteX14526" fmla="*/ 5257198 w 6994525"/>
                  <a:gd name="connsiteY14526" fmla="*/ 3110080 h 7571036"/>
                  <a:gd name="connsiteX14527" fmla="*/ 5296651 w 6994525"/>
                  <a:gd name="connsiteY14527" fmla="*/ 3070627 h 7571036"/>
                  <a:gd name="connsiteX14528" fmla="*/ 5297881 w 6994525"/>
                  <a:gd name="connsiteY14528" fmla="*/ 6907748 h 7571036"/>
                  <a:gd name="connsiteX14529" fmla="*/ 5288266 w 6994525"/>
                  <a:gd name="connsiteY14529" fmla="*/ 6898131 h 7571036"/>
                  <a:gd name="connsiteX14530" fmla="*/ 5278649 w 6994525"/>
                  <a:gd name="connsiteY14530" fmla="*/ 6907748 h 7571036"/>
                  <a:gd name="connsiteX14531" fmla="*/ 5288266 w 6994525"/>
                  <a:gd name="connsiteY14531" fmla="*/ 6917363 h 7571036"/>
                  <a:gd name="connsiteX14532" fmla="*/ 5297881 w 6994525"/>
                  <a:gd name="connsiteY14532" fmla="*/ 6907748 h 7571036"/>
                  <a:gd name="connsiteX14533" fmla="*/ 5297883 w 6994525"/>
                  <a:gd name="connsiteY14533" fmla="*/ 652213 h 7571036"/>
                  <a:gd name="connsiteX14534" fmla="*/ 5252513 w 6994525"/>
                  <a:gd name="connsiteY14534" fmla="*/ 606791 h 7571036"/>
                  <a:gd name="connsiteX14535" fmla="*/ 5207143 w 6994525"/>
                  <a:gd name="connsiteY14535" fmla="*/ 652213 h 7571036"/>
                  <a:gd name="connsiteX14536" fmla="*/ 5252513 w 6994525"/>
                  <a:gd name="connsiteY14536" fmla="*/ 697587 h 7571036"/>
                  <a:gd name="connsiteX14537" fmla="*/ 5297883 w 6994525"/>
                  <a:gd name="connsiteY14537" fmla="*/ 652213 h 7571036"/>
                  <a:gd name="connsiteX14538" fmla="*/ 5298375 w 6994525"/>
                  <a:gd name="connsiteY14538" fmla="*/ 1320078 h 7571036"/>
                  <a:gd name="connsiteX14539" fmla="*/ 5255472 w 6994525"/>
                  <a:gd name="connsiteY14539" fmla="*/ 1277176 h 7571036"/>
                  <a:gd name="connsiteX14540" fmla="*/ 5212566 w 6994525"/>
                  <a:gd name="connsiteY14540" fmla="*/ 1320078 h 7571036"/>
                  <a:gd name="connsiteX14541" fmla="*/ 5255472 w 6994525"/>
                  <a:gd name="connsiteY14541" fmla="*/ 1362977 h 7571036"/>
                  <a:gd name="connsiteX14542" fmla="*/ 5298375 w 6994525"/>
                  <a:gd name="connsiteY14542" fmla="*/ 1320078 h 7571036"/>
                  <a:gd name="connsiteX14543" fmla="*/ 5301087 w 6994525"/>
                  <a:gd name="connsiteY14543" fmla="*/ 7148158 h 7571036"/>
                  <a:gd name="connsiteX14544" fmla="*/ 5293937 w 6994525"/>
                  <a:gd name="connsiteY14544" fmla="*/ 7141253 h 7571036"/>
                  <a:gd name="connsiteX14545" fmla="*/ 5287033 w 6994525"/>
                  <a:gd name="connsiteY14545" fmla="*/ 7148158 h 7571036"/>
                  <a:gd name="connsiteX14546" fmla="*/ 5293937 w 6994525"/>
                  <a:gd name="connsiteY14546" fmla="*/ 7155308 h 7571036"/>
                  <a:gd name="connsiteX14547" fmla="*/ 5301087 w 6994525"/>
                  <a:gd name="connsiteY14547" fmla="*/ 7148158 h 7571036"/>
                  <a:gd name="connsiteX14548" fmla="*/ 5301088 w 6994525"/>
                  <a:gd name="connsiteY14548" fmla="*/ 527415 h 7571036"/>
                  <a:gd name="connsiteX14549" fmla="*/ 5256705 w 6994525"/>
                  <a:gd name="connsiteY14549" fmla="*/ 483033 h 7571036"/>
                  <a:gd name="connsiteX14550" fmla="*/ 5212321 w 6994525"/>
                  <a:gd name="connsiteY14550" fmla="*/ 527415 h 7571036"/>
                  <a:gd name="connsiteX14551" fmla="*/ 5256705 w 6994525"/>
                  <a:gd name="connsiteY14551" fmla="*/ 571797 h 7571036"/>
                  <a:gd name="connsiteX14552" fmla="*/ 5301088 w 6994525"/>
                  <a:gd name="connsiteY14552" fmla="*/ 527415 h 7571036"/>
                  <a:gd name="connsiteX14553" fmla="*/ 5304787 w 6994525"/>
                  <a:gd name="connsiteY14553" fmla="*/ 404153 h 7571036"/>
                  <a:gd name="connsiteX14554" fmla="*/ 5260896 w 6994525"/>
                  <a:gd name="connsiteY14554" fmla="*/ 360267 h 7571036"/>
                  <a:gd name="connsiteX14555" fmla="*/ 5217006 w 6994525"/>
                  <a:gd name="connsiteY14555" fmla="*/ 404153 h 7571036"/>
                  <a:gd name="connsiteX14556" fmla="*/ 5260896 w 6994525"/>
                  <a:gd name="connsiteY14556" fmla="*/ 448043 h 7571036"/>
                  <a:gd name="connsiteX14557" fmla="*/ 5304787 w 6994525"/>
                  <a:gd name="connsiteY14557" fmla="*/ 404153 h 7571036"/>
                  <a:gd name="connsiteX14558" fmla="*/ 5305033 w 6994525"/>
                  <a:gd name="connsiteY14558" fmla="*/ 5593990 h 7571036"/>
                  <a:gd name="connsiteX14559" fmla="*/ 5304787 w 6994525"/>
                  <a:gd name="connsiteY14559" fmla="*/ 5593744 h 7571036"/>
                  <a:gd name="connsiteX14560" fmla="*/ 5304787 w 6994525"/>
                  <a:gd name="connsiteY14560" fmla="*/ 5593990 h 7571036"/>
                  <a:gd name="connsiteX14561" fmla="*/ 5305771 w 6994525"/>
                  <a:gd name="connsiteY14561" fmla="*/ 3531631 h 7571036"/>
                  <a:gd name="connsiteX14562" fmla="*/ 5302566 w 6994525"/>
                  <a:gd name="connsiteY14562" fmla="*/ 3528426 h 7571036"/>
                  <a:gd name="connsiteX14563" fmla="*/ 5299361 w 6994525"/>
                  <a:gd name="connsiteY14563" fmla="*/ 3531631 h 7571036"/>
                  <a:gd name="connsiteX14564" fmla="*/ 5302566 w 6994525"/>
                  <a:gd name="connsiteY14564" fmla="*/ 3534836 h 7571036"/>
                  <a:gd name="connsiteX14565" fmla="*/ 5305771 w 6994525"/>
                  <a:gd name="connsiteY14565" fmla="*/ 3531631 h 7571036"/>
                  <a:gd name="connsiteX14566" fmla="*/ 5307746 w 6994525"/>
                  <a:gd name="connsiteY14566" fmla="*/ 2527183 h 7571036"/>
                  <a:gd name="connsiteX14567" fmla="*/ 5283580 w 6994525"/>
                  <a:gd name="connsiteY14567" fmla="*/ 2503017 h 7571036"/>
                  <a:gd name="connsiteX14568" fmla="*/ 5259417 w 6994525"/>
                  <a:gd name="connsiteY14568" fmla="*/ 2527183 h 7571036"/>
                  <a:gd name="connsiteX14569" fmla="*/ 5283580 w 6994525"/>
                  <a:gd name="connsiteY14569" fmla="*/ 2551348 h 7571036"/>
                  <a:gd name="connsiteX14570" fmla="*/ 5307746 w 6994525"/>
                  <a:gd name="connsiteY14570" fmla="*/ 2527183 h 7571036"/>
                  <a:gd name="connsiteX14571" fmla="*/ 5307992 w 6994525"/>
                  <a:gd name="connsiteY14571" fmla="*/ 281385 h 7571036"/>
                  <a:gd name="connsiteX14572" fmla="*/ 5264348 w 6994525"/>
                  <a:gd name="connsiteY14572" fmla="*/ 237744 h 7571036"/>
                  <a:gd name="connsiteX14573" fmla="*/ 5220951 w 6994525"/>
                  <a:gd name="connsiteY14573" fmla="*/ 281385 h 7571036"/>
                  <a:gd name="connsiteX14574" fmla="*/ 5264348 w 6994525"/>
                  <a:gd name="connsiteY14574" fmla="*/ 325029 h 7571036"/>
                  <a:gd name="connsiteX14575" fmla="*/ 5307992 w 6994525"/>
                  <a:gd name="connsiteY14575" fmla="*/ 281385 h 7571036"/>
                  <a:gd name="connsiteX14576" fmla="*/ 5309224 w 6994525"/>
                  <a:gd name="connsiteY14576" fmla="*/ 1949009 h 7571036"/>
                  <a:gd name="connsiteX14577" fmla="*/ 5280621 w 6994525"/>
                  <a:gd name="connsiteY14577" fmla="*/ 1920421 h 7571036"/>
                  <a:gd name="connsiteX14578" fmla="*/ 5252018 w 6994525"/>
                  <a:gd name="connsiteY14578" fmla="*/ 1949009 h 7571036"/>
                  <a:gd name="connsiteX14579" fmla="*/ 5280621 w 6994525"/>
                  <a:gd name="connsiteY14579" fmla="*/ 1977597 h 7571036"/>
                  <a:gd name="connsiteX14580" fmla="*/ 5309224 w 6994525"/>
                  <a:gd name="connsiteY14580" fmla="*/ 1949009 h 7571036"/>
                  <a:gd name="connsiteX14581" fmla="*/ 5310456 w 6994525"/>
                  <a:gd name="connsiteY14581" fmla="*/ 1188428 h 7571036"/>
                  <a:gd name="connsiteX14582" fmla="*/ 5264594 w 6994525"/>
                  <a:gd name="connsiteY14582" fmla="*/ 1142568 h 7571036"/>
                  <a:gd name="connsiteX14583" fmla="*/ 5218730 w 6994525"/>
                  <a:gd name="connsiteY14583" fmla="*/ 1188428 h 7571036"/>
                  <a:gd name="connsiteX14584" fmla="*/ 5264594 w 6994525"/>
                  <a:gd name="connsiteY14584" fmla="*/ 1234295 h 7571036"/>
                  <a:gd name="connsiteX14585" fmla="*/ 5310456 w 6994525"/>
                  <a:gd name="connsiteY14585" fmla="*/ 1188428 h 7571036"/>
                  <a:gd name="connsiteX14586" fmla="*/ 5310459 w 6994525"/>
                  <a:gd name="connsiteY14586" fmla="*/ 3184547 h 7571036"/>
                  <a:gd name="connsiteX14587" fmla="*/ 5279635 w 6994525"/>
                  <a:gd name="connsiteY14587" fmla="*/ 3153724 h 7571036"/>
                  <a:gd name="connsiteX14588" fmla="*/ 5248814 w 6994525"/>
                  <a:gd name="connsiteY14588" fmla="*/ 3184547 h 7571036"/>
                  <a:gd name="connsiteX14589" fmla="*/ 5279635 w 6994525"/>
                  <a:gd name="connsiteY14589" fmla="*/ 3215371 h 7571036"/>
                  <a:gd name="connsiteX14590" fmla="*/ 5310459 w 6994525"/>
                  <a:gd name="connsiteY14590" fmla="*/ 3184547 h 7571036"/>
                  <a:gd name="connsiteX14591" fmla="*/ 5310705 w 6994525"/>
                  <a:gd name="connsiteY14591" fmla="*/ 159607 h 7571036"/>
                  <a:gd name="connsiteX14592" fmla="*/ 5267553 w 6994525"/>
                  <a:gd name="connsiteY14592" fmla="*/ 116458 h 7571036"/>
                  <a:gd name="connsiteX14593" fmla="*/ 5224402 w 6994525"/>
                  <a:gd name="connsiteY14593" fmla="*/ 159607 h 7571036"/>
                  <a:gd name="connsiteX14594" fmla="*/ 5267553 w 6994525"/>
                  <a:gd name="connsiteY14594" fmla="*/ 202757 h 7571036"/>
                  <a:gd name="connsiteX14595" fmla="*/ 5310705 w 6994525"/>
                  <a:gd name="connsiteY14595" fmla="*/ 159607 h 7571036"/>
                  <a:gd name="connsiteX14596" fmla="*/ 5313171 w 6994525"/>
                  <a:gd name="connsiteY14596" fmla="*/ 3415590 h 7571036"/>
                  <a:gd name="connsiteX14597" fmla="*/ 5302322 w 6994525"/>
                  <a:gd name="connsiteY14597" fmla="*/ 3404741 h 7571036"/>
                  <a:gd name="connsiteX14598" fmla="*/ 5291718 w 6994525"/>
                  <a:gd name="connsiteY14598" fmla="*/ 3415590 h 7571036"/>
                  <a:gd name="connsiteX14599" fmla="*/ 5302322 w 6994525"/>
                  <a:gd name="connsiteY14599" fmla="*/ 3426442 h 7571036"/>
                  <a:gd name="connsiteX14600" fmla="*/ 5313171 w 6994525"/>
                  <a:gd name="connsiteY14600" fmla="*/ 3415590 h 7571036"/>
                  <a:gd name="connsiteX14601" fmla="*/ 5315388 w 6994525"/>
                  <a:gd name="connsiteY14601" fmla="*/ 3299699 h 7571036"/>
                  <a:gd name="connsiteX14602" fmla="*/ 5294675 w 6994525"/>
                  <a:gd name="connsiteY14602" fmla="*/ 3278982 h 7571036"/>
                  <a:gd name="connsiteX14603" fmla="*/ 5273963 w 6994525"/>
                  <a:gd name="connsiteY14603" fmla="*/ 3299699 h 7571036"/>
                  <a:gd name="connsiteX14604" fmla="*/ 5294675 w 6994525"/>
                  <a:gd name="connsiteY14604" fmla="*/ 3320407 h 7571036"/>
                  <a:gd name="connsiteX14605" fmla="*/ 5315388 w 6994525"/>
                  <a:gd name="connsiteY14605" fmla="*/ 3299699 h 7571036"/>
                  <a:gd name="connsiteX14606" fmla="*/ 5315390 w 6994525"/>
                  <a:gd name="connsiteY14606" fmla="*/ 4807416 h 7571036"/>
                  <a:gd name="connsiteX14607" fmla="*/ 5300349 w 6994525"/>
                  <a:gd name="connsiteY14607" fmla="*/ 4792375 h 7571036"/>
                  <a:gd name="connsiteX14608" fmla="*/ 5285061 w 6994525"/>
                  <a:gd name="connsiteY14608" fmla="*/ 4807416 h 7571036"/>
                  <a:gd name="connsiteX14609" fmla="*/ 5300349 w 6994525"/>
                  <a:gd name="connsiteY14609" fmla="*/ 4822459 h 7571036"/>
                  <a:gd name="connsiteX14610" fmla="*/ 5315390 w 6994525"/>
                  <a:gd name="connsiteY14610" fmla="*/ 4807416 h 7571036"/>
                  <a:gd name="connsiteX14611" fmla="*/ 5315883 w 6994525"/>
                  <a:gd name="connsiteY14611" fmla="*/ 5726156 h 7571036"/>
                  <a:gd name="connsiteX14612" fmla="*/ 5315634 w 6994525"/>
                  <a:gd name="connsiteY14612" fmla="*/ 5725909 h 7571036"/>
                  <a:gd name="connsiteX14613" fmla="*/ 5315387 w 6994525"/>
                  <a:gd name="connsiteY14613" fmla="*/ 5726156 h 7571036"/>
                  <a:gd name="connsiteX14614" fmla="*/ 5315634 w 6994525"/>
                  <a:gd name="connsiteY14614" fmla="*/ 5726401 h 7571036"/>
                  <a:gd name="connsiteX14615" fmla="*/ 5315883 w 6994525"/>
                  <a:gd name="connsiteY14615" fmla="*/ 5726156 h 7571036"/>
                  <a:gd name="connsiteX14616" fmla="*/ 5316374 w 6994525"/>
                  <a:gd name="connsiteY14616" fmla="*/ 4420290 h 7571036"/>
                  <a:gd name="connsiteX14617" fmla="*/ 5287771 w 6994525"/>
                  <a:gd name="connsiteY14617" fmla="*/ 4391687 h 7571036"/>
                  <a:gd name="connsiteX14618" fmla="*/ 5259168 w 6994525"/>
                  <a:gd name="connsiteY14618" fmla="*/ 4420290 h 7571036"/>
                  <a:gd name="connsiteX14619" fmla="*/ 5287771 w 6994525"/>
                  <a:gd name="connsiteY14619" fmla="*/ 4448893 h 7571036"/>
                  <a:gd name="connsiteX14620" fmla="*/ 5316374 w 6994525"/>
                  <a:gd name="connsiteY14620" fmla="*/ 4420290 h 7571036"/>
                  <a:gd name="connsiteX14621" fmla="*/ 5319333 w 6994525"/>
                  <a:gd name="connsiteY14621" fmla="*/ 1058990 h 7571036"/>
                  <a:gd name="connsiteX14622" fmla="*/ 5272977 w 6994525"/>
                  <a:gd name="connsiteY14622" fmla="*/ 1012395 h 7571036"/>
                  <a:gd name="connsiteX14623" fmla="*/ 5226374 w 6994525"/>
                  <a:gd name="connsiteY14623" fmla="*/ 1058990 h 7571036"/>
                  <a:gd name="connsiteX14624" fmla="*/ 5272977 w 6994525"/>
                  <a:gd name="connsiteY14624" fmla="*/ 1105597 h 7571036"/>
                  <a:gd name="connsiteX14625" fmla="*/ 5319333 w 6994525"/>
                  <a:gd name="connsiteY14625" fmla="*/ 1058990 h 7571036"/>
                  <a:gd name="connsiteX14626" fmla="*/ 5324514 w 6994525"/>
                  <a:gd name="connsiteY14626" fmla="*/ 4953883 h 7571036"/>
                  <a:gd name="connsiteX14627" fmla="*/ 5324021 w 6994525"/>
                  <a:gd name="connsiteY14627" fmla="*/ 4953388 h 7571036"/>
                  <a:gd name="connsiteX14628" fmla="*/ 5323527 w 6994525"/>
                  <a:gd name="connsiteY14628" fmla="*/ 4953883 h 7571036"/>
                  <a:gd name="connsiteX14629" fmla="*/ 5324021 w 6994525"/>
                  <a:gd name="connsiteY14629" fmla="*/ 4954375 h 7571036"/>
                  <a:gd name="connsiteX14630" fmla="*/ 5324514 w 6994525"/>
                  <a:gd name="connsiteY14630" fmla="*/ 4953883 h 7571036"/>
                  <a:gd name="connsiteX14631" fmla="*/ 5325994 w 6994525"/>
                  <a:gd name="connsiteY14631" fmla="*/ 5857087 h 7571036"/>
                  <a:gd name="connsiteX14632" fmla="*/ 5324759 w 6994525"/>
                  <a:gd name="connsiteY14632" fmla="*/ 5855855 h 7571036"/>
                  <a:gd name="connsiteX14633" fmla="*/ 5323527 w 6994525"/>
                  <a:gd name="connsiteY14633" fmla="*/ 5857087 h 7571036"/>
                  <a:gd name="connsiteX14634" fmla="*/ 5324759 w 6994525"/>
                  <a:gd name="connsiteY14634" fmla="*/ 5858322 h 7571036"/>
                  <a:gd name="connsiteX14635" fmla="*/ 5325994 w 6994525"/>
                  <a:gd name="connsiteY14635" fmla="*/ 5857087 h 7571036"/>
                  <a:gd name="connsiteX14636" fmla="*/ 5326237 w 6994525"/>
                  <a:gd name="connsiteY14636" fmla="*/ 2792247 h 7571036"/>
                  <a:gd name="connsiteX14637" fmla="*/ 5285553 w 6994525"/>
                  <a:gd name="connsiteY14637" fmla="*/ 2751562 h 7571036"/>
                  <a:gd name="connsiteX14638" fmla="*/ 5244868 w 6994525"/>
                  <a:gd name="connsiteY14638" fmla="*/ 2792247 h 7571036"/>
                  <a:gd name="connsiteX14639" fmla="*/ 5285553 w 6994525"/>
                  <a:gd name="connsiteY14639" fmla="*/ 2832933 h 7571036"/>
                  <a:gd name="connsiteX14640" fmla="*/ 5326237 w 6994525"/>
                  <a:gd name="connsiteY14640" fmla="*/ 2792247 h 7571036"/>
                  <a:gd name="connsiteX14641" fmla="*/ 5329936 w 6994525"/>
                  <a:gd name="connsiteY14641" fmla="*/ 4044508 h 7571036"/>
                  <a:gd name="connsiteX14642" fmla="*/ 5326483 w 6994525"/>
                  <a:gd name="connsiteY14642" fmla="*/ 4041057 h 7571036"/>
                  <a:gd name="connsiteX14643" fmla="*/ 5323032 w 6994525"/>
                  <a:gd name="connsiteY14643" fmla="*/ 4044508 h 7571036"/>
                  <a:gd name="connsiteX14644" fmla="*/ 5326483 w 6994525"/>
                  <a:gd name="connsiteY14644" fmla="*/ 4047961 h 7571036"/>
                  <a:gd name="connsiteX14645" fmla="*/ 5329936 w 6994525"/>
                  <a:gd name="connsiteY14645" fmla="*/ 4044508 h 7571036"/>
                  <a:gd name="connsiteX14646" fmla="*/ 5339308 w 6994525"/>
                  <a:gd name="connsiteY14646" fmla="*/ 2187181 h 7571036"/>
                  <a:gd name="connsiteX14647" fmla="*/ 5328704 w 6994525"/>
                  <a:gd name="connsiteY14647" fmla="*/ 2176580 h 7571036"/>
                  <a:gd name="connsiteX14648" fmla="*/ 5318101 w 6994525"/>
                  <a:gd name="connsiteY14648" fmla="*/ 2187181 h 7571036"/>
                  <a:gd name="connsiteX14649" fmla="*/ 5328704 w 6994525"/>
                  <a:gd name="connsiteY14649" fmla="*/ 2197788 h 7571036"/>
                  <a:gd name="connsiteX14650" fmla="*/ 5339308 w 6994525"/>
                  <a:gd name="connsiteY14650" fmla="*/ 2187181 h 7571036"/>
                  <a:gd name="connsiteX14651" fmla="*/ 5343250 w 6994525"/>
                  <a:gd name="connsiteY14651" fmla="*/ 1807051 h 7571036"/>
                  <a:gd name="connsiteX14652" fmla="*/ 5299607 w 6994525"/>
                  <a:gd name="connsiteY14652" fmla="*/ 1763391 h 7571036"/>
                  <a:gd name="connsiteX14653" fmla="*/ 5255964 w 6994525"/>
                  <a:gd name="connsiteY14653" fmla="*/ 1807051 h 7571036"/>
                  <a:gd name="connsiteX14654" fmla="*/ 5299607 w 6994525"/>
                  <a:gd name="connsiteY14654" fmla="*/ 1850693 h 7571036"/>
                  <a:gd name="connsiteX14655" fmla="*/ 5343250 w 6994525"/>
                  <a:gd name="connsiteY14655" fmla="*/ 1807051 h 7571036"/>
                  <a:gd name="connsiteX14656" fmla="*/ 5344979 w 6994525"/>
                  <a:gd name="connsiteY14656" fmla="*/ 5979389 h 7571036"/>
                  <a:gd name="connsiteX14657" fmla="*/ 5343008 w 6994525"/>
                  <a:gd name="connsiteY14657" fmla="*/ 5977416 h 7571036"/>
                  <a:gd name="connsiteX14658" fmla="*/ 5341034 w 6994525"/>
                  <a:gd name="connsiteY14658" fmla="*/ 5979389 h 7571036"/>
                  <a:gd name="connsiteX14659" fmla="*/ 5343008 w 6994525"/>
                  <a:gd name="connsiteY14659" fmla="*/ 5981361 h 7571036"/>
                  <a:gd name="connsiteX14660" fmla="*/ 5344979 w 6994525"/>
                  <a:gd name="connsiteY14660" fmla="*/ 5979389 h 7571036"/>
                  <a:gd name="connsiteX14661" fmla="*/ 5347690 w 6994525"/>
                  <a:gd name="connsiteY14661" fmla="*/ 1667715 h 7571036"/>
                  <a:gd name="connsiteX14662" fmla="*/ 5316128 w 6994525"/>
                  <a:gd name="connsiteY14662" fmla="*/ 1636157 h 7571036"/>
                  <a:gd name="connsiteX14663" fmla="*/ 5284566 w 6994525"/>
                  <a:gd name="connsiteY14663" fmla="*/ 1667715 h 7571036"/>
                  <a:gd name="connsiteX14664" fmla="*/ 5316128 w 6994525"/>
                  <a:gd name="connsiteY14664" fmla="*/ 1699279 h 7571036"/>
                  <a:gd name="connsiteX14665" fmla="*/ 5347690 w 6994525"/>
                  <a:gd name="connsiteY14665" fmla="*/ 1667715 h 7571036"/>
                  <a:gd name="connsiteX14666" fmla="*/ 5351142 w 6994525"/>
                  <a:gd name="connsiteY14666" fmla="*/ 4574894 h 7571036"/>
                  <a:gd name="connsiteX14667" fmla="*/ 5325007 w 6994525"/>
                  <a:gd name="connsiteY14667" fmla="*/ 4548758 h 7571036"/>
                  <a:gd name="connsiteX14668" fmla="*/ 5298868 w 6994525"/>
                  <a:gd name="connsiteY14668" fmla="*/ 4574894 h 7571036"/>
                  <a:gd name="connsiteX14669" fmla="*/ 5325007 w 6994525"/>
                  <a:gd name="connsiteY14669" fmla="*/ 4601033 h 7571036"/>
                  <a:gd name="connsiteX14670" fmla="*/ 5351142 w 6994525"/>
                  <a:gd name="connsiteY14670" fmla="*/ 4574894 h 7571036"/>
                  <a:gd name="connsiteX14671" fmla="*/ 5352130 w 6994525"/>
                  <a:gd name="connsiteY14671" fmla="*/ 6107857 h 7571036"/>
                  <a:gd name="connsiteX14672" fmla="*/ 5350157 w 6994525"/>
                  <a:gd name="connsiteY14672" fmla="*/ 6105884 h 7571036"/>
                  <a:gd name="connsiteX14673" fmla="*/ 5348184 w 6994525"/>
                  <a:gd name="connsiteY14673" fmla="*/ 6107857 h 7571036"/>
                  <a:gd name="connsiteX14674" fmla="*/ 5350157 w 6994525"/>
                  <a:gd name="connsiteY14674" fmla="*/ 6109829 h 7571036"/>
                  <a:gd name="connsiteX14675" fmla="*/ 5352130 w 6994525"/>
                  <a:gd name="connsiteY14675" fmla="*/ 6107857 h 7571036"/>
                  <a:gd name="connsiteX14676" fmla="*/ 5359034 w 6994525"/>
                  <a:gd name="connsiteY14676" fmla="*/ 6235582 h 7571036"/>
                  <a:gd name="connsiteX14677" fmla="*/ 5356321 w 6994525"/>
                  <a:gd name="connsiteY14677" fmla="*/ 6232869 h 7571036"/>
                  <a:gd name="connsiteX14678" fmla="*/ 5353607 w 6994525"/>
                  <a:gd name="connsiteY14678" fmla="*/ 6235582 h 7571036"/>
                  <a:gd name="connsiteX14679" fmla="*/ 5356321 w 6994525"/>
                  <a:gd name="connsiteY14679" fmla="*/ 6238295 h 7571036"/>
                  <a:gd name="connsiteX14680" fmla="*/ 5359034 w 6994525"/>
                  <a:gd name="connsiteY14680" fmla="*/ 6235582 h 7571036"/>
                  <a:gd name="connsiteX14681" fmla="*/ 5360020 w 6994525"/>
                  <a:gd name="connsiteY14681" fmla="*/ 3932811 h 7571036"/>
                  <a:gd name="connsiteX14682" fmla="*/ 5357307 w 6994525"/>
                  <a:gd name="connsiteY14682" fmla="*/ 3930097 h 7571036"/>
                  <a:gd name="connsiteX14683" fmla="*/ 5354347 w 6994525"/>
                  <a:gd name="connsiteY14683" fmla="*/ 3932811 h 7571036"/>
                  <a:gd name="connsiteX14684" fmla="*/ 5357307 w 6994525"/>
                  <a:gd name="connsiteY14684" fmla="*/ 3935523 h 7571036"/>
                  <a:gd name="connsiteX14685" fmla="*/ 5360020 w 6994525"/>
                  <a:gd name="connsiteY14685" fmla="*/ 3932811 h 7571036"/>
                  <a:gd name="connsiteX14686" fmla="*/ 5360512 w 6994525"/>
                  <a:gd name="connsiteY14686" fmla="*/ 5098375 h 7571036"/>
                  <a:gd name="connsiteX14687" fmla="*/ 5344239 w 6994525"/>
                  <a:gd name="connsiteY14687" fmla="*/ 5082099 h 7571036"/>
                  <a:gd name="connsiteX14688" fmla="*/ 5327964 w 6994525"/>
                  <a:gd name="connsiteY14688" fmla="*/ 5098375 h 7571036"/>
                  <a:gd name="connsiteX14689" fmla="*/ 5344239 w 6994525"/>
                  <a:gd name="connsiteY14689" fmla="*/ 5114647 h 7571036"/>
                  <a:gd name="connsiteX14690" fmla="*/ 5360512 w 6994525"/>
                  <a:gd name="connsiteY14690" fmla="*/ 5098375 h 7571036"/>
                  <a:gd name="connsiteX14691" fmla="*/ 5364703 w 6994525"/>
                  <a:gd name="connsiteY14691" fmla="*/ 2371606 h 7571036"/>
                  <a:gd name="connsiteX14692" fmla="*/ 5319827 w 6994525"/>
                  <a:gd name="connsiteY14692" fmla="*/ 2326968 h 7571036"/>
                  <a:gd name="connsiteX14693" fmla="*/ 5274949 w 6994525"/>
                  <a:gd name="connsiteY14693" fmla="*/ 2371606 h 7571036"/>
                  <a:gd name="connsiteX14694" fmla="*/ 5319827 w 6994525"/>
                  <a:gd name="connsiteY14694" fmla="*/ 2416483 h 7571036"/>
                  <a:gd name="connsiteX14695" fmla="*/ 5364703 w 6994525"/>
                  <a:gd name="connsiteY14695" fmla="*/ 2371606 h 7571036"/>
                  <a:gd name="connsiteX14696" fmla="*/ 5365935 w 6994525"/>
                  <a:gd name="connsiteY14696" fmla="*/ 6361582 h 7571036"/>
                  <a:gd name="connsiteX14697" fmla="*/ 5362731 w 6994525"/>
                  <a:gd name="connsiteY14697" fmla="*/ 6358377 h 7571036"/>
                  <a:gd name="connsiteX14698" fmla="*/ 5359525 w 6994525"/>
                  <a:gd name="connsiteY14698" fmla="*/ 6361582 h 7571036"/>
                  <a:gd name="connsiteX14699" fmla="*/ 5362731 w 6994525"/>
                  <a:gd name="connsiteY14699" fmla="*/ 6364790 h 7571036"/>
                  <a:gd name="connsiteX14700" fmla="*/ 5365935 w 6994525"/>
                  <a:gd name="connsiteY14700" fmla="*/ 6361582 h 7571036"/>
                  <a:gd name="connsiteX14701" fmla="*/ 5365938 w 6994525"/>
                  <a:gd name="connsiteY14701" fmla="*/ 2630747 h 7571036"/>
                  <a:gd name="connsiteX14702" fmla="*/ 5335114 w 6994525"/>
                  <a:gd name="connsiteY14702" fmla="*/ 2599924 h 7571036"/>
                  <a:gd name="connsiteX14703" fmla="*/ 5304292 w 6994525"/>
                  <a:gd name="connsiteY14703" fmla="*/ 2630747 h 7571036"/>
                  <a:gd name="connsiteX14704" fmla="*/ 5335114 w 6994525"/>
                  <a:gd name="connsiteY14704" fmla="*/ 2661573 h 7571036"/>
                  <a:gd name="connsiteX14705" fmla="*/ 5365938 w 6994525"/>
                  <a:gd name="connsiteY14705" fmla="*/ 2630747 h 7571036"/>
                  <a:gd name="connsiteX14706" fmla="*/ 5371361 w 6994525"/>
                  <a:gd name="connsiteY14706" fmla="*/ 5239910 h 7571036"/>
                  <a:gd name="connsiteX14707" fmla="*/ 5361992 w 6994525"/>
                  <a:gd name="connsiteY14707" fmla="*/ 5230539 h 7571036"/>
                  <a:gd name="connsiteX14708" fmla="*/ 5352621 w 6994525"/>
                  <a:gd name="connsiteY14708" fmla="*/ 5239910 h 7571036"/>
                  <a:gd name="connsiteX14709" fmla="*/ 5361992 w 6994525"/>
                  <a:gd name="connsiteY14709" fmla="*/ 5249279 h 7571036"/>
                  <a:gd name="connsiteX14710" fmla="*/ 5371361 w 6994525"/>
                  <a:gd name="connsiteY14710" fmla="*/ 5239910 h 7571036"/>
                  <a:gd name="connsiteX14711" fmla="*/ 5372351 w 6994525"/>
                  <a:gd name="connsiteY14711" fmla="*/ 6486843 h 7571036"/>
                  <a:gd name="connsiteX14712" fmla="*/ 5368156 w 6994525"/>
                  <a:gd name="connsiteY14712" fmla="*/ 6482652 h 7571036"/>
                  <a:gd name="connsiteX14713" fmla="*/ 5363965 w 6994525"/>
                  <a:gd name="connsiteY14713" fmla="*/ 6486843 h 7571036"/>
                  <a:gd name="connsiteX14714" fmla="*/ 5368156 w 6994525"/>
                  <a:gd name="connsiteY14714" fmla="*/ 6491037 h 7571036"/>
                  <a:gd name="connsiteX14715" fmla="*/ 5372351 w 6994525"/>
                  <a:gd name="connsiteY14715" fmla="*/ 6486843 h 7571036"/>
                  <a:gd name="connsiteX14716" fmla="*/ 5372596 w 6994525"/>
                  <a:gd name="connsiteY14716" fmla="*/ 69882 h 7571036"/>
                  <a:gd name="connsiteX14717" fmla="*/ 5329690 w 6994525"/>
                  <a:gd name="connsiteY14717" fmla="*/ 26981 h 7571036"/>
                  <a:gd name="connsiteX14718" fmla="*/ 5286787 w 6994525"/>
                  <a:gd name="connsiteY14718" fmla="*/ 69882 h 7571036"/>
                  <a:gd name="connsiteX14719" fmla="*/ 5329690 w 6994525"/>
                  <a:gd name="connsiteY14719" fmla="*/ 112785 h 7571036"/>
                  <a:gd name="connsiteX14720" fmla="*/ 5372596 w 6994525"/>
                  <a:gd name="connsiteY14720" fmla="*/ 69882 h 7571036"/>
                  <a:gd name="connsiteX14721" fmla="*/ 5375060 w 6994525"/>
                  <a:gd name="connsiteY14721" fmla="*/ 2901730 h 7571036"/>
                  <a:gd name="connsiteX14722" fmla="*/ 5323773 w 6994525"/>
                  <a:gd name="connsiteY14722" fmla="*/ 2850441 h 7571036"/>
                  <a:gd name="connsiteX14723" fmla="*/ 5272484 w 6994525"/>
                  <a:gd name="connsiteY14723" fmla="*/ 2901730 h 7571036"/>
                  <a:gd name="connsiteX14724" fmla="*/ 5323773 w 6994525"/>
                  <a:gd name="connsiteY14724" fmla="*/ 2953019 h 7571036"/>
                  <a:gd name="connsiteX14725" fmla="*/ 5375060 w 6994525"/>
                  <a:gd name="connsiteY14725" fmla="*/ 2901730 h 7571036"/>
                  <a:gd name="connsiteX14726" fmla="*/ 5376293 w 6994525"/>
                  <a:gd name="connsiteY14726" fmla="*/ 2039227 h 7571036"/>
                  <a:gd name="connsiteX14727" fmla="*/ 5354100 w 6994525"/>
                  <a:gd name="connsiteY14727" fmla="*/ 2017029 h 7571036"/>
                  <a:gd name="connsiteX14728" fmla="*/ 5331909 w 6994525"/>
                  <a:gd name="connsiteY14728" fmla="*/ 2039227 h 7571036"/>
                  <a:gd name="connsiteX14729" fmla="*/ 5354100 w 6994525"/>
                  <a:gd name="connsiteY14729" fmla="*/ 2061423 h 7571036"/>
                  <a:gd name="connsiteX14730" fmla="*/ 5376293 w 6994525"/>
                  <a:gd name="connsiteY14730" fmla="*/ 2039227 h 7571036"/>
                  <a:gd name="connsiteX14731" fmla="*/ 5378265 w 6994525"/>
                  <a:gd name="connsiteY14731" fmla="*/ 4316237 h 7571036"/>
                  <a:gd name="connsiteX14732" fmla="*/ 5338814 w 6994525"/>
                  <a:gd name="connsiteY14732" fmla="*/ 4276538 h 7571036"/>
                  <a:gd name="connsiteX14733" fmla="*/ 5299115 w 6994525"/>
                  <a:gd name="connsiteY14733" fmla="*/ 4316237 h 7571036"/>
                  <a:gd name="connsiteX14734" fmla="*/ 5338814 w 6994525"/>
                  <a:gd name="connsiteY14734" fmla="*/ 4355688 h 7571036"/>
                  <a:gd name="connsiteX14735" fmla="*/ 5378265 w 6994525"/>
                  <a:gd name="connsiteY14735" fmla="*/ 4316237 h 7571036"/>
                  <a:gd name="connsiteX14736" fmla="*/ 5378760 w 6994525"/>
                  <a:gd name="connsiteY14736" fmla="*/ 1530887 h 7571036"/>
                  <a:gd name="connsiteX14737" fmla="*/ 5331168 w 6994525"/>
                  <a:gd name="connsiteY14737" fmla="*/ 1483293 h 7571036"/>
                  <a:gd name="connsiteX14738" fmla="*/ 5283580 w 6994525"/>
                  <a:gd name="connsiteY14738" fmla="*/ 1530887 h 7571036"/>
                  <a:gd name="connsiteX14739" fmla="*/ 5331168 w 6994525"/>
                  <a:gd name="connsiteY14739" fmla="*/ 1578473 h 7571036"/>
                  <a:gd name="connsiteX14740" fmla="*/ 5378760 w 6994525"/>
                  <a:gd name="connsiteY14740" fmla="*/ 1530887 h 7571036"/>
                  <a:gd name="connsiteX14741" fmla="*/ 5379005 w 6994525"/>
                  <a:gd name="connsiteY14741" fmla="*/ 6610871 h 7571036"/>
                  <a:gd name="connsiteX14742" fmla="*/ 5373336 w 6994525"/>
                  <a:gd name="connsiteY14742" fmla="*/ 6605199 h 7571036"/>
                  <a:gd name="connsiteX14743" fmla="*/ 5367664 w 6994525"/>
                  <a:gd name="connsiteY14743" fmla="*/ 6610871 h 7571036"/>
                  <a:gd name="connsiteX14744" fmla="*/ 5373336 w 6994525"/>
                  <a:gd name="connsiteY14744" fmla="*/ 6616540 h 7571036"/>
                  <a:gd name="connsiteX14745" fmla="*/ 5379005 w 6994525"/>
                  <a:gd name="connsiteY14745" fmla="*/ 6610871 h 7571036"/>
                  <a:gd name="connsiteX14746" fmla="*/ 5379254 w 6994525"/>
                  <a:gd name="connsiteY14746" fmla="*/ 5379717 h 7571036"/>
                  <a:gd name="connsiteX14747" fmla="*/ 5377033 w 6994525"/>
                  <a:gd name="connsiteY14747" fmla="*/ 5377498 h 7571036"/>
                  <a:gd name="connsiteX14748" fmla="*/ 5374814 w 6994525"/>
                  <a:gd name="connsiteY14748" fmla="*/ 5379717 h 7571036"/>
                  <a:gd name="connsiteX14749" fmla="*/ 5377033 w 6994525"/>
                  <a:gd name="connsiteY14749" fmla="*/ 5381935 h 7571036"/>
                  <a:gd name="connsiteX14750" fmla="*/ 5379254 w 6994525"/>
                  <a:gd name="connsiteY14750" fmla="*/ 5379717 h 7571036"/>
                  <a:gd name="connsiteX14751" fmla="*/ 5380486 w 6994525"/>
                  <a:gd name="connsiteY14751" fmla="*/ 1395531 h 7571036"/>
                  <a:gd name="connsiteX14752" fmla="*/ 5343745 w 6994525"/>
                  <a:gd name="connsiteY14752" fmla="*/ 1358789 h 7571036"/>
                  <a:gd name="connsiteX14753" fmla="*/ 5307005 w 6994525"/>
                  <a:gd name="connsiteY14753" fmla="*/ 1395531 h 7571036"/>
                  <a:gd name="connsiteX14754" fmla="*/ 5343745 w 6994525"/>
                  <a:gd name="connsiteY14754" fmla="*/ 1432268 h 7571036"/>
                  <a:gd name="connsiteX14755" fmla="*/ 5380486 w 6994525"/>
                  <a:gd name="connsiteY14755" fmla="*/ 1395531 h 7571036"/>
                  <a:gd name="connsiteX14756" fmla="*/ 5382951 w 6994525"/>
                  <a:gd name="connsiteY14756" fmla="*/ 970987 h 7571036"/>
                  <a:gd name="connsiteX14757" fmla="*/ 5336099 w 6994525"/>
                  <a:gd name="connsiteY14757" fmla="*/ 924388 h 7571036"/>
                  <a:gd name="connsiteX14758" fmla="*/ 5289498 w 6994525"/>
                  <a:gd name="connsiteY14758" fmla="*/ 970987 h 7571036"/>
                  <a:gd name="connsiteX14759" fmla="*/ 5336099 w 6994525"/>
                  <a:gd name="connsiteY14759" fmla="*/ 1017844 h 7571036"/>
                  <a:gd name="connsiteX14760" fmla="*/ 5382951 w 6994525"/>
                  <a:gd name="connsiteY14760" fmla="*/ 970987 h 7571036"/>
                  <a:gd name="connsiteX14761" fmla="*/ 5386404 w 6994525"/>
                  <a:gd name="connsiteY14761" fmla="*/ 4711744 h 7571036"/>
                  <a:gd name="connsiteX14762" fmla="*/ 5366923 w 6994525"/>
                  <a:gd name="connsiteY14762" fmla="*/ 4692263 h 7571036"/>
                  <a:gd name="connsiteX14763" fmla="*/ 5347443 w 6994525"/>
                  <a:gd name="connsiteY14763" fmla="*/ 4711744 h 7571036"/>
                  <a:gd name="connsiteX14764" fmla="*/ 5366923 w 6994525"/>
                  <a:gd name="connsiteY14764" fmla="*/ 4731223 h 7571036"/>
                  <a:gd name="connsiteX14765" fmla="*/ 5386404 w 6994525"/>
                  <a:gd name="connsiteY14765" fmla="*/ 4711744 h 7571036"/>
                  <a:gd name="connsiteX14766" fmla="*/ 5386404 w 6994525"/>
                  <a:gd name="connsiteY14766" fmla="*/ 6733910 h 7571036"/>
                  <a:gd name="connsiteX14767" fmla="*/ 5378019 w 6994525"/>
                  <a:gd name="connsiteY14767" fmla="*/ 6725528 h 7571036"/>
                  <a:gd name="connsiteX14768" fmla="*/ 5369636 w 6994525"/>
                  <a:gd name="connsiteY14768" fmla="*/ 6733910 h 7571036"/>
                  <a:gd name="connsiteX14769" fmla="*/ 5378019 w 6994525"/>
                  <a:gd name="connsiteY14769" fmla="*/ 6742295 h 7571036"/>
                  <a:gd name="connsiteX14770" fmla="*/ 5386404 w 6994525"/>
                  <a:gd name="connsiteY14770" fmla="*/ 6733910 h 7571036"/>
                  <a:gd name="connsiteX14771" fmla="*/ 5387142 w 6994525"/>
                  <a:gd name="connsiteY14771" fmla="*/ 3819140 h 7571036"/>
                  <a:gd name="connsiteX14772" fmla="*/ 5381473 w 6994525"/>
                  <a:gd name="connsiteY14772" fmla="*/ 3813467 h 7571036"/>
                  <a:gd name="connsiteX14773" fmla="*/ 5375801 w 6994525"/>
                  <a:gd name="connsiteY14773" fmla="*/ 3819140 h 7571036"/>
                  <a:gd name="connsiteX14774" fmla="*/ 5381473 w 6994525"/>
                  <a:gd name="connsiteY14774" fmla="*/ 3824812 h 7571036"/>
                  <a:gd name="connsiteX14775" fmla="*/ 5387142 w 6994525"/>
                  <a:gd name="connsiteY14775" fmla="*/ 3819140 h 7571036"/>
                  <a:gd name="connsiteX14776" fmla="*/ 5389608 w 6994525"/>
                  <a:gd name="connsiteY14776" fmla="*/ 842550 h 7571036"/>
                  <a:gd name="connsiteX14777" fmla="*/ 5343252 w 6994525"/>
                  <a:gd name="connsiteY14777" fmla="*/ 796190 h 7571036"/>
                  <a:gd name="connsiteX14778" fmla="*/ 5296896 w 6994525"/>
                  <a:gd name="connsiteY14778" fmla="*/ 842550 h 7571036"/>
                  <a:gd name="connsiteX14779" fmla="*/ 5343252 w 6994525"/>
                  <a:gd name="connsiteY14779" fmla="*/ 888897 h 7571036"/>
                  <a:gd name="connsiteX14780" fmla="*/ 5389608 w 6994525"/>
                  <a:gd name="connsiteY14780" fmla="*/ 842550 h 7571036"/>
                  <a:gd name="connsiteX14781" fmla="*/ 5392073 w 6994525"/>
                  <a:gd name="connsiteY14781" fmla="*/ 5516567 h 7571036"/>
                  <a:gd name="connsiteX14782" fmla="*/ 5391335 w 6994525"/>
                  <a:gd name="connsiteY14782" fmla="*/ 5515826 h 7571036"/>
                  <a:gd name="connsiteX14783" fmla="*/ 5390595 w 6994525"/>
                  <a:gd name="connsiteY14783" fmla="*/ 5516567 h 7571036"/>
                  <a:gd name="connsiteX14784" fmla="*/ 5391335 w 6994525"/>
                  <a:gd name="connsiteY14784" fmla="*/ 5517304 h 7571036"/>
                  <a:gd name="connsiteX14785" fmla="*/ 5392073 w 6994525"/>
                  <a:gd name="connsiteY14785" fmla="*/ 5516567 h 7571036"/>
                  <a:gd name="connsiteX14786" fmla="*/ 5396018 w 6994525"/>
                  <a:gd name="connsiteY14786" fmla="*/ 715333 h 7571036"/>
                  <a:gd name="connsiteX14787" fmla="*/ 5349911 w 6994525"/>
                  <a:gd name="connsiteY14787" fmla="*/ 669224 h 7571036"/>
                  <a:gd name="connsiteX14788" fmla="*/ 5303801 w 6994525"/>
                  <a:gd name="connsiteY14788" fmla="*/ 715333 h 7571036"/>
                  <a:gd name="connsiteX14789" fmla="*/ 5349911 w 6994525"/>
                  <a:gd name="connsiteY14789" fmla="*/ 761441 h 7571036"/>
                  <a:gd name="connsiteX14790" fmla="*/ 5396018 w 6994525"/>
                  <a:gd name="connsiteY14790" fmla="*/ 715333 h 7571036"/>
                  <a:gd name="connsiteX14791" fmla="*/ 5396018 w 6994525"/>
                  <a:gd name="connsiteY14791" fmla="*/ 1261406 h 7571036"/>
                  <a:gd name="connsiteX14792" fmla="*/ 5354594 w 6994525"/>
                  <a:gd name="connsiteY14792" fmla="*/ 1219993 h 7571036"/>
                  <a:gd name="connsiteX14793" fmla="*/ 5313169 w 6994525"/>
                  <a:gd name="connsiteY14793" fmla="*/ 1261406 h 7571036"/>
                  <a:gd name="connsiteX14794" fmla="*/ 5354594 w 6994525"/>
                  <a:gd name="connsiteY14794" fmla="*/ 1302837 h 7571036"/>
                  <a:gd name="connsiteX14795" fmla="*/ 5396018 w 6994525"/>
                  <a:gd name="connsiteY14795" fmla="*/ 1261406 h 7571036"/>
                  <a:gd name="connsiteX14796" fmla="*/ 5397250 w 6994525"/>
                  <a:gd name="connsiteY14796" fmla="*/ 4861416 h 7571036"/>
                  <a:gd name="connsiteX14797" fmla="*/ 5395033 w 6994525"/>
                  <a:gd name="connsiteY14797" fmla="*/ 4859197 h 7571036"/>
                  <a:gd name="connsiteX14798" fmla="*/ 5392814 w 6994525"/>
                  <a:gd name="connsiteY14798" fmla="*/ 4861416 h 7571036"/>
                  <a:gd name="connsiteX14799" fmla="*/ 5395033 w 6994525"/>
                  <a:gd name="connsiteY14799" fmla="*/ 4863634 h 7571036"/>
                  <a:gd name="connsiteX14800" fmla="*/ 5397250 w 6994525"/>
                  <a:gd name="connsiteY14800" fmla="*/ 4861416 h 7571036"/>
                  <a:gd name="connsiteX14801" fmla="*/ 5398732 w 6994525"/>
                  <a:gd name="connsiteY14801" fmla="*/ 6974076 h 7571036"/>
                  <a:gd name="connsiteX14802" fmla="*/ 5393801 w 6994525"/>
                  <a:gd name="connsiteY14802" fmla="*/ 6969144 h 7571036"/>
                  <a:gd name="connsiteX14803" fmla="*/ 5388868 w 6994525"/>
                  <a:gd name="connsiteY14803" fmla="*/ 6974076 h 7571036"/>
                  <a:gd name="connsiteX14804" fmla="*/ 5393801 w 6994525"/>
                  <a:gd name="connsiteY14804" fmla="*/ 6979008 h 7571036"/>
                  <a:gd name="connsiteX14805" fmla="*/ 5398732 w 6994525"/>
                  <a:gd name="connsiteY14805" fmla="*/ 6974076 h 7571036"/>
                  <a:gd name="connsiteX14806" fmla="*/ 5399227 w 6994525"/>
                  <a:gd name="connsiteY14806" fmla="*/ 2284331 h 7571036"/>
                  <a:gd name="connsiteX14807" fmla="*/ 5393308 w 6994525"/>
                  <a:gd name="connsiteY14807" fmla="*/ 2278409 h 7571036"/>
                  <a:gd name="connsiteX14808" fmla="*/ 5387391 w 6994525"/>
                  <a:gd name="connsiteY14808" fmla="*/ 2284331 h 7571036"/>
                  <a:gd name="connsiteX14809" fmla="*/ 5393308 w 6994525"/>
                  <a:gd name="connsiteY14809" fmla="*/ 2290246 h 7571036"/>
                  <a:gd name="connsiteX14810" fmla="*/ 5399227 w 6994525"/>
                  <a:gd name="connsiteY14810" fmla="*/ 2284331 h 7571036"/>
                  <a:gd name="connsiteX14811" fmla="*/ 5400458 w 6994525"/>
                  <a:gd name="connsiteY14811" fmla="*/ 588812 h 7571036"/>
                  <a:gd name="connsiteX14812" fmla="*/ 5355089 w 6994525"/>
                  <a:gd name="connsiteY14812" fmla="*/ 543444 h 7571036"/>
                  <a:gd name="connsiteX14813" fmla="*/ 5309718 w 6994525"/>
                  <a:gd name="connsiteY14813" fmla="*/ 588812 h 7571036"/>
                  <a:gd name="connsiteX14814" fmla="*/ 5355089 w 6994525"/>
                  <a:gd name="connsiteY14814" fmla="*/ 634181 h 7571036"/>
                  <a:gd name="connsiteX14815" fmla="*/ 5400458 w 6994525"/>
                  <a:gd name="connsiteY14815" fmla="*/ 588812 h 7571036"/>
                  <a:gd name="connsiteX14816" fmla="*/ 5400458 w 6994525"/>
                  <a:gd name="connsiteY14816" fmla="*/ 6852020 h 7571036"/>
                  <a:gd name="connsiteX14817" fmla="*/ 5390349 w 6994525"/>
                  <a:gd name="connsiteY14817" fmla="*/ 6841912 h 7571036"/>
                  <a:gd name="connsiteX14818" fmla="*/ 5380486 w 6994525"/>
                  <a:gd name="connsiteY14818" fmla="*/ 6852020 h 7571036"/>
                  <a:gd name="connsiteX14819" fmla="*/ 5390349 w 6994525"/>
                  <a:gd name="connsiteY14819" fmla="*/ 6861884 h 7571036"/>
                  <a:gd name="connsiteX14820" fmla="*/ 5400458 w 6994525"/>
                  <a:gd name="connsiteY14820" fmla="*/ 6852020 h 7571036"/>
                  <a:gd name="connsiteX14821" fmla="*/ 5401687 w 6994525"/>
                  <a:gd name="connsiteY14821" fmla="*/ 3013431 h 7571036"/>
                  <a:gd name="connsiteX14822" fmla="*/ 5355086 w 6994525"/>
                  <a:gd name="connsiteY14822" fmla="*/ 2966828 h 7571036"/>
                  <a:gd name="connsiteX14823" fmla="*/ 5308483 w 6994525"/>
                  <a:gd name="connsiteY14823" fmla="*/ 3013431 h 7571036"/>
                  <a:gd name="connsiteX14824" fmla="*/ 5355086 w 6994525"/>
                  <a:gd name="connsiteY14824" fmla="*/ 3060035 h 7571036"/>
                  <a:gd name="connsiteX14825" fmla="*/ 5401687 w 6994525"/>
                  <a:gd name="connsiteY14825" fmla="*/ 3013431 h 7571036"/>
                  <a:gd name="connsiteX14826" fmla="*/ 5404158 w 6994525"/>
                  <a:gd name="connsiteY14826" fmla="*/ 5651197 h 7571036"/>
                  <a:gd name="connsiteX14827" fmla="*/ 5403909 w 6994525"/>
                  <a:gd name="connsiteY14827" fmla="*/ 5650950 h 7571036"/>
                  <a:gd name="connsiteX14828" fmla="*/ 5403663 w 6994525"/>
                  <a:gd name="connsiteY14828" fmla="*/ 5651197 h 7571036"/>
                  <a:gd name="connsiteX14829" fmla="*/ 5403909 w 6994525"/>
                  <a:gd name="connsiteY14829" fmla="*/ 5651445 h 7571036"/>
                  <a:gd name="connsiteX14830" fmla="*/ 5404158 w 6994525"/>
                  <a:gd name="connsiteY14830" fmla="*/ 5651197 h 7571036"/>
                  <a:gd name="connsiteX14831" fmla="*/ 5404401 w 6994525"/>
                  <a:gd name="connsiteY14831" fmla="*/ 7095392 h 7571036"/>
                  <a:gd name="connsiteX14832" fmla="*/ 5397250 w 6994525"/>
                  <a:gd name="connsiteY14832" fmla="*/ 7088242 h 7571036"/>
                  <a:gd name="connsiteX14833" fmla="*/ 5390101 w 6994525"/>
                  <a:gd name="connsiteY14833" fmla="*/ 7095392 h 7571036"/>
                  <a:gd name="connsiteX14834" fmla="*/ 5397250 w 6994525"/>
                  <a:gd name="connsiteY14834" fmla="*/ 7102542 h 7571036"/>
                  <a:gd name="connsiteX14835" fmla="*/ 5404401 w 6994525"/>
                  <a:gd name="connsiteY14835" fmla="*/ 7095392 h 7571036"/>
                  <a:gd name="connsiteX14836" fmla="*/ 5405390 w 6994525"/>
                  <a:gd name="connsiteY14836" fmla="*/ 463576 h 7571036"/>
                  <a:gd name="connsiteX14837" fmla="*/ 5360512 w 6994525"/>
                  <a:gd name="connsiteY14837" fmla="*/ 418702 h 7571036"/>
                  <a:gd name="connsiteX14838" fmla="*/ 5315636 w 6994525"/>
                  <a:gd name="connsiteY14838" fmla="*/ 463576 h 7571036"/>
                  <a:gd name="connsiteX14839" fmla="*/ 5360512 w 6994525"/>
                  <a:gd name="connsiteY14839" fmla="*/ 508452 h 7571036"/>
                  <a:gd name="connsiteX14840" fmla="*/ 5405390 w 6994525"/>
                  <a:gd name="connsiteY14840" fmla="*/ 463576 h 7571036"/>
                  <a:gd name="connsiteX14841" fmla="*/ 5408100 w 6994525"/>
                  <a:gd name="connsiteY14841" fmla="*/ 3704237 h 7571036"/>
                  <a:gd name="connsiteX14842" fmla="*/ 5398486 w 6994525"/>
                  <a:gd name="connsiteY14842" fmla="*/ 3694619 h 7571036"/>
                  <a:gd name="connsiteX14843" fmla="*/ 5388868 w 6994525"/>
                  <a:gd name="connsiteY14843" fmla="*/ 3704237 h 7571036"/>
                  <a:gd name="connsiteX14844" fmla="*/ 5398486 w 6994525"/>
                  <a:gd name="connsiteY14844" fmla="*/ 3713851 h 7571036"/>
                  <a:gd name="connsiteX14845" fmla="*/ 5408100 w 6994525"/>
                  <a:gd name="connsiteY14845" fmla="*/ 3704237 h 7571036"/>
                  <a:gd name="connsiteX14846" fmla="*/ 5409089 w 6994525"/>
                  <a:gd name="connsiteY14846" fmla="*/ 339329 h 7571036"/>
                  <a:gd name="connsiteX14847" fmla="*/ 5364705 w 6994525"/>
                  <a:gd name="connsiteY14847" fmla="*/ 294947 h 7571036"/>
                  <a:gd name="connsiteX14848" fmla="*/ 5320321 w 6994525"/>
                  <a:gd name="connsiteY14848" fmla="*/ 339329 h 7571036"/>
                  <a:gd name="connsiteX14849" fmla="*/ 5364705 w 6994525"/>
                  <a:gd name="connsiteY14849" fmla="*/ 383710 h 7571036"/>
                  <a:gd name="connsiteX14850" fmla="*/ 5409089 w 6994525"/>
                  <a:gd name="connsiteY14850" fmla="*/ 339329 h 7571036"/>
                  <a:gd name="connsiteX14851" fmla="*/ 5410319 w 6994525"/>
                  <a:gd name="connsiteY14851" fmla="*/ 1129519 h 7571036"/>
                  <a:gd name="connsiteX14852" fmla="*/ 5364703 w 6994525"/>
                  <a:gd name="connsiteY14852" fmla="*/ 1083902 h 7571036"/>
                  <a:gd name="connsiteX14853" fmla="*/ 5319087 w 6994525"/>
                  <a:gd name="connsiteY14853" fmla="*/ 1129519 h 7571036"/>
                  <a:gd name="connsiteX14854" fmla="*/ 5364703 w 6994525"/>
                  <a:gd name="connsiteY14854" fmla="*/ 1175132 h 7571036"/>
                  <a:gd name="connsiteX14855" fmla="*/ 5410319 w 6994525"/>
                  <a:gd name="connsiteY14855" fmla="*/ 1129519 h 7571036"/>
                  <a:gd name="connsiteX14856" fmla="*/ 5412786 w 6994525"/>
                  <a:gd name="connsiteY14856" fmla="*/ 216070 h 7571036"/>
                  <a:gd name="connsiteX14857" fmla="*/ 5368894 w 6994525"/>
                  <a:gd name="connsiteY14857" fmla="*/ 172182 h 7571036"/>
                  <a:gd name="connsiteX14858" fmla="*/ 5325005 w 6994525"/>
                  <a:gd name="connsiteY14858" fmla="*/ 216070 h 7571036"/>
                  <a:gd name="connsiteX14859" fmla="*/ 5368894 w 6994525"/>
                  <a:gd name="connsiteY14859" fmla="*/ 259959 h 7571036"/>
                  <a:gd name="connsiteX14860" fmla="*/ 5412786 w 6994525"/>
                  <a:gd name="connsiteY14860" fmla="*/ 216070 h 7571036"/>
                  <a:gd name="connsiteX14861" fmla="*/ 5416485 w 6994525"/>
                  <a:gd name="connsiteY14861" fmla="*/ 5784346 h 7571036"/>
                  <a:gd name="connsiteX14862" fmla="*/ 5415004 w 6994525"/>
                  <a:gd name="connsiteY14862" fmla="*/ 5783114 h 7571036"/>
                  <a:gd name="connsiteX14863" fmla="*/ 5413772 w 6994525"/>
                  <a:gd name="connsiteY14863" fmla="*/ 5784346 h 7571036"/>
                  <a:gd name="connsiteX14864" fmla="*/ 5415004 w 6994525"/>
                  <a:gd name="connsiteY14864" fmla="*/ 5785827 h 7571036"/>
                  <a:gd name="connsiteX14865" fmla="*/ 5416485 w 6994525"/>
                  <a:gd name="connsiteY14865" fmla="*/ 5784346 h 7571036"/>
                  <a:gd name="connsiteX14866" fmla="*/ 5416730 w 6994525"/>
                  <a:gd name="connsiteY14866" fmla="*/ 4474045 h 7571036"/>
                  <a:gd name="connsiteX14867" fmla="*/ 5381964 w 6994525"/>
                  <a:gd name="connsiteY14867" fmla="*/ 4439278 h 7571036"/>
                  <a:gd name="connsiteX14868" fmla="*/ 5347198 w 6994525"/>
                  <a:gd name="connsiteY14868" fmla="*/ 4474045 h 7571036"/>
                  <a:gd name="connsiteX14869" fmla="*/ 5381964 w 6994525"/>
                  <a:gd name="connsiteY14869" fmla="*/ 4508811 h 7571036"/>
                  <a:gd name="connsiteX14870" fmla="*/ 5416730 w 6994525"/>
                  <a:gd name="connsiteY14870" fmla="*/ 4474045 h 7571036"/>
                  <a:gd name="connsiteX14871" fmla="*/ 5416977 w 6994525"/>
                  <a:gd name="connsiteY14871" fmla="*/ 2737271 h 7571036"/>
                  <a:gd name="connsiteX14872" fmla="*/ 5380484 w 6994525"/>
                  <a:gd name="connsiteY14872" fmla="*/ 2700777 h 7571036"/>
                  <a:gd name="connsiteX14873" fmla="*/ 5343990 w 6994525"/>
                  <a:gd name="connsiteY14873" fmla="*/ 2737271 h 7571036"/>
                  <a:gd name="connsiteX14874" fmla="*/ 5380484 w 6994525"/>
                  <a:gd name="connsiteY14874" fmla="*/ 2773765 h 7571036"/>
                  <a:gd name="connsiteX14875" fmla="*/ 5416977 w 6994525"/>
                  <a:gd name="connsiteY14875" fmla="*/ 2737271 h 7571036"/>
                  <a:gd name="connsiteX14876" fmla="*/ 5418703 w 6994525"/>
                  <a:gd name="connsiteY14876" fmla="*/ 1894314 h 7571036"/>
                  <a:gd name="connsiteX14877" fmla="*/ 5376541 w 6994525"/>
                  <a:gd name="connsiteY14877" fmla="*/ 1852173 h 7571036"/>
                  <a:gd name="connsiteX14878" fmla="*/ 5334376 w 6994525"/>
                  <a:gd name="connsiteY14878" fmla="*/ 1894314 h 7571036"/>
                  <a:gd name="connsiteX14879" fmla="*/ 5376541 w 6994525"/>
                  <a:gd name="connsiteY14879" fmla="*/ 1936455 h 7571036"/>
                  <a:gd name="connsiteX14880" fmla="*/ 5418703 w 6994525"/>
                  <a:gd name="connsiteY14880" fmla="*/ 1894314 h 7571036"/>
                  <a:gd name="connsiteX14881" fmla="*/ 5420431 w 6994525"/>
                  <a:gd name="connsiteY14881" fmla="*/ 3126613 h 7571036"/>
                  <a:gd name="connsiteX14882" fmla="*/ 5379744 w 6994525"/>
                  <a:gd name="connsiteY14882" fmla="*/ 3085928 h 7571036"/>
                  <a:gd name="connsiteX14883" fmla="*/ 5339059 w 6994525"/>
                  <a:gd name="connsiteY14883" fmla="*/ 3126613 h 7571036"/>
                  <a:gd name="connsiteX14884" fmla="*/ 5379744 w 6994525"/>
                  <a:gd name="connsiteY14884" fmla="*/ 3167547 h 7571036"/>
                  <a:gd name="connsiteX14885" fmla="*/ 5420431 w 6994525"/>
                  <a:gd name="connsiteY14885" fmla="*/ 3126613 h 7571036"/>
                  <a:gd name="connsiteX14886" fmla="*/ 5421911 w 6994525"/>
                  <a:gd name="connsiteY14886" fmla="*/ 1752060 h 7571036"/>
                  <a:gd name="connsiteX14887" fmla="*/ 5396018 w 6994525"/>
                  <a:gd name="connsiteY14887" fmla="*/ 1726141 h 7571036"/>
                  <a:gd name="connsiteX14888" fmla="*/ 5370128 w 6994525"/>
                  <a:gd name="connsiteY14888" fmla="*/ 1752060 h 7571036"/>
                  <a:gd name="connsiteX14889" fmla="*/ 5396018 w 6994525"/>
                  <a:gd name="connsiteY14889" fmla="*/ 1777975 h 7571036"/>
                  <a:gd name="connsiteX14890" fmla="*/ 5421911 w 6994525"/>
                  <a:gd name="connsiteY14890" fmla="*/ 1752060 h 7571036"/>
                  <a:gd name="connsiteX14891" fmla="*/ 5423143 w 6994525"/>
                  <a:gd name="connsiteY14891" fmla="*/ 3588839 h 7571036"/>
                  <a:gd name="connsiteX14892" fmla="*/ 5408595 w 6994525"/>
                  <a:gd name="connsiteY14892" fmla="*/ 3574290 h 7571036"/>
                  <a:gd name="connsiteX14893" fmla="*/ 5394046 w 6994525"/>
                  <a:gd name="connsiteY14893" fmla="*/ 3588839 h 7571036"/>
                  <a:gd name="connsiteX14894" fmla="*/ 5408595 w 6994525"/>
                  <a:gd name="connsiteY14894" fmla="*/ 3603384 h 7571036"/>
                  <a:gd name="connsiteX14895" fmla="*/ 5423143 w 6994525"/>
                  <a:gd name="connsiteY14895" fmla="*/ 3588839 h 7571036"/>
                  <a:gd name="connsiteX14896" fmla="*/ 5425609 w 6994525"/>
                  <a:gd name="connsiteY14896" fmla="*/ 2472212 h 7571036"/>
                  <a:gd name="connsiteX14897" fmla="*/ 5377280 w 6994525"/>
                  <a:gd name="connsiteY14897" fmla="*/ 2423875 h 7571036"/>
                  <a:gd name="connsiteX14898" fmla="*/ 5328950 w 6994525"/>
                  <a:gd name="connsiteY14898" fmla="*/ 2472212 h 7571036"/>
                  <a:gd name="connsiteX14899" fmla="*/ 5377280 w 6994525"/>
                  <a:gd name="connsiteY14899" fmla="*/ 2520538 h 7571036"/>
                  <a:gd name="connsiteX14900" fmla="*/ 5425609 w 6994525"/>
                  <a:gd name="connsiteY14900" fmla="*/ 2472212 h 7571036"/>
                  <a:gd name="connsiteX14901" fmla="*/ 5431526 w 6994525"/>
                  <a:gd name="connsiteY14901" fmla="*/ 3241523 h 7571036"/>
                  <a:gd name="connsiteX14902" fmla="*/ 5397253 w 6994525"/>
                  <a:gd name="connsiteY14902" fmla="*/ 3207246 h 7571036"/>
                  <a:gd name="connsiteX14903" fmla="*/ 5362979 w 6994525"/>
                  <a:gd name="connsiteY14903" fmla="*/ 3241523 h 7571036"/>
                  <a:gd name="connsiteX14904" fmla="*/ 5397253 w 6994525"/>
                  <a:gd name="connsiteY14904" fmla="*/ 3275791 h 7571036"/>
                  <a:gd name="connsiteX14905" fmla="*/ 5431526 w 6994525"/>
                  <a:gd name="connsiteY14905" fmla="*/ 3241523 h 7571036"/>
                  <a:gd name="connsiteX14906" fmla="*/ 5432267 w 6994525"/>
                  <a:gd name="connsiteY14906" fmla="*/ 4209467 h 7571036"/>
                  <a:gd name="connsiteX14907" fmla="*/ 5383689 w 6994525"/>
                  <a:gd name="connsiteY14907" fmla="*/ 4160892 h 7571036"/>
                  <a:gd name="connsiteX14908" fmla="*/ 5335114 w 6994525"/>
                  <a:gd name="connsiteY14908" fmla="*/ 4209467 h 7571036"/>
                  <a:gd name="connsiteX14909" fmla="*/ 5383689 w 6994525"/>
                  <a:gd name="connsiteY14909" fmla="*/ 4258045 h 7571036"/>
                  <a:gd name="connsiteX14910" fmla="*/ 5432267 w 6994525"/>
                  <a:gd name="connsiteY14910" fmla="*/ 4209467 h 7571036"/>
                  <a:gd name="connsiteX14911" fmla="*/ 5432757 w 6994525"/>
                  <a:gd name="connsiteY14911" fmla="*/ 3472701 h 7571036"/>
                  <a:gd name="connsiteX14912" fmla="*/ 5411799 w 6994525"/>
                  <a:gd name="connsiteY14912" fmla="*/ 3451844 h 7571036"/>
                  <a:gd name="connsiteX14913" fmla="*/ 5390841 w 6994525"/>
                  <a:gd name="connsiteY14913" fmla="*/ 3472701 h 7571036"/>
                  <a:gd name="connsiteX14914" fmla="*/ 5411799 w 6994525"/>
                  <a:gd name="connsiteY14914" fmla="*/ 3493659 h 7571036"/>
                  <a:gd name="connsiteX14915" fmla="*/ 5432757 w 6994525"/>
                  <a:gd name="connsiteY14915" fmla="*/ 3472701 h 7571036"/>
                  <a:gd name="connsiteX14916" fmla="*/ 5435717 w 6994525"/>
                  <a:gd name="connsiteY14916" fmla="*/ 5009113 h 7571036"/>
                  <a:gd name="connsiteX14917" fmla="*/ 5418703 w 6994525"/>
                  <a:gd name="connsiteY14917" fmla="*/ 4992346 h 7571036"/>
                  <a:gd name="connsiteX14918" fmla="*/ 5401936 w 6994525"/>
                  <a:gd name="connsiteY14918" fmla="*/ 5009113 h 7571036"/>
                  <a:gd name="connsiteX14919" fmla="*/ 5418703 w 6994525"/>
                  <a:gd name="connsiteY14919" fmla="*/ 5026126 h 7571036"/>
                  <a:gd name="connsiteX14920" fmla="*/ 5435717 w 6994525"/>
                  <a:gd name="connsiteY14920" fmla="*/ 5009113 h 7571036"/>
                  <a:gd name="connsiteX14921" fmla="*/ 5435720 w 6994525"/>
                  <a:gd name="connsiteY14921" fmla="*/ 3356917 h 7571036"/>
                  <a:gd name="connsiteX14922" fmla="*/ 5408102 w 6994525"/>
                  <a:gd name="connsiteY14922" fmla="*/ 3329299 h 7571036"/>
                  <a:gd name="connsiteX14923" fmla="*/ 5380486 w 6994525"/>
                  <a:gd name="connsiteY14923" fmla="*/ 3356917 h 7571036"/>
                  <a:gd name="connsiteX14924" fmla="*/ 5408102 w 6994525"/>
                  <a:gd name="connsiteY14924" fmla="*/ 3384523 h 7571036"/>
                  <a:gd name="connsiteX14925" fmla="*/ 5435720 w 6994525"/>
                  <a:gd name="connsiteY14925" fmla="*/ 3356917 h 7571036"/>
                  <a:gd name="connsiteX14926" fmla="*/ 5436949 w 6994525"/>
                  <a:gd name="connsiteY14926" fmla="*/ 5908375 h 7571036"/>
                  <a:gd name="connsiteX14927" fmla="*/ 5435224 w 6994525"/>
                  <a:gd name="connsiteY14927" fmla="*/ 5906402 h 7571036"/>
                  <a:gd name="connsiteX14928" fmla="*/ 5433498 w 6994525"/>
                  <a:gd name="connsiteY14928" fmla="*/ 5908375 h 7571036"/>
                  <a:gd name="connsiteX14929" fmla="*/ 5435224 w 6994525"/>
                  <a:gd name="connsiteY14929" fmla="*/ 5910102 h 7571036"/>
                  <a:gd name="connsiteX14930" fmla="*/ 5436949 w 6994525"/>
                  <a:gd name="connsiteY14930" fmla="*/ 5908375 h 7571036"/>
                  <a:gd name="connsiteX14931" fmla="*/ 5439417 w 6994525"/>
                  <a:gd name="connsiteY14931" fmla="*/ 2133187 h 7571036"/>
                  <a:gd name="connsiteX14932" fmla="*/ 5423143 w 6994525"/>
                  <a:gd name="connsiteY14932" fmla="*/ 2116915 h 7571036"/>
                  <a:gd name="connsiteX14933" fmla="*/ 5406868 w 6994525"/>
                  <a:gd name="connsiteY14933" fmla="*/ 2133187 h 7571036"/>
                  <a:gd name="connsiteX14934" fmla="*/ 5423143 w 6994525"/>
                  <a:gd name="connsiteY14934" fmla="*/ 2149465 h 7571036"/>
                  <a:gd name="connsiteX14935" fmla="*/ 5439417 w 6994525"/>
                  <a:gd name="connsiteY14935" fmla="*/ 2133187 h 7571036"/>
                  <a:gd name="connsiteX14936" fmla="*/ 5445580 w 6994525"/>
                  <a:gd name="connsiteY14936" fmla="*/ 6039062 h 7571036"/>
                  <a:gd name="connsiteX14937" fmla="*/ 5443855 w 6994525"/>
                  <a:gd name="connsiteY14937" fmla="*/ 6037335 h 7571036"/>
                  <a:gd name="connsiteX14938" fmla="*/ 5442129 w 6994525"/>
                  <a:gd name="connsiteY14938" fmla="*/ 6039062 h 7571036"/>
                  <a:gd name="connsiteX14939" fmla="*/ 5443855 w 6994525"/>
                  <a:gd name="connsiteY14939" fmla="*/ 6040789 h 7571036"/>
                  <a:gd name="connsiteX14940" fmla="*/ 5445580 w 6994525"/>
                  <a:gd name="connsiteY14940" fmla="*/ 6039062 h 7571036"/>
                  <a:gd name="connsiteX14941" fmla="*/ 5451500 w 6994525"/>
                  <a:gd name="connsiteY14941" fmla="*/ 5153608 h 7571036"/>
                  <a:gd name="connsiteX14942" fmla="*/ 5439910 w 6994525"/>
                  <a:gd name="connsiteY14942" fmla="*/ 5142018 h 7571036"/>
                  <a:gd name="connsiteX14943" fmla="*/ 5428320 w 6994525"/>
                  <a:gd name="connsiteY14943" fmla="*/ 5153608 h 7571036"/>
                  <a:gd name="connsiteX14944" fmla="*/ 5439910 w 6994525"/>
                  <a:gd name="connsiteY14944" fmla="*/ 5165197 h 7571036"/>
                  <a:gd name="connsiteX14945" fmla="*/ 5451500 w 6994525"/>
                  <a:gd name="connsiteY14945" fmla="*/ 5153608 h 7571036"/>
                  <a:gd name="connsiteX14946" fmla="*/ 5454210 w 6994525"/>
                  <a:gd name="connsiteY14946" fmla="*/ 4612867 h 7571036"/>
                  <a:gd name="connsiteX14947" fmla="*/ 5428567 w 6994525"/>
                  <a:gd name="connsiteY14947" fmla="*/ 4587223 h 7571036"/>
                  <a:gd name="connsiteX14948" fmla="*/ 5402923 w 6994525"/>
                  <a:gd name="connsiteY14948" fmla="*/ 4612867 h 7571036"/>
                  <a:gd name="connsiteX14949" fmla="*/ 5428567 w 6994525"/>
                  <a:gd name="connsiteY14949" fmla="*/ 4638511 h 7571036"/>
                  <a:gd name="connsiteX14950" fmla="*/ 5454210 w 6994525"/>
                  <a:gd name="connsiteY14950" fmla="*/ 4612867 h 7571036"/>
                  <a:gd name="connsiteX14951" fmla="*/ 5454210 w 6994525"/>
                  <a:gd name="connsiteY14951" fmla="*/ 6168760 h 7571036"/>
                  <a:gd name="connsiteX14952" fmla="*/ 5451251 w 6994525"/>
                  <a:gd name="connsiteY14952" fmla="*/ 6165800 h 7571036"/>
                  <a:gd name="connsiteX14953" fmla="*/ 5448292 w 6994525"/>
                  <a:gd name="connsiteY14953" fmla="*/ 6168760 h 7571036"/>
                  <a:gd name="connsiteX14954" fmla="*/ 5451251 w 6994525"/>
                  <a:gd name="connsiteY14954" fmla="*/ 6171718 h 7571036"/>
                  <a:gd name="connsiteX14955" fmla="*/ 5454210 w 6994525"/>
                  <a:gd name="connsiteY14955" fmla="*/ 6168760 h 7571036"/>
                  <a:gd name="connsiteX14956" fmla="*/ 5455937 w 6994525"/>
                  <a:gd name="connsiteY14956" fmla="*/ 2384442 h 7571036"/>
                  <a:gd name="connsiteX14957" fmla="*/ 5452730 w 6994525"/>
                  <a:gd name="connsiteY14957" fmla="*/ 2381231 h 7571036"/>
                  <a:gd name="connsiteX14958" fmla="*/ 5449524 w 6994525"/>
                  <a:gd name="connsiteY14958" fmla="*/ 2384442 h 7571036"/>
                  <a:gd name="connsiteX14959" fmla="*/ 5452730 w 6994525"/>
                  <a:gd name="connsiteY14959" fmla="*/ 2387649 h 7571036"/>
                  <a:gd name="connsiteX14960" fmla="*/ 5455937 w 6994525"/>
                  <a:gd name="connsiteY14960" fmla="*/ 2384442 h 7571036"/>
                  <a:gd name="connsiteX14961" fmla="*/ 5457170 w 6994525"/>
                  <a:gd name="connsiteY14961" fmla="*/ 1474438 h 7571036"/>
                  <a:gd name="connsiteX14962" fmla="*/ 5428815 w 6994525"/>
                  <a:gd name="connsiteY14962" fmla="*/ 1446084 h 7571036"/>
                  <a:gd name="connsiteX14963" fmla="*/ 5400458 w 6994525"/>
                  <a:gd name="connsiteY14963" fmla="*/ 1474438 h 7571036"/>
                  <a:gd name="connsiteX14964" fmla="*/ 5428815 w 6994525"/>
                  <a:gd name="connsiteY14964" fmla="*/ 1502794 h 7571036"/>
                  <a:gd name="connsiteX14965" fmla="*/ 5457170 w 6994525"/>
                  <a:gd name="connsiteY14965" fmla="*/ 1474438 h 7571036"/>
                  <a:gd name="connsiteX14966" fmla="*/ 5460129 w 6994525"/>
                  <a:gd name="connsiteY14966" fmla="*/ 1612502 h 7571036"/>
                  <a:gd name="connsiteX14967" fmla="*/ 5413773 w 6994525"/>
                  <a:gd name="connsiteY14967" fmla="*/ 1565893 h 7571036"/>
                  <a:gd name="connsiteX14968" fmla="*/ 5367170 w 6994525"/>
                  <a:gd name="connsiteY14968" fmla="*/ 1612502 h 7571036"/>
                  <a:gd name="connsiteX14969" fmla="*/ 5413773 w 6994525"/>
                  <a:gd name="connsiteY14969" fmla="*/ 1659098 h 7571036"/>
                  <a:gd name="connsiteX14970" fmla="*/ 5460129 w 6994525"/>
                  <a:gd name="connsiteY14970" fmla="*/ 1612502 h 7571036"/>
                  <a:gd name="connsiteX14971" fmla="*/ 5460624 w 6994525"/>
                  <a:gd name="connsiteY14971" fmla="*/ 6296487 h 7571036"/>
                  <a:gd name="connsiteX14972" fmla="*/ 5458896 w 6994525"/>
                  <a:gd name="connsiteY14972" fmla="*/ 6294759 h 7571036"/>
                  <a:gd name="connsiteX14973" fmla="*/ 5457170 w 6994525"/>
                  <a:gd name="connsiteY14973" fmla="*/ 6296487 h 7571036"/>
                  <a:gd name="connsiteX14974" fmla="*/ 5458896 w 6994525"/>
                  <a:gd name="connsiteY14974" fmla="*/ 6298213 h 7571036"/>
                  <a:gd name="connsiteX14975" fmla="*/ 5460624 w 6994525"/>
                  <a:gd name="connsiteY14975" fmla="*/ 6296487 h 7571036"/>
                  <a:gd name="connsiteX14976" fmla="*/ 5460869 w 6994525"/>
                  <a:gd name="connsiteY14976" fmla="*/ 5296374 h 7571036"/>
                  <a:gd name="connsiteX14977" fmla="*/ 5457664 w 6994525"/>
                  <a:gd name="connsiteY14977" fmla="*/ 5293168 h 7571036"/>
                  <a:gd name="connsiteX14978" fmla="*/ 5454459 w 6994525"/>
                  <a:gd name="connsiteY14978" fmla="*/ 5296374 h 7571036"/>
                  <a:gd name="connsiteX14979" fmla="*/ 5457664 w 6994525"/>
                  <a:gd name="connsiteY14979" fmla="*/ 5299581 h 7571036"/>
                  <a:gd name="connsiteX14980" fmla="*/ 5460869 w 6994525"/>
                  <a:gd name="connsiteY14980" fmla="*/ 5296374 h 7571036"/>
                  <a:gd name="connsiteX14981" fmla="*/ 5461852 w 6994525"/>
                  <a:gd name="connsiteY14981" fmla="*/ 2846262 h 7571036"/>
                  <a:gd name="connsiteX14982" fmla="*/ 5419689 w 6994525"/>
                  <a:gd name="connsiteY14982" fmla="*/ 2804096 h 7571036"/>
                  <a:gd name="connsiteX14983" fmla="*/ 5377524 w 6994525"/>
                  <a:gd name="connsiteY14983" fmla="*/ 2846262 h 7571036"/>
                  <a:gd name="connsiteX14984" fmla="*/ 5419689 w 6994525"/>
                  <a:gd name="connsiteY14984" fmla="*/ 2888427 h 7571036"/>
                  <a:gd name="connsiteX14985" fmla="*/ 5461852 w 6994525"/>
                  <a:gd name="connsiteY14985" fmla="*/ 2846262 h 7571036"/>
                  <a:gd name="connsiteX14986" fmla="*/ 5469745 w 6994525"/>
                  <a:gd name="connsiteY14986" fmla="*/ 4765744 h 7571036"/>
                  <a:gd name="connsiteX14987" fmla="*/ 5461117 w 6994525"/>
                  <a:gd name="connsiteY14987" fmla="*/ 4757113 h 7571036"/>
                  <a:gd name="connsiteX14988" fmla="*/ 5452486 w 6994525"/>
                  <a:gd name="connsiteY14988" fmla="*/ 4765744 h 7571036"/>
                  <a:gd name="connsiteX14989" fmla="*/ 5461117 w 6994525"/>
                  <a:gd name="connsiteY14989" fmla="*/ 4774372 h 7571036"/>
                  <a:gd name="connsiteX14990" fmla="*/ 5469745 w 6994525"/>
                  <a:gd name="connsiteY14990" fmla="*/ 4765744 h 7571036"/>
                  <a:gd name="connsiteX14991" fmla="*/ 5470240 w 6994525"/>
                  <a:gd name="connsiteY14991" fmla="*/ 6423474 h 7571036"/>
                  <a:gd name="connsiteX14992" fmla="*/ 5465554 w 6994525"/>
                  <a:gd name="connsiteY14992" fmla="*/ 6418787 h 7571036"/>
                  <a:gd name="connsiteX14993" fmla="*/ 5460869 w 6994525"/>
                  <a:gd name="connsiteY14993" fmla="*/ 6423474 h 7571036"/>
                  <a:gd name="connsiteX14994" fmla="*/ 5465554 w 6994525"/>
                  <a:gd name="connsiteY14994" fmla="*/ 6428159 h 7571036"/>
                  <a:gd name="connsiteX14995" fmla="*/ 5470240 w 6994525"/>
                  <a:gd name="connsiteY14995" fmla="*/ 6423474 h 7571036"/>
                  <a:gd name="connsiteX14996" fmla="*/ 5472210 w 6994525"/>
                  <a:gd name="connsiteY14996" fmla="*/ 4100485 h 7571036"/>
                  <a:gd name="connsiteX14997" fmla="*/ 5422402 w 6994525"/>
                  <a:gd name="connsiteY14997" fmla="*/ 4050675 h 7571036"/>
                  <a:gd name="connsiteX14998" fmla="*/ 5372593 w 6994525"/>
                  <a:gd name="connsiteY14998" fmla="*/ 4100485 h 7571036"/>
                  <a:gd name="connsiteX14999" fmla="*/ 5422402 w 6994525"/>
                  <a:gd name="connsiteY14999" fmla="*/ 4150291 h 7571036"/>
                  <a:gd name="connsiteX15000" fmla="*/ 5472210 w 6994525"/>
                  <a:gd name="connsiteY15000" fmla="*/ 4100485 h 7571036"/>
                  <a:gd name="connsiteX15001" fmla="*/ 5474926 w 6994525"/>
                  <a:gd name="connsiteY15001" fmla="*/ 127084 h 7571036"/>
                  <a:gd name="connsiteX15002" fmla="*/ 5431280 w 6994525"/>
                  <a:gd name="connsiteY15002" fmla="*/ 83443 h 7571036"/>
                  <a:gd name="connsiteX15003" fmla="*/ 5387391 w 6994525"/>
                  <a:gd name="connsiteY15003" fmla="*/ 127084 h 7571036"/>
                  <a:gd name="connsiteX15004" fmla="*/ 5431280 w 6994525"/>
                  <a:gd name="connsiteY15004" fmla="*/ 170725 h 7571036"/>
                  <a:gd name="connsiteX15005" fmla="*/ 5474926 w 6994525"/>
                  <a:gd name="connsiteY15005" fmla="*/ 127084 h 7571036"/>
                  <a:gd name="connsiteX15006" fmla="*/ 5475417 w 6994525"/>
                  <a:gd name="connsiteY15006" fmla="*/ 1041998 h 7571036"/>
                  <a:gd name="connsiteX15007" fmla="*/ 5428569 w 6994525"/>
                  <a:gd name="connsiteY15007" fmla="*/ 995156 h 7571036"/>
                  <a:gd name="connsiteX15008" fmla="*/ 5381473 w 6994525"/>
                  <a:gd name="connsiteY15008" fmla="*/ 1041998 h 7571036"/>
                  <a:gd name="connsiteX15009" fmla="*/ 5428569 w 6994525"/>
                  <a:gd name="connsiteY15009" fmla="*/ 1088857 h 7571036"/>
                  <a:gd name="connsiteX15010" fmla="*/ 5475417 w 6994525"/>
                  <a:gd name="connsiteY15010" fmla="*/ 1041998 h 7571036"/>
                  <a:gd name="connsiteX15011" fmla="*/ 5475661 w 6994525"/>
                  <a:gd name="connsiteY15011" fmla="*/ 2575770 h 7571036"/>
                  <a:gd name="connsiteX15012" fmla="*/ 5429059 w 6994525"/>
                  <a:gd name="connsiteY15012" fmla="*/ 2529166 h 7571036"/>
                  <a:gd name="connsiteX15013" fmla="*/ 5382456 w 6994525"/>
                  <a:gd name="connsiteY15013" fmla="*/ 2575770 h 7571036"/>
                  <a:gd name="connsiteX15014" fmla="*/ 5429059 w 6994525"/>
                  <a:gd name="connsiteY15014" fmla="*/ 2622373 h 7571036"/>
                  <a:gd name="connsiteX15015" fmla="*/ 5475661 w 6994525"/>
                  <a:gd name="connsiteY15015" fmla="*/ 2575770 h 7571036"/>
                  <a:gd name="connsiteX15016" fmla="*/ 5476155 w 6994525"/>
                  <a:gd name="connsiteY15016" fmla="*/ 5435691 h 7571036"/>
                  <a:gd name="connsiteX15017" fmla="*/ 5474431 w 6994525"/>
                  <a:gd name="connsiteY15017" fmla="*/ 5433963 h 7571036"/>
                  <a:gd name="connsiteX15018" fmla="*/ 5472704 w 6994525"/>
                  <a:gd name="connsiteY15018" fmla="*/ 5435691 h 7571036"/>
                  <a:gd name="connsiteX15019" fmla="*/ 5474431 w 6994525"/>
                  <a:gd name="connsiteY15019" fmla="*/ 5437414 h 7571036"/>
                  <a:gd name="connsiteX15020" fmla="*/ 5476155 w 6994525"/>
                  <a:gd name="connsiteY15020" fmla="*/ 5435691 h 7571036"/>
                  <a:gd name="connsiteX15021" fmla="*/ 5476649 w 6994525"/>
                  <a:gd name="connsiteY15021" fmla="*/ 1337848 h 7571036"/>
                  <a:gd name="connsiteX15022" fmla="*/ 5441634 w 6994525"/>
                  <a:gd name="connsiteY15022" fmla="*/ 1302834 h 7571036"/>
                  <a:gd name="connsiteX15023" fmla="*/ 5406622 w 6994525"/>
                  <a:gd name="connsiteY15023" fmla="*/ 1337848 h 7571036"/>
                  <a:gd name="connsiteX15024" fmla="*/ 5441634 w 6994525"/>
                  <a:gd name="connsiteY15024" fmla="*/ 1372867 h 7571036"/>
                  <a:gd name="connsiteX15025" fmla="*/ 5476649 w 6994525"/>
                  <a:gd name="connsiteY15025" fmla="*/ 1337848 h 7571036"/>
                  <a:gd name="connsiteX15026" fmla="*/ 5477389 w 6994525"/>
                  <a:gd name="connsiteY15026" fmla="*/ 4370237 h 7571036"/>
                  <a:gd name="connsiteX15027" fmla="*/ 5433251 w 6994525"/>
                  <a:gd name="connsiteY15027" fmla="*/ 4326099 h 7571036"/>
                  <a:gd name="connsiteX15028" fmla="*/ 5389114 w 6994525"/>
                  <a:gd name="connsiteY15028" fmla="*/ 4370237 h 7571036"/>
                  <a:gd name="connsiteX15029" fmla="*/ 5433251 w 6994525"/>
                  <a:gd name="connsiteY15029" fmla="*/ 4414371 h 7571036"/>
                  <a:gd name="connsiteX15030" fmla="*/ 5477389 w 6994525"/>
                  <a:gd name="connsiteY15030" fmla="*/ 4370237 h 7571036"/>
                  <a:gd name="connsiteX15031" fmla="*/ 5477882 w 6994525"/>
                  <a:gd name="connsiteY15031" fmla="*/ 6549474 h 7571036"/>
                  <a:gd name="connsiteX15032" fmla="*/ 5471470 w 6994525"/>
                  <a:gd name="connsiteY15032" fmla="*/ 6543062 h 7571036"/>
                  <a:gd name="connsiteX15033" fmla="*/ 5465060 w 6994525"/>
                  <a:gd name="connsiteY15033" fmla="*/ 6549474 h 7571036"/>
                  <a:gd name="connsiteX15034" fmla="*/ 5471470 w 6994525"/>
                  <a:gd name="connsiteY15034" fmla="*/ 6555639 h 7571036"/>
                  <a:gd name="connsiteX15035" fmla="*/ 5477882 w 6994525"/>
                  <a:gd name="connsiteY15035" fmla="*/ 6549474 h 7571036"/>
                  <a:gd name="connsiteX15036" fmla="*/ 5478377 w 6994525"/>
                  <a:gd name="connsiteY15036" fmla="*/ 4323 h 7571036"/>
                  <a:gd name="connsiteX15037" fmla="*/ 5476583 w 6994525"/>
                  <a:gd name="connsiteY15037" fmla="*/ 0 h 7571036"/>
                  <a:gd name="connsiteX15038" fmla="*/ 5393376 w 6994525"/>
                  <a:gd name="connsiteY15038" fmla="*/ 0 h 7571036"/>
                  <a:gd name="connsiteX15039" fmla="*/ 5391582 w 6994525"/>
                  <a:gd name="connsiteY15039" fmla="*/ 4323 h 7571036"/>
                  <a:gd name="connsiteX15040" fmla="*/ 5434979 w 6994525"/>
                  <a:gd name="connsiteY15040" fmla="*/ 47717 h 7571036"/>
                  <a:gd name="connsiteX15041" fmla="*/ 5478377 w 6994525"/>
                  <a:gd name="connsiteY15041" fmla="*/ 4323 h 7571036"/>
                  <a:gd name="connsiteX15042" fmla="*/ 5484048 w 6994525"/>
                  <a:gd name="connsiteY15042" fmla="*/ 911092 h 7571036"/>
                  <a:gd name="connsiteX15043" fmla="*/ 5437198 w 6994525"/>
                  <a:gd name="connsiteY15043" fmla="*/ 864239 h 7571036"/>
                  <a:gd name="connsiteX15044" fmla="*/ 5390349 w 6994525"/>
                  <a:gd name="connsiteY15044" fmla="*/ 911092 h 7571036"/>
                  <a:gd name="connsiteX15045" fmla="*/ 5437198 w 6994525"/>
                  <a:gd name="connsiteY15045" fmla="*/ 957945 h 7571036"/>
                  <a:gd name="connsiteX15046" fmla="*/ 5484048 w 6994525"/>
                  <a:gd name="connsiteY15046" fmla="*/ 911092 h 7571036"/>
                  <a:gd name="connsiteX15047" fmla="*/ 5486020 w 6994525"/>
                  <a:gd name="connsiteY15047" fmla="*/ 6674239 h 7571036"/>
                  <a:gd name="connsiteX15048" fmla="*/ 5477144 w 6994525"/>
                  <a:gd name="connsiteY15048" fmla="*/ 6665363 h 7571036"/>
                  <a:gd name="connsiteX15049" fmla="*/ 5468267 w 6994525"/>
                  <a:gd name="connsiteY15049" fmla="*/ 6674239 h 7571036"/>
                  <a:gd name="connsiteX15050" fmla="*/ 5477144 w 6994525"/>
                  <a:gd name="connsiteY15050" fmla="*/ 6683116 h 7571036"/>
                  <a:gd name="connsiteX15051" fmla="*/ 5486020 w 6994525"/>
                  <a:gd name="connsiteY15051" fmla="*/ 6674239 h 7571036"/>
                  <a:gd name="connsiteX15052" fmla="*/ 5488731 w 6994525"/>
                  <a:gd name="connsiteY15052" fmla="*/ 2957468 h 7571036"/>
                  <a:gd name="connsiteX15053" fmla="*/ 5452732 w 6994525"/>
                  <a:gd name="connsiteY15053" fmla="*/ 2921469 h 7571036"/>
                  <a:gd name="connsiteX15054" fmla="*/ 5416730 w 6994525"/>
                  <a:gd name="connsiteY15054" fmla="*/ 2957468 h 7571036"/>
                  <a:gd name="connsiteX15055" fmla="*/ 5452732 w 6994525"/>
                  <a:gd name="connsiteY15055" fmla="*/ 2993471 h 7571036"/>
                  <a:gd name="connsiteX15056" fmla="*/ 5488731 w 6994525"/>
                  <a:gd name="connsiteY15056" fmla="*/ 2957468 h 7571036"/>
                  <a:gd name="connsiteX15057" fmla="*/ 5489964 w 6994525"/>
                  <a:gd name="connsiteY15057" fmla="*/ 1985001 h 7571036"/>
                  <a:gd name="connsiteX15058" fmla="*/ 5449280 w 6994525"/>
                  <a:gd name="connsiteY15058" fmla="*/ 1944339 h 7571036"/>
                  <a:gd name="connsiteX15059" fmla="*/ 5408595 w 6994525"/>
                  <a:gd name="connsiteY15059" fmla="*/ 1985001 h 7571036"/>
                  <a:gd name="connsiteX15060" fmla="*/ 5449280 w 6994525"/>
                  <a:gd name="connsiteY15060" fmla="*/ 2025675 h 7571036"/>
                  <a:gd name="connsiteX15061" fmla="*/ 5489964 w 6994525"/>
                  <a:gd name="connsiteY15061" fmla="*/ 1985001 h 7571036"/>
                  <a:gd name="connsiteX15062" fmla="*/ 5491939 w 6994525"/>
                  <a:gd name="connsiteY15062" fmla="*/ 782153 h 7571036"/>
                  <a:gd name="connsiteX15063" fmla="*/ 5445334 w 6994525"/>
                  <a:gd name="connsiteY15063" fmla="*/ 735545 h 7571036"/>
                  <a:gd name="connsiteX15064" fmla="*/ 5398486 w 6994525"/>
                  <a:gd name="connsiteY15064" fmla="*/ 782153 h 7571036"/>
                  <a:gd name="connsiteX15065" fmla="*/ 5445334 w 6994525"/>
                  <a:gd name="connsiteY15065" fmla="*/ 828760 h 7571036"/>
                  <a:gd name="connsiteX15066" fmla="*/ 5491939 w 6994525"/>
                  <a:gd name="connsiteY15066" fmla="*/ 782153 h 7571036"/>
                  <a:gd name="connsiteX15067" fmla="*/ 5492431 w 6994525"/>
                  <a:gd name="connsiteY15067" fmla="*/ 1839865 h 7571036"/>
                  <a:gd name="connsiteX15068" fmla="*/ 5472210 w 6994525"/>
                  <a:gd name="connsiteY15068" fmla="*/ 1819653 h 7571036"/>
                  <a:gd name="connsiteX15069" fmla="*/ 5451992 w 6994525"/>
                  <a:gd name="connsiteY15069" fmla="*/ 1839865 h 7571036"/>
                  <a:gd name="connsiteX15070" fmla="*/ 5472210 w 6994525"/>
                  <a:gd name="connsiteY15070" fmla="*/ 1860080 h 7571036"/>
                  <a:gd name="connsiteX15071" fmla="*/ 5492431 w 6994525"/>
                  <a:gd name="connsiteY15071" fmla="*/ 1839865 h 7571036"/>
                  <a:gd name="connsiteX15072" fmla="*/ 5495882 w 6994525"/>
                  <a:gd name="connsiteY15072" fmla="*/ 3989030 h 7571036"/>
                  <a:gd name="connsiteX15073" fmla="*/ 5454950 w 6994525"/>
                  <a:gd name="connsiteY15073" fmla="*/ 3948099 h 7571036"/>
                  <a:gd name="connsiteX15074" fmla="*/ 5414018 w 6994525"/>
                  <a:gd name="connsiteY15074" fmla="*/ 3989030 h 7571036"/>
                  <a:gd name="connsiteX15075" fmla="*/ 5454950 w 6994525"/>
                  <a:gd name="connsiteY15075" fmla="*/ 4029963 h 7571036"/>
                  <a:gd name="connsiteX15076" fmla="*/ 5495882 w 6994525"/>
                  <a:gd name="connsiteY15076" fmla="*/ 3989030 h 7571036"/>
                  <a:gd name="connsiteX15077" fmla="*/ 5496621 w 6994525"/>
                  <a:gd name="connsiteY15077" fmla="*/ 1203489 h 7571036"/>
                  <a:gd name="connsiteX15078" fmla="*/ 5453716 w 6994525"/>
                  <a:gd name="connsiteY15078" fmla="*/ 1160584 h 7571036"/>
                  <a:gd name="connsiteX15079" fmla="*/ 5410813 w 6994525"/>
                  <a:gd name="connsiteY15079" fmla="*/ 1203489 h 7571036"/>
                  <a:gd name="connsiteX15080" fmla="*/ 5453716 w 6994525"/>
                  <a:gd name="connsiteY15080" fmla="*/ 1246395 h 7571036"/>
                  <a:gd name="connsiteX15081" fmla="*/ 5496621 w 6994525"/>
                  <a:gd name="connsiteY15081" fmla="*/ 1203489 h 7571036"/>
                  <a:gd name="connsiteX15082" fmla="*/ 5497857 w 6994525"/>
                  <a:gd name="connsiteY15082" fmla="*/ 653717 h 7571036"/>
                  <a:gd name="connsiteX15083" fmla="*/ 5451746 w 6994525"/>
                  <a:gd name="connsiteY15083" fmla="*/ 607549 h 7571036"/>
                  <a:gd name="connsiteX15084" fmla="*/ 5405636 w 6994525"/>
                  <a:gd name="connsiteY15084" fmla="*/ 653717 h 7571036"/>
                  <a:gd name="connsiteX15085" fmla="*/ 5451746 w 6994525"/>
                  <a:gd name="connsiteY15085" fmla="*/ 699825 h 7571036"/>
                  <a:gd name="connsiteX15086" fmla="*/ 5497857 w 6994525"/>
                  <a:gd name="connsiteY15086" fmla="*/ 653717 h 7571036"/>
                  <a:gd name="connsiteX15087" fmla="*/ 5498103 w 6994525"/>
                  <a:gd name="connsiteY15087" fmla="*/ 2230103 h 7571036"/>
                  <a:gd name="connsiteX15088" fmla="*/ 5487254 w 6994525"/>
                  <a:gd name="connsiteY15088" fmla="*/ 2219258 h 7571036"/>
                  <a:gd name="connsiteX15089" fmla="*/ 5476404 w 6994525"/>
                  <a:gd name="connsiteY15089" fmla="*/ 2230103 h 7571036"/>
                  <a:gd name="connsiteX15090" fmla="*/ 5487254 w 6994525"/>
                  <a:gd name="connsiteY15090" fmla="*/ 2240951 h 7571036"/>
                  <a:gd name="connsiteX15091" fmla="*/ 5498103 w 6994525"/>
                  <a:gd name="connsiteY15091" fmla="*/ 2230103 h 7571036"/>
                  <a:gd name="connsiteX15092" fmla="*/ 5500317 w 6994525"/>
                  <a:gd name="connsiteY15092" fmla="*/ 6916871 h 7571036"/>
                  <a:gd name="connsiteX15093" fmla="*/ 5495141 w 6994525"/>
                  <a:gd name="connsiteY15093" fmla="*/ 6911693 h 7571036"/>
                  <a:gd name="connsiteX15094" fmla="*/ 5489963 w 6994525"/>
                  <a:gd name="connsiteY15094" fmla="*/ 6916871 h 7571036"/>
                  <a:gd name="connsiteX15095" fmla="*/ 5495141 w 6994525"/>
                  <a:gd name="connsiteY15095" fmla="*/ 6922047 h 7571036"/>
                  <a:gd name="connsiteX15096" fmla="*/ 5500317 w 6994525"/>
                  <a:gd name="connsiteY15096" fmla="*/ 6916871 h 7571036"/>
                  <a:gd name="connsiteX15097" fmla="*/ 5501060 w 6994525"/>
                  <a:gd name="connsiteY15097" fmla="*/ 6793335 h 7571036"/>
                  <a:gd name="connsiteX15098" fmla="*/ 5490703 w 6994525"/>
                  <a:gd name="connsiteY15098" fmla="*/ 6782979 h 7571036"/>
                  <a:gd name="connsiteX15099" fmla="*/ 5480348 w 6994525"/>
                  <a:gd name="connsiteY15099" fmla="*/ 6793335 h 7571036"/>
                  <a:gd name="connsiteX15100" fmla="*/ 5490703 w 6994525"/>
                  <a:gd name="connsiteY15100" fmla="*/ 6803692 h 7571036"/>
                  <a:gd name="connsiteX15101" fmla="*/ 5501060 w 6994525"/>
                  <a:gd name="connsiteY15101" fmla="*/ 6793335 h 7571036"/>
                  <a:gd name="connsiteX15102" fmla="*/ 5503280 w 6994525"/>
                  <a:gd name="connsiteY15102" fmla="*/ 3876099 h 7571036"/>
                  <a:gd name="connsiteX15103" fmla="*/ 5480841 w 6994525"/>
                  <a:gd name="connsiteY15103" fmla="*/ 3853659 h 7571036"/>
                  <a:gd name="connsiteX15104" fmla="*/ 5458402 w 6994525"/>
                  <a:gd name="connsiteY15104" fmla="*/ 3876099 h 7571036"/>
                  <a:gd name="connsiteX15105" fmla="*/ 5480841 w 6994525"/>
                  <a:gd name="connsiteY15105" fmla="*/ 3898535 h 7571036"/>
                  <a:gd name="connsiteX15106" fmla="*/ 5503280 w 6994525"/>
                  <a:gd name="connsiteY15106" fmla="*/ 3876099 h 7571036"/>
                  <a:gd name="connsiteX15107" fmla="*/ 5503526 w 6994525"/>
                  <a:gd name="connsiteY15107" fmla="*/ 526696 h 7571036"/>
                  <a:gd name="connsiteX15108" fmla="*/ 5457910 w 6994525"/>
                  <a:gd name="connsiteY15108" fmla="*/ 481081 h 7571036"/>
                  <a:gd name="connsiteX15109" fmla="*/ 5412294 w 6994525"/>
                  <a:gd name="connsiteY15109" fmla="*/ 526696 h 7571036"/>
                  <a:gd name="connsiteX15110" fmla="*/ 5457910 w 6994525"/>
                  <a:gd name="connsiteY15110" fmla="*/ 572313 h 7571036"/>
                  <a:gd name="connsiteX15111" fmla="*/ 5503526 w 6994525"/>
                  <a:gd name="connsiteY15111" fmla="*/ 526696 h 7571036"/>
                  <a:gd name="connsiteX15112" fmla="*/ 5504020 w 6994525"/>
                  <a:gd name="connsiteY15112" fmla="*/ 5708647 h 7571036"/>
                  <a:gd name="connsiteX15113" fmla="*/ 5502542 w 6994525"/>
                  <a:gd name="connsiteY15113" fmla="*/ 5707169 h 7571036"/>
                  <a:gd name="connsiteX15114" fmla="*/ 5501061 w 6994525"/>
                  <a:gd name="connsiteY15114" fmla="*/ 5708647 h 7571036"/>
                  <a:gd name="connsiteX15115" fmla="*/ 5502542 w 6994525"/>
                  <a:gd name="connsiteY15115" fmla="*/ 5710128 h 7571036"/>
                  <a:gd name="connsiteX15116" fmla="*/ 5504020 w 6994525"/>
                  <a:gd name="connsiteY15116" fmla="*/ 5708647 h 7571036"/>
                  <a:gd name="connsiteX15117" fmla="*/ 5505252 w 6994525"/>
                  <a:gd name="connsiteY15117" fmla="*/ 3761934 h 7571036"/>
                  <a:gd name="connsiteX15118" fmla="*/ 5500320 w 6994525"/>
                  <a:gd name="connsiteY15118" fmla="*/ 3757002 h 7571036"/>
                  <a:gd name="connsiteX15119" fmla="*/ 5495635 w 6994525"/>
                  <a:gd name="connsiteY15119" fmla="*/ 3761934 h 7571036"/>
                  <a:gd name="connsiteX15120" fmla="*/ 5500320 w 6994525"/>
                  <a:gd name="connsiteY15120" fmla="*/ 3766619 h 7571036"/>
                  <a:gd name="connsiteX15121" fmla="*/ 5505252 w 6994525"/>
                  <a:gd name="connsiteY15121" fmla="*/ 3761934 h 7571036"/>
                  <a:gd name="connsiteX15122" fmla="*/ 5506485 w 6994525"/>
                  <a:gd name="connsiteY15122" fmla="*/ 4916650 h 7571036"/>
                  <a:gd name="connsiteX15123" fmla="*/ 5488979 w 6994525"/>
                  <a:gd name="connsiteY15123" fmla="*/ 4899141 h 7571036"/>
                  <a:gd name="connsiteX15124" fmla="*/ 5471472 w 6994525"/>
                  <a:gd name="connsiteY15124" fmla="*/ 4916650 h 7571036"/>
                  <a:gd name="connsiteX15125" fmla="*/ 5488979 w 6994525"/>
                  <a:gd name="connsiteY15125" fmla="*/ 4934154 h 7571036"/>
                  <a:gd name="connsiteX15126" fmla="*/ 5506485 w 6994525"/>
                  <a:gd name="connsiteY15126" fmla="*/ 4916650 h 7571036"/>
                  <a:gd name="connsiteX15127" fmla="*/ 5506730 w 6994525"/>
                  <a:gd name="connsiteY15127" fmla="*/ 3070157 h 7571036"/>
                  <a:gd name="connsiteX15128" fmla="*/ 5479113 w 6994525"/>
                  <a:gd name="connsiteY15128" fmla="*/ 3042540 h 7571036"/>
                  <a:gd name="connsiteX15129" fmla="*/ 5451498 w 6994525"/>
                  <a:gd name="connsiteY15129" fmla="*/ 3070157 h 7571036"/>
                  <a:gd name="connsiteX15130" fmla="*/ 5479113 w 6994525"/>
                  <a:gd name="connsiteY15130" fmla="*/ 3097775 h 7571036"/>
                  <a:gd name="connsiteX15131" fmla="*/ 5506730 w 6994525"/>
                  <a:gd name="connsiteY15131" fmla="*/ 3070157 h 7571036"/>
                  <a:gd name="connsiteX15132" fmla="*/ 5506730 w 6994525"/>
                  <a:gd name="connsiteY15132" fmla="*/ 7039667 h 7571036"/>
                  <a:gd name="connsiteX15133" fmla="*/ 5499335 w 6994525"/>
                  <a:gd name="connsiteY15133" fmla="*/ 7032268 h 7571036"/>
                  <a:gd name="connsiteX15134" fmla="*/ 5491936 w 6994525"/>
                  <a:gd name="connsiteY15134" fmla="*/ 7039667 h 7571036"/>
                  <a:gd name="connsiteX15135" fmla="*/ 5499335 w 6994525"/>
                  <a:gd name="connsiteY15135" fmla="*/ 7047062 h 7571036"/>
                  <a:gd name="connsiteX15136" fmla="*/ 5506730 w 6994525"/>
                  <a:gd name="connsiteY15136" fmla="*/ 7039667 h 7571036"/>
                  <a:gd name="connsiteX15137" fmla="*/ 5508457 w 6994525"/>
                  <a:gd name="connsiteY15137" fmla="*/ 400725 h 7571036"/>
                  <a:gd name="connsiteX15138" fmla="*/ 5463335 w 6994525"/>
                  <a:gd name="connsiteY15138" fmla="*/ 355603 h 7571036"/>
                  <a:gd name="connsiteX15139" fmla="*/ 5418211 w 6994525"/>
                  <a:gd name="connsiteY15139" fmla="*/ 400725 h 7571036"/>
                  <a:gd name="connsiteX15140" fmla="*/ 5463335 w 6994525"/>
                  <a:gd name="connsiteY15140" fmla="*/ 445846 h 7571036"/>
                  <a:gd name="connsiteX15141" fmla="*/ 5508457 w 6994525"/>
                  <a:gd name="connsiteY15141" fmla="*/ 400725 h 7571036"/>
                  <a:gd name="connsiteX15142" fmla="*/ 5511665 w 6994525"/>
                  <a:gd name="connsiteY15142" fmla="*/ 2487756 h 7571036"/>
                  <a:gd name="connsiteX15143" fmla="*/ 5506980 w 6994525"/>
                  <a:gd name="connsiteY15143" fmla="*/ 2483072 h 7571036"/>
                  <a:gd name="connsiteX15144" fmla="*/ 5502294 w 6994525"/>
                  <a:gd name="connsiteY15144" fmla="*/ 2487756 h 7571036"/>
                  <a:gd name="connsiteX15145" fmla="*/ 5506980 w 6994525"/>
                  <a:gd name="connsiteY15145" fmla="*/ 2492439 h 7571036"/>
                  <a:gd name="connsiteX15146" fmla="*/ 5511665 w 6994525"/>
                  <a:gd name="connsiteY15146" fmla="*/ 2487756 h 7571036"/>
                  <a:gd name="connsiteX15147" fmla="*/ 5512894 w 6994525"/>
                  <a:gd name="connsiteY15147" fmla="*/ 275738 h 7571036"/>
                  <a:gd name="connsiteX15148" fmla="*/ 5468264 w 6994525"/>
                  <a:gd name="connsiteY15148" fmla="*/ 231111 h 7571036"/>
                  <a:gd name="connsiteX15149" fmla="*/ 5423635 w 6994525"/>
                  <a:gd name="connsiteY15149" fmla="*/ 275738 h 7571036"/>
                  <a:gd name="connsiteX15150" fmla="*/ 5468264 w 6994525"/>
                  <a:gd name="connsiteY15150" fmla="*/ 320368 h 7571036"/>
                  <a:gd name="connsiteX15151" fmla="*/ 5512894 w 6994525"/>
                  <a:gd name="connsiteY15151" fmla="*/ 275738 h 7571036"/>
                  <a:gd name="connsiteX15152" fmla="*/ 5513388 w 6994525"/>
                  <a:gd name="connsiteY15152" fmla="*/ 3646782 h 7571036"/>
                  <a:gd name="connsiteX15153" fmla="*/ 5513142 w 6994525"/>
                  <a:gd name="connsiteY15153" fmla="*/ 3646537 h 7571036"/>
                  <a:gd name="connsiteX15154" fmla="*/ 5513142 w 6994525"/>
                  <a:gd name="connsiteY15154" fmla="*/ 3646782 h 7571036"/>
                  <a:gd name="connsiteX15155" fmla="*/ 5516842 w 6994525"/>
                  <a:gd name="connsiteY15155" fmla="*/ 4510783 h 7571036"/>
                  <a:gd name="connsiteX15156" fmla="*/ 5485032 w 6994525"/>
                  <a:gd name="connsiteY15156" fmla="*/ 4478976 h 7571036"/>
                  <a:gd name="connsiteX15157" fmla="*/ 5453224 w 6994525"/>
                  <a:gd name="connsiteY15157" fmla="*/ 4510783 h 7571036"/>
                  <a:gd name="connsiteX15158" fmla="*/ 5485032 w 6994525"/>
                  <a:gd name="connsiteY15158" fmla="*/ 4542594 h 7571036"/>
                  <a:gd name="connsiteX15159" fmla="*/ 5516842 w 6994525"/>
                  <a:gd name="connsiteY15159" fmla="*/ 4510783 h 7571036"/>
                  <a:gd name="connsiteX15160" fmla="*/ 5517582 w 6994525"/>
                  <a:gd name="connsiteY15160" fmla="*/ 2681803 h 7571036"/>
                  <a:gd name="connsiteX15161" fmla="*/ 5475172 w 6994525"/>
                  <a:gd name="connsiteY15161" fmla="*/ 2639391 h 7571036"/>
                  <a:gd name="connsiteX15162" fmla="*/ 5432760 w 6994525"/>
                  <a:gd name="connsiteY15162" fmla="*/ 2681803 h 7571036"/>
                  <a:gd name="connsiteX15163" fmla="*/ 5475172 w 6994525"/>
                  <a:gd name="connsiteY15163" fmla="*/ 2724216 h 7571036"/>
                  <a:gd name="connsiteX15164" fmla="*/ 5517582 w 6994525"/>
                  <a:gd name="connsiteY15164" fmla="*/ 2681803 h 7571036"/>
                  <a:gd name="connsiteX15165" fmla="*/ 5517583 w 6994525"/>
                  <a:gd name="connsiteY15165" fmla="*/ 3184325 h 7571036"/>
                  <a:gd name="connsiteX15166" fmla="*/ 5499089 w 6994525"/>
                  <a:gd name="connsiteY15166" fmla="*/ 3165831 h 7571036"/>
                  <a:gd name="connsiteX15167" fmla="*/ 5480595 w 6994525"/>
                  <a:gd name="connsiteY15167" fmla="*/ 3184325 h 7571036"/>
                  <a:gd name="connsiteX15168" fmla="*/ 5499089 w 6994525"/>
                  <a:gd name="connsiteY15168" fmla="*/ 3202819 h 7571036"/>
                  <a:gd name="connsiteX15169" fmla="*/ 5517583 w 6994525"/>
                  <a:gd name="connsiteY15169" fmla="*/ 3184325 h 7571036"/>
                  <a:gd name="connsiteX15170" fmla="*/ 5520785 w 6994525"/>
                  <a:gd name="connsiteY15170" fmla="*/ 3530893 h 7571036"/>
                  <a:gd name="connsiteX15171" fmla="*/ 5519552 w 6994525"/>
                  <a:gd name="connsiteY15171" fmla="*/ 3529660 h 7571036"/>
                  <a:gd name="connsiteX15172" fmla="*/ 5518320 w 6994525"/>
                  <a:gd name="connsiteY15172" fmla="*/ 3530893 h 7571036"/>
                  <a:gd name="connsiteX15173" fmla="*/ 5519552 w 6994525"/>
                  <a:gd name="connsiteY15173" fmla="*/ 3532125 h 7571036"/>
                  <a:gd name="connsiteX15174" fmla="*/ 5520785 w 6994525"/>
                  <a:gd name="connsiteY15174" fmla="*/ 3530893 h 7571036"/>
                  <a:gd name="connsiteX15175" fmla="*/ 5522266 w 6994525"/>
                  <a:gd name="connsiteY15175" fmla="*/ 3299479 h 7571036"/>
                  <a:gd name="connsiteX15176" fmla="*/ 5512402 w 6994525"/>
                  <a:gd name="connsiteY15176" fmla="*/ 3289607 h 7571036"/>
                  <a:gd name="connsiteX15177" fmla="*/ 5502539 w 6994525"/>
                  <a:gd name="connsiteY15177" fmla="*/ 3299479 h 7571036"/>
                  <a:gd name="connsiteX15178" fmla="*/ 5512402 w 6994525"/>
                  <a:gd name="connsiteY15178" fmla="*/ 3309339 h 7571036"/>
                  <a:gd name="connsiteX15179" fmla="*/ 5522266 w 6994525"/>
                  <a:gd name="connsiteY15179" fmla="*/ 3299479 h 7571036"/>
                  <a:gd name="connsiteX15180" fmla="*/ 5522266 w 6994525"/>
                  <a:gd name="connsiteY15180" fmla="*/ 3415122 h 7571036"/>
                  <a:gd name="connsiteX15181" fmla="*/ 5519306 w 6994525"/>
                  <a:gd name="connsiteY15181" fmla="*/ 3411916 h 7571036"/>
                  <a:gd name="connsiteX15182" fmla="*/ 5516101 w 6994525"/>
                  <a:gd name="connsiteY15182" fmla="*/ 3415122 h 7571036"/>
                  <a:gd name="connsiteX15183" fmla="*/ 5519306 w 6994525"/>
                  <a:gd name="connsiteY15183" fmla="*/ 3418323 h 7571036"/>
                  <a:gd name="connsiteX15184" fmla="*/ 5522266 w 6994525"/>
                  <a:gd name="connsiteY15184" fmla="*/ 3415122 h 7571036"/>
                  <a:gd name="connsiteX15185" fmla="*/ 5526457 w 6994525"/>
                  <a:gd name="connsiteY15185" fmla="*/ 5833665 h 7571036"/>
                  <a:gd name="connsiteX15186" fmla="*/ 5524732 w 6994525"/>
                  <a:gd name="connsiteY15186" fmla="*/ 5831937 h 7571036"/>
                  <a:gd name="connsiteX15187" fmla="*/ 5523006 w 6994525"/>
                  <a:gd name="connsiteY15187" fmla="*/ 5833665 h 7571036"/>
                  <a:gd name="connsiteX15188" fmla="*/ 5524732 w 6994525"/>
                  <a:gd name="connsiteY15188" fmla="*/ 5835392 h 7571036"/>
                  <a:gd name="connsiteX15189" fmla="*/ 5526457 w 6994525"/>
                  <a:gd name="connsiteY15189" fmla="*/ 5833665 h 7571036"/>
                  <a:gd name="connsiteX15190" fmla="*/ 5528182 w 6994525"/>
                  <a:gd name="connsiteY15190" fmla="*/ 5063608 h 7571036"/>
                  <a:gd name="connsiteX15191" fmla="*/ 5513637 w 6994525"/>
                  <a:gd name="connsiteY15191" fmla="*/ 5049059 h 7571036"/>
                  <a:gd name="connsiteX15192" fmla="*/ 5499088 w 6994525"/>
                  <a:gd name="connsiteY15192" fmla="*/ 5063608 h 7571036"/>
                  <a:gd name="connsiteX15193" fmla="*/ 5513637 w 6994525"/>
                  <a:gd name="connsiteY15193" fmla="*/ 5078156 h 7571036"/>
                  <a:gd name="connsiteX15194" fmla="*/ 5528182 w 6994525"/>
                  <a:gd name="connsiteY15194" fmla="*/ 5063608 h 7571036"/>
                  <a:gd name="connsiteX15195" fmla="*/ 5530156 w 6994525"/>
                  <a:gd name="connsiteY15195" fmla="*/ 4263963 h 7571036"/>
                  <a:gd name="connsiteX15196" fmla="*/ 5478868 w 6994525"/>
                  <a:gd name="connsiteY15196" fmla="*/ 4212675 h 7571036"/>
                  <a:gd name="connsiteX15197" fmla="*/ 5427580 w 6994525"/>
                  <a:gd name="connsiteY15197" fmla="*/ 4263963 h 7571036"/>
                  <a:gd name="connsiteX15198" fmla="*/ 5478868 w 6994525"/>
                  <a:gd name="connsiteY15198" fmla="*/ 4315250 h 7571036"/>
                  <a:gd name="connsiteX15199" fmla="*/ 5530156 w 6994525"/>
                  <a:gd name="connsiteY15199" fmla="*/ 4263963 h 7571036"/>
                  <a:gd name="connsiteX15200" fmla="*/ 5530896 w 6994525"/>
                  <a:gd name="connsiteY15200" fmla="*/ 1556789 h 7571036"/>
                  <a:gd name="connsiteX15201" fmla="*/ 5510429 w 6994525"/>
                  <a:gd name="connsiteY15201" fmla="*/ 1536328 h 7571036"/>
                  <a:gd name="connsiteX15202" fmla="*/ 5489963 w 6994525"/>
                  <a:gd name="connsiteY15202" fmla="*/ 1556789 h 7571036"/>
                  <a:gd name="connsiteX15203" fmla="*/ 5510429 w 6994525"/>
                  <a:gd name="connsiteY15203" fmla="*/ 1577256 h 7571036"/>
                  <a:gd name="connsiteX15204" fmla="*/ 5530896 w 6994525"/>
                  <a:gd name="connsiteY15204" fmla="*/ 1556789 h 7571036"/>
                  <a:gd name="connsiteX15205" fmla="*/ 5536569 w 6994525"/>
                  <a:gd name="connsiteY15205" fmla="*/ 5966814 h 7571036"/>
                  <a:gd name="connsiteX15206" fmla="*/ 5535088 w 6994525"/>
                  <a:gd name="connsiteY15206" fmla="*/ 5965088 h 7571036"/>
                  <a:gd name="connsiteX15207" fmla="*/ 5533609 w 6994525"/>
                  <a:gd name="connsiteY15207" fmla="*/ 5966814 h 7571036"/>
                  <a:gd name="connsiteX15208" fmla="*/ 5535088 w 6994525"/>
                  <a:gd name="connsiteY15208" fmla="*/ 5968292 h 7571036"/>
                  <a:gd name="connsiteX15209" fmla="*/ 5536569 w 6994525"/>
                  <a:gd name="connsiteY15209" fmla="*/ 5966814 h 7571036"/>
                  <a:gd name="connsiteX15210" fmla="*/ 5538292 w 6994525"/>
                  <a:gd name="connsiteY15210" fmla="*/ 1697320 h 7571036"/>
                  <a:gd name="connsiteX15211" fmla="*/ 5492676 w 6994525"/>
                  <a:gd name="connsiteY15211" fmla="*/ 1651702 h 7571036"/>
                  <a:gd name="connsiteX15212" fmla="*/ 5447060 w 6994525"/>
                  <a:gd name="connsiteY15212" fmla="*/ 1697320 h 7571036"/>
                  <a:gd name="connsiteX15213" fmla="*/ 5492676 w 6994525"/>
                  <a:gd name="connsiteY15213" fmla="*/ 1742945 h 7571036"/>
                  <a:gd name="connsiteX15214" fmla="*/ 5538292 w 6994525"/>
                  <a:gd name="connsiteY15214" fmla="*/ 1697320 h 7571036"/>
                  <a:gd name="connsiteX15215" fmla="*/ 5539773 w 6994525"/>
                  <a:gd name="connsiteY15215" fmla="*/ 5209336 h 7571036"/>
                  <a:gd name="connsiteX15216" fmla="*/ 5534841 w 6994525"/>
                  <a:gd name="connsiteY15216" fmla="*/ 5204404 h 7571036"/>
                  <a:gd name="connsiteX15217" fmla="*/ 5529910 w 6994525"/>
                  <a:gd name="connsiteY15217" fmla="*/ 5209336 h 7571036"/>
                  <a:gd name="connsiteX15218" fmla="*/ 5534841 w 6994525"/>
                  <a:gd name="connsiteY15218" fmla="*/ 5214267 h 7571036"/>
                  <a:gd name="connsiteX15219" fmla="*/ 5539773 w 6994525"/>
                  <a:gd name="connsiteY15219" fmla="*/ 5209336 h 7571036"/>
                  <a:gd name="connsiteX15220" fmla="*/ 5540513 w 6994525"/>
                  <a:gd name="connsiteY15220" fmla="*/ 4666866 h 7571036"/>
                  <a:gd name="connsiteX15221" fmla="*/ 5522760 w 6994525"/>
                  <a:gd name="connsiteY15221" fmla="*/ 4649112 h 7571036"/>
                  <a:gd name="connsiteX15222" fmla="*/ 5505006 w 6994525"/>
                  <a:gd name="connsiteY15222" fmla="*/ 4666866 h 7571036"/>
                  <a:gd name="connsiteX15223" fmla="*/ 5522760 w 6994525"/>
                  <a:gd name="connsiteY15223" fmla="*/ 4684620 h 7571036"/>
                  <a:gd name="connsiteX15224" fmla="*/ 5540513 w 6994525"/>
                  <a:gd name="connsiteY15224" fmla="*/ 4666866 h 7571036"/>
                  <a:gd name="connsiteX15225" fmla="*/ 5547417 w 6994525"/>
                  <a:gd name="connsiteY15225" fmla="*/ 6098486 h 7571036"/>
                  <a:gd name="connsiteX15226" fmla="*/ 5543964 w 6994525"/>
                  <a:gd name="connsiteY15226" fmla="*/ 6095035 h 7571036"/>
                  <a:gd name="connsiteX15227" fmla="*/ 5540513 w 6994525"/>
                  <a:gd name="connsiteY15227" fmla="*/ 6098486 h 7571036"/>
                  <a:gd name="connsiteX15228" fmla="*/ 5543964 w 6994525"/>
                  <a:gd name="connsiteY15228" fmla="*/ 6101939 h 7571036"/>
                  <a:gd name="connsiteX15229" fmla="*/ 5547417 w 6994525"/>
                  <a:gd name="connsiteY15229" fmla="*/ 6098486 h 7571036"/>
                  <a:gd name="connsiteX15230" fmla="*/ 5551855 w 6994525"/>
                  <a:gd name="connsiteY15230" fmla="*/ 2790299 h 7571036"/>
                  <a:gd name="connsiteX15231" fmla="*/ 5515362 w 6994525"/>
                  <a:gd name="connsiteY15231" fmla="*/ 2753805 h 7571036"/>
                  <a:gd name="connsiteX15232" fmla="*/ 5478868 w 6994525"/>
                  <a:gd name="connsiteY15232" fmla="*/ 2790299 h 7571036"/>
                  <a:gd name="connsiteX15233" fmla="*/ 5515362 w 6994525"/>
                  <a:gd name="connsiteY15233" fmla="*/ 2826792 h 7571036"/>
                  <a:gd name="connsiteX15234" fmla="*/ 5551855 w 6994525"/>
                  <a:gd name="connsiteY15234" fmla="*/ 2790299 h 7571036"/>
                  <a:gd name="connsiteX15235" fmla="*/ 5553335 w 6994525"/>
                  <a:gd name="connsiteY15235" fmla="*/ 1417499 h 7571036"/>
                  <a:gd name="connsiteX15236" fmla="*/ 5525719 w 6994525"/>
                  <a:gd name="connsiteY15236" fmla="*/ 1389877 h 7571036"/>
                  <a:gd name="connsiteX15237" fmla="*/ 5498102 w 6994525"/>
                  <a:gd name="connsiteY15237" fmla="*/ 1417499 h 7571036"/>
                  <a:gd name="connsiteX15238" fmla="*/ 5525719 w 6994525"/>
                  <a:gd name="connsiteY15238" fmla="*/ 1445110 h 7571036"/>
                  <a:gd name="connsiteX15239" fmla="*/ 5553335 w 6994525"/>
                  <a:gd name="connsiteY15239" fmla="*/ 1417499 h 7571036"/>
                  <a:gd name="connsiteX15240" fmla="*/ 5555059 w 6994525"/>
                  <a:gd name="connsiteY15240" fmla="*/ 6228429 h 7571036"/>
                  <a:gd name="connsiteX15241" fmla="*/ 5552841 w 6994525"/>
                  <a:gd name="connsiteY15241" fmla="*/ 6226210 h 7571036"/>
                  <a:gd name="connsiteX15242" fmla="*/ 5550622 w 6994525"/>
                  <a:gd name="connsiteY15242" fmla="*/ 6228429 h 7571036"/>
                  <a:gd name="connsiteX15243" fmla="*/ 5552841 w 6994525"/>
                  <a:gd name="connsiteY15243" fmla="*/ 6230650 h 7571036"/>
                  <a:gd name="connsiteX15244" fmla="*/ 5555059 w 6994525"/>
                  <a:gd name="connsiteY15244" fmla="*/ 6228429 h 7571036"/>
                  <a:gd name="connsiteX15245" fmla="*/ 5555553 w 6994525"/>
                  <a:gd name="connsiteY15245" fmla="*/ 2330450 h 7571036"/>
                  <a:gd name="connsiteX15246" fmla="*/ 5546676 w 6994525"/>
                  <a:gd name="connsiteY15246" fmla="*/ 2321568 h 7571036"/>
                  <a:gd name="connsiteX15247" fmla="*/ 5537800 w 6994525"/>
                  <a:gd name="connsiteY15247" fmla="*/ 2330450 h 7571036"/>
                  <a:gd name="connsiteX15248" fmla="*/ 5546676 w 6994525"/>
                  <a:gd name="connsiteY15248" fmla="*/ 2339339 h 7571036"/>
                  <a:gd name="connsiteX15249" fmla="*/ 5555553 w 6994525"/>
                  <a:gd name="connsiteY15249" fmla="*/ 2330450 h 7571036"/>
                  <a:gd name="connsiteX15250" fmla="*/ 5556789 w 6994525"/>
                  <a:gd name="connsiteY15250" fmla="*/ 2079194 h 7571036"/>
                  <a:gd name="connsiteX15251" fmla="*/ 5517582 w 6994525"/>
                  <a:gd name="connsiteY15251" fmla="*/ 2039977 h 7571036"/>
                  <a:gd name="connsiteX15252" fmla="*/ 5478376 w 6994525"/>
                  <a:gd name="connsiteY15252" fmla="*/ 2079194 h 7571036"/>
                  <a:gd name="connsiteX15253" fmla="*/ 5517582 w 6994525"/>
                  <a:gd name="connsiteY15253" fmla="*/ 2118410 h 7571036"/>
                  <a:gd name="connsiteX15254" fmla="*/ 5556789 w 6994525"/>
                  <a:gd name="connsiteY15254" fmla="*/ 2079194 h 7571036"/>
                  <a:gd name="connsiteX15255" fmla="*/ 5556789 w 6994525"/>
                  <a:gd name="connsiteY15255" fmla="*/ 5351608 h 7571036"/>
                  <a:gd name="connsiteX15256" fmla="*/ 5554076 w 6994525"/>
                  <a:gd name="connsiteY15256" fmla="*/ 5348895 h 7571036"/>
                  <a:gd name="connsiteX15257" fmla="*/ 5551363 w 6994525"/>
                  <a:gd name="connsiteY15257" fmla="*/ 5351608 h 7571036"/>
                  <a:gd name="connsiteX15258" fmla="*/ 5554076 w 6994525"/>
                  <a:gd name="connsiteY15258" fmla="*/ 5354322 h 7571036"/>
                  <a:gd name="connsiteX15259" fmla="*/ 5556789 w 6994525"/>
                  <a:gd name="connsiteY15259" fmla="*/ 5351608 h 7571036"/>
                  <a:gd name="connsiteX15260" fmla="*/ 5558017 w 6994525"/>
                  <a:gd name="connsiteY15260" fmla="*/ 1931049 h 7571036"/>
                  <a:gd name="connsiteX15261" fmla="*/ 5544210 w 6994525"/>
                  <a:gd name="connsiteY15261" fmla="*/ 1917249 h 7571036"/>
                  <a:gd name="connsiteX15262" fmla="*/ 5530156 w 6994525"/>
                  <a:gd name="connsiteY15262" fmla="*/ 1931049 h 7571036"/>
                  <a:gd name="connsiteX15263" fmla="*/ 5544210 w 6994525"/>
                  <a:gd name="connsiteY15263" fmla="*/ 1945095 h 7571036"/>
                  <a:gd name="connsiteX15264" fmla="*/ 5558017 w 6994525"/>
                  <a:gd name="connsiteY15264" fmla="*/ 1931049 h 7571036"/>
                  <a:gd name="connsiteX15265" fmla="*/ 5565417 w 6994525"/>
                  <a:gd name="connsiteY15265" fmla="*/ 1116220 h 7571036"/>
                  <a:gd name="connsiteX15266" fmla="*/ 5518320 w 6994525"/>
                  <a:gd name="connsiteY15266" fmla="*/ 1069128 h 7571036"/>
                  <a:gd name="connsiteX15267" fmla="*/ 5471223 w 6994525"/>
                  <a:gd name="connsiteY15267" fmla="*/ 1116220 h 7571036"/>
                  <a:gd name="connsiteX15268" fmla="*/ 5518320 w 6994525"/>
                  <a:gd name="connsiteY15268" fmla="*/ 1163320 h 7571036"/>
                  <a:gd name="connsiteX15269" fmla="*/ 5565417 w 6994525"/>
                  <a:gd name="connsiteY15269" fmla="*/ 1116220 h 7571036"/>
                  <a:gd name="connsiteX15270" fmla="*/ 5565663 w 6994525"/>
                  <a:gd name="connsiteY15270" fmla="*/ 6357143 h 7571036"/>
                  <a:gd name="connsiteX15271" fmla="*/ 5560732 w 6994525"/>
                  <a:gd name="connsiteY15271" fmla="*/ 6351965 h 7571036"/>
                  <a:gd name="connsiteX15272" fmla="*/ 5555553 w 6994525"/>
                  <a:gd name="connsiteY15272" fmla="*/ 6357143 h 7571036"/>
                  <a:gd name="connsiteX15273" fmla="*/ 5560732 w 6994525"/>
                  <a:gd name="connsiteY15273" fmla="*/ 6362322 h 7571036"/>
                  <a:gd name="connsiteX15274" fmla="*/ 5565663 w 6994525"/>
                  <a:gd name="connsiteY15274" fmla="*/ 6357143 h 7571036"/>
                  <a:gd name="connsiteX15275" fmla="*/ 5567635 w 6994525"/>
                  <a:gd name="connsiteY15275" fmla="*/ 2593289 h 7571036"/>
                  <a:gd name="connsiteX15276" fmla="*/ 5555799 w 6994525"/>
                  <a:gd name="connsiteY15276" fmla="*/ 2581453 h 7571036"/>
                  <a:gd name="connsiteX15277" fmla="*/ 5543718 w 6994525"/>
                  <a:gd name="connsiteY15277" fmla="*/ 2593289 h 7571036"/>
                  <a:gd name="connsiteX15278" fmla="*/ 5555799 w 6994525"/>
                  <a:gd name="connsiteY15278" fmla="*/ 2605371 h 7571036"/>
                  <a:gd name="connsiteX15279" fmla="*/ 5567635 w 6994525"/>
                  <a:gd name="connsiteY15279" fmla="*/ 2593289 h 7571036"/>
                  <a:gd name="connsiteX15280" fmla="*/ 5570348 w 6994525"/>
                  <a:gd name="connsiteY15280" fmla="*/ 4155223 h 7571036"/>
                  <a:gd name="connsiteX15281" fmla="*/ 5518566 w 6994525"/>
                  <a:gd name="connsiteY15281" fmla="*/ 4103441 h 7571036"/>
                  <a:gd name="connsiteX15282" fmla="*/ 5466786 w 6994525"/>
                  <a:gd name="connsiteY15282" fmla="*/ 4155223 h 7571036"/>
                  <a:gd name="connsiteX15283" fmla="*/ 5518566 w 6994525"/>
                  <a:gd name="connsiteY15283" fmla="*/ 4207003 h 7571036"/>
                  <a:gd name="connsiteX15284" fmla="*/ 5570348 w 6994525"/>
                  <a:gd name="connsiteY15284" fmla="*/ 4155223 h 7571036"/>
                  <a:gd name="connsiteX15285" fmla="*/ 5572566 w 6994525"/>
                  <a:gd name="connsiteY15285" fmla="*/ 5491169 h 7571036"/>
                  <a:gd name="connsiteX15286" fmla="*/ 5571580 w 6994525"/>
                  <a:gd name="connsiteY15286" fmla="*/ 5490182 h 7571036"/>
                  <a:gd name="connsiteX15287" fmla="*/ 5570593 w 6994525"/>
                  <a:gd name="connsiteY15287" fmla="*/ 5491169 h 7571036"/>
                  <a:gd name="connsiteX15288" fmla="*/ 5571580 w 6994525"/>
                  <a:gd name="connsiteY15288" fmla="*/ 5492154 h 7571036"/>
                  <a:gd name="connsiteX15289" fmla="*/ 5572566 w 6994525"/>
                  <a:gd name="connsiteY15289" fmla="*/ 5491169 h 7571036"/>
                  <a:gd name="connsiteX15290" fmla="*/ 5573305 w 6994525"/>
                  <a:gd name="connsiteY15290" fmla="*/ 4820485 h 7571036"/>
                  <a:gd name="connsiteX15291" fmla="*/ 5554813 w 6994525"/>
                  <a:gd name="connsiteY15291" fmla="*/ 4801991 h 7571036"/>
                  <a:gd name="connsiteX15292" fmla="*/ 5536320 w 6994525"/>
                  <a:gd name="connsiteY15292" fmla="*/ 4820485 h 7571036"/>
                  <a:gd name="connsiteX15293" fmla="*/ 5554813 w 6994525"/>
                  <a:gd name="connsiteY15293" fmla="*/ 4838976 h 7571036"/>
                  <a:gd name="connsiteX15294" fmla="*/ 5573305 w 6994525"/>
                  <a:gd name="connsiteY15294" fmla="*/ 4820485 h 7571036"/>
                  <a:gd name="connsiteX15295" fmla="*/ 5574045 w 6994525"/>
                  <a:gd name="connsiteY15295" fmla="*/ 4405990 h 7571036"/>
                  <a:gd name="connsiteX15296" fmla="*/ 5536320 w 6994525"/>
                  <a:gd name="connsiteY15296" fmla="*/ 4368264 h 7571036"/>
                  <a:gd name="connsiteX15297" fmla="*/ 5498594 w 6994525"/>
                  <a:gd name="connsiteY15297" fmla="*/ 4405990 h 7571036"/>
                  <a:gd name="connsiteX15298" fmla="*/ 5536320 w 6994525"/>
                  <a:gd name="connsiteY15298" fmla="*/ 4443715 h 7571036"/>
                  <a:gd name="connsiteX15299" fmla="*/ 5574045 w 6994525"/>
                  <a:gd name="connsiteY15299" fmla="*/ 4405990 h 7571036"/>
                  <a:gd name="connsiteX15300" fmla="*/ 5574784 w 6994525"/>
                  <a:gd name="connsiteY15300" fmla="*/ 6484870 h 7571036"/>
                  <a:gd name="connsiteX15301" fmla="*/ 5567881 w 6994525"/>
                  <a:gd name="connsiteY15301" fmla="*/ 6477720 h 7571036"/>
                  <a:gd name="connsiteX15302" fmla="*/ 5560731 w 6994525"/>
                  <a:gd name="connsiteY15302" fmla="*/ 6484870 h 7571036"/>
                  <a:gd name="connsiteX15303" fmla="*/ 5567881 w 6994525"/>
                  <a:gd name="connsiteY15303" fmla="*/ 6492020 h 7571036"/>
                  <a:gd name="connsiteX15304" fmla="*/ 5574784 w 6994525"/>
                  <a:gd name="connsiteY15304" fmla="*/ 6484870 h 7571036"/>
                  <a:gd name="connsiteX15305" fmla="*/ 5575525 w 6994525"/>
                  <a:gd name="connsiteY15305" fmla="*/ 186999 h 7571036"/>
                  <a:gd name="connsiteX15306" fmla="*/ 5530895 w 6994525"/>
                  <a:gd name="connsiteY15306" fmla="*/ 142373 h 7571036"/>
                  <a:gd name="connsiteX15307" fmla="*/ 5486266 w 6994525"/>
                  <a:gd name="connsiteY15307" fmla="*/ 186999 h 7571036"/>
                  <a:gd name="connsiteX15308" fmla="*/ 5530895 w 6994525"/>
                  <a:gd name="connsiteY15308" fmla="*/ 231627 h 7571036"/>
                  <a:gd name="connsiteX15309" fmla="*/ 5575525 w 6994525"/>
                  <a:gd name="connsiteY15309" fmla="*/ 186999 h 7571036"/>
                  <a:gd name="connsiteX15310" fmla="*/ 5575526 w 6994525"/>
                  <a:gd name="connsiteY15310" fmla="*/ 983337 h 7571036"/>
                  <a:gd name="connsiteX15311" fmla="*/ 5528432 w 6994525"/>
                  <a:gd name="connsiteY15311" fmla="*/ 936241 h 7571036"/>
                  <a:gd name="connsiteX15312" fmla="*/ 5481335 w 6994525"/>
                  <a:gd name="connsiteY15312" fmla="*/ 983337 h 7571036"/>
                  <a:gd name="connsiteX15313" fmla="*/ 5528432 w 6994525"/>
                  <a:gd name="connsiteY15313" fmla="*/ 1030185 h 7571036"/>
                  <a:gd name="connsiteX15314" fmla="*/ 5575526 w 6994525"/>
                  <a:gd name="connsiteY15314" fmla="*/ 983337 h 7571036"/>
                  <a:gd name="connsiteX15315" fmla="*/ 5578238 w 6994525"/>
                  <a:gd name="connsiteY15315" fmla="*/ 1281155 h 7571036"/>
                  <a:gd name="connsiteX15316" fmla="*/ 5540020 w 6994525"/>
                  <a:gd name="connsiteY15316" fmla="*/ 1242947 h 7571036"/>
                  <a:gd name="connsiteX15317" fmla="*/ 5501801 w 6994525"/>
                  <a:gd name="connsiteY15317" fmla="*/ 1281155 h 7571036"/>
                  <a:gd name="connsiteX15318" fmla="*/ 5540020 w 6994525"/>
                  <a:gd name="connsiteY15318" fmla="*/ 1319371 h 7571036"/>
                  <a:gd name="connsiteX15319" fmla="*/ 5578238 w 6994525"/>
                  <a:gd name="connsiteY15319" fmla="*/ 1281155 h 7571036"/>
                  <a:gd name="connsiteX15320" fmla="*/ 5578730 w 6994525"/>
                  <a:gd name="connsiteY15320" fmla="*/ 2900766 h 7571036"/>
                  <a:gd name="connsiteX15321" fmla="*/ 5549633 w 6994525"/>
                  <a:gd name="connsiteY15321" fmla="*/ 2871671 h 7571036"/>
                  <a:gd name="connsiteX15322" fmla="*/ 5520539 w 6994525"/>
                  <a:gd name="connsiteY15322" fmla="*/ 2900766 h 7571036"/>
                  <a:gd name="connsiteX15323" fmla="*/ 5549633 w 6994525"/>
                  <a:gd name="connsiteY15323" fmla="*/ 2929863 h 7571036"/>
                  <a:gd name="connsiteX15324" fmla="*/ 5578730 w 6994525"/>
                  <a:gd name="connsiteY15324" fmla="*/ 2900766 h 7571036"/>
                  <a:gd name="connsiteX15325" fmla="*/ 5579716 w 6994525"/>
                  <a:gd name="connsiteY15325" fmla="*/ 62756 h 7571036"/>
                  <a:gd name="connsiteX15326" fmla="*/ 5535581 w 6994525"/>
                  <a:gd name="connsiteY15326" fmla="*/ 18622 h 7571036"/>
                  <a:gd name="connsiteX15327" fmla="*/ 5491444 w 6994525"/>
                  <a:gd name="connsiteY15327" fmla="*/ 62756 h 7571036"/>
                  <a:gd name="connsiteX15328" fmla="*/ 5535581 w 6994525"/>
                  <a:gd name="connsiteY15328" fmla="*/ 106891 h 7571036"/>
                  <a:gd name="connsiteX15329" fmla="*/ 5579716 w 6994525"/>
                  <a:gd name="connsiteY15329" fmla="*/ 62756 h 7571036"/>
                  <a:gd name="connsiteX15330" fmla="*/ 5584157 w 6994525"/>
                  <a:gd name="connsiteY15330" fmla="*/ 6611611 h 7571036"/>
                  <a:gd name="connsiteX15331" fmla="*/ 5574542 w 6994525"/>
                  <a:gd name="connsiteY15331" fmla="*/ 6601994 h 7571036"/>
                  <a:gd name="connsiteX15332" fmla="*/ 5564925 w 6994525"/>
                  <a:gd name="connsiteY15332" fmla="*/ 6611611 h 7571036"/>
                  <a:gd name="connsiteX15333" fmla="*/ 5574542 w 6994525"/>
                  <a:gd name="connsiteY15333" fmla="*/ 6621225 h 7571036"/>
                  <a:gd name="connsiteX15334" fmla="*/ 5584157 w 6994525"/>
                  <a:gd name="connsiteY15334" fmla="*/ 6611611 h 7571036"/>
                  <a:gd name="connsiteX15335" fmla="*/ 5584648 w 6994525"/>
                  <a:gd name="connsiteY15335" fmla="*/ 851932 h 7571036"/>
                  <a:gd name="connsiteX15336" fmla="*/ 5538046 w 6994525"/>
                  <a:gd name="connsiteY15336" fmla="*/ 805333 h 7571036"/>
                  <a:gd name="connsiteX15337" fmla="*/ 5491444 w 6994525"/>
                  <a:gd name="connsiteY15337" fmla="*/ 851932 h 7571036"/>
                  <a:gd name="connsiteX15338" fmla="*/ 5538046 w 6994525"/>
                  <a:gd name="connsiteY15338" fmla="*/ 898537 h 7571036"/>
                  <a:gd name="connsiteX15339" fmla="*/ 5584648 w 6994525"/>
                  <a:gd name="connsiteY15339" fmla="*/ 851932 h 7571036"/>
                  <a:gd name="connsiteX15340" fmla="*/ 5588348 w 6994525"/>
                  <a:gd name="connsiteY15340" fmla="*/ 5629500 h 7571036"/>
                  <a:gd name="connsiteX15341" fmla="*/ 5586867 w 6994525"/>
                  <a:gd name="connsiteY15341" fmla="*/ 5628019 h 7571036"/>
                  <a:gd name="connsiteX15342" fmla="*/ 5585388 w 6994525"/>
                  <a:gd name="connsiteY15342" fmla="*/ 5629500 h 7571036"/>
                  <a:gd name="connsiteX15343" fmla="*/ 5586867 w 6994525"/>
                  <a:gd name="connsiteY15343" fmla="*/ 5630977 h 7571036"/>
                  <a:gd name="connsiteX15344" fmla="*/ 5588348 w 6994525"/>
                  <a:gd name="connsiteY15344" fmla="*/ 5629500 h 7571036"/>
                  <a:gd name="connsiteX15345" fmla="*/ 5592539 w 6994525"/>
                  <a:gd name="connsiteY15345" fmla="*/ 721515 h 7571036"/>
                  <a:gd name="connsiteX15346" fmla="*/ 5545691 w 6994525"/>
                  <a:gd name="connsiteY15346" fmla="*/ 674666 h 7571036"/>
                  <a:gd name="connsiteX15347" fmla="*/ 5498840 w 6994525"/>
                  <a:gd name="connsiteY15347" fmla="*/ 721515 h 7571036"/>
                  <a:gd name="connsiteX15348" fmla="*/ 5545691 w 6994525"/>
                  <a:gd name="connsiteY15348" fmla="*/ 768369 h 7571036"/>
                  <a:gd name="connsiteX15349" fmla="*/ 5592539 w 6994525"/>
                  <a:gd name="connsiteY15349" fmla="*/ 721515 h 7571036"/>
                  <a:gd name="connsiteX15350" fmla="*/ 5594511 w 6994525"/>
                  <a:gd name="connsiteY15350" fmla="*/ 4044512 h 7571036"/>
                  <a:gd name="connsiteX15351" fmla="*/ 5552348 w 6994525"/>
                  <a:gd name="connsiteY15351" fmla="*/ 4002346 h 7571036"/>
                  <a:gd name="connsiteX15352" fmla="*/ 5510183 w 6994525"/>
                  <a:gd name="connsiteY15352" fmla="*/ 4044512 h 7571036"/>
                  <a:gd name="connsiteX15353" fmla="*/ 5552348 w 6994525"/>
                  <a:gd name="connsiteY15353" fmla="*/ 4086674 h 7571036"/>
                  <a:gd name="connsiteX15354" fmla="*/ 5594511 w 6994525"/>
                  <a:gd name="connsiteY15354" fmla="*/ 4044512 h 7571036"/>
                  <a:gd name="connsiteX15355" fmla="*/ 5598456 w 6994525"/>
                  <a:gd name="connsiteY15355" fmla="*/ 3013211 h 7571036"/>
                  <a:gd name="connsiteX15356" fmla="*/ 5577745 w 6994525"/>
                  <a:gd name="connsiteY15356" fmla="*/ 2992498 h 7571036"/>
                  <a:gd name="connsiteX15357" fmla="*/ 5557032 w 6994525"/>
                  <a:gd name="connsiteY15357" fmla="*/ 3013211 h 7571036"/>
                  <a:gd name="connsiteX15358" fmla="*/ 5577745 w 6994525"/>
                  <a:gd name="connsiteY15358" fmla="*/ 3033924 h 7571036"/>
                  <a:gd name="connsiteX15359" fmla="*/ 5598456 w 6994525"/>
                  <a:gd name="connsiteY15359" fmla="*/ 3013211 h 7571036"/>
                  <a:gd name="connsiteX15360" fmla="*/ 5599938 w 6994525"/>
                  <a:gd name="connsiteY15360" fmla="*/ 592774 h 7571036"/>
                  <a:gd name="connsiteX15361" fmla="*/ 5553336 w 6994525"/>
                  <a:gd name="connsiteY15361" fmla="*/ 546174 h 7571036"/>
                  <a:gd name="connsiteX15362" fmla="*/ 5506733 w 6994525"/>
                  <a:gd name="connsiteY15362" fmla="*/ 592774 h 7571036"/>
                  <a:gd name="connsiteX15363" fmla="*/ 5553336 w 6994525"/>
                  <a:gd name="connsiteY15363" fmla="*/ 639375 h 7571036"/>
                  <a:gd name="connsiteX15364" fmla="*/ 5599938 w 6994525"/>
                  <a:gd name="connsiteY15364" fmla="*/ 592774 h 7571036"/>
                  <a:gd name="connsiteX15365" fmla="*/ 5600183 w 6994525"/>
                  <a:gd name="connsiteY15365" fmla="*/ 6856707 h 7571036"/>
                  <a:gd name="connsiteX15366" fmla="*/ 5594514 w 6994525"/>
                  <a:gd name="connsiteY15366" fmla="*/ 6851280 h 7571036"/>
                  <a:gd name="connsiteX15367" fmla="*/ 5589088 w 6994525"/>
                  <a:gd name="connsiteY15367" fmla="*/ 6856707 h 7571036"/>
                  <a:gd name="connsiteX15368" fmla="*/ 5594514 w 6994525"/>
                  <a:gd name="connsiteY15368" fmla="*/ 6862130 h 7571036"/>
                  <a:gd name="connsiteX15369" fmla="*/ 5600183 w 6994525"/>
                  <a:gd name="connsiteY15369" fmla="*/ 6856707 h 7571036"/>
                  <a:gd name="connsiteX15370" fmla="*/ 5600432 w 6994525"/>
                  <a:gd name="connsiteY15370" fmla="*/ 6731443 h 7571036"/>
                  <a:gd name="connsiteX15371" fmla="*/ 5589334 w 6994525"/>
                  <a:gd name="connsiteY15371" fmla="*/ 6720348 h 7571036"/>
                  <a:gd name="connsiteX15372" fmla="*/ 5578238 w 6994525"/>
                  <a:gd name="connsiteY15372" fmla="*/ 6731443 h 7571036"/>
                  <a:gd name="connsiteX15373" fmla="*/ 5589334 w 6994525"/>
                  <a:gd name="connsiteY15373" fmla="*/ 6742539 h 7571036"/>
                  <a:gd name="connsiteX15374" fmla="*/ 5600432 w 6994525"/>
                  <a:gd name="connsiteY15374" fmla="*/ 6731443 h 7571036"/>
                  <a:gd name="connsiteX15375" fmla="*/ 5601170 w 6994525"/>
                  <a:gd name="connsiteY15375" fmla="*/ 4970896 h 7571036"/>
                  <a:gd name="connsiteX15376" fmla="*/ 5583417 w 6994525"/>
                  <a:gd name="connsiteY15376" fmla="*/ 4953141 h 7571036"/>
                  <a:gd name="connsiteX15377" fmla="*/ 5565663 w 6994525"/>
                  <a:gd name="connsiteY15377" fmla="*/ 4970896 h 7571036"/>
                  <a:gd name="connsiteX15378" fmla="*/ 5583417 w 6994525"/>
                  <a:gd name="connsiteY15378" fmla="*/ 4988649 h 7571036"/>
                  <a:gd name="connsiteX15379" fmla="*/ 5601170 w 6994525"/>
                  <a:gd name="connsiteY15379" fmla="*/ 4970896 h 7571036"/>
                  <a:gd name="connsiteX15380" fmla="*/ 5602648 w 6994525"/>
                  <a:gd name="connsiteY15380" fmla="*/ 1642360 h 7571036"/>
                  <a:gd name="connsiteX15381" fmla="*/ 5588594 w 6994525"/>
                  <a:gd name="connsiteY15381" fmla="*/ 1628301 h 7571036"/>
                  <a:gd name="connsiteX15382" fmla="*/ 5574539 w 6994525"/>
                  <a:gd name="connsiteY15382" fmla="*/ 1642360 h 7571036"/>
                  <a:gd name="connsiteX15383" fmla="*/ 5588594 w 6994525"/>
                  <a:gd name="connsiteY15383" fmla="*/ 1656405 h 7571036"/>
                  <a:gd name="connsiteX15384" fmla="*/ 5602648 w 6994525"/>
                  <a:gd name="connsiteY15384" fmla="*/ 1642360 h 7571036"/>
                  <a:gd name="connsiteX15385" fmla="*/ 5606104 w 6994525"/>
                  <a:gd name="connsiteY15385" fmla="*/ 464831 h 7571036"/>
                  <a:gd name="connsiteX15386" fmla="*/ 5559994 w 6994525"/>
                  <a:gd name="connsiteY15386" fmla="*/ 418723 h 7571036"/>
                  <a:gd name="connsiteX15387" fmla="*/ 5513883 w 6994525"/>
                  <a:gd name="connsiteY15387" fmla="*/ 464831 h 7571036"/>
                  <a:gd name="connsiteX15388" fmla="*/ 5559994 w 6994525"/>
                  <a:gd name="connsiteY15388" fmla="*/ 510939 h 7571036"/>
                  <a:gd name="connsiteX15389" fmla="*/ 5606104 w 6994525"/>
                  <a:gd name="connsiteY15389" fmla="*/ 464831 h 7571036"/>
                  <a:gd name="connsiteX15390" fmla="*/ 5607088 w 6994525"/>
                  <a:gd name="connsiteY15390" fmla="*/ 4564786 h 7571036"/>
                  <a:gd name="connsiteX15391" fmla="*/ 5579225 w 6994525"/>
                  <a:gd name="connsiteY15391" fmla="*/ 4537168 h 7571036"/>
                  <a:gd name="connsiteX15392" fmla="*/ 5551608 w 6994525"/>
                  <a:gd name="connsiteY15392" fmla="*/ 4564786 h 7571036"/>
                  <a:gd name="connsiteX15393" fmla="*/ 5579225 w 6994525"/>
                  <a:gd name="connsiteY15393" fmla="*/ 4592647 h 7571036"/>
                  <a:gd name="connsiteX15394" fmla="*/ 5607088 w 6994525"/>
                  <a:gd name="connsiteY15394" fmla="*/ 4564786 h 7571036"/>
                  <a:gd name="connsiteX15395" fmla="*/ 5607088 w 6994525"/>
                  <a:gd name="connsiteY15395" fmla="*/ 6980981 h 7571036"/>
                  <a:gd name="connsiteX15396" fmla="*/ 5599447 w 6994525"/>
                  <a:gd name="connsiteY15396" fmla="*/ 6973336 h 7571036"/>
                  <a:gd name="connsiteX15397" fmla="*/ 5591801 w 6994525"/>
                  <a:gd name="connsiteY15397" fmla="*/ 6980981 h 7571036"/>
                  <a:gd name="connsiteX15398" fmla="*/ 5599447 w 6994525"/>
                  <a:gd name="connsiteY15398" fmla="*/ 6988622 h 7571036"/>
                  <a:gd name="connsiteX15399" fmla="*/ 5607088 w 6994525"/>
                  <a:gd name="connsiteY15399" fmla="*/ 6980981 h 7571036"/>
                  <a:gd name="connsiteX15400" fmla="*/ 5608814 w 6994525"/>
                  <a:gd name="connsiteY15400" fmla="*/ 3932071 h 7571036"/>
                  <a:gd name="connsiteX15401" fmla="*/ 5579965 w 6994525"/>
                  <a:gd name="connsiteY15401" fmla="*/ 3902975 h 7571036"/>
                  <a:gd name="connsiteX15402" fmla="*/ 5551116 w 6994525"/>
                  <a:gd name="connsiteY15402" fmla="*/ 3932071 h 7571036"/>
                  <a:gd name="connsiteX15403" fmla="*/ 5579965 w 6994525"/>
                  <a:gd name="connsiteY15403" fmla="*/ 3960922 h 7571036"/>
                  <a:gd name="connsiteX15404" fmla="*/ 5608814 w 6994525"/>
                  <a:gd name="connsiteY15404" fmla="*/ 3932071 h 7571036"/>
                  <a:gd name="connsiteX15405" fmla="*/ 5611525 w 6994525"/>
                  <a:gd name="connsiteY15405" fmla="*/ 338119 h 7571036"/>
                  <a:gd name="connsiteX15406" fmla="*/ 5565908 w 6994525"/>
                  <a:gd name="connsiteY15406" fmla="*/ 292505 h 7571036"/>
                  <a:gd name="connsiteX15407" fmla="*/ 5520292 w 6994525"/>
                  <a:gd name="connsiteY15407" fmla="*/ 338119 h 7571036"/>
                  <a:gd name="connsiteX15408" fmla="*/ 5565908 w 6994525"/>
                  <a:gd name="connsiteY15408" fmla="*/ 383735 h 7571036"/>
                  <a:gd name="connsiteX15409" fmla="*/ 5611525 w 6994525"/>
                  <a:gd name="connsiteY15409" fmla="*/ 338119 h 7571036"/>
                  <a:gd name="connsiteX15410" fmla="*/ 5612265 w 6994525"/>
                  <a:gd name="connsiteY15410" fmla="*/ 1785857 h 7571036"/>
                  <a:gd name="connsiteX15411" fmla="*/ 5567881 w 6994525"/>
                  <a:gd name="connsiteY15411" fmla="*/ 1741463 h 7571036"/>
                  <a:gd name="connsiteX15412" fmla="*/ 5523497 w 6994525"/>
                  <a:gd name="connsiteY15412" fmla="*/ 1785857 h 7571036"/>
                  <a:gd name="connsiteX15413" fmla="*/ 5567881 w 6994525"/>
                  <a:gd name="connsiteY15413" fmla="*/ 1830275 h 7571036"/>
                  <a:gd name="connsiteX15414" fmla="*/ 5612265 w 6994525"/>
                  <a:gd name="connsiteY15414" fmla="*/ 1785857 h 7571036"/>
                  <a:gd name="connsiteX15415" fmla="*/ 5612511 w 6994525"/>
                  <a:gd name="connsiteY15415" fmla="*/ 3126885 h 7571036"/>
                  <a:gd name="connsiteX15416" fmla="*/ 5599938 w 6994525"/>
                  <a:gd name="connsiteY15416" fmla="*/ 3114309 h 7571036"/>
                  <a:gd name="connsiteX15417" fmla="*/ 5587361 w 6994525"/>
                  <a:gd name="connsiteY15417" fmla="*/ 3126885 h 7571036"/>
                  <a:gd name="connsiteX15418" fmla="*/ 5599938 w 6994525"/>
                  <a:gd name="connsiteY15418" fmla="*/ 3139461 h 7571036"/>
                  <a:gd name="connsiteX15419" fmla="*/ 5612511 w 6994525"/>
                  <a:gd name="connsiteY15419" fmla="*/ 3126885 h 7571036"/>
                  <a:gd name="connsiteX15420" fmla="*/ 5612759 w 6994525"/>
                  <a:gd name="connsiteY15420" fmla="*/ 5755991 h 7571036"/>
                  <a:gd name="connsiteX15421" fmla="*/ 5611278 w 6994525"/>
                  <a:gd name="connsiteY15421" fmla="*/ 5754512 h 7571036"/>
                  <a:gd name="connsiteX15422" fmla="*/ 5609800 w 6994525"/>
                  <a:gd name="connsiteY15422" fmla="*/ 5755991 h 7571036"/>
                  <a:gd name="connsiteX15423" fmla="*/ 5611278 w 6994525"/>
                  <a:gd name="connsiteY15423" fmla="*/ 5757472 h 7571036"/>
                  <a:gd name="connsiteX15424" fmla="*/ 5612759 w 6994525"/>
                  <a:gd name="connsiteY15424" fmla="*/ 5755991 h 7571036"/>
                  <a:gd name="connsiteX15425" fmla="*/ 5615227 w 6994525"/>
                  <a:gd name="connsiteY15425" fmla="*/ 5119335 h 7571036"/>
                  <a:gd name="connsiteX15426" fmla="*/ 5607829 w 6994525"/>
                  <a:gd name="connsiteY15426" fmla="*/ 5111936 h 7571036"/>
                  <a:gd name="connsiteX15427" fmla="*/ 5600432 w 6994525"/>
                  <a:gd name="connsiteY15427" fmla="*/ 5119335 h 7571036"/>
                  <a:gd name="connsiteX15428" fmla="*/ 5607829 w 6994525"/>
                  <a:gd name="connsiteY15428" fmla="*/ 5126731 h 7571036"/>
                  <a:gd name="connsiteX15429" fmla="*/ 5615227 w 6994525"/>
                  <a:gd name="connsiteY15429" fmla="*/ 5119335 h 7571036"/>
                  <a:gd name="connsiteX15430" fmla="*/ 5616459 w 6994525"/>
                  <a:gd name="connsiteY15430" fmla="*/ 3818399 h 7571036"/>
                  <a:gd name="connsiteX15431" fmla="*/ 5601663 w 6994525"/>
                  <a:gd name="connsiteY15431" fmla="*/ 3803605 h 7571036"/>
                  <a:gd name="connsiteX15432" fmla="*/ 5586869 w 6994525"/>
                  <a:gd name="connsiteY15432" fmla="*/ 3818399 h 7571036"/>
                  <a:gd name="connsiteX15433" fmla="*/ 5601663 w 6994525"/>
                  <a:gd name="connsiteY15433" fmla="*/ 3833194 h 7571036"/>
                  <a:gd name="connsiteX15434" fmla="*/ 5616459 w 6994525"/>
                  <a:gd name="connsiteY15434" fmla="*/ 3818399 h 7571036"/>
                  <a:gd name="connsiteX15435" fmla="*/ 5619168 w 6994525"/>
                  <a:gd name="connsiteY15435" fmla="*/ 2176361 h 7571036"/>
                  <a:gd name="connsiteX15436" fmla="*/ 5581444 w 6994525"/>
                  <a:gd name="connsiteY15436" fmla="*/ 2138628 h 7571036"/>
                  <a:gd name="connsiteX15437" fmla="*/ 5543718 w 6994525"/>
                  <a:gd name="connsiteY15437" fmla="*/ 2176361 h 7571036"/>
                  <a:gd name="connsiteX15438" fmla="*/ 5581444 w 6994525"/>
                  <a:gd name="connsiteY15438" fmla="*/ 2214095 h 7571036"/>
                  <a:gd name="connsiteX15439" fmla="*/ 5619168 w 6994525"/>
                  <a:gd name="connsiteY15439" fmla="*/ 2176361 h 7571036"/>
                  <a:gd name="connsiteX15440" fmla="*/ 5619172 w 6994525"/>
                  <a:gd name="connsiteY15440" fmla="*/ 2025438 h 7571036"/>
                  <a:gd name="connsiteX15441" fmla="*/ 5612019 w 6994525"/>
                  <a:gd name="connsiteY15441" fmla="*/ 2018283 h 7571036"/>
                  <a:gd name="connsiteX15442" fmla="*/ 5604869 w 6994525"/>
                  <a:gd name="connsiteY15442" fmla="*/ 2025438 h 7571036"/>
                  <a:gd name="connsiteX15443" fmla="*/ 5612019 w 6994525"/>
                  <a:gd name="connsiteY15443" fmla="*/ 2032591 h 7571036"/>
                  <a:gd name="connsiteX15444" fmla="*/ 5619172 w 6994525"/>
                  <a:gd name="connsiteY15444" fmla="*/ 2025438 h 7571036"/>
                  <a:gd name="connsiteX15445" fmla="*/ 5620404 w 6994525"/>
                  <a:gd name="connsiteY15445" fmla="*/ 3703493 h 7571036"/>
                  <a:gd name="connsiteX15446" fmla="*/ 5616951 w 6994525"/>
                  <a:gd name="connsiteY15446" fmla="*/ 3700043 h 7571036"/>
                  <a:gd name="connsiteX15447" fmla="*/ 5613500 w 6994525"/>
                  <a:gd name="connsiteY15447" fmla="*/ 3703493 h 7571036"/>
                  <a:gd name="connsiteX15448" fmla="*/ 5616951 w 6994525"/>
                  <a:gd name="connsiteY15448" fmla="*/ 3707193 h 7571036"/>
                  <a:gd name="connsiteX15449" fmla="*/ 5620404 w 6994525"/>
                  <a:gd name="connsiteY15449" fmla="*/ 3703493 h 7571036"/>
                  <a:gd name="connsiteX15450" fmla="*/ 5620651 w 6994525"/>
                  <a:gd name="connsiteY15450" fmla="*/ 2701787 h 7571036"/>
                  <a:gd name="connsiteX15451" fmla="*/ 5598951 w 6994525"/>
                  <a:gd name="connsiteY15451" fmla="*/ 2679840 h 7571036"/>
                  <a:gd name="connsiteX15452" fmla="*/ 5577253 w 6994525"/>
                  <a:gd name="connsiteY15452" fmla="*/ 2701787 h 7571036"/>
                  <a:gd name="connsiteX15453" fmla="*/ 5598951 w 6994525"/>
                  <a:gd name="connsiteY15453" fmla="*/ 2723486 h 7571036"/>
                  <a:gd name="connsiteX15454" fmla="*/ 5620651 w 6994525"/>
                  <a:gd name="connsiteY15454" fmla="*/ 2701787 h 7571036"/>
                  <a:gd name="connsiteX15455" fmla="*/ 5621388 w 6994525"/>
                  <a:gd name="connsiteY15455" fmla="*/ 3241301 h 7571036"/>
                  <a:gd name="connsiteX15456" fmla="*/ 5615719 w 6994525"/>
                  <a:gd name="connsiteY15456" fmla="*/ 3235629 h 7571036"/>
                  <a:gd name="connsiteX15457" fmla="*/ 5610047 w 6994525"/>
                  <a:gd name="connsiteY15457" fmla="*/ 3241301 h 7571036"/>
                  <a:gd name="connsiteX15458" fmla="*/ 5615719 w 6994525"/>
                  <a:gd name="connsiteY15458" fmla="*/ 3246972 h 7571036"/>
                  <a:gd name="connsiteX15459" fmla="*/ 5621388 w 6994525"/>
                  <a:gd name="connsiteY15459" fmla="*/ 3241301 h 7571036"/>
                  <a:gd name="connsiteX15460" fmla="*/ 5623113 w 6994525"/>
                  <a:gd name="connsiteY15460" fmla="*/ 2433276 h 7571036"/>
                  <a:gd name="connsiteX15461" fmla="*/ 5601169 w 6994525"/>
                  <a:gd name="connsiteY15461" fmla="*/ 2411331 h 7571036"/>
                  <a:gd name="connsiteX15462" fmla="*/ 5579470 w 6994525"/>
                  <a:gd name="connsiteY15462" fmla="*/ 2433276 h 7571036"/>
                  <a:gd name="connsiteX15463" fmla="*/ 5601169 w 6994525"/>
                  <a:gd name="connsiteY15463" fmla="*/ 2454969 h 7571036"/>
                  <a:gd name="connsiteX15464" fmla="*/ 5623113 w 6994525"/>
                  <a:gd name="connsiteY15464" fmla="*/ 2433276 h 7571036"/>
                  <a:gd name="connsiteX15465" fmla="*/ 5623609 w 6994525"/>
                  <a:gd name="connsiteY15465" fmla="*/ 4298480 h 7571036"/>
                  <a:gd name="connsiteX15466" fmla="*/ 5581689 w 6994525"/>
                  <a:gd name="connsiteY15466" fmla="*/ 4256563 h 7571036"/>
                  <a:gd name="connsiteX15467" fmla="*/ 5540019 w 6994525"/>
                  <a:gd name="connsiteY15467" fmla="*/ 4298480 h 7571036"/>
                  <a:gd name="connsiteX15468" fmla="*/ 5581689 w 6994525"/>
                  <a:gd name="connsiteY15468" fmla="*/ 4340400 h 7571036"/>
                  <a:gd name="connsiteX15469" fmla="*/ 5623609 w 6994525"/>
                  <a:gd name="connsiteY15469" fmla="*/ 4298480 h 7571036"/>
                  <a:gd name="connsiteX15470" fmla="*/ 5624842 w 6994525"/>
                  <a:gd name="connsiteY15470" fmla="*/ 5891361 h 7571036"/>
                  <a:gd name="connsiteX15471" fmla="*/ 5623361 w 6994525"/>
                  <a:gd name="connsiteY15471" fmla="*/ 5889883 h 7571036"/>
                  <a:gd name="connsiteX15472" fmla="*/ 5621882 w 6994525"/>
                  <a:gd name="connsiteY15472" fmla="*/ 5891361 h 7571036"/>
                  <a:gd name="connsiteX15473" fmla="*/ 5623361 w 6994525"/>
                  <a:gd name="connsiteY15473" fmla="*/ 5892596 h 7571036"/>
                  <a:gd name="connsiteX15474" fmla="*/ 5624842 w 6994525"/>
                  <a:gd name="connsiteY15474" fmla="*/ 5891361 h 7571036"/>
                  <a:gd name="connsiteX15475" fmla="*/ 5626322 w 6994525"/>
                  <a:gd name="connsiteY15475" fmla="*/ 3588099 h 7571036"/>
                  <a:gd name="connsiteX15476" fmla="*/ 5625827 w 6994525"/>
                  <a:gd name="connsiteY15476" fmla="*/ 3587604 h 7571036"/>
                  <a:gd name="connsiteX15477" fmla="*/ 5625581 w 6994525"/>
                  <a:gd name="connsiteY15477" fmla="*/ 3588099 h 7571036"/>
                  <a:gd name="connsiteX15478" fmla="*/ 5625827 w 6994525"/>
                  <a:gd name="connsiteY15478" fmla="*/ 3588591 h 7571036"/>
                  <a:gd name="connsiteX15479" fmla="*/ 5626322 w 6994525"/>
                  <a:gd name="connsiteY15479" fmla="*/ 3588099 h 7571036"/>
                  <a:gd name="connsiteX15480" fmla="*/ 5627551 w 6994525"/>
                  <a:gd name="connsiteY15480" fmla="*/ 1500839 h 7571036"/>
                  <a:gd name="connsiteX15481" fmla="*/ 5606593 w 6994525"/>
                  <a:gd name="connsiteY15481" fmla="*/ 1479875 h 7571036"/>
                  <a:gd name="connsiteX15482" fmla="*/ 5585635 w 6994525"/>
                  <a:gd name="connsiteY15482" fmla="*/ 1500839 h 7571036"/>
                  <a:gd name="connsiteX15483" fmla="*/ 5606593 w 6994525"/>
                  <a:gd name="connsiteY15483" fmla="*/ 1521802 h 7571036"/>
                  <a:gd name="connsiteX15484" fmla="*/ 5627551 w 6994525"/>
                  <a:gd name="connsiteY15484" fmla="*/ 1500839 h 7571036"/>
                  <a:gd name="connsiteX15485" fmla="*/ 5628541 w 6994525"/>
                  <a:gd name="connsiteY15485" fmla="*/ 3356942 h 7571036"/>
                  <a:gd name="connsiteX15486" fmla="*/ 5625333 w 6994525"/>
                  <a:gd name="connsiteY15486" fmla="*/ 3353729 h 7571036"/>
                  <a:gd name="connsiteX15487" fmla="*/ 5622128 w 6994525"/>
                  <a:gd name="connsiteY15487" fmla="*/ 3356942 h 7571036"/>
                  <a:gd name="connsiteX15488" fmla="*/ 5625333 w 6994525"/>
                  <a:gd name="connsiteY15488" fmla="*/ 3360142 h 7571036"/>
                  <a:gd name="connsiteX15489" fmla="*/ 5628541 w 6994525"/>
                  <a:gd name="connsiteY15489" fmla="*/ 3356942 h 7571036"/>
                  <a:gd name="connsiteX15490" fmla="*/ 5629035 w 6994525"/>
                  <a:gd name="connsiteY15490" fmla="*/ 3472209 h 7571036"/>
                  <a:gd name="connsiteX15491" fmla="*/ 5628543 w 6994525"/>
                  <a:gd name="connsiteY15491" fmla="*/ 3471715 h 7571036"/>
                  <a:gd name="connsiteX15492" fmla="*/ 5628048 w 6994525"/>
                  <a:gd name="connsiteY15492" fmla="*/ 3472209 h 7571036"/>
                  <a:gd name="connsiteX15493" fmla="*/ 5628543 w 6994525"/>
                  <a:gd name="connsiteY15493" fmla="*/ 3472701 h 7571036"/>
                  <a:gd name="connsiteX15494" fmla="*/ 5629035 w 6994525"/>
                  <a:gd name="connsiteY15494" fmla="*/ 3472209 h 7571036"/>
                  <a:gd name="connsiteX15495" fmla="*/ 5633717 w 6994525"/>
                  <a:gd name="connsiteY15495" fmla="*/ 5264076 h 7571036"/>
                  <a:gd name="connsiteX15496" fmla="*/ 5630264 w 6994525"/>
                  <a:gd name="connsiteY15496" fmla="*/ 5260623 h 7571036"/>
                  <a:gd name="connsiteX15497" fmla="*/ 5626813 w 6994525"/>
                  <a:gd name="connsiteY15497" fmla="*/ 5264076 h 7571036"/>
                  <a:gd name="connsiteX15498" fmla="*/ 5630264 w 6994525"/>
                  <a:gd name="connsiteY15498" fmla="*/ 5267527 h 7571036"/>
                  <a:gd name="connsiteX15499" fmla="*/ 5633717 w 6994525"/>
                  <a:gd name="connsiteY15499" fmla="*/ 5264076 h 7571036"/>
                  <a:gd name="connsiteX15500" fmla="*/ 5635444 w 6994525"/>
                  <a:gd name="connsiteY15500" fmla="*/ 6025250 h 7571036"/>
                  <a:gd name="connsiteX15501" fmla="*/ 5633966 w 6994525"/>
                  <a:gd name="connsiteY15501" fmla="*/ 6023772 h 7571036"/>
                  <a:gd name="connsiteX15502" fmla="*/ 5632240 w 6994525"/>
                  <a:gd name="connsiteY15502" fmla="*/ 6025250 h 7571036"/>
                  <a:gd name="connsiteX15503" fmla="*/ 5633966 w 6994525"/>
                  <a:gd name="connsiteY15503" fmla="*/ 6026976 h 7571036"/>
                  <a:gd name="connsiteX15504" fmla="*/ 5635444 w 6994525"/>
                  <a:gd name="connsiteY15504" fmla="*/ 6025250 h 7571036"/>
                  <a:gd name="connsiteX15505" fmla="*/ 5635693 w 6994525"/>
                  <a:gd name="connsiteY15505" fmla="*/ 4721607 h 7571036"/>
                  <a:gd name="connsiteX15506" fmla="*/ 5616212 w 6994525"/>
                  <a:gd name="connsiteY15506" fmla="*/ 4702126 h 7571036"/>
                  <a:gd name="connsiteX15507" fmla="*/ 5596732 w 6994525"/>
                  <a:gd name="connsiteY15507" fmla="*/ 4721607 h 7571036"/>
                  <a:gd name="connsiteX15508" fmla="*/ 5616212 w 6994525"/>
                  <a:gd name="connsiteY15508" fmla="*/ 4741083 h 7571036"/>
                  <a:gd name="connsiteX15509" fmla="*/ 5635693 w 6994525"/>
                  <a:gd name="connsiteY15509" fmla="*/ 4721607 h 7571036"/>
                  <a:gd name="connsiteX15510" fmla="*/ 5647526 w 6994525"/>
                  <a:gd name="connsiteY15510" fmla="*/ 6156924 h 7571036"/>
                  <a:gd name="connsiteX15511" fmla="*/ 5644566 w 6994525"/>
                  <a:gd name="connsiteY15511" fmla="*/ 6153964 h 7571036"/>
                  <a:gd name="connsiteX15512" fmla="*/ 5641607 w 6994525"/>
                  <a:gd name="connsiteY15512" fmla="*/ 6156924 h 7571036"/>
                  <a:gd name="connsiteX15513" fmla="*/ 5644566 w 6994525"/>
                  <a:gd name="connsiteY15513" fmla="*/ 6159883 h 7571036"/>
                  <a:gd name="connsiteX15514" fmla="*/ 5647526 w 6994525"/>
                  <a:gd name="connsiteY15514" fmla="*/ 6156924 h 7571036"/>
                  <a:gd name="connsiteX15515" fmla="*/ 5652457 w 6994525"/>
                  <a:gd name="connsiteY15515" fmla="*/ 1193645 h 7571036"/>
                  <a:gd name="connsiteX15516" fmla="*/ 5605115 w 6994525"/>
                  <a:gd name="connsiteY15516" fmla="*/ 1146306 h 7571036"/>
                  <a:gd name="connsiteX15517" fmla="*/ 5557772 w 6994525"/>
                  <a:gd name="connsiteY15517" fmla="*/ 1193645 h 7571036"/>
                  <a:gd name="connsiteX15518" fmla="*/ 5605115 w 6994525"/>
                  <a:gd name="connsiteY15518" fmla="*/ 1240995 h 7571036"/>
                  <a:gd name="connsiteX15519" fmla="*/ 5652457 w 6994525"/>
                  <a:gd name="connsiteY15519" fmla="*/ 1193645 h 7571036"/>
                  <a:gd name="connsiteX15520" fmla="*/ 5652457 w 6994525"/>
                  <a:gd name="connsiteY15520" fmla="*/ 5406593 h 7571036"/>
                  <a:gd name="connsiteX15521" fmla="*/ 5650484 w 6994525"/>
                  <a:gd name="connsiteY15521" fmla="*/ 5404620 h 7571036"/>
                  <a:gd name="connsiteX15522" fmla="*/ 5648512 w 6994525"/>
                  <a:gd name="connsiteY15522" fmla="*/ 5406593 h 7571036"/>
                  <a:gd name="connsiteX15523" fmla="*/ 5650484 w 6994525"/>
                  <a:gd name="connsiteY15523" fmla="*/ 5408565 h 7571036"/>
                  <a:gd name="connsiteX15524" fmla="*/ 5652457 w 6994525"/>
                  <a:gd name="connsiteY15524" fmla="*/ 5406593 h 7571036"/>
                  <a:gd name="connsiteX15525" fmla="*/ 5656651 w 6994525"/>
                  <a:gd name="connsiteY15525" fmla="*/ 1361548 h 7571036"/>
                  <a:gd name="connsiteX15526" fmla="*/ 5623117 w 6994525"/>
                  <a:gd name="connsiteY15526" fmla="*/ 1328005 h 7571036"/>
                  <a:gd name="connsiteX15527" fmla="*/ 5589582 w 6994525"/>
                  <a:gd name="connsiteY15527" fmla="*/ 1361548 h 7571036"/>
                  <a:gd name="connsiteX15528" fmla="*/ 5623117 w 6994525"/>
                  <a:gd name="connsiteY15528" fmla="*/ 1395079 h 7571036"/>
                  <a:gd name="connsiteX15529" fmla="*/ 5656651 w 6994525"/>
                  <a:gd name="connsiteY15529" fmla="*/ 1361548 h 7571036"/>
                  <a:gd name="connsiteX15530" fmla="*/ 5659116 w 6994525"/>
                  <a:gd name="connsiteY15530" fmla="*/ 6288104 h 7571036"/>
                  <a:gd name="connsiteX15531" fmla="*/ 5653693 w 6994525"/>
                  <a:gd name="connsiteY15531" fmla="*/ 6282678 h 7571036"/>
                  <a:gd name="connsiteX15532" fmla="*/ 5648266 w 6994525"/>
                  <a:gd name="connsiteY15532" fmla="*/ 6288104 h 7571036"/>
                  <a:gd name="connsiteX15533" fmla="*/ 5653693 w 6994525"/>
                  <a:gd name="connsiteY15533" fmla="*/ 6293528 h 7571036"/>
                  <a:gd name="connsiteX15534" fmla="*/ 5659116 w 6994525"/>
                  <a:gd name="connsiteY15534" fmla="*/ 6288104 h 7571036"/>
                  <a:gd name="connsiteX15535" fmla="*/ 5663801 w 6994525"/>
                  <a:gd name="connsiteY15535" fmla="*/ 4077551 h 7571036"/>
                  <a:gd name="connsiteX15536" fmla="*/ 5655663 w 6994525"/>
                  <a:gd name="connsiteY15536" fmla="*/ 4069414 h 7571036"/>
                  <a:gd name="connsiteX15537" fmla="*/ 5647526 w 6994525"/>
                  <a:gd name="connsiteY15537" fmla="*/ 4077551 h 7571036"/>
                  <a:gd name="connsiteX15538" fmla="*/ 5655663 w 6994525"/>
                  <a:gd name="connsiteY15538" fmla="*/ 4085691 h 7571036"/>
                  <a:gd name="connsiteX15539" fmla="*/ 5663801 w 6994525"/>
                  <a:gd name="connsiteY15539" fmla="*/ 4077551 h 7571036"/>
                  <a:gd name="connsiteX15540" fmla="*/ 5664294 w 6994525"/>
                  <a:gd name="connsiteY15540" fmla="*/ 1058534 h 7571036"/>
                  <a:gd name="connsiteX15541" fmla="*/ 5617196 w 6994525"/>
                  <a:gd name="connsiteY15541" fmla="*/ 1011449 h 7571036"/>
                  <a:gd name="connsiteX15542" fmla="*/ 5569854 w 6994525"/>
                  <a:gd name="connsiteY15542" fmla="*/ 1058534 h 7571036"/>
                  <a:gd name="connsiteX15543" fmla="*/ 5617196 w 6994525"/>
                  <a:gd name="connsiteY15543" fmla="*/ 1105637 h 7571036"/>
                  <a:gd name="connsiteX15544" fmla="*/ 5664294 w 6994525"/>
                  <a:gd name="connsiteY15544" fmla="*/ 1058534 h 7571036"/>
                  <a:gd name="connsiteX15545" fmla="*/ 5665279 w 6994525"/>
                  <a:gd name="connsiteY15545" fmla="*/ 4189004 h 7571036"/>
                  <a:gd name="connsiteX15546" fmla="*/ 5621636 w 6994525"/>
                  <a:gd name="connsiteY15546" fmla="*/ 4145360 h 7571036"/>
                  <a:gd name="connsiteX15547" fmla="*/ 5577993 w 6994525"/>
                  <a:gd name="connsiteY15547" fmla="*/ 4189004 h 7571036"/>
                  <a:gd name="connsiteX15548" fmla="*/ 5621636 w 6994525"/>
                  <a:gd name="connsiteY15548" fmla="*/ 4232647 h 7571036"/>
                  <a:gd name="connsiteX15549" fmla="*/ 5665279 w 6994525"/>
                  <a:gd name="connsiteY15549" fmla="*/ 4189004 h 7571036"/>
                  <a:gd name="connsiteX15550" fmla="*/ 5666020 w 6994525"/>
                  <a:gd name="connsiteY15550" fmla="*/ 2812010 h 7571036"/>
                  <a:gd name="connsiteX15551" fmla="*/ 5636431 w 6994525"/>
                  <a:gd name="connsiteY15551" fmla="*/ 2782420 h 7571036"/>
                  <a:gd name="connsiteX15552" fmla="*/ 5606841 w 6994525"/>
                  <a:gd name="connsiteY15552" fmla="*/ 2812010 h 7571036"/>
                  <a:gd name="connsiteX15553" fmla="*/ 5636431 w 6994525"/>
                  <a:gd name="connsiteY15553" fmla="*/ 2841601 h 7571036"/>
                  <a:gd name="connsiteX15554" fmla="*/ 5666020 w 6994525"/>
                  <a:gd name="connsiteY15554" fmla="*/ 2812010 h 7571036"/>
                  <a:gd name="connsiteX15555" fmla="*/ 5668241 w 6994525"/>
                  <a:gd name="connsiteY15555" fmla="*/ 4460483 h 7571036"/>
                  <a:gd name="connsiteX15556" fmla="*/ 5630513 w 6994525"/>
                  <a:gd name="connsiteY15556" fmla="*/ 4422756 h 7571036"/>
                  <a:gd name="connsiteX15557" fmla="*/ 5592787 w 6994525"/>
                  <a:gd name="connsiteY15557" fmla="*/ 4460483 h 7571036"/>
                  <a:gd name="connsiteX15558" fmla="*/ 5630513 w 6994525"/>
                  <a:gd name="connsiteY15558" fmla="*/ 4498207 h 7571036"/>
                  <a:gd name="connsiteX15559" fmla="*/ 5668241 w 6994525"/>
                  <a:gd name="connsiteY15559" fmla="*/ 4460483 h 7571036"/>
                  <a:gd name="connsiteX15560" fmla="*/ 5669964 w 6994525"/>
                  <a:gd name="connsiteY15560" fmla="*/ 6417307 h 7571036"/>
                  <a:gd name="connsiteX15561" fmla="*/ 5662074 w 6994525"/>
                  <a:gd name="connsiteY15561" fmla="*/ 6409416 h 7571036"/>
                  <a:gd name="connsiteX15562" fmla="*/ 5654184 w 6994525"/>
                  <a:gd name="connsiteY15562" fmla="*/ 6417307 h 7571036"/>
                  <a:gd name="connsiteX15563" fmla="*/ 5662074 w 6994525"/>
                  <a:gd name="connsiteY15563" fmla="*/ 6425197 h 7571036"/>
                  <a:gd name="connsiteX15564" fmla="*/ 5669964 w 6994525"/>
                  <a:gd name="connsiteY15564" fmla="*/ 6417307 h 7571036"/>
                  <a:gd name="connsiteX15565" fmla="*/ 5669966 w 6994525"/>
                  <a:gd name="connsiteY15565" fmla="*/ 5547140 h 7571036"/>
                  <a:gd name="connsiteX15566" fmla="*/ 5668485 w 6994525"/>
                  <a:gd name="connsiteY15566" fmla="*/ 5545661 h 7571036"/>
                  <a:gd name="connsiteX15567" fmla="*/ 5667006 w 6994525"/>
                  <a:gd name="connsiteY15567" fmla="*/ 5547140 h 7571036"/>
                  <a:gd name="connsiteX15568" fmla="*/ 5668485 w 6994525"/>
                  <a:gd name="connsiteY15568" fmla="*/ 5548621 h 7571036"/>
                  <a:gd name="connsiteX15569" fmla="*/ 5669966 w 6994525"/>
                  <a:gd name="connsiteY15569" fmla="*/ 5547140 h 7571036"/>
                  <a:gd name="connsiteX15570" fmla="*/ 5670705 w 6994525"/>
                  <a:gd name="connsiteY15570" fmla="*/ 4874975 h 7571036"/>
                  <a:gd name="connsiteX15571" fmla="*/ 5648760 w 6994525"/>
                  <a:gd name="connsiteY15571" fmla="*/ 4853276 h 7571036"/>
                  <a:gd name="connsiteX15572" fmla="*/ 5627062 w 6994525"/>
                  <a:gd name="connsiteY15572" fmla="*/ 4874975 h 7571036"/>
                  <a:gd name="connsiteX15573" fmla="*/ 5648760 w 6994525"/>
                  <a:gd name="connsiteY15573" fmla="*/ 4896674 h 7571036"/>
                  <a:gd name="connsiteX15574" fmla="*/ 5670705 w 6994525"/>
                  <a:gd name="connsiteY15574" fmla="*/ 4874975 h 7571036"/>
                  <a:gd name="connsiteX15575" fmla="*/ 5674156 w 6994525"/>
                  <a:gd name="connsiteY15575" fmla="*/ 250119 h 7571036"/>
                  <a:gd name="connsiteX15576" fmla="*/ 5628786 w 6994525"/>
                  <a:gd name="connsiteY15576" fmla="*/ 204751 h 7571036"/>
                  <a:gd name="connsiteX15577" fmla="*/ 5583416 w 6994525"/>
                  <a:gd name="connsiteY15577" fmla="*/ 250119 h 7571036"/>
                  <a:gd name="connsiteX15578" fmla="*/ 5628786 w 6994525"/>
                  <a:gd name="connsiteY15578" fmla="*/ 295486 h 7571036"/>
                  <a:gd name="connsiteX15579" fmla="*/ 5674156 w 6994525"/>
                  <a:gd name="connsiteY15579" fmla="*/ 250119 h 7571036"/>
                  <a:gd name="connsiteX15580" fmla="*/ 5674159 w 6994525"/>
                  <a:gd name="connsiteY15580" fmla="*/ 1731111 h 7571036"/>
                  <a:gd name="connsiteX15581" fmla="*/ 5663060 w 6994525"/>
                  <a:gd name="connsiteY15581" fmla="*/ 1720001 h 7571036"/>
                  <a:gd name="connsiteX15582" fmla="*/ 5651965 w 6994525"/>
                  <a:gd name="connsiteY15582" fmla="*/ 1731111 h 7571036"/>
                  <a:gd name="connsiteX15583" fmla="*/ 5663060 w 6994525"/>
                  <a:gd name="connsiteY15583" fmla="*/ 1742225 h 7571036"/>
                  <a:gd name="connsiteX15584" fmla="*/ 5674159 w 6994525"/>
                  <a:gd name="connsiteY15584" fmla="*/ 1731111 h 7571036"/>
                  <a:gd name="connsiteX15585" fmla="*/ 5674651 w 6994525"/>
                  <a:gd name="connsiteY15585" fmla="*/ 925169 h 7571036"/>
                  <a:gd name="connsiteX15586" fmla="*/ 5628294 w 6994525"/>
                  <a:gd name="connsiteY15586" fmla="*/ 878798 h 7571036"/>
                  <a:gd name="connsiteX15587" fmla="*/ 5581938 w 6994525"/>
                  <a:gd name="connsiteY15587" fmla="*/ 925169 h 7571036"/>
                  <a:gd name="connsiteX15588" fmla="*/ 5628294 w 6994525"/>
                  <a:gd name="connsiteY15588" fmla="*/ 971521 h 7571036"/>
                  <a:gd name="connsiteX15589" fmla="*/ 5674651 w 6994525"/>
                  <a:gd name="connsiteY15589" fmla="*/ 925169 h 7571036"/>
                  <a:gd name="connsiteX15590" fmla="*/ 5676870 w 6994525"/>
                  <a:gd name="connsiteY15590" fmla="*/ 2276463 h 7571036"/>
                  <a:gd name="connsiteX15591" fmla="*/ 5640622 w 6994525"/>
                  <a:gd name="connsiteY15591" fmla="*/ 2240227 h 7571036"/>
                  <a:gd name="connsiteX15592" fmla="*/ 5604375 w 6994525"/>
                  <a:gd name="connsiteY15592" fmla="*/ 2276463 h 7571036"/>
                  <a:gd name="connsiteX15593" fmla="*/ 5640622 w 6994525"/>
                  <a:gd name="connsiteY15593" fmla="*/ 2312713 h 7571036"/>
                  <a:gd name="connsiteX15594" fmla="*/ 5676870 w 6994525"/>
                  <a:gd name="connsiteY15594" fmla="*/ 2276463 h 7571036"/>
                  <a:gd name="connsiteX15595" fmla="*/ 5677609 w 6994525"/>
                  <a:gd name="connsiteY15595" fmla="*/ 2122370 h 7571036"/>
                  <a:gd name="connsiteX15596" fmla="*/ 5675637 w 6994525"/>
                  <a:gd name="connsiteY15596" fmla="*/ 2120397 h 7571036"/>
                  <a:gd name="connsiteX15597" fmla="*/ 5673664 w 6994525"/>
                  <a:gd name="connsiteY15597" fmla="*/ 2122370 h 7571036"/>
                  <a:gd name="connsiteX15598" fmla="*/ 5675637 w 6994525"/>
                  <a:gd name="connsiteY15598" fmla="*/ 2124342 h 7571036"/>
                  <a:gd name="connsiteX15599" fmla="*/ 5677609 w 6994525"/>
                  <a:gd name="connsiteY15599" fmla="*/ 2122370 h 7571036"/>
                  <a:gd name="connsiteX15600" fmla="*/ 5679334 w 6994525"/>
                  <a:gd name="connsiteY15600" fmla="*/ 124153 h 7571036"/>
                  <a:gd name="connsiteX15601" fmla="*/ 5634457 w 6994525"/>
                  <a:gd name="connsiteY15601" fmla="*/ 79277 h 7571036"/>
                  <a:gd name="connsiteX15602" fmla="*/ 5589334 w 6994525"/>
                  <a:gd name="connsiteY15602" fmla="*/ 124153 h 7571036"/>
                  <a:gd name="connsiteX15603" fmla="*/ 5634457 w 6994525"/>
                  <a:gd name="connsiteY15603" fmla="*/ 169271 h 7571036"/>
                  <a:gd name="connsiteX15604" fmla="*/ 5679334 w 6994525"/>
                  <a:gd name="connsiteY15604" fmla="*/ 124153 h 7571036"/>
                  <a:gd name="connsiteX15605" fmla="*/ 5680566 w 6994525"/>
                  <a:gd name="connsiteY15605" fmla="*/ 6545775 h 7571036"/>
                  <a:gd name="connsiteX15606" fmla="*/ 5669964 w 6994525"/>
                  <a:gd name="connsiteY15606" fmla="*/ 6535171 h 7571036"/>
                  <a:gd name="connsiteX15607" fmla="*/ 5659362 w 6994525"/>
                  <a:gd name="connsiteY15607" fmla="*/ 6545775 h 7571036"/>
                  <a:gd name="connsiteX15608" fmla="*/ 5669964 w 6994525"/>
                  <a:gd name="connsiteY15608" fmla="*/ 6556130 h 7571036"/>
                  <a:gd name="connsiteX15609" fmla="*/ 5680566 w 6994525"/>
                  <a:gd name="connsiteY15609" fmla="*/ 6545775 h 7571036"/>
                  <a:gd name="connsiteX15610" fmla="*/ 5682541 w 6994525"/>
                  <a:gd name="connsiteY15610" fmla="*/ 1877347 h 7571036"/>
                  <a:gd name="connsiteX15611" fmla="*/ 5639390 w 6994525"/>
                  <a:gd name="connsiteY15611" fmla="*/ 1834215 h 7571036"/>
                  <a:gd name="connsiteX15612" fmla="*/ 5596238 w 6994525"/>
                  <a:gd name="connsiteY15612" fmla="*/ 1877347 h 7571036"/>
                  <a:gd name="connsiteX15613" fmla="*/ 5639390 w 6994525"/>
                  <a:gd name="connsiteY15613" fmla="*/ 1920470 h 7571036"/>
                  <a:gd name="connsiteX15614" fmla="*/ 5682541 w 6994525"/>
                  <a:gd name="connsiteY15614" fmla="*/ 1877347 h 7571036"/>
                  <a:gd name="connsiteX15615" fmla="*/ 5683317 w 6994525"/>
                  <a:gd name="connsiteY15615" fmla="*/ 0 h 7571036"/>
                  <a:gd name="connsiteX15616" fmla="*/ 5594958 w 6994525"/>
                  <a:gd name="connsiteY15616" fmla="*/ 0 h 7571036"/>
                  <a:gd name="connsiteX15617" fmla="*/ 5607579 w 6994525"/>
                  <a:gd name="connsiteY15617" fmla="*/ 30481 h 7571036"/>
                  <a:gd name="connsiteX15618" fmla="*/ 5639141 w 6994525"/>
                  <a:gd name="connsiteY15618" fmla="*/ 43550 h 7571036"/>
                  <a:gd name="connsiteX15619" fmla="*/ 5670518 w 6994525"/>
                  <a:gd name="connsiteY15619" fmla="*/ 30481 h 7571036"/>
                  <a:gd name="connsiteX15620" fmla="*/ 5684510 w 6994525"/>
                  <a:gd name="connsiteY15620" fmla="*/ 792778 h 7571036"/>
                  <a:gd name="connsiteX15621" fmla="*/ 5637663 w 6994525"/>
                  <a:gd name="connsiteY15621" fmla="*/ 745934 h 7571036"/>
                  <a:gd name="connsiteX15622" fmla="*/ 5590566 w 6994525"/>
                  <a:gd name="connsiteY15622" fmla="*/ 792778 h 7571036"/>
                  <a:gd name="connsiteX15623" fmla="*/ 5637663 w 6994525"/>
                  <a:gd name="connsiteY15623" fmla="*/ 839637 h 7571036"/>
                  <a:gd name="connsiteX15624" fmla="*/ 5684510 w 6994525"/>
                  <a:gd name="connsiteY15624" fmla="*/ 792778 h 7571036"/>
                  <a:gd name="connsiteX15625" fmla="*/ 5686487 w 6994525"/>
                  <a:gd name="connsiteY15625" fmla="*/ 2538810 h 7571036"/>
                  <a:gd name="connsiteX15626" fmla="*/ 5650238 w 6994525"/>
                  <a:gd name="connsiteY15626" fmla="*/ 2502560 h 7571036"/>
                  <a:gd name="connsiteX15627" fmla="*/ 5613991 w 6994525"/>
                  <a:gd name="connsiteY15627" fmla="*/ 2538810 h 7571036"/>
                  <a:gd name="connsiteX15628" fmla="*/ 5650238 w 6994525"/>
                  <a:gd name="connsiteY15628" fmla="*/ 2575056 h 7571036"/>
                  <a:gd name="connsiteX15629" fmla="*/ 5686487 w 6994525"/>
                  <a:gd name="connsiteY15629" fmla="*/ 2538810 h 7571036"/>
                  <a:gd name="connsiteX15630" fmla="*/ 5686978 w 6994525"/>
                  <a:gd name="connsiteY15630" fmla="*/ 5026128 h 7571036"/>
                  <a:gd name="connsiteX15631" fmla="*/ 5677115 w 6994525"/>
                  <a:gd name="connsiteY15631" fmla="*/ 5016265 h 7571036"/>
                  <a:gd name="connsiteX15632" fmla="*/ 5667251 w 6994525"/>
                  <a:gd name="connsiteY15632" fmla="*/ 5026128 h 7571036"/>
                  <a:gd name="connsiteX15633" fmla="*/ 5677115 w 6994525"/>
                  <a:gd name="connsiteY15633" fmla="*/ 5035991 h 7571036"/>
                  <a:gd name="connsiteX15634" fmla="*/ 5686978 w 6994525"/>
                  <a:gd name="connsiteY15634" fmla="*/ 5026128 h 7571036"/>
                  <a:gd name="connsiteX15635" fmla="*/ 5686979 w 6994525"/>
                  <a:gd name="connsiteY15635" fmla="*/ 3964371 h 7571036"/>
                  <a:gd name="connsiteX15636" fmla="*/ 5684019 w 6994525"/>
                  <a:gd name="connsiteY15636" fmla="*/ 3961413 h 7571036"/>
                  <a:gd name="connsiteX15637" fmla="*/ 5681060 w 6994525"/>
                  <a:gd name="connsiteY15637" fmla="*/ 3964371 h 7571036"/>
                  <a:gd name="connsiteX15638" fmla="*/ 5684019 w 6994525"/>
                  <a:gd name="connsiteY15638" fmla="*/ 3967330 h 7571036"/>
                  <a:gd name="connsiteX15639" fmla="*/ 5686979 w 6994525"/>
                  <a:gd name="connsiteY15639" fmla="*/ 3964371 h 7571036"/>
                  <a:gd name="connsiteX15640" fmla="*/ 5693141 w 6994525"/>
                  <a:gd name="connsiteY15640" fmla="*/ 662114 h 7571036"/>
                  <a:gd name="connsiteX15641" fmla="*/ 5646540 w 6994525"/>
                  <a:gd name="connsiteY15641" fmla="*/ 615458 h 7571036"/>
                  <a:gd name="connsiteX15642" fmla="*/ 5599937 w 6994525"/>
                  <a:gd name="connsiteY15642" fmla="*/ 662114 h 7571036"/>
                  <a:gd name="connsiteX15643" fmla="*/ 5646540 w 6994525"/>
                  <a:gd name="connsiteY15643" fmla="*/ 708715 h 7571036"/>
                  <a:gd name="connsiteX15644" fmla="*/ 5693141 w 6994525"/>
                  <a:gd name="connsiteY15644" fmla="*/ 662114 h 7571036"/>
                  <a:gd name="connsiteX15645" fmla="*/ 5694131 w 6994525"/>
                  <a:gd name="connsiteY15645" fmla="*/ 4620017 h 7571036"/>
                  <a:gd name="connsiteX15646" fmla="*/ 5672678 w 6994525"/>
                  <a:gd name="connsiteY15646" fmla="*/ 4598564 h 7571036"/>
                  <a:gd name="connsiteX15647" fmla="*/ 5651225 w 6994525"/>
                  <a:gd name="connsiteY15647" fmla="*/ 4620017 h 7571036"/>
                  <a:gd name="connsiteX15648" fmla="*/ 5672678 w 6994525"/>
                  <a:gd name="connsiteY15648" fmla="*/ 4641470 h 7571036"/>
                  <a:gd name="connsiteX15649" fmla="*/ 5694131 w 6994525"/>
                  <a:gd name="connsiteY15649" fmla="*/ 4620017 h 7571036"/>
                  <a:gd name="connsiteX15650" fmla="*/ 5696103 w 6994525"/>
                  <a:gd name="connsiteY15650" fmla="*/ 5675113 h 7571036"/>
                  <a:gd name="connsiteX15651" fmla="*/ 5694868 w 6994525"/>
                  <a:gd name="connsiteY15651" fmla="*/ 5673881 h 7571036"/>
                  <a:gd name="connsiteX15652" fmla="*/ 5693636 w 6994525"/>
                  <a:gd name="connsiteY15652" fmla="*/ 5675113 h 7571036"/>
                  <a:gd name="connsiteX15653" fmla="*/ 5694868 w 6994525"/>
                  <a:gd name="connsiteY15653" fmla="*/ 5676348 h 7571036"/>
                  <a:gd name="connsiteX15654" fmla="*/ 5696103 w 6994525"/>
                  <a:gd name="connsiteY15654" fmla="*/ 5675113 h 7571036"/>
                  <a:gd name="connsiteX15655" fmla="*/ 5698075 w 6994525"/>
                  <a:gd name="connsiteY15655" fmla="*/ 6793583 h 7571036"/>
                  <a:gd name="connsiteX15656" fmla="*/ 5692158 w 6994525"/>
                  <a:gd name="connsiteY15656" fmla="*/ 6787665 h 7571036"/>
                  <a:gd name="connsiteX15657" fmla="*/ 5686240 w 6994525"/>
                  <a:gd name="connsiteY15657" fmla="*/ 6793583 h 7571036"/>
                  <a:gd name="connsiteX15658" fmla="*/ 5692158 w 6994525"/>
                  <a:gd name="connsiteY15658" fmla="*/ 6799501 h 7571036"/>
                  <a:gd name="connsiteX15659" fmla="*/ 5698075 w 6994525"/>
                  <a:gd name="connsiteY15659" fmla="*/ 6793583 h 7571036"/>
                  <a:gd name="connsiteX15660" fmla="*/ 5698076 w 6994525"/>
                  <a:gd name="connsiteY15660" fmla="*/ 6666842 h 7571036"/>
                  <a:gd name="connsiteX15661" fmla="*/ 5685992 w 6994525"/>
                  <a:gd name="connsiteY15661" fmla="*/ 6654760 h 7571036"/>
                  <a:gd name="connsiteX15662" fmla="*/ 5673910 w 6994525"/>
                  <a:gd name="connsiteY15662" fmla="*/ 6666842 h 7571036"/>
                  <a:gd name="connsiteX15663" fmla="*/ 5685992 w 6994525"/>
                  <a:gd name="connsiteY15663" fmla="*/ 6678926 h 7571036"/>
                  <a:gd name="connsiteX15664" fmla="*/ 5698076 w 6994525"/>
                  <a:gd name="connsiteY15664" fmla="*/ 6666842 h 7571036"/>
                  <a:gd name="connsiteX15665" fmla="*/ 5701035 w 6994525"/>
                  <a:gd name="connsiteY15665" fmla="*/ 532388 h 7571036"/>
                  <a:gd name="connsiteX15666" fmla="*/ 5654430 w 6994525"/>
                  <a:gd name="connsiteY15666" fmla="*/ 485788 h 7571036"/>
                  <a:gd name="connsiteX15667" fmla="*/ 5607828 w 6994525"/>
                  <a:gd name="connsiteY15667" fmla="*/ 532388 h 7571036"/>
                  <a:gd name="connsiteX15668" fmla="*/ 5654430 w 6994525"/>
                  <a:gd name="connsiteY15668" fmla="*/ 578988 h 7571036"/>
                  <a:gd name="connsiteX15669" fmla="*/ 5701035 w 6994525"/>
                  <a:gd name="connsiteY15669" fmla="*/ 532388 h 7571036"/>
                  <a:gd name="connsiteX15670" fmla="*/ 5701035 w 6994525"/>
                  <a:gd name="connsiteY15670" fmla="*/ 1586884 h 7571036"/>
                  <a:gd name="connsiteX15671" fmla="*/ 5684019 w 6994525"/>
                  <a:gd name="connsiteY15671" fmla="*/ 1569880 h 7571036"/>
                  <a:gd name="connsiteX15672" fmla="*/ 5667006 w 6994525"/>
                  <a:gd name="connsiteY15672" fmla="*/ 1586884 h 7571036"/>
                  <a:gd name="connsiteX15673" fmla="*/ 5684019 w 6994525"/>
                  <a:gd name="connsiteY15673" fmla="*/ 1603907 h 7571036"/>
                  <a:gd name="connsiteX15674" fmla="*/ 5701035 w 6994525"/>
                  <a:gd name="connsiteY15674" fmla="*/ 1586884 h 7571036"/>
                  <a:gd name="connsiteX15675" fmla="*/ 5704732 w 6994525"/>
                  <a:gd name="connsiteY15675" fmla="*/ 2924453 h 7571036"/>
                  <a:gd name="connsiteX15676" fmla="*/ 5668239 w 6994525"/>
                  <a:gd name="connsiteY15676" fmla="*/ 2887959 h 7571036"/>
                  <a:gd name="connsiteX15677" fmla="*/ 5631745 w 6994525"/>
                  <a:gd name="connsiteY15677" fmla="*/ 2924453 h 7571036"/>
                  <a:gd name="connsiteX15678" fmla="*/ 5668239 w 6994525"/>
                  <a:gd name="connsiteY15678" fmla="*/ 2960947 h 7571036"/>
                  <a:gd name="connsiteX15679" fmla="*/ 5704732 w 6994525"/>
                  <a:gd name="connsiteY15679" fmla="*/ 2924453 h 7571036"/>
                  <a:gd name="connsiteX15680" fmla="*/ 5706459 w 6994525"/>
                  <a:gd name="connsiteY15680" fmla="*/ 6919335 h 7571036"/>
                  <a:gd name="connsiteX15681" fmla="*/ 5698076 w 6994525"/>
                  <a:gd name="connsiteY15681" fmla="*/ 6910953 h 7571036"/>
                  <a:gd name="connsiteX15682" fmla="*/ 5689691 w 6994525"/>
                  <a:gd name="connsiteY15682" fmla="*/ 6919335 h 7571036"/>
                  <a:gd name="connsiteX15683" fmla="*/ 5698076 w 6994525"/>
                  <a:gd name="connsiteY15683" fmla="*/ 6927720 h 7571036"/>
                  <a:gd name="connsiteX15684" fmla="*/ 5706459 w 6994525"/>
                  <a:gd name="connsiteY15684" fmla="*/ 6919335 h 7571036"/>
                  <a:gd name="connsiteX15685" fmla="*/ 5706704 w 6994525"/>
                  <a:gd name="connsiteY15685" fmla="*/ 3849715 h 7571036"/>
                  <a:gd name="connsiteX15686" fmla="*/ 5706210 w 6994525"/>
                  <a:gd name="connsiteY15686" fmla="*/ 3849469 h 7571036"/>
                  <a:gd name="connsiteX15687" fmla="*/ 5705718 w 6994525"/>
                  <a:gd name="connsiteY15687" fmla="*/ 3849715 h 7571036"/>
                  <a:gd name="connsiteX15688" fmla="*/ 5706210 w 6994525"/>
                  <a:gd name="connsiteY15688" fmla="*/ 3850209 h 7571036"/>
                  <a:gd name="connsiteX15689" fmla="*/ 5706704 w 6994525"/>
                  <a:gd name="connsiteY15689" fmla="*/ 3849715 h 7571036"/>
                  <a:gd name="connsiteX15690" fmla="*/ 5707691 w 6994525"/>
                  <a:gd name="connsiteY15690" fmla="*/ 403705 h 7571036"/>
                  <a:gd name="connsiteX15691" fmla="*/ 5661334 w 6994525"/>
                  <a:gd name="connsiteY15691" fmla="*/ 357351 h 7571036"/>
                  <a:gd name="connsiteX15692" fmla="*/ 5614978 w 6994525"/>
                  <a:gd name="connsiteY15692" fmla="*/ 403705 h 7571036"/>
                  <a:gd name="connsiteX15693" fmla="*/ 5661334 w 6994525"/>
                  <a:gd name="connsiteY15693" fmla="*/ 450059 h 7571036"/>
                  <a:gd name="connsiteX15694" fmla="*/ 5707691 w 6994525"/>
                  <a:gd name="connsiteY15694" fmla="*/ 403705 h 7571036"/>
                  <a:gd name="connsiteX15695" fmla="*/ 5709417 w 6994525"/>
                  <a:gd name="connsiteY15695" fmla="*/ 5173580 h 7571036"/>
                  <a:gd name="connsiteX15696" fmla="*/ 5703005 w 6994525"/>
                  <a:gd name="connsiteY15696" fmla="*/ 5167170 h 7571036"/>
                  <a:gd name="connsiteX15697" fmla="*/ 5696595 w 6994525"/>
                  <a:gd name="connsiteY15697" fmla="*/ 5173580 h 7571036"/>
                  <a:gd name="connsiteX15698" fmla="*/ 5703005 w 6994525"/>
                  <a:gd name="connsiteY15698" fmla="*/ 5179992 h 7571036"/>
                  <a:gd name="connsiteX15699" fmla="*/ 5709417 w 6994525"/>
                  <a:gd name="connsiteY15699" fmla="*/ 5173580 h 7571036"/>
                  <a:gd name="connsiteX15700" fmla="*/ 5710406 w 6994525"/>
                  <a:gd name="connsiteY15700" fmla="*/ 5812458 h 7571036"/>
                  <a:gd name="connsiteX15701" fmla="*/ 5709171 w 6994525"/>
                  <a:gd name="connsiteY15701" fmla="*/ 5811225 h 7571036"/>
                  <a:gd name="connsiteX15702" fmla="*/ 5707939 w 6994525"/>
                  <a:gd name="connsiteY15702" fmla="*/ 5812458 h 7571036"/>
                  <a:gd name="connsiteX15703" fmla="*/ 5709171 w 6994525"/>
                  <a:gd name="connsiteY15703" fmla="*/ 5813693 h 7571036"/>
                  <a:gd name="connsiteX15704" fmla="*/ 5710406 w 6994525"/>
                  <a:gd name="connsiteY15704" fmla="*/ 5812458 h 7571036"/>
                  <a:gd name="connsiteX15705" fmla="*/ 5721993 w 6994525"/>
                  <a:gd name="connsiteY15705" fmla="*/ 4353470 h 7571036"/>
                  <a:gd name="connsiteX15706" fmla="*/ 5676623 w 6994525"/>
                  <a:gd name="connsiteY15706" fmla="*/ 4307853 h 7571036"/>
                  <a:gd name="connsiteX15707" fmla="*/ 5631253 w 6994525"/>
                  <a:gd name="connsiteY15707" fmla="*/ 4353470 h 7571036"/>
                  <a:gd name="connsiteX15708" fmla="*/ 5676623 w 6994525"/>
                  <a:gd name="connsiteY15708" fmla="*/ 4398839 h 7571036"/>
                  <a:gd name="connsiteX15709" fmla="*/ 5721993 w 6994525"/>
                  <a:gd name="connsiteY15709" fmla="*/ 4353470 h 7571036"/>
                  <a:gd name="connsiteX15710" fmla="*/ 5722734 w 6994525"/>
                  <a:gd name="connsiteY15710" fmla="*/ 3734317 h 7571036"/>
                  <a:gd name="connsiteX15711" fmla="*/ 5722487 w 6994525"/>
                  <a:gd name="connsiteY15711" fmla="*/ 3734071 h 7571036"/>
                  <a:gd name="connsiteX15712" fmla="*/ 5722487 w 6994525"/>
                  <a:gd name="connsiteY15712" fmla="*/ 3734567 h 7571036"/>
                  <a:gd name="connsiteX15713" fmla="*/ 5722734 w 6994525"/>
                  <a:gd name="connsiteY15713" fmla="*/ 3734317 h 7571036"/>
                  <a:gd name="connsiteX15714" fmla="*/ 5723472 w 6994525"/>
                  <a:gd name="connsiteY15714" fmla="*/ 5948814 h 7571036"/>
                  <a:gd name="connsiteX15715" fmla="*/ 5721500 w 6994525"/>
                  <a:gd name="connsiteY15715" fmla="*/ 5946840 h 7571036"/>
                  <a:gd name="connsiteX15716" fmla="*/ 5719526 w 6994525"/>
                  <a:gd name="connsiteY15716" fmla="*/ 5948814 h 7571036"/>
                  <a:gd name="connsiteX15717" fmla="*/ 5721500 w 6994525"/>
                  <a:gd name="connsiteY15717" fmla="*/ 5950786 h 7571036"/>
                  <a:gd name="connsiteX15718" fmla="*/ 5723472 w 6994525"/>
                  <a:gd name="connsiteY15718" fmla="*/ 5948814 h 7571036"/>
                  <a:gd name="connsiteX15719" fmla="*/ 5727911 w 6994525"/>
                  <a:gd name="connsiteY15719" fmla="*/ 5318567 h 7571036"/>
                  <a:gd name="connsiteX15720" fmla="*/ 5725938 w 6994525"/>
                  <a:gd name="connsiteY15720" fmla="*/ 5316593 h 7571036"/>
                  <a:gd name="connsiteX15721" fmla="*/ 5723965 w 6994525"/>
                  <a:gd name="connsiteY15721" fmla="*/ 5318567 h 7571036"/>
                  <a:gd name="connsiteX15722" fmla="*/ 5725938 w 6994525"/>
                  <a:gd name="connsiteY15722" fmla="*/ 5320539 h 7571036"/>
                  <a:gd name="connsiteX15723" fmla="*/ 5727911 w 6994525"/>
                  <a:gd name="connsiteY15723" fmla="*/ 5318567 h 7571036"/>
                  <a:gd name="connsiteX15724" fmla="*/ 5729881 w 6994525"/>
                  <a:gd name="connsiteY15724" fmla="*/ 2379040 h 7571036"/>
                  <a:gd name="connsiteX15725" fmla="*/ 5695113 w 6994525"/>
                  <a:gd name="connsiteY15725" fmla="*/ 2344292 h 7571036"/>
                  <a:gd name="connsiteX15726" fmla="*/ 5660347 w 6994525"/>
                  <a:gd name="connsiteY15726" fmla="*/ 2379040 h 7571036"/>
                  <a:gd name="connsiteX15727" fmla="*/ 5695113 w 6994525"/>
                  <a:gd name="connsiteY15727" fmla="*/ 2413813 h 7571036"/>
                  <a:gd name="connsiteX15728" fmla="*/ 5729881 w 6994525"/>
                  <a:gd name="connsiteY15728" fmla="*/ 2379040 h 7571036"/>
                  <a:gd name="connsiteX15729" fmla="*/ 5731853 w 6994525"/>
                  <a:gd name="connsiteY15729" fmla="*/ 1445376 h 7571036"/>
                  <a:gd name="connsiteX15730" fmla="*/ 5703004 w 6994525"/>
                  <a:gd name="connsiteY15730" fmla="*/ 1416533 h 7571036"/>
                  <a:gd name="connsiteX15731" fmla="*/ 5674156 w 6994525"/>
                  <a:gd name="connsiteY15731" fmla="*/ 1445376 h 7571036"/>
                  <a:gd name="connsiteX15732" fmla="*/ 5703004 w 6994525"/>
                  <a:gd name="connsiteY15732" fmla="*/ 1474228 h 7571036"/>
                  <a:gd name="connsiteX15733" fmla="*/ 5731853 w 6994525"/>
                  <a:gd name="connsiteY15733" fmla="*/ 1445376 h 7571036"/>
                  <a:gd name="connsiteX15734" fmla="*/ 5735061 w 6994525"/>
                  <a:gd name="connsiteY15734" fmla="*/ 3618179 h 7571036"/>
                  <a:gd name="connsiteX15735" fmla="*/ 5732840 w 6994525"/>
                  <a:gd name="connsiteY15735" fmla="*/ 3616207 h 7571036"/>
                  <a:gd name="connsiteX15736" fmla="*/ 5730621 w 6994525"/>
                  <a:gd name="connsiteY15736" fmla="*/ 3618179 h 7571036"/>
                  <a:gd name="connsiteX15737" fmla="*/ 5732840 w 6994525"/>
                  <a:gd name="connsiteY15737" fmla="*/ 3620398 h 7571036"/>
                  <a:gd name="connsiteX15738" fmla="*/ 5735061 w 6994525"/>
                  <a:gd name="connsiteY15738" fmla="*/ 3618179 h 7571036"/>
                  <a:gd name="connsiteX15739" fmla="*/ 5735553 w 6994525"/>
                  <a:gd name="connsiteY15739" fmla="*/ 2222478 h 7571036"/>
                  <a:gd name="connsiteX15740" fmla="*/ 5734815 w 6994525"/>
                  <a:gd name="connsiteY15740" fmla="*/ 2221746 h 7571036"/>
                  <a:gd name="connsiteX15741" fmla="*/ 5734075 w 6994525"/>
                  <a:gd name="connsiteY15741" fmla="*/ 2222478 h 7571036"/>
                  <a:gd name="connsiteX15742" fmla="*/ 5734815 w 6994525"/>
                  <a:gd name="connsiteY15742" fmla="*/ 2223225 h 7571036"/>
                  <a:gd name="connsiteX15743" fmla="*/ 5735553 w 6994525"/>
                  <a:gd name="connsiteY15743" fmla="*/ 2222478 h 7571036"/>
                  <a:gd name="connsiteX15744" fmla="*/ 5735556 w 6994525"/>
                  <a:gd name="connsiteY15744" fmla="*/ 4776099 h 7571036"/>
                  <a:gd name="connsiteX15745" fmla="*/ 5709912 w 6994525"/>
                  <a:gd name="connsiteY15745" fmla="*/ 4750455 h 7571036"/>
                  <a:gd name="connsiteX15746" fmla="*/ 5684268 w 6994525"/>
                  <a:gd name="connsiteY15746" fmla="*/ 4776099 h 7571036"/>
                  <a:gd name="connsiteX15747" fmla="*/ 5709912 w 6994525"/>
                  <a:gd name="connsiteY15747" fmla="*/ 4801744 h 7571036"/>
                  <a:gd name="connsiteX15748" fmla="*/ 5735556 w 6994525"/>
                  <a:gd name="connsiteY15748" fmla="*/ 4776099 h 7571036"/>
                  <a:gd name="connsiteX15749" fmla="*/ 5736541 w 6994525"/>
                  <a:gd name="connsiteY15749" fmla="*/ 1274275 h 7571036"/>
                  <a:gd name="connsiteX15750" fmla="*/ 5688950 w 6994525"/>
                  <a:gd name="connsiteY15750" fmla="*/ 1226689 h 7571036"/>
                  <a:gd name="connsiteX15751" fmla="*/ 5641362 w 6994525"/>
                  <a:gd name="connsiteY15751" fmla="*/ 1274275 h 7571036"/>
                  <a:gd name="connsiteX15752" fmla="*/ 5688950 w 6994525"/>
                  <a:gd name="connsiteY15752" fmla="*/ 1321863 h 7571036"/>
                  <a:gd name="connsiteX15753" fmla="*/ 5736541 w 6994525"/>
                  <a:gd name="connsiteY15753" fmla="*/ 1274275 h 7571036"/>
                  <a:gd name="connsiteX15754" fmla="*/ 5737034 w 6994525"/>
                  <a:gd name="connsiteY15754" fmla="*/ 3037882 h 7571036"/>
                  <a:gd name="connsiteX15755" fmla="*/ 5693882 w 6994525"/>
                  <a:gd name="connsiteY15755" fmla="*/ 2994729 h 7571036"/>
                  <a:gd name="connsiteX15756" fmla="*/ 5650731 w 6994525"/>
                  <a:gd name="connsiteY15756" fmla="*/ 3037882 h 7571036"/>
                  <a:gd name="connsiteX15757" fmla="*/ 5693882 w 6994525"/>
                  <a:gd name="connsiteY15757" fmla="*/ 3081035 h 7571036"/>
                  <a:gd name="connsiteX15758" fmla="*/ 5737034 w 6994525"/>
                  <a:gd name="connsiteY15758" fmla="*/ 3037882 h 7571036"/>
                  <a:gd name="connsiteX15759" fmla="*/ 5737279 w 6994525"/>
                  <a:gd name="connsiteY15759" fmla="*/ 6082951 h 7571036"/>
                  <a:gd name="connsiteX15760" fmla="*/ 5733826 w 6994525"/>
                  <a:gd name="connsiteY15760" fmla="*/ 6079500 h 7571036"/>
                  <a:gd name="connsiteX15761" fmla="*/ 5730375 w 6994525"/>
                  <a:gd name="connsiteY15761" fmla="*/ 6082951 h 7571036"/>
                  <a:gd name="connsiteX15762" fmla="*/ 5733826 w 6994525"/>
                  <a:gd name="connsiteY15762" fmla="*/ 6086404 h 7571036"/>
                  <a:gd name="connsiteX15763" fmla="*/ 5737279 w 6994525"/>
                  <a:gd name="connsiteY15763" fmla="*/ 6082951 h 7571036"/>
                  <a:gd name="connsiteX15764" fmla="*/ 5738019 w 6994525"/>
                  <a:gd name="connsiteY15764" fmla="*/ 2646562 h 7571036"/>
                  <a:gd name="connsiteX15765" fmla="*/ 5694130 w 6994525"/>
                  <a:gd name="connsiteY15765" fmla="*/ 2602671 h 7571036"/>
                  <a:gd name="connsiteX15766" fmla="*/ 5650238 w 6994525"/>
                  <a:gd name="connsiteY15766" fmla="*/ 2646562 h 7571036"/>
                  <a:gd name="connsiteX15767" fmla="*/ 5694130 w 6994525"/>
                  <a:gd name="connsiteY15767" fmla="*/ 2690455 h 7571036"/>
                  <a:gd name="connsiteX15768" fmla="*/ 5738019 w 6994525"/>
                  <a:gd name="connsiteY15768" fmla="*/ 2646562 h 7571036"/>
                  <a:gd name="connsiteX15769" fmla="*/ 5746155 w 6994525"/>
                  <a:gd name="connsiteY15769" fmla="*/ 1823157 h 7571036"/>
                  <a:gd name="connsiteX15770" fmla="*/ 5734075 w 6994525"/>
                  <a:gd name="connsiteY15770" fmla="*/ 1811078 h 7571036"/>
                  <a:gd name="connsiteX15771" fmla="*/ 5721993 w 6994525"/>
                  <a:gd name="connsiteY15771" fmla="*/ 1823157 h 7571036"/>
                  <a:gd name="connsiteX15772" fmla="*/ 5734075 w 6994525"/>
                  <a:gd name="connsiteY15772" fmla="*/ 1835233 h 7571036"/>
                  <a:gd name="connsiteX15773" fmla="*/ 5746155 w 6994525"/>
                  <a:gd name="connsiteY15773" fmla="*/ 1823157 h 7571036"/>
                  <a:gd name="connsiteX15774" fmla="*/ 5747883 w 6994525"/>
                  <a:gd name="connsiteY15774" fmla="*/ 4515716 h 7571036"/>
                  <a:gd name="connsiteX15775" fmla="*/ 5724459 w 6994525"/>
                  <a:gd name="connsiteY15775" fmla="*/ 4492290 h 7571036"/>
                  <a:gd name="connsiteX15776" fmla="*/ 5701034 w 6994525"/>
                  <a:gd name="connsiteY15776" fmla="*/ 4515716 h 7571036"/>
                  <a:gd name="connsiteX15777" fmla="*/ 5724459 w 6994525"/>
                  <a:gd name="connsiteY15777" fmla="*/ 4539141 h 7571036"/>
                  <a:gd name="connsiteX15778" fmla="*/ 5747883 w 6994525"/>
                  <a:gd name="connsiteY15778" fmla="*/ 4515716 h 7571036"/>
                  <a:gd name="connsiteX15779" fmla="*/ 5748375 w 6994525"/>
                  <a:gd name="connsiteY15779" fmla="*/ 5461580 h 7571036"/>
                  <a:gd name="connsiteX15780" fmla="*/ 5746403 w 6994525"/>
                  <a:gd name="connsiteY15780" fmla="*/ 5459607 h 7571036"/>
                  <a:gd name="connsiteX15781" fmla="*/ 5744429 w 6994525"/>
                  <a:gd name="connsiteY15781" fmla="*/ 5461580 h 7571036"/>
                  <a:gd name="connsiteX15782" fmla="*/ 5746403 w 6994525"/>
                  <a:gd name="connsiteY15782" fmla="*/ 5463552 h 7571036"/>
                  <a:gd name="connsiteX15783" fmla="*/ 5748375 w 6994525"/>
                  <a:gd name="connsiteY15783" fmla="*/ 5461580 h 7571036"/>
                  <a:gd name="connsiteX15784" fmla="*/ 5748624 w 6994525"/>
                  <a:gd name="connsiteY15784" fmla="*/ 1971722 h 7571036"/>
                  <a:gd name="connsiteX15785" fmla="*/ 5706704 w 6994525"/>
                  <a:gd name="connsiteY15785" fmla="*/ 1929831 h 7571036"/>
                  <a:gd name="connsiteX15786" fmla="*/ 5664786 w 6994525"/>
                  <a:gd name="connsiteY15786" fmla="*/ 1971722 h 7571036"/>
                  <a:gd name="connsiteX15787" fmla="*/ 5706704 w 6994525"/>
                  <a:gd name="connsiteY15787" fmla="*/ 2013612 h 7571036"/>
                  <a:gd name="connsiteX15788" fmla="*/ 5748624 w 6994525"/>
                  <a:gd name="connsiteY15788" fmla="*/ 1971722 h 7571036"/>
                  <a:gd name="connsiteX15789" fmla="*/ 5748868 w 6994525"/>
                  <a:gd name="connsiteY15789" fmla="*/ 3501550 h 7571036"/>
                  <a:gd name="connsiteX15790" fmla="*/ 5737033 w 6994525"/>
                  <a:gd name="connsiteY15790" fmla="*/ 3489714 h 7571036"/>
                  <a:gd name="connsiteX15791" fmla="*/ 5725197 w 6994525"/>
                  <a:gd name="connsiteY15791" fmla="*/ 3501550 h 7571036"/>
                  <a:gd name="connsiteX15792" fmla="*/ 5737033 w 6994525"/>
                  <a:gd name="connsiteY15792" fmla="*/ 3513385 h 7571036"/>
                  <a:gd name="connsiteX15793" fmla="*/ 5748868 w 6994525"/>
                  <a:gd name="connsiteY15793" fmla="*/ 3501550 h 7571036"/>
                  <a:gd name="connsiteX15794" fmla="*/ 5750347 w 6994525"/>
                  <a:gd name="connsiteY15794" fmla="*/ 1136952 h 7571036"/>
                  <a:gd name="connsiteX15795" fmla="*/ 5703004 w 6994525"/>
                  <a:gd name="connsiteY15795" fmla="*/ 1089617 h 7571036"/>
                  <a:gd name="connsiteX15796" fmla="*/ 5655662 w 6994525"/>
                  <a:gd name="connsiteY15796" fmla="*/ 1136952 h 7571036"/>
                  <a:gd name="connsiteX15797" fmla="*/ 5703004 w 6994525"/>
                  <a:gd name="connsiteY15797" fmla="*/ 1184297 h 7571036"/>
                  <a:gd name="connsiteX15798" fmla="*/ 5750347 w 6994525"/>
                  <a:gd name="connsiteY15798" fmla="*/ 1136952 h 7571036"/>
                  <a:gd name="connsiteX15799" fmla="*/ 5750347 w 6994525"/>
                  <a:gd name="connsiteY15799" fmla="*/ 6215610 h 7571036"/>
                  <a:gd name="connsiteX15800" fmla="*/ 5744429 w 6994525"/>
                  <a:gd name="connsiteY15800" fmla="*/ 6209691 h 7571036"/>
                  <a:gd name="connsiteX15801" fmla="*/ 5738512 w 6994525"/>
                  <a:gd name="connsiteY15801" fmla="*/ 6215610 h 7571036"/>
                  <a:gd name="connsiteX15802" fmla="*/ 5744429 w 6994525"/>
                  <a:gd name="connsiteY15802" fmla="*/ 6221528 h 7571036"/>
                  <a:gd name="connsiteX15803" fmla="*/ 5750347 w 6994525"/>
                  <a:gd name="connsiteY15803" fmla="*/ 6215610 h 7571036"/>
                  <a:gd name="connsiteX15804" fmla="*/ 5756020 w 6994525"/>
                  <a:gd name="connsiteY15804" fmla="*/ 4929963 h 7571036"/>
                  <a:gd name="connsiteX15805" fmla="*/ 5742212 w 6994525"/>
                  <a:gd name="connsiteY15805" fmla="*/ 4916154 h 7571036"/>
                  <a:gd name="connsiteX15806" fmla="*/ 5728403 w 6994525"/>
                  <a:gd name="connsiteY15806" fmla="*/ 4929963 h 7571036"/>
                  <a:gd name="connsiteX15807" fmla="*/ 5742212 w 6994525"/>
                  <a:gd name="connsiteY15807" fmla="*/ 4943772 h 7571036"/>
                  <a:gd name="connsiteX15808" fmla="*/ 5756020 w 6994525"/>
                  <a:gd name="connsiteY15808" fmla="*/ 4929963 h 7571036"/>
                  <a:gd name="connsiteX15809" fmla="*/ 5756514 w 6994525"/>
                  <a:gd name="connsiteY15809" fmla="*/ 3153038 h 7571036"/>
                  <a:gd name="connsiteX15810" fmla="*/ 5713608 w 6994525"/>
                  <a:gd name="connsiteY15810" fmla="*/ 3110131 h 7571036"/>
                  <a:gd name="connsiteX15811" fmla="*/ 5670705 w 6994525"/>
                  <a:gd name="connsiteY15811" fmla="*/ 3153038 h 7571036"/>
                  <a:gd name="connsiteX15812" fmla="*/ 5713608 w 6994525"/>
                  <a:gd name="connsiteY15812" fmla="*/ 3195942 h 7571036"/>
                  <a:gd name="connsiteX15813" fmla="*/ 5756514 w 6994525"/>
                  <a:gd name="connsiteY15813" fmla="*/ 3153038 h 7571036"/>
                  <a:gd name="connsiteX15814" fmla="*/ 5759964 w 6994525"/>
                  <a:gd name="connsiteY15814" fmla="*/ 3385055 h 7571036"/>
                  <a:gd name="connsiteX15815" fmla="*/ 5735306 w 6994525"/>
                  <a:gd name="connsiteY15815" fmla="*/ 3360407 h 7571036"/>
                  <a:gd name="connsiteX15816" fmla="*/ 5710649 w 6994525"/>
                  <a:gd name="connsiteY15816" fmla="*/ 3385055 h 7571036"/>
                  <a:gd name="connsiteX15817" fmla="*/ 5735306 w 6994525"/>
                  <a:gd name="connsiteY15817" fmla="*/ 3409721 h 7571036"/>
                  <a:gd name="connsiteX15818" fmla="*/ 5759964 w 6994525"/>
                  <a:gd name="connsiteY15818" fmla="*/ 3385055 h 7571036"/>
                  <a:gd name="connsiteX15819" fmla="*/ 5762431 w 6994525"/>
                  <a:gd name="connsiteY15819" fmla="*/ 1001602 h 7571036"/>
                  <a:gd name="connsiteX15820" fmla="*/ 5716075 w 6994525"/>
                  <a:gd name="connsiteY15820" fmla="*/ 955502 h 7571036"/>
                  <a:gd name="connsiteX15821" fmla="*/ 5669964 w 6994525"/>
                  <a:gd name="connsiteY15821" fmla="*/ 1001602 h 7571036"/>
                  <a:gd name="connsiteX15822" fmla="*/ 5716075 w 6994525"/>
                  <a:gd name="connsiteY15822" fmla="*/ 1047712 h 7571036"/>
                  <a:gd name="connsiteX15823" fmla="*/ 5762431 w 6994525"/>
                  <a:gd name="connsiteY15823" fmla="*/ 1001602 h 7571036"/>
                  <a:gd name="connsiteX15824" fmla="*/ 5762922 w 6994525"/>
                  <a:gd name="connsiteY15824" fmla="*/ 6346787 h 7571036"/>
                  <a:gd name="connsiteX15825" fmla="*/ 5754295 w 6994525"/>
                  <a:gd name="connsiteY15825" fmla="*/ 6338156 h 7571036"/>
                  <a:gd name="connsiteX15826" fmla="*/ 5745664 w 6994525"/>
                  <a:gd name="connsiteY15826" fmla="*/ 6346787 h 7571036"/>
                  <a:gd name="connsiteX15827" fmla="*/ 5754295 w 6994525"/>
                  <a:gd name="connsiteY15827" fmla="*/ 6355418 h 7571036"/>
                  <a:gd name="connsiteX15828" fmla="*/ 5762922 w 6994525"/>
                  <a:gd name="connsiteY15828" fmla="*/ 6346787 h 7571036"/>
                  <a:gd name="connsiteX15829" fmla="*/ 5763664 w 6994525"/>
                  <a:gd name="connsiteY15829" fmla="*/ 3268678 h 7571036"/>
                  <a:gd name="connsiteX15830" fmla="*/ 5727419 w 6994525"/>
                  <a:gd name="connsiteY15830" fmla="*/ 3232437 h 7571036"/>
                  <a:gd name="connsiteX15831" fmla="*/ 5691172 w 6994525"/>
                  <a:gd name="connsiteY15831" fmla="*/ 3268678 h 7571036"/>
                  <a:gd name="connsiteX15832" fmla="*/ 5727419 w 6994525"/>
                  <a:gd name="connsiteY15832" fmla="*/ 3304922 h 7571036"/>
                  <a:gd name="connsiteX15833" fmla="*/ 5763664 w 6994525"/>
                  <a:gd name="connsiteY15833" fmla="*/ 3268678 h 7571036"/>
                  <a:gd name="connsiteX15834" fmla="*/ 5767609 w 6994525"/>
                  <a:gd name="connsiteY15834" fmla="*/ 4244236 h 7571036"/>
                  <a:gd name="connsiteX15835" fmla="*/ 5717307 w 6994525"/>
                  <a:gd name="connsiteY15835" fmla="*/ 4193688 h 7571036"/>
                  <a:gd name="connsiteX15836" fmla="*/ 5667006 w 6994525"/>
                  <a:gd name="connsiteY15836" fmla="*/ 4244236 h 7571036"/>
                  <a:gd name="connsiteX15837" fmla="*/ 5717307 w 6994525"/>
                  <a:gd name="connsiteY15837" fmla="*/ 4294786 h 7571036"/>
                  <a:gd name="connsiteX15838" fmla="*/ 5767609 w 6994525"/>
                  <a:gd name="connsiteY15838" fmla="*/ 4244236 h 7571036"/>
                  <a:gd name="connsiteX15839" fmla="*/ 5771059 w 6994525"/>
                  <a:gd name="connsiteY15839" fmla="*/ 315703 h 7571036"/>
                  <a:gd name="connsiteX15840" fmla="*/ 5724703 w 6994525"/>
                  <a:gd name="connsiteY15840" fmla="*/ 269350 h 7571036"/>
                  <a:gd name="connsiteX15841" fmla="*/ 5678347 w 6994525"/>
                  <a:gd name="connsiteY15841" fmla="*/ 315703 h 7571036"/>
                  <a:gd name="connsiteX15842" fmla="*/ 5724703 w 6994525"/>
                  <a:gd name="connsiteY15842" fmla="*/ 362057 h 7571036"/>
                  <a:gd name="connsiteX15843" fmla="*/ 5771059 w 6994525"/>
                  <a:gd name="connsiteY15843" fmla="*/ 315703 h 7571036"/>
                  <a:gd name="connsiteX15844" fmla="*/ 5773277 w 6994525"/>
                  <a:gd name="connsiteY15844" fmla="*/ 2756545 h 7571036"/>
                  <a:gd name="connsiteX15845" fmla="*/ 5732594 w 6994525"/>
                  <a:gd name="connsiteY15845" fmla="*/ 2715854 h 7571036"/>
                  <a:gd name="connsiteX15846" fmla="*/ 5691909 w 6994525"/>
                  <a:gd name="connsiteY15846" fmla="*/ 2756545 h 7571036"/>
                  <a:gd name="connsiteX15847" fmla="*/ 5732594 w 6994525"/>
                  <a:gd name="connsiteY15847" fmla="*/ 2797232 h 7571036"/>
                  <a:gd name="connsiteX15848" fmla="*/ 5773277 w 6994525"/>
                  <a:gd name="connsiteY15848" fmla="*/ 2756545 h 7571036"/>
                  <a:gd name="connsiteX15849" fmla="*/ 5774017 w 6994525"/>
                  <a:gd name="connsiteY15849" fmla="*/ 1676148 h 7571036"/>
                  <a:gd name="connsiteX15850" fmla="*/ 5757991 w 6994525"/>
                  <a:gd name="connsiteY15850" fmla="*/ 1660122 h 7571036"/>
                  <a:gd name="connsiteX15851" fmla="*/ 5741965 w 6994525"/>
                  <a:gd name="connsiteY15851" fmla="*/ 1676148 h 7571036"/>
                  <a:gd name="connsiteX15852" fmla="*/ 5757991 w 6994525"/>
                  <a:gd name="connsiteY15852" fmla="*/ 1692181 h 7571036"/>
                  <a:gd name="connsiteX15853" fmla="*/ 5774017 w 6994525"/>
                  <a:gd name="connsiteY15853" fmla="*/ 1676148 h 7571036"/>
                  <a:gd name="connsiteX15854" fmla="*/ 5774021 w 6994525"/>
                  <a:gd name="connsiteY15854" fmla="*/ 867001 h 7571036"/>
                  <a:gd name="connsiteX15855" fmla="*/ 5726925 w 6994525"/>
                  <a:gd name="connsiteY15855" fmla="*/ 819905 h 7571036"/>
                  <a:gd name="connsiteX15856" fmla="*/ 5679828 w 6994525"/>
                  <a:gd name="connsiteY15856" fmla="*/ 867001 h 7571036"/>
                  <a:gd name="connsiteX15857" fmla="*/ 5726925 w 6994525"/>
                  <a:gd name="connsiteY15857" fmla="*/ 914088 h 7571036"/>
                  <a:gd name="connsiteX15858" fmla="*/ 5774021 w 6994525"/>
                  <a:gd name="connsiteY15858" fmla="*/ 867001 h 7571036"/>
                  <a:gd name="connsiteX15859" fmla="*/ 5774513 w 6994525"/>
                  <a:gd name="connsiteY15859" fmla="*/ 6476977 h 7571036"/>
                  <a:gd name="connsiteX15860" fmla="*/ 5763169 w 6994525"/>
                  <a:gd name="connsiteY15860" fmla="*/ 6465636 h 7571036"/>
                  <a:gd name="connsiteX15861" fmla="*/ 5751828 w 6994525"/>
                  <a:gd name="connsiteY15861" fmla="*/ 6476977 h 7571036"/>
                  <a:gd name="connsiteX15862" fmla="*/ 5763169 w 6994525"/>
                  <a:gd name="connsiteY15862" fmla="*/ 6488321 h 7571036"/>
                  <a:gd name="connsiteX15863" fmla="*/ 5774513 w 6994525"/>
                  <a:gd name="connsiteY15863" fmla="*/ 6476977 h 7571036"/>
                  <a:gd name="connsiteX15864" fmla="*/ 5776486 w 6994525"/>
                  <a:gd name="connsiteY15864" fmla="*/ 5591280 h 7571036"/>
                  <a:gd name="connsiteX15865" fmla="*/ 5775500 w 6994525"/>
                  <a:gd name="connsiteY15865" fmla="*/ 5590293 h 7571036"/>
                  <a:gd name="connsiteX15866" fmla="*/ 5774513 w 6994525"/>
                  <a:gd name="connsiteY15866" fmla="*/ 5591280 h 7571036"/>
                  <a:gd name="connsiteX15867" fmla="*/ 5775500 w 6994525"/>
                  <a:gd name="connsiteY15867" fmla="*/ 5592265 h 7571036"/>
                  <a:gd name="connsiteX15868" fmla="*/ 5776486 w 6994525"/>
                  <a:gd name="connsiteY15868" fmla="*/ 5591280 h 7571036"/>
                  <a:gd name="connsiteX15869" fmla="*/ 5777227 w 6994525"/>
                  <a:gd name="connsiteY15869" fmla="*/ 188258 h 7571036"/>
                  <a:gd name="connsiteX15870" fmla="*/ 5731362 w 6994525"/>
                  <a:gd name="connsiteY15870" fmla="*/ 142396 h 7571036"/>
                  <a:gd name="connsiteX15871" fmla="*/ 5685500 w 6994525"/>
                  <a:gd name="connsiteY15871" fmla="*/ 188258 h 7571036"/>
                  <a:gd name="connsiteX15872" fmla="*/ 5731362 w 6994525"/>
                  <a:gd name="connsiteY15872" fmla="*/ 234118 h 7571036"/>
                  <a:gd name="connsiteX15873" fmla="*/ 5777227 w 6994525"/>
                  <a:gd name="connsiteY15873" fmla="*/ 188258 h 7571036"/>
                  <a:gd name="connsiteX15874" fmla="*/ 5777966 w 6994525"/>
                  <a:gd name="connsiteY15874" fmla="*/ 2484331 h 7571036"/>
                  <a:gd name="connsiteX15875" fmla="*/ 5744678 w 6994525"/>
                  <a:gd name="connsiteY15875" fmla="*/ 2451038 h 7571036"/>
                  <a:gd name="connsiteX15876" fmla="*/ 5711390 w 6994525"/>
                  <a:gd name="connsiteY15876" fmla="*/ 2484331 h 7571036"/>
                  <a:gd name="connsiteX15877" fmla="*/ 5744678 w 6994525"/>
                  <a:gd name="connsiteY15877" fmla="*/ 2517615 h 7571036"/>
                  <a:gd name="connsiteX15878" fmla="*/ 5777966 w 6994525"/>
                  <a:gd name="connsiteY15878" fmla="*/ 2484331 h 7571036"/>
                  <a:gd name="connsiteX15879" fmla="*/ 5781418 w 6994525"/>
                  <a:gd name="connsiteY15879" fmla="*/ 5080130 h 7571036"/>
                  <a:gd name="connsiteX15880" fmla="*/ 5771554 w 6994525"/>
                  <a:gd name="connsiteY15880" fmla="*/ 5070512 h 7571036"/>
                  <a:gd name="connsiteX15881" fmla="*/ 5761691 w 6994525"/>
                  <a:gd name="connsiteY15881" fmla="*/ 5080130 h 7571036"/>
                  <a:gd name="connsiteX15882" fmla="*/ 5771554 w 6994525"/>
                  <a:gd name="connsiteY15882" fmla="*/ 5089993 h 7571036"/>
                  <a:gd name="connsiteX15883" fmla="*/ 5781418 w 6994525"/>
                  <a:gd name="connsiteY15883" fmla="*/ 5080130 h 7571036"/>
                  <a:gd name="connsiteX15884" fmla="*/ 5782403 w 6994525"/>
                  <a:gd name="connsiteY15884" fmla="*/ 61549 h 7571036"/>
                  <a:gd name="connsiteX15885" fmla="*/ 5737033 w 6994525"/>
                  <a:gd name="connsiteY15885" fmla="*/ 16182 h 7571036"/>
                  <a:gd name="connsiteX15886" fmla="*/ 5691663 w 6994525"/>
                  <a:gd name="connsiteY15886" fmla="*/ 61549 h 7571036"/>
                  <a:gd name="connsiteX15887" fmla="*/ 5737033 w 6994525"/>
                  <a:gd name="connsiteY15887" fmla="*/ 106916 h 7571036"/>
                  <a:gd name="connsiteX15888" fmla="*/ 5782403 w 6994525"/>
                  <a:gd name="connsiteY15888" fmla="*/ 61549 h 7571036"/>
                  <a:gd name="connsiteX15889" fmla="*/ 5783881 w 6994525"/>
                  <a:gd name="connsiteY15889" fmla="*/ 734109 h 7571036"/>
                  <a:gd name="connsiteX15890" fmla="*/ 5737279 w 6994525"/>
                  <a:gd name="connsiteY15890" fmla="*/ 687518 h 7571036"/>
                  <a:gd name="connsiteX15891" fmla="*/ 5690677 w 6994525"/>
                  <a:gd name="connsiteY15891" fmla="*/ 734109 h 7571036"/>
                  <a:gd name="connsiteX15892" fmla="*/ 5737279 w 6994525"/>
                  <a:gd name="connsiteY15892" fmla="*/ 780725 h 7571036"/>
                  <a:gd name="connsiteX15893" fmla="*/ 5783881 w 6994525"/>
                  <a:gd name="connsiteY15893" fmla="*/ 734109 h 7571036"/>
                  <a:gd name="connsiteX15894" fmla="*/ 5793007 w 6994525"/>
                  <a:gd name="connsiteY15894" fmla="*/ 5731087 h 7571036"/>
                  <a:gd name="connsiteX15895" fmla="*/ 5792021 w 6994525"/>
                  <a:gd name="connsiteY15895" fmla="*/ 5730100 h 7571036"/>
                  <a:gd name="connsiteX15896" fmla="*/ 5791034 w 6994525"/>
                  <a:gd name="connsiteY15896" fmla="*/ 5731087 h 7571036"/>
                  <a:gd name="connsiteX15897" fmla="*/ 5792021 w 6994525"/>
                  <a:gd name="connsiteY15897" fmla="*/ 5732072 h 7571036"/>
                  <a:gd name="connsiteX15898" fmla="*/ 5793007 w 6994525"/>
                  <a:gd name="connsiteY15898" fmla="*/ 5731087 h 7571036"/>
                  <a:gd name="connsiteX15899" fmla="*/ 5793250 w 6994525"/>
                  <a:gd name="connsiteY15899" fmla="*/ 602412 h 7571036"/>
                  <a:gd name="connsiteX15900" fmla="*/ 5746648 w 6994525"/>
                  <a:gd name="connsiteY15900" fmla="*/ 555812 h 7571036"/>
                  <a:gd name="connsiteX15901" fmla="*/ 5700046 w 6994525"/>
                  <a:gd name="connsiteY15901" fmla="*/ 602412 h 7571036"/>
                  <a:gd name="connsiteX15902" fmla="*/ 5746648 w 6994525"/>
                  <a:gd name="connsiteY15902" fmla="*/ 649068 h 7571036"/>
                  <a:gd name="connsiteX15903" fmla="*/ 5793250 w 6994525"/>
                  <a:gd name="connsiteY15903" fmla="*/ 602412 h 7571036"/>
                  <a:gd name="connsiteX15904" fmla="*/ 5793744 w 6994525"/>
                  <a:gd name="connsiteY15904" fmla="*/ 6599278 h 7571036"/>
                  <a:gd name="connsiteX15905" fmla="*/ 5780677 w 6994525"/>
                  <a:gd name="connsiteY15905" fmla="*/ 6586211 h 7571036"/>
                  <a:gd name="connsiteX15906" fmla="*/ 5767609 w 6994525"/>
                  <a:gd name="connsiteY15906" fmla="*/ 6599278 h 7571036"/>
                  <a:gd name="connsiteX15907" fmla="*/ 5780677 w 6994525"/>
                  <a:gd name="connsiteY15907" fmla="*/ 6612346 h 7571036"/>
                  <a:gd name="connsiteX15908" fmla="*/ 5793744 w 6994525"/>
                  <a:gd name="connsiteY15908" fmla="*/ 6599278 h 7571036"/>
                  <a:gd name="connsiteX15909" fmla="*/ 5794485 w 6994525"/>
                  <a:gd name="connsiteY15909" fmla="*/ 6727747 h 7571036"/>
                  <a:gd name="connsiteX15910" fmla="*/ 5788075 w 6994525"/>
                  <a:gd name="connsiteY15910" fmla="*/ 6721337 h 7571036"/>
                  <a:gd name="connsiteX15911" fmla="*/ 5781663 w 6994525"/>
                  <a:gd name="connsiteY15911" fmla="*/ 6727747 h 7571036"/>
                  <a:gd name="connsiteX15912" fmla="*/ 5788075 w 6994525"/>
                  <a:gd name="connsiteY15912" fmla="*/ 6734159 h 7571036"/>
                  <a:gd name="connsiteX15913" fmla="*/ 5794485 w 6994525"/>
                  <a:gd name="connsiteY15913" fmla="*/ 6727747 h 7571036"/>
                  <a:gd name="connsiteX15914" fmla="*/ 5796213 w 6994525"/>
                  <a:gd name="connsiteY15914" fmla="*/ 4674264 h 7571036"/>
                  <a:gd name="connsiteX15915" fmla="*/ 5766623 w 6994525"/>
                  <a:gd name="connsiteY15915" fmla="*/ 4644675 h 7571036"/>
                  <a:gd name="connsiteX15916" fmla="*/ 5737034 w 6994525"/>
                  <a:gd name="connsiteY15916" fmla="*/ 4674264 h 7571036"/>
                  <a:gd name="connsiteX15917" fmla="*/ 5766623 w 6994525"/>
                  <a:gd name="connsiteY15917" fmla="*/ 4704098 h 7571036"/>
                  <a:gd name="connsiteX15918" fmla="*/ 5796213 w 6994525"/>
                  <a:gd name="connsiteY15918" fmla="*/ 4674264 h 7571036"/>
                  <a:gd name="connsiteX15919" fmla="*/ 5801392 w 6994525"/>
                  <a:gd name="connsiteY15919" fmla="*/ 2867999 h 7571036"/>
                  <a:gd name="connsiteX15920" fmla="*/ 5765635 w 6994525"/>
                  <a:gd name="connsiteY15920" fmla="*/ 2831997 h 7571036"/>
                  <a:gd name="connsiteX15921" fmla="*/ 5729637 w 6994525"/>
                  <a:gd name="connsiteY15921" fmla="*/ 2867999 h 7571036"/>
                  <a:gd name="connsiteX15922" fmla="*/ 5765635 w 6994525"/>
                  <a:gd name="connsiteY15922" fmla="*/ 2904000 h 7571036"/>
                  <a:gd name="connsiteX15923" fmla="*/ 5801392 w 6994525"/>
                  <a:gd name="connsiteY15923" fmla="*/ 2867999 h 7571036"/>
                  <a:gd name="connsiteX15924" fmla="*/ 5801884 w 6994525"/>
                  <a:gd name="connsiteY15924" fmla="*/ 472248 h 7571036"/>
                  <a:gd name="connsiteX15925" fmla="*/ 5755033 w 6994525"/>
                  <a:gd name="connsiteY15925" fmla="*/ 425648 h 7571036"/>
                  <a:gd name="connsiteX15926" fmla="*/ 5708431 w 6994525"/>
                  <a:gd name="connsiteY15926" fmla="*/ 472248 h 7571036"/>
                  <a:gd name="connsiteX15927" fmla="*/ 5755033 w 6994525"/>
                  <a:gd name="connsiteY15927" fmla="*/ 518851 h 7571036"/>
                  <a:gd name="connsiteX15928" fmla="*/ 5801884 w 6994525"/>
                  <a:gd name="connsiteY15928" fmla="*/ 472248 h 7571036"/>
                  <a:gd name="connsiteX15929" fmla="*/ 5803116 w 6994525"/>
                  <a:gd name="connsiteY15929" fmla="*/ 5227580 h 7571036"/>
                  <a:gd name="connsiteX15930" fmla="*/ 5797938 w 6994525"/>
                  <a:gd name="connsiteY15930" fmla="*/ 5222402 h 7571036"/>
                  <a:gd name="connsiteX15931" fmla="*/ 5792760 w 6994525"/>
                  <a:gd name="connsiteY15931" fmla="*/ 5227580 h 7571036"/>
                  <a:gd name="connsiteX15932" fmla="*/ 5797938 w 6994525"/>
                  <a:gd name="connsiteY15932" fmla="*/ 5233006 h 7571036"/>
                  <a:gd name="connsiteX15933" fmla="*/ 5803116 w 6994525"/>
                  <a:gd name="connsiteY15933" fmla="*/ 5227580 h 7571036"/>
                  <a:gd name="connsiteX15934" fmla="*/ 5803611 w 6994525"/>
                  <a:gd name="connsiteY15934" fmla="*/ 1531927 h 7571036"/>
                  <a:gd name="connsiteX15935" fmla="*/ 5779693 w 6994525"/>
                  <a:gd name="connsiteY15935" fmla="*/ 1507762 h 7571036"/>
                  <a:gd name="connsiteX15936" fmla="*/ 5755527 w 6994525"/>
                  <a:gd name="connsiteY15936" fmla="*/ 1531927 h 7571036"/>
                  <a:gd name="connsiteX15937" fmla="*/ 5779693 w 6994525"/>
                  <a:gd name="connsiteY15937" fmla="*/ 1556087 h 7571036"/>
                  <a:gd name="connsiteX15938" fmla="*/ 5803611 w 6994525"/>
                  <a:gd name="connsiteY15938" fmla="*/ 1531927 h 7571036"/>
                  <a:gd name="connsiteX15939" fmla="*/ 5804102 w 6994525"/>
                  <a:gd name="connsiteY15939" fmla="*/ 6855226 h 7571036"/>
                  <a:gd name="connsiteX15940" fmla="*/ 5794980 w 6994525"/>
                  <a:gd name="connsiteY15940" fmla="*/ 6846103 h 7571036"/>
                  <a:gd name="connsiteX15941" fmla="*/ 5785856 w 6994525"/>
                  <a:gd name="connsiteY15941" fmla="*/ 6855226 h 7571036"/>
                  <a:gd name="connsiteX15942" fmla="*/ 5794980 w 6994525"/>
                  <a:gd name="connsiteY15942" fmla="*/ 6864348 h 7571036"/>
                  <a:gd name="connsiteX15943" fmla="*/ 5804102 w 6994525"/>
                  <a:gd name="connsiteY15943" fmla="*/ 6855226 h 7571036"/>
                  <a:gd name="connsiteX15944" fmla="*/ 5804348 w 6994525"/>
                  <a:gd name="connsiteY15944" fmla="*/ 4133522 h 7571036"/>
                  <a:gd name="connsiteX15945" fmla="*/ 5752568 w 6994525"/>
                  <a:gd name="connsiteY15945" fmla="*/ 4081742 h 7571036"/>
                  <a:gd name="connsiteX15946" fmla="*/ 5700540 w 6994525"/>
                  <a:gd name="connsiteY15946" fmla="*/ 4133522 h 7571036"/>
                  <a:gd name="connsiteX15947" fmla="*/ 5752568 w 6994525"/>
                  <a:gd name="connsiteY15947" fmla="*/ 4185304 h 7571036"/>
                  <a:gd name="connsiteX15948" fmla="*/ 5804348 w 6994525"/>
                  <a:gd name="connsiteY15948" fmla="*/ 4133522 h 7571036"/>
                  <a:gd name="connsiteX15949" fmla="*/ 5805334 w 6994525"/>
                  <a:gd name="connsiteY15949" fmla="*/ 4409197 h 7571036"/>
                  <a:gd name="connsiteX15950" fmla="*/ 5771062 w 6994525"/>
                  <a:gd name="connsiteY15950" fmla="*/ 4374922 h 7571036"/>
                  <a:gd name="connsiteX15951" fmla="*/ 5736787 w 6994525"/>
                  <a:gd name="connsiteY15951" fmla="*/ 4409197 h 7571036"/>
                  <a:gd name="connsiteX15952" fmla="*/ 5771062 w 6994525"/>
                  <a:gd name="connsiteY15952" fmla="*/ 4443469 h 7571036"/>
                  <a:gd name="connsiteX15953" fmla="*/ 5805334 w 6994525"/>
                  <a:gd name="connsiteY15953" fmla="*/ 4409197 h 7571036"/>
                  <a:gd name="connsiteX15954" fmla="*/ 5808539 w 6994525"/>
                  <a:gd name="connsiteY15954" fmla="*/ 5869415 h 7571036"/>
                  <a:gd name="connsiteX15955" fmla="*/ 5806321 w 6994525"/>
                  <a:gd name="connsiteY15955" fmla="*/ 5867196 h 7571036"/>
                  <a:gd name="connsiteX15956" fmla="*/ 5804102 w 6994525"/>
                  <a:gd name="connsiteY15956" fmla="*/ 5869415 h 7571036"/>
                  <a:gd name="connsiteX15957" fmla="*/ 5806321 w 6994525"/>
                  <a:gd name="connsiteY15957" fmla="*/ 5871882 h 7571036"/>
                  <a:gd name="connsiteX15958" fmla="*/ 5808539 w 6994525"/>
                  <a:gd name="connsiteY15958" fmla="*/ 5869415 h 7571036"/>
                  <a:gd name="connsiteX15959" fmla="*/ 5810757 w 6994525"/>
                  <a:gd name="connsiteY15959" fmla="*/ 2068859 h 7571036"/>
                  <a:gd name="connsiteX15960" fmla="*/ 5770073 w 6994525"/>
                  <a:gd name="connsiteY15960" fmla="*/ 2028165 h 7571036"/>
                  <a:gd name="connsiteX15961" fmla="*/ 5729388 w 6994525"/>
                  <a:gd name="connsiteY15961" fmla="*/ 2068859 h 7571036"/>
                  <a:gd name="connsiteX15962" fmla="*/ 5770073 w 6994525"/>
                  <a:gd name="connsiteY15962" fmla="*/ 2109557 h 7571036"/>
                  <a:gd name="connsiteX15963" fmla="*/ 5810757 w 6994525"/>
                  <a:gd name="connsiteY15963" fmla="*/ 2068859 h 7571036"/>
                  <a:gd name="connsiteX15964" fmla="*/ 5817664 w 6994525"/>
                  <a:gd name="connsiteY15964" fmla="*/ 1358110 h 7571036"/>
                  <a:gd name="connsiteX15965" fmla="*/ 5769828 w 6994525"/>
                  <a:gd name="connsiteY15965" fmla="*/ 1310274 h 7571036"/>
                  <a:gd name="connsiteX15966" fmla="*/ 5721993 w 6994525"/>
                  <a:gd name="connsiteY15966" fmla="*/ 1358110 h 7571036"/>
                  <a:gd name="connsiteX15967" fmla="*/ 5769828 w 6994525"/>
                  <a:gd name="connsiteY15967" fmla="*/ 1405946 h 7571036"/>
                  <a:gd name="connsiteX15968" fmla="*/ 5817664 w 6994525"/>
                  <a:gd name="connsiteY15968" fmla="*/ 1358110 h 7571036"/>
                  <a:gd name="connsiteX15969" fmla="*/ 5819883 w 6994525"/>
                  <a:gd name="connsiteY15969" fmla="*/ 2325040 h 7571036"/>
                  <a:gd name="connsiteX15970" fmla="*/ 5789308 w 6994525"/>
                  <a:gd name="connsiteY15970" fmla="*/ 2294485 h 7571036"/>
                  <a:gd name="connsiteX15971" fmla="*/ 5758732 w 6994525"/>
                  <a:gd name="connsiteY15971" fmla="*/ 2325040 h 7571036"/>
                  <a:gd name="connsiteX15972" fmla="*/ 5789308 w 6994525"/>
                  <a:gd name="connsiteY15972" fmla="*/ 2355649 h 7571036"/>
                  <a:gd name="connsiteX15973" fmla="*/ 5819883 w 6994525"/>
                  <a:gd name="connsiteY15973" fmla="*/ 2325040 h 7571036"/>
                  <a:gd name="connsiteX15974" fmla="*/ 5820624 w 6994525"/>
                  <a:gd name="connsiteY15974" fmla="*/ 1917531 h 7571036"/>
                  <a:gd name="connsiteX15975" fmla="*/ 5801143 w 6994525"/>
                  <a:gd name="connsiteY15975" fmla="*/ 1898065 h 7571036"/>
                  <a:gd name="connsiteX15976" fmla="*/ 5781663 w 6994525"/>
                  <a:gd name="connsiteY15976" fmla="*/ 1917531 h 7571036"/>
                  <a:gd name="connsiteX15977" fmla="*/ 5801143 w 6994525"/>
                  <a:gd name="connsiteY15977" fmla="*/ 1936994 h 7571036"/>
                  <a:gd name="connsiteX15978" fmla="*/ 5820624 w 6994525"/>
                  <a:gd name="connsiteY15978" fmla="*/ 1917531 h 7571036"/>
                  <a:gd name="connsiteX15979" fmla="*/ 5821115 w 6994525"/>
                  <a:gd name="connsiteY15979" fmla="*/ 4831086 h 7571036"/>
                  <a:gd name="connsiteX15980" fmla="*/ 5803362 w 6994525"/>
                  <a:gd name="connsiteY15980" fmla="*/ 4813332 h 7571036"/>
                  <a:gd name="connsiteX15981" fmla="*/ 5785608 w 6994525"/>
                  <a:gd name="connsiteY15981" fmla="*/ 4831086 h 7571036"/>
                  <a:gd name="connsiteX15982" fmla="*/ 5803362 w 6994525"/>
                  <a:gd name="connsiteY15982" fmla="*/ 4848840 h 7571036"/>
                  <a:gd name="connsiteX15983" fmla="*/ 5821115 w 6994525"/>
                  <a:gd name="connsiteY15983" fmla="*/ 4831086 h 7571036"/>
                  <a:gd name="connsiteX15984" fmla="*/ 5821118 w 6994525"/>
                  <a:gd name="connsiteY15984" fmla="*/ 2591837 h 7571036"/>
                  <a:gd name="connsiteX15985" fmla="*/ 5789308 w 6994525"/>
                  <a:gd name="connsiteY15985" fmla="*/ 2560025 h 7571036"/>
                  <a:gd name="connsiteX15986" fmla="*/ 5757500 w 6994525"/>
                  <a:gd name="connsiteY15986" fmla="*/ 2591837 h 7571036"/>
                  <a:gd name="connsiteX15987" fmla="*/ 5789308 w 6994525"/>
                  <a:gd name="connsiteY15987" fmla="*/ 2623645 h 7571036"/>
                  <a:gd name="connsiteX15988" fmla="*/ 5821118 w 6994525"/>
                  <a:gd name="connsiteY15988" fmla="*/ 2591837 h 7571036"/>
                  <a:gd name="connsiteX15989" fmla="*/ 5822843 w 6994525"/>
                  <a:gd name="connsiteY15989" fmla="*/ 2981426 h 7571036"/>
                  <a:gd name="connsiteX15990" fmla="*/ 5793004 w 6994525"/>
                  <a:gd name="connsiteY15990" fmla="*/ 2951590 h 7571036"/>
                  <a:gd name="connsiteX15991" fmla="*/ 5763169 w 6994525"/>
                  <a:gd name="connsiteY15991" fmla="*/ 2981426 h 7571036"/>
                  <a:gd name="connsiteX15992" fmla="*/ 5793004 w 6994525"/>
                  <a:gd name="connsiteY15992" fmla="*/ 3011263 h 7571036"/>
                  <a:gd name="connsiteX15993" fmla="*/ 5822843 w 6994525"/>
                  <a:gd name="connsiteY15993" fmla="*/ 2981426 h 7571036"/>
                  <a:gd name="connsiteX15994" fmla="*/ 5824076 w 6994525"/>
                  <a:gd name="connsiteY15994" fmla="*/ 5373307 h 7571036"/>
                  <a:gd name="connsiteX15995" fmla="*/ 5821364 w 6994525"/>
                  <a:gd name="connsiteY15995" fmla="*/ 5370594 h 7571036"/>
                  <a:gd name="connsiteX15996" fmla="*/ 5818650 w 6994525"/>
                  <a:gd name="connsiteY15996" fmla="*/ 5373307 h 7571036"/>
                  <a:gd name="connsiteX15997" fmla="*/ 5821364 w 6994525"/>
                  <a:gd name="connsiteY15997" fmla="*/ 5376017 h 7571036"/>
                  <a:gd name="connsiteX15998" fmla="*/ 5824076 w 6994525"/>
                  <a:gd name="connsiteY15998" fmla="*/ 5373307 h 7571036"/>
                  <a:gd name="connsiteX15999" fmla="*/ 5824566 w 6994525"/>
                  <a:gd name="connsiteY15999" fmla="*/ 6005524 h 7571036"/>
                  <a:gd name="connsiteX16000" fmla="*/ 5820375 w 6994525"/>
                  <a:gd name="connsiteY16000" fmla="*/ 6001333 h 7571036"/>
                  <a:gd name="connsiteX16001" fmla="*/ 5816184 w 6994525"/>
                  <a:gd name="connsiteY16001" fmla="*/ 6005524 h 7571036"/>
                  <a:gd name="connsiteX16002" fmla="*/ 5820375 w 6994525"/>
                  <a:gd name="connsiteY16002" fmla="*/ 6009715 h 7571036"/>
                  <a:gd name="connsiteX16003" fmla="*/ 5824566 w 6994525"/>
                  <a:gd name="connsiteY16003" fmla="*/ 6005524 h 7571036"/>
                  <a:gd name="connsiteX16004" fmla="*/ 5827033 w 6994525"/>
                  <a:gd name="connsiteY16004" fmla="*/ 4020837 h 7571036"/>
                  <a:gd name="connsiteX16005" fmla="*/ 5782403 w 6994525"/>
                  <a:gd name="connsiteY16005" fmla="*/ 3976207 h 7571036"/>
                  <a:gd name="connsiteX16006" fmla="*/ 5737774 w 6994525"/>
                  <a:gd name="connsiteY16006" fmla="*/ 4020837 h 7571036"/>
                  <a:gd name="connsiteX16007" fmla="*/ 5782403 w 6994525"/>
                  <a:gd name="connsiteY16007" fmla="*/ 4065467 h 7571036"/>
                  <a:gd name="connsiteX16008" fmla="*/ 5827033 w 6994525"/>
                  <a:gd name="connsiteY16008" fmla="*/ 4020837 h 7571036"/>
                  <a:gd name="connsiteX16009" fmla="*/ 5833691 w 6994525"/>
                  <a:gd name="connsiteY16009" fmla="*/ 1218329 h 7571036"/>
                  <a:gd name="connsiteX16010" fmla="*/ 5786100 w 6994525"/>
                  <a:gd name="connsiteY16010" fmla="*/ 1170737 h 7571036"/>
                  <a:gd name="connsiteX16011" fmla="*/ 5738512 w 6994525"/>
                  <a:gd name="connsiteY16011" fmla="*/ 1218329 h 7571036"/>
                  <a:gd name="connsiteX16012" fmla="*/ 5786100 w 6994525"/>
                  <a:gd name="connsiteY16012" fmla="*/ 1265899 h 7571036"/>
                  <a:gd name="connsiteX16013" fmla="*/ 5833691 w 6994525"/>
                  <a:gd name="connsiteY16013" fmla="*/ 1218329 h 7571036"/>
                  <a:gd name="connsiteX16014" fmla="*/ 5838869 w 6994525"/>
                  <a:gd name="connsiteY16014" fmla="*/ 3095597 h 7571036"/>
                  <a:gd name="connsiteX16015" fmla="*/ 5814703 w 6994525"/>
                  <a:gd name="connsiteY16015" fmla="*/ 3071432 h 7571036"/>
                  <a:gd name="connsiteX16016" fmla="*/ 5790539 w 6994525"/>
                  <a:gd name="connsiteY16016" fmla="*/ 3095597 h 7571036"/>
                  <a:gd name="connsiteX16017" fmla="*/ 5814703 w 6994525"/>
                  <a:gd name="connsiteY16017" fmla="*/ 3119764 h 7571036"/>
                  <a:gd name="connsiteX16018" fmla="*/ 5838869 w 6994525"/>
                  <a:gd name="connsiteY16018" fmla="*/ 3095597 h 7571036"/>
                  <a:gd name="connsiteX16019" fmla="*/ 5839114 w 6994525"/>
                  <a:gd name="connsiteY16019" fmla="*/ 6140404 h 7571036"/>
                  <a:gd name="connsiteX16020" fmla="*/ 5832705 w 6994525"/>
                  <a:gd name="connsiteY16020" fmla="*/ 6133992 h 7571036"/>
                  <a:gd name="connsiteX16021" fmla="*/ 5826293 w 6994525"/>
                  <a:gd name="connsiteY16021" fmla="*/ 6140404 h 7571036"/>
                  <a:gd name="connsiteX16022" fmla="*/ 5832705 w 6994525"/>
                  <a:gd name="connsiteY16022" fmla="*/ 6146569 h 7571036"/>
                  <a:gd name="connsiteX16023" fmla="*/ 5839114 w 6994525"/>
                  <a:gd name="connsiteY16023" fmla="*/ 6140404 h 7571036"/>
                  <a:gd name="connsiteX16024" fmla="*/ 5839609 w 6994525"/>
                  <a:gd name="connsiteY16024" fmla="*/ 3906920 h 7571036"/>
                  <a:gd name="connsiteX16025" fmla="*/ 5806321 w 6994525"/>
                  <a:gd name="connsiteY16025" fmla="*/ 3873631 h 7571036"/>
                  <a:gd name="connsiteX16026" fmla="*/ 5773032 w 6994525"/>
                  <a:gd name="connsiteY16026" fmla="*/ 3906920 h 7571036"/>
                  <a:gd name="connsiteX16027" fmla="*/ 5806321 w 6994525"/>
                  <a:gd name="connsiteY16027" fmla="*/ 3940205 h 7571036"/>
                  <a:gd name="connsiteX16028" fmla="*/ 5839609 w 6994525"/>
                  <a:gd name="connsiteY16028" fmla="*/ 3906920 h 7571036"/>
                  <a:gd name="connsiteX16029" fmla="*/ 5846513 w 6994525"/>
                  <a:gd name="connsiteY16029" fmla="*/ 1080757 h 7571036"/>
                  <a:gd name="connsiteX16030" fmla="*/ 5801143 w 6994525"/>
                  <a:gd name="connsiteY16030" fmla="*/ 1035378 h 7571036"/>
                  <a:gd name="connsiteX16031" fmla="*/ 5755774 w 6994525"/>
                  <a:gd name="connsiteY16031" fmla="*/ 1080757 h 7571036"/>
                  <a:gd name="connsiteX16032" fmla="*/ 5801143 w 6994525"/>
                  <a:gd name="connsiteY16032" fmla="*/ 1126130 h 7571036"/>
                  <a:gd name="connsiteX16033" fmla="*/ 5846513 w 6994525"/>
                  <a:gd name="connsiteY16033" fmla="*/ 1080757 h 7571036"/>
                  <a:gd name="connsiteX16034" fmla="*/ 5847008 w 6994525"/>
                  <a:gd name="connsiteY16034" fmla="*/ 1768405 h 7571036"/>
                  <a:gd name="connsiteX16035" fmla="*/ 5828268 w 6994525"/>
                  <a:gd name="connsiteY16035" fmla="*/ 1749648 h 7571036"/>
                  <a:gd name="connsiteX16036" fmla="*/ 5809528 w 6994525"/>
                  <a:gd name="connsiteY16036" fmla="*/ 1768405 h 7571036"/>
                  <a:gd name="connsiteX16037" fmla="*/ 5828268 w 6994525"/>
                  <a:gd name="connsiteY16037" fmla="*/ 1787112 h 7571036"/>
                  <a:gd name="connsiteX16038" fmla="*/ 5847008 w 6994525"/>
                  <a:gd name="connsiteY16038" fmla="*/ 1768405 h 7571036"/>
                  <a:gd name="connsiteX16039" fmla="*/ 5848731 w 6994525"/>
                  <a:gd name="connsiteY16039" fmla="*/ 3210998 h 7571036"/>
                  <a:gd name="connsiteX16040" fmla="*/ 5830486 w 6994525"/>
                  <a:gd name="connsiteY16040" fmla="*/ 3192753 h 7571036"/>
                  <a:gd name="connsiteX16041" fmla="*/ 5812238 w 6994525"/>
                  <a:gd name="connsiteY16041" fmla="*/ 3210998 h 7571036"/>
                  <a:gd name="connsiteX16042" fmla="*/ 5830486 w 6994525"/>
                  <a:gd name="connsiteY16042" fmla="*/ 3229247 h 7571036"/>
                  <a:gd name="connsiteX16043" fmla="*/ 5848731 w 6994525"/>
                  <a:gd name="connsiteY16043" fmla="*/ 3210998 h 7571036"/>
                  <a:gd name="connsiteX16044" fmla="*/ 5849964 w 6994525"/>
                  <a:gd name="connsiteY16044" fmla="*/ 4983963 h 7571036"/>
                  <a:gd name="connsiteX16045" fmla="*/ 5836404 w 6994525"/>
                  <a:gd name="connsiteY16045" fmla="*/ 4970400 h 7571036"/>
                  <a:gd name="connsiteX16046" fmla="*/ 5822842 w 6994525"/>
                  <a:gd name="connsiteY16046" fmla="*/ 4983963 h 7571036"/>
                  <a:gd name="connsiteX16047" fmla="*/ 5836404 w 6994525"/>
                  <a:gd name="connsiteY16047" fmla="*/ 4997525 h 7571036"/>
                  <a:gd name="connsiteX16048" fmla="*/ 5849964 w 6994525"/>
                  <a:gd name="connsiteY16048" fmla="*/ 4983963 h 7571036"/>
                  <a:gd name="connsiteX16049" fmla="*/ 5849965 w 6994525"/>
                  <a:gd name="connsiteY16049" fmla="*/ 3791768 h 7571036"/>
                  <a:gd name="connsiteX16050" fmla="*/ 5824569 w 6994525"/>
                  <a:gd name="connsiteY16050" fmla="*/ 3766371 h 7571036"/>
                  <a:gd name="connsiteX16051" fmla="*/ 5799171 w 6994525"/>
                  <a:gd name="connsiteY16051" fmla="*/ 3791768 h 7571036"/>
                  <a:gd name="connsiteX16052" fmla="*/ 5824569 w 6994525"/>
                  <a:gd name="connsiteY16052" fmla="*/ 3817167 h 7571036"/>
                  <a:gd name="connsiteX16053" fmla="*/ 5849965 w 6994525"/>
                  <a:gd name="connsiteY16053" fmla="*/ 3791768 h 7571036"/>
                  <a:gd name="connsiteX16054" fmla="*/ 5852431 w 6994525"/>
                  <a:gd name="connsiteY16054" fmla="*/ 4570453 h 7571036"/>
                  <a:gd name="connsiteX16055" fmla="*/ 5818402 w 6994525"/>
                  <a:gd name="connsiteY16055" fmla="*/ 4536427 h 7571036"/>
                  <a:gd name="connsiteX16056" fmla="*/ 5784375 w 6994525"/>
                  <a:gd name="connsiteY16056" fmla="*/ 4570453 h 7571036"/>
                  <a:gd name="connsiteX16057" fmla="*/ 5818402 w 6994525"/>
                  <a:gd name="connsiteY16057" fmla="*/ 4604483 h 7571036"/>
                  <a:gd name="connsiteX16058" fmla="*/ 5852431 w 6994525"/>
                  <a:gd name="connsiteY16058" fmla="*/ 4570453 h 7571036"/>
                  <a:gd name="connsiteX16059" fmla="*/ 5853417 w 6994525"/>
                  <a:gd name="connsiteY16059" fmla="*/ 6273556 h 7571036"/>
                  <a:gd name="connsiteX16060" fmla="*/ 5844047 w 6994525"/>
                  <a:gd name="connsiteY16060" fmla="*/ 6264184 h 7571036"/>
                  <a:gd name="connsiteX16061" fmla="*/ 5834677 w 6994525"/>
                  <a:gd name="connsiteY16061" fmla="*/ 6273556 h 7571036"/>
                  <a:gd name="connsiteX16062" fmla="*/ 5844047 w 6994525"/>
                  <a:gd name="connsiteY16062" fmla="*/ 6282924 h 7571036"/>
                  <a:gd name="connsiteX16063" fmla="*/ 5853417 w 6994525"/>
                  <a:gd name="connsiteY16063" fmla="*/ 6273556 h 7571036"/>
                  <a:gd name="connsiteX16064" fmla="*/ 5853663 w 6994525"/>
                  <a:gd name="connsiteY16064" fmla="*/ 5504239 h 7571036"/>
                  <a:gd name="connsiteX16065" fmla="*/ 5852925 w 6994525"/>
                  <a:gd name="connsiteY16065" fmla="*/ 5503499 h 7571036"/>
                  <a:gd name="connsiteX16066" fmla="*/ 5852184 w 6994525"/>
                  <a:gd name="connsiteY16066" fmla="*/ 5504239 h 7571036"/>
                  <a:gd name="connsiteX16067" fmla="*/ 5852925 w 6994525"/>
                  <a:gd name="connsiteY16067" fmla="*/ 5504976 h 7571036"/>
                  <a:gd name="connsiteX16068" fmla="*/ 5853663 w 6994525"/>
                  <a:gd name="connsiteY16068" fmla="*/ 5504239 h 7571036"/>
                  <a:gd name="connsiteX16069" fmla="*/ 5855144 w 6994525"/>
                  <a:gd name="connsiteY16069" fmla="*/ 3327130 h 7571036"/>
                  <a:gd name="connsiteX16070" fmla="*/ 5840841 w 6994525"/>
                  <a:gd name="connsiteY16070" fmla="*/ 3312836 h 7571036"/>
                  <a:gd name="connsiteX16071" fmla="*/ 5826541 w 6994525"/>
                  <a:gd name="connsiteY16071" fmla="*/ 3327130 h 7571036"/>
                  <a:gd name="connsiteX16072" fmla="*/ 5840841 w 6994525"/>
                  <a:gd name="connsiteY16072" fmla="*/ 3341432 h 7571036"/>
                  <a:gd name="connsiteX16073" fmla="*/ 5855144 w 6994525"/>
                  <a:gd name="connsiteY16073" fmla="*/ 3327130 h 7571036"/>
                  <a:gd name="connsiteX16074" fmla="*/ 5855881 w 6994525"/>
                  <a:gd name="connsiteY16074" fmla="*/ 3676125 h 7571036"/>
                  <a:gd name="connsiteX16075" fmla="*/ 5837142 w 6994525"/>
                  <a:gd name="connsiteY16075" fmla="*/ 3657385 h 7571036"/>
                  <a:gd name="connsiteX16076" fmla="*/ 5818402 w 6994525"/>
                  <a:gd name="connsiteY16076" fmla="*/ 3676125 h 7571036"/>
                  <a:gd name="connsiteX16077" fmla="*/ 5837142 w 6994525"/>
                  <a:gd name="connsiteY16077" fmla="*/ 3694865 h 7571036"/>
                  <a:gd name="connsiteX16078" fmla="*/ 5855881 w 6994525"/>
                  <a:gd name="connsiteY16078" fmla="*/ 3676125 h 7571036"/>
                  <a:gd name="connsiteX16079" fmla="*/ 5857363 w 6994525"/>
                  <a:gd name="connsiteY16079" fmla="*/ 3443261 h 7571036"/>
                  <a:gd name="connsiteX16080" fmla="*/ 5845279 w 6994525"/>
                  <a:gd name="connsiteY16080" fmla="*/ 3431201 h 7571036"/>
                  <a:gd name="connsiteX16081" fmla="*/ 5833197 w 6994525"/>
                  <a:gd name="connsiteY16081" fmla="*/ 3443261 h 7571036"/>
                  <a:gd name="connsiteX16082" fmla="*/ 5845279 w 6994525"/>
                  <a:gd name="connsiteY16082" fmla="*/ 3455349 h 7571036"/>
                  <a:gd name="connsiteX16083" fmla="*/ 5857363 w 6994525"/>
                  <a:gd name="connsiteY16083" fmla="*/ 3443261 h 7571036"/>
                  <a:gd name="connsiteX16084" fmla="*/ 5857611 w 6994525"/>
                  <a:gd name="connsiteY16084" fmla="*/ 3559495 h 7571036"/>
                  <a:gd name="connsiteX16085" fmla="*/ 5844047 w 6994525"/>
                  <a:gd name="connsiteY16085" fmla="*/ 3545933 h 7571036"/>
                  <a:gd name="connsiteX16086" fmla="*/ 5830486 w 6994525"/>
                  <a:gd name="connsiteY16086" fmla="*/ 3559495 h 7571036"/>
                  <a:gd name="connsiteX16087" fmla="*/ 5844047 w 6994525"/>
                  <a:gd name="connsiteY16087" fmla="*/ 3573055 h 7571036"/>
                  <a:gd name="connsiteX16088" fmla="*/ 5857611 w 6994525"/>
                  <a:gd name="connsiteY16088" fmla="*/ 3559495 h 7571036"/>
                  <a:gd name="connsiteX16089" fmla="*/ 5858841 w 6994525"/>
                  <a:gd name="connsiteY16089" fmla="*/ 2701322 h 7571036"/>
                  <a:gd name="connsiteX16090" fmla="*/ 5828514 w 6994525"/>
                  <a:gd name="connsiteY16090" fmla="*/ 2670991 h 7571036"/>
                  <a:gd name="connsiteX16091" fmla="*/ 5798184 w 6994525"/>
                  <a:gd name="connsiteY16091" fmla="*/ 2701322 h 7571036"/>
                  <a:gd name="connsiteX16092" fmla="*/ 5828514 w 6994525"/>
                  <a:gd name="connsiteY16092" fmla="*/ 2731649 h 7571036"/>
                  <a:gd name="connsiteX16093" fmla="*/ 5858841 w 6994525"/>
                  <a:gd name="connsiteY16093" fmla="*/ 2701322 h 7571036"/>
                  <a:gd name="connsiteX16094" fmla="*/ 5861308 w 6994525"/>
                  <a:gd name="connsiteY16094" fmla="*/ 943929 h 7571036"/>
                  <a:gd name="connsiteX16095" fmla="*/ 5813965 w 6994525"/>
                  <a:gd name="connsiteY16095" fmla="*/ 896585 h 7571036"/>
                  <a:gd name="connsiteX16096" fmla="*/ 5766622 w 6994525"/>
                  <a:gd name="connsiteY16096" fmla="*/ 943929 h 7571036"/>
                  <a:gd name="connsiteX16097" fmla="*/ 5813965 w 6994525"/>
                  <a:gd name="connsiteY16097" fmla="*/ 991271 h 7571036"/>
                  <a:gd name="connsiteX16098" fmla="*/ 5861308 w 6994525"/>
                  <a:gd name="connsiteY16098" fmla="*/ 943929 h 7571036"/>
                  <a:gd name="connsiteX16099" fmla="*/ 5862048 w 6994525"/>
                  <a:gd name="connsiteY16099" fmla="*/ 4300455 h 7571036"/>
                  <a:gd name="connsiteX16100" fmla="*/ 5812733 w 6994525"/>
                  <a:gd name="connsiteY16100" fmla="*/ 4251140 h 7571036"/>
                  <a:gd name="connsiteX16101" fmla="*/ 5763418 w 6994525"/>
                  <a:gd name="connsiteY16101" fmla="*/ 4300455 h 7571036"/>
                  <a:gd name="connsiteX16102" fmla="*/ 5812733 w 6994525"/>
                  <a:gd name="connsiteY16102" fmla="*/ 4349770 h 7571036"/>
                  <a:gd name="connsiteX16103" fmla="*/ 5862048 w 6994525"/>
                  <a:gd name="connsiteY16103" fmla="*/ 4300455 h 7571036"/>
                  <a:gd name="connsiteX16104" fmla="*/ 5865499 w 6994525"/>
                  <a:gd name="connsiteY16104" fmla="*/ 384496 h 7571036"/>
                  <a:gd name="connsiteX16105" fmla="*/ 5818648 w 6994525"/>
                  <a:gd name="connsiteY16105" fmla="*/ 337649 h 7571036"/>
                  <a:gd name="connsiteX16106" fmla="*/ 5771800 w 6994525"/>
                  <a:gd name="connsiteY16106" fmla="*/ 384496 h 7571036"/>
                  <a:gd name="connsiteX16107" fmla="*/ 5818648 w 6994525"/>
                  <a:gd name="connsiteY16107" fmla="*/ 431343 h 7571036"/>
                  <a:gd name="connsiteX16108" fmla="*/ 5865499 w 6994525"/>
                  <a:gd name="connsiteY16108" fmla="*/ 384496 h 7571036"/>
                  <a:gd name="connsiteX16109" fmla="*/ 5866489 w 6994525"/>
                  <a:gd name="connsiteY16109" fmla="*/ 6405472 h 7571036"/>
                  <a:gd name="connsiteX16110" fmla="*/ 5854404 w 6994525"/>
                  <a:gd name="connsiteY16110" fmla="*/ 6393390 h 7571036"/>
                  <a:gd name="connsiteX16111" fmla="*/ 5842322 w 6994525"/>
                  <a:gd name="connsiteY16111" fmla="*/ 6405472 h 7571036"/>
                  <a:gd name="connsiteX16112" fmla="*/ 5854404 w 6994525"/>
                  <a:gd name="connsiteY16112" fmla="*/ 6417556 h 7571036"/>
                  <a:gd name="connsiteX16113" fmla="*/ 5866489 w 6994525"/>
                  <a:gd name="connsiteY16113" fmla="*/ 6405472 h 7571036"/>
                  <a:gd name="connsiteX16114" fmla="*/ 5868211 w 6994525"/>
                  <a:gd name="connsiteY16114" fmla="*/ 2168745 h 7571036"/>
                  <a:gd name="connsiteX16115" fmla="*/ 5829005 w 6994525"/>
                  <a:gd name="connsiteY16115" fmla="*/ 2129535 h 7571036"/>
                  <a:gd name="connsiteX16116" fmla="*/ 5789553 w 6994525"/>
                  <a:gd name="connsiteY16116" fmla="*/ 2168745 h 7571036"/>
                  <a:gd name="connsiteX16117" fmla="*/ 5829005 w 6994525"/>
                  <a:gd name="connsiteY16117" fmla="*/ 2208198 h 7571036"/>
                  <a:gd name="connsiteX16118" fmla="*/ 5868211 w 6994525"/>
                  <a:gd name="connsiteY16118" fmla="*/ 2168745 h 7571036"/>
                  <a:gd name="connsiteX16119" fmla="*/ 5872403 w 6994525"/>
                  <a:gd name="connsiteY16119" fmla="*/ 809325 h 7571036"/>
                  <a:gd name="connsiteX16120" fmla="*/ 5825800 w 6994525"/>
                  <a:gd name="connsiteY16120" fmla="*/ 762717 h 7571036"/>
                  <a:gd name="connsiteX16121" fmla="*/ 5779199 w 6994525"/>
                  <a:gd name="connsiteY16121" fmla="*/ 809325 h 7571036"/>
                  <a:gd name="connsiteX16122" fmla="*/ 5825800 w 6994525"/>
                  <a:gd name="connsiteY16122" fmla="*/ 855918 h 7571036"/>
                  <a:gd name="connsiteX16123" fmla="*/ 5872403 w 6994525"/>
                  <a:gd name="connsiteY16123" fmla="*/ 809325 h 7571036"/>
                  <a:gd name="connsiteX16124" fmla="*/ 5872649 w 6994525"/>
                  <a:gd name="connsiteY16124" fmla="*/ 5646513 h 7571036"/>
                  <a:gd name="connsiteX16125" fmla="*/ 5871911 w 6994525"/>
                  <a:gd name="connsiteY16125" fmla="*/ 5645772 h 7571036"/>
                  <a:gd name="connsiteX16126" fmla="*/ 5871171 w 6994525"/>
                  <a:gd name="connsiteY16126" fmla="*/ 5646513 h 7571036"/>
                  <a:gd name="connsiteX16127" fmla="*/ 5871911 w 6994525"/>
                  <a:gd name="connsiteY16127" fmla="*/ 5647250 h 7571036"/>
                  <a:gd name="connsiteX16128" fmla="*/ 5872649 w 6994525"/>
                  <a:gd name="connsiteY16128" fmla="*/ 5646513 h 7571036"/>
                  <a:gd name="connsiteX16129" fmla="*/ 5873141 w 6994525"/>
                  <a:gd name="connsiteY16129" fmla="*/ 255320 h 7571036"/>
                  <a:gd name="connsiteX16130" fmla="*/ 5826539 w 6994525"/>
                  <a:gd name="connsiteY16130" fmla="*/ 208720 h 7571036"/>
                  <a:gd name="connsiteX16131" fmla="*/ 5779937 w 6994525"/>
                  <a:gd name="connsiteY16131" fmla="*/ 255320 h 7571036"/>
                  <a:gd name="connsiteX16132" fmla="*/ 5826539 w 6994525"/>
                  <a:gd name="connsiteY16132" fmla="*/ 301921 h 7571036"/>
                  <a:gd name="connsiteX16133" fmla="*/ 5873141 w 6994525"/>
                  <a:gd name="connsiteY16133" fmla="*/ 255320 h 7571036"/>
                  <a:gd name="connsiteX16134" fmla="*/ 5874129 w 6994525"/>
                  <a:gd name="connsiteY16134" fmla="*/ 1621675 h 7571036"/>
                  <a:gd name="connsiteX16135" fmla="*/ 5853171 w 6994525"/>
                  <a:gd name="connsiteY16135" fmla="*/ 1600719 h 7571036"/>
                  <a:gd name="connsiteX16136" fmla="*/ 5832212 w 6994525"/>
                  <a:gd name="connsiteY16136" fmla="*/ 1621675 h 7571036"/>
                  <a:gd name="connsiteX16137" fmla="*/ 5853171 w 6994525"/>
                  <a:gd name="connsiteY16137" fmla="*/ 1642644 h 7571036"/>
                  <a:gd name="connsiteX16138" fmla="*/ 5874129 w 6994525"/>
                  <a:gd name="connsiteY16138" fmla="*/ 1621675 h 7571036"/>
                  <a:gd name="connsiteX16139" fmla="*/ 5875610 w 6994525"/>
                  <a:gd name="connsiteY16139" fmla="*/ 5134127 h 7571036"/>
                  <a:gd name="connsiteX16140" fmla="*/ 5866239 w 6994525"/>
                  <a:gd name="connsiteY16140" fmla="*/ 5124758 h 7571036"/>
                  <a:gd name="connsiteX16141" fmla="*/ 5856870 w 6994525"/>
                  <a:gd name="connsiteY16141" fmla="*/ 5134127 h 7571036"/>
                  <a:gd name="connsiteX16142" fmla="*/ 5866239 w 6994525"/>
                  <a:gd name="connsiteY16142" fmla="*/ 5143498 h 7571036"/>
                  <a:gd name="connsiteX16143" fmla="*/ 5875610 w 6994525"/>
                  <a:gd name="connsiteY16143" fmla="*/ 5134127 h 7571036"/>
                  <a:gd name="connsiteX16144" fmla="*/ 5879306 w 6994525"/>
                  <a:gd name="connsiteY16144" fmla="*/ 126886 h 7571036"/>
                  <a:gd name="connsiteX16145" fmla="*/ 5833199 w 6994525"/>
                  <a:gd name="connsiteY16145" fmla="*/ 80779 h 7571036"/>
                  <a:gd name="connsiteX16146" fmla="*/ 5787089 w 6994525"/>
                  <a:gd name="connsiteY16146" fmla="*/ 126886 h 7571036"/>
                  <a:gd name="connsiteX16147" fmla="*/ 5833199 w 6994525"/>
                  <a:gd name="connsiteY16147" fmla="*/ 172992 h 7571036"/>
                  <a:gd name="connsiteX16148" fmla="*/ 5879306 w 6994525"/>
                  <a:gd name="connsiteY16148" fmla="*/ 126886 h 7571036"/>
                  <a:gd name="connsiteX16149" fmla="*/ 5881280 w 6994525"/>
                  <a:gd name="connsiteY16149" fmla="*/ 4729992 h 7571036"/>
                  <a:gd name="connsiteX16150" fmla="*/ 5859830 w 6994525"/>
                  <a:gd name="connsiteY16150" fmla="*/ 4708539 h 7571036"/>
                  <a:gd name="connsiteX16151" fmla="*/ 5838377 w 6994525"/>
                  <a:gd name="connsiteY16151" fmla="*/ 4729992 h 7571036"/>
                  <a:gd name="connsiteX16152" fmla="*/ 5859830 w 6994525"/>
                  <a:gd name="connsiteY16152" fmla="*/ 4751445 h 7571036"/>
                  <a:gd name="connsiteX16153" fmla="*/ 5881280 w 6994525"/>
                  <a:gd name="connsiteY16153" fmla="*/ 4729992 h 7571036"/>
                  <a:gd name="connsiteX16154" fmla="*/ 5882515 w 6994525"/>
                  <a:gd name="connsiteY16154" fmla="*/ 2430098 h 7571036"/>
                  <a:gd name="connsiteX16155" fmla="*/ 5839363 w 6994525"/>
                  <a:gd name="connsiteY16155" fmla="*/ 2386951 h 7571036"/>
                  <a:gd name="connsiteX16156" fmla="*/ 5796212 w 6994525"/>
                  <a:gd name="connsiteY16156" fmla="*/ 2430098 h 7571036"/>
                  <a:gd name="connsiteX16157" fmla="*/ 5839363 w 6994525"/>
                  <a:gd name="connsiteY16157" fmla="*/ 2473251 h 7571036"/>
                  <a:gd name="connsiteX16158" fmla="*/ 5882515 w 6994525"/>
                  <a:gd name="connsiteY16158" fmla="*/ 2430098 h 7571036"/>
                  <a:gd name="connsiteX16159" fmla="*/ 5883252 w 6994525"/>
                  <a:gd name="connsiteY16159" fmla="*/ 675701 h 7571036"/>
                  <a:gd name="connsiteX16160" fmla="*/ 5836650 w 6994525"/>
                  <a:gd name="connsiteY16160" fmla="*/ 629041 h 7571036"/>
                  <a:gd name="connsiteX16161" fmla="*/ 5790048 w 6994525"/>
                  <a:gd name="connsiteY16161" fmla="*/ 675701 h 7571036"/>
                  <a:gd name="connsiteX16162" fmla="*/ 5836650 w 6994525"/>
                  <a:gd name="connsiteY16162" fmla="*/ 722308 h 7571036"/>
                  <a:gd name="connsiteX16163" fmla="*/ 5883252 w 6994525"/>
                  <a:gd name="connsiteY16163" fmla="*/ 675701 h 7571036"/>
                  <a:gd name="connsiteX16164" fmla="*/ 5887197 w 6994525"/>
                  <a:gd name="connsiteY16164" fmla="*/ 6529006 h 7571036"/>
                  <a:gd name="connsiteX16165" fmla="*/ 5873390 w 6994525"/>
                  <a:gd name="connsiteY16165" fmla="*/ 6515197 h 7571036"/>
                  <a:gd name="connsiteX16166" fmla="*/ 5859581 w 6994525"/>
                  <a:gd name="connsiteY16166" fmla="*/ 6529006 h 7571036"/>
                  <a:gd name="connsiteX16167" fmla="*/ 5873390 w 6994525"/>
                  <a:gd name="connsiteY16167" fmla="*/ 6542815 h 7571036"/>
                  <a:gd name="connsiteX16168" fmla="*/ 5887197 w 6994525"/>
                  <a:gd name="connsiteY16168" fmla="*/ 6529006 h 7571036"/>
                  <a:gd name="connsiteX16169" fmla="*/ 5888678 w 6994525"/>
                  <a:gd name="connsiteY16169" fmla="*/ 6659198 h 7571036"/>
                  <a:gd name="connsiteX16170" fmla="*/ 5881774 w 6994525"/>
                  <a:gd name="connsiteY16170" fmla="*/ 6652293 h 7571036"/>
                  <a:gd name="connsiteX16171" fmla="*/ 5874870 w 6994525"/>
                  <a:gd name="connsiteY16171" fmla="*/ 6659198 h 7571036"/>
                  <a:gd name="connsiteX16172" fmla="*/ 5881774 w 6994525"/>
                  <a:gd name="connsiteY16172" fmla="*/ 6666102 h 7571036"/>
                  <a:gd name="connsiteX16173" fmla="*/ 5888678 w 6994525"/>
                  <a:gd name="connsiteY16173" fmla="*/ 6659198 h 7571036"/>
                  <a:gd name="connsiteX16174" fmla="*/ 5891146 w 6994525"/>
                  <a:gd name="connsiteY16174" fmla="*/ 5787308 h 7571036"/>
                  <a:gd name="connsiteX16175" fmla="*/ 5888433 w 6994525"/>
                  <a:gd name="connsiteY16175" fmla="*/ 5784595 h 7571036"/>
                  <a:gd name="connsiteX16176" fmla="*/ 5885719 w 6994525"/>
                  <a:gd name="connsiteY16176" fmla="*/ 5787308 h 7571036"/>
                  <a:gd name="connsiteX16177" fmla="*/ 5888433 w 6994525"/>
                  <a:gd name="connsiteY16177" fmla="*/ 5790021 h 7571036"/>
                  <a:gd name="connsiteX16178" fmla="*/ 5891146 w 6994525"/>
                  <a:gd name="connsiteY16178" fmla="*/ 5787308 h 7571036"/>
                  <a:gd name="connsiteX16179" fmla="*/ 5892130 w 6994525"/>
                  <a:gd name="connsiteY16179" fmla="*/ 2812534 h 7571036"/>
                  <a:gd name="connsiteX16180" fmla="*/ 5862787 w 6994525"/>
                  <a:gd name="connsiteY16180" fmla="*/ 2783188 h 7571036"/>
                  <a:gd name="connsiteX16181" fmla="*/ 5833691 w 6994525"/>
                  <a:gd name="connsiteY16181" fmla="*/ 2812534 h 7571036"/>
                  <a:gd name="connsiteX16182" fmla="*/ 5862787 w 6994525"/>
                  <a:gd name="connsiteY16182" fmla="*/ 2841629 h 7571036"/>
                  <a:gd name="connsiteX16183" fmla="*/ 5892130 w 6994525"/>
                  <a:gd name="connsiteY16183" fmla="*/ 2812534 h 7571036"/>
                  <a:gd name="connsiteX16184" fmla="*/ 5893115 w 6994525"/>
                  <a:gd name="connsiteY16184" fmla="*/ 543257 h 7571036"/>
                  <a:gd name="connsiteX16185" fmla="*/ 5846265 w 6994525"/>
                  <a:gd name="connsiteY16185" fmla="*/ 496412 h 7571036"/>
                  <a:gd name="connsiteX16186" fmla="*/ 5799416 w 6994525"/>
                  <a:gd name="connsiteY16186" fmla="*/ 543257 h 7571036"/>
                  <a:gd name="connsiteX16187" fmla="*/ 5846265 w 6994525"/>
                  <a:gd name="connsiteY16187" fmla="*/ 590105 h 7571036"/>
                  <a:gd name="connsiteX16188" fmla="*/ 5893115 w 6994525"/>
                  <a:gd name="connsiteY16188" fmla="*/ 543257 h 7571036"/>
                  <a:gd name="connsiteX16189" fmla="*/ 5893859 w 6994525"/>
                  <a:gd name="connsiteY16189" fmla="*/ 2014857 h 7571036"/>
                  <a:gd name="connsiteX16190" fmla="*/ 5864021 w 6994525"/>
                  <a:gd name="connsiteY16190" fmla="*/ 1985044 h 7571036"/>
                  <a:gd name="connsiteX16191" fmla="*/ 5834186 w 6994525"/>
                  <a:gd name="connsiteY16191" fmla="*/ 2014857 h 7571036"/>
                  <a:gd name="connsiteX16192" fmla="*/ 5864021 w 6994525"/>
                  <a:gd name="connsiteY16192" fmla="*/ 2044699 h 7571036"/>
                  <a:gd name="connsiteX16193" fmla="*/ 5893859 w 6994525"/>
                  <a:gd name="connsiteY16193" fmla="*/ 2014857 h 7571036"/>
                  <a:gd name="connsiteX16194" fmla="*/ 5895090 w 6994525"/>
                  <a:gd name="connsiteY16194" fmla="*/ 1444903 h 7571036"/>
                  <a:gd name="connsiteX16195" fmla="*/ 5847499 w 6994525"/>
                  <a:gd name="connsiteY16195" fmla="*/ 1397320 h 7571036"/>
                  <a:gd name="connsiteX16196" fmla="*/ 5799911 w 6994525"/>
                  <a:gd name="connsiteY16196" fmla="*/ 1444903 h 7571036"/>
                  <a:gd name="connsiteX16197" fmla="*/ 5847499 w 6994525"/>
                  <a:gd name="connsiteY16197" fmla="*/ 1492495 h 7571036"/>
                  <a:gd name="connsiteX16198" fmla="*/ 5895090 w 6994525"/>
                  <a:gd name="connsiteY16198" fmla="*/ 1444903 h 7571036"/>
                  <a:gd name="connsiteX16199" fmla="*/ 5895333 w 6994525"/>
                  <a:gd name="connsiteY16199" fmla="*/ 5282073 h 7571036"/>
                  <a:gd name="connsiteX16200" fmla="*/ 5892868 w 6994525"/>
                  <a:gd name="connsiteY16200" fmla="*/ 5279608 h 7571036"/>
                  <a:gd name="connsiteX16201" fmla="*/ 5890401 w 6994525"/>
                  <a:gd name="connsiteY16201" fmla="*/ 5282073 h 7571036"/>
                  <a:gd name="connsiteX16202" fmla="*/ 5892868 w 6994525"/>
                  <a:gd name="connsiteY16202" fmla="*/ 5284540 h 7571036"/>
                  <a:gd name="connsiteX16203" fmla="*/ 5895333 w 6994525"/>
                  <a:gd name="connsiteY16203" fmla="*/ 5282073 h 7571036"/>
                  <a:gd name="connsiteX16204" fmla="*/ 5899774 w 6994525"/>
                  <a:gd name="connsiteY16204" fmla="*/ 4189990 h 7571036"/>
                  <a:gd name="connsiteX16205" fmla="*/ 5848977 w 6994525"/>
                  <a:gd name="connsiteY16205" fmla="*/ 4139196 h 7571036"/>
                  <a:gd name="connsiteX16206" fmla="*/ 5798184 w 6994525"/>
                  <a:gd name="connsiteY16206" fmla="*/ 4189990 h 7571036"/>
                  <a:gd name="connsiteX16207" fmla="*/ 5848977 w 6994525"/>
                  <a:gd name="connsiteY16207" fmla="*/ 4240785 h 7571036"/>
                  <a:gd name="connsiteX16208" fmla="*/ 5899774 w 6994525"/>
                  <a:gd name="connsiteY16208" fmla="*/ 4189990 h 7571036"/>
                  <a:gd name="connsiteX16209" fmla="*/ 5900023 w 6994525"/>
                  <a:gd name="connsiteY16209" fmla="*/ 6787910 h 7571036"/>
                  <a:gd name="connsiteX16210" fmla="*/ 5889910 w 6994525"/>
                  <a:gd name="connsiteY16210" fmla="*/ 6777801 h 7571036"/>
                  <a:gd name="connsiteX16211" fmla="*/ 5879802 w 6994525"/>
                  <a:gd name="connsiteY16211" fmla="*/ 6787910 h 7571036"/>
                  <a:gd name="connsiteX16212" fmla="*/ 5889910 w 6994525"/>
                  <a:gd name="connsiteY16212" fmla="*/ 6798019 h 7571036"/>
                  <a:gd name="connsiteX16213" fmla="*/ 5900023 w 6994525"/>
                  <a:gd name="connsiteY16213" fmla="*/ 6787910 h 7571036"/>
                  <a:gd name="connsiteX16214" fmla="*/ 5907910 w 6994525"/>
                  <a:gd name="connsiteY16214" fmla="*/ 4464431 h 7571036"/>
                  <a:gd name="connsiteX16215" fmla="*/ 5865748 w 6994525"/>
                  <a:gd name="connsiteY16215" fmla="*/ 4422265 h 7571036"/>
                  <a:gd name="connsiteX16216" fmla="*/ 5823583 w 6994525"/>
                  <a:gd name="connsiteY16216" fmla="*/ 4464431 h 7571036"/>
                  <a:gd name="connsiteX16217" fmla="*/ 5865748 w 6994525"/>
                  <a:gd name="connsiteY16217" fmla="*/ 4506593 h 7571036"/>
                  <a:gd name="connsiteX16218" fmla="*/ 5907910 w 6994525"/>
                  <a:gd name="connsiteY16218" fmla="*/ 4464431 h 7571036"/>
                  <a:gd name="connsiteX16219" fmla="*/ 5909145 w 6994525"/>
                  <a:gd name="connsiteY16219" fmla="*/ 5925392 h 7571036"/>
                  <a:gd name="connsiteX16220" fmla="*/ 5904458 w 6994525"/>
                  <a:gd name="connsiteY16220" fmla="*/ 5920705 h 7571036"/>
                  <a:gd name="connsiteX16221" fmla="*/ 5899773 w 6994525"/>
                  <a:gd name="connsiteY16221" fmla="*/ 5925392 h 7571036"/>
                  <a:gd name="connsiteX16222" fmla="*/ 5904458 w 6994525"/>
                  <a:gd name="connsiteY16222" fmla="*/ 5930077 h 7571036"/>
                  <a:gd name="connsiteX16223" fmla="*/ 5909145 w 6994525"/>
                  <a:gd name="connsiteY16223" fmla="*/ 5925392 h 7571036"/>
                  <a:gd name="connsiteX16224" fmla="*/ 5913828 w 6994525"/>
                  <a:gd name="connsiteY16224" fmla="*/ 1302895 h 7571036"/>
                  <a:gd name="connsiteX16225" fmla="*/ 5866239 w 6994525"/>
                  <a:gd name="connsiteY16225" fmla="*/ 1255059 h 7571036"/>
                  <a:gd name="connsiteX16226" fmla="*/ 5818402 w 6994525"/>
                  <a:gd name="connsiteY16226" fmla="*/ 1302895 h 7571036"/>
                  <a:gd name="connsiteX16227" fmla="*/ 5866239 w 6994525"/>
                  <a:gd name="connsiteY16227" fmla="*/ 1350488 h 7571036"/>
                  <a:gd name="connsiteX16228" fmla="*/ 5913828 w 6994525"/>
                  <a:gd name="connsiteY16228" fmla="*/ 1302895 h 7571036"/>
                  <a:gd name="connsiteX16229" fmla="*/ 5914322 w 6994525"/>
                  <a:gd name="connsiteY16229" fmla="*/ 4885332 h 7571036"/>
                  <a:gd name="connsiteX16230" fmla="*/ 5897306 w 6994525"/>
                  <a:gd name="connsiteY16230" fmla="*/ 4868319 h 7571036"/>
                  <a:gd name="connsiteX16231" fmla="*/ 5880293 w 6994525"/>
                  <a:gd name="connsiteY16231" fmla="*/ 4885332 h 7571036"/>
                  <a:gd name="connsiteX16232" fmla="*/ 5897306 w 6994525"/>
                  <a:gd name="connsiteY16232" fmla="*/ 4902349 h 7571036"/>
                  <a:gd name="connsiteX16233" fmla="*/ 5914322 w 6994525"/>
                  <a:gd name="connsiteY16233" fmla="*/ 4885332 h 7571036"/>
                  <a:gd name="connsiteX16234" fmla="*/ 5916787 w 6994525"/>
                  <a:gd name="connsiteY16234" fmla="*/ 1863098 h 7571036"/>
                  <a:gd name="connsiteX16235" fmla="*/ 5894843 w 6994525"/>
                  <a:gd name="connsiteY16235" fmla="*/ 1841168 h 7571036"/>
                  <a:gd name="connsiteX16236" fmla="*/ 5872898 w 6994525"/>
                  <a:gd name="connsiteY16236" fmla="*/ 1863098 h 7571036"/>
                  <a:gd name="connsiteX16237" fmla="*/ 5894843 w 6994525"/>
                  <a:gd name="connsiteY16237" fmla="*/ 1885025 h 7571036"/>
                  <a:gd name="connsiteX16238" fmla="*/ 5916787 w 6994525"/>
                  <a:gd name="connsiteY16238" fmla="*/ 1863098 h 7571036"/>
                  <a:gd name="connsiteX16239" fmla="*/ 5919254 w 6994525"/>
                  <a:gd name="connsiteY16239" fmla="*/ 2924975 h 7571036"/>
                  <a:gd name="connsiteX16240" fmla="*/ 5891391 w 6994525"/>
                  <a:gd name="connsiteY16240" fmla="*/ 2897112 h 7571036"/>
                  <a:gd name="connsiteX16241" fmla="*/ 5863280 w 6994525"/>
                  <a:gd name="connsiteY16241" fmla="*/ 2924975 h 7571036"/>
                  <a:gd name="connsiteX16242" fmla="*/ 5891391 w 6994525"/>
                  <a:gd name="connsiteY16242" fmla="*/ 2953086 h 7571036"/>
                  <a:gd name="connsiteX16243" fmla="*/ 5919254 w 6994525"/>
                  <a:gd name="connsiteY16243" fmla="*/ 2924975 h 7571036"/>
                  <a:gd name="connsiteX16244" fmla="*/ 5921718 w 6994525"/>
                  <a:gd name="connsiteY16244" fmla="*/ 2271311 h 7571036"/>
                  <a:gd name="connsiteX16245" fmla="*/ 5883746 w 6994525"/>
                  <a:gd name="connsiteY16245" fmla="*/ 2233341 h 7571036"/>
                  <a:gd name="connsiteX16246" fmla="*/ 5845772 w 6994525"/>
                  <a:gd name="connsiteY16246" fmla="*/ 2271311 h 7571036"/>
                  <a:gd name="connsiteX16247" fmla="*/ 5883746 w 6994525"/>
                  <a:gd name="connsiteY16247" fmla="*/ 2309291 h 7571036"/>
                  <a:gd name="connsiteX16248" fmla="*/ 5921718 w 6994525"/>
                  <a:gd name="connsiteY16248" fmla="*/ 2271311 h 7571036"/>
                  <a:gd name="connsiteX16249" fmla="*/ 5921718 w 6994525"/>
                  <a:gd name="connsiteY16249" fmla="*/ 4077797 h 7571036"/>
                  <a:gd name="connsiteX16250" fmla="*/ 5880047 w 6994525"/>
                  <a:gd name="connsiteY16250" fmla="*/ 4036126 h 7571036"/>
                  <a:gd name="connsiteX16251" fmla="*/ 5838377 w 6994525"/>
                  <a:gd name="connsiteY16251" fmla="*/ 4077797 h 7571036"/>
                  <a:gd name="connsiteX16252" fmla="*/ 5880047 w 6994525"/>
                  <a:gd name="connsiteY16252" fmla="*/ 4119470 h 7571036"/>
                  <a:gd name="connsiteX16253" fmla="*/ 5921718 w 6994525"/>
                  <a:gd name="connsiteY16253" fmla="*/ 4077797 h 7571036"/>
                  <a:gd name="connsiteX16254" fmla="*/ 5924431 w 6994525"/>
                  <a:gd name="connsiteY16254" fmla="*/ 2537110 h 7571036"/>
                  <a:gd name="connsiteX16255" fmla="*/ 5884239 w 6994525"/>
                  <a:gd name="connsiteY16255" fmla="*/ 2496918 h 7571036"/>
                  <a:gd name="connsiteX16256" fmla="*/ 5844046 w 6994525"/>
                  <a:gd name="connsiteY16256" fmla="*/ 2537110 h 7571036"/>
                  <a:gd name="connsiteX16257" fmla="*/ 5884239 w 6994525"/>
                  <a:gd name="connsiteY16257" fmla="*/ 2577303 h 7571036"/>
                  <a:gd name="connsiteX16258" fmla="*/ 5924431 w 6994525"/>
                  <a:gd name="connsiteY16258" fmla="*/ 2537110 h 7571036"/>
                  <a:gd name="connsiteX16259" fmla="*/ 5925418 w 6994525"/>
                  <a:gd name="connsiteY16259" fmla="*/ 6062241 h 7571036"/>
                  <a:gd name="connsiteX16260" fmla="*/ 5918514 w 6994525"/>
                  <a:gd name="connsiteY16260" fmla="*/ 6055582 h 7571036"/>
                  <a:gd name="connsiteX16261" fmla="*/ 5911609 w 6994525"/>
                  <a:gd name="connsiteY16261" fmla="*/ 6062241 h 7571036"/>
                  <a:gd name="connsiteX16262" fmla="*/ 5918514 w 6994525"/>
                  <a:gd name="connsiteY16262" fmla="*/ 6068898 h 7571036"/>
                  <a:gd name="connsiteX16263" fmla="*/ 5925418 w 6994525"/>
                  <a:gd name="connsiteY16263" fmla="*/ 6062241 h 7571036"/>
                  <a:gd name="connsiteX16264" fmla="*/ 5927390 w 6994525"/>
                  <a:gd name="connsiteY16264" fmla="*/ 1162867 h 7571036"/>
                  <a:gd name="connsiteX16265" fmla="*/ 5883255 w 6994525"/>
                  <a:gd name="connsiteY16265" fmla="*/ 1118723 h 7571036"/>
                  <a:gd name="connsiteX16266" fmla="*/ 5839117 w 6994525"/>
                  <a:gd name="connsiteY16266" fmla="*/ 1162867 h 7571036"/>
                  <a:gd name="connsiteX16267" fmla="*/ 5883255 w 6994525"/>
                  <a:gd name="connsiteY16267" fmla="*/ 1207005 h 7571036"/>
                  <a:gd name="connsiteX16268" fmla="*/ 5927390 w 6994525"/>
                  <a:gd name="connsiteY16268" fmla="*/ 1162867 h 7571036"/>
                  <a:gd name="connsiteX16269" fmla="*/ 5927881 w 6994525"/>
                  <a:gd name="connsiteY16269" fmla="*/ 5414486 h 7571036"/>
                  <a:gd name="connsiteX16270" fmla="*/ 5927144 w 6994525"/>
                  <a:gd name="connsiteY16270" fmla="*/ 5413745 h 7571036"/>
                  <a:gd name="connsiteX16271" fmla="*/ 5926404 w 6994525"/>
                  <a:gd name="connsiteY16271" fmla="*/ 5414486 h 7571036"/>
                  <a:gd name="connsiteX16272" fmla="*/ 5927144 w 6994525"/>
                  <a:gd name="connsiteY16272" fmla="*/ 5415223 h 7571036"/>
                  <a:gd name="connsiteX16273" fmla="*/ 5927881 w 6994525"/>
                  <a:gd name="connsiteY16273" fmla="*/ 5414486 h 7571036"/>
                  <a:gd name="connsiteX16274" fmla="*/ 5935034 w 6994525"/>
                  <a:gd name="connsiteY16274" fmla="*/ 3964127 h 7571036"/>
                  <a:gd name="connsiteX16275" fmla="*/ 5905691 w 6994525"/>
                  <a:gd name="connsiteY16275" fmla="*/ 3934783 h 7571036"/>
                  <a:gd name="connsiteX16276" fmla="*/ 5876348 w 6994525"/>
                  <a:gd name="connsiteY16276" fmla="*/ 3964127 h 7571036"/>
                  <a:gd name="connsiteX16277" fmla="*/ 5905691 w 6994525"/>
                  <a:gd name="connsiteY16277" fmla="*/ 3993469 h 7571036"/>
                  <a:gd name="connsiteX16278" fmla="*/ 5935034 w 6994525"/>
                  <a:gd name="connsiteY16278" fmla="*/ 3964127 h 7571036"/>
                  <a:gd name="connsiteX16279" fmla="*/ 5937498 w 6994525"/>
                  <a:gd name="connsiteY16279" fmla="*/ 4626185 h 7571036"/>
                  <a:gd name="connsiteX16280" fmla="*/ 5912102 w 6994525"/>
                  <a:gd name="connsiteY16280" fmla="*/ 4600786 h 7571036"/>
                  <a:gd name="connsiteX16281" fmla="*/ 5886705 w 6994525"/>
                  <a:gd name="connsiteY16281" fmla="*/ 4626185 h 7571036"/>
                  <a:gd name="connsiteX16282" fmla="*/ 5912102 w 6994525"/>
                  <a:gd name="connsiteY16282" fmla="*/ 4651579 h 7571036"/>
                  <a:gd name="connsiteX16283" fmla="*/ 5937498 w 6994525"/>
                  <a:gd name="connsiteY16283" fmla="*/ 4626185 h 7571036"/>
                  <a:gd name="connsiteX16284" fmla="*/ 5941690 w 6994525"/>
                  <a:gd name="connsiteY16284" fmla="*/ 3038899 h 7571036"/>
                  <a:gd name="connsiteX16285" fmla="*/ 5914813 w 6994525"/>
                  <a:gd name="connsiteY16285" fmla="*/ 3012021 h 7571036"/>
                  <a:gd name="connsiteX16286" fmla="*/ 5887937 w 6994525"/>
                  <a:gd name="connsiteY16286" fmla="*/ 3038899 h 7571036"/>
                  <a:gd name="connsiteX16287" fmla="*/ 5914813 w 6994525"/>
                  <a:gd name="connsiteY16287" fmla="*/ 3065777 h 7571036"/>
                  <a:gd name="connsiteX16288" fmla="*/ 5941690 w 6994525"/>
                  <a:gd name="connsiteY16288" fmla="*/ 3038899 h 7571036"/>
                  <a:gd name="connsiteX16289" fmla="*/ 5941690 w 6994525"/>
                  <a:gd name="connsiteY16289" fmla="*/ 6197362 h 7571036"/>
                  <a:gd name="connsiteX16290" fmla="*/ 5931581 w 6994525"/>
                  <a:gd name="connsiteY16290" fmla="*/ 6187253 h 7571036"/>
                  <a:gd name="connsiteX16291" fmla="*/ 5921472 w 6994525"/>
                  <a:gd name="connsiteY16291" fmla="*/ 6197362 h 7571036"/>
                  <a:gd name="connsiteX16292" fmla="*/ 5931581 w 6994525"/>
                  <a:gd name="connsiteY16292" fmla="*/ 6207473 h 7571036"/>
                  <a:gd name="connsiteX16293" fmla="*/ 5941690 w 6994525"/>
                  <a:gd name="connsiteY16293" fmla="*/ 6197362 h 7571036"/>
                  <a:gd name="connsiteX16294" fmla="*/ 5942676 w 6994525"/>
                  <a:gd name="connsiteY16294" fmla="*/ 1714108 h 7571036"/>
                  <a:gd name="connsiteX16295" fmla="*/ 5922950 w 6994525"/>
                  <a:gd name="connsiteY16295" fmla="*/ 1694425 h 7571036"/>
                  <a:gd name="connsiteX16296" fmla="*/ 5903224 w 6994525"/>
                  <a:gd name="connsiteY16296" fmla="*/ 1714108 h 7571036"/>
                  <a:gd name="connsiteX16297" fmla="*/ 5922950 w 6994525"/>
                  <a:gd name="connsiteY16297" fmla="*/ 1733866 h 7571036"/>
                  <a:gd name="connsiteX16298" fmla="*/ 5942676 w 6994525"/>
                  <a:gd name="connsiteY16298" fmla="*/ 1714108 h 7571036"/>
                  <a:gd name="connsiteX16299" fmla="*/ 5945143 w 6994525"/>
                  <a:gd name="connsiteY16299" fmla="*/ 5037718 h 7571036"/>
                  <a:gd name="connsiteX16300" fmla="*/ 5930843 w 6994525"/>
                  <a:gd name="connsiteY16300" fmla="*/ 5023415 h 7571036"/>
                  <a:gd name="connsiteX16301" fmla="*/ 5916540 w 6994525"/>
                  <a:gd name="connsiteY16301" fmla="*/ 5037718 h 7571036"/>
                  <a:gd name="connsiteX16302" fmla="*/ 5930843 w 6994525"/>
                  <a:gd name="connsiteY16302" fmla="*/ 5052018 h 7571036"/>
                  <a:gd name="connsiteX16303" fmla="*/ 5945143 w 6994525"/>
                  <a:gd name="connsiteY16303" fmla="*/ 5037718 h 7571036"/>
                  <a:gd name="connsiteX16304" fmla="*/ 5945635 w 6994525"/>
                  <a:gd name="connsiteY16304" fmla="*/ 1023823 h 7571036"/>
                  <a:gd name="connsiteX16305" fmla="*/ 5898046 w 6994525"/>
                  <a:gd name="connsiteY16305" fmla="*/ 976230 h 7571036"/>
                  <a:gd name="connsiteX16306" fmla="*/ 5850458 w 6994525"/>
                  <a:gd name="connsiteY16306" fmla="*/ 1023823 h 7571036"/>
                  <a:gd name="connsiteX16307" fmla="*/ 5898046 w 6994525"/>
                  <a:gd name="connsiteY16307" fmla="*/ 1071415 h 7571036"/>
                  <a:gd name="connsiteX16308" fmla="*/ 5945635 w 6994525"/>
                  <a:gd name="connsiteY16308" fmla="*/ 1023823 h 7571036"/>
                  <a:gd name="connsiteX16309" fmla="*/ 5949089 w 6994525"/>
                  <a:gd name="connsiteY16309" fmla="*/ 5559228 h 7571036"/>
                  <a:gd name="connsiteX16310" fmla="*/ 5948594 w 6994525"/>
                  <a:gd name="connsiteY16310" fmla="*/ 5558732 h 7571036"/>
                  <a:gd name="connsiteX16311" fmla="*/ 5948102 w 6994525"/>
                  <a:gd name="connsiteY16311" fmla="*/ 5559228 h 7571036"/>
                  <a:gd name="connsiteX16312" fmla="*/ 5948594 w 6994525"/>
                  <a:gd name="connsiteY16312" fmla="*/ 5559719 h 7571036"/>
                  <a:gd name="connsiteX16313" fmla="*/ 5949089 w 6994525"/>
                  <a:gd name="connsiteY16313" fmla="*/ 5559228 h 7571036"/>
                  <a:gd name="connsiteX16314" fmla="*/ 5949583 w 6994525"/>
                  <a:gd name="connsiteY16314" fmla="*/ 3849715 h 7571036"/>
                  <a:gd name="connsiteX16315" fmla="*/ 5925911 w 6994525"/>
                  <a:gd name="connsiteY16315" fmla="*/ 3826043 h 7571036"/>
                  <a:gd name="connsiteX16316" fmla="*/ 5902240 w 6994525"/>
                  <a:gd name="connsiteY16316" fmla="*/ 3849715 h 7571036"/>
                  <a:gd name="connsiteX16317" fmla="*/ 5925911 w 6994525"/>
                  <a:gd name="connsiteY16317" fmla="*/ 3873386 h 7571036"/>
                  <a:gd name="connsiteX16318" fmla="*/ 5949583 w 6994525"/>
                  <a:gd name="connsiteY16318" fmla="*/ 3849715 h 7571036"/>
                  <a:gd name="connsiteX16319" fmla="*/ 5956239 w 6994525"/>
                  <a:gd name="connsiteY16319" fmla="*/ 6331499 h 7571036"/>
                  <a:gd name="connsiteX16320" fmla="*/ 5943417 w 6994525"/>
                  <a:gd name="connsiteY16320" fmla="*/ 6318677 h 7571036"/>
                  <a:gd name="connsiteX16321" fmla="*/ 5930595 w 6994525"/>
                  <a:gd name="connsiteY16321" fmla="*/ 6331499 h 7571036"/>
                  <a:gd name="connsiteX16322" fmla="*/ 5943417 w 6994525"/>
                  <a:gd name="connsiteY16322" fmla="*/ 6344321 h 7571036"/>
                  <a:gd name="connsiteX16323" fmla="*/ 5956239 w 6994525"/>
                  <a:gd name="connsiteY16323" fmla="*/ 6331499 h 7571036"/>
                  <a:gd name="connsiteX16324" fmla="*/ 5957965 w 6994525"/>
                  <a:gd name="connsiteY16324" fmla="*/ 455999 h 7571036"/>
                  <a:gd name="connsiteX16325" fmla="*/ 5910623 w 6994525"/>
                  <a:gd name="connsiteY16325" fmla="*/ 408659 h 7571036"/>
                  <a:gd name="connsiteX16326" fmla="*/ 5863280 w 6994525"/>
                  <a:gd name="connsiteY16326" fmla="*/ 455999 h 7571036"/>
                  <a:gd name="connsiteX16327" fmla="*/ 5910623 w 6994525"/>
                  <a:gd name="connsiteY16327" fmla="*/ 503340 h 7571036"/>
                  <a:gd name="connsiteX16328" fmla="*/ 5957965 w 6994525"/>
                  <a:gd name="connsiteY16328" fmla="*/ 455999 h 7571036"/>
                  <a:gd name="connsiteX16329" fmla="*/ 5957965 w 6994525"/>
                  <a:gd name="connsiteY16329" fmla="*/ 2645854 h 7571036"/>
                  <a:gd name="connsiteX16330" fmla="*/ 5924431 w 6994525"/>
                  <a:gd name="connsiteY16330" fmla="*/ 2612319 h 7571036"/>
                  <a:gd name="connsiteX16331" fmla="*/ 5890896 w 6994525"/>
                  <a:gd name="connsiteY16331" fmla="*/ 2645854 h 7571036"/>
                  <a:gd name="connsiteX16332" fmla="*/ 5924431 w 6994525"/>
                  <a:gd name="connsiteY16332" fmla="*/ 2679389 h 7571036"/>
                  <a:gd name="connsiteX16333" fmla="*/ 5957965 w 6994525"/>
                  <a:gd name="connsiteY16333" fmla="*/ 2645854 h 7571036"/>
                  <a:gd name="connsiteX16334" fmla="*/ 5958458 w 6994525"/>
                  <a:gd name="connsiteY16334" fmla="*/ 886991 h 7571036"/>
                  <a:gd name="connsiteX16335" fmla="*/ 5911856 w 6994525"/>
                  <a:gd name="connsiteY16335" fmla="*/ 840401 h 7571036"/>
                  <a:gd name="connsiteX16336" fmla="*/ 5865253 w 6994525"/>
                  <a:gd name="connsiteY16336" fmla="*/ 886991 h 7571036"/>
                  <a:gd name="connsiteX16337" fmla="*/ 5911856 w 6994525"/>
                  <a:gd name="connsiteY16337" fmla="*/ 933595 h 7571036"/>
                  <a:gd name="connsiteX16338" fmla="*/ 5958458 w 6994525"/>
                  <a:gd name="connsiteY16338" fmla="*/ 886991 h 7571036"/>
                  <a:gd name="connsiteX16339" fmla="*/ 5958458 w 6994525"/>
                  <a:gd name="connsiteY16339" fmla="*/ 3153807 h 7571036"/>
                  <a:gd name="connsiteX16340" fmla="*/ 5932814 w 6994525"/>
                  <a:gd name="connsiteY16340" fmla="*/ 3128162 h 7571036"/>
                  <a:gd name="connsiteX16341" fmla="*/ 5907169 w 6994525"/>
                  <a:gd name="connsiteY16341" fmla="*/ 3153807 h 7571036"/>
                  <a:gd name="connsiteX16342" fmla="*/ 5932814 w 6994525"/>
                  <a:gd name="connsiteY16342" fmla="*/ 3179453 h 7571036"/>
                  <a:gd name="connsiteX16343" fmla="*/ 5958458 w 6994525"/>
                  <a:gd name="connsiteY16343" fmla="*/ 3153807 h 7571036"/>
                  <a:gd name="connsiteX16344" fmla="*/ 5958706 w 6994525"/>
                  <a:gd name="connsiteY16344" fmla="*/ 4355935 h 7571036"/>
                  <a:gd name="connsiteX16345" fmla="*/ 5907910 w 6994525"/>
                  <a:gd name="connsiteY16345" fmla="*/ 4305141 h 7571036"/>
                  <a:gd name="connsiteX16346" fmla="*/ 5857117 w 6994525"/>
                  <a:gd name="connsiteY16346" fmla="*/ 4355935 h 7571036"/>
                  <a:gd name="connsiteX16347" fmla="*/ 5907910 w 6994525"/>
                  <a:gd name="connsiteY16347" fmla="*/ 4406731 h 7571036"/>
                  <a:gd name="connsiteX16348" fmla="*/ 5958706 w 6994525"/>
                  <a:gd name="connsiteY16348" fmla="*/ 4355935 h 7571036"/>
                  <a:gd name="connsiteX16349" fmla="*/ 5960430 w 6994525"/>
                  <a:gd name="connsiteY16349" fmla="*/ 2114753 h 7571036"/>
                  <a:gd name="connsiteX16350" fmla="*/ 5922950 w 6994525"/>
                  <a:gd name="connsiteY16350" fmla="*/ 2077261 h 7571036"/>
                  <a:gd name="connsiteX16351" fmla="*/ 5885471 w 6994525"/>
                  <a:gd name="connsiteY16351" fmla="*/ 2114753 h 7571036"/>
                  <a:gd name="connsiteX16352" fmla="*/ 5922950 w 6994525"/>
                  <a:gd name="connsiteY16352" fmla="*/ 2152233 h 7571036"/>
                  <a:gd name="connsiteX16353" fmla="*/ 5960430 w 6994525"/>
                  <a:gd name="connsiteY16353" fmla="*/ 2114753 h 7571036"/>
                  <a:gd name="connsiteX16354" fmla="*/ 5964623 w 6994525"/>
                  <a:gd name="connsiteY16354" fmla="*/ 3734317 h 7571036"/>
                  <a:gd name="connsiteX16355" fmla="*/ 5940703 w 6994525"/>
                  <a:gd name="connsiteY16355" fmla="*/ 3710400 h 7571036"/>
                  <a:gd name="connsiteX16356" fmla="*/ 5916786 w 6994525"/>
                  <a:gd name="connsiteY16356" fmla="*/ 3734317 h 7571036"/>
                  <a:gd name="connsiteX16357" fmla="*/ 5940703 w 6994525"/>
                  <a:gd name="connsiteY16357" fmla="*/ 3758234 h 7571036"/>
                  <a:gd name="connsiteX16358" fmla="*/ 5964623 w 6994525"/>
                  <a:gd name="connsiteY16358" fmla="*/ 3734317 h 7571036"/>
                  <a:gd name="connsiteX16359" fmla="*/ 5965855 w 6994525"/>
                  <a:gd name="connsiteY16359" fmla="*/ 5188128 h 7571036"/>
                  <a:gd name="connsiteX16360" fmla="*/ 5960679 w 6994525"/>
                  <a:gd name="connsiteY16360" fmla="*/ 5182951 h 7571036"/>
                  <a:gd name="connsiteX16361" fmla="*/ 5955500 w 6994525"/>
                  <a:gd name="connsiteY16361" fmla="*/ 5188128 h 7571036"/>
                  <a:gd name="connsiteX16362" fmla="*/ 5960679 w 6994525"/>
                  <a:gd name="connsiteY16362" fmla="*/ 5193305 h 7571036"/>
                  <a:gd name="connsiteX16363" fmla="*/ 5965855 w 6994525"/>
                  <a:gd name="connsiteY16363" fmla="*/ 5188128 h 7571036"/>
                  <a:gd name="connsiteX16364" fmla="*/ 5966597 w 6994525"/>
                  <a:gd name="connsiteY16364" fmla="*/ 325097 h 7571036"/>
                  <a:gd name="connsiteX16365" fmla="*/ 5919500 w 6994525"/>
                  <a:gd name="connsiteY16365" fmla="*/ 278003 h 7571036"/>
                  <a:gd name="connsiteX16366" fmla="*/ 5872403 w 6994525"/>
                  <a:gd name="connsiteY16366" fmla="*/ 325097 h 7571036"/>
                  <a:gd name="connsiteX16367" fmla="*/ 5919500 w 6994525"/>
                  <a:gd name="connsiteY16367" fmla="*/ 372189 h 7571036"/>
                  <a:gd name="connsiteX16368" fmla="*/ 5966597 w 6994525"/>
                  <a:gd name="connsiteY16368" fmla="*/ 325097 h 7571036"/>
                  <a:gd name="connsiteX16369" fmla="*/ 5969064 w 6994525"/>
                  <a:gd name="connsiteY16369" fmla="*/ 1533922 h 7571036"/>
                  <a:gd name="connsiteX16370" fmla="*/ 5921967 w 6994525"/>
                  <a:gd name="connsiteY16370" fmla="*/ 1486825 h 7571036"/>
                  <a:gd name="connsiteX16371" fmla="*/ 5874870 w 6994525"/>
                  <a:gd name="connsiteY16371" fmla="*/ 1533922 h 7571036"/>
                  <a:gd name="connsiteX16372" fmla="*/ 5921967 w 6994525"/>
                  <a:gd name="connsiteY16372" fmla="*/ 1581251 h 7571036"/>
                  <a:gd name="connsiteX16373" fmla="*/ 5969064 w 6994525"/>
                  <a:gd name="connsiteY16373" fmla="*/ 1533922 h 7571036"/>
                  <a:gd name="connsiteX16374" fmla="*/ 5969555 w 6994525"/>
                  <a:gd name="connsiteY16374" fmla="*/ 2376110 h 7571036"/>
                  <a:gd name="connsiteX16375" fmla="*/ 5933802 w 6994525"/>
                  <a:gd name="connsiteY16375" fmla="*/ 2340123 h 7571036"/>
                  <a:gd name="connsiteX16376" fmla="*/ 5897801 w 6994525"/>
                  <a:gd name="connsiteY16376" fmla="*/ 2376110 h 7571036"/>
                  <a:gd name="connsiteX16377" fmla="*/ 5933802 w 6994525"/>
                  <a:gd name="connsiteY16377" fmla="*/ 2411865 h 7571036"/>
                  <a:gd name="connsiteX16378" fmla="*/ 5969555 w 6994525"/>
                  <a:gd name="connsiteY16378" fmla="*/ 2376110 h 7571036"/>
                  <a:gd name="connsiteX16379" fmla="*/ 5970046 w 6994525"/>
                  <a:gd name="connsiteY16379" fmla="*/ 3269453 h 7571036"/>
                  <a:gd name="connsiteX16380" fmla="*/ 5945389 w 6994525"/>
                  <a:gd name="connsiteY16380" fmla="*/ 3244799 h 7571036"/>
                  <a:gd name="connsiteX16381" fmla="*/ 5920731 w 6994525"/>
                  <a:gd name="connsiteY16381" fmla="*/ 3269453 h 7571036"/>
                  <a:gd name="connsiteX16382" fmla="*/ 5945389 w 6994525"/>
                  <a:gd name="connsiteY16382" fmla="*/ 3294353 h 7571036"/>
                  <a:gd name="connsiteX16383" fmla="*/ 5970046 w 6994525"/>
                  <a:gd name="connsiteY16383" fmla="*/ 3269453 h 7571036"/>
                  <a:gd name="connsiteX16384" fmla="*/ 5970542 w 6994525"/>
                  <a:gd name="connsiteY16384" fmla="*/ 5702237 h 7571036"/>
                  <a:gd name="connsiteX16385" fmla="*/ 5967582 w 6994525"/>
                  <a:gd name="connsiteY16385" fmla="*/ 5699278 h 7571036"/>
                  <a:gd name="connsiteX16386" fmla="*/ 5964623 w 6994525"/>
                  <a:gd name="connsiteY16386" fmla="*/ 5702237 h 7571036"/>
                  <a:gd name="connsiteX16387" fmla="*/ 5967582 w 6994525"/>
                  <a:gd name="connsiteY16387" fmla="*/ 5705196 h 7571036"/>
                  <a:gd name="connsiteX16388" fmla="*/ 5970542 w 6994525"/>
                  <a:gd name="connsiteY16388" fmla="*/ 5702237 h 7571036"/>
                  <a:gd name="connsiteX16389" fmla="*/ 5971033 w 6994525"/>
                  <a:gd name="connsiteY16389" fmla="*/ 751404 h 7571036"/>
                  <a:gd name="connsiteX16390" fmla="*/ 5924431 w 6994525"/>
                  <a:gd name="connsiteY16390" fmla="*/ 704799 h 7571036"/>
                  <a:gd name="connsiteX16391" fmla="*/ 5877829 w 6994525"/>
                  <a:gd name="connsiteY16391" fmla="*/ 751404 h 7571036"/>
                  <a:gd name="connsiteX16392" fmla="*/ 5924431 w 6994525"/>
                  <a:gd name="connsiteY16392" fmla="*/ 798007 h 7571036"/>
                  <a:gd name="connsiteX16393" fmla="*/ 5971033 w 6994525"/>
                  <a:gd name="connsiteY16393" fmla="*/ 751404 h 7571036"/>
                  <a:gd name="connsiteX16394" fmla="*/ 5974241 w 6994525"/>
                  <a:gd name="connsiteY16394" fmla="*/ 194940 h 7571036"/>
                  <a:gd name="connsiteX16395" fmla="*/ 5927390 w 6994525"/>
                  <a:gd name="connsiteY16395" fmla="*/ 148093 h 7571036"/>
                  <a:gd name="connsiteX16396" fmla="*/ 5880542 w 6994525"/>
                  <a:gd name="connsiteY16396" fmla="*/ 194940 h 7571036"/>
                  <a:gd name="connsiteX16397" fmla="*/ 5927390 w 6994525"/>
                  <a:gd name="connsiteY16397" fmla="*/ 241785 h 7571036"/>
                  <a:gd name="connsiteX16398" fmla="*/ 5974241 w 6994525"/>
                  <a:gd name="connsiteY16398" fmla="*/ 194940 h 7571036"/>
                  <a:gd name="connsiteX16399" fmla="*/ 5974241 w 6994525"/>
                  <a:gd name="connsiteY16399" fmla="*/ 3618179 h 7571036"/>
                  <a:gd name="connsiteX16400" fmla="*/ 5950077 w 6994525"/>
                  <a:gd name="connsiteY16400" fmla="*/ 3594016 h 7571036"/>
                  <a:gd name="connsiteX16401" fmla="*/ 5925911 w 6994525"/>
                  <a:gd name="connsiteY16401" fmla="*/ 3618179 h 7571036"/>
                  <a:gd name="connsiteX16402" fmla="*/ 5950077 w 6994525"/>
                  <a:gd name="connsiteY16402" fmla="*/ 3642345 h 7571036"/>
                  <a:gd name="connsiteX16403" fmla="*/ 5974241 w 6994525"/>
                  <a:gd name="connsiteY16403" fmla="*/ 3618179 h 7571036"/>
                  <a:gd name="connsiteX16404" fmla="*/ 5974242 w 6994525"/>
                  <a:gd name="connsiteY16404" fmla="*/ 4783990 h 7571036"/>
                  <a:gd name="connsiteX16405" fmla="*/ 5954020 w 6994525"/>
                  <a:gd name="connsiteY16405" fmla="*/ 4763772 h 7571036"/>
                  <a:gd name="connsiteX16406" fmla="*/ 5933802 w 6994525"/>
                  <a:gd name="connsiteY16406" fmla="*/ 4783990 h 7571036"/>
                  <a:gd name="connsiteX16407" fmla="*/ 5954020 w 6994525"/>
                  <a:gd name="connsiteY16407" fmla="*/ 4804211 h 7571036"/>
                  <a:gd name="connsiteX16408" fmla="*/ 5974242 w 6994525"/>
                  <a:gd name="connsiteY16408" fmla="*/ 4783990 h 7571036"/>
                  <a:gd name="connsiteX16409" fmla="*/ 5976951 w 6994525"/>
                  <a:gd name="connsiteY16409" fmla="*/ 3385579 h 7571036"/>
                  <a:gd name="connsiteX16410" fmla="*/ 5952293 w 6994525"/>
                  <a:gd name="connsiteY16410" fmla="*/ 3360933 h 7571036"/>
                  <a:gd name="connsiteX16411" fmla="*/ 5927636 w 6994525"/>
                  <a:gd name="connsiteY16411" fmla="*/ 3385579 h 7571036"/>
                  <a:gd name="connsiteX16412" fmla="*/ 5952293 w 6994525"/>
                  <a:gd name="connsiteY16412" fmla="*/ 3410249 h 7571036"/>
                  <a:gd name="connsiteX16413" fmla="*/ 5976951 w 6994525"/>
                  <a:gd name="connsiteY16413" fmla="*/ 3385579 h 7571036"/>
                  <a:gd name="connsiteX16414" fmla="*/ 5978186 w 6994525"/>
                  <a:gd name="connsiteY16414" fmla="*/ 3501796 h 7571036"/>
                  <a:gd name="connsiteX16415" fmla="*/ 5953774 w 6994525"/>
                  <a:gd name="connsiteY16415" fmla="*/ 3477385 h 7571036"/>
                  <a:gd name="connsiteX16416" fmla="*/ 5929362 w 6994525"/>
                  <a:gd name="connsiteY16416" fmla="*/ 3501796 h 7571036"/>
                  <a:gd name="connsiteX16417" fmla="*/ 5953774 w 6994525"/>
                  <a:gd name="connsiteY16417" fmla="*/ 3526208 h 7571036"/>
                  <a:gd name="connsiteX16418" fmla="*/ 5978186 w 6994525"/>
                  <a:gd name="connsiteY16418" fmla="*/ 3501796 h 7571036"/>
                  <a:gd name="connsiteX16419" fmla="*/ 5978923 w 6994525"/>
                  <a:gd name="connsiteY16419" fmla="*/ 6455774 h 7571036"/>
                  <a:gd name="connsiteX16420" fmla="*/ 5964129 w 6994525"/>
                  <a:gd name="connsiteY16420" fmla="*/ 6440978 h 7571036"/>
                  <a:gd name="connsiteX16421" fmla="*/ 5949334 w 6994525"/>
                  <a:gd name="connsiteY16421" fmla="*/ 6455774 h 7571036"/>
                  <a:gd name="connsiteX16422" fmla="*/ 5964129 w 6994525"/>
                  <a:gd name="connsiteY16422" fmla="*/ 6470568 h 7571036"/>
                  <a:gd name="connsiteX16423" fmla="*/ 5978923 w 6994525"/>
                  <a:gd name="connsiteY16423" fmla="*/ 6455774 h 7571036"/>
                  <a:gd name="connsiteX16424" fmla="*/ 5981142 w 6994525"/>
                  <a:gd name="connsiteY16424" fmla="*/ 6587692 h 7571036"/>
                  <a:gd name="connsiteX16425" fmla="*/ 5973746 w 6994525"/>
                  <a:gd name="connsiteY16425" fmla="*/ 6580542 h 7571036"/>
                  <a:gd name="connsiteX16426" fmla="*/ 5966348 w 6994525"/>
                  <a:gd name="connsiteY16426" fmla="*/ 6587692 h 7571036"/>
                  <a:gd name="connsiteX16427" fmla="*/ 5973746 w 6994525"/>
                  <a:gd name="connsiteY16427" fmla="*/ 6595090 h 7571036"/>
                  <a:gd name="connsiteX16428" fmla="*/ 5981142 w 6994525"/>
                  <a:gd name="connsiteY16428" fmla="*/ 6587692 h 7571036"/>
                  <a:gd name="connsiteX16429" fmla="*/ 5982377 w 6994525"/>
                  <a:gd name="connsiteY16429" fmla="*/ 617475 h 7571036"/>
                  <a:gd name="connsiteX16430" fmla="*/ 5935527 w 6994525"/>
                  <a:gd name="connsiteY16430" fmla="*/ 570627 h 7571036"/>
                  <a:gd name="connsiteX16431" fmla="*/ 5888678 w 6994525"/>
                  <a:gd name="connsiteY16431" fmla="*/ 617475 h 7571036"/>
                  <a:gd name="connsiteX16432" fmla="*/ 5935527 w 6994525"/>
                  <a:gd name="connsiteY16432" fmla="*/ 664383 h 7571036"/>
                  <a:gd name="connsiteX16433" fmla="*/ 5982377 w 6994525"/>
                  <a:gd name="connsiteY16433" fmla="*/ 617475 h 7571036"/>
                  <a:gd name="connsiteX16434" fmla="*/ 5982868 w 6994525"/>
                  <a:gd name="connsiteY16434" fmla="*/ 1960422 h 7571036"/>
                  <a:gd name="connsiteX16435" fmla="*/ 5957719 w 6994525"/>
                  <a:gd name="connsiteY16435" fmla="*/ 1935289 h 7571036"/>
                  <a:gd name="connsiteX16436" fmla="*/ 5932567 w 6994525"/>
                  <a:gd name="connsiteY16436" fmla="*/ 1960422 h 7571036"/>
                  <a:gd name="connsiteX16437" fmla="*/ 5957719 w 6994525"/>
                  <a:gd name="connsiteY16437" fmla="*/ 1985552 h 7571036"/>
                  <a:gd name="connsiteX16438" fmla="*/ 5982868 w 6994525"/>
                  <a:gd name="connsiteY16438" fmla="*/ 1960422 h 7571036"/>
                  <a:gd name="connsiteX16439" fmla="*/ 5982868 w 6994525"/>
                  <a:gd name="connsiteY16439" fmla="*/ 2756575 h 7571036"/>
                  <a:gd name="connsiteX16440" fmla="*/ 5959692 w 6994525"/>
                  <a:gd name="connsiteY16440" fmla="*/ 2733392 h 7571036"/>
                  <a:gd name="connsiteX16441" fmla="*/ 5936267 w 6994525"/>
                  <a:gd name="connsiteY16441" fmla="*/ 2756575 h 7571036"/>
                  <a:gd name="connsiteX16442" fmla="*/ 5959692 w 6994525"/>
                  <a:gd name="connsiteY16442" fmla="*/ 2779996 h 7571036"/>
                  <a:gd name="connsiteX16443" fmla="*/ 5982868 w 6994525"/>
                  <a:gd name="connsiteY16443" fmla="*/ 2756575 h 7571036"/>
                  <a:gd name="connsiteX16444" fmla="*/ 5989036 w 6994525"/>
                  <a:gd name="connsiteY16444" fmla="*/ 4520156 h 7571036"/>
                  <a:gd name="connsiteX16445" fmla="*/ 5959692 w 6994525"/>
                  <a:gd name="connsiteY16445" fmla="*/ 4490812 h 7571036"/>
                  <a:gd name="connsiteX16446" fmla="*/ 5930349 w 6994525"/>
                  <a:gd name="connsiteY16446" fmla="*/ 4520156 h 7571036"/>
                  <a:gd name="connsiteX16447" fmla="*/ 5959692 w 6994525"/>
                  <a:gd name="connsiteY16447" fmla="*/ 4549499 h 7571036"/>
                  <a:gd name="connsiteX16448" fmla="*/ 5989036 w 6994525"/>
                  <a:gd name="connsiteY16448" fmla="*/ 4520156 h 7571036"/>
                  <a:gd name="connsiteX16449" fmla="*/ 5990759 w 6994525"/>
                  <a:gd name="connsiteY16449" fmla="*/ 1389690 h 7571036"/>
                  <a:gd name="connsiteX16450" fmla="*/ 5943171 w 6994525"/>
                  <a:gd name="connsiteY16450" fmla="*/ 1342109 h 7571036"/>
                  <a:gd name="connsiteX16451" fmla="*/ 5895828 w 6994525"/>
                  <a:gd name="connsiteY16451" fmla="*/ 1389690 h 7571036"/>
                  <a:gd name="connsiteX16452" fmla="*/ 5943171 w 6994525"/>
                  <a:gd name="connsiteY16452" fmla="*/ 1437281 h 7571036"/>
                  <a:gd name="connsiteX16453" fmla="*/ 5990759 w 6994525"/>
                  <a:gd name="connsiteY16453" fmla="*/ 1389690 h 7571036"/>
                  <a:gd name="connsiteX16454" fmla="*/ 5991008 w 6994525"/>
                  <a:gd name="connsiteY16454" fmla="*/ 5842293 h 7571036"/>
                  <a:gd name="connsiteX16455" fmla="*/ 5985582 w 6994525"/>
                  <a:gd name="connsiteY16455" fmla="*/ 5837115 h 7571036"/>
                  <a:gd name="connsiteX16456" fmla="*/ 5980403 w 6994525"/>
                  <a:gd name="connsiteY16456" fmla="*/ 5842293 h 7571036"/>
                  <a:gd name="connsiteX16457" fmla="*/ 5985582 w 6994525"/>
                  <a:gd name="connsiteY16457" fmla="*/ 5847719 h 7571036"/>
                  <a:gd name="connsiteX16458" fmla="*/ 5991008 w 6994525"/>
                  <a:gd name="connsiteY16458" fmla="*/ 5842293 h 7571036"/>
                  <a:gd name="connsiteX16459" fmla="*/ 5993718 w 6994525"/>
                  <a:gd name="connsiteY16459" fmla="*/ 6718379 h 7571036"/>
                  <a:gd name="connsiteX16460" fmla="*/ 5982869 w 6994525"/>
                  <a:gd name="connsiteY16460" fmla="*/ 6707529 h 7571036"/>
                  <a:gd name="connsiteX16461" fmla="*/ 5972020 w 6994525"/>
                  <a:gd name="connsiteY16461" fmla="*/ 6718379 h 7571036"/>
                  <a:gd name="connsiteX16462" fmla="*/ 5982869 w 6994525"/>
                  <a:gd name="connsiteY16462" fmla="*/ 6729227 h 7571036"/>
                  <a:gd name="connsiteX16463" fmla="*/ 5993718 w 6994525"/>
                  <a:gd name="connsiteY16463" fmla="*/ 6718379 h 7571036"/>
                  <a:gd name="connsiteX16464" fmla="*/ 5996677 w 6994525"/>
                  <a:gd name="connsiteY16464" fmla="*/ 4245960 h 7571036"/>
                  <a:gd name="connsiteX16465" fmla="*/ 5945143 w 6994525"/>
                  <a:gd name="connsiteY16465" fmla="*/ 4194426 h 7571036"/>
                  <a:gd name="connsiteX16466" fmla="*/ 5893609 w 6994525"/>
                  <a:gd name="connsiteY16466" fmla="*/ 4245960 h 7571036"/>
                  <a:gd name="connsiteX16467" fmla="*/ 5945143 w 6994525"/>
                  <a:gd name="connsiteY16467" fmla="*/ 4297497 h 7571036"/>
                  <a:gd name="connsiteX16468" fmla="*/ 5996677 w 6994525"/>
                  <a:gd name="connsiteY16468" fmla="*/ 4245960 h 7571036"/>
                  <a:gd name="connsiteX16469" fmla="*/ 5998650 w 6994525"/>
                  <a:gd name="connsiteY16469" fmla="*/ 5322019 h 7571036"/>
                  <a:gd name="connsiteX16470" fmla="*/ 5998156 w 6994525"/>
                  <a:gd name="connsiteY16470" fmla="*/ 5321524 h 7571036"/>
                  <a:gd name="connsiteX16471" fmla="*/ 5997663 w 6994525"/>
                  <a:gd name="connsiteY16471" fmla="*/ 5322019 h 7571036"/>
                  <a:gd name="connsiteX16472" fmla="*/ 5998156 w 6994525"/>
                  <a:gd name="connsiteY16472" fmla="*/ 5322511 h 7571036"/>
                  <a:gd name="connsiteX16473" fmla="*/ 5998650 w 6994525"/>
                  <a:gd name="connsiteY16473" fmla="*/ 5322019 h 7571036"/>
                  <a:gd name="connsiteX16474" fmla="*/ 6003089 w 6994525"/>
                  <a:gd name="connsiteY16474" fmla="*/ 2869016 h 7571036"/>
                  <a:gd name="connsiteX16475" fmla="*/ 5989527 w 6994525"/>
                  <a:gd name="connsiteY16475" fmla="*/ 2855454 h 7571036"/>
                  <a:gd name="connsiteX16476" fmla="*/ 5976213 w 6994525"/>
                  <a:gd name="connsiteY16476" fmla="*/ 2869016 h 7571036"/>
                  <a:gd name="connsiteX16477" fmla="*/ 5989527 w 6994525"/>
                  <a:gd name="connsiteY16477" fmla="*/ 2882579 h 7571036"/>
                  <a:gd name="connsiteX16478" fmla="*/ 6003089 w 6994525"/>
                  <a:gd name="connsiteY16478" fmla="*/ 2869016 h 7571036"/>
                  <a:gd name="connsiteX16479" fmla="*/ 6005802 w 6994525"/>
                  <a:gd name="connsiteY16479" fmla="*/ 1247443 h 7571036"/>
                  <a:gd name="connsiteX16480" fmla="*/ 5962651 w 6994525"/>
                  <a:gd name="connsiteY16480" fmla="*/ 1204291 h 7571036"/>
                  <a:gd name="connsiteX16481" fmla="*/ 5919499 w 6994525"/>
                  <a:gd name="connsiteY16481" fmla="*/ 1247443 h 7571036"/>
                  <a:gd name="connsiteX16482" fmla="*/ 5962651 w 6994525"/>
                  <a:gd name="connsiteY16482" fmla="*/ 1290591 h 7571036"/>
                  <a:gd name="connsiteX16483" fmla="*/ 6005802 w 6994525"/>
                  <a:gd name="connsiteY16483" fmla="*/ 1247443 h 7571036"/>
                  <a:gd name="connsiteX16484" fmla="*/ 6009254 w 6994525"/>
                  <a:gd name="connsiteY16484" fmla="*/ 5981362 h 7571036"/>
                  <a:gd name="connsiteX16485" fmla="*/ 6001612 w 6994525"/>
                  <a:gd name="connsiteY16485" fmla="*/ 5973717 h 7571036"/>
                  <a:gd name="connsiteX16486" fmla="*/ 5993967 w 6994525"/>
                  <a:gd name="connsiteY16486" fmla="*/ 5981362 h 7571036"/>
                  <a:gd name="connsiteX16487" fmla="*/ 6001612 w 6994525"/>
                  <a:gd name="connsiteY16487" fmla="*/ 5989003 h 7571036"/>
                  <a:gd name="connsiteX16488" fmla="*/ 6009254 w 6994525"/>
                  <a:gd name="connsiteY16488" fmla="*/ 5981362 h 7571036"/>
                  <a:gd name="connsiteX16489" fmla="*/ 6010734 w 6994525"/>
                  <a:gd name="connsiteY16489" fmla="*/ 4939088 h 7571036"/>
                  <a:gd name="connsiteX16490" fmla="*/ 5991500 w 6994525"/>
                  <a:gd name="connsiteY16490" fmla="*/ 4919853 h 7571036"/>
                  <a:gd name="connsiteX16491" fmla="*/ 5972268 w 6994525"/>
                  <a:gd name="connsiteY16491" fmla="*/ 4939088 h 7571036"/>
                  <a:gd name="connsiteX16492" fmla="*/ 5991500 w 6994525"/>
                  <a:gd name="connsiteY16492" fmla="*/ 4958319 h 7571036"/>
                  <a:gd name="connsiteX16493" fmla="*/ 6010734 w 6994525"/>
                  <a:gd name="connsiteY16493" fmla="*/ 4939088 h 7571036"/>
                  <a:gd name="connsiteX16494" fmla="*/ 6013199 w 6994525"/>
                  <a:gd name="connsiteY16494" fmla="*/ 2482882 h 7571036"/>
                  <a:gd name="connsiteX16495" fmla="*/ 5979416 w 6994525"/>
                  <a:gd name="connsiteY16495" fmla="*/ 2449100 h 7571036"/>
                  <a:gd name="connsiteX16496" fmla="*/ 5945636 w 6994525"/>
                  <a:gd name="connsiteY16496" fmla="*/ 2482882 h 7571036"/>
                  <a:gd name="connsiteX16497" fmla="*/ 5979416 w 6994525"/>
                  <a:gd name="connsiteY16497" fmla="*/ 2516661 h 7571036"/>
                  <a:gd name="connsiteX16498" fmla="*/ 6013199 w 6994525"/>
                  <a:gd name="connsiteY16498" fmla="*/ 2482882 h 7571036"/>
                  <a:gd name="connsiteX16499" fmla="*/ 6016649 w 6994525"/>
                  <a:gd name="connsiteY16499" fmla="*/ 2216861 h 7571036"/>
                  <a:gd name="connsiteX16500" fmla="*/ 5977692 w 6994525"/>
                  <a:gd name="connsiteY16500" fmla="*/ 2177891 h 7571036"/>
                  <a:gd name="connsiteX16501" fmla="*/ 5938731 w 6994525"/>
                  <a:gd name="connsiteY16501" fmla="*/ 2216861 h 7571036"/>
                  <a:gd name="connsiteX16502" fmla="*/ 5977692 w 6994525"/>
                  <a:gd name="connsiteY16502" fmla="*/ 2255810 h 7571036"/>
                  <a:gd name="connsiteX16503" fmla="*/ 6016649 w 6994525"/>
                  <a:gd name="connsiteY16503" fmla="*/ 2216861 h 7571036"/>
                  <a:gd name="connsiteX16504" fmla="*/ 6016898 w 6994525"/>
                  <a:gd name="connsiteY16504" fmla="*/ 1809134 h 7571036"/>
                  <a:gd name="connsiteX16505" fmla="*/ 5989280 w 6994525"/>
                  <a:gd name="connsiteY16505" fmla="*/ 1781517 h 7571036"/>
                  <a:gd name="connsiteX16506" fmla="*/ 5961664 w 6994525"/>
                  <a:gd name="connsiteY16506" fmla="*/ 1809134 h 7571036"/>
                  <a:gd name="connsiteX16507" fmla="*/ 5989280 w 6994525"/>
                  <a:gd name="connsiteY16507" fmla="*/ 1836753 h 7571036"/>
                  <a:gd name="connsiteX16508" fmla="*/ 6016898 w 6994525"/>
                  <a:gd name="connsiteY16508" fmla="*/ 1809134 h 7571036"/>
                  <a:gd name="connsiteX16509" fmla="*/ 6021826 w 6994525"/>
                  <a:gd name="connsiteY16509" fmla="*/ 2982445 h 7571036"/>
                  <a:gd name="connsiteX16510" fmla="*/ 6014676 w 6994525"/>
                  <a:gd name="connsiteY16510" fmla="*/ 2975293 h 7571036"/>
                  <a:gd name="connsiteX16511" fmla="*/ 6007526 w 6994525"/>
                  <a:gd name="connsiteY16511" fmla="*/ 2982445 h 7571036"/>
                  <a:gd name="connsiteX16512" fmla="*/ 6014676 w 6994525"/>
                  <a:gd name="connsiteY16512" fmla="*/ 2989597 h 7571036"/>
                  <a:gd name="connsiteX16513" fmla="*/ 6021826 w 6994525"/>
                  <a:gd name="connsiteY16513" fmla="*/ 2982445 h 7571036"/>
                  <a:gd name="connsiteX16514" fmla="*/ 6022566 w 6994525"/>
                  <a:gd name="connsiteY16514" fmla="*/ 5468979 h 7571036"/>
                  <a:gd name="connsiteX16515" fmla="*/ 6022321 w 6994525"/>
                  <a:gd name="connsiteY16515" fmla="*/ 5468732 h 7571036"/>
                  <a:gd name="connsiteX16516" fmla="*/ 6022075 w 6994525"/>
                  <a:gd name="connsiteY16516" fmla="*/ 5468979 h 7571036"/>
                  <a:gd name="connsiteX16517" fmla="*/ 6022321 w 6994525"/>
                  <a:gd name="connsiteY16517" fmla="*/ 5469473 h 7571036"/>
                  <a:gd name="connsiteX16518" fmla="*/ 6022566 w 6994525"/>
                  <a:gd name="connsiteY16518" fmla="*/ 5468979 h 7571036"/>
                  <a:gd name="connsiteX16519" fmla="*/ 6026021 w 6994525"/>
                  <a:gd name="connsiteY16519" fmla="*/ 4134263 h 7571036"/>
                  <a:gd name="connsiteX16520" fmla="*/ 5977443 w 6994525"/>
                  <a:gd name="connsiteY16520" fmla="*/ 4085688 h 7571036"/>
                  <a:gd name="connsiteX16521" fmla="*/ 5928868 w 6994525"/>
                  <a:gd name="connsiteY16521" fmla="*/ 4134263 h 7571036"/>
                  <a:gd name="connsiteX16522" fmla="*/ 5977443 w 6994525"/>
                  <a:gd name="connsiteY16522" fmla="*/ 4182838 h 7571036"/>
                  <a:gd name="connsiteX16523" fmla="*/ 6026021 w 6994525"/>
                  <a:gd name="connsiteY16523" fmla="*/ 4134263 h 7571036"/>
                  <a:gd name="connsiteX16524" fmla="*/ 6027253 w 6994525"/>
                  <a:gd name="connsiteY16524" fmla="*/ 6118706 h 7571036"/>
                  <a:gd name="connsiteX16525" fmla="*/ 6016403 w 6994525"/>
                  <a:gd name="connsiteY16525" fmla="*/ 6107856 h 7571036"/>
                  <a:gd name="connsiteX16526" fmla="*/ 6005554 w 6994525"/>
                  <a:gd name="connsiteY16526" fmla="*/ 6118706 h 7571036"/>
                  <a:gd name="connsiteX16527" fmla="*/ 6016403 w 6994525"/>
                  <a:gd name="connsiteY16527" fmla="*/ 6129555 h 7571036"/>
                  <a:gd name="connsiteX16528" fmla="*/ 6027253 w 6994525"/>
                  <a:gd name="connsiteY16528" fmla="*/ 6118706 h 7571036"/>
                  <a:gd name="connsiteX16529" fmla="*/ 6027498 w 6994525"/>
                  <a:gd name="connsiteY16529" fmla="*/ 1106425 h 7571036"/>
                  <a:gd name="connsiteX16530" fmla="*/ 5979664 w 6994525"/>
                  <a:gd name="connsiteY16530" fmla="*/ 1058578 h 7571036"/>
                  <a:gd name="connsiteX16531" fmla="*/ 5931827 w 6994525"/>
                  <a:gd name="connsiteY16531" fmla="*/ 1106425 h 7571036"/>
                  <a:gd name="connsiteX16532" fmla="*/ 5979664 w 6994525"/>
                  <a:gd name="connsiteY16532" fmla="*/ 1154265 h 7571036"/>
                  <a:gd name="connsiteX16533" fmla="*/ 6027498 w 6994525"/>
                  <a:gd name="connsiteY16533" fmla="*/ 1106425 h 7571036"/>
                  <a:gd name="connsiteX16534" fmla="*/ 6029717 w 6994525"/>
                  <a:gd name="connsiteY16534" fmla="*/ 4680432 h 7571036"/>
                  <a:gd name="connsiteX16535" fmla="*/ 6006294 w 6994525"/>
                  <a:gd name="connsiteY16535" fmla="*/ 4657005 h 7571036"/>
                  <a:gd name="connsiteX16536" fmla="*/ 5982868 w 6994525"/>
                  <a:gd name="connsiteY16536" fmla="*/ 4680432 h 7571036"/>
                  <a:gd name="connsiteX16537" fmla="*/ 6006294 w 6994525"/>
                  <a:gd name="connsiteY16537" fmla="*/ 4703854 h 7571036"/>
                  <a:gd name="connsiteX16538" fmla="*/ 6029717 w 6994525"/>
                  <a:gd name="connsiteY16538" fmla="*/ 4680432 h 7571036"/>
                  <a:gd name="connsiteX16539" fmla="*/ 6033664 w 6994525"/>
                  <a:gd name="connsiteY16539" fmla="*/ 5091964 h 7571036"/>
                  <a:gd name="connsiteX16540" fmla="*/ 6024788 w 6994525"/>
                  <a:gd name="connsiteY16540" fmla="*/ 5083087 h 7571036"/>
                  <a:gd name="connsiteX16541" fmla="*/ 6015911 w 6994525"/>
                  <a:gd name="connsiteY16541" fmla="*/ 5091964 h 7571036"/>
                  <a:gd name="connsiteX16542" fmla="*/ 6024788 w 6994525"/>
                  <a:gd name="connsiteY16542" fmla="*/ 5100841 h 7571036"/>
                  <a:gd name="connsiteX16543" fmla="*/ 6033664 w 6994525"/>
                  <a:gd name="connsiteY16543" fmla="*/ 5091964 h 7571036"/>
                  <a:gd name="connsiteX16544" fmla="*/ 6039829 w 6994525"/>
                  <a:gd name="connsiteY16544" fmla="*/ 1626135 h 7571036"/>
                  <a:gd name="connsiteX16545" fmla="*/ 5992978 w 6994525"/>
                  <a:gd name="connsiteY16545" fmla="*/ 1579540 h 7571036"/>
                  <a:gd name="connsiteX16546" fmla="*/ 5946130 w 6994525"/>
                  <a:gd name="connsiteY16546" fmla="*/ 1626135 h 7571036"/>
                  <a:gd name="connsiteX16547" fmla="*/ 5992978 w 6994525"/>
                  <a:gd name="connsiteY16547" fmla="*/ 1672980 h 7571036"/>
                  <a:gd name="connsiteX16548" fmla="*/ 6039829 w 6994525"/>
                  <a:gd name="connsiteY16548" fmla="*/ 1626135 h 7571036"/>
                  <a:gd name="connsiteX16549" fmla="*/ 6040074 w 6994525"/>
                  <a:gd name="connsiteY16549" fmla="*/ 3097109 h 7571036"/>
                  <a:gd name="connsiteX16550" fmla="*/ 6034405 w 6994525"/>
                  <a:gd name="connsiteY16550" fmla="*/ 3091437 h 7571036"/>
                  <a:gd name="connsiteX16551" fmla="*/ 6028978 w 6994525"/>
                  <a:gd name="connsiteY16551" fmla="*/ 3097109 h 7571036"/>
                  <a:gd name="connsiteX16552" fmla="*/ 6034405 w 6994525"/>
                  <a:gd name="connsiteY16552" fmla="*/ 3102533 h 7571036"/>
                  <a:gd name="connsiteX16553" fmla="*/ 6040074 w 6994525"/>
                  <a:gd name="connsiteY16553" fmla="*/ 3097109 h 7571036"/>
                  <a:gd name="connsiteX16554" fmla="*/ 6042046 w 6994525"/>
                  <a:gd name="connsiteY16554" fmla="*/ 967623 h 7571036"/>
                  <a:gd name="connsiteX16555" fmla="*/ 5995445 w 6994525"/>
                  <a:gd name="connsiteY16555" fmla="*/ 921017 h 7571036"/>
                  <a:gd name="connsiteX16556" fmla="*/ 5948842 w 6994525"/>
                  <a:gd name="connsiteY16556" fmla="*/ 967623 h 7571036"/>
                  <a:gd name="connsiteX16557" fmla="*/ 5995445 w 6994525"/>
                  <a:gd name="connsiteY16557" fmla="*/ 1014230 h 7571036"/>
                  <a:gd name="connsiteX16558" fmla="*/ 6042046 w 6994525"/>
                  <a:gd name="connsiteY16558" fmla="*/ 967623 h 7571036"/>
                  <a:gd name="connsiteX16559" fmla="*/ 6043774 w 6994525"/>
                  <a:gd name="connsiteY16559" fmla="*/ 6254322 h 7571036"/>
                  <a:gd name="connsiteX16560" fmla="*/ 6029965 w 6994525"/>
                  <a:gd name="connsiteY16560" fmla="*/ 6240513 h 7571036"/>
                  <a:gd name="connsiteX16561" fmla="*/ 6016157 w 6994525"/>
                  <a:gd name="connsiteY16561" fmla="*/ 6254322 h 7571036"/>
                  <a:gd name="connsiteX16562" fmla="*/ 6029965 w 6994525"/>
                  <a:gd name="connsiteY16562" fmla="*/ 6268130 h 7571036"/>
                  <a:gd name="connsiteX16563" fmla="*/ 6043774 w 6994525"/>
                  <a:gd name="connsiteY16563" fmla="*/ 6254322 h 7571036"/>
                  <a:gd name="connsiteX16564" fmla="*/ 6044760 w 6994525"/>
                  <a:gd name="connsiteY16564" fmla="*/ 4412402 h 7571036"/>
                  <a:gd name="connsiteX16565" fmla="*/ 6002595 w 6994525"/>
                  <a:gd name="connsiteY16565" fmla="*/ 4370483 h 7571036"/>
                  <a:gd name="connsiteX16566" fmla="*/ 5960679 w 6994525"/>
                  <a:gd name="connsiteY16566" fmla="*/ 4412402 h 7571036"/>
                  <a:gd name="connsiteX16567" fmla="*/ 6002595 w 6994525"/>
                  <a:gd name="connsiteY16567" fmla="*/ 4454318 h 7571036"/>
                  <a:gd name="connsiteX16568" fmla="*/ 6044760 w 6994525"/>
                  <a:gd name="connsiteY16568" fmla="*/ 4412402 h 7571036"/>
                  <a:gd name="connsiteX16569" fmla="*/ 6045006 w 6994525"/>
                  <a:gd name="connsiteY16569" fmla="*/ 2060255 h 7571036"/>
                  <a:gd name="connsiteX16570" fmla="*/ 6016652 w 6994525"/>
                  <a:gd name="connsiteY16570" fmla="*/ 2031890 h 7571036"/>
                  <a:gd name="connsiteX16571" fmla="*/ 5988295 w 6994525"/>
                  <a:gd name="connsiteY16571" fmla="*/ 2060255 h 7571036"/>
                  <a:gd name="connsiteX16572" fmla="*/ 6016652 w 6994525"/>
                  <a:gd name="connsiteY16572" fmla="*/ 2088621 h 7571036"/>
                  <a:gd name="connsiteX16573" fmla="*/ 6045006 w 6994525"/>
                  <a:gd name="connsiteY16573" fmla="*/ 2060255 h 7571036"/>
                  <a:gd name="connsiteX16574" fmla="*/ 6047224 w 6994525"/>
                  <a:gd name="connsiteY16574" fmla="*/ 5614457 h 7571036"/>
                  <a:gd name="connsiteX16575" fmla="*/ 6043773 w 6994525"/>
                  <a:gd name="connsiteY16575" fmla="*/ 5611006 h 7571036"/>
                  <a:gd name="connsiteX16576" fmla="*/ 6040320 w 6994525"/>
                  <a:gd name="connsiteY16576" fmla="*/ 5614457 h 7571036"/>
                  <a:gd name="connsiteX16577" fmla="*/ 6043773 w 6994525"/>
                  <a:gd name="connsiteY16577" fmla="*/ 5617910 h 7571036"/>
                  <a:gd name="connsiteX16578" fmla="*/ 6047224 w 6994525"/>
                  <a:gd name="connsiteY16578" fmla="*/ 5614457 h 7571036"/>
                  <a:gd name="connsiteX16579" fmla="*/ 6047967 w 6994525"/>
                  <a:gd name="connsiteY16579" fmla="*/ 530213 h 7571036"/>
                  <a:gd name="connsiteX16580" fmla="*/ 6000376 w 6994525"/>
                  <a:gd name="connsiteY16580" fmla="*/ 482628 h 7571036"/>
                  <a:gd name="connsiteX16581" fmla="*/ 5952788 w 6994525"/>
                  <a:gd name="connsiteY16581" fmla="*/ 530213 h 7571036"/>
                  <a:gd name="connsiteX16582" fmla="*/ 6000376 w 6994525"/>
                  <a:gd name="connsiteY16582" fmla="*/ 577801 h 7571036"/>
                  <a:gd name="connsiteX16583" fmla="*/ 6047967 w 6994525"/>
                  <a:gd name="connsiteY16583" fmla="*/ 530213 h 7571036"/>
                  <a:gd name="connsiteX16584" fmla="*/ 6048705 w 6994525"/>
                  <a:gd name="connsiteY16584" fmla="*/ 4021331 h 7571036"/>
                  <a:gd name="connsiteX16585" fmla="*/ 6004568 w 6994525"/>
                  <a:gd name="connsiteY16585" fmla="*/ 3977193 h 7571036"/>
                  <a:gd name="connsiteX16586" fmla="*/ 5960430 w 6994525"/>
                  <a:gd name="connsiteY16586" fmla="*/ 4021331 h 7571036"/>
                  <a:gd name="connsiteX16587" fmla="*/ 6004568 w 6994525"/>
                  <a:gd name="connsiteY16587" fmla="*/ 4065469 h 7571036"/>
                  <a:gd name="connsiteX16588" fmla="*/ 6048705 w 6994525"/>
                  <a:gd name="connsiteY16588" fmla="*/ 4021331 h 7571036"/>
                  <a:gd name="connsiteX16589" fmla="*/ 6051172 w 6994525"/>
                  <a:gd name="connsiteY16589" fmla="*/ 2591621 h 7571036"/>
                  <a:gd name="connsiteX16590" fmla="*/ 6020348 w 6994525"/>
                  <a:gd name="connsiteY16590" fmla="*/ 2560551 h 7571036"/>
                  <a:gd name="connsiteX16591" fmla="*/ 5989280 w 6994525"/>
                  <a:gd name="connsiteY16591" fmla="*/ 2591621 h 7571036"/>
                  <a:gd name="connsiteX16592" fmla="*/ 6020348 w 6994525"/>
                  <a:gd name="connsiteY16592" fmla="*/ 2622442 h 7571036"/>
                  <a:gd name="connsiteX16593" fmla="*/ 6051172 w 6994525"/>
                  <a:gd name="connsiteY16593" fmla="*/ 2591621 h 7571036"/>
                  <a:gd name="connsiteX16594" fmla="*/ 6055855 w 6994525"/>
                  <a:gd name="connsiteY16594" fmla="*/ 830311 h 7571036"/>
                  <a:gd name="connsiteX16595" fmla="*/ 6009499 w 6994525"/>
                  <a:gd name="connsiteY16595" fmla="*/ 783704 h 7571036"/>
                  <a:gd name="connsiteX16596" fmla="*/ 5963143 w 6994525"/>
                  <a:gd name="connsiteY16596" fmla="*/ 830311 h 7571036"/>
                  <a:gd name="connsiteX16597" fmla="*/ 6009499 w 6994525"/>
                  <a:gd name="connsiteY16597" fmla="*/ 876655 h 7571036"/>
                  <a:gd name="connsiteX16598" fmla="*/ 6055855 w 6994525"/>
                  <a:gd name="connsiteY16598" fmla="*/ 830311 h 7571036"/>
                  <a:gd name="connsiteX16599" fmla="*/ 6055855 w 6994525"/>
                  <a:gd name="connsiteY16599" fmla="*/ 3212511 h 7571036"/>
                  <a:gd name="connsiteX16600" fmla="*/ 6048705 w 6994525"/>
                  <a:gd name="connsiteY16600" fmla="*/ 3205361 h 7571036"/>
                  <a:gd name="connsiteX16601" fmla="*/ 6041555 w 6994525"/>
                  <a:gd name="connsiteY16601" fmla="*/ 3212511 h 7571036"/>
                  <a:gd name="connsiteX16602" fmla="*/ 6048705 w 6994525"/>
                  <a:gd name="connsiteY16602" fmla="*/ 3219665 h 7571036"/>
                  <a:gd name="connsiteX16603" fmla="*/ 6055855 w 6994525"/>
                  <a:gd name="connsiteY16603" fmla="*/ 3212511 h 7571036"/>
                  <a:gd name="connsiteX16604" fmla="*/ 6058073 w 6994525"/>
                  <a:gd name="connsiteY16604" fmla="*/ 397339 h 7571036"/>
                  <a:gd name="connsiteX16605" fmla="*/ 6010485 w 6994525"/>
                  <a:gd name="connsiteY16605" fmla="*/ 349753 h 7571036"/>
                  <a:gd name="connsiteX16606" fmla="*/ 5962896 w 6994525"/>
                  <a:gd name="connsiteY16606" fmla="*/ 397339 h 7571036"/>
                  <a:gd name="connsiteX16607" fmla="*/ 6010485 w 6994525"/>
                  <a:gd name="connsiteY16607" fmla="*/ 444927 h 7571036"/>
                  <a:gd name="connsiteX16608" fmla="*/ 6058073 w 6994525"/>
                  <a:gd name="connsiteY16608" fmla="*/ 397339 h 7571036"/>
                  <a:gd name="connsiteX16609" fmla="*/ 6064486 w 6994525"/>
                  <a:gd name="connsiteY16609" fmla="*/ 1479690 h 7571036"/>
                  <a:gd name="connsiteX16610" fmla="*/ 6017143 w 6994525"/>
                  <a:gd name="connsiteY16610" fmla="*/ 1432351 h 7571036"/>
                  <a:gd name="connsiteX16611" fmla="*/ 5969801 w 6994525"/>
                  <a:gd name="connsiteY16611" fmla="*/ 1479690 h 7571036"/>
                  <a:gd name="connsiteX16612" fmla="*/ 6017143 w 6994525"/>
                  <a:gd name="connsiteY16612" fmla="*/ 1527044 h 7571036"/>
                  <a:gd name="connsiteX16613" fmla="*/ 6064486 w 6994525"/>
                  <a:gd name="connsiteY16613" fmla="*/ 1479690 h 7571036"/>
                  <a:gd name="connsiteX16614" fmla="*/ 6065226 w 6994525"/>
                  <a:gd name="connsiteY16614" fmla="*/ 3907169 h 7571036"/>
                  <a:gd name="connsiteX16615" fmla="*/ 6026512 w 6994525"/>
                  <a:gd name="connsiteY16615" fmla="*/ 3868208 h 7571036"/>
                  <a:gd name="connsiteX16616" fmla="*/ 5987554 w 6994525"/>
                  <a:gd name="connsiteY16616" fmla="*/ 3907169 h 7571036"/>
                  <a:gd name="connsiteX16617" fmla="*/ 6026512 w 6994525"/>
                  <a:gd name="connsiteY16617" fmla="*/ 3945880 h 7571036"/>
                  <a:gd name="connsiteX16618" fmla="*/ 6065226 w 6994525"/>
                  <a:gd name="connsiteY16618" fmla="*/ 3907169 h 7571036"/>
                  <a:gd name="connsiteX16619" fmla="*/ 6065721 w 6994525"/>
                  <a:gd name="connsiteY16619" fmla="*/ 5227086 h 7571036"/>
                  <a:gd name="connsiteX16620" fmla="*/ 6065475 w 6994525"/>
                  <a:gd name="connsiteY16620" fmla="*/ 5226839 h 7571036"/>
                  <a:gd name="connsiteX16621" fmla="*/ 6065475 w 6994525"/>
                  <a:gd name="connsiteY16621" fmla="*/ 5227331 h 7571036"/>
                  <a:gd name="connsiteX16622" fmla="*/ 6065721 w 6994525"/>
                  <a:gd name="connsiteY16622" fmla="*/ 5227086 h 7571036"/>
                  <a:gd name="connsiteX16623" fmla="*/ 6066954 w 6994525"/>
                  <a:gd name="connsiteY16623" fmla="*/ 265701 h 7571036"/>
                  <a:gd name="connsiteX16624" fmla="*/ 6019611 w 6994525"/>
                  <a:gd name="connsiteY16624" fmla="*/ 218360 h 7571036"/>
                  <a:gd name="connsiteX16625" fmla="*/ 5972514 w 6994525"/>
                  <a:gd name="connsiteY16625" fmla="*/ 265701 h 7571036"/>
                  <a:gd name="connsiteX16626" fmla="*/ 6019611 w 6994525"/>
                  <a:gd name="connsiteY16626" fmla="*/ 313040 h 7571036"/>
                  <a:gd name="connsiteX16627" fmla="*/ 6066954 w 6994525"/>
                  <a:gd name="connsiteY16627" fmla="*/ 265701 h 7571036"/>
                  <a:gd name="connsiteX16628" fmla="*/ 6068182 w 6994525"/>
                  <a:gd name="connsiteY16628" fmla="*/ 3328149 h 7571036"/>
                  <a:gd name="connsiteX16629" fmla="*/ 6058073 w 6994525"/>
                  <a:gd name="connsiteY16629" fmla="*/ 3318049 h 7571036"/>
                  <a:gd name="connsiteX16630" fmla="*/ 6047964 w 6994525"/>
                  <a:gd name="connsiteY16630" fmla="*/ 3328149 h 7571036"/>
                  <a:gd name="connsiteX16631" fmla="*/ 6058073 w 6994525"/>
                  <a:gd name="connsiteY16631" fmla="*/ 3338263 h 7571036"/>
                  <a:gd name="connsiteX16632" fmla="*/ 6068182 w 6994525"/>
                  <a:gd name="connsiteY16632" fmla="*/ 3328149 h 7571036"/>
                  <a:gd name="connsiteX16633" fmla="*/ 6068185 w 6994525"/>
                  <a:gd name="connsiteY16633" fmla="*/ 6380074 h 7571036"/>
                  <a:gd name="connsiteX16634" fmla="*/ 6052404 w 6994525"/>
                  <a:gd name="connsiteY16634" fmla="*/ 6364293 h 7571036"/>
                  <a:gd name="connsiteX16635" fmla="*/ 6036623 w 6994525"/>
                  <a:gd name="connsiteY16635" fmla="*/ 6380074 h 7571036"/>
                  <a:gd name="connsiteX16636" fmla="*/ 6052404 w 6994525"/>
                  <a:gd name="connsiteY16636" fmla="*/ 6395854 h 7571036"/>
                  <a:gd name="connsiteX16637" fmla="*/ 6068185 w 6994525"/>
                  <a:gd name="connsiteY16637" fmla="*/ 6380074 h 7571036"/>
                  <a:gd name="connsiteX16638" fmla="*/ 6069172 w 6994525"/>
                  <a:gd name="connsiteY16638" fmla="*/ 694230 h 7571036"/>
                  <a:gd name="connsiteX16639" fmla="*/ 6022321 w 6994525"/>
                  <a:gd name="connsiteY16639" fmla="*/ 647361 h 7571036"/>
                  <a:gd name="connsiteX16640" fmla="*/ 5975473 w 6994525"/>
                  <a:gd name="connsiteY16640" fmla="*/ 694230 h 7571036"/>
                  <a:gd name="connsiteX16641" fmla="*/ 6022321 w 6994525"/>
                  <a:gd name="connsiteY16641" fmla="*/ 741077 h 7571036"/>
                  <a:gd name="connsiteX16642" fmla="*/ 6069172 w 6994525"/>
                  <a:gd name="connsiteY16642" fmla="*/ 694230 h 7571036"/>
                  <a:gd name="connsiteX16643" fmla="*/ 6069417 w 6994525"/>
                  <a:gd name="connsiteY16643" fmla="*/ 2321378 h 7571036"/>
                  <a:gd name="connsiteX16644" fmla="*/ 6028241 w 6994525"/>
                  <a:gd name="connsiteY16644" fmla="*/ 2280207 h 7571036"/>
                  <a:gd name="connsiteX16645" fmla="*/ 5987063 w 6994525"/>
                  <a:gd name="connsiteY16645" fmla="*/ 2321378 h 7571036"/>
                  <a:gd name="connsiteX16646" fmla="*/ 6028241 w 6994525"/>
                  <a:gd name="connsiteY16646" fmla="*/ 2362565 h 7571036"/>
                  <a:gd name="connsiteX16647" fmla="*/ 6069417 w 6994525"/>
                  <a:gd name="connsiteY16647" fmla="*/ 2321378 h 7571036"/>
                  <a:gd name="connsiteX16648" fmla="*/ 6070157 w 6994525"/>
                  <a:gd name="connsiteY16648" fmla="*/ 5756730 h 7571036"/>
                  <a:gd name="connsiteX16649" fmla="*/ 6064239 w 6994525"/>
                  <a:gd name="connsiteY16649" fmla="*/ 5750812 h 7571036"/>
                  <a:gd name="connsiteX16650" fmla="*/ 6058322 w 6994525"/>
                  <a:gd name="connsiteY16650" fmla="*/ 5756730 h 7571036"/>
                  <a:gd name="connsiteX16651" fmla="*/ 6064239 w 6994525"/>
                  <a:gd name="connsiteY16651" fmla="*/ 5762647 h 7571036"/>
                  <a:gd name="connsiteX16652" fmla="*/ 6070157 w 6994525"/>
                  <a:gd name="connsiteY16652" fmla="*/ 5756730 h 7571036"/>
                  <a:gd name="connsiteX16653" fmla="*/ 6071390 w 6994525"/>
                  <a:gd name="connsiteY16653" fmla="*/ 6513968 h 7571036"/>
                  <a:gd name="connsiteX16654" fmla="*/ 6063500 w 6994525"/>
                  <a:gd name="connsiteY16654" fmla="*/ 6506323 h 7571036"/>
                  <a:gd name="connsiteX16655" fmla="*/ 6055855 w 6994525"/>
                  <a:gd name="connsiteY16655" fmla="*/ 6513968 h 7571036"/>
                  <a:gd name="connsiteX16656" fmla="*/ 6063500 w 6994525"/>
                  <a:gd name="connsiteY16656" fmla="*/ 6521609 h 7571036"/>
                  <a:gd name="connsiteX16657" fmla="*/ 6071390 w 6994525"/>
                  <a:gd name="connsiteY16657" fmla="*/ 6513968 h 7571036"/>
                  <a:gd name="connsiteX16658" fmla="*/ 6072130 w 6994525"/>
                  <a:gd name="connsiteY16658" fmla="*/ 4837990 h 7571036"/>
                  <a:gd name="connsiteX16659" fmla="*/ 6047967 w 6994525"/>
                  <a:gd name="connsiteY16659" fmla="*/ 4813826 h 7571036"/>
                  <a:gd name="connsiteX16660" fmla="*/ 6023801 w 6994525"/>
                  <a:gd name="connsiteY16660" fmla="*/ 4837990 h 7571036"/>
                  <a:gd name="connsiteX16661" fmla="*/ 6047967 w 6994525"/>
                  <a:gd name="connsiteY16661" fmla="*/ 4862156 h 7571036"/>
                  <a:gd name="connsiteX16662" fmla="*/ 6072130 w 6994525"/>
                  <a:gd name="connsiteY16662" fmla="*/ 4837990 h 7571036"/>
                  <a:gd name="connsiteX16663" fmla="*/ 6075830 w 6994525"/>
                  <a:gd name="connsiteY16663" fmla="*/ 3792015 h 7571036"/>
                  <a:gd name="connsiteX16664" fmla="*/ 6043282 w 6994525"/>
                  <a:gd name="connsiteY16664" fmla="*/ 3759467 h 7571036"/>
                  <a:gd name="connsiteX16665" fmla="*/ 6010733 w 6994525"/>
                  <a:gd name="connsiteY16665" fmla="*/ 3792015 h 7571036"/>
                  <a:gd name="connsiteX16666" fmla="*/ 6043282 w 6994525"/>
                  <a:gd name="connsiteY16666" fmla="*/ 3824563 h 7571036"/>
                  <a:gd name="connsiteX16667" fmla="*/ 6075830 w 6994525"/>
                  <a:gd name="connsiteY16667" fmla="*/ 3792015 h 7571036"/>
                  <a:gd name="connsiteX16668" fmla="*/ 6076813 w 6994525"/>
                  <a:gd name="connsiteY16668" fmla="*/ 3444275 h 7571036"/>
                  <a:gd name="connsiteX16669" fmla="*/ 6062267 w 6994525"/>
                  <a:gd name="connsiteY16669" fmla="*/ 3429746 h 7571036"/>
                  <a:gd name="connsiteX16670" fmla="*/ 6047719 w 6994525"/>
                  <a:gd name="connsiteY16670" fmla="*/ 3444275 h 7571036"/>
                  <a:gd name="connsiteX16671" fmla="*/ 6062267 w 6994525"/>
                  <a:gd name="connsiteY16671" fmla="*/ 3458845 h 7571036"/>
                  <a:gd name="connsiteX16672" fmla="*/ 6076813 w 6994525"/>
                  <a:gd name="connsiteY16672" fmla="*/ 3444275 h 7571036"/>
                  <a:gd name="connsiteX16673" fmla="*/ 6080761 w 6994525"/>
                  <a:gd name="connsiteY16673" fmla="*/ 1335221 h 7571036"/>
                  <a:gd name="connsiteX16674" fmla="*/ 6039088 w 6994525"/>
                  <a:gd name="connsiteY16674" fmla="*/ 1293542 h 7571036"/>
                  <a:gd name="connsiteX16675" fmla="*/ 5997417 w 6994525"/>
                  <a:gd name="connsiteY16675" fmla="*/ 1335221 h 7571036"/>
                  <a:gd name="connsiteX16676" fmla="*/ 6039088 w 6994525"/>
                  <a:gd name="connsiteY16676" fmla="*/ 1376894 h 7571036"/>
                  <a:gd name="connsiteX16677" fmla="*/ 6080761 w 6994525"/>
                  <a:gd name="connsiteY16677" fmla="*/ 1335221 h 7571036"/>
                  <a:gd name="connsiteX16678" fmla="*/ 6081007 w 6994525"/>
                  <a:gd name="connsiteY16678" fmla="*/ 3676371 h 7571036"/>
                  <a:gd name="connsiteX16679" fmla="*/ 6054872 w 6994525"/>
                  <a:gd name="connsiteY16679" fmla="*/ 3649987 h 7571036"/>
                  <a:gd name="connsiteX16680" fmla="*/ 6028733 w 6994525"/>
                  <a:gd name="connsiteY16680" fmla="*/ 3676371 h 7571036"/>
                  <a:gd name="connsiteX16681" fmla="*/ 6054872 w 6994525"/>
                  <a:gd name="connsiteY16681" fmla="*/ 3702507 h 7571036"/>
                  <a:gd name="connsiteX16682" fmla="*/ 6081007 w 6994525"/>
                  <a:gd name="connsiteY16682" fmla="*/ 3676371 h 7571036"/>
                  <a:gd name="connsiteX16683" fmla="*/ 6081502 w 6994525"/>
                  <a:gd name="connsiteY16683" fmla="*/ 3560237 h 7571036"/>
                  <a:gd name="connsiteX16684" fmla="*/ 6061035 w 6994525"/>
                  <a:gd name="connsiteY16684" fmla="*/ 3539770 h 7571036"/>
                  <a:gd name="connsiteX16685" fmla="*/ 6040569 w 6994525"/>
                  <a:gd name="connsiteY16685" fmla="*/ 3560237 h 7571036"/>
                  <a:gd name="connsiteX16686" fmla="*/ 6061035 w 6994525"/>
                  <a:gd name="connsiteY16686" fmla="*/ 3580701 h 7571036"/>
                  <a:gd name="connsiteX16687" fmla="*/ 6081502 w 6994525"/>
                  <a:gd name="connsiteY16687" fmla="*/ 3560237 h 7571036"/>
                  <a:gd name="connsiteX16688" fmla="*/ 6082485 w 6994525"/>
                  <a:gd name="connsiteY16688" fmla="*/ 4574645 h 7571036"/>
                  <a:gd name="connsiteX16689" fmla="*/ 6054374 w 6994525"/>
                  <a:gd name="connsiteY16689" fmla="*/ 4546536 h 7571036"/>
                  <a:gd name="connsiteX16690" fmla="*/ 6026266 w 6994525"/>
                  <a:gd name="connsiteY16690" fmla="*/ 4574645 h 7571036"/>
                  <a:gd name="connsiteX16691" fmla="*/ 6054374 w 6994525"/>
                  <a:gd name="connsiteY16691" fmla="*/ 4602755 h 7571036"/>
                  <a:gd name="connsiteX16692" fmla="*/ 6082485 w 6994525"/>
                  <a:gd name="connsiteY16692" fmla="*/ 4574645 h 7571036"/>
                  <a:gd name="connsiteX16693" fmla="*/ 6084213 w 6994525"/>
                  <a:gd name="connsiteY16693" fmla="*/ 2701846 h 7571036"/>
                  <a:gd name="connsiteX16694" fmla="*/ 6056351 w 6994525"/>
                  <a:gd name="connsiteY16694" fmla="*/ 2673980 h 7571036"/>
                  <a:gd name="connsiteX16695" fmla="*/ 6028488 w 6994525"/>
                  <a:gd name="connsiteY16695" fmla="*/ 2701846 h 7571036"/>
                  <a:gd name="connsiteX16696" fmla="*/ 6056351 w 6994525"/>
                  <a:gd name="connsiteY16696" fmla="*/ 2729714 h 7571036"/>
                  <a:gd name="connsiteX16697" fmla="*/ 6084213 w 6994525"/>
                  <a:gd name="connsiteY16697" fmla="*/ 2701846 h 7571036"/>
                  <a:gd name="connsiteX16698" fmla="*/ 6085447 w 6994525"/>
                  <a:gd name="connsiteY16698" fmla="*/ 6646129 h 7571036"/>
                  <a:gd name="connsiteX16699" fmla="*/ 6073857 w 6994525"/>
                  <a:gd name="connsiteY16699" fmla="*/ 6634539 h 7571036"/>
                  <a:gd name="connsiteX16700" fmla="*/ 6062267 w 6994525"/>
                  <a:gd name="connsiteY16700" fmla="*/ 6646129 h 7571036"/>
                  <a:gd name="connsiteX16701" fmla="*/ 6073857 w 6994525"/>
                  <a:gd name="connsiteY16701" fmla="*/ 6657719 h 7571036"/>
                  <a:gd name="connsiteX16702" fmla="*/ 6085447 w 6994525"/>
                  <a:gd name="connsiteY16702" fmla="*/ 6646129 h 7571036"/>
                  <a:gd name="connsiteX16703" fmla="*/ 6090870 w 6994525"/>
                  <a:gd name="connsiteY16703" fmla="*/ 5898020 h 7571036"/>
                  <a:gd name="connsiteX16704" fmla="*/ 6082239 w 6994525"/>
                  <a:gd name="connsiteY16704" fmla="*/ 5889389 h 7571036"/>
                  <a:gd name="connsiteX16705" fmla="*/ 6073608 w 6994525"/>
                  <a:gd name="connsiteY16705" fmla="*/ 5898020 h 7571036"/>
                  <a:gd name="connsiteX16706" fmla="*/ 6082239 w 6994525"/>
                  <a:gd name="connsiteY16706" fmla="*/ 5906651 h 7571036"/>
                  <a:gd name="connsiteX16707" fmla="*/ 6090870 w 6994525"/>
                  <a:gd name="connsiteY16707" fmla="*/ 5898020 h 7571036"/>
                  <a:gd name="connsiteX16708" fmla="*/ 6092839 w 6994525"/>
                  <a:gd name="connsiteY16708" fmla="*/ 5376512 h 7571036"/>
                  <a:gd name="connsiteX16709" fmla="*/ 6092594 w 6994525"/>
                  <a:gd name="connsiteY16709" fmla="*/ 5376266 h 7571036"/>
                  <a:gd name="connsiteX16710" fmla="*/ 6092594 w 6994525"/>
                  <a:gd name="connsiteY16710" fmla="*/ 5376512 h 7571036"/>
                  <a:gd name="connsiteX16711" fmla="*/ 6092594 w 6994525"/>
                  <a:gd name="connsiteY16711" fmla="*/ 5376761 h 7571036"/>
                  <a:gd name="connsiteX16712" fmla="*/ 6093089 w 6994525"/>
                  <a:gd name="connsiteY16712" fmla="*/ 4302674 h 7571036"/>
                  <a:gd name="connsiteX16713" fmla="*/ 6041061 w 6994525"/>
                  <a:gd name="connsiteY16713" fmla="*/ 4250646 h 7571036"/>
                  <a:gd name="connsiteX16714" fmla="*/ 5989033 w 6994525"/>
                  <a:gd name="connsiteY16714" fmla="*/ 4302674 h 7571036"/>
                  <a:gd name="connsiteX16715" fmla="*/ 6041061 w 6994525"/>
                  <a:gd name="connsiteY16715" fmla="*/ 4354702 h 7571036"/>
                  <a:gd name="connsiteX16716" fmla="*/ 6093089 w 6994525"/>
                  <a:gd name="connsiteY16716" fmla="*/ 4302674 h 7571036"/>
                  <a:gd name="connsiteX16717" fmla="*/ 6099007 w 6994525"/>
                  <a:gd name="connsiteY16717" fmla="*/ 4993089 h 7571036"/>
                  <a:gd name="connsiteX16718" fmla="*/ 6085444 w 6994525"/>
                  <a:gd name="connsiteY16718" fmla="*/ 4979526 h 7571036"/>
                  <a:gd name="connsiteX16719" fmla="*/ 6071882 w 6994525"/>
                  <a:gd name="connsiteY16719" fmla="*/ 4993089 h 7571036"/>
                  <a:gd name="connsiteX16720" fmla="*/ 6085444 w 6994525"/>
                  <a:gd name="connsiteY16720" fmla="*/ 5006647 h 7571036"/>
                  <a:gd name="connsiteX16721" fmla="*/ 6099007 w 6994525"/>
                  <a:gd name="connsiteY16721" fmla="*/ 4993089 h 7571036"/>
                  <a:gd name="connsiteX16722" fmla="*/ 6101966 w 6994525"/>
                  <a:gd name="connsiteY16722" fmla="*/ 1906481 h 7571036"/>
                  <a:gd name="connsiteX16723" fmla="*/ 6051664 w 6994525"/>
                  <a:gd name="connsiteY16723" fmla="*/ 1856221 h 7571036"/>
                  <a:gd name="connsiteX16724" fmla="*/ 6001363 w 6994525"/>
                  <a:gd name="connsiteY16724" fmla="*/ 1906481 h 7571036"/>
                  <a:gd name="connsiteX16725" fmla="*/ 6051664 w 6994525"/>
                  <a:gd name="connsiteY16725" fmla="*/ 1956741 h 7571036"/>
                  <a:gd name="connsiteX16726" fmla="*/ 6101966 w 6994525"/>
                  <a:gd name="connsiteY16726" fmla="*/ 1906481 h 7571036"/>
                  <a:gd name="connsiteX16727" fmla="*/ 6103690 w 6994525"/>
                  <a:gd name="connsiteY16727" fmla="*/ 2162113 h 7571036"/>
                  <a:gd name="connsiteX16728" fmla="*/ 6071390 w 6994525"/>
                  <a:gd name="connsiteY16728" fmla="*/ 2129811 h 7571036"/>
                  <a:gd name="connsiteX16729" fmla="*/ 6039088 w 6994525"/>
                  <a:gd name="connsiteY16729" fmla="*/ 2162113 h 7571036"/>
                  <a:gd name="connsiteX16730" fmla="*/ 6071390 w 6994525"/>
                  <a:gd name="connsiteY16730" fmla="*/ 2194424 h 7571036"/>
                  <a:gd name="connsiteX16731" fmla="*/ 6103690 w 6994525"/>
                  <a:gd name="connsiteY16731" fmla="*/ 2162113 h 7571036"/>
                  <a:gd name="connsiteX16732" fmla="*/ 6106405 w 6994525"/>
                  <a:gd name="connsiteY16732" fmla="*/ 1191986 h 7571036"/>
                  <a:gd name="connsiteX16733" fmla="*/ 6058322 w 6994525"/>
                  <a:gd name="connsiteY16733" fmla="*/ 1143899 h 7571036"/>
                  <a:gd name="connsiteX16734" fmla="*/ 6010239 w 6994525"/>
                  <a:gd name="connsiteY16734" fmla="*/ 1191986 h 7571036"/>
                  <a:gd name="connsiteX16735" fmla="*/ 6058322 w 6994525"/>
                  <a:gd name="connsiteY16735" fmla="*/ 1240075 h 7571036"/>
                  <a:gd name="connsiteX16736" fmla="*/ 6106405 w 6994525"/>
                  <a:gd name="connsiteY16736" fmla="*/ 1191986 h 7571036"/>
                  <a:gd name="connsiteX16737" fmla="*/ 6106897 w 6994525"/>
                  <a:gd name="connsiteY16737" fmla="*/ 1720793 h 7571036"/>
                  <a:gd name="connsiteX16738" fmla="*/ 6060541 w 6994525"/>
                  <a:gd name="connsiteY16738" fmla="*/ 1674460 h 7571036"/>
                  <a:gd name="connsiteX16739" fmla="*/ 6014185 w 6994525"/>
                  <a:gd name="connsiteY16739" fmla="*/ 1720793 h 7571036"/>
                  <a:gd name="connsiteX16740" fmla="*/ 6060541 w 6994525"/>
                  <a:gd name="connsiteY16740" fmla="*/ 1767220 h 7571036"/>
                  <a:gd name="connsiteX16741" fmla="*/ 6106897 w 6994525"/>
                  <a:gd name="connsiteY16741" fmla="*/ 1720793 h 7571036"/>
                  <a:gd name="connsiteX16742" fmla="*/ 6110594 w 6994525"/>
                  <a:gd name="connsiteY16742" fmla="*/ 6037089 h 7571036"/>
                  <a:gd name="connsiteX16743" fmla="*/ 6099004 w 6994525"/>
                  <a:gd name="connsiteY16743" fmla="*/ 6025499 h 7571036"/>
                  <a:gd name="connsiteX16744" fmla="*/ 6087414 w 6994525"/>
                  <a:gd name="connsiteY16744" fmla="*/ 6037089 h 7571036"/>
                  <a:gd name="connsiteX16745" fmla="*/ 6099004 w 6994525"/>
                  <a:gd name="connsiteY16745" fmla="*/ 6048679 h 7571036"/>
                  <a:gd name="connsiteX16746" fmla="*/ 6110594 w 6994525"/>
                  <a:gd name="connsiteY16746" fmla="*/ 6037089 h 7571036"/>
                  <a:gd name="connsiteX16747" fmla="*/ 6112074 w 6994525"/>
                  <a:gd name="connsiteY16747" fmla="*/ 2813549 h 7571036"/>
                  <a:gd name="connsiteX16748" fmla="*/ 6087666 w 6994525"/>
                  <a:gd name="connsiteY16748" fmla="*/ 2789135 h 7571036"/>
                  <a:gd name="connsiteX16749" fmla="*/ 6063254 w 6994525"/>
                  <a:gd name="connsiteY16749" fmla="*/ 2813549 h 7571036"/>
                  <a:gd name="connsiteX16750" fmla="*/ 6087666 w 6994525"/>
                  <a:gd name="connsiteY16750" fmla="*/ 2837960 h 7571036"/>
                  <a:gd name="connsiteX16751" fmla="*/ 6112074 w 6994525"/>
                  <a:gd name="connsiteY16751" fmla="*/ 2813549 h 7571036"/>
                  <a:gd name="connsiteX16752" fmla="*/ 6114788 w 6994525"/>
                  <a:gd name="connsiteY16752" fmla="*/ 2427657 h 7571036"/>
                  <a:gd name="connsiteX16753" fmla="*/ 6074101 w 6994525"/>
                  <a:gd name="connsiteY16753" fmla="*/ 2386982 h 7571036"/>
                  <a:gd name="connsiteX16754" fmla="*/ 6033416 w 6994525"/>
                  <a:gd name="connsiteY16754" fmla="*/ 2427657 h 7571036"/>
                  <a:gd name="connsiteX16755" fmla="*/ 6074101 w 6994525"/>
                  <a:gd name="connsiteY16755" fmla="*/ 2468349 h 7571036"/>
                  <a:gd name="connsiteX16756" fmla="*/ 6114788 w 6994525"/>
                  <a:gd name="connsiteY16756" fmla="*/ 2427657 h 7571036"/>
                  <a:gd name="connsiteX16757" fmla="*/ 6120703 w 6994525"/>
                  <a:gd name="connsiteY16757" fmla="*/ 5524212 h 7571036"/>
                  <a:gd name="connsiteX16758" fmla="*/ 6117004 w 6994525"/>
                  <a:gd name="connsiteY16758" fmla="*/ 5520512 h 7571036"/>
                  <a:gd name="connsiteX16759" fmla="*/ 6113058 w 6994525"/>
                  <a:gd name="connsiteY16759" fmla="*/ 5524212 h 7571036"/>
                  <a:gd name="connsiteX16760" fmla="*/ 6117004 w 6994525"/>
                  <a:gd name="connsiteY16760" fmla="*/ 5527910 h 7571036"/>
                  <a:gd name="connsiteX16761" fmla="*/ 6120703 w 6994525"/>
                  <a:gd name="connsiteY16761" fmla="*/ 5524212 h 7571036"/>
                  <a:gd name="connsiteX16762" fmla="*/ 6122678 w 6994525"/>
                  <a:gd name="connsiteY16762" fmla="*/ 1050963 h 7571036"/>
                  <a:gd name="connsiteX16763" fmla="*/ 6076076 w 6994525"/>
                  <a:gd name="connsiteY16763" fmla="*/ 1004363 h 7571036"/>
                  <a:gd name="connsiteX16764" fmla="*/ 6029473 w 6994525"/>
                  <a:gd name="connsiteY16764" fmla="*/ 1050963 h 7571036"/>
                  <a:gd name="connsiteX16765" fmla="*/ 6076076 w 6994525"/>
                  <a:gd name="connsiteY16765" fmla="*/ 1097571 h 7571036"/>
                  <a:gd name="connsiteX16766" fmla="*/ 6122678 w 6994525"/>
                  <a:gd name="connsiteY16766" fmla="*/ 1050963 h 7571036"/>
                  <a:gd name="connsiteX16767" fmla="*/ 6122678 w 6994525"/>
                  <a:gd name="connsiteY16767" fmla="*/ 4191468 h 7571036"/>
                  <a:gd name="connsiteX16768" fmla="*/ 6074349 w 6994525"/>
                  <a:gd name="connsiteY16768" fmla="*/ 4143139 h 7571036"/>
                  <a:gd name="connsiteX16769" fmla="*/ 6026020 w 6994525"/>
                  <a:gd name="connsiteY16769" fmla="*/ 4191468 h 7571036"/>
                  <a:gd name="connsiteX16770" fmla="*/ 6074349 w 6994525"/>
                  <a:gd name="connsiteY16770" fmla="*/ 4239797 h 7571036"/>
                  <a:gd name="connsiteX16771" fmla="*/ 6122678 w 6994525"/>
                  <a:gd name="connsiteY16771" fmla="*/ 4191468 h 7571036"/>
                  <a:gd name="connsiteX16772" fmla="*/ 6128842 w 6994525"/>
                  <a:gd name="connsiteY16772" fmla="*/ 6174925 h 7571036"/>
                  <a:gd name="connsiteX16773" fmla="*/ 6114293 w 6994525"/>
                  <a:gd name="connsiteY16773" fmla="*/ 6160376 h 7571036"/>
                  <a:gd name="connsiteX16774" fmla="*/ 6099744 w 6994525"/>
                  <a:gd name="connsiteY16774" fmla="*/ 6174925 h 7571036"/>
                  <a:gd name="connsiteX16775" fmla="*/ 6114293 w 6994525"/>
                  <a:gd name="connsiteY16775" fmla="*/ 6189471 h 7571036"/>
                  <a:gd name="connsiteX16776" fmla="*/ 6128842 w 6994525"/>
                  <a:gd name="connsiteY16776" fmla="*/ 6174925 h 7571036"/>
                  <a:gd name="connsiteX16777" fmla="*/ 6129330 w 6994525"/>
                  <a:gd name="connsiteY16777" fmla="*/ 5129690 h 7571036"/>
                  <a:gd name="connsiteX16778" fmla="*/ 6129085 w 6994525"/>
                  <a:gd name="connsiteY16778" fmla="*/ 5129690 h 7571036"/>
                  <a:gd name="connsiteX16779" fmla="*/ 6129085 w 6994525"/>
                  <a:gd name="connsiteY16779" fmla="*/ 5129936 h 7571036"/>
                  <a:gd name="connsiteX16780" fmla="*/ 6129334 w 6994525"/>
                  <a:gd name="connsiteY16780" fmla="*/ 2926487 h 7571036"/>
                  <a:gd name="connsiteX16781" fmla="*/ 6113799 w 6994525"/>
                  <a:gd name="connsiteY16781" fmla="*/ 2910951 h 7571036"/>
                  <a:gd name="connsiteX16782" fmla="*/ 6098264 w 6994525"/>
                  <a:gd name="connsiteY16782" fmla="*/ 2926487 h 7571036"/>
                  <a:gd name="connsiteX16783" fmla="*/ 6113799 w 6994525"/>
                  <a:gd name="connsiteY16783" fmla="*/ 2942023 h 7571036"/>
                  <a:gd name="connsiteX16784" fmla="*/ 6129334 w 6994525"/>
                  <a:gd name="connsiteY16784" fmla="*/ 2926487 h 7571036"/>
                  <a:gd name="connsiteX16785" fmla="*/ 6130322 w 6994525"/>
                  <a:gd name="connsiteY16785" fmla="*/ 4734428 h 7571036"/>
                  <a:gd name="connsiteX16786" fmla="*/ 6100733 w 6994525"/>
                  <a:gd name="connsiteY16786" fmla="*/ 4705085 h 7571036"/>
                  <a:gd name="connsiteX16787" fmla="*/ 6071144 w 6994525"/>
                  <a:gd name="connsiteY16787" fmla="*/ 4734428 h 7571036"/>
                  <a:gd name="connsiteX16788" fmla="*/ 6100733 w 6994525"/>
                  <a:gd name="connsiteY16788" fmla="*/ 4764017 h 7571036"/>
                  <a:gd name="connsiteX16789" fmla="*/ 6130322 w 6994525"/>
                  <a:gd name="connsiteY16789" fmla="*/ 4734428 h 7571036"/>
                  <a:gd name="connsiteX16790" fmla="*/ 6134763 w 6994525"/>
                  <a:gd name="connsiteY16790" fmla="*/ 1572158 h 7571036"/>
                  <a:gd name="connsiteX16791" fmla="*/ 6087666 w 6994525"/>
                  <a:gd name="connsiteY16791" fmla="*/ 1525070 h 7571036"/>
                  <a:gd name="connsiteX16792" fmla="*/ 6040569 w 6994525"/>
                  <a:gd name="connsiteY16792" fmla="*/ 1572158 h 7571036"/>
                  <a:gd name="connsiteX16793" fmla="*/ 6087666 w 6994525"/>
                  <a:gd name="connsiteY16793" fmla="*/ 1619255 h 7571036"/>
                  <a:gd name="connsiteX16794" fmla="*/ 6134763 w 6994525"/>
                  <a:gd name="connsiteY16794" fmla="*/ 1572158 h 7571036"/>
                  <a:gd name="connsiteX16795" fmla="*/ 6135748 w 6994525"/>
                  <a:gd name="connsiteY16795" fmla="*/ 606895 h 7571036"/>
                  <a:gd name="connsiteX16796" fmla="*/ 6087665 w 6994525"/>
                  <a:gd name="connsiteY16796" fmla="*/ 558814 h 7571036"/>
                  <a:gd name="connsiteX16797" fmla="*/ 6039582 w 6994525"/>
                  <a:gd name="connsiteY16797" fmla="*/ 606895 h 7571036"/>
                  <a:gd name="connsiteX16798" fmla="*/ 6087665 w 6994525"/>
                  <a:gd name="connsiteY16798" fmla="*/ 655051 h 7571036"/>
                  <a:gd name="connsiteX16799" fmla="*/ 6135748 w 6994525"/>
                  <a:gd name="connsiteY16799" fmla="*/ 606895 h 7571036"/>
                  <a:gd name="connsiteX16800" fmla="*/ 6137226 w 6994525"/>
                  <a:gd name="connsiteY16800" fmla="*/ 4467141 h 7571036"/>
                  <a:gd name="connsiteX16801" fmla="*/ 6097775 w 6994525"/>
                  <a:gd name="connsiteY16801" fmla="*/ 4427689 h 7571036"/>
                  <a:gd name="connsiteX16802" fmla="*/ 6058322 w 6994525"/>
                  <a:gd name="connsiteY16802" fmla="*/ 4467141 h 7571036"/>
                  <a:gd name="connsiteX16803" fmla="*/ 6097775 w 6994525"/>
                  <a:gd name="connsiteY16803" fmla="*/ 4506593 h 7571036"/>
                  <a:gd name="connsiteX16804" fmla="*/ 6137226 w 6994525"/>
                  <a:gd name="connsiteY16804" fmla="*/ 4467141 h 7571036"/>
                  <a:gd name="connsiteX16805" fmla="*/ 6138704 w 6994525"/>
                  <a:gd name="connsiteY16805" fmla="*/ 911429 h 7571036"/>
                  <a:gd name="connsiteX16806" fmla="*/ 6092348 w 6994525"/>
                  <a:gd name="connsiteY16806" fmla="*/ 865071 h 7571036"/>
                  <a:gd name="connsiteX16807" fmla="*/ 6045992 w 6994525"/>
                  <a:gd name="connsiteY16807" fmla="*/ 911429 h 7571036"/>
                  <a:gd name="connsiteX16808" fmla="*/ 6092348 w 6994525"/>
                  <a:gd name="connsiteY16808" fmla="*/ 957793 h 7571036"/>
                  <a:gd name="connsiteX16809" fmla="*/ 6138704 w 6994525"/>
                  <a:gd name="connsiteY16809" fmla="*/ 911429 h 7571036"/>
                  <a:gd name="connsiteX16810" fmla="*/ 6138948 w 6994525"/>
                  <a:gd name="connsiteY16810" fmla="*/ 3040905 h 7571036"/>
                  <a:gd name="connsiteX16811" fmla="*/ 6135251 w 6994525"/>
                  <a:gd name="connsiteY16811" fmla="*/ 3037205 h 7571036"/>
                  <a:gd name="connsiteX16812" fmla="*/ 6131552 w 6994525"/>
                  <a:gd name="connsiteY16812" fmla="*/ 3040905 h 7571036"/>
                  <a:gd name="connsiteX16813" fmla="*/ 6135251 w 6994525"/>
                  <a:gd name="connsiteY16813" fmla="*/ 3044355 h 7571036"/>
                  <a:gd name="connsiteX16814" fmla="*/ 6138948 w 6994525"/>
                  <a:gd name="connsiteY16814" fmla="*/ 3040905 h 7571036"/>
                  <a:gd name="connsiteX16815" fmla="*/ 6146101 w 6994525"/>
                  <a:gd name="connsiteY16815" fmla="*/ 5668706 h 7571036"/>
                  <a:gd name="connsiteX16816" fmla="*/ 6139689 w 6994525"/>
                  <a:gd name="connsiteY16816" fmla="*/ 5662293 h 7571036"/>
                  <a:gd name="connsiteX16817" fmla="*/ 6133279 w 6994525"/>
                  <a:gd name="connsiteY16817" fmla="*/ 5668706 h 7571036"/>
                  <a:gd name="connsiteX16818" fmla="*/ 6139689 w 6994525"/>
                  <a:gd name="connsiteY16818" fmla="*/ 5675115 h 7571036"/>
                  <a:gd name="connsiteX16819" fmla="*/ 6146101 w 6994525"/>
                  <a:gd name="connsiteY16819" fmla="*/ 5668706 h 7571036"/>
                  <a:gd name="connsiteX16820" fmla="*/ 6146348 w 6994525"/>
                  <a:gd name="connsiteY16820" fmla="*/ 4079029 h 7571036"/>
                  <a:gd name="connsiteX16821" fmla="*/ 6102951 w 6994525"/>
                  <a:gd name="connsiteY16821" fmla="*/ 4035631 h 7571036"/>
                  <a:gd name="connsiteX16822" fmla="*/ 6059554 w 6994525"/>
                  <a:gd name="connsiteY16822" fmla="*/ 4079029 h 7571036"/>
                  <a:gd name="connsiteX16823" fmla="*/ 6102951 w 6994525"/>
                  <a:gd name="connsiteY16823" fmla="*/ 4122426 h 7571036"/>
                  <a:gd name="connsiteX16824" fmla="*/ 6146348 w 6994525"/>
                  <a:gd name="connsiteY16824" fmla="*/ 4079029 h 7571036"/>
                  <a:gd name="connsiteX16825" fmla="*/ 6147582 w 6994525"/>
                  <a:gd name="connsiteY16825" fmla="*/ 472296 h 7571036"/>
                  <a:gd name="connsiteX16826" fmla="*/ 6099501 w 6994525"/>
                  <a:gd name="connsiteY16826" fmla="*/ 424461 h 7571036"/>
                  <a:gd name="connsiteX16827" fmla="*/ 6051418 w 6994525"/>
                  <a:gd name="connsiteY16827" fmla="*/ 472296 h 7571036"/>
                  <a:gd name="connsiteX16828" fmla="*/ 6099501 w 6994525"/>
                  <a:gd name="connsiteY16828" fmla="*/ 520373 h 7571036"/>
                  <a:gd name="connsiteX16829" fmla="*/ 6147582 w 6994525"/>
                  <a:gd name="connsiteY16829" fmla="*/ 472296 h 7571036"/>
                  <a:gd name="connsiteX16830" fmla="*/ 6152261 w 6994525"/>
                  <a:gd name="connsiteY16830" fmla="*/ 3155567 h 7571036"/>
                  <a:gd name="connsiteX16831" fmla="*/ 6151523 w 6994525"/>
                  <a:gd name="connsiteY16831" fmla="*/ 3154827 h 7571036"/>
                  <a:gd name="connsiteX16832" fmla="*/ 6150783 w 6994525"/>
                  <a:gd name="connsiteY16832" fmla="*/ 3155567 h 7571036"/>
                  <a:gd name="connsiteX16833" fmla="*/ 6151523 w 6994525"/>
                  <a:gd name="connsiteY16833" fmla="*/ 3156305 h 7571036"/>
                  <a:gd name="connsiteX16834" fmla="*/ 6152261 w 6994525"/>
                  <a:gd name="connsiteY16834" fmla="*/ 3155567 h 7571036"/>
                  <a:gd name="connsiteX16835" fmla="*/ 6152516 w 6994525"/>
                  <a:gd name="connsiteY16835" fmla="*/ 1425476 h 7571036"/>
                  <a:gd name="connsiteX16836" fmla="*/ 6112323 w 6994525"/>
                  <a:gd name="connsiteY16836" fmla="*/ 1385276 h 7571036"/>
                  <a:gd name="connsiteX16837" fmla="*/ 6072130 w 6994525"/>
                  <a:gd name="connsiteY16837" fmla="*/ 1425476 h 7571036"/>
                  <a:gd name="connsiteX16838" fmla="*/ 6112323 w 6994525"/>
                  <a:gd name="connsiteY16838" fmla="*/ 1465667 h 7571036"/>
                  <a:gd name="connsiteX16839" fmla="*/ 6152516 w 6994525"/>
                  <a:gd name="connsiteY16839" fmla="*/ 1425476 h 7571036"/>
                  <a:gd name="connsiteX16840" fmla="*/ 6153742 w 6994525"/>
                  <a:gd name="connsiteY16840" fmla="*/ 2535907 h 7571036"/>
                  <a:gd name="connsiteX16841" fmla="*/ 6115771 w 6994525"/>
                  <a:gd name="connsiteY16841" fmla="*/ 2497688 h 7571036"/>
                  <a:gd name="connsiteX16842" fmla="*/ 6077551 w 6994525"/>
                  <a:gd name="connsiteY16842" fmla="*/ 2535907 h 7571036"/>
                  <a:gd name="connsiteX16843" fmla="*/ 6115771 w 6994525"/>
                  <a:gd name="connsiteY16843" fmla="*/ 2574124 h 7571036"/>
                  <a:gd name="connsiteX16844" fmla="*/ 6153742 w 6994525"/>
                  <a:gd name="connsiteY16844" fmla="*/ 2535907 h 7571036"/>
                  <a:gd name="connsiteX16845" fmla="*/ 6153993 w 6994525"/>
                  <a:gd name="connsiteY16845" fmla="*/ 773617 h 7571036"/>
                  <a:gd name="connsiteX16846" fmla="*/ 6106897 w 6994525"/>
                  <a:gd name="connsiteY16846" fmla="*/ 726756 h 7571036"/>
                  <a:gd name="connsiteX16847" fmla="*/ 6060048 w 6994525"/>
                  <a:gd name="connsiteY16847" fmla="*/ 773617 h 7571036"/>
                  <a:gd name="connsiteX16848" fmla="*/ 6106897 w 6994525"/>
                  <a:gd name="connsiteY16848" fmla="*/ 820469 h 7571036"/>
                  <a:gd name="connsiteX16849" fmla="*/ 6153993 w 6994525"/>
                  <a:gd name="connsiteY16849" fmla="*/ 773617 h 7571036"/>
                  <a:gd name="connsiteX16850" fmla="*/ 6155224 w 6994525"/>
                  <a:gd name="connsiteY16850" fmla="*/ 6301664 h 7571036"/>
                  <a:gd name="connsiteX16851" fmla="*/ 6138456 w 6994525"/>
                  <a:gd name="connsiteY16851" fmla="*/ 6284897 h 7571036"/>
                  <a:gd name="connsiteX16852" fmla="*/ 6121689 w 6994525"/>
                  <a:gd name="connsiteY16852" fmla="*/ 6301664 h 7571036"/>
                  <a:gd name="connsiteX16853" fmla="*/ 6138456 w 6994525"/>
                  <a:gd name="connsiteY16853" fmla="*/ 6318430 h 7571036"/>
                  <a:gd name="connsiteX16854" fmla="*/ 6155224 w 6994525"/>
                  <a:gd name="connsiteY16854" fmla="*/ 6301664 h 7571036"/>
                  <a:gd name="connsiteX16855" fmla="*/ 6157444 w 6994525"/>
                  <a:gd name="connsiteY16855" fmla="*/ 338928 h 7571036"/>
                  <a:gd name="connsiteX16856" fmla="*/ 6109856 w 6994525"/>
                  <a:gd name="connsiteY16856" fmla="*/ 291343 h 7571036"/>
                  <a:gd name="connsiteX16857" fmla="*/ 6062267 w 6994525"/>
                  <a:gd name="connsiteY16857" fmla="*/ 338928 h 7571036"/>
                  <a:gd name="connsiteX16858" fmla="*/ 6109856 w 6994525"/>
                  <a:gd name="connsiteY16858" fmla="*/ 386513 h 7571036"/>
                  <a:gd name="connsiteX16859" fmla="*/ 6157444 w 6994525"/>
                  <a:gd name="connsiteY16859" fmla="*/ 338928 h 7571036"/>
                  <a:gd name="connsiteX16860" fmla="*/ 6159168 w 6994525"/>
                  <a:gd name="connsiteY16860" fmla="*/ 2266413 h 7571036"/>
                  <a:gd name="connsiteX16861" fmla="*/ 6122183 w 6994525"/>
                  <a:gd name="connsiteY16861" fmla="*/ 2229445 h 7571036"/>
                  <a:gd name="connsiteX16862" fmla="*/ 6085196 w 6994525"/>
                  <a:gd name="connsiteY16862" fmla="*/ 2266413 h 7571036"/>
                  <a:gd name="connsiteX16863" fmla="*/ 6122183 w 6994525"/>
                  <a:gd name="connsiteY16863" fmla="*/ 2303404 h 7571036"/>
                  <a:gd name="connsiteX16864" fmla="*/ 6159168 w 6994525"/>
                  <a:gd name="connsiteY16864" fmla="*/ 2266413 h 7571036"/>
                  <a:gd name="connsiteX16865" fmla="*/ 6159170 w 6994525"/>
                  <a:gd name="connsiteY16865" fmla="*/ 6437279 h 7571036"/>
                  <a:gd name="connsiteX16866" fmla="*/ 6151030 w 6994525"/>
                  <a:gd name="connsiteY16866" fmla="*/ 6429143 h 7571036"/>
                  <a:gd name="connsiteX16867" fmla="*/ 6142893 w 6994525"/>
                  <a:gd name="connsiteY16867" fmla="*/ 6437279 h 7571036"/>
                  <a:gd name="connsiteX16868" fmla="*/ 6151030 w 6994525"/>
                  <a:gd name="connsiteY16868" fmla="*/ 6445419 h 7571036"/>
                  <a:gd name="connsiteX16869" fmla="*/ 6159170 w 6994525"/>
                  <a:gd name="connsiteY16869" fmla="*/ 6437279 h 7571036"/>
                  <a:gd name="connsiteX16870" fmla="*/ 6160155 w 6994525"/>
                  <a:gd name="connsiteY16870" fmla="*/ 5281578 h 7571036"/>
                  <a:gd name="connsiteX16871" fmla="*/ 6159660 w 6994525"/>
                  <a:gd name="connsiteY16871" fmla="*/ 5281332 h 7571036"/>
                  <a:gd name="connsiteX16872" fmla="*/ 6159414 w 6994525"/>
                  <a:gd name="connsiteY16872" fmla="*/ 5281578 h 7571036"/>
                  <a:gd name="connsiteX16873" fmla="*/ 6159660 w 6994525"/>
                  <a:gd name="connsiteY16873" fmla="*/ 5281827 h 7571036"/>
                  <a:gd name="connsiteX16874" fmla="*/ 6160155 w 6994525"/>
                  <a:gd name="connsiteY16874" fmla="*/ 5281578 h 7571036"/>
                  <a:gd name="connsiteX16875" fmla="*/ 6160404 w 6994525"/>
                  <a:gd name="connsiteY16875" fmla="*/ 4892237 h 7571036"/>
                  <a:gd name="connsiteX16876" fmla="*/ 6141909 w 6994525"/>
                  <a:gd name="connsiteY16876" fmla="*/ 4873743 h 7571036"/>
                  <a:gd name="connsiteX16877" fmla="*/ 6123416 w 6994525"/>
                  <a:gd name="connsiteY16877" fmla="*/ 4892237 h 7571036"/>
                  <a:gd name="connsiteX16878" fmla="*/ 6141909 w 6994525"/>
                  <a:gd name="connsiteY16878" fmla="*/ 4910731 h 7571036"/>
                  <a:gd name="connsiteX16879" fmla="*/ 6160404 w 6994525"/>
                  <a:gd name="connsiteY16879" fmla="*/ 4892237 h 7571036"/>
                  <a:gd name="connsiteX16880" fmla="*/ 6161146 w 6994525"/>
                  <a:gd name="connsiteY16880" fmla="*/ 2006013 h 7571036"/>
                  <a:gd name="connsiteX16881" fmla="*/ 6110596 w 6994525"/>
                  <a:gd name="connsiteY16881" fmla="*/ 1955508 h 7571036"/>
                  <a:gd name="connsiteX16882" fmla="*/ 6060048 w 6994525"/>
                  <a:gd name="connsiteY16882" fmla="*/ 2006013 h 7571036"/>
                  <a:gd name="connsiteX16883" fmla="*/ 6110596 w 6994525"/>
                  <a:gd name="connsiteY16883" fmla="*/ 2056569 h 7571036"/>
                  <a:gd name="connsiteX16884" fmla="*/ 6161146 w 6994525"/>
                  <a:gd name="connsiteY16884" fmla="*/ 2006013 h 7571036"/>
                  <a:gd name="connsiteX16885" fmla="*/ 6163606 w 6994525"/>
                  <a:gd name="connsiteY16885" fmla="*/ 3965115 h 7571036"/>
                  <a:gd name="connsiteX16886" fmla="*/ 6126375 w 6994525"/>
                  <a:gd name="connsiteY16886" fmla="*/ 3928127 h 7571036"/>
                  <a:gd name="connsiteX16887" fmla="*/ 6089387 w 6994525"/>
                  <a:gd name="connsiteY16887" fmla="*/ 3965115 h 7571036"/>
                  <a:gd name="connsiteX16888" fmla="*/ 6126375 w 6994525"/>
                  <a:gd name="connsiteY16888" fmla="*/ 4002099 h 7571036"/>
                  <a:gd name="connsiteX16889" fmla="*/ 6163606 w 6994525"/>
                  <a:gd name="connsiteY16889" fmla="*/ 3965115 h 7571036"/>
                  <a:gd name="connsiteX16890" fmla="*/ 6165086 w 6994525"/>
                  <a:gd name="connsiteY16890" fmla="*/ 3271217 h 7571036"/>
                  <a:gd name="connsiteX16891" fmla="*/ 6162865 w 6994525"/>
                  <a:gd name="connsiteY16891" fmla="*/ 3268990 h 7571036"/>
                  <a:gd name="connsiteX16892" fmla="*/ 6160646 w 6994525"/>
                  <a:gd name="connsiteY16892" fmla="*/ 3271217 h 7571036"/>
                  <a:gd name="connsiteX16893" fmla="*/ 6162865 w 6994525"/>
                  <a:gd name="connsiteY16893" fmla="*/ 3273429 h 7571036"/>
                  <a:gd name="connsiteX16894" fmla="*/ 6165086 w 6994525"/>
                  <a:gd name="connsiteY16894" fmla="*/ 3271217 h 7571036"/>
                  <a:gd name="connsiteX16895" fmla="*/ 6169770 w 6994525"/>
                  <a:gd name="connsiteY16895" fmla="*/ 5811966 h 7571036"/>
                  <a:gd name="connsiteX16896" fmla="*/ 6160155 w 6994525"/>
                  <a:gd name="connsiteY16896" fmla="*/ 5802349 h 7571036"/>
                  <a:gd name="connsiteX16897" fmla="*/ 6150538 w 6994525"/>
                  <a:gd name="connsiteY16897" fmla="*/ 5811966 h 7571036"/>
                  <a:gd name="connsiteX16898" fmla="*/ 6160155 w 6994525"/>
                  <a:gd name="connsiteY16898" fmla="*/ 5821581 h 7571036"/>
                  <a:gd name="connsiteX16899" fmla="*/ 6169770 w 6994525"/>
                  <a:gd name="connsiteY16899" fmla="*/ 5811966 h 7571036"/>
                  <a:gd name="connsiteX16900" fmla="*/ 6170513 w 6994525"/>
                  <a:gd name="connsiteY16900" fmla="*/ 1818279 h 7571036"/>
                  <a:gd name="connsiteX16901" fmla="*/ 6124648 w 6994525"/>
                  <a:gd name="connsiteY16901" fmla="*/ 1772404 h 7571036"/>
                  <a:gd name="connsiteX16902" fmla="*/ 6078786 w 6994525"/>
                  <a:gd name="connsiteY16902" fmla="*/ 1818279 h 7571036"/>
                  <a:gd name="connsiteX16903" fmla="*/ 6124648 w 6994525"/>
                  <a:gd name="connsiteY16903" fmla="*/ 1864129 h 7571036"/>
                  <a:gd name="connsiteX16904" fmla="*/ 6170513 w 6994525"/>
                  <a:gd name="connsiteY16904" fmla="*/ 1818279 h 7571036"/>
                  <a:gd name="connsiteX16905" fmla="*/ 6172486 w 6994525"/>
                  <a:gd name="connsiteY16905" fmla="*/ 3387345 h 7571036"/>
                  <a:gd name="connsiteX16906" fmla="*/ 6169278 w 6994525"/>
                  <a:gd name="connsiteY16906" fmla="*/ 3384132 h 7571036"/>
                  <a:gd name="connsiteX16907" fmla="*/ 6166073 w 6994525"/>
                  <a:gd name="connsiteY16907" fmla="*/ 3387345 h 7571036"/>
                  <a:gd name="connsiteX16908" fmla="*/ 6169278 w 6994525"/>
                  <a:gd name="connsiteY16908" fmla="*/ 3390563 h 7571036"/>
                  <a:gd name="connsiteX16909" fmla="*/ 6172486 w 6994525"/>
                  <a:gd name="connsiteY16909" fmla="*/ 3387345 h 7571036"/>
                  <a:gd name="connsiteX16910" fmla="*/ 6174456 w 6994525"/>
                  <a:gd name="connsiteY16910" fmla="*/ 3850456 h 7571036"/>
                  <a:gd name="connsiteX16911" fmla="*/ 6144867 w 6994525"/>
                  <a:gd name="connsiteY16911" fmla="*/ 3820867 h 7571036"/>
                  <a:gd name="connsiteX16912" fmla="*/ 6115277 w 6994525"/>
                  <a:gd name="connsiteY16912" fmla="*/ 3850456 h 7571036"/>
                  <a:gd name="connsiteX16913" fmla="*/ 6144867 w 6994525"/>
                  <a:gd name="connsiteY16913" fmla="*/ 3880045 h 7571036"/>
                  <a:gd name="connsiteX16914" fmla="*/ 6174456 w 6994525"/>
                  <a:gd name="connsiteY16914" fmla="*/ 3850456 h 7571036"/>
                  <a:gd name="connsiteX16915" fmla="*/ 6175195 w 6994525"/>
                  <a:gd name="connsiteY16915" fmla="*/ 6571417 h 7571036"/>
                  <a:gd name="connsiteX16916" fmla="*/ 6162865 w 6994525"/>
                  <a:gd name="connsiteY16916" fmla="*/ 6559089 h 7571036"/>
                  <a:gd name="connsiteX16917" fmla="*/ 6150538 w 6994525"/>
                  <a:gd name="connsiteY16917" fmla="*/ 6571417 h 7571036"/>
                  <a:gd name="connsiteX16918" fmla="*/ 6162865 w 6994525"/>
                  <a:gd name="connsiteY16918" fmla="*/ 6583746 h 7571036"/>
                  <a:gd name="connsiteX16919" fmla="*/ 6175195 w 6994525"/>
                  <a:gd name="connsiteY16919" fmla="*/ 6571417 h 7571036"/>
                  <a:gd name="connsiteX16920" fmla="*/ 6178648 w 6994525"/>
                  <a:gd name="connsiteY16920" fmla="*/ 3503276 h 7571036"/>
                  <a:gd name="connsiteX16921" fmla="*/ 6170758 w 6994525"/>
                  <a:gd name="connsiteY16921" fmla="*/ 3495386 h 7571036"/>
                  <a:gd name="connsiteX16922" fmla="*/ 6162867 w 6994525"/>
                  <a:gd name="connsiteY16922" fmla="*/ 3503276 h 7571036"/>
                  <a:gd name="connsiteX16923" fmla="*/ 6170758 w 6994525"/>
                  <a:gd name="connsiteY16923" fmla="*/ 3511167 h 7571036"/>
                  <a:gd name="connsiteX16924" fmla="*/ 6178648 w 6994525"/>
                  <a:gd name="connsiteY16924" fmla="*/ 3503276 h 7571036"/>
                  <a:gd name="connsiteX16925" fmla="*/ 6180373 w 6994525"/>
                  <a:gd name="connsiteY16925" fmla="*/ 3735059 h 7571036"/>
                  <a:gd name="connsiteX16926" fmla="*/ 6158429 w 6994525"/>
                  <a:gd name="connsiteY16926" fmla="*/ 3713113 h 7571036"/>
                  <a:gd name="connsiteX16927" fmla="*/ 6136483 w 6994525"/>
                  <a:gd name="connsiteY16927" fmla="*/ 3735059 h 7571036"/>
                  <a:gd name="connsiteX16928" fmla="*/ 6158429 w 6994525"/>
                  <a:gd name="connsiteY16928" fmla="*/ 3757003 h 7571036"/>
                  <a:gd name="connsiteX16929" fmla="*/ 6180373 w 6994525"/>
                  <a:gd name="connsiteY16929" fmla="*/ 3735059 h 7571036"/>
                  <a:gd name="connsiteX16930" fmla="*/ 6181359 w 6994525"/>
                  <a:gd name="connsiteY16930" fmla="*/ 1280009 h 7571036"/>
                  <a:gd name="connsiteX16931" fmla="*/ 6134017 w 6994525"/>
                  <a:gd name="connsiteY16931" fmla="*/ 1232675 h 7571036"/>
                  <a:gd name="connsiteX16932" fmla="*/ 6086674 w 6994525"/>
                  <a:gd name="connsiteY16932" fmla="*/ 1280009 h 7571036"/>
                  <a:gd name="connsiteX16933" fmla="*/ 6134017 w 6994525"/>
                  <a:gd name="connsiteY16933" fmla="*/ 1327343 h 7571036"/>
                  <a:gd name="connsiteX16934" fmla="*/ 6181359 w 6994525"/>
                  <a:gd name="connsiteY16934" fmla="*/ 1280009 h 7571036"/>
                  <a:gd name="connsiteX16935" fmla="*/ 6181361 w 6994525"/>
                  <a:gd name="connsiteY16935" fmla="*/ 3619166 h 7571036"/>
                  <a:gd name="connsiteX16936" fmla="*/ 6167058 w 6994525"/>
                  <a:gd name="connsiteY16936" fmla="*/ 3604866 h 7571036"/>
                  <a:gd name="connsiteX16937" fmla="*/ 6152758 w 6994525"/>
                  <a:gd name="connsiteY16937" fmla="*/ 3619166 h 7571036"/>
                  <a:gd name="connsiteX16938" fmla="*/ 6167058 w 6994525"/>
                  <a:gd name="connsiteY16938" fmla="*/ 3633469 h 7571036"/>
                  <a:gd name="connsiteX16939" fmla="*/ 6181361 w 6994525"/>
                  <a:gd name="connsiteY16939" fmla="*/ 3619166 h 7571036"/>
                  <a:gd name="connsiteX16940" fmla="*/ 6185798 w 6994525"/>
                  <a:gd name="connsiteY16940" fmla="*/ 4629143 h 7571036"/>
                  <a:gd name="connsiteX16941" fmla="*/ 6149059 w 6994525"/>
                  <a:gd name="connsiteY16941" fmla="*/ 4592155 h 7571036"/>
                  <a:gd name="connsiteX16942" fmla="*/ 6112071 w 6994525"/>
                  <a:gd name="connsiteY16942" fmla="*/ 4629143 h 7571036"/>
                  <a:gd name="connsiteX16943" fmla="*/ 6149059 w 6994525"/>
                  <a:gd name="connsiteY16943" fmla="*/ 4666128 h 7571036"/>
                  <a:gd name="connsiteX16944" fmla="*/ 6185798 w 6994525"/>
                  <a:gd name="connsiteY16944" fmla="*/ 4629143 h 7571036"/>
                  <a:gd name="connsiteX16945" fmla="*/ 6186786 w 6994525"/>
                  <a:gd name="connsiteY16945" fmla="*/ 2646132 h 7571036"/>
                  <a:gd name="connsiteX16946" fmla="*/ 6152759 w 6994525"/>
                  <a:gd name="connsiteY16946" fmla="*/ 2612104 h 7571036"/>
                  <a:gd name="connsiteX16947" fmla="*/ 6118730 w 6994525"/>
                  <a:gd name="connsiteY16947" fmla="*/ 2646132 h 7571036"/>
                  <a:gd name="connsiteX16948" fmla="*/ 6152759 w 6994525"/>
                  <a:gd name="connsiteY16948" fmla="*/ 2680160 h 7571036"/>
                  <a:gd name="connsiteX16949" fmla="*/ 6186786 w 6994525"/>
                  <a:gd name="connsiteY16949" fmla="*/ 2646132 h 7571036"/>
                  <a:gd name="connsiteX16950" fmla="*/ 6187031 w 6994525"/>
                  <a:gd name="connsiteY16950" fmla="*/ 4357909 h 7571036"/>
                  <a:gd name="connsiteX16951" fmla="*/ 6136979 w 6994525"/>
                  <a:gd name="connsiteY16951" fmla="*/ 4307853 h 7571036"/>
                  <a:gd name="connsiteX16952" fmla="*/ 6086923 w 6994525"/>
                  <a:gd name="connsiteY16952" fmla="*/ 4357909 h 7571036"/>
                  <a:gd name="connsiteX16953" fmla="*/ 6136979 w 6994525"/>
                  <a:gd name="connsiteY16953" fmla="*/ 4407962 h 7571036"/>
                  <a:gd name="connsiteX16954" fmla="*/ 6187031 w 6994525"/>
                  <a:gd name="connsiteY16954" fmla="*/ 4357909 h 7571036"/>
                  <a:gd name="connsiteX16955" fmla="*/ 6190731 w 6994525"/>
                  <a:gd name="connsiteY16955" fmla="*/ 5030071 h 7571036"/>
                  <a:gd name="connsiteX16956" fmla="*/ 6189250 w 6994525"/>
                  <a:gd name="connsiteY16956" fmla="*/ 5028593 h 7571036"/>
                  <a:gd name="connsiteX16957" fmla="*/ 6187771 w 6994525"/>
                  <a:gd name="connsiteY16957" fmla="*/ 5030071 h 7571036"/>
                  <a:gd name="connsiteX16958" fmla="*/ 6189250 w 6994525"/>
                  <a:gd name="connsiteY16958" fmla="*/ 5031552 h 7571036"/>
                  <a:gd name="connsiteX16959" fmla="*/ 6190731 w 6994525"/>
                  <a:gd name="connsiteY16959" fmla="*/ 5030071 h 7571036"/>
                  <a:gd name="connsiteX16960" fmla="*/ 6190976 w 6994525"/>
                  <a:gd name="connsiteY16960" fmla="*/ 5431250 h 7571036"/>
                  <a:gd name="connsiteX16961" fmla="*/ 6186785 w 6994525"/>
                  <a:gd name="connsiteY16961" fmla="*/ 5427059 h 7571036"/>
                  <a:gd name="connsiteX16962" fmla="*/ 6182594 w 6994525"/>
                  <a:gd name="connsiteY16962" fmla="*/ 5431250 h 7571036"/>
                  <a:gd name="connsiteX16963" fmla="*/ 6186785 w 6994525"/>
                  <a:gd name="connsiteY16963" fmla="*/ 5435441 h 7571036"/>
                  <a:gd name="connsiteX16964" fmla="*/ 6190976 w 6994525"/>
                  <a:gd name="connsiteY16964" fmla="*/ 5431250 h 7571036"/>
                  <a:gd name="connsiteX16965" fmla="*/ 6191224 w 6994525"/>
                  <a:gd name="connsiteY16965" fmla="*/ 5953253 h 7571036"/>
                  <a:gd name="connsiteX16966" fmla="*/ 6178897 w 6994525"/>
                  <a:gd name="connsiteY16966" fmla="*/ 5940923 h 7571036"/>
                  <a:gd name="connsiteX16967" fmla="*/ 6166567 w 6994525"/>
                  <a:gd name="connsiteY16967" fmla="*/ 5953253 h 7571036"/>
                  <a:gd name="connsiteX16968" fmla="*/ 6178897 w 6994525"/>
                  <a:gd name="connsiteY16968" fmla="*/ 5965580 h 7571036"/>
                  <a:gd name="connsiteX16969" fmla="*/ 6191224 w 6994525"/>
                  <a:gd name="connsiteY16969" fmla="*/ 5953253 h 7571036"/>
                  <a:gd name="connsiteX16970" fmla="*/ 6200839 w 6994525"/>
                  <a:gd name="connsiteY16970" fmla="*/ 1136773 h 7571036"/>
                  <a:gd name="connsiteX16971" fmla="*/ 6154237 w 6994525"/>
                  <a:gd name="connsiteY16971" fmla="*/ 1090179 h 7571036"/>
                  <a:gd name="connsiteX16972" fmla="*/ 6107635 w 6994525"/>
                  <a:gd name="connsiteY16972" fmla="*/ 1136773 h 7571036"/>
                  <a:gd name="connsiteX16973" fmla="*/ 6154237 w 6994525"/>
                  <a:gd name="connsiteY16973" fmla="*/ 1183380 h 7571036"/>
                  <a:gd name="connsiteX16974" fmla="*/ 6200839 w 6994525"/>
                  <a:gd name="connsiteY16974" fmla="*/ 1136773 h 7571036"/>
                  <a:gd name="connsiteX16975" fmla="*/ 6201826 w 6994525"/>
                  <a:gd name="connsiteY16975" fmla="*/ 1666842 h 7571036"/>
                  <a:gd name="connsiteX16976" fmla="*/ 6154977 w 6994525"/>
                  <a:gd name="connsiteY16976" fmla="*/ 1619993 h 7571036"/>
                  <a:gd name="connsiteX16977" fmla="*/ 6108127 w 6994525"/>
                  <a:gd name="connsiteY16977" fmla="*/ 1666842 h 7571036"/>
                  <a:gd name="connsiteX16978" fmla="*/ 6154977 w 6994525"/>
                  <a:gd name="connsiteY16978" fmla="*/ 1713647 h 7571036"/>
                  <a:gd name="connsiteX16979" fmla="*/ 6201826 w 6994525"/>
                  <a:gd name="connsiteY16979" fmla="*/ 1666842 h 7571036"/>
                  <a:gd name="connsiteX16980" fmla="*/ 6210456 w 6994525"/>
                  <a:gd name="connsiteY16980" fmla="*/ 2372453 h 7571036"/>
                  <a:gd name="connsiteX16981" fmla="*/ 6168539 w 6994525"/>
                  <a:gd name="connsiteY16981" fmla="*/ 2330518 h 7571036"/>
                  <a:gd name="connsiteX16982" fmla="*/ 6126620 w 6994525"/>
                  <a:gd name="connsiteY16982" fmla="*/ 2372453 h 7571036"/>
                  <a:gd name="connsiteX16983" fmla="*/ 6168539 w 6994525"/>
                  <a:gd name="connsiteY16983" fmla="*/ 2414365 h 7571036"/>
                  <a:gd name="connsiteX16984" fmla="*/ 6210456 w 6994525"/>
                  <a:gd name="connsiteY16984" fmla="*/ 2372453 h 7571036"/>
                  <a:gd name="connsiteX16985" fmla="*/ 6211443 w 6994525"/>
                  <a:gd name="connsiteY16985" fmla="*/ 6092814 h 7571036"/>
                  <a:gd name="connsiteX16986" fmla="*/ 6196154 w 6994525"/>
                  <a:gd name="connsiteY16986" fmla="*/ 6077527 h 7571036"/>
                  <a:gd name="connsiteX16987" fmla="*/ 6180867 w 6994525"/>
                  <a:gd name="connsiteY16987" fmla="*/ 6092814 h 7571036"/>
                  <a:gd name="connsiteX16988" fmla="*/ 6196154 w 6994525"/>
                  <a:gd name="connsiteY16988" fmla="*/ 6108103 h 7571036"/>
                  <a:gd name="connsiteX16989" fmla="*/ 6211443 w 6994525"/>
                  <a:gd name="connsiteY16989" fmla="*/ 6092814 h 7571036"/>
                  <a:gd name="connsiteX16990" fmla="*/ 6213907 w 6994525"/>
                  <a:gd name="connsiteY16990" fmla="*/ 2757590 h 7571036"/>
                  <a:gd name="connsiteX16991" fmla="*/ 6185058 w 6994525"/>
                  <a:gd name="connsiteY16991" fmla="*/ 2728738 h 7571036"/>
                  <a:gd name="connsiteX16992" fmla="*/ 6156210 w 6994525"/>
                  <a:gd name="connsiteY16992" fmla="*/ 2757590 h 7571036"/>
                  <a:gd name="connsiteX16993" fmla="*/ 6185058 w 6994525"/>
                  <a:gd name="connsiteY16993" fmla="*/ 2786193 h 7571036"/>
                  <a:gd name="connsiteX16994" fmla="*/ 6213907 w 6994525"/>
                  <a:gd name="connsiteY16994" fmla="*/ 2757590 h 7571036"/>
                  <a:gd name="connsiteX16995" fmla="*/ 6214895 w 6994525"/>
                  <a:gd name="connsiteY16995" fmla="*/ 2108124 h 7571036"/>
                  <a:gd name="connsiteX16996" fmla="*/ 6165581 w 6994525"/>
                  <a:gd name="connsiteY16996" fmla="*/ 2058789 h 7571036"/>
                  <a:gd name="connsiteX16997" fmla="*/ 6116266 w 6994525"/>
                  <a:gd name="connsiteY16997" fmla="*/ 2108124 h 7571036"/>
                  <a:gd name="connsiteX16998" fmla="*/ 6165581 w 6994525"/>
                  <a:gd name="connsiteY16998" fmla="*/ 2157448 h 7571036"/>
                  <a:gd name="connsiteX16999" fmla="*/ 6214895 w 6994525"/>
                  <a:gd name="connsiteY16999" fmla="*/ 2108124 h 7571036"/>
                  <a:gd name="connsiteX17000" fmla="*/ 6218593 w 6994525"/>
                  <a:gd name="connsiteY17000" fmla="*/ 4247195 h 7571036"/>
                  <a:gd name="connsiteX17001" fmla="*/ 6171251 w 6994525"/>
                  <a:gd name="connsiteY17001" fmla="*/ 4199853 h 7571036"/>
                  <a:gd name="connsiteX17002" fmla="*/ 6123907 w 6994525"/>
                  <a:gd name="connsiteY17002" fmla="*/ 4247195 h 7571036"/>
                  <a:gd name="connsiteX17003" fmla="*/ 6171251 w 6994525"/>
                  <a:gd name="connsiteY17003" fmla="*/ 4294538 h 7571036"/>
                  <a:gd name="connsiteX17004" fmla="*/ 6218593 w 6994525"/>
                  <a:gd name="connsiteY17004" fmla="*/ 4247195 h 7571036"/>
                  <a:gd name="connsiteX17005" fmla="*/ 6218838 w 6994525"/>
                  <a:gd name="connsiteY17005" fmla="*/ 995268 h 7571036"/>
                  <a:gd name="connsiteX17006" fmla="*/ 6172482 w 6994525"/>
                  <a:gd name="connsiteY17006" fmla="*/ 948910 h 7571036"/>
                  <a:gd name="connsiteX17007" fmla="*/ 6126126 w 6994525"/>
                  <a:gd name="connsiteY17007" fmla="*/ 995268 h 7571036"/>
                  <a:gd name="connsiteX17008" fmla="*/ 6172482 w 6994525"/>
                  <a:gd name="connsiteY17008" fmla="*/ 1041613 h 7571036"/>
                  <a:gd name="connsiteX17009" fmla="*/ 6218838 w 6994525"/>
                  <a:gd name="connsiteY17009" fmla="*/ 995268 h 7571036"/>
                  <a:gd name="connsiteX17010" fmla="*/ 6219332 w 6994525"/>
                  <a:gd name="connsiteY17010" fmla="*/ 5577963 h 7571036"/>
                  <a:gd name="connsiteX17011" fmla="*/ 6212182 w 6994525"/>
                  <a:gd name="connsiteY17011" fmla="*/ 5570813 h 7571036"/>
                  <a:gd name="connsiteX17012" fmla="*/ 6205032 w 6994525"/>
                  <a:gd name="connsiteY17012" fmla="*/ 5577963 h 7571036"/>
                  <a:gd name="connsiteX17013" fmla="*/ 6212182 w 6994525"/>
                  <a:gd name="connsiteY17013" fmla="*/ 5585116 h 7571036"/>
                  <a:gd name="connsiteX17014" fmla="*/ 6219332 w 6994525"/>
                  <a:gd name="connsiteY17014" fmla="*/ 5577963 h 7571036"/>
                  <a:gd name="connsiteX17015" fmla="*/ 6220070 w 6994525"/>
                  <a:gd name="connsiteY17015" fmla="*/ 4788921 h 7571036"/>
                  <a:gd name="connsiteX17016" fmla="*/ 6194675 w 6994525"/>
                  <a:gd name="connsiteY17016" fmla="*/ 4763523 h 7571036"/>
                  <a:gd name="connsiteX17017" fmla="*/ 6169277 w 6994525"/>
                  <a:gd name="connsiteY17017" fmla="*/ 4788921 h 7571036"/>
                  <a:gd name="connsiteX17018" fmla="*/ 6194675 w 6994525"/>
                  <a:gd name="connsiteY17018" fmla="*/ 4814316 h 7571036"/>
                  <a:gd name="connsiteX17019" fmla="*/ 6220070 w 6994525"/>
                  <a:gd name="connsiteY17019" fmla="*/ 4788921 h 7571036"/>
                  <a:gd name="connsiteX17020" fmla="*/ 6221060 w 6994525"/>
                  <a:gd name="connsiteY17020" fmla="*/ 686607 h 7571036"/>
                  <a:gd name="connsiteX17021" fmla="*/ 6172732 w 6994525"/>
                  <a:gd name="connsiteY17021" fmla="*/ 638209 h 7571036"/>
                  <a:gd name="connsiteX17022" fmla="*/ 6124402 w 6994525"/>
                  <a:gd name="connsiteY17022" fmla="*/ 686607 h 7571036"/>
                  <a:gd name="connsiteX17023" fmla="*/ 6172732 w 6994525"/>
                  <a:gd name="connsiteY17023" fmla="*/ 734924 h 7571036"/>
                  <a:gd name="connsiteX17024" fmla="*/ 6221060 w 6994525"/>
                  <a:gd name="connsiteY17024" fmla="*/ 686607 h 7571036"/>
                  <a:gd name="connsiteX17025" fmla="*/ 6221060 w 6994525"/>
                  <a:gd name="connsiteY17025" fmla="*/ 1517937 h 7571036"/>
                  <a:gd name="connsiteX17026" fmla="*/ 6182345 w 6994525"/>
                  <a:gd name="connsiteY17026" fmla="*/ 1479217 h 7571036"/>
                  <a:gd name="connsiteX17027" fmla="*/ 6143633 w 6994525"/>
                  <a:gd name="connsiteY17027" fmla="*/ 1517937 h 7571036"/>
                  <a:gd name="connsiteX17028" fmla="*/ 6182345 w 6994525"/>
                  <a:gd name="connsiteY17028" fmla="*/ 1556642 h 7571036"/>
                  <a:gd name="connsiteX17029" fmla="*/ 6221060 w 6994525"/>
                  <a:gd name="connsiteY17029" fmla="*/ 1517937 h 7571036"/>
                  <a:gd name="connsiteX17030" fmla="*/ 6225742 w 6994525"/>
                  <a:gd name="connsiteY17030" fmla="*/ 5184183 h 7571036"/>
                  <a:gd name="connsiteX17031" fmla="*/ 6223278 w 6994525"/>
                  <a:gd name="connsiteY17031" fmla="*/ 5181470 h 7571036"/>
                  <a:gd name="connsiteX17032" fmla="*/ 6220811 w 6994525"/>
                  <a:gd name="connsiteY17032" fmla="*/ 5184183 h 7571036"/>
                  <a:gd name="connsiteX17033" fmla="*/ 6223278 w 6994525"/>
                  <a:gd name="connsiteY17033" fmla="*/ 5186647 h 7571036"/>
                  <a:gd name="connsiteX17034" fmla="*/ 6225742 w 6994525"/>
                  <a:gd name="connsiteY17034" fmla="*/ 5184183 h 7571036"/>
                  <a:gd name="connsiteX17035" fmla="*/ 6230429 w 6994525"/>
                  <a:gd name="connsiteY17035" fmla="*/ 1917589 h 7571036"/>
                  <a:gd name="connsiteX17036" fmla="*/ 6185059 w 6994525"/>
                  <a:gd name="connsiteY17036" fmla="*/ 1872261 h 7571036"/>
                  <a:gd name="connsiteX17037" fmla="*/ 6139689 w 6994525"/>
                  <a:gd name="connsiteY17037" fmla="*/ 1917589 h 7571036"/>
                  <a:gd name="connsiteX17038" fmla="*/ 6185059 w 6994525"/>
                  <a:gd name="connsiteY17038" fmla="*/ 1962919 h 7571036"/>
                  <a:gd name="connsiteX17039" fmla="*/ 6230429 w 6994525"/>
                  <a:gd name="connsiteY17039" fmla="*/ 1917589 h 7571036"/>
                  <a:gd name="connsiteX17040" fmla="*/ 6234373 w 6994525"/>
                  <a:gd name="connsiteY17040" fmla="*/ 550206 h 7571036"/>
                  <a:gd name="connsiteX17041" fmla="*/ 6186045 w 6994525"/>
                  <a:gd name="connsiteY17041" fmla="*/ 501880 h 7571036"/>
                  <a:gd name="connsiteX17042" fmla="*/ 6137716 w 6994525"/>
                  <a:gd name="connsiteY17042" fmla="*/ 550206 h 7571036"/>
                  <a:gd name="connsiteX17043" fmla="*/ 6186045 w 6994525"/>
                  <a:gd name="connsiteY17043" fmla="*/ 598532 h 7571036"/>
                  <a:gd name="connsiteX17044" fmla="*/ 6234373 w 6994525"/>
                  <a:gd name="connsiteY17044" fmla="*/ 550206 h 7571036"/>
                  <a:gd name="connsiteX17045" fmla="*/ 6236098 w 6994525"/>
                  <a:gd name="connsiteY17045" fmla="*/ 2870035 h 7571036"/>
                  <a:gd name="connsiteX17046" fmla="*/ 6212675 w 6994525"/>
                  <a:gd name="connsiteY17046" fmla="*/ 2846608 h 7571036"/>
                  <a:gd name="connsiteX17047" fmla="*/ 6189249 w 6994525"/>
                  <a:gd name="connsiteY17047" fmla="*/ 2870035 h 7571036"/>
                  <a:gd name="connsiteX17048" fmla="*/ 6212675 w 6994525"/>
                  <a:gd name="connsiteY17048" fmla="*/ 2893463 h 7571036"/>
                  <a:gd name="connsiteX17049" fmla="*/ 6236098 w 6994525"/>
                  <a:gd name="connsiteY17049" fmla="*/ 2870035 h 7571036"/>
                  <a:gd name="connsiteX17050" fmla="*/ 6236101 w 6994525"/>
                  <a:gd name="connsiteY17050" fmla="*/ 855230 h 7571036"/>
                  <a:gd name="connsiteX17051" fmla="*/ 6189004 w 6994525"/>
                  <a:gd name="connsiteY17051" fmla="*/ 808142 h 7571036"/>
                  <a:gd name="connsiteX17052" fmla="*/ 6141909 w 6994525"/>
                  <a:gd name="connsiteY17052" fmla="*/ 855230 h 7571036"/>
                  <a:gd name="connsiteX17053" fmla="*/ 6189004 w 6994525"/>
                  <a:gd name="connsiteY17053" fmla="*/ 902320 h 7571036"/>
                  <a:gd name="connsiteX17054" fmla="*/ 6236101 w 6994525"/>
                  <a:gd name="connsiteY17054" fmla="*/ 855230 h 7571036"/>
                  <a:gd name="connsiteX17055" fmla="*/ 6239059 w 6994525"/>
                  <a:gd name="connsiteY17055" fmla="*/ 4522128 h 7571036"/>
                  <a:gd name="connsiteX17056" fmla="*/ 6192948 w 6994525"/>
                  <a:gd name="connsiteY17056" fmla="*/ 4476263 h 7571036"/>
                  <a:gd name="connsiteX17057" fmla="*/ 6147086 w 6994525"/>
                  <a:gd name="connsiteY17057" fmla="*/ 4522128 h 7571036"/>
                  <a:gd name="connsiteX17058" fmla="*/ 6192948 w 6994525"/>
                  <a:gd name="connsiteY17058" fmla="*/ 4567990 h 7571036"/>
                  <a:gd name="connsiteX17059" fmla="*/ 6239059 w 6994525"/>
                  <a:gd name="connsiteY17059" fmla="*/ 4522128 h 7571036"/>
                  <a:gd name="connsiteX17060" fmla="*/ 6239800 w 6994525"/>
                  <a:gd name="connsiteY17060" fmla="*/ 6220787 h 7571036"/>
                  <a:gd name="connsiteX17061" fmla="*/ 6222046 w 6994525"/>
                  <a:gd name="connsiteY17061" fmla="*/ 6203279 h 7571036"/>
                  <a:gd name="connsiteX17062" fmla="*/ 6204292 w 6994525"/>
                  <a:gd name="connsiteY17062" fmla="*/ 6220787 h 7571036"/>
                  <a:gd name="connsiteX17063" fmla="*/ 6222046 w 6994525"/>
                  <a:gd name="connsiteY17063" fmla="*/ 6238541 h 7571036"/>
                  <a:gd name="connsiteX17064" fmla="*/ 6239800 w 6994525"/>
                  <a:gd name="connsiteY17064" fmla="*/ 6220787 h 7571036"/>
                  <a:gd name="connsiteX17065" fmla="*/ 6240292 w 6994525"/>
                  <a:gd name="connsiteY17065" fmla="*/ 4135003 h 7571036"/>
                  <a:gd name="connsiteX17066" fmla="*/ 6200840 w 6994525"/>
                  <a:gd name="connsiteY17066" fmla="*/ 4095550 h 7571036"/>
                  <a:gd name="connsiteX17067" fmla="*/ 6161387 w 6994525"/>
                  <a:gd name="connsiteY17067" fmla="*/ 4135003 h 7571036"/>
                  <a:gd name="connsiteX17068" fmla="*/ 6200840 w 6994525"/>
                  <a:gd name="connsiteY17068" fmla="*/ 4174454 h 7571036"/>
                  <a:gd name="connsiteX17069" fmla="*/ 6240292 w 6994525"/>
                  <a:gd name="connsiteY17069" fmla="*/ 4135003 h 7571036"/>
                  <a:gd name="connsiteX17070" fmla="*/ 6244977 w 6994525"/>
                  <a:gd name="connsiteY17070" fmla="*/ 6358377 h 7571036"/>
                  <a:gd name="connsiteX17071" fmla="*/ 6236346 w 6994525"/>
                  <a:gd name="connsiteY17071" fmla="*/ 6349746 h 7571036"/>
                  <a:gd name="connsiteX17072" fmla="*/ 6227715 w 6994525"/>
                  <a:gd name="connsiteY17072" fmla="*/ 6358377 h 7571036"/>
                  <a:gd name="connsiteX17073" fmla="*/ 6236346 w 6994525"/>
                  <a:gd name="connsiteY17073" fmla="*/ 6367008 h 7571036"/>
                  <a:gd name="connsiteX17074" fmla="*/ 6244977 w 6994525"/>
                  <a:gd name="connsiteY17074" fmla="*/ 6358377 h 7571036"/>
                  <a:gd name="connsiteX17075" fmla="*/ 6245717 w 6994525"/>
                  <a:gd name="connsiteY17075" fmla="*/ 5723444 h 7571036"/>
                  <a:gd name="connsiteX17076" fmla="*/ 6235113 w 6994525"/>
                  <a:gd name="connsiteY17076" fmla="*/ 5712595 h 7571036"/>
                  <a:gd name="connsiteX17077" fmla="*/ 6224510 w 6994525"/>
                  <a:gd name="connsiteY17077" fmla="*/ 5723444 h 7571036"/>
                  <a:gd name="connsiteX17078" fmla="*/ 6235113 w 6994525"/>
                  <a:gd name="connsiteY17078" fmla="*/ 5734048 h 7571036"/>
                  <a:gd name="connsiteX17079" fmla="*/ 6245717 w 6994525"/>
                  <a:gd name="connsiteY17079" fmla="*/ 5723444 h 7571036"/>
                  <a:gd name="connsiteX17080" fmla="*/ 6245964 w 6994525"/>
                  <a:gd name="connsiteY17080" fmla="*/ 414623 h 7571036"/>
                  <a:gd name="connsiteX17081" fmla="*/ 6197880 w 6994525"/>
                  <a:gd name="connsiteY17081" fmla="*/ 366542 h 7571036"/>
                  <a:gd name="connsiteX17082" fmla="*/ 6149798 w 6994525"/>
                  <a:gd name="connsiteY17082" fmla="*/ 414623 h 7571036"/>
                  <a:gd name="connsiteX17083" fmla="*/ 6197880 w 6994525"/>
                  <a:gd name="connsiteY17083" fmla="*/ 462699 h 7571036"/>
                  <a:gd name="connsiteX17084" fmla="*/ 6245964 w 6994525"/>
                  <a:gd name="connsiteY17084" fmla="*/ 414623 h 7571036"/>
                  <a:gd name="connsiteX17085" fmla="*/ 6251636 w 6994525"/>
                  <a:gd name="connsiteY17085" fmla="*/ 4928236 h 7571036"/>
                  <a:gd name="connsiteX17086" fmla="*/ 6245717 w 6994525"/>
                  <a:gd name="connsiteY17086" fmla="*/ 4922318 h 7571036"/>
                  <a:gd name="connsiteX17087" fmla="*/ 6239800 w 6994525"/>
                  <a:gd name="connsiteY17087" fmla="*/ 4928236 h 7571036"/>
                  <a:gd name="connsiteX17088" fmla="*/ 6245717 w 6994525"/>
                  <a:gd name="connsiteY17088" fmla="*/ 4934154 h 7571036"/>
                  <a:gd name="connsiteX17089" fmla="*/ 6251636 w 6994525"/>
                  <a:gd name="connsiteY17089" fmla="*/ 4928236 h 7571036"/>
                  <a:gd name="connsiteX17090" fmla="*/ 6253114 w 6994525"/>
                  <a:gd name="connsiteY17090" fmla="*/ 1370258 h 7571036"/>
                  <a:gd name="connsiteX17091" fmla="*/ 6206757 w 6994525"/>
                  <a:gd name="connsiteY17091" fmla="*/ 1323904 h 7571036"/>
                  <a:gd name="connsiteX17092" fmla="*/ 6160401 w 6994525"/>
                  <a:gd name="connsiteY17092" fmla="*/ 1370258 h 7571036"/>
                  <a:gd name="connsiteX17093" fmla="*/ 6206757 w 6994525"/>
                  <a:gd name="connsiteY17093" fmla="*/ 1416620 h 7571036"/>
                  <a:gd name="connsiteX17094" fmla="*/ 6253114 w 6994525"/>
                  <a:gd name="connsiteY17094" fmla="*/ 1370258 h 7571036"/>
                  <a:gd name="connsiteX17095" fmla="*/ 6253359 w 6994525"/>
                  <a:gd name="connsiteY17095" fmla="*/ 2983711 h 7571036"/>
                  <a:gd name="connsiteX17096" fmla="*/ 6235360 w 6994525"/>
                  <a:gd name="connsiteY17096" fmla="*/ 2965710 h 7571036"/>
                  <a:gd name="connsiteX17097" fmla="*/ 6217360 w 6994525"/>
                  <a:gd name="connsiteY17097" fmla="*/ 2983711 h 7571036"/>
                  <a:gd name="connsiteX17098" fmla="*/ 6235360 w 6994525"/>
                  <a:gd name="connsiteY17098" fmla="*/ 3001713 h 7571036"/>
                  <a:gd name="connsiteX17099" fmla="*/ 6253359 w 6994525"/>
                  <a:gd name="connsiteY17099" fmla="*/ 2983711 h 7571036"/>
                  <a:gd name="connsiteX17100" fmla="*/ 6256813 w 6994525"/>
                  <a:gd name="connsiteY17100" fmla="*/ 4021578 h 7571036"/>
                  <a:gd name="connsiteX17101" fmla="*/ 6225989 w 6994525"/>
                  <a:gd name="connsiteY17101" fmla="*/ 3991002 h 7571036"/>
                  <a:gd name="connsiteX17102" fmla="*/ 6195167 w 6994525"/>
                  <a:gd name="connsiteY17102" fmla="*/ 4021578 h 7571036"/>
                  <a:gd name="connsiteX17103" fmla="*/ 6225989 w 6994525"/>
                  <a:gd name="connsiteY17103" fmla="*/ 4052399 h 7571036"/>
                  <a:gd name="connsiteX17104" fmla="*/ 6256813 w 6994525"/>
                  <a:gd name="connsiteY17104" fmla="*/ 4021578 h 7571036"/>
                  <a:gd name="connsiteX17105" fmla="*/ 6257058 w 6994525"/>
                  <a:gd name="connsiteY17105" fmla="*/ 2480440 h 7571036"/>
                  <a:gd name="connsiteX17106" fmla="*/ 6210951 w 6994525"/>
                  <a:gd name="connsiteY17106" fmla="*/ 2434336 h 7571036"/>
                  <a:gd name="connsiteX17107" fmla="*/ 6164841 w 6994525"/>
                  <a:gd name="connsiteY17107" fmla="*/ 2480440 h 7571036"/>
                  <a:gd name="connsiteX17108" fmla="*/ 6210951 w 6994525"/>
                  <a:gd name="connsiteY17108" fmla="*/ 2526552 h 7571036"/>
                  <a:gd name="connsiteX17109" fmla="*/ 6257058 w 6994525"/>
                  <a:gd name="connsiteY17109" fmla="*/ 2480440 h 7571036"/>
                  <a:gd name="connsiteX17110" fmla="*/ 6258044 w 6994525"/>
                  <a:gd name="connsiteY17110" fmla="*/ 5336073 h 7571036"/>
                  <a:gd name="connsiteX17111" fmla="*/ 6253607 w 6994525"/>
                  <a:gd name="connsiteY17111" fmla="*/ 5331636 h 7571036"/>
                  <a:gd name="connsiteX17112" fmla="*/ 6249167 w 6994525"/>
                  <a:gd name="connsiteY17112" fmla="*/ 5336073 h 7571036"/>
                  <a:gd name="connsiteX17113" fmla="*/ 6253607 w 6994525"/>
                  <a:gd name="connsiteY17113" fmla="*/ 5340513 h 7571036"/>
                  <a:gd name="connsiteX17114" fmla="*/ 6258044 w 6994525"/>
                  <a:gd name="connsiteY17114" fmla="*/ 5336073 h 7571036"/>
                  <a:gd name="connsiteX17115" fmla="*/ 6262729 w 6994525"/>
                  <a:gd name="connsiteY17115" fmla="*/ 2211948 h 7571036"/>
                  <a:gd name="connsiteX17116" fmla="*/ 6216373 w 6994525"/>
                  <a:gd name="connsiteY17116" fmla="*/ 2165581 h 7571036"/>
                  <a:gd name="connsiteX17117" fmla="*/ 6170017 w 6994525"/>
                  <a:gd name="connsiteY17117" fmla="*/ 2211948 h 7571036"/>
                  <a:gd name="connsiteX17118" fmla="*/ 6216373 w 6994525"/>
                  <a:gd name="connsiteY17118" fmla="*/ 2258312 h 7571036"/>
                  <a:gd name="connsiteX17119" fmla="*/ 6262729 w 6994525"/>
                  <a:gd name="connsiteY17119" fmla="*/ 2211948 h 7571036"/>
                  <a:gd name="connsiteX17120" fmla="*/ 6262729 w 6994525"/>
                  <a:gd name="connsiteY17120" fmla="*/ 6494242 h 7571036"/>
                  <a:gd name="connsiteX17121" fmla="*/ 6249662 w 6994525"/>
                  <a:gd name="connsiteY17121" fmla="*/ 6481171 h 7571036"/>
                  <a:gd name="connsiteX17122" fmla="*/ 6236594 w 6994525"/>
                  <a:gd name="connsiteY17122" fmla="*/ 6494242 h 7571036"/>
                  <a:gd name="connsiteX17123" fmla="*/ 6249662 w 6994525"/>
                  <a:gd name="connsiteY17123" fmla="*/ 6507309 h 7571036"/>
                  <a:gd name="connsiteX17124" fmla="*/ 6262729 w 6994525"/>
                  <a:gd name="connsiteY17124" fmla="*/ 6494242 h 7571036"/>
                  <a:gd name="connsiteX17125" fmla="*/ 6265195 w 6994525"/>
                  <a:gd name="connsiteY17125" fmla="*/ 1764283 h 7571036"/>
                  <a:gd name="connsiteX17126" fmla="*/ 6218593 w 6994525"/>
                  <a:gd name="connsiteY17126" fmla="*/ 1717600 h 7571036"/>
                  <a:gd name="connsiteX17127" fmla="*/ 6171991 w 6994525"/>
                  <a:gd name="connsiteY17127" fmla="*/ 1764283 h 7571036"/>
                  <a:gd name="connsiteX17128" fmla="*/ 6218593 w 6994525"/>
                  <a:gd name="connsiteY17128" fmla="*/ 1810935 h 7571036"/>
                  <a:gd name="connsiteX17129" fmla="*/ 6265195 w 6994525"/>
                  <a:gd name="connsiteY17129" fmla="*/ 1764283 h 7571036"/>
                  <a:gd name="connsiteX17130" fmla="*/ 6266182 w 6994525"/>
                  <a:gd name="connsiteY17130" fmla="*/ 3098378 h 7571036"/>
                  <a:gd name="connsiteX17131" fmla="*/ 6253608 w 6994525"/>
                  <a:gd name="connsiteY17131" fmla="*/ 3085801 h 7571036"/>
                  <a:gd name="connsiteX17132" fmla="*/ 6241032 w 6994525"/>
                  <a:gd name="connsiteY17132" fmla="*/ 3098378 h 7571036"/>
                  <a:gd name="connsiteX17133" fmla="*/ 6253608 w 6994525"/>
                  <a:gd name="connsiteY17133" fmla="*/ 3110955 h 7571036"/>
                  <a:gd name="connsiteX17134" fmla="*/ 6266182 w 6994525"/>
                  <a:gd name="connsiteY17134" fmla="*/ 3098378 h 7571036"/>
                  <a:gd name="connsiteX17135" fmla="*/ 6267659 w 6994525"/>
                  <a:gd name="connsiteY17135" fmla="*/ 3907415 h 7571036"/>
                  <a:gd name="connsiteX17136" fmla="*/ 6246210 w 6994525"/>
                  <a:gd name="connsiteY17136" fmla="*/ 3885962 h 7571036"/>
                  <a:gd name="connsiteX17137" fmla="*/ 6224757 w 6994525"/>
                  <a:gd name="connsiteY17137" fmla="*/ 3907415 h 7571036"/>
                  <a:gd name="connsiteX17138" fmla="*/ 6246210 w 6994525"/>
                  <a:gd name="connsiteY17138" fmla="*/ 3928868 h 7571036"/>
                  <a:gd name="connsiteX17139" fmla="*/ 6267659 w 6994525"/>
                  <a:gd name="connsiteY17139" fmla="*/ 3907415 h 7571036"/>
                  <a:gd name="connsiteX17140" fmla="*/ 6269139 w 6994525"/>
                  <a:gd name="connsiteY17140" fmla="*/ 5866704 h 7571036"/>
                  <a:gd name="connsiteX17141" fmla="*/ 6256072 w 6994525"/>
                  <a:gd name="connsiteY17141" fmla="*/ 5853636 h 7571036"/>
                  <a:gd name="connsiteX17142" fmla="*/ 6243004 w 6994525"/>
                  <a:gd name="connsiteY17142" fmla="*/ 5866704 h 7571036"/>
                  <a:gd name="connsiteX17143" fmla="*/ 6256072 w 6994525"/>
                  <a:gd name="connsiteY17143" fmla="*/ 5879771 h 7571036"/>
                  <a:gd name="connsiteX17144" fmla="*/ 6269139 w 6994525"/>
                  <a:gd name="connsiteY17144" fmla="*/ 5866704 h 7571036"/>
                  <a:gd name="connsiteX17145" fmla="*/ 6275060 w 6994525"/>
                  <a:gd name="connsiteY17145" fmla="*/ 3792509 h 7571036"/>
                  <a:gd name="connsiteX17146" fmla="*/ 6261497 w 6994525"/>
                  <a:gd name="connsiteY17146" fmla="*/ 3778947 h 7571036"/>
                  <a:gd name="connsiteX17147" fmla="*/ 6247935 w 6994525"/>
                  <a:gd name="connsiteY17147" fmla="*/ 3792509 h 7571036"/>
                  <a:gd name="connsiteX17148" fmla="*/ 6261497 w 6994525"/>
                  <a:gd name="connsiteY17148" fmla="*/ 3806069 h 7571036"/>
                  <a:gd name="connsiteX17149" fmla="*/ 6275060 w 6994525"/>
                  <a:gd name="connsiteY17149" fmla="*/ 3792509 h 7571036"/>
                  <a:gd name="connsiteX17150" fmla="*/ 6275061 w 6994525"/>
                  <a:gd name="connsiteY17150" fmla="*/ 3213534 h 7571036"/>
                  <a:gd name="connsiteX17151" fmla="*/ 6266922 w 6994525"/>
                  <a:gd name="connsiteY17151" fmla="*/ 3205398 h 7571036"/>
                  <a:gd name="connsiteX17152" fmla="*/ 6258785 w 6994525"/>
                  <a:gd name="connsiteY17152" fmla="*/ 3213534 h 7571036"/>
                  <a:gd name="connsiteX17153" fmla="*/ 6266922 w 6994525"/>
                  <a:gd name="connsiteY17153" fmla="*/ 3221673 h 7571036"/>
                  <a:gd name="connsiteX17154" fmla="*/ 6275061 w 6994525"/>
                  <a:gd name="connsiteY17154" fmla="*/ 3213534 h 7571036"/>
                  <a:gd name="connsiteX17155" fmla="*/ 6276045 w 6994525"/>
                  <a:gd name="connsiteY17155" fmla="*/ 1225052 h 7571036"/>
                  <a:gd name="connsiteX17156" fmla="*/ 6229442 w 6994525"/>
                  <a:gd name="connsiteY17156" fmla="*/ 1178443 h 7571036"/>
                  <a:gd name="connsiteX17157" fmla="*/ 6183086 w 6994525"/>
                  <a:gd name="connsiteY17157" fmla="*/ 1225052 h 7571036"/>
                  <a:gd name="connsiteX17158" fmla="*/ 6229442 w 6994525"/>
                  <a:gd name="connsiteY17158" fmla="*/ 1271645 h 7571036"/>
                  <a:gd name="connsiteX17159" fmla="*/ 6276045 w 6994525"/>
                  <a:gd name="connsiteY17159" fmla="*/ 1225052 h 7571036"/>
                  <a:gd name="connsiteX17160" fmla="*/ 6278266 w 6994525"/>
                  <a:gd name="connsiteY17160" fmla="*/ 4683633 h 7571036"/>
                  <a:gd name="connsiteX17161" fmla="*/ 6243498 w 6994525"/>
                  <a:gd name="connsiteY17161" fmla="*/ 4648866 h 7571036"/>
                  <a:gd name="connsiteX17162" fmla="*/ 6208483 w 6994525"/>
                  <a:gd name="connsiteY17162" fmla="*/ 4683633 h 7571036"/>
                  <a:gd name="connsiteX17163" fmla="*/ 6243498 w 6994525"/>
                  <a:gd name="connsiteY17163" fmla="*/ 4718648 h 7571036"/>
                  <a:gd name="connsiteX17164" fmla="*/ 6278266 w 6994525"/>
                  <a:gd name="connsiteY17164" fmla="*/ 4683633 h 7571036"/>
                  <a:gd name="connsiteX17165" fmla="*/ 6279498 w 6994525"/>
                  <a:gd name="connsiteY17165" fmla="*/ 2589923 h 7571036"/>
                  <a:gd name="connsiteX17166" fmla="*/ 6248674 w 6994525"/>
                  <a:gd name="connsiteY17166" fmla="*/ 2559099 h 7571036"/>
                  <a:gd name="connsiteX17167" fmla="*/ 6217852 w 6994525"/>
                  <a:gd name="connsiteY17167" fmla="*/ 2589923 h 7571036"/>
                  <a:gd name="connsiteX17168" fmla="*/ 6248674 w 6994525"/>
                  <a:gd name="connsiteY17168" fmla="*/ 2620749 h 7571036"/>
                  <a:gd name="connsiteX17169" fmla="*/ 6279498 w 6994525"/>
                  <a:gd name="connsiteY17169" fmla="*/ 2589923 h 7571036"/>
                  <a:gd name="connsiteX17170" fmla="*/ 6280238 w 6994525"/>
                  <a:gd name="connsiteY17170" fmla="*/ 3676865 h 7571036"/>
                  <a:gd name="connsiteX17171" fmla="*/ 6272347 w 6994525"/>
                  <a:gd name="connsiteY17171" fmla="*/ 3668975 h 7571036"/>
                  <a:gd name="connsiteX17172" fmla="*/ 6264457 w 6994525"/>
                  <a:gd name="connsiteY17172" fmla="*/ 3676865 h 7571036"/>
                  <a:gd name="connsiteX17173" fmla="*/ 6272347 w 6994525"/>
                  <a:gd name="connsiteY17173" fmla="*/ 3684756 h 7571036"/>
                  <a:gd name="connsiteX17174" fmla="*/ 6280238 w 6994525"/>
                  <a:gd name="connsiteY17174" fmla="*/ 3676865 h 7571036"/>
                  <a:gd name="connsiteX17175" fmla="*/ 6280484 w 6994525"/>
                  <a:gd name="connsiteY17175" fmla="*/ 3329417 h 7571036"/>
                  <a:gd name="connsiteX17176" fmla="*/ 6275304 w 6994525"/>
                  <a:gd name="connsiteY17176" fmla="*/ 3324246 h 7571036"/>
                  <a:gd name="connsiteX17177" fmla="*/ 6270126 w 6994525"/>
                  <a:gd name="connsiteY17177" fmla="*/ 3329417 h 7571036"/>
                  <a:gd name="connsiteX17178" fmla="*/ 6275304 w 6994525"/>
                  <a:gd name="connsiteY17178" fmla="*/ 3334569 h 7571036"/>
                  <a:gd name="connsiteX17179" fmla="*/ 6280484 w 6994525"/>
                  <a:gd name="connsiteY17179" fmla="*/ 3329417 h 7571036"/>
                  <a:gd name="connsiteX17180" fmla="*/ 6282948 w 6994525"/>
                  <a:gd name="connsiteY17180" fmla="*/ 3560975 h 7571036"/>
                  <a:gd name="connsiteX17181" fmla="*/ 6278017 w 6994525"/>
                  <a:gd name="connsiteY17181" fmla="*/ 3556043 h 7571036"/>
                  <a:gd name="connsiteX17182" fmla="*/ 6273085 w 6994525"/>
                  <a:gd name="connsiteY17182" fmla="*/ 3560975 h 7571036"/>
                  <a:gd name="connsiteX17183" fmla="*/ 6278017 w 6994525"/>
                  <a:gd name="connsiteY17183" fmla="*/ 3565905 h 7571036"/>
                  <a:gd name="connsiteX17184" fmla="*/ 6282948 w 6994525"/>
                  <a:gd name="connsiteY17184" fmla="*/ 3560975 h 7571036"/>
                  <a:gd name="connsiteX17185" fmla="*/ 6283442 w 6994525"/>
                  <a:gd name="connsiteY17185" fmla="*/ 3445046 h 7571036"/>
                  <a:gd name="connsiteX17186" fmla="*/ 6279006 w 6994525"/>
                  <a:gd name="connsiteY17186" fmla="*/ 3440619 h 7571036"/>
                  <a:gd name="connsiteX17187" fmla="*/ 6274566 w 6994525"/>
                  <a:gd name="connsiteY17187" fmla="*/ 3445046 h 7571036"/>
                  <a:gd name="connsiteX17188" fmla="*/ 6279006 w 6994525"/>
                  <a:gd name="connsiteY17188" fmla="*/ 3449495 h 7571036"/>
                  <a:gd name="connsiteX17189" fmla="*/ 6283442 w 6994525"/>
                  <a:gd name="connsiteY17189" fmla="*/ 3445046 h 7571036"/>
                  <a:gd name="connsiteX17190" fmla="*/ 6284678 w 6994525"/>
                  <a:gd name="connsiteY17190" fmla="*/ 4412894 h 7571036"/>
                  <a:gd name="connsiteX17191" fmla="*/ 6232650 w 6994525"/>
                  <a:gd name="connsiteY17191" fmla="*/ 4360866 h 7571036"/>
                  <a:gd name="connsiteX17192" fmla="*/ 6180621 w 6994525"/>
                  <a:gd name="connsiteY17192" fmla="*/ 4412894 h 7571036"/>
                  <a:gd name="connsiteX17193" fmla="*/ 6232650 w 6994525"/>
                  <a:gd name="connsiteY17193" fmla="*/ 4464922 h 7571036"/>
                  <a:gd name="connsiteX17194" fmla="*/ 6284678 w 6994525"/>
                  <a:gd name="connsiteY17194" fmla="*/ 4412894 h 7571036"/>
                  <a:gd name="connsiteX17195" fmla="*/ 6286153 w 6994525"/>
                  <a:gd name="connsiteY17195" fmla="*/ 2019334 h 7571036"/>
                  <a:gd name="connsiteX17196" fmla="*/ 6241523 w 6994525"/>
                  <a:gd name="connsiteY17196" fmla="*/ 1974743 h 7571036"/>
                  <a:gd name="connsiteX17197" fmla="*/ 6196894 w 6994525"/>
                  <a:gd name="connsiteY17197" fmla="*/ 2019334 h 7571036"/>
                  <a:gd name="connsiteX17198" fmla="*/ 6241523 w 6994525"/>
                  <a:gd name="connsiteY17198" fmla="*/ 2063986 h 7571036"/>
                  <a:gd name="connsiteX17199" fmla="*/ 6286153 w 6994525"/>
                  <a:gd name="connsiteY17199" fmla="*/ 2019334 h 7571036"/>
                  <a:gd name="connsiteX17200" fmla="*/ 6286402 w 6994525"/>
                  <a:gd name="connsiteY17200" fmla="*/ 1612871 h 7571036"/>
                  <a:gd name="connsiteX17201" fmla="*/ 6249417 w 6994525"/>
                  <a:gd name="connsiteY17201" fmla="*/ 1575876 h 7571036"/>
                  <a:gd name="connsiteX17202" fmla="*/ 6212183 w 6994525"/>
                  <a:gd name="connsiteY17202" fmla="*/ 1612871 h 7571036"/>
                  <a:gd name="connsiteX17203" fmla="*/ 6249417 w 6994525"/>
                  <a:gd name="connsiteY17203" fmla="*/ 1650098 h 7571036"/>
                  <a:gd name="connsiteX17204" fmla="*/ 6286402 w 6994525"/>
                  <a:gd name="connsiteY17204" fmla="*/ 1612871 h 7571036"/>
                  <a:gd name="connsiteX17205" fmla="*/ 6289114 w 6994525"/>
                  <a:gd name="connsiteY17205" fmla="*/ 5084321 h 7571036"/>
                  <a:gd name="connsiteX17206" fmla="*/ 6283197 w 6994525"/>
                  <a:gd name="connsiteY17206" fmla="*/ 5078402 h 7571036"/>
                  <a:gd name="connsiteX17207" fmla="*/ 6277279 w 6994525"/>
                  <a:gd name="connsiteY17207" fmla="*/ 5084321 h 7571036"/>
                  <a:gd name="connsiteX17208" fmla="*/ 6283197 w 6994525"/>
                  <a:gd name="connsiteY17208" fmla="*/ 5090238 h 7571036"/>
                  <a:gd name="connsiteX17209" fmla="*/ 6289114 w 6994525"/>
                  <a:gd name="connsiteY17209" fmla="*/ 5084321 h 7571036"/>
                  <a:gd name="connsiteX17210" fmla="*/ 6289358 w 6994525"/>
                  <a:gd name="connsiteY17210" fmla="*/ 5485005 h 7571036"/>
                  <a:gd name="connsiteX17211" fmla="*/ 6281716 w 6994525"/>
                  <a:gd name="connsiteY17211" fmla="*/ 5477360 h 7571036"/>
                  <a:gd name="connsiteX17212" fmla="*/ 6274072 w 6994525"/>
                  <a:gd name="connsiteY17212" fmla="*/ 5485005 h 7571036"/>
                  <a:gd name="connsiteX17213" fmla="*/ 6281716 w 6994525"/>
                  <a:gd name="connsiteY17213" fmla="*/ 5492650 h 7571036"/>
                  <a:gd name="connsiteX17214" fmla="*/ 6289358 w 6994525"/>
                  <a:gd name="connsiteY17214" fmla="*/ 5485005 h 7571036"/>
                  <a:gd name="connsiteX17215" fmla="*/ 6291332 w 6994525"/>
                  <a:gd name="connsiteY17215" fmla="*/ 6008240 h 7571036"/>
                  <a:gd name="connsiteX17216" fmla="*/ 6275303 w 6994525"/>
                  <a:gd name="connsiteY17216" fmla="*/ 5991964 h 7571036"/>
                  <a:gd name="connsiteX17217" fmla="*/ 6259031 w 6994525"/>
                  <a:gd name="connsiteY17217" fmla="*/ 6008240 h 7571036"/>
                  <a:gd name="connsiteX17218" fmla="*/ 6275303 w 6994525"/>
                  <a:gd name="connsiteY17218" fmla="*/ 6024513 h 7571036"/>
                  <a:gd name="connsiteX17219" fmla="*/ 6291332 w 6994525"/>
                  <a:gd name="connsiteY17219" fmla="*/ 6008240 h 7571036"/>
                  <a:gd name="connsiteX17220" fmla="*/ 6296265 w 6994525"/>
                  <a:gd name="connsiteY17220" fmla="*/ 1081571 h 7571036"/>
                  <a:gd name="connsiteX17221" fmla="*/ 6249908 w 6994525"/>
                  <a:gd name="connsiteY17221" fmla="*/ 1035201 h 7571036"/>
                  <a:gd name="connsiteX17222" fmla="*/ 6203552 w 6994525"/>
                  <a:gd name="connsiteY17222" fmla="*/ 1081571 h 7571036"/>
                  <a:gd name="connsiteX17223" fmla="*/ 6249908 w 6994525"/>
                  <a:gd name="connsiteY17223" fmla="*/ 1127927 h 7571036"/>
                  <a:gd name="connsiteX17224" fmla="*/ 6296265 w 6994525"/>
                  <a:gd name="connsiteY17224" fmla="*/ 1081571 h 7571036"/>
                  <a:gd name="connsiteX17225" fmla="*/ 6304155 w 6994525"/>
                  <a:gd name="connsiteY17225" fmla="*/ 768221 h 7571036"/>
                  <a:gd name="connsiteX17226" fmla="*/ 6255332 w 6994525"/>
                  <a:gd name="connsiteY17226" fmla="*/ 719385 h 7571036"/>
                  <a:gd name="connsiteX17227" fmla="*/ 6206511 w 6994525"/>
                  <a:gd name="connsiteY17227" fmla="*/ 768221 h 7571036"/>
                  <a:gd name="connsiteX17228" fmla="*/ 6255332 w 6994525"/>
                  <a:gd name="connsiteY17228" fmla="*/ 817045 h 7571036"/>
                  <a:gd name="connsiteX17229" fmla="*/ 6304155 w 6994525"/>
                  <a:gd name="connsiteY17229" fmla="*/ 768221 h 7571036"/>
                  <a:gd name="connsiteX17230" fmla="*/ 6304401 w 6994525"/>
                  <a:gd name="connsiteY17230" fmla="*/ 2700889 h 7571036"/>
                  <a:gd name="connsiteX17231" fmla="*/ 6281962 w 6994525"/>
                  <a:gd name="connsiteY17231" fmla="*/ 2678697 h 7571036"/>
                  <a:gd name="connsiteX17232" fmla="*/ 6259772 w 6994525"/>
                  <a:gd name="connsiteY17232" fmla="*/ 2700889 h 7571036"/>
                  <a:gd name="connsiteX17233" fmla="*/ 6281962 w 6994525"/>
                  <a:gd name="connsiteY17233" fmla="*/ 2723081 h 7571036"/>
                  <a:gd name="connsiteX17234" fmla="*/ 6304401 w 6994525"/>
                  <a:gd name="connsiteY17234" fmla="*/ 2700889 h 7571036"/>
                  <a:gd name="connsiteX17235" fmla="*/ 6306373 w 6994525"/>
                  <a:gd name="connsiteY17235" fmla="*/ 2317963 h 7571036"/>
                  <a:gd name="connsiteX17236" fmla="*/ 6263222 w 6994525"/>
                  <a:gd name="connsiteY17236" fmla="*/ 2274573 h 7571036"/>
                  <a:gd name="connsiteX17237" fmla="*/ 6219824 w 6994525"/>
                  <a:gd name="connsiteY17237" fmla="*/ 2317963 h 7571036"/>
                  <a:gd name="connsiteX17238" fmla="*/ 6263222 w 6994525"/>
                  <a:gd name="connsiteY17238" fmla="*/ 2361120 h 7571036"/>
                  <a:gd name="connsiteX17239" fmla="*/ 6306373 w 6994525"/>
                  <a:gd name="connsiteY17239" fmla="*/ 2317963 h 7571036"/>
                  <a:gd name="connsiteX17240" fmla="*/ 6314758 w 6994525"/>
                  <a:gd name="connsiteY17240" fmla="*/ 4824182 h 7571036"/>
                  <a:gd name="connsiteX17241" fmla="*/ 6297991 w 6994525"/>
                  <a:gd name="connsiteY17241" fmla="*/ 4807414 h 7571036"/>
                  <a:gd name="connsiteX17242" fmla="*/ 6281224 w 6994525"/>
                  <a:gd name="connsiteY17242" fmla="*/ 4824182 h 7571036"/>
                  <a:gd name="connsiteX17243" fmla="*/ 6297991 w 6994525"/>
                  <a:gd name="connsiteY17243" fmla="*/ 4840949 h 7571036"/>
                  <a:gd name="connsiteX17244" fmla="*/ 6314758 w 6994525"/>
                  <a:gd name="connsiteY17244" fmla="*/ 4824182 h 7571036"/>
                  <a:gd name="connsiteX17245" fmla="*/ 6315497 w 6994525"/>
                  <a:gd name="connsiteY17245" fmla="*/ 939555 h 7571036"/>
                  <a:gd name="connsiteX17246" fmla="*/ 6268399 w 6994525"/>
                  <a:gd name="connsiteY17246" fmla="*/ 892465 h 7571036"/>
                  <a:gd name="connsiteX17247" fmla="*/ 6221305 w 6994525"/>
                  <a:gd name="connsiteY17247" fmla="*/ 939555 h 7571036"/>
                  <a:gd name="connsiteX17248" fmla="*/ 6268399 w 6994525"/>
                  <a:gd name="connsiteY17248" fmla="*/ 986663 h 7571036"/>
                  <a:gd name="connsiteX17249" fmla="*/ 6315497 w 6994525"/>
                  <a:gd name="connsiteY17249" fmla="*/ 939555 h 7571036"/>
                  <a:gd name="connsiteX17250" fmla="*/ 6317714 w 6994525"/>
                  <a:gd name="connsiteY17250" fmla="*/ 4302675 h 7571036"/>
                  <a:gd name="connsiteX17251" fmla="*/ 6268153 w 6994525"/>
                  <a:gd name="connsiteY17251" fmla="*/ 4253113 h 7571036"/>
                  <a:gd name="connsiteX17252" fmla="*/ 6218592 w 6994525"/>
                  <a:gd name="connsiteY17252" fmla="*/ 4302675 h 7571036"/>
                  <a:gd name="connsiteX17253" fmla="*/ 6268153 w 6994525"/>
                  <a:gd name="connsiteY17253" fmla="*/ 4352238 h 7571036"/>
                  <a:gd name="connsiteX17254" fmla="*/ 6317714 w 6994525"/>
                  <a:gd name="connsiteY17254" fmla="*/ 4302675 h 7571036"/>
                  <a:gd name="connsiteX17255" fmla="*/ 6318951 w 6994525"/>
                  <a:gd name="connsiteY17255" fmla="*/ 5632212 h 7571036"/>
                  <a:gd name="connsiteX17256" fmla="*/ 6307114 w 6994525"/>
                  <a:gd name="connsiteY17256" fmla="*/ 5620622 h 7571036"/>
                  <a:gd name="connsiteX17257" fmla="*/ 6295524 w 6994525"/>
                  <a:gd name="connsiteY17257" fmla="*/ 5632212 h 7571036"/>
                  <a:gd name="connsiteX17258" fmla="*/ 6307114 w 6994525"/>
                  <a:gd name="connsiteY17258" fmla="*/ 5644049 h 7571036"/>
                  <a:gd name="connsiteX17259" fmla="*/ 6318951 w 6994525"/>
                  <a:gd name="connsiteY17259" fmla="*/ 5632212 h 7571036"/>
                  <a:gd name="connsiteX17260" fmla="*/ 6319195 w 6994525"/>
                  <a:gd name="connsiteY17260" fmla="*/ 630091 h 7571036"/>
                  <a:gd name="connsiteX17261" fmla="*/ 6270375 w 6994525"/>
                  <a:gd name="connsiteY17261" fmla="*/ 581274 h 7571036"/>
                  <a:gd name="connsiteX17262" fmla="*/ 6221551 w 6994525"/>
                  <a:gd name="connsiteY17262" fmla="*/ 630091 h 7571036"/>
                  <a:gd name="connsiteX17263" fmla="*/ 6270375 w 6994525"/>
                  <a:gd name="connsiteY17263" fmla="*/ 678976 h 7571036"/>
                  <a:gd name="connsiteX17264" fmla="*/ 6319195 w 6994525"/>
                  <a:gd name="connsiteY17264" fmla="*/ 630091 h 7571036"/>
                  <a:gd name="connsiteX17265" fmla="*/ 6321662 w 6994525"/>
                  <a:gd name="connsiteY17265" fmla="*/ 1463223 h 7571036"/>
                  <a:gd name="connsiteX17266" fmla="*/ 6276538 w 6994525"/>
                  <a:gd name="connsiteY17266" fmla="*/ 1418099 h 7571036"/>
                  <a:gd name="connsiteX17267" fmla="*/ 6231414 w 6994525"/>
                  <a:gd name="connsiteY17267" fmla="*/ 1463223 h 7571036"/>
                  <a:gd name="connsiteX17268" fmla="*/ 6276538 w 6994525"/>
                  <a:gd name="connsiteY17268" fmla="*/ 1508339 h 7571036"/>
                  <a:gd name="connsiteX17269" fmla="*/ 6321662 w 6994525"/>
                  <a:gd name="connsiteY17269" fmla="*/ 1463223 h 7571036"/>
                  <a:gd name="connsiteX17270" fmla="*/ 6321912 w 6994525"/>
                  <a:gd name="connsiteY17270" fmla="*/ 6137692 h 7571036"/>
                  <a:gd name="connsiteX17271" fmla="*/ 6303417 w 6994525"/>
                  <a:gd name="connsiteY17271" fmla="*/ 6119198 h 7571036"/>
                  <a:gd name="connsiteX17272" fmla="*/ 6284923 w 6994525"/>
                  <a:gd name="connsiteY17272" fmla="*/ 6137692 h 7571036"/>
                  <a:gd name="connsiteX17273" fmla="*/ 6303417 w 6994525"/>
                  <a:gd name="connsiteY17273" fmla="*/ 6156186 h 7571036"/>
                  <a:gd name="connsiteX17274" fmla="*/ 6321912 w 6994525"/>
                  <a:gd name="connsiteY17274" fmla="*/ 6137692 h 7571036"/>
                  <a:gd name="connsiteX17275" fmla="*/ 6322401 w 6994525"/>
                  <a:gd name="connsiteY17275" fmla="*/ 5238679 h 7571036"/>
                  <a:gd name="connsiteX17276" fmla="*/ 6316977 w 6994525"/>
                  <a:gd name="connsiteY17276" fmla="*/ 5233252 h 7571036"/>
                  <a:gd name="connsiteX17277" fmla="*/ 6311551 w 6994525"/>
                  <a:gd name="connsiteY17277" fmla="*/ 5238679 h 7571036"/>
                  <a:gd name="connsiteX17278" fmla="*/ 6316977 w 6994525"/>
                  <a:gd name="connsiteY17278" fmla="*/ 5244102 h 7571036"/>
                  <a:gd name="connsiteX17279" fmla="*/ 6322401 w 6994525"/>
                  <a:gd name="connsiteY17279" fmla="*/ 5238679 h 7571036"/>
                  <a:gd name="connsiteX17280" fmla="*/ 6325605 w 6994525"/>
                  <a:gd name="connsiteY17280" fmla="*/ 1863908 h 7571036"/>
                  <a:gd name="connsiteX17281" fmla="*/ 6278757 w 6994525"/>
                  <a:gd name="connsiteY17281" fmla="*/ 1817087 h 7571036"/>
                  <a:gd name="connsiteX17282" fmla="*/ 6231660 w 6994525"/>
                  <a:gd name="connsiteY17282" fmla="*/ 1863908 h 7571036"/>
                  <a:gd name="connsiteX17283" fmla="*/ 6278757 w 6994525"/>
                  <a:gd name="connsiteY17283" fmla="*/ 1910713 h 7571036"/>
                  <a:gd name="connsiteX17284" fmla="*/ 6325605 w 6994525"/>
                  <a:gd name="connsiteY17284" fmla="*/ 1863908 h 7571036"/>
                  <a:gd name="connsiteX17285" fmla="*/ 6325856 w 6994525"/>
                  <a:gd name="connsiteY17285" fmla="*/ 2813087 h 7571036"/>
                  <a:gd name="connsiteX17286" fmla="*/ 6310813 w 6994525"/>
                  <a:gd name="connsiteY17286" fmla="*/ 2798049 h 7571036"/>
                  <a:gd name="connsiteX17287" fmla="*/ 6295772 w 6994525"/>
                  <a:gd name="connsiteY17287" fmla="*/ 2813087 h 7571036"/>
                  <a:gd name="connsiteX17288" fmla="*/ 6310813 w 6994525"/>
                  <a:gd name="connsiteY17288" fmla="*/ 2828131 h 7571036"/>
                  <a:gd name="connsiteX17289" fmla="*/ 6325856 w 6994525"/>
                  <a:gd name="connsiteY17289" fmla="*/ 2813087 h 7571036"/>
                  <a:gd name="connsiteX17290" fmla="*/ 6328566 w 6994525"/>
                  <a:gd name="connsiteY17290" fmla="*/ 6276760 h 7571036"/>
                  <a:gd name="connsiteX17291" fmla="*/ 6319197 w 6994525"/>
                  <a:gd name="connsiteY17291" fmla="*/ 6267388 h 7571036"/>
                  <a:gd name="connsiteX17292" fmla="*/ 6309826 w 6994525"/>
                  <a:gd name="connsiteY17292" fmla="*/ 6276760 h 7571036"/>
                  <a:gd name="connsiteX17293" fmla="*/ 6319197 w 6994525"/>
                  <a:gd name="connsiteY17293" fmla="*/ 6286128 h 7571036"/>
                  <a:gd name="connsiteX17294" fmla="*/ 6328566 w 6994525"/>
                  <a:gd name="connsiteY17294" fmla="*/ 6276760 h 7571036"/>
                  <a:gd name="connsiteX17295" fmla="*/ 6332266 w 6994525"/>
                  <a:gd name="connsiteY17295" fmla="*/ 493028 h 7571036"/>
                  <a:gd name="connsiteX17296" fmla="*/ 6283938 w 6994525"/>
                  <a:gd name="connsiteY17296" fmla="*/ 444702 h 7571036"/>
                  <a:gd name="connsiteX17297" fmla="*/ 6235608 w 6994525"/>
                  <a:gd name="connsiteY17297" fmla="*/ 493028 h 7571036"/>
                  <a:gd name="connsiteX17298" fmla="*/ 6283938 w 6994525"/>
                  <a:gd name="connsiteY17298" fmla="*/ 541353 h 7571036"/>
                  <a:gd name="connsiteX17299" fmla="*/ 6332266 w 6994525"/>
                  <a:gd name="connsiteY17299" fmla="*/ 493028 h 7571036"/>
                  <a:gd name="connsiteX17300" fmla="*/ 6332508 w 6994525"/>
                  <a:gd name="connsiteY17300" fmla="*/ 4577112 h 7571036"/>
                  <a:gd name="connsiteX17301" fmla="*/ 6287879 w 6994525"/>
                  <a:gd name="connsiteY17301" fmla="*/ 4532483 h 7571036"/>
                  <a:gd name="connsiteX17302" fmla="*/ 6243250 w 6994525"/>
                  <a:gd name="connsiteY17302" fmla="*/ 4577112 h 7571036"/>
                  <a:gd name="connsiteX17303" fmla="*/ 6287879 w 6994525"/>
                  <a:gd name="connsiteY17303" fmla="*/ 4621496 h 7571036"/>
                  <a:gd name="connsiteX17304" fmla="*/ 6332508 w 6994525"/>
                  <a:gd name="connsiteY17304" fmla="*/ 4577112 h 7571036"/>
                  <a:gd name="connsiteX17305" fmla="*/ 6338429 w 6994525"/>
                  <a:gd name="connsiteY17305" fmla="*/ 2122942 h 7571036"/>
                  <a:gd name="connsiteX17306" fmla="*/ 6294291 w 6994525"/>
                  <a:gd name="connsiteY17306" fmla="*/ 2078785 h 7571036"/>
                  <a:gd name="connsiteX17307" fmla="*/ 6250154 w 6994525"/>
                  <a:gd name="connsiteY17307" fmla="*/ 2122942 h 7571036"/>
                  <a:gd name="connsiteX17308" fmla="*/ 6294291 w 6994525"/>
                  <a:gd name="connsiteY17308" fmla="*/ 2167087 h 7571036"/>
                  <a:gd name="connsiteX17309" fmla="*/ 6338429 w 6994525"/>
                  <a:gd name="connsiteY17309" fmla="*/ 2122942 h 7571036"/>
                  <a:gd name="connsiteX17310" fmla="*/ 6344348 w 6994525"/>
                  <a:gd name="connsiteY17310" fmla="*/ 5777937 h 7571036"/>
                  <a:gd name="connsiteX17311" fmla="*/ 6330539 w 6994525"/>
                  <a:gd name="connsiteY17311" fmla="*/ 5764128 h 7571036"/>
                  <a:gd name="connsiteX17312" fmla="*/ 6316731 w 6994525"/>
                  <a:gd name="connsiteY17312" fmla="*/ 5777937 h 7571036"/>
                  <a:gd name="connsiteX17313" fmla="*/ 6330539 w 6994525"/>
                  <a:gd name="connsiteY17313" fmla="*/ 5791746 h 7571036"/>
                  <a:gd name="connsiteX17314" fmla="*/ 6344348 w 6994525"/>
                  <a:gd name="connsiteY17314" fmla="*/ 5777937 h 7571036"/>
                  <a:gd name="connsiteX17315" fmla="*/ 6344597 w 6994525"/>
                  <a:gd name="connsiteY17315" fmla="*/ 4190976 h 7571036"/>
                  <a:gd name="connsiteX17316" fmla="*/ 6298978 w 6994525"/>
                  <a:gd name="connsiteY17316" fmla="*/ 4145360 h 7571036"/>
                  <a:gd name="connsiteX17317" fmla="*/ 6253362 w 6994525"/>
                  <a:gd name="connsiteY17317" fmla="*/ 4190976 h 7571036"/>
                  <a:gd name="connsiteX17318" fmla="*/ 6298978 w 6994525"/>
                  <a:gd name="connsiteY17318" fmla="*/ 4236592 h 7571036"/>
                  <a:gd name="connsiteX17319" fmla="*/ 6344597 w 6994525"/>
                  <a:gd name="connsiteY17319" fmla="*/ 4190976 h 7571036"/>
                  <a:gd name="connsiteX17320" fmla="*/ 6345334 w 6994525"/>
                  <a:gd name="connsiteY17320" fmla="*/ 2425218 h 7571036"/>
                  <a:gd name="connsiteX17321" fmla="*/ 6306128 w 6994525"/>
                  <a:gd name="connsiteY17321" fmla="*/ 2385787 h 7571036"/>
                  <a:gd name="connsiteX17322" fmla="*/ 6266675 w 6994525"/>
                  <a:gd name="connsiteY17322" fmla="*/ 2425218 h 7571036"/>
                  <a:gd name="connsiteX17323" fmla="*/ 6306128 w 6994525"/>
                  <a:gd name="connsiteY17323" fmla="*/ 2464678 h 7571036"/>
                  <a:gd name="connsiteX17324" fmla="*/ 6345334 w 6994525"/>
                  <a:gd name="connsiteY17324" fmla="*/ 2425218 h 7571036"/>
                  <a:gd name="connsiteX17325" fmla="*/ 6346566 w 6994525"/>
                  <a:gd name="connsiteY17325" fmla="*/ 2926522 h 7571036"/>
                  <a:gd name="connsiteX17326" fmla="*/ 6335225 w 6994525"/>
                  <a:gd name="connsiteY17326" fmla="*/ 2915178 h 7571036"/>
                  <a:gd name="connsiteX17327" fmla="*/ 6323881 w 6994525"/>
                  <a:gd name="connsiteY17327" fmla="*/ 2926522 h 7571036"/>
                  <a:gd name="connsiteX17328" fmla="*/ 6335225 w 6994525"/>
                  <a:gd name="connsiteY17328" fmla="*/ 2937863 h 7571036"/>
                  <a:gd name="connsiteX17329" fmla="*/ 6346566 w 6994525"/>
                  <a:gd name="connsiteY17329" fmla="*/ 2926522 h 7571036"/>
                  <a:gd name="connsiteX17330" fmla="*/ 6348043 w 6994525"/>
                  <a:gd name="connsiteY17330" fmla="*/ 1315798 h 7571036"/>
                  <a:gd name="connsiteX17331" fmla="*/ 6301688 w 6994525"/>
                  <a:gd name="connsiteY17331" fmla="*/ 1269426 h 7571036"/>
                  <a:gd name="connsiteX17332" fmla="*/ 6255332 w 6994525"/>
                  <a:gd name="connsiteY17332" fmla="*/ 1315798 h 7571036"/>
                  <a:gd name="connsiteX17333" fmla="*/ 6301688 w 6994525"/>
                  <a:gd name="connsiteY17333" fmla="*/ 1362145 h 7571036"/>
                  <a:gd name="connsiteX17334" fmla="*/ 6348043 w 6994525"/>
                  <a:gd name="connsiteY17334" fmla="*/ 1315798 h 7571036"/>
                  <a:gd name="connsiteX17335" fmla="*/ 6348048 w 6994525"/>
                  <a:gd name="connsiteY17335" fmla="*/ 6414594 h 7571036"/>
                  <a:gd name="connsiteX17336" fmla="*/ 6334239 w 6994525"/>
                  <a:gd name="connsiteY17336" fmla="*/ 6400540 h 7571036"/>
                  <a:gd name="connsiteX17337" fmla="*/ 6320431 w 6994525"/>
                  <a:gd name="connsiteY17337" fmla="*/ 6414594 h 7571036"/>
                  <a:gd name="connsiteX17338" fmla="*/ 6334239 w 6994525"/>
                  <a:gd name="connsiteY17338" fmla="*/ 6428402 h 7571036"/>
                  <a:gd name="connsiteX17339" fmla="*/ 6348048 w 6994525"/>
                  <a:gd name="connsiteY17339" fmla="*/ 6414594 h 7571036"/>
                  <a:gd name="connsiteX17340" fmla="*/ 6348539 w 6994525"/>
                  <a:gd name="connsiteY17340" fmla="*/ 1710455 h 7571036"/>
                  <a:gd name="connsiteX17341" fmla="*/ 6312786 w 6994525"/>
                  <a:gd name="connsiteY17341" fmla="*/ 1674995 h 7571036"/>
                  <a:gd name="connsiteX17342" fmla="*/ 6277279 w 6994525"/>
                  <a:gd name="connsiteY17342" fmla="*/ 1710455 h 7571036"/>
                  <a:gd name="connsiteX17343" fmla="*/ 6312786 w 6994525"/>
                  <a:gd name="connsiteY17343" fmla="*/ 1746033 h 7571036"/>
                  <a:gd name="connsiteX17344" fmla="*/ 6348539 w 6994525"/>
                  <a:gd name="connsiteY17344" fmla="*/ 1710455 h 7571036"/>
                  <a:gd name="connsiteX17345" fmla="*/ 6353716 w 6994525"/>
                  <a:gd name="connsiteY17345" fmla="*/ 4982485 h 7571036"/>
                  <a:gd name="connsiteX17346" fmla="*/ 6339413 w 6994525"/>
                  <a:gd name="connsiteY17346" fmla="*/ 4968182 h 7571036"/>
                  <a:gd name="connsiteX17347" fmla="*/ 6325113 w 6994525"/>
                  <a:gd name="connsiteY17347" fmla="*/ 4982485 h 7571036"/>
                  <a:gd name="connsiteX17348" fmla="*/ 6339413 w 6994525"/>
                  <a:gd name="connsiteY17348" fmla="*/ 4996785 h 7571036"/>
                  <a:gd name="connsiteX17349" fmla="*/ 6353716 w 6994525"/>
                  <a:gd name="connsiteY17349" fmla="*/ 4982485 h 7571036"/>
                  <a:gd name="connsiteX17350" fmla="*/ 6356429 w 6994525"/>
                  <a:gd name="connsiteY17350" fmla="*/ 5389829 h 7571036"/>
                  <a:gd name="connsiteX17351" fmla="*/ 6348043 w 6994525"/>
                  <a:gd name="connsiteY17351" fmla="*/ 5381443 h 7571036"/>
                  <a:gd name="connsiteX17352" fmla="*/ 6339907 w 6994525"/>
                  <a:gd name="connsiteY17352" fmla="*/ 5389829 h 7571036"/>
                  <a:gd name="connsiteX17353" fmla="*/ 6348043 w 6994525"/>
                  <a:gd name="connsiteY17353" fmla="*/ 5397965 h 7571036"/>
                  <a:gd name="connsiteX17354" fmla="*/ 6356429 w 6994525"/>
                  <a:gd name="connsiteY17354" fmla="*/ 5389829 h 7571036"/>
                  <a:gd name="connsiteX17355" fmla="*/ 6365060 w 6994525"/>
                  <a:gd name="connsiteY17355" fmla="*/ 3040694 h 7571036"/>
                  <a:gd name="connsiteX17356" fmla="*/ 6354703 w 6994525"/>
                  <a:gd name="connsiteY17356" fmla="*/ 3030337 h 7571036"/>
                  <a:gd name="connsiteX17357" fmla="*/ 6344347 w 6994525"/>
                  <a:gd name="connsiteY17357" fmla="*/ 3040694 h 7571036"/>
                  <a:gd name="connsiteX17358" fmla="*/ 6354703 w 6994525"/>
                  <a:gd name="connsiteY17358" fmla="*/ 3051049 h 7571036"/>
                  <a:gd name="connsiteX17359" fmla="*/ 6365060 w 6994525"/>
                  <a:gd name="connsiteY17359" fmla="*/ 3040694 h 7571036"/>
                  <a:gd name="connsiteX17360" fmla="*/ 6366537 w 6994525"/>
                  <a:gd name="connsiteY17360" fmla="*/ 4078045 h 7571036"/>
                  <a:gd name="connsiteX17361" fmla="*/ 6325113 w 6994525"/>
                  <a:gd name="connsiteY17361" fmla="*/ 4036620 h 7571036"/>
                  <a:gd name="connsiteX17362" fmla="*/ 6283688 w 6994525"/>
                  <a:gd name="connsiteY17362" fmla="*/ 4078045 h 7571036"/>
                  <a:gd name="connsiteX17363" fmla="*/ 6325113 w 6994525"/>
                  <a:gd name="connsiteY17363" fmla="*/ 4119469 h 7571036"/>
                  <a:gd name="connsiteX17364" fmla="*/ 6366537 w 6994525"/>
                  <a:gd name="connsiteY17364" fmla="*/ 4078045 h 7571036"/>
                  <a:gd name="connsiteX17365" fmla="*/ 6369006 w 6994525"/>
                  <a:gd name="connsiteY17365" fmla="*/ 5921196 h 7571036"/>
                  <a:gd name="connsiteX17366" fmla="*/ 6351989 w 6994525"/>
                  <a:gd name="connsiteY17366" fmla="*/ 5904183 h 7571036"/>
                  <a:gd name="connsiteX17367" fmla="*/ 6334976 w 6994525"/>
                  <a:gd name="connsiteY17367" fmla="*/ 5921196 h 7571036"/>
                  <a:gd name="connsiteX17368" fmla="*/ 6351989 w 6994525"/>
                  <a:gd name="connsiteY17368" fmla="*/ 5938213 h 7571036"/>
                  <a:gd name="connsiteX17369" fmla="*/ 6369006 w 6994525"/>
                  <a:gd name="connsiteY17369" fmla="*/ 5921196 h 7571036"/>
                  <a:gd name="connsiteX17370" fmla="*/ 6370978 w 6994525"/>
                  <a:gd name="connsiteY17370" fmla="*/ 1170089 h 7571036"/>
                  <a:gd name="connsiteX17371" fmla="*/ 6324621 w 6994525"/>
                  <a:gd name="connsiteY17371" fmla="*/ 1123738 h 7571036"/>
                  <a:gd name="connsiteX17372" fmla="*/ 6278265 w 6994525"/>
                  <a:gd name="connsiteY17372" fmla="*/ 1170089 h 7571036"/>
                  <a:gd name="connsiteX17373" fmla="*/ 6324621 w 6994525"/>
                  <a:gd name="connsiteY17373" fmla="*/ 1216449 h 7571036"/>
                  <a:gd name="connsiteX17374" fmla="*/ 6370978 w 6994525"/>
                  <a:gd name="connsiteY17374" fmla="*/ 1170089 h 7571036"/>
                  <a:gd name="connsiteX17375" fmla="*/ 6376647 w 6994525"/>
                  <a:gd name="connsiteY17375" fmla="*/ 4718402 h 7571036"/>
                  <a:gd name="connsiteX17376" fmla="*/ 6346566 w 6994525"/>
                  <a:gd name="connsiteY17376" fmla="*/ 4688318 h 7571036"/>
                  <a:gd name="connsiteX17377" fmla="*/ 6316482 w 6994525"/>
                  <a:gd name="connsiteY17377" fmla="*/ 4718402 h 7571036"/>
                  <a:gd name="connsiteX17378" fmla="*/ 6346566 w 6994525"/>
                  <a:gd name="connsiteY17378" fmla="*/ 4748483 h 7571036"/>
                  <a:gd name="connsiteX17379" fmla="*/ 6376647 w 6994525"/>
                  <a:gd name="connsiteY17379" fmla="*/ 4718402 h 7571036"/>
                  <a:gd name="connsiteX17380" fmla="*/ 6379854 w 6994525"/>
                  <a:gd name="connsiteY17380" fmla="*/ 2534708 h 7571036"/>
                  <a:gd name="connsiteX17381" fmla="*/ 6344593 w 6994525"/>
                  <a:gd name="connsiteY17381" fmla="*/ 2499446 h 7571036"/>
                  <a:gd name="connsiteX17382" fmla="*/ 6309332 w 6994525"/>
                  <a:gd name="connsiteY17382" fmla="*/ 2534708 h 7571036"/>
                  <a:gd name="connsiteX17383" fmla="*/ 6344593 w 6994525"/>
                  <a:gd name="connsiteY17383" fmla="*/ 2569964 h 7571036"/>
                  <a:gd name="connsiteX17384" fmla="*/ 6379854 w 6994525"/>
                  <a:gd name="connsiteY17384" fmla="*/ 2534708 h 7571036"/>
                  <a:gd name="connsiteX17385" fmla="*/ 6380841 w 6994525"/>
                  <a:gd name="connsiteY17385" fmla="*/ 4468374 h 7571036"/>
                  <a:gd name="connsiteX17386" fmla="*/ 6328319 w 6994525"/>
                  <a:gd name="connsiteY17386" fmla="*/ 4415853 h 7571036"/>
                  <a:gd name="connsiteX17387" fmla="*/ 6275798 w 6994525"/>
                  <a:gd name="connsiteY17387" fmla="*/ 4468374 h 7571036"/>
                  <a:gd name="connsiteX17388" fmla="*/ 6328319 w 6994525"/>
                  <a:gd name="connsiteY17388" fmla="*/ 4520893 h 7571036"/>
                  <a:gd name="connsiteX17389" fmla="*/ 6380841 w 6994525"/>
                  <a:gd name="connsiteY17389" fmla="*/ 4468374 h 7571036"/>
                  <a:gd name="connsiteX17390" fmla="*/ 6381581 w 6994525"/>
                  <a:gd name="connsiteY17390" fmla="*/ 3155605 h 7571036"/>
                  <a:gd name="connsiteX17391" fmla="*/ 6369991 w 6994525"/>
                  <a:gd name="connsiteY17391" fmla="*/ 3144015 h 7571036"/>
                  <a:gd name="connsiteX17392" fmla="*/ 6358401 w 6994525"/>
                  <a:gd name="connsiteY17392" fmla="*/ 3155605 h 7571036"/>
                  <a:gd name="connsiteX17393" fmla="*/ 6369991 w 6994525"/>
                  <a:gd name="connsiteY17393" fmla="*/ 3167195 h 7571036"/>
                  <a:gd name="connsiteX17394" fmla="*/ 6381581 w 6994525"/>
                  <a:gd name="connsiteY17394" fmla="*/ 3155605 h 7571036"/>
                  <a:gd name="connsiteX17395" fmla="*/ 6382813 w 6994525"/>
                  <a:gd name="connsiteY17395" fmla="*/ 1965153 h 7571036"/>
                  <a:gd name="connsiteX17396" fmla="*/ 6335470 w 6994525"/>
                  <a:gd name="connsiteY17396" fmla="*/ 1917857 h 7571036"/>
                  <a:gd name="connsiteX17397" fmla="*/ 6288128 w 6994525"/>
                  <a:gd name="connsiteY17397" fmla="*/ 1965153 h 7571036"/>
                  <a:gd name="connsiteX17398" fmla="*/ 6335470 w 6994525"/>
                  <a:gd name="connsiteY17398" fmla="*/ 2012450 h 7571036"/>
                  <a:gd name="connsiteX17399" fmla="*/ 6382813 w 6994525"/>
                  <a:gd name="connsiteY17399" fmla="*/ 1965153 h 7571036"/>
                  <a:gd name="connsiteX17400" fmla="*/ 6383799 w 6994525"/>
                  <a:gd name="connsiteY17400" fmla="*/ 3964127 h 7571036"/>
                  <a:gd name="connsiteX17401" fmla="*/ 6346814 w 6994525"/>
                  <a:gd name="connsiteY17401" fmla="*/ 3927139 h 7571036"/>
                  <a:gd name="connsiteX17402" fmla="*/ 6309826 w 6994525"/>
                  <a:gd name="connsiteY17402" fmla="*/ 3964127 h 7571036"/>
                  <a:gd name="connsiteX17403" fmla="*/ 6346814 w 6994525"/>
                  <a:gd name="connsiteY17403" fmla="*/ 4001111 h 7571036"/>
                  <a:gd name="connsiteX17404" fmla="*/ 6383799 w 6994525"/>
                  <a:gd name="connsiteY17404" fmla="*/ 3964127 h 7571036"/>
                  <a:gd name="connsiteX17405" fmla="*/ 6384783 w 6994525"/>
                  <a:gd name="connsiteY17405" fmla="*/ 2228735 h 7571036"/>
                  <a:gd name="connsiteX17406" fmla="*/ 6343113 w 6994525"/>
                  <a:gd name="connsiteY17406" fmla="*/ 2187056 h 7571036"/>
                  <a:gd name="connsiteX17407" fmla="*/ 6301442 w 6994525"/>
                  <a:gd name="connsiteY17407" fmla="*/ 2228735 h 7571036"/>
                  <a:gd name="connsiteX17408" fmla="*/ 6343113 w 6994525"/>
                  <a:gd name="connsiteY17408" fmla="*/ 2270388 h 7571036"/>
                  <a:gd name="connsiteX17409" fmla="*/ 6384783 w 6994525"/>
                  <a:gd name="connsiteY17409" fmla="*/ 2228735 h 7571036"/>
                  <a:gd name="connsiteX17410" fmla="*/ 6384785 w 6994525"/>
                  <a:gd name="connsiteY17410" fmla="*/ 5139059 h 7571036"/>
                  <a:gd name="connsiteX17411" fmla="*/ 6376895 w 6994525"/>
                  <a:gd name="connsiteY17411" fmla="*/ 5131168 h 7571036"/>
                  <a:gd name="connsiteX17412" fmla="*/ 6369005 w 6994525"/>
                  <a:gd name="connsiteY17412" fmla="*/ 5139059 h 7571036"/>
                  <a:gd name="connsiteX17413" fmla="*/ 6376895 w 6994525"/>
                  <a:gd name="connsiteY17413" fmla="*/ 5146949 h 7571036"/>
                  <a:gd name="connsiteX17414" fmla="*/ 6384785 w 6994525"/>
                  <a:gd name="connsiteY17414" fmla="*/ 5139059 h 7571036"/>
                  <a:gd name="connsiteX17415" fmla="*/ 6385031 w 6994525"/>
                  <a:gd name="connsiteY17415" fmla="*/ 852545 h 7571036"/>
                  <a:gd name="connsiteX17416" fmla="*/ 6335716 w 6994525"/>
                  <a:gd name="connsiteY17416" fmla="*/ 803235 h 7571036"/>
                  <a:gd name="connsiteX17417" fmla="*/ 6286401 w 6994525"/>
                  <a:gd name="connsiteY17417" fmla="*/ 852545 h 7571036"/>
                  <a:gd name="connsiteX17418" fmla="*/ 6335716 w 6994525"/>
                  <a:gd name="connsiteY17418" fmla="*/ 901849 h 7571036"/>
                  <a:gd name="connsiteX17419" fmla="*/ 6385031 w 6994525"/>
                  <a:gd name="connsiteY17419" fmla="*/ 852545 h 7571036"/>
                  <a:gd name="connsiteX17420" fmla="*/ 6387250 w 6994525"/>
                  <a:gd name="connsiteY17420" fmla="*/ 1558391 h 7571036"/>
                  <a:gd name="connsiteX17421" fmla="*/ 6343115 w 6994525"/>
                  <a:gd name="connsiteY17421" fmla="*/ 1514262 h 7571036"/>
                  <a:gd name="connsiteX17422" fmla="*/ 6298978 w 6994525"/>
                  <a:gd name="connsiteY17422" fmla="*/ 1558391 h 7571036"/>
                  <a:gd name="connsiteX17423" fmla="*/ 6343115 w 6994525"/>
                  <a:gd name="connsiteY17423" fmla="*/ 1602531 h 7571036"/>
                  <a:gd name="connsiteX17424" fmla="*/ 6387250 w 6994525"/>
                  <a:gd name="connsiteY17424" fmla="*/ 1558391 h 7571036"/>
                  <a:gd name="connsiteX17425" fmla="*/ 6389223 w 6994525"/>
                  <a:gd name="connsiteY17425" fmla="*/ 5539006 h 7571036"/>
                  <a:gd name="connsiteX17426" fmla="*/ 6376401 w 6994525"/>
                  <a:gd name="connsiteY17426" fmla="*/ 5526429 h 7571036"/>
                  <a:gd name="connsiteX17427" fmla="*/ 6363579 w 6994525"/>
                  <a:gd name="connsiteY17427" fmla="*/ 5539006 h 7571036"/>
                  <a:gd name="connsiteX17428" fmla="*/ 6376401 w 6994525"/>
                  <a:gd name="connsiteY17428" fmla="*/ 5551828 h 7571036"/>
                  <a:gd name="connsiteX17429" fmla="*/ 6389223 w 6994525"/>
                  <a:gd name="connsiteY17429" fmla="*/ 5539006 h 7571036"/>
                  <a:gd name="connsiteX17430" fmla="*/ 6392428 w 6994525"/>
                  <a:gd name="connsiteY17430" fmla="*/ 1026361 h 7571036"/>
                  <a:gd name="connsiteX17431" fmla="*/ 6345334 w 6994525"/>
                  <a:gd name="connsiteY17431" fmla="*/ 979259 h 7571036"/>
                  <a:gd name="connsiteX17432" fmla="*/ 6298237 w 6994525"/>
                  <a:gd name="connsiteY17432" fmla="*/ 1026361 h 7571036"/>
                  <a:gd name="connsiteX17433" fmla="*/ 6345334 w 6994525"/>
                  <a:gd name="connsiteY17433" fmla="*/ 1073454 h 7571036"/>
                  <a:gd name="connsiteX17434" fmla="*/ 6392428 w 6994525"/>
                  <a:gd name="connsiteY17434" fmla="*/ 1026361 h 7571036"/>
                  <a:gd name="connsiteX17435" fmla="*/ 6393662 w 6994525"/>
                  <a:gd name="connsiteY17435" fmla="*/ 3271007 h 7571036"/>
                  <a:gd name="connsiteX17436" fmla="*/ 6380349 w 6994525"/>
                  <a:gd name="connsiteY17436" fmla="*/ 3257681 h 7571036"/>
                  <a:gd name="connsiteX17437" fmla="*/ 6367032 w 6994525"/>
                  <a:gd name="connsiteY17437" fmla="*/ 3271007 h 7571036"/>
                  <a:gd name="connsiteX17438" fmla="*/ 6380349 w 6994525"/>
                  <a:gd name="connsiteY17438" fmla="*/ 3284297 h 7571036"/>
                  <a:gd name="connsiteX17439" fmla="*/ 6393662 w 6994525"/>
                  <a:gd name="connsiteY17439" fmla="*/ 3271007 h 7571036"/>
                  <a:gd name="connsiteX17440" fmla="*/ 6396127 w 6994525"/>
                  <a:gd name="connsiteY17440" fmla="*/ 3849469 h 7571036"/>
                  <a:gd name="connsiteX17441" fmla="*/ 6363827 w 6994525"/>
                  <a:gd name="connsiteY17441" fmla="*/ 3817167 h 7571036"/>
                  <a:gd name="connsiteX17442" fmla="*/ 6331525 w 6994525"/>
                  <a:gd name="connsiteY17442" fmla="*/ 3849469 h 7571036"/>
                  <a:gd name="connsiteX17443" fmla="*/ 6363827 w 6994525"/>
                  <a:gd name="connsiteY17443" fmla="*/ 3881768 h 7571036"/>
                  <a:gd name="connsiteX17444" fmla="*/ 6396127 w 6994525"/>
                  <a:gd name="connsiteY17444" fmla="*/ 3849469 h 7571036"/>
                  <a:gd name="connsiteX17445" fmla="*/ 6401553 w 6994525"/>
                  <a:gd name="connsiteY17445" fmla="*/ 6051883 h 7571036"/>
                  <a:gd name="connsiteX17446" fmla="*/ 6382072 w 6994525"/>
                  <a:gd name="connsiteY17446" fmla="*/ 6032403 h 7571036"/>
                  <a:gd name="connsiteX17447" fmla="*/ 6362593 w 6994525"/>
                  <a:gd name="connsiteY17447" fmla="*/ 6051883 h 7571036"/>
                  <a:gd name="connsiteX17448" fmla="*/ 6382072 w 6994525"/>
                  <a:gd name="connsiteY17448" fmla="*/ 6071360 h 7571036"/>
                  <a:gd name="connsiteX17449" fmla="*/ 6401553 w 6994525"/>
                  <a:gd name="connsiteY17449" fmla="*/ 6051883 h 7571036"/>
                  <a:gd name="connsiteX17450" fmla="*/ 6401799 w 6994525"/>
                  <a:gd name="connsiteY17450" fmla="*/ 712513 h 7571036"/>
                  <a:gd name="connsiteX17451" fmla="*/ 6352484 w 6994525"/>
                  <a:gd name="connsiteY17451" fmla="*/ 663203 h 7571036"/>
                  <a:gd name="connsiteX17452" fmla="*/ 6303169 w 6994525"/>
                  <a:gd name="connsiteY17452" fmla="*/ 712513 h 7571036"/>
                  <a:gd name="connsiteX17453" fmla="*/ 6352484 w 6994525"/>
                  <a:gd name="connsiteY17453" fmla="*/ 761834 h 7571036"/>
                  <a:gd name="connsiteX17454" fmla="*/ 6401799 w 6994525"/>
                  <a:gd name="connsiteY17454" fmla="*/ 712513 h 7571036"/>
                  <a:gd name="connsiteX17455" fmla="*/ 6402045 w 6994525"/>
                  <a:gd name="connsiteY17455" fmla="*/ 3386886 h 7571036"/>
                  <a:gd name="connsiteX17456" fmla="*/ 6386264 w 6994525"/>
                  <a:gd name="connsiteY17456" fmla="*/ 3371089 h 7571036"/>
                  <a:gd name="connsiteX17457" fmla="*/ 6370484 w 6994525"/>
                  <a:gd name="connsiteY17457" fmla="*/ 3386886 h 7571036"/>
                  <a:gd name="connsiteX17458" fmla="*/ 6386264 w 6994525"/>
                  <a:gd name="connsiteY17458" fmla="*/ 3402673 h 7571036"/>
                  <a:gd name="connsiteX17459" fmla="*/ 6402045 w 6994525"/>
                  <a:gd name="connsiteY17459" fmla="*/ 3386886 h 7571036"/>
                  <a:gd name="connsiteX17460" fmla="*/ 6403774 w 6994525"/>
                  <a:gd name="connsiteY17460" fmla="*/ 3734317 h 7571036"/>
                  <a:gd name="connsiteX17461" fmla="*/ 6376403 w 6994525"/>
                  <a:gd name="connsiteY17461" fmla="*/ 3706947 h 7571036"/>
                  <a:gd name="connsiteX17462" fmla="*/ 6349033 w 6994525"/>
                  <a:gd name="connsiteY17462" fmla="*/ 3734317 h 7571036"/>
                  <a:gd name="connsiteX17463" fmla="*/ 6376403 w 6994525"/>
                  <a:gd name="connsiteY17463" fmla="*/ 3761689 h 7571036"/>
                  <a:gd name="connsiteX17464" fmla="*/ 6403774 w 6994525"/>
                  <a:gd name="connsiteY17464" fmla="*/ 3734317 h 7571036"/>
                  <a:gd name="connsiteX17465" fmla="*/ 6406976 w 6994525"/>
                  <a:gd name="connsiteY17465" fmla="*/ 1809964 h 7571036"/>
                  <a:gd name="connsiteX17466" fmla="*/ 6372950 w 6994525"/>
                  <a:gd name="connsiteY17466" fmla="*/ 1775911 h 7571036"/>
                  <a:gd name="connsiteX17467" fmla="*/ 6338922 w 6994525"/>
                  <a:gd name="connsiteY17467" fmla="*/ 1809964 h 7571036"/>
                  <a:gd name="connsiteX17468" fmla="*/ 6372950 w 6994525"/>
                  <a:gd name="connsiteY17468" fmla="*/ 1843981 h 7571036"/>
                  <a:gd name="connsiteX17469" fmla="*/ 6406976 w 6994525"/>
                  <a:gd name="connsiteY17469" fmla="*/ 1809964 h 7571036"/>
                  <a:gd name="connsiteX17470" fmla="*/ 6406979 w 6994525"/>
                  <a:gd name="connsiteY17470" fmla="*/ 3502535 h 7571036"/>
                  <a:gd name="connsiteX17471" fmla="*/ 6387499 w 6994525"/>
                  <a:gd name="connsiteY17471" fmla="*/ 3483055 h 7571036"/>
                  <a:gd name="connsiteX17472" fmla="*/ 6368019 w 6994525"/>
                  <a:gd name="connsiteY17472" fmla="*/ 3502535 h 7571036"/>
                  <a:gd name="connsiteX17473" fmla="*/ 6387499 w 6994525"/>
                  <a:gd name="connsiteY17473" fmla="*/ 3522016 h 7571036"/>
                  <a:gd name="connsiteX17474" fmla="*/ 6406979 w 6994525"/>
                  <a:gd name="connsiteY17474" fmla="*/ 3502535 h 7571036"/>
                  <a:gd name="connsiteX17475" fmla="*/ 6407717 w 6994525"/>
                  <a:gd name="connsiteY17475" fmla="*/ 3618428 h 7571036"/>
                  <a:gd name="connsiteX17476" fmla="*/ 6384291 w 6994525"/>
                  <a:gd name="connsiteY17476" fmla="*/ 3595003 h 7571036"/>
                  <a:gd name="connsiteX17477" fmla="*/ 6360866 w 6994525"/>
                  <a:gd name="connsiteY17477" fmla="*/ 3618428 h 7571036"/>
                  <a:gd name="connsiteX17478" fmla="*/ 6384291 w 6994525"/>
                  <a:gd name="connsiteY17478" fmla="*/ 3641854 h 7571036"/>
                  <a:gd name="connsiteX17479" fmla="*/ 6407717 w 6994525"/>
                  <a:gd name="connsiteY17479" fmla="*/ 3618428 h 7571036"/>
                  <a:gd name="connsiteX17480" fmla="*/ 6410182 w 6994525"/>
                  <a:gd name="connsiteY17480" fmla="*/ 6192925 h 7571036"/>
                  <a:gd name="connsiteX17481" fmla="*/ 6399826 w 6994525"/>
                  <a:gd name="connsiteY17481" fmla="*/ 6182567 h 7571036"/>
                  <a:gd name="connsiteX17482" fmla="*/ 6389468 w 6994525"/>
                  <a:gd name="connsiteY17482" fmla="*/ 6192925 h 7571036"/>
                  <a:gd name="connsiteX17483" fmla="*/ 6399826 w 6994525"/>
                  <a:gd name="connsiteY17483" fmla="*/ 6203280 h 7571036"/>
                  <a:gd name="connsiteX17484" fmla="*/ 6410182 w 6994525"/>
                  <a:gd name="connsiteY17484" fmla="*/ 6192925 h 7571036"/>
                  <a:gd name="connsiteX17485" fmla="*/ 6411665 w 6994525"/>
                  <a:gd name="connsiteY17485" fmla="*/ 2645177 h 7571036"/>
                  <a:gd name="connsiteX17486" fmla="*/ 6378868 w 6994525"/>
                  <a:gd name="connsiteY17486" fmla="*/ 2612383 h 7571036"/>
                  <a:gd name="connsiteX17487" fmla="*/ 6346074 w 6994525"/>
                  <a:gd name="connsiteY17487" fmla="*/ 2645177 h 7571036"/>
                  <a:gd name="connsiteX17488" fmla="*/ 6378868 w 6994525"/>
                  <a:gd name="connsiteY17488" fmla="*/ 2677976 h 7571036"/>
                  <a:gd name="connsiteX17489" fmla="*/ 6411665 w 6994525"/>
                  <a:gd name="connsiteY17489" fmla="*/ 2645177 h 7571036"/>
                  <a:gd name="connsiteX17490" fmla="*/ 6413880 w 6994525"/>
                  <a:gd name="connsiteY17490" fmla="*/ 4358401 h 7571036"/>
                  <a:gd name="connsiteX17491" fmla="*/ 6364565 w 6994525"/>
                  <a:gd name="connsiteY17491" fmla="*/ 4309086 h 7571036"/>
                  <a:gd name="connsiteX17492" fmla="*/ 6315250 w 6994525"/>
                  <a:gd name="connsiteY17492" fmla="*/ 4358401 h 7571036"/>
                  <a:gd name="connsiteX17493" fmla="*/ 6364565 w 6994525"/>
                  <a:gd name="connsiteY17493" fmla="*/ 4407716 h 7571036"/>
                  <a:gd name="connsiteX17494" fmla="*/ 6413880 w 6994525"/>
                  <a:gd name="connsiteY17494" fmla="*/ 4358401 h 7571036"/>
                  <a:gd name="connsiteX17495" fmla="*/ 6416347 w 6994525"/>
                  <a:gd name="connsiteY17495" fmla="*/ 573651 h 7571036"/>
                  <a:gd name="connsiteX17496" fmla="*/ 6367527 w 6994525"/>
                  <a:gd name="connsiteY17496" fmla="*/ 524832 h 7571036"/>
                  <a:gd name="connsiteX17497" fmla="*/ 6318703 w 6994525"/>
                  <a:gd name="connsiteY17497" fmla="*/ 573651 h 7571036"/>
                  <a:gd name="connsiteX17498" fmla="*/ 6367527 w 6994525"/>
                  <a:gd name="connsiteY17498" fmla="*/ 622471 h 7571036"/>
                  <a:gd name="connsiteX17499" fmla="*/ 6416347 w 6994525"/>
                  <a:gd name="connsiteY17499" fmla="*/ 573651 h 7571036"/>
                  <a:gd name="connsiteX17500" fmla="*/ 6416594 w 6994525"/>
                  <a:gd name="connsiteY17500" fmla="*/ 4878678 h 7571036"/>
                  <a:gd name="connsiteX17501" fmla="*/ 6392182 w 6994525"/>
                  <a:gd name="connsiteY17501" fmla="*/ 4854266 h 7571036"/>
                  <a:gd name="connsiteX17502" fmla="*/ 6367770 w 6994525"/>
                  <a:gd name="connsiteY17502" fmla="*/ 4878678 h 7571036"/>
                  <a:gd name="connsiteX17503" fmla="*/ 6392182 w 6994525"/>
                  <a:gd name="connsiteY17503" fmla="*/ 4903087 h 7571036"/>
                  <a:gd name="connsiteX17504" fmla="*/ 6416594 w 6994525"/>
                  <a:gd name="connsiteY17504" fmla="*/ 4878678 h 7571036"/>
                  <a:gd name="connsiteX17505" fmla="*/ 6416839 w 6994525"/>
                  <a:gd name="connsiteY17505" fmla="*/ 5686705 h 7571036"/>
                  <a:gd name="connsiteX17506" fmla="*/ 6402293 w 6994525"/>
                  <a:gd name="connsiteY17506" fmla="*/ 5672156 h 7571036"/>
                  <a:gd name="connsiteX17507" fmla="*/ 6387744 w 6994525"/>
                  <a:gd name="connsiteY17507" fmla="*/ 5686705 h 7571036"/>
                  <a:gd name="connsiteX17508" fmla="*/ 6402293 w 6994525"/>
                  <a:gd name="connsiteY17508" fmla="*/ 5701254 h 7571036"/>
                  <a:gd name="connsiteX17509" fmla="*/ 6416839 w 6994525"/>
                  <a:gd name="connsiteY17509" fmla="*/ 5686705 h 7571036"/>
                  <a:gd name="connsiteX17510" fmla="*/ 6416840 w 6994525"/>
                  <a:gd name="connsiteY17510" fmla="*/ 1408747 h 7571036"/>
                  <a:gd name="connsiteX17511" fmla="*/ 6370975 w 6994525"/>
                  <a:gd name="connsiteY17511" fmla="*/ 1362872 h 7571036"/>
                  <a:gd name="connsiteX17512" fmla="*/ 6325113 w 6994525"/>
                  <a:gd name="connsiteY17512" fmla="*/ 1408747 h 7571036"/>
                  <a:gd name="connsiteX17513" fmla="*/ 6370975 w 6994525"/>
                  <a:gd name="connsiteY17513" fmla="*/ 1454606 h 7571036"/>
                  <a:gd name="connsiteX17514" fmla="*/ 6416840 w 6994525"/>
                  <a:gd name="connsiteY17514" fmla="*/ 1408747 h 7571036"/>
                  <a:gd name="connsiteX17515" fmla="*/ 6420046 w 6994525"/>
                  <a:gd name="connsiteY17515" fmla="*/ 5292181 h 7571036"/>
                  <a:gd name="connsiteX17516" fmla="*/ 6411170 w 6994525"/>
                  <a:gd name="connsiteY17516" fmla="*/ 5283305 h 7571036"/>
                  <a:gd name="connsiteX17517" fmla="*/ 6402293 w 6994525"/>
                  <a:gd name="connsiteY17517" fmla="*/ 5292181 h 7571036"/>
                  <a:gd name="connsiteX17518" fmla="*/ 6411170 w 6994525"/>
                  <a:gd name="connsiteY17518" fmla="*/ 5301058 h 7571036"/>
                  <a:gd name="connsiteX17519" fmla="*/ 6420046 w 6994525"/>
                  <a:gd name="connsiteY17519" fmla="*/ 5292181 h 7571036"/>
                  <a:gd name="connsiteX17520" fmla="*/ 6427195 w 6994525"/>
                  <a:gd name="connsiteY17520" fmla="*/ 2336241 h 7571036"/>
                  <a:gd name="connsiteX17521" fmla="*/ 6387991 w 6994525"/>
                  <a:gd name="connsiteY17521" fmla="*/ 2297036 h 7571036"/>
                  <a:gd name="connsiteX17522" fmla="*/ 6348785 w 6994525"/>
                  <a:gd name="connsiteY17522" fmla="*/ 2336241 h 7571036"/>
                  <a:gd name="connsiteX17523" fmla="*/ 6387991 w 6994525"/>
                  <a:gd name="connsiteY17523" fmla="*/ 2375439 h 7571036"/>
                  <a:gd name="connsiteX17524" fmla="*/ 6427195 w 6994525"/>
                  <a:gd name="connsiteY17524" fmla="*/ 2336241 h 7571036"/>
                  <a:gd name="connsiteX17525" fmla="*/ 6431388 w 6994525"/>
                  <a:gd name="connsiteY17525" fmla="*/ 6332485 h 7571036"/>
                  <a:gd name="connsiteX17526" fmla="*/ 6416594 w 6994525"/>
                  <a:gd name="connsiteY17526" fmla="*/ 6317690 h 7571036"/>
                  <a:gd name="connsiteX17527" fmla="*/ 6401799 w 6994525"/>
                  <a:gd name="connsiteY17527" fmla="*/ 6332485 h 7571036"/>
                  <a:gd name="connsiteX17528" fmla="*/ 6416594 w 6994525"/>
                  <a:gd name="connsiteY17528" fmla="*/ 6347279 h 7571036"/>
                  <a:gd name="connsiteX17529" fmla="*/ 6431388 w 6994525"/>
                  <a:gd name="connsiteY17529" fmla="*/ 6332485 h 7571036"/>
                  <a:gd name="connsiteX17530" fmla="*/ 6433609 w 6994525"/>
                  <a:gd name="connsiteY17530" fmla="*/ 4610895 h 7571036"/>
                  <a:gd name="connsiteX17531" fmla="*/ 6391198 w 6994525"/>
                  <a:gd name="connsiteY17531" fmla="*/ 4568483 h 7571036"/>
                  <a:gd name="connsiteX17532" fmla="*/ 6349033 w 6994525"/>
                  <a:gd name="connsiteY17532" fmla="*/ 4610895 h 7571036"/>
                  <a:gd name="connsiteX17533" fmla="*/ 6391198 w 6994525"/>
                  <a:gd name="connsiteY17533" fmla="*/ 4653305 h 7571036"/>
                  <a:gd name="connsiteX17534" fmla="*/ 6433609 w 6994525"/>
                  <a:gd name="connsiteY17534" fmla="*/ 4610895 h 7571036"/>
                  <a:gd name="connsiteX17535" fmla="*/ 6435579 w 6994525"/>
                  <a:gd name="connsiteY17535" fmla="*/ 2068442 h 7571036"/>
                  <a:gd name="connsiteX17536" fmla="*/ 6388237 w 6994525"/>
                  <a:gd name="connsiteY17536" fmla="*/ 2021325 h 7571036"/>
                  <a:gd name="connsiteX17537" fmla="*/ 6340894 w 6994525"/>
                  <a:gd name="connsiteY17537" fmla="*/ 2068442 h 7571036"/>
                  <a:gd name="connsiteX17538" fmla="*/ 6388237 w 6994525"/>
                  <a:gd name="connsiteY17538" fmla="*/ 2115806 h 7571036"/>
                  <a:gd name="connsiteX17539" fmla="*/ 6435579 w 6994525"/>
                  <a:gd name="connsiteY17539" fmla="*/ 2068442 h 7571036"/>
                  <a:gd name="connsiteX17540" fmla="*/ 6438541 w 6994525"/>
                  <a:gd name="connsiteY17540" fmla="*/ 4246950 h 7571036"/>
                  <a:gd name="connsiteX17541" fmla="*/ 6396375 w 6994525"/>
                  <a:gd name="connsiteY17541" fmla="*/ 4204784 h 7571036"/>
                  <a:gd name="connsiteX17542" fmla="*/ 6354210 w 6994525"/>
                  <a:gd name="connsiteY17542" fmla="*/ 4246950 h 7571036"/>
                  <a:gd name="connsiteX17543" fmla="*/ 6396375 w 6994525"/>
                  <a:gd name="connsiteY17543" fmla="*/ 4289115 h 7571036"/>
                  <a:gd name="connsiteX17544" fmla="*/ 6438541 w 6994525"/>
                  <a:gd name="connsiteY17544" fmla="*/ 4246950 h 7571036"/>
                  <a:gd name="connsiteX17545" fmla="*/ 6439033 w 6994525"/>
                  <a:gd name="connsiteY17545" fmla="*/ 2757133 h 7571036"/>
                  <a:gd name="connsiteX17546" fmla="*/ 6408952 w 6994525"/>
                  <a:gd name="connsiteY17546" fmla="*/ 2727047 h 7571036"/>
                  <a:gd name="connsiteX17547" fmla="*/ 6378868 w 6994525"/>
                  <a:gd name="connsiteY17547" fmla="*/ 2757133 h 7571036"/>
                  <a:gd name="connsiteX17548" fmla="*/ 6408952 w 6994525"/>
                  <a:gd name="connsiteY17548" fmla="*/ 2787216 h 7571036"/>
                  <a:gd name="connsiteX17549" fmla="*/ 6439033 w 6994525"/>
                  <a:gd name="connsiteY17549" fmla="*/ 2757133 h 7571036"/>
                  <a:gd name="connsiteX17550" fmla="*/ 6442732 w 6994525"/>
                  <a:gd name="connsiteY17550" fmla="*/ 1261059 h 7571036"/>
                  <a:gd name="connsiteX17551" fmla="*/ 6396375 w 6994525"/>
                  <a:gd name="connsiteY17551" fmla="*/ 1214722 h 7571036"/>
                  <a:gd name="connsiteX17552" fmla="*/ 6350019 w 6994525"/>
                  <a:gd name="connsiteY17552" fmla="*/ 1261059 h 7571036"/>
                  <a:gd name="connsiteX17553" fmla="*/ 6396375 w 6994525"/>
                  <a:gd name="connsiteY17553" fmla="*/ 1307424 h 7571036"/>
                  <a:gd name="connsiteX17554" fmla="*/ 6442732 w 6994525"/>
                  <a:gd name="connsiteY17554" fmla="*/ 1261059 h 7571036"/>
                  <a:gd name="connsiteX17555" fmla="*/ 6443718 w 6994525"/>
                  <a:gd name="connsiteY17555" fmla="*/ 5832184 h 7571036"/>
                  <a:gd name="connsiteX17556" fmla="*/ 6425965 w 6994525"/>
                  <a:gd name="connsiteY17556" fmla="*/ 5814430 h 7571036"/>
                  <a:gd name="connsiteX17557" fmla="*/ 6408211 w 6994525"/>
                  <a:gd name="connsiteY17557" fmla="*/ 5832184 h 7571036"/>
                  <a:gd name="connsiteX17558" fmla="*/ 6425965 w 6994525"/>
                  <a:gd name="connsiteY17558" fmla="*/ 5849937 h 7571036"/>
                  <a:gd name="connsiteX17559" fmla="*/ 6443718 w 6994525"/>
                  <a:gd name="connsiteY17559" fmla="*/ 5832184 h 7571036"/>
                  <a:gd name="connsiteX17560" fmla="*/ 6445937 w 6994525"/>
                  <a:gd name="connsiteY17560" fmla="*/ 5037469 h 7571036"/>
                  <a:gd name="connsiteX17561" fmla="*/ 6433115 w 6994525"/>
                  <a:gd name="connsiteY17561" fmla="*/ 5024647 h 7571036"/>
                  <a:gd name="connsiteX17562" fmla="*/ 6420047 w 6994525"/>
                  <a:gd name="connsiteY17562" fmla="*/ 5037469 h 7571036"/>
                  <a:gd name="connsiteX17563" fmla="*/ 6433115 w 6994525"/>
                  <a:gd name="connsiteY17563" fmla="*/ 5050291 h 7571036"/>
                  <a:gd name="connsiteX17564" fmla="*/ 6445937 w 6994525"/>
                  <a:gd name="connsiteY17564" fmla="*/ 5037469 h 7571036"/>
                  <a:gd name="connsiteX17565" fmla="*/ 6448404 w 6994525"/>
                  <a:gd name="connsiteY17565" fmla="*/ 2869823 h 7571036"/>
                  <a:gd name="connsiteX17566" fmla="*/ 6434347 w 6994525"/>
                  <a:gd name="connsiteY17566" fmla="*/ 2855768 h 7571036"/>
                  <a:gd name="connsiteX17567" fmla="*/ 6420293 w 6994525"/>
                  <a:gd name="connsiteY17567" fmla="*/ 2869823 h 7571036"/>
                  <a:gd name="connsiteX17568" fmla="*/ 6434347 w 6994525"/>
                  <a:gd name="connsiteY17568" fmla="*/ 2883878 h 7571036"/>
                  <a:gd name="connsiteX17569" fmla="*/ 6448404 w 6994525"/>
                  <a:gd name="connsiteY17569" fmla="*/ 2869823 h 7571036"/>
                  <a:gd name="connsiteX17570" fmla="*/ 6449637 w 6994525"/>
                  <a:gd name="connsiteY17570" fmla="*/ 1655540 h 7571036"/>
                  <a:gd name="connsiteX17571" fmla="*/ 6406485 w 6994525"/>
                  <a:gd name="connsiteY17571" fmla="*/ 1612401 h 7571036"/>
                  <a:gd name="connsiteX17572" fmla="*/ 6363333 w 6994525"/>
                  <a:gd name="connsiteY17572" fmla="*/ 1655540 h 7571036"/>
                  <a:gd name="connsiteX17573" fmla="*/ 6406485 w 6994525"/>
                  <a:gd name="connsiteY17573" fmla="*/ 1698699 h 7571036"/>
                  <a:gd name="connsiteX17574" fmla="*/ 6449637 w 6994525"/>
                  <a:gd name="connsiteY17574" fmla="*/ 1655540 h 7571036"/>
                  <a:gd name="connsiteX17575" fmla="*/ 6456046 w 6994525"/>
                  <a:gd name="connsiteY17575" fmla="*/ 5443580 h 7571036"/>
                  <a:gd name="connsiteX17576" fmla="*/ 6442484 w 6994525"/>
                  <a:gd name="connsiteY17576" fmla="*/ 5429772 h 7571036"/>
                  <a:gd name="connsiteX17577" fmla="*/ 6428675 w 6994525"/>
                  <a:gd name="connsiteY17577" fmla="*/ 5443580 h 7571036"/>
                  <a:gd name="connsiteX17578" fmla="*/ 6442484 w 6994525"/>
                  <a:gd name="connsiteY17578" fmla="*/ 5457389 h 7571036"/>
                  <a:gd name="connsiteX17579" fmla="*/ 6456046 w 6994525"/>
                  <a:gd name="connsiteY17579" fmla="*/ 5443580 h 7571036"/>
                  <a:gd name="connsiteX17580" fmla="*/ 6457278 w 6994525"/>
                  <a:gd name="connsiteY17580" fmla="*/ 4134511 h 7571036"/>
                  <a:gd name="connsiteX17581" fmla="*/ 6423744 w 6994525"/>
                  <a:gd name="connsiteY17581" fmla="*/ 4100976 h 7571036"/>
                  <a:gd name="connsiteX17582" fmla="*/ 6390209 w 6994525"/>
                  <a:gd name="connsiteY17582" fmla="*/ 4134511 h 7571036"/>
                  <a:gd name="connsiteX17583" fmla="*/ 6423744 w 6994525"/>
                  <a:gd name="connsiteY17583" fmla="*/ 4168045 h 7571036"/>
                  <a:gd name="connsiteX17584" fmla="*/ 6457278 w 6994525"/>
                  <a:gd name="connsiteY17584" fmla="*/ 4134511 h 7571036"/>
                  <a:gd name="connsiteX17585" fmla="*/ 6458756 w 6994525"/>
                  <a:gd name="connsiteY17585" fmla="*/ 2983749 h 7571036"/>
                  <a:gd name="connsiteX17586" fmla="*/ 6455551 w 6994525"/>
                  <a:gd name="connsiteY17586" fmla="*/ 2980545 h 7571036"/>
                  <a:gd name="connsiteX17587" fmla="*/ 6452346 w 6994525"/>
                  <a:gd name="connsiteY17587" fmla="*/ 2983749 h 7571036"/>
                  <a:gd name="connsiteX17588" fmla="*/ 6455551 w 6994525"/>
                  <a:gd name="connsiteY17588" fmla="*/ 2986955 h 7571036"/>
                  <a:gd name="connsiteX17589" fmla="*/ 6458756 w 6994525"/>
                  <a:gd name="connsiteY17589" fmla="*/ 2983749 h 7571036"/>
                  <a:gd name="connsiteX17590" fmla="*/ 6462456 w 6994525"/>
                  <a:gd name="connsiteY17590" fmla="*/ 1911229 h 7571036"/>
                  <a:gd name="connsiteX17591" fmla="*/ 6429413 w 6994525"/>
                  <a:gd name="connsiteY17591" fmla="*/ 1878220 h 7571036"/>
                  <a:gd name="connsiteX17592" fmla="*/ 6396373 w 6994525"/>
                  <a:gd name="connsiteY17592" fmla="*/ 1911229 h 7571036"/>
                  <a:gd name="connsiteX17593" fmla="*/ 6429413 w 6994525"/>
                  <a:gd name="connsiteY17593" fmla="*/ 1944235 h 7571036"/>
                  <a:gd name="connsiteX17594" fmla="*/ 6462456 w 6994525"/>
                  <a:gd name="connsiteY17594" fmla="*/ 1911229 h 7571036"/>
                  <a:gd name="connsiteX17595" fmla="*/ 6462950 w 6994525"/>
                  <a:gd name="connsiteY17595" fmla="*/ 939334 h 7571036"/>
                  <a:gd name="connsiteX17596" fmla="*/ 6413389 w 6994525"/>
                  <a:gd name="connsiteY17596" fmla="*/ 889781 h 7571036"/>
                  <a:gd name="connsiteX17597" fmla="*/ 6363828 w 6994525"/>
                  <a:gd name="connsiteY17597" fmla="*/ 939334 h 7571036"/>
                  <a:gd name="connsiteX17598" fmla="*/ 6413389 w 6994525"/>
                  <a:gd name="connsiteY17598" fmla="*/ 988895 h 7571036"/>
                  <a:gd name="connsiteX17599" fmla="*/ 6462950 w 6994525"/>
                  <a:gd name="connsiteY17599" fmla="*/ 939334 h 7571036"/>
                  <a:gd name="connsiteX17600" fmla="*/ 6463690 w 6994525"/>
                  <a:gd name="connsiteY17600" fmla="*/ 2445223 h 7571036"/>
                  <a:gd name="connsiteX17601" fmla="*/ 6428675 w 6994525"/>
                  <a:gd name="connsiteY17601" fmla="*/ 2410203 h 7571036"/>
                  <a:gd name="connsiteX17602" fmla="*/ 6393662 w 6994525"/>
                  <a:gd name="connsiteY17602" fmla="*/ 2445223 h 7571036"/>
                  <a:gd name="connsiteX17603" fmla="*/ 6428675 w 6994525"/>
                  <a:gd name="connsiteY17603" fmla="*/ 2480226 h 7571036"/>
                  <a:gd name="connsiteX17604" fmla="*/ 6463690 w 6994525"/>
                  <a:gd name="connsiteY17604" fmla="*/ 2445223 h 7571036"/>
                  <a:gd name="connsiteX17605" fmla="*/ 6466895 w 6994525"/>
                  <a:gd name="connsiteY17605" fmla="*/ 1115120 h 7571036"/>
                  <a:gd name="connsiteX17606" fmla="*/ 6419553 w 6994525"/>
                  <a:gd name="connsiteY17606" fmla="*/ 1068026 h 7571036"/>
                  <a:gd name="connsiteX17607" fmla="*/ 6372456 w 6994525"/>
                  <a:gd name="connsiteY17607" fmla="*/ 1115120 h 7571036"/>
                  <a:gd name="connsiteX17608" fmla="*/ 6419553 w 6994525"/>
                  <a:gd name="connsiteY17608" fmla="*/ 1162469 h 7571036"/>
                  <a:gd name="connsiteX17609" fmla="*/ 6466895 w 6994525"/>
                  <a:gd name="connsiteY17609" fmla="*/ 1115120 h 7571036"/>
                  <a:gd name="connsiteX17610" fmla="*/ 6471090 w 6994525"/>
                  <a:gd name="connsiteY17610" fmla="*/ 4020837 h 7571036"/>
                  <a:gd name="connsiteX17611" fmla="*/ 6446923 w 6994525"/>
                  <a:gd name="connsiteY17611" fmla="*/ 3996674 h 7571036"/>
                  <a:gd name="connsiteX17612" fmla="*/ 6423005 w 6994525"/>
                  <a:gd name="connsiteY17612" fmla="*/ 4020837 h 7571036"/>
                  <a:gd name="connsiteX17613" fmla="*/ 6446923 w 6994525"/>
                  <a:gd name="connsiteY17613" fmla="*/ 4045003 h 7571036"/>
                  <a:gd name="connsiteX17614" fmla="*/ 6471090 w 6994525"/>
                  <a:gd name="connsiteY17614" fmla="*/ 4020837 h 7571036"/>
                  <a:gd name="connsiteX17615" fmla="*/ 6473059 w 6994525"/>
                  <a:gd name="connsiteY17615" fmla="*/ 3098415 h 7571036"/>
                  <a:gd name="connsiteX17616" fmla="*/ 6472321 w 6994525"/>
                  <a:gd name="connsiteY17616" fmla="*/ 3097675 h 7571036"/>
                  <a:gd name="connsiteX17617" fmla="*/ 6471581 w 6994525"/>
                  <a:gd name="connsiteY17617" fmla="*/ 3098415 h 7571036"/>
                  <a:gd name="connsiteX17618" fmla="*/ 6472321 w 6994525"/>
                  <a:gd name="connsiteY17618" fmla="*/ 3099153 h 7571036"/>
                  <a:gd name="connsiteX17619" fmla="*/ 6473059 w 6994525"/>
                  <a:gd name="connsiteY17619" fmla="*/ 3098415 h 7571036"/>
                  <a:gd name="connsiteX17620" fmla="*/ 6475525 w 6994525"/>
                  <a:gd name="connsiteY17620" fmla="*/ 4773141 h 7571036"/>
                  <a:gd name="connsiteX17621" fmla="*/ 6441005 w 6994525"/>
                  <a:gd name="connsiteY17621" fmla="*/ 4738620 h 7571036"/>
                  <a:gd name="connsiteX17622" fmla="*/ 6406484 w 6994525"/>
                  <a:gd name="connsiteY17622" fmla="*/ 4773141 h 7571036"/>
                  <a:gd name="connsiteX17623" fmla="*/ 6441005 w 6994525"/>
                  <a:gd name="connsiteY17623" fmla="*/ 4807661 h 7571036"/>
                  <a:gd name="connsiteX17624" fmla="*/ 6475525 w 6994525"/>
                  <a:gd name="connsiteY17624" fmla="*/ 4773141 h 7571036"/>
                  <a:gd name="connsiteX17625" fmla="*/ 6478485 w 6994525"/>
                  <a:gd name="connsiteY17625" fmla="*/ 5963857 h 7571036"/>
                  <a:gd name="connsiteX17626" fmla="*/ 6458018 w 6994525"/>
                  <a:gd name="connsiteY17626" fmla="*/ 5943389 h 7571036"/>
                  <a:gd name="connsiteX17627" fmla="*/ 6437552 w 6994525"/>
                  <a:gd name="connsiteY17627" fmla="*/ 5963857 h 7571036"/>
                  <a:gd name="connsiteX17628" fmla="*/ 6458018 w 6994525"/>
                  <a:gd name="connsiteY17628" fmla="*/ 5984323 h 7571036"/>
                  <a:gd name="connsiteX17629" fmla="*/ 6478485 w 6994525"/>
                  <a:gd name="connsiteY17629" fmla="*/ 5963857 h 7571036"/>
                  <a:gd name="connsiteX17630" fmla="*/ 6480706 w 6994525"/>
                  <a:gd name="connsiteY17630" fmla="*/ 3906427 h 7571036"/>
                  <a:gd name="connsiteX17631" fmla="*/ 6465663 w 6994525"/>
                  <a:gd name="connsiteY17631" fmla="*/ 3891385 h 7571036"/>
                  <a:gd name="connsiteX17632" fmla="*/ 6450622 w 6994525"/>
                  <a:gd name="connsiteY17632" fmla="*/ 3906427 h 7571036"/>
                  <a:gd name="connsiteX17633" fmla="*/ 6465663 w 6994525"/>
                  <a:gd name="connsiteY17633" fmla="*/ 3921469 h 7571036"/>
                  <a:gd name="connsiteX17634" fmla="*/ 6480706 w 6994525"/>
                  <a:gd name="connsiteY17634" fmla="*/ 3906427 h 7571036"/>
                  <a:gd name="connsiteX17635" fmla="*/ 6481690 w 6994525"/>
                  <a:gd name="connsiteY17635" fmla="*/ 797348 h 7571036"/>
                  <a:gd name="connsiteX17636" fmla="*/ 6432126 w 6994525"/>
                  <a:gd name="connsiteY17636" fmla="*/ 747531 h 7571036"/>
                  <a:gd name="connsiteX17637" fmla="*/ 6382319 w 6994525"/>
                  <a:gd name="connsiteY17637" fmla="*/ 797348 h 7571036"/>
                  <a:gd name="connsiteX17638" fmla="*/ 6432126 w 6994525"/>
                  <a:gd name="connsiteY17638" fmla="*/ 847154 h 7571036"/>
                  <a:gd name="connsiteX17639" fmla="*/ 6481690 w 6994525"/>
                  <a:gd name="connsiteY17639" fmla="*/ 797348 h 7571036"/>
                  <a:gd name="connsiteX17640" fmla="*/ 6482675 w 6994525"/>
                  <a:gd name="connsiteY17640" fmla="*/ 1504174 h 7571036"/>
                  <a:gd name="connsiteX17641" fmla="*/ 6437305 w 6994525"/>
                  <a:gd name="connsiteY17641" fmla="*/ 1458801 h 7571036"/>
                  <a:gd name="connsiteX17642" fmla="*/ 6391935 w 6994525"/>
                  <a:gd name="connsiteY17642" fmla="*/ 1504174 h 7571036"/>
                  <a:gd name="connsiteX17643" fmla="*/ 6437305 w 6994525"/>
                  <a:gd name="connsiteY17643" fmla="*/ 1549537 h 7571036"/>
                  <a:gd name="connsiteX17644" fmla="*/ 6482675 w 6994525"/>
                  <a:gd name="connsiteY17644" fmla="*/ 1504174 h 7571036"/>
                  <a:gd name="connsiteX17645" fmla="*/ 6482675 w 6994525"/>
                  <a:gd name="connsiteY17645" fmla="*/ 5192568 h 7571036"/>
                  <a:gd name="connsiteX17646" fmla="*/ 6471086 w 6994525"/>
                  <a:gd name="connsiteY17646" fmla="*/ 5181224 h 7571036"/>
                  <a:gd name="connsiteX17647" fmla="*/ 6459745 w 6994525"/>
                  <a:gd name="connsiteY17647" fmla="*/ 5192568 h 7571036"/>
                  <a:gd name="connsiteX17648" fmla="*/ 6471086 w 6994525"/>
                  <a:gd name="connsiteY17648" fmla="*/ 5203909 h 7571036"/>
                  <a:gd name="connsiteX17649" fmla="*/ 6482675 w 6994525"/>
                  <a:gd name="connsiteY17649" fmla="*/ 5192568 h 7571036"/>
                  <a:gd name="connsiteX17650" fmla="*/ 6482921 w 6994525"/>
                  <a:gd name="connsiteY17650" fmla="*/ 4501662 h 7571036"/>
                  <a:gd name="connsiteX17651" fmla="*/ 6431634 w 6994525"/>
                  <a:gd name="connsiteY17651" fmla="*/ 4450374 h 7571036"/>
                  <a:gd name="connsiteX17652" fmla="*/ 6380346 w 6994525"/>
                  <a:gd name="connsiteY17652" fmla="*/ 4501662 h 7571036"/>
                  <a:gd name="connsiteX17653" fmla="*/ 6431634 w 6994525"/>
                  <a:gd name="connsiteY17653" fmla="*/ 4552949 h 7571036"/>
                  <a:gd name="connsiteX17654" fmla="*/ 6482921 w 6994525"/>
                  <a:gd name="connsiteY17654" fmla="*/ 4501662 h 7571036"/>
                  <a:gd name="connsiteX17655" fmla="*/ 6483662 w 6994525"/>
                  <a:gd name="connsiteY17655" fmla="*/ 2174257 h 7571036"/>
                  <a:gd name="connsiteX17656" fmla="*/ 6437555 w 6994525"/>
                  <a:gd name="connsiteY17656" fmla="*/ 2128137 h 7571036"/>
                  <a:gd name="connsiteX17657" fmla="*/ 6391444 w 6994525"/>
                  <a:gd name="connsiteY17657" fmla="*/ 2174257 h 7571036"/>
                  <a:gd name="connsiteX17658" fmla="*/ 6437555 w 6994525"/>
                  <a:gd name="connsiteY17658" fmla="*/ 2220381 h 7571036"/>
                  <a:gd name="connsiteX17659" fmla="*/ 6483662 w 6994525"/>
                  <a:gd name="connsiteY17659" fmla="*/ 2174257 h 7571036"/>
                  <a:gd name="connsiteX17660" fmla="*/ 6485141 w 6994525"/>
                  <a:gd name="connsiteY17660" fmla="*/ 3213575 h 7571036"/>
                  <a:gd name="connsiteX17661" fmla="*/ 6484649 w 6994525"/>
                  <a:gd name="connsiteY17661" fmla="*/ 3213080 h 7571036"/>
                  <a:gd name="connsiteX17662" fmla="*/ 6484154 w 6994525"/>
                  <a:gd name="connsiteY17662" fmla="*/ 3213575 h 7571036"/>
                  <a:gd name="connsiteX17663" fmla="*/ 6484649 w 6994525"/>
                  <a:gd name="connsiteY17663" fmla="*/ 3214066 h 7571036"/>
                  <a:gd name="connsiteX17664" fmla="*/ 6485141 w 6994525"/>
                  <a:gd name="connsiteY17664" fmla="*/ 3213575 h 7571036"/>
                  <a:gd name="connsiteX17665" fmla="*/ 6486375 w 6994525"/>
                  <a:gd name="connsiteY17665" fmla="*/ 5593253 h 7571036"/>
                  <a:gd name="connsiteX17666" fmla="*/ 6471087 w 6994525"/>
                  <a:gd name="connsiteY17666" fmla="*/ 5577963 h 7571036"/>
                  <a:gd name="connsiteX17667" fmla="*/ 6455800 w 6994525"/>
                  <a:gd name="connsiteY17667" fmla="*/ 5593253 h 7571036"/>
                  <a:gd name="connsiteX17668" fmla="*/ 6471087 w 6994525"/>
                  <a:gd name="connsiteY17668" fmla="*/ 5608538 h 7571036"/>
                  <a:gd name="connsiteX17669" fmla="*/ 6486375 w 6994525"/>
                  <a:gd name="connsiteY17669" fmla="*/ 5593253 h 7571036"/>
                  <a:gd name="connsiteX17670" fmla="*/ 6487361 w 6994525"/>
                  <a:gd name="connsiteY17670" fmla="*/ 3791768 h 7571036"/>
                  <a:gd name="connsiteX17671" fmla="*/ 6479962 w 6994525"/>
                  <a:gd name="connsiteY17671" fmla="*/ 3784373 h 7571036"/>
                  <a:gd name="connsiteX17672" fmla="*/ 6472812 w 6994525"/>
                  <a:gd name="connsiteY17672" fmla="*/ 3791768 h 7571036"/>
                  <a:gd name="connsiteX17673" fmla="*/ 6479962 w 6994525"/>
                  <a:gd name="connsiteY17673" fmla="*/ 3798921 h 7571036"/>
                  <a:gd name="connsiteX17674" fmla="*/ 6487361 w 6994525"/>
                  <a:gd name="connsiteY17674" fmla="*/ 3791768 h 7571036"/>
                  <a:gd name="connsiteX17675" fmla="*/ 6489085 w 6994525"/>
                  <a:gd name="connsiteY17675" fmla="*/ 6107114 h 7571036"/>
                  <a:gd name="connsiteX17676" fmla="*/ 6477990 w 6994525"/>
                  <a:gd name="connsiteY17676" fmla="*/ 6096018 h 7571036"/>
                  <a:gd name="connsiteX17677" fmla="*/ 6466894 w 6994525"/>
                  <a:gd name="connsiteY17677" fmla="*/ 6107114 h 7571036"/>
                  <a:gd name="connsiteX17678" fmla="*/ 6477990 w 6994525"/>
                  <a:gd name="connsiteY17678" fmla="*/ 6118212 h 7571036"/>
                  <a:gd name="connsiteX17679" fmla="*/ 6489085 w 6994525"/>
                  <a:gd name="connsiteY17679" fmla="*/ 6107114 h 7571036"/>
                  <a:gd name="connsiteX17680" fmla="*/ 6491304 w 6994525"/>
                  <a:gd name="connsiteY17680" fmla="*/ 3676371 h 7571036"/>
                  <a:gd name="connsiteX17681" fmla="*/ 6489580 w 6994525"/>
                  <a:gd name="connsiteY17681" fmla="*/ 3674399 h 7571036"/>
                  <a:gd name="connsiteX17682" fmla="*/ 6487853 w 6994525"/>
                  <a:gd name="connsiteY17682" fmla="*/ 3676371 h 7571036"/>
                  <a:gd name="connsiteX17683" fmla="*/ 6489580 w 6994525"/>
                  <a:gd name="connsiteY17683" fmla="*/ 3678099 h 7571036"/>
                  <a:gd name="connsiteX17684" fmla="*/ 6491304 w 6994525"/>
                  <a:gd name="connsiteY17684" fmla="*/ 3676371 h 7571036"/>
                  <a:gd name="connsiteX17685" fmla="*/ 6492788 w 6994525"/>
                  <a:gd name="connsiteY17685" fmla="*/ 3329205 h 7571036"/>
                  <a:gd name="connsiteX17686" fmla="*/ 6492542 w 6994525"/>
                  <a:gd name="connsiteY17686" fmla="*/ 3328955 h 7571036"/>
                  <a:gd name="connsiteX17687" fmla="*/ 6492542 w 6994525"/>
                  <a:gd name="connsiteY17687" fmla="*/ 3329457 h 7571036"/>
                  <a:gd name="connsiteX17688" fmla="*/ 6492788 w 6994525"/>
                  <a:gd name="connsiteY17688" fmla="*/ 3329205 h 7571036"/>
                  <a:gd name="connsiteX17689" fmla="*/ 6494512 w 6994525"/>
                  <a:gd name="connsiteY17689" fmla="*/ 2555681 h 7571036"/>
                  <a:gd name="connsiteX17690" fmla="*/ 6465168 w 6994525"/>
                  <a:gd name="connsiteY17690" fmla="*/ 2526096 h 7571036"/>
                  <a:gd name="connsiteX17691" fmla="*/ 6435579 w 6994525"/>
                  <a:gd name="connsiteY17691" fmla="*/ 2555681 h 7571036"/>
                  <a:gd name="connsiteX17692" fmla="*/ 6465168 w 6994525"/>
                  <a:gd name="connsiteY17692" fmla="*/ 2585273 h 7571036"/>
                  <a:gd name="connsiteX17693" fmla="*/ 6494512 w 6994525"/>
                  <a:gd name="connsiteY17693" fmla="*/ 2555681 h 7571036"/>
                  <a:gd name="connsiteX17694" fmla="*/ 6495993 w 6994525"/>
                  <a:gd name="connsiteY17694" fmla="*/ 3560482 h 7571036"/>
                  <a:gd name="connsiteX17695" fmla="*/ 6495006 w 6994525"/>
                  <a:gd name="connsiteY17695" fmla="*/ 3559495 h 7571036"/>
                  <a:gd name="connsiteX17696" fmla="*/ 6494020 w 6994525"/>
                  <a:gd name="connsiteY17696" fmla="*/ 3560482 h 7571036"/>
                  <a:gd name="connsiteX17697" fmla="*/ 6495006 w 6994525"/>
                  <a:gd name="connsiteY17697" fmla="*/ 3561467 h 7571036"/>
                  <a:gd name="connsiteX17698" fmla="*/ 6495993 w 6994525"/>
                  <a:gd name="connsiteY17698" fmla="*/ 3560482 h 7571036"/>
                  <a:gd name="connsiteX17699" fmla="*/ 6498211 w 6994525"/>
                  <a:gd name="connsiteY17699" fmla="*/ 656578 h 7571036"/>
                  <a:gd name="connsiteX17700" fmla="*/ 6448896 w 6994525"/>
                  <a:gd name="connsiteY17700" fmla="*/ 607185 h 7571036"/>
                  <a:gd name="connsiteX17701" fmla="*/ 6399581 w 6994525"/>
                  <a:gd name="connsiteY17701" fmla="*/ 656578 h 7571036"/>
                  <a:gd name="connsiteX17702" fmla="*/ 6448896 w 6994525"/>
                  <a:gd name="connsiteY17702" fmla="*/ 705886 h 7571036"/>
                  <a:gd name="connsiteX17703" fmla="*/ 6498211 w 6994525"/>
                  <a:gd name="connsiteY17703" fmla="*/ 656578 h 7571036"/>
                  <a:gd name="connsiteX17704" fmla="*/ 6505853 w 6994525"/>
                  <a:gd name="connsiteY17704" fmla="*/ 4933907 h 7571036"/>
                  <a:gd name="connsiteX17705" fmla="*/ 6485881 w 6994525"/>
                  <a:gd name="connsiteY17705" fmla="*/ 4913935 h 7571036"/>
                  <a:gd name="connsiteX17706" fmla="*/ 6465909 w 6994525"/>
                  <a:gd name="connsiteY17706" fmla="*/ 4933907 h 7571036"/>
                  <a:gd name="connsiteX17707" fmla="*/ 6485881 w 6994525"/>
                  <a:gd name="connsiteY17707" fmla="*/ 4953879 h 7571036"/>
                  <a:gd name="connsiteX17708" fmla="*/ 6505853 w 6994525"/>
                  <a:gd name="connsiteY17708" fmla="*/ 4933907 h 7571036"/>
                  <a:gd name="connsiteX17709" fmla="*/ 6508320 w 6994525"/>
                  <a:gd name="connsiteY17709" fmla="*/ 1754947 h 7571036"/>
                  <a:gd name="connsiteX17710" fmla="*/ 6466401 w 6994525"/>
                  <a:gd name="connsiteY17710" fmla="*/ 1712944 h 7571036"/>
                  <a:gd name="connsiteX17711" fmla="*/ 6424484 w 6994525"/>
                  <a:gd name="connsiteY17711" fmla="*/ 1754947 h 7571036"/>
                  <a:gd name="connsiteX17712" fmla="*/ 6466401 w 6994525"/>
                  <a:gd name="connsiteY17712" fmla="*/ 1796941 h 7571036"/>
                  <a:gd name="connsiteX17713" fmla="*/ 6508320 w 6994525"/>
                  <a:gd name="connsiteY17713" fmla="*/ 1754947 h 7571036"/>
                  <a:gd name="connsiteX17714" fmla="*/ 6511524 w 6994525"/>
                  <a:gd name="connsiteY17714" fmla="*/ 1354275 h 7571036"/>
                  <a:gd name="connsiteX17715" fmla="*/ 6465417 w 6994525"/>
                  <a:gd name="connsiteY17715" fmla="*/ 1308165 h 7571036"/>
                  <a:gd name="connsiteX17716" fmla="*/ 6419306 w 6994525"/>
                  <a:gd name="connsiteY17716" fmla="*/ 1354275 h 7571036"/>
                  <a:gd name="connsiteX17717" fmla="*/ 6465417 w 6994525"/>
                  <a:gd name="connsiteY17717" fmla="*/ 1400390 h 7571036"/>
                  <a:gd name="connsiteX17718" fmla="*/ 6511524 w 6994525"/>
                  <a:gd name="connsiteY17718" fmla="*/ 1354275 h 7571036"/>
                  <a:gd name="connsiteX17719" fmla="*/ 6512016 w 6994525"/>
                  <a:gd name="connsiteY17719" fmla="*/ 6248157 h 7571036"/>
                  <a:gd name="connsiteX17720" fmla="*/ 6496484 w 6994525"/>
                  <a:gd name="connsiteY17720" fmla="*/ 6232622 h 7571036"/>
                  <a:gd name="connsiteX17721" fmla="*/ 6480949 w 6994525"/>
                  <a:gd name="connsiteY17721" fmla="*/ 6248157 h 7571036"/>
                  <a:gd name="connsiteX17722" fmla="*/ 6496484 w 6994525"/>
                  <a:gd name="connsiteY17722" fmla="*/ 6263693 h 7571036"/>
                  <a:gd name="connsiteX17723" fmla="*/ 6512016 w 6994525"/>
                  <a:gd name="connsiteY17723" fmla="*/ 6248157 h 7571036"/>
                  <a:gd name="connsiteX17724" fmla="*/ 6513993 w 6994525"/>
                  <a:gd name="connsiteY17724" fmla="*/ 2281016 h 7571036"/>
                  <a:gd name="connsiteX17725" fmla="*/ 6482676 w 6994525"/>
                  <a:gd name="connsiteY17725" fmla="*/ 2249732 h 7571036"/>
                  <a:gd name="connsiteX17726" fmla="*/ 6451360 w 6994525"/>
                  <a:gd name="connsiteY17726" fmla="*/ 2281016 h 7571036"/>
                  <a:gd name="connsiteX17727" fmla="*/ 6482676 w 6994525"/>
                  <a:gd name="connsiteY17727" fmla="*/ 2312333 h 7571036"/>
                  <a:gd name="connsiteX17728" fmla="*/ 6513993 w 6994525"/>
                  <a:gd name="connsiteY17728" fmla="*/ 2281016 h 7571036"/>
                  <a:gd name="connsiteX17729" fmla="*/ 6515719 w 6994525"/>
                  <a:gd name="connsiteY17729" fmla="*/ 5740703 h 7571036"/>
                  <a:gd name="connsiteX17730" fmla="*/ 6497225 w 6994525"/>
                  <a:gd name="connsiteY17730" fmla="*/ 5721963 h 7571036"/>
                  <a:gd name="connsiteX17731" fmla="*/ 6478731 w 6994525"/>
                  <a:gd name="connsiteY17731" fmla="*/ 5740703 h 7571036"/>
                  <a:gd name="connsiteX17732" fmla="*/ 6497225 w 6994525"/>
                  <a:gd name="connsiteY17732" fmla="*/ 5759197 h 7571036"/>
                  <a:gd name="connsiteX17733" fmla="*/ 6515719 w 6994525"/>
                  <a:gd name="connsiteY17733" fmla="*/ 5740703 h 7571036"/>
                  <a:gd name="connsiteX17734" fmla="*/ 6518183 w 6994525"/>
                  <a:gd name="connsiteY17734" fmla="*/ 4390949 h 7571036"/>
                  <a:gd name="connsiteX17735" fmla="*/ 6467881 w 6994525"/>
                  <a:gd name="connsiteY17735" fmla="*/ 4340647 h 7571036"/>
                  <a:gd name="connsiteX17736" fmla="*/ 6417580 w 6994525"/>
                  <a:gd name="connsiteY17736" fmla="*/ 4390949 h 7571036"/>
                  <a:gd name="connsiteX17737" fmla="*/ 6467881 w 6994525"/>
                  <a:gd name="connsiteY17737" fmla="*/ 4441250 h 7571036"/>
                  <a:gd name="connsiteX17738" fmla="*/ 6518183 w 6994525"/>
                  <a:gd name="connsiteY17738" fmla="*/ 4390949 h 7571036"/>
                  <a:gd name="connsiteX17739" fmla="*/ 6520156 w 6994525"/>
                  <a:gd name="connsiteY17739" fmla="*/ 5346183 h 7571036"/>
                  <a:gd name="connsiteX17740" fmla="*/ 6505362 w 6994525"/>
                  <a:gd name="connsiteY17740" fmla="*/ 5331388 h 7571036"/>
                  <a:gd name="connsiteX17741" fmla="*/ 6490566 w 6994525"/>
                  <a:gd name="connsiteY17741" fmla="*/ 5346183 h 7571036"/>
                  <a:gd name="connsiteX17742" fmla="*/ 6505362 w 6994525"/>
                  <a:gd name="connsiteY17742" fmla="*/ 5360977 h 7571036"/>
                  <a:gd name="connsiteX17743" fmla="*/ 6520156 w 6994525"/>
                  <a:gd name="connsiteY17743" fmla="*/ 5346183 h 7571036"/>
                  <a:gd name="connsiteX17744" fmla="*/ 6520647 w 6994525"/>
                  <a:gd name="connsiteY17744" fmla="*/ 2667637 h 7571036"/>
                  <a:gd name="connsiteX17745" fmla="*/ 6497716 w 6994525"/>
                  <a:gd name="connsiteY17745" fmla="*/ 2644702 h 7571036"/>
                  <a:gd name="connsiteX17746" fmla="*/ 6474785 w 6994525"/>
                  <a:gd name="connsiteY17746" fmla="*/ 2667637 h 7571036"/>
                  <a:gd name="connsiteX17747" fmla="*/ 6497716 w 6994525"/>
                  <a:gd name="connsiteY17747" fmla="*/ 2690569 h 7571036"/>
                  <a:gd name="connsiteX17748" fmla="*/ 6520647 w 6994525"/>
                  <a:gd name="connsiteY17748" fmla="*/ 2667637 h 7571036"/>
                  <a:gd name="connsiteX17749" fmla="*/ 6522866 w 6994525"/>
                  <a:gd name="connsiteY17749" fmla="*/ 2014437 h 7571036"/>
                  <a:gd name="connsiteX17750" fmla="*/ 6482676 w 6994525"/>
                  <a:gd name="connsiteY17750" fmla="*/ 1974285 h 7571036"/>
                  <a:gd name="connsiteX17751" fmla="*/ 6442484 w 6994525"/>
                  <a:gd name="connsiteY17751" fmla="*/ 2014437 h 7571036"/>
                  <a:gd name="connsiteX17752" fmla="*/ 6482676 w 6994525"/>
                  <a:gd name="connsiteY17752" fmla="*/ 2054643 h 7571036"/>
                  <a:gd name="connsiteX17753" fmla="*/ 6522866 w 6994525"/>
                  <a:gd name="connsiteY17753" fmla="*/ 2014437 h 7571036"/>
                  <a:gd name="connsiteX17754" fmla="*/ 6529525 w 6994525"/>
                  <a:gd name="connsiteY17754" fmla="*/ 4666129 h 7571036"/>
                  <a:gd name="connsiteX17755" fmla="*/ 6485881 w 6994525"/>
                  <a:gd name="connsiteY17755" fmla="*/ 4622730 h 7571036"/>
                  <a:gd name="connsiteX17756" fmla="*/ 6442484 w 6994525"/>
                  <a:gd name="connsiteY17756" fmla="*/ 4666129 h 7571036"/>
                  <a:gd name="connsiteX17757" fmla="*/ 6485881 w 6994525"/>
                  <a:gd name="connsiteY17757" fmla="*/ 4709526 h 7571036"/>
                  <a:gd name="connsiteX17758" fmla="*/ 6529525 w 6994525"/>
                  <a:gd name="connsiteY17758" fmla="*/ 4666129 h 7571036"/>
                  <a:gd name="connsiteX17759" fmla="*/ 6538401 w 6994525"/>
                  <a:gd name="connsiteY17759" fmla="*/ 1028110 h 7571036"/>
                  <a:gd name="connsiteX17760" fmla="*/ 6488348 w 6994525"/>
                  <a:gd name="connsiteY17760" fmla="*/ 978054 h 7571036"/>
                  <a:gd name="connsiteX17761" fmla="*/ 6438293 w 6994525"/>
                  <a:gd name="connsiteY17761" fmla="*/ 1028110 h 7571036"/>
                  <a:gd name="connsiteX17762" fmla="*/ 6488348 w 6994525"/>
                  <a:gd name="connsiteY17762" fmla="*/ 1078167 h 7571036"/>
                  <a:gd name="connsiteX17763" fmla="*/ 6538401 w 6994525"/>
                  <a:gd name="connsiteY17763" fmla="*/ 1028110 h 7571036"/>
                  <a:gd name="connsiteX17764" fmla="*/ 6538403 w 6994525"/>
                  <a:gd name="connsiteY17764" fmla="*/ 1206363 h 7571036"/>
                  <a:gd name="connsiteX17765" fmla="*/ 6491060 w 6994525"/>
                  <a:gd name="connsiteY17765" fmla="*/ 1159016 h 7571036"/>
                  <a:gd name="connsiteX17766" fmla="*/ 6443718 w 6994525"/>
                  <a:gd name="connsiteY17766" fmla="*/ 1206363 h 7571036"/>
                  <a:gd name="connsiteX17767" fmla="*/ 6491060 w 6994525"/>
                  <a:gd name="connsiteY17767" fmla="*/ 1253697 h 7571036"/>
                  <a:gd name="connsiteX17768" fmla="*/ 6538403 w 6994525"/>
                  <a:gd name="connsiteY17768" fmla="*/ 1206363 h 7571036"/>
                  <a:gd name="connsiteX17769" fmla="*/ 6542346 w 6994525"/>
                  <a:gd name="connsiteY17769" fmla="*/ 2780576 h 7571036"/>
                  <a:gd name="connsiteX17770" fmla="*/ 6525827 w 6994525"/>
                  <a:gd name="connsiteY17770" fmla="*/ 2764056 h 7571036"/>
                  <a:gd name="connsiteX17771" fmla="*/ 6509306 w 6994525"/>
                  <a:gd name="connsiteY17771" fmla="*/ 2780576 h 7571036"/>
                  <a:gd name="connsiteX17772" fmla="*/ 6525827 w 6994525"/>
                  <a:gd name="connsiteY17772" fmla="*/ 2797099 h 7571036"/>
                  <a:gd name="connsiteX17773" fmla="*/ 6542346 w 6994525"/>
                  <a:gd name="connsiteY17773" fmla="*/ 2780576 h 7571036"/>
                  <a:gd name="connsiteX17774" fmla="*/ 6544567 w 6994525"/>
                  <a:gd name="connsiteY17774" fmla="*/ 5090975 h 7571036"/>
                  <a:gd name="connsiteX17775" fmla="*/ 6527305 w 6994525"/>
                  <a:gd name="connsiteY17775" fmla="*/ 5073717 h 7571036"/>
                  <a:gd name="connsiteX17776" fmla="*/ 6510046 w 6994525"/>
                  <a:gd name="connsiteY17776" fmla="*/ 5090975 h 7571036"/>
                  <a:gd name="connsiteX17777" fmla="*/ 6527305 w 6994525"/>
                  <a:gd name="connsiteY17777" fmla="*/ 5108237 h 7571036"/>
                  <a:gd name="connsiteX17778" fmla="*/ 6544567 w 6994525"/>
                  <a:gd name="connsiteY17778" fmla="*/ 5090975 h 7571036"/>
                  <a:gd name="connsiteX17779" fmla="*/ 6545308 w 6994525"/>
                  <a:gd name="connsiteY17779" fmla="*/ 1601571 h 7571036"/>
                  <a:gd name="connsiteX17780" fmla="*/ 6500430 w 6994525"/>
                  <a:gd name="connsiteY17780" fmla="*/ 1556689 h 7571036"/>
                  <a:gd name="connsiteX17781" fmla="*/ 6455553 w 6994525"/>
                  <a:gd name="connsiteY17781" fmla="*/ 1601571 h 7571036"/>
                  <a:gd name="connsiteX17782" fmla="*/ 6500430 w 6994525"/>
                  <a:gd name="connsiteY17782" fmla="*/ 1646451 h 7571036"/>
                  <a:gd name="connsiteX17783" fmla="*/ 6545308 w 6994525"/>
                  <a:gd name="connsiteY17783" fmla="*/ 1601571 h 7571036"/>
                  <a:gd name="connsiteX17784" fmla="*/ 6545553 w 6994525"/>
                  <a:gd name="connsiteY17784" fmla="*/ 4279003 h 7571036"/>
                  <a:gd name="connsiteX17785" fmla="*/ 6499937 w 6994525"/>
                  <a:gd name="connsiteY17785" fmla="*/ 4233387 h 7571036"/>
                  <a:gd name="connsiteX17786" fmla="*/ 6454568 w 6994525"/>
                  <a:gd name="connsiteY17786" fmla="*/ 4279003 h 7571036"/>
                  <a:gd name="connsiteX17787" fmla="*/ 6499937 w 6994525"/>
                  <a:gd name="connsiteY17787" fmla="*/ 4324619 h 7571036"/>
                  <a:gd name="connsiteX17788" fmla="*/ 6545553 w 6994525"/>
                  <a:gd name="connsiteY17788" fmla="*/ 4279003 h 7571036"/>
                  <a:gd name="connsiteX17789" fmla="*/ 6552701 w 6994525"/>
                  <a:gd name="connsiteY17789" fmla="*/ 5497582 h 7571036"/>
                  <a:gd name="connsiteX17790" fmla="*/ 6536675 w 6994525"/>
                  <a:gd name="connsiteY17790" fmla="*/ 5481554 h 7571036"/>
                  <a:gd name="connsiteX17791" fmla="*/ 6520647 w 6994525"/>
                  <a:gd name="connsiteY17791" fmla="*/ 5497582 h 7571036"/>
                  <a:gd name="connsiteX17792" fmla="*/ 6536675 w 6994525"/>
                  <a:gd name="connsiteY17792" fmla="*/ 5513857 h 7571036"/>
                  <a:gd name="connsiteX17793" fmla="*/ 6552701 w 6994525"/>
                  <a:gd name="connsiteY17793" fmla="*/ 5497582 h 7571036"/>
                  <a:gd name="connsiteX17794" fmla="*/ 6552949 w 6994525"/>
                  <a:gd name="connsiteY17794" fmla="*/ 5873608 h 7571036"/>
                  <a:gd name="connsiteX17795" fmla="*/ 6531499 w 6994525"/>
                  <a:gd name="connsiteY17795" fmla="*/ 5852155 h 7571036"/>
                  <a:gd name="connsiteX17796" fmla="*/ 6510046 w 6994525"/>
                  <a:gd name="connsiteY17796" fmla="*/ 5873608 h 7571036"/>
                  <a:gd name="connsiteX17797" fmla="*/ 6531499 w 6994525"/>
                  <a:gd name="connsiteY17797" fmla="*/ 5895058 h 7571036"/>
                  <a:gd name="connsiteX17798" fmla="*/ 6552949 w 6994525"/>
                  <a:gd name="connsiteY17798" fmla="*/ 5873608 h 7571036"/>
                  <a:gd name="connsiteX17799" fmla="*/ 6559113 w 6994525"/>
                  <a:gd name="connsiteY17799" fmla="*/ 884375 h 7571036"/>
                  <a:gd name="connsiteX17800" fmla="*/ 6509060 w 6994525"/>
                  <a:gd name="connsiteY17800" fmla="*/ 834335 h 7571036"/>
                  <a:gd name="connsiteX17801" fmla="*/ 6459005 w 6994525"/>
                  <a:gd name="connsiteY17801" fmla="*/ 884375 h 7571036"/>
                  <a:gd name="connsiteX17802" fmla="*/ 6509060 w 6994525"/>
                  <a:gd name="connsiteY17802" fmla="*/ 934432 h 7571036"/>
                  <a:gd name="connsiteX17803" fmla="*/ 6559113 w 6994525"/>
                  <a:gd name="connsiteY17803" fmla="*/ 884375 h 7571036"/>
                  <a:gd name="connsiteX17804" fmla="*/ 6560840 w 6994525"/>
                  <a:gd name="connsiteY17804" fmla="*/ 2894256 h 7571036"/>
                  <a:gd name="connsiteX17805" fmla="*/ 6549741 w 6994525"/>
                  <a:gd name="connsiteY17805" fmla="*/ 2883159 h 7571036"/>
                  <a:gd name="connsiteX17806" fmla="*/ 6538400 w 6994525"/>
                  <a:gd name="connsiteY17806" fmla="*/ 2894256 h 7571036"/>
                  <a:gd name="connsiteX17807" fmla="*/ 6549741 w 6994525"/>
                  <a:gd name="connsiteY17807" fmla="*/ 2905600 h 7571036"/>
                  <a:gd name="connsiteX17808" fmla="*/ 6560840 w 6994525"/>
                  <a:gd name="connsiteY17808" fmla="*/ 2894256 h 7571036"/>
                  <a:gd name="connsiteX17809" fmla="*/ 6563799 w 6994525"/>
                  <a:gd name="connsiteY17809" fmla="*/ 4828373 h 7571036"/>
                  <a:gd name="connsiteX17810" fmla="*/ 6535196 w 6994525"/>
                  <a:gd name="connsiteY17810" fmla="*/ 4799770 h 7571036"/>
                  <a:gd name="connsiteX17811" fmla="*/ 6506593 w 6994525"/>
                  <a:gd name="connsiteY17811" fmla="*/ 4828373 h 7571036"/>
                  <a:gd name="connsiteX17812" fmla="*/ 6535196 w 6994525"/>
                  <a:gd name="connsiteY17812" fmla="*/ 4856976 h 7571036"/>
                  <a:gd name="connsiteX17813" fmla="*/ 6563799 w 6994525"/>
                  <a:gd name="connsiteY17813" fmla="*/ 4828373 h 7571036"/>
                  <a:gd name="connsiteX17814" fmla="*/ 6564047 w 6994525"/>
                  <a:gd name="connsiteY17814" fmla="*/ 1856324 h 7571036"/>
                  <a:gd name="connsiteX17815" fmla="*/ 6523117 w 6994525"/>
                  <a:gd name="connsiteY17815" fmla="*/ 1815413 h 7571036"/>
                  <a:gd name="connsiteX17816" fmla="*/ 6482184 w 6994525"/>
                  <a:gd name="connsiteY17816" fmla="*/ 1856324 h 7571036"/>
                  <a:gd name="connsiteX17817" fmla="*/ 6523117 w 6994525"/>
                  <a:gd name="connsiteY17817" fmla="*/ 1897211 h 7571036"/>
                  <a:gd name="connsiteX17818" fmla="*/ 6564047 w 6994525"/>
                  <a:gd name="connsiteY17818" fmla="*/ 1856324 h 7571036"/>
                  <a:gd name="connsiteX17819" fmla="*/ 6565277 w 6994525"/>
                  <a:gd name="connsiteY17819" fmla="*/ 2119771 h 7571036"/>
                  <a:gd name="connsiteX17820" fmla="*/ 6531991 w 6994525"/>
                  <a:gd name="connsiteY17820" fmla="*/ 2086466 h 7571036"/>
                  <a:gd name="connsiteX17821" fmla="*/ 6498703 w 6994525"/>
                  <a:gd name="connsiteY17821" fmla="*/ 2119771 h 7571036"/>
                  <a:gd name="connsiteX17822" fmla="*/ 6531991 w 6994525"/>
                  <a:gd name="connsiteY17822" fmla="*/ 2153065 h 7571036"/>
                  <a:gd name="connsiteX17823" fmla="*/ 6565277 w 6994525"/>
                  <a:gd name="connsiteY17823" fmla="*/ 2119771 h 7571036"/>
                  <a:gd name="connsiteX17824" fmla="*/ 6565774 w 6994525"/>
                  <a:gd name="connsiteY17824" fmla="*/ 2390019 h 7571036"/>
                  <a:gd name="connsiteX17825" fmla="*/ 6524100 w 6994525"/>
                  <a:gd name="connsiteY17825" fmla="*/ 2348364 h 7571036"/>
                  <a:gd name="connsiteX17826" fmla="*/ 6482430 w 6994525"/>
                  <a:gd name="connsiteY17826" fmla="*/ 2390019 h 7571036"/>
                  <a:gd name="connsiteX17827" fmla="*/ 6524100 w 6994525"/>
                  <a:gd name="connsiteY17827" fmla="*/ 2431681 h 7571036"/>
                  <a:gd name="connsiteX17828" fmla="*/ 6565774 w 6994525"/>
                  <a:gd name="connsiteY17828" fmla="*/ 2390019 h 7571036"/>
                  <a:gd name="connsiteX17829" fmla="*/ 6565774 w 6994525"/>
                  <a:gd name="connsiteY17829" fmla="*/ 6018595 h 7571036"/>
                  <a:gd name="connsiteX17830" fmla="*/ 6553690 w 6994525"/>
                  <a:gd name="connsiteY17830" fmla="*/ 6006513 h 7571036"/>
                  <a:gd name="connsiteX17831" fmla="*/ 6541608 w 6994525"/>
                  <a:gd name="connsiteY17831" fmla="*/ 6018595 h 7571036"/>
                  <a:gd name="connsiteX17832" fmla="*/ 6553690 w 6994525"/>
                  <a:gd name="connsiteY17832" fmla="*/ 6030679 h 7571036"/>
                  <a:gd name="connsiteX17833" fmla="*/ 6565774 w 6994525"/>
                  <a:gd name="connsiteY17833" fmla="*/ 6018595 h 7571036"/>
                  <a:gd name="connsiteX17834" fmla="*/ 6568733 w 6994525"/>
                  <a:gd name="connsiteY17834" fmla="*/ 4166072 h 7571036"/>
                  <a:gd name="connsiteX17835" fmla="*/ 6527799 w 6994525"/>
                  <a:gd name="connsiteY17835" fmla="*/ 4125139 h 7571036"/>
                  <a:gd name="connsiteX17836" fmla="*/ 6487115 w 6994525"/>
                  <a:gd name="connsiteY17836" fmla="*/ 4166072 h 7571036"/>
                  <a:gd name="connsiteX17837" fmla="*/ 6527799 w 6994525"/>
                  <a:gd name="connsiteY17837" fmla="*/ 4206757 h 7571036"/>
                  <a:gd name="connsiteX17838" fmla="*/ 6568733 w 6994525"/>
                  <a:gd name="connsiteY17838" fmla="*/ 4166072 h 7571036"/>
                  <a:gd name="connsiteX17839" fmla="*/ 6571197 w 6994525"/>
                  <a:gd name="connsiteY17839" fmla="*/ 2499974 h 7571036"/>
                  <a:gd name="connsiteX17840" fmla="*/ 6561334 w 6994525"/>
                  <a:gd name="connsiteY17840" fmla="*/ 2490113 h 7571036"/>
                  <a:gd name="connsiteX17841" fmla="*/ 6551471 w 6994525"/>
                  <a:gd name="connsiteY17841" fmla="*/ 2499974 h 7571036"/>
                  <a:gd name="connsiteX17842" fmla="*/ 6561334 w 6994525"/>
                  <a:gd name="connsiteY17842" fmla="*/ 2509831 h 7571036"/>
                  <a:gd name="connsiteX17843" fmla="*/ 6571197 w 6994525"/>
                  <a:gd name="connsiteY17843" fmla="*/ 2499974 h 7571036"/>
                  <a:gd name="connsiteX17844" fmla="*/ 6576866 w 6994525"/>
                  <a:gd name="connsiteY17844" fmla="*/ 1449696 h 7571036"/>
                  <a:gd name="connsiteX17845" fmla="*/ 6531250 w 6994525"/>
                  <a:gd name="connsiteY17845" fmla="*/ 1404085 h 7571036"/>
                  <a:gd name="connsiteX17846" fmla="*/ 6485634 w 6994525"/>
                  <a:gd name="connsiteY17846" fmla="*/ 1449696 h 7571036"/>
                  <a:gd name="connsiteX17847" fmla="*/ 6531250 w 6994525"/>
                  <a:gd name="connsiteY17847" fmla="*/ 1495322 h 7571036"/>
                  <a:gd name="connsiteX17848" fmla="*/ 6576866 w 6994525"/>
                  <a:gd name="connsiteY17848" fmla="*/ 1449696 h 7571036"/>
                  <a:gd name="connsiteX17849" fmla="*/ 6577112 w 6994525"/>
                  <a:gd name="connsiteY17849" fmla="*/ 3009169 h 7571036"/>
                  <a:gd name="connsiteX17850" fmla="*/ 6569470 w 6994525"/>
                  <a:gd name="connsiteY17850" fmla="*/ 3001525 h 7571036"/>
                  <a:gd name="connsiteX17851" fmla="*/ 6561826 w 6994525"/>
                  <a:gd name="connsiteY17851" fmla="*/ 3009169 h 7571036"/>
                  <a:gd name="connsiteX17852" fmla="*/ 6569470 w 6994525"/>
                  <a:gd name="connsiteY17852" fmla="*/ 3016814 h 7571036"/>
                  <a:gd name="connsiteX17853" fmla="*/ 6577112 w 6994525"/>
                  <a:gd name="connsiteY17853" fmla="*/ 3009169 h 7571036"/>
                  <a:gd name="connsiteX17854" fmla="*/ 6577606 w 6994525"/>
                  <a:gd name="connsiteY17854" fmla="*/ 741898 h 7571036"/>
                  <a:gd name="connsiteX17855" fmla="*/ 6528046 w 6994525"/>
                  <a:gd name="connsiteY17855" fmla="*/ 692333 h 7571036"/>
                  <a:gd name="connsiteX17856" fmla="*/ 6478484 w 6994525"/>
                  <a:gd name="connsiteY17856" fmla="*/ 741898 h 7571036"/>
                  <a:gd name="connsiteX17857" fmla="*/ 6528046 w 6994525"/>
                  <a:gd name="connsiteY17857" fmla="*/ 791449 h 7571036"/>
                  <a:gd name="connsiteX17858" fmla="*/ 6577606 w 6994525"/>
                  <a:gd name="connsiteY17858" fmla="*/ 741898 h 7571036"/>
                  <a:gd name="connsiteX17859" fmla="*/ 6577856 w 6994525"/>
                  <a:gd name="connsiteY17859" fmla="*/ 4557140 h 7571036"/>
                  <a:gd name="connsiteX17860" fmla="*/ 6527060 w 6994525"/>
                  <a:gd name="connsiteY17860" fmla="*/ 4506593 h 7571036"/>
                  <a:gd name="connsiteX17861" fmla="*/ 6476266 w 6994525"/>
                  <a:gd name="connsiteY17861" fmla="*/ 4557140 h 7571036"/>
                  <a:gd name="connsiteX17862" fmla="*/ 6527060 w 6994525"/>
                  <a:gd name="connsiteY17862" fmla="*/ 4607690 h 7571036"/>
                  <a:gd name="connsiteX17863" fmla="*/ 6577856 w 6994525"/>
                  <a:gd name="connsiteY17863" fmla="*/ 4557140 h 7571036"/>
                  <a:gd name="connsiteX17864" fmla="*/ 6581306 w 6994525"/>
                  <a:gd name="connsiteY17864" fmla="*/ 5246814 h 7571036"/>
                  <a:gd name="connsiteX17865" fmla="*/ 6565030 w 6994525"/>
                  <a:gd name="connsiteY17865" fmla="*/ 5230539 h 7571036"/>
                  <a:gd name="connsiteX17866" fmla="*/ 6549003 w 6994525"/>
                  <a:gd name="connsiteY17866" fmla="*/ 5246814 h 7571036"/>
                  <a:gd name="connsiteX17867" fmla="*/ 6565030 w 6994525"/>
                  <a:gd name="connsiteY17867" fmla="*/ 5262842 h 7571036"/>
                  <a:gd name="connsiteX17868" fmla="*/ 6581306 w 6994525"/>
                  <a:gd name="connsiteY17868" fmla="*/ 5246814 h 7571036"/>
                  <a:gd name="connsiteX17869" fmla="*/ 6585005 w 6994525"/>
                  <a:gd name="connsiteY17869" fmla="*/ 5647008 h 7571036"/>
                  <a:gd name="connsiteX17870" fmla="*/ 6565524 w 6994525"/>
                  <a:gd name="connsiteY17870" fmla="*/ 5627527 h 7571036"/>
                  <a:gd name="connsiteX17871" fmla="*/ 6546045 w 6994525"/>
                  <a:gd name="connsiteY17871" fmla="*/ 5647008 h 7571036"/>
                  <a:gd name="connsiteX17872" fmla="*/ 6565524 w 6994525"/>
                  <a:gd name="connsiteY17872" fmla="*/ 5666487 h 7571036"/>
                  <a:gd name="connsiteX17873" fmla="*/ 6585005 w 6994525"/>
                  <a:gd name="connsiteY17873" fmla="*/ 5647008 h 7571036"/>
                  <a:gd name="connsiteX17874" fmla="*/ 6586977 w 6994525"/>
                  <a:gd name="connsiteY17874" fmla="*/ 4052154 h 7571036"/>
                  <a:gd name="connsiteX17875" fmla="*/ 6551471 w 6994525"/>
                  <a:gd name="connsiteY17875" fmla="*/ 4016646 h 7571036"/>
                  <a:gd name="connsiteX17876" fmla="*/ 6515964 w 6994525"/>
                  <a:gd name="connsiteY17876" fmla="*/ 4052154 h 7571036"/>
                  <a:gd name="connsiteX17877" fmla="*/ 6551471 w 6994525"/>
                  <a:gd name="connsiteY17877" fmla="*/ 4087661 h 7571036"/>
                  <a:gd name="connsiteX17878" fmla="*/ 6586977 w 6994525"/>
                  <a:gd name="connsiteY17878" fmla="*/ 4052154 h 7571036"/>
                  <a:gd name="connsiteX17879" fmla="*/ 6590429 w 6994525"/>
                  <a:gd name="connsiteY17879" fmla="*/ 6161610 h 7571036"/>
                  <a:gd name="connsiteX17880" fmla="*/ 6574156 w 6994525"/>
                  <a:gd name="connsiteY17880" fmla="*/ 6145333 h 7571036"/>
                  <a:gd name="connsiteX17881" fmla="*/ 6557881 w 6994525"/>
                  <a:gd name="connsiteY17881" fmla="*/ 6161610 h 7571036"/>
                  <a:gd name="connsiteX17882" fmla="*/ 6574156 w 6994525"/>
                  <a:gd name="connsiteY17882" fmla="*/ 6177882 h 7571036"/>
                  <a:gd name="connsiteX17883" fmla="*/ 6590429 w 6994525"/>
                  <a:gd name="connsiteY17883" fmla="*/ 6161610 h 7571036"/>
                  <a:gd name="connsiteX17884" fmla="*/ 6590924 w 6994525"/>
                  <a:gd name="connsiteY17884" fmla="*/ 3124573 h 7571036"/>
                  <a:gd name="connsiteX17885" fmla="*/ 6584757 w 6994525"/>
                  <a:gd name="connsiteY17885" fmla="*/ 3118409 h 7571036"/>
                  <a:gd name="connsiteX17886" fmla="*/ 6578593 w 6994525"/>
                  <a:gd name="connsiteY17886" fmla="*/ 3124573 h 7571036"/>
                  <a:gd name="connsiteX17887" fmla="*/ 6584757 w 6994525"/>
                  <a:gd name="connsiteY17887" fmla="*/ 3130740 h 7571036"/>
                  <a:gd name="connsiteX17888" fmla="*/ 6590924 w 6994525"/>
                  <a:gd name="connsiteY17888" fmla="*/ 3124573 h 7571036"/>
                  <a:gd name="connsiteX17889" fmla="*/ 6600538 w 6994525"/>
                  <a:gd name="connsiteY17889" fmla="*/ 3937247 h 7571036"/>
                  <a:gd name="connsiteX17890" fmla="*/ 6570703 w 6994525"/>
                  <a:gd name="connsiteY17890" fmla="*/ 3907412 h 7571036"/>
                  <a:gd name="connsiteX17891" fmla="*/ 6540868 w 6994525"/>
                  <a:gd name="connsiteY17891" fmla="*/ 3937247 h 7571036"/>
                  <a:gd name="connsiteX17892" fmla="*/ 6570703 w 6994525"/>
                  <a:gd name="connsiteY17892" fmla="*/ 3967083 h 7571036"/>
                  <a:gd name="connsiteX17893" fmla="*/ 6600538 w 6994525"/>
                  <a:gd name="connsiteY17893" fmla="*/ 3937247 h 7571036"/>
                  <a:gd name="connsiteX17894" fmla="*/ 6601773 w 6994525"/>
                  <a:gd name="connsiteY17894" fmla="*/ 2611680 h 7571036"/>
                  <a:gd name="connsiteX17895" fmla="*/ 6594620 w 6994525"/>
                  <a:gd name="connsiteY17895" fmla="*/ 2604531 h 7571036"/>
                  <a:gd name="connsiteX17896" fmla="*/ 6587470 w 6994525"/>
                  <a:gd name="connsiteY17896" fmla="*/ 2611680 h 7571036"/>
                  <a:gd name="connsiteX17897" fmla="*/ 6594620 w 6994525"/>
                  <a:gd name="connsiteY17897" fmla="*/ 2618583 h 7571036"/>
                  <a:gd name="connsiteX17898" fmla="*/ 6601773 w 6994525"/>
                  <a:gd name="connsiteY17898" fmla="*/ 2611680 h 7571036"/>
                  <a:gd name="connsiteX17899" fmla="*/ 6602018 w 6994525"/>
                  <a:gd name="connsiteY17899" fmla="*/ 3240720 h 7571036"/>
                  <a:gd name="connsiteX17900" fmla="*/ 6595608 w 6994525"/>
                  <a:gd name="connsiteY17900" fmla="*/ 3234308 h 7571036"/>
                  <a:gd name="connsiteX17901" fmla="*/ 6589196 w 6994525"/>
                  <a:gd name="connsiteY17901" fmla="*/ 3240720 h 7571036"/>
                  <a:gd name="connsiteX17902" fmla="*/ 6595608 w 6994525"/>
                  <a:gd name="connsiteY17902" fmla="*/ 3247128 h 7571036"/>
                  <a:gd name="connsiteX17903" fmla="*/ 6602018 w 6994525"/>
                  <a:gd name="connsiteY17903" fmla="*/ 3240720 h 7571036"/>
                  <a:gd name="connsiteX17904" fmla="*/ 6604731 w 6994525"/>
                  <a:gd name="connsiteY17904" fmla="*/ 1700698 h 7571036"/>
                  <a:gd name="connsiteX17905" fmla="*/ 6560348 w 6994525"/>
                  <a:gd name="connsiteY17905" fmla="*/ 1656303 h 7571036"/>
                  <a:gd name="connsiteX17906" fmla="*/ 6515964 w 6994525"/>
                  <a:gd name="connsiteY17906" fmla="*/ 1700698 h 7571036"/>
                  <a:gd name="connsiteX17907" fmla="*/ 6560348 w 6994525"/>
                  <a:gd name="connsiteY17907" fmla="*/ 1745092 h 7571036"/>
                  <a:gd name="connsiteX17908" fmla="*/ 6604731 w 6994525"/>
                  <a:gd name="connsiteY17908" fmla="*/ 1700698 h 7571036"/>
                  <a:gd name="connsiteX17909" fmla="*/ 6606209 w 6994525"/>
                  <a:gd name="connsiteY17909" fmla="*/ 4987662 h 7571036"/>
                  <a:gd name="connsiteX17910" fmla="*/ 6580320 w 6994525"/>
                  <a:gd name="connsiteY17910" fmla="*/ 4961772 h 7571036"/>
                  <a:gd name="connsiteX17911" fmla="*/ 6554676 w 6994525"/>
                  <a:gd name="connsiteY17911" fmla="*/ 4987662 h 7571036"/>
                  <a:gd name="connsiteX17912" fmla="*/ 6580320 w 6994525"/>
                  <a:gd name="connsiteY17912" fmla="*/ 5013306 h 7571036"/>
                  <a:gd name="connsiteX17913" fmla="*/ 6606209 w 6994525"/>
                  <a:gd name="connsiteY17913" fmla="*/ 4987662 h 7571036"/>
                  <a:gd name="connsiteX17914" fmla="*/ 6606455 w 6994525"/>
                  <a:gd name="connsiteY17914" fmla="*/ 1300065 h 7571036"/>
                  <a:gd name="connsiteX17915" fmla="*/ 6559608 w 6994525"/>
                  <a:gd name="connsiteY17915" fmla="*/ 1252957 h 7571036"/>
                  <a:gd name="connsiteX17916" fmla="*/ 6512511 w 6994525"/>
                  <a:gd name="connsiteY17916" fmla="*/ 1300065 h 7571036"/>
                  <a:gd name="connsiteX17917" fmla="*/ 6559608 w 6994525"/>
                  <a:gd name="connsiteY17917" fmla="*/ 1346913 h 7571036"/>
                  <a:gd name="connsiteX17918" fmla="*/ 6606455 w 6994525"/>
                  <a:gd name="connsiteY17918" fmla="*/ 1300065 h 7571036"/>
                  <a:gd name="connsiteX17919" fmla="*/ 6609909 w 6994525"/>
                  <a:gd name="connsiteY17919" fmla="*/ 3821603 h 7571036"/>
                  <a:gd name="connsiteX17920" fmla="*/ 6585743 w 6994525"/>
                  <a:gd name="connsiteY17920" fmla="*/ 3797440 h 7571036"/>
                  <a:gd name="connsiteX17921" fmla="*/ 6561826 w 6994525"/>
                  <a:gd name="connsiteY17921" fmla="*/ 3821603 h 7571036"/>
                  <a:gd name="connsiteX17922" fmla="*/ 6585743 w 6994525"/>
                  <a:gd name="connsiteY17922" fmla="*/ 3845769 h 7571036"/>
                  <a:gd name="connsiteX17923" fmla="*/ 6609909 w 6994525"/>
                  <a:gd name="connsiteY17923" fmla="*/ 3821603 h 7571036"/>
                  <a:gd name="connsiteX17924" fmla="*/ 6610155 w 6994525"/>
                  <a:gd name="connsiteY17924" fmla="*/ 3356855 h 7571036"/>
                  <a:gd name="connsiteX17925" fmla="*/ 6602265 w 6994525"/>
                  <a:gd name="connsiteY17925" fmla="*/ 3348957 h 7571036"/>
                  <a:gd name="connsiteX17926" fmla="*/ 6594374 w 6994525"/>
                  <a:gd name="connsiteY17926" fmla="*/ 3356855 h 7571036"/>
                  <a:gd name="connsiteX17927" fmla="*/ 6602265 w 6994525"/>
                  <a:gd name="connsiteY17927" fmla="*/ 3364732 h 7571036"/>
                  <a:gd name="connsiteX17928" fmla="*/ 6610155 w 6994525"/>
                  <a:gd name="connsiteY17928" fmla="*/ 3356855 h 7571036"/>
                  <a:gd name="connsiteX17929" fmla="*/ 6611140 w 6994525"/>
                  <a:gd name="connsiteY17929" fmla="*/ 1119336 h 7571036"/>
                  <a:gd name="connsiteX17930" fmla="*/ 6560593 w 6994525"/>
                  <a:gd name="connsiteY17930" fmla="*/ 1069041 h 7571036"/>
                  <a:gd name="connsiteX17931" fmla="*/ 6510291 w 6994525"/>
                  <a:gd name="connsiteY17931" fmla="*/ 1119336 h 7571036"/>
                  <a:gd name="connsiteX17932" fmla="*/ 6560593 w 6994525"/>
                  <a:gd name="connsiteY17932" fmla="*/ 1169645 h 7571036"/>
                  <a:gd name="connsiteX17933" fmla="*/ 6611140 w 6994525"/>
                  <a:gd name="connsiteY17933" fmla="*/ 1119336 h 7571036"/>
                  <a:gd name="connsiteX17934" fmla="*/ 6612868 w 6994525"/>
                  <a:gd name="connsiteY17934" fmla="*/ 1959525 h 7571036"/>
                  <a:gd name="connsiteX17935" fmla="*/ 6576374 w 6994525"/>
                  <a:gd name="connsiteY17935" fmla="*/ 1923073 h 7571036"/>
                  <a:gd name="connsiteX17936" fmla="*/ 6539881 w 6994525"/>
                  <a:gd name="connsiteY17936" fmla="*/ 1959525 h 7571036"/>
                  <a:gd name="connsiteX17937" fmla="*/ 6576374 w 6994525"/>
                  <a:gd name="connsiteY17937" fmla="*/ 1995978 h 7571036"/>
                  <a:gd name="connsiteX17938" fmla="*/ 6612868 w 6994525"/>
                  <a:gd name="connsiteY17938" fmla="*/ 1959525 h 7571036"/>
                  <a:gd name="connsiteX17939" fmla="*/ 6615089 w 6994525"/>
                  <a:gd name="connsiteY17939" fmla="*/ 3472947 h 7571036"/>
                  <a:gd name="connsiteX17940" fmla="*/ 6604485 w 6994525"/>
                  <a:gd name="connsiteY17940" fmla="*/ 3462645 h 7571036"/>
                  <a:gd name="connsiteX17941" fmla="*/ 6593882 w 6994525"/>
                  <a:gd name="connsiteY17941" fmla="*/ 3472947 h 7571036"/>
                  <a:gd name="connsiteX17942" fmla="*/ 6604485 w 6994525"/>
                  <a:gd name="connsiteY17942" fmla="*/ 3483551 h 7571036"/>
                  <a:gd name="connsiteX17943" fmla="*/ 6615089 w 6994525"/>
                  <a:gd name="connsiteY17943" fmla="*/ 3472947 h 7571036"/>
                  <a:gd name="connsiteX17944" fmla="*/ 6615332 w 6994525"/>
                  <a:gd name="connsiteY17944" fmla="*/ 4446921 h 7571036"/>
                  <a:gd name="connsiteX17945" fmla="*/ 6564044 w 6994525"/>
                  <a:gd name="connsiteY17945" fmla="*/ 4395632 h 7571036"/>
                  <a:gd name="connsiteX17946" fmla="*/ 6512756 w 6994525"/>
                  <a:gd name="connsiteY17946" fmla="*/ 4446921 h 7571036"/>
                  <a:gd name="connsiteX17947" fmla="*/ 6564044 w 6994525"/>
                  <a:gd name="connsiteY17947" fmla="*/ 4498207 h 7571036"/>
                  <a:gd name="connsiteX17948" fmla="*/ 6615332 w 6994525"/>
                  <a:gd name="connsiteY17948" fmla="*/ 4446921 h 7571036"/>
                  <a:gd name="connsiteX17949" fmla="*/ 6615581 w 6994525"/>
                  <a:gd name="connsiteY17949" fmla="*/ 3705715 h 7571036"/>
                  <a:gd name="connsiteX17950" fmla="*/ 6596347 w 6994525"/>
                  <a:gd name="connsiteY17950" fmla="*/ 3686483 h 7571036"/>
                  <a:gd name="connsiteX17951" fmla="*/ 6577115 w 6994525"/>
                  <a:gd name="connsiteY17951" fmla="*/ 3705715 h 7571036"/>
                  <a:gd name="connsiteX17952" fmla="*/ 6596347 w 6994525"/>
                  <a:gd name="connsiteY17952" fmla="*/ 3724949 h 7571036"/>
                  <a:gd name="connsiteX17953" fmla="*/ 6615581 w 6994525"/>
                  <a:gd name="connsiteY17953" fmla="*/ 3705715 h 7571036"/>
                  <a:gd name="connsiteX17954" fmla="*/ 6616319 w 6994525"/>
                  <a:gd name="connsiteY17954" fmla="*/ 5400183 h 7571036"/>
                  <a:gd name="connsiteX17955" fmla="*/ 6599306 w 6994525"/>
                  <a:gd name="connsiteY17955" fmla="*/ 5383416 h 7571036"/>
                  <a:gd name="connsiteX17956" fmla="*/ 6582539 w 6994525"/>
                  <a:gd name="connsiteY17956" fmla="*/ 5400183 h 7571036"/>
                  <a:gd name="connsiteX17957" fmla="*/ 6599306 w 6994525"/>
                  <a:gd name="connsiteY17957" fmla="*/ 5416950 h 7571036"/>
                  <a:gd name="connsiteX17958" fmla="*/ 6616319 w 6994525"/>
                  <a:gd name="connsiteY17958" fmla="*/ 5400183 h 7571036"/>
                  <a:gd name="connsiteX17959" fmla="*/ 6617058 w 6994525"/>
                  <a:gd name="connsiteY17959" fmla="*/ 3589331 h 7571036"/>
                  <a:gd name="connsiteX17960" fmla="*/ 6602513 w 6994525"/>
                  <a:gd name="connsiteY17960" fmla="*/ 3574782 h 7571036"/>
                  <a:gd name="connsiteX17961" fmla="*/ 6587964 w 6994525"/>
                  <a:gd name="connsiteY17961" fmla="*/ 3589331 h 7571036"/>
                  <a:gd name="connsiteX17962" fmla="*/ 6602513 w 6994525"/>
                  <a:gd name="connsiteY17962" fmla="*/ 3603877 h 7571036"/>
                  <a:gd name="connsiteX17963" fmla="*/ 6617058 w 6994525"/>
                  <a:gd name="connsiteY17963" fmla="*/ 3589331 h 7571036"/>
                  <a:gd name="connsiteX17964" fmla="*/ 6617799 w 6994525"/>
                  <a:gd name="connsiteY17964" fmla="*/ 4721607 h 7571036"/>
                  <a:gd name="connsiteX17965" fmla="*/ 6580568 w 6994525"/>
                  <a:gd name="connsiteY17965" fmla="*/ 4684373 h 7571036"/>
                  <a:gd name="connsiteX17966" fmla="*/ 6543334 w 6994525"/>
                  <a:gd name="connsiteY17966" fmla="*/ 4721607 h 7571036"/>
                  <a:gd name="connsiteX17967" fmla="*/ 6580568 w 6994525"/>
                  <a:gd name="connsiteY17967" fmla="*/ 4758838 h 7571036"/>
                  <a:gd name="connsiteX17968" fmla="*/ 6617799 w 6994525"/>
                  <a:gd name="connsiteY17968" fmla="*/ 4721607 h 7571036"/>
                  <a:gd name="connsiteX17969" fmla="*/ 6624455 w 6994525"/>
                  <a:gd name="connsiteY17969" fmla="*/ 5781143 h 7571036"/>
                  <a:gd name="connsiteX17970" fmla="*/ 6602265 w 6994525"/>
                  <a:gd name="connsiteY17970" fmla="*/ 5758703 h 7571036"/>
                  <a:gd name="connsiteX17971" fmla="*/ 6579825 w 6994525"/>
                  <a:gd name="connsiteY17971" fmla="*/ 5781143 h 7571036"/>
                  <a:gd name="connsiteX17972" fmla="*/ 6602265 w 6994525"/>
                  <a:gd name="connsiteY17972" fmla="*/ 5803581 h 7571036"/>
                  <a:gd name="connsiteX17973" fmla="*/ 6624455 w 6994525"/>
                  <a:gd name="connsiteY17973" fmla="*/ 5781143 h 7571036"/>
                  <a:gd name="connsiteX17974" fmla="*/ 6626184 w 6994525"/>
                  <a:gd name="connsiteY17974" fmla="*/ 2226802 h 7571036"/>
                  <a:gd name="connsiteX17975" fmla="*/ 6577606 w 6994525"/>
                  <a:gd name="connsiteY17975" fmla="*/ 2178475 h 7571036"/>
                  <a:gd name="connsiteX17976" fmla="*/ 6529031 w 6994525"/>
                  <a:gd name="connsiteY17976" fmla="*/ 2226802 h 7571036"/>
                  <a:gd name="connsiteX17977" fmla="*/ 6577606 w 6994525"/>
                  <a:gd name="connsiteY17977" fmla="*/ 2275115 h 7571036"/>
                  <a:gd name="connsiteX17978" fmla="*/ 6626184 w 6994525"/>
                  <a:gd name="connsiteY17978" fmla="*/ 2226802 h 7571036"/>
                  <a:gd name="connsiteX17979" fmla="*/ 6630376 w 6994525"/>
                  <a:gd name="connsiteY17979" fmla="*/ 2724124 h 7571036"/>
                  <a:gd name="connsiteX17980" fmla="*/ 6623967 w 6994525"/>
                  <a:gd name="connsiteY17980" fmla="*/ 2717711 h 7571036"/>
                  <a:gd name="connsiteX17981" fmla="*/ 6617308 w 6994525"/>
                  <a:gd name="connsiteY17981" fmla="*/ 2724124 h 7571036"/>
                  <a:gd name="connsiteX17982" fmla="*/ 6623967 w 6994525"/>
                  <a:gd name="connsiteY17982" fmla="*/ 2730537 h 7571036"/>
                  <a:gd name="connsiteX17983" fmla="*/ 6630376 w 6994525"/>
                  <a:gd name="connsiteY17983" fmla="*/ 2724124 h 7571036"/>
                  <a:gd name="connsiteX17984" fmla="*/ 6634321 w 6994525"/>
                  <a:gd name="connsiteY17984" fmla="*/ 973641 h 7571036"/>
                  <a:gd name="connsiteX17985" fmla="*/ 6583771 w 6994525"/>
                  <a:gd name="connsiteY17985" fmla="*/ 923096 h 7571036"/>
                  <a:gd name="connsiteX17986" fmla="*/ 6533224 w 6994525"/>
                  <a:gd name="connsiteY17986" fmla="*/ 973641 h 7571036"/>
                  <a:gd name="connsiteX17987" fmla="*/ 6583771 w 6994525"/>
                  <a:gd name="connsiteY17987" fmla="*/ 1024194 h 7571036"/>
                  <a:gd name="connsiteX17988" fmla="*/ 6634321 w 6994525"/>
                  <a:gd name="connsiteY17988" fmla="*/ 973641 h 7571036"/>
                  <a:gd name="connsiteX17989" fmla="*/ 6639501 w 6994525"/>
                  <a:gd name="connsiteY17989" fmla="*/ 1547097 h 7571036"/>
                  <a:gd name="connsiteX17990" fmla="*/ 6594376 w 6994525"/>
                  <a:gd name="connsiteY17990" fmla="*/ 1501979 h 7571036"/>
                  <a:gd name="connsiteX17991" fmla="*/ 6549252 w 6994525"/>
                  <a:gd name="connsiteY17991" fmla="*/ 1547097 h 7571036"/>
                  <a:gd name="connsiteX17992" fmla="*/ 6594376 w 6994525"/>
                  <a:gd name="connsiteY17992" fmla="*/ 1592223 h 7571036"/>
                  <a:gd name="connsiteX17993" fmla="*/ 6639501 w 6994525"/>
                  <a:gd name="connsiteY17993" fmla="*/ 1547097 h 7571036"/>
                  <a:gd name="connsiteX17994" fmla="*/ 6639746 w 6994525"/>
                  <a:gd name="connsiteY17994" fmla="*/ 5928101 h 7571036"/>
                  <a:gd name="connsiteX17995" fmla="*/ 6626676 w 6994525"/>
                  <a:gd name="connsiteY17995" fmla="*/ 5915033 h 7571036"/>
                  <a:gd name="connsiteX17996" fmla="*/ 6613608 w 6994525"/>
                  <a:gd name="connsiteY17996" fmla="*/ 5928101 h 7571036"/>
                  <a:gd name="connsiteX17997" fmla="*/ 6626676 w 6994525"/>
                  <a:gd name="connsiteY17997" fmla="*/ 5941168 h 7571036"/>
                  <a:gd name="connsiteX17998" fmla="*/ 6639746 w 6994525"/>
                  <a:gd name="connsiteY17998" fmla="*/ 5928101 h 7571036"/>
                  <a:gd name="connsiteX17999" fmla="*/ 6640239 w 6994525"/>
                  <a:gd name="connsiteY17999" fmla="*/ 5145223 h 7571036"/>
                  <a:gd name="connsiteX18000" fmla="*/ 6621250 w 6994525"/>
                  <a:gd name="connsiteY18000" fmla="*/ 5126237 h 7571036"/>
                  <a:gd name="connsiteX18001" fmla="*/ 6602264 w 6994525"/>
                  <a:gd name="connsiteY18001" fmla="*/ 5145223 h 7571036"/>
                  <a:gd name="connsiteX18002" fmla="*/ 6621250 w 6994525"/>
                  <a:gd name="connsiteY18002" fmla="*/ 5164209 h 7571036"/>
                  <a:gd name="connsiteX18003" fmla="*/ 6640239 w 6994525"/>
                  <a:gd name="connsiteY18003" fmla="*/ 5145223 h 7571036"/>
                  <a:gd name="connsiteX18004" fmla="*/ 6644184 w 6994525"/>
                  <a:gd name="connsiteY18004" fmla="*/ 4335222 h 7571036"/>
                  <a:gd name="connsiteX18005" fmla="*/ 6597087 w 6994525"/>
                  <a:gd name="connsiteY18005" fmla="*/ 4288125 h 7571036"/>
                  <a:gd name="connsiteX18006" fmla="*/ 6549990 w 6994525"/>
                  <a:gd name="connsiteY18006" fmla="*/ 4335222 h 7571036"/>
                  <a:gd name="connsiteX18007" fmla="*/ 6597087 w 6994525"/>
                  <a:gd name="connsiteY18007" fmla="*/ 4382319 h 7571036"/>
                  <a:gd name="connsiteX18008" fmla="*/ 6644184 w 6994525"/>
                  <a:gd name="connsiteY18008" fmla="*/ 4335222 h 7571036"/>
                  <a:gd name="connsiteX18009" fmla="*/ 6651334 w 6994525"/>
                  <a:gd name="connsiteY18009" fmla="*/ 5551582 h 7571036"/>
                  <a:gd name="connsiteX18010" fmla="*/ 6631116 w 6994525"/>
                  <a:gd name="connsiteY18010" fmla="*/ 5531361 h 7571036"/>
                  <a:gd name="connsiteX18011" fmla="*/ 6610894 w 6994525"/>
                  <a:gd name="connsiteY18011" fmla="*/ 5551582 h 7571036"/>
                  <a:gd name="connsiteX18012" fmla="*/ 6631116 w 6994525"/>
                  <a:gd name="connsiteY18012" fmla="*/ 5571801 h 7571036"/>
                  <a:gd name="connsiteX18013" fmla="*/ 6651334 w 6994525"/>
                  <a:gd name="connsiteY18013" fmla="*/ 5551582 h 7571036"/>
                  <a:gd name="connsiteX18014" fmla="*/ 6654046 w 6994525"/>
                  <a:gd name="connsiteY18014" fmla="*/ 2064279 h 7571036"/>
                  <a:gd name="connsiteX18015" fmla="*/ 6625936 w 6994525"/>
                  <a:gd name="connsiteY18015" fmla="*/ 2036157 h 7571036"/>
                  <a:gd name="connsiteX18016" fmla="*/ 6597827 w 6994525"/>
                  <a:gd name="connsiteY18016" fmla="*/ 2064279 h 7571036"/>
                  <a:gd name="connsiteX18017" fmla="*/ 6625936 w 6994525"/>
                  <a:gd name="connsiteY18017" fmla="*/ 2092404 h 7571036"/>
                  <a:gd name="connsiteX18018" fmla="*/ 6654046 w 6994525"/>
                  <a:gd name="connsiteY18018" fmla="*/ 2064279 h 7571036"/>
                  <a:gd name="connsiteX18019" fmla="*/ 6654539 w 6994525"/>
                  <a:gd name="connsiteY18019" fmla="*/ 829184 h 7571036"/>
                  <a:gd name="connsiteX18020" fmla="*/ 6604486 w 6994525"/>
                  <a:gd name="connsiteY18020" fmla="*/ 779124 h 7571036"/>
                  <a:gd name="connsiteX18021" fmla="*/ 6554430 w 6994525"/>
                  <a:gd name="connsiteY18021" fmla="*/ 829184 h 7571036"/>
                  <a:gd name="connsiteX18022" fmla="*/ 6604486 w 6994525"/>
                  <a:gd name="connsiteY18022" fmla="*/ 879219 h 7571036"/>
                  <a:gd name="connsiteX18023" fmla="*/ 6654539 w 6994525"/>
                  <a:gd name="connsiteY18023" fmla="*/ 829184 h 7571036"/>
                  <a:gd name="connsiteX18024" fmla="*/ 6656510 w 6994525"/>
                  <a:gd name="connsiteY18024" fmla="*/ 2837557 h 7571036"/>
                  <a:gd name="connsiteX18025" fmla="*/ 6649112 w 6994525"/>
                  <a:gd name="connsiteY18025" fmla="*/ 2830159 h 7571036"/>
                  <a:gd name="connsiteX18026" fmla="*/ 6641717 w 6994525"/>
                  <a:gd name="connsiteY18026" fmla="*/ 2837557 h 7571036"/>
                  <a:gd name="connsiteX18027" fmla="*/ 6649112 w 6994525"/>
                  <a:gd name="connsiteY18027" fmla="*/ 2844955 h 7571036"/>
                  <a:gd name="connsiteX18028" fmla="*/ 6656510 w 6994525"/>
                  <a:gd name="connsiteY18028" fmla="*/ 2837557 h 7571036"/>
                  <a:gd name="connsiteX18029" fmla="*/ 6659471 w 6994525"/>
                  <a:gd name="connsiteY18029" fmla="*/ 2334794 h 7571036"/>
                  <a:gd name="connsiteX18030" fmla="*/ 6619524 w 6994525"/>
                  <a:gd name="connsiteY18030" fmla="*/ 2294849 h 7571036"/>
                  <a:gd name="connsiteX18031" fmla="*/ 6579580 w 6994525"/>
                  <a:gd name="connsiteY18031" fmla="*/ 2334794 h 7571036"/>
                  <a:gd name="connsiteX18032" fmla="*/ 6619524 w 6994525"/>
                  <a:gd name="connsiteY18032" fmla="*/ 2374738 h 7571036"/>
                  <a:gd name="connsiteX18033" fmla="*/ 6659471 w 6994525"/>
                  <a:gd name="connsiteY18033" fmla="*/ 2334794 h 7571036"/>
                  <a:gd name="connsiteX18034" fmla="*/ 6660951 w 6994525"/>
                  <a:gd name="connsiteY18034" fmla="*/ 1802152 h 7571036"/>
                  <a:gd name="connsiteX18035" fmla="*/ 6617059 w 6994525"/>
                  <a:gd name="connsiteY18035" fmla="*/ 1758185 h 7571036"/>
                  <a:gd name="connsiteX18036" fmla="*/ 6573170 w 6994525"/>
                  <a:gd name="connsiteY18036" fmla="*/ 1802152 h 7571036"/>
                  <a:gd name="connsiteX18037" fmla="*/ 6617059 w 6994525"/>
                  <a:gd name="connsiteY18037" fmla="*/ 1846007 h 7571036"/>
                  <a:gd name="connsiteX18038" fmla="*/ 6660951 w 6994525"/>
                  <a:gd name="connsiteY18038" fmla="*/ 1802152 h 7571036"/>
                  <a:gd name="connsiteX18039" fmla="*/ 6664896 w 6994525"/>
                  <a:gd name="connsiteY18039" fmla="*/ 4882623 h 7571036"/>
                  <a:gd name="connsiteX18040" fmla="*/ 6629636 w 6994525"/>
                  <a:gd name="connsiteY18040" fmla="*/ 4847362 h 7571036"/>
                  <a:gd name="connsiteX18041" fmla="*/ 6594374 w 6994525"/>
                  <a:gd name="connsiteY18041" fmla="*/ 4882623 h 7571036"/>
                  <a:gd name="connsiteX18042" fmla="*/ 6629636 w 6994525"/>
                  <a:gd name="connsiteY18042" fmla="*/ 4917884 h 7571036"/>
                  <a:gd name="connsiteX18043" fmla="*/ 6664896 w 6994525"/>
                  <a:gd name="connsiteY18043" fmla="*/ 4882623 h 7571036"/>
                  <a:gd name="connsiteX18044" fmla="*/ 6666377 w 6994525"/>
                  <a:gd name="connsiteY18044" fmla="*/ 6073088 h 7571036"/>
                  <a:gd name="connsiteX18045" fmla="*/ 6649361 w 6994525"/>
                  <a:gd name="connsiteY18045" fmla="*/ 6056074 h 7571036"/>
                  <a:gd name="connsiteX18046" fmla="*/ 6632348 w 6994525"/>
                  <a:gd name="connsiteY18046" fmla="*/ 6073088 h 7571036"/>
                  <a:gd name="connsiteX18047" fmla="*/ 6649361 w 6994525"/>
                  <a:gd name="connsiteY18047" fmla="*/ 6090104 h 7571036"/>
                  <a:gd name="connsiteX18048" fmla="*/ 6666377 w 6994525"/>
                  <a:gd name="connsiteY18048" fmla="*/ 6073088 h 7571036"/>
                  <a:gd name="connsiteX18049" fmla="*/ 6667606 w 6994525"/>
                  <a:gd name="connsiteY18049" fmla="*/ 4612621 h 7571036"/>
                  <a:gd name="connsiteX18050" fmla="*/ 6622236 w 6994525"/>
                  <a:gd name="connsiteY18050" fmla="*/ 4567251 h 7571036"/>
                  <a:gd name="connsiteX18051" fmla="*/ 6576866 w 6994525"/>
                  <a:gd name="connsiteY18051" fmla="*/ 4612621 h 7571036"/>
                  <a:gd name="connsiteX18052" fmla="*/ 6622236 w 6994525"/>
                  <a:gd name="connsiteY18052" fmla="*/ 4657991 h 7571036"/>
                  <a:gd name="connsiteX18053" fmla="*/ 6667606 w 6994525"/>
                  <a:gd name="connsiteY18053" fmla="*/ 4612621 h 7571036"/>
                  <a:gd name="connsiteX18054" fmla="*/ 6669087 w 6994525"/>
                  <a:gd name="connsiteY18054" fmla="*/ 4222537 h 7571036"/>
                  <a:gd name="connsiteX18055" fmla="*/ 6626181 w 6994525"/>
                  <a:gd name="connsiteY18055" fmla="*/ 4179634 h 7571036"/>
                  <a:gd name="connsiteX18056" fmla="*/ 6583278 w 6994525"/>
                  <a:gd name="connsiteY18056" fmla="*/ 4222537 h 7571036"/>
                  <a:gd name="connsiteX18057" fmla="*/ 6626181 w 6994525"/>
                  <a:gd name="connsiteY18057" fmla="*/ 4265443 h 7571036"/>
                  <a:gd name="connsiteX18058" fmla="*/ 6669087 w 6994525"/>
                  <a:gd name="connsiteY18058" fmla="*/ 4222537 h 7571036"/>
                  <a:gd name="connsiteX18059" fmla="*/ 6671797 w 6994525"/>
                  <a:gd name="connsiteY18059" fmla="*/ 1395234 h 7571036"/>
                  <a:gd name="connsiteX18060" fmla="*/ 6625195 w 6994525"/>
                  <a:gd name="connsiteY18060" fmla="*/ 1348635 h 7571036"/>
                  <a:gd name="connsiteX18061" fmla="*/ 6578593 w 6994525"/>
                  <a:gd name="connsiteY18061" fmla="*/ 1395234 h 7571036"/>
                  <a:gd name="connsiteX18062" fmla="*/ 6625195 w 6994525"/>
                  <a:gd name="connsiteY18062" fmla="*/ 1441839 h 7571036"/>
                  <a:gd name="connsiteX18063" fmla="*/ 6671797 w 6994525"/>
                  <a:gd name="connsiteY18063" fmla="*/ 1395234 h 7571036"/>
                  <a:gd name="connsiteX18064" fmla="*/ 6676733 w 6994525"/>
                  <a:gd name="connsiteY18064" fmla="*/ 5300567 h 7571036"/>
                  <a:gd name="connsiteX18065" fmla="*/ 6658978 w 6994525"/>
                  <a:gd name="connsiteY18065" fmla="*/ 5283058 h 7571036"/>
                  <a:gd name="connsiteX18066" fmla="*/ 6641471 w 6994525"/>
                  <a:gd name="connsiteY18066" fmla="*/ 5300567 h 7571036"/>
                  <a:gd name="connsiteX18067" fmla="*/ 6658978 w 6994525"/>
                  <a:gd name="connsiteY18067" fmla="*/ 5318071 h 7571036"/>
                  <a:gd name="connsiteX18068" fmla="*/ 6676733 w 6994525"/>
                  <a:gd name="connsiteY18068" fmla="*/ 5300567 h 7571036"/>
                  <a:gd name="connsiteX18069" fmla="*/ 6678211 w 6994525"/>
                  <a:gd name="connsiteY18069" fmla="*/ 2951977 h 7571036"/>
                  <a:gd name="connsiteX18070" fmla="*/ 6670071 w 6994525"/>
                  <a:gd name="connsiteY18070" fmla="*/ 2943839 h 7571036"/>
                  <a:gd name="connsiteX18071" fmla="*/ 6661689 w 6994525"/>
                  <a:gd name="connsiteY18071" fmla="*/ 2951977 h 7571036"/>
                  <a:gd name="connsiteX18072" fmla="*/ 6670071 w 6994525"/>
                  <a:gd name="connsiteY18072" fmla="*/ 2960116 h 7571036"/>
                  <a:gd name="connsiteX18073" fmla="*/ 6678211 w 6994525"/>
                  <a:gd name="connsiteY18073" fmla="*/ 2951977 h 7571036"/>
                  <a:gd name="connsiteX18074" fmla="*/ 6681169 w 6994525"/>
                  <a:gd name="connsiteY18074" fmla="*/ 1212550 h 7571036"/>
                  <a:gd name="connsiteX18075" fmla="*/ 6630373 w 6994525"/>
                  <a:gd name="connsiteY18075" fmla="*/ 1161755 h 7571036"/>
                  <a:gd name="connsiteX18076" fmla="*/ 6579580 w 6994525"/>
                  <a:gd name="connsiteY18076" fmla="*/ 1212550 h 7571036"/>
                  <a:gd name="connsiteX18077" fmla="*/ 6630373 w 6994525"/>
                  <a:gd name="connsiteY18077" fmla="*/ 1263323 h 7571036"/>
                  <a:gd name="connsiteX18078" fmla="*/ 6681169 w 6994525"/>
                  <a:gd name="connsiteY18078" fmla="*/ 1212550 h 7571036"/>
                  <a:gd name="connsiteX18079" fmla="*/ 6683390 w 6994525"/>
                  <a:gd name="connsiteY18079" fmla="*/ 2444767 h 7571036"/>
                  <a:gd name="connsiteX18080" fmla="*/ 6657498 w 6994525"/>
                  <a:gd name="connsiteY18080" fmla="*/ 2418874 h 7571036"/>
                  <a:gd name="connsiteX18081" fmla="*/ 6631607 w 6994525"/>
                  <a:gd name="connsiteY18081" fmla="*/ 2444767 h 7571036"/>
                  <a:gd name="connsiteX18082" fmla="*/ 6657498 w 6994525"/>
                  <a:gd name="connsiteY18082" fmla="*/ 2470661 h 7571036"/>
                  <a:gd name="connsiteX18083" fmla="*/ 6683390 w 6994525"/>
                  <a:gd name="connsiteY18083" fmla="*/ 2444767 h 7571036"/>
                  <a:gd name="connsiteX18084" fmla="*/ 6689552 w 6994525"/>
                  <a:gd name="connsiteY18084" fmla="*/ 4108867 h 7571036"/>
                  <a:gd name="connsiteX18085" fmla="*/ 6650840 w 6994525"/>
                  <a:gd name="connsiteY18085" fmla="*/ 4070401 h 7571036"/>
                  <a:gd name="connsiteX18086" fmla="*/ 6612374 w 6994525"/>
                  <a:gd name="connsiteY18086" fmla="*/ 4108867 h 7571036"/>
                  <a:gd name="connsiteX18087" fmla="*/ 6650840 w 6994525"/>
                  <a:gd name="connsiteY18087" fmla="*/ 4147579 h 7571036"/>
                  <a:gd name="connsiteX18088" fmla="*/ 6689552 w 6994525"/>
                  <a:gd name="connsiteY18088" fmla="*/ 4108867 h 7571036"/>
                  <a:gd name="connsiteX18089" fmla="*/ 6692018 w 6994525"/>
                  <a:gd name="connsiteY18089" fmla="*/ 2170843 h 7571036"/>
                  <a:gd name="connsiteX18090" fmla="*/ 6672046 w 6994525"/>
                  <a:gd name="connsiteY18090" fmla="*/ 2150862 h 7571036"/>
                  <a:gd name="connsiteX18091" fmla="*/ 6652074 w 6994525"/>
                  <a:gd name="connsiteY18091" fmla="*/ 2170843 h 7571036"/>
                  <a:gd name="connsiteX18092" fmla="*/ 6672046 w 6994525"/>
                  <a:gd name="connsiteY18092" fmla="*/ 2190813 h 7571036"/>
                  <a:gd name="connsiteX18093" fmla="*/ 6692018 w 6994525"/>
                  <a:gd name="connsiteY18093" fmla="*/ 2170843 h 7571036"/>
                  <a:gd name="connsiteX18094" fmla="*/ 6693498 w 6994525"/>
                  <a:gd name="connsiteY18094" fmla="*/ 5686705 h 7571036"/>
                  <a:gd name="connsiteX18095" fmla="*/ 6670322 w 6994525"/>
                  <a:gd name="connsiteY18095" fmla="*/ 5663525 h 7571036"/>
                  <a:gd name="connsiteX18096" fmla="*/ 6647142 w 6994525"/>
                  <a:gd name="connsiteY18096" fmla="*/ 5686705 h 7571036"/>
                  <a:gd name="connsiteX18097" fmla="*/ 6670322 w 6994525"/>
                  <a:gd name="connsiteY18097" fmla="*/ 5709882 h 7571036"/>
                  <a:gd name="connsiteX18098" fmla="*/ 6693498 w 6994525"/>
                  <a:gd name="connsiteY18098" fmla="*/ 5686705 h 7571036"/>
                  <a:gd name="connsiteX18099" fmla="*/ 6695717 w 6994525"/>
                  <a:gd name="connsiteY18099" fmla="*/ 3067137 h 7571036"/>
                  <a:gd name="connsiteX18100" fmla="*/ 6686840 w 6994525"/>
                  <a:gd name="connsiteY18100" fmla="*/ 3058260 h 7571036"/>
                  <a:gd name="connsiteX18101" fmla="*/ 6677964 w 6994525"/>
                  <a:gd name="connsiteY18101" fmla="*/ 3067137 h 7571036"/>
                  <a:gd name="connsiteX18102" fmla="*/ 6686840 w 6994525"/>
                  <a:gd name="connsiteY18102" fmla="*/ 3076015 h 7571036"/>
                  <a:gd name="connsiteX18103" fmla="*/ 6695717 w 6994525"/>
                  <a:gd name="connsiteY18103" fmla="*/ 3067137 h 7571036"/>
                  <a:gd name="connsiteX18104" fmla="*/ 6698430 w 6994525"/>
                  <a:gd name="connsiteY18104" fmla="*/ 5041909 h 7571036"/>
                  <a:gd name="connsiteX18105" fmla="*/ 6674511 w 6994525"/>
                  <a:gd name="connsiteY18105" fmla="*/ 5017992 h 7571036"/>
                  <a:gd name="connsiteX18106" fmla="*/ 6650593 w 6994525"/>
                  <a:gd name="connsiteY18106" fmla="*/ 5041909 h 7571036"/>
                  <a:gd name="connsiteX18107" fmla="*/ 6674511 w 6994525"/>
                  <a:gd name="connsiteY18107" fmla="*/ 5065829 h 7571036"/>
                  <a:gd name="connsiteX18108" fmla="*/ 6698430 w 6994525"/>
                  <a:gd name="connsiteY18108" fmla="*/ 5041909 h 7571036"/>
                  <a:gd name="connsiteX18109" fmla="*/ 6698676 w 6994525"/>
                  <a:gd name="connsiteY18109" fmla="*/ 1646228 h 7571036"/>
                  <a:gd name="connsiteX18110" fmla="*/ 6654046 w 6994525"/>
                  <a:gd name="connsiteY18110" fmla="*/ 1601594 h 7571036"/>
                  <a:gd name="connsiteX18111" fmla="*/ 6609417 w 6994525"/>
                  <a:gd name="connsiteY18111" fmla="*/ 1646228 h 7571036"/>
                  <a:gd name="connsiteX18112" fmla="*/ 6654046 w 6994525"/>
                  <a:gd name="connsiteY18112" fmla="*/ 1690857 h 7571036"/>
                  <a:gd name="connsiteX18113" fmla="*/ 6698676 w 6994525"/>
                  <a:gd name="connsiteY18113" fmla="*/ 1646228 h 7571036"/>
                  <a:gd name="connsiteX18114" fmla="*/ 6704839 w 6994525"/>
                  <a:gd name="connsiteY18114" fmla="*/ 2555968 h 7571036"/>
                  <a:gd name="connsiteX18115" fmla="*/ 6691772 w 6994525"/>
                  <a:gd name="connsiteY18115" fmla="*/ 2542899 h 7571036"/>
                  <a:gd name="connsiteX18116" fmla="*/ 6678704 w 6994525"/>
                  <a:gd name="connsiteY18116" fmla="*/ 2555968 h 7571036"/>
                  <a:gd name="connsiteX18117" fmla="*/ 6691772 w 6994525"/>
                  <a:gd name="connsiteY18117" fmla="*/ 2569031 h 7571036"/>
                  <a:gd name="connsiteX18118" fmla="*/ 6704839 w 6994525"/>
                  <a:gd name="connsiteY18118" fmla="*/ 2555968 h 7571036"/>
                  <a:gd name="connsiteX18119" fmla="*/ 6705826 w 6994525"/>
                  <a:gd name="connsiteY18119" fmla="*/ 3994455 h 7571036"/>
                  <a:gd name="connsiteX18120" fmla="*/ 6671554 w 6994525"/>
                  <a:gd name="connsiteY18120" fmla="*/ 3960180 h 7571036"/>
                  <a:gd name="connsiteX18121" fmla="*/ 6637279 w 6994525"/>
                  <a:gd name="connsiteY18121" fmla="*/ 3994455 h 7571036"/>
                  <a:gd name="connsiteX18122" fmla="*/ 6671554 w 6994525"/>
                  <a:gd name="connsiteY18122" fmla="*/ 4028727 h 7571036"/>
                  <a:gd name="connsiteX18123" fmla="*/ 6705826 w 6994525"/>
                  <a:gd name="connsiteY18123" fmla="*/ 3994455 h 7571036"/>
                  <a:gd name="connsiteX18124" fmla="*/ 6706812 w 6994525"/>
                  <a:gd name="connsiteY18124" fmla="*/ 1064878 h 7571036"/>
                  <a:gd name="connsiteX18125" fmla="*/ 6655773 w 6994525"/>
                  <a:gd name="connsiteY18125" fmla="*/ 1013840 h 7571036"/>
                  <a:gd name="connsiteX18126" fmla="*/ 6604731 w 6994525"/>
                  <a:gd name="connsiteY18126" fmla="*/ 1064878 h 7571036"/>
                  <a:gd name="connsiteX18127" fmla="*/ 6655773 w 6994525"/>
                  <a:gd name="connsiteY18127" fmla="*/ 1115910 h 7571036"/>
                  <a:gd name="connsiteX18128" fmla="*/ 6706812 w 6994525"/>
                  <a:gd name="connsiteY18128" fmla="*/ 1064878 h 7571036"/>
                  <a:gd name="connsiteX18129" fmla="*/ 6709277 w 6994525"/>
                  <a:gd name="connsiteY18129" fmla="*/ 3182793 h 7571036"/>
                  <a:gd name="connsiteX18130" fmla="*/ 6699662 w 6994525"/>
                  <a:gd name="connsiteY18130" fmla="*/ 3173176 h 7571036"/>
                  <a:gd name="connsiteX18131" fmla="*/ 6690045 w 6994525"/>
                  <a:gd name="connsiteY18131" fmla="*/ 3182793 h 7571036"/>
                  <a:gd name="connsiteX18132" fmla="*/ 6699662 w 6994525"/>
                  <a:gd name="connsiteY18132" fmla="*/ 3192409 h 7571036"/>
                  <a:gd name="connsiteX18133" fmla="*/ 6709277 w 6994525"/>
                  <a:gd name="connsiteY18133" fmla="*/ 3182793 h 7571036"/>
                  <a:gd name="connsiteX18134" fmla="*/ 6710758 w 6994525"/>
                  <a:gd name="connsiteY18134" fmla="*/ 5835634 h 7571036"/>
                  <a:gd name="connsiteX18135" fmla="*/ 6696949 w 6994525"/>
                  <a:gd name="connsiteY18135" fmla="*/ 5821580 h 7571036"/>
                  <a:gd name="connsiteX18136" fmla="*/ 6682895 w 6994525"/>
                  <a:gd name="connsiteY18136" fmla="*/ 5835634 h 7571036"/>
                  <a:gd name="connsiteX18137" fmla="*/ 6696949 w 6994525"/>
                  <a:gd name="connsiteY18137" fmla="*/ 5849442 h 7571036"/>
                  <a:gd name="connsiteX18138" fmla="*/ 6710758 w 6994525"/>
                  <a:gd name="connsiteY18138" fmla="*/ 5835634 h 7571036"/>
                  <a:gd name="connsiteX18139" fmla="*/ 6711992 w 6994525"/>
                  <a:gd name="connsiteY18139" fmla="*/ 4502896 h 7571036"/>
                  <a:gd name="connsiteX18140" fmla="*/ 6659964 w 6994525"/>
                  <a:gd name="connsiteY18140" fmla="*/ 4450868 h 7571036"/>
                  <a:gd name="connsiteX18141" fmla="*/ 6607936 w 6994525"/>
                  <a:gd name="connsiteY18141" fmla="*/ 4502896 h 7571036"/>
                  <a:gd name="connsiteX18142" fmla="*/ 6659964 w 6994525"/>
                  <a:gd name="connsiteY18142" fmla="*/ 4554924 h 7571036"/>
                  <a:gd name="connsiteX18143" fmla="*/ 6711992 w 6994525"/>
                  <a:gd name="connsiteY18143" fmla="*/ 4502896 h 7571036"/>
                  <a:gd name="connsiteX18144" fmla="*/ 6713717 w 6994525"/>
                  <a:gd name="connsiteY18144" fmla="*/ 1905117 h 7571036"/>
                  <a:gd name="connsiteX18145" fmla="*/ 6670320 w 6994525"/>
                  <a:gd name="connsiteY18145" fmla="*/ 1861771 h 7571036"/>
                  <a:gd name="connsiteX18146" fmla="*/ 6626922 w 6994525"/>
                  <a:gd name="connsiteY18146" fmla="*/ 1905117 h 7571036"/>
                  <a:gd name="connsiteX18147" fmla="*/ 6670320 w 6994525"/>
                  <a:gd name="connsiteY18147" fmla="*/ 1948463 h 7571036"/>
                  <a:gd name="connsiteX18148" fmla="*/ 6713717 w 6994525"/>
                  <a:gd name="connsiteY18148" fmla="*/ 1905117 h 7571036"/>
                  <a:gd name="connsiteX18149" fmla="*/ 6714706 w 6994525"/>
                  <a:gd name="connsiteY18149" fmla="*/ 5453935 h 7571036"/>
                  <a:gd name="connsiteX18150" fmla="*/ 6693745 w 6994525"/>
                  <a:gd name="connsiteY18150" fmla="*/ 5432976 h 7571036"/>
                  <a:gd name="connsiteX18151" fmla="*/ 6672540 w 6994525"/>
                  <a:gd name="connsiteY18151" fmla="*/ 5453935 h 7571036"/>
                  <a:gd name="connsiteX18152" fmla="*/ 6693745 w 6994525"/>
                  <a:gd name="connsiteY18152" fmla="*/ 5474893 h 7571036"/>
                  <a:gd name="connsiteX18153" fmla="*/ 6714706 w 6994525"/>
                  <a:gd name="connsiteY18153" fmla="*/ 5453935 h 7571036"/>
                  <a:gd name="connsiteX18154" fmla="*/ 6718402 w 6994525"/>
                  <a:gd name="connsiteY18154" fmla="*/ 3879058 h 7571036"/>
                  <a:gd name="connsiteX18155" fmla="*/ 6688076 w 6994525"/>
                  <a:gd name="connsiteY18155" fmla="*/ 3848974 h 7571036"/>
                  <a:gd name="connsiteX18156" fmla="*/ 6657992 w 6994525"/>
                  <a:gd name="connsiteY18156" fmla="*/ 3879058 h 7571036"/>
                  <a:gd name="connsiteX18157" fmla="*/ 6688076 w 6994525"/>
                  <a:gd name="connsiteY18157" fmla="*/ 3909385 h 7571036"/>
                  <a:gd name="connsiteX18158" fmla="*/ 6718402 w 6994525"/>
                  <a:gd name="connsiteY18158" fmla="*/ 3879058 h 7571036"/>
                  <a:gd name="connsiteX18159" fmla="*/ 6719389 w 6994525"/>
                  <a:gd name="connsiteY18159" fmla="*/ 4775605 h 7571036"/>
                  <a:gd name="connsiteX18160" fmla="*/ 6675497 w 6994525"/>
                  <a:gd name="connsiteY18160" fmla="*/ 4731716 h 7571036"/>
                  <a:gd name="connsiteX18161" fmla="*/ 6631607 w 6994525"/>
                  <a:gd name="connsiteY18161" fmla="*/ 4775605 h 7571036"/>
                  <a:gd name="connsiteX18162" fmla="*/ 6675497 w 6994525"/>
                  <a:gd name="connsiteY18162" fmla="*/ 4819497 h 7571036"/>
                  <a:gd name="connsiteX18163" fmla="*/ 6719389 w 6994525"/>
                  <a:gd name="connsiteY18163" fmla="*/ 4775605 h 7571036"/>
                  <a:gd name="connsiteX18164" fmla="*/ 6719638 w 6994525"/>
                  <a:gd name="connsiteY18164" fmla="*/ 3298925 h 7571036"/>
                  <a:gd name="connsiteX18165" fmla="*/ 6708048 w 6994525"/>
                  <a:gd name="connsiteY18165" fmla="*/ 3287322 h 7571036"/>
                  <a:gd name="connsiteX18166" fmla="*/ 6696458 w 6994525"/>
                  <a:gd name="connsiteY18166" fmla="*/ 3298925 h 7571036"/>
                  <a:gd name="connsiteX18167" fmla="*/ 6708048 w 6994525"/>
                  <a:gd name="connsiteY18167" fmla="*/ 3310521 h 7571036"/>
                  <a:gd name="connsiteX18168" fmla="*/ 6719638 w 6994525"/>
                  <a:gd name="connsiteY18168" fmla="*/ 3298925 h 7571036"/>
                  <a:gd name="connsiteX18169" fmla="*/ 6725307 w 6994525"/>
                  <a:gd name="connsiteY18169" fmla="*/ 2667918 h 7571036"/>
                  <a:gd name="connsiteX18170" fmla="*/ 6721855 w 6994525"/>
                  <a:gd name="connsiteY18170" fmla="*/ 2664470 h 7571036"/>
                  <a:gd name="connsiteX18171" fmla="*/ 6718402 w 6994525"/>
                  <a:gd name="connsiteY18171" fmla="*/ 2667918 h 7571036"/>
                  <a:gd name="connsiteX18172" fmla="*/ 6721855 w 6994525"/>
                  <a:gd name="connsiteY18172" fmla="*/ 2671371 h 7571036"/>
                  <a:gd name="connsiteX18173" fmla="*/ 6725307 w 6994525"/>
                  <a:gd name="connsiteY18173" fmla="*/ 2667918 h 7571036"/>
                  <a:gd name="connsiteX18174" fmla="*/ 6726539 w 6994525"/>
                  <a:gd name="connsiteY18174" fmla="*/ 3763661 h 7571036"/>
                  <a:gd name="connsiteX18175" fmla="*/ 6700400 w 6994525"/>
                  <a:gd name="connsiteY18175" fmla="*/ 3737771 h 7571036"/>
                  <a:gd name="connsiteX18176" fmla="*/ 6674511 w 6994525"/>
                  <a:gd name="connsiteY18176" fmla="*/ 3763661 h 7571036"/>
                  <a:gd name="connsiteX18177" fmla="*/ 6700400 w 6994525"/>
                  <a:gd name="connsiteY18177" fmla="*/ 3789550 h 7571036"/>
                  <a:gd name="connsiteX18178" fmla="*/ 6726539 w 6994525"/>
                  <a:gd name="connsiteY18178" fmla="*/ 3763661 h 7571036"/>
                  <a:gd name="connsiteX18179" fmla="*/ 6726786 w 6994525"/>
                  <a:gd name="connsiteY18179" fmla="*/ 2279072 h 7571036"/>
                  <a:gd name="connsiteX18180" fmla="*/ 6714459 w 6994525"/>
                  <a:gd name="connsiteY18180" fmla="*/ 2266746 h 7571036"/>
                  <a:gd name="connsiteX18181" fmla="*/ 6702129 w 6994525"/>
                  <a:gd name="connsiteY18181" fmla="*/ 2279072 h 7571036"/>
                  <a:gd name="connsiteX18182" fmla="*/ 6714459 w 6994525"/>
                  <a:gd name="connsiteY18182" fmla="*/ 2291412 h 7571036"/>
                  <a:gd name="connsiteX18183" fmla="*/ 6726786 w 6994525"/>
                  <a:gd name="connsiteY18183" fmla="*/ 2279072 h 7571036"/>
                  <a:gd name="connsiteX18184" fmla="*/ 6726787 w 6994525"/>
                  <a:gd name="connsiteY18184" fmla="*/ 3415070 h 7571036"/>
                  <a:gd name="connsiteX18185" fmla="*/ 6712484 w 6994525"/>
                  <a:gd name="connsiteY18185" fmla="*/ 3400755 h 7571036"/>
                  <a:gd name="connsiteX18186" fmla="*/ 6698185 w 6994525"/>
                  <a:gd name="connsiteY18186" fmla="*/ 3415070 h 7571036"/>
                  <a:gd name="connsiteX18187" fmla="*/ 6712484 w 6994525"/>
                  <a:gd name="connsiteY18187" fmla="*/ 3429365 h 7571036"/>
                  <a:gd name="connsiteX18188" fmla="*/ 6726787 w 6994525"/>
                  <a:gd name="connsiteY18188" fmla="*/ 3415070 h 7571036"/>
                  <a:gd name="connsiteX18189" fmla="*/ 6729005 w 6994525"/>
                  <a:gd name="connsiteY18189" fmla="*/ 918675 h 7571036"/>
                  <a:gd name="connsiteX18190" fmla="*/ 6678704 w 6994525"/>
                  <a:gd name="connsiteY18190" fmla="*/ 868377 h 7571036"/>
                  <a:gd name="connsiteX18191" fmla="*/ 6628402 w 6994525"/>
                  <a:gd name="connsiteY18191" fmla="*/ 918675 h 7571036"/>
                  <a:gd name="connsiteX18192" fmla="*/ 6678704 w 6994525"/>
                  <a:gd name="connsiteY18192" fmla="*/ 968987 h 7571036"/>
                  <a:gd name="connsiteX18193" fmla="*/ 6729005 w 6994525"/>
                  <a:gd name="connsiteY18193" fmla="*/ 918675 h 7571036"/>
                  <a:gd name="connsiteX18194" fmla="*/ 6730237 w 6994525"/>
                  <a:gd name="connsiteY18194" fmla="*/ 3531139 h 7571036"/>
                  <a:gd name="connsiteX18195" fmla="*/ 6712484 w 6994525"/>
                  <a:gd name="connsiteY18195" fmla="*/ 3513385 h 7571036"/>
                  <a:gd name="connsiteX18196" fmla="*/ 6694730 w 6994525"/>
                  <a:gd name="connsiteY18196" fmla="*/ 3531139 h 7571036"/>
                  <a:gd name="connsiteX18197" fmla="*/ 6712484 w 6994525"/>
                  <a:gd name="connsiteY18197" fmla="*/ 3548892 h 7571036"/>
                  <a:gd name="connsiteX18198" fmla="*/ 6730237 w 6994525"/>
                  <a:gd name="connsiteY18198" fmla="*/ 3531139 h 7571036"/>
                  <a:gd name="connsiteX18199" fmla="*/ 6730484 w 6994525"/>
                  <a:gd name="connsiteY18199" fmla="*/ 3647275 h 7571036"/>
                  <a:gd name="connsiteX18200" fmla="*/ 6708540 w 6994525"/>
                  <a:gd name="connsiteY18200" fmla="*/ 3625329 h 7571036"/>
                  <a:gd name="connsiteX18201" fmla="*/ 6686594 w 6994525"/>
                  <a:gd name="connsiteY18201" fmla="*/ 3647275 h 7571036"/>
                  <a:gd name="connsiteX18202" fmla="*/ 6708540 w 6994525"/>
                  <a:gd name="connsiteY18202" fmla="*/ 3669222 h 7571036"/>
                  <a:gd name="connsiteX18203" fmla="*/ 6730484 w 6994525"/>
                  <a:gd name="connsiteY18203" fmla="*/ 3647275 h 7571036"/>
                  <a:gd name="connsiteX18204" fmla="*/ 6733937 w 6994525"/>
                  <a:gd name="connsiteY18204" fmla="*/ 5198977 h 7571036"/>
                  <a:gd name="connsiteX18205" fmla="*/ 6715443 w 6994525"/>
                  <a:gd name="connsiteY18205" fmla="*/ 5180482 h 7571036"/>
                  <a:gd name="connsiteX18206" fmla="*/ 6697198 w 6994525"/>
                  <a:gd name="connsiteY18206" fmla="*/ 5198977 h 7571036"/>
                  <a:gd name="connsiteX18207" fmla="*/ 6715443 w 6994525"/>
                  <a:gd name="connsiteY18207" fmla="*/ 5217471 h 7571036"/>
                  <a:gd name="connsiteX18208" fmla="*/ 6733937 w 6994525"/>
                  <a:gd name="connsiteY18208" fmla="*/ 5198977 h 7571036"/>
                  <a:gd name="connsiteX18209" fmla="*/ 6734429 w 6994525"/>
                  <a:gd name="connsiteY18209" fmla="*/ 1492633 h 7571036"/>
                  <a:gd name="connsiteX18210" fmla="*/ 6688072 w 6994525"/>
                  <a:gd name="connsiteY18210" fmla="*/ 1446281 h 7571036"/>
                  <a:gd name="connsiteX18211" fmla="*/ 6641717 w 6994525"/>
                  <a:gd name="connsiteY18211" fmla="*/ 1492633 h 7571036"/>
                  <a:gd name="connsiteX18212" fmla="*/ 6688072 w 6994525"/>
                  <a:gd name="connsiteY18212" fmla="*/ 1538991 h 7571036"/>
                  <a:gd name="connsiteX18213" fmla="*/ 6734429 w 6994525"/>
                  <a:gd name="connsiteY18213" fmla="*/ 1492633 h 7571036"/>
                  <a:gd name="connsiteX18214" fmla="*/ 6739610 w 6994525"/>
                  <a:gd name="connsiteY18214" fmla="*/ 5982348 h 7571036"/>
                  <a:gd name="connsiteX18215" fmla="*/ 6721856 w 6994525"/>
                  <a:gd name="connsiteY18215" fmla="*/ 5964594 h 7571036"/>
                  <a:gd name="connsiteX18216" fmla="*/ 6704102 w 6994525"/>
                  <a:gd name="connsiteY18216" fmla="*/ 5982348 h 7571036"/>
                  <a:gd name="connsiteX18217" fmla="*/ 6721856 w 6994525"/>
                  <a:gd name="connsiteY18217" fmla="*/ 6000101 h 7571036"/>
                  <a:gd name="connsiteX18218" fmla="*/ 6739610 w 6994525"/>
                  <a:gd name="connsiteY18218" fmla="*/ 5982348 h 7571036"/>
                  <a:gd name="connsiteX18219" fmla="*/ 6742814 w 6994525"/>
                  <a:gd name="connsiteY18219" fmla="*/ 4391690 h 7571036"/>
                  <a:gd name="connsiteX18220" fmla="*/ 6693993 w 6994525"/>
                  <a:gd name="connsiteY18220" fmla="*/ 4342621 h 7571036"/>
                  <a:gd name="connsiteX18221" fmla="*/ 6645170 w 6994525"/>
                  <a:gd name="connsiteY18221" fmla="*/ 4391690 h 7571036"/>
                  <a:gd name="connsiteX18222" fmla="*/ 6693993 w 6994525"/>
                  <a:gd name="connsiteY18222" fmla="*/ 4440511 h 7571036"/>
                  <a:gd name="connsiteX18223" fmla="*/ 6742814 w 6994525"/>
                  <a:gd name="connsiteY18223" fmla="*/ 4391690 h 7571036"/>
                  <a:gd name="connsiteX18224" fmla="*/ 6748496 w 6994525"/>
                  <a:gd name="connsiteY18224" fmla="*/ 1307636 h 7571036"/>
                  <a:gd name="connsiteX18225" fmla="*/ 6697118 w 6994525"/>
                  <a:gd name="connsiteY18225" fmla="*/ 1256679 h 7571036"/>
                  <a:gd name="connsiteX18226" fmla="*/ 6645921 w 6994525"/>
                  <a:gd name="connsiteY18226" fmla="*/ 1307817 h 7571036"/>
                  <a:gd name="connsiteX18227" fmla="*/ 6697299 w 6994525"/>
                  <a:gd name="connsiteY18227" fmla="*/ 1358769 h 7571036"/>
                  <a:gd name="connsiteX18228" fmla="*/ 6748496 w 6994525"/>
                  <a:gd name="connsiteY18228" fmla="*/ 1307636 h 7571036"/>
                  <a:gd name="connsiteX18229" fmla="*/ 6748977 w 6994525"/>
                  <a:gd name="connsiteY18229" fmla="*/ 2781359 h 7571036"/>
                  <a:gd name="connsiteX18230" fmla="*/ 6748239 w 6994525"/>
                  <a:gd name="connsiteY18230" fmla="*/ 2780618 h 7571036"/>
                  <a:gd name="connsiteX18231" fmla="*/ 6747500 w 6994525"/>
                  <a:gd name="connsiteY18231" fmla="*/ 2781359 h 7571036"/>
                  <a:gd name="connsiteX18232" fmla="*/ 6748239 w 6994525"/>
                  <a:gd name="connsiteY18232" fmla="*/ 2782093 h 7571036"/>
                  <a:gd name="connsiteX18233" fmla="*/ 6748977 w 6994525"/>
                  <a:gd name="connsiteY18233" fmla="*/ 2781359 h 7571036"/>
                  <a:gd name="connsiteX18234" fmla="*/ 6753910 w 6994525"/>
                  <a:gd name="connsiteY18234" fmla="*/ 4937112 h 7571036"/>
                  <a:gd name="connsiteX18235" fmla="*/ 6724074 w 6994525"/>
                  <a:gd name="connsiteY18235" fmla="*/ 4907278 h 7571036"/>
                  <a:gd name="connsiteX18236" fmla="*/ 6694239 w 6994525"/>
                  <a:gd name="connsiteY18236" fmla="*/ 4937112 h 7571036"/>
                  <a:gd name="connsiteX18237" fmla="*/ 6724074 w 6994525"/>
                  <a:gd name="connsiteY18237" fmla="*/ 4966948 h 7571036"/>
                  <a:gd name="connsiteX18238" fmla="*/ 6753910 w 6994525"/>
                  <a:gd name="connsiteY18238" fmla="*/ 4937112 h 7571036"/>
                  <a:gd name="connsiteX18239" fmla="*/ 6754895 w 6994525"/>
                  <a:gd name="connsiteY18239" fmla="*/ 1747590 h 7571036"/>
                  <a:gd name="connsiteX18240" fmla="*/ 6710760 w 6994525"/>
                  <a:gd name="connsiteY18240" fmla="*/ 1703438 h 7571036"/>
                  <a:gd name="connsiteX18241" fmla="*/ 6666622 w 6994525"/>
                  <a:gd name="connsiteY18241" fmla="*/ 1747590 h 7571036"/>
                  <a:gd name="connsiteX18242" fmla="*/ 6710760 w 6994525"/>
                  <a:gd name="connsiteY18242" fmla="*/ 1791763 h 7571036"/>
                  <a:gd name="connsiteX18243" fmla="*/ 6754895 w 6994525"/>
                  <a:gd name="connsiteY18243" fmla="*/ 1747590 h 7571036"/>
                  <a:gd name="connsiteX18244" fmla="*/ 6758841 w 6994525"/>
                  <a:gd name="connsiteY18244" fmla="*/ 2388573 h 7571036"/>
                  <a:gd name="connsiteX18245" fmla="*/ 6753172 w 6994525"/>
                  <a:gd name="connsiteY18245" fmla="*/ 2382894 h 7571036"/>
                  <a:gd name="connsiteX18246" fmla="*/ 6747500 w 6994525"/>
                  <a:gd name="connsiteY18246" fmla="*/ 2388573 h 7571036"/>
                  <a:gd name="connsiteX18247" fmla="*/ 6753172 w 6994525"/>
                  <a:gd name="connsiteY18247" fmla="*/ 2394221 h 7571036"/>
                  <a:gd name="connsiteX18248" fmla="*/ 6758841 w 6994525"/>
                  <a:gd name="connsiteY18248" fmla="*/ 2388573 h 7571036"/>
                  <a:gd name="connsiteX18249" fmla="*/ 6759582 w 6994525"/>
                  <a:gd name="connsiteY18249" fmla="*/ 5590291 h 7571036"/>
                  <a:gd name="connsiteX18250" fmla="*/ 6735415 w 6994525"/>
                  <a:gd name="connsiteY18250" fmla="*/ 5566128 h 7571036"/>
                  <a:gd name="connsiteX18251" fmla="*/ 6711252 w 6994525"/>
                  <a:gd name="connsiteY18251" fmla="*/ 5590291 h 7571036"/>
                  <a:gd name="connsiteX18252" fmla="*/ 6735415 w 6994525"/>
                  <a:gd name="connsiteY18252" fmla="*/ 5614457 h 7571036"/>
                  <a:gd name="connsiteX18253" fmla="*/ 6759582 w 6994525"/>
                  <a:gd name="connsiteY18253" fmla="*/ 5590291 h 7571036"/>
                  <a:gd name="connsiteX18254" fmla="*/ 6763032 w 6994525"/>
                  <a:gd name="connsiteY18254" fmla="*/ 2009791 h 7571036"/>
                  <a:gd name="connsiteX18255" fmla="*/ 6720126 w 6994525"/>
                  <a:gd name="connsiteY18255" fmla="*/ 1966935 h 7571036"/>
                  <a:gd name="connsiteX18256" fmla="*/ 6677223 w 6994525"/>
                  <a:gd name="connsiteY18256" fmla="*/ 2009791 h 7571036"/>
                  <a:gd name="connsiteX18257" fmla="*/ 6720126 w 6994525"/>
                  <a:gd name="connsiteY18257" fmla="*/ 2052703 h 7571036"/>
                  <a:gd name="connsiteX18258" fmla="*/ 6763032 w 6994525"/>
                  <a:gd name="connsiteY18258" fmla="*/ 2009791 h 7571036"/>
                  <a:gd name="connsiteX18259" fmla="*/ 6767223 w 6994525"/>
                  <a:gd name="connsiteY18259" fmla="*/ 4667361 h 7571036"/>
                  <a:gd name="connsiteX18260" fmla="*/ 6717662 w 6994525"/>
                  <a:gd name="connsiteY18260" fmla="*/ 4617799 h 7571036"/>
                  <a:gd name="connsiteX18261" fmla="*/ 6668101 w 6994525"/>
                  <a:gd name="connsiteY18261" fmla="*/ 4667361 h 7571036"/>
                  <a:gd name="connsiteX18262" fmla="*/ 6717662 w 6994525"/>
                  <a:gd name="connsiteY18262" fmla="*/ 4716924 h 7571036"/>
                  <a:gd name="connsiteX18263" fmla="*/ 6767223 w 6994525"/>
                  <a:gd name="connsiteY18263" fmla="*/ 4667361 h 7571036"/>
                  <a:gd name="connsiteX18264" fmla="*/ 6767717 w 6994525"/>
                  <a:gd name="connsiteY18264" fmla="*/ 4279248 h 7571036"/>
                  <a:gd name="connsiteX18265" fmla="*/ 6723825 w 6994525"/>
                  <a:gd name="connsiteY18265" fmla="*/ 4235359 h 7571036"/>
                  <a:gd name="connsiteX18266" fmla="*/ 6679936 w 6994525"/>
                  <a:gd name="connsiteY18266" fmla="*/ 4279248 h 7571036"/>
                  <a:gd name="connsiteX18267" fmla="*/ 6723825 w 6994525"/>
                  <a:gd name="connsiteY18267" fmla="*/ 4323140 h 7571036"/>
                  <a:gd name="connsiteX18268" fmla="*/ 6767717 w 6994525"/>
                  <a:gd name="connsiteY18268" fmla="*/ 4279248 h 7571036"/>
                  <a:gd name="connsiteX18269" fmla="*/ 6775113 w 6994525"/>
                  <a:gd name="connsiteY18269" fmla="*/ 5354319 h 7571036"/>
                  <a:gd name="connsiteX18270" fmla="*/ 6753170 w 6994525"/>
                  <a:gd name="connsiteY18270" fmla="*/ 5332374 h 7571036"/>
                  <a:gd name="connsiteX18271" fmla="*/ 6731224 w 6994525"/>
                  <a:gd name="connsiteY18271" fmla="*/ 5354319 h 7571036"/>
                  <a:gd name="connsiteX18272" fmla="*/ 6753170 w 6994525"/>
                  <a:gd name="connsiteY18272" fmla="*/ 5376264 h 7571036"/>
                  <a:gd name="connsiteX18273" fmla="*/ 6775113 w 6994525"/>
                  <a:gd name="connsiteY18273" fmla="*/ 5354319 h 7571036"/>
                  <a:gd name="connsiteX18274" fmla="*/ 6776100 w 6994525"/>
                  <a:gd name="connsiteY18274" fmla="*/ 1158324 h 7571036"/>
                  <a:gd name="connsiteX18275" fmla="*/ 6724812 w 6994525"/>
                  <a:gd name="connsiteY18275" fmla="*/ 1106792 h 7571036"/>
                  <a:gd name="connsiteX18276" fmla="*/ 6673278 w 6994525"/>
                  <a:gd name="connsiteY18276" fmla="*/ 1158324 h 7571036"/>
                  <a:gd name="connsiteX18277" fmla="*/ 6724812 w 6994525"/>
                  <a:gd name="connsiteY18277" fmla="*/ 1209869 h 7571036"/>
                  <a:gd name="connsiteX18278" fmla="*/ 6776100 w 6994525"/>
                  <a:gd name="connsiteY18278" fmla="*/ 1158324 h 7571036"/>
                  <a:gd name="connsiteX18279" fmla="*/ 6779554 w 6994525"/>
                  <a:gd name="connsiteY18279" fmla="*/ 5740950 h 7571036"/>
                  <a:gd name="connsiteX18280" fmla="*/ 6764759 w 6994525"/>
                  <a:gd name="connsiteY18280" fmla="*/ 5726155 h 7571036"/>
                  <a:gd name="connsiteX18281" fmla="*/ 6749964 w 6994525"/>
                  <a:gd name="connsiteY18281" fmla="*/ 5740950 h 7571036"/>
                  <a:gd name="connsiteX18282" fmla="*/ 6764759 w 6994525"/>
                  <a:gd name="connsiteY18282" fmla="*/ 5755744 h 7571036"/>
                  <a:gd name="connsiteX18283" fmla="*/ 6779554 w 6994525"/>
                  <a:gd name="connsiteY18283" fmla="*/ 5740950 h 7571036"/>
                  <a:gd name="connsiteX18284" fmla="*/ 6788429 w 6994525"/>
                  <a:gd name="connsiteY18284" fmla="*/ 5096156 h 7571036"/>
                  <a:gd name="connsiteX18285" fmla="*/ 6768704 w 6994525"/>
                  <a:gd name="connsiteY18285" fmla="*/ 5076430 h 7571036"/>
                  <a:gd name="connsiteX18286" fmla="*/ 6748977 w 6994525"/>
                  <a:gd name="connsiteY18286" fmla="*/ 5096156 h 7571036"/>
                  <a:gd name="connsiteX18287" fmla="*/ 6768704 w 6994525"/>
                  <a:gd name="connsiteY18287" fmla="*/ 5115881 h 7571036"/>
                  <a:gd name="connsiteX18288" fmla="*/ 6788429 w 6994525"/>
                  <a:gd name="connsiteY18288" fmla="*/ 5096156 h 7571036"/>
                  <a:gd name="connsiteX18289" fmla="*/ 6788921 w 6994525"/>
                  <a:gd name="connsiteY18289" fmla="*/ 4165826 h 7571036"/>
                  <a:gd name="connsiteX18290" fmla="*/ 6749961 w 6994525"/>
                  <a:gd name="connsiteY18290" fmla="*/ 4126865 h 7571036"/>
                  <a:gd name="connsiteX18291" fmla="*/ 6711004 w 6994525"/>
                  <a:gd name="connsiteY18291" fmla="*/ 4165826 h 7571036"/>
                  <a:gd name="connsiteX18292" fmla="*/ 6749961 w 6994525"/>
                  <a:gd name="connsiteY18292" fmla="*/ 4204785 h 7571036"/>
                  <a:gd name="connsiteX18293" fmla="*/ 6788921 w 6994525"/>
                  <a:gd name="connsiteY18293" fmla="*/ 4165826 h 7571036"/>
                  <a:gd name="connsiteX18294" fmla="*/ 6793608 w 6994525"/>
                  <a:gd name="connsiteY18294" fmla="*/ 2499275 h 7571036"/>
                  <a:gd name="connsiteX18295" fmla="*/ 6788184 w 6994525"/>
                  <a:gd name="connsiteY18295" fmla="*/ 2493851 h 7571036"/>
                  <a:gd name="connsiteX18296" fmla="*/ 6782758 w 6994525"/>
                  <a:gd name="connsiteY18296" fmla="*/ 2499275 h 7571036"/>
                  <a:gd name="connsiteX18297" fmla="*/ 6788184 w 6994525"/>
                  <a:gd name="connsiteY18297" fmla="*/ 2504692 h 7571036"/>
                  <a:gd name="connsiteX18298" fmla="*/ 6793608 w 6994525"/>
                  <a:gd name="connsiteY18298" fmla="*/ 2499275 h 7571036"/>
                  <a:gd name="connsiteX18299" fmla="*/ 6793856 w 6994525"/>
                  <a:gd name="connsiteY18299" fmla="*/ 1591755 h 7571036"/>
                  <a:gd name="connsiteX18300" fmla="*/ 6747745 w 6994525"/>
                  <a:gd name="connsiteY18300" fmla="*/ 1545647 h 7571036"/>
                  <a:gd name="connsiteX18301" fmla="*/ 6701635 w 6994525"/>
                  <a:gd name="connsiteY18301" fmla="*/ 1591755 h 7571036"/>
                  <a:gd name="connsiteX18302" fmla="*/ 6747745 w 6994525"/>
                  <a:gd name="connsiteY18302" fmla="*/ 1637871 h 7571036"/>
                  <a:gd name="connsiteX18303" fmla="*/ 6793856 w 6994525"/>
                  <a:gd name="connsiteY18303" fmla="*/ 1591755 h 7571036"/>
                  <a:gd name="connsiteX18304" fmla="*/ 6801007 w 6994525"/>
                  <a:gd name="connsiteY18304" fmla="*/ 1010165 h 7571036"/>
                  <a:gd name="connsiteX18305" fmla="*/ 6750211 w 6994525"/>
                  <a:gd name="connsiteY18305" fmla="*/ 959376 h 7571036"/>
                  <a:gd name="connsiteX18306" fmla="*/ 6699417 w 6994525"/>
                  <a:gd name="connsiteY18306" fmla="*/ 1010165 h 7571036"/>
                  <a:gd name="connsiteX18307" fmla="*/ 6750211 w 6994525"/>
                  <a:gd name="connsiteY18307" fmla="*/ 1060960 h 7571036"/>
                  <a:gd name="connsiteX18308" fmla="*/ 6801007 w 6994525"/>
                  <a:gd name="connsiteY18308" fmla="*/ 1010165 h 7571036"/>
                  <a:gd name="connsiteX18309" fmla="*/ 6805937 w 6994525"/>
                  <a:gd name="connsiteY18309" fmla="*/ 4051661 h 7571036"/>
                  <a:gd name="connsiteX18310" fmla="*/ 6771910 w 6994525"/>
                  <a:gd name="connsiteY18310" fmla="*/ 4017631 h 7571036"/>
                  <a:gd name="connsiteX18311" fmla="*/ 6737882 w 6994525"/>
                  <a:gd name="connsiteY18311" fmla="*/ 4051661 h 7571036"/>
                  <a:gd name="connsiteX18312" fmla="*/ 6771910 w 6994525"/>
                  <a:gd name="connsiteY18312" fmla="*/ 4085687 h 7571036"/>
                  <a:gd name="connsiteX18313" fmla="*/ 6805937 w 6994525"/>
                  <a:gd name="connsiteY18313" fmla="*/ 4051661 h 7571036"/>
                  <a:gd name="connsiteX18314" fmla="*/ 6807168 w 6994525"/>
                  <a:gd name="connsiteY18314" fmla="*/ 4830595 h 7571036"/>
                  <a:gd name="connsiteX18315" fmla="*/ 6770184 w 6994525"/>
                  <a:gd name="connsiteY18315" fmla="*/ 4793607 h 7571036"/>
                  <a:gd name="connsiteX18316" fmla="*/ 6733197 w 6994525"/>
                  <a:gd name="connsiteY18316" fmla="*/ 4830595 h 7571036"/>
                  <a:gd name="connsiteX18317" fmla="*/ 6770184 w 6994525"/>
                  <a:gd name="connsiteY18317" fmla="*/ 4867579 h 7571036"/>
                  <a:gd name="connsiteX18318" fmla="*/ 6807168 w 6994525"/>
                  <a:gd name="connsiteY18318" fmla="*/ 4830595 h 7571036"/>
                  <a:gd name="connsiteX18319" fmla="*/ 6807908 w 6994525"/>
                  <a:gd name="connsiteY18319" fmla="*/ 1850469 h 7571036"/>
                  <a:gd name="connsiteX18320" fmla="*/ 6764265 w 6994525"/>
                  <a:gd name="connsiteY18320" fmla="*/ 1806831 h 7571036"/>
                  <a:gd name="connsiteX18321" fmla="*/ 6720621 w 6994525"/>
                  <a:gd name="connsiteY18321" fmla="*/ 1850469 h 7571036"/>
                  <a:gd name="connsiteX18322" fmla="*/ 6764265 w 6994525"/>
                  <a:gd name="connsiteY18322" fmla="*/ 1894061 h 7571036"/>
                  <a:gd name="connsiteX18323" fmla="*/ 6807908 w 6994525"/>
                  <a:gd name="connsiteY18323" fmla="*/ 1850469 h 7571036"/>
                  <a:gd name="connsiteX18324" fmla="*/ 6807910 w 6994525"/>
                  <a:gd name="connsiteY18324" fmla="*/ 4557880 h 7571036"/>
                  <a:gd name="connsiteX18325" fmla="*/ 6756127 w 6994525"/>
                  <a:gd name="connsiteY18325" fmla="*/ 4506098 h 7571036"/>
                  <a:gd name="connsiteX18326" fmla="*/ 6704348 w 6994525"/>
                  <a:gd name="connsiteY18326" fmla="*/ 4557880 h 7571036"/>
                  <a:gd name="connsiteX18327" fmla="*/ 6756127 w 6994525"/>
                  <a:gd name="connsiteY18327" fmla="*/ 4609660 h 7571036"/>
                  <a:gd name="connsiteX18328" fmla="*/ 6807910 w 6994525"/>
                  <a:gd name="connsiteY18328" fmla="*/ 4557880 h 7571036"/>
                  <a:gd name="connsiteX18329" fmla="*/ 6809142 w 6994525"/>
                  <a:gd name="connsiteY18329" fmla="*/ 2116109 h 7571036"/>
                  <a:gd name="connsiteX18330" fmla="*/ 6766732 w 6994525"/>
                  <a:gd name="connsiteY18330" fmla="*/ 2073673 h 7571036"/>
                  <a:gd name="connsiteX18331" fmla="*/ 6724320 w 6994525"/>
                  <a:gd name="connsiteY18331" fmla="*/ 2116109 h 7571036"/>
                  <a:gd name="connsiteX18332" fmla="*/ 6766732 w 6994525"/>
                  <a:gd name="connsiteY18332" fmla="*/ 2158527 h 7571036"/>
                  <a:gd name="connsiteX18333" fmla="*/ 6809142 w 6994525"/>
                  <a:gd name="connsiteY18333" fmla="*/ 2116109 h 7571036"/>
                  <a:gd name="connsiteX18334" fmla="*/ 6809633 w 6994525"/>
                  <a:gd name="connsiteY18334" fmla="*/ 3009948 h 7571036"/>
                  <a:gd name="connsiteX18335" fmla="*/ 6788675 w 6994525"/>
                  <a:gd name="connsiteY18335" fmla="*/ 2988988 h 7571036"/>
                  <a:gd name="connsiteX18336" fmla="*/ 6767963 w 6994525"/>
                  <a:gd name="connsiteY18336" fmla="*/ 3009948 h 7571036"/>
                  <a:gd name="connsiteX18337" fmla="*/ 6788675 w 6994525"/>
                  <a:gd name="connsiteY18337" fmla="*/ 3030909 h 7571036"/>
                  <a:gd name="connsiteX18338" fmla="*/ 6809633 w 6994525"/>
                  <a:gd name="connsiteY18338" fmla="*/ 3009948 h 7571036"/>
                  <a:gd name="connsiteX18339" fmla="*/ 6810620 w 6994525"/>
                  <a:gd name="connsiteY18339" fmla="*/ 5889389 h 7571036"/>
                  <a:gd name="connsiteX18340" fmla="*/ 6791880 w 6994525"/>
                  <a:gd name="connsiteY18340" fmla="*/ 5870895 h 7571036"/>
                  <a:gd name="connsiteX18341" fmla="*/ 6773141 w 6994525"/>
                  <a:gd name="connsiteY18341" fmla="*/ 5889389 h 7571036"/>
                  <a:gd name="connsiteX18342" fmla="*/ 6791880 w 6994525"/>
                  <a:gd name="connsiteY18342" fmla="*/ 5908129 h 7571036"/>
                  <a:gd name="connsiteX18343" fmla="*/ 6810620 w 6994525"/>
                  <a:gd name="connsiteY18343" fmla="*/ 5889389 h 7571036"/>
                  <a:gd name="connsiteX18344" fmla="*/ 6812593 w 6994525"/>
                  <a:gd name="connsiteY18344" fmla="*/ 1405125 h 7571036"/>
                  <a:gd name="connsiteX18345" fmla="*/ 6761059 w 6994525"/>
                  <a:gd name="connsiteY18345" fmla="*/ 1353585 h 7571036"/>
                  <a:gd name="connsiteX18346" fmla="*/ 6709526 w 6994525"/>
                  <a:gd name="connsiteY18346" fmla="*/ 1405125 h 7571036"/>
                  <a:gd name="connsiteX18347" fmla="*/ 6761059 w 6994525"/>
                  <a:gd name="connsiteY18347" fmla="*/ 1456655 h 7571036"/>
                  <a:gd name="connsiteX18348" fmla="*/ 6812593 w 6994525"/>
                  <a:gd name="connsiteY18348" fmla="*/ 1405125 h 7571036"/>
                  <a:gd name="connsiteX18349" fmla="*/ 6819004 w 6994525"/>
                  <a:gd name="connsiteY18349" fmla="*/ 3936755 h 7571036"/>
                  <a:gd name="connsiteX18350" fmla="*/ 6789910 w 6994525"/>
                  <a:gd name="connsiteY18350" fmla="*/ 3907661 h 7571036"/>
                  <a:gd name="connsiteX18351" fmla="*/ 6760813 w 6994525"/>
                  <a:gd name="connsiteY18351" fmla="*/ 3936755 h 7571036"/>
                  <a:gd name="connsiteX18352" fmla="*/ 6789910 w 6994525"/>
                  <a:gd name="connsiteY18352" fmla="*/ 3965852 h 7571036"/>
                  <a:gd name="connsiteX18353" fmla="*/ 6819004 w 6994525"/>
                  <a:gd name="connsiteY18353" fmla="*/ 3936755 h 7571036"/>
                  <a:gd name="connsiteX18354" fmla="*/ 6822704 w 6994525"/>
                  <a:gd name="connsiteY18354" fmla="*/ 5491661 h 7571036"/>
                  <a:gd name="connsiteX18355" fmla="*/ 6797554 w 6994525"/>
                  <a:gd name="connsiteY18355" fmla="*/ 5466511 h 7571036"/>
                  <a:gd name="connsiteX18356" fmla="*/ 6772403 w 6994525"/>
                  <a:gd name="connsiteY18356" fmla="*/ 5491661 h 7571036"/>
                  <a:gd name="connsiteX18357" fmla="*/ 6797554 w 6994525"/>
                  <a:gd name="connsiteY18357" fmla="*/ 5516813 h 7571036"/>
                  <a:gd name="connsiteX18358" fmla="*/ 6822704 w 6994525"/>
                  <a:gd name="connsiteY18358" fmla="*/ 5491661 h 7571036"/>
                  <a:gd name="connsiteX18359" fmla="*/ 6823936 w 6994525"/>
                  <a:gd name="connsiteY18359" fmla="*/ 3125602 h 7571036"/>
                  <a:gd name="connsiteX18360" fmla="*/ 6802979 w 6994525"/>
                  <a:gd name="connsiteY18360" fmla="*/ 3104642 h 7571036"/>
                  <a:gd name="connsiteX18361" fmla="*/ 6782020 w 6994525"/>
                  <a:gd name="connsiteY18361" fmla="*/ 3125602 h 7571036"/>
                  <a:gd name="connsiteX18362" fmla="*/ 6802979 w 6994525"/>
                  <a:gd name="connsiteY18362" fmla="*/ 3146563 h 7571036"/>
                  <a:gd name="connsiteX18363" fmla="*/ 6823936 w 6994525"/>
                  <a:gd name="connsiteY18363" fmla="*/ 3125602 h 7571036"/>
                  <a:gd name="connsiteX18364" fmla="*/ 6827636 w 6994525"/>
                  <a:gd name="connsiteY18364" fmla="*/ 2610976 h 7571036"/>
                  <a:gd name="connsiteX18365" fmla="*/ 6819254 w 6994525"/>
                  <a:gd name="connsiteY18365" fmla="*/ 2602591 h 7571036"/>
                  <a:gd name="connsiteX18366" fmla="*/ 6810868 w 6994525"/>
                  <a:gd name="connsiteY18366" fmla="*/ 2610976 h 7571036"/>
                  <a:gd name="connsiteX18367" fmla="*/ 6819254 w 6994525"/>
                  <a:gd name="connsiteY18367" fmla="*/ 2619605 h 7571036"/>
                  <a:gd name="connsiteX18368" fmla="*/ 6827636 w 6994525"/>
                  <a:gd name="connsiteY18368" fmla="*/ 2610976 h 7571036"/>
                  <a:gd name="connsiteX18369" fmla="*/ 6828131 w 6994525"/>
                  <a:gd name="connsiteY18369" fmla="*/ 3821361 h 7571036"/>
                  <a:gd name="connsiteX18370" fmla="*/ 6803719 w 6994525"/>
                  <a:gd name="connsiteY18370" fmla="*/ 3796949 h 7571036"/>
                  <a:gd name="connsiteX18371" fmla="*/ 6779307 w 6994525"/>
                  <a:gd name="connsiteY18371" fmla="*/ 3821361 h 7571036"/>
                  <a:gd name="connsiteX18372" fmla="*/ 6803719 w 6994525"/>
                  <a:gd name="connsiteY18372" fmla="*/ 3845769 h 7571036"/>
                  <a:gd name="connsiteX18373" fmla="*/ 6828131 w 6994525"/>
                  <a:gd name="connsiteY18373" fmla="*/ 3821361 h 7571036"/>
                  <a:gd name="connsiteX18374" fmla="*/ 6830348 w 6994525"/>
                  <a:gd name="connsiteY18374" fmla="*/ 3241255 h 7571036"/>
                  <a:gd name="connsiteX18375" fmla="*/ 6813089 w 6994525"/>
                  <a:gd name="connsiteY18375" fmla="*/ 3223992 h 7571036"/>
                  <a:gd name="connsiteX18376" fmla="*/ 6795828 w 6994525"/>
                  <a:gd name="connsiteY18376" fmla="*/ 3241255 h 7571036"/>
                  <a:gd name="connsiteX18377" fmla="*/ 6813089 w 6994525"/>
                  <a:gd name="connsiteY18377" fmla="*/ 3258502 h 7571036"/>
                  <a:gd name="connsiteX18378" fmla="*/ 6830348 w 6994525"/>
                  <a:gd name="connsiteY18378" fmla="*/ 3241255 h 7571036"/>
                  <a:gd name="connsiteX18379" fmla="*/ 6832564 w 6994525"/>
                  <a:gd name="connsiteY18379" fmla="*/ 5252975 h 7571036"/>
                  <a:gd name="connsiteX18380" fmla="*/ 6809633 w 6994525"/>
                  <a:gd name="connsiteY18380" fmla="*/ 5230045 h 7571036"/>
                  <a:gd name="connsiteX18381" fmla="*/ 6786703 w 6994525"/>
                  <a:gd name="connsiteY18381" fmla="*/ 5252975 h 7571036"/>
                  <a:gd name="connsiteX18382" fmla="*/ 6809633 w 6994525"/>
                  <a:gd name="connsiteY18382" fmla="*/ 5275909 h 7571036"/>
                  <a:gd name="connsiteX18383" fmla="*/ 6832564 w 6994525"/>
                  <a:gd name="connsiteY18383" fmla="*/ 5252975 h 7571036"/>
                  <a:gd name="connsiteX18384" fmla="*/ 6832814 w 6994525"/>
                  <a:gd name="connsiteY18384" fmla="*/ 3357393 h 7571036"/>
                  <a:gd name="connsiteX18385" fmla="*/ 6819251 w 6994525"/>
                  <a:gd name="connsiteY18385" fmla="*/ 3343814 h 7571036"/>
                  <a:gd name="connsiteX18386" fmla="*/ 6805689 w 6994525"/>
                  <a:gd name="connsiteY18386" fmla="*/ 3357393 h 7571036"/>
                  <a:gd name="connsiteX18387" fmla="*/ 6819251 w 6994525"/>
                  <a:gd name="connsiteY18387" fmla="*/ 3370915 h 7571036"/>
                  <a:gd name="connsiteX18388" fmla="*/ 6832814 w 6994525"/>
                  <a:gd name="connsiteY18388" fmla="*/ 3357393 h 7571036"/>
                  <a:gd name="connsiteX18389" fmla="*/ 6833800 w 6994525"/>
                  <a:gd name="connsiteY18389" fmla="*/ 3705466 h 7571036"/>
                  <a:gd name="connsiteX18390" fmla="*/ 6813828 w 6994525"/>
                  <a:gd name="connsiteY18390" fmla="*/ 3685494 h 7571036"/>
                  <a:gd name="connsiteX18391" fmla="*/ 6793607 w 6994525"/>
                  <a:gd name="connsiteY18391" fmla="*/ 3705466 h 7571036"/>
                  <a:gd name="connsiteX18392" fmla="*/ 6813828 w 6994525"/>
                  <a:gd name="connsiteY18392" fmla="*/ 3725687 h 7571036"/>
                  <a:gd name="connsiteX18393" fmla="*/ 6833800 w 6994525"/>
                  <a:gd name="connsiteY18393" fmla="*/ 3705466 h 7571036"/>
                  <a:gd name="connsiteX18394" fmla="*/ 6835035 w 6994525"/>
                  <a:gd name="connsiteY18394" fmla="*/ 3473441 h 7571036"/>
                  <a:gd name="connsiteX18395" fmla="*/ 6821472 w 6994525"/>
                  <a:gd name="connsiteY18395" fmla="*/ 3460231 h 7571036"/>
                  <a:gd name="connsiteX18396" fmla="*/ 6807910 w 6994525"/>
                  <a:gd name="connsiteY18396" fmla="*/ 3473441 h 7571036"/>
                  <a:gd name="connsiteX18397" fmla="*/ 6821472 w 6994525"/>
                  <a:gd name="connsiteY18397" fmla="*/ 3487001 h 7571036"/>
                  <a:gd name="connsiteX18398" fmla="*/ 6835035 w 6994525"/>
                  <a:gd name="connsiteY18398" fmla="*/ 3473441 h 7571036"/>
                  <a:gd name="connsiteX18399" fmla="*/ 6836266 w 6994525"/>
                  <a:gd name="connsiteY18399" fmla="*/ 3589577 h 7571036"/>
                  <a:gd name="connsiteX18400" fmla="*/ 6819500 w 6994525"/>
                  <a:gd name="connsiteY18400" fmla="*/ 3572810 h 7571036"/>
                  <a:gd name="connsiteX18401" fmla="*/ 6802732 w 6994525"/>
                  <a:gd name="connsiteY18401" fmla="*/ 3589577 h 7571036"/>
                  <a:gd name="connsiteX18402" fmla="*/ 6819500 w 6994525"/>
                  <a:gd name="connsiteY18402" fmla="*/ 3606344 h 7571036"/>
                  <a:gd name="connsiteX18403" fmla="*/ 6836266 w 6994525"/>
                  <a:gd name="connsiteY18403" fmla="*/ 3589577 h 7571036"/>
                  <a:gd name="connsiteX18404" fmla="*/ 6842428 w 6994525"/>
                  <a:gd name="connsiteY18404" fmla="*/ 4446920 h 7571036"/>
                  <a:gd name="connsiteX18405" fmla="*/ 6790895 w 6994525"/>
                  <a:gd name="connsiteY18405" fmla="*/ 4395386 h 7571036"/>
                  <a:gd name="connsiteX18406" fmla="*/ 6739361 w 6994525"/>
                  <a:gd name="connsiteY18406" fmla="*/ 4446920 h 7571036"/>
                  <a:gd name="connsiteX18407" fmla="*/ 6790895 w 6994525"/>
                  <a:gd name="connsiteY18407" fmla="*/ 4498453 h 7571036"/>
                  <a:gd name="connsiteX18408" fmla="*/ 6842428 w 6994525"/>
                  <a:gd name="connsiteY18408" fmla="*/ 4446920 h 7571036"/>
                  <a:gd name="connsiteX18409" fmla="*/ 6843168 w 6994525"/>
                  <a:gd name="connsiteY18409" fmla="*/ 1253746 h 7571036"/>
                  <a:gd name="connsiteX18410" fmla="*/ 6791389 w 6994525"/>
                  <a:gd name="connsiteY18410" fmla="*/ 1201976 h 7571036"/>
                  <a:gd name="connsiteX18411" fmla="*/ 6739361 w 6994525"/>
                  <a:gd name="connsiteY18411" fmla="*/ 1253746 h 7571036"/>
                  <a:gd name="connsiteX18412" fmla="*/ 6791389 w 6994525"/>
                  <a:gd name="connsiteY18412" fmla="*/ 1305523 h 7571036"/>
                  <a:gd name="connsiteX18413" fmla="*/ 6843168 w 6994525"/>
                  <a:gd name="connsiteY18413" fmla="*/ 1253746 h 7571036"/>
                  <a:gd name="connsiteX18414" fmla="*/ 6845144 w 6994525"/>
                  <a:gd name="connsiteY18414" fmla="*/ 4991362 h 7571036"/>
                  <a:gd name="connsiteX18415" fmla="*/ 6818513 w 6994525"/>
                  <a:gd name="connsiteY18415" fmla="*/ 4964731 h 7571036"/>
                  <a:gd name="connsiteX18416" fmla="*/ 6792129 w 6994525"/>
                  <a:gd name="connsiteY18416" fmla="*/ 4991362 h 7571036"/>
                  <a:gd name="connsiteX18417" fmla="*/ 6818513 w 6994525"/>
                  <a:gd name="connsiteY18417" fmla="*/ 5017746 h 7571036"/>
                  <a:gd name="connsiteX18418" fmla="*/ 6845144 w 6994525"/>
                  <a:gd name="connsiteY18418" fmla="*/ 4991362 h 7571036"/>
                  <a:gd name="connsiteX18419" fmla="*/ 6845389 w 6994525"/>
                  <a:gd name="connsiteY18419" fmla="*/ 5644291 h 7571036"/>
                  <a:gd name="connsiteX18420" fmla="*/ 6829608 w 6994525"/>
                  <a:gd name="connsiteY18420" fmla="*/ 5628510 h 7571036"/>
                  <a:gd name="connsiteX18421" fmla="*/ 6813828 w 6994525"/>
                  <a:gd name="connsiteY18421" fmla="*/ 5644291 h 7571036"/>
                  <a:gd name="connsiteX18422" fmla="*/ 6829608 w 6994525"/>
                  <a:gd name="connsiteY18422" fmla="*/ 5660072 h 7571036"/>
                  <a:gd name="connsiteX18423" fmla="*/ 6845389 w 6994525"/>
                  <a:gd name="connsiteY18423" fmla="*/ 5644291 h 7571036"/>
                  <a:gd name="connsiteX18424" fmla="*/ 6850075 w 6994525"/>
                  <a:gd name="connsiteY18424" fmla="*/ 1693103 h 7571036"/>
                  <a:gd name="connsiteX18425" fmla="*/ 6804457 w 6994525"/>
                  <a:gd name="connsiteY18425" fmla="*/ 1647486 h 7571036"/>
                  <a:gd name="connsiteX18426" fmla="*/ 6758841 w 6994525"/>
                  <a:gd name="connsiteY18426" fmla="*/ 1693103 h 7571036"/>
                  <a:gd name="connsiteX18427" fmla="*/ 6804457 w 6994525"/>
                  <a:gd name="connsiteY18427" fmla="*/ 1738718 h 7571036"/>
                  <a:gd name="connsiteX18428" fmla="*/ 6850075 w 6994525"/>
                  <a:gd name="connsiteY18428" fmla="*/ 1693103 h 7571036"/>
                  <a:gd name="connsiteX18429" fmla="*/ 6852045 w 6994525"/>
                  <a:gd name="connsiteY18429" fmla="*/ 2223876 h 7571036"/>
                  <a:gd name="connsiteX18430" fmla="*/ 6809634 w 6994525"/>
                  <a:gd name="connsiteY18430" fmla="*/ 2181475 h 7571036"/>
                  <a:gd name="connsiteX18431" fmla="*/ 6767223 w 6994525"/>
                  <a:gd name="connsiteY18431" fmla="*/ 2223876 h 7571036"/>
                  <a:gd name="connsiteX18432" fmla="*/ 6809634 w 6994525"/>
                  <a:gd name="connsiteY18432" fmla="*/ 2266275 h 7571036"/>
                  <a:gd name="connsiteX18433" fmla="*/ 6852045 w 6994525"/>
                  <a:gd name="connsiteY18433" fmla="*/ 2223876 h 7571036"/>
                  <a:gd name="connsiteX18434" fmla="*/ 6856485 w 6994525"/>
                  <a:gd name="connsiteY18434" fmla="*/ 4722593 h 7571036"/>
                  <a:gd name="connsiteX18435" fmla="*/ 6812842 w 6994525"/>
                  <a:gd name="connsiteY18435" fmla="*/ 4678950 h 7571036"/>
                  <a:gd name="connsiteX18436" fmla="*/ 6769198 w 6994525"/>
                  <a:gd name="connsiteY18436" fmla="*/ 4722593 h 7571036"/>
                  <a:gd name="connsiteX18437" fmla="*/ 6812842 w 6994525"/>
                  <a:gd name="connsiteY18437" fmla="*/ 4766236 h 7571036"/>
                  <a:gd name="connsiteX18438" fmla="*/ 6856485 w 6994525"/>
                  <a:gd name="connsiteY18438" fmla="*/ 4722593 h 7571036"/>
                  <a:gd name="connsiteX18439" fmla="*/ 6857473 w 6994525"/>
                  <a:gd name="connsiteY18439" fmla="*/ 1954889 h 7571036"/>
                  <a:gd name="connsiteX18440" fmla="*/ 6814322 w 6994525"/>
                  <a:gd name="connsiteY18440" fmla="*/ 1911792 h 7571036"/>
                  <a:gd name="connsiteX18441" fmla="*/ 6771170 w 6994525"/>
                  <a:gd name="connsiteY18441" fmla="*/ 1954889 h 7571036"/>
                  <a:gd name="connsiteX18442" fmla="*/ 6814322 w 6994525"/>
                  <a:gd name="connsiteY18442" fmla="*/ 1997987 h 7571036"/>
                  <a:gd name="connsiteX18443" fmla="*/ 6857473 w 6994525"/>
                  <a:gd name="connsiteY18443" fmla="*/ 1954889 h 7571036"/>
                  <a:gd name="connsiteX18444" fmla="*/ 6858211 w 6994525"/>
                  <a:gd name="connsiteY18444" fmla="*/ 2723919 h 7571036"/>
                  <a:gd name="connsiteX18445" fmla="*/ 6846622 w 6994525"/>
                  <a:gd name="connsiteY18445" fmla="*/ 2712329 h 7571036"/>
                  <a:gd name="connsiteX18446" fmla="*/ 6835032 w 6994525"/>
                  <a:gd name="connsiteY18446" fmla="*/ 2723919 h 7571036"/>
                  <a:gd name="connsiteX18447" fmla="*/ 6846622 w 6994525"/>
                  <a:gd name="connsiteY18447" fmla="*/ 2735508 h 7571036"/>
                  <a:gd name="connsiteX18448" fmla="*/ 6858211 w 6994525"/>
                  <a:gd name="connsiteY18448" fmla="*/ 2723919 h 7571036"/>
                  <a:gd name="connsiteX18449" fmla="*/ 6870292 w 6994525"/>
                  <a:gd name="connsiteY18449" fmla="*/ 1103618 h 7571036"/>
                  <a:gd name="connsiteX18450" fmla="*/ 6819004 w 6994525"/>
                  <a:gd name="connsiteY18450" fmla="*/ 1052323 h 7571036"/>
                  <a:gd name="connsiteX18451" fmla="*/ 6767963 w 6994525"/>
                  <a:gd name="connsiteY18451" fmla="*/ 1103618 h 7571036"/>
                  <a:gd name="connsiteX18452" fmla="*/ 6819004 w 6994525"/>
                  <a:gd name="connsiteY18452" fmla="*/ 1154908 h 7571036"/>
                  <a:gd name="connsiteX18453" fmla="*/ 6870292 w 6994525"/>
                  <a:gd name="connsiteY18453" fmla="*/ 1103618 h 7571036"/>
                  <a:gd name="connsiteX18454" fmla="*/ 6872757 w 6994525"/>
                  <a:gd name="connsiteY18454" fmla="*/ 4334976 h 7571036"/>
                  <a:gd name="connsiteX18455" fmla="*/ 6821718 w 6994525"/>
                  <a:gd name="connsiteY18455" fmla="*/ 4283934 h 7571036"/>
                  <a:gd name="connsiteX18456" fmla="*/ 6770676 w 6994525"/>
                  <a:gd name="connsiteY18456" fmla="*/ 4334976 h 7571036"/>
                  <a:gd name="connsiteX18457" fmla="*/ 6821718 w 6994525"/>
                  <a:gd name="connsiteY18457" fmla="*/ 4386018 h 7571036"/>
                  <a:gd name="connsiteX18458" fmla="*/ 6872757 w 6994525"/>
                  <a:gd name="connsiteY18458" fmla="*/ 4334976 h 7571036"/>
                  <a:gd name="connsiteX18459" fmla="*/ 6873992 w 6994525"/>
                  <a:gd name="connsiteY18459" fmla="*/ 1504002 h 7571036"/>
                  <a:gd name="connsiteX18460" fmla="*/ 6821964 w 6994525"/>
                  <a:gd name="connsiteY18460" fmla="*/ 1451962 h 7571036"/>
                  <a:gd name="connsiteX18461" fmla="*/ 6769936 w 6994525"/>
                  <a:gd name="connsiteY18461" fmla="*/ 1504002 h 7571036"/>
                  <a:gd name="connsiteX18462" fmla="*/ 6821964 w 6994525"/>
                  <a:gd name="connsiteY18462" fmla="*/ 1556025 h 7571036"/>
                  <a:gd name="connsiteX18463" fmla="*/ 6873992 w 6994525"/>
                  <a:gd name="connsiteY18463" fmla="*/ 1504002 h 7571036"/>
                  <a:gd name="connsiteX18464" fmla="*/ 6878675 w 6994525"/>
                  <a:gd name="connsiteY18464" fmla="*/ 5794705 h 7571036"/>
                  <a:gd name="connsiteX18465" fmla="*/ 6859197 w 6994525"/>
                  <a:gd name="connsiteY18465" fmla="*/ 5775224 h 7571036"/>
                  <a:gd name="connsiteX18466" fmla="*/ 6839717 w 6994525"/>
                  <a:gd name="connsiteY18466" fmla="*/ 5794705 h 7571036"/>
                  <a:gd name="connsiteX18467" fmla="*/ 6859197 w 6994525"/>
                  <a:gd name="connsiteY18467" fmla="*/ 5814181 h 7571036"/>
                  <a:gd name="connsiteX18468" fmla="*/ 6878675 w 6994525"/>
                  <a:gd name="connsiteY18468" fmla="*/ 5794705 h 7571036"/>
                  <a:gd name="connsiteX18469" fmla="*/ 6882870 w 6994525"/>
                  <a:gd name="connsiteY18469" fmla="*/ 5391552 h 7571036"/>
                  <a:gd name="connsiteX18470" fmla="*/ 6856731 w 6994525"/>
                  <a:gd name="connsiteY18470" fmla="*/ 5365416 h 7571036"/>
                  <a:gd name="connsiteX18471" fmla="*/ 6830595 w 6994525"/>
                  <a:gd name="connsiteY18471" fmla="*/ 5391552 h 7571036"/>
                  <a:gd name="connsiteX18472" fmla="*/ 6856731 w 6994525"/>
                  <a:gd name="connsiteY18472" fmla="*/ 5417691 h 7571036"/>
                  <a:gd name="connsiteX18473" fmla="*/ 6882870 w 6994525"/>
                  <a:gd name="connsiteY18473" fmla="*/ 5391552 h 7571036"/>
                  <a:gd name="connsiteX18474" fmla="*/ 6884592 w 6994525"/>
                  <a:gd name="connsiteY18474" fmla="*/ 2837845 h 7571036"/>
                  <a:gd name="connsiteX18475" fmla="*/ 6870047 w 6994525"/>
                  <a:gd name="connsiteY18475" fmla="*/ 2823297 h 7571036"/>
                  <a:gd name="connsiteX18476" fmla="*/ 6855498 w 6994525"/>
                  <a:gd name="connsiteY18476" fmla="*/ 2837845 h 7571036"/>
                  <a:gd name="connsiteX18477" fmla="*/ 6870047 w 6994525"/>
                  <a:gd name="connsiteY18477" fmla="*/ 2852391 h 7571036"/>
                  <a:gd name="connsiteX18478" fmla="*/ 6884592 w 6994525"/>
                  <a:gd name="connsiteY18478" fmla="*/ 2837845 h 7571036"/>
                  <a:gd name="connsiteX18479" fmla="*/ 6888784 w 6994525"/>
                  <a:gd name="connsiteY18479" fmla="*/ 5149908 h 7571036"/>
                  <a:gd name="connsiteX18480" fmla="*/ 6862894 w 6994525"/>
                  <a:gd name="connsiteY18480" fmla="*/ 5124018 h 7571036"/>
                  <a:gd name="connsiteX18481" fmla="*/ 6837004 w 6994525"/>
                  <a:gd name="connsiteY18481" fmla="*/ 5149908 h 7571036"/>
                  <a:gd name="connsiteX18482" fmla="*/ 6862894 w 6994525"/>
                  <a:gd name="connsiteY18482" fmla="*/ 5176046 h 7571036"/>
                  <a:gd name="connsiteX18483" fmla="*/ 6888784 w 6994525"/>
                  <a:gd name="connsiteY18483" fmla="*/ 5149908 h 7571036"/>
                  <a:gd name="connsiteX18484" fmla="*/ 6888788 w 6994525"/>
                  <a:gd name="connsiteY18484" fmla="*/ 2333102 h 7571036"/>
                  <a:gd name="connsiteX18485" fmla="*/ 6848841 w 6994525"/>
                  <a:gd name="connsiteY18485" fmla="*/ 2293163 h 7571036"/>
                  <a:gd name="connsiteX18486" fmla="*/ 6808897 w 6994525"/>
                  <a:gd name="connsiteY18486" fmla="*/ 2333102 h 7571036"/>
                  <a:gd name="connsiteX18487" fmla="*/ 6848841 w 6994525"/>
                  <a:gd name="connsiteY18487" fmla="*/ 2373057 h 7571036"/>
                  <a:gd name="connsiteX18488" fmla="*/ 6888788 w 6994525"/>
                  <a:gd name="connsiteY18488" fmla="*/ 2333102 h 7571036"/>
                  <a:gd name="connsiteX18489" fmla="*/ 6898893 w 6994525"/>
                  <a:gd name="connsiteY18489" fmla="*/ 4222046 h 7571036"/>
                  <a:gd name="connsiteX18490" fmla="*/ 6848841 w 6994525"/>
                  <a:gd name="connsiteY18490" fmla="*/ 4171990 h 7571036"/>
                  <a:gd name="connsiteX18491" fmla="*/ 6798785 w 6994525"/>
                  <a:gd name="connsiteY18491" fmla="*/ 4222046 h 7571036"/>
                  <a:gd name="connsiteX18492" fmla="*/ 6848841 w 6994525"/>
                  <a:gd name="connsiteY18492" fmla="*/ 4272098 h 7571036"/>
                  <a:gd name="connsiteX18493" fmla="*/ 6898893 w 6994525"/>
                  <a:gd name="connsiteY18493" fmla="*/ 4222046 h 7571036"/>
                  <a:gd name="connsiteX18494" fmla="*/ 6901608 w 6994525"/>
                  <a:gd name="connsiteY18494" fmla="*/ 4613114 h 7571036"/>
                  <a:gd name="connsiteX18495" fmla="*/ 6851798 w 6994525"/>
                  <a:gd name="connsiteY18495" fmla="*/ 4563552 h 7571036"/>
                  <a:gd name="connsiteX18496" fmla="*/ 6802238 w 6994525"/>
                  <a:gd name="connsiteY18496" fmla="*/ 4613114 h 7571036"/>
                  <a:gd name="connsiteX18497" fmla="*/ 6851798 w 6994525"/>
                  <a:gd name="connsiteY18497" fmla="*/ 4662923 h 7571036"/>
                  <a:gd name="connsiteX18498" fmla="*/ 6901608 w 6994525"/>
                  <a:gd name="connsiteY18498" fmla="*/ 4613114 h 7571036"/>
                  <a:gd name="connsiteX18499" fmla="*/ 6901608 w 6994525"/>
                  <a:gd name="connsiteY18499" fmla="*/ 4885085 h 7571036"/>
                  <a:gd name="connsiteX18500" fmla="*/ 6864867 w 6994525"/>
                  <a:gd name="connsiteY18500" fmla="*/ 4848345 h 7571036"/>
                  <a:gd name="connsiteX18501" fmla="*/ 6828128 w 6994525"/>
                  <a:gd name="connsiteY18501" fmla="*/ 4885085 h 7571036"/>
                  <a:gd name="connsiteX18502" fmla="*/ 6864867 w 6994525"/>
                  <a:gd name="connsiteY18502" fmla="*/ 4921823 h 7571036"/>
                  <a:gd name="connsiteX18503" fmla="*/ 6901608 w 6994525"/>
                  <a:gd name="connsiteY18503" fmla="*/ 4885085 h 7571036"/>
                  <a:gd name="connsiteX18504" fmla="*/ 6903332 w 6994525"/>
                  <a:gd name="connsiteY18504" fmla="*/ 1795786 h 7571036"/>
                  <a:gd name="connsiteX18505" fmla="*/ 6857962 w 6994525"/>
                  <a:gd name="connsiteY18505" fmla="*/ 1750334 h 7571036"/>
                  <a:gd name="connsiteX18506" fmla="*/ 6812592 w 6994525"/>
                  <a:gd name="connsiteY18506" fmla="*/ 1795786 h 7571036"/>
                  <a:gd name="connsiteX18507" fmla="*/ 6857962 w 6994525"/>
                  <a:gd name="connsiteY18507" fmla="*/ 1841140 h 7571036"/>
                  <a:gd name="connsiteX18508" fmla="*/ 6903332 w 6994525"/>
                  <a:gd name="connsiteY18508" fmla="*/ 1795786 h 7571036"/>
                  <a:gd name="connsiteX18509" fmla="*/ 6903581 w 6994525"/>
                  <a:gd name="connsiteY18509" fmla="*/ 2060861 h 7571036"/>
                  <a:gd name="connsiteX18510" fmla="*/ 6861170 w 6994525"/>
                  <a:gd name="connsiteY18510" fmla="*/ 2018178 h 7571036"/>
                  <a:gd name="connsiteX18511" fmla="*/ 6818513 w 6994525"/>
                  <a:gd name="connsiteY18511" fmla="*/ 2060861 h 7571036"/>
                  <a:gd name="connsiteX18512" fmla="*/ 6861170 w 6994525"/>
                  <a:gd name="connsiteY18512" fmla="*/ 2103543 h 7571036"/>
                  <a:gd name="connsiteX18513" fmla="*/ 6903581 w 6994525"/>
                  <a:gd name="connsiteY18513" fmla="*/ 2060861 h 7571036"/>
                  <a:gd name="connsiteX18514" fmla="*/ 6907281 w 6994525"/>
                  <a:gd name="connsiteY18514" fmla="*/ 1351148 h 7571036"/>
                  <a:gd name="connsiteX18515" fmla="*/ 6855007 w 6994525"/>
                  <a:gd name="connsiteY18515" fmla="*/ 1298878 h 7571036"/>
                  <a:gd name="connsiteX18516" fmla="*/ 6802732 w 6994525"/>
                  <a:gd name="connsiteY18516" fmla="*/ 1351148 h 7571036"/>
                  <a:gd name="connsiteX18517" fmla="*/ 6855007 w 6994525"/>
                  <a:gd name="connsiteY18517" fmla="*/ 1403425 h 7571036"/>
                  <a:gd name="connsiteX18518" fmla="*/ 6907281 w 6994525"/>
                  <a:gd name="connsiteY18518" fmla="*/ 1351148 h 7571036"/>
                  <a:gd name="connsiteX18519" fmla="*/ 6907281 w 6994525"/>
                  <a:gd name="connsiteY18519" fmla="*/ 2952268 h 7571036"/>
                  <a:gd name="connsiteX18520" fmla="*/ 6889772 w 6994525"/>
                  <a:gd name="connsiteY18520" fmla="*/ 2934758 h 7571036"/>
                  <a:gd name="connsiteX18521" fmla="*/ 6872019 w 6994525"/>
                  <a:gd name="connsiteY18521" fmla="*/ 2952268 h 7571036"/>
                  <a:gd name="connsiteX18522" fmla="*/ 6889772 w 6994525"/>
                  <a:gd name="connsiteY18522" fmla="*/ 2969774 h 7571036"/>
                  <a:gd name="connsiteX18523" fmla="*/ 6907281 w 6994525"/>
                  <a:gd name="connsiteY18523" fmla="*/ 2952268 h 7571036"/>
                  <a:gd name="connsiteX18524" fmla="*/ 6908266 w 6994525"/>
                  <a:gd name="connsiteY18524" fmla="*/ 5545910 h 7571036"/>
                  <a:gd name="connsiteX18525" fmla="*/ 6891499 w 6994525"/>
                  <a:gd name="connsiteY18525" fmla="*/ 5529143 h 7571036"/>
                  <a:gd name="connsiteX18526" fmla="*/ 6874978 w 6994525"/>
                  <a:gd name="connsiteY18526" fmla="*/ 5545910 h 7571036"/>
                  <a:gd name="connsiteX18527" fmla="*/ 6891499 w 6994525"/>
                  <a:gd name="connsiteY18527" fmla="*/ 5562430 h 7571036"/>
                  <a:gd name="connsiteX18528" fmla="*/ 6908266 w 6994525"/>
                  <a:gd name="connsiteY18528" fmla="*/ 5545910 h 7571036"/>
                  <a:gd name="connsiteX18529" fmla="*/ 6911717 w 6994525"/>
                  <a:gd name="connsiteY18529" fmla="*/ 2443329 h 7571036"/>
                  <a:gd name="connsiteX18530" fmla="*/ 6884595 w 6994525"/>
                  <a:gd name="connsiteY18530" fmla="*/ 2416197 h 7571036"/>
                  <a:gd name="connsiteX18531" fmla="*/ 6857470 w 6994525"/>
                  <a:gd name="connsiteY18531" fmla="*/ 2443329 h 7571036"/>
                  <a:gd name="connsiteX18532" fmla="*/ 6884595 w 6994525"/>
                  <a:gd name="connsiteY18532" fmla="*/ 2470454 h 7571036"/>
                  <a:gd name="connsiteX18533" fmla="*/ 6911717 w 6994525"/>
                  <a:gd name="connsiteY18533" fmla="*/ 2443329 h 7571036"/>
                  <a:gd name="connsiteX18534" fmla="*/ 6920349 w 6994525"/>
                  <a:gd name="connsiteY18534" fmla="*/ 4108126 h 7571036"/>
                  <a:gd name="connsiteX18535" fmla="*/ 6872020 w 6994525"/>
                  <a:gd name="connsiteY18535" fmla="*/ 4059797 h 7571036"/>
                  <a:gd name="connsiteX18536" fmla="*/ 6823691 w 6994525"/>
                  <a:gd name="connsiteY18536" fmla="*/ 4108126 h 7571036"/>
                  <a:gd name="connsiteX18537" fmla="*/ 6872020 w 6994525"/>
                  <a:gd name="connsiteY18537" fmla="*/ 4156455 h 7571036"/>
                  <a:gd name="connsiteX18538" fmla="*/ 6920349 w 6994525"/>
                  <a:gd name="connsiteY18538" fmla="*/ 4108126 h 7571036"/>
                  <a:gd name="connsiteX18539" fmla="*/ 6926511 w 6994525"/>
                  <a:gd name="connsiteY18539" fmla="*/ 3067181 h 7571036"/>
                  <a:gd name="connsiteX18540" fmla="*/ 6905554 w 6994525"/>
                  <a:gd name="connsiteY18540" fmla="*/ 3046221 h 7571036"/>
                  <a:gd name="connsiteX18541" fmla="*/ 6884595 w 6994525"/>
                  <a:gd name="connsiteY18541" fmla="*/ 3067181 h 7571036"/>
                  <a:gd name="connsiteX18542" fmla="*/ 6905554 w 6994525"/>
                  <a:gd name="connsiteY18542" fmla="*/ 3088144 h 7571036"/>
                  <a:gd name="connsiteX18543" fmla="*/ 6926511 w 6994525"/>
                  <a:gd name="connsiteY18543" fmla="*/ 3067181 h 7571036"/>
                  <a:gd name="connsiteX18544" fmla="*/ 6932185 w 6994525"/>
                  <a:gd name="connsiteY18544" fmla="*/ 1605097 h 7571036"/>
                  <a:gd name="connsiteX18545" fmla="*/ 6879910 w 6994525"/>
                  <a:gd name="connsiteY18545" fmla="*/ 1552827 h 7571036"/>
                  <a:gd name="connsiteX18546" fmla="*/ 6827636 w 6994525"/>
                  <a:gd name="connsiteY18546" fmla="*/ 1605097 h 7571036"/>
                  <a:gd name="connsiteX18547" fmla="*/ 6879910 w 6994525"/>
                  <a:gd name="connsiteY18547" fmla="*/ 1657365 h 7571036"/>
                  <a:gd name="connsiteX18548" fmla="*/ 6932185 w 6994525"/>
                  <a:gd name="connsiteY18548" fmla="*/ 1605097 h 7571036"/>
                  <a:gd name="connsiteX18549" fmla="*/ 6932185 w 6994525"/>
                  <a:gd name="connsiteY18549" fmla="*/ 2555016 h 7571036"/>
                  <a:gd name="connsiteX18550" fmla="*/ 6916650 w 6994525"/>
                  <a:gd name="connsiteY18550" fmla="*/ 2539487 h 7571036"/>
                  <a:gd name="connsiteX18551" fmla="*/ 6901114 w 6994525"/>
                  <a:gd name="connsiteY18551" fmla="*/ 2555016 h 7571036"/>
                  <a:gd name="connsiteX18552" fmla="*/ 6916650 w 6994525"/>
                  <a:gd name="connsiteY18552" fmla="*/ 2570548 h 7571036"/>
                  <a:gd name="connsiteX18553" fmla="*/ 6932185 w 6994525"/>
                  <a:gd name="connsiteY18553" fmla="*/ 2555016 h 7571036"/>
                  <a:gd name="connsiteX18554" fmla="*/ 6936867 w 6994525"/>
                  <a:gd name="connsiteY18554" fmla="*/ 1199289 h 7571036"/>
                  <a:gd name="connsiteX18555" fmla="*/ 6885333 w 6994525"/>
                  <a:gd name="connsiteY18555" fmla="*/ 1147753 h 7571036"/>
                  <a:gd name="connsiteX18556" fmla="*/ 6833800 w 6994525"/>
                  <a:gd name="connsiteY18556" fmla="*/ 1199289 h 7571036"/>
                  <a:gd name="connsiteX18557" fmla="*/ 6885333 w 6994525"/>
                  <a:gd name="connsiteY18557" fmla="*/ 1250821 h 7571036"/>
                  <a:gd name="connsiteX18558" fmla="*/ 6936867 w 6994525"/>
                  <a:gd name="connsiteY18558" fmla="*/ 1199289 h 7571036"/>
                  <a:gd name="connsiteX18559" fmla="*/ 6938102 w 6994525"/>
                  <a:gd name="connsiteY18559" fmla="*/ 3993467 h 7571036"/>
                  <a:gd name="connsiteX18560" fmla="*/ 6891251 w 6994525"/>
                  <a:gd name="connsiteY18560" fmla="*/ 3946618 h 7571036"/>
                  <a:gd name="connsiteX18561" fmla="*/ 6844403 w 6994525"/>
                  <a:gd name="connsiteY18561" fmla="*/ 3993467 h 7571036"/>
                  <a:gd name="connsiteX18562" fmla="*/ 6891251 w 6994525"/>
                  <a:gd name="connsiteY18562" fmla="*/ 4040317 h 7571036"/>
                  <a:gd name="connsiteX18563" fmla="*/ 6938102 w 6994525"/>
                  <a:gd name="connsiteY18563" fmla="*/ 3993467 h 7571036"/>
                  <a:gd name="connsiteX18564" fmla="*/ 6938348 w 6994525"/>
                  <a:gd name="connsiteY18564" fmla="*/ 4502648 h 7571036"/>
                  <a:gd name="connsiteX18565" fmla="*/ 6887306 w 6994525"/>
                  <a:gd name="connsiteY18565" fmla="*/ 4451605 h 7571036"/>
                  <a:gd name="connsiteX18566" fmla="*/ 6836264 w 6994525"/>
                  <a:gd name="connsiteY18566" fmla="*/ 4502648 h 7571036"/>
                  <a:gd name="connsiteX18567" fmla="*/ 6887306 w 6994525"/>
                  <a:gd name="connsiteY18567" fmla="*/ 4553686 h 7571036"/>
                  <a:gd name="connsiteX18568" fmla="*/ 6938348 w 6994525"/>
                  <a:gd name="connsiteY18568" fmla="*/ 4502648 h 7571036"/>
                  <a:gd name="connsiteX18569" fmla="*/ 6939826 w 6994525"/>
                  <a:gd name="connsiteY18569" fmla="*/ 5289717 h 7571036"/>
                  <a:gd name="connsiteX18570" fmla="*/ 6912950 w 6994525"/>
                  <a:gd name="connsiteY18570" fmla="*/ 5262841 h 7571036"/>
                  <a:gd name="connsiteX18571" fmla="*/ 6886073 w 6994525"/>
                  <a:gd name="connsiteY18571" fmla="*/ 5289717 h 7571036"/>
                  <a:gd name="connsiteX18572" fmla="*/ 6912950 w 6994525"/>
                  <a:gd name="connsiteY18572" fmla="*/ 5316596 h 7571036"/>
                  <a:gd name="connsiteX18573" fmla="*/ 6939826 w 6994525"/>
                  <a:gd name="connsiteY18573" fmla="*/ 5289717 h 7571036"/>
                  <a:gd name="connsiteX18574" fmla="*/ 6941801 w 6994525"/>
                  <a:gd name="connsiteY18574" fmla="*/ 3182838 h 7571036"/>
                  <a:gd name="connsiteX18575" fmla="*/ 6917390 w 6994525"/>
                  <a:gd name="connsiteY18575" fmla="*/ 3158425 h 7571036"/>
                  <a:gd name="connsiteX18576" fmla="*/ 6892732 w 6994525"/>
                  <a:gd name="connsiteY18576" fmla="*/ 3182838 h 7571036"/>
                  <a:gd name="connsiteX18577" fmla="*/ 6917390 w 6994525"/>
                  <a:gd name="connsiteY18577" fmla="*/ 3207496 h 7571036"/>
                  <a:gd name="connsiteX18578" fmla="*/ 6941801 w 6994525"/>
                  <a:gd name="connsiteY18578" fmla="*/ 3182838 h 7571036"/>
                  <a:gd name="connsiteX18579" fmla="*/ 6944019 w 6994525"/>
                  <a:gd name="connsiteY18579" fmla="*/ 5698046 h 7571036"/>
                  <a:gd name="connsiteX18580" fmla="*/ 6923802 w 6994525"/>
                  <a:gd name="connsiteY18580" fmla="*/ 5677825 h 7571036"/>
                  <a:gd name="connsiteX18581" fmla="*/ 6903581 w 6994525"/>
                  <a:gd name="connsiteY18581" fmla="*/ 5698046 h 7571036"/>
                  <a:gd name="connsiteX18582" fmla="*/ 6923802 w 6994525"/>
                  <a:gd name="connsiteY18582" fmla="*/ 5718264 h 7571036"/>
                  <a:gd name="connsiteX18583" fmla="*/ 6944019 w 6994525"/>
                  <a:gd name="connsiteY18583" fmla="*/ 5698046 h 7571036"/>
                  <a:gd name="connsiteX18584" fmla="*/ 6945251 w 6994525"/>
                  <a:gd name="connsiteY18584" fmla="*/ 5045609 h 7571036"/>
                  <a:gd name="connsiteX18585" fmla="*/ 6912952 w 6994525"/>
                  <a:gd name="connsiteY18585" fmla="*/ 5013306 h 7571036"/>
                  <a:gd name="connsiteX18586" fmla="*/ 6880650 w 6994525"/>
                  <a:gd name="connsiteY18586" fmla="*/ 5045609 h 7571036"/>
                  <a:gd name="connsiteX18587" fmla="*/ 6912952 w 6994525"/>
                  <a:gd name="connsiteY18587" fmla="*/ 5077908 h 7571036"/>
                  <a:gd name="connsiteX18588" fmla="*/ 6945251 w 6994525"/>
                  <a:gd name="connsiteY18588" fmla="*/ 5045609 h 7571036"/>
                  <a:gd name="connsiteX18589" fmla="*/ 6946484 w 6994525"/>
                  <a:gd name="connsiteY18589" fmla="*/ 2168417 h 7571036"/>
                  <a:gd name="connsiteX18590" fmla="*/ 6904321 w 6994525"/>
                  <a:gd name="connsiteY18590" fmla="*/ 2126243 h 7571036"/>
                  <a:gd name="connsiteX18591" fmla="*/ 6862155 w 6994525"/>
                  <a:gd name="connsiteY18591" fmla="*/ 2168417 h 7571036"/>
                  <a:gd name="connsiteX18592" fmla="*/ 6904321 w 6994525"/>
                  <a:gd name="connsiteY18592" fmla="*/ 2210579 h 7571036"/>
                  <a:gd name="connsiteX18593" fmla="*/ 6946484 w 6994525"/>
                  <a:gd name="connsiteY18593" fmla="*/ 2168417 h 7571036"/>
                  <a:gd name="connsiteX18594" fmla="*/ 6950429 w 6994525"/>
                  <a:gd name="connsiteY18594" fmla="*/ 3878318 h 7571036"/>
                  <a:gd name="connsiteX18595" fmla="*/ 6906538 w 6994525"/>
                  <a:gd name="connsiteY18595" fmla="*/ 3834429 h 7571036"/>
                  <a:gd name="connsiteX18596" fmla="*/ 6862648 w 6994525"/>
                  <a:gd name="connsiteY18596" fmla="*/ 3878318 h 7571036"/>
                  <a:gd name="connsiteX18597" fmla="*/ 6906538 w 6994525"/>
                  <a:gd name="connsiteY18597" fmla="*/ 3922209 h 7571036"/>
                  <a:gd name="connsiteX18598" fmla="*/ 6950429 w 6994525"/>
                  <a:gd name="connsiteY18598" fmla="*/ 3878318 h 7571036"/>
                  <a:gd name="connsiteX18599" fmla="*/ 6952897 w 6994525"/>
                  <a:gd name="connsiteY18599" fmla="*/ 4777332 h 7571036"/>
                  <a:gd name="connsiteX18600" fmla="*/ 6908019 w 6994525"/>
                  <a:gd name="connsiteY18600" fmla="*/ 4732456 h 7571036"/>
                  <a:gd name="connsiteX18601" fmla="*/ 6863143 w 6994525"/>
                  <a:gd name="connsiteY18601" fmla="*/ 4777332 h 7571036"/>
                  <a:gd name="connsiteX18602" fmla="*/ 6908019 w 6994525"/>
                  <a:gd name="connsiteY18602" fmla="*/ 4822210 h 7571036"/>
                  <a:gd name="connsiteX18603" fmla="*/ 6952897 w 6994525"/>
                  <a:gd name="connsiteY18603" fmla="*/ 4777332 h 7571036"/>
                  <a:gd name="connsiteX18604" fmla="*/ 6953388 w 6994525"/>
                  <a:gd name="connsiteY18604" fmla="*/ 1899997 h 7571036"/>
                  <a:gd name="connsiteX18605" fmla="*/ 6908266 w 6994525"/>
                  <a:gd name="connsiteY18605" fmla="*/ 1854933 h 7571036"/>
                  <a:gd name="connsiteX18606" fmla="*/ 6863143 w 6994525"/>
                  <a:gd name="connsiteY18606" fmla="*/ 1899997 h 7571036"/>
                  <a:gd name="connsiteX18607" fmla="*/ 6908266 w 6994525"/>
                  <a:gd name="connsiteY18607" fmla="*/ 1945059 h 7571036"/>
                  <a:gd name="connsiteX18608" fmla="*/ 6953388 w 6994525"/>
                  <a:gd name="connsiteY18608" fmla="*/ 1899997 h 7571036"/>
                  <a:gd name="connsiteX18609" fmla="*/ 6953388 w 6994525"/>
                  <a:gd name="connsiteY18609" fmla="*/ 3298717 h 7571036"/>
                  <a:gd name="connsiteX18610" fmla="*/ 6925279 w 6994525"/>
                  <a:gd name="connsiteY18610" fmla="*/ 3270618 h 7571036"/>
                  <a:gd name="connsiteX18611" fmla="*/ 6897169 w 6994525"/>
                  <a:gd name="connsiteY18611" fmla="*/ 3298717 h 7571036"/>
                  <a:gd name="connsiteX18612" fmla="*/ 6925279 w 6994525"/>
                  <a:gd name="connsiteY18612" fmla="*/ 3326819 h 7571036"/>
                  <a:gd name="connsiteX18613" fmla="*/ 6953388 w 6994525"/>
                  <a:gd name="connsiteY18613" fmla="*/ 3298717 h 7571036"/>
                  <a:gd name="connsiteX18614" fmla="*/ 6957088 w 6994525"/>
                  <a:gd name="connsiteY18614" fmla="*/ 2667715 h 7571036"/>
                  <a:gd name="connsiteX18615" fmla="*/ 6945004 w 6994525"/>
                  <a:gd name="connsiteY18615" fmla="*/ 2655637 h 7571036"/>
                  <a:gd name="connsiteX18616" fmla="*/ 6932921 w 6994525"/>
                  <a:gd name="connsiteY18616" fmla="*/ 2667715 h 7571036"/>
                  <a:gd name="connsiteX18617" fmla="*/ 6945004 w 6994525"/>
                  <a:gd name="connsiteY18617" fmla="*/ 2679795 h 7571036"/>
                  <a:gd name="connsiteX18618" fmla="*/ 6957088 w 6994525"/>
                  <a:gd name="connsiteY18618" fmla="*/ 2667715 h 7571036"/>
                  <a:gd name="connsiteX18619" fmla="*/ 6959306 w 6994525"/>
                  <a:gd name="connsiteY18619" fmla="*/ 3762921 h 7571036"/>
                  <a:gd name="connsiteX18620" fmla="*/ 6918130 w 6994525"/>
                  <a:gd name="connsiteY18620" fmla="*/ 3721741 h 7571036"/>
                  <a:gd name="connsiteX18621" fmla="*/ 6877197 w 6994525"/>
                  <a:gd name="connsiteY18621" fmla="*/ 3762921 h 7571036"/>
                  <a:gd name="connsiteX18622" fmla="*/ 6918130 w 6994525"/>
                  <a:gd name="connsiteY18622" fmla="*/ 3803850 h 7571036"/>
                  <a:gd name="connsiteX18623" fmla="*/ 6959306 w 6994525"/>
                  <a:gd name="connsiteY18623" fmla="*/ 3762921 h 7571036"/>
                  <a:gd name="connsiteX18624" fmla="*/ 6961032 w 6994525"/>
                  <a:gd name="connsiteY18624" fmla="*/ 3414865 h 7571036"/>
                  <a:gd name="connsiteX18625" fmla="*/ 6929222 w 6994525"/>
                  <a:gd name="connsiteY18625" fmla="*/ 3383035 h 7571036"/>
                  <a:gd name="connsiteX18626" fmla="*/ 6897414 w 6994525"/>
                  <a:gd name="connsiteY18626" fmla="*/ 3414865 h 7571036"/>
                  <a:gd name="connsiteX18627" fmla="*/ 6929222 w 6994525"/>
                  <a:gd name="connsiteY18627" fmla="*/ 3446642 h 7571036"/>
                  <a:gd name="connsiteX18628" fmla="*/ 6961032 w 6994525"/>
                  <a:gd name="connsiteY18628" fmla="*/ 3414865 h 7571036"/>
                  <a:gd name="connsiteX18629" fmla="*/ 6963994 w 6994525"/>
                  <a:gd name="connsiteY18629" fmla="*/ 3646784 h 7571036"/>
                  <a:gd name="connsiteX18630" fmla="*/ 6925774 w 6994525"/>
                  <a:gd name="connsiteY18630" fmla="*/ 3608565 h 7571036"/>
                  <a:gd name="connsiteX18631" fmla="*/ 6887554 w 6994525"/>
                  <a:gd name="connsiteY18631" fmla="*/ 3646784 h 7571036"/>
                  <a:gd name="connsiteX18632" fmla="*/ 6925774 w 6994525"/>
                  <a:gd name="connsiteY18632" fmla="*/ 3685005 h 7571036"/>
                  <a:gd name="connsiteX18633" fmla="*/ 6963994 w 6994525"/>
                  <a:gd name="connsiteY18633" fmla="*/ 3646784 h 7571036"/>
                  <a:gd name="connsiteX18634" fmla="*/ 6964732 w 6994525"/>
                  <a:gd name="connsiteY18634" fmla="*/ 3530647 h 7571036"/>
                  <a:gd name="connsiteX18635" fmla="*/ 6929471 w 6994525"/>
                  <a:gd name="connsiteY18635" fmla="*/ 3495386 h 7571036"/>
                  <a:gd name="connsiteX18636" fmla="*/ 6894210 w 6994525"/>
                  <a:gd name="connsiteY18636" fmla="*/ 3530647 h 7571036"/>
                  <a:gd name="connsiteX18637" fmla="*/ 6929471 w 6994525"/>
                  <a:gd name="connsiteY18637" fmla="*/ 3565909 h 7571036"/>
                  <a:gd name="connsiteX18638" fmla="*/ 6964732 w 6994525"/>
                  <a:gd name="connsiteY18638" fmla="*/ 3530647 h 7571036"/>
                  <a:gd name="connsiteX18639" fmla="*/ 6965469 w 6994525"/>
                  <a:gd name="connsiteY18639" fmla="*/ 4390950 h 7571036"/>
                  <a:gd name="connsiteX18640" fmla="*/ 6919113 w 6994525"/>
                  <a:gd name="connsiteY18640" fmla="*/ 4344593 h 7571036"/>
                  <a:gd name="connsiteX18641" fmla="*/ 6872757 w 6994525"/>
                  <a:gd name="connsiteY18641" fmla="*/ 4390950 h 7571036"/>
                  <a:gd name="connsiteX18642" fmla="*/ 6919113 w 6994525"/>
                  <a:gd name="connsiteY18642" fmla="*/ 4437306 h 7571036"/>
                  <a:gd name="connsiteX18643" fmla="*/ 6965469 w 6994525"/>
                  <a:gd name="connsiteY18643" fmla="*/ 4390950 h 7571036"/>
                  <a:gd name="connsiteX18644" fmla="*/ 6968183 w 6994525"/>
                  <a:gd name="connsiteY18644" fmla="*/ 5445802 h 7571036"/>
                  <a:gd name="connsiteX18645" fmla="*/ 6950678 w 6994525"/>
                  <a:gd name="connsiteY18645" fmla="*/ 5428294 h 7571036"/>
                  <a:gd name="connsiteX18646" fmla="*/ 6933170 w 6994525"/>
                  <a:gd name="connsiteY18646" fmla="*/ 5445802 h 7571036"/>
                  <a:gd name="connsiteX18647" fmla="*/ 6950678 w 6994525"/>
                  <a:gd name="connsiteY18647" fmla="*/ 5463307 h 7571036"/>
                  <a:gd name="connsiteX18648" fmla="*/ 6968183 w 6994525"/>
                  <a:gd name="connsiteY18648" fmla="*/ 5445802 h 7571036"/>
                  <a:gd name="connsiteX18649" fmla="*/ 6968678 w 6994525"/>
                  <a:gd name="connsiteY18649" fmla="*/ 1450017 h 7571036"/>
                  <a:gd name="connsiteX18650" fmla="*/ 6915909 w 6994525"/>
                  <a:gd name="connsiteY18650" fmla="*/ 1397266 h 7571036"/>
                  <a:gd name="connsiteX18651" fmla="*/ 6863143 w 6994525"/>
                  <a:gd name="connsiteY18651" fmla="*/ 1450017 h 7571036"/>
                  <a:gd name="connsiteX18652" fmla="*/ 6915909 w 6994525"/>
                  <a:gd name="connsiteY18652" fmla="*/ 1502799 h 7571036"/>
                  <a:gd name="connsiteX18653" fmla="*/ 6968678 w 6994525"/>
                  <a:gd name="connsiteY18653" fmla="*/ 1450017 h 7571036"/>
                  <a:gd name="connsiteX18654" fmla="*/ 6980759 w 6994525"/>
                  <a:gd name="connsiteY18654" fmla="*/ 2780904 h 7571036"/>
                  <a:gd name="connsiteX18655" fmla="*/ 6969663 w 6994525"/>
                  <a:gd name="connsiteY18655" fmla="*/ 2769805 h 7571036"/>
                  <a:gd name="connsiteX18656" fmla="*/ 6958568 w 6994525"/>
                  <a:gd name="connsiteY18656" fmla="*/ 2780904 h 7571036"/>
                  <a:gd name="connsiteX18657" fmla="*/ 6969663 w 6994525"/>
                  <a:gd name="connsiteY18657" fmla="*/ 2791999 h 7571036"/>
                  <a:gd name="connsiteX18658" fmla="*/ 6980759 w 6994525"/>
                  <a:gd name="connsiteY18658" fmla="*/ 2780904 h 7571036"/>
                  <a:gd name="connsiteX18659" fmla="*/ 6985940 w 6994525"/>
                  <a:gd name="connsiteY18659" fmla="*/ 2277384 h 7571036"/>
                  <a:gd name="connsiteX18660" fmla="*/ 6944265 w 6994525"/>
                  <a:gd name="connsiteY18660" fmla="*/ 2235728 h 7571036"/>
                  <a:gd name="connsiteX18661" fmla="*/ 6902595 w 6994525"/>
                  <a:gd name="connsiteY18661" fmla="*/ 2277384 h 7571036"/>
                  <a:gd name="connsiteX18662" fmla="*/ 6944265 w 6994525"/>
                  <a:gd name="connsiteY18662" fmla="*/ 2319059 h 7571036"/>
                  <a:gd name="connsiteX18663" fmla="*/ 6985940 w 6994525"/>
                  <a:gd name="connsiteY18663" fmla="*/ 2277384 h 7571036"/>
                  <a:gd name="connsiteX18664" fmla="*/ 6987663 w 6994525"/>
                  <a:gd name="connsiteY18664" fmla="*/ 1707675 h 7571036"/>
                  <a:gd name="connsiteX18665" fmla="*/ 6934894 w 6994525"/>
                  <a:gd name="connsiteY18665" fmla="*/ 1654895 h 7571036"/>
                  <a:gd name="connsiteX18666" fmla="*/ 6882128 w 6994525"/>
                  <a:gd name="connsiteY18666" fmla="*/ 1707675 h 7571036"/>
                  <a:gd name="connsiteX18667" fmla="*/ 6934894 w 6994525"/>
                  <a:gd name="connsiteY18667" fmla="*/ 1760485 h 7571036"/>
                  <a:gd name="connsiteX18668" fmla="*/ 6987663 w 6994525"/>
                  <a:gd name="connsiteY18668" fmla="*/ 1707675 h 7571036"/>
                  <a:gd name="connsiteX18669" fmla="*/ 6988649 w 6994525"/>
                  <a:gd name="connsiteY18669" fmla="*/ 4278511 h 7571036"/>
                  <a:gd name="connsiteX18670" fmla="*/ 6947224 w 6994525"/>
                  <a:gd name="connsiteY18670" fmla="*/ 4237086 h 7571036"/>
                  <a:gd name="connsiteX18671" fmla="*/ 6905800 w 6994525"/>
                  <a:gd name="connsiteY18671" fmla="*/ 4278511 h 7571036"/>
                  <a:gd name="connsiteX18672" fmla="*/ 6947224 w 6994525"/>
                  <a:gd name="connsiteY18672" fmla="*/ 4319934 h 7571036"/>
                  <a:gd name="connsiteX18673" fmla="*/ 6988649 w 6994525"/>
                  <a:gd name="connsiteY18673" fmla="*/ 4278511 h 7571036"/>
                  <a:gd name="connsiteX18674" fmla="*/ 6994076 w 6994525"/>
                  <a:gd name="connsiteY18674" fmla="*/ 5185907 h 7571036"/>
                  <a:gd name="connsiteX18675" fmla="*/ 6965964 w 6994525"/>
                  <a:gd name="connsiteY18675" fmla="*/ 5157799 h 7571036"/>
                  <a:gd name="connsiteX18676" fmla="*/ 6937855 w 6994525"/>
                  <a:gd name="connsiteY18676" fmla="*/ 5185907 h 7571036"/>
                  <a:gd name="connsiteX18677" fmla="*/ 6965964 w 6994525"/>
                  <a:gd name="connsiteY18677" fmla="*/ 5214018 h 7571036"/>
                  <a:gd name="connsiteX18678" fmla="*/ 6994076 w 6994525"/>
                  <a:gd name="connsiteY18678" fmla="*/ 5185907 h 7571036"/>
                  <a:gd name="connsiteX18679" fmla="*/ 6994525 w 6994525"/>
                  <a:gd name="connsiteY18679" fmla="*/ 1311978 h 7571036"/>
                  <a:gd name="connsiteX18680" fmla="*/ 6994525 w 6994525"/>
                  <a:gd name="connsiteY18680" fmla="*/ 1280917 h 7571036"/>
                  <a:gd name="connsiteX18681" fmla="*/ 6985691 w 6994525"/>
                  <a:gd name="connsiteY18681" fmla="*/ 1259692 h 7571036"/>
                  <a:gd name="connsiteX18682" fmla="*/ 6948951 w 6994525"/>
                  <a:gd name="connsiteY18682" fmla="*/ 1244418 h 7571036"/>
                  <a:gd name="connsiteX18683" fmla="*/ 6896923 w 6994525"/>
                  <a:gd name="connsiteY18683" fmla="*/ 1296426 h 7571036"/>
                  <a:gd name="connsiteX18684" fmla="*/ 6948951 w 6994525"/>
                  <a:gd name="connsiteY18684" fmla="*/ 1348468 h 7571036"/>
                  <a:gd name="connsiteX18685" fmla="*/ 6985691 w 6994525"/>
                  <a:gd name="connsiteY18685" fmla="*/ 1333262 h 7571036"/>
                  <a:gd name="connsiteX18686" fmla="*/ 6994525 w 6994525"/>
                  <a:gd name="connsiteY18686" fmla="*/ 1444776 h 7571036"/>
                  <a:gd name="connsiteX18687" fmla="*/ 6994525 w 6994525"/>
                  <a:gd name="connsiteY18687" fmla="*/ 1346337 h 7571036"/>
                  <a:gd name="connsiteX18688" fmla="*/ 6989269 w 6994525"/>
                  <a:gd name="connsiteY18688" fmla="*/ 1347399 h 7571036"/>
                  <a:gd name="connsiteX18689" fmla="*/ 6957334 w 6994525"/>
                  <a:gd name="connsiteY18689" fmla="*/ 1395561 h 7571036"/>
                  <a:gd name="connsiteX18690" fmla="*/ 6989269 w 6994525"/>
                  <a:gd name="connsiteY18690" fmla="*/ 1443715 h 7571036"/>
                  <a:gd name="connsiteX18691" fmla="*/ 6994525 w 6994525"/>
                  <a:gd name="connsiteY18691" fmla="*/ 1599946 h 7571036"/>
                  <a:gd name="connsiteX18692" fmla="*/ 6994525 w 6994525"/>
                  <a:gd name="connsiteY18692" fmla="*/ 1501804 h 7571036"/>
                  <a:gd name="connsiteX18693" fmla="*/ 6973854 w 6994525"/>
                  <a:gd name="connsiteY18693" fmla="*/ 1497613 h 7571036"/>
                  <a:gd name="connsiteX18694" fmla="*/ 6920594 w 6994525"/>
                  <a:gd name="connsiteY18694" fmla="*/ 1550875 h 7571036"/>
                  <a:gd name="connsiteX18695" fmla="*/ 6973854 w 6994525"/>
                  <a:gd name="connsiteY18695" fmla="*/ 1604135 h 7571036"/>
                  <a:gd name="connsiteX18696" fmla="*/ 6994525 w 6994525"/>
                  <a:gd name="connsiteY18696" fmla="*/ 1693600 h 7571036"/>
                  <a:gd name="connsiteX18697" fmla="*/ 6994525 w 6994525"/>
                  <a:gd name="connsiteY18697" fmla="*/ 1613218 h 7571036"/>
                  <a:gd name="connsiteX18698" fmla="*/ 6990992 w 6994525"/>
                  <a:gd name="connsiteY18698" fmla="*/ 1615597 h 7571036"/>
                  <a:gd name="connsiteX18699" fmla="*/ 6975335 w 6994525"/>
                  <a:gd name="connsiteY18699" fmla="*/ 1653443 h 7571036"/>
                  <a:gd name="connsiteX18700" fmla="*/ 6990992 w 6994525"/>
                  <a:gd name="connsiteY18700" fmla="*/ 1691208 h 7571036"/>
                  <a:gd name="connsiteX18701" fmla="*/ 6994525 w 6994525"/>
                  <a:gd name="connsiteY18701" fmla="*/ 1863236 h 7571036"/>
                  <a:gd name="connsiteX18702" fmla="*/ 6994525 w 6994525"/>
                  <a:gd name="connsiteY18702" fmla="*/ 1760351 h 7571036"/>
                  <a:gd name="connsiteX18703" fmla="*/ 6986676 w 6994525"/>
                  <a:gd name="connsiteY18703" fmla="*/ 1758760 h 7571036"/>
                  <a:gd name="connsiteX18704" fmla="*/ 6933662 w 6994525"/>
                  <a:gd name="connsiteY18704" fmla="*/ 1811839 h 7571036"/>
                  <a:gd name="connsiteX18705" fmla="*/ 6986676 w 6994525"/>
                  <a:gd name="connsiteY18705" fmla="*/ 1864813 h 7571036"/>
                  <a:gd name="connsiteX18706" fmla="*/ 6994525 w 6994525"/>
                  <a:gd name="connsiteY18706" fmla="*/ 1951035 h 7571036"/>
                  <a:gd name="connsiteX18707" fmla="*/ 6994525 w 6994525"/>
                  <a:gd name="connsiteY18707" fmla="*/ 1883974 h 7571036"/>
                  <a:gd name="connsiteX18708" fmla="*/ 6985944 w 6994525"/>
                  <a:gd name="connsiteY18708" fmla="*/ 1896690 h 7571036"/>
                  <a:gd name="connsiteX18709" fmla="*/ 6981745 w 6994525"/>
                  <a:gd name="connsiteY18709" fmla="*/ 1917504 h 7571036"/>
                  <a:gd name="connsiteX18710" fmla="*/ 6985944 w 6994525"/>
                  <a:gd name="connsiteY18710" fmla="*/ 1938318 h 7571036"/>
                  <a:gd name="connsiteX18711" fmla="*/ 6994525 w 6994525"/>
                  <a:gd name="connsiteY18711" fmla="*/ 2020100 h 7571036"/>
                  <a:gd name="connsiteX18712" fmla="*/ 6994525 w 6994525"/>
                  <a:gd name="connsiteY18712" fmla="*/ 1991585 h 7571036"/>
                  <a:gd name="connsiteX18713" fmla="*/ 6987294 w 6994525"/>
                  <a:gd name="connsiteY18713" fmla="*/ 1974240 h 7571036"/>
                  <a:gd name="connsiteX18714" fmla="*/ 6955609 w 6994525"/>
                  <a:gd name="connsiteY18714" fmla="*/ 1961067 h 7571036"/>
                  <a:gd name="connsiteX18715" fmla="*/ 6910730 w 6994525"/>
                  <a:gd name="connsiteY18715" fmla="*/ 2005883 h 7571036"/>
                  <a:gd name="connsiteX18716" fmla="*/ 6955609 w 6994525"/>
                  <a:gd name="connsiteY18716" fmla="*/ 2050765 h 7571036"/>
                  <a:gd name="connsiteX18717" fmla="*/ 6987201 w 6994525"/>
                  <a:gd name="connsiteY18717" fmla="*/ 2037568 h 7571036"/>
                  <a:gd name="connsiteX18718" fmla="*/ 6994525 w 6994525"/>
                  <a:gd name="connsiteY18718" fmla="*/ 2155617 h 7571036"/>
                  <a:gd name="connsiteX18719" fmla="*/ 6994525 w 6994525"/>
                  <a:gd name="connsiteY18719" fmla="*/ 2070730 h 7571036"/>
                  <a:gd name="connsiteX18720" fmla="*/ 6967907 w 6994525"/>
                  <a:gd name="connsiteY18720" fmla="*/ 2081730 h 7571036"/>
                  <a:gd name="connsiteX18721" fmla="*/ 6954869 w 6994525"/>
                  <a:gd name="connsiteY18721" fmla="*/ 2113189 h 7571036"/>
                  <a:gd name="connsiteX18722" fmla="*/ 6967907 w 6994525"/>
                  <a:gd name="connsiteY18722" fmla="*/ 2144543 h 7571036"/>
                  <a:gd name="connsiteX18723" fmla="*/ 6994525 w 6994525"/>
                  <a:gd name="connsiteY18723" fmla="*/ 2421570 h 7571036"/>
                  <a:gd name="connsiteX18724" fmla="*/ 6994525 w 6994525"/>
                  <a:gd name="connsiteY18724" fmla="*/ 2353650 h 7571036"/>
                  <a:gd name="connsiteX18725" fmla="*/ 6980759 w 6994525"/>
                  <a:gd name="connsiteY18725" fmla="*/ 2347959 h 7571036"/>
                  <a:gd name="connsiteX18726" fmla="*/ 6941060 w 6994525"/>
                  <a:gd name="connsiteY18726" fmla="*/ 2387621 h 7571036"/>
                  <a:gd name="connsiteX18727" fmla="*/ 6980759 w 6994525"/>
                  <a:gd name="connsiteY18727" fmla="*/ 2427311 h 7571036"/>
                  <a:gd name="connsiteX18728" fmla="*/ 6994525 w 6994525"/>
                  <a:gd name="connsiteY18728" fmla="*/ 2520067 h 7571036"/>
                  <a:gd name="connsiteX18729" fmla="*/ 6994525 w 6994525"/>
                  <a:gd name="connsiteY18729" fmla="*/ 2477087 h 7571036"/>
                  <a:gd name="connsiteX18730" fmla="*/ 6992779 w 6994525"/>
                  <a:gd name="connsiteY18730" fmla="*/ 2477807 h 7571036"/>
                  <a:gd name="connsiteX18731" fmla="*/ 6984209 w 6994525"/>
                  <a:gd name="connsiteY18731" fmla="*/ 2498575 h 7571036"/>
                  <a:gd name="connsiteX18732" fmla="*/ 6992779 w 6994525"/>
                  <a:gd name="connsiteY18732" fmla="*/ 2519347 h 7571036"/>
                  <a:gd name="connsiteX18733" fmla="*/ 6994525 w 6994525"/>
                  <a:gd name="connsiteY18733" fmla="*/ 2901038 h 7571036"/>
                  <a:gd name="connsiteX18734" fmla="*/ 6994525 w 6994525"/>
                  <a:gd name="connsiteY18734" fmla="*/ 2889609 h 7571036"/>
                  <a:gd name="connsiteX18735" fmla="*/ 6990376 w 6994525"/>
                  <a:gd name="connsiteY18735" fmla="*/ 2885461 h 7571036"/>
                  <a:gd name="connsiteX18736" fmla="*/ 6980513 w 6994525"/>
                  <a:gd name="connsiteY18736" fmla="*/ 2895323 h 7571036"/>
                  <a:gd name="connsiteX18737" fmla="*/ 6990376 w 6994525"/>
                  <a:gd name="connsiteY18737" fmla="*/ 2905188 h 7571036"/>
                  <a:gd name="connsiteX18738" fmla="*/ 6994525 w 6994525"/>
                  <a:gd name="connsiteY18738" fmla="*/ 3957171 h 7571036"/>
                  <a:gd name="connsiteX18739" fmla="*/ 6994525 w 6994525"/>
                  <a:gd name="connsiteY18739" fmla="*/ 3914372 h 7571036"/>
                  <a:gd name="connsiteX18740" fmla="*/ 6989543 w 6994525"/>
                  <a:gd name="connsiteY18740" fmla="*/ 3916446 h 7571036"/>
                  <a:gd name="connsiteX18741" fmla="*/ 6981499 w 6994525"/>
                  <a:gd name="connsiteY18741" fmla="*/ 3935771 h 7571036"/>
                  <a:gd name="connsiteX18742" fmla="*/ 6989543 w 6994525"/>
                  <a:gd name="connsiteY18742" fmla="*/ 3955097 h 7571036"/>
                  <a:gd name="connsiteX18743" fmla="*/ 6994525 w 6994525"/>
                  <a:gd name="connsiteY18743" fmla="*/ 4081477 h 7571036"/>
                  <a:gd name="connsiteX18744" fmla="*/ 6994525 w 6994525"/>
                  <a:gd name="connsiteY18744" fmla="*/ 4019375 h 7571036"/>
                  <a:gd name="connsiteX18745" fmla="*/ 6992100 w 6994525"/>
                  <a:gd name="connsiteY18745" fmla="*/ 4018373 h 7571036"/>
                  <a:gd name="connsiteX18746" fmla="*/ 6960046 w 6994525"/>
                  <a:gd name="connsiteY18746" fmla="*/ 4050429 h 7571036"/>
                  <a:gd name="connsiteX18747" fmla="*/ 6992100 w 6994525"/>
                  <a:gd name="connsiteY18747" fmla="*/ 4082482 h 7571036"/>
                  <a:gd name="connsiteX18748" fmla="*/ 6994525 w 6994525"/>
                  <a:gd name="connsiteY18748" fmla="*/ 4192064 h 7571036"/>
                  <a:gd name="connsiteX18749" fmla="*/ 6994525 w 6994525"/>
                  <a:gd name="connsiteY18749" fmla="*/ 4137614 h 7571036"/>
                  <a:gd name="connsiteX18750" fmla="*/ 6971634 w 6994525"/>
                  <a:gd name="connsiteY18750" fmla="*/ 4128098 h 7571036"/>
                  <a:gd name="connsiteX18751" fmla="*/ 6934894 w 6994525"/>
                  <a:gd name="connsiteY18751" fmla="*/ 4164838 h 7571036"/>
                  <a:gd name="connsiteX18752" fmla="*/ 6971634 w 6994525"/>
                  <a:gd name="connsiteY18752" fmla="*/ 4201579 h 7571036"/>
                  <a:gd name="connsiteX18753" fmla="*/ 6994525 w 6994525"/>
                  <a:gd name="connsiteY18753" fmla="*/ 4489523 h 7571036"/>
                  <a:gd name="connsiteX18754" fmla="*/ 6994525 w 6994525"/>
                  <a:gd name="connsiteY18754" fmla="*/ 4403827 h 7571036"/>
                  <a:gd name="connsiteX18755" fmla="*/ 6981918 w 6994525"/>
                  <a:gd name="connsiteY18755" fmla="*/ 4412326 h 7571036"/>
                  <a:gd name="connsiteX18756" fmla="*/ 6967691 w 6994525"/>
                  <a:gd name="connsiteY18756" fmla="*/ 4446674 h 7571036"/>
                  <a:gd name="connsiteX18757" fmla="*/ 6981918 w 6994525"/>
                  <a:gd name="connsiteY18757" fmla="*/ 4481023 h 7571036"/>
                  <a:gd name="connsiteX18758" fmla="*/ 6994525 w 6994525"/>
                  <a:gd name="connsiteY18758" fmla="*/ 4606992 h 7571036"/>
                  <a:gd name="connsiteX18759" fmla="*/ 6994525 w 6994525"/>
                  <a:gd name="connsiteY18759" fmla="*/ 4509279 h 7571036"/>
                  <a:gd name="connsiteX18760" fmla="*/ 6983719 w 6994525"/>
                  <a:gd name="connsiteY18760" fmla="*/ 4507087 h 7571036"/>
                  <a:gd name="connsiteX18761" fmla="*/ 6932676 w 6994525"/>
                  <a:gd name="connsiteY18761" fmla="*/ 4558130 h 7571036"/>
                  <a:gd name="connsiteX18762" fmla="*/ 6983719 w 6994525"/>
                  <a:gd name="connsiteY18762" fmla="*/ 4609168 h 7571036"/>
                  <a:gd name="connsiteX18763" fmla="*/ 6994525 w 6994525"/>
                  <a:gd name="connsiteY18763" fmla="*/ 4679712 h 7571036"/>
                  <a:gd name="connsiteX18764" fmla="*/ 6994525 w 6994525"/>
                  <a:gd name="connsiteY18764" fmla="*/ 4656981 h 7571036"/>
                  <a:gd name="connsiteX18765" fmla="*/ 6984117 w 6994525"/>
                  <a:gd name="connsiteY18765" fmla="*/ 4631947 h 7571036"/>
                  <a:gd name="connsiteX18766" fmla="*/ 6947716 w 6994525"/>
                  <a:gd name="connsiteY18766" fmla="*/ 4616813 h 7571036"/>
                  <a:gd name="connsiteX18767" fmla="*/ 6896182 w 6994525"/>
                  <a:gd name="connsiteY18767" fmla="*/ 4668346 h 7571036"/>
                  <a:gd name="connsiteX18768" fmla="*/ 6947716 w 6994525"/>
                  <a:gd name="connsiteY18768" fmla="*/ 4719880 h 7571036"/>
                  <a:gd name="connsiteX18769" fmla="*/ 6984117 w 6994525"/>
                  <a:gd name="connsiteY18769" fmla="*/ 4704747 h 7571036"/>
                  <a:gd name="connsiteX18770" fmla="*/ 6994525 w 6994525"/>
                  <a:gd name="connsiteY18770" fmla="*/ 4728572 h 7571036"/>
                  <a:gd name="connsiteX18771" fmla="*/ 6994525 w 6994525"/>
                  <a:gd name="connsiteY18771" fmla="*/ 4718095 h 7571036"/>
                  <a:gd name="connsiteX18772" fmla="*/ 6992349 w 6994525"/>
                  <a:gd name="connsiteY18772" fmla="*/ 4723334 h 7571036"/>
                  <a:gd name="connsiteX18773" fmla="*/ 6994525 w 6994525"/>
                  <a:gd name="connsiteY18773" fmla="*/ 4876683 h 7571036"/>
                  <a:gd name="connsiteX18774" fmla="*/ 6994525 w 6994525"/>
                  <a:gd name="connsiteY18774" fmla="*/ 4787462 h 7571036"/>
                  <a:gd name="connsiteX18775" fmla="*/ 6985135 w 6994525"/>
                  <a:gd name="connsiteY18775" fmla="*/ 4789353 h 7571036"/>
                  <a:gd name="connsiteX18776" fmla="*/ 6956841 w 6994525"/>
                  <a:gd name="connsiteY18776" fmla="*/ 4832073 h 7571036"/>
                  <a:gd name="connsiteX18777" fmla="*/ 6985135 w 6994525"/>
                  <a:gd name="connsiteY18777" fmla="*/ 4874792 h 7571036"/>
                  <a:gd name="connsiteX18778" fmla="*/ 6994525 w 6994525"/>
                  <a:gd name="connsiteY18778" fmla="*/ 4950948 h 7571036"/>
                  <a:gd name="connsiteX18779" fmla="*/ 6994525 w 6994525"/>
                  <a:gd name="connsiteY18779" fmla="*/ 4928213 h 7571036"/>
                  <a:gd name="connsiteX18780" fmla="*/ 6987664 w 6994525"/>
                  <a:gd name="connsiteY18780" fmla="*/ 4911717 h 7571036"/>
                  <a:gd name="connsiteX18781" fmla="*/ 6959801 w 6994525"/>
                  <a:gd name="connsiteY18781" fmla="*/ 4900128 h 7571036"/>
                  <a:gd name="connsiteX18782" fmla="*/ 6920348 w 6994525"/>
                  <a:gd name="connsiteY18782" fmla="*/ 4939580 h 7571036"/>
                  <a:gd name="connsiteX18783" fmla="*/ 6959801 w 6994525"/>
                  <a:gd name="connsiteY18783" fmla="*/ 4979032 h 7571036"/>
                  <a:gd name="connsiteX18784" fmla="*/ 6987664 w 6994525"/>
                  <a:gd name="connsiteY18784" fmla="*/ 4967443 h 7571036"/>
                  <a:gd name="connsiteX18785" fmla="*/ 6994525 w 6994525"/>
                  <a:gd name="connsiteY18785" fmla="*/ 5103527 h 7571036"/>
                  <a:gd name="connsiteX18786" fmla="*/ 6994525 w 6994525"/>
                  <a:gd name="connsiteY18786" fmla="*/ 5058169 h 7571036"/>
                  <a:gd name="connsiteX18787" fmla="*/ 6993673 w 6994525"/>
                  <a:gd name="connsiteY18787" fmla="*/ 5058520 h 7571036"/>
                  <a:gd name="connsiteX18788" fmla="*/ 6984458 w 6994525"/>
                  <a:gd name="connsiteY18788" fmla="*/ 5080867 h 7571036"/>
                  <a:gd name="connsiteX18789" fmla="*/ 6993766 w 6994525"/>
                  <a:gd name="connsiteY18789" fmla="*/ 5103213 h 7571036"/>
                  <a:gd name="connsiteX18790" fmla="*/ 6994525 w 6994525"/>
                  <a:gd name="connsiteY18790" fmla="*/ 5358544 h 7571036"/>
                  <a:gd name="connsiteX18791" fmla="*/ 6994525 w 6994525"/>
                  <a:gd name="connsiteY18791" fmla="*/ 5329383 h 7571036"/>
                  <a:gd name="connsiteX18792" fmla="*/ 6992965 w 6994525"/>
                  <a:gd name="connsiteY18792" fmla="*/ 5330032 h 7571036"/>
                  <a:gd name="connsiteX18793" fmla="*/ 6987171 w 6994525"/>
                  <a:gd name="connsiteY18793" fmla="*/ 5343964 h 7571036"/>
                  <a:gd name="connsiteX18794" fmla="*/ 6992965 w 6994525"/>
                  <a:gd name="connsiteY18794" fmla="*/ 5357896 h 7571036"/>
                  <a:gd name="connsiteX18795" fmla="*/ 6994525 w 6994525"/>
                  <a:gd name="connsiteY18795" fmla="*/ 5616967 h 7571036"/>
                  <a:gd name="connsiteX18796" fmla="*/ 6994525 w 6994525"/>
                  <a:gd name="connsiteY18796" fmla="*/ 5582358 h 7571036"/>
                  <a:gd name="connsiteX18797" fmla="*/ 6985691 w 6994525"/>
                  <a:gd name="connsiteY18797" fmla="*/ 5578703 h 7571036"/>
                  <a:gd name="connsiteX18798" fmla="*/ 6964732 w 6994525"/>
                  <a:gd name="connsiteY18798" fmla="*/ 5599662 h 7571036"/>
                  <a:gd name="connsiteX18799" fmla="*/ 6985691 w 6994525"/>
                  <a:gd name="connsiteY18799" fmla="*/ 5620622 h 7571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Lst>
                <a:rect l="l" t="t" r="r" b="b"/>
                <a:pathLst>
                  <a:path w="6994525" h="7571036">
                    <a:moveTo>
                      <a:pt x="2175" y="3826784"/>
                    </a:moveTo>
                    <a:lnTo>
                      <a:pt x="0" y="3821538"/>
                    </a:lnTo>
                    <a:lnTo>
                      <a:pt x="0" y="3832029"/>
                    </a:lnTo>
                    <a:close/>
                    <a:moveTo>
                      <a:pt x="3410" y="2901744"/>
                    </a:moveTo>
                    <a:lnTo>
                      <a:pt x="0" y="2893522"/>
                    </a:lnTo>
                    <a:lnTo>
                      <a:pt x="0" y="2909891"/>
                    </a:lnTo>
                    <a:close/>
                    <a:moveTo>
                      <a:pt x="3655" y="5606320"/>
                    </a:moveTo>
                    <a:lnTo>
                      <a:pt x="0" y="5602665"/>
                    </a:lnTo>
                    <a:lnTo>
                      <a:pt x="0" y="5609975"/>
                    </a:lnTo>
                    <a:close/>
                    <a:moveTo>
                      <a:pt x="5382" y="2119859"/>
                    </a:moveTo>
                    <a:lnTo>
                      <a:pt x="0" y="2106844"/>
                    </a:lnTo>
                    <a:lnTo>
                      <a:pt x="0" y="2132871"/>
                    </a:lnTo>
                    <a:close/>
                    <a:moveTo>
                      <a:pt x="8586" y="2394024"/>
                    </a:moveTo>
                    <a:lnTo>
                      <a:pt x="0" y="2385446"/>
                    </a:lnTo>
                    <a:lnTo>
                      <a:pt x="0" y="2402631"/>
                    </a:lnTo>
                    <a:close/>
                    <a:moveTo>
                      <a:pt x="13519" y="3942183"/>
                    </a:moveTo>
                    <a:cubicBezTo>
                      <a:pt x="13519" y="3930963"/>
                      <a:pt x="8957" y="3920729"/>
                      <a:pt x="1560" y="3913301"/>
                    </a:cubicBezTo>
                    <a:lnTo>
                      <a:pt x="0" y="3912652"/>
                    </a:lnTo>
                    <a:lnTo>
                      <a:pt x="0" y="3971798"/>
                    </a:lnTo>
                    <a:lnTo>
                      <a:pt x="1560" y="3971154"/>
                    </a:lnTo>
                    <a:cubicBezTo>
                      <a:pt x="8957" y="3963757"/>
                      <a:pt x="13519" y="3953525"/>
                      <a:pt x="13519" y="3942183"/>
                    </a:cubicBezTo>
                    <a:close/>
                    <a:moveTo>
                      <a:pt x="16970" y="1818498"/>
                    </a:moveTo>
                    <a:cubicBezTo>
                      <a:pt x="16970" y="1811295"/>
                      <a:pt x="14044" y="1804754"/>
                      <a:pt x="9314" y="1800013"/>
                    </a:cubicBezTo>
                    <a:lnTo>
                      <a:pt x="0" y="1796142"/>
                    </a:lnTo>
                    <a:lnTo>
                      <a:pt x="0" y="1840834"/>
                    </a:lnTo>
                    <a:lnTo>
                      <a:pt x="9314" y="1836978"/>
                    </a:lnTo>
                    <a:cubicBezTo>
                      <a:pt x="14044" y="1832249"/>
                      <a:pt x="16970" y="1825716"/>
                      <a:pt x="16970" y="1818498"/>
                    </a:cubicBezTo>
                    <a:close/>
                    <a:moveTo>
                      <a:pt x="17464" y="2787325"/>
                    </a:moveTo>
                    <a:cubicBezTo>
                      <a:pt x="17464" y="2783129"/>
                      <a:pt x="14013" y="2779679"/>
                      <a:pt x="9822" y="2779679"/>
                    </a:cubicBezTo>
                    <a:cubicBezTo>
                      <a:pt x="5629" y="2779679"/>
                      <a:pt x="2177" y="2783129"/>
                      <a:pt x="2177" y="2787325"/>
                    </a:cubicBezTo>
                    <a:cubicBezTo>
                      <a:pt x="2177" y="2791519"/>
                      <a:pt x="5629" y="2794975"/>
                      <a:pt x="9822" y="2794975"/>
                    </a:cubicBezTo>
                    <a:cubicBezTo>
                      <a:pt x="14013" y="2794975"/>
                      <a:pt x="17464" y="2791519"/>
                      <a:pt x="17464" y="2787325"/>
                    </a:cubicBezTo>
                    <a:close/>
                    <a:moveTo>
                      <a:pt x="23628" y="5192568"/>
                    </a:moveTo>
                    <a:cubicBezTo>
                      <a:pt x="23628" y="5189363"/>
                      <a:pt x="20915" y="5186649"/>
                      <a:pt x="17710" y="5186649"/>
                    </a:cubicBezTo>
                    <a:cubicBezTo>
                      <a:pt x="14505" y="5186649"/>
                      <a:pt x="11792" y="5189363"/>
                      <a:pt x="11792" y="5192568"/>
                    </a:cubicBezTo>
                    <a:cubicBezTo>
                      <a:pt x="11792" y="5195773"/>
                      <a:pt x="14505" y="5198486"/>
                      <a:pt x="17710" y="5198486"/>
                    </a:cubicBezTo>
                    <a:cubicBezTo>
                      <a:pt x="20915" y="5198486"/>
                      <a:pt x="23628" y="5195773"/>
                      <a:pt x="23628" y="5192568"/>
                    </a:cubicBezTo>
                    <a:close/>
                    <a:moveTo>
                      <a:pt x="27082" y="1556800"/>
                    </a:moveTo>
                    <a:cubicBezTo>
                      <a:pt x="27082" y="1543985"/>
                      <a:pt x="16477" y="1533382"/>
                      <a:pt x="3410" y="1533382"/>
                    </a:cubicBezTo>
                    <a:lnTo>
                      <a:pt x="0" y="1534787"/>
                    </a:lnTo>
                    <a:lnTo>
                      <a:pt x="0" y="1579048"/>
                    </a:lnTo>
                    <a:lnTo>
                      <a:pt x="3410" y="1580471"/>
                    </a:lnTo>
                    <a:cubicBezTo>
                      <a:pt x="16477" y="1580471"/>
                      <a:pt x="27082" y="1569873"/>
                      <a:pt x="27082" y="1556800"/>
                    </a:cubicBezTo>
                    <a:close/>
                    <a:moveTo>
                      <a:pt x="28313" y="4564539"/>
                    </a:moveTo>
                    <a:cubicBezTo>
                      <a:pt x="28313" y="4556402"/>
                      <a:pt x="24984" y="4549005"/>
                      <a:pt x="19620" y="4543641"/>
                    </a:cubicBezTo>
                    <a:lnTo>
                      <a:pt x="0" y="4535480"/>
                    </a:lnTo>
                    <a:lnTo>
                      <a:pt x="0" y="4593601"/>
                    </a:lnTo>
                    <a:lnTo>
                      <a:pt x="19806" y="4585436"/>
                    </a:lnTo>
                    <a:cubicBezTo>
                      <a:pt x="25169" y="4580074"/>
                      <a:pt x="28436" y="4572676"/>
                      <a:pt x="28313" y="4564539"/>
                    </a:cubicBezTo>
                    <a:close/>
                    <a:moveTo>
                      <a:pt x="28559" y="4057087"/>
                    </a:moveTo>
                    <a:cubicBezTo>
                      <a:pt x="28559" y="4046360"/>
                      <a:pt x="24182" y="4036620"/>
                      <a:pt x="17124" y="4029561"/>
                    </a:cubicBezTo>
                    <a:lnTo>
                      <a:pt x="0" y="4022447"/>
                    </a:lnTo>
                    <a:lnTo>
                      <a:pt x="0" y="4091523"/>
                    </a:lnTo>
                    <a:lnTo>
                      <a:pt x="17124" y="4084486"/>
                    </a:lnTo>
                    <a:cubicBezTo>
                      <a:pt x="24182" y="4077489"/>
                      <a:pt x="28559" y="4067812"/>
                      <a:pt x="28559" y="4057087"/>
                    </a:cubicBezTo>
                    <a:close/>
                    <a:moveTo>
                      <a:pt x="36942" y="2673640"/>
                    </a:moveTo>
                    <a:cubicBezTo>
                      <a:pt x="36942" y="2672159"/>
                      <a:pt x="35709" y="2670928"/>
                      <a:pt x="34232" y="2670928"/>
                    </a:cubicBezTo>
                    <a:cubicBezTo>
                      <a:pt x="32996" y="2670928"/>
                      <a:pt x="31764" y="2672159"/>
                      <a:pt x="31764" y="2673640"/>
                    </a:cubicBezTo>
                    <a:cubicBezTo>
                      <a:pt x="31764" y="2675120"/>
                      <a:pt x="32751" y="2676353"/>
                      <a:pt x="34232" y="2676353"/>
                    </a:cubicBezTo>
                    <a:cubicBezTo>
                      <a:pt x="35709" y="2676353"/>
                      <a:pt x="36696" y="2675366"/>
                      <a:pt x="36942" y="2673640"/>
                    </a:cubicBezTo>
                    <a:close/>
                    <a:moveTo>
                      <a:pt x="37930" y="5451962"/>
                    </a:moveTo>
                    <a:cubicBezTo>
                      <a:pt x="37930" y="5449498"/>
                      <a:pt x="35957" y="5447525"/>
                      <a:pt x="33491" y="5447525"/>
                    </a:cubicBezTo>
                    <a:cubicBezTo>
                      <a:pt x="31025" y="5447525"/>
                      <a:pt x="29053" y="5449498"/>
                      <a:pt x="29053" y="5451962"/>
                    </a:cubicBezTo>
                    <a:cubicBezTo>
                      <a:pt x="29053" y="5454429"/>
                      <a:pt x="31025" y="5456401"/>
                      <a:pt x="33491" y="5456401"/>
                    </a:cubicBezTo>
                    <a:cubicBezTo>
                      <a:pt x="35957" y="5456401"/>
                      <a:pt x="37930" y="5454429"/>
                      <a:pt x="37930" y="5451962"/>
                    </a:cubicBezTo>
                    <a:close/>
                    <a:moveTo>
                      <a:pt x="42861" y="2283820"/>
                    </a:moveTo>
                    <a:cubicBezTo>
                      <a:pt x="42861" y="2278870"/>
                      <a:pt x="38916" y="2274941"/>
                      <a:pt x="33985" y="2274941"/>
                    </a:cubicBezTo>
                    <a:cubicBezTo>
                      <a:pt x="29054" y="2274941"/>
                      <a:pt x="25108" y="2278870"/>
                      <a:pt x="25108" y="2283820"/>
                    </a:cubicBezTo>
                    <a:cubicBezTo>
                      <a:pt x="25108" y="2288756"/>
                      <a:pt x="29054" y="2292698"/>
                      <a:pt x="33985" y="2292698"/>
                    </a:cubicBezTo>
                    <a:cubicBezTo>
                      <a:pt x="39162" y="2292698"/>
                      <a:pt x="43107" y="2288756"/>
                      <a:pt x="42861" y="2283820"/>
                    </a:cubicBezTo>
                    <a:close/>
                    <a:moveTo>
                      <a:pt x="46807" y="4171251"/>
                    </a:moveTo>
                    <a:cubicBezTo>
                      <a:pt x="46807" y="4151032"/>
                      <a:pt x="30534" y="4134757"/>
                      <a:pt x="10313" y="4134757"/>
                    </a:cubicBezTo>
                    <a:lnTo>
                      <a:pt x="0" y="4139015"/>
                    </a:lnTo>
                    <a:lnTo>
                      <a:pt x="0" y="4203449"/>
                    </a:lnTo>
                    <a:lnTo>
                      <a:pt x="10313" y="4207744"/>
                    </a:lnTo>
                    <a:cubicBezTo>
                      <a:pt x="30534" y="4207744"/>
                      <a:pt x="46807" y="4191223"/>
                      <a:pt x="46807" y="4171251"/>
                    </a:cubicBezTo>
                    <a:close/>
                    <a:moveTo>
                      <a:pt x="47789" y="2012292"/>
                    </a:moveTo>
                    <a:cubicBezTo>
                      <a:pt x="47789" y="1998255"/>
                      <a:pt x="36448" y="1986929"/>
                      <a:pt x="22394" y="1986929"/>
                    </a:cubicBezTo>
                    <a:cubicBezTo>
                      <a:pt x="15368" y="1986929"/>
                      <a:pt x="9018" y="1989760"/>
                      <a:pt x="4426" y="1994347"/>
                    </a:cubicBezTo>
                    <a:lnTo>
                      <a:pt x="0" y="2005037"/>
                    </a:lnTo>
                    <a:lnTo>
                      <a:pt x="0" y="2019558"/>
                    </a:lnTo>
                    <a:lnTo>
                      <a:pt x="4426" y="2030265"/>
                    </a:lnTo>
                    <a:cubicBezTo>
                      <a:pt x="9018" y="2034857"/>
                      <a:pt x="15368" y="2037693"/>
                      <a:pt x="22394" y="2037693"/>
                    </a:cubicBezTo>
                    <a:cubicBezTo>
                      <a:pt x="36448" y="2037693"/>
                      <a:pt x="47789" y="2026351"/>
                      <a:pt x="47789" y="2012292"/>
                    </a:cubicBezTo>
                    <a:close/>
                    <a:moveTo>
                      <a:pt x="49519" y="1302852"/>
                    </a:moveTo>
                    <a:cubicBezTo>
                      <a:pt x="49519" y="1291015"/>
                      <a:pt x="39902" y="1281148"/>
                      <a:pt x="27821" y="1281148"/>
                    </a:cubicBezTo>
                    <a:cubicBezTo>
                      <a:pt x="15985" y="1281148"/>
                      <a:pt x="6122" y="1290772"/>
                      <a:pt x="6122" y="1302852"/>
                    </a:cubicBezTo>
                    <a:cubicBezTo>
                      <a:pt x="6122" y="1314698"/>
                      <a:pt x="15739" y="1324545"/>
                      <a:pt x="27821" y="1324545"/>
                    </a:cubicBezTo>
                    <a:cubicBezTo>
                      <a:pt x="39656" y="1324545"/>
                      <a:pt x="49519" y="1314945"/>
                      <a:pt x="49519" y="1302852"/>
                    </a:cubicBezTo>
                    <a:close/>
                    <a:moveTo>
                      <a:pt x="50998" y="4674758"/>
                    </a:moveTo>
                    <a:cubicBezTo>
                      <a:pt x="50998" y="4666128"/>
                      <a:pt x="43848" y="4658978"/>
                      <a:pt x="35217" y="4658978"/>
                    </a:cubicBezTo>
                    <a:cubicBezTo>
                      <a:pt x="26586" y="4658978"/>
                      <a:pt x="19436" y="4666128"/>
                      <a:pt x="19436" y="4674758"/>
                    </a:cubicBezTo>
                    <a:cubicBezTo>
                      <a:pt x="19436" y="4683389"/>
                      <a:pt x="26586" y="4690539"/>
                      <a:pt x="35217" y="4690539"/>
                    </a:cubicBezTo>
                    <a:cubicBezTo>
                      <a:pt x="43848" y="4690539"/>
                      <a:pt x="50998" y="4683389"/>
                      <a:pt x="50998" y="4674758"/>
                    </a:cubicBezTo>
                    <a:close/>
                    <a:moveTo>
                      <a:pt x="63820" y="2561189"/>
                    </a:moveTo>
                    <a:cubicBezTo>
                      <a:pt x="63820" y="2560453"/>
                      <a:pt x="63080" y="2559709"/>
                      <a:pt x="62339" y="2559709"/>
                    </a:cubicBezTo>
                    <a:cubicBezTo>
                      <a:pt x="61356" y="2559709"/>
                      <a:pt x="60861" y="2560453"/>
                      <a:pt x="60861" y="2561189"/>
                    </a:cubicBezTo>
                    <a:cubicBezTo>
                      <a:pt x="60861" y="2562178"/>
                      <a:pt x="61601" y="2562669"/>
                      <a:pt x="62339" y="2562669"/>
                    </a:cubicBezTo>
                    <a:cubicBezTo>
                      <a:pt x="63080" y="2562669"/>
                      <a:pt x="63820" y="2561931"/>
                      <a:pt x="63820" y="2561189"/>
                    </a:cubicBezTo>
                    <a:close/>
                    <a:moveTo>
                      <a:pt x="65548" y="5704456"/>
                    </a:moveTo>
                    <a:cubicBezTo>
                      <a:pt x="65548" y="5701746"/>
                      <a:pt x="63574" y="5699773"/>
                      <a:pt x="60861" y="5699773"/>
                    </a:cubicBezTo>
                    <a:cubicBezTo>
                      <a:pt x="58148" y="5699773"/>
                      <a:pt x="56176" y="5701746"/>
                      <a:pt x="56176" y="5704456"/>
                    </a:cubicBezTo>
                    <a:cubicBezTo>
                      <a:pt x="56176" y="5707169"/>
                      <a:pt x="58395" y="5709141"/>
                      <a:pt x="60861" y="5709141"/>
                    </a:cubicBezTo>
                    <a:cubicBezTo>
                      <a:pt x="63574" y="5709141"/>
                      <a:pt x="65548" y="5707169"/>
                      <a:pt x="65548" y="5704456"/>
                    </a:cubicBezTo>
                    <a:close/>
                    <a:moveTo>
                      <a:pt x="67274" y="1714024"/>
                    </a:moveTo>
                    <a:cubicBezTo>
                      <a:pt x="67274" y="1700287"/>
                      <a:pt x="56176" y="1689188"/>
                      <a:pt x="42368" y="1689188"/>
                    </a:cubicBezTo>
                    <a:cubicBezTo>
                      <a:pt x="28559" y="1689188"/>
                      <a:pt x="17464" y="1700287"/>
                      <a:pt x="17464" y="1714024"/>
                    </a:cubicBezTo>
                    <a:cubicBezTo>
                      <a:pt x="17464" y="1727870"/>
                      <a:pt x="28559" y="1738996"/>
                      <a:pt x="42368" y="1738996"/>
                    </a:cubicBezTo>
                    <a:cubicBezTo>
                      <a:pt x="56176" y="1738996"/>
                      <a:pt x="67274" y="1727870"/>
                      <a:pt x="67274" y="1714024"/>
                    </a:cubicBezTo>
                    <a:close/>
                    <a:moveTo>
                      <a:pt x="69986" y="4284674"/>
                    </a:moveTo>
                    <a:cubicBezTo>
                      <a:pt x="69986" y="4265443"/>
                      <a:pt x="54206" y="4249908"/>
                      <a:pt x="34970" y="4249908"/>
                    </a:cubicBezTo>
                    <a:cubicBezTo>
                      <a:pt x="15739" y="4249908"/>
                      <a:pt x="204" y="4265443"/>
                      <a:pt x="204" y="4284674"/>
                    </a:cubicBezTo>
                    <a:cubicBezTo>
                      <a:pt x="204" y="4303908"/>
                      <a:pt x="15739" y="4319443"/>
                      <a:pt x="34970" y="4319443"/>
                    </a:cubicBezTo>
                    <a:cubicBezTo>
                      <a:pt x="54206" y="4319443"/>
                      <a:pt x="69738" y="4303908"/>
                      <a:pt x="69986" y="4284674"/>
                    </a:cubicBezTo>
                    <a:close/>
                    <a:moveTo>
                      <a:pt x="70973" y="5051772"/>
                    </a:moveTo>
                    <a:cubicBezTo>
                      <a:pt x="70973" y="5051772"/>
                      <a:pt x="70973" y="5051526"/>
                      <a:pt x="70723" y="5051526"/>
                    </a:cubicBezTo>
                    <a:cubicBezTo>
                      <a:pt x="70723" y="5051526"/>
                      <a:pt x="70478" y="5051526"/>
                      <a:pt x="70478" y="5051772"/>
                    </a:cubicBezTo>
                    <a:cubicBezTo>
                      <a:pt x="70478" y="5052018"/>
                      <a:pt x="70478" y="5052267"/>
                      <a:pt x="70723" y="5052267"/>
                    </a:cubicBezTo>
                    <a:cubicBezTo>
                      <a:pt x="70973" y="5052267"/>
                      <a:pt x="70973" y="5052267"/>
                      <a:pt x="70973" y="5051772"/>
                    </a:cubicBezTo>
                    <a:close/>
                    <a:moveTo>
                      <a:pt x="76642" y="5295881"/>
                    </a:moveTo>
                    <a:cubicBezTo>
                      <a:pt x="76642" y="5292677"/>
                      <a:pt x="74178" y="5290209"/>
                      <a:pt x="70973" y="5290209"/>
                    </a:cubicBezTo>
                    <a:cubicBezTo>
                      <a:pt x="67768" y="5290209"/>
                      <a:pt x="65301" y="5292677"/>
                      <a:pt x="65301" y="5295881"/>
                    </a:cubicBezTo>
                    <a:cubicBezTo>
                      <a:pt x="65301" y="5299086"/>
                      <a:pt x="67768" y="5301553"/>
                      <a:pt x="70973" y="5301553"/>
                    </a:cubicBezTo>
                    <a:cubicBezTo>
                      <a:pt x="74178" y="5301553"/>
                      <a:pt x="76642" y="5299086"/>
                      <a:pt x="76642" y="5295881"/>
                    </a:cubicBezTo>
                    <a:close/>
                    <a:moveTo>
                      <a:pt x="81079" y="2174843"/>
                    </a:moveTo>
                    <a:cubicBezTo>
                      <a:pt x="81079" y="2170889"/>
                      <a:pt x="77874" y="2167687"/>
                      <a:pt x="73929" y="2167687"/>
                    </a:cubicBezTo>
                    <a:cubicBezTo>
                      <a:pt x="69983" y="2167687"/>
                      <a:pt x="66779" y="2170889"/>
                      <a:pt x="66779" y="2174843"/>
                    </a:cubicBezTo>
                    <a:cubicBezTo>
                      <a:pt x="66779" y="2178791"/>
                      <a:pt x="69983" y="2182004"/>
                      <a:pt x="73929" y="2182004"/>
                    </a:cubicBezTo>
                    <a:cubicBezTo>
                      <a:pt x="77874" y="2182004"/>
                      <a:pt x="81079" y="2178791"/>
                      <a:pt x="81079" y="2174843"/>
                    </a:cubicBezTo>
                    <a:close/>
                    <a:moveTo>
                      <a:pt x="83545" y="1456196"/>
                    </a:moveTo>
                    <a:cubicBezTo>
                      <a:pt x="83545" y="1443866"/>
                      <a:pt x="73437" y="1433758"/>
                      <a:pt x="61109" y="1433758"/>
                    </a:cubicBezTo>
                    <a:cubicBezTo>
                      <a:pt x="48779" y="1433758"/>
                      <a:pt x="38670" y="1443866"/>
                      <a:pt x="38670" y="1456196"/>
                    </a:cubicBezTo>
                    <a:cubicBezTo>
                      <a:pt x="38670" y="1468533"/>
                      <a:pt x="48779" y="1478630"/>
                      <a:pt x="61109" y="1478630"/>
                    </a:cubicBezTo>
                    <a:cubicBezTo>
                      <a:pt x="73685" y="1478630"/>
                      <a:pt x="83794" y="1468533"/>
                      <a:pt x="83545" y="1456196"/>
                    </a:cubicBezTo>
                    <a:close/>
                    <a:moveTo>
                      <a:pt x="86507" y="3421525"/>
                    </a:moveTo>
                    <a:cubicBezTo>
                      <a:pt x="86507" y="3402047"/>
                      <a:pt x="70723" y="3386254"/>
                      <a:pt x="51246" y="3386254"/>
                    </a:cubicBezTo>
                    <a:cubicBezTo>
                      <a:pt x="31766" y="3386254"/>
                      <a:pt x="15985" y="3402047"/>
                      <a:pt x="15985" y="3421525"/>
                    </a:cubicBezTo>
                    <a:cubicBezTo>
                      <a:pt x="15985" y="3440997"/>
                      <a:pt x="31766" y="3456790"/>
                      <a:pt x="51246" y="3456790"/>
                    </a:cubicBezTo>
                    <a:cubicBezTo>
                      <a:pt x="70723" y="3456790"/>
                      <a:pt x="86507" y="3440997"/>
                      <a:pt x="86507" y="3421525"/>
                    </a:cubicBezTo>
                    <a:close/>
                    <a:moveTo>
                      <a:pt x="87000" y="3305385"/>
                    </a:moveTo>
                    <a:cubicBezTo>
                      <a:pt x="87000" y="3287619"/>
                      <a:pt x="72697" y="3273342"/>
                      <a:pt x="54944" y="3273342"/>
                    </a:cubicBezTo>
                    <a:cubicBezTo>
                      <a:pt x="37189" y="3273342"/>
                      <a:pt x="22889" y="3287619"/>
                      <a:pt x="22889" y="3305385"/>
                    </a:cubicBezTo>
                    <a:cubicBezTo>
                      <a:pt x="22889" y="3323160"/>
                      <a:pt x="37189" y="3337444"/>
                      <a:pt x="54944" y="3337444"/>
                    </a:cubicBezTo>
                    <a:cubicBezTo>
                      <a:pt x="72697" y="3337444"/>
                      <a:pt x="87000" y="3323160"/>
                      <a:pt x="87000" y="3305385"/>
                    </a:cubicBezTo>
                    <a:close/>
                    <a:moveTo>
                      <a:pt x="89219" y="3537305"/>
                    </a:moveTo>
                    <a:cubicBezTo>
                      <a:pt x="89219" y="3516344"/>
                      <a:pt x="72205" y="3499331"/>
                      <a:pt x="51247" y="3499331"/>
                    </a:cubicBezTo>
                    <a:cubicBezTo>
                      <a:pt x="30286" y="3499331"/>
                      <a:pt x="13273" y="3516344"/>
                      <a:pt x="13273" y="3537305"/>
                    </a:cubicBezTo>
                    <a:cubicBezTo>
                      <a:pt x="13273" y="3558263"/>
                      <a:pt x="30286" y="3575277"/>
                      <a:pt x="51247" y="3575277"/>
                    </a:cubicBezTo>
                    <a:cubicBezTo>
                      <a:pt x="72205" y="3575277"/>
                      <a:pt x="89219" y="3558263"/>
                      <a:pt x="89219" y="3537305"/>
                    </a:cubicBezTo>
                    <a:close/>
                    <a:moveTo>
                      <a:pt x="89955" y="4783495"/>
                    </a:moveTo>
                    <a:cubicBezTo>
                      <a:pt x="89955" y="4775113"/>
                      <a:pt x="83051" y="4768454"/>
                      <a:pt x="74915" y="4768454"/>
                    </a:cubicBezTo>
                    <a:cubicBezTo>
                      <a:pt x="66779" y="4768454"/>
                      <a:pt x="60120" y="4775358"/>
                      <a:pt x="60120" y="4783495"/>
                    </a:cubicBezTo>
                    <a:cubicBezTo>
                      <a:pt x="60120" y="4791879"/>
                      <a:pt x="66779" y="4798538"/>
                      <a:pt x="74915" y="4798538"/>
                    </a:cubicBezTo>
                    <a:cubicBezTo>
                      <a:pt x="83051" y="4798538"/>
                      <a:pt x="89955" y="4791879"/>
                      <a:pt x="89955" y="4783495"/>
                    </a:cubicBezTo>
                    <a:close/>
                    <a:moveTo>
                      <a:pt x="90451" y="3189505"/>
                    </a:moveTo>
                    <a:cubicBezTo>
                      <a:pt x="90451" y="3174217"/>
                      <a:pt x="78120" y="3161886"/>
                      <a:pt x="62833" y="3161886"/>
                    </a:cubicBezTo>
                    <a:cubicBezTo>
                      <a:pt x="47547" y="3161886"/>
                      <a:pt x="35217" y="3174217"/>
                      <a:pt x="35217" y="3189505"/>
                    </a:cubicBezTo>
                    <a:cubicBezTo>
                      <a:pt x="35217" y="3204793"/>
                      <a:pt x="47547" y="3217123"/>
                      <a:pt x="62833" y="3217123"/>
                    </a:cubicBezTo>
                    <a:cubicBezTo>
                      <a:pt x="77874" y="3217123"/>
                      <a:pt x="90204" y="3204545"/>
                      <a:pt x="90451" y="3189505"/>
                    </a:cubicBezTo>
                    <a:close/>
                    <a:moveTo>
                      <a:pt x="93410" y="1906407"/>
                    </a:moveTo>
                    <a:cubicBezTo>
                      <a:pt x="93410" y="1893112"/>
                      <a:pt x="82560" y="1882278"/>
                      <a:pt x="69243" y="1882278"/>
                    </a:cubicBezTo>
                    <a:cubicBezTo>
                      <a:pt x="55930" y="1882278"/>
                      <a:pt x="45080" y="1893112"/>
                      <a:pt x="45080" y="1906407"/>
                    </a:cubicBezTo>
                    <a:cubicBezTo>
                      <a:pt x="45080" y="1919705"/>
                      <a:pt x="55930" y="1930540"/>
                      <a:pt x="69243" y="1930540"/>
                    </a:cubicBezTo>
                    <a:cubicBezTo>
                      <a:pt x="82560" y="1930540"/>
                      <a:pt x="93410" y="1919705"/>
                      <a:pt x="93410" y="1906407"/>
                    </a:cubicBezTo>
                    <a:close/>
                    <a:moveTo>
                      <a:pt x="94395" y="2449494"/>
                    </a:moveTo>
                    <a:lnTo>
                      <a:pt x="94150" y="2449494"/>
                    </a:lnTo>
                    <a:lnTo>
                      <a:pt x="94150" y="2449739"/>
                    </a:lnTo>
                    <a:close/>
                    <a:moveTo>
                      <a:pt x="95136" y="3653438"/>
                    </a:moveTo>
                    <a:cubicBezTo>
                      <a:pt x="95136" y="3631493"/>
                      <a:pt x="77136" y="3613494"/>
                      <a:pt x="55192" y="3613494"/>
                    </a:cubicBezTo>
                    <a:cubicBezTo>
                      <a:pt x="33245" y="3613494"/>
                      <a:pt x="15245" y="3631493"/>
                      <a:pt x="15245" y="3653438"/>
                    </a:cubicBezTo>
                    <a:cubicBezTo>
                      <a:pt x="15245" y="3675385"/>
                      <a:pt x="33245" y="3693384"/>
                      <a:pt x="55192" y="3693384"/>
                    </a:cubicBezTo>
                    <a:cubicBezTo>
                      <a:pt x="77136" y="3693384"/>
                      <a:pt x="95136" y="3675385"/>
                      <a:pt x="95136" y="3653438"/>
                    </a:cubicBezTo>
                    <a:close/>
                    <a:moveTo>
                      <a:pt x="96863" y="3073850"/>
                    </a:moveTo>
                    <a:cubicBezTo>
                      <a:pt x="96863" y="3061519"/>
                      <a:pt x="86751" y="3051409"/>
                      <a:pt x="74423" y="3051409"/>
                    </a:cubicBezTo>
                    <a:cubicBezTo>
                      <a:pt x="62093" y="3051409"/>
                      <a:pt x="51985" y="3061519"/>
                      <a:pt x="51985" y="3073850"/>
                    </a:cubicBezTo>
                    <a:cubicBezTo>
                      <a:pt x="51985" y="3086179"/>
                      <a:pt x="62093" y="3096291"/>
                      <a:pt x="74423" y="3096291"/>
                    </a:cubicBezTo>
                    <a:cubicBezTo>
                      <a:pt x="86751" y="3096291"/>
                      <a:pt x="96863" y="3086179"/>
                      <a:pt x="96863" y="3073850"/>
                    </a:cubicBezTo>
                    <a:close/>
                    <a:moveTo>
                      <a:pt x="96863" y="5551828"/>
                    </a:moveTo>
                    <a:cubicBezTo>
                      <a:pt x="96863" y="5549610"/>
                      <a:pt x="95135" y="5547637"/>
                      <a:pt x="92669" y="5547637"/>
                    </a:cubicBezTo>
                    <a:cubicBezTo>
                      <a:pt x="90450" y="5547637"/>
                      <a:pt x="88478" y="5549363"/>
                      <a:pt x="88478" y="5551828"/>
                    </a:cubicBezTo>
                    <a:cubicBezTo>
                      <a:pt x="88478" y="5554047"/>
                      <a:pt x="90450" y="5556019"/>
                      <a:pt x="92669" y="5556019"/>
                    </a:cubicBezTo>
                    <a:cubicBezTo>
                      <a:pt x="95135" y="5556019"/>
                      <a:pt x="96863" y="5554295"/>
                      <a:pt x="96863" y="5551828"/>
                    </a:cubicBezTo>
                    <a:close/>
                    <a:moveTo>
                      <a:pt x="97107" y="4397362"/>
                    </a:moveTo>
                    <a:cubicBezTo>
                      <a:pt x="97107" y="4378619"/>
                      <a:pt x="81819" y="4363333"/>
                      <a:pt x="63079" y="4363333"/>
                    </a:cubicBezTo>
                    <a:cubicBezTo>
                      <a:pt x="44339" y="4363333"/>
                      <a:pt x="29053" y="4378619"/>
                      <a:pt x="29053" y="4397362"/>
                    </a:cubicBezTo>
                    <a:cubicBezTo>
                      <a:pt x="29053" y="4416099"/>
                      <a:pt x="44339" y="4431388"/>
                      <a:pt x="63079" y="4431388"/>
                    </a:cubicBezTo>
                    <a:cubicBezTo>
                      <a:pt x="82068" y="4431388"/>
                      <a:pt x="97354" y="4416099"/>
                      <a:pt x="97107" y="4397362"/>
                    </a:cubicBezTo>
                    <a:close/>
                    <a:moveTo>
                      <a:pt x="104753" y="3769329"/>
                    </a:moveTo>
                    <a:cubicBezTo>
                      <a:pt x="104753" y="3746399"/>
                      <a:pt x="86013" y="3727659"/>
                      <a:pt x="63079" y="3727659"/>
                    </a:cubicBezTo>
                    <a:cubicBezTo>
                      <a:pt x="40148" y="3727659"/>
                      <a:pt x="21408" y="3746399"/>
                      <a:pt x="21408" y="3769329"/>
                    </a:cubicBezTo>
                    <a:cubicBezTo>
                      <a:pt x="21408" y="3792509"/>
                      <a:pt x="40148" y="3811249"/>
                      <a:pt x="63079" y="3811249"/>
                    </a:cubicBezTo>
                    <a:cubicBezTo>
                      <a:pt x="86013" y="3811249"/>
                      <a:pt x="104753" y="3792261"/>
                      <a:pt x="104753" y="3769329"/>
                    </a:cubicBezTo>
                    <a:close/>
                    <a:moveTo>
                      <a:pt x="106972" y="2958687"/>
                    </a:moveTo>
                    <a:cubicBezTo>
                      <a:pt x="106972" y="2949317"/>
                      <a:pt x="99326" y="2941672"/>
                      <a:pt x="89955" y="2941672"/>
                    </a:cubicBezTo>
                    <a:cubicBezTo>
                      <a:pt x="80587" y="2941672"/>
                      <a:pt x="72942" y="2949317"/>
                      <a:pt x="72942" y="2958687"/>
                    </a:cubicBezTo>
                    <a:cubicBezTo>
                      <a:pt x="72942" y="2968059"/>
                      <a:pt x="80587" y="2975701"/>
                      <a:pt x="89955" y="2975701"/>
                    </a:cubicBezTo>
                    <a:cubicBezTo>
                      <a:pt x="99326" y="2975701"/>
                      <a:pt x="106972" y="2968059"/>
                      <a:pt x="106972" y="2958687"/>
                    </a:cubicBezTo>
                    <a:close/>
                    <a:moveTo>
                      <a:pt x="111903" y="1205466"/>
                    </a:moveTo>
                    <a:cubicBezTo>
                      <a:pt x="111903" y="1194117"/>
                      <a:pt x="102780" y="1184754"/>
                      <a:pt x="91190" y="1184754"/>
                    </a:cubicBezTo>
                    <a:cubicBezTo>
                      <a:pt x="79849" y="1184754"/>
                      <a:pt x="70478" y="1193872"/>
                      <a:pt x="70478" y="1205466"/>
                    </a:cubicBezTo>
                    <a:cubicBezTo>
                      <a:pt x="70478" y="1216809"/>
                      <a:pt x="79849" y="1226180"/>
                      <a:pt x="91190" y="1226180"/>
                    </a:cubicBezTo>
                    <a:cubicBezTo>
                      <a:pt x="102534" y="1226180"/>
                      <a:pt x="111903" y="1216809"/>
                      <a:pt x="111903" y="1205466"/>
                    </a:cubicBezTo>
                    <a:close/>
                    <a:moveTo>
                      <a:pt x="117329" y="3884977"/>
                    </a:moveTo>
                    <a:cubicBezTo>
                      <a:pt x="117329" y="3861303"/>
                      <a:pt x="98341" y="3842071"/>
                      <a:pt x="74670" y="3842071"/>
                    </a:cubicBezTo>
                    <a:cubicBezTo>
                      <a:pt x="51247" y="3842071"/>
                      <a:pt x="32013" y="3861303"/>
                      <a:pt x="32013" y="3884977"/>
                    </a:cubicBezTo>
                    <a:cubicBezTo>
                      <a:pt x="32013" y="3908399"/>
                      <a:pt x="50998" y="3927634"/>
                      <a:pt x="74670" y="3927634"/>
                    </a:cubicBezTo>
                    <a:cubicBezTo>
                      <a:pt x="98341" y="3927634"/>
                      <a:pt x="117575" y="3908399"/>
                      <a:pt x="117329" y="3884977"/>
                    </a:cubicBezTo>
                    <a:close/>
                    <a:moveTo>
                      <a:pt x="121025" y="2844265"/>
                    </a:moveTo>
                    <a:cubicBezTo>
                      <a:pt x="121025" y="2837854"/>
                      <a:pt x="115847" y="2832428"/>
                      <a:pt x="109190" y="2832428"/>
                    </a:cubicBezTo>
                    <a:cubicBezTo>
                      <a:pt x="102780" y="2832428"/>
                      <a:pt x="97354" y="2837605"/>
                      <a:pt x="97354" y="2844265"/>
                    </a:cubicBezTo>
                    <a:cubicBezTo>
                      <a:pt x="97354" y="2850677"/>
                      <a:pt x="102532" y="2856101"/>
                      <a:pt x="109190" y="2856101"/>
                    </a:cubicBezTo>
                    <a:cubicBezTo>
                      <a:pt x="115847" y="2856101"/>
                      <a:pt x="121025" y="2850677"/>
                      <a:pt x="121025" y="2844265"/>
                    </a:cubicBezTo>
                    <a:close/>
                    <a:moveTo>
                      <a:pt x="121026" y="1611522"/>
                    </a:moveTo>
                    <a:cubicBezTo>
                      <a:pt x="121026" y="1598452"/>
                      <a:pt x="110423" y="1587831"/>
                      <a:pt x="97354" y="1587831"/>
                    </a:cubicBezTo>
                    <a:cubicBezTo>
                      <a:pt x="84286" y="1587831"/>
                      <a:pt x="73683" y="1598452"/>
                      <a:pt x="73683" y="1611522"/>
                    </a:cubicBezTo>
                    <a:cubicBezTo>
                      <a:pt x="73683" y="1624577"/>
                      <a:pt x="84286" y="1635193"/>
                      <a:pt x="97354" y="1635193"/>
                    </a:cubicBezTo>
                    <a:cubicBezTo>
                      <a:pt x="110423" y="1635193"/>
                      <a:pt x="121026" y="1624331"/>
                      <a:pt x="121026" y="1611522"/>
                    </a:cubicBezTo>
                    <a:close/>
                    <a:moveTo>
                      <a:pt x="121517" y="5156320"/>
                    </a:moveTo>
                    <a:cubicBezTo>
                      <a:pt x="121517" y="5156071"/>
                      <a:pt x="121272" y="5155826"/>
                      <a:pt x="121025" y="5155826"/>
                    </a:cubicBezTo>
                    <a:cubicBezTo>
                      <a:pt x="120776" y="5155826"/>
                      <a:pt x="120531" y="5156071"/>
                      <a:pt x="120531" y="5156320"/>
                    </a:cubicBezTo>
                    <a:cubicBezTo>
                      <a:pt x="120531" y="5156567"/>
                      <a:pt x="120776" y="5156812"/>
                      <a:pt x="121025" y="5156812"/>
                    </a:cubicBezTo>
                    <a:cubicBezTo>
                      <a:pt x="121272" y="5156812"/>
                      <a:pt x="121517" y="5156567"/>
                      <a:pt x="121517" y="5156320"/>
                    </a:cubicBezTo>
                    <a:close/>
                    <a:moveTo>
                      <a:pt x="125466" y="2067039"/>
                    </a:moveTo>
                    <a:cubicBezTo>
                      <a:pt x="125466" y="2062351"/>
                      <a:pt x="121766" y="2058649"/>
                      <a:pt x="117084" y="2058649"/>
                    </a:cubicBezTo>
                    <a:cubicBezTo>
                      <a:pt x="112398" y="2058649"/>
                      <a:pt x="108698" y="2062351"/>
                      <a:pt x="108698" y="2067039"/>
                    </a:cubicBezTo>
                    <a:cubicBezTo>
                      <a:pt x="108698" y="2071726"/>
                      <a:pt x="112398" y="2075427"/>
                      <a:pt x="117084" y="2075427"/>
                    </a:cubicBezTo>
                    <a:cubicBezTo>
                      <a:pt x="121520" y="2075427"/>
                      <a:pt x="125466" y="2071726"/>
                      <a:pt x="125466" y="2067039"/>
                    </a:cubicBezTo>
                    <a:close/>
                    <a:moveTo>
                      <a:pt x="128670" y="4508812"/>
                    </a:moveTo>
                    <a:cubicBezTo>
                      <a:pt x="128670" y="4490318"/>
                      <a:pt x="113629" y="4475277"/>
                      <a:pt x="95135" y="4475277"/>
                    </a:cubicBezTo>
                    <a:cubicBezTo>
                      <a:pt x="76642" y="4475277"/>
                      <a:pt x="61601" y="4490318"/>
                      <a:pt x="61601" y="4508812"/>
                    </a:cubicBezTo>
                    <a:cubicBezTo>
                      <a:pt x="61601" y="4527306"/>
                      <a:pt x="76642" y="4542346"/>
                      <a:pt x="95135" y="4542346"/>
                    </a:cubicBezTo>
                    <a:cubicBezTo>
                      <a:pt x="113629" y="4542346"/>
                      <a:pt x="128670" y="4527306"/>
                      <a:pt x="128670" y="4508812"/>
                    </a:cubicBezTo>
                    <a:close/>
                    <a:moveTo>
                      <a:pt x="130149" y="5800867"/>
                    </a:moveTo>
                    <a:cubicBezTo>
                      <a:pt x="130149" y="5798403"/>
                      <a:pt x="128176" y="5796430"/>
                      <a:pt x="125709" y="5796430"/>
                    </a:cubicBezTo>
                    <a:cubicBezTo>
                      <a:pt x="123244" y="5796430"/>
                      <a:pt x="121272" y="5798403"/>
                      <a:pt x="121272" y="5800867"/>
                    </a:cubicBezTo>
                    <a:cubicBezTo>
                      <a:pt x="121272" y="5803334"/>
                      <a:pt x="123244" y="5805307"/>
                      <a:pt x="125709" y="5805307"/>
                    </a:cubicBezTo>
                    <a:cubicBezTo>
                      <a:pt x="128176" y="5805307"/>
                      <a:pt x="130149" y="5803334"/>
                      <a:pt x="130149" y="5800867"/>
                    </a:cubicBezTo>
                    <a:close/>
                    <a:moveTo>
                      <a:pt x="130639" y="2339046"/>
                    </a:moveTo>
                    <a:cubicBezTo>
                      <a:pt x="130639" y="2338797"/>
                      <a:pt x="130394" y="2338303"/>
                      <a:pt x="129902" y="2338303"/>
                    </a:cubicBezTo>
                    <a:cubicBezTo>
                      <a:pt x="129656" y="2338303"/>
                      <a:pt x="129162" y="2338551"/>
                      <a:pt x="129162" y="2339046"/>
                    </a:cubicBezTo>
                    <a:cubicBezTo>
                      <a:pt x="129162" y="2339539"/>
                      <a:pt x="129407" y="2339786"/>
                      <a:pt x="129902" y="2339786"/>
                    </a:cubicBezTo>
                    <a:cubicBezTo>
                      <a:pt x="130148" y="2339786"/>
                      <a:pt x="130639" y="2339539"/>
                      <a:pt x="130639" y="2339046"/>
                    </a:cubicBezTo>
                    <a:close/>
                    <a:moveTo>
                      <a:pt x="132367" y="4891251"/>
                    </a:moveTo>
                    <a:cubicBezTo>
                      <a:pt x="132367" y="4883610"/>
                      <a:pt x="125957" y="4877197"/>
                      <a:pt x="118313" y="4877197"/>
                    </a:cubicBezTo>
                    <a:cubicBezTo>
                      <a:pt x="110670" y="4877197"/>
                      <a:pt x="104258" y="4883610"/>
                      <a:pt x="104258" y="4891251"/>
                    </a:cubicBezTo>
                    <a:cubicBezTo>
                      <a:pt x="104258" y="4899142"/>
                      <a:pt x="110670" y="4905305"/>
                      <a:pt x="118313" y="4905305"/>
                    </a:cubicBezTo>
                    <a:cubicBezTo>
                      <a:pt x="125957" y="4905305"/>
                      <a:pt x="132367" y="4898896"/>
                      <a:pt x="132367" y="4891251"/>
                    </a:cubicBezTo>
                    <a:close/>
                    <a:moveTo>
                      <a:pt x="132861" y="5397719"/>
                    </a:moveTo>
                    <a:cubicBezTo>
                      <a:pt x="132861" y="5394760"/>
                      <a:pt x="130397" y="5392292"/>
                      <a:pt x="127438" y="5392292"/>
                    </a:cubicBezTo>
                    <a:cubicBezTo>
                      <a:pt x="124479" y="5392292"/>
                      <a:pt x="122012" y="5394760"/>
                      <a:pt x="122012" y="5397719"/>
                    </a:cubicBezTo>
                    <a:cubicBezTo>
                      <a:pt x="122012" y="5400676"/>
                      <a:pt x="124479" y="5403142"/>
                      <a:pt x="127438" y="5403142"/>
                    </a:cubicBezTo>
                    <a:cubicBezTo>
                      <a:pt x="130397" y="5403142"/>
                      <a:pt x="132861" y="5400676"/>
                      <a:pt x="132861" y="5397719"/>
                    </a:cubicBezTo>
                    <a:close/>
                    <a:moveTo>
                      <a:pt x="134094" y="4000125"/>
                    </a:moveTo>
                    <a:cubicBezTo>
                      <a:pt x="134094" y="3975962"/>
                      <a:pt x="114616" y="3956481"/>
                      <a:pt x="90450" y="3956481"/>
                    </a:cubicBezTo>
                    <a:cubicBezTo>
                      <a:pt x="66533" y="3956481"/>
                      <a:pt x="46807" y="3975962"/>
                      <a:pt x="46807" y="4000125"/>
                    </a:cubicBezTo>
                    <a:cubicBezTo>
                      <a:pt x="46807" y="4024045"/>
                      <a:pt x="66287" y="4043768"/>
                      <a:pt x="90450" y="4043768"/>
                    </a:cubicBezTo>
                    <a:cubicBezTo>
                      <a:pt x="114367" y="4043768"/>
                      <a:pt x="134094" y="4024045"/>
                      <a:pt x="134094" y="4000125"/>
                    </a:cubicBezTo>
                    <a:close/>
                    <a:moveTo>
                      <a:pt x="140010" y="2730092"/>
                    </a:moveTo>
                    <a:cubicBezTo>
                      <a:pt x="140010" y="2725897"/>
                      <a:pt x="136557" y="2722692"/>
                      <a:pt x="132612" y="2722692"/>
                    </a:cubicBezTo>
                    <a:cubicBezTo>
                      <a:pt x="128421" y="2722692"/>
                      <a:pt x="125216" y="2725897"/>
                      <a:pt x="125216" y="2730092"/>
                    </a:cubicBezTo>
                    <a:cubicBezTo>
                      <a:pt x="125216" y="2734284"/>
                      <a:pt x="128667" y="2737489"/>
                      <a:pt x="132612" y="2737489"/>
                    </a:cubicBezTo>
                    <a:cubicBezTo>
                      <a:pt x="136557" y="2737489"/>
                      <a:pt x="140010" y="2734284"/>
                      <a:pt x="140010" y="2730092"/>
                    </a:cubicBezTo>
                    <a:close/>
                    <a:moveTo>
                      <a:pt x="142476" y="1801984"/>
                    </a:moveTo>
                    <a:cubicBezTo>
                      <a:pt x="142476" y="1789302"/>
                      <a:pt x="132121" y="1779002"/>
                      <a:pt x="119545" y="1779002"/>
                    </a:cubicBezTo>
                    <a:cubicBezTo>
                      <a:pt x="106972" y="1779002"/>
                      <a:pt x="96614" y="1789302"/>
                      <a:pt x="96614" y="1801984"/>
                    </a:cubicBezTo>
                    <a:cubicBezTo>
                      <a:pt x="96614" y="1814535"/>
                      <a:pt x="106972" y="1824883"/>
                      <a:pt x="119545" y="1824883"/>
                    </a:cubicBezTo>
                    <a:cubicBezTo>
                      <a:pt x="132121" y="1824883"/>
                      <a:pt x="142230" y="1814779"/>
                      <a:pt x="142476" y="1801984"/>
                    </a:cubicBezTo>
                    <a:close/>
                    <a:moveTo>
                      <a:pt x="143461" y="1356579"/>
                    </a:moveTo>
                    <a:cubicBezTo>
                      <a:pt x="143461" y="1344752"/>
                      <a:pt x="133847" y="1335129"/>
                      <a:pt x="122012" y="1335129"/>
                    </a:cubicBezTo>
                    <a:cubicBezTo>
                      <a:pt x="110176" y="1335129"/>
                      <a:pt x="100559" y="1344752"/>
                      <a:pt x="100559" y="1356579"/>
                    </a:cubicBezTo>
                    <a:cubicBezTo>
                      <a:pt x="100559" y="1368659"/>
                      <a:pt x="110176" y="1378281"/>
                      <a:pt x="122012" y="1378281"/>
                    </a:cubicBezTo>
                    <a:cubicBezTo>
                      <a:pt x="133847" y="1378281"/>
                      <a:pt x="143461" y="1368659"/>
                      <a:pt x="143461" y="1356579"/>
                    </a:cubicBezTo>
                    <a:close/>
                    <a:moveTo>
                      <a:pt x="154314" y="4114538"/>
                    </a:moveTo>
                    <a:cubicBezTo>
                      <a:pt x="154314" y="4090126"/>
                      <a:pt x="134342" y="4070154"/>
                      <a:pt x="109931" y="4070154"/>
                    </a:cubicBezTo>
                    <a:cubicBezTo>
                      <a:pt x="85519" y="4070154"/>
                      <a:pt x="65547" y="4090126"/>
                      <a:pt x="65547" y="4114538"/>
                    </a:cubicBezTo>
                    <a:cubicBezTo>
                      <a:pt x="65547" y="4138950"/>
                      <a:pt x="85519" y="4158922"/>
                      <a:pt x="109931" y="4158922"/>
                    </a:cubicBezTo>
                    <a:cubicBezTo>
                      <a:pt x="134342" y="4158922"/>
                      <a:pt x="154314" y="4138950"/>
                      <a:pt x="154314" y="4114538"/>
                    </a:cubicBezTo>
                    <a:close/>
                    <a:moveTo>
                      <a:pt x="155544" y="4619277"/>
                    </a:moveTo>
                    <a:cubicBezTo>
                      <a:pt x="155544" y="4605468"/>
                      <a:pt x="144448" y="4594373"/>
                      <a:pt x="130640" y="4594373"/>
                    </a:cubicBezTo>
                    <a:cubicBezTo>
                      <a:pt x="116832" y="4594373"/>
                      <a:pt x="105736" y="4605468"/>
                      <a:pt x="105736" y="4619277"/>
                    </a:cubicBezTo>
                    <a:cubicBezTo>
                      <a:pt x="105736" y="4633085"/>
                      <a:pt x="116832" y="4644183"/>
                      <a:pt x="130640" y="4644183"/>
                    </a:cubicBezTo>
                    <a:cubicBezTo>
                      <a:pt x="144448" y="4644183"/>
                      <a:pt x="155544" y="4632839"/>
                      <a:pt x="155544" y="4619277"/>
                    </a:cubicBezTo>
                    <a:close/>
                    <a:moveTo>
                      <a:pt x="159000" y="5650212"/>
                    </a:moveTo>
                    <a:cubicBezTo>
                      <a:pt x="159000" y="5647993"/>
                      <a:pt x="157272" y="5646267"/>
                      <a:pt x="155054" y="5646267"/>
                    </a:cubicBezTo>
                    <a:cubicBezTo>
                      <a:pt x="152835" y="5646267"/>
                      <a:pt x="151109" y="5647993"/>
                      <a:pt x="151109" y="5650212"/>
                    </a:cubicBezTo>
                    <a:cubicBezTo>
                      <a:pt x="151109" y="5652430"/>
                      <a:pt x="152835" y="5654156"/>
                      <a:pt x="155054" y="5654156"/>
                    </a:cubicBezTo>
                    <a:cubicBezTo>
                      <a:pt x="157027" y="5654156"/>
                      <a:pt x="159000" y="5652430"/>
                      <a:pt x="159000" y="5650212"/>
                    </a:cubicBezTo>
                    <a:close/>
                    <a:moveTo>
                      <a:pt x="162451" y="2617395"/>
                    </a:moveTo>
                    <a:cubicBezTo>
                      <a:pt x="162451" y="2615918"/>
                      <a:pt x="161216" y="2614685"/>
                      <a:pt x="159738" y="2614685"/>
                    </a:cubicBezTo>
                    <a:cubicBezTo>
                      <a:pt x="158257" y="2614685"/>
                      <a:pt x="157025" y="2615918"/>
                      <a:pt x="157025" y="2617395"/>
                    </a:cubicBezTo>
                    <a:cubicBezTo>
                      <a:pt x="157025" y="2618873"/>
                      <a:pt x="158257" y="2620110"/>
                      <a:pt x="159738" y="2620110"/>
                    </a:cubicBezTo>
                    <a:cubicBezTo>
                      <a:pt x="161216" y="2620110"/>
                      <a:pt x="162451" y="2618873"/>
                      <a:pt x="162451" y="2617395"/>
                    </a:cubicBezTo>
                    <a:close/>
                    <a:moveTo>
                      <a:pt x="172064" y="2229810"/>
                    </a:moveTo>
                    <a:cubicBezTo>
                      <a:pt x="172064" y="2228081"/>
                      <a:pt x="170586" y="2226595"/>
                      <a:pt x="168859" y="2226595"/>
                    </a:cubicBezTo>
                    <a:cubicBezTo>
                      <a:pt x="167132" y="2226595"/>
                      <a:pt x="165654" y="2228081"/>
                      <a:pt x="165654" y="2229810"/>
                    </a:cubicBezTo>
                    <a:cubicBezTo>
                      <a:pt x="165654" y="2231540"/>
                      <a:pt x="167132" y="2232993"/>
                      <a:pt x="168859" y="2232993"/>
                    </a:cubicBezTo>
                    <a:cubicBezTo>
                      <a:pt x="170832" y="2232993"/>
                      <a:pt x="172312" y="2231540"/>
                      <a:pt x="172064" y="2229810"/>
                    </a:cubicBezTo>
                    <a:close/>
                    <a:moveTo>
                      <a:pt x="175023" y="5259142"/>
                    </a:moveTo>
                    <a:cubicBezTo>
                      <a:pt x="175023" y="5258646"/>
                      <a:pt x="174778" y="5258401"/>
                      <a:pt x="174285" y="5258401"/>
                    </a:cubicBezTo>
                    <a:cubicBezTo>
                      <a:pt x="174037" y="5258401"/>
                      <a:pt x="173791" y="5258893"/>
                      <a:pt x="173791" y="5259142"/>
                    </a:cubicBezTo>
                    <a:cubicBezTo>
                      <a:pt x="173791" y="5259633"/>
                      <a:pt x="174037" y="5259879"/>
                      <a:pt x="174285" y="5259879"/>
                    </a:cubicBezTo>
                    <a:cubicBezTo>
                      <a:pt x="174778" y="5259879"/>
                      <a:pt x="175023" y="5259633"/>
                      <a:pt x="175023" y="5259142"/>
                    </a:cubicBezTo>
                    <a:close/>
                    <a:moveTo>
                      <a:pt x="176999" y="1109787"/>
                    </a:moveTo>
                    <a:cubicBezTo>
                      <a:pt x="176999" y="1098942"/>
                      <a:pt x="168122" y="1090069"/>
                      <a:pt x="157273" y="1090069"/>
                    </a:cubicBezTo>
                    <a:cubicBezTo>
                      <a:pt x="146423" y="1090069"/>
                      <a:pt x="137547" y="1098942"/>
                      <a:pt x="137547" y="1109787"/>
                    </a:cubicBezTo>
                    <a:cubicBezTo>
                      <a:pt x="137547" y="1120632"/>
                      <a:pt x="146423" y="1129513"/>
                      <a:pt x="157273" y="1129513"/>
                    </a:cubicBezTo>
                    <a:cubicBezTo>
                      <a:pt x="168122" y="1129513"/>
                      <a:pt x="176999" y="1120632"/>
                      <a:pt x="176999" y="1109787"/>
                    </a:cubicBezTo>
                    <a:close/>
                    <a:moveTo>
                      <a:pt x="177737" y="1510171"/>
                    </a:moveTo>
                    <a:cubicBezTo>
                      <a:pt x="177737" y="1497591"/>
                      <a:pt x="167628" y="1487488"/>
                      <a:pt x="155051" y="1487488"/>
                    </a:cubicBezTo>
                    <a:cubicBezTo>
                      <a:pt x="142476" y="1487488"/>
                      <a:pt x="132367" y="1497591"/>
                      <a:pt x="132367" y="1510171"/>
                    </a:cubicBezTo>
                    <a:cubicBezTo>
                      <a:pt x="132367" y="1522755"/>
                      <a:pt x="142476" y="1532860"/>
                      <a:pt x="155051" y="1532860"/>
                    </a:cubicBezTo>
                    <a:cubicBezTo>
                      <a:pt x="167628" y="1532860"/>
                      <a:pt x="177737" y="1522755"/>
                      <a:pt x="177737" y="1510171"/>
                    </a:cubicBezTo>
                    <a:close/>
                    <a:moveTo>
                      <a:pt x="177985" y="4997278"/>
                    </a:moveTo>
                    <a:cubicBezTo>
                      <a:pt x="177985" y="4989881"/>
                      <a:pt x="172064" y="4983963"/>
                      <a:pt x="164914" y="4983963"/>
                    </a:cubicBezTo>
                    <a:cubicBezTo>
                      <a:pt x="157764" y="4983963"/>
                      <a:pt x="151847" y="4990128"/>
                      <a:pt x="151847" y="4997278"/>
                    </a:cubicBezTo>
                    <a:cubicBezTo>
                      <a:pt x="151847" y="5004431"/>
                      <a:pt x="157764" y="5010348"/>
                      <a:pt x="164914" y="5010348"/>
                    </a:cubicBezTo>
                    <a:cubicBezTo>
                      <a:pt x="172064" y="5010348"/>
                      <a:pt x="177985" y="5004676"/>
                      <a:pt x="177985" y="4997278"/>
                    </a:cubicBezTo>
                    <a:close/>
                    <a:moveTo>
                      <a:pt x="178232" y="4228210"/>
                    </a:moveTo>
                    <a:cubicBezTo>
                      <a:pt x="178232" y="4203304"/>
                      <a:pt x="158260" y="4183085"/>
                      <a:pt x="133356" y="4183085"/>
                    </a:cubicBezTo>
                    <a:cubicBezTo>
                      <a:pt x="108450" y="4183085"/>
                      <a:pt x="88232" y="4203304"/>
                      <a:pt x="88232" y="4228210"/>
                    </a:cubicBezTo>
                    <a:cubicBezTo>
                      <a:pt x="88232" y="4253113"/>
                      <a:pt x="108450" y="4273334"/>
                      <a:pt x="133356" y="4273334"/>
                    </a:cubicBezTo>
                    <a:cubicBezTo>
                      <a:pt x="158014" y="4273334"/>
                      <a:pt x="178232" y="4253113"/>
                      <a:pt x="178232" y="4228210"/>
                    </a:cubicBezTo>
                    <a:close/>
                    <a:moveTo>
                      <a:pt x="179217" y="1960807"/>
                    </a:moveTo>
                    <a:cubicBezTo>
                      <a:pt x="179217" y="1952187"/>
                      <a:pt x="172310" y="1945292"/>
                      <a:pt x="163682" y="1945292"/>
                    </a:cubicBezTo>
                    <a:cubicBezTo>
                      <a:pt x="155051" y="1945292"/>
                      <a:pt x="148147" y="1952187"/>
                      <a:pt x="148147" y="1960807"/>
                    </a:cubicBezTo>
                    <a:cubicBezTo>
                      <a:pt x="148147" y="1969427"/>
                      <a:pt x="155051" y="1976322"/>
                      <a:pt x="163682" y="1976322"/>
                    </a:cubicBezTo>
                    <a:cubicBezTo>
                      <a:pt x="172064" y="1976322"/>
                      <a:pt x="179217" y="1969427"/>
                      <a:pt x="179217" y="1960807"/>
                    </a:cubicBezTo>
                    <a:close/>
                    <a:moveTo>
                      <a:pt x="180945" y="4728264"/>
                    </a:moveTo>
                    <a:cubicBezTo>
                      <a:pt x="180945" y="4722101"/>
                      <a:pt x="176013" y="4717169"/>
                      <a:pt x="169847" y="4717169"/>
                    </a:cubicBezTo>
                    <a:cubicBezTo>
                      <a:pt x="163683" y="4717169"/>
                      <a:pt x="158751" y="4722101"/>
                      <a:pt x="158751" y="4728264"/>
                    </a:cubicBezTo>
                    <a:cubicBezTo>
                      <a:pt x="158751" y="4734429"/>
                      <a:pt x="163683" y="4739360"/>
                      <a:pt x="169847" y="4739360"/>
                    </a:cubicBezTo>
                    <a:cubicBezTo>
                      <a:pt x="176013" y="4739360"/>
                      <a:pt x="180945" y="4734429"/>
                      <a:pt x="180945" y="4728264"/>
                    </a:cubicBezTo>
                    <a:close/>
                    <a:moveTo>
                      <a:pt x="191790" y="5497827"/>
                    </a:moveTo>
                    <a:cubicBezTo>
                      <a:pt x="191790" y="5494869"/>
                      <a:pt x="189571" y="5492650"/>
                      <a:pt x="186613" y="5492650"/>
                    </a:cubicBezTo>
                    <a:cubicBezTo>
                      <a:pt x="183654" y="5492650"/>
                      <a:pt x="181435" y="5494869"/>
                      <a:pt x="181435" y="5497827"/>
                    </a:cubicBezTo>
                    <a:cubicBezTo>
                      <a:pt x="181435" y="5500786"/>
                      <a:pt x="183654" y="5503004"/>
                      <a:pt x="186613" y="5503004"/>
                    </a:cubicBezTo>
                    <a:cubicBezTo>
                      <a:pt x="189571" y="5503004"/>
                      <a:pt x="191790" y="5500786"/>
                      <a:pt x="191790" y="5497827"/>
                    </a:cubicBezTo>
                    <a:close/>
                    <a:moveTo>
                      <a:pt x="193026" y="2505436"/>
                    </a:moveTo>
                    <a:cubicBezTo>
                      <a:pt x="193026" y="2504205"/>
                      <a:pt x="192040" y="2503220"/>
                      <a:pt x="190804" y="2503220"/>
                    </a:cubicBezTo>
                    <a:cubicBezTo>
                      <a:pt x="189573" y="2503220"/>
                      <a:pt x="188586" y="2504205"/>
                      <a:pt x="188586" y="2505436"/>
                    </a:cubicBezTo>
                    <a:cubicBezTo>
                      <a:pt x="188586" y="2506668"/>
                      <a:pt x="189573" y="2507654"/>
                      <a:pt x="190804" y="2507654"/>
                    </a:cubicBezTo>
                    <a:cubicBezTo>
                      <a:pt x="191791" y="2507654"/>
                      <a:pt x="193026" y="2506668"/>
                      <a:pt x="193026" y="2505436"/>
                    </a:cubicBezTo>
                    <a:close/>
                    <a:moveTo>
                      <a:pt x="194507" y="1699273"/>
                    </a:moveTo>
                    <a:cubicBezTo>
                      <a:pt x="194507" y="1687194"/>
                      <a:pt x="184644" y="1677567"/>
                      <a:pt x="172807" y="1677567"/>
                    </a:cubicBezTo>
                    <a:cubicBezTo>
                      <a:pt x="160726" y="1677567"/>
                      <a:pt x="151109" y="1687439"/>
                      <a:pt x="151109" y="1699273"/>
                    </a:cubicBezTo>
                    <a:cubicBezTo>
                      <a:pt x="151109" y="1711034"/>
                      <a:pt x="160972" y="1720676"/>
                      <a:pt x="172807" y="1720676"/>
                    </a:cubicBezTo>
                    <a:cubicBezTo>
                      <a:pt x="184644" y="1720676"/>
                      <a:pt x="194507" y="1710787"/>
                      <a:pt x="194507" y="1699273"/>
                    </a:cubicBezTo>
                    <a:close/>
                    <a:moveTo>
                      <a:pt x="196725" y="3363053"/>
                    </a:moveTo>
                    <a:cubicBezTo>
                      <a:pt x="196725" y="3343327"/>
                      <a:pt x="180698" y="3327541"/>
                      <a:pt x="161218" y="3327541"/>
                    </a:cubicBezTo>
                    <a:cubicBezTo>
                      <a:pt x="141492" y="3327541"/>
                      <a:pt x="125711" y="3343573"/>
                      <a:pt x="125711" y="3363053"/>
                    </a:cubicBezTo>
                    <a:cubicBezTo>
                      <a:pt x="125711" y="3382536"/>
                      <a:pt x="141738" y="3398568"/>
                      <a:pt x="161218" y="3398568"/>
                    </a:cubicBezTo>
                    <a:cubicBezTo>
                      <a:pt x="180698" y="3398568"/>
                      <a:pt x="196725" y="3382536"/>
                      <a:pt x="196725" y="3363053"/>
                    </a:cubicBezTo>
                    <a:close/>
                    <a:moveTo>
                      <a:pt x="196971" y="3246934"/>
                    </a:moveTo>
                    <a:cubicBezTo>
                      <a:pt x="196971" y="3230415"/>
                      <a:pt x="183656" y="3217100"/>
                      <a:pt x="167135" y="3217100"/>
                    </a:cubicBezTo>
                    <a:cubicBezTo>
                      <a:pt x="150617" y="3217100"/>
                      <a:pt x="137300" y="3230415"/>
                      <a:pt x="137300" y="3246934"/>
                    </a:cubicBezTo>
                    <a:cubicBezTo>
                      <a:pt x="137300" y="3263450"/>
                      <a:pt x="150617" y="3276769"/>
                      <a:pt x="167135" y="3276769"/>
                    </a:cubicBezTo>
                    <a:cubicBezTo>
                      <a:pt x="183656" y="3276769"/>
                      <a:pt x="196971" y="3263450"/>
                      <a:pt x="196971" y="3246934"/>
                    </a:cubicBezTo>
                    <a:close/>
                    <a:moveTo>
                      <a:pt x="197217" y="5895553"/>
                    </a:moveTo>
                    <a:cubicBezTo>
                      <a:pt x="197217" y="5893334"/>
                      <a:pt x="195490" y="5891608"/>
                      <a:pt x="193272" y="5891608"/>
                    </a:cubicBezTo>
                    <a:cubicBezTo>
                      <a:pt x="191053" y="5891608"/>
                      <a:pt x="189326" y="5893334"/>
                      <a:pt x="189326" y="5895553"/>
                    </a:cubicBezTo>
                    <a:cubicBezTo>
                      <a:pt x="189326" y="5897772"/>
                      <a:pt x="191053" y="5899499"/>
                      <a:pt x="193272" y="5899499"/>
                    </a:cubicBezTo>
                    <a:cubicBezTo>
                      <a:pt x="195490" y="5899499"/>
                      <a:pt x="197217" y="5897526"/>
                      <a:pt x="197217" y="5895553"/>
                    </a:cubicBezTo>
                    <a:close/>
                    <a:moveTo>
                      <a:pt x="199189" y="3478865"/>
                    </a:moveTo>
                    <a:cubicBezTo>
                      <a:pt x="199189" y="3457261"/>
                      <a:pt x="181190" y="3439254"/>
                      <a:pt x="159242" y="3439254"/>
                    </a:cubicBezTo>
                    <a:cubicBezTo>
                      <a:pt x="137298" y="3439254"/>
                      <a:pt x="119298" y="3457261"/>
                      <a:pt x="119298" y="3478865"/>
                    </a:cubicBezTo>
                    <a:cubicBezTo>
                      <a:pt x="119298" y="3500810"/>
                      <a:pt x="137298" y="3518809"/>
                      <a:pt x="159242" y="3518809"/>
                    </a:cubicBezTo>
                    <a:cubicBezTo>
                      <a:pt x="181190" y="3518809"/>
                      <a:pt x="199189" y="3501055"/>
                      <a:pt x="199189" y="3478865"/>
                    </a:cubicBezTo>
                    <a:close/>
                    <a:moveTo>
                      <a:pt x="200175" y="3131039"/>
                    </a:moveTo>
                    <a:cubicBezTo>
                      <a:pt x="200175" y="3118215"/>
                      <a:pt x="189821" y="3107857"/>
                      <a:pt x="176999" y="3107857"/>
                    </a:cubicBezTo>
                    <a:cubicBezTo>
                      <a:pt x="164177" y="3107857"/>
                      <a:pt x="153819" y="3118215"/>
                      <a:pt x="153819" y="3131039"/>
                    </a:cubicBezTo>
                    <a:cubicBezTo>
                      <a:pt x="153819" y="3143861"/>
                      <a:pt x="164177" y="3154218"/>
                      <a:pt x="176999" y="3154218"/>
                    </a:cubicBezTo>
                    <a:cubicBezTo>
                      <a:pt x="189821" y="3154218"/>
                      <a:pt x="200422" y="3143861"/>
                      <a:pt x="200175" y="3131039"/>
                    </a:cubicBezTo>
                    <a:close/>
                    <a:moveTo>
                      <a:pt x="205847" y="3595003"/>
                    </a:moveTo>
                    <a:cubicBezTo>
                      <a:pt x="205847" y="3570345"/>
                      <a:pt x="185875" y="3550373"/>
                      <a:pt x="161218" y="3550373"/>
                    </a:cubicBezTo>
                    <a:cubicBezTo>
                      <a:pt x="136560" y="3550373"/>
                      <a:pt x="116588" y="3570345"/>
                      <a:pt x="116588" y="3595003"/>
                    </a:cubicBezTo>
                    <a:cubicBezTo>
                      <a:pt x="116588" y="3619909"/>
                      <a:pt x="136560" y="3639881"/>
                      <a:pt x="161218" y="3639881"/>
                    </a:cubicBezTo>
                    <a:cubicBezTo>
                      <a:pt x="185875" y="3639881"/>
                      <a:pt x="206096" y="3619909"/>
                      <a:pt x="205847" y="3595003"/>
                    </a:cubicBezTo>
                    <a:close/>
                    <a:moveTo>
                      <a:pt x="206094" y="1259171"/>
                    </a:moveTo>
                    <a:cubicBezTo>
                      <a:pt x="206094" y="1247845"/>
                      <a:pt x="196723" y="1238483"/>
                      <a:pt x="185382" y="1238483"/>
                    </a:cubicBezTo>
                    <a:cubicBezTo>
                      <a:pt x="174038" y="1238483"/>
                      <a:pt x="164669" y="1247845"/>
                      <a:pt x="164669" y="1259171"/>
                    </a:cubicBezTo>
                    <a:cubicBezTo>
                      <a:pt x="164669" y="1270777"/>
                      <a:pt x="174038" y="1279896"/>
                      <a:pt x="185382" y="1279896"/>
                    </a:cubicBezTo>
                    <a:cubicBezTo>
                      <a:pt x="196971" y="1279896"/>
                      <a:pt x="206094" y="1270777"/>
                      <a:pt x="206094" y="1259171"/>
                    </a:cubicBezTo>
                    <a:close/>
                    <a:moveTo>
                      <a:pt x="206097" y="4341140"/>
                    </a:moveTo>
                    <a:cubicBezTo>
                      <a:pt x="206097" y="4315990"/>
                      <a:pt x="185630" y="4295524"/>
                      <a:pt x="160478" y="4295524"/>
                    </a:cubicBezTo>
                    <a:cubicBezTo>
                      <a:pt x="135328" y="4295524"/>
                      <a:pt x="114862" y="4315990"/>
                      <a:pt x="114862" y="4341140"/>
                    </a:cubicBezTo>
                    <a:cubicBezTo>
                      <a:pt x="114862" y="4366293"/>
                      <a:pt x="135328" y="4386756"/>
                      <a:pt x="160478" y="4386756"/>
                    </a:cubicBezTo>
                    <a:cubicBezTo>
                      <a:pt x="185630" y="4386756"/>
                      <a:pt x="206097" y="4366293"/>
                      <a:pt x="206097" y="4341140"/>
                    </a:cubicBezTo>
                    <a:close/>
                    <a:moveTo>
                      <a:pt x="207326" y="3015633"/>
                    </a:moveTo>
                    <a:cubicBezTo>
                      <a:pt x="207326" y="3006643"/>
                      <a:pt x="200039" y="2999356"/>
                      <a:pt x="191053" y="2999356"/>
                    </a:cubicBezTo>
                    <a:cubicBezTo>
                      <a:pt x="182065" y="2999356"/>
                      <a:pt x="174778" y="3006643"/>
                      <a:pt x="174778" y="3015633"/>
                    </a:cubicBezTo>
                    <a:cubicBezTo>
                      <a:pt x="174778" y="3024622"/>
                      <a:pt x="182065" y="3031906"/>
                      <a:pt x="191053" y="3031906"/>
                    </a:cubicBezTo>
                    <a:cubicBezTo>
                      <a:pt x="200039" y="3031906"/>
                      <a:pt x="207326" y="3024619"/>
                      <a:pt x="207326" y="3015633"/>
                    </a:cubicBezTo>
                    <a:close/>
                    <a:moveTo>
                      <a:pt x="216946" y="3711387"/>
                    </a:moveTo>
                    <a:cubicBezTo>
                      <a:pt x="216946" y="3684016"/>
                      <a:pt x="194752" y="3661825"/>
                      <a:pt x="167382" y="3661825"/>
                    </a:cubicBezTo>
                    <a:cubicBezTo>
                      <a:pt x="140013" y="3661825"/>
                      <a:pt x="117820" y="3684016"/>
                      <a:pt x="117820" y="3711387"/>
                    </a:cubicBezTo>
                    <a:cubicBezTo>
                      <a:pt x="117820" y="3738757"/>
                      <a:pt x="140013" y="3760947"/>
                      <a:pt x="167382" y="3760947"/>
                    </a:cubicBezTo>
                    <a:cubicBezTo>
                      <a:pt x="194752" y="3760947"/>
                      <a:pt x="216946" y="3738511"/>
                      <a:pt x="216946" y="3711387"/>
                    </a:cubicBezTo>
                    <a:close/>
                    <a:moveTo>
                      <a:pt x="217435" y="2121792"/>
                    </a:moveTo>
                    <a:cubicBezTo>
                      <a:pt x="217435" y="2118583"/>
                      <a:pt x="214970" y="2116117"/>
                      <a:pt x="211766" y="2116117"/>
                    </a:cubicBezTo>
                    <a:cubicBezTo>
                      <a:pt x="208558" y="2116117"/>
                      <a:pt x="206094" y="2118583"/>
                      <a:pt x="206094" y="2121792"/>
                    </a:cubicBezTo>
                    <a:cubicBezTo>
                      <a:pt x="206094" y="2124997"/>
                      <a:pt x="208558" y="2127463"/>
                      <a:pt x="211766" y="2127463"/>
                    </a:cubicBezTo>
                    <a:cubicBezTo>
                      <a:pt x="214725" y="2127463"/>
                      <a:pt x="217435" y="2124997"/>
                      <a:pt x="217435" y="2121792"/>
                    </a:cubicBezTo>
                    <a:close/>
                    <a:moveTo>
                      <a:pt x="218919" y="2900717"/>
                    </a:moveTo>
                    <a:cubicBezTo>
                      <a:pt x="218919" y="2895289"/>
                      <a:pt x="214479" y="2891099"/>
                      <a:pt x="209301" y="2891099"/>
                    </a:cubicBezTo>
                    <a:cubicBezTo>
                      <a:pt x="204124" y="2891099"/>
                      <a:pt x="199684" y="2895536"/>
                      <a:pt x="199684" y="2900717"/>
                    </a:cubicBezTo>
                    <a:cubicBezTo>
                      <a:pt x="199684" y="2905895"/>
                      <a:pt x="204124" y="2910332"/>
                      <a:pt x="209301" y="2910332"/>
                    </a:cubicBezTo>
                    <a:cubicBezTo>
                      <a:pt x="214479" y="2910332"/>
                      <a:pt x="218919" y="2906141"/>
                      <a:pt x="218919" y="2900717"/>
                    </a:cubicBezTo>
                    <a:close/>
                    <a:moveTo>
                      <a:pt x="222122" y="4836264"/>
                    </a:moveTo>
                    <a:cubicBezTo>
                      <a:pt x="222122" y="4830838"/>
                      <a:pt x="217931" y="4826647"/>
                      <a:pt x="212754" y="4826647"/>
                    </a:cubicBezTo>
                    <a:cubicBezTo>
                      <a:pt x="207574" y="4826647"/>
                      <a:pt x="203383" y="4831086"/>
                      <a:pt x="203383" y="4836264"/>
                    </a:cubicBezTo>
                    <a:cubicBezTo>
                      <a:pt x="203383" y="4841441"/>
                      <a:pt x="207574" y="4845632"/>
                      <a:pt x="212754" y="4845632"/>
                    </a:cubicBezTo>
                    <a:cubicBezTo>
                      <a:pt x="217931" y="4845632"/>
                      <a:pt x="222122" y="4841441"/>
                      <a:pt x="222122" y="4836264"/>
                    </a:cubicBezTo>
                    <a:close/>
                    <a:moveTo>
                      <a:pt x="223600" y="5746624"/>
                    </a:moveTo>
                    <a:cubicBezTo>
                      <a:pt x="223600" y="5744651"/>
                      <a:pt x="221877" y="5742924"/>
                      <a:pt x="219904" y="5742924"/>
                    </a:cubicBezTo>
                    <a:cubicBezTo>
                      <a:pt x="217931" y="5742924"/>
                      <a:pt x="216205" y="5744651"/>
                      <a:pt x="216205" y="5746624"/>
                    </a:cubicBezTo>
                    <a:cubicBezTo>
                      <a:pt x="216205" y="5748596"/>
                      <a:pt x="217931" y="5750319"/>
                      <a:pt x="219904" y="5750319"/>
                    </a:cubicBezTo>
                    <a:cubicBezTo>
                      <a:pt x="222122" y="5750319"/>
                      <a:pt x="223600" y="5748596"/>
                      <a:pt x="223600" y="5746624"/>
                    </a:cubicBezTo>
                    <a:close/>
                    <a:moveTo>
                      <a:pt x="226315" y="2394481"/>
                    </a:moveTo>
                    <a:cubicBezTo>
                      <a:pt x="226315" y="2393985"/>
                      <a:pt x="226066" y="2393737"/>
                      <a:pt x="225574" y="2393737"/>
                    </a:cubicBezTo>
                    <a:cubicBezTo>
                      <a:pt x="225079" y="2393737"/>
                      <a:pt x="224834" y="2393985"/>
                      <a:pt x="224834" y="2394481"/>
                    </a:cubicBezTo>
                    <a:cubicBezTo>
                      <a:pt x="224834" y="2394975"/>
                      <a:pt x="225079" y="2395219"/>
                      <a:pt x="225574" y="2395219"/>
                    </a:cubicBezTo>
                    <a:cubicBezTo>
                      <a:pt x="225820" y="2395219"/>
                      <a:pt x="226315" y="2394975"/>
                      <a:pt x="226315" y="2394481"/>
                    </a:cubicBezTo>
                    <a:close/>
                    <a:moveTo>
                      <a:pt x="227300" y="5101828"/>
                    </a:moveTo>
                    <a:cubicBezTo>
                      <a:pt x="227300" y="5094924"/>
                      <a:pt x="221628" y="5089497"/>
                      <a:pt x="214972" y="5089497"/>
                    </a:cubicBezTo>
                    <a:cubicBezTo>
                      <a:pt x="208066" y="5089497"/>
                      <a:pt x="202643" y="5095170"/>
                      <a:pt x="202643" y="5101828"/>
                    </a:cubicBezTo>
                    <a:cubicBezTo>
                      <a:pt x="202643" y="5108729"/>
                      <a:pt x="208315" y="5114155"/>
                      <a:pt x="214972" y="5114155"/>
                    </a:cubicBezTo>
                    <a:cubicBezTo>
                      <a:pt x="221628" y="5114155"/>
                      <a:pt x="227054" y="5108729"/>
                      <a:pt x="227300" y="5101828"/>
                    </a:cubicBezTo>
                    <a:close/>
                    <a:moveTo>
                      <a:pt x="228532" y="3827277"/>
                    </a:moveTo>
                    <a:cubicBezTo>
                      <a:pt x="228532" y="3799167"/>
                      <a:pt x="205598" y="3776236"/>
                      <a:pt x="177490" y="3776236"/>
                    </a:cubicBezTo>
                    <a:cubicBezTo>
                      <a:pt x="149379" y="3776236"/>
                      <a:pt x="126448" y="3799167"/>
                      <a:pt x="126448" y="3827277"/>
                    </a:cubicBezTo>
                    <a:cubicBezTo>
                      <a:pt x="126448" y="3855386"/>
                      <a:pt x="149379" y="3878317"/>
                      <a:pt x="177490" y="3878317"/>
                    </a:cubicBezTo>
                    <a:cubicBezTo>
                      <a:pt x="205598" y="3878317"/>
                      <a:pt x="228532" y="3855386"/>
                      <a:pt x="228532" y="3827277"/>
                    </a:cubicBezTo>
                    <a:close/>
                    <a:moveTo>
                      <a:pt x="231737" y="5360239"/>
                    </a:moveTo>
                    <a:cubicBezTo>
                      <a:pt x="231737" y="5359744"/>
                      <a:pt x="231491" y="5359498"/>
                      <a:pt x="230999" y="5359498"/>
                    </a:cubicBezTo>
                    <a:cubicBezTo>
                      <a:pt x="230505" y="5359498"/>
                      <a:pt x="230259" y="5359744"/>
                      <a:pt x="230259" y="5360239"/>
                    </a:cubicBezTo>
                    <a:cubicBezTo>
                      <a:pt x="230259" y="5360730"/>
                      <a:pt x="230505" y="5360976"/>
                      <a:pt x="230999" y="5360976"/>
                    </a:cubicBezTo>
                    <a:cubicBezTo>
                      <a:pt x="231246" y="5360976"/>
                      <a:pt x="231737" y="5360730"/>
                      <a:pt x="231737" y="5360239"/>
                    </a:cubicBezTo>
                    <a:close/>
                    <a:moveTo>
                      <a:pt x="234943" y="1856392"/>
                    </a:moveTo>
                    <a:cubicBezTo>
                      <a:pt x="234943" y="1844567"/>
                      <a:pt x="225327" y="1834957"/>
                      <a:pt x="213491" y="1834957"/>
                    </a:cubicBezTo>
                    <a:cubicBezTo>
                      <a:pt x="201409" y="1834957"/>
                      <a:pt x="191793" y="1844567"/>
                      <a:pt x="191793" y="1856392"/>
                    </a:cubicBezTo>
                    <a:cubicBezTo>
                      <a:pt x="191793" y="1868213"/>
                      <a:pt x="201656" y="1877815"/>
                      <a:pt x="213491" y="1877815"/>
                    </a:cubicBezTo>
                    <a:cubicBezTo>
                      <a:pt x="225573" y="1877815"/>
                      <a:pt x="235190" y="1868213"/>
                      <a:pt x="234943" y="1856392"/>
                    </a:cubicBezTo>
                    <a:close/>
                    <a:moveTo>
                      <a:pt x="235437" y="2786539"/>
                    </a:moveTo>
                    <a:cubicBezTo>
                      <a:pt x="235437" y="2784074"/>
                      <a:pt x="233463" y="2782347"/>
                      <a:pt x="231243" y="2782347"/>
                    </a:cubicBezTo>
                    <a:cubicBezTo>
                      <a:pt x="228778" y="2782347"/>
                      <a:pt x="227051" y="2784321"/>
                      <a:pt x="227051" y="2786539"/>
                    </a:cubicBezTo>
                    <a:cubicBezTo>
                      <a:pt x="227051" y="2789007"/>
                      <a:pt x="229024" y="2790731"/>
                      <a:pt x="231243" y="2790731"/>
                    </a:cubicBezTo>
                    <a:cubicBezTo>
                      <a:pt x="233463" y="2790731"/>
                      <a:pt x="235437" y="2788759"/>
                      <a:pt x="235437" y="2786539"/>
                    </a:cubicBezTo>
                    <a:close/>
                    <a:moveTo>
                      <a:pt x="237656" y="1410800"/>
                    </a:moveTo>
                    <a:cubicBezTo>
                      <a:pt x="237656" y="1398971"/>
                      <a:pt x="227792" y="1389347"/>
                      <a:pt x="215956" y="1389347"/>
                    </a:cubicBezTo>
                    <a:cubicBezTo>
                      <a:pt x="203875" y="1389347"/>
                      <a:pt x="194257" y="1398971"/>
                      <a:pt x="194257" y="1410800"/>
                    </a:cubicBezTo>
                    <a:cubicBezTo>
                      <a:pt x="194257" y="1422894"/>
                      <a:pt x="204121" y="1432500"/>
                      <a:pt x="215956" y="1432500"/>
                    </a:cubicBezTo>
                    <a:cubicBezTo>
                      <a:pt x="227792" y="1432500"/>
                      <a:pt x="237409" y="1422894"/>
                      <a:pt x="237656" y="1410800"/>
                    </a:cubicBezTo>
                    <a:close/>
                    <a:moveTo>
                      <a:pt x="237901" y="3942673"/>
                    </a:moveTo>
                    <a:cubicBezTo>
                      <a:pt x="237901" y="3917029"/>
                      <a:pt x="217188" y="3896317"/>
                      <a:pt x="191544" y="3896317"/>
                    </a:cubicBezTo>
                    <a:cubicBezTo>
                      <a:pt x="166147" y="3896317"/>
                      <a:pt x="145188" y="3917029"/>
                      <a:pt x="145188" y="3942673"/>
                    </a:cubicBezTo>
                    <a:cubicBezTo>
                      <a:pt x="145188" y="3968317"/>
                      <a:pt x="165900" y="3989030"/>
                      <a:pt x="191544" y="3989030"/>
                    </a:cubicBezTo>
                    <a:cubicBezTo>
                      <a:pt x="217188" y="3989030"/>
                      <a:pt x="237901" y="3968071"/>
                      <a:pt x="237901" y="3942673"/>
                    </a:cubicBezTo>
                    <a:close/>
                    <a:moveTo>
                      <a:pt x="237901" y="4452841"/>
                    </a:moveTo>
                    <a:cubicBezTo>
                      <a:pt x="237901" y="4427197"/>
                      <a:pt x="217188" y="4406484"/>
                      <a:pt x="191544" y="4406484"/>
                    </a:cubicBezTo>
                    <a:cubicBezTo>
                      <a:pt x="165900" y="4406484"/>
                      <a:pt x="145188" y="4427197"/>
                      <a:pt x="145188" y="4452841"/>
                    </a:cubicBezTo>
                    <a:cubicBezTo>
                      <a:pt x="145188" y="4478484"/>
                      <a:pt x="165900" y="4499197"/>
                      <a:pt x="191544" y="4499197"/>
                    </a:cubicBezTo>
                    <a:cubicBezTo>
                      <a:pt x="217188" y="4499197"/>
                      <a:pt x="237901" y="4478484"/>
                      <a:pt x="237901" y="4452841"/>
                    </a:cubicBezTo>
                    <a:close/>
                    <a:moveTo>
                      <a:pt x="244805" y="1016096"/>
                    </a:moveTo>
                    <a:cubicBezTo>
                      <a:pt x="244805" y="1005483"/>
                      <a:pt x="236422" y="997100"/>
                      <a:pt x="226065" y="997100"/>
                    </a:cubicBezTo>
                    <a:cubicBezTo>
                      <a:pt x="215465" y="997100"/>
                      <a:pt x="207079" y="1005731"/>
                      <a:pt x="207079" y="1016096"/>
                    </a:cubicBezTo>
                    <a:cubicBezTo>
                      <a:pt x="207079" y="1026693"/>
                      <a:pt x="215710" y="1035065"/>
                      <a:pt x="226065" y="1035065"/>
                    </a:cubicBezTo>
                    <a:cubicBezTo>
                      <a:pt x="236422" y="1035065"/>
                      <a:pt x="244805" y="1026447"/>
                      <a:pt x="244805" y="1016096"/>
                    </a:cubicBezTo>
                    <a:close/>
                    <a:moveTo>
                      <a:pt x="249000" y="4057088"/>
                    </a:moveTo>
                    <a:cubicBezTo>
                      <a:pt x="249000" y="4035388"/>
                      <a:pt x="231491" y="4017881"/>
                      <a:pt x="209793" y="4017881"/>
                    </a:cubicBezTo>
                    <a:cubicBezTo>
                      <a:pt x="188094" y="4017881"/>
                      <a:pt x="170587" y="4035388"/>
                      <a:pt x="170587" y="4057088"/>
                    </a:cubicBezTo>
                    <a:cubicBezTo>
                      <a:pt x="170587" y="4078786"/>
                      <a:pt x="188340" y="4096291"/>
                      <a:pt x="209793" y="4096291"/>
                    </a:cubicBezTo>
                    <a:cubicBezTo>
                      <a:pt x="231246" y="4096291"/>
                      <a:pt x="249000" y="4078786"/>
                      <a:pt x="249000" y="4057088"/>
                    </a:cubicBezTo>
                    <a:close/>
                    <a:moveTo>
                      <a:pt x="250231" y="1597689"/>
                    </a:moveTo>
                    <a:cubicBezTo>
                      <a:pt x="250231" y="1586324"/>
                      <a:pt x="240859" y="1576963"/>
                      <a:pt x="229518" y="1576963"/>
                    </a:cubicBezTo>
                    <a:cubicBezTo>
                      <a:pt x="218175" y="1576963"/>
                      <a:pt x="208806" y="1586324"/>
                      <a:pt x="208806" y="1597689"/>
                    </a:cubicBezTo>
                    <a:cubicBezTo>
                      <a:pt x="208806" y="1609025"/>
                      <a:pt x="218175" y="1618393"/>
                      <a:pt x="229518" y="1618393"/>
                    </a:cubicBezTo>
                    <a:cubicBezTo>
                      <a:pt x="240859" y="1618393"/>
                      <a:pt x="250231" y="1609025"/>
                      <a:pt x="250231" y="1597689"/>
                    </a:cubicBezTo>
                    <a:close/>
                    <a:moveTo>
                      <a:pt x="252204" y="4171251"/>
                    </a:moveTo>
                    <a:cubicBezTo>
                      <a:pt x="252204" y="4159907"/>
                      <a:pt x="243081" y="4150783"/>
                      <a:pt x="231740" y="4150783"/>
                    </a:cubicBezTo>
                    <a:cubicBezTo>
                      <a:pt x="220397" y="4150783"/>
                      <a:pt x="211274" y="4159907"/>
                      <a:pt x="211274" y="4171251"/>
                    </a:cubicBezTo>
                    <a:cubicBezTo>
                      <a:pt x="211274" y="4182592"/>
                      <a:pt x="220397" y="4191714"/>
                      <a:pt x="231740" y="4191714"/>
                    </a:cubicBezTo>
                    <a:cubicBezTo>
                      <a:pt x="243081" y="4191714"/>
                      <a:pt x="252453" y="4182592"/>
                      <a:pt x="252204" y="4171251"/>
                    </a:cubicBezTo>
                    <a:close/>
                    <a:moveTo>
                      <a:pt x="253931" y="5595963"/>
                    </a:moveTo>
                    <a:cubicBezTo>
                      <a:pt x="253931" y="5593250"/>
                      <a:pt x="251712" y="5591031"/>
                      <a:pt x="248999" y="5591031"/>
                    </a:cubicBezTo>
                    <a:cubicBezTo>
                      <a:pt x="246287" y="5591031"/>
                      <a:pt x="244068" y="5593250"/>
                      <a:pt x="244068" y="5595963"/>
                    </a:cubicBezTo>
                    <a:cubicBezTo>
                      <a:pt x="244068" y="5598676"/>
                      <a:pt x="246287" y="5600894"/>
                      <a:pt x="248999" y="5600894"/>
                    </a:cubicBezTo>
                    <a:cubicBezTo>
                      <a:pt x="251712" y="5600894"/>
                      <a:pt x="253931" y="5598676"/>
                      <a:pt x="253931" y="5595963"/>
                    </a:cubicBezTo>
                    <a:close/>
                    <a:moveTo>
                      <a:pt x="258613" y="4563552"/>
                    </a:moveTo>
                    <a:cubicBezTo>
                      <a:pt x="258613" y="4546045"/>
                      <a:pt x="244313" y="4531496"/>
                      <a:pt x="226559" y="4531496"/>
                    </a:cubicBezTo>
                    <a:cubicBezTo>
                      <a:pt x="208806" y="4531496"/>
                      <a:pt x="194257" y="4545799"/>
                      <a:pt x="194257" y="4563552"/>
                    </a:cubicBezTo>
                    <a:cubicBezTo>
                      <a:pt x="194257" y="4581552"/>
                      <a:pt x="208806" y="4595852"/>
                      <a:pt x="226559" y="4595852"/>
                    </a:cubicBezTo>
                    <a:cubicBezTo>
                      <a:pt x="244313" y="4595852"/>
                      <a:pt x="258613" y="4581552"/>
                      <a:pt x="258613" y="4563552"/>
                    </a:cubicBezTo>
                    <a:close/>
                    <a:moveTo>
                      <a:pt x="259848" y="2673351"/>
                    </a:moveTo>
                    <a:cubicBezTo>
                      <a:pt x="259848" y="2671873"/>
                      <a:pt x="258615" y="2670887"/>
                      <a:pt x="257381" y="2670887"/>
                    </a:cubicBezTo>
                    <a:cubicBezTo>
                      <a:pt x="255903" y="2670887"/>
                      <a:pt x="254916" y="2671873"/>
                      <a:pt x="254916" y="2673351"/>
                    </a:cubicBezTo>
                    <a:cubicBezTo>
                      <a:pt x="254916" y="2674587"/>
                      <a:pt x="255903" y="2675821"/>
                      <a:pt x="257381" y="2675821"/>
                    </a:cubicBezTo>
                    <a:cubicBezTo>
                      <a:pt x="258861" y="2675821"/>
                      <a:pt x="259848" y="2674587"/>
                      <a:pt x="259848" y="2673351"/>
                    </a:cubicBezTo>
                    <a:close/>
                    <a:moveTo>
                      <a:pt x="266995" y="5988020"/>
                    </a:moveTo>
                    <a:cubicBezTo>
                      <a:pt x="266995" y="5986047"/>
                      <a:pt x="265272" y="5984320"/>
                      <a:pt x="263299" y="5984320"/>
                    </a:cubicBezTo>
                    <a:cubicBezTo>
                      <a:pt x="261326" y="5984320"/>
                      <a:pt x="259600" y="5986047"/>
                      <a:pt x="259600" y="5988020"/>
                    </a:cubicBezTo>
                    <a:cubicBezTo>
                      <a:pt x="259600" y="5989992"/>
                      <a:pt x="261326" y="5991719"/>
                      <a:pt x="263299" y="5991719"/>
                    </a:cubicBezTo>
                    <a:cubicBezTo>
                      <a:pt x="265518" y="5991719"/>
                      <a:pt x="266995" y="5990238"/>
                      <a:pt x="266995" y="5988020"/>
                    </a:cubicBezTo>
                    <a:close/>
                    <a:moveTo>
                      <a:pt x="268230" y="2015213"/>
                    </a:moveTo>
                    <a:cubicBezTo>
                      <a:pt x="268230" y="2009547"/>
                      <a:pt x="263544" y="2004868"/>
                      <a:pt x="257872" y="2004868"/>
                    </a:cubicBezTo>
                    <a:cubicBezTo>
                      <a:pt x="252203" y="2004868"/>
                      <a:pt x="247518" y="2009547"/>
                      <a:pt x="247518" y="2015213"/>
                    </a:cubicBezTo>
                    <a:cubicBezTo>
                      <a:pt x="247518" y="2020882"/>
                      <a:pt x="252203" y="2025575"/>
                      <a:pt x="257872" y="2025575"/>
                    </a:cubicBezTo>
                    <a:cubicBezTo>
                      <a:pt x="263544" y="2025575"/>
                      <a:pt x="268230" y="2020882"/>
                      <a:pt x="268230" y="2015213"/>
                    </a:cubicBezTo>
                    <a:close/>
                    <a:moveTo>
                      <a:pt x="268234" y="4942539"/>
                    </a:moveTo>
                    <a:cubicBezTo>
                      <a:pt x="268234" y="4937607"/>
                      <a:pt x="264040" y="4933416"/>
                      <a:pt x="259108" y="4933416"/>
                    </a:cubicBezTo>
                    <a:cubicBezTo>
                      <a:pt x="253931" y="4933416"/>
                      <a:pt x="249985" y="4937607"/>
                      <a:pt x="249985" y="4942539"/>
                    </a:cubicBezTo>
                    <a:cubicBezTo>
                      <a:pt x="249985" y="4947470"/>
                      <a:pt x="254176" y="4951665"/>
                      <a:pt x="259108" y="4951665"/>
                    </a:cubicBezTo>
                    <a:cubicBezTo>
                      <a:pt x="264040" y="4951665"/>
                      <a:pt x="268234" y="4947470"/>
                      <a:pt x="268234" y="4942539"/>
                    </a:cubicBezTo>
                    <a:close/>
                    <a:moveTo>
                      <a:pt x="271683" y="1163762"/>
                    </a:moveTo>
                    <a:cubicBezTo>
                      <a:pt x="271683" y="1152912"/>
                      <a:pt x="262806" y="1144031"/>
                      <a:pt x="251957" y="1144031"/>
                    </a:cubicBezTo>
                    <a:cubicBezTo>
                      <a:pt x="241108" y="1144031"/>
                      <a:pt x="232231" y="1152912"/>
                      <a:pt x="232231" y="1163762"/>
                    </a:cubicBezTo>
                    <a:cubicBezTo>
                      <a:pt x="232231" y="1174609"/>
                      <a:pt x="241108" y="1183490"/>
                      <a:pt x="251957" y="1183490"/>
                    </a:cubicBezTo>
                    <a:cubicBezTo>
                      <a:pt x="262561" y="1183490"/>
                      <a:pt x="271437" y="1174609"/>
                      <a:pt x="271683" y="1163762"/>
                    </a:cubicBezTo>
                    <a:close/>
                    <a:moveTo>
                      <a:pt x="279575" y="5204895"/>
                    </a:moveTo>
                    <a:cubicBezTo>
                      <a:pt x="279575" y="5198728"/>
                      <a:pt x="274644" y="5193551"/>
                      <a:pt x="268234" y="5193551"/>
                    </a:cubicBezTo>
                    <a:cubicBezTo>
                      <a:pt x="262067" y="5193551"/>
                      <a:pt x="256890" y="5198728"/>
                      <a:pt x="256890" y="5204895"/>
                    </a:cubicBezTo>
                    <a:cubicBezTo>
                      <a:pt x="256890" y="5211058"/>
                      <a:pt x="262067" y="5216236"/>
                      <a:pt x="268234" y="5216236"/>
                    </a:cubicBezTo>
                    <a:cubicBezTo>
                      <a:pt x="274397" y="5216236"/>
                      <a:pt x="279575" y="5211058"/>
                      <a:pt x="279575" y="5204895"/>
                    </a:cubicBezTo>
                    <a:close/>
                    <a:moveTo>
                      <a:pt x="284753" y="4673279"/>
                    </a:moveTo>
                    <a:cubicBezTo>
                      <a:pt x="284753" y="4662429"/>
                      <a:pt x="275875" y="4653552"/>
                      <a:pt x="265026" y="4653552"/>
                    </a:cubicBezTo>
                    <a:cubicBezTo>
                      <a:pt x="254176" y="4653552"/>
                      <a:pt x="245300" y="4662429"/>
                      <a:pt x="245300" y="4673279"/>
                    </a:cubicBezTo>
                    <a:cubicBezTo>
                      <a:pt x="245300" y="4684128"/>
                      <a:pt x="254176" y="4693005"/>
                      <a:pt x="265026" y="4693005"/>
                    </a:cubicBezTo>
                    <a:cubicBezTo>
                      <a:pt x="275875" y="4693005"/>
                      <a:pt x="284753" y="4684128"/>
                      <a:pt x="284753" y="4673279"/>
                    </a:cubicBezTo>
                    <a:close/>
                    <a:moveTo>
                      <a:pt x="288202" y="2561153"/>
                    </a:moveTo>
                    <a:cubicBezTo>
                      <a:pt x="288202" y="2560657"/>
                      <a:pt x="287711" y="2560411"/>
                      <a:pt x="287464" y="2560411"/>
                    </a:cubicBezTo>
                    <a:cubicBezTo>
                      <a:pt x="286970" y="2560411"/>
                      <a:pt x="286724" y="2560907"/>
                      <a:pt x="286724" y="2561153"/>
                    </a:cubicBezTo>
                    <a:cubicBezTo>
                      <a:pt x="286724" y="2561397"/>
                      <a:pt x="287215" y="2561640"/>
                      <a:pt x="287464" y="2561640"/>
                    </a:cubicBezTo>
                    <a:cubicBezTo>
                      <a:pt x="287956" y="2561640"/>
                      <a:pt x="288202" y="2561397"/>
                      <a:pt x="288202" y="2561153"/>
                    </a:cubicBezTo>
                    <a:close/>
                    <a:moveTo>
                      <a:pt x="288943" y="1753032"/>
                    </a:moveTo>
                    <a:cubicBezTo>
                      <a:pt x="288943" y="1740676"/>
                      <a:pt x="279080" y="1730788"/>
                      <a:pt x="266752" y="1730788"/>
                    </a:cubicBezTo>
                    <a:cubicBezTo>
                      <a:pt x="254422" y="1730788"/>
                      <a:pt x="244559" y="1740921"/>
                      <a:pt x="244559" y="1753032"/>
                    </a:cubicBezTo>
                    <a:cubicBezTo>
                      <a:pt x="244559" y="1765380"/>
                      <a:pt x="254668" y="1775261"/>
                      <a:pt x="266752" y="1775261"/>
                    </a:cubicBezTo>
                    <a:cubicBezTo>
                      <a:pt x="279080" y="1775261"/>
                      <a:pt x="288943" y="1765380"/>
                      <a:pt x="288943" y="1753032"/>
                    </a:cubicBezTo>
                    <a:close/>
                    <a:moveTo>
                      <a:pt x="291162" y="5841061"/>
                    </a:moveTo>
                    <a:cubicBezTo>
                      <a:pt x="291162" y="5839087"/>
                      <a:pt x="289683" y="5837609"/>
                      <a:pt x="287707" y="5837609"/>
                    </a:cubicBezTo>
                    <a:cubicBezTo>
                      <a:pt x="285738" y="5837609"/>
                      <a:pt x="284257" y="5839087"/>
                      <a:pt x="284257" y="5841061"/>
                    </a:cubicBezTo>
                    <a:cubicBezTo>
                      <a:pt x="284257" y="5843036"/>
                      <a:pt x="285738" y="5844514"/>
                      <a:pt x="287707" y="5844514"/>
                    </a:cubicBezTo>
                    <a:cubicBezTo>
                      <a:pt x="289683" y="5844514"/>
                      <a:pt x="291162" y="5843036"/>
                      <a:pt x="291162" y="5841061"/>
                    </a:cubicBezTo>
                    <a:close/>
                    <a:moveTo>
                      <a:pt x="291656" y="5459607"/>
                    </a:moveTo>
                    <a:cubicBezTo>
                      <a:pt x="291656" y="5459115"/>
                      <a:pt x="291161" y="5458620"/>
                      <a:pt x="290669" y="5458620"/>
                    </a:cubicBezTo>
                    <a:cubicBezTo>
                      <a:pt x="290177" y="5458620"/>
                      <a:pt x="289683" y="5459115"/>
                      <a:pt x="289683" y="5459607"/>
                    </a:cubicBezTo>
                    <a:cubicBezTo>
                      <a:pt x="289683" y="5460098"/>
                      <a:pt x="290177" y="5460593"/>
                      <a:pt x="290669" y="5460593"/>
                    </a:cubicBezTo>
                    <a:cubicBezTo>
                      <a:pt x="291161" y="5460593"/>
                      <a:pt x="291409" y="5460098"/>
                      <a:pt x="291656" y="5459607"/>
                    </a:cubicBezTo>
                    <a:close/>
                    <a:moveTo>
                      <a:pt x="295601" y="3769579"/>
                    </a:moveTo>
                    <a:cubicBezTo>
                      <a:pt x="295601" y="3761443"/>
                      <a:pt x="288943" y="3754784"/>
                      <a:pt x="280806" y="3754784"/>
                    </a:cubicBezTo>
                    <a:cubicBezTo>
                      <a:pt x="272671" y="3754784"/>
                      <a:pt x="266012" y="3761443"/>
                      <a:pt x="266012" y="3769579"/>
                    </a:cubicBezTo>
                    <a:cubicBezTo>
                      <a:pt x="266012" y="3777716"/>
                      <a:pt x="272671" y="3784373"/>
                      <a:pt x="280806" y="3784373"/>
                    </a:cubicBezTo>
                    <a:cubicBezTo>
                      <a:pt x="288943" y="3784373"/>
                      <a:pt x="295601" y="3777716"/>
                      <a:pt x="295601" y="3769579"/>
                    </a:cubicBezTo>
                    <a:close/>
                    <a:moveTo>
                      <a:pt x="297820" y="3885221"/>
                    </a:moveTo>
                    <a:cubicBezTo>
                      <a:pt x="297820" y="3882755"/>
                      <a:pt x="295847" y="3880781"/>
                      <a:pt x="293381" y="3880781"/>
                    </a:cubicBezTo>
                    <a:cubicBezTo>
                      <a:pt x="290915" y="3880781"/>
                      <a:pt x="288943" y="3882755"/>
                      <a:pt x="288943" y="3885221"/>
                    </a:cubicBezTo>
                    <a:cubicBezTo>
                      <a:pt x="288943" y="3887685"/>
                      <a:pt x="290915" y="3889658"/>
                      <a:pt x="293381" y="3889658"/>
                    </a:cubicBezTo>
                    <a:cubicBezTo>
                      <a:pt x="295601" y="3889658"/>
                      <a:pt x="297820" y="3887685"/>
                      <a:pt x="297820" y="3885221"/>
                    </a:cubicBezTo>
                    <a:close/>
                    <a:moveTo>
                      <a:pt x="300038" y="1313660"/>
                    </a:moveTo>
                    <a:cubicBezTo>
                      <a:pt x="300038" y="1302306"/>
                      <a:pt x="290915" y="1293176"/>
                      <a:pt x="279574" y="1293176"/>
                    </a:cubicBezTo>
                    <a:cubicBezTo>
                      <a:pt x="268231" y="1293176"/>
                      <a:pt x="259108" y="1302306"/>
                      <a:pt x="259108" y="1313660"/>
                    </a:cubicBezTo>
                    <a:cubicBezTo>
                      <a:pt x="259108" y="1324981"/>
                      <a:pt x="268231" y="1334119"/>
                      <a:pt x="279574" y="1334119"/>
                    </a:cubicBezTo>
                    <a:cubicBezTo>
                      <a:pt x="290915" y="1334119"/>
                      <a:pt x="300038" y="1324981"/>
                      <a:pt x="300038" y="1313660"/>
                    </a:cubicBezTo>
                    <a:close/>
                    <a:moveTo>
                      <a:pt x="300287" y="3653441"/>
                    </a:moveTo>
                    <a:cubicBezTo>
                      <a:pt x="300287" y="3637907"/>
                      <a:pt x="287711" y="3625578"/>
                      <a:pt x="272421" y="3625578"/>
                    </a:cubicBezTo>
                    <a:cubicBezTo>
                      <a:pt x="257135" y="3625578"/>
                      <a:pt x="244559" y="3638155"/>
                      <a:pt x="244559" y="3653441"/>
                    </a:cubicBezTo>
                    <a:cubicBezTo>
                      <a:pt x="244559" y="3668729"/>
                      <a:pt x="257135" y="3681303"/>
                      <a:pt x="272421" y="3681303"/>
                    </a:cubicBezTo>
                    <a:cubicBezTo>
                      <a:pt x="287711" y="3681303"/>
                      <a:pt x="300038" y="3668729"/>
                      <a:pt x="300287" y="3653441"/>
                    </a:cubicBezTo>
                    <a:close/>
                    <a:moveTo>
                      <a:pt x="301028" y="4284675"/>
                    </a:moveTo>
                    <a:cubicBezTo>
                      <a:pt x="301028" y="4261003"/>
                      <a:pt x="281796" y="4241769"/>
                      <a:pt x="258125" y="4241769"/>
                    </a:cubicBezTo>
                    <a:cubicBezTo>
                      <a:pt x="234451" y="4241769"/>
                      <a:pt x="215219" y="4261003"/>
                      <a:pt x="215219" y="4284675"/>
                    </a:cubicBezTo>
                    <a:cubicBezTo>
                      <a:pt x="215219" y="4308347"/>
                      <a:pt x="234451" y="4327578"/>
                      <a:pt x="258125" y="4327578"/>
                    </a:cubicBezTo>
                    <a:cubicBezTo>
                      <a:pt x="281796" y="4327578"/>
                      <a:pt x="301028" y="4308347"/>
                      <a:pt x="301028" y="4284675"/>
                    </a:cubicBezTo>
                    <a:close/>
                    <a:moveTo>
                      <a:pt x="304478" y="3537057"/>
                    </a:moveTo>
                    <a:cubicBezTo>
                      <a:pt x="304478" y="3517083"/>
                      <a:pt x="288205" y="3500810"/>
                      <a:pt x="268233" y="3500810"/>
                    </a:cubicBezTo>
                    <a:cubicBezTo>
                      <a:pt x="248259" y="3500810"/>
                      <a:pt x="231986" y="3517083"/>
                      <a:pt x="231986" y="3537057"/>
                    </a:cubicBezTo>
                    <a:cubicBezTo>
                      <a:pt x="231986" y="3557029"/>
                      <a:pt x="248259" y="3573302"/>
                      <a:pt x="268233" y="3573302"/>
                    </a:cubicBezTo>
                    <a:cubicBezTo>
                      <a:pt x="288205" y="3573302"/>
                      <a:pt x="304232" y="3557029"/>
                      <a:pt x="304478" y="3537057"/>
                    </a:cubicBezTo>
                    <a:close/>
                    <a:moveTo>
                      <a:pt x="305218" y="3421233"/>
                    </a:moveTo>
                    <a:cubicBezTo>
                      <a:pt x="305218" y="3400766"/>
                      <a:pt x="288697" y="3384232"/>
                      <a:pt x="268233" y="3384232"/>
                    </a:cubicBezTo>
                    <a:cubicBezTo>
                      <a:pt x="247766" y="3384232"/>
                      <a:pt x="231246" y="3400766"/>
                      <a:pt x="231246" y="3421233"/>
                    </a:cubicBezTo>
                    <a:cubicBezTo>
                      <a:pt x="231246" y="3441689"/>
                      <a:pt x="247766" y="3458231"/>
                      <a:pt x="268233" y="3458231"/>
                    </a:cubicBezTo>
                    <a:cubicBezTo>
                      <a:pt x="288450" y="3458231"/>
                      <a:pt x="305218" y="3441443"/>
                      <a:pt x="305218" y="3421233"/>
                    </a:cubicBezTo>
                    <a:close/>
                    <a:moveTo>
                      <a:pt x="308175" y="2176524"/>
                    </a:moveTo>
                    <a:cubicBezTo>
                      <a:pt x="308175" y="2175540"/>
                      <a:pt x="307437" y="2174804"/>
                      <a:pt x="306450" y="2174804"/>
                    </a:cubicBezTo>
                    <a:cubicBezTo>
                      <a:pt x="305464" y="2174804"/>
                      <a:pt x="304724" y="2175540"/>
                      <a:pt x="304724" y="2176524"/>
                    </a:cubicBezTo>
                    <a:cubicBezTo>
                      <a:pt x="304724" y="2177513"/>
                      <a:pt x="305464" y="2178252"/>
                      <a:pt x="306450" y="2178252"/>
                    </a:cubicBezTo>
                    <a:cubicBezTo>
                      <a:pt x="307188" y="2178252"/>
                      <a:pt x="307929" y="2177513"/>
                      <a:pt x="308175" y="2176524"/>
                    </a:cubicBezTo>
                    <a:close/>
                    <a:moveTo>
                      <a:pt x="308176" y="3304845"/>
                    </a:moveTo>
                    <a:cubicBezTo>
                      <a:pt x="308176" y="3284859"/>
                      <a:pt x="292149" y="3268603"/>
                      <a:pt x="272178" y="3268603"/>
                    </a:cubicBezTo>
                    <a:cubicBezTo>
                      <a:pt x="252449" y="3268603"/>
                      <a:pt x="236177" y="3284859"/>
                      <a:pt x="236177" y="3304845"/>
                    </a:cubicBezTo>
                    <a:cubicBezTo>
                      <a:pt x="236177" y="3324579"/>
                      <a:pt x="252203" y="3340849"/>
                      <a:pt x="272178" y="3340849"/>
                    </a:cubicBezTo>
                    <a:cubicBezTo>
                      <a:pt x="292149" y="3340849"/>
                      <a:pt x="308422" y="3324823"/>
                      <a:pt x="308176" y="3304845"/>
                    </a:cubicBezTo>
                    <a:close/>
                    <a:moveTo>
                      <a:pt x="308668" y="1498557"/>
                    </a:moveTo>
                    <a:cubicBezTo>
                      <a:pt x="308668" y="1487713"/>
                      <a:pt x="299792" y="1478827"/>
                      <a:pt x="288943" y="1478827"/>
                    </a:cubicBezTo>
                    <a:cubicBezTo>
                      <a:pt x="278093" y="1478827"/>
                      <a:pt x="269216" y="1487713"/>
                      <a:pt x="269216" y="1498557"/>
                    </a:cubicBezTo>
                    <a:cubicBezTo>
                      <a:pt x="269216" y="1509409"/>
                      <a:pt x="278093" y="1518290"/>
                      <a:pt x="288943" y="1518290"/>
                    </a:cubicBezTo>
                    <a:cubicBezTo>
                      <a:pt x="299792" y="1518290"/>
                      <a:pt x="308668" y="1509409"/>
                      <a:pt x="308668" y="1498557"/>
                    </a:cubicBezTo>
                    <a:close/>
                    <a:moveTo>
                      <a:pt x="311381" y="4000371"/>
                    </a:moveTo>
                    <a:cubicBezTo>
                      <a:pt x="311381" y="3999633"/>
                      <a:pt x="310890" y="3998892"/>
                      <a:pt x="309903" y="3998892"/>
                    </a:cubicBezTo>
                    <a:cubicBezTo>
                      <a:pt x="309162" y="3998892"/>
                      <a:pt x="308422" y="3999387"/>
                      <a:pt x="308422" y="4000371"/>
                    </a:cubicBezTo>
                    <a:cubicBezTo>
                      <a:pt x="308422" y="4001111"/>
                      <a:pt x="308917" y="4001852"/>
                      <a:pt x="309903" y="4001852"/>
                    </a:cubicBezTo>
                    <a:cubicBezTo>
                      <a:pt x="310890" y="4001852"/>
                      <a:pt x="311628" y="4001111"/>
                      <a:pt x="311381" y="4000371"/>
                    </a:cubicBezTo>
                    <a:close/>
                    <a:moveTo>
                      <a:pt x="314096" y="3188721"/>
                    </a:moveTo>
                    <a:cubicBezTo>
                      <a:pt x="314096" y="3170226"/>
                      <a:pt x="299055" y="3155184"/>
                      <a:pt x="280561" y="3155184"/>
                    </a:cubicBezTo>
                    <a:cubicBezTo>
                      <a:pt x="262067" y="3155184"/>
                      <a:pt x="247027" y="3170226"/>
                      <a:pt x="247027" y="3188721"/>
                    </a:cubicBezTo>
                    <a:cubicBezTo>
                      <a:pt x="247027" y="3207215"/>
                      <a:pt x="262067" y="3222257"/>
                      <a:pt x="280561" y="3222257"/>
                    </a:cubicBezTo>
                    <a:cubicBezTo>
                      <a:pt x="299055" y="3222257"/>
                      <a:pt x="314096" y="3207215"/>
                      <a:pt x="314096" y="3188721"/>
                    </a:cubicBezTo>
                    <a:close/>
                    <a:moveTo>
                      <a:pt x="315327" y="924365"/>
                    </a:moveTo>
                    <a:cubicBezTo>
                      <a:pt x="315327" y="914486"/>
                      <a:pt x="307187" y="906346"/>
                      <a:pt x="297325" y="906346"/>
                    </a:cubicBezTo>
                    <a:cubicBezTo>
                      <a:pt x="287462" y="906346"/>
                      <a:pt x="279325" y="914486"/>
                      <a:pt x="279325" y="924365"/>
                    </a:cubicBezTo>
                    <a:cubicBezTo>
                      <a:pt x="279325" y="934221"/>
                      <a:pt x="287462" y="942360"/>
                      <a:pt x="297325" y="942360"/>
                    </a:cubicBezTo>
                    <a:cubicBezTo>
                      <a:pt x="307187" y="942360"/>
                      <a:pt x="315327" y="934221"/>
                      <a:pt x="315327" y="924365"/>
                    </a:cubicBezTo>
                    <a:close/>
                    <a:moveTo>
                      <a:pt x="317549" y="5047336"/>
                    </a:moveTo>
                    <a:cubicBezTo>
                      <a:pt x="317549" y="5042650"/>
                      <a:pt x="313603" y="5038705"/>
                      <a:pt x="308918" y="5038705"/>
                    </a:cubicBezTo>
                    <a:cubicBezTo>
                      <a:pt x="304232" y="5038705"/>
                      <a:pt x="300287" y="5042650"/>
                      <a:pt x="300287" y="5047336"/>
                    </a:cubicBezTo>
                    <a:cubicBezTo>
                      <a:pt x="300287" y="5052019"/>
                      <a:pt x="304232" y="5055963"/>
                      <a:pt x="308918" y="5055963"/>
                    </a:cubicBezTo>
                    <a:cubicBezTo>
                      <a:pt x="313603" y="5055963"/>
                      <a:pt x="317549" y="5052267"/>
                      <a:pt x="317549" y="5047336"/>
                    </a:cubicBezTo>
                    <a:close/>
                    <a:moveTo>
                      <a:pt x="319027" y="5692375"/>
                    </a:moveTo>
                    <a:cubicBezTo>
                      <a:pt x="319027" y="5689662"/>
                      <a:pt x="316805" y="5687688"/>
                      <a:pt x="314340" y="5687688"/>
                    </a:cubicBezTo>
                    <a:cubicBezTo>
                      <a:pt x="311874" y="5687688"/>
                      <a:pt x="309655" y="5689662"/>
                      <a:pt x="309655" y="5692375"/>
                    </a:cubicBezTo>
                    <a:cubicBezTo>
                      <a:pt x="309655" y="5695087"/>
                      <a:pt x="311874" y="5697060"/>
                      <a:pt x="314340" y="5697060"/>
                    </a:cubicBezTo>
                    <a:cubicBezTo>
                      <a:pt x="316805" y="5697060"/>
                      <a:pt x="319027" y="5695087"/>
                      <a:pt x="319027" y="5692375"/>
                    </a:cubicBezTo>
                    <a:close/>
                    <a:moveTo>
                      <a:pt x="321740" y="2449943"/>
                    </a:moveTo>
                    <a:cubicBezTo>
                      <a:pt x="321740" y="2449943"/>
                      <a:pt x="321740" y="2449699"/>
                      <a:pt x="321491" y="2449699"/>
                    </a:cubicBezTo>
                    <a:cubicBezTo>
                      <a:pt x="321491" y="2449699"/>
                      <a:pt x="321245" y="2449699"/>
                      <a:pt x="321245" y="2449943"/>
                    </a:cubicBezTo>
                    <a:cubicBezTo>
                      <a:pt x="321245" y="2449943"/>
                      <a:pt x="321245" y="2450191"/>
                      <a:pt x="321491" y="2450191"/>
                    </a:cubicBezTo>
                    <a:cubicBezTo>
                      <a:pt x="321740" y="2450191"/>
                      <a:pt x="321740" y="2449943"/>
                      <a:pt x="321740" y="2449943"/>
                    </a:cubicBezTo>
                    <a:close/>
                    <a:moveTo>
                      <a:pt x="322232" y="3073068"/>
                    </a:moveTo>
                    <a:cubicBezTo>
                      <a:pt x="322232" y="3056792"/>
                      <a:pt x="308916" y="3043722"/>
                      <a:pt x="292888" y="3043722"/>
                    </a:cubicBezTo>
                    <a:cubicBezTo>
                      <a:pt x="276613" y="3043722"/>
                      <a:pt x="263545" y="3056792"/>
                      <a:pt x="263545" y="3073068"/>
                    </a:cubicBezTo>
                    <a:cubicBezTo>
                      <a:pt x="263545" y="3089343"/>
                      <a:pt x="276862" y="3102414"/>
                      <a:pt x="292888" y="3102414"/>
                    </a:cubicBezTo>
                    <a:cubicBezTo>
                      <a:pt x="309161" y="3102414"/>
                      <a:pt x="322232" y="3089343"/>
                      <a:pt x="322232" y="3073068"/>
                    </a:cubicBezTo>
                    <a:close/>
                    <a:moveTo>
                      <a:pt x="322477" y="4781523"/>
                    </a:moveTo>
                    <a:cubicBezTo>
                      <a:pt x="322477" y="4773141"/>
                      <a:pt x="315818" y="4766236"/>
                      <a:pt x="307436" y="4766236"/>
                    </a:cubicBezTo>
                    <a:cubicBezTo>
                      <a:pt x="299052" y="4766236"/>
                      <a:pt x="292147" y="4773141"/>
                      <a:pt x="292147" y="4781523"/>
                    </a:cubicBezTo>
                    <a:cubicBezTo>
                      <a:pt x="292147" y="4789907"/>
                      <a:pt x="299052" y="4796566"/>
                      <a:pt x="307436" y="4796566"/>
                    </a:cubicBezTo>
                    <a:cubicBezTo>
                      <a:pt x="315818" y="4796566"/>
                      <a:pt x="322477" y="4789661"/>
                      <a:pt x="322477" y="4781523"/>
                    </a:cubicBezTo>
                    <a:close/>
                    <a:moveTo>
                      <a:pt x="322972" y="1910545"/>
                    </a:moveTo>
                    <a:cubicBezTo>
                      <a:pt x="322972" y="1902169"/>
                      <a:pt x="316068" y="1895274"/>
                      <a:pt x="307683" y="1895274"/>
                    </a:cubicBezTo>
                    <a:cubicBezTo>
                      <a:pt x="299300" y="1895274"/>
                      <a:pt x="292396" y="1902169"/>
                      <a:pt x="292396" y="1910545"/>
                    </a:cubicBezTo>
                    <a:cubicBezTo>
                      <a:pt x="292396" y="1918917"/>
                      <a:pt x="299300" y="1925813"/>
                      <a:pt x="307683" y="1925813"/>
                    </a:cubicBezTo>
                    <a:cubicBezTo>
                      <a:pt x="316068" y="1925813"/>
                      <a:pt x="322972" y="1918917"/>
                      <a:pt x="322972" y="1910545"/>
                    </a:cubicBezTo>
                    <a:close/>
                    <a:moveTo>
                      <a:pt x="334312" y="2957906"/>
                    </a:moveTo>
                    <a:cubicBezTo>
                      <a:pt x="334312" y="2944342"/>
                      <a:pt x="323217" y="2933247"/>
                      <a:pt x="309655" y="2933247"/>
                    </a:cubicBezTo>
                    <a:cubicBezTo>
                      <a:pt x="296093" y="2933247"/>
                      <a:pt x="284997" y="2944342"/>
                      <a:pt x="284997" y="2957906"/>
                    </a:cubicBezTo>
                    <a:cubicBezTo>
                      <a:pt x="284997" y="2971469"/>
                      <a:pt x="296093" y="2982566"/>
                      <a:pt x="309655" y="2982566"/>
                    </a:cubicBezTo>
                    <a:cubicBezTo>
                      <a:pt x="323217" y="2982566"/>
                      <a:pt x="334312" y="2971469"/>
                      <a:pt x="334312" y="2957906"/>
                    </a:cubicBezTo>
                    <a:close/>
                    <a:moveTo>
                      <a:pt x="335302" y="5305990"/>
                    </a:moveTo>
                    <a:cubicBezTo>
                      <a:pt x="335302" y="5300320"/>
                      <a:pt x="330615" y="5295635"/>
                      <a:pt x="324698" y="5295635"/>
                    </a:cubicBezTo>
                    <a:cubicBezTo>
                      <a:pt x="318780" y="5295635"/>
                      <a:pt x="314095" y="5300320"/>
                      <a:pt x="314095" y="5305990"/>
                    </a:cubicBezTo>
                    <a:cubicBezTo>
                      <a:pt x="314095" y="5311911"/>
                      <a:pt x="318780" y="5316593"/>
                      <a:pt x="324698" y="5316593"/>
                    </a:cubicBezTo>
                    <a:cubicBezTo>
                      <a:pt x="330615" y="5316593"/>
                      <a:pt x="335302" y="5311911"/>
                      <a:pt x="335302" y="5305990"/>
                    </a:cubicBezTo>
                    <a:close/>
                    <a:moveTo>
                      <a:pt x="337271" y="4396867"/>
                    </a:moveTo>
                    <a:cubicBezTo>
                      <a:pt x="337271" y="4369743"/>
                      <a:pt x="315327" y="4347797"/>
                      <a:pt x="288205" y="4347797"/>
                    </a:cubicBezTo>
                    <a:cubicBezTo>
                      <a:pt x="261080" y="4347797"/>
                      <a:pt x="239136" y="4369743"/>
                      <a:pt x="239136" y="4396867"/>
                    </a:cubicBezTo>
                    <a:cubicBezTo>
                      <a:pt x="239136" y="4423989"/>
                      <a:pt x="261080" y="4445936"/>
                      <a:pt x="288205" y="4445936"/>
                    </a:cubicBezTo>
                    <a:cubicBezTo>
                      <a:pt x="315327" y="4445936"/>
                      <a:pt x="337271" y="4423989"/>
                      <a:pt x="337271" y="4396867"/>
                    </a:cubicBezTo>
                    <a:close/>
                    <a:moveTo>
                      <a:pt x="337272" y="4114782"/>
                    </a:moveTo>
                    <a:cubicBezTo>
                      <a:pt x="337272" y="4111331"/>
                      <a:pt x="334313" y="4108372"/>
                      <a:pt x="330860" y="4108372"/>
                    </a:cubicBezTo>
                    <a:cubicBezTo>
                      <a:pt x="327409" y="4108372"/>
                      <a:pt x="324450" y="4111331"/>
                      <a:pt x="324450" y="4114782"/>
                    </a:cubicBezTo>
                    <a:cubicBezTo>
                      <a:pt x="324450" y="4118235"/>
                      <a:pt x="327409" y="4121194"/>
                      <a:pt x="330860" y="4121194"/>
                    </a:cubicBezTo>
                    <a:cubicBezTo>
                      <a:pt x="334313" y="4121194"/>
                      <a:pt x="337272" y="4118235"/>
                      <a:pt x="337272" y="4114782"/>
                    </a:cubicBezTo>
                    <a:close/>
                    <a:moveTo>
                      <a:pt x="339490" y="6078759"/>
                    </a:moveTo>
                    <a:cubicBezTo>
                      <a:pt x="339490" y="6076783"/>
                      <a:pt x="338012" y="6075305"/>
                      <a:pt x="336039" y="6075305"/>
                    </a:cubicBezTo>
                    <a:cubicBezTo>
                      <a:pt x="334067" y="6075305"/>
                      <a:pt x="332586" y="6076783"/>
                      <a:pt x="332586" y="6078759"/>
                    </a:cubicBezTo>
                    <a:cubicBezTo>
                      <a:pt x="332586" y="6080732"/>
                      <a:pt x="334067" y="6082210"/>
                      <a:pt x="336039" y="6082210"/>
                    </a:cubicBezTo>
                    <a:cubicBezTo>
                      <a:pt x="338012" y="6082210"/>
                      <a:pt x="339490" y="6080483"/>
                      <a:pt x="339490" y="6078759"/>
                    </a:cubicBezTo>
                    <a:close/>
                    <a:moveTo>
                      <a:pt x="339739" y="1070311"/>
                    </a:moveTo>
                    <a:cubicBezTo>
                      <a:pt x="339739" y="1059954"/>
                      <a:pt x="331356" y="1051559"/>
                      <a:pt x="320999" y="1051559"/>
                    </a:cubicBezTo>
                    <a:cubicBezTo>
                      <a:pt x="310644" y="1051559"/>
                      <a:pt x="302259" y="1059954"/>
                      <a:pt x="302259" y="1070311"/>
                    </a:cubicBezTo>
                    <a:cubicBezTo>
                      <a:pt x="302259" y="1080665"/>
                      <a:pt x="310644" y="1089057"/>
                      <a:pt x="320999" y="1089057"/>
                    </a:cubicBezTo>
                    <a:cubicBezTo>
                      <a:pt x="331356" y="1089057"/>
                      <a:pt x="339739" y="1080665"/>
                      <a:pt x="339739" y="1070311"/>
                    </a:cubicBezTo>
                    <a:close/>
                    <a:moveTo>
                      <a:pt x="345409" y="1651900"/>
                    </a:moveTo>
                    <a:cubicBezTo>
                      <a:pt x="345409" y="1639828"/>
                      <a:pt x="335549" y="1629960"/>
                      <a:pt x="323464" y="1629960"/>
                    </a:cubicBezTo>
                    <a:cubicBezTo>
                      <a:pt x="311382" y="1629960"/>
                      <a:pt x="301519" y="1639828"/>
                      <a:pt x="301519" y="1651900"/>
                    </a:cubicBezTo>
                    <a:cubicBezTo>
                      <a:pt x="301519" y="1663987"/>
                      <a:pt x="311382" y="1673841"/>
                      <a:pt x="323464" y="1673841"/>
                    </a:cubicBezTo>
                    <a:cubicBezTo>
                      <a:pt x="335549" y="1673841"/>
                      <a:pt x="345409" y="1663987"/>
                      <a:pt x="345409" y="1651900"/>
                    </a:cubicBezTo>
                    <a:close/>
                    <a:moveTo>
                      <a:pt x="350340" y="2843237"/>
                    </a:moveTo>
                    <a:cubicBezTo>
                      <a:pt x="350340" y="2832140"/>
                      <a:pt x="341463" y="2823266"/>
                      <a:pt x="330368" y="2823266"/>
                    </a:cubicBezTo>
                    <a:cubicBezTo>
                      <a:pt x="319272" y="2823266"/>
                      <a:pt x="310396" y="2832140"/>
                      <a:pt x="310396" y="2843237"/>
                    </a:cubicBezTo>
                    <a:cubicBezTo>
                      <a:pt x="310396" y="2854333"/>
                      <a:pt x="319518" y="2863212"/>
                      <a:pt x="330368" y="2863212"/>
                    </a:cubicBezTo>
                    <a:cubicBezTo>
                      <a:pt x="341218" y="2863212"/>
                      <a:pt x="350340" y="2854333"/>
                      <a:pt x="350340" y="2843237"/>
                    </a:cubicBezTo>
                    <a:close/>
                    <a:moveTo>
                      <a:pt x="354288" y="5557251"/>
                    </a:moveTo>
                    <a:cubicBezTo>
                      <a:pt x="354288" y="5556757"/>
                      <a:pt x="353793" y="5556265"/>
                      <a:pt x="353302" y="5556265"/>
                    </a:cubicBezTo>
                    <a:cubicBezTo>
                      <a:pt x="352807" y="5556265"/>
                      <a:pt x="352315" y="5556757"/>
                      <a:pt x="352315" y="5557251"/>
                    </a:cubicBezTo>
                    <a:cubicBezTo>
                      <a:pt x="352315" y="5557743"/>
                      <a:pt x="352807" y="5558238"/>
                      <a:pt x="353302" y="5558238"/>
                    </a:cubicBezTo>
                    <a:cubicBezTo>
                      <a:pt x="353793" y="5558238"/>
                      <a:pt x="354288" y="5557743"/>
                      <a:pt x="354288" y="5557251"/>
                    </a:cubicBezTo>
                    <a:close/>
                    <a:moveTo>
                      <a:pt x="355518" y="2069960"/>
                    </a:moveTo>
                    <a:cubicBezTo>
                      <a:pt x="355518" y="2068232"/>
                      <a:pt x="354285" y="2066753"/>
                      <a:pt x="352313" y="2066753"/>
                    </a:cubicBezTo>
                    <a:cubicBezTo>
                      <a:pt x="350588" y="2066753"/>
                      <a:pt x="349108" y="2068232"/>
                      <a:pt x="349108" y="2069960"/>
                    </a:cubicBezTo>
                    <a:cubicBezTo>
                      <a:pt x="349108" y="2071688"/>
                      <a:pt x="350588" y="2073169"/>
                      <a:pt x="352313" y="2073169"/>
                    </a:cubicBezTo>
                    <a:cubicBezTo>
                      <a:pt x="354040" y="2073169"/>
                      <a:pt x="355518" y="2071688"/>
                      <a:pt x="355518" y="2069960"/>
                    </a:cubicBezTo>
                    <a:close/>
                    <a:moveTo>
                      <a:pt x="360944" y="2339994"/>
                    </a:moveTo>
                    <a:cubicBezTo>
                      <a:pt x="360944" y="2339251"/>
                      <a:pt x="360449" y="2338508"/>
                      <a:pt x="359462" y="2338508"/>
                    </a:cubicBezTo>
                    <a:cubicBezTo>
                      <a:pt x="358725" y="2338508"/>
                      <a:pt x="357984" y="2339004"/>
                      <a:pt x="357984" y="2339994"/>
                    </a:cubicBezTo>
                    <a:cubicBezTo>
                      <a:pt x="357984" y="2340733"/>
                      <a:pt x="358478" y="2341475"/>
                      <a:pt x="359462" y="2341475"/>
                    </a:cubicBezTo>
                    <a:cubicBezTo>
                      <a:pt x="360203" y="2341475"/>
                      <a:pt x="360944" y="2340733"/>
                      <a:pt x="360944" y="2339994"/>
                    </a:cubicBezTo>
                    <a:close/>
                    <a:moveTo>
                      <a:pt x="361438" y="5933525"/>
                    </a:moveTo>
                    <a:cubicBezTo>
                      <a:pt x="361438" y="5931798"/>
                      <a:pt x="359957" y="5930320"/>
                      <a:pt x="358231" y="5930320"/>
                    </a:cubicBezTo>
                    <a:cubicBezTo>
                      <a:pt x="356506" y="5930320"/>
                      <a:pt x="355025" y="5931798"/>
                      <a:pt x="355025" y="5933525"/>
                    </a:cubicBezTo>
                    <a:cubicBezTo>
                      <a:pt x="355025" y="5935252"/>
                      <a:pt x="356506" y="5936733"/>
                      <a:pt x="358231" y="5936733"/>
                    </a:cubicBezTo>
                    <a:cubicBezTo>
                      <a:pt x="359957" y="5936733"/>
                      <a:pt x="361438" y="5935252"/>
                      <a:pt x="361438" y="5933525"/>
                    </a:cubicBezTo>
                    <a:close/>
                    <a:moveTo>
                      <a:pt x="365628" y="1218235"/>
                    </a:moveTo>
                    <a:cubicBezTo>
                      <a:pt x="365628" y="1207384"/>
                      <a:pt x="356754" y="1198753"/>
                      <a:pt x="346151" y="1198753"/>
                    </a:cubicBezTo>
                    <a:cubicBezTo>
                      <a:pt x="335302" y="1198753"/>
                      <a:pt x="326671" y="1207631"/>
                      <a:pt x="326671" y="1218235"/>
                    </a:cubicBezTo>
                    <a:cubicBezTo>
                      <a:pt x="326671" y="1229085"/>
                      <a:pt x="335548" y="1237719"/>
                      <a:pt x="346151" y="1237719"/>
                    </a:cubicBezTo>
                    <a:cubicBezTo>
                      <a:pt x="357001" y="1237719"/>
                      <a:pt x="365628" y="1228839"/>
                      <a:pt x="365628" y="1218235"/>
                    </a:cubicBezTo>
                    <a:close/>
                    <a:moveTo>
                      <a:pt x="368834" y="4508071"/>
                    </a:moveTo>
                    <a:cubicBezTo>
                      <a:pt x="368834" y="4482427"/>
                      <a:pt x="347875" y="4461468"/>
                      <a:pt x="322231" y="4461468"/>
                    </a:cubicBezTo>
                    <a:cubicBezTo>
                      <a:pt x="296588" y="4461468"/>
                      <a:pt x="275629" y="4482427"/>
                      <a:pt x="275629" y="4508071"/>
                    </a:cubicBezTo>
                    <a:cubicBezTo>
                      <a:pt x="275629" y="4533715"/>
                      <a:pt x="296588" y="4554672"/>
                      <a:pt x="322231" y="4554672"/>
                    </a:cubicBezTo>
                    <a:cubicBezTo>
                      <a:pt x="347875" y="4554672"/>
                      <a:pt x="368834" y="4533715"/>
                      <a:pt x="368834" y="4508071"/>
                    </a:cubicBezTo>
                    <a:close/>
                    <a:moveTo>
                      <a:pt x="370312" y="2729807"/>
                    </a:moveTo>
                    <a:cubicBezTo>
                      <a:pt x="370312" y="2721422"/>
                      <a:pt x="363407" y="2714763"/>
                      <a:pt x="355271" y="2714763"/>
                    </a:cubicBezTo>
                    <a:cubicBezTo>
                      <a:pt x="347135" y="2714763"/>
                      <a:pt x="340477" y="2721668"/>
                      <a:pt x="340477" y="2729807"/>
                    </a:cubicBezTo>
                    <a:cubicBezTo>
                      <a:pt x="340477" y="2737943"/>
                      <a:pt x="347135" y="2744605"/>
                      <a:pt x="355271" y="2744605"/>
                    </a:cubicBezTo>
                    <a:cubicBezTo>
                      <a:pt x="363407" y="2744605"/>
                      <a:pt x="370312" y="2737943"/>
                      <a:pt x="370312" y="2729807"/>
                    </a:cubicBezTo>
                    <a:close/>
                    <a:moveTo>
                      <a:pt x="370312" y="5150400"/>
                    </a:moveTo>
                    <a:cubicBezTo>
                      <a:pt x="370312" y="5145963"/>
                      <a:pt x="366615" y="5142264"/>
                      <a:pt x="362175" y="5142264"/>
                    </a:cubicBezTo>
                    <a:cubicBezTo>
                      <a:pt x="357738" y="5142264"/>
                      <a:pt x="354039" y="5145963"/>
                      <a:pt x="354039" y="5150400"/>
                    </a:cubicBezTo>
                    <a:cubicBezTo>
                      <a:pt x="354039" y="5154840"/>
                      <a:pt x="357738" y="5158540"/>
                      <a:pt x="362175" y="5158540"/>
                    </a:cubicBezTo>
                    <a:cubicBezTo>
                      <a:pt x="366615" y="5158540"/>
                      <a:pt x="370312" y="5155087"/>
                      <a:pt x="370312" y="5150400"/>
                    </a:cubicBezTo>
                    <a:close/>
                    <a:moveTo>
                      <a:pt x="370559" y="1400667"/>
                    </a:moveTo>
                    <a:cubicBezTo>
                      <a:pt x="370559" y="1390061"/>
                      <a:pt x="361932" y="1381670"/>
                      <a:pt x="351574" y="1381670"/>
                    </a:cubicBezTo>
                    <a:cubicBezTo>
                      <a:pt x="341220" y="1381670"/>
                      <a:pt x="332834" y="1390307"/>
                      <a:pt x="332834" y="1400667"/>
                    </a:cubicBezTo>
                    <a:cubicBezTo>
                      <a:pt x="332834" y="1411267"/>
                      <a:pt x="341220" y="1419662"/>
                      <a:pt x="351574" y="1419662"/>
                    </a:cubicBezTo>
                    <a:cubicBezTo>
                      <a:pt x="361932" y="1419662"/>
                      <a:pt x="370559" y="1411267"/>
                      <a:pt x="370559" y="1400667"/>
                    </a:cubicBezTo>
                    <a:close/>
                    <a:moveTo>
                      <a:pt x="373765" y="4228456"/>
                    </a:moveTo>
                    <a:cubicBezTo>
                      <a:pt x="373765" y="4218838"/>
                      <a:pt x="365874" y="4210701"/>
                      <a:pt x="356011" y="4210701"/>
                    </a:cubicBezTo>
                    <a:cubicBezTo>
                      <a:pt x="346148" y="4210701"/>
                      <a:pt x="338258" y="4218592"/>
                      <a:pt x="338258" y="4228456"/>
                    </a:cubicBezTo>
                    <a:cubicBezTo>
                      <a:pt x="338258" y="4238072"/>
                      <a:pt x="346148" y="4246209"/>
                      <a:pt x="356011" y="4246209"/>
                    </a:cubicBezTo>
                    <a:cubicBezTo>
                      <a:pt x="365628" y="4246209"/>
                      <a:pt x="373765" y="4238072"/>
                      <a:pt x="373765" y="4228456"/>
                    </a:cubicBezTo>
                    <a:close/>
                    <a:moveTo>
                      <a:pt x="373765" y="4887800"/>
                    </a:moveTo>
                    <a:cubicBezTo>
                      <a:pt x="373765" y="4876703"/>
                      <a:pt x="364642" y="4867579"/>
                      <a:pt x="353301" y="4867579"/>
                    </a:cubicBezTo>
                    <a:cubicBezTo>
                      <a:pt x="341958" y="4867579"/>
                      <a:pt x="332834" y="4876703"/>
                      <a:pt x="332834" y="4887800"/>
                    </a:cubicBezTo>
                    <a:cubicBezTo>
                      <a:pt x="332834" y="4899141"/>
                      <a:pt x="341958" y="4908263"/>
                      <a:pt x="353301" y="4908263"/>
                    </a:cubicBezTo>
                    <a:cubicBezTo>
                      <a:pt x="364642" y="4908263"/>
                      <a:pt x="373765" y="4899141"/>
                      <a:pt x="373765" y="4887800"/>
                    </a:cubicBezTo>
                    <a:close/>
                    <a:moveTo>
                      <a:pt x="380175" y="1807305"/>
                    </a:moveTo>
                    <a:cubicBezTo>
                      <a:pt x="380175" y="1796483"/>
                      <a:pt x="371547" y="1787753"/>
                      <a:pt x="360943" y="1787753"/>
                    </a:cubicBezTo>
                    <a:cubicBezTo>
                      <a:pt x="350094" y="1787753"/>
                      <a:pt x="341463" y="1796732"/>
                      <a:pt x="341463" y="1807305"/>
                    </a:cubicBezTo>
                    <a:cubicBezTo>
                      <a:pt x="341463" y="1818157"/>
                      <a:pt x="350340" y="1826788"/>
                      <a:pt x="360943" y="1826788"/>
                    </a:cubicBezTo>
                    <a:cubicBezTo>
                      <a:pt x="371547" y="1826788"/>
                      <a:pt x="380175" y="1818157"/>
                      <a:pt x="380175" y="1807305"/>
                    </a:cubicBezTo>
                    <a:close/>
                    <a:moveTo>
                      <a:pt x="386833" y="5786566"/>
                    </a:moveTo>
                    <a:cubicBezTo>
                      <a:pt x="386833" y="5784101"/>
                      <a:pt x="384860" y="5782128"/>
                      <a:pt x="382396" y="5782128"/>
                    </a:cubicBezTo>
                    <a:cubicBezTo>
                      <a:pt x="379928" y="5782128"/>
                      <a:pt x="377956" y="5784101"/>
                      <a:pt x="377956" y="5786566"/>
                    </a:cubicBezTo>
                    <a:cubicBezTo>
                      <a:pt x="377956" y="5789033"/>
                      <a:pt x="379928" y="5791006"/>
                      <a:pt x="382396" y="5791006"/>
                    </a:cubicBezTo>
                    <a:cubicBezTo>
                      <a:pt x="384860" y="5791006"/>
                      <a:pt x="386833" y="5789033"/>
                      <a:pt x="386833" y="5786566"/>
                    </a:cubicBezTo>
                    <a:close/>
                    <a:moveTo>
                      <a:pt x="388314" y="834616"/>
                    </a:moveTo>
                    <a:cubicBezTo>
                      <a:pt x="388314" y="825243"/>
                      <a:pt x="380668" y="817598"/>
                      <a:pt x="371297" y="817598"/>
                    </a:cubicBezTo>
                    <a:cubicBezTo>
                      <a:pt x="361929" y="817598"/>
                      <a:pt x="354284" y="825243"/>
                      <a:pt x="354284" y="834616"/>
                    </a:cubicBezTo>
                    <a:cubicBezTo>
                      <a:pt x="354284" y="843988"/>
                      <a:pt x="361929" y="851618"/>
                      <a:pt x="371297" y="851618"/>
                    </a:cubicBezTo>
                    <a:cubicBezTo>
                      <a:pt x="380668" y="851618"/>
                      <a:pt x="388314" y="844234"/>
                      <a:pt x="388314" y="834616"/>
                    </a:cubicBezTo>
                    <a:close/>
                    <a:moveTo>
                      <a:pt x="394229" y="5405361"/>
                    </a:moveTo>
                    <a:cubicBezTo>
                      <a:pt x="394229" y="5400183"/>
                      <a:pt x="390038" y="5395743"/>
                      <a:pt x="384615" y="5395743"/>
                    </a:cubicBezTo>
                    <a:cubicBezTo>
                      <a:pt x="379188" y="5395743"/>
                      <a:pt x="374997" y="5400183"/>
                      <a:pt x="374997" y="5405361"/>
                    </a:cubicBezTo>
                    <a:cubicBezTo>
                      <a:pt x="374997" y="5410784"/>
                      <a:pt x="379437" y="5414975"/>
                      <a:pt x="384615" y="5414975"/>
                    </a:cubicBezTo>
                    <a:cubicBezTo>
                      <a:pt x="389793" y="5414975"/>
                      <a:pt x="394229" y="5410784"/>
                      <a:pt x="394229" y="5405361"/>
                    </a:cubicBezTo>
                    <a:close/>
                    <a:moveTo>
                      <a:pt x="394723" y="2617110"/>
                    </a:moveTo>
                    <a:cubicBezTo>
                      <a:pt x="394723" y="2611444"/>
                      <a:pt x="390037" y="2606756"/>
                      <a:pt x="384368" y="2606756"/>
                    </a:cubicBezTo>
                    <a:cubicBezTo>
                      <a:pt x="378696" y="2606756"/>
                      <a:pt x="374011" y="2611444"/>
                      <a:pt x="374011" y="2617110"/>
                    </a:cubicBezTo>
                    <a:cubicBezTo>
                      <a:pt x="374011" y="2622781"/>
                      <a:pt x="378696" y="2627468"/>
                      <a:pt x="384368" y="2627468"/>
                    </a:cubicBezTo>
                    <a:cubicBezTo>
                      <a:pt x="390037" y="2627468"/>
                      <a:pt x="394723" y="2622781"/>
                      <a:pt x="394723" y="2617110"/>
                    </a:cubicBezTo>
                    <a:close/>
                    <a:moveTo>
                      <a:pt x="403357" y="2231501"/>
                    </a:moveTo>
                    <a:cubicBezTo>
                      <a:pt x="403357" y="2230019"/>
                      <a:pt x="402368" y="2229031"/>
                      <a:pt x="401136" y="2229031"/>
                    </a:cubicBezTo>
                    <a:cubicBezTo>
                      <a:pt x="399903" y="2229031"/>
                      <a:pt x="398917" y="2230261"/>
                      <a:pt x="398917" y="2231501"/>
                    </a:cubicBezTo>
                    <a:cubicBezTo>
                      <a:pt x="398917" y="2232709"/>
                      <a:pt x="399903" y="2233695"/>
                      <a:pt x="401136" y="2233695"/>
                    </a:cubicBezTo>
                    <a:cubicBezTo>
                      <a:pt x="402368" y="2233695"/>
                      <a:pt x="403602" y="2232456"/>
                      <a:pt x="403357" y="2231501"/>
                    </a:cubicBezTo>
                    <a:close/>
                    <a:moveTo>
                      <a:pt x="404590" y="4726292"/>
                    </a:moveTo>
                    <a:cubicBezTo>
                      <a:pt x="404590" y="4724811"/>
                      <a:pt x="403355" y="4723825"/>
                      <a:pt x="402122" y="4723825"/>
                    </a:cubicBezTo>
                    <a:cubicBezTo>
                      <a:pt x="400890" y="4723825"/>
                      <a:pt x="399903" y="4725057"/>
                      <a:pt x="399903" y="4726292"/>
                    </a:cubicBezTo>
                    <a:cubicBezTo>
                      <a:pt x="399903" y="4727525"/>
                      <a:pt x="400890" y="4728511"/>
                      <a:pt x="402122" y="4728511"/>
                    </a:cubicBezTo>
                    <a:cubicBezTo>
                      <a:pt x="403355" y="4728511"/>
                      <a:pt x="404341" y="4727525"/>
                      <a:pt x="404590" y="4726292"/>
                    </a:cubicBezTo>
                    <a:close/>
                    <a:moveTo>
                      <a:pt x="404835" y="1552538"/>
                    </a:moveTo>
                    <a:cubicBezTo>
                      <a:pt x="404835" y="1540703"/>
                      <a:pt x="395218" y="1530842"/>
                      <a:pt x="383136" y="1530842"/>
                    </a:cubicBezTo>
                    <a:cubicBezTo>
                      <a:pt x="371300" y="1530842"/>
                      <a:pt x="361437" y="1540456"/>
                      <a:pt x="361437" y="1552538"/>
                    </a:cubicBezTo>
                    <a:cubicBezTo>
                      <a:pt x="361437" y="1564363"/>
                      <a:pt x="371055" y="1574226"/>
                      <a:pt x="383136" y="1574226"/>
                    </a:cubicBezTo>
                    <a:cubicBezTo>
                      <a:pt x="394972" y="1574226"/>
                      <a:pt x="404835" y="1564363"/>
                      <a:pt x="404835" y="1552538"/>
                    </a:cubicBezTo>
                    <a:close/>
                    <a:moveTo>
                      <a:pt x="409271" y="3363009"/>
                    </a:moveTo>
                    <a:cubicBezTo>
                      <a:pt x="409271" y="3346011"/>
                      <a:pt x="395217" y="3331909"/>
                      <a:pt x="378204" y="3331909"/>
                    </a:cubicBezTo>
                    <a:cubicBezTo>
                      <a:pt x="361189" y="3331909"/>
                      <a:pt x="347134" y="3346011"/>
                      <a:pt x="347134" y="3363009"/>
                    </a:cubicBezTo>
                    <a:cubicBezTo>
                      <a:pt x="347134" y="3380027"/>
                      <a:pt x="360943" y="3394096"/>
                      <a:pt x="378204" y="3394096"/>
                    </a:cubicBezTo>
                    <a:cubicBezTo>
                      <a:pt x="395217" y="3394096"/>
                      <a:pt x="409271" y="3380027"/>
                      <a:pt x="409271" y="3363009"/>
                    </a:cubicBezTo>
                    <a:close/>
                    <a:moveTo>
                      <a:pt x="409520" y="4617798"/>
                    </a:moveTo>
                    <a:cubicBezTo>
                      <a:pt x="409520" y="4590676"/>
                      <a:pt x="387327" y="4568483"/>
                      <a:pt x="360205" y="4568483"/>
                    </a:cubicBezTo>
                    <a:cubicBezTo>
                      <a:pt x="333081" y="4568483"/>
                      <a:pt x="310890" y="4590428"/>
                      <a:pt x="310890" y="4617798"/>
                    </a:cubicBezTo>
                    <a:cubicBezTo>
                      <a:pt x="310890" y="4644923"/>
                      <a:pt x="333081" y="4667113"/>
                      <a:pt x="360205" y="4667113"/>
                    </a:cubicBezTo>
                    <a:cubicBezTo>
                      <a:pt x="387327" y="4667113"/>
                      <a:pt x="409520" y="4644923"/>
                      <a:pt x="409520" y="4617798"/>
                    </a:cubicBezTo>
                    <a:close/>
                    <a:moveTo>
                      <a:pt x="409765" y="1964705"/>
                    </a:moveTo>
                    <a:cubicBezTo>
                      <a:pt x="409765" y="1960272"/>
                      <a:pt x="406068" y="1956577"/>
                      <a:pt x="401628" y="1956577"/>
                    </a:cubicBezTo>
                    <a:cubicBezTo>
                      <a:pt x="397191" y="1956577"/>
                      <a:pt x="393491" y="1960272"/>
                      <a:pt x="393491" y="1964705"/>
                    </a:cubicBezTo>
                    <a:cubicBezTo>
                      <a:pt x="393491" y="1969139"/>
                      <a:pt x="397191" y="1972834"/>
                      <a:pt x="401628" y="1972834"/>
                    </a:cubicBezTo>
                    <a:cubicBezTo>
                      <a:pt x="406068" y="1972834"/>
                      <a:pt x="409765" y="1969385"/>
                      <a:pt x="409765" y="1964705"/>
                    </a:cubicBezTo>
                    <a:close/>
                    <a:moveTo>
                      <a:pt x="409767" y="3246647"/>
                    </a:moveTo>
                    <a:cubicBezTo>
                      <a:pt x="409767" y="3232839"/>
                      <a:pt x="398425" y="3221495"/>
                      <a:pt x="384617" y="3221495"/>
                    </a:cubicBezTo>
                    <a:cubicBezTo>
                      <a:pt x="370809" y="3221495"/>
                      <a:pt x="359465" y="3232839"/>
                      <a:pt x="359465" y="3246647"/>
                    </a:cubicBezTo>
                    <a:cubicBezTo>
                      <a:pt x="359465" y="3260441"/>
                      <a:pt x="370809" y="3271795"/>
                      <a:pt x="384617" y="3271795"/>
                    </a:cubicBezTo>
                    <a:cubicBezTo>
                      <a:pt x="398425" y="3271795"/>
                      <a:pt x="409767" y="3260441"/>
                      <a:pt x="409767" y="3246647"/>
                    </a:cubicBezTo>
                    <a:close/>
                    <a:moveTo>
                      <a:pt x="410504" y="978827"/>
                    </a:moveTo>
                    <a:cubicBezTo>
                      <a:pt x="410504" y="968969"/>
                      <a:pt x="402614" y="961080"/>
                      <a:pt x="392750" y="961080"/>
                    </a:cubicBezTo>
                    <a:cubicBezTo>
                      <a:pt x="382887" y="961080"/>
                      <a:pt x="374997" y="968969"/>
                      <a:pt x="374997" y="978827"/>
                    </a:cubicBezTo>
                    <a:cubicBezTo>
                      <a:pt x="374997" y="988681"/>
                      <a:pt x="382887" y="996583"/>
                      <a:pt x="392750" y="996583"/>
                    </a:cubicBezTo>
                    <a:cubicBezTo>
                      <a:pt x="402614" y="996583"/>
                      <a:pt x="410504" y="988437"/>
                      <a:pt x="410504" y="978827"/>
                    </a:cubicBezTo>
                    <a:close/>
                    <a:moveTo>
                      <a:pt x="412234" y="3479111"/>
                    </a:moveTo>
                    <a:cubicBezTo>
                      <a:pt x="412234" y="3459451"/>
                      <a:pt x="395958" y="3443141"/>
                      <a:pt x="375986" y="3443141"/>
                    </a:cubicBezTo>
                    <a:cubicBezTo>
                      <a:pt x="356012" y="3443141"/>
                      <a:pt x="339739" y="3459451"/>
                      <a:pt x="339739" y="3479111"/>
                    </a:cubicBezTo>
                    <a:cubicBezTo>
                      <a:pt x="339739" y="3499083"/>
                      <a:pt x="356012" y="3515359"/>
                      <a:pt x="375986" y="3515359"/>
                    </a:cubicBezTo>
                    <a:cubicBezTo>
                      <a:pt x="395958" y="3515359"/>
                      <a:pt x="412234" y="3499083"/>
                      <a:pt x="412234" y="3479111"/>
                    </a:cubicBezTo>
                    <a:close/>
                    <a:moveTo>
                      <a:pt x="414449" y="3130503"/>
                    </a:moveTo>
                    <a:cubicBezTo>
                      <a:pt x="414449" y="3119653"/>
                      <a:pt x="405821" y="3111022"/>
                      <a:pt x="395217" y="3111022"/>
                    </a:cubicBezTo>
                    <a:cubicBezTo>
                      <a:pt x="384368" y="3111022"/>
                      <a:pt x="375737" y="3119899"/>
                      <a:pt x="375737" y="3130503"/>
                    </a:cubicBezTo>
                    <a:cubicBezTo>
                      <a:pt x="375737" y="3141354"/>
                      <a:pt x="384614" y="3149985"/>
                      <a:pt x="395217" y="3149985"/>
                    </a:cubicBezTo>
                    <a:cubicBezTo>
                      <a:pt x="406067" y="3149985"/>
                      <a:pt x="414698" y="3141354"/>
                      <a:pt x="414449" y="3130503"/>
                    </a:cubicBezTo>
                    <a:close/>
                    <a:moveTo>
                      <a:pt x="414450" y="6167034"/>
                    </a:moveTo>
                    <a:cubicBezTo>
                      <a:pt x="414450" y="6165553"/>
                      <a:pt x="412972" y="6164075"/>
                      <a:pt x="411245" y="6164075"/>
                    </a:cubicBezTo>
                    <a:cubicBezTo>
                      <a:pt x="409521" y="6164075"/>
                      <a:pt x="408040" y="6165307"/>
                      <a:pt x="408040" y="6167034"/>
                    </a:cubicBezTo>
                    <a:cubicBezTo>
                      <a:pt x="408040" y="6168761"/>
                      <a:pt x="409521" y="6170239"/>
                      <a:pt x="411245" y="6170239"/>
                    </a:cubicBezTo>
                    <a:cubicBezTo>
                      <a:pt x="412972" y="6170239"/>
                      <a:pt x="414450" y="6169006"/>
                      <a:pt x="414450" y="6167034"/>
                    </a:cubicBezTo>
                    <a:close/>
                    <a:moveTo>
                      <a:pt x="417411" y="4340894"/>
                    </a:moveTo>
                    <a:cubicBezTo>
                      <a:pt x="417411" y="4323140"/>
                      <a:pt x="402862" y="4308591"/>
                      <a:pt x="385108" y="4308591"/>
                    </a:cubicBezTo>
                    <a:cubicBezTo>
                      <a:pt x="367355" y="4308591"/>
                      <a:pt x="352806" y="4323140"/>
                      <a:pt x="352806" y="4340894"/>
                    </a:cubicBezTo>
                    <a:cubicBezTo>
                      <a:pt x="352806" y="4358647"/>
                      <a:pt x="367355" y="4373193"/>
                      <a:pt x="385108" y="4373193"/>
                    </a:cubicBezTo>
                    <a:cubicBezTo>
                      <a:pt x="402862" y="4373193"/>
                      <a:pt x="417411" y="4358647"/>
                      <a:pt x="417411" y="4340894"/>
                    </a:cubicBezTo>
                    <a:close/>
                    <a:moveTo>
                      <a:pt x="418887" y="3595495"/>
                    </a:moveTo>
                    <a:cubicBezTo>
                      <a:pt x="418887" y="3573059"/>
                      <a:pt x="400641" y="3554810"/>
                      <a:pt x="378202" y="3554810"/>
                    </a:cubicBezTo>
                    <a:cubicBezTo>
                      <a:pt x="355766" y="3554810"/>
                      <a:pt x="337518" y="3573059"/>
                      <a:pt x="337518" y="3595495"/>
                    </a:cubicBezTo>
                    <a:cubicBezTo>
                      <a:pt x="337518" y="3617933"/>
                      <a:pt x="355766" y="3636182"/>
                      <a:pt x="378202" y="3636182"/>
                    </a:cubicBezTo>
                    <a:cubicBezTo>
                      <a:pt x="400641" y="3636182"/>
                      <a:pt x="418887" y="3617933"/>
                      <a:pt x="418887" y="3595495"/>
                    </a:cubicBezTo>
                    <a:close/>
                    <a:moveTo>
                      <a:pt x="420124" y="5652428"/>
                    </a:moveTo>
                    <a:cubicBezTo>
                      <a:pt x="420124" y="5651690"/>
                      <a:pt x="419629" y="5651196"/>
                      <a:pt x="418889" y="5651196"/>
                    </a:cubicBezTo>
                    <a:cubicBezTo>
                      <a:pt x="418151" y="5651196"/>
                      <a:pt x="417656" y="5651690"/>
                      <a:pt x="417656" y="5652428"/>
                    </a:cubicBezTo>
                    <a:cubicBezTo>
                      <a:pt x="417656" y="5653169"/>
                      <a:pt x="418151" y="5653663"/>
                      <a:pt x="418889" y="5653663"/>
                    </a:cubicBezTo>
                    <a:cubicBezTo>
                      <a:pt x="419629" y="5653663"/>
                      <a:pt x="420124" y="5653169"/>
                      <a:pt x="420124" y="5652428"/>
                    </a:cubicBezTo>
                    <a:close/>
                    <a:moveTo>
                      <a:pt x="423821" y="3015097"/>
                    </a:moveTo>
                    <a:cubicBezTo>
                      <a:pt x="423821" y="3007451"/>
                      <a:pt x="417903" y="3001288"/>
                      <a:pt x="410259" y="3001288"/>
                    </a:cubicBezTo>
                    <a:cubicBezTo>
                      <a:pt x="402614" y="3001288"/>
                      <a:pt x="396450" y="3007451"/>
                      <a:pt x="396450" y="3015097"/>
                    </a:cubicBezTo>
                    <a:cubicBezTo>
                      <a:pt x="396450" y="3022742"/>
                      <a:pt x="402614" y="3028907"/>
                      <a:pt x="410259" y="3028907"/>
                    </a:cubicBezTo>
                    <a:cubicBezTo>
                      <a:pt x="417903" y="3028907"/>
                      <a:pt x="424066" y="3022742"/>
                      <a:pt x="423821" y="3015097"/>
                    </a:cubicBezTo>
                    <a:close/>
                    <a:moveTo>
                      <a:pt x="424560" y="2505399"/>
                    </a:moveTo>
                    <a:cubicBezTo>
                      <a:pt x="424560" y="2501457"/>
                      <a:pt x="421353" y="2498255"/>
                      <a:pt x="417408" y="2498255"/>
                    </a:cubicBezTo>
                    <a:cubicBezTo>
                      <a:pt x="413462" y="2498255"/>
                      <a:pt x="410258" y="2501457"/>
                      <a:pt x="410258" y="2505399"/>
                    </a:cubicBezTo>
                    <a:cubicBezTo>
                      <a:pt x="410258" y="2509343"/>
                      <a:pt x="413462" y="2512553"/>
                      <a:pt x="417408" y="2512553"/>
                    </a:cubicBezTo>
                    <a:cubicBezTo>
                      <a:pt x="421353" y="2512553"/>
                      <a:pt x="424560" y="2509343"/>
                      <a:pt x="424560" y="2505399"/>
                    </a:cubicBezTo>
                    <a:close/>
                    <a:moveTo>
                      <a:pt x="426287" y="5251992"/>
                    </a:moveTo>
                    <a:cubicBezTo>
                      <a:pt x="426287" y="5247798"/>
                      <a:pt x="422834" y="5244347"/>
                      <a:pt x="418643" y="5244347"/>
                    </a:cubicBezTo>
                    <a:cubicBezTo>
                      <a:pt x="414450" y="5244347"/>
                      <a:pt x="410999" y="5247798"/>
                      <a:pt x="410999" y="5251992"/>
                    </a:cubicBezTo>
                    <a:cubicBezTo>
                      <a:pt x="410999" y="5256183"/>
                      <a:pt x="414450" y="5259636"/>
                      <a:pt x="418643" y="5259636"/>
                    </a:cubicBezTo>
                    <a:cubicBezTo>
                      <a:pt x="422834" y="5259636"/>
                      <a:pt x="426287" y="5255936"/>
                      <a:pt x="426287" y="5251992"/>
                    </a:cubicBezTo>
                    <a:close/>
                    <a:moveTo>
                      <a:pt x="428998" y="3711878"/>
                    </a:moveTo>
                    <a:cubicBezTo>
                      <a:pt x="428998" y="3687467"/>
                      <a:pt x="409271" y="3667741"/>
                      <a:pt x="384862" y="3667741"/>
                    </a:cubicBezTo>
                    <a:cubicBezTo>
                      <a:pt x="360452" y="3667741"/>
                      <a:pt x="340725" y="3687467"/>
                      <a:pt x="340725" y="3711878"/>
                    </a:cubicBezTo>
                    <a:cubicBezTo>
                      <a:pt x="340725" y="3736288"/>
                      <a:pt x="360452" y="3756016"/>
                      <a:pt x="384862" y="3756016"/>
                    </a:cubicBezTo>
                    <a:cubicBezTo>
                      <a:pt x="409026" y="3756016"/>
                      <a:pt x="428998" y="3736041"/>
                      <a:pt x="428998" y="3711878"/>
                    </a:cubicBezTo>
                    <a:close/>
                    <a:moveTo>
                      <a:pt x="433929" y="1124782"/>
                    </a:moveTo>
                    <a:cubicBezTo>
                      <a:pt x="433929" y="1114661"/>
                      <a:pt x="425792" y="1106529"/>
                      <a:pt x="415684" y="1106529"/>
                    </a:cubicBezTo>
                    <a:cubicBezTo>
                      <a:pt x="405572" y="1106529"/>
                      <a:pt x="397436" y="1114661"/>
                      <a:pt x="397436" y="1124782"/>
                    </a:cubicBezTo>
                    <a:cubicBezTo>
                      <a:pt x="397436" y="1134882"/>
                      <a:pt x="405572" y="1143026"/>
                      <a:pt x="415684" y="1143026"/>
                    </a:cubicBezTo>
                    <a:cubicBezTo>
                      <a:pt x="425792" y="1143026"/>
                      <a:pt x="433929" y="1134882"/>
                      <a:pt x="433929" y="1124782"/>
                    </a:cubicBezTo>
                    <a:close/>
                    <a:moveTo>
                      <a:pt x="434424" y="6023773"/>
                    </a:moveTo>
                    <a:cubicBezTo>
                      <a:pt x="434424" y="6022045"/>
                      <a:pt x="433192" y="6020813"/>
                      <a:pt x="431465" y="6020813"/>
                    </a:cubicBezTo>
                    <a:cubicBezTo>
                      <a:pt x="429739" y="6020813"/>
                      <a:pt x="428506" y="6022045"/>
                      <a:pt x="428506" y="6023773"/>
                    </a:cubicBezTo>
                    <a:cubicBezTo>
                      <a:pt x="428506" y="6025499"/>
                      <a:pt x="429739" y="6026732"/>
                      <a:pt x="431465" y="6026732"/>
                    </a:cubicBezTo>
                    <a:cubicBezTo>
                      <a:pt x="433192" y="6026732"/>
                      <a:pt x="434424" y="6025499"/>
                      <a:pt x="434424" y="6023773"/>
                    </a:cubicBezTo>
                    <a:close/>
                    <a:moveTo>
                      <a:pt x="435161" y="1305232"/>
                    </a:moveTo>
                    <a:cubicBezTo>
                      <a:pt x="435161" y="1295364"/>
                      <a:pt x="427024" y="1287203"/>
                      <a:pt x="417161" y="1287203"/>
                    </a:cubicBezTo>
                    <a:cubicBezTo>
                      <a:pt x="407299" y="1287203"/>
                      <a:pt x="399162" y="1295364"/>
                      <a:pt x="399162" y="1305232"/>
                    </a:cubicBezTo>
                    <a:cubicBezTo>
                      <a:pt x="399162" y="1315110"/>
                      <a:pt x="407299" y="1323241"/>
                      <a:pt x="417161" y="1323241"/>
                    </a:cubicBezTo>
                    <a:cubicBezTo>
                      <a:pt x="427024" y="1323241"/>
                      <a:pt x="435161" y="1315356"/>
                      <a:pt x="435161" y="1305232"/>
                    </a:cubicBezTo>
                    <a:close/>
                    <a:moveTo>
                      <a:pt x="435653" y="4993085"/>
                    </a:moveTo>
                    <a:cubicBezTo>
                      <a:pt x="435653" y="4975087"/>
                      <a:pt x="420861" y="4960291"/>
                      <a:pt x="402859" y="4960291"/>
                    </a:cubicBezTo>
                    <a:cubicBezTo>
                      <a:pt x="384859" y="4960291"/>
                      <a:pt x="370065" y="4975087"/>
                      <a:pt x="370065" y="4993085"/>
                    </a:cubicBezTo>
                    <a:cubicBezTo>
                      <a:pt x="370065" y="5011087"/>
                      <a:pt x="384859" y="5025883"/>
                      <a:pt x="402859" y="5025883"/>
                    </a:cubicBezTo>
                    <a:cubicBezTo>
                      <a:pt x="421108" y="5025883"/>
                      <a:pt x="435653" y="5011087"/>
                      <a:pt x="435653" y="4993085"/>
                    </a:cubicBezTo>
                    <a:close/>
                    <a:moveTo>
                      <a:pt x="438124" y="2900430"/>
                    </a:moveTo>
                    <a:cubicBezTo>
                      <a:pt x="438124" y="2895744"/>
                      <a:pt x="434424" y="2892046"/>
                      <a:pt x="429742" y="2892046"/>
                    </a:cubicBezTo>
                    <a:cubicBezTo>
                      <a:pt x="425055" y="2892046"/>
                      <a:pt x="421356" y="2895744"/>
                      <a:pt x="421356" y="2900430"/>
                    </a:cubicBezTo>
                    <a:cubicBezTo>
                      <a:pt x="421356" y="2905114"/>
                      <a:pt x="425055" y="2908813"/>
                      <a:pt x="429742" y="2908813"/>
                    </a:cubicBezTo>
                    <a:cubicBezTo>
                      <a:pt x="434424" y="2908813"/>
                      <a:pt x="438124" y="2904868"/>
                      <a:pt x="438124" y="2900430"/>
                    </a:cubicBezTo>
                    <a:close/>
                    <a:moveTo>
                      <a:pt x="439106" y="1705883"/>
                    </a:moveTo>
                    <a:cubicBezTo>
                      <a:pt x="439106" y="1693804"/>
                      <a:pt x="429243" y="1684183"/>
                      <a:pt x="417408" y="1684183"/>
                    </a:cubicBezTo>
                    <a:cubicBezTo>
                      <a:pt x="405327" y="1684183"/>
                      <a:pt x="395709" y="1694051"/>
                      <a:pt x="395709" y="1705883"/>
                    </a:cubicBezTo>
                    <a:cubicBezTo>
                      <a:pt x="395709" y="1717914"/>
                      <a:pt x="405572" y="1727553"/>
                      <a:pt x="417408" y="1727553"/>
                    </a:cubicBezTo>
                    <a:cubicBezTo>
                      <a:pt x="429243" y="1727553"/>
                      <a:pt x="438861" y="1717667"/>
                      <a:pt x="439106" y="1705883"/>
                    </a:cubicBezTo>
                    <a:close/>
                    <a:moveTo>
                      <a:pt x="442312" y="3827771"/>
                    </a:moveTo>
                    <a:cubicBezTo>
                      <a:pt x="442312" y="3802127"/>
                      <a:pt x="421353" y="3781168"/>
                      <a:pt x="395710" y="3781168"/>
                    </a:cubicBezTo>
                    <a:cubicBezTo>
                      <a:pt x="370066" y="3781168"/>
                      <a:pt x="349108" y="3802127"/>
                      <a:pt x="349108" y="3827771"/>
                    </a:cubicBezTo>
                    <a:cubicBezTo>
                      <a:pt x="349108" y="3853415"/>
                      <a:pt x="370066" y="3874373"/>
                      <a:pt x="395710" y="3874373"/>
                    </a:cubicBezTo>
                    <a:cubicBezTo>
                      <a:pt x="421353" y="3874373"/>
                      <a:pt x="442312" y="3853415"/>
                      <a:pt x="442312" y="3827771"/>
                    </a:cubicBezTo>
                    <a:close/>
                    <a:moveTo>
                      <a:pt x="453164" y="2124221"/>
                    </a:moveTo>
                    <a:cubicBezTo>
                      <a:pt x="453164" y="2120766"/>
                      <a:pt x="450205" y="2117806"/>
                      <a:pt x="446751" y="2117806"/>
                    </a:cubicBezTo>
                    <a:cubicBezTo>
                      <a:pt x="443301" y="2117806"/>
                      <a:pt x="440342" y="2120766"/>
                      <a:pt x="440342" y="2124221"/>
                    </a:cubicBezTo>
                    <a:cubicBezTo>
                      <a:pt x="440342" y="2127672"/>
                      <a:pt x="443301" y="2130628"/>
                      <a:pt x="446751" y="2130628"/>
                    </a:cubicBezTo>
                    <a:cubicBezTo>
                      <a:pt x="450205" y="2130628"/>
                      <a:pt x="452917" y="2127917"/>
                      <a:pt x="453164" y="2124221"/>
                    </a:cubicBezTo>
                    <a:close/>
                    <a:moveTo>
                      <a:pt x="456122" y="5502759"/>
                    </a:moveTo>
                    <a:cubicBezTo>
                      <a:pt x="456122" y="5498073"/>
                      <a:pt x="452177" y="5494128"/>
                      <a:pt x="447492" y="5494128"/>
                    </a:cubicBezTo>
                    <a:cubicBezTo>
                      <a:pt x="442805" y="5494128"/>
                      <a:pt x="438861" y="5498073"/>
                      <a:pt x="438861" y="5502759"/>
                    </a:cubicBezTo>
                    <a:cubicBezTo>
                      <a:pt x="438861" y="5507690"/>
                      <a:pt x="442560" y="5511635"/>
                      <a:pt x="447492" y="5511635"/>
                    </a:cubicBezTo>
                    <a:cubicBezTo>
                      <a:pt x="452177" y="5511635"/>
                      <a:pt x="456122" y="5507690"/>
                      <a:pt x="456122" y="5502759"/>
                    </a:cubicBezTo>
                    <a:close/>
                    <a:moveTo>
                      <a:pt x="457354" y="2786255"/>
                    </a:moveTo>
                    <a:cubicBezTo>
                      <a:pt x="457354" y="2784035"/>
                      <a:pt x="455627" y="2782309"/>
                      <a:pt x="453409" y="2782309"/>
                    </a:cubicBezTo>
                    <a:cubicBezTo>
                      <a:pt x="451191" y="2782309"/>
                      <a:pt x="449464" y="2784035"/>
                      <a:pt x="449464" y="2786255"/>
                    </a:cubicBezTo>
                    <a:cubicBezTo>
                      <a:pt x="449464" y="2788471"/>
                      <a:pt x="451191" y="2790201"/>
                      <a:pt x="453409" y="2790201"/>
                    </a:cubicBezTo>
                    <a:cubicBezTo>
                      <a:pt x="455627" y="2790201"/>
                      <a:pt x="457601" y="2788471"/>
                      <a:pt x="457354" y="2786255"/>
                    </a:cubicBezTo>
                    <a:close/>
                    <a:moveTo>
                      <a:pt x="457354" y="5878786"/>
                    </a:moveTo>
                    <a:cubicBezTo>
                      <a:pt x="457354" y="5876568"/>
                      <a:pt x="455382" y="5874595"/>
                      <a:pt x="453161" y="5874595"/>
                    </a:cubicBezTo>
                    <a:cubicBezTo>
                      <a:pt x="450942" y="5874595"/>
                      <a:pt x="448970" y="5876321"/>
                      <a:pt x="448970" y="5878786"/>
                    </a:cubicBezTo>
                    <a:cubicBezTo>
                      <a:pt x="448970" y="5881253"/>
                      <a:pt x="450942" y="5882977"/>
                      <a:pt x="453161" y="5882977"/>
                    </a:cubicBezTo>
                    <a:cubicBezTo>
                      <a:pt x="455627" y="5882977"/>
                      <a:pt x="457354" y="5881005"/>
                      <a:pt x="457354" y="5878786"/>
                    </a:cubicBezTo>
                    <a:close/>
                    <a:moveTo>
                      <a:pt x="459327" y="3943168"/>
                    </a:moveTo>
                    <a:cubicBezTo>
                      <a:pt x="459327" y="3916291"/>
                      <a:pt x="437628" y="3894593"/>
                      <a:pt x="410750" y="3894593"/>
                    </a:cubicBezTo>
                    <a:cubicBezTo>
                      <a:pt x="383874" y="3894593"/>
                      <a:pt x="362175" y="3916291"/>
                      <a:pt x="362175" y="3943168"/>
                    </a:cubicBezTo>
                    <a:cubicBezTo>
                      <a:pt x="362175" y="3970045"/>
                      <a:pt x="383874" y="3991743"/>
                      <a:pt x="410750" y="3991743"/>
                    </a:cubicBezTo>
                    <a:cubicBezTo>
                      <a:pt x="437628" y="3991743"/>
                      <a:pt x="459327" y="3969799"/>
                      <a:pt x="459327" y="3943168"/>
                    </a:cubicBezTo>
                    <a:close/>
                    <a:moveTo>
                      <a:pt x="459818" y="2395177"/>
                    </a:moveTo>
                    <a:cubicBezTo>
                      <a:pt x="459818" y="2392230"/>
                      <a:pt x="457599" y="2390029"/>
                      <a:pt x="454641" y="2390029"/>
                    </a:cubicBezTo>
                    <a:cubicBezTo>
                      <a:pt x="451682" y="2390029"/>
                      <a:pt x="449464" y="2392230"/>
                      <a:pt x="449464" y="2395177"/>
                    </a:cubicBezTo>
                    <a:cubicBezTo>
                      <a:pt x="449464" y="2398149"/>
                      <a:pt x="451682" y="2400368"/>
                      <a:pt x="454641" y="2400368"/>
                    </a:cubicBezTo>
                    <a:cubicBezTo>
                      <a:pt x="457599" y="2400368"/>
                      <a:pt x="459818" y="2398149"/>
                      <a:pt x="459818" y="2395177"/>
                    </a:cubicBezTo>
                    <a:close/>
                    <a:moveTo>
                      <a:pt x="462780" y="4452346"/>
                    </a:moveTo>
                    <a:cubicBezTo>
                      <a:pt x="462780" y="4427689"/>
                      <a:pt x="442806" y="4407717"/>
                      <a:pt x="418149" y="4407717"/>
                    </a:cubicBezTo>
                    <a:cubicBezTo>
                      <a:pt x="393491" y="4407717"/>
                      <a:pt x="373519" y="4427689"/>
                      <a:pt x="373519" y="4452346"/>
                    </a:cubicBezTo>
                    <a:cubicBezTo>
                      <a:pt x="373519" y="4477003"/>
                      <a:pt x="393491" y="4496975"/>
                      <a:pt x="418149" y="4496975"/>
                    </a:cubicBezTo>
                    <a:cubicBezTo>
                      <a:pt x="442806" y="4496975"/>
                      <a:pt x="462780" y="4477003"/>
                      <a:pt x="462780" y="4452346"/>
                    </a:cubicBezTo>
                    <a:close/>
                    <a:moveTo>
                      <a:pt x="463765" y="747318"/>
                    </a:moveTo>
                    <a:cubicBezTo>
                      <a:pt x="463765" y="738444"/>
                      <a:pt x="456614" y="731294"/>
                      <a:pt x="447737" y="731294"/>
                    </a:cubicBezTo>
                    <a:cubicBezTo>
                      <a:pt x="438861" y="731294"/>
                      <a:pt x="431711" y="738444"/>
                      <a:pt x="431711" y="747318"/>
                    </a:cubicBezTo>
                    <a:cubicBezTo>
                      <a:pt x="431711" y="756196"/>
                      <a:pt x="438861" y="763338"/>
                      <a:pt x="447737" y="763338"/>
                    </a:cubicBezTo>
                    <a:cubicBezTo>
                      <a:pt x="456614" y="763338"/>
                      <a:pt x="464014" y="756196"/>
                      <a:pt x="463765" y="747318"/>
                    </a:cubicBezTo>
                    <a:close/>
                    <a:moveTo>
                      <a:pt x="467464" y="1454885"/>
                    </a:moveTo>
                    <a:cubicBezTo>
                      <a:pt x="467464" y="1442806"/>
                      <a:pt x="457601" y="1433189"/>
                      <a:pt x="445765" y="1433189"/>
                    </a:cubicBezTo>
                    <a:cubicBezTo>
                      <a:pt x="433683" y="1433189"/>
                      <a:pt x="424066" y="1442806"/>
                      <a:pt x="424066" y="1454885"/>
                    </a:cubicBezTo>
                    <a:cubicBezTo>
                      <a:pt x="424066" y="1466978"/>
                      <a:pt x="433930" y="1476587"/>
                      <a:pt x="445765" y="1476587"/>
                    </a:cubicBezTo>
                    <a:cubicBezTo>
                      <a:pt x="457847" y="1476587"/>
                      <a:pt x="467464" y="1466978"/>
                      <a:pt x="467464" y="1454885"/>
                    </a:cubicBezTo>
                    <a:close/>
                    <a:moveTo>
                      <a:pt x="467711" y="1861504"/>
                    </a:moveTo>
                    <a:cubicBezTo>
                      <a:pt x="467711" y="1854362"/>
                      <a:pt x="461792" y="1848451"/>
                      <a:pt x="454642" y="1848451"/>
                    </a:cubicBezTo>
                    <a:cubicBezTo>
                      <a:pt x="447492" y="1848451"/>
                      <a:pt x="441574" y="1854362"/>
                      <a:pt x="441574" y="1861504"/>
                    </a:cubicBezTo>
                    <a:cubicBezTo>
                      <a:pt x="441574" y="1868647"/>
                      <a:pt x="447492" y="1874557"/>
                      <a:pt x="454642" y="1874557"/>
                    </a:cubicBezTo>
                    <a:cubicBezTo>
                      <a:pt x="462040" y="1874557"/>
                      <a:pt x="467711" y="1868647"/>
                      <a:pt x="467711" y="1861504"/>
                    </a:cubicBezTo>
                    <a:close/>
                    <a:moveTo>
                      <a:pt x="470915" y="4833060"/>
                    </a:moveTo>
                    <a:cubicBezTo>
                      <a:pt x="470915" y="4819989"/>
                      <a:pt x="460314" y="4809633"/>
                      <a:pt x="447492" y="4809633"/>
                    </a:cubicBezTo>
                    <a:cubicBezTo>
                      <a:pt x="434421" y="4809633"/>
                      <a:pt x="424066" y="4820238"/>
                      <a:pt x="424066" y="4833060"/>
                    </a:cubicBezTo>
                    <a:cubicBezTo>
                      <a:pt x="424066" y="4846127"/>
                      <a:pt x="434670" y="4856482"/>
                      <a:pt x="447492" y="4856482"/>
                    </a:cubicBezTo>
                    <a:cubicBezTo>
                      <a:pt x="460314" y="4856482"/>
                      <a:pt x="470915" y="4845881"/>
                      <a:pt x="470915" y="4833060"/>
                    </a:cubicBezTo>
                    <a:close/>
                    <a:moveTo>
                      <a:pt x="479052" y="4057825"/>
                    </a:moveTo>
                    <a:cubicBezTo>
                      <a:pt x="479052" y="4030949"/>
                      <a:pt x="457108" y="4009004"/>
                      <a:pt x="430230" y="4009004"/>
                    </a:cubicBezTo>
                    <a:cubicBezTo>
                      <a:pt x="403599" y="4009004"/>
                      <a:pt x="381655" y="4030949"/>
                      <a:pt x="381655" y="4057825"/>
                    </a:cubicBezTo>
                    <a:cubicBezTo>
                      <a:pt x="381655" y="4084703"/>
                      <a:pt x="403354" y="4106648"/>
                      <a:pt x="430230" y="4106648"/>
                    </a:cubicBezTo>
                    <a:cubicBezTo>
                      <a:pt x="457108" y="4106648"/>
                      <a:pt x="479052" y="4084703"/>
                      <a:pt x="479052" y="4057825"/>
                    </a:cubicBezTo>
                    <a:close/>
                    <a:moveTo>
                      <a:pt x="483985" y="889317"/>
                    </a:moveTo>
                    <a:cubicBezTo>
                      <a:pt x="483985" y="880193"/>
                      <a:pt x="476340" y="872539"/>
                      <a:pt x="467217" y="872539"/>
                    </a:cubicBezTo>
                    <a:cubicBezTo>
                      <a:pt x="457846" y="872539"/>
                      <a:pt x="450451" y="880193"/>
                      <a:pt x="450451" y="889317"/>
                    </a:cubicBezTo>
                    <a:cubicBezTo>
                      <a:pt x="450451" y="898690"/>
                      <a:pt x="458095" y="906073"/>
                      <a:pt x="467217" y="906073"/>
                    </a:cubicBezTo>
                    <a:cubicBezTo>
                      <a:pt x="476340" y="906073"/>
                      <a:pt x="483985" y="898690"/>
                      <a:pt x="483985" y="889317"/>
                    </a:cubicBezTo>
                    <a:close/>
                    <a:moveTo>
                      <a:pt x="484725" y="2673313"/>
                    </a:moveTo>
                    <a:cubicBezTo>
                      <a:pt x="484725" y="2671589"/>
                      <a:pt x="483244" y="2670111"/>
                      <a:pt x="481517" y="2670111"/>
                    </a:cubicBezTo>
                    <a:cubicBezTo>
                      <a:pt x="479793" y="2670111"/>
                      <a:pt x="478312" y="2671589"/>
                      <a:pt x="478312" y="2673313"/>
                    </a:cubicBezTo>
                    <a:cubicBezTo>
                      <a:pt x="478312" y="2675042"/>
                      <a:pt x="479793" y="2676524"/>
                      <a:pt x="481517" y="2676524"/>
                    </a:cubicBezTo>
                    <a:cubicBezTo>
                      <a:pt x="483244" y="2676524"/>
                      <a:pt x="484725" y="2675042"/>
                      <a:pt x="484725" y="2673313"/>
                    </a:cubicBezTo>
                    <a:close/>
                    <a:moveTo>
                      <a:pt x="485711" y="5351116"/>
                    </a:moveTo>
                    <a:cubicBezTo>
                      <a:pt x="485711" y="5346923"/>
                      <a:pt x="482258" y="5343717"/>
                      <a:pt x="478312" y="5343717"/>
                    </a:cubicBezTo>
                    <a:cubicBezTo>
                      <a:pt x="474121" y="5343717"/>
                      <a:pt x="470917" y="5347168"/>
                      <a:pt x="470917" y="5351116"/>
                    </a:cubicBezTo>
                    <a:cubicBezTo>
                      <a:pt x="470917" y="5355307"/>
                      <a:pt x="474367" y="5358512"/>
                      <a:pt x="478312" y="5358512"/>
                    </a:cubicBezTo>
                    <a:cubicBezTo>
                      <a:pt x="482506" y="5358512"/>
                      <a:pt x="485711" y="5355307"/>
                      <a:pt x="485711" y="5351116"/>
                    </a:cubicBezTo>
                    <a:close/>
                    <a:moveTo>
                      <a:pt x="488668" y="5746130"/>
                    </a:moveTo>
                    <a:cubicBezTo>
                      <a:pt x="488668" y="5745390"/>
                      <a:pt x="488176" y="5744897"/>
                      <a:pt x="487436" y="5744897"/>
                    </a:cubicBezTo>
                    <a:cubicBezTo>
                      <a:pt x="486943" y="5744897"/>
                      <a:pt x="486203" y="5745390"/>
                      <a:pt x="486203" y="5746130"/>
                    </a:cubicBezTo>
                    <a:cubicBezTo>
                      <a:pt x="486203" y="5746624"/>
                      <a:pt x="486695" y="5747365"/>
                      <a:pt x="487436" y="5747365"/>
                    </a:cubicBezTo>
                    <a:cubicBezTo>
                      <a:pt x="488176" y="5747365"/>
                      <a:pt x="488668" y="5746624"/>
                      <a:pt x="488668" y="5746130"/>
                    </a:cubicBezTo>
                    <a:close/>
                    <a:moveTo>
                      <a:pt x="491878" y="6253581"/>
                    </a:moveTo>
                    <a:cubicBezTo>
                      <a:pt x="491878" y="6252100"/>
                      <a:pt x="490643" y="6250867"/>
                      <a:pt x="489165" y="6250867"/>
                    </a:cubicBezTo>
                    <a:cubicBezTo>
                      <a:pt x="487684" y="6250867"/>
                      <a:pt x="486452" y="6252100"/>
                      <a:pt x="486452" y="6253581"/>
                    </a:cubicBezTo>
                    <a:cubicBezTo>
                      <a:pt x="486452" y="6255059"/>
                      <a:pt x="487684" y="6256294"/>
                      <a:pt x="489165" y="6256294"/>
                    </a:cubicBezTo>
                    <a:cubicBezTo>
                      <a:pt x="490643" y="6256294"/>
                      <a:pt x="491878" y="6255059"/>
                      <a:pt x="491878" y="6253581"/>
                    </a:cubicBezTo>
                    <a:close/>
                    <a:moveTo>
                      <a:pt x="494834" y="5096153"/>
                    </a:moveTo>
                    <a:cubicBezTo>
                      <a:pt x="494834" y="5074703"/>
                      <a:pt x="477576" y="5057441"/>
                      <a:pt x="456123" y="5057441"/>
                    </a:cubicBezTo>
                    <a:cubicBezTo>
                      <a:pt x="434673" y="5057441"/>
                      <a:pt x="417411" y="5074703"/>
                      <a:pt x="417411" y="5096153"/>
                    </a:cubicBezTo>
                    <a:cubicBezTo>
                      <a:pt x="417411" y="5117606"/>
                      <a:pt x="434673" y="5134865"/>
                      <a:pt x="456123" y="5134865"/>
                    </a:cubicBezTo>
                    <a:cubicBezTo>
                      <a:pt x="477329" y="5134865"/>
                      <a:pt x="494834" y="5117606"/>
                      <a:pt x="494834" y="5096153"/>
                    </a:cubicBezTo>
                    <a:close/>
                    <a:moveTo>
                      <a:pt x="499273" y="1606510"/>
                    </a:moveTo>
                    <a:cubicBezTo>
                      <a:pt x="499273" y="1594431"/>
                      <a:pt x="489164" y="1584309"/>
                      <a:pt x="477080" y="1584309"/>
                    </a:cubicBezTo>
                    <a:cubicBezTo>
                      <a:pt x="464999" y="1584309"/>
                      <a:pt x="454890" y="1594183"/>
                      <a:pt x="454890" y="1606510"/>
                    </a:cubicBezTo>
                    <a:cubicBezTo>
                      <a:pt x="454890" y="1618593"/>
                      <a:pt x="464754" y="1628702"/>
                      <a:pt x="477080" y="1628702"/>
                    </a:cubicBezTo>
                    <a:cubicBezTo>
                      <a:pt x="489410" y="1628702"/>
                      <a:pt x="499519" y="1618838"/>
                      <a:pt x="499273" y="1606510"/>
                    </a:cubicBezTo>
                    <a:close/>
                    <a:moveTo>
                      <a:pt x="500260" y="2286457"/>
                    </a:moveTo>
                    <a:cubicBezTo>
                      <a:pt x="500260" y="2283984"/>
                      <a:pt x="498287" y="2282009"/>
                      <a:pt x="495823" y="2282009"/>
                    </a:cubicBezTo>
                    <a:cubicBezTo>
                      <a:pt x="493355" y="2282009"/>
                      <a:pt x="491383" y="2283984"/>
                      <a:pt x="491383" y="2286457"/>
                    </a:cubicBezTo>
                    <a:cubicBezTo>
                      <a:pt x="491383" y="2288916"/>
                      <a:pt x="493355" y="2290883"/>
                      <a:pt x="495823" y="2290883"/>
                    </a:cubicBezTo>
                    <a:cubicBezTo>
                      <a:pt x="498287" y="2290883"/>
                      <a:pt x="500260" y="2288916"/>
                      <a:pt x="500260" y="2286457"/>
                    </a:cubicBezTo>
                    <a:close/>
                    <a:moveTo>
                      <a:pt x="501738" y="4562566"/>
                    </a:moveTo>
                    <a:cubicBezTo>
                      <a:pt x="501738" y="4537168"/>
                      <a:pt x="481025" y="4516455"/>
                      <a:pt x="455630" y="4516455"/>
                    </a:cubicBezTo>
                    <a:cubicBezTo>
                      <a:pt x="430232" y="4516455"/>
                      <a:pt x="409520" y="4537168"/>
                      <a:pt x="409520" y="4562566"/>
                    </a:cubicBezTo>
                    <a:cubicBezTo>
                      <a:pt x="409520" y="4587963"/>
                      <a:pt x="430232" y="4608676"/>
                      <a:pt x="455630" y="4608676"/>
                    </a:cubicBezTo>
                    <a:cubicBezTo>
                      <a:pt x="481025" y="4608676"/>
                      <a:pt x="501738" y="4587963"/>
                      <a:pt x="501738" y="4562566"/>
                    </a:cubicBezTo>
                    <a:close/>
                    <a:moveTo>
                      <a:pt x="502479" y="4171991"/>
                    </a:moveTo>
                    <a:cubicBezTo>
                      <a:pt x="502479" y="4145360"/>
                      <a:pt x="480780" y="4123661"/>
                      <a:pt x="454149" y="4123661"/>
                    </a:cubicBezTo>
                    <a:cubicBezTo>
                      <a:pt x="427520" y="4123661"/>
                      <a:pt x="405821" y="4145360"/>
                      <a:pt x="405821" y="4171991"/>
                    </a:cubicBezTo>
                    <a:cubicBezTo>
                      <a:pt x="405821" y="4198621"/>
                      <a:pt x="427520" y="4220320"/>
                      <a:pt x="454149" y="4220320"/>
                    </a:cubicBezTo>
                    <a:cubicBezTo>
                      <a:pt x="480780" y="4220320"/>
                      <a:pt x="502479" y="4198621"/>
                      <a:pt x="502479" y="4171991"/>
                    </a:cubicBezTo>
                    <a:close/>
                    <a:moveTo>
                      <a:pt x="502724" y="1211794"/>
                    </a:moveTo>
                    <a:cubicBezTo>
                      <a:pt x="502724" y="1202425"/>
                      <a:pt x="495080" y="1194777"/>
                      <a:pt x="485709" y="1194777"/>
                    </a:cubicBezTo>
                    <a:cubicBezTo>
                      <a:pt x="476340" y="1194777"/>
                      <a:pt x="468696" y="1202425"/>
                      <a:pt x="468696" y="1211794"/>
                    </a:cubicBezTo>
                    <a:cubicBezTo>
                      <a:pt x="468696" y="1221167"/>
                      <a:pt x="476340" y="1228812"/>
                      <a:pt x="485709" y="1228812"/>
                    </a:cubicBezTo>
                    <a:cubicBezTo>
                      <a:pt x="495080" y="1228812"/>
                      <a:pt x="502724" y="1221167"/>
                      <a:pt x="502724" y="1211794"/>
                    </a:cubicBezTo>
                    <a:close/>
                    <a:moveTo>
                      <a:pt x="505191" y="1033535"/>
                    </a:moveTo>
                    <a:cubicBezTo>
                      <a:pt x="505191" y="1023932"/>
                      <a:pt x="497547" y="1016290"/>
                      <a:pt x="487932" y="1016290"/>
                    </a:cubicBezTo>
                    <a:cubicBezTo>
                      <a:pt x="478316" y="1016290"/>
                      <a:pt x="470671" y="1024177"/>
                      <a:pt x="470671" y="1033535"/>
                    </a:cubicBezTo>
                    <a:cubicBezTo>
                      <a:pt x="470671" y="1043154"/>
                      <a:pt x="478561" y="1050800"/>
                      <a:pt x="487932" y="1050800"/>
                    </a:cubicBezTo>
                    <a:cubicBezTo>
                      <a:pt x="497301" y="1050800"/>
                      <a:pt x="505191" y="1043154"/>
                      <a:pt x="505191" y="1033535"/>
                    </a:cubicBezTo>
                    <a:close/>
                    <a:moveTo>
                      <a:pt x="506174" y="2018877"/>
                    </a:moveTo>
                    <a:cubicBezTo>
                      <a:pt x="506174" y="2012965"/>
                      <a:pt x="501489" y="2008285"/>
                      <a:pt x="495820" y="2008285"/>
                    </a:cubicBezTo>
                    <a:cubicBezTo>
                      <a:pt x="489902" y="2008285"/>
                      <a:pt x="485217" y="2012965"/>
                      <a:pt x="485217" y="2018877"/>
                    </a:cubicBezTo>
                    <a:cubicBezTo>
                      <a:pt x="485217" y="2024803"/>
                      <a:pt x="490148" y="2029489"/>
                      <a:pt x="495820" y="2029489"/>
                    </a:cubicBezTo>
                    <a:cubicBezTo>
                      <a:pt x="501738" y="2029489"/>
                      <a:pt x="506423" y="2024803"/>
                      <a:pt x="506174" y="2018877"/>
                    </a:cubicBezTo>
                    <a:close/>
                    <a:moveTo>
                      <a:pt x="509876" y="6112048"/>
                    </a:moveTo>
                    <a:cubicBezTo>
                      <a:pt x="509876" y="6110567"/>
                      <a:pt x="508642" y="6109335"/>
                      <a:pt x="507164" y="6109335"/>
                    </a:cubicBezTo>
                    <a:cubicBezTo>
                      <a:pt x="505683" y="6109335"/>
                      <a:pt x="504451" y="6110567"/>
                      <a:pt x="504451" y="6112048"/>
                    </a:cubicBezTo>
                    <a:cubicBezTo>
                      <a:pt x="504451" y="6113526"/>
                      <a:pt x="505683" y="6114761"/>
                      <a:pt x="507164" y="6114761"/>
                    </a:cubicBezTo>
                    <a:cubicBezTo>
                      <a:pt x="508642" y="6114761"/>
                      <a:pt x="509876" y="6113526"/>
                      <a:pt x="509876" y="6112048"/>
                    </a:cubicBezTo>
                    <a:close/>
                    <a:moveTo>
                      <a:pt x="514808" y="2561113"/>
                    </a:moveTo>
                    <a:cubicBezTo>
                      <a:pt x="514808" y="2560374"/>
                      <a:pt x="514314" y="2559880"/>
                      <a:pt x="513574" y="2559880"/>
                    </a:cubicBezTo>
                    <a:cubicBezTo>
                      <a:pt x="512836" y="2559880"/>
                      <a:pt x="512342" y="2560374"/>
                      <a:pt x="512342" y="2561113"/>
                    </a:cubicBezTo>
                    <a:cubicBezTo>
                      <a:pt x="512342" y="2561853"/>
                      <a:pt x="512836" y="2562344"/>
                      <a:pt x="513574" y="2562344"/>
                    </a:cubicBezTo>
                    <a:cubicBezTo>
                      <a:pt x="514314" y="2562344"/>
                      <a:pt x="514808" y="2561853"/>
                      <a:pt x="514808" y="2561113"/>
                    </a:cubicBezTo>
                    <a:close/>
                    <a:moveTo>
                      <a:pt x="520724" y="3334123"/>
                    </a:moveTo>
                    <a:cubicBezTo>
                      <a:pt x="520724" y="3316157"/>
                      <a:pt x="505932" y="3301341"/>
                      <a:pt x="487930" y="3301341"/>
                    </a:cubicBezTo>
                    <a:cubicBezTo>
                      <a:pt x="469930" y="3301341"/>
                      <a:pt x="455136" y="3316157"/>
                      <a:pt x="455136" y="3334123"/>
                    </a:cubicBezTo>
                    <a:cubicBezTo>
                      <a:pt x="455136" y="3352144"/>
                      <a:pt x="469930" y="3366937"/>
                      <a:pt x="487930" y="3366937"/>
                    </a:cubicBezTo>
                    <a:cubicBezTo>
                      <a:pt x="505932" y="3366937"/>
                      <a:pt x="520724" y="3352144"/>
                      <a:pt x="520724" y="3334123"/>
                    </a:cubicBezTo>
                    <a:close/>
                    <a:moveTo>
                      <a:pt x="521217" y="5598184"/>
                    </a:moveTo>
                    <a:cubicBezTo>
                      <a:pt x="521217" y="5593744"/>
                      <a:pt x="517767" y="5590293"/>
                      <a:pt x="513327" y="5590293"/>
                    </a:cubicBezTo>
                    <a:cubicBezTo>
                      <a:pt x="508888" y="5590293"/>
                      <a:pt x="505438" y="5593993"/>
                      <a:pt x="505438" y="5598184"/>
                    </a:cubicBezTo>
                    <a:cubicBezTo>
                      <a:pt x="505438" y="5602623"/>
                      <a:pt x="509136" y="5606074"/>
                      <a:pt x="513327" y="5606074"/>
                    </a:cubicBezTo>
                    <a:cubicBezTo>
                      <a:pt x="517519" y="5606074"/>
                      <a:pt x="521217" y="5602623"/>
                      <a:pt x="521217" y="5598184"/>
                    </a:cubicBezTo>
                    <a:close/>
                    <a:moveTo>
                      <a:pt x="521710" y="3450036"/>
                    </a:moveTo>
                    <a:cubicBezTo>
                      <a:pt x="521710" y="3429585"/>
                      <a:pt x="505188" y="3413061"/>
                      <a:pt x="484725" y="3413061"/>
                    </a:cubicBezTo>
                    <a:cubicBezTo>
                      <a:pt x="464258" y="3413061"/>
                      <a:pt x="447737" y="3429585"/>
                      <a:pt x="447737" y="3450036"/>
                    </a:cubicBezTo>
                    <a:cubicBezTo>
                      <a:pt x="447737" y="3470235"/>
                      <a:pt x="464258" y="3486755"/>
                      <a:pt x="484725" y="3486755"/>
                    </a:cubicBezTo>
                    <a:cubicBezTo>
                      <a:pt x="504942" y="3486755"/>
                      <a:pt x="521710" y="3470235"/>
                      <a:pt x="521710" y="3450036"/>
                    </a:cubicBezTo>
                    <a:close/>
                    <a:moveTo>
                      <a:pt x="522944" y="3218514"/>
                    </a:moveTo>
                    <a:cubicBezTo>
                      <a:pt x="522944" y="3203475"/>
                      <a:pt x="510614" y="3191144"/>
                      <a:pt x="495574" y="3191144"/>
                    </a:cubicBezTo>
                    <a:cubicBezTo>
                      <a:pt x="480533" y="3191144"/>
                      <a:pt x="468204" y="3203475"/>
                      <a:pt x="468204" y="3218514"/>
                    </a:cubicBezTo>
                    <a:cubicBezTo>
                      <a:pt x="468204" y="3233557"/>
                      <a:pt x="480533" y="3245887"/>
                      <a:pt x="495574" y="3245887"/>
                    </a:cubicBezTo>
                    <a:cubicBezTo>
                      <a:pt x="510614" y="3245887"/>
                      <a:pt x="522944" y="3233557"/>
                      <a:pt x="522944" y="3218514"/>
                    </a:cubicBezTo>
                    <a:close/>
                    <a:moveTo>
                      <a:pt x="525655" y="3565660"/>
                    </a:moveTo>
                    <a:cubicBezTo>
                      <a:pt x="525655" y="3543715"/>
                      <a:pt x="507655" y="3525716"/>
                      <a:pt x="485711" y="3525716"/>
                    </a:cubicBezTo>
                    <a:cubicBezTo>
                      <a:pt x="463764" y="3525716"/>
                      <a:pt x="445765" y="3543715"/>
                      <a:pt x="445765" y="3565660"/>
                    </a:cubicBezTo>
                    <a:cubicBezTo>
                      <a:pt x="445765" y="3587607"/>
                      <a:pt x="463518" y="3605606"/>
                      <a:pt x="485711" y="3605606"/>
                    </a:cubicBezTo>
                    <a:cubicBezTo>
                      <a:pt x="507902" y="3605606"/>
                      <a:pt x="525655" y="3587607"/>
                      <a:pt x="525655" y="3565660"/>
                    </a:cubicBezTo>
                    <a:close/>
                    <a:moveTo>
                      <a:pt x="528120" y="1760145"/>
                    </a:moveTo>
                    <a:cubicBezTo>
                      <a:pt x="528120" y="1750761"/>
                      <a:pt x="520477" y="1743099"/>
                      <a:pt x="511107" y="1743099"/>
                    </a:cubicBezTo>
                    <a:cubicBezTo>
                      <a:pt x="501738" y="1743099"/>
                      <a:pt x="494093" y="1750761"/>
                      <a:pt x="494093" y="1760145"/>
                    </a:cubicBezTo>
                    <a:cubicBezTo>
                      <a:pt x="494093" y="1769535"/>
                      <a:pt x="501738" y="1777186"/>
                      <a:pt x="511107" y="1777186"/>
                    </a:cubicBezTo>
                    <a:cubicBezTo>
                      <a:pt x="520477" y="1777186"/>
                      <a:pt x="528120" y="1769535"/>
                      <a:pt x="528120" y="1760145"/>
                    </a:cubicBezTo>
                    <a:close/>
                    <a:moveTo>
                      <a:pt x="528616" y="3103356"/>
                    </a:moveTo>
                    <a:cubicBezTo>
                      <a:pt x="528616" y="3091768"/>
                      <a:pt x="519245" y="3082396"/>
                      <a:pt x="507655" y="3082396"/>
                    </a:cubicBezTo>
                    <a:cubicBezTo>
                      <a:pt x="496069" y="3082396"/>
                      <a:pt x="486698" y="3091768"/>
                      <a:pt x="486698" y="3103356"/>
                    </a:cubicBezTo>
                    <a:cubicBezTo>
                      <a:pt x="486698" y="3114947"/>
                      <a:pt x="496069" y="3124319"/>
                      <a:pt x="507655" y="3124319"/>
                    </a:cubicBezTo>
                    <a:cubicBezTo>
                      <a:pt x="519245" y="3124319"/>
                      <a:pt x="528862" y="3114947"/>
                      <a:pt x="528616" y="3103356"/>
                    </a:cubicBezTo>
                    <a:close/>
                    <a:moveTo>
                      <a:pt x="529846" y="4284921"/>
                    </a:moveTo>
                    <a:cubicBezTo>
                      <a:pt x="529846" y="4258785"/>
                      <a:pt x="508396" y="4237332"/>
                      <a:pt x="482258" y="4237332"/>
                    </a:cubicBezTo>
                    <a:cubicBezTo>
                      <a:pt x="456122" y="4237332"/>
                      <a:pt x="434670" y="4258785"/>
                      <a:pt x="434670" y="4284921"/>
                    </a:cubicBezTo>
                    <a:cubicBezTo>
                      <a:pt x="434670" y="4311059"/>
                      <a:pt x="455874" y="4332512"/>
                      <a:pt x="482258" y="4332512"/>
                    </a:cubicBezTo>
                    <a:cubicBezTo>
                      <a:pt x="508396" y="4332512"/>
                      <a:pt x="529846" y="4311059"/>
                      <a:pt x="529846" y="4284921"/>
                    </a:cubicBezTo>
                    <a:close/>
                    <a:moveTo>
                      <a:pt x="530832" y="5969033"/>
                    </a:moveTo>
                    <a:cubicBezTo>
                      <a:pt x="530832" y="5966814"/>
                      <a:pt x="529105" y="5965088"/>
                      <a:pt x="526887" y="5965088"/>
                    </a:cubicBezTo>
                    <a:cubicBezTo>
                      <a:pt x="524669" y="5965088"/>
                      <a:pt x="522942" y="5966814"/>
                      <a:pt x="522942" y="5969033"/>
                    </a:cubicBezTo>
                    <a:cubicBezTo>
                      <a:pt x="522942" y="5971251"/>
                      <a:pt x="524669" y="5972978"/>
                      <a:pt x="526887" y="5972978"/>
                    </a:cubicBezTo>
                    <a:cubicBezTo>
                      <a:pt x="529105" y="5972978"/>
                      <a:pt x="530832" y="5971006"/>
                      <a:pt x="530832" y="5969033"/>
                    </a:cubicBezTo>
                    <a:close/>
                    <a:moveTo>
                      <a:pt x="532562" y="1359462"/>
                    </a:moveTo>
                    <a:cubicBezTo>
                      <a:pt x="532562" y="1347879"/>
                      <a:pt x="523191" y="1338501"/>
                      <a:pt x="511601" y="1338501"/>
                    </a:cubicBezTo>
                    <a:cubicBezTo>
                      <a:pt x="500014" y="1338501"/>
                      <a:pt x="490643" y="1347879"/>
                      <a:pt x="490643" y="1359462"/>
                    </a:cubicBezTo>
                    <a:cubicBezTo>
                      <a:pt x="490643" y="1371052"/>
                      <a:pt x="500014" y="1380418"/>
                      <a:pt x="511601" y="1380418"/>
                    </a:cubicBezTo>
                    <a:cubicBezTo>
                      <a:pt x="523191" y="1380418"/>
                      <a:pt x="532562" y="1371052"/>
                      <a:pt x="532562" y="1359462"/>
                    </a:cubicBezTo>
                    <a:close/>
                    <a:moveTo>
                      <a:pt x="532562" y="3681302"/>
                    </a:moveTo>
                    <a:cubicBezTo>
                      <a:pt x="532562" y="3658617"/>
                      <a:pt x="514068" y="3640123"/>
                      <a:pt x="491383" y="3640123"/>
                    </a:cubicBezTo>
                    <a:cubicBezTo>
                      <a:pt x="468698" y="3640123"/>
                      <a:pt x="450205" y="3658617"/>
                      <a:pt x="450205" y="3681302"/>
                    </a:cubicBezTo>
                    <a:cubicBezTo>
                      <a:pt x="450205" y="3703987"/>
                      <a:pt x="468698" y="3722478"/>
                      <a:pt x="491383" y="3722478"/>
                    </a:cubicBezTo>
                    <a:cubicBezTo>
                      <a:pt x="514068" y="3722478"/>
                      <a:pt x="532562" y="3703987"/>
                      <a:pt x="532562" y="3681302"/>
                    </a:cubicBezTo>
                    <a:close/>
                    <a:moveTo>
                      <a:pt x="538479" y="4938347"/>
                    </a:moveTo>
                    <a:cubicBezTo>
                      <a:pt x="538479" y="4915416"/>
                      <a:pt x="519737" y="4896677"/>
                      <a:pt x="496807" y="4896677"/>
                    </a:cubicBezTo>
                    <a:cubicBezTo>
                      <a:pt x="473876" y="4896677"/>
                      <a:pt x="455136" y="4915416"/>
                      <a:pt x="455136" y="4938347"/>
                    </a:cubicBezTo>
                    <a:cubicBezTo>
                      <a:pt x="455136" y="4961278"/>
                      <a:pt x="473876" y="4980018"/>
                      <a:pt x="496807" y="4980018"/>
                    </a:cubicBezTo>
                    <a:cubicBezTo>
                      <a:pt x="519737" y="4980018"/>
                      <a:pt x="538479" y="4961278"/>
                      <a:pt x="538479" y="4938347"/>
                    </a:cubicBezTo>
                    <a:close/>
                    <a:moveTo>
                      <a:pt x="538973" y="2988691"/>
                    </a:moveTo>
                    <a:cubicBezTo>
                      <a:pt x="538973" y="2980554"/>
                      <a:pt x="532314" y="2973895"/>
                      <a:pt x="524177" y="2973895"/>
                    </a:cubicBezTo>
                    <a:cubicBezTo>
                      <a:pt x="516041" y="2973895"/>
                      <a:pt x="509383" y="2980554"/>
                      <a:pt x="509383" y="2988691"/>
                    </a:cubicBezTo>
                    <a:cubicBezTo>
                      <a:pt x="509383" y="2996827"/>
                      <a:pt x="516041" y="3003487"/>
                      <a:pt x="524177" y="3003487"/>
                    </a:cubicBezTo>
                    <a:cubicBezTo>
                      <a:pt x="532314" y="3003487"/>
                      <a:pt x="538973" y="2996827"/>
                      <a:pt x="538973" y="2988691"/>
                    </a:cubicBezTo>
                    <a:close/>
                    <a:moveTo>
                      <a:pt x="541190" y="4671305"/>
                    </a:moveTo>
                    <a:cubicBezTo>
                      <a:pt x="541190" y="4646648"/>
                      <a:pt x="521218" y="4626676"/>
                      <a:pt x="496807" y="4626676"/>
                    </a:cubicBezTo>
                    <a:cubicBezTo>
                      <a:pt x="472149" y="4626676"/>
                      <a:pt x="452177" y="4646648"/>
                      <a:pt x="452177" y="4671305"/>
                    </a:cubicBezTo>
                    <a:cubicBezTo>
                      <a:pt x="452177" y="4695717"/>
                      <a:pt x="472149" y="4715689"/>
                      <a:pt x="496807" y="4715689"/>
                    </a:cubicBezTo>
                    <a:cubicBezTo>
                      <a:pt x="521218" y="4715689"/>
                      <a:pt x="541190" y="4695717"/>
                      <a:pt x="541190" y="4671305"/>
                    </a:cubicBezTo>
                    <a:close/>
                    <a:moveTo>
                      <a:pt x="542177" y="661761"/>
                    </a:moveTo>
                    <a:cubicBezTo>
                      <a:pt x="542177" y="653138"/>
                      <a:pt x="535273" y="646209"/>
                      <a:pt x="526645" y="646209"/>
                    </a:cubicBezTo>
                    <a:cubicBezTo>
                      <a:pt x="518014" y="646209"/>
                      <a:pt x="511110" y="653138"/>
                      <a:pt x="511110" y="661761"/>
                    </a:cubicBezTo>
                    <a:cubicBezTo>
                      <a:pt x="511110" y="670391"/>
                      <a:pt x="518014" y="677287"/>
                      <a:pt x="526645" y="677287"/>
                    </a:cubicBezTo>
                    <a:cubicBezTo>
                      <a:pt x="535273" y="677287"/>
                      <a:pt x="542177" y="670391"/>
                      <a:pt x="542177" y="661761"/>
                    </a:cubicBezTo>
                    <a:close/>
                    <a:moveTo>
                      <a:pt x="542916" y="3796700"/>
                    </a:moveTo>
                    <a:cubicBezTo>
                      <a:pt x="542916" y="3773769"/>
                      <a:pt x="524174" y="3755029"/>
                      <a:pt x="501243" y="3755029"/>
                    </a:cubicBezTo>
                    <a:cubicBezTo>
                      <a:pt x="478312" y="3755029"/>
                      <a:pt x="459573" y="3773769"/>
                      <a:pt x="459573" y="3796700"/>
                    </a:cubicBezTo>
                    <a:cubicBezTo>
                      <a:pt x="459573" y="3819631"/>
                      <a:pt x="478312" y="3838371"/>
                      <a:pt x="501243" y="3838371"/>
                    </a:cubicBezTo>
                    <a:cubicBezTo>
                      <a:pt x="524423" y="3838371"/>
                      <a:pt x="542916" y="3819631"/>
                      <a:pt x="542916" y="3796700"/>
                    </a:cubicBezTo>
                    <a:close/>
                    <a:moveTo>
                      <a:pt x="546122" y="2179445"/>
                    </a:moveTo>
                    <a:cubicBezTo>
                      <a:pt x="546122" y="2176731"/>
                      <a:pt x="543903" y="2174268"/>
                      <a:pt x="540944" y="2174268"/>
                    </a:cubicBezTo>
                    <a:cubicBezTo>
                      <a:pt x="538232" y="2174268"/>
                      <a:pt x="535767" y="2176485"/>
                      <a:pt x="535767" y="2179445"/>
                    </a:cubicBezTo>
                    <a:cubicBezTo>
                      <a:pt x="535767" y="2182167"/>
                      <a:pt x="537985" y="2184618"/>
                      <a:pt x="540944" y="2184618"/>
                    </a:cubicBezTo>
                    <a:cubicBezTo>
                      <a:pt x="543657" y="2184618"/>
                      <a:pt x="546122" y="2182167"/>
                      <a:pt x="546122" y="2179445"/>
                    </a:cubicBezTo>
                    <a:close/>
                    <a:moveTo>
                      <a:pt x="548339" y="5448512"/>
                    </a:moveTo>
                    <a:cubicBezTo>
                      <a:pt x="548339" y="5444566"/>
                      <a:pt x="545135" y="5441607"/>
                      <a:pt x="541436" y="5441607"/>
                    </a:cubicBezTo>
                    <a:cubicBezTo>
                      <a:pt x="537491" y="5441607"/>
                      <a:pt x="534532" y="5444813"/>
                      <a:pt x="534532" y="5448512"/>
                    </a:cubicBezTo>
                    <a:cubicBezTo>
                      <a:pt x="534532" y="5452457"/>
                      <a:pt x="537736" y="5455416"/>
                      <a:pt x="541436" y="5455416"/>
                    </a:cubicBezTo>
                    <a:cubicBezTo>
                      <a:pt x="545135" y="5455416"/>
                      <a:pt x="548339" y="5452457"/>
                      <a:pt x="548339" y="5448512"/>
                    </a:cubicBezTo>
                    <a:close/>
                    <a:moveTo>
                      <a:pt x="550067" y="2450895"/>
                    </a:moveTo>
                    <a:cubicBezTo>
                      <a:pt x="550316" y="2450646"/>
                      <a:pt x="550067" y="2450400"/>
                      <a:pt x="550067" y="2450400"/>
                    </a:cubicBezTo>
                    <a:cubicBezTo>
                      <a:pt x="549821" y="2450400"/>
                      <a:pt x="549821" y="2450646"/>
                      <a:pt x="549821" y="2450646"/>
                    </a:cubicBezTo>
                    <a:cubicBezTo>
                      <a:pt x="549821" y="2450895"/>
                      <a:pt x="549821" y="2450895"/>
                      <a:pt x="550067" y="2450895"/>
                    </a:cubicBezTo>
                    <a:close/>
                    <a:moveTo>
                      <a:pt x="550560" y="5197500"/>
                    </a:moveTo>
                    <a:cubicBezTo>
                      <a:pt x="550560" y="5176539"/>
                      <a:pt x="533547" y="5159525"/>
                      <a:pt x="512590" y="5159525"/>
                    </a:cubicBezTo>
                    <a:cubicBezTo>
                      <a:pt x="491629" y="5159525"/>
                      <a:pt x="474616" y="5176539"/>
                      <a:pt x="474616" y="5197500"/>
                    </a:cubicBezTo>
                    <a:cubicBezTo>
                      <a:pt x="474616" y="5218458"/>
                      <a:pt x="491629" y="5235471"/>
                      <a:pt x="512590" y="5235471"/>
                    </a:cubicBezTo>
                    <a:cubicBezTo>
                      <a:pt x="533547" y="5235471"/>
                      <a:pt x="550560" y="5218458"/>
                      <a:pt x="550560" y="5197500"/>
                    </a:cubicBezTo>
                    <a:close/>
                    <a:moveTo>
                      <a:pt x="554015" y="2874765"/>
                    </a:moveTo>
                    <a:cubicBezTo>
                      <a:pt x="554015" y="2870079"/>
                      <a:pt x="550067" y="2866136"/>
                      <a:pt x="545385" y="2866136"/>
                    </a:cubicBezTo>
                    <a:cubicBezTo>
                      <a:pt x="540698" y="2866136"/>
                      <a:pt x="536754" y="2870079"/>
                      <a:pt x="536754" y="2874765"/>
                    </a:cubicBezTo>
                    <a:cubicBezTo>
                      <a:pt x="536754" y="2879448"/>
                      <a:pt x="540698" y="2883394"/>
                      <a:pt x="545385" y="2883394"/>
                    </a:cubicBezTo>
                    <a:cubicBezTo>
                      <a:pt x="550067" y="2883394"/>
                      <a:pt x="554015" y="2879448"/>
                      <a:pt x="554015" y="2874765"/>
                    </a:cubicBezTo>
                    <a:close/>
                    <a:moveTo>
                      <a:pt x="557957" y="3911606"/>
                    </a:moveTo>
                    <a:cubicBezTo>
                      <a:pt x="557957" y="3888427"/>
                      <a:pt x="538969" y="3869441"/>
                      <a:pt x="515792" y="3869441"/>
                    </a:cubicBezTo>
                    <a:cubicBezTo>
                      <a:pt x="492612" y="3869441"/>
                      <a:pt x="473627" y="3888427"/>
                      <a:pt x="473627" y="3911606"/>
                    </a:cubicBezTo>
                    <a:cubicBezTo>
                      <a:pt x="473627" y="3934783"/>
                      <a:pt x="492612" y="3953768"/>
                      <a:pt x="515792" y="3953768"/>
                    </a:cubicBezTo>
                    <a:cubicBezTo>
                      <a:pt x="538969" y="3953768"/>
                      <a:pt x="557957" y="3934783"/>
                      <a:pt x="557957" y="3911606"/>
                    </a:cubicBezTo>
                    <a:close/>
                    <a:moveTo>
                      <a:pt x="559929" y="802283"/>
                    </a:moveTo>
                    <a:cubicBezTo>
                      <a:pt x="559929" y="793646"/>
                      <a:pt x="552779" y="786502"/>
                      <a:pt x="544149" y="786502"/>
                    </a:cubicBezTo>
                    <a:cubicBezTo>
                      <a:pt x="535518" y="786502"/>
                      <a:pt x="528368" y="793646"/>
                      <a:pt x="528368" y="802283"/>
                    </a:cubicBezTo>
                    <a:cubicBezTo>
                      <a:pt x="528368" y="810914"/>
                      <a:pt x="535518" y="818065"/>
                      <a:pt x="544149" y="818065"/>
                    </a:cubicBezTo>
                    <a:cubicBezTo>
                      <a:pt x="552779" y="818065"/>
                      <a:pt x="559929" y="810914"/>
                      <a:pt x="559929" y="802283"/>
                    </a:cubicBezTo>
                    <a:close/>
                    <a:moveTo>
                      <a:pt x="560176" y="5837113"/>
                    </a:moveTo>
                    <a:cubicBezTo>
                      <a:pt x="560176" y="5836375"/>
                      <a:pt x="559435" y="5835634"/>
                      <a:pt x="558698" y="5835634"/>
                    </a:cubicBezTo>
                    <a:cubicBezTo>
                      <a:pt x="557957" y="5835634"/>
                      <a:pt x="557217" y="5836375"/>
                      <a:pt x="557217" y="5837113"/>
                    </a:cubicBezTo>
                    <a:cubicBezTo>
                      <a:pt x="557217" y="5837853"/>
                      <a:pt x="557957" y="5838594"/>
                      <a:pt x="558698" y="5838594"/>
                    </a:cubicBezTo>
                    <a:cubicBezTo>
                      <a:pt x="559684" y="5838594"/>
                      <a:pt x="560176" y="5838102"/>
                      <a:pt x="560176" y="5837113"/>
                    </a:cubicBezTo>
                    <a:close/>
                    <a:moveTo>
                      <a:pt x="561410" y="4396868"/>
                    </a:moveTo>
                    <a:cubicBezTo>
                      <a:pt x="561410" y="4370975"/>
                      <a:pt x="540453" y="4350016"/>
                      <a:pt x="514560" y="4350016"/>
                    </a:cubicBezTo>
                    <a:cubicBezTo>
                      <a:pt x="488670" y="4350016"/>
                      <a:pt x="467712" y="4370975"/>
                      <a:pt x="467712" y="4396868"/>
                    </a:cubicBezTo>
                    <a:cubicBezTo>
                      <a:pt x="467712" y="4422757"/>
                      <a:pt x="488670" y="4443715"/>
                      <a:pt x="514560" y="4443715"/>
                    </a:cubicBezTo>
                    <a:cubicBezTo>
                      <a:pt x="540453" y="4443715"/>
                      <a:pt x="561410" y="4422511"/>
                      <a:pt x="561410" y="4396868"/>
                    </a:cubicBezTo>
                    <a:close/>
                    <a:moveTo>
                      <a:pt x="562640" y="1508865"/>
                    </a:moveTo>
                    <a:cubicBezTo>
                      <a:pt x="562640" y="1496537"/>
                      <a:pt x="552532" y="1486426"/>
                      <a:pt x="540204" y="1486426"/>
                    </a:cubicBezTo>
                    <a:cubicBezTo>
                      <a:pt x="527874" y="1486426"/>
                      <a:pt x="517765" y="1496537"/>
                      <a:pt x="517765" y="1508865"/>
                    </a:cubicBezTo>
                    <a:cubicBezTo>
                      <a:pt x="517765" y="1521198"/>
                      <a:pt x="527874" y="1531305"/>
                      <a:pt x="540204" y="1531305"/>
                    </a:cubicBezTo>
                    <a:cubicBezTo>
                      <a:pt x="552532" y="1531305"/>
                      <a:pt x="562394" y="1521198"/>
                      <a:pt x="562640" y="1508865"/>
                    </a:cubicBezTo>
                    <a:close/>
                    <a:moveTo>
                      <a:pt x="563630" y="1915670"/>
                    </a:moveTo>
                    <a:cubicBezTo>
                      <a:pt x="563630" y="1907542"/>
                      <a:pt x="556971" y="1900890"/>
                      <a:pt x="548835" y="1900890"/>
                    </a:cubicBezTo>
                    <a:cubicBezTo>
                      <a:pt x="540698" y="1900890"/>
                      <a:pt x="534040" y="1907542"/>
                      <a:pt x="534040" y="1915670"/>
                    </a:cubicBezTo>
                    <a:cubicBezTo>
                      <a:pt x="534040" y="1923797"/>
                      <a:pt x="540698" y="1930449"/>
                      <a:pt x="548835" y="1930449"/>
                    </a:cubicBezTo>
                    <a:cubicBezTo>
                      <a:pt x="556971" y="1930449"/>
                      <a:pt x="563630" y="1923797"/>
                      <a:pt x="563630" y="1915670"/>
                    </a:cubicBezTo>
                    <a:close/>
                    <a:moveTo>
                      <a:pt x="571766" y="6337665"/>
                    </a:moveTo>
                    <a:cubicBezTo>
                      <a:pt x="571766" y="6336184"/>
                      <a:pt x="570779" y="6335197"/>
                      <a:pt x="569301" y="6335197"/>
                    </a:cubicBezTo>
                    <a:cubicBezTo>
                      <a:pt x="567820" y="6335197"/>
                      <a:pt x="566835" y="6336430"/>
                      <a:pt x="566835" y="6337665"/>
                    </a:cubicBezTo>
                    <a:cubicBezTo>
                      <a:pt x="566835" y="6339143"/>
                      <a:pt x="567820" y="6340129"/>
                      <a:pt x="569301" y="6340129"/>
                    </a:cubicBezTo>
                    <a:cubicBezTo>
                      <a:pt x="570533" y="6340129"/>
                      <a:pt x="571766" y="6339143"/>
                      <a:pt x="571766" y="6337665"/>
                    </a:cubicBezTo>
                    <a:close/>
                    <a:moveTo>
                      <a:pt x="573246" y="1120309"/>
                    </a:moveTo>
                    <a:cubicBezTo>
                      <a:pt x="573246" y="1111185"/>
                      <a:pt x="565850" y="1104044"/>
                      <a:pt x="556970" y="1104044"/>
                    </a:cubicBezTo>
                    <a:cubicBezTo>
                      <a:pt x="547848" y="1104044"/>
                      <a:pt x="540698" y="1111435"/>
                      <a:pt x="540698" y="1120309"/>
                    </a:cubicBezTo>
                    <a:cubicBezTo>
                      <a:pt x="540698" y="1129437"/>
                      <a:pt x="548094" y="1136583"/>
                      <a:pt x="556970" y="1136583"/>
                    </a:cubicBezTo>
                    <a:cubicBezTo>
                      <a:pt x="565850" y="1136583"/>
                      <a:pt x="573246" y="1129437"/>
                      <a:pt x="573246" y="1120309"/>
                    </a:cubicBezTo>
                    <a:close/>
                    <a:moveTo>
                      <a:pt x="574476" y="2761828"/>
                    </a:moveTo>
                    <a:cubicBezTo>
                      <a:pt x="574476" y="2759859"/>
                      <a:pt x="572751" y="2758127"/>
                      <a:pt x="570779" y="2758127"/>
                    </a:cubicBezTo>
                    <a:cubicBezTo>
                      <a:pt x="568807" y="2758127"/>
                      <a:pt x="567080" y="2759859"/>
                      <a:pt x="567080" y="2761828"/>
                    </a:cubicBezTo>
                    <a:cubicBezTo>
                      <a:pt x="567080" y="2763800"/>
                      <a:pt x="568807" y="2765529"/>
                      <a:pt x="570779" y="2765529"/>
                    </a:cubicBezTo>
                    <a:cubicBezTo>
                      <a:pt x="572751" y="2765529"/>
                      <a:pt x="574476" y="2763800"/>
                      <a:pt x="574476" y="2761828"/>
                    </a:cubicBezTo>
                    <a:close/>
                    <a:moveTo>
                      <a:pt x="576451" y="4778317"/>
                    </a:moveTo>
                    <a:cubicBezTo>
                      <a:pt x="576451" y="4759332"/>
                      <a:pt x="560916" y="4743797"/>
                      <a:pt x="541930" y="4743797"/>
                    </a:cubicBezTo>
                    <a:cubicBezTo>
                      <a:pt x="522944" y="4743797"/>
                      <a:pt x="507410" y="4759332"/>
                      <a:pt x="507410" y="4778317"/>
                    </a:cubicBezTo>
                    <a:cubicBezTo>
                      <a:pt x="507410" y="4797304"/>
                      <a:pt x="522944" y="4812838"/>
                      <a:pt x="541930" y="4812838"/>
                    </a:cubicBezTo>
                    <a:cubicBezTo>
                      <a:pt x="560916" y="4812838"/>
                      <a:pt x="576451" y="4797304"/>
                      <a:pt x="576451" y="4778317"/>
                    </a:cubicBezTo>
                    <a:close/>
                    <a:moveTo>
                      <a:pt x="577685" y="4026017"/>
                    </a:moveTo>
                    <a:cubicBezTo>
                      <a:pt x="577685" y="4002346"/>
                      <a:pt x="558451" y="3982865"/>
                      <a:pt x="534535" y="3982865"/>
                    </a:cubicBezTo>
                    <a:cubicBezTo>
                      <a:pt x="510863" y="3982865"/>
                      <a:pt x="491383" y="4002346"/>
                      <a:pt x="491383" y="4026017"/>
                    </a:cubicBezTo>
                    <a:cubicBezTo>
                      <a:pt x="491383" y="4049688"/>
                      <a:pt x="510614" y="4069169"/>
                      <a:pt x="534535" y="4069169"/>
                    </a:cubicBezTo>
                    <a:cubicBezTo>
                      <a:pt x="558451" y="4069169"/>
                      <a:pt x="577685" y="4049688"/>
                      <a:pt x="577685" y="4026017"/>
                    </a:cubicBezTo>
                    <a:close/>
                    <a:moveTo>
                      <a:pt x="579161" y="944524"/>
                    </a:moveTo>
                    <a:cubicBezTo>
                      <a:pt x="579161" y="935645"/>
                      <a:pt x="571766" y="928253"/>
                      <a:pt x="562886" y="928253"/>
                    </a:cubicBezTo>
                    <a:cubicBezTo>
                      <a:pt x="554012" y="928253"/>
                      <a:pt x="546614" y="935645"/>
                      <a:pt x="546614" y="944524"/>
                    </a:cubicBezTo>
                    <a:cubicBezTo>
                      <a:pt x="546614" y="953409"/>
                      <a:pt x="554012" y="960805"/>
                      <a:pt x="562886" y="960805"/>
                    </a:cubicBezTo>
                    <a:cubicBezTo>
                      <a:pt x="571766" y="960805"/>
                      <a:pt x="579161" y="953409"/>
                      <a:pt x="579161" y="944524"/>
                    </a:cubicBezTo>
                    <a:close/>
                    <a:moveTo>
                      <a:pt x="587792" y="6198102"/>
                    </a:moveTo>
                    <a:cubicBezTo>
                      <a:pt x="587792" y="6196622"/>
                      <a:pt x="586560" y="6195635"/>
                      <a:pt x="585325" y="6195635"/>
                    </a:cubicBezTo>
                    <a:cubicBezTo>
                      <a:pt x="583847" y="6195635"/>
                      <a:pt x="582861" y="6196867"/>
                      <a:pt x="582861" y="6198102"/>
                    </a:cubicBezTo>
                    <a:cubicBezTo>
                      <a:pt x="582861" y="6199580"/>
                      <a:pt x="584093" y="6200566"/>
                      <a:pt x="585325" y="6200566"/>
                    </a:cubicBezTo>
                    <a:cubicBezTo>
                      <a:pt x="586806" y="6200566"/>
                      <a:pt x="587792" y="6199334"/>
                      <a:pt x="587792" y="6198102"/>
                    </a:cubicBezTo>
                    <a:close/>
                    <a:moveTo>
                      <a:pt x="589025" y="5691634"/>
                    </a:moveTo>
                    <a:cubicBezTo>
                      <a:pt x="589025" y="5687935"/>
                      <a:pt x="586067" y="5684730"/>
                      <a:pt x="582121" y="5684730"/>
                    </a:cubicBezTo>
                    <a:cubicBezTo>
                      <a:pt x="578421" y="5684730"/>
                      <a:pt x="575217" y="5687688"/>
                      <a:pt x="575217" y="5691634"/>
                    </a:cubicBezTo>
                    <a:cubicBezTo>
                      <a:pt x="575217" y="5695333"/>
                      <a:pt x="578176" y="5698538"/>
                      <a:pt x="582121" y="5698538"/>
                    </a:cubicBezTo>
                    <a:cubicBezTo>
                      <a:pt x="586067" y="5698538"/>
                      <a:pt x="589025" y="5695333"/>
                      <a:pt x="589025" y="5691634"/>
                    </a:cubicBezTo>
                    <a:close/>
                    <a:moveTo>
                      <a:pt x="589764" y="1660479"/>
                    </a:moveTo>
                    <a:cubicBezTo>
                      <a:pt x="589764" y="1649884"/>
                      <a:pt x="581382" y="1641507"/>
                      <a:pt x="571025" y="1641507"/>
                    </a:cubicBezTo>
                    <a:cubicBezTo>
                      <a:pt x="560424" y="1641507"/>
                      <a:pt x="552039" y="1650129"/>
                      <a:pt x="552039" y="1660479"/>
                    </a:cubicBezTo>
                    <a:cubicBezTo>
                      <a:pt x="552039" y="1671070"/>
                      <a:pt x="560670" y="1679473"/>
                      <a:pt x="571025" y="1679473"/>
                    </a:cubicBezTo>
                    <a:cubicBezTo>
                      <a:pt x="581628" y="1679473"/>
                      <a:pt x="590012" y="1670824"/>
                      <a:pt x="589764" y="1660479"/>
                    </a:cubicBezTo>
                    <a:close/>
                    <a:moveTo>
                      <a:pt x="590013" y="5041660"/>
                    </a:moveTo>
                    <a:cubicBezTo>
                      <a:pt x="590013" y="5019716"/>
                      <a:pt x="572011" y="5001716"/>
                      <a:pt x="549821" y="5001716"/>
                    </a:cubicBezTo>
                    <a:cubicBezTo>
                      <a:pt x="527627" y="5001716"/>
                      <a:pt x="509629" y="5019471"/>
                      <a:pt x="509629" y="5041660"/>
                    </a:cubicBezTo>
                    <a:cubicBezTo>
                      <a:pt x="509629" y="5063854"/>
                      <a:pt x="527627" y="5081853"/>
                      <a:pt x="549821" y="5081853"/>
                    </a:cubicBezTo>
                    <a:cubicBezTo>
                      <a:pt x="572011" y="5081853"/>
                      <a:pt x="589764" y="5063854"/>
                      <a:pt x="590013" y="5041660"/>
                    </a:cubicBezTo>
                    <a:close/>
                    <a:moveTo>
                      <a:pt x="591246" y="2341685"/>
                    </a:moveTo>
                    <a:cubicBezTo>
                      <a:pt x="591246" y="2341191"/>
                      <a:pt x="590998" y="2340943"/>
                      <a:pt x="590505" y="2340943"/>
                    </a:cubicBezTo>
                    <a:cubicBezTo>
                      <a:pt x="590011" y="2340943"/>
                      <a:pt x="589765" y="2341191"/>
                      <a:pt x="589765" y="2341685"/>
                    </a:cubicBezTo>
                    <a:cubicBezTo>
                      <a:pt x="589765" y="2341932"/>
                      <a:pt x="590011" y="2342425"/>
                      <a:pt x="590505" y="2342425"/>
                    </a:cubicBezTo>
                    <a:cubicBezTo>
                      <a:pt x="590998" y="2342425"/>
                      <a:pt x="591492" y="2341932"/>
                      <a:pt x="591246" y="2341685"/>
                    </a:cubicBezTo>
                    <a:close/>
                    <a:moveTo>
                      <a:pt x="592969" y="4883856"/>
                    </a:moveTo>
                    <a:cubicBezTo>
                      <a:pt x="592969" y="4882869"/>
                      <a:pt x="592229" y="4881882"/>
                      <a:pt x="590997" y="4881882"/>
                    </a:cubicBezTo>
                    <a:cubicBezTo>
                      <a:pt x="590010" y="4881882"/>
                      <a:pt x="589024" y="4882869"/>
                      <a:pt x="589024" y="4883856"/>
                    </a:cubicBezTo>
                    <a:cubicBezTo>
                      <a:pt x="589024" y="4884841"/>
                      <a:pt x="590010" y="4885828"/>
                      <a:pt x="590997" y="4885828"/>
                    </a:cubicBezTo>
                    <a:cubicBezTo>
                      <a:pt x="591983" y="4885828"/>
                      <a:pt x="592969" y="4884841"/>
                      <a:pt x="592969" y="4883856"/>
                    </a:cubicBezTo>
                    <a:close/>
                    <a:moveTo>
                      <a:pt x="597655" y="2073873"/>
                    </a:moveTo>
                    <a:cubicBezTo>
                      <a:pt x="597655" y="2069435"/>
                      <a:pt x="594204" y="2065734"/>
                      <a:pt x="589764" y="2065734"/>
                    </a:cubicBezTo>
                    <a:cubicBezTo>
                      <a:pt x="585328" y="2065734"/>
                      <a:pt x="581629" y="2069435"/>
                      <a:pt x="581629" y="2073873"/>
                    </a:cubicBezTo>
                    <a:cubicBezTo>
                      <a:pt x="581629" y="2078070"/>
                      <a:pt x="585328" y="2081767"/>
                      <a:pt x="589764" y="2081767"/>
                    </a:cubicBezTo>
                    <a:cubicBezTo>
                      <a:pt x="594204" y="2081767"/>
                      <a:pt x="597901" y="2078070"/>
                      <a:pt x="597655" y="2073873"/>
                    </a:cubicBezTo>
                    <a:close/>
                    <a:moveTo>
                      <a:pt x="597903" y="4507331"/>
                    </a:moveTo>
                    <a:cubicBezTo>
                      <a:pt x="597903" y="4481441"/>
                      <a:pt x="576945" y="4460483"/>
                      <a:pt x="551053" y="4460483"/>
                    </a:cubicBezTo>
                    <a:cubicBezTo>
                      <a:pt x="525163" y="4460483"/>
                      <a:pt x="504205" y="4481441"/>
                      <a:pt x="504205" y="4507331"/>
                    </a:cubicBezTo>
                    <a:cubicBezTo>
                      <a:pt x="504205" y="4533224"/>
                      <a:pt x="525163" y="4554181"/>
                      <a:pt x="551053" y="4554181"/>
                    </a:cubicBezTo>
                    <a:cubicBezTo>
                      <a:pt x="576945" y="4554181"/>
                      <a:pt x="597903" y="4532977"/>
                      <a:pt x="597903" y="4507331"/>
                    </a:cubicBezTo>
                    <a:close/>
                    <a:moveTo>
                      <a:pt x="600616" y="1265992"/>
                    </a:moveTo>
                    <a:cubicBezTo>
                      <a:pt x="600616" y="1254911"/>
                      <a:pt x="591491" y="1246046"/>
                      <a:pt x="580642" y="1246046"/>
                    </a:cubicBezTo>
                    <a:cubicBezTo>
                      <a:pt x="569547" y="1246046"/>
                      <a:pt x="560670" y="1255157"/>
                      <a:pt x="560670" y="1265992"/>
                    </a:cubicBezTo>
                    <a:cubicBezTo>
                      <a:pt x="560670" y="1277110"/>
                      <a:pt x="569792" y="1285960"/>
                      <a:pt x="580642" y="1285960"/>
                    </a:cubicBezTo>
                    <a:cubicBezTo>
                      <a:pt x="591491" y="1285960"/>
                      <a:pt x="600368" y="1277110"/>
                      <a:pt x="600616" y="1265992"/>
                    </a:cubicBezTo>
                    <a:close/>
                    <a:moveTo>
                      <a:pt x="602342" y="4139197"/>
                    </a:moveTo>
                    <a:cubicBezTo>
                      <a:pt x="602342" y="4114785"/>
                      <a:pt x="582370" y="4094813"/>
                      <a:pt x="557958" y="4094813"/>
                    </a:cubicBezTo>
                    <a:cubicBezTo>
                      <a:pt x="533546" y="4094813"/>
                      <a:pt x="513574" y="4114785"/>
                      <a:pt x="513574" y="4139197"/>
                    </a:cubicBezTo>
                    <a:cubicBezTo>
                      <a:pt x="513574" y="4163609"/>
                      <a:pt x="533546" y="4183581"/>
                      <a:pt x="557958" y="4183581"/>
                    </a:cubicBezTo>
                    <a:cubicBezTo>
                      <a:pt x="582370" y="4183581"/>
                      <a:pt x="602342" y="4163854"/>
                      <a:pt x="602342" y="4139197"/>
                    </a:cubicBezTo>
                    <a:close/>
                    <a:moveTo>
                      <a:pt x="602835" y="2649871"/>
                    </a:moveTo>
                    <a:cubicBezTo>
                      <a:pt x="602835" y="2648392"/>
                      <a:pt x="601849" y="2647407"/>
                      <a:pt x="600368" y="2647407"/>
                    </a:cubicBezTo>
                    <a:cubicBezTo>
                      <a:pt x="599136" y="2647407"/>
                      <a:pt x="597904" y="2648635"/>
                      <a:pt x="597904" y="2649871"/>
                    </a:cubicBezTo>
                    <a:cubicBezTo>
                      <a:pt x="597904" y="2651349"/>
                      <a:pt x="598890" y="2652339"/>
                      <a:pt x="600368" y="2652339"/>
                    </a:cubicBezTo>
                    <a:cubicBezTo>
                      <a:pt x="601849" y="2652339"/>
                      <a:pt x="602835" y="2651103"/>
                      <a:pt x="602835" y="2649871"/>
                    </a:cubicBezTo>
                    <a:close/>
                    <a:moveTo>
                      <a:pt x="606780" y="6056815"/>
                    </a:moveTo>
                    <a:cubicBezTo>
                      <a:pt x="606780" y="6054842"/>
                      <a:pt x="605053" y="6053116"/>
                      <a:pt x="603081" y="6053116"/>
                    </a:cubicBezTo>
                    <a:cubicBezTo>
                      <a:pt x="601109" y="6053116"/>
                      <a:pt x="599382" y="6054842"/>
                      <a:pt x="599382" y="6056815"/>
                    </a:cubicBezTo>
                    <a:cubicBezTo>
                      <a:pt x="599382" y="6058788"/>
                      <a:pt x="601109" y="6060511"/>
                      <a:pt x="603081" y="6060511"/>
                    </a:cubicBezTo>
                    <a:cubicBezTo>
                      <a:pt x="605053" y="6060511"/>
                      <a:pt x="606780" y="6058788"/>
                      <a:pt x="606780" y="6056815"/>
                    </a:cubicBezTo>
                    <a:close/>
                    <a:moveTo>
                      <a:pt x="609739" y="5297116"/>
                    </a:moveTo>
                    <a:cubicBezTo>
                      <a:pt x="609739" y="5276649"/>
                      <a:pt x="592973" y="5259882"/>
                      <a:pt x="572507" y="5259882"/>
                    </a:cubicBezTo>
                    <a:cubicBezTo>
                      <a:pt x="552039" y="5259882"/>
                      <a:pt x="535273" y="5276649"/>
                      <a:pt x="535273" y="5297116"/>
                    </a:cubicBezTo>
                    <a:cubicBezTo>
                      <a:pt x="535273" y="5317580"/>
                      <a:pt x="552039" y="5334349"/>
                      <a:pt x="572507" y="5334349"/>
                    </a:cubicBezTo>
                    <a:cubicBezTo>
                      <a:pt x="592973" y="5334349"/>
                      <a:pt x="609739" y="5317580"/>
                      <a:pt x="609739" y="5297116"/>
                    </a:cubicBezTo>
                    <a:close/>
                    <a:moveTo>
                      <a:pt x="614177" y="5543938"/>
                    </a:moveTo>
                    <a:cubicBezTo>
                      <a:pt x="614177" y="5540484"/>
                      <a:pt x="611218" y="5537525"/>
                      <a:pt x="607764" y="5537525"/>
                    </a:cubicBezTo>
                    <a:cubicBezTo>
                      <a:pt x="604314" y="5537525"/>
                      <a:pt x="601355" y="5540484"/>
                      <a:pt x="601355" y="5543938"/>
                    </a:cubicBezTo>
                    <a:cubicBezTo>
                      <a:pt x="601355" y="5547388"/>
                      <a:pt x="604068" y="5550347"/>
                      <a:pt x="607764" y="5550347"/>
                    </a:cubicBezTo>
                    <a:cubicBezTo>
                      <a:pt x="611218" y="5550347"/>
                      <a:pt x="614177" y="5547388"/>
                      <a:pt x="614177" y="5543938"/>
                    </a:cubicBezTo>
                    <a:close/>
                    <a:moveTo>
                      <a:pt x="622808" y="578838"/>
                    </a:moveTo>
                    <a:cubicBezTo>
                      <a:pt x="622808" y="570701"/>
                      <a:pt x="616149" y="564044"/>
                      <a:pt x="608013" y="564044"/>
                    </a:cubicBezTo>
                    <a:cubicBezTo>
                      <a:pt x="599876" y="564044"/>
                      <a:pt x="593219" y="570701"/>
                      <a:pt x="593219" y="578838"/>
                    </a:cubicBezTo>
                    <a:cubicBezTo>
                      <a:pt x="593219" y="586973"/>
                      <a:pt x="599876" y="593631"/>
                      <a:pt x="608013" y="593631"/>
                    </a:cubicBezTo>
                    <a:cubicBezTo>
                      <a:pt x="616149" y="593631"/>
                      <a:pt x="622808" y="586973"/>
                      <a:pt x="622808" y="578838"/>
                    </a:cubicBezTo>
                    <a:close/>
                    <a:moveTo>
                      <a:pt x="623545" y="1813927"/>
                    </a:moveTo>
                    <a:cubicBezTo>
                      <a:pt x="623545" y="1803817"/>
                      <a:pt x="615408" y="1795676"/>
                      <a:pt x="605300" y="1795676"/>
                    </a:cubicBezTo>
                    <a:cubicBezTo>
                      <a:pt x="595188" y="1795676"/>
                      <a:pt x="587052" y="1803817"/>
                      <a:pt x="587052" y="1813927"/>
                    </a:cubicBezTo>
                    <a:cubicBezTo>
                      <a:pt x="587052" y="1824030"/>
                      <a:pt x="595188" y="1832157"/>
                      <a:pt x="605300" y="1832157"/>
                    </a:cubicBezTo>
                    <a:cubicBezTo>
                      <a:pt x="615408" y="1832157"/>
                      <a:pt x="623545" y="1824030"/>
                      <a:pt x="623545" y="1813927"/>
                    </a:cubicBezTo>
                    <a:close/>
                    <a:moveTo>
                      <a:pt x="628723" y="1413446"/>
                    </a:moveTo>
                    <a:cubicBezTo>
                      <a:pt x="628723" y="1401107"/>
                      <a:pt x="618614" y="1390998"/>
                      <a:pt x="606286" y="1390998"/>
                    </a:cubicBezTo>
                    <a:cubicBezTo>
                      <a:pt x="593957" y="1390998"/>
                      <a:pt x="583848" y="1401107"/>
                      <a:pt x="583848" y="1413446"/>
                    </a:cubicBezTo>
                    <a:cubicBezTo>
                      <a:pt x="583848" y="1425775"/>
                      <a:pt x="593957" y="1435873"/>
                      <a:pt x="606286" y="1435873"/>
                    </a:cubicBezTo>
                    <a:cubicBezTo>
                      <a:pt x="618614" y="1435873"/>
                      <a:pt x="628476" y="1426021"/>
                      <a:pt x="628723" y="1413446"/>
                    </a:cubicBezTo>
                    <a:close/>
                    <a:moveTo>
                      <a:pt x="631438" y="3392091"/>
                    </a:moveTo>
                    <a:cubicBezTo>
                      <a:pt x="631438" y="3371578"/>
                      <a:pt x="614672" y="3354838"/>
                      <a:pt x="594205" y="3354838"/>
                    </a:cubicBezTo>
                    <a:cubicBezTo>
                      <a:pt x="573738" y="3354838"/>
                      <a:pt x="556971" y="3371578"/>
                      <a:pt x="556971" y="3392091"/>
                    </a:cubicBezTo>
                    <a:cubicBezTo>
                      <a:pt x="556971" y="3412547"/>
                      <a:pt x="573738" y="3429316"/>
                      <a:pt x="594205" y="3429316"/>
                    </a:cubicBezTo>
                    <a:cubicBezTo>
                      <a:pt x="614672" y="3429316"/>
                      <a:pt x="631438" y="3412792"/>
                      <a:pt x="631438" y="3392091"/>
                    </a:cubicBezTo>
                    <a:close/>
                    <a:moveTo>
                      <a:pt x="632177" y="4251879"/>
                    </a:moveTo>
                    <a:cubicBezTo>
                      <a:pt x="632177" y="4225989"/>
                      <a:pt x="611218" y="4205276"/>
                      <a:pt x="585574" y="4205276"/>
                    </a:cubicBezTo>
                    <a:cubicBezTo>
                      <a:pt x="560176" y="4205276"/>
                      <a:pt x="539218" y="4226235"/>
                      <a:pt x="539218" y="4251879"/>
                    </a:cubicBezTo>
                    <a:cubicBezTo>
                      <a:pt x="539218" y="4277523"/>
                      <a:pt x="559930" y="4298235"/>
                      <a:pt x="585574" y="4298235"/>
                    </a:cubicBezTo>
                    <a:cubicBezTo>
                      <a:pt x="611218" y="4298235"/>
                      <a:pt x="632177" y="4277523"/>
                      <a:pt x="632177" y="4251879"/>
                    </a:cubicBezTo>
                    <a:close/>
                    <a:moveTo>
                      <a:pt x="632179" y="3507962"/>
                    </a:moveTo>
                    <a:cubicBezTo>
                      <a:pt x="632179" y="3486263"/>
                      <a:pt x="614672" y="3468755"/>
                      <a:pt x="592973" y="3468755"/>
                    </a:cubicBezTo>
                    <a:cubicBezTo>
                      <a:pt x="571274" y="3468755"/>
                      <a:pt x="553767" y="3486263"/>
                      <a:pt x="553767" y="3507962"/>
                    </a:cubicBezTo>
                    <a:cubicBezTo>
                      <a:pt x="553767" y="3529661"/>
                      <a:pt x="571274" y="3547166"/>
                      <a:pt x="592973" y="3547166"/>
                    </a:cubicBezTo>
                    <a:cubicBezTo>
                      <a:pt x="614672" y="3547166"/>
                      <a:pt x="632179" y="3529413"/>
                      <a:pt x="632179" y="3507962"/>
                    </a:cubicBezTo>
                    <a:close/>
                    <a:moveTo>
                      <a:pt x="634394" y="5926376"/>
                    </a:moveTo>
                    <a:cubicBezTo>
                      <a:pt x="634394" y="5925391"/>
                      <a:pt x="633902" y="5924650"/>
                      <a:pt x="632916" y="5924650"/>
                    </a:cubicBezTo>
                    <a:cubicBezTo>
                      <a:pt x="631929" y="5924650"/>
                      <a:pt x="631189" y="5925636"/>
                      <a:pt x="631189" y="5926376"/>
                    </a:cubicBezTo>
                    <a:cubicBezTo>
                      <a:pt x="631189" y="5927116"/>
                      <a:pt x="631929" y="5927854"/>
                      <a:pt x="632916" y="5927854"/>
                    </a:cubicBezTo>
                    <a:cubicBezTo>
                      <a:pt x="633656" y="5927854"/>
                      <a:pt x="634394" y="5927363"/>
                      <a:pt x="634394" y="5926376"/>
                    </a:cubicBezTo>
                    <a:close/>
                    <a:moveTo>
                      <a:pt x="634889" y="3276439"/>
                    </a:moveTo>
                    <a:cubicBezTo>
                      <a:pt x="634889" y="3256953"/>
                      <a:pt x="619108" y="3241183"/>
                      <a:pt x="599876" y="3241183"/>
                    </a:cubicBezTo>
                    <a:cubicBezTo>
                      <a:pt x="580397" y="3241183"/>
                      <a:pt x="564616" y="3256953"/>
                      <a:pt x="564616" y="3276439"/>
                    </a:cubicBezTo>
                    <a:cubicBezTo>
                      <a:pt x="564616" y="3295665"/>
                      <a:pt x="580397" y="3311459"/>
                      <a:pt x="599876" y="3311459"/>
                    </a:cubicBezTo>
                    <a:cubicBezTo>
                      <a:pt x="619108" y="3311459"/>
                      <a:pt x="634889" y="3295665"/>
                      <a:pt x="634889" y="3276439"/>
                    </a:cubicBezTo>
                    <a:close/>
                    <a:moveTo>
                      <a:pt x="635383" y="2538906"/>
                    </a:moveTo>
                    <a:cubicBezTo>
                      <a:pt x="635383" y="2538411"/>
                      <a:pt x="635135" y="2538169"/>
                      <a:pt x="634643" y="2538169"/>
                    </a:cubicBezTo>
                    <a:cubicBezTo>
                      <a:pt x="634148" y="2538169"/>
                      <a:pt x="633903" y="2538660"/>
                      <a:pt x="633903" y="2538906"/>
                    </a:cubicBezTo>
                    <a:cubicBezTo>
                      <a:pt x="633903" y="2539398"/>
                      <a:pt x="634397" y="2539643"/>
                      <a:pt x="634643" y="2539643"/>
                    </a:cubicBezTo>
                    <a:cubicBezTo>
                      <a:pt x="634888" y="2539643"/>
                      <a:pt x="635383" y="2539398"/>
                      <a:pt x="635383" y="2538906"/>
                    </a:cubicBezTo>
                    <a:close/>
                    <a:moveTo>
                      <a:pt x="635876" y="4616318"/>
                    </a:moveTo>
                    <a:cubicBezTo>
                      <a:pt x="635876" y="4591906"/>
                      <a:pt x="615904" y="4571934"/>
                      <a:pt x="591492" y="4571934"/>
                    </a:cubicBezTo>
                    <a:cubicBezTo>
                      <a:pt x="567080" y="4571934"/>
                      <a:pt x="547108" y="4591661"/>
                      <a:pt x="547108" y="4616318"/>
                    </a:cubicBezTo>
                    <a:cubicBezTo>
                      <a:pt x="547108" y="4640730"/>
                      <a:pt x="567080" y="4660702"/>
                      <a:pt x="591492" y="4660702"/>
                    </a:cubicBezTo>
                    <a:cubicBezTo>
                      <a:pt x="616149" y="4660702"/>
                      <a:pt x="636121" y="4640730"/>
                      <a:pt x="635876" y="4616318"/>
                    </a:cubicBezTo>
                    <a:close/>
                    <a:moveTo>
                      <a:pt x="636613" y="5143007"/>
                    </a:moveTo>
                    <a:cubicBezTo>
                      <a:pt x="636613" y="5126239"/>
                      <a:pt x="623053" y="5112677"/>
                      <a:pt x="606286" y="5112677"/>
                    </a:cubicBezTo>
                    <a:cubicBezTo>
                      <a:pt x="589519" y="5112677"/>
                      <a:pt x="575957" y="5126239"/>
                      <a:pt x="575957" y="5143007"/>
                    </a:cubicBezTo>
                    <a:cubicBezTo>
                      <a:pt x="575957" y="5159774"/>
                      <a:pt x="589519" y="5173336"/>
                      <a:pt x="606286" y="5173336"/>
                    </a:cubicBezTo>
                    <a:cubicBezTo>
                      <a:pt x="623053" y="5173336"/>
                      <a:pt x="636613" y="5159774"/>
                      <a:pt x="636613" y="5143007"/>
                    </a:cubicBezTo>
                    <a:close/>
                    <a:moveTo>
                      <a:pt x="637847" y="2234155"/>
                    </a:moveTo>
                    <a:cubicBezTo>
                      <a:pt x="637847" y="2232670"/>
                      <a:pt x="636613" y="2231464"/>
                      <a:pt x="635135" y="2231464"/>
                    </a:cubicBezTo>
                    <a:cubicBezTo>
                      <a:pt x="633654" y="2231464"/>
                      <a:pt x="632422" y="2232670"/>
                      <a:pt x="632422" y="2234155"/>
                    </a:cubicBezTo>
                    <a:cubicBezTo>
                      <a:pt x="632422" y="2235636"/>
                      <a:pt x="633654" y="2236879"/>
                      <a:pt x="635135" y="2236879"/>
                    </a:cubicBezTo>
                    <a:cubicBezTo>
                      <a:pt x="636613" y="2236879"/>
                      <a:pt x="637847" y="2235636"/>
                      <a:pt x="637847" y="2234155"/>
                    </a:cubicBezTo>
                    <a:close/>
                    <a:moveTo>
                      <a:pt x="637847" y="3623605"/>
                    </a:moveTo>
                    <a:cubicBezTo>
                      <a:pt x="637847" y="3600921"/>
                      <a:pt x="619354" y="3582427"/>
                      <a:pt x="596669" y="3582427"/>
                    </a:cubicBezTo>
                    <a:cubicBezTo>
                      <a:pt x="573983" y="3582427"/>
                      <a:pt x="555490" y="3600921"/>
                      <a:pt x="555490" y="3623605"/>
                    </a:cubicBezTo>
                    <a:cubicBezTo>
                      <a:pt x="555490" y="3646290"/>
                      <a:pt x="573983" y="3664781"/>
                      <a:pt x="596669" y="3664781"/>
                    </a:cubicBezTo>
                    <a:cubicBezTo>
                      <a:pt x="619354" y="3664781"/>
                      <a:pt x="637847" y="3646290"/>
                      <a:pt x="637847" y="3623605"/>
                    </a:cubicBezTo>
                    <a:close/>
                    <a:moveTo>
                      <a:pt x="638834" y="717206"/>
                    </a:moveTo>
                    <a:cubicBezTo>
                      <a:pt x="638834" y="708821"/>
                      <a:pt x="631929" y="701927"/>
                      <a:pt x="623547" y="701927"/>
                    </a:cubicBezTo>
                    <a:cubicBezTo>
                      <a:pt x="615162" y="701927"/>
                      <a:pt x="608259" y="708821"/>
                      <a:pt x="608259" y="717206"/>
                    </a:cubicBezTo>
                    <a:cubicBezTo>
                      <a:pt x="608259" y="725580"/>
                      <a:pt x="615162" y="732491"/>
                      <a:pt x="623547" y="732491"/>
                    </a:cubicBezTo>
                    <a:cubicBezTo>
                      <a:pt x="631929" y="732491"/>
                      <a:pt x="638834" y="725821"/>
                      <a:pt x="638834" y="717206"/>
                    </a:cubicBezTo>
                    <a:close/>
                    <a:moveTo>
                      <a:pt x="643026" y="3160792"/>
                    </a:moveTo>
                    <a:cubicBezTo>
                      <a:pt x="643026" y="3142791"/>
                      <a:pt x="628234" y="3127996"/>
                      <a:pt x="610232" y="3127996"/>
                    </a:cubicBezTo>
                    <a:cubicBezTo>
                      <a:pt x="592232" y="3127996"/>
                      <a:pt x="577438" y="3142791"/>
                      <a:pt x="577438" y="3160792"/>
                    </a:cubicBezTo>
                    <a:cubicBezTo>
                      <a:pt x="577438" y="3178793"/>
                      <a:pt x="592232" y="3193590"/>
                      <a:pt x="610232" y="3193590"/>
                    </a:cubicBezTo>
                    <a:cubicBezTo>
                      <a:pt x="628234" y="3193590"/>
                      <a:pt x="643026" y="3179042"/>
                      <a:pt x="643026" y="3160792"/>
                    </a:cubicBezTo>
                    <a:close/>
                    <a:moveTo>
                      <a:pt x="646232" y="1031292"/>
                    </a:moveTo>
                    <a:cubicBezTo>
                      <a:pt x="646232" y="1022918"/>
                      <a:pt x="639328" y="1016014"/>
                      <a:pt x="630944" y="1016014"/>
                    </a:cubicBezTo>
                    <a:cubicBezTo>
                      <a:pt x="622562" y="1016014"/>
                      <a:pt x="615657" y="1022918"/>
                      <a:pt x="615657" y="1031292"/>
                    </a:cubicBezTo>
                    <a:cubicBezTo>
                      <a:pt x="615657" y="1039672"/>
                      <a:pt x="622562" y="1046583"/>
                      <a:pt x="630944" y="1046583"/>
                    </a:cubicBezTo>
                    <a:cubicBezTo>
                      <a:pt x="639575" y="1046583"/>
                      <a:pt x="646232" y="1039672"/>
                      <a:pt x="646232" y="1031292"/>
                    </a:cubicBezTo>
                    <a:close/>
                    <a:moveTo>
                      <a:pt x="647714" y="3739249"/>
                    </a:moveTo>
                    <a:cubicBezTo>
                      <a:pt x="647714" y="3715578"/>
                      <a:pt x="628480" y="3696097"/>
                      <a:pt x="604563" y="3696097"/>
                    </a:cubicBezTo>
                    <a:cubicBezTo>
                      <a:pt x="580891" y="3696097"/>
                      <a:pt x="561411" y="3715329"/>
                      <a:pt x="561411" y="3739249"/>
                    </a:cubicBezTo>
                    <a:cubicBezTo>
                      <a:pt x="561411" y="3762919"/>
                      <a:pt x="580642" y="3782400"/>
                      <a:pt x="604563" y="3782400"/>
                    </a:cubicBezTo>
                    <a:cubicBezTo>
                      <a:pt x="628480" y="3782400"/>
                      <a:pt x="647960" y="3763166"/>
                      <a:pt x="647714" y="3739249"/>
                    </a:cubicBezTo>
                    <a:close/>
                    <a:moveTo>
                      <a:pt x="648206" y="4987413"/>
                    </a:moveTo>
                    <a:cubicBezTo>
                      <a:pt x="648206" y="4984950"/>
                      <a:pt x="646232" y="4982977"/>
                      <a:pt x="643769" y="4982977"/>
                    </a:cubicBezTo>
                    <a:cubicBezTo>
                      <a:pt x="641301" y="4982977"/>
                      <a:pt x="639329" y="4984950"/>
                      <a:pt x="639329" y="4987413"/>
                    </a:cubicBezTo>
                    <a:cubicBezTo>
                      <a:pt x="639329" y="4989881"/>
                      <a:pt x="641301" y="4991853"/>
                      <a:pt x="643769" y="4991853"/>
                    </a:cubicBezTo>
                    <a:cubicBezTo>
                      <a:pt x="646232" y="4991853"/>
                      <a:pt x="648206" y="4989881"/>
                      <a:pt x="648206" y="4987413"/>
                    </a:cubicBezTo>
                    <a:close/>
                    <a:moveTo>
                      <a:pt x="653382" y="1563331"/>
                    </a:moveTo>
                    <a:cubicBezTo>
                      <a:pt x="653382" y="1552737"/>
                      <a:pt x="644751" y="1544103"/>
                      <a:pt x="634148" y="1544103"/>
                    </a:cubicBezTo>
                    <a:cubicBezTo>
                      <a:pt x="623794" y="1544103"/>
                      <a:pt x="615163" y="1552737"/>
                      <a:pt x="615163" y="1563331"/>
                    </a:cubicBezTo>
                    <a:cubicBezTo>
                      <a:pt x="615163" y="1573687"/>
                      <a:pt x="623547" y="1582299"/>
                      <a:pt x="634148" y="1582299"/>
                    </a:cubicBezTo>
                    <a:cubicBezTo>
                      <a:pt x="644751" y="1582299"/>
                      <a:pt x="653382" y="1573687"/>
                      <a:pt x="653382" y="1563331"/>
                    </a:cubicBezTo>
                    <a:close/>
                    <a:moveTo>
                      <a:pt x="653629" y="1970086"/>
                    </a:moveTo>
                    <a:cubicBezTo>
                      <a:pt x="653629" y="1963928"/>
                      <a:pt x="648697" y="1959001"/>
                      <a:pt x="642534" y="1959001"/>
                    </a:cubicBezTo>
                    <a:cubicBezTo>
                      <a:pt x="636369" y="1959001"/>
                      <a:pt x="631438" y="1963928"/>
                      <a:pt x="631438" y="1970086"/>
                    </a:cubicBezTo>
                    <a:cubicBezTo>
                      <a:pt x="631438" y="1976247"/>
                      <a:pt x="636369" y="1981173"/>
                      <a:pt x="642534" y="1981173"/>
                    </a:cubicBezTo>
                    <a:cubicBezTo>
                      <a:pt x="648697" y="1981173"/>
                      <a:pt x="653629" y="1976247"/>
                      <a:pt x="653629" y="1970086"/>
                    </a:cubicBezTo>
                    <a:close/>
                    <a:moveTo>
                      <a:pt x="653877" y="6419526"/>
                    </a:moveTo>
                    <a:cubicBezTo>
                      <a:pt x="653877" y="6418294"/>
                      <a:pt x="652888" y="6417307"/>
                      <a:pt x="651656" y="6417307"/>
                    </a:cubicBezTo>
                    <a:cubicBezTo>
                      <a:pt x="650423" y="6417307"/>
                      <a:pt x="649438" y="6418294"/>
                      <a:pt x="649438" y="6419526"/>
                    </a:cubicBezTo>
                    <a:cubicBezTo>
                      <a:pt x="649438" y="6420761"/>
                      <a:pt x="650423" y="6421747"/>
                      <a:pt x="651656" y="6421747"/>
                    </a:cubicBezTo>
                    <a:cubicBezTo>
                      <a:pt x="652888" y="6421747"/>
                      <a:pt x="653877" y="6420761"/>
                      <a:pt x="653877" y="6419526"/>
                    </a:cubicBezTo>
                    <a:close/>
                    <a:moveTo>
                      <a:pt x="654616" y="3045881"/>
                    </a:moveTo>
                    <a:cubicBezTo>
                      <a:pt x="654616" y="3029604"/>
                      <a:pt x="641301" y="3016289"/>
                      <a:pt x="625026" y="3016289"/>
                    </a:cubicBezTo>
                    <a:cubicBezTo>
                      <a:pt x="608754" y="3016289"/>
                      <a:pt x="595437" y="3029604"/>
                      <a:pt x="595437" y="3045881"/>
                    </a:cubicBezTo>
                    <a:cubicBezTo>
                      <a:pt x="595437" y="3062157"/>
                      <a:pt x="608754" y="3075473"/>
                      <a:pt x="625026" y="3075473"/>
                    </a:cubicBezTo>
                    <a:cubicBezTo>
                      <a:pt x="641301" y="3075473"/>
                      <a:pt x="654616" y="3062157"/>
                      <a:pt x="654616" y="3045881"/>
                    </a:cubicBezTo>
                    <a:close/>
                    <a:moveTo>
                      <a:pt x="655848" y="857723"/>
                    </a:moveTo>
                    <a:cubicBezTo>
                      <a:pt x="655848" y="849105"/>
                      <a:pt x="648944" y="842209"/>
                      <a:pt x="640316" y="842209"/>
                    </a:cubicBezTo>
                    <a:cubicBezTo>
                      <a:pt x="631685" y="842209"/>
                      <a:pt x="624780" y="849105"/>
                      <a:pt x="624780" y="857723"/>
                    </a:cubicBezTo>
                    <a:cubicBezTo>
                      <a:pt x="624780" y="866359"/>
                      <a:pt x="631685" y="873247"/>
                      <a:pt x="640316" y="873247"/>
                    </a:cubicBezTo>
                    <a:cubicBezTo>
                      <a:pt x="648944" y="873247"/>
                      <a:pt x="655848" y="866359"/>
                      <a:pt x="655848" y="857723"/>
                    </a:cubicBezTo>
                    <a:close/>
                    <a:moveTo>
                      <a:pt x="660288" y="5782624"/>
                    </a:moveTo>
                    <a:cubicBezTo>
                      <a:pt x="660288" y="5779169"/>
                      <a:pt x="657329" y="5776210"/>
                      <a:pt x="653878" y="5776210"/>
                    </a:cubicBezTo>
                    <a:cubicBezTo>
                      <a:pt x="650424" y="5776210"/>
                      <a:pt x="647466" y="5779169"/>
                      <a:pt x="647466" y="5782624"/>
                    </a:cubicBezTo>
                    <a:cubicBezTo>
                      <a:pt x="647466" y="5786074"/>
                      <a:pt x="650179" y="5789033"/>
                      <a:pt x="653878" y="5789033"/>
                    </a:cubicBezTo>
                    <a:cubicBezTo>
                      <a:pt x="657574" y="5789033"/>
                      <a:pt x="660288" y="5786074"/>
                      <a:pt x="660288" y="5782624"/>
                    </a:cubicBezTo>
                    <a:close/>
                    <a:moveTo>
                      <a:pt x="662505" y="3854647"/>
                    </a:moveTo>
                    <a:cubicBezTo>
                      <a:pt x="662505" y="3829497"/>
                      <a:pt x="642285" y="3809277"/>
                      <a:pt x="617381" y="3809277"/>
                    </a:cubicBezTo>
                    <a:cubicBezTo>
                      <a:pt x="592229" y="3809277"/>
                      <a:pt x="572011" y="3829743"/>
                      <a:pt x="572011" y="3854647"/>
                    </a:cubicBezTo>
                    <a:cubicBezTo>
                      <a:pt x="572011" y="3879550"/>
                      <a:pt x="592478" y="3899771"/>
                      <a:pt x="617381" y="3899771"/>
                    </a:cubicBezTo>
                    <a:cubicBezTo>
                      <a:pt x="642285" y="3899771"/>
                      <a:pt x="662505" y="3879550"/>
                      <a:pt x="662505" y="3854647"/>
                    </a:cubicBezTo>
                    <a:close/>
                    <a:moveTo>
                      <a:pt x="665464" y="4363087"/>
                    </a:moveTo>
                    <a:cubicBezTo>
                      <a:pt x="665464" y="4336703"/>
                      <a:pt x="644011" y="4315250"/>
                      <a:pt x="617627" y="4315250"/>
                    </a:cubicBezTo>
                    <a:cubicBezTo>
                      <a:pt x="591246" y="4315250"/>
                      <a:pt x="569793" y="4336703"/>
                      <a:pt x="569793" y="4363087"/>
                    </a:cubicBezTo>
                    <a:cubicBezTo>
                      <a:pt x="569793" y="4389469"/>
                      <a:pt x="591246" y="4410922"/>
                      <a:pt x="617627" y="4410922"/>
                    </a:cubicBezTo>
                    <a:cubicBezTo>
                      <a:pt x="644011" y="4410922"/>
                      <a:pt x="665464" y="4389469"/>
                      <a:pt x="665464" y="4363087"/>
                    </a:cubicBezTo>
                    <a:close/>
                    <a:moveTo>
                      <a:pt x="668425" y="6281689"/>
                    </a:moveTo>
                    <a:cubicBezTo>
                      <a:pt x="668425" y="6280457"/>
                      <a:pt x="667437" y="6279470"/>
                      <a:pt x="666204" y="6279470"/>
                    </a:cubicBezTo>
                    <a:cubicBezTo>
                      <a:pt x="664972" y="6279470"/>
                      <a:pt x="663986" y="6280457"/>
                      <a:pt x="663986" y="6281689"/>
                    </a:cubicBezTo>
                    <a:cubicBezTo>
                      <a:pt x="663986" y="6282924"/>
                      <a:pt x="664972" y="6283907"/>
                      <a:pt x="666204" y="6283907"/>
                    </a:cubicBezTo>
                    <a:cubicBezTo>
                      <a:pt x="667437" y="6283907"/>
                      <a:pt x="668425" y="6282924"/>
                      <a:pt x="668425" y="6281689"/>
                    </a:cubicBezTo>
                    <a:close/>
                    <a:moveTo>
                      <a:pt x="670887" y="2931707"/>
                    </a:moveTo>
                    <a:cubicBezTo>
                      <a:pt x="670887" y="2917158"/>
                      <a:pt x="659051" y="2905322"/>
                      <a:pt x="644506" y="2905322"/>
                    </a:cubicBezTo>
                    <a:cubicBezTo>
                      <a:pt x="629957" y="2905322"/>
                      <a:pt x="618122" y="2917158"/>
                      <a:pt x="618122" y="2931707"/>
                    </a:cubicBezTo>
                    <a:cubicBezTo>
                      <a:pt x="618122" y="2946257"/>
                      <a:pt x="629957" y="2958091"/>
                      <a:pt x="644506" y="2958091"/>
                    </a:cubicBezTo>
                    <a:cubicBezTo>
                      <a:pt x="659051" y="2958091"/>
                      <a:pt x="671135" y="2946257"/>
                      <a:pt x="670887" y="2931707"/>
                    </a:cubicBezTo>
                    <a:close/>
                    <a:moveTo>
                      <a:pt x="670888" y="1174776"/>
                    </a:moveTo>
                    <a:cubicBezTo>
                      <a:pt x="670888" y="1164177"/>
                      <a:pt x="662506" y="1155795"/>
                      <a:pt x="652148" y="1155795"/>
                    </a:cubicBezTo>
                    <a:cubicBezTo>
                      <a:pt x="641793" y="1155795"/>
                      <a:pt x="633408" y="1164426"/>
                      <a:pt x="633408" y="1174776"/>
                    </a:cubicBezTo>
                    <a:cubicBezTo>
                      <a:pt x="633408" y="1185386"/>
                      <a:pt x="641793" y="1193766"/>
                      <a:pt x="652148" y="1193766"/>
                    </a:cubicBezTo>
                    <a:cubicBezTo>
                      <a:pt x="662751" y="1193766"/>
                      <a:pt x="671133" y="1185386"/>
                      <a:pt x="670888" y="1174776"/>
                    </a:cubicBezTo>
                    <a:close/>
                    <a:moveTo>
                      <a:pt x="672122" y="5394266"/>
                    </a:moveTo>
                    <a:cubicBezTo>
                      <a:pt x="672122" y="5374047"/>
                      <a:pt x="655601" y="5357772"/>
                      <a:pt x="635629" y="5357772"/>
                    </a:cubicBezTo>
                    <a:cubicBezTo>
                      <a:pt x="615408" y="5357772"/>
                      <a:pt x="599136" y="5374047"/>
                      <a:pt x="599136" y="5394266"/>
                    </a:cubicBezTo>
                    <a:cubicBezTo>
                      <a:pt x="599136" y="5414485"/>
                      <a:pt x="615408" y="5430758"/>
                      <a:pt x="635629" y="5430758"/>
                    </a:cubicBezTo>
                    <a:cubicBezTo>
                      <a:pt x="655847" y="5430758"/>
                      <a:pt x="672122" y="5414485"/>
                      <a:pt x="672122" y="5394266"/>
                    </a:cubicBezTo>
                    <a:close/>
                    <a:moveTo>
                      <a:pt x="672615" y="4723580"/>
                    </a:moveTo>
                    <a:cubicBezTo>
                      <a:pt x="672615" y="4703607"/>
                      <a:pt x="656342" y="4687332"/>
                      <a:pt x="636370" y="4687332"/>
                    </a:cubicBezTo>
                    <a:cubicBezTo>
                      <a:pt x="616395" y="4687332"/>
                      <a:pt x="600123" y="4703607"/>
                      <a:pt x="600123" y="4723580"/>
                    </a:cubicBezTo>
                    <a:cubicBezTo>
                      <a:pt x="600123" y="4743552"/>
                      <a:pt x="616395" y="4759827"/>
                      <a:pt x="636370" y="4759827"/>
                    </a:cubicBezTo>
                    <a:cubicBezTo>
                      <a:pt x="656342" y="4759827"/>
                      <a:pt x="672615" y="4743798"/>
                      <a:pt x="672615" y="4723580"/>
                    </a:cubicBezTo>
                    <a:close/>
                    <a:moveTo>
                      <a:pt x="673355" y="2429676"/>
                    </a:moveTo>
                    <a:cubicBezTo>
                      <a:pt x="673355" y="2429423"/>
                      <a:pt x="673109" y="2429179"/>
                      <a:pt x="672863" y="2429179"/>
                    </a:cubicBezTo>
                    <a:cubicBezTo>
                      <a:pt x="672614" y="2429179"/>
                      <a:pt x="672369" y="2429423"/>
                      <a:pt x="672369" y="2429676"/>
                    </a:cubicBezTo>
                    <a:cubicBezTo>
                      <a:pt x="672369" y="2429919"/>
                      <a:pt x="672614" y="2430167"/>
                      <a:pt x="672863" y="2430167"/>
                    </a:cubicBezTo>
                    <a:cubicBezTo>
                      <a:pt x="673355" y="2430167"/>
                      <a:pt x="673601" y="2429919"/>
                      <a:pt x="673355" y="2429676"/>
                    </a:cubicBezTo>
                    <a:close/>
                    <a:moveTo>
                      <a:pt x="681245" y="3969058"/>
                    </a:moveTo>
                    <a:cubicBezTo>
                      <a:pt x="681245" y="3943413"/>
                      <a:pt x="660285" y="3922455"/>
                      <a:pt x="634641" y="3922455"/>
                    </a:cubicBezTo>
                    <a:cubicBezTo>
                      <a:pt x="608996" y="3922455"/>
                      <a:pt x="588039" y="3943413"/>
                      <a:pt x="588039" y="3969058"/>
                    </a:cubicBezTo>
                    <a:cubicBezTo>
                      <a:pt x="588039" y="3994702"/>
                      <a:pt x="608996" y="4015659"/>
                      <a:pt x="634641" y="4015659"/>
                    </a:cubicBezTo>
                    <a:cubicBezTo>
                      <a:pt x="660285" y="4015659"/>
                      <a:pt x="681245" y="3994702"/>
                      <a:pt x="681245" y="3969058"/>
                    </a:cubicBezTo>
                    <a:close/>
                    <a:moveTo>
                      <a:pt x="682723" y="5636897"/>
                    </a:moveTo>
                    <a:cubicBezTo>
                      <a:pt x="682723" y="5633691"/>
                      <a:pt x="680010" y="5630977"/>
                      <a:pt x="676805" y="5630977"/>
                    </a:cubicBezTo>
                    <a:cubicBezTo>
                      <a:pt x="673600" y="5630977"/>
                      <a:pt x="670888" y="5633691"/>
                      <a:pt x="670888" y="5636897"/>
                    </a:cubicBezTo>
                    <a:cubicBezTo>
                      <a:pt x="670888" y="5640101"/>
                      <a:pt x="673600" y="5642814"/>
                      <a:pt x="676805" y="5642814"/>
                    </a:cubicBezTo>
                    <a:cubicBezTo>
                      <a:pt x="680259" y="5642814"/>
                      <a:pt x="682969" y="5640347"/>
                      <a:pt x="682723" y="5636897"/>
                    </a:cubicBezTo>
                    <a:close/>
                    <a:moveTo>
                      <a:pt x="685190" y="6142376"/>
                    </a:moveTo>
                    <a:cubicBezTo>
                      <a:pt x="685190" y="6140649"/>
                      <a:pt x="683709" y="6139170"/>
                      <a:pt x="681982" y="6139170"/>
                    </a:cubicBezTo>
                    <a:cubicBezTo>
                      <a:pt x="680010" y="6139170"/>
                      <a:pt x="678532" y="6140402"/>
                      <a:pt x="678532" y="6142376"/>
                    </a:cubicBezTo>
                    <a:cubicBezTo>
                      <a:pt x="678532" y="6144348"/>
                      <a:pt x="680010" y="6145829"/>
                      <a:pt x="681982" y="6145829"/>
                    </a:cubicBezTo>
                    <a:cubicBezTo>
                      <a:pt x="683955" y="6145829"/>
                      <a:pt x="685190" y="6144102"/>
                      <a:pt x="685190" y="6142376"/>
                    </a:cubicBezTo>
                    <a:close/>
                    <a:moveTo>
                      <a:pt x="685436" y="1714413"/>
                    </a:moveTo>
                    <a:cubicBezTo>
                      <a:pt x="685436" y="1703371"/>
                      <a:pt x="676314" y="1694248"/>
                      <a:pt x="665216" y="1694248"/>
                    </a:cubicBezTo>
                    <a:cubicBezTo>
                      <a:pt x="654120" y="1694248"/>
                      <a:pt x="644998" y="1703371"/>
                      <a:pt x="644998" y="1714413"/>
                    </a:cubicBezTo>
                    <a:cubicBezTo>
                      <a:pt x="644998" y="1725533"/>
                      <a:pt x="654120" y="1734673"/>
                      <a:pt x="665216" y="1734673"/>
                    </a:cubicBezTo>
                    <a:cubicBezTo>
                      <a:pt x="676314" y="1734673"/>
                      <a:pt x="685436" y="1725533"/>
                      <a:pt x="685436" y="1714413"/>
                    </a:cubicBezTo>
                    <a:close/>
                    <a:moveTo>
                      <a:pt x="692094" y="2818031"/>
                    </a:moveTo>
                    <a:cubicBezTo>
                      <a:pt x="692094" y="2805207"/>
                      <a:pt x="681491" y="2794604"/>
                      <a:pt x="668669" y="2794604"/>
                    </a:cubicBezTo>
                    <a:cubicBezTo>
                      <a:pt x="655847" y="2794604"/>
                      <a:pt x="645244" y="2805207"/>
                      <a:pt x="645244" y="2818031"/>
                    </a:cubicBezTo>
                    <a:cubicBezTo>
                      <a:pt x="645244" y="2831097"/>
                      <a:pt x="655847" y="2841456"/>
                      <a:pt x="668669" y="2841456"/>
                    </a:cubicBezTo>
                    <a:cubicBezTo>
                      <a:pt x="681491" y="2841456"/>
                      <a:pt x="692094" y="2831097"/>
                      <a:pt x="692094" y="2818031"/>
                    </a:cubicBezTo>
                    <a:close/>
                    <a:moveTo>
                      <a:pt x="692588" y="2128125"/>
                    </a:moveTo>
                    <a:cubicBezTo>
                      <a:pt x="692588" y="2123440"/>
                      <a:pt x="688644" y="2119493"/>
                      <a:pt x="683959" y="2119493"/>
                    </a:cubicBezTo>
                    <a:cubicBezTo>
                      <a:pt x="679272" y="2119493"/>
                      <a:pt x="675328" y="2123440"/>
                      <a:pt x="675328" y="2128125"/>
                    </a:cubicBezTo>
                    <a:cubicBezTo>
                      <a:pt x="675328" y="2132812"/>
                      <a:pt x="679272" y="2136755"/>
                      <a:pt x="683959" y="2136755"/>
                    </a:cubicBezTo>
                    <a:cubicBezTo>
                      <a:pt x="688644" y="2136755"/>
                      <a:pt x="692340" y="2133058"/>
                      <a:pt x="692588" y="2128125"/>
                    </a:cubicBezTo>
                    <a:close/>
                    <a:moveTo>
                      <a:pt x="695300" y="5242623"/>
                    </a:moveTo>
                    <a:cubicBezTo>
                      <a:pt x="695300" y="5226593"/>
                      <a:pt x="682232" y="5213526"/>
                      <a:pt x="666205" y="5213526"/>
                    </a:cubicBezTo>
                    <a:cubicBezTo>
                      <a:pt x="650176" y="5213526"/>
                      <a:pt x="637108" y="5226593"/>
                      <a:pt x="637108" y="5242623"/>
                    </a:cubicBezTo>
                    <a:cubicBezTo>
                      <a:pt x="637108" y="5258650"/>
                      <a:pt x="650176" y="5271717"/>
                      <a:pt x="666205" y="5271717"/>
                    </a:cubicBezTo>
                    <a:cubicBezTo>
                      <a:pt x="682478" y="5271717"/>
                      <a:pt x="695300" y="5258650"/>
                      <a:pt x="695300" y="5242623"/>
                    </a:cubicBezTo>
                    <a:close/>
                    <a:moveTo>
                      <a:pt x="696781" y="4472812"/>
                    </a:moveTo>
                    <a:cubicBezTo>
                      <a:pt x="696781" y="4449138"/>
                      <a:pt x="677549" y="4429906"/>
                      <a:pt x="653878" y="4429906"/>
                    </a:cubicBezTo>
                    <a:cubicBezTo>
                      <a:pt x="630203" y="4429906"/>
                      <a:pt x="610972" y="4449138"/>
                      <a:pt x="610972" y="4472812"/>
                    </a:cubicBezTo>
                    <a:cubicBezTo>
                      <a:pt x="610972" y="4496730"/>
                      <a:pt x="630203" y="4515961"/>
                      <a:pt x="653878" y="4515961"/>
                    </a:cubicBezTo>
                    <a:cubicBezTo>
                      <a:pt x="677549" y="4515961"/>
                      <a:pt x="697026" y="4496730"/>
                      <a:pt x="696781" y="4472812"/>
                    </a:cubicBezTo>
                    <a:close/>
                    <a:moveTo>
                      <a:pt x="697518" y="1320228"/>
                    </a:moveTo>
                    <a:cubicBezTo>
                      <a:pt x="697518" y="1308147"/>
                      <a:pt x="687410" y="1298290"/>
                      <a:pt x="675328" y="1298290"/>
                    </a:cubicBezTo>
                    <a:cubicBezTo>
                      <a:pt x="662998" y="1298290"/>
                      <a:pt x="653135" y="1308147"/>
                      <a:pt x="653135" y="1320228"/>
                    </a:cubicBezTo>
                    <a:cubicBezTo>
                      <a:pt x="653135" y="1332560"/>
                      <a:pt x="663243" y="1342432"/>
                      <a:pt x="675328" y="1342432"/>
                    </a:cubicBezTo>
                    <a:cubicBezTo>
                      <a:pt x="687655" y="1342432"/>
                      <a:pt x="697518" y="1332560"/>
                      <a:pt x="697518" y="1320228"/>
                    </a:cubicBezTo>
                    <a:close/>
                    <a:moveTo>
                      <a:pt x="703931" y="4082974"/>
                    </a:moveTo>
                    <a:cubicBezTo>
                      <a:pt x="703931" y="4056839"/>
                      <a:pt x="682723" y="4035631"/>
                      <a:pt x="656588" y="4035631"/>
                    </a:cubicBezTo>
                    <a:cubicBezTo>
                      <a:pt x="630451" y="4035631"/>
                      <a:pt x="609245" y="4056839"/>
                      <a:pt x="609245" y="4082974"/>
                    </a:cubicBezTo>
                    <a:cubicBezTo>
                      <a:pt x="609245" y="4109113"/>
                      <a:pt x="630451" y="4130317"/>
                      <a:pt x="656588" y="4130317"/>
                    </a:cubicBezTo>
                    <a:cubicBezTo>
                      <a:pt x="682723" y="4130317"/>
                      <a:pt x="703931" y="4109113"/>
                      <a:pt x="703931" y="4082974"/>
                    </a:cubicBezTo>
                    <a:close/>
                    <a:moveTo>
                      <a:pt x="705655" y="497965"/>
                    </a:moveTo>
                    <a:cubicBezTo>
                      <a:pt x="705655" y="490324"/>
                      <a:pt x="699491" y="483912"/>
                      <a:pt x="691601" y="483912"/>
                    </a:cubicBezTo>
                    <a:cubicBezTo>
                      <a:pt x="683955" y="483912"/>
                      <a:pt x="677546" y="490075"/>
                      <a:pt x="677546" y="497965"/>
                    </a:cubicBezTo>
                    <a:cubicBezTo>
                      <a:pt x="677546" y="505609"/>
                      <a:pt x="683710" y="512019"/>
                      <a:pt x="691601" y="512019"/>
                    </a:cubicBezTo>
                    <a:cubicBezTo>
                      <a:pt x="699245" y="512019"/>
                      <a:pt x="705655" y="505855"/>
                      <a:pt x="705655" y="497965"/>
                    </a:cubicBezTo>
                    <a:close/>
                    <a:moveTo>
                      <a:pt x="709850" y="4829607"/>
                    </a:moveTo>
                    <a:cubicBezTo>
                      <a:pt x="709850" y="4816047"/>
                      <a:pt x="698753" y="4804702"/>
                      <a:pt x="684944" y="4804702"/>
                    </a:cubicBezTo>
                    <a:cubicBezTo>
                      <a:pt x="671382" y="4804702"/>
                      <a:pt x="660041" y="4815798"/>
                      <a:pt x="660041" y="4829607"/>
                    </a:cubicBezTo>
                    <a:cubicBezTo>
                      <a:pt x="660041" y="4843414"/>
                      <a:pt x="671136" y="4854513"/>
                      <a:pt x="684944" y="4854513"/>
                    </a:cubicBezTo>
                    <a:cubicBezTo>
                      <a:pt x="698753" y="4854513"/>
                      <a:pt x="710096" y="4843169"/>
                      <a:pt x="709850" y="4829607"/>
                    </a:cubicBezTo>
                    <a:close/>
                    <a:moveTo>
                      <a:pt x="711327" y="6013173"/>
                    </a:moveTo>
                    <a:cubicBezTo>
                      <a:pt x="711327" y="6012186"/>
                      <a:pt x="710589" y="6011445"/>
                      <a:pt x="709603" y="6011445"/>
                    </a:cubicBezTo>
                    <a:cubicBezTo>
                      <a:pt x="708616" y="6011445"/>
                      <a:pt x="707876" y="6012186"/>
                      <a:pt x="707876" y="6013173"/>
                    </a:cubicBezTo>
                    <a:cubicBezTo>
                      <a:pt x="707876" y="6014158"/>
                      <a:pt x="708616" y="6014899"/>
                      <a:pt x="709603" y="6014899"/>
                    </a:cubicBezTo>
                    <a:cubicBezTo>
                      <a:pt x="710589" y="6014899"/>
                      <a:pt x="711327" y="6014158"/>
                      <a:pt x="711327" y="6013173"/>
                    </a:cubicBezTo>
                    <a:close/>
                    <a:moveTo>
                      <a:pt x="713794" y="1868352"/>
                    </a:moveTo>
                    <a:cubicBezTo>
                      <a:pt x="713794" y="1860223"/>
                      <a:pt x="707135" y="1853572"/>
                      <a:pt x="698998" y="1853572"/>
                    </a:cubicBezTo>
                    <a:cubicBezTo>
                      <a:pt x="690862" y="1853572"/>
                      <a:pt x="684204" y="1860223"/>
                      <a:pt x="684204" y="1868352"/>
                    </a:cubicBezTo>
                    <a:cubicBezTo>
                      <a:pt x="684204" y="1876480"/>
                      <a:pt x="690862" y="1883132"/>
                      <a:pt x="698998" y="1883132"/>
                    </a:cubicBezTo>
                    <a:cubicBezTo>
                      <a:pt x="707135" y="1883132"/>
                      <a:pt x="713794" y="1876728"/>
                      <a:pt x="713794" y="1868352"/>
                    </a:cubicBezTo>
                    <a:close/>
                    <a:moveTo>
                      <a:pt x="716012" y="5089003"/>
                    </a:moveTo>
                    <a:cubicBezTo>
                      <a:pt x="716012" y="5080372"/>
                      <a:pt x="708862" y="5073222"/>
                      <a:pt x="700231" y="5073222"/>
                    </a:cubicBezTo>
                    <a:cubicBezTo>
                      <a:pt x="691600" y="5073222"/>
                      <a:pt x="684450" y="5080372"/>
                      <a:pt x="684450" y="5089003"/>
                    </a:cubicBezTo>
                    <a:cubicBezTo>
                      <a:pt x="684450" y="5097634"/>
                      <a:pt x="691600" y="5104784"/>
                      <a:pt x="700231" y="5104784"/>
                    </a:cubicBezTo>
                    <a:cubicBezTo>
                      <a:pt x="708862" y="5104784"/>
                      <a:pt x="716012" y="5097880"/>
                      <a:pt x="716012" y="5089003"/>
                    </a:cubicBezTo>
                    <a:close/>
                    <a:moveTo>
                      <a:pt x="717493" y="2705829"/>
                    </a:moveTo>
                    <a:cubicBezTo>
                      <a:pt x="717493" y="2694731"/>
                      <a:pt x="708370" y="2685609"/>
                      <a:pt x="697272" y="2685609"/>
                    </a:cubicBezTo>
                    <a:cubicBezTo>
                      <a:pt x="686176" y="2685609"/>
                      <a:pt x="677054" y="2694731"/>
                      <a:pt x="677054" y="2705829"/>
                    </a:cubicBezTo>
                    <a:cubicBezTo>
                      <a:pt x="677054" y="2716924"/>
                      <a:pt x="686176" y="2726049"/>
                      <a:pt x="697272" y="2726049"/>
                    </a:cubicBezTo>
                    <a:cubicBezTo>
                      <a:pt x="708370" y="2726049"/>
                      <a:pt x="717493" y="2716924"/>
                      <a:pt x="717493" y="2705829"/>
                    </a:cubicBezTo>
                    <a:close/>
                    <a:moveTo>
                      <a:pt x="719216" y="2321905"/>
                    </a:moveTo>
                    <a:cubicBezTo>
                      <a:pt x="719216" y="2319939"/>
                      <a:pt x="717492" y="2318217"/>
                      <a:pt x="715519" y="2318217"/>
                    </a:cubicBezTo>
                    <a:cubicBezTo>
                      <a:pt x="713547" y="2318217"/>
                      <a:pt x="711820" y="2319939"/>
                      <a:pt x="711820" y="2321905"/>
                    </a:cubicBezTo>
                    <a:cubicBezTo>
                      <a:pt x="711820" y="2323875"/>
                      <a:pt x="713547" y="2325599"/>
                      <a:pt x="715519" y="2325599"/>
                    </a:cubicBezTo>
                    <a:cubicBezTo>
                      <a:pt x="717492" y="2325599"/>
                      <a:pt x="719216" y="2323875"/>
                      <a:pt x="719216" y="2321905"/>
                    </a:cubicBezTo>
                    <a:close/>
                    <a:moveTo>
                      <a:pt x="719957" y="1467911"/>
                    </a:moveTo>
                    <a:cubicBezTo>
                      <a:pt x="719957" y="1457303"/>
                      <a:pt x="711326" y="1448672"/>
                      <a:pt x="700725" y="1448672"/>
                    </a:cubicBezTo>
                    <a:cubicBezTo>
                      <a:pt x="689876" y="1448672"/>
                      <a:pt x="681245" y="1457303"/>
                      <a:pt x="681245" y="1467911"/>
                    </a:cubicBezTo>
                    <a:cubicBezTo>
                      <a:pt x="681245" y="1478506"/>
                      <a:pt x="690122" y="1487143"/>
                      <a:pt x="700725" y="1487143"/>
                    </a:cubicBezTo>
                    <a:cubicBezTo>
                      <a:pt x="711326" y="1487143"/>
                      <a:pt x="719957" y="1478506"/>
                      <a:pt x="719957" y="1467911"/>
                    </a:cubicBezTo>
                    <a:close/>
                    <a:moveTo>
                      <a:pt x="719959" y="634783"/>
                    </a:moveTo>
                    <a:cubicBezTo>
                      <a:pt x="719959" y="626748"/>
                      <a:pt x="713444" y="620235"/>
                      <a:pt x="705411" y="620235"/>
                    </a:cubicBezTo>
                    <a:cubicBezTo>
                      <a:pt x="697376" y="620235"/>
                      <a:pt x="690863" y="626748"/>
                      <a:pt x="690863" y="634783"/>
                    </a:cubicBezTo>
                    <a:cubicBezTo>
                      <a:pt x="690863" y="642865"/>
                      <a:pt x="697376" y="649399"/>
                      <a:pt x="705411" y="649399"/>
                    </a:cubicBezTo>
                    <a:cubicBezTo>
                      <a:pt x="713444" y="649399"/>
                      <a:pt x="719959" y="642865"/>
                      <a:pt x="719959" y="634783"/>
                    </a:cubicBezTo>
                    <a:close/>
                    <a:moveTo>
                      <a:pt x="722670" y="944500"/>
                    </a:moveTo>
                    <a:cubicBezTo>
                      <a:pt x="722670" y="936328"/>
                      <a:pt x="716045" y="929705"/>
                      <a:pt x="707875" y="929705"/>
                    </a:cubicBezTo>
                    <a:cubicBezTo>
                      <a:pt x="699705" y="929705"/>
                      <a:pt x="693081" y="936328"/>
                      <a:pt x="693081" y="944500"/>
                    </a:cubicBezTo>
                    <a:cubicBezTo>
                      <a:pt x="693081" y="952675"/>
                      <a:pt x="699705" y="959302"/>
                      <a:pt x="707875" y="959302"/>
                    </a:cubicBezTo>
                    <a:cubicBezTo>
                      <a:pt x="716045" y="959302"/>
                      <a:pt x="722670" y="952675"/>
                      <a:pt x="722670" y="944500"/>
                    </a:cubicBezTo>
                    <a:close/>
                    <a:moveTo>
                      <a:pt x="730068" y="4581552"/>
                    </a:moveTo>
                    <a:cubicBezTo>
                      <a:pt x="730068" y="4561826"/>
                      <a:pt x="714287" y="4545799"/>
                      <a:pt x="694561" y="4545799"/>
                    </a:cubicBezTo>
                    <a:cubicBezTo>
                      <a:pt x="675081" y="4545799"/>
                      <a:pt x="659054" y="4561826"/>
                      <a:pt x="659054" y="4581552"/>
                    </a:cubicBezTo>
                    <a:cubicBezTo>
                      <a:pt x="659054" y="4601033"/>
                      <a:pt x="674835" y="4617059"/>
                      <a:pt x="694561" y="4617059"/>
                    </a:cubicBezTo>
                    <a:cubicBezTo>
                      <a:pt x="714041" y="4617059"/>
                      <a:pt x="730068" y="4601033"/>
                      <a:pt x="730068" y="4581552"/>
                    </a:cubicBezTo>
                    <a:close/>
                    <a:moveTo>
                      <a:pt x="730315" y="4195907"/>
                    </a:moveTo>
                    <a:cubicBezTo>
                      <a:pt x="730315" y="4169526"/>
                      <a:pt x="709107" y="4148319"/>
                      <a:pt x="682972" y="4148319"/>
                    </a:cubicBezTo>
                    <a:cubicBezTo>
                      <a:pt x="656836" y="4148319"/>
                      <a:pt x="635629" y="4169772"/>
                      <a:pt x="635629" y="4195907"/>
                    </a:cubicBezTo>
                    <a:cubicBezTo>
                      <a:pt x="635629" y="4222046"/>
                      <a:pt x="656836" y="4243250"/>
                      <a:pt x="682972" y="4243250"/>
                    </a:cubicBezTo>
                    <a:cubicBezTo>
                      <a:pt x="709107" y="4243250"/>
                      <a:pt x="730560" y="4222046"/>
                      <a:pt x="730315" y="4195907"/>
                    </a:cubicBezTo>
                    <a:close/>
                    <a:moveTo>
                      <a:pt x="734751" y="5871141"/>
                    </a:moveTo>
                    <a:cubicBezTo>
                      <a:pt x="734751" y="5867690"/>
                      <a:pt x="732041" y="5864977"/>
                      <a:pt x="728588" y="5864977"/>
                    </a:cubicBezTo>
                    <a:cubicBezTo>
                      <a:pt x="725382" y="5864977"/>
                      <a:pt x="722670" y="5867935"/>
                      <a:pt x="722670" y="5871141"/>
                    </a:cubicBezTo>
                    <a:cubicBezTo>
                      <a:pt x="722670" y="5874595"/>
                      <a:pt x="725137" y="5877307"/>
                      <a:pt x="728588" y="5877307"/>
                    </a:cubicBezTo>
                    <a:cubicBezTo>
                      <a:pt x="731792" y="5877307"/>
                      <a:pt x="734505" y="5874595"/>
                      <a:pt x="734751" y="5871141"/>
                    </a:cubicBezTo>
                    <a:close/>
                    <a:moveTo>
                      <a:pt x="735247" y="773405"/>
                    </a:moveTo>
                    <a:cubicBezTo>
                      <a:pt x="735247" y="765020"/>
                      <a:pt x="728588" y="758361"/>
                      <a:pt x="720451" y="758361"/>
                    </a:cubicBezTo>
                    <a:cubicBezTo>
                      <a:pt x="712069" y="758361"/>
                      <a:pt x="705411" y="765269"/>
                      <a:pt x="705411" y="773405"/>
                    </a:cubicBezTo>
                    <a:cubicBezTo>
                      <a:pt x="705411" y="781535"/>
                      <a:pt x="712316" y="788199"/>
                      <a:pt x="720451" y="788199"/>
                    </a:cubicBezTo>
                    <a:cubicBezTo>
                      <a:pt x="728588" y="788199"/>
                      <a:pt x="735247" y="781535"/>
                      <a:pt x="735247" y="773405"/>
                    </a:cubicBezTo>
                    <a:close/>
                    <a:moveTo>
                      <a:pt x="737959" y="5489442"/>
                    </a:moveTo>
                    <a:cubicBezTo>
                      <a:pt x="737959" y="5469717"/>
                      <a:pt x="721929" y="5453689"/>
                      <a:pt x="702204" y="5453689"/>
                    </a:cubicBezTo>
                    <a:cubicBezTo>
                      <a:pt x="682478" y="5453689"/>
                      <a:pt x="666451" y="5469717"/>
                      <a:pt x="666451" y="5489442"/>
                    </a:cubicBezTo>
                    <a:cubicBezTo>
                      <a:pt x="666451" y="5509169"/>
                      <a:pt x="682478" y="5525195"/>
                      <a:pt x="702204" y="5525195"/>
                    </a:cubicBezTo>
                    <a:cubicBezTo>
                      <a:pt x="721929" y="5525195"/>
                      <a:pt x="737959" y="5509169"/>
                      <a:pt x="737959" y="5489442"/>
                    </a:cubicBezTo>
                    <a:close/>
                    <a:moveTo>
                      <a:pt x="738205" y="6499171"/>
                    </a:moveTo>
                    <a:cubicBezTo>
                      <a:pt x="738205" y="6498184"/>
                      <a:pt x="737465" y="6497443"/>
                      <a:pt x="736478" y="6497443"/>
                    </a:cubicBezTo>
                    <a:cubicBezTo>
                      <a:pt x="735246" y="6497443"/>
                      <a:pt x="734506" y="6498184"/>
                      <a:pt x="734506" y="6499171"/>
                    </a:cubicBezTo>
                    <a:cubicBezTo>
                      <a:pt x="734506" y="6500156"/>
                      <a:pt x="735491" y="6500897"/>
                      <a:pt x="736478" y="6500897"/>
                    </a:cubicBezTo>
                    <a:cubicBezTo>
                      <a:pt x="737465" y="6500897"/>
                      <a:pt x="738205" y="6500156"/>
                      <a:pt x="738205" y="6499171"/>
                    </a:cubicBezTo>
                    <a:close/>
                    <a:moveTo>
                      <a:pt x="739437" y="3449997"/>
                    </a:moveTo>
                    <a:cubicBezTo>
                      <a:pt x="739437" y="3429047"/>
                      <a:pt x="722424" y="3412039"/>
                      <a:pt x="701466" y="3412039"/>
                    </a:cubicBezTo>
                    <a:cubicBezTo>
                      <a:pt x="680505" y="3412039"/>
                      <a:pt x="663492" y="3429047"/>
                      <a:pt x="663492" y="3449997"/>
                    </a:cubicBezTo>
                    <a:cubicBezTo>
                      <a:pt x="663492" y="3470729"/>
                      <a:pt x="680505" y="3487742"/>
                      <a:pt x="701466" y="3487742"/>
                    </a:cubicBezTo>
                    <a:cubicBezTo>
                      <a:pt x="722424" y="3487742"/>
                      <a:pt x="739437" y="3470729"/>
                      <a:pt x="739437" y="3449997"/>
                    </a:cubicBezTo>
                    <a:close/>
                    <a:moveTo>
                      <a:pt x="740178" y="3334095"/>
                    </a:moveTo>
                    <a:cubicBezTo>
                      <a:pt x="740178" y="3314882"/>
                      <a:pt x="724397" y="3299101"/>
                      <a:pt x="705162" y="3299101"/>
                    </a:cubicBezTo>
                    <a:cubicBezTo>
                      <a:pt x="685931" y="3299101"/>
                      <a:pt x="670150" y="3314882"/>
                      <a:pt x="670150" y="3334095"/>
                    </a:cubicBezTo>
                    <a:cubicBezTo>
                      <a:pt x="670150" y="3353341"/>
                      <a:pt x="685931" y="3369062"/>
                      <a:pt x="705162" y="3369062"/>
                    </a:cubicBezTo>
                    <a:cubicBezTo>
                      <a:pt x="724397" y="3369062"/>
                      <a:pt x="740178" y="3353341"/>
                      <a:pt x="740178" y="3334095"/>
                    </a:cubicBezTo>
                    <a:close/>
                    <a:moveTo>
                      <a:pt x="742396" y="3565905"/>
                    </a:moveTo>
                    <a:cubicBezTo>
                      <a:pt x="742396" y="3543960"/>
                      <a:pt x="724643" y="3526207"/>
                      <a:pt x="702695" y="3526207"/>
                    </a:cubicBezTo>
                    <a:cubicBezTo>
                      <a:pt x="680751" y="3526207"/>
                      <a:pt x="662998" y="3543960"/>
                      <a:pt x="662998" y="3565905"/>
                    </a:cubicBezTo>
                    <a:cubicBezTo>
                      <a:pt x="662998" y="3587852"/>
                      <a:pt x="680751" y="3605606"/>
                      <a:pt x="702695" y="3605606"/>
                    </a:cubicBezTo>
                    <a:cubicBezTo>
                      <a:pt x="724643" y="3605606"/>
                      <a:pt x="742396" y="3587604"/>
                      <a:pt x="742396" y="3565905"/>
                    </a:cubicBezTo>
                    <a:close/>
                    <a:moveTo>
                      <a:pt x="744616" y="1086265"/>
                    </a:moveTo>
                    <a:cubicBezTo>
                      <a:pt x="744616" y="1076396"/>
                      <a:pt x="736725" y="1068504"/>
                      <a:pt x="726861" y="1068504"/>
                    </a:cubicBezTo>
                    <a:cubicBezTo>
                      <a:pt x="716998" y="1068504"/>
                      <a:pt x="709108" y="1076396"/>
                      <a:pt x="709108" y="1086265"/>
                    </a:cubicBezTo>
                    <a:cubicBezTo>
                      <a:pt x="709108" y="1096123"/>
                      <a:pt x="716998" y="1104018"/>
                      <a:pt x="726861" y="1104018"/>
                    </a:cubicBezTo>
                    <a:cubicBezTo>
                      <a:pt x="736725" y="1104018"/>
                      <a:pt x="744616" y="1095876"/>
                      <a:pt x="744616" y="1086265"/>
                    </a:cubicBezTo>
                    <a:close/>
                    <a:moveTo>
                      <a:pt x="745354" y="3218474"/>
                    </a:moveTo>
                    <a:cubicBezTo>
                      <a:pt x="745354" y="3200721"/>
                      <a:pt x="731053" y="3186418"/>
                      <a:pt x="713298" y="3186418"/>
                    </a:cubicBezTo>
                    <a:cubicBezTo>
                      <a:pt x="695545" y="3186418"/>
                      <a:pt x="681245" y="3200721"/>
                      <a:pt x="681245" y="3218474"/>
                    </a:cubicBezTo>
                    <a:cubicBezTo>
                      <a:pt x="681245" y="3236230"/>
                      <a:pt x="695545" y="3250524"/>
                      <a:pt x="713298" y="3250524"/>
                    </a:cubicBezTo>
                    <a:cubicBezTo>
                      <a:pt x="731053" y="3250524"/>
                      <a:pt x="745354" y="3235981"/>
                      <a:pt x="745354" y="3218474"/>
                    </a:cubicBezTo>
                    <a:close/>
                    <a:moveTo>
                      <a:pt x="747575" y="2594862"/>
                    </a:moveTo>
                    <a:cubicBezTo>
                      <a:pt x="747575" y="2585493"/>
                      <a:pt x="739931" y="2577847"/>
                      <a:pt x="730560" y="2577847"/>
                    </a:cubicBezTo>
                    <a:cubicBezTo>
                      <a:pt x="721191" y="2577847"/>
                      <a:pt x="713547" y="2585493"/>
                      <a:pt x="713547" y="2594862"/>
                    </a:cubicBezTo>
                    <a:cubicBezTo>
                      <a:pt x="713547" y="2604236"/>
                      <a:pt x="721191" y="2611877"/>
                      <a:pt x="730560" y="2611877"/>
                    </a:cubicBezTo>
                    <a:cubicBezTo>
                      <a:pt x="739931" y="2611877"/>
                      <a:pt x="747575" y="2604236"/>
                      <a:pt x="747575" y="2594862"/>
                    </a:cubicBezTo>
                    <a:close/>
                    <a:moveTo>
                      <a:pt x="749546" y="1616819"/>
                    </a:moveTo>
                    <a:cubicBezTo>
                      <a:pt x="749546" y="1605229"/>
                      <a:pt x="740177" y="1595864"/>
                      <a:pt x="728587" y="1595864"/>
                    </a:cubicBezTo>
                    <a:cubicBezTo>
                      <a:pt x="716997" y="1595864"/>
                      <a:pt x="707629" y="1605229"/>
                      <a:pt x="707629" y="1616819"/>
                    </a:cubicBezTo>
                    <a:cubicBezTo>
                      <a:pt x="707629" y="1628409"/>
                      <a:pt x="716997" y="1637783"/>
                      <a:pt x="728587" y="1637783"/>
                    </a:cubicBezTo>
                    <a:cubicBezTo>
                      <a:pt x="740177" y="1637783"/>
                      <a:pt x="749546" y="1628409"/>
                      <a:pt x="749546" y="1616819"/>
                    </a:cubicBezTo>
                    <a:close/>
                    <a:moveTo>
                      <a:pt x="750286" y="3681549"/>
                    </a:moveTo>
                    <a:cubicBezTo>
                      <a:pt x="750286" y="3658617"/>
                      <a:pt x="731546" y="3640123"/>
                      <a:pt x="708861" y="3640123"/>
                    </a:cubicBezTo>
                    <a:cubicBezTo>
                      <a:pt x="685930" y="3640123"/>
                      <a:pt x="667437" y="3658863"/>
                      <a:pt x="667437" y="3681549"/>
                    </a:cubicBezTo>
                    <a:cubicBezTo>
                      <a:pt x="667437" y="3704479"/>
                      <a:pt x="686176" y="3722973"/>
                      <a:pt x="708861" y="3722973"/>
                    </a:cubicBezTo>
                    <a:cubicBezTo>
                      <a:pt x="731546" y="3722973"/>
                      <a:pt x="750039" y="3704479"/>
                      <a:pt x="750286" y="3681549"/>
                    </a:cubicBezTo>
                    <a:close/>
                    <a:moveTo>
                      <a:pt x="751273" y="6363061"/>
                    </a:moveTo>
                    <a:cubicBezTo>
                      <a:pt x="751273" y="6361829"/>
                      <a:pt x="750287" y="6361088"/>
                      <a:pt x="749300" y="6361088"/>
                    </a:cubicBezTo>
                    <a:cubicBezTo>
                      <a:pt x="748314" y="6361088"/>
                      <a:pt x="747328" y="6362075"/>
                      <a:pt x="747328" y="6363061"/>
                    </a:cubicBezTo>
                    <a:cubicBezTo>
                      <a:pt x="747328" y="6364047"/>
                      <a:pt x="748314" y="6365034"/>
                      <a:pt x="749300" y="6365034"/>
                    </a:cubicBezTo>
                    <a:cubicBezTo>
                      <a:pt x="750287" y="6365034"/>
                      <a:pt x="751273" y="6364047"/>
                      <a:pt x="751273" y="6363061"/>
                    </a:cubicBezTo>
                    <a:close/>
                    <a:moveTo>
                      <a:pt x="751768" y="2024525"/>
                    </a:moveTo>
                    <a:cubicBezTo>
                      <a:pt x="751768" y="2016135"/>
                      <a:pt x="744863" y="2009239"/>
                      <a:pt x="736479" y="2009239"/>
                    </a:cubicBezTo>
                    <a:cubicBezTo>
                      <a:pt x="728097" y="2009239"/>
                      <a:pt x="721192" y="2016135"/>
                      <a:pt x="721192" y="2024525"/>
                    </a:cubicBezTo>
                    <a:cubicBezTo>
                      <a:pt x="721192" y="2032910"/>
                      <a:pt x="728097" y="2039815"/>
                      <a:pt x="736479" y="2039815"/>
                    </a:cubicBezTo>
                    <a:cubicBezTo>
                      <a:pt x="744863" y="2039815"/>
                      <a:pt x="751768" y="2032910"/>
                      <a:pt x="751768" y="2024525"/>
                    </a:cubicBezTo>
                    <a:close/>
                    <a:moveTo>
                      <a:pt x="753245" y="4933170"/>
                    </a:moveTo>
                    <a:cubicBezTo>
                      <a:pt x="753245" y="4924785"/>
                      <a:pt x="746341" y="4917635"/>
                      <a:pt x="737713" y="4917635"/>
                    </a:cubicBezTo>
                    <a:cubicBezTo>
                      <a:pt x="729082" y="4917635"/>
                      <a:pt x="722178" y="4924540"/>
                      <a:pt x="722178" y="4933170"/>
                    </a:cubicBezTo>
                    <a:cubicBezTo>
                      <a:pt x="722178" y="4941798"/>
                      <a:pt x="729082" y="4948706"/>
                      <a:pt x="737713" y="4948706"/>
                    </a:cubicBezTo>
                    <a:cubicBezTo>
                      <a:pt x="746341" y="4948706"/>
                      <a:pt x="753245" y="4941798"/>
                      <a:pt x="753245" y="4933170"/>
                    </a:cubicBezTo>
                    <a:close/>
                    <a:moveTo>
                      <a:pt x="754725" y="5727636"/>
                    </a:moveTo>
                    <a:cubicBezTo>
                      <a:pt x="754725" y="5724677"/>
                      <a:pt x="752013" y="5722209"/>
                      <a:pt x="749054" y="5722209"/>
                    </a:cubicBezTo>
                    <a:cubicBezTo>
                      <a:pt x="745849" y="5722209"/>
                      <a:pt x="743382" y="5724677"/>
                      <a:pt x="743382" y="5727636"/>
                    </a:cubicBezTo>
                    <a:cubicBezTo>
                      <a:pt x="743382" y="5730840"/>
                      <a:pt x="746094" y="5733305"/>
                      <a:pt x="749054" y="5733305"/>
                    </a:cubicBezTo>
                    <a:cubicBezTo>
                      <a:pt x="752259" y="5733305"/>
                      <a:pt x="754725" y="5730840"/>
                      <a:pt x="754725" y="5727636"/>
                    </a:cubicBezTo>
                    <a:close/>
                    <a:moveTo>
                      <a:pt x="755463" y="3103071"/>
                    </a:moveTo>
                    <a:cubicBezTo>
                      <a:pt x="755463" y="3087041"/>
                      <a:pt x="742396" y="3073972"/>
                      <a:pt x="726369" y="3073972"/>
                    </a:cubicBezTo>
                    <a:cubicBezTo>
                      <a:pt x="710340" y="3073972"/>
                      <a:pt x="697272" y="3087041"/>
                      <a:pt x="697272" y="3103071"/>
                    </a:cubicBezTo>
                    <a:cubicBezTo>
                      <a:pt x="697272" y="3119099"/>
                      <a:pt x="710340" y="3132168"/>
                      <a:pt x="726369" y="3132168"/>
                    </a:cubicBezTo>
                    <a:cubicBezTo>
                      <a:pt x="742641" y="3132168"/>
                      <a:pt x="755709" y="3119099"/>
                      <a:pt x="755463" y="3103071"/>
                    </a:cubicBezTo>
                    <a:close/>
                    <a:moveTo>
                      <a:pt x="757682" y="5339773"/>
                    </a:moveTo>
                    <a:cubicBezTo>
                      <a:pt x="757682" y="5324486"/>
                      <a:pt x="745354" y="5311910"/>
                      <a:pt x="729819" y="5311910"/>
                    </a:cubicBezTo>
                    <a:cubicBezTo>
                      <a:pt x="714533" y="5311910"/>
                      <a:pt x="701957" y="5324241"/>
                      <a:pt x="701957" y="5339773"/>
                    </a:cubicBezTo>
                    <a:cubicBezTo>
                      <a:pt x="701957" y="5355307"/>
                      <a:pt x="714287" y="5367884"/>
                      <a:pt x="729819" y="5367884"/>
                    </a:cubicBezTo>
                    <a:cubicBezTo>
                      <a:pt x="745109" y="5367884"/>
                      <a:pt x="757682" y="5355554"/>
                      <a:pt x="757682" y="5339773"/>
                    </a:cubicBezTo>
                    <a:close/>
                    <a:moveTo>
                      <a:pt x="760890" y="4307609"/>
                    </a:moveTo>
                    <a:cubicBezTo>
                      <a:pt x="760890" y="4281470"/>
                      <a:pt x="739931" y="4260512"/>
                      <a:pt x="714041" y="4260512"/>
                    </a:cubicBezTo>
                    <a:cubicBezTo>
                      <a:pt x="688149" y="4260512"/>
                      <a:pt x="667191" y="4281719"/>
                      <a:pt x="667191" y="4307609"/>
                    </a:cubicBezTo>
                    <a:cubicBezTo>
                      <a:pt x="667191" y="4333499"/>
                      <a:pt x="688149" y="4354456"/>
                      <a:pt x="714041" y="4354456"/>
                    </a:cubicBezTo>
                    <a:cubicBezTo>
                      <a:pt x="739931" y="4354456"/>
                      <a:pt x="760890" y="4333252"/>
                      <a:pt x="760890" y="4307609"/>
                    </a:cubicBezTo>
                    <a:close/>
                    <a:moveTo>
                      <a:pt x="762614" y="3797193"/>
                    </a:moveTo>
                    <a:cubicBezTo>
                      <a:pt x="762614" y="3773521"/>
                      <a:pt x="743382" y="3754289"/>
                      <a:pt x="719711" y="3754289"/>
                    </a:cubicBezTo>
                    <a:cubicBezTo>
                      <a:pt x="695794" y="3754289"/>
                      <a:pt x="676560" y="3773275"/>
                      <a:pt x="676560" y="3797193"/>
                    </a:cubicBezTo>
                    <a:cubicBezTo>
                      <a:pt x="676560" y="3821113"/>
                      <a:pt x="696040" y="3840344"/>
                      <a:pt x="719711" y="3840344"/>
                    </a:cubicBezTo>
                    <a:cubicBezTo>
                      <a:pt x="743382" y="3840344"/>
                      <a:pt x="762614" y="3820865"/>
                      <a:pt x="762614" y="3797193"/>
                    </a:cubicBezTo>
                    <a:close/>
                    <a:moveTo>
                      <a:pt x="765327" y="4688317"/>
                    </a:moveTo>
                    <a:cubicBezTo>
                      <a:pt x="765327" y="4674017"/>
                      <a:pt x="753737" y="4662182"/>
                      <a:pt x="739191" y="4662182"/>
                    </a:cubicBezTo>
                    <a:cubicBezTo>
                      <a:pt x="724888" y="4662182"/>
                      <a:pt x="713053" y="4673772"/>
                      <a:pt x="713053" y="4688317"/>
                    </a:cubicBezTo>
                    <a:cubicBezTo>
                      <a:pt x="713053" y="4702620"/>
                      <a:pt x="724643" y="4714456"/>
                      <a:pt x="739191" y="4714456"/>
                    </a:cubicBezTo>
                    <a:cubicBezTo>
                      <a:pt x="753737" y="4714456"/>
                      <a:pt x="765327" y="4702620"/>
                      <a:pt x="765327" y="4688317"/>
                    </a:cubicBezTo>
                    <a:close/>
                    <a:moveTo>
                      <a:pt x="766313" y="6225719"/>
                    </a:moveTo>
                    <a:cubicBezTo>
                      <a:pt x="766313" y="6224238"/>
                      <a:pt x="765081" y="6222759"/>
                      <a:pt x="763354" y="6222759"/>
                    </a:cubicBezTo>
                    <a:cubicBezTo>
                      <a:pt x="761630" y="6222759"/>
                      <a:pt x="760150" y="6223991"/>
                      <a:pt x="760150" y="6225719"/>
                    </a:cubicBezTo>
                    <a:cubicBezTo>
                      <a:pt x="760150" y="6227197"/>
                      <a:pt x="761630" y="6228678"/>
                      <a:pt x="763354" y="6228678"/>
                    </a:cubicBezTo>
                    <a:cubicBezTo>
                      <a:pt x="765081" y="6228678"/>
                      <a:pt x="766313" y="6227197"/>
                      <a:pt x="766313" y="6225719"/>
                    </a:cubicBezTo>
                    <a:close/>
                    <a:moveTo>
                      <a:pt x="768286" y="1229500"/>
                    </a:moveTo>
                    <a:cubicBezTo>
                      <a:pt x="768286" y="1218158"/>
                      <a:pt x="758918" y="1208785"/>
                      <a:pt x="747573" y="1208785"/>
                    </a:cubicBezTo>
                    <a:cubicBezTo>
                      <a:pt x="735984" y="1208785"/>
                      <a:pt x="726616" y="1217911"/>
                      <a:pt x="726616" y="1229500"/>
                    </a:cubicBezTo>
                    <a:cubicBezTo>
                      <a:pt x="726616" y="1241093"/>
                      <a:pt x="735984" y="1250452"/>
                      <a:pt x="747573" y="1250452"/>
                    </a:cubicBezTo>
                    <a:cubicBezTo>
                      <a:pt x="759163" y="1250452"/>
                      <a:pt x="768532" y="1241093"/>
                      <a:pt x="768286" y="1229500"/>
                    </a:cubicBezTo>
                    <a:close/>
                    <a:moveTo>
                      <a:pt x="769519" y="2988406"/>
                    </a:moveTo>
                    <a:cubicBezTo>
                      <a:pt x="769519" y="2974597"/>
                      <a:pt x="758178" y="2963252"/>
                      <a:pt x="744369" y="2963252"/>
                    </a:cubicBezTo>
                    <a:cubicBezTo>
                      <a:pt x="730560" y="2963252"/>
                      <a:pt x="719217" y="2974597"/>
                      <a:pt x="719217" y="2988406"/>
                    </a:cubicBezTo>
                    <a:cubicBezTo>
                      <a:pt x="719217" y="3002216"/>
                      <a:pt x="730560" y="3013558"/>
                      <a:pt x="744369" y="3013558"/>
                    </a:cubicBezTo>
                    <a:cubicBezTo>
                      <a:pt x="758178" y="3013558"/>
                      <a:pt x="769519" y="3002216"/>
                      <a:pt x="769519" y="2988406"/>
                    </a:cubicBezTo>
                    <a:close/>
                    <a:moveTo>
                      <a:pt x="769766" y="2485137"/>
                    </a:moveTo>
                    <a:cubicBezTo>
                      <a:pt x="769766" y="2484149"/>
                      <a:pt x="769026" y="2483415"/>
                      <a:pt x="768040" y="2483415"/>
                    </a:cubicBezTo>
                    <a:cubicBezTo>
                      <a:pt x="767053" y="2483415"/>
                      <a:pt x="766313" y="2484149"/>
                      <a:pt x="766313" y="2485137"/>
                    </a:cubicBezTo>
                    <a:cubicBezTo>
                      <a:pt x="766313" y="2486125"/>
                      <a:pt x="767053" y="2486865"/>
                      <a:pt x="768040" y="2486865"/>
                    </a:cubicBezTo>
                    <a:cubicBezTo>
                      <a:pt x="769026" y="2486865"/>
                      <a:pt x="769766" y="2486125"/>
                      <a:pt x="769766" y="2485137"/>
                    </a:cubicBezTo>
                    <a:close/>
                    <a:moveTo>
                      <a:pt x="775191" y="2216151"/>
                    </a:moveTo>
                    <a:cubicBezTo>
                      <a:pt x="775191" y="2208994"/>
                      <a:pt x="769519" y="2203327"/>
                      <a:pt x="762369" y="2203327"/>
                    </a:cubicBezTo>
                    <a:cubicBezTo>
                      <a:pt x="755219" y="2203327"/>
                      <a:pt x="749547" y="2208994"/>
                      <a:pt x="749547" y="2216151"/>
                    </a:cubicBezTo>
                    <a:cubicBezTo>
                      <a:pt x="749547" y="2223290"/>
                      <a:pt x="755219" y="2228971"/>
                      <a:pt x="762369" y="2228971"/>
                    </a:cubicBezTo>
                    <a:cubicBezTo>
                      <a:pt x="769519" y="2228971"/>
                      <a:pt x="775191" y="2223047"/>
                      <a:pt x="775191" y="2216151"/>
                    </a:cubicBezTo>
                    <a:close/>
                    <a:moveTo>
                      <a:pt x="776424" y="1768737"/>
                    </a:moveTo>
                    <a:cubicBezTo>
                      <a:pt x="776424" y="1759107"/>
                      <a:pt x="768780" y="1751452"/>
                      <a:pt x="759165" y="1751452"/>
                    </a:cubicBezTo>
                    <a:cubicBezTo>
                      <a:pt x="749549" y="1751452"/>
                      <a:pt x="741904" y="1759107"/>
                      <a:pt x="741904" y="1768737"/>
                    </a:cubicBezTo>
                    <a:cubicBezTo>
                      <a:pt x="741904" y="1778368"/>
                      <a:pt x="749549" y="1785965"/>
                      <a:pt x="759165" y="1785965"/>
                    </a:cubicBezTo>
                    <a:cubicBezTo>
                      <a:pt x="768534" y="1785965"/>
                      <a:pt x="776424" y="1778368"/>
                      <a:pt x="776424" y="1768737"/>
                    </a:cubicBezTo>
                    <a:close/>
                    <a:moveTo>
                      <a:pt x="779627" y="5188623"/>
                    </a:moveTo>
                    <a:cubicBezTo>
                      <a:pt x="779627" y="5177773"/>
                      <a:pt x="770999" y="5169142"/>
                      <a:pt x="760395" y="5169142"/>
                    </a:cubicBezTo>
                    <a:cubicBezTo>
                      <a:pt x="749547" y="5169142"/>
                      <a:pt x="740916" y="5178018"/>
                      <a:pt x="740916" y="5188623"/>
                    </a:cubicBezTo>
                    <a:cubicBezTo>
                      <a:pt x="740916" y="5199226"/>
                      <a:pt x="749792" y="5207854"/>
                      <a:pt x="760395" y="5207854"/>
                    </a:cubicBezTo>
                    <a:cubicBezTo>
                      <a:pt x="770999" y="5207854"/>
                      <a:pt x="779627" y="5199226"/>
                      <a:pt x="779627" y="5188623"/>
                    </a:cubicBezTo>
                    <a:close/>
                    <a:moveTo>
                      <a:pt x="779875" y="3912097"/>
                    </a:moveTo>
                    <a:cubicBezTo>
                      <a:pt x="779875" y="3887440"/>
                      <a:pt x="759901" y="3867468"/>
                      <a:pt x="735244" y="3867468"/>
                    </a:cubicBezTo>
                    <a:cubicBezTo>
                      <a:pt x="710586" y="3867468"/>
                      <a:pt x="690614" y="3887440"/>
                      <a:pt x="690614" y="3912097"/>
                    </a:cubicBezTo>
                    <a:cubicBezTo>
                      <a:pt x="690614" y="3936755"/>
                      <a:pt x="710586" y="3956727"/>
                      <a:pt x="735244" y="3956727"/>
                    </a:cubicBezTo>
                    <a:cubicBezTo>
                      <a:pt x="759901" y="3956727"/>
                      <a:pt x="779875" y="3936755"/>
                      <a:pt x="779875" y="3912097"/>
                    </a:cubicBezTo>
                    <a:close/>
                    <a:moveTo>
                      <a:pt x="787272" y="2874726"/>
                    </a:moveTo>
                    <a:cubicBezTo>
                      <a:pt x="787272" y="2863632"/>
                      <a:pt x="778149" y="2854507"/>
                      <a:pt x="767054" y="2854507"/>
                    </a:cubicBezTo>
                    <a:cubicBezTo>
                      <a:pt x="755710" y="2854507"/>
                      <a:pt x="746588" y="2863632"/>
                      <a:pt x="746588" y="2874726"/>
                    </a:cubicBezTo>
                    <a:cubicBezTo>
                      <a:pt x="746588" y="2885825"/>
                      <a:pt x="755710" y="2894949"/>
                      <a:pt x="767054" y="2894949"/>
                    </a:cubicBezTo>
                    <a:cubicBezTo>
                      <a:pt x="778149" y="2894949"/>
                      <a:pt x="787272" y="2885825"/>
                      <a:pt x="787272" y="2874726"/>
                    </a:cubicBezTo>
                    <a:close/>
                    <a:moveTo>
                      <a:pt x="789738" y="1374959"/>
                    </a:moveTo>
                    <a:cubicBezTo>
                      <a:pt x="789738" y="1364343"/>
                      <a:pt x="781109" y="1355468"/>
                      <a:pt x="770261" y="1355468"/>
                    </a:cubicBezTo>
                    <a:cubicBezTo>
                      <a:pt x="759657" y="1355468"/>
                      <a:pt x="750781" y="1364096"/>
                      <a:pt x="750781" y="1374959"/>
                    </a:cubicBezTo>
                    <a:cubicBezTo>
                      <a:pt x="750781" y="1385555"/>
                      <a:pt x="759412" y="1394430"/>
                      <a:pt x="770261" y="1394430"/>
                    </a:cubicBezTo>
                    <a:cubicBezTo>
                      <a:pt x="781109" y="1394430"/>
                      <a:pt x="789986" y="1385555"/>
                      <a:pt x="789738" y="1374959"/>
                    </a:cubicBezTo>
                    <a:close/>
                    <a:moveTo>
                      <a:pt x="790971" y="6097499"/>
                    </a:moveTo>
                    <a:cubicBezTo>
                      <a:pt x="790971" y="6096513"/>
                      <a:pt x="789985" y="6095526"/>
                      <a:pt x="788998" y="6095526"/>
                    </a:cubicBezTo>
                    <a:cubicBezTo>
                      <a:pt x="787766" y="6095526"/>
                      <a:pt x="787026" y="6096513"/>
                      <a:pt x="787026" y="6097499"/>
                    </a:cubicBezTo>
                    <a:cubicBezTo>
                      <a:pt x="787026" y="6098732"/>
                      <a:pt x="788012" y="6099472"/>
                      <a:pt x="788998" y="6099472"/>
                    </a:cubicBezTo>
                    <a:cubicBezTo>
                      <a:pt x="789985" y="6099472"/>
                      <a:pt x="790971" y="6098485"/>
                      <a:pt x="790971" y="6097499"/>
                    </a:cubicBezTo>
                    <a:close/>
                    <a:moveTo>
                      <a:pt x="791216" y="419558"/>
                    </a:moveTo>
                    <a:cubicBezTo>
                      <a:pt x="791216" y="411917"/>
                      <a:pt x="785053" y="405505"/>
                      <a:pt x="777162" y="405505"/>
                    </a:cubicBezTo>
                    <a:cubicBezTo>
                      <a:pt x="769518" y="405505"/>
                      <a:pt x="763109" y="411917"/>
                      <a:pt x="763109" y="419558"/>
                    </a:cubicBezTo>
                    <a:cubicBezTo>
                      <a:pt x="763109" y="427203"/>
                      <a:pt x="769518" y="433613"/>
                      <a:pt x="777162" y="433613"/>
                    </a:cubicBezTo>
                    <a:cubicBezTo>
                      <a:pt x="785053" y="433613"/>
                      <a:pt x="791465" y="427448"/>
                      <a:pt x="791216" y="419558"/>
                    </a:cubicBezTo>
                    <a:close/>
                    <a:moveTo>
                      <a:pt x="795656" y="4417825"/>
                    </a:moveTo>
                    <a:cubicBezTo>
                      <a:pt x="795656" y="4392428"/>
                      <a:pt x="774944" y="4371715"/>
                      <a:pt x="749547" y="4371715"/>
                    </a:cubicBezTo>
                    <a:cubicBezTo>
                      <a:pt x="724148" y="4371715"/>
                      <a:pt x="703436" y="4392428"/>
                      <a:pt x="703436" y="4417825"/>
                    </a:cubicBezTo>
                    <a:cubicBezTo>
                      <a:pt x="703436" y="4443223"/>
                      <a:pt x="724148" y="4463936"/>
                      <a:pt x="749547" y="4463936"/>
                    </a:cubicBezTo>
                    <a:cubicBezTo>
                      <a:pt x="774944" y="4463936"/>
                      <a:pt x="795656" y="4443223"/>
                      <a:pt x="795656" y="4417825"/>
                    </a:cubicBezTo>
                    <a:close/>
                    <a:moveTo>
                      <a:pt x="800836" y="4026509"/>
                    </a:moveTo>
                    <a:cubicBezTo>
                      <a:pt x="800836" y="4001605"/>
                      <a:pt x="780615" y="3981385"/>
                      <a:pt x="755712" y="3981385"/>
                    </a:cubicBezTo>
                    <a:cubicBezTo>
                      <a:pt x="730806" y="3981385"/>
                      <a:pt x="710588" y="4001605"/>
                      <a:pt x="710588" y="4026509"/>
                    </a:cubicBezTo>
                    <a:cubicBezTo>
                      <a:pt x="710588" y="4051413"/>
                      <a:pt x="730806" y="4071633"/>
                      <a:pt x="755712" y="4071633"/>
                    </a:cubicBezTo>
                    <a:cubicBezTo>
                      <a:pt x="780615" y="4071633"/>
                      <a:pt x="800836" y="4051413"/>
                      <a:pt x="800836" y="4026509"/>
                    </a:cubicBezTo>
                    <a:close/>
                    <a:moveTo>
                      <a:pt x="801820" y="859921"/>
                    </a:moveTo>
                    <a:cubicBezTo>
                      <a:pt x="801820" y="851787"/>
                      <a:pt x="795162" y="845138"/>
                      <a:pt x="787025" y="845138"/>
                    </a:cubicBezTo>
                    <a:cubicBezTo>
                      <a:pt x="778889" y="845138"/>
                      <a:pt x="772231" y="851787"/>
                      <a:pt x="772231" y="859921"/>
                    </a:cubicBezTo>
                    <a:cubicBezTo>
                      <a:pt x="772231" y="868061"/>
                      <a:pt x="778889" y="874708"/>
                      <a:pt x="787025" y="874708"/>
                    </a:cubicBezTo>
                    <a:cubicBezTo>
                      <a:pt x="795162" y="874708"/>
                      <a:pt x="801820" y="868061"/>
                      <a:pt x="801820" y="859921"/>
                    </a:cubicBezTo>
                    <a:close/>
                    <a:moveTo>
                      <a:pt x="803793" y="554403"/>
                    </a:moveTo>
                    <a:cubicBezTo>
                      <a:pt x="803793" y="546513"/>
                      <a:pt x="797383" y="540349"/>
                      <a:pt x="789738" y="540349"/>
                    </a:cubicBezTo>
                    <a:cubicBezTo>
                      <a:pt x="781847" y="540349"/>
                      <a:pt x="775684" y="546758"/>
                      <a:pt x="775684" y="554403"/>
                    </a:cubicBezTo>
                    <a:cubicBezTo>
                      <a:pt x="775684" y="562293"/>
                      <a:pt x="782096" y="568456"/>
                      <a:pt x="789738" y="568456"/>
                    </a:cubicBezTo>
                    <a:cubicBezTo>
                      <a:pt x="797383" y="568456"/>
                      <a:pt x="803793" y="562293"/>
                      <a:pt x="803793" y="554403"/>
                    </a:cubicBezTo>
                    <a:close/>
                    <a:moveTo>
                      <a:pt x="805274" y="4793112"/>
                    </a:moveTo>
                    <a:cubicBezTo>
                      <a:pt x="805274" y="4783497"/>
                      <a:pt x="797629" y="4775853"/>
                      <a:pt x="788015" y="4775853"/>
                    </a:cubicBezTo>
                    <a:cubicBezTo>
                      <a:pt x="778397" y="4775853"/>
                      <a:pt x="770753" y="4783744"/>
                      <a:pt x="770753" y="4793112"/>
                    </a:cubicBezTo>
                    <a:cubicBezTo>
                      <a:pt x="770753" y="4802729"/>
                      <a:pt x="778643" y="4810373"/>
                      <a:pt x="788015" y="4810373"/>
                    </a:cubicBezTo>
                    <a:cubicBezTo>
                      <a:pt x="797383" y="4810373"/>
                      <a:pt x="805274" y="4802729"/>
                      <a:pt x="805274" y="4793112"/>
                    </a:cubicBezTo>
                    <a:close/>
                    <a:moveTo>
                      <a:pt x="805767" y="5035005"/>
                    </a:moveTo>
                    <a:cubicBezTo>
                      <a:pt x="805767" y="5028593"/>
                      <a:pt x="800587" y="5023415"/>
                      <a:pt x="794178" y="5023415"/>
                    </a:cubicBezTo>
                    <a:cubicBezTo>
                      <a:pt x="787765" y="5023415"/>
                      <a:pt x="782588" y="5028593"/>
                      <a:pt x="782588" y="5035005"/>
                    </a:cubicBezTo>
                    <a:cubicBezTo>
                      <a:pt x="782588" y="5041415"/>
                      <a:pt x="787765" y="5046592"/>
                      <a:pt x="794178" y="5046592"/>
                    </a:cubicBezTo>
                    <a:cubicBezTo>
                      <a:pt x="800587" y="5046592"/>
                      <a:pt x="805767" y="5041415"/>
                      <a:pt x="805767" y="5035005"/>
                    </a:cubicBezTo>
                    <a:close/>
                    <a:moveTo>
                      <a:pt x="806751" y="5582401"/>
                    </a:moveTo>
                    <a:cubicBezTo>
                      <a:pt x="806751" y="5562923"/>
                      <a:pt x="790971" y="5547388"/>
                      <a:pt x="771737" y="5547388"/>
                    </a:cubicBezTo>
                    <a:cubicBezTo>
                      <a:pt x="752504" y="5547388"/>
                      <a:pt x="736970" y="5563169"/>
                      <a:pt x="736970" y="5582401"/>
                    </a:cubicBezTo>
                    <a:cubicBezTo>
                      <a:pt x="736970" y="5601635"/>
                      <a:pt x="752504" y="5617416"/>
                      <a:pt x="771737" y="5617416"/>
                    </a:cubicBezTo>
                    <a:cubicBezTo>
                      <a:pt x="790971" y="5617416"/>
                      <a:pt x="806751" y="5601635"/>
                      <a:pt x="806751" y="5582401"/>
                    </a:cubicBezTo>
                    <a:close/>
                    <a:moveTo>
                      <a:pt x="809957" y="2761794"/>
                    </a:moveTo>
                    <a:cubicBezTo>
                      <a:pt x="809957" y="2753159"/>
                      <a:pt x="803053" y="2746255"/>
                      <a:pt x="794425" y="2746255"/>
                    </a:cubicBezTo>
                    <a:cubicBezTo>
                      <a:pt x="785794" y="2746255"/>
                      <a:pt x="778890" y="2753159"/>
                      <a:pt x="778890" y="2761794"/>
                    </a:cubicBezTo>
                    <a:cubicBezTo>
                      <a:pt x="778890" y="2770419"/>
                      <a:pt x="786040" y="2777323"/>
                      <a:pt x="794425" y="2777323"/>
                    </a:cubicBezTo>
                    <a:cubicBezTo>
                      <a:pt x="803053" y="2777323"/>
                      <a:pt x="809957" y="2770419"/>
                      <a:pt x="809957" y="2761794"/>
                    </a:cubicBezTo>
                    <a:close/>
                    <a:moveTo>
                      <a:pt x="811437" y="5957690"/>
                    </a:moveTo>
                    <a:cubicBezTo>
                      <a:pt x="811437" y="5954486"/>
                      <a:pt x="808972" y="5952018"/>
                      <a:pt x="805768" y="5952018"/>
                    </a:cubicBezTo>
                    <a:cubicBezTo>
                      <a:pt x="802560" y="5952018"/>
                      <a:pt x="800096" y="5954486"/>
                      <a:pt x="800096" y="5957690"/>
                    </a:cubicBezTo>
                    <a:cubicBezTo>
                      <a:pt x="800096" y="5960895"/>
                      <a:pt x="802560" y="5963359"/>
                      <a:pt x="805768" y="5963359"/>
                    </a:cubicBezTo>
                    <a:cubicBezTo>
                      <a:pt x="808972" y="5963359"/>
                      <a:pt x="811437" y="5960649"/>
                      <a:pt x="811437" y="5957690"/>
                    </a:cubicBezTo>
                    <a:close/>
                    <a:moveTo>
                      <a:pt x="814150" y="1922523"/>
                    </a:moveTo>
                    <a:cubicBezTo>
                      <a:pt x="814150" y="1910945"/>
                      <a:pt x="804533" y="1901337"/>
                      <a:pt x="792946" y="1901337"/>
                    </a:cubicBezTo>
                    <a:cubicBezTo>
                      <a:pt x="781356" y="1901337"/>
                      <a:pt x="771740" y="1910945"/>
                      <a:pt x="771740" y="1922523"/>
                    </a:cubicBezTo>
                    <a:cubicBezTo>
                      <a:pt x="771740" y="1934100"/>
                      <a:pt x="781110" y="1943709"/>
                      <a:pt x="792946" y="1943709"/>
                    </a:cubicBezTo>
                    <a:cubicBezTo>
                      <a:pt x="804533" y="1943709"/>
                      <a:pt x="814150" y="1934346"/>
                      <a:pt x="814150" y="1922523"/>
                    </a:cubicBezTo>
                    <a:close/>
                    <a:moveTo>
                      <a:pt x="816371" y="1521891"/>
                    </a:moveTo>
                    <a:cubicBezTo>
                      <a:pt x="816371" y="1510297"/>
                      <a:pt x="807000" y="1500929"/>
                      <a:pt x="795410" y="1500929"/>
                    </a:cubicBezTo>
                    <a:cubicBezTo>
                      <a:pt x="783824" y="1500929"/>
                      <a:pt x="774453" y="1510297"/>
                      <a:pt x="774453" y="1521891"/>
                    </a:cubicBezTo>
                    <a:cubicBezTo>
                      <a:pt x="774453" y="1533477"/>
                      <a:pt x="783824" y="1542845"/>
                      <a:pt x="795410" y="1542845"/>
                    </a:cubicBezTo>
                    <a:cubicBezTo>
                      <a:pt x="807000" y="1542845"/>
                      <a:pt x="816371" y="1533477"/>
                      <a:pt x="816371" y="1521891"/>
                    </a:cubicBezTo>
                    <a:close/>
                    <a:moveTo>
                      <a:pt x="817108" y="691051"/>
                    </a:moveTo>
                    <a:cubicBezTo>
                      <a:pt x="817108" y="683156"/>
                      <a:pt x="810699" y="676742"/>
                      <a:pt x="802806" y="676742"/>
                    </a:cubicBezTo>
                    <a:cubicBezTo>
                      <a:pt x="794915" y="676742"/>
                      <a:pt x="788506" y="683156"/>
                      <a:pt x="788506" y="691051"/>
                    </a:cubicBezTo>
                    <a:cubicBezTo>
                      <a:pt x="788506" y="698946"/>
                      <a:pt x="794915" y="705346"/>
                      <a:pt x="802806" y="705346"/>
                    </a:cubicBezTo>
                    <a:cubicBezTo>
                      <a:pt x="810699" y="705346"/>
                      <a:pt x="817108" y="698946"/>
                      <a:pt x="817108" y="691051"/>
                    </a:cubicBezTo>
                    <a:close/>
                    <a:moveTo>
                      <a:pt x="819081" y="2376891"/>
                    </a:moveTo>
                    <a:cubicBezTo>
                      <a:pt x="819081" y="2371963"/>
                      <a:pt x="815136" y="2368024"/>
                      <a:pt x="810205" y="2368024"/>
                    </a:cubicBezTo>
                    <a:cubicBezTo>
                      <a:pt x="805273" y="2368024"/>
                      <a:pt x="801328" y="2371963"/>
                      <a:pt x="801328" y="2376891"/>
                    </a:cubicBezTo>
                    <a:cubicBezTo>
                      <a:pt x="801328" y="2381821"/>
                      <a:pt x="805273" y="2385776"/>
                      <a:pt x="810205" y="2385776"/>
                    </a:cubicBezTo>
                    <a:cubicBezTo>
                      <a:pt x="815136" y="2385776"/>
                      <a:pt x="819081" y="2381821"/>
                      <a:pt x="819081" y="2376891"/>
                    </a:cubicBezTo>
                    <a:close/>
                    <a:moveTo>
                      <a:pt x="820808" y="999709"/>
                    </a:moveTo>
                    <a:cubicBezTo>
                      <a:pt x="820808" y="990582"/>
                      <a:pt x="813409" y="982942"/>
                      <a:pt x="804040" y="982942"/>
                    </a:cubicBezTo>
                    <a:cubicBezTo>
                      <a:pt x="794918" y="982942"/>
                      <a:pt x="787274" y="990336"/>
                      <a:pt x="787274" y="999709"/>
                    </a:cubicBezTo>
                    <a:cubicBezTo>
                      <a:pt x="787274" y="1008833"/>
                      <a:pt x="794669" y="1016483"/>
                      <a:pt x="804040" y="1016483"/>
                    </a:cubicBezTo>
                    <a:cubicBezTo>
                      <a:pt x="813409" y="1016483"/>
                      <a:pt x="821053" y="1009079"/>
                      <a:pt x="820808" y="999709"/>
                    </a:cubicBezTo>
                    <a:close/>
                    <a:moveTo>
                      <a:pt x="823519" y="5434950"/>
                    </a:moveTo>
                    <a:cubicBezTo>
                      <a:pt x="823519" y="5420155"/>
                      <a:pt x="811437" y="5408073"/>
                      <a:pt x="796643" y="5408073"/>
                    </a:cubicBezTo>
                    <a:cubicBezTo>
                      <a:pt x="781847" y="5408073"/>
                      <a:pt x="769766" y="5420155"/>
                      <a:pt x="769766" y="5434950"/>
                    </a:cubicBezTo>
                    <a:cubicBezTo>
                      <a:pt x="769766" y="5449745"/>
                      <a:pt x="781847" y="5461829"/>
                      <a:pt x="796643" y="5461829"/>
                    </a:cubicBezTo>
                    <a:cubicBezTo>
                      <a:pt x="811437" y="5461829"/>
                      <a:pt x="823519" y="5449990"/>
                      <a:pt x="823519" y="5434950"/>
                    </a:cubicBezTo>
                    <a:close/>
                    <a:moveTo>
                      <a:pt x="824751" y="6576349"/>
                    </a:moveTo>
                    <a:cubicBezTo>
                      <a:pt x="824751" y="6575611"/>
                      <a:pt x="824011" y="6574870"/>
                      <a:pt x="823273" y="6574870"/>
                    </a:cubicBezTo>
                    <a:cubicBezTo>
                      <a:pt x="822532" y="6574870"/>
                      <a:pt x="821792" y="6575611"/>
                      <a:pt x="821792" y="6576349"/>
                    </a:cubicBezTo>
                    <a:cubicBezTo>
                      <a:pt x="821792" y="6577089"/>
                      <a:pt x="822287" y="6577830"/>
                      <a:pt x="823273" y="6577830"/>
                    </a:cubicBezTo>
                    <a:cubicBezTo>
                      <a:pt x="824259" y="6577830"/>
                      <a:pt x="824997" y="6577089"/>
                      <a:pt x="824751" y="6576349"/>
                    </a:cubicBezTo>
                    <a:close/>
                    <a:moveTo>
                      <a:pt x="826480" y="4139688"/>
                    </a:moveTo>
                    <a:cubicBezTo>
                      <a:pt x="826480" y="4114538"/>
                      <a:pt x="806014" y="4094072"/>
                      <a:pt x="780862" y="4094072"/>
                    </a:cubicBezTo>
                    <a:cubicBezTo>
                      <a:pt x="755712" y="4094072"/>
                      <a:pt x="735246" y="4114538"/>
                      <a:pt x="735246" y="4139688"/>
                    </a:cubicBezTo>
                    <a:cubicBezTo>
                      <a:pt x="735246" y="4164841"/>
                      <a:pt x="755712" y="4185304"/>
                      <a:pt x="780862" y="4185304"/>
                    </a:cubicBezTo>
                    <a:cubicBezTo>
                      <a:pt x="806014" y="4185304"/>
                      <a:pt x="826480" y="4164841"/>
                      <a:pt x="826480" y="4139688"/>
                    </a:cubicBezTo>
                    <a:close/>
                    <a:moveTo>
                      <a:pt x="829437" y="5816154"/>
                    </a:moveTo>
                    <a:cubicBezTo>
                      <a:pt x="829437" y="5813196"/>
                      <a:pt x="826972" y="5810977"/>
                      <a:pt x="824259" y="5810977"/>
                    </a:cubicBezTo>
                    <a:cubicBezTo>
                      <a:pt x="821300" y="5810977"/>
                      <a:pt x="819082" y="5813196"/>
                      <a:pt x="819082" y="5816154"/>
                    </a:cubicBezTo>
                    <a:cubicBezTo>
                      <a:pt x="819082" y="5819113"/>
                      <a:pt x="821300" y="5821334"/>
                      <a:pt x="824259" y="5821334"/>
                    </a:cubicBezTo>
                    <a:cubicBezTo>
                      <a:pt x="826972" y="5821334"/>
                      <a:pt x="829437" y="5818867"/>
                      <a:pt x="829437" y="5816154"/>
                    </a:cubicBezTo>
                    <a:close/>
                    <a:moveTo>
                      <a:pt x="832396" y="4526565"/>
                    </a:moveTo>
                    <a:cubicBezTo>
                      <a:pt x="832396" y="4502645"/>
                      <a:pt x="812918" y="4483413"/>
                      <a:pt x="789244" y="4483413"/>
                    </a:cubicBezTo>
                    <a:cubicBezTo>
                      <a:pt x="765572" y="4483413"/>
                      <a:pt x="746341" y="4502894"/>
                      <a:pt x="746341" y="4526565"/>
                    </a:cubicBezTo>
                    <a:cubicBezTo>
                      <a:pt x="746341" y="4550483"/>
                      <a:pt x="765572" y="4569717"/>
                      <a:pt x="789244" y="4569717"/>
                    </a:cubicBezTo>
                    <a:cubicBezTo>
                      <a:pt x="813164" y="4569717"/>
                      <a:pt x="832396" y="4550236"/>
                      <a:pt x="832396" y="4526565"/>
                    </a:cubicBezTo>
                    <a:close/>
                    <a:moveTo>
                      <a:pt x="832644" y="2650330"/>
                    </a:moveTo>
                    <a:cubicBezTo>
                      <a:pt x="832644" y="2647126"/>
                      <a:pt x="829931" y="2644411"/>
                      <a:pt x="826727" y="2644411"/>
                    </a:cubicBezTo>
                    <a:cubicBezTo>
                      <a:pt x="823522" y="2644411"/>
                      <a:pt x="820809" y="2647126"/>
                      <a:pt x="820809" y="2650330"/>
                    </a:cubicBezTo>
                    <a:cubicBezTo>
                      <a:pt x="820809" y="2653538"/>
                      <a:pt x="823522" y="2656254"/>
                      <a:pt x="826727" y="2656254"/>
                    </a:cubicBezTo>
                    <a:cubicBezTo>
                      <a:pt x="829931" y="2656254"/>
                      <a:pt x="832644" y="2653538"/>
                      <a:pt x="832644" y="2650330"/>
                    </a:cubicBezTo>
                    <a:close/>
                    <a:moveTo>
                      <a:pt x="834368" y="2112080"/>
                    </a:moveTo>
                    <a:cubicBezTo>
                      <a:pt x="834368" y="2100485"/>
                      <a:pt x="824999" y="2090864"/>
                      <a:pt x="813164" y="2090864"/>
                    </a:cubicBezTo>
                    <a:cubicBezTo>
                      <a:pt x="801574" y="2090864"/>
                      <a:pt x="791957" y="2100236"/>
                      <a:pt x="791957" y="2112080"/>
                    </a:cubicBezTo>
                    <a:cubicBezTo>
                      <a:pt x="791957" y="2123671"/>
                      <a:pt x="801328" y="2133289"/>
                      <a:pt x="813164" y="2133289"/>
                    </a:cubicBezTo>
                    <a:cubicBezTo>
                      <a:pt x="824750" y="2133289"/>
                      <a:pt x="834368" y="2123671"/>
                      <a:pt x="834368" y="2112080"/>
                    </a:cubicBezTo>
                    <a:close/>
                    <a:moveTo>
                      <a:pt x="836587" y="6441968"/>
                    </a:moveTo>
                    <a:cubicBezTo>
                      <a:pt x="836587" y="6440981"/>
                      <a:pt x="835849" y="6440240"/>
                      <a:pt x="834862" y="6440240"/>
                    </a:cubicBezTo>
                    <a:cubicBezTo>
                      <a:pt x="833876" y="6440240"/>
                      <a:pt x="833136" y="6440981"/>
                      <a:pt x="833136" y="6441968"/>
                    </a:cubicBezTo>
                    <a:cubicBezTo>
                      <a:pt x="833136" y="6442954"/>
                      <a:pt x="833876" y="6443691"/>
                      <a:pt x="834862" y="6443691"/>
                    </a:cubicBezTo>
                    <a:cubicBezTo>
                      <a:pt x="835600" y="6443691"/>
                      <a:pt x="836340" y="6442954"/>
                      <a:pt x="836587" y="6441968"/>
                    </a:cubicBezTo>
                    <a:close/>
                    <a:moveTo>
                      <a:pt x="838808" y="3391809"/>
                    </a:moveTo>
                    <a:cubicBezTo>
                      <a:pt x="838808" y="3376511"/>
                      <a:pt x="826480" y="3364173"/>
                      <a:pt x="811191" y="3364173"/>
                    </a:cubicBezTo>
                    <a:cubicBezTo>
                      <a:pt x="795905" y="3364173"/>
                      <a:pt x="783575" y="3376511"/>
                      <a:pt x="783575" y="3391809"/>
                    </a:cubicBezTo>
                    <a:cubicBezTo>
                      <a:pt x="783575" y="3407095"/>
                      <a:pt x="795905" y="3419409"/>
                      <a:pt x="811191" y="3419409"/>
                    </a:cubicBezTo>
                    <a:cubicBezTo>
                      <a:pt x="826480" y="3419409"/>
                      <a:pt x="838808" y="3407095"/>
                      <a:pt x="838808" y="3391809"/>
                    </a:cubicBezTo>
                    <a:close/>
                    <a:moveTo>
                      <a:pt x="839791" y="3275655"/>
                    </a:moveTo>
                    <a:cubicBezTo>
                      <a:pt x="839791" y="3263326"/>
                      <a:pt x="829682" y="3253219"/>
                      <a:pt x="817355" y="3253219"/>
                    </a:cubicBezTo>
                    <a:cubicBezTo>
                      <a:pt x="805025" y="3253219"/>
                      <a:pt x="794916" y="3263326"/>
                      <a:pt x="794916" y="3275655"/>
                    </a:cubicBezTo>
                    <a:cubicBezTo>
                      <a:pt x="794916" y="3287975"/>
                      <a:pt x="805025" y="3298092"/>
                      <a:pt x="817355" y="3298092"/>
                    </a:cubicBezTo>
                    <a:cubicBezTo>
                      <a:pt x="829682" y="3298092"/>
                      <a:pt x="839791" y="3288223"/>
                      <a:pt x="839791" y="3275655"/>
                    </a:cubicBezTo>
                    <a:close/>
                    <a:moveTo>
                      <a:pt x="841766" y="1671519"/>
                    </a:moveTo>
                    <a:cubicBezTo>
                      <a:pt x="841766" y="1661176"/>
                      <a:pt x="833382" y="1652547"/>
                      <a:pt x="822778" y="1652547"/>
                    </a:cubicBezTo>
                    <a:cubicBezTo>
                      <a:pt x="812424" y="1652547"/>
                      <a:pt x="803793" y="1661176"/>
                      <a:pt x="803793" y="1671519"/>
                    </a:cubicBezTo>
                    <a:cubicBezTo>
                      <a:pt x="803793" y="1681893"/>
                      <a:pt x="812177" y="1690525"/>
                      <a:pt x="822778" y="1690525"/>
                    </a:cubicBezTo>
                    <a:cubicBezTo>
                      <a:pt x="833136" y="1690525"/>
                      <a:pt x="841766" y="1681893"/>
                      <a:pt x="841766" y="1671519"/>
                    </a:cubicBezTo>
                    <a:close/>
                    <a:moveTo>
                      <a:pt x="842259" y="3507716"/>
                    </a:moveTo>
                    <a:cubicBezTo>
                      <a:pt x="842259" y="3489963"/>
                      <a:pt x="827712" y="3475414"/>
                      <a:pt x="809959" y="3475414"/>
                    </a:cubicBezTo>
                    <a:cubicBezTo>
                      <a:pt x="792206" y="3475414"/>
                      <a:pt x="777657" y="3489963"/>
                      <a:pt x="777657" y="3507716"/>
                    </a:cubicBezTo>
                    <a:cubicBezTo>
                      <a:pt x="777657" y="3525470"/>
                      <a:pt x="792206" y="3540016"/>
                      <a:pt x="809959" y="3540016"/>
                    </a:cubicBezTo>
                    <a:cubicBezTo>
                      <a:pt x="827712" y="3540016"/>
                      <a:pt x="842259" y="3525470"/>
                      <a:pt x="842259" y="3507716"/>
                    </a:cubicBezTo>
                    <a:close/>
                    <a:moveTo>
                      <a:pt x="842261" y="1141221"/>
                    </a:moveTo>
                    <a:cubicBezTo>
                      <a:pt x="842261" y="1130621"/>
                      <a:pt x="833384" y="1121742"/>
                      <a:pt x="822781" y="1121742"/>
                    </a:cubicBezTo>
                    <a:cubicBezTo>
                      <a:pt x="812178" y="1121742"/>
                      <a:pt x="803301" y="1130373"/>
                      <a:pt x="803301" y="1141221"/>
                    </a:cubicBezTo>
                    <a:cubicBezTo>
                      <a:pt x="803301" y="1151826"/>
                      <a:pt x="811932" y="1160702"/>
                      <a:pt x="822781" y="1160702"/>
                    </a:cubicBezTo>
                    <a:cubicBezTo>
                      <a:pt x="833384" y="1160702"/>
                      <a:pt x="842261" y="1151826"/>
                      <a:pt x="842261" y="1141221"/>
                    </a:cubicBezTo>
                    <a:close/>
                    <a:moveTo>
                      <a:pt x="843245" y="5285773"/>
                    </a:moveTo>
                    <a:cubicBezTo>
                      <a:pt x="843245" y="5275171"/>
                      <a:pt x="834614" y="5266540"/>
                      <a:pt x="824010" y="5266540"/>
                    </a:cubicBezTo>
                    <a:cubicBezTo>
                      <a:pt x="813410" y="5266540"/>
                      <a:pt x="804779" y="5275171"/>
                      <a:pt x="804779" y="5285773"/>
                    </a:cubicBezTo>
                    <a:cubicBezTo>
                      <a:pt x="804779" y="5296376"/>
                      <a:pt x="813410" y="5305007"/>
                      <a:pt x="824010" y="5305007"/>
                    </a:cubicBezTo>
                    <a:cubicBezTo>
                      <a:pt x="834614" y="5305007"/>
                      <a:pt x="843245" y="5296376"/>
                      <a:pt x="843245" y="5285773"/>
                    </a:cubicBezTo>
                    <a:close/>
                    <a:moveTo>
                      <a:pt x="845465" y="3160260"/>
                    </a:moveTo>
                    <a:cubicBezTo>
                      <a:pt x="845465" y="3150891"/>
                      <a:pt x="837821" y="3143246"/>
                      <a:pt x="828450" y="3143246"/>
                    </a:cubicBezTo>
                    <a:cubicBezTo>
                      <a:pt x="819081" y="3143246"/>
                      <a:pt x="811437" y="3150891"/>
                      <a:pt x="811437" y="3160260"/>
                    </a:cubicBezTo>
                    <a:cubicBezTo>
                      <a:pt x="811437" y="3169632"/>
                      <a:pt x="819081" y="3177277"/>
                      <a:pt x="828450" y="3177277"/>
                    </a:cubicBezTo>
                    <a:cubicBezTo>
                      <a:pt x="837821" y="3177277"/>
                      <a:pt x="845465" y="3169632"/>
                      <a:pt x="845465" y="3160260"/>
                    </a:cubicBezTo>
                    <a:close/>
                    <a:moveTo>
                      <a:pt x="849411" y="4896431"/>
                    </a:moveTo>
                    <a:cubicBezTo>
                      <a:pt x="849411" y="4891745"/>
                      <a:pt x="845712" y="4887800"/>
                      <a:pt x="840780" y="4887800"/>
                    </a:cubicBezTo>
                    <a:cubicBezTo>
                      <a:pt x="836094" y="4887800"/>
                      <a:pt x="832150" y="4891500"/>
                      <a:pt x="832150" y="4896431"/>
                    </a:cubicBezTo>
                    <a:cubicBezTo>
                      <a:pt x="832150" y="4901114"/>
                      <a:pt x="835849" y="4905059"/>
                      <a:pt x="840780" y="4905059"/>
                    </a:cubicBezTo>
                    <a:cubicBezTo>
                      <a:pt x="845712" y="4905059"/>
                      <a:pt x="849656" y="4901114"/>
                      <a:pt x="849411" y="4896431"/>
                    </a:cubicBezTo>
                    <a:close/>
                    <a:moveTo>
                      <a:pt x="849905" y="6306350"/>
                    </a:moveTo>
                    <a:cubicBezTo>
                      <a:pt x="849905" y="6304869"/>
                      <a:pt x="848671" y="6303637"/>
                      <a:pt x="847193" y="6303637"/>
                    </a:cubicBezTo>
                    <a:cubicBezTo>
                      <a:pt x="845712" y="6303637"/>
                      <a:pt x="844480" y="6304869"/>
                      <a:pt x="844480" y="6306350"/>
                    </a:cubicBezTo>
                    <a:cubicBezTo>
                      <a:pt x="844480" y="6307828"/>
                      <a:pt x="845712" y="6309063"/>
                      <a:pt x="847193" y="6309063"/>
                    </a:cubicBezTo>
                    <a:cubicBezTo>
                      <a:pt x="848671" y="6309063"/>
                      <a:pt x="849905" y="6307828"/>
                      <a:pt x="849905" y="6306350"/>
                    </a:cubicBezTo>
                    <a:close/>
                    <a:moveTo>
                      <a:pt x="850149" y="3623605"/>
                    </a:moveTo>
                    <a:cubicBezTo>
                      <a:pt x="850149" y="3603385"/>
                      <a:pt x="833873" y="3587112"/>
                      <a:pt x="813656" y="3587112"/>
                    </a:cubicBezTo>
                    <a:cubicBezTo>
                      <a:pt x="793435" y="3587112"/>
                      <a:pt x="777163" y="3603385"/>
                      <a:pt x="777163" y="3623605"/>
                    </a:cubicBezTo>
                    <a:cubicBezTo>
                      <a:pt x="777163" y="3643823"/>
                      <a:pt x="793684" y="3660099"/>
                      <a:pt x="813656" y="3660099"/>
                    </a:cubicBezTo>
                    <a:cubicBezTo>
                      <a:pt x="833873" y="3660099"/>
                      <a:pt x="850149" y="3643823"/>
                      <a:pt x="850149" y="3623605"/>
                    </a:cubicBezTo>
                    <a:close/>
                    <a:moveTo>
                      <a:pt x="856561" y="3045103"/>
                    </a:moveTo>
                    <a:cubicBezTo>
                      <a:pt x="856561" y="3038693"/>
                      <a:pt x="851384" y="3033267"/>
                      <a:pt x="844725" y="3033267"/>
                    </a:cubicBezTo>
                    <a:cubicBezTo>
                      <a:pt x="838315" y="3033267"/>
                      <a:pt x="832890" y="3038445"/>
                      <a:pt x="832890" y="3045103"/>
                    </a:cubicBezTo>
                    <a:cubicBezTo>
                      <a:pt x="832890" y="3051762"/>
                      <a:pt x="838067" y="3057187"/>
                      <a:pt x="844725" y="3057187"/>
                    </a:cubicBezTo>
                    <a:cubicBezTo>
                      <a:pt x="851384" y="3057187"/>
                      <a:pt x="856561" y="3051762"/>
                      <a:pt x="856561" y="3045103"/>
                    </a:cubicBezTo>
                    <a:close/>
                    <a:moveTo>
                      <a:pt x="856806" y="4251632"/>
                    </a:moveTo>
                    <a:cubicBezTo>
                      <a:pt x="856806" y="4225989"/>
                      <a:pt x="836094" y="4205276"/>
                      <a:pt x="810697" y="4205276"/>
                    </a:cubicBezTo>
                    <a:cubicBezTo>
                      <a:pt x="785053" y="4205276"/>
                      <a:pt x="764341" y="4225989"/>
                      <a:pt x="764341" y="4251632"/>
                    </a:cubicBezTo>
                    <a:cubicBezTo>
                      <a:pt x="764341" y="4277276"/>
                      <a:pt x="785299" y="4297988"/>
                      <a:pt x="810697" y="4297988"/>
                    </a:cubicBezTo>
                    <a:cubicBezTo>
                      <a:pt x="836094" y="4297988"/>
                      <a:pt x="856806" y="4277276"/>
                      <a:pt x="856806" y="4251632"/>
                    </a:cubicBezTo>
                    <a:close/>
                    <a:moveTo>
                      <a:pt x="861738" y="1284203"/>
                    </a:moveTo>
                    <a:cubicBezTo>
                      <a:pt x="861738" y="1273857"/>
                      <a:pt x="853356" y="1265452"/>
                      <a:pt x="842999" y="1265452"/>
                    </a:cubicBezTo>
                    <a:cubicBezTo>
                      <a:pt x="832643" y="1265452"/>
                      <a:pt x="824259" y="1273857"/>
                      <a:pt x="824259" y="1284203"/>
                    </a:cubicBezTo>
                    <a:cubicBezTo>
                      <a:pt x="824259" y="1294553"/>
                      <a:pt x="832643" y="1302945"/>
                      <a:pt x="842999" y="1302945"/>
                    </a:cubicBezTo>
                    <a:cubicBezTo>
                      <a:pt x="853356" y="1302945"/>
                      <a:pt x="861738" y="1294553"/>
                      <a:pt x="861738" y="1284203"/>
                    </a:cubicBezTo>
                    <a:close/>
                    <a:moveTo>
                      <a:pt x="863217" y="3739249"/>
                    </a:moveTo>
                    <a:cubicBezTo>
                      <a:pt x="863217" y="3716813"/>
                      <a:pt x="844972" y="3698565"/>
                      <a:pt x="822532" y="3698565"/>
                    </a:cubicBezTo>
                    <a:cubicBezTo>
                      <a:pt x="800096" y="3698565"/>
                      <a:pt x="781848" y="3716813"/>
                      <a:pt x="781848" y="3739249"/>
                    </a:cubicBezTo>
                    <a:cubicBezTo>
                      <a:pt x="781848" y="3761689"/>
                      <a:pt x="800096" y="3779937"/>
                      <a:pt x="822532" y="3779937"/>
                    </a:cubicBezTo>
                    <a:cubicBezTo>
                      <a:pt x="844972" y="3779937"/>
                      <a:pt x="863217" y="3761934"/>
                      <a:pt x="863217" y="3739249"/>
                    </a:cubicBezTo>
                    <a:close/>
                    <a:moveTo>
                      <a:pt x="863957" y="2540351"/>
                    </a:moveTo>
                    <a:cubicBezTo>
                      <a:pt x="863957" y="2540105"/>
                      <a:pt x="863711" y="2539860"/>
                      <a:pt x="863465" y="2539860"/>
                    </a:cubicBezTo>
                    <a:cubicBezTo>
                      <a:pt x="863216" y="2539860"/>
                      <a:pt x="862971" y="2540105"/>
                      <a:pt x="862971" y="2540351"/>
                    </a:cubicBezTo>
                    <a:cubicBezTo>
                      <a:pt x="862971" y="2540598"/>
                      <a:pt x="863216" y="2540843"/>
                      <a:pt x="863465" y="2540843"/>
                    </a:cubicBezTo>
                    <a:cubicBezTo>
                      <a:pt x="863711" y="2540843"/>
                      <a:pt x="863957" y="2540598"/>
                      <a:pt x="863957" y="2540351"/>
                    </a:cubicBezTo>
                    <a:close/>
                    <a:moveTo>
                      <a:pt x="864944" y="5134622"/>
                    </a:moveTo>
                    <a:cubicBezTo>
                      <a:pt x="864944" y="5128950"/>
                      <a:pt x="860261" y="5124018"/>
                      <a:pt x="854343" y="5124018"/>
                    </a:cubicBezTo>
                    <a:cubicBezTo>
                      <a:pt x="848425" y="5124018"/>
                      <a:pt x="843740" y="5128703"/>
                      <a:pt x="843740" y="5134622"/>
                    </a:cubicBezTo>
                    <a:cubicBezTo>
                      <a:pt x="843740" y="5140540"/>
                      <a:pt x="848425" y="5145222"/>
                      <a:pt x="854343" y="5145222"/>
                    </a:cubicBezTo>
                    <a:cubicBezTo>
                      <a:pt x="860261" y="5145222"/>
                      <a:pt x="865193" y="5140540"/>
                      <a:pt x="864944" y="5134622"/>
                    </a:cubicBezTo>
                    <a:close/>
                    <a:moveTo>
                      <a:pt x="868151" y="4633580"/>
                    </a:moveTo>
                    <a:cubicBezTo>
                      <a:pt x="868151" y="4614595"/>
                      <a:pt x="852616" y="4599059"/>
                      <a:pt x="833631" y="4599059"/>
                    </a:cubicBezTo>
                    <a:cubicBezTo>
                      <a:pt x="814644" y="4599059"/>
                      <a:pt x="799110" y="4614595"/>
                      <a:pt x="799110" y="4633580"/>
                    </a:cubicBezTo>
                    <a:cubicBezTo>
                      <a:pt x="799110" y="4652567"/>
                      <a:pt x="814644" y="4668101"/>
                      <a:pt x="833631" y="4668101"/>
                    </a:cubicBezTo>
                    <a:cubicBezTo>
                      <a:pt x="852616" y="4668101"/>
                      <a:pt x="868151" y="4652567"/>
                      <a:pt x="868151" y="4633580"/>
                    </a:cubicBezTo>
                    <a:close/>
                    <a:moveTo>
                      <a:pt x="873082" y="6179363"/>
                    </a:moveTo>
                    <a:cubicBezTo>
                      <a:pt x="873082" y="6178376"/>
                      <a:pt x="872096" y="6177389"/>
                      <a:pt x="871109" y="6177389"/>
                    </a:cubicBezTo>
                    <a:cubicBezTo>
                      <a:pt x="870123" y="6177389"/>
                      <a:pt x="869137" y="6178376"/>
                      <a:pt x="869137" y="6179363"/>
                    </a:cubicBezTo>
                    <a:cubicBezTo>
                      <a:pt x="869137" y="6180348"/>
                      <a:pt x="870123" y="6181335"/>
                      <a:pt x="871109" y="6181335"/>
                    </a:cubicBezTo>
                    <a:cubicBezTo>
                      <a:pt x="872096" y="6181335"/>
                      <a:pt x="873082" y="6180595"/>
                      <a:pt x="873082" y="6179363"/>
                    </a:cubicBezTo>
                    <a:close/>
                    <a:moveTo>
                      <a:pt x="873328" y="2930932"/>
                    </a:moveTo>
                    <a:cubicBezTo>
                      <a:pt x="873328" y="2926741"/>
                      <a:pt x="869875" y="2923537"/>
                      <a:pt x="865930" y="2923537"/>
                    </a:cubicBezTo>
                    <a:cubicBezTo>
                      <a:pt x="861738" y="2923537"/>
                      <a:pt x="858534" y="2926987"/>
                      <a:pt x="858534" y="2930932"/>
                    </a:cubicBezTo>
                    <a:cubicBezTo>
                      <a:pt x="858534" y="2935126"/>
                      <a:pt x="861984" y="2938331"/>
                      <a:pt x="865930" y="2938331"/>
                    </a:cubicBezTo>
                    <a:cubicBezTo>
                      <a:pt x="869875" y="2938331"/>
                      <a:pt x="873083" y="2934877"/>
                      <a:pt x="873328" y="2930932"/>
                    </a:cubicBezTo>
                    <a:close/>
                    <a:moveTo>
                      <a:pt x="875301" y="1822997"/>
                    </a:moveTo>
                    <a:cubicBezTo>
                      <a:pt x="875301" y="1810660"/>
                      <a:pt x="865438" y="1800815"/>
                      <a:pt x="853108" y="1800815"/>
                    </a:cubicBezTo>
                    <a:cubicBezTo>
                      <a:pt x="840781" y="1800815"/>
                      <a:pt x="830918" y="1810660"/>
                      <a:pt x="830918" y="1822997"/>
                    </a:cubicBezTo>
                    <a:cubicBezTo>
                      <a:pt x="830918" y="1835313"/>
                      <a:pt x="840781" y="1845169"/>
                      <a:pt x="853108" y="1845169"/>
                    </a:cubicBezTo>
                    <a:cubicBezTo>
                      <a:pt x="865438" y="1845169"/>
                      <a:pt x="875301" y="1835313"/>
                      <a:pt x="875301" y="1822997"/>
                    </a:cubicBezTo>
                    <a:close/>
                    <a:moveTo>
                      <a:pt x="877765" y="2270605"/>
                    </a:moveTo>
                    <a:cubicBezTo>
                      <a:pt x="877765" y="2259039"/>
                      <a:pt x="868148" y="2249431"/>
                      <a:pt x="856559" y="2249431"/>
                    </a:cubicBezTo>
                    <a:cubicBezTo>
                      <a:pt x="844971" y="2249431"/>
                      <a:pt x="835354" y="2259039"/>
                      <a:pt x="835354" y="2270605"/>
                    </a:cubicBezTo>
                    <a:cubicBezTo>
                      <a:pt x="835354" y="2282200"/>
                      <a:pt x="844971" y="2291825"/>
                      <a:pt x="856559" y="2291825"/>
                    </a:cubicBezTo>
                    <a:cubicBezTo>
                      <a:pt x="868148" y="2291825"/>
                      <a:pt x="877765" y="2282449"/>
                      <a:pt x="877765" y="2270605"/>
                    </a:cubicBezTo>
                    <a:close/>
                    <a:moveTo>
                      <a:pt x="878505" y="5673141"/>
                    </a:moveTo>
                    <a:cubicBezTo>
                      <a:pt x="878505" y="5654401"/>
                      <a:pt x="863218" y="5639115"/>
                      <a:pt x="844479" y="5639115"/>
                    </a:cubicBezTo>
                    <a:cubicBezTo>
                      <a:pt x="825491" y="5639115"/>
                      <a:pt x="810205" y="5654401"/>
                      <a:pt x="810205" y="5673141"/>
                    </a:cubicBezTo>
                    <a:cubicBezTo>
                      <a:pt x="810205" y="5691881"/>
                      <a:pt x="825739" y="5707170"/>
                      <a:pt x="844479" y="5707170"/>
                    </a:cubicBezTo>
                    <a:cubicBezTo>
                      <a:pt x="863465" y="5707170"/>
                      <a:pt x="878752" y="5691881"/>
                      <a:pt x="878505" y="5673141"/>
                    </a:cubicBezTo>
                    <a:close/>
                    <a:moveTo>
                      <a:pt x="879244" y="343619"/>
                    </a:moveTo>
                    <a:cubicBezTo>
                      <a:pt x="879244" y="335974"/>
                      <a:pt x="873080" y="329565"/>
                      <a:pt x="865190" y="329565"/>
                    </a:cubicBezTo>
                    <a:cubicBezTo>
                      <a:pt x="857544" y="329565"/>
                      <a:pt x="851135" y="335729"/>
                      <a:pt x="851135" y="343619"/>
                    </a:cubicBezTo>
                    <a:cubicBezTo>
                      <a:pt x="851135" y="351263"/>
                      <a:pt x="857299" y="357672"/>
                      <a:pt x="865190" y="357672"/>
                    </a:cubicBezTo>
                    <a:cubicBezTo>
                      <a:pt x="873080" y="357672"/>
                      <a:pt x="879244" y="351509"/>
                      <a:pt x="879244" y="343619"/>
                    </a:cubicBezTo>
                    <a:close/>
                    <a:moveTo>
                      <a:pt x="879986" y="3854647"/>
                    </a:moveTo>
                    <a:cubicBezTo>
                      <a:pt x="879986" y="3830484"/>
                      <a:pt x="860506" y="3811003"/>
                      <a:pt x="836340" y="3811003"/>
                    </a:cubicBezTo>
                    <a:cubicBezTo>
                      <a:pt x="812177" y="3811003"/>
                      <a:pt x="792697" y="3830484"/>
                      <a:pt x="792697" y="3854647"/>
                    </a:cubicBezTo>
                    <a:cubicBezTo>
                      <a:pt x="792697" y="3878812"/>
                      <a:pt x="812177" y="3898290"/>
                      <a:pt x="836340" y="3898290"/>
                    </a:cubicBezTo>
                    <a:cubicBezTo>
                      <a:pt x="860261" y="3898290"/>
                      <a:pt x="879986" y="3878812"/>
                      <a:pt x="879986" y="3854647"/>
                    </a:cubicBezTo>
                    <a:close/>
                    <a:moveTo>
                      <a:pt x="883683" y="778063"/>
                    </a:moveTo>
                    <a:cubicBezTo>
                      <a:pt x="883683" y="769926"/>
                      <a:pt x="877271" y="763260"/>
                      <a:pt x="869134" y="763260"/>
                    </a:cubicBezTo>
                    <a:cubicBezTo>
                      <a:pt x="860998" y="763260"/>
                      <a:pt x="854340" y="769926"/>
                      <a:pt x="854340" y="778063"/>
                    </a:cubicBezTo>
                    <a:cubicBezTo>
                      <a:pt x="854340" y="785953"/>
                      <a:pt x="860998" y="792608"/>
                      <a:pt x="869134" y="792608"/>
                    </a:cubicBezTo>
                    <a:cubicBezTo>
                      <a:pt x="877025" y="792608"/>
                      <a:pt x="883683" y="786200"/>
                      <a:pt x="883683" y="778063"/>
                    </a:cubicBezTo>
                    <a:close/>
                    <a:moveTo>
                      <a:pt x="886398" y="1429175"/>
                    </a:moveTo>
                    <a:cubicBezTo>
                      <a:pt x="886398" y="1417587"/>
                      <a:pt x="877027" y="1408213"/>
                      <a:pt x="865437" y="1408213"/>
                    </a:cubicBezTo>
                    <a:cubicBezTo>
                      <a:pt x="853851" y="1408213"/>
                      <a:pt x="844480" y="1417587"/>
                      <a:pt x="844480" y="1429175"/>
                    </a:cubicBezTo>
                    <a:cubicBezTo>
                      <a:pt x="844480" y="1440763"/>
                      <a:pt x="853851" y="1450126"/>
                      <a:pt x="865437" y="1450126"/>
                    </a:cubicBezTo>
                    <a:cubicBezTo>
                      <a:pt x="877027" y="1450126"/>
                      <a:pt x="886398" y="1440763"/>
                      <a:pt x="886398" y="1429175"/>
                    </a:cubicBezTo>
                    <a:close/>
                    <a:moveTo>
                      <a:pt x="890341" y="476735"/>
                    </a:moveTo>
                    <a:cubicBezTo>
                      <a:pt x="890341" y="468845"/>
                      <a:pt x="883931" y="462681"/>
                      <a:pt x="876287" y="462681"/>
                    </a:cubicBezTo>
                    <a:cubicBezTo>
                      <a:pt x="868396" y="462681"/>
                      <a:pt x="862233" y="469093"/>
                      <a:pt x="862233" y="476735"/>
                    </a:cubicBezTo>
                    <a:cubicBezTo>
                      <a:pt x="862233" y="484625"/>
                      <a:pt x="868642" y="490791"/>
                      <a:pt x="876287" y="490791"/>
                    </a:cubicBezTo>
                    <a:cubicBezTo>
                      <a:pt x="883931" y="490791"/>
                      <a:pt x="890095" y="484625"/>
                      <a:pt x="890341" y="476735"/>
                    </a:cubicBezTo>
                    <a:close/>
                    <a:moveTo>
                      <a:pt x="891079" y="6041526"/>
                    </a:moveTo>
                    <a:cubicBezTo>
                      <a:pt x="891079" y="6038567"/>
                      <a:pt x="888860" y="6036348"/>
                      <a:pt x="885902" y="6036348"/>
                    </a:cubicBezTo>
                    <a:cubicBezTo>
                      <a:pt x="882943" y="6036348"/>
                      <a:pt x="880725" y="6038567"/>
                      <a:pt x="880725" y="6041526"/>
                    </a:cubicBezTo>
                    <a:cubicBezTo>
                      <a:pt x="880725" y="6044485"/>
                      <a:pt x="882943" y="6046703"/>
                      <a:pt x="885902" y="6046703"/>
                    </a:cubicBezTo>
                    <a:cubicBezTo>
                      <a:pt x="888860" y="6046703"/>
                      <a:pt x="891079" y="6044485"/>
                      <a:pt x="891079" y="6041526"/>
                    </a:cubicBezTo>
                    <a:close/>
                    <a:moveTo>
                      <a:pt x="891819" y="4362344"/>
                    </a:moveTo>
                    <a:cubicBezTo>
                      <a:pt x="891819" y="4336700"/>
                      <a:pt x="870861" y="4315741"/>
                      <a:pt x="845217" y="4315741"/>
                    </a:cubicBezTo>
                    <a:cubicBezTo>
                      <a:pt x="819573" y="4315741"/>
                      <a:pt x="798615" y="4336700"/>
                      <a:pt x="798615" y="4362344"/>
                    </a:cubicBezTo>
                    <a:cubicBezTo>
                      <a:pt x="798615" y="4387988"/>
                      <a:pt x="819573" y="4408949"/>
                      <a:pt x="845217" y="4408949"/>
                    </a:cubicBezTo>
                    <a:cubicBezTo>
                      <a:pt x="870861" y="4408949"/>
                      <a:pt x="891819" y="4387988"/>
                      <a:pt x="891819" y="4362344"/>
                    </a:cubicBezTo>
                    <a:close/>
                    <a:moveTo>
                      <a:pt x="891822" y="2009717"/>
                    </a:moveTo>
                    <a:cubicBezTo>
                      <a:pt x="891822" y="1996413"/>
                      <a:pt x="881219" y="1985573"/>
                      <a:pt x="867903" y="1985573"/>
                    </a:cubicBezTo>
                    <a:cubicBezTo>
                      <a:pt x="854589" y="1985573"/>
                      <a:pt x="843740" y="1996413"/>
                      <a:pt x="843740" y="2009717"/>
                    </a:cubicBezTo>
                    <a:cubicBezTo>
                      <a:pt x="843740" y="2023030"/>
                      <a:pt x="854589" y="2033881"/>
                      <a:pt x="867903" y="2033881"/>
                    </a:cubicBezTo>
                    <a:cubicBezTo>
                      <a:pt x="881219" y="2033881"/>
                      <a:pt x="892068" y="2023030"/>
                      <a:pt x="891822" y="2009717"/>
                    </a:cubicBezTo>
                    <a:close/>
                    <a:moveTo>
                      <a:pt x="892314" y="5527910"/>
                    </a:moveTo>
                    <a:cubicBezTo>
                      <a:pt x="892314" y="5513856"/>
                      <a:pt x="880971" y="5502266"/>
                      <a:pt x="866671" y="5502266"/>
                    </a:cubicBezTo>
                    <a:cubicBezTo>
                      <a:pt x="852616" y="5502266"/>
                      <a:pt x="841027" y="5513607"/>
                      <a:pt x="841027" y="5527910"/>
                    </a:cubicBezTo>
                    <a:cubicBezTo>
                      <a:pt x="841027" y="5541965"/>
                      <a:pt x="852368" y="5553554"/>
                      <a:pt x="866671" y="5553554"/>
                    </a:cubicBezTo>
                    <a:cubicBezTo>
                      <a:pt x="880724" y="5553554"/>
                      <a:pt x="892314" y="5541965"/>
                      <a:pt x="892314" y="5527910"/>
                    </a:cubicBezTo>
                    <a:close/>
                    <a:moveTo>
                      <a:pt x="895518" y="2817992"/>
                    </a:moveTo>
                    <a:cubicBezTo>
                      <a:pt x="895518" y="2816023"/>
                      <a:pt x="894038" y="2814542"/>
                      <a:pt x="892065" y="2814542"/>
                    </a:cubicBezTo>
                    <a:cubicBezTo>
                      <a:pt x="890093" y="2814542"/>
                      <a:pt x="888615" y="2816023"/>
                      <a:pt x="888615" y="2817992"/>
                    </a:cubicBezTo>
                    <a:cubicBezTo>
                      <a:pt x="888615" y="2819969"/>
                      <a:pt x="890093" y="2821445"/>
                      <a:pt x="892065" y="2821445"/>
                    </a:cubicBezTo>
                    <a:cubicBezTo>
                      <a:pt x="894038" y="2821445"/>
                      <a:pt x="895518" y="2819720"/>
                      <a:pt x="895518" y="2817992"/>
                    </a:cubicBezTo>
                    <a:close/>
                    <a:moveTo>
                      <a:pt x="899958" y="915865"/>
                    </a:moveTo>
                    <a:cubicBezTo>
                      <a:pt x="899958" y="907231"/>
                      <a:pt x="892808" y="900083"/>
                      <a:pt x="884178" y="900083"/>
                    </a:cubicBezTo>
                    <a:cubicBezTo>
                      <a:pt x="875547" y="900083"/>
                      <a:pt x="868397" y="907231"/>
                      <a:pt x="868397" y="915865"/>
                    </a:cubicBezTo>
                    <a:cubicBezTo>
                      <a:pt x="868397" y="924509"/>
                      <a:pt x="875547" y="931650"/>
                      <a:pt x="884178" y="931650"/>
                    </a:cubicBezTo>
                    <a:cubicBezTo>
                      <a:pt x="892808" y="931650"/>
                      <a:pt x="899958" y="924509"/>
                      <a:pt x="899958" y="915865"/>
                    </a:cubicBezTo>
                    <a:close/>
                    <a:moveTo>
                      <a:pt x="900699" y="3969303"/>
                    </a:moveTo>
                    <a:cubicBezTo>
                      <a:pt x="900699" y="3944153"/>
                      <a:pt x="880233" y="3923687"/>
                      <a:pt x="855081" y="3923687"/>
                    </a:cubicBezTo>
                    <a:cubicBezTo>
                      <a:pt x="829931" y="3923687"/>
                      <a:pt x="809465" y="3944153"/>
                      <a:pt x="809465" y="3969303"/>
                    </a:cubicBezTo>
                    <a:cubicBezTo>
                      <a:pt x="809465" y="3994456"/>
                      <a:pt x="829931" y="4014919"/>
                      <a:pt x="855081" y="4014919"/>
                    </a:cubicBezTo>
                    <a:cubicBezTo>
                      <a:pt x="880233" y="4014919"/>
                      <a:pt x="900699" y="3994456"/>
                      <a:pt x="900699" y="3969303"/>
                    </a:cubicBezTo>
                    <a:close/>
                    <a:moveTo>
                      <a:pt x="901190" y="4997031"/>
                    </a:moveTo>
                    <a:cubicBezTo>
                      <a:pt x="901190" y="4995058"/>
                      <a:pt x="899710" y="4993580"/>
                      <a:pt x="897737" y="4993580"/>
                    </a:cubicBezTo>
                    <a:cubicBezTo>
                      <a:pt x="895765" y="4993580"/>
                      <a:pt x="894287" y="4995058"/>
                      <a:pt x="894287" y="4997031"/>
                    </a:cubicBezTo>
                    <a:cubicBezTo>
                      <a:pt x="894287" y="4999006"/>
                      <a:pt x="895765" y="5000484"/>
                      <a:pt x="897737" y="5000484"/>
                    </a:cubicBezTo>
                    <a:cubicBezTo>
                      <a:pt x="899464" y="5000484"/>
                      <a:pt x="901190" y="4999006"/>
                      <a:pt x="901190" y="4997031"/>
                    </a:cubicBezTo>
                    <a:close/>
                    <a:moveTo>
                      <a:pt x="901929" y="611583"/>
                    </a:moveTo>
                    <a:cubicBezTo>
                      <a:pt x="901929" y="603692"/>
                      <a:pt x="895519" y="597529"/>
                      <a:pt x="887875" y="597529"/>
                    </a:cubicBezTo>
                    <a:cubicBezTo>
                      <a:pt x="880233" y="597529"/>
                      <a:pt x="873821" y="603941"/>
                      <a:pt x="873821" y="611583"/>
                    </a:cubicBezTo>
                    <a:cubicBezTo>
                      <a:pt x="873821" y="619226"/>
                      <a:pt x="880233" y="625636"/>
                      <a:pt x="887875" y="625636"/>
                    </a:cubicBezTo>
                    <a:cubicBezTo>
                      <a:pt x="895519" y="625636"/>
                      <a:pt x="901929" y="619226"/>
                      <a:pt x="901929" y="611583"/>
                    </a:cubicBezTo>
                    <a:close/>
                    <a:moveTo>
                      <a:pt x="906615" y="4738869"/>
                    </a:moveTo>
                    <a:cubicBezTo>
                      <a:pt x="906615" y="4725307"/>
                      <a:pt x="895765" y="4714457"/>
                      <a:pt x="882206" y="4714457"/>
                    </a:cubicBezTo>
                    <a:cubicBezTo>
                      <a:pt x="868643" y="4714457"/>
                      <a:pt x="857794" y="4725307"/>
                      <a:pt x="857794" y="4738869"/>
                    </a:cubicBezTo>
                    <a:cubicBezTo>
                      <a:pt x="857794" y="4752429"/>
                      <a:pt x="868643" y="4763277"/>
                      <a:pt x="882206" y="4763277"/>
                    </a:cubicBezTo>
                    <a:cubicBezTo>
                      <a:pt x="895519" y="4763277"/>
                      <a:pt x="906615" y="4752429"/>
                      <a:pt x="906615" y="4738869"/>
                    </a:cubicBezTo>
                    <a:close/>
                    <a:moveTo>
                      <a:pt x="906862" y="2431863"/>
                    </a:moveTo>
                    <a:cubicBezTo>
                      <a:pt x="906862" y="2430875"/>
                      <a:pt x="906122" y="2429887"/>
                      <a:pt x="904890" y="2429887"/>
                    </a:cubicBezTo>
                    <a:cubicBezTo>
                      <a:pt x="903903" y="2429887"/>
                      <a:pt x="902918" y="2430875"/>
                      <a:pt x="902918" y="2431863"/>
                    </a:cubicBezTo>
                    <a:cubicBezTo>
                      <a:pt x="902918" y="2432850"/>
                      <a:pt x="903903" y="2433829"/>
                      <a:pt x="904890" y="2433829"/>
                    </a:cubicBezTo>
                    <a:cubicBezTo>
                      <a:pt x="906122" y="2433829"/>
                      <a:pt x="906862" y="2432850"/>
                      <a:pt x="906862" y="2431863"/>
                    </a:cubicBezTo>
                    <a:close/>
                    <a:moveTo>
                      <a:pt x="906862" y="5901966"/>
                    </a:moveTo>
                    <a:cubicBezTo>
                      <a:pt x="906862" y="5899499"/>
                      <a:pt x="904641" y="5897280"/>
                      <a:pt x="902177" y="5897280"/>
                    </a:cubicBezTo>
                    <a:cubicBezTo>
                      <a:pt x="899464" y="5897280"/>
                      <a:pt x="897491" y="5899499"/>
                      <a:pt x="897491" y="5901966"/>
                    </a:cubicBezTo>
                    <a:cubicBezTo>
                      <a:pt x="897491" y="5904431"/>
                      <a:pt x="899464" y="5906652"/>
                      <a:pt x="902177" y="5906652"/>
                    </a:cubicBezTo>
                    <a:cubicBezTo>
                      <a:pt x="904890" y="5906652"/>
                      <a:pt x="906862" y="5904679"/>
                      <a:pt x="906862" y="5901966"/>
                    </a:cubicBezTo>
                    <a:close/>
                    <a:moveTo>
                      <a:pt x="909329" y="1576354"/>
                    </a:moveTo>
                    <a:cubicBezTo>
                      <a:pt x="909329" y="1565503"/>
                      <a:pt x="900698" y="1556875"/>
                      <a:pt x="889849" y="1556875"/>
                    </a:cubicBezTo>
                    <a:cubicBezTo>
                      <a:pt x="879000" y="1556875"/>
                      <a:pt x="870369" y="1565503"/>
                      <a:pt x="870369" y="1576354"/>
                    </a:cubicBezTo>
                    <a:cubicBezTo>
                      <a:pt x="870369" y="1587197"/>
                      <a:pt x="879000" y="1595841"/>
                      <a:pt x="889849" y="1595841"/>
                    </a:cubicBezTo>
                    <a:cubicBezTo>
                      <a:pt x="900452" y="1595841"/>
                      <a:pt x="909329" y="1587197"/>
                      <a:pt x="909329" y="1576354"/>
                    </a:cubicBezTo>
                    <a:close/>
                    <a:moveTo>
                      <a:pt x="910068" y="5380949"/>
                    </a:moveTo>
                    <a:cubicBezTo>
                      <a:pt x="910068" y="5370345"/>
                      <a:pt x="901437" y="5361963"/>
                      <a:pt x="891079" y="5361963"/>
                    </a:cubicBezTo>
                    <a:cubicBezTo>
                      <a:pt x="880725" y="5361963"/>
                      <a:pt x="872094" y="5370594"/>
                      <a:pt x="872094" y="5380949"/>
                    </a:cubicBezTo>
                    <a:cubicBezTo>
                      <a:pt x="872094" y="5391307"/>
                      <a:pt x="880725" y="5399935"/>
                      <a:pt x="891079" y="5399935"/>
                    </a:cubicBezTo>
                    <a:cubicBezTo>
                      <a:pt x="901684" y="5399935"/>
                      <a:pt x="910068" y="5391307"/>
                      <a:pt x="910068" y="5380949"/>
                    </a:cubicBezTo>
                    <a:close/>
                    <a:moveTo>
                      <a:pt x="915985" y="6650815"/>
                    </a:moveTo>
                    <a:cubicBezTo>
                      <a:pt x="915985" y="6649091"/>
                      <a:pt x="914258" y="6647610"/>
                      <a:pt x="912531" y="6647610"/>
                    </a:cubicBezTo>
                    <a:cubicBezTo>
                      <a:pt x="910561" y="6647610"/>
                      <a:pt x="909081" y="6649091"/>
                      <a:pt x="909081" y="6650815"/>
                    </a:cubicBezTo>
                    <a:cubicBezTo>
                      <a:pt x="909081" y="6652788"/>
                      <a:pt x="910808" y="6654269"/>
                      <a:pt x="912531" y="6654269"/>
                    </a:cubicBezTo>
                    <a:cubicBezTo>
                      <a:pt x="914258" y="6654269"/>
                      <a:pt x="915739" y="6652788"/>
                      <a:pt x="915985" y="6650815"/>
                    </a:cubicBezTo>
                    <a:close/>
                    <a:moveTo>
                      <a:pt x="918944" y="1055149"/>
                    </a:moveTo>
                    <a:cubicBezTo>
                      <a:pt x="918944" y="1045057"/>
                      <a:pt x="910808" y="1036908"/>
                      <a:pt x="900697" y="1036908"/>
                    </a:cubicBezTo>
                    <a:cubicBezTo>
                      <a:pt x="890588" y="1036908"/>
                      <a:pt x="882451" y="1045057"/>
                      <a:pt x="882451" y="1055149"/>
                    </a:cubicBezTo>
                    <a:cubicBezTo>
                      <a:pt x="882451" y="1065277"/>
                      <a:pt x="890588" y="1073413"/>
                      <a:pt x="900697" y="1073413"/>
                    </a:cubicBezTo>
                    <a:cubicBezTo>
                      <a:pt x="910808" y="1073413"/>
                      <a:pt x="918944" y="1065277"/>
                      <a:pt x="918944" y="1055149"/>
                    </a:cubicBezTo>
                    <a:close/>
                    <a:moveTo>
                      <a:pt x="924862" y="4082731"/>
                    </a:moveTo>
                    <a:cubicBezTo>
                      <a:pt x="924862" y="4057333"/>
                      <a:pt x="904149" y="4036620"/>
                      <a:pt x="878755" y="4036620"/>
                    </a:cubicBezTo>
                    <a:cubicBezTo>
                      <a:pt x="853356" y="4036620"/>
                      <a:pt x="832644" y="4057333"/>
                      <a:pt x="832644" y="4082731"/>
                    </a:cubicBezTo>
                    <a:cubicBezTo>
                      <a:pt x="832644" y="4108375"/>
                      <a:pt x="853356" y="4129088"/>
                      <a:pt x="878755" y="4129088"/>
                    </a:cubicBezTo>
                    <a:cubicBezTo>
                      <a:pt x="904149" y="4129088"/>
                      <a:pt x="924862" y="4108375"/>
                      <a:pt x="924862" y="4082731"/>
                    </a:cubicBezTo>
                    <a:close/>
                    <a:moveTo>
                      <a:pt x="925848" y="6518402"/>
                    </a:moveTo>
                    <a:cubicBezTo>
                      <a:pt x="925848" y="6516429"/>
                      <a:pt x="924368" y="6514951"/>
                      <a:pt x="922395" y="6514951"/>
                    </a:cubicBezTo>
                    <a:cubicBezTo>
                      <a:pt x="920422" y="6514951"/>
                      <a:pt x="918944" y="6516429"/>
                      <a:pt x="918944" y="6518402"/>
                    </a:cubicBezTo>
                    <a:cubicBezTo>
                      <a:pt x="918944" y="6520377"/>
                      <a:pt x="920422" y="6521855"/>
                      <a:pt x="922395" y="6521855"/>
                    </a:cubicBezTo>
                    <a:cubicBezTo>
                      <a:pt x="924368" y="6521855"/>
                      <a:pt x="925848" y="6520377"/>
                      <a:pt x="925848" y="6518402"/>
                    </a:cubicBezTo>
                    <a:close/>
                    <a:moveTo>
                      <a:pt x="926094" y="2706043"/>
                    </a:moveTo>
                    <a:cubicBezTo>
                      <a:pt x="926094" y="2704560"/>
                      <a:pt x="924862" y="2703083"/>
                      <a:pt x="923135" y="2703083"/>
                    </a:cubicBezTo>
                    <a:cubicBezTo>
                      <a:pt x="921658" y="2703083"/>
                      <a:pt x="920177" y="2704315"/>
                      <a:pt x="920177" y="2706043"/>
                    </a:cubicBezTo>
                    <a:cubicBezTo>
                      <a:pt x="920177" y="2707769"/>
                      <a:pt x="921409" y="2709002"/>
                      <a:pt x="923135" y="2709002"/>
                    </a:cubicBezTo>
                    <a:cubicBezTo>
                      <a:pt x="924616" y="2709002"/>
                      <a:pt x="926094" y="2707521"/>
                      <a:pt x="926094" y="2706043"/>
                    </a:cubicBezTo>
                    <a:close/>
                    <a:moveTo>
                      <a:pt x="928312" y="5231771"/>
                    </a:moveTo>
                    <a:cubicBezTo>
                      <a:pt x="928312" y="5226348"/>
                      <a:pt x="923875" y="5221908"/>
                      <a:pt x="918450" y="5221908"/>
                    </a:cubicBezTo>
                    <a:cubicBezTo>
                      <a:pt x="913027" y="5221908"/>
                      <a:pt x="908587" y="5226348"/>
                      <a:pt x="908587" y="5231771"/>
                    </a:cubicBezTo>
                    <a:cubicBezTo>
                      <a:pt x="908587" y="5237198"/>
                      <a:pt x="913027" y="5241634"/>
                      <a:pt x="918450" y="5241634"/>
                    </a:cubicBezTo>
                    <a:cubicBezTo>
                      <a:pt x="923627" y="5241634"/>
                      <a:pt x="928067" y="5237198"/>
                      <a:pt x="928312" y="5231771"/>
                    </a:cubicBezTo>
                    <a:close/>
                    <a:moveTo>
                      <a:pt x="930531" y="4471580"/>
                    </a:moveTo>
                    <a:cubicBezTo>
                      <a:pt x="930531" y="4446183"/>
                      <a:pt x="909818" y="4425470"/>
                      <a:pt x="884424" y="4425470"/>
                    </a:cubicBezTo>
                    <a:cubicBezTo>
                      <a:pt x="859025" y="4425470"/>
                      <a:pt x="838313" y="4446183"/>
                      <a:pt x="838313" y="4471580"/>
                    </a:cubicBezTo>
                    <a:cubicBezTo>
                      <a:pt x="838313" y="4496975"/>
                      <a:pt x="859025" y="4517687"/>
                      <a:pt x="884424" y="4517687"/>
                    </a:cubicBezTo>
                    <a:cubicBezTo>
                      <a:pt x="909818" y="4517687"/>
                      <a:pt x="930531" y="4496975"/>
                      <a:pt x="930531" y="4471580"/>
                    </a:cubicBezTo>
                    <a:close/>
                    <a:moveTo>
                      <a:pt x="932505" y="2166301"/>
                    </a:moveTo>
                    <a:cubicBezTo>
                      <a:pt x="932505" y="2152251"/>
                      <a:pt x="921162" y="2140913"/>
                      <a:pt x="907108" y="2140913"/>
                    </a:cubicBezTo>
                    <a:cubicBezTo>
                      <a:pt x="893054" y="2140913"/>
                      <a:pt x="881711" y="2152251"/>
                      <a:pt x="881711" y="2166301"/>
                    </a:cubicBezTo>
                    <a:cubicBezTo>
                      <a:pt x="881711" y="2180379"/>
                      <a:pt x="893054" y="2191714"/>
                      <a:pt x="907108" y="2191714"/>
                    </a:cubicBezTo>
                    <a:cubicBezTo>
                      <a:pt x="920916" y="2191714"/>
                      <a:pt x="932505" y="2180379"/>
                      <a:pt x="932505" y="2166301"/>
                    </a:cubicBezTo>
                    <a:close/>
                    <a:moveTo>
                      <a:pt x="935711" y="6384513"/>
                    </a:moveTo>
                    <a:cubicBezTo>
                      <a:pt x="935711" y="6383278"/>
                      <a:pt x="934725" y="6382046"/>
                      <a:pt x="933244" y="6382046"/>
                    </a:cubicBezTo>
                    <a:cubicBezTo>
                      <a:pt x="932012" y="6382046"/>
                      <a:pt x="930780" y="6383032"/>
                      <a:pt x="930780" y="6384513"/>
                    </a:cubicBezTo>
                    <a:cubicBezTo>
                      <a:pt x="930780" y="6385991"/>
                      <a:pt x="931765" y="6386977"/>
                      <a:pt x="933244" y="6386977"/>
                    </a:cubicBezTo>
                    <a:cubicBezTo>
                      <a:pt x="934725" y="6386977"/>
                      <a:pt x="935958" y="6385991"/>
                      <a:pt x="935711" y="6384513"/>
                    </a:cubicBezTo>
                    <a:close/>
                    <a:moveTo>
                      <a:pt x="936451" y="1196185"/>
                    </a:moveTo>
                    <a:cubicBezTo>
                      <a:pt x="936451" y="1186324"/>
                      <a:pt x="928561" y="1178426"/>
                      <a:pt x="918698" y="1178426"/>
                    </a:cubicBezTo>
                    <a:cubicBezTo>
                      <a:pt x="908835" y="1178426"/>
                      <a:pt x="900945" y="1186324"/>
                      <a:pt x="900945" y="1196185"/>
                    </a:cubicBezTo>
                    <a:cubicBezTo>
                      <a:pt x="900945" y="1206048"/>
                      <a:pt x="908835" y="1213941"/>
                      <a:pt x="918698" y="1213941"/>
                    </a:cubicBezTo>
                    <a:cubicBezTo>
                      <a:pt x="928315" y="1213941"/>
                      <a:pt x="936451" y="1206048"/>
                      <a:pt x="936451" y="1196185"/>
                    </a:cubicBezTo>
                    <a:close/>
                    <a:moveTo>
                      <a:pt x="937932" y="1725738"/>
                    </a:moveTo>
                    <a:cubicBezTo>
                      <a:pt x="937932" y="1714127"/>
                      <a:pt x="928561" y="1704806"/>
                      <a:pt x="916971" y="1704806"/>
                    </a:cubicBezTo>
                    <a:cubicBezTo>
                      <a:pt x="905384" y="1704806"/>
                      <a:pt x="896014" y="1714127"/>
                      <a:pt x="896014" y="1725738"/>
                    </a:cubicBezTo>
                    <a:cubicBezTo>
                      <a:pt x="896014" y="1737349"/>
                      <a:pt x="905384" y="1746733"/>
                      <a:pt x="916971" y="1746733"/>
                    </a:cubicBezTo>
                    <a:cubicBezTo>
                      <a:pt x="928561" y="1746733"/>
                      <a:pt x="937932" y="1737102"/>
                      <a:pt x="937932" y="1725738"/>
                    </a:cubicBezTo>
                    <a:close/>
                    <a:moveTo>
                      <a:pt x="946314" y="3334064"/>
                    </a:moveTo>
                    <a:cubicBezTo>
                      <a:pt x="946314" y="3320765"/>
                      <a:pt x="935465" y="3309917"/>
                      <a:pt x="922149" y="3309917"/>
                    </a:cubicBezTo>
                    <a:cubicBezTo>
                      <a:pt x="908835" y="3309917"/>
                      <a:pt x="897986" y="3320765"/>
                      <a:pt x="897986" y="3334064"/>
                    </a:cubicBezTo>
                    <a:cubicBezTo>
                      <a:pt x="897986" y="3347403"/>
                      <a:pt x="908835" y="3358239"/>
                      <a:pt x="922149" y="3358239"/>
                    </a:cubicBezTo>
                    <a:cubicBezTo>
                      <a:pt x="935465" y="3358239"/>
                      <a:pt x="946560" y="3347403"/>
                      <a:pt x="946314" y="3334064"/>
                    </a:cubicBezTo>
                    <a:close/>
                    <a:moveTo>
                      <a:pt x="947546" y="3449961"/>
                    </a:moveTo>
                    <a:cubicBezTo>
                      <a:pt x="947546" y="3433951"/>
                      <a:pt x="934479" y="3420869"/>
                      <a:pt x="918452" y="3420869"/>
                    </a:cubicBezTo>
                    <a:cubicBezTo>
                      <a:pt x="902422" y="3420869"/>
                      <a:pt x="889355" y="3433951"/>
                      <a:pt x="889355" y="3449961"/>
                    </a:cubicBezTo>
                    <a:cubicBezTo>
                      <a:pt x="889355" y="3465797"/>
                      <a:pt x="902422" y="3478865"/>
                      <a:pt x="918452" y="3478865"/>
                    </a:cubicBezTo>
                    <a:cubicBezTo>
                      <a:pt x="934479" y="3478865"/>
                      <a:pt x="947300" y="3466042"/>
                      <a:pt x="947546" y="3449961"/>
                    </a:cubicBezTo>
                    <a:close/>
                    <a:moveTo>
                      <a:pt x="948779" y="4842182"/>
                    </a:moveTo>
                    <a:cubicBezTo>
                      <a:pt x="948779" y="4834538"/>
                      <a:pt x="942615" y="4828128"/>
                      <a:pt x="934724" y="4828128"/>
                    </a:cubicBezTo>
                    <a:cubicBezTo>
                      <a:pt x="927080" y="4828128"/>
                      <a:pt x="920671" y="4834292"/>
                      <a:pt x="920671" y="4842182"/>
                    </a:cubicBezTo>
                    <a:cubicBezTo>
                      <a:pt x="920671" y="4849827"/>
                      <a:pt x="926834" y="4856236"/>
                      <a:pt x="934724" y="4856236"/>
                    </a:cubicBezTo>
                    <a:cubicBezTo>
                      <a:pt x="942615" y="4856236"/>
                      <a:pt x="949027" y="4849827"/>
                      <a:pt x="948779" y="4842182"/>
                    </a:cubicBezTo>
                    <a:close/>
                    <a:moveTo>
                      <a:pt x="950752" y="3217945"/>
                    </a:moveTo>
                    <a:cubicBezTo>
                      <a:pt x="950752" y="3207096"/>
                      <a:pt x="942123" y="3198465"/>
                      <a:pt x="931274" y="3198465"/>
                    </a:cubicBezTo>
                    <a:cubicBezTo>
                      <a:pt x="920425" y="3198465"/>
                      <a:pt x="911794" y="3207096"/>
                      <a:pt x="911794" y="3217945"/>
                    </a:cubicBezTo>
                    <a:cubicBezTo>
                      <a:pt x="911794" y="3228796"/>
                      <a:pt x="920425" y="3237427"/>
                      <a:pt x="931274" y="3237427"/>
                    </a:cubicBezTo>
                    <a:cubicBezTo>
                      <a:pt x="941875" y="3237427"/>
                      <a:pt x="950752" y="3228796"/>
                      <a:pt x="950752" y="3217945"/>
                    </a:cubicBezTo>
                    <a:close/>
                    <a:moveTo>
                      <a:pt x="951246" y="1909937"/>
                    </a:moveTo>
                    <a:cubicBezTo>
                      <a:pt x="951246" y="1896387"/>
                      <a:pt x="940151" y="1885302"/>
                      <a:pt x="926589" y="1885302"/>
                    </a:cubicBezTo>
                    <a:cubicBezTo>
                      <a:pt x="913027" y="1885302"/>
                      <a:pt x="901931" y="1896387"/>
                      <a:pt x="901931" y="1909937"/>
                    </a:cubicBezTo>
                    <a:cubicBezTo>
                      <a:pt x="901931" y="1923489"/>
                      <a:pt x="913027" y="1934575"/>
                      <a:pt x="926589" y="1934575"/>
                    </a:cubicBezTo>
                    <a:cubicBezTo>
                      <a:pt x="940151" y="1934575"/>
                      <a:pt x="951246" y="1923489"/>
                      <a:pt x="951246" y="1909937"/>
                    </a:cubicBezTo>
                    <a:close/>
                    <a:moveTo>
                      <a:pt x="952479" y="3566151"/>
                    </a:moveTo>
                    <a:cubicBezTo>
                      <a:pt x="952479" y="3548151"/>
                      <a:pt x="937684" y="3533357"/>
                      <a:pt x="919685" y="3533357"/>
                    </a:cubicBezTo>
                    <a:cubicBezTo>
                      <a:pt x="901686" y="3533357"/>
                      <a:pt x="886891" y="3548151"/>
                      <a:pt x="886891" y="3566151"/>
                    </a:cubicBezTo>
                    <a:cubicBezTo>
                      <a:pt x="886891" y="3584151"/>
                      <a:pt x="901686" y="3598948"/>
                      <a:pt x="919685" y="3598948"/>
                    </a:cubicBezTo>
                    <a:cubicBezTo>
                      <a:pt x="937933" y="3598948"/>
                      <a:pt x="952479" y="3584151"/>
                      <a:pt x="952479" y="3566151"/>
                    </a:cubicBezTo>
                    <a:close/>
                    <a:moveTo>
                      <a:pt x="953465" y="5761170"/>
                    </a:moveTo>
                    <a:cubicBezTo>
                      <a:pt x="953465" y="5742922"/>
                      <a:pt x="938424" y="5727881"/>
                      <a:pt x="920180" y="5727881"/>
                    </a:cubicBezTo>
                    <a:cubicBezTo>
                      <a:pt x="901931" y="5727881"/>
                      <a:pt x="886891" y="5742922"/>
                      <a:pt x="886891" y="5761170"/>
                    </a:cubicBezTo>
                    <a:cubicBezTo>
                      <a:pt x="886891" y="5779415"/>
                      <a:pt x="901686" y="5794458"/>
                      <a:pt x="920180" y="5794458"/>
                    </a:cubicBezTo>
                    <a:cubicBezTo>
                      <a:pt x="938671" y="5794458"/>
                      <a:pt x="953465" y="5779415"/>
                      <a:pt x="953465" y="5761170"/>
                    </a:cubicBezTo>
                    <a:close/>
                    <a:moveTo>
                      <a:pt x="954449" y="4195416"/>
                    </a:moveTo>
                    <a:cubicBezTo>
                      <a:pt x="954449" y="4169526"/>
                      <a:pt x="933244" y="4148319"/>
                      <a:pt x="907355" y="4148319"/>
                    </a:cubicBezTo>
                    <a:cubicBezTo>
                      <a:pt x="881464" y="4148319"/>
                      <a:pt x="860258" y="4169526"/>
                      <a:pt x="860258" y="4195416"/>
                    </a:cubicBezTo>
                    <a:cubicBezTo>
                      <a:pt x="860258" y="4221306"/>
                      <a:pt x="881464" y="4242513"/>
                      <a:pt x="907355" y="4242513"/>
                    </a:cubicBezTo>
                    <a:cubicBezTo>
                      <a:pt x="933490" y="4242513"/>
                      <a:pt x="954449" y="4221306"/>
                      <a:pt x="954449" y="4195416"/>
                    </a:cubicBezTo>
                    <a:close/>
                    <a:moveTo>
                      <a:pt x="957658" y="6258758"/>
                    </a:moveTo>
                    <a:cubicBezTo>
                      <a:pt x="957658" y="6257526"/>
                      <a:pt x="956673" y="6256540"/>
                      <a:pt x="955437" y="6256540"/>
                    </a:cubicBezTo>
                    <a:cubicBezTo>
                      <a:pt x="954205" y="6256540"/>
                      <a:pt x="953219" y="6257526"/>
                      <a:pt x="953219" y="6258758"/>
                    </a:cubicBezTo>
                    <a:cubicBezTo>
                      <a:pt x="953219" y="6259993"/>
                      <a:pt x="954205" y="6260976"/>
                      <a:pt x="955437" y="6260976"/>
                    </a:cubicBezTo>
                    <a:cubicBezTo>
                      <a:pt x="956673" y="6260976"/>
                      <a:pt x="957658" y="6259993"/>
                      <a:pt x="957658" y="6258758"/>
                    </a:cubicBezTo>
                    <a:close/>
                    <a:moveTo>
                      <a:pt x="958890" y="1338678"/>
                    </a:moveTo>
                    <a:cubicBezTo>
                      <a:pt x="958890" y="1327825"/>
                      <a:pt x="949768" y="1318703"/>
                      <a:pt x="938670" y="1318703"/>
                    </a:cubicBezTo>
                    <a:cubicBezTo>
                      <a:pt x="927574" y="1318703"/>
                      <a:pt x="918452" y="1327579"/>
                      <a:pt x="918452" y="1338678"/>
                    </a:cubicBezTo>
                    <a:cubicBezTo>
                      <a:pt x="918452" y="1349777"/>
                      <a:pt x="927574" y="1358899"/>
                      <a:pt x="938670" y="1358899"/>
                    </a:cubicBezTo>
                    <a:cubicBezTo>
                      <a:pt x="949768" y="1358899"/>
                      <a:pt x="958645" y="1349777"/>
                      <a:pt x="958890" y="1338678"/>
                    </a:cubicBezTo>
                    <a:close/>
                    <a:moveTo>
                      <a:pt x="959874" y="2595571"/>
                    </a:moveTo>
                    <a:cubicBezTo>
                      <a:pt x="959874" y="2595079"/>
                      <a:pt x="959380" y="2594585"/>
                      <a:pt x="958887" y="2594585"/>
                    </a:cubicBezTo>
                    <a:cubicBezTo>
                      <a:pt x="958396" y="2594585"/>
                      <a:pt x="957902" y="2595079"/>
                      <a:pt x="957902" y="2595571"/>
                    </a:cubicBezTo>
                    <a:cubicBezTo>
                      <a:pt x="957902" y="2596062"/>
                      <a:pt x="958396" y="2596556"/>
                      <a:pt x="958887" y="2596556"/>
                    </a:cubicBezTo>
                    <a:cubicBezTo>
                      <a:pt x="959628" y="2596556"/>
                      <a:pt x="960120" y="2596062"/>
                      <a:pt x="959874" y="2595571"/>
                    </a:cubicBezTo>
                    <a:close/>
                    <a:moveTo>
                      <a:pt x="960368" y="3102541"/>
                    </a:moveTo>
                    <a:cubicBezTo>
                      <a:pt x="960368" y="3094404"/>
                      <a:pt x="953711" y="3087746"/>
                      <a:pt x="945574" y="3087746"/>
                    </a:cubicBezTo>
                    <a:cubicBezTo>
                      <a:pt x="937437" y="3087746"/>
                      <a:pt x="930780" y="3094404"/>
                      <a:pt x="930780" y="3102541"/>
                    </a:cubicBezTo>
                    <a:cubicBezTo>
                      <a:pt x="930780" y="3110678"/>
                      <a:pt x="937437" y="3117337"/>
                      <a:pt x="945574" y="3117337"/>
                    </a:cubicBezTo>
                    <a:cubicBezTo>
                      <a:pt x="953711" y="3117337"/>
                      <a:pt x="960368" y="3110927"/>
                      <a:pt x="960368" y="3102541"/>
                    </a:cubicBezTo>
                    <a:close/>
                    <a:moveTo>
                      <a:pt x="962837" y="3682289"/>
                    </a:moveTo>
                    <a:cubicBezTo>
                      <a:pt x="962837" y="3662071"/>
                      <a:pt x="946562" y="3645795"/>
                      <a:pt x="926343" y="3645795"/>
                    </a:cubicBezTo>
                    <a:cubicBezTo>
                      <a:pt x="906122" y="3645795"/>
                      <a:pt x="889850" y="3662071"/>
                      <a:pt x="889850" y="3682289"/>
                    </a:cubicBezTo>
                    <a:cubicBezTo>
                      <a:pt x="889850" y="3702261"/>
                      <a:pt x="906122" y="3718783"/>
                      <a:pt x="926343" y="3718783"/>
                    </a:cubicBezTo>
                    <a:cubicBezTo>
                      <a:pt x="946315" y="3718783"/>
                      <a:pt x="962837" y="3702261"/>
                      <a:pt x="962837" y="3682289"/>
                    </a:cubicBezTo>
                    <a:close/>
                    <a:moveTo>
                      <a:pt x="963819" y="5095664"/>
                    </a:moveTo>
                    <a:cubicBezTo>
                      <a:pt x="963819" y="5092456"/>
                      <a:pt x="961355" y="5089992"/>
                      <a:pt x="958150" y="5089992"/>
                    </a:cubicBezTo>
                    <a:cubicBezTo>
                      <a:pt x="954943" y="5089992"/>
                      <a:pt x="952478" y="5092456"/>
                      <a:pt x="952478" y="5095664"/>
                    </a:cubicBezTo>
                    <a:cubicBezTo>
                      <a:pt x="952478" y="5098868"/>
                      <a:pt x="954943" y="5101333"/>
                      <a:pt x="958150" y="5101333"/>
                    </a:cubicBezTo>
                    <a:cubicBezTo>
                      <a:pt x="961355" y="5101333"/>
                      <a:pt x="963819" y="5098868"/>
                      <a:pt x="963819" y="5095664"/>
                    </a:cubicBezTo>
                    <a:close/>
                    <a:moveTo>
                      <a:pt x="964560" y="5617909"/>
                    </a:moveTo>
                    <a:cubicBezTo>
                      <a:pt x="964560" y="5604347"/>
                      <a:pt x="953465" y="5593252"/>
                      <a:pt x="939903" y="5593252"/>
                    </a:cubicBezTo>
                    <a:cubicBezTo>
                      <a:pt x="926341" y="5593252"/>
                      <a:pt x="915246" y="5604347"/>
                      <a:pt x="915246" y="5617909"/>
                    </a:cubicBezTo>
                    <a:cubicBezTo>
                      <a:pt x="915246" y="5631471"/>
                      <a:pt x="926341" y="5642567"/>
                      <a:pt x="939903" y="5642567"/>
                    </a:cubicBezTo>
                    <a:cubicBezTo>
                      <a:pt x="953465" y="5642567"/>
                      <a:pt x="964314" y="5631471"/>
                      <a:pt x="964560" y="5617909"/>
                    </a:cubicBezTo>
                    <a:close/>
                    <a:moveTo>
                      <a:pt x="968013" y="698674"/>
                    </a:moveTo>
                    <a:cubicBezTo>
                      <a:pt x="968013" y="690531"/>
                      <a:pt x="961601" y="684120"/>
                      <a:pt x="953465" y="684120"/>
                    </a:cubicBezTo>
                    <a:cubicBezTo>
                      <a:pt x="945325" y="684120"/>
                      <a:pt x="938916" y="690531"/>
                      <a:pt x="938916" y="698674"/>
                    </a:cubicBezTo>
                    <a:cubicBezTo>
                      <a:pt x="938916" y="706554"/>
                      <a:pt x="945325" y="713210"/>
                      <a:pt x="953465" y="713210"/>
                    </a:cubicBezTo>
                    <a:cubicBezTo>
                      <a:pt x="961355" y="713210"/>
                      <a:pt x="968013" y="706554"/>
                      <a:pt x="968013" y="698674"/>
                    </a:cubicBezTo>
                    <a:close/>
                    <a:moveTo>
                      <a:pt x="969243" y="270389"/>
                    </a:moveTo>
                    <a:cubicBezTo>
                      <a:pt x="969243" y="262747"/>
                      <a:pt x="963080" y="256335"/>
                      <a:pt x="955189" y="256335"/>
                    </a:cubicBezTo>
                    <a:cubicBezTo>
                      <a:pt x="947547" y="256335"/>
                      <a:pt x="941135" y="262498"/>
                      <a:pt x="941135" y="270389"/>
                    </a:cubicBezTo>
                    <a:cubicBezTo>
                      <a:pt x="941135" y="278033"/>
                      <a:pt x="947299" y="284443"/>
                      <a:pt x="955189" y="284443"/>
                    </a:cubicBezTo>
                    <a:cubicBezTo>
                      <a:pt x="963080" y="284443"/>
                      <a:pt x="969492" y="278033"/>
                      <a:pt x="969243" y="270389"/>
                    </a:cubicBezTo>
                    <a:close/>
                    <a:moveTo>
                      <a:pt x="972945" y="4579087"/>
                    </a:moveTo>
                    <a:cubicBezTo>
                      <a:pt x="972945" y="4554430"/>
                      <a:pt x="952724" y="4534209"/>
                      <a:pt x="928067" y="4534209"/>
                    </a:cubicBezTo>
                    <a:cubicBezTo>
                      <a:pt x="903409" y="4534209"/>
                      <a:pt x="883191" y="4554430"/>
                      <a:pt x="883191" y="4579087"/>
                    </a:cubicBezTo>
                    <a:cubicBezTo>
                      <a:pt x="883191" y="4603745"/>
                      <a:pt x="903409" y="4623964"/>
                      <a:pt x="928067" y="4623964"/>
                    </a:cubicBezTo>
                    <a:cubicBezTo>
                      <a:pt x="952973" y="4623964"/>
                      <a:pt x="972945" y="4603745"/>
                      <a:pt x="972945" y="4579087"/>
                    </a:cubicBezTo>
                    <a:close/>
                    <a:moveTo>
                      <a:pt x="973191" y="6122651"/>
                    </a:moveTo>
                    <a:cubicBezTo>
                      <a:pt x="973191" y="6120185"/>
                      <a:pt x="971218" y="6117966"/>
                      <a:pt x="968505" y="6117966"/>
                    </a:cubicBezTo>
                    <a:cubicBezTo>
                      <a:pt x="965792" y="6117966"/>
                      <a:pt x="963574" y="6119939"/>
                      <a:pt x="963574" y="6122651"/>
                    </a:cubicBezTo>
                    <a:cubicBezTo>
                      <a:pt x="963574" y="6125362"/>
                      <a:pt x="965792" y="6127583"/>
                      <a:pt x="968505" y="6127583"/>
                    </a:cubicBezTo>
                    <a:cubicBezTo>
                      <a:pt x="971218" y="6127583"/>
                      <a:pt x="973437" y="6125362"/>
                      <a:pt x="973191" y="6122651"/>
                    </a:cubicBezTo>
                    <a:close/>
                    <a:moveTo>
                      <a:pt x="974180" y="2325073"/>
                    </a:moveTo>
                    <a:cubicBezTo>
                      <a:pt x="974180" y="2312271"/>
                      <a:pt x="963577" y="2301667"/>
                      <a:pt x="950755" y="2301667"/>
                    </a:cubicBezTo>
                    <a:cubicBezTo>
                      <a:pt x="937933" y="2301667"/>
                      <a:pt x="927330" y="2312271"/>
                      <a:pt x="927330" y="2325073"/>
                    </a:cubicBezTo>
                    <a:cubicBezTo>
                      <a:pt x="927330" y="2337922"/>
                      <a:pt x="937933" y="2348543"/>
                      <a:pt x="950755" y="2348543"/>
                    </a:cubicBezTo>
                    <a:cubicBezTo>
                      <a:pt x="963823" y="2348543"/>
                      <a:pt x="974180" y="2338169"/>
                      <a:pt x="974180" y="2325073"/>
                    </a:cubicBezTo>
                    <a:close/>
                    <a:moveTo>
                      <a:pt x="975904" y="2988123"/>
                    </a:moveTo>
                    <a:cubicBezTo>
                      <a:pt x="975904" y="2982205"/>
                      <a:pt x="970971" y="2977273"/>
                      <a:pt x="965054" y="2977273"/>
                    </a:cubicBezTo>
                    <a:cubicBezTo>
                      <a:pt x="959136" y="2977273"/>
                      <a:pt x="954205" y="2982205"/>
                      <a:pt x="954205" y="2988123"/>
                    </a:cubicBezTo>
                    <a:cubicBezTo>
                      <a:pt x="954205" y="2994041"/>
                      <a:pt x="959136" y="2998973"/>
                      <a:pt x="965054" y="2998973"/>
                    </a:cubicBezTo>
                    <a:cubicBezTo>
                      <a:pt x="970971" y="2998973"/>
                      <a:pt x="975904" y="2994041"/>
                      <a:pt x="975904" y="2988123"/>
                    </a:cubicBezTo>
                    <a:close/>
                    <a:moveTo>
                      <a:pt x="978370" y="3797935"/>
                    </a:moveTo>
                    <a:cubicBezTo>
                      <a:pt x="978370" y="3775743"/>
                      <a:pt x="960368" y="3757743"/>
                      <a:pt x="938178" y="3757743"/>
                    </a:cubicBezTo>
                    <a:cubicBezTo>
                      <a:pt x="915985" y="3757743"/>
                      <a:pt x="897986" y="3775743"/>
                      <a:pt x="897986" y="3797935"/>
                    </a:cubicBezTo>
                    <a:cubicBezTo>
                      <a:pt x="897986" y="3820127"/>
                      <a:pt x="915985" y="3838125"/>
                      <a:pt x="938178" y="3838125"/>
                    </a:cubicBezTo>
                    <a:cubicBezTo>
                      <a:pt x="960368" y="3838125"/>
                      <a:pt x="978370" y="3820127"/>
                      <a:pt x="978370" y="3797935"/>
                    </a:cubicBezTo>
                    <a:close/>
                    <a:moveTo>
                      <a:pt x="979109" y="401784"/>
                    </a:moveTo>
                    <a:cubicBezTo>
                      <a:pt x="979109" y="394139"/>
                      <a:pt x="972699" y="387730"/>
                      <a:pt x="965055" y="387730"/>
                    </a:cubicBezTo>
                    <a:cubicBezTo>
                      <a:pt x="957164" y="387730"/>
                      <a:pt x="951001" y="394139"/>
                      <a:pt x="951001" y="401784"/>
                    </a:cubicBezTo>
                    <a:cubicBezTo>
                      <a:pt x="951001" y="409673"/>
                      <a:pt x="957413" y="415837"/>
                      <a:pt x="965055" y="415837"/>
                    </a:cubicBezTo>
                    <a:cubicBezTo>
                      <a:pt x="972699" y="415837"/>
                      <a:pt x="978862" y="409428"/>
                      <a:pt x="979109" y="401784"/>
                    </a:cubicBezTo>
                    <a:close/>
                    <a:moveTo>
                      <a:pt x="979848" y="1483644"/>
                    </a:moveTo>
                    <a:cubicBezTo>
                      <a:pt x="979848" y="1472795"/>
                      <a:pt x="970971" y="1464173"/>
                      <a:pt x="960368" y="1464173"/>
                    </a:cubicBezTo>
                    <a:cubicBezTo>
                      <a:pt x="949520" y="1464173"/>
                      <a:pt x="940889" y="1473041"/>
                      <a:pt x="940889" y="1483644"/>
                    </a:cubicBezTo>
                    <a:cubicBezTo>
                      <a:pt x="940889" y="1494497"/>
                      <a:pt x="949765" y="1503127"/>
                      <a:pt x="960368" y="1503127"/>
                    </a:cubicBezTo>
                    <a:cubicBezTo>
                      <a:pt x="970971" y="1503127"/>
                      <a:pt x="979599" y="1494497"/>
                      <a:pt x="979848" y="1483644"/>
                    </a:cubicBezTo>
                    <a:close/>
                    <a:moveTo>
                      <a:pt x="980341" y="5473416"/>
                    </a:moveTo>
                    <a:cubicBezTo>
                      <a:pt x="980341" y="5463061"/>
                      <a:pt x="971959" y="5454676"/>
                      <a:pt x="961602" y="5454676"/>
                    </a:cubicBezTo>
                    <a:cubicBezTo>
                      <a:pt x="951246" y="5454676"/>
                      <a:pt x="942862" y="5463061"/>
                      <a:pt x="942862" y="5473416"/>
                    </a:cubicBezTo>
                    <a:cubicBezTo>
                      <a:pt x="942862" y="5483773"/>
                      <a:pt x="951246" y="5492155"/>
                      <a:pt x="961602" y="5492155"/>
                    </a:cubicBezTo>
                    <a:cubicBezTo>
                      <a:pt x="971959" y="5492155"/>
                      <a:pt x="980341" y="5483773"/>
                      <a:pt x="980341" y="5473416"/>
                    </a:cubicBezTo>
                    <a:close/>
                    <a:moveTo>
                      <a:pt x="981576" y="834512"/>
                    </a:moveTo>
                    <a:cubicBezTo>
                      <a:pt x="981576" y="826374"/>
                      <a:pt x="974918" y="819714"/>
                      <a:pt x="966781" y="819714"/>
                    </a:cubicBezTo>
                    <a:cubicBezTo>
                      <a:pt x="958645" y="819714"/>
                      <a:pt x="951987" y="826374"/>
                      <a:pt x="951987" y="834512"/>
                    </a:cubicBezTo>
                    <a:cubicBezTo>
                      <a:pt x="951987" y="842651"/>
                      <a:pt x="958645" y="849300"/>
                      <a:pt x="966781" y="849300"/>
                    </a:cubicBezTo>
                    <a:cubicBezTo>
                      <a:pt x="974918" y="849300"/>
                      <a:pt x="981576" y="842651"/>
                      <a:pt x="981576" y="834512"/>
                    </a:cubicBezTo>
                    <a:close/>
                    <a:moveTo>
                      <a:pt x="986999" y="5985552"/>
                    </a:moveTo>
                    <a:cubicBezTo>
                      <a:pt x="986999" y="5983334"/>
                      <a:pt x="985274" y="5981361"/>
                      <a:pt x="982808" y="5981361"/>
                    </a:cubicBezTo>
                    <a:cubicBezTo>
                      <a:pt x="980589" y="5981361"/>
                      <a:pt x="978617" y="5983334"/>
                      <a:pt x="978617" y="5985552"/>
                    </a:cubicBezTo>
                    <a:cubicBezTo>
                      <a:pt x="978617" y="5987773"/>
                      <a:pt x="980343" y="5989743"/>
                      <a:pt x="982808" y="5989743"/>
                    </a:cubicBezTo>
                    <a:cubicBezTo>
                      <a:pt x="985274" y="5989743"/>
                      <a:pt x="986999" y="5987773"/>
                      <a:pt x="986999" y="5985552"/>
                    </a:cubicBezTo>
                    <a:close/>
                    <a:moveTo>
                      <a:pt x="987493" y="4306619"/>
                    </a:moveTo>
                    <a:cubicBezTo>
                      <a:pt x="987493" y="4280975"/>
                      <a:pt x="966533" y="4260016"/>
                      <a:pt x="940889" y="4260016"/>
                    </a:cubicBezTo>
                    <a:cubicBezTo>
                      <a:pt x="915245" y="4260016"/>
                      <a:pt x="894287" y="4280975"/>
                      <a:pt x="894287" y="4306619"/>
                    </a:cubicBezTo>
                    <a:cubicBezTo>
                      <a:pt x="894287" y="4332263"/>
                      <a:pt x="915245" y="4353221"/>
                      <a:pt x="940889" y="4353221"/>
                    </a:cubicBezTo>
                    <a:cubicBezTo>
                      <a:pt x="966778" y="4353221"/>
                      <a:pt x="987739" y="4332263"/>
                      <a:pt x="987493" y="4306619"/>
                    </a:cubicBezTo>
                    <a:close/>
                    <a:moveTo>
                      <a:pt x="987494" y="2064208"/>
                    </a:moveTo>
                    <a:cubicBezTo>
                      <a:pt x="987494" y="2050149"/>
                      <a:pt x="976150" y="2038554"/>
                      <a:pt x="961850" y="2038554"/>
                    </a:cubicBezTo>
                    <a:cubicBezTo>
                      <a:pt x="947796" y="2038554"/>
                      <a:pt x="936206" y="2050149"/>
                      <a:pt x="936206" y="2064208"/>
                    </a:cubicBezTo>
                    <a:cubicBezTo>
                      <a:pt x="936206" y="2078267"/>
                      <a:pt x="947796" y="2089861"/>
                      <a:pt x="961850" y="2089861"/>
                    </a:cubicBezTo>
                    <a:cubicBezTo>
                      <a:pt x="975905" y="2089861"/>
                      <a:pt x="987494" y="2078267"/>
                      <a:pt x="987494" y="2064208"/>
                    </a:cubicBezTo>
                    <a:close/>
                    <a:moveTo>
                      <a:pt x="989220" y="534655"/>
                    </a:moveTo>
                    <a:cubicBezTo>
                      <a:pt x="989220" y="527011"/>
                      <a:pt x="982808" y="520601"/>
                      <a:pt x="975164" y="520601"/>
                    </a:cubicBezTo>
                    <a:cubicBezTo>
                      <a:pt x="967521" y="520601"/>
                      <a:pt x="961109" y="527011"/>
                      <a:pt x="961109" y="534655"/>
                    </a:cubicBezTo>
                    <a:cubicBezTo>
                      <a:pt x="961109" y="542299"/>
                      <a:pt x="967521" y="548708"/>
                      <a:pt x="975164" y="548708"/>
                    </a:cubicBezTo>
                    <a:cubicBezTo>
                      <a:pt x="982808" y="548708"/>
                      <a:pt x="989220" y="542299"/>
                      <a:pt x="989220" y="534655"/>
                    </a:cubicBezTo>
                    <a:close/>
                    <a:moveTo>
                      <a:pt x="994643" y="5326702"/>
                    </a:moveTo>
                    <a:cubicBezTo>
                      <a:pt x="994643" y="5321771"/>
                      <a:pt x="990699" y="5317826"/>
                      <a:pt x="985767" y="5317826"/>
                    </a:cubicBezTo>
                    <a:cubicBezTo>
                      <a:pt x="980836" y="5317826"/>
                      <a:pt x="976890" y="5321771"/>
                      <a:pt x="976890" y="5326702"/>
                    </a:cubicBezTo>
                    <a:cubicBezTo>
                      <a:pt x="976890" y="5331634"/>
                      <a:pt x="980836" y="5335579"/>
                      <a:pt x="985767" y="5335579"/>
                    </a:cubicBezTo>
                    <a:cubicBezTo>
                      <a:pt x="990699" y="5335579"/>
                      <a:pt x="994643" y="5331388"/>
                      <a:pt x="994643" y="5326702"/>
                    </a:cubicBezTo>
                    <a:close/>
                    <a:moveTo>
                      <a:pt x="996861" y="2874447"/>
                    </a:moveTo>
                    <a:cubicBezTo>
                      <a:pt x="996861" y="2870501"/>
                      <a:pt x="993654" y="2867296"/>
                      <a:pt x="989709" y="2867296"/>
                    </a:cubicBezTo>
                    <a:cubicBezTo>
                      <a:pt x="985764" y="2867296"/>
                      <a:pt x="982559" y="2870501"/>
                      <a:pt x="982559" y="2874447"/>
                    </a:cubicBezTo>
                    <a:cubicBezTo>
                      <a:pt x="982559" y="2878392"/>
                      <a:pt x="985764" y="2881600"/>
                      <a:pt x="989709" y="2881600"/>
                    </a:cubicBezTo>
                    <a:cubicBezTo>
                      <a:pt x="993654" y="2881600"/>
                      <a:pt x="996613" y="2878392"/>
                      <a:pt x="996861" y="2874447"/>
                    </a:cubicBezTo>
                    <a:close/>
                    <a:moveTo>
                      <a:pt x="997355" y="4943032"/>
                    </a:moveTo>
                    <a:cubicBezTo>
                      <a:pt x="997355" y="4939828"/>
                      <a:pt x="994890" y="4937361"/>
                      <a:pt x="991686" y="4937361"/>
                    </a:cubicBezTo>
                    <a:cubicBezTo>
                      <a:pt x="988478" y="4937361"/>
                      <a:pt x="986013" y="4939828"/>
                      <a:pt x="986013" y="4943032"/>
                    </a:cubicBezTo>
                    <a:cubicBezTo>
                      <a:pt x="986013" y="4946237"/>
                      <a:pt x="988478" y="4948705"/>
                      <a:pt x="991686" y="4948705"/>
                    </a:cubicBezTo>
                    <a:cubicBezTo>
                      <a:pt x="994644" y="4948705"/>
                      <a:pt x="997355" y="4946237"/>
                      <a:pt x="997355" y="4943032"/>
                    </a:cubicBezTo>
                    <a:close/>
                    <a:moveTo>
                      <a:pt x="998340" y="971575"/>
                    </a:moveTo>
                    <a:cubicBezTo>
                      <a:pt x="998340" y="962210"/>
                      <a:pt x="990698" y="954567"/>
                      <a:pt x="981327" y="954567"/>
                    </a:cubicBezTo>
                    <a:cubicBezTo>
                      <a:pt x="971958" y="954567"/>
                      <a:pt x="964314" y="962210"/>
                      <a:pt x="964314" y="971575"/>
                    </a:cubicBezTo>
                    <a:cubicBezTo>
                      <a:pt x="964314" y="980946"/>
                      <a:pt x="971958" y="988579"/>
                      <a:pt x="981327" y="988579"/>
                    </a:cubicBezTo>
                    <a:cubicBezTo>
                      <a:pt x="990698" y="988579"/>
                      <a:pt x="998093" y="980946"/>
                      <a:pt x="998340" y="971575"/>
                    </a:cubicBezTo>
                    <a:close/>
                    <a:moveTo>
                      <a:pt x="998342" y="3912592"/>
                    </a:moveTo>
                    <a:cubicBezTo>
                      <a:pt x="998342" y="3888921"/>
                      <a:pt x="979108" y="3869441"/>
                      <a:pt x="955192" y="3869441"/>
                    </a:cubicBezTo>
                    <a:cubicBezTo>
                      <a:pt x="931520" y="3869441"/>
                      <a:pt x="912040" y="3888673"/>
                      <a:pt x="912040" y="3912592"/>
                    </a:cubicBezTo>
                    <a:cubicBezTo>
                      <a:pt x="912040" y="3936509"/>
                      <a:pt x="931274" y="3955989"/>
                      <a:pt x="955192" y="3955989"/>
                    </a:cubicBezTo>
                    <a:cubicBezTo>
                      <a:pt x="978862" y="3955989"/>
                      <a:pt x="998342" y="3936755"/>
                      <a:pt x="998342" y="3912592"/>
                    </a:cubicBezTo>
                    <a:close/>
                    <a:moveTo>
                      <a:pt x="999821" y="2486830"/>
                    </a:moveTo>
                    <a:cubicBezTo>
                      <a:pt x="999821" y="2486830"/>
                      <a:pt x="999821" y="2486585"/>
                      <a:pt x="999572" y="2486585"/>
                    </a:cubicBezTo>
                    <a:cubicBezTo>
                      <a:pt x="999572" y="2486585"/>
                      <a:pt x="999327" y="2486585"/>
                      <a:pt x="999327" y="2486830"/>
                    </a:cubicBezTo>
                    <a:cubicBezTo>
                      <a:pt x="999327" y="2487079"/>
                      <a:pt x="999327" y="2487079"/>
                      <a:pt x="999572" y="2487079"/>
                    </a:cubicBezTo>
                    <a:cubicBezTo>
                      <a:pt x="999821" y="2487079"/>
                      <a:pt x="1000068" y="2486830"/>
                      <a:pt x="999821" y="2486830"/>
                    </a:cubicBezTo>
                    <a:close/>
                    <a:moveTo>
                      <a:pt x="1004012" y="1630832"/>
                    </a:moveTo>
                    <a:cubicBezTo>
                      <a:pt x="1004012" y="1619977"/>
                      <a:pt x="995136" y="1611106"/>
                      <a:pt x="984286" y="1611106"/>
                    </a:cubicBezTo>
                    <a:cubicBezTo>
                      <a:pt x="973437" y="1611106"/>
                      <a:pt x="964560" y="1619977"/>
                      <a:pt x="964560" y="1630832"/>
                    </a:cubicBezTo>
                    <a:cubicBezTo>
                      <a:pt x="964560" y="1641684"/>
                      <a:pt x="973437" y="1650555"/>
                      <a:pt x="984286" y="1650555"/>
                    </a:cubicBezTo>
                    <a:cubicBezTo>
                      <a:pt x="995381" y="1650555"/>
                      <a:pt x="1004258" y="1641684"/>
                      <a:pt x="1004012" y="1630832"/>
                    </a:cubicBezTo>
                    <a:close/>
                    <a:moveTo>
                      <a:pt x="1006479" y="6723061"/>
                    </a:moveTo>
                    <a:cubicBezTo>
                      <a:pt x="1006479" y="6721335"/>
                      <a:pt x="1005247" y="6720102"/>
                      <a:pt x="1003520" y="6720102"/>
                    </a:cubicBezTo>
                    <a:cubicBezTo>
                      <a:pt x="1002039" y="6720102"/>
                      <a:pt x="1000561" y="6721335"/>
                      <a:pt x="1000561" y="6723061"/>
                    </a:cubicBezTo>
                    <a:cubicBezTo>
                      <a:pt x="1000561" y="6724788"/>
                      <a:pt x="1001793" y="6726020"/>
                      <a:pt x="1003520" y="6726020"/>
                    </a:cubicBezTo>
                    <a:cubicBezTo>
                      <a:pt x="1005247" y="6726020"/>
                      <a:pt x="1006725" y="6724542"/>
                      <a:pt x="1006479" y="6723061"/>
                    </a:cubicBezTo>
                    <a:close/>
                    <a:moveTo>
                      <a:pt x="1012642" y="1812599"/>
                    </a:moveTo>
                    <a:cubicBezTo>
                      <a:pt x="1012642" y="1799563"/>
                      <a:pt x="1002039" y="1788883"/>
                      <a:pt x="988971" y="1788883"/>
                    </a:cubicBezTo>
                    <a:cubicBezTo>
                      <a:pt x="975904" y="1788883"/>
                      <a:pt x="965300" y="1799563"/>
                      <a:pt x="965300" y="1812599"/>
                    </a:cubicBezTo>
                    <a:cubicBezTo>
                      <a:pt x="965300" y="1825666"/>
                      <a:pt x="975904" y="1836268"/>
                      <a:pt x="988971" y="1836268"/>
                    </a:cubicBezTo>
                    <a:cubicBezTo>
                      <a:pt x="1002039" y="1836268"/>
                      <a:pt x="1012888" y="1825666"/>
                      <a:pt x="1012642" y="1812599"/>
                    </a:cubicBezTo>
                    <a:close/>
                    <a:moveTo>
                      <a:pt x="1013875" y="1110620"/>
                    </a:moveTo>
                    <a:cubicBezTo>
                      <a:pt x="1013875" y="1101495"/>
                      <a:pt x="1006477" y="1093858"/>
                      <a:pt x="997108" y="1093858"/>
                    </a:cubicBezTo>
                    <a:cubicBezTo>
                      <a:pt x="987986" y="1093858"/>
                      <a:pt x="980341" y="1101250"/>
                      <a:pt x="980341" y="1110620"/>
                    </a:cubicBezTo>
                    <a:cubicBezTo>
                      <a:pt x="980341" y="1119740"/>
                      <a:pt x="987737" y="1127392"/>
                      <a:pt x="997108" y="1127392"/>
                    </a:cubicBezTo>
                    <a:cubicBezTo>
                      <a:pt x="1006477" y="1127392"/>
                      <a:pt x="1013875" y="1119987"/>
                      <a:pt x="1013875" y="1110620"/>
                    </a:cubicBezTo>
                    <a:close/>
                    <a:moveTo>
                      <a:pt x="1015604" y="6592130"/>
                    </a:moveTo>
                    <a:cubicBezTo>
                      <a:pt x="1015604" y="6590403"/>
                      <a:pt x="1014123" y="6588924"/>
                      <a:pt x="1012396" y="6588924"/>
                    </a:cubicBezTo>
                    <a:cubicBezTo>
                      <a:pt x="1010670" y="6588924"/>
                      <a:pt x="1009192" y="6590403"/>
                      <a:pt x="1009192" y="6592130"/>
                    </a:cubicBezTo>
                    <a:cubicBezTo>
                      <a:pt x="1009192" y="6593856"/>
                      <a:pt x="1010670" y="6595334"/>
                      <a:pt x="1012396" y="6595334"/>
                    </a:cubicBezTo>
                    <a:cubicBezTo>
                      <a:pt x="1014123" y="6595334"/>
                      <a:pt x="1015604" y="6593856"/>
                      <a:pt x="1015604" y="6592130"/>
                    </a:cubicBezTo>
                    <a:close/>
                    <a:moveTo>
                      <a:pt x="1019547" y="4684373"/>
                    </a:moveTo>
                    <a:cubicBezTo>
                      <a:pt x="1019547" y="4660456"/>
                      <a:pt x="1000067" y="4640976"/>
                      <a:pt x="976150" y="4640976"/>
                    </a:cubicBezTo>
                    <a:cubicBezTo>
                      <a:pt x="952233" y="4640976"/>
                      <a:pt x="932753" y="4660456"/>
                      <a:pt x="932753" y="4684373"/>
                    </a:cubicBezTo>
                    <a:cubicBezTo>
                      <a:pt x="932753" y="4708290"/>
                      <a:pt x="952233" y="4727770"/>
                      <a:pt x="976150" y="4727770"/>
                    </a:cubicBezTo>
                    <a:cubicBezTo>
                      <a:pt x="1000315" y="4727770"/>
                      <a:pt x="1019793" y="4708290"/>
                      <a:pt x="1019547" y="4684373"/>
                    </a:cubicBezTo>
                    <a:close/>
                    <a:moveTo>
                      <a:pt x="1020780" y="4416099"/>
                    </a:moveTo>
                    <a:cubicBezTo>
                      <a:pt x="1020780" y="4393414"/>
                      <a:pt x="1002289" y="4374674"/>
                      <a:pt x="979355" y="4374674"/>
                    </a:cubicBezTo>
                    <a:cubicBezTo>
                      <a:pt x="956424" y="4374674"/>
                      <a:pt x="937684" y="4393168"/>
                      <a:pt x="937684" y="4416099"/>
                    </a:cubicBezTo>
                    <a:cubicBezTo>
                      <a:pt x="937684" y="4439030"/>
                      <a:pt x="956424" y="4457769"/>
                      <a:pt x="979355" y="4457769"/>
                    </a:cubicBezTo>
                    <a:cubicBezTo>
                      <a:pt x="1002289" y="4457769"/>
                      <a:pt x="1020780" y="4439030"/>
                      <a:pt x="1020780" y="4416099"/>
                    </a:cubicBezTo>
                    <a:close/>
                    <a:moveTo>
                      <a:pt x="1022505" y="4026758"/>
                    </a:moveTo>
                    <a:cubicBezTo>
                      <a:pt x="1022505" y="4001852"/>
                      <a:pt x="1002285" y="3981633"/>
                      <a:pt x="977382" y="3981633"/>
                    </a:cubicBezTo>
                    <a:cubicBezTo>
                      <a:pt x="952475" y="3981633"/>
                      <a:pt x="932258" y="4001852"/>
                      <a:pt x="932258" y="4026758"/>
                    </a:cubicBezTo>
                    <a:cubicBezTo>
                      <a:pt x="932258" y="4051661"/>
                      <a:pt x="952475" y="4071879"/>
                      <a:pt x="977382" y="4071879"/>
                    </a:cubicBezTo>
                    <a:cubicBezTo>
                      <a:pt x="1002039" y="4071879"/>
                      <a:pt x="1022505" y="4051661"/>
                      <a:pt x="1022505" y="4026758"/>
                    </a:cubicBezTo>
                    <a:close/>
                    <a:moveTo>
                      <a:pt x="1022752" y="2762252"/>
                    </a:moveTo>
                    <a:cubicBezTo>
                      <a:pt x="1022752" y="2760529"/>
                      <a:pt x="1021273" y="2759055"/>
                      <a:pt x="1019546" y="2759055"/>
                    </a:cubicBezTo>
                    <a:cubicBezTo>
                      <a:pt x="1017820" y="2759055"/>
                      <a:pt x="1016342" y="2760529"/>
                      <a:pt x="1016342" y="2762252"/>
                    </a:cubicBezTo>
                    <a:cubicBezTo>
                      <a:pt x="1016342" y="2763977"/>
                      <a:pt x="1017820" y="2765461"/>
                      <a:pt x="1019546" y="2765461"/>
                    </a:cubicBezTo>
                    <a:cubicBezTo>
                      <a:pt x="1021273" y="2765461"/>
                      <a:pt x="1022752" y="2763977"/>
                      <a:pt x="1022752" y="2762252"/>
                    </a:cubicBezTo>
                    <a:close/>
                    <a:moveTo>
                      <a:pt x="1023738" y="2220561"/>
                    </a:moveTo>
                    <a:cubicBezTo>
                      <a:pt x="1023738" y="2207970"/>
                      <a:pt x="1013380" y="2197867"/>
                      <a:pt x="1001053" y="2197867"/>
                    </a:cubicBezTo>
                    <a:cubicBezTo>
                      <a:pt x="988477" y="2197867"/>
                      <a:pt x="978368" y="2208217"/>
                      <a:pt x="978368" y="2220561"/>
                    </a:cubicBezTo>
                    <a:cubicBezTo>
                      <a:pt x="978368" y="2233113"/>
                      <a:pt x="988477" y="2243245"/>
                      <a:pt x="1001053" y="2243245"/>
                    </a:cubicBezTo>
                    <a:cubicBezTo>
                      <a:pt x="1013629" y="2243245"/>
                      <a:pt x="1023738" y="2233113"/>
                      <a:pt x="1023738" y="2220561"/>
                    </a:cubicBezTo>
                    <a:close/>
                    <a:moveTo>
                      <a:pt x="1023986" y="6460212"/>
                    </a:moveTo>
                    <a:cubicBezTo>
                      <a:pt x="1023986" y="6458980"/>
                      <a:pt x="1022998" y="6457993"/>
                      <a:pt x="1021765" y="6457993"/>
                    </a:cubicBezTo>
                    <a:cubicBezTo>
                      <a:pt x="1020533" y="6457993"/>
                      <a:pt x="1019547" y="6458980"/>
                      <a:pt x="1019547" y="6460212"/>
                    </a:cubicBezTo>
                    <a:cubicBezTo>
                      <a:pt x="1019547" y="6461445"/>
                      <a:pt x="1020533" y="6462430"/>
                      <a:pt x="1021765" y="6462430"/>
                    </a:cubicBezTo>
                    <a:cubicBezTo>
                      <a:pt x="1022998" y="6462430"/>
                      <a:pt x="1023986" y="6461445"/>
                      <a:pt x="1023986" y="6460212"/>
                    </a:cubicBezTo>
                    <a:close/>
                    <a:moveTo>
                      <a:pt x="1031383" y="5846484"/>
                    </a:moveTo>
                    <a:cubicBezTo>
                      <a:pt x="1031383" y="5828484"/>
                      <a:pt x="1016834" y="5813936"/>
                      <a:pt x="998834" y="5813936"/>
                    </a:cubicBezTo>
                    <a:cubicBezTo>
                      <a:pt x="980590" y="5813936"/>
                      <a:pt x="966041" y="5828484"/>
                      <a:pt x="966041" y="5846484"/>
                    </a:cubicBezTo>
                    <a:cubicBezTo>
                      <a:pt x="966041" y="5864483"/>
                      <a:pt x="980836" y="5879031"/>
                      <a:pt x="998834" y="5879031"/>
                    </a:cubicBezTo>
                    <a:cubicBezTo>
                      <a:pt x="1016834" y="5879031"/>
                      <a:pt x="1031383" y="5864483"/>
                      <a:pt x="1031383" y="5846484"/>
                    </a:cubicBezTo>
                    <a:close/>
                    <a:moveTo>
                      <a:pt x="1033849" y="1250896"/>
                    </a:moveTo>
                    <a:cubicBezTo>
                      <a:pt x="1033849" y="1240304"/>
                      <a:pt x="1025219" y="1231918"/>
                      <a:pt x="1014861" y="1231918"/>
                    </a:cubicBezTo>
                    <a:cubicBezTo>
                      <a:pt x="1004258" y="1231918"/>
                      <a:pt x="995876" y="1240550"/>
                      <a:pt x="995876" y="1250896"/>
                    </a:cubicBezTo>
                    <a:cubicBezTo>
                      <a:pt x="995876" y="1261489"/>
                      <a:pt x="1004507" y="1269881"/>
                      <a:pt x="1014861" y="1269881"/>
                    </a:cubicBezTo>
                    <a:cubicBezTo>
                      <a:pt x="1025219" y="1269881"/>
                      <a:pt x="1033849" y="1261489"/>
                      <a:pt x="1033849" y="1250896"/>
                    </a:cubicBezTo>
                    <a:close/>
                    <a:moveTo>
                      <a:pt x="1039519" y="5705691"/>
                    </a:moveTo>
                    <a:cubicBezTo>
                      <a:pt x="1039519" y="5692869"/>
                      <a:pt x="1028918" y="5682265"/>
                      <a:pt x="1016096" y="5682265"/>
                    </a:cubicBezTo>
                    <a:cubicBezTo>
                      <a:pt x="1003274" y="5682265"/>
                      <a:pt x="992671" y="5692869"/>
                      <a:pt x="992671" y="5705691"/>
                    </a:cubicBezTo>
                    <a:cubicBezTo>
                      <a:pt x="992671" y="5718512"/>
                      <a:pt x="1003274" y="5729113"/>
                      <a:pt x="1016096" y="5729113"/>
                    </a:cubicBezTo>
                    <a:cubicBezTo>
                      <a:pt x="1028918" y="5729113"/>
                      <a:pt x="1039519" y="5718512"/>
                      <a:pt x="1039519" y="5705691"/>
                    </a:cubicBezTo>
                    <a:close/>
                    <a:moveTo>
                      <a:pt x="1044453" y="6335690"/>
                    </a:moveTo>
                    <a:cubicBezTo>
                      <a:pt x="1044453" y="6334457"/>
                      <a:pt x="1043464" y="6333471"/>
                      <a:pt x="1042232" y="6333471"/>
                    </a:cubicBezTo>
                    <a:cubicBezTo>
                      <a:pt x="1040999" y="6333471"/>
                      <a:pt x="1040014" y="6334457"/>
                      <a:pt x="1040014" y="6335690"/>
                    </a:cubicBezTo>
                    <a:cubicBezTo>
                      <a:pt x="1040014" y="6336924"/>
                      <a:pt x="1040999" y="6337908"/>
                      <a:pt x="1042232" y="6337908"/>
                    </a:cubicBezTo>
                    <a:cubicBezTo>
                      <a:pt x="1043464" y="6337908"/>
                      <a:pt x="1044453" y="6336924"/>
                      <a:pt x="1044453" y="6335690"/>
                    </a:cubicBezTo>
                    <a:close/>
                    <a:moveTo>
                      <a:pt x="1045437" y="2379567"/>
                    </a:moveTo>
                    <a:cubicBezTo>
                      <a:pt x="1045437" y="2379319"/>
                      <a:pt x="1045191" y="2379076"/>
                      <a:pt x="1044942" y="2379076"/>
                    </a:cubicBezTo>
                    <a:cubicBezTo>
                      <a:pt x="1044696" y="2379076"/>
                      <a:pt x="1044451" y="2379319"/>
                      <a:pt x="1044451" y="2379567"/>
                    </a:cubicBezTo>
                    <a:cubicBezTo>
                      <a:pt x="1044451" y="2379814"/>
                      <a:pt x="1044696" y="2380061"/>
                      <a:pt x="1044942" y="2380061"/>
                    </a:cubicBezTo>
                    <a:cubicBezTo>
                      <a:pt x="1045191" y="2380061"/>
                      <a:pt x="1045437" y="2380061"/>
                      <a:pt x="1045437" y="2379567"/>
                    </a:cubicBezTo>
                    <a:close/>
                    <a:moveTo>
                      <a:pt x="1046425" y="1964121"/>
                    </a:moveTo>
                    <a:cubicBezTo>
                      <a:pt x="1046425" y="1949833"/>
                      <a:pt x="1034835" y="1938253"/>
                      <a:pt x="1020533" y="1938253"/>
                    </a:cubicBezTo>
                    <a:cubicBezTo>
                      <a:pt x="1006233" y="1938253"/>
                      <a:pt x="994643" y="1949833"/>
                      <a:pt x="994643" y="1964121"/>
                    </a:cubicBezTo>
                    <a:cubicBezTo>
                      <a:pt x="994643" y="1978658"/>
                      <a:pt x="1006233" y="1990239"/>
                      <a:pt x="1020533" y="1990239"/>
                    </a:cubicBezTo>
                    <a:cubicBezTo>
                      <a:pt x="1034835" y="1990239"/>
                      <a:pt x="1046425" y="1978658"/>
                      <a:pt x="1046425" y="1964121"/>
                    </a:cubicBezTo>
                    <a:close/>
                    <a:moveTo>
                      <a:pt x="1050863" y="4139688"/>
                    </a:moveTo>
                    <a:cubicBezTo>
                      <a:pt x="1050863" y="4114291"/>
                      <a:pt x="1030151" y="4093578"/>
                      <a:pt x="1004753" y="4093578"/>
                    </a:cubicBezTo>
                    <a:cubicBezTo>
                      <a:pt x="979355" y="4093578"/>
                      <a:pt x="958643" y="4114291"/>
                      <a:pt x="958643" y="4139688"/>
                    </a:cubicBezTo>
                    <a:cubicBezTo>
                      <a:pt x="958643" y="4165083"/>
                      <a:pt x="979355" y="4185798"/>
                      <a:pt x="1004753" y="4185798"/>
                    </a:cubicBezTo>
                    <a:cubicBezTo>
                      <a:pt x="1030151" y="4185798"/>
                      <a:pt x="1050863" y="4165332"/>
                      <a:pt x="1050863" y="4139688"/>
                    </a:cubicBezTo>
                    <a:close/>
                    <a:moveTo>
                      <a:pt x="1051355" y="5192072"/>
                    </a:moveTo>
                    <a:cubicBezTo>
                      <a:pt x="1051355" y="5176046"/>
                      <a:pt x="1038287" y="5163224"/>
                      <a:pt x="1022506" y="5163224"/>
                    </a:cubicBezTo>
                    <a:cubicBezTo>
                      <a:pt x="1006480" y="5163224"/>
                      <a:pt x="993658" y="5176292"/>
                      <a:pt x="993658" y="5192072"/>
                    </a:cubicBezTo>
                    <a:cubicBezTo>
                      <a:pt x="993658" y="5208099"/>
                      <a:pt x="1006725" y="5220921"/>
                      <a:pt x="1022506" y="5220921"/>
                    </a:cubicBezTo>
                    <a:cubicBezTo>
                      <a:pt x="1038533" y="5220921"/>
                      <a:pt x="1051355" y="5207854"/>
                      <a:pt x="1051355" y="5192072"/>
                    </a:cubicBezTo>
                    <a:close/>
                    <a:moveTo>
                      <a:pt x="1053082" y="1393893"/>
                    </a:moveTo>
                    <a:cubicBezTo>
                      <a:pt x="1053082" y="1383541"/>
                      <a:pt x="1044451" y="1374913"/>
                      <a:pt x="1034093" y="1374913"/>
                    </a:cubicBezTo>
                    <a:cubicBezTo>
                      <a:pt x="1023739" y="1374913"/>
                      <a:pt x="1015108" y="1383293"/>
                      <a:pt x="1015108" y="1393893"/>
                    </a:cubicBezTo>
                    <a:cubicBezTo>
                      <a:pt x="1015108" y="1404251"/>
                      <a:pt x="1023492" y="1412883"/>
                      <a:pt x="1034093" y="1412883"/>
                    </a:cubicBezTo>
                    <a:cubicBezTo>
                      <a:pt x="1044451" y="1412883"/>
                      <a:pt x="1052833" y="1404251"/>
                      <a:pt x="1053082" y="1393893"/>
                    </a:cubicBezTo>
                    <a:close/>
                    <a:moveTo>
                      <a:pt x="1054068" y="5563172"/>
                    </a:moveTo>
                    <a:cubicBezTo>
                      <a:pt x="1054068" y="5553060"/>
                      <a:pt x="1045686" y="5544678"/>
                      <a:pt x="1035328" y="5544678"/>
                    </a:cubicBezTo>
                    <a:cubicBezTo>
                      <a:pt x="1024973" y="5544678"/>
                      <a:pt x="1016589" y="5552814"/>
                      <a:pt x="1016589" y="5563172"/>
                    </a:cubicBezTo>
                    <a:cubicBezTo>
                      <a:pt x="1016589" y="5573526"/>
                      <a:pt x="1024973" y="5581912"/>
                      <a:pt x="1035328" y="5581912"/>
                    </a:cubicBezTo>
                    <a:cubicBezTo>
                      <a:pt x="1045686" y="5581912"/>
                      <a:pt x="1054068" y="5573526"/>
                      <a:pt x="1054068" y="5563172"/>
                    </a:cubicBezTo>
                    <a:close/>
                    <a:moveTo>
                      <a:pt x="1054561" y="621670"/>
                    </a:moveTo>
                    <a:cubicBezTo>
                      <a:pt x="1054561" y="613535"/>
                      <a:pt x="1047904" y="607123"/>
                      <a:pt x="1040014" y="607123"/>
                    </a:cubicBezTo>
                    <a:cubicBezTo>
                      <a:pt x="1031877" y="607123"/>
                      <a:pt x="1025465" y="613781"/>
                      <a:pt x="1025465" y="621670"/>
                    </a:cubicBezTo>
                    <a:cubicBezTo>
                      <a:pt x="1025465" y="629806"/>
                      <a:pt x="1032123" y="636218"/>
                      <a:pt x="1040014" y="636218"/>
                    </a:cubicBezTo>
                    <a:cubicBezTo>
                      <a:pt x="1048149" y="636218"/>
                      <a:pt x="1054561" y="629560"/>
                      <a:pt x="1054561" y="621670"/>
                    </a:cubicBezTo>
                    <a:close/>
                    <a:moveTo>
                      <a:pt x="1054808" y="5041907"/>
                    </a:moveTo>
                    <a:cubicBezTo>
                      <a:pt x="1054808" y="5040675"/>
                      <a:pt x="1053574" y="5039688"/>
                      <a:pt x="1052342" y="5039688"/>
                    </a:cubicBezTo>
                    <a:cubicBezTo>
                      <a:pt x="1051109" y="5039688"/>
                      <a:pt x="1050123" y="5040675"/>
                      <a:pt x="1050123" y="5041907"/>
                    </a:cubicBezTo>
                    <a:cubicBezTo>
                      <a:pt x="1050123" y="5043139"/>
                      <a:pt x="1051109" y="5044128"/>
                      <a:pt x="1052342" y="5044128"/>
                    </a:cubicBezTo>
                    <a:cubicBezTo>
                      <a:pt x="1053574" y="5044128"/>
                      <a:pt x="1054808" y="5042893"/>
                      <a:pt x="1054808" y="5041907"/>
                    </a:cubicBezTo>
                    <a:close/>
                    <a:moveTo>
                      <a:pt x="1057273" y="2651285"/>
                    </a:moveTo>
                    <a:cubicBezTo>
                      <a:pt x="1057273" y="2649804"/>
                      <a:pt x="1056040" y="2648327"/>
                      <a:pt x="1054314" y="2648327"/>
                    </a:cubicBezTo>
                    <a:cubicBezTo>
                      <a:pt x="1052587" y="2648327"/>
                      <a:pt x="1051355" y="2649559"/>
                      <a:pt x="1051355" y="2651285"/>
                    </a:cubicBezTo>
                    <a:cubicBezTo>
                      <a:pt x="1051355" y="2653017"/>
                      <a:pt x="1052587" y="2654246"/>
                      <a:pt x="1054314" y="2654246"/>
                    </a:cubicBezTo>
                    <a:cubicBezTo>
                      <a:pt x="1056040" y="2654246"/>
                      <a:pt x="1057519" y="2653017"/>
                      <a:pt x="1057273" y="2651285"/>
                    </a:cubicBezTo>
                    <a:close/>
                    <a:moveTo>
                      <a:pt x="1058259" y="6201553"/>
                    </a:moveTo>
                    <a:cubicBezTo>
                      <a:pt x="1058259" y="6199089"/>
                      <a:pt x="1056286" y="6197116"/>
                      <a:pt x="1053822" y="6197116"/>
                    </a:cubicBezTo>
                    <a:cubicBezTo>
                      <a:pt x="1051355" y="6197116"/>
                      <a:pt x="1049383" y="6199089"/>
                      <a:pt x="1049383" y="6201553"/>
                    </a:cubicBezTo>
                    <a:cubicBezTo>
                      <a:pt x="1049383" y="6204020"/>
                      <a:pt x="1051355" y="6205992"/>
                      <a:pt x="1053822" y="6205992"/>
                    </a:cubicBezTo>
                    <a:cubicBezTo>
                      <a:pt x="1056286" y="6205992"/>
                      <a:pt x="1058259" y="6204020"/>
                      <a:pt x="1058259" y="6201553"/>
                    </a:cubicBezTo>
                    <a:close/>
                    <a:moveTo>
                      <a:pt x="1058999" y="4523855"/>
                    </a:moveTo>
                    <a:cubicBezTo>
                      <a:pt x="1058999" y="4503636"/>
                      <a:pt x="1042478" y="4487361"/>
                      <a:pt x="1022506" y="4487361"/>
                    </a:cubicBezTo>
                    <a:cubicBezTo>
                      <a:pt x="1002289" y="4487361"/>
                      <a:pt x="986013" y="4503883"/>
                      <a:pt x="986013" y="4523855"/>
                    </a:cubicBezTo>
                    <a:cubicBezTo>
                      <a:pt x="986013" y="4544076"/>
                      <a:pt x="1002534" y="4560348"/>
                      <a:pt x="1022506" y="4560348"/>
                    </a:cubicBezTo>
                    <a:cubicBezTo>
                      <a:pt x="1042478" y="4560348"/>
                      <a:pt x="1058754" y="4544076"/>
                      <a:pt x="1058999" y="4523855"/>
                    </a:cubicBezTo>
                    <a:close/>
                    <a:moveTo>
                      <a:pt x="1061466" y="199380"/>
                    </a:moveTo>
                    <a:cubicBezTo>
                      <a:pt x="1061466" y="191738"/>
                      <a:pt x="1055299" y="185327"/>
                      <a:pt x="1047409" y="185327"/>
                    </a:cubicBezTo>
                    <a:cubicBezTo>
                      <a:pt x="1039767" y="185327"/>
                      <a:pt x="1033355" y="191490"/>
                      <a:pt x="1033355" y="199380"/>
                    </a:cubicBezTo>
                    <a:cubicBezTo>
                      <a:pt x="1033355" y="207024"/>
                      <a:pt x="1039518" y="213436"/>
                      <a:pt x="1047409" y="213436"/>
                    </a:cubicBezTo>
                    <a:cubicBezTo>
                      <a:pt x="1055299" y="213436"/>
                      <a:pt x="1061466" y="207270"/>
                      <a:pt x="1061466" y="199380"/>
                    </a:cubicBezTo>
                    <a:close/>
                    <a:moveTo>
                      <a:pt x="1064917" y="5418677"/>
                    </a:moveTo>
                    <a:cubicBezTo>
                      <a:pt x="1064917" y="5414241"/>
                      <a:pt x="1061218" y="5410541"/>
                      <a:pt x="1056778" y="5410541"/>
                    </a:cubicBezTo>
                    <a:cubicBezTo>
                      <a:pt x="1052341" y="5410541"/>
                      <a:pt x="1048642" y="5414241"/>
                      <a:pt x="1048642" y="5418677"/>
                    </a:cubicBezTo>
                    <a:cubicBezTo>
                      <a:pt x="1048642" y="5423117"/>
                      <a:pt x="1052341" y="5426817"/>
                      <a:pt x="1056778" y="5426817"/>
                    </a:cubicBezTo>
                    <a:cubicBezTo>
                      <a:pt x="1061218" y="5426817"/>
                      <a:pt x="1064917" y="5423364"/>
                      <a:pt x="1064917" y="5418677"/>
                    </a:cubicBezTo>
                    <a:close/>
                    <a:moveTo>
                      <a:pt x="1066149" y="4787935"/>
                    </a:moveTo>
                    <a:cubicBezTo>
                      <a:pt x="1066149" y="4767223"/>
                      <a:pt x="1049382" y="4750455"/>
                      <a:pt x="1028670" y="4750455"/>
                    </a:cubicBezTo>
                    <a:cubicBezTo>
                      <a:pt x="1007957" y="4750455"/>
                      <a:pt x="991190" y="4767223"/>
                      <a:pt x="991190" y="4787935"/>
                    </a:cubicBezTo>
                    <a:cubicBezTo>
                      <a:pt x="991190" y="4808648"/>
                      <a:pt x="1007957" y="4825414"/>
                      <a:pt x="1028670" y="4825414"/>
                    </a:cubicBezTo>
                    <a:cubicBezTo>
                      <a:pt x="1049382" y="4825414"/>
                      <a:pt x="1066149" y="4808401"/>
                      <a:pt x="1066149" y="4787935"/>
                    </a:cubicBezTo>
                    <a:close/>
                    <a:moveTo>
                      <a:pt x="1066397" y="755599"/>
                    </a:moveTo>
                    <a:cubicBezTo>
                      <a:pt x="1066397" y="747463"/>
                      <a:pt x="1059985" y="741058"/>
                      <a:pt x="1051849" y="741058"/>
                    </a:cubicBezTo>
                    <a:cubicBezTo>
                      <a:pt x="1043713" y="741058"/>
                      <a:pt x="1037301" y="747708"/>
                      <a:pt x="1037301" y="755599"/>
                    </a:cubicBezTo>
                    <a:cubicBezTo>
                      <a:pt x="1037301" y="763728"/>
                      <a:pt x="1043713" y="770148"/>
                      <a:pt x="1051849" y="770148"/>
                    </a:cubicBezTo>
                    <a:cubicBezTo>
                      <a:pt x="1059739" y="770148"/>
                      <a:pt x="1066397" y="763728"/>
                      <a:pt x="1066397" y="755599"/>
                    </a:cubicBezTo>
                    <a:close/>
                    <a:moveTo>
                      <a:pt x="1069849" y="329293"/>
                    </a:moveTo>
                    <a:cubicBezTo>
                      <a:pt x="1069849" y="321652"/>
                      <a:pt x="1063685" y="315240"/>
                      <a:pt x="1055795" y="315240"/>
                    </a:cubicBezTo>
                    <a:cubicBezTo>
                      <a:pt x="1048152" y="315240"/>
                      <a:pt x="1041740" y="321652"/>
                      <a:pt x="1041740" y="329293"/>
                    </a:cubicBezTo>
                    <a:cubicBezTo>
                      <a:pt x="1041740" y="336937"/>
                      <a:pt x="1048152" y="343347"/>
                      <a:pt x="1055795" y="343347"/>
                    </a:cubicBezTo>
                    <a:cubicBezTo>
                      <a:pt x="1063685" y="343347"/>
                      <a:pt x="1069849" y="336937"/>
                      <a:pt x="1069849" y="329293"/>
                    </a:cubicBezTo>
                    <a:close/>
                    <a:moveTo>
                      <a:pt x="1070095" y="6065938"/>
                    </a:moveTo>
                    <a:cubicBezTo>
                      <a:pt x="1070095" y="6063964"/>
                      <a:pt x="1068368" y="6062238"/>
                      <a:pt x="1066396" y="6062238"/>
                    </a:cubicBezTo>
                    <a:cubicBezTo>
                      <a:pt x="1064177" y="6062238"/>
                      <a:pt x="1062450" y="6063964"/>
                      <a:pt x="1062450" y="6065938"/>
                    </a:cubicBezTo>
                    <a:cubicBezTo>
                      <a:pt x="1062450" y="6068156"/>
                      <a:pt x="1064177" y="6069883"/>
                      <a:pt x="1066396" y="6069883"/>
                    </a:cubicBezTo>
                    <a:cubicBezTo>
                      <a:pt x="1068368" y="6069883"/>
                      <a:pt x="1070095" y="6068156"/>
                      <a:pt x="1070095" y="6065938"/>
                    </a:cubicBezTo>
                    <a:close/>
                    <a:moveTo>
                      <a:pt x="1071329" y="3392016"/>
                    </a:moveTo>
                    <a:cubicBezTo>
                      <a:pt x="1071329" y="3368297"/>
                      <a:pt x="1051849" y="3348854"/>
                      <a:pt x="1028178" y="3348854"/>
                    </a:cubicBezTo>
                    <a:cubicBezTo>
                      <a:pt x="1004258" y="3348854"/>
                      <a:pt x="985027" y="3368297"/>
                      <a:pt x="985027" y="3392016"/>
                    </a:cubicBezTo>
                    <a:cubicBezTo>
                      <a:pt x="985027" y="3415681"/>
                      <a:pt x="1004258" y="3435165"/>
                      <a:pt x="1028178" y="3435165"/>
                    </a:cubicBezTo>
                    <a:cubicBezTo>
                      <a:pt x="1051849" y="3435165"/>
                      <a:pt x="1071329" y="3415927"/>
                      <a:pt x="1071329" y="3392016"/>
                    </a:cubicBezTo>
                    <a:close/>
                    <a:moveTo>
                      <a:pt x="1072314" y="3508208"/>
                    </a:moveTo>
                    <a:cubicBezTo>
                      <a:pt x="1072314" y="3483304"/>
                      <a:pt x="1052095" y="3463029"/>
                      <a:pt x="1026943" y="3463029"/>
                    </a:cubicBezTo>
                    <a:cubicBezTo>
                      <a:pt x="1002040" y="3463029"/>
                      <a:pt x="981574" y="3483059"/>
                      <a:pt x="981574" y="3508208"/>
                    </a:cubicBezTo>
                    <a:cubicBezTo>
                      <a:pt x="981574" y="3533111"/>
                      <a:pt x="1001791" y="3553578"/>
                      <a:pt x="1026943" y="3553578"/>
                    </a:cubicBezTo>
                    <a:cubicBezTo>
                      <a:pt x="1051847" y="3553578"/>
                      <a:pt x="1072314" y="3533360"/>
                      <a:pt x="1072314" y="3508208"/>
                    </a:cubicBezTo>
                    <a:close/>
                    <a:moveTo>
                      <a:pt x="1073797" y="1538364"/>
                    </a:moveTo>
                    <a:cubicBezTo>
                      <a:pt x="1073797" y="1528260"/>
                      <a:pt x="1065658" y="1519873"/>
                      <a:pt x="1055303" y="1519873"/>
                    </a:cubicBezTo>
                    <a:cubicBezTo>
                      <a:pt x="1045192" y="1519873"/>
                      <a:pt x="1036809" y="1528012"/>
                      <a:pt x="1036809" y="1538364"/>
                    </a:cubicBezTo>
                    <a:cubicBezTo>
                      <a:pt x="1036809" y="1548714"/>
                      <a:pt x="1044946" y="1557099"/>
                      <a:pt x="1055303" y="1557099"/>
                    </a:cubicBezTo>
                    <a:cubicBezTo>
                      <a:pt x="1065658" y="1557099"/>
                      <a:pt x="1073797" y="1548714"/>
                      <a:pt x="1073797" y="1538364"/>
                    </a:cubicBezTo>
                    <a:close/>
                    <a:moveTo>
                      <a:pt x="1075766" y="3275867"/>
                    </a:moveTo>
                    <a:cubicBezTo>
                      <a:pt x="1075766" y="3253184"/>
                      <a:pt x="1057273" y="3234941"/>
                      <a:pt x="1034836" y="3234941"/>
                    </a:cubicBezTo>
                    <a:cubicBezTo>
                      <a:pt x="1012151" y="3234941"/>
                      <a:pt x="993903" y="3253429"/>
                      <a:pt x="993903" y="3275867"/>
                    </a:cubicBezTo>
                    <a:cubicBezTo>
                      <a:pt x="993903" y="3298552"/>
                      <a:pt x="1012396" y="3316807"/>
                      <a:pt x="1034836" y="3316807"/>
                    </a:cubicBezTo>
                    <a:cubicBezTo>
                      <a:pt x="1057273" y="3316807"/>
                      <a:pt x="1075766" y="3298304"/>
                      <a:pt x="1075766" y="3275867"/>
                    </a:cubicBezTo>
                    <a:close/>
                    <a:moveTo>
                      <a:pt x="1077247" y="1717323"/>
                    </a:moveTo>
                    <a:cubicBezTo>
                      <a:pt x="1077247" y="1705277"/>
                      <a:pt x="1067383" y="1695412"/>
                      <a:pt x="1055299" y="1695412"/>
                    </a:cubicBezTo>
                    <a:cubicBezTo>
                      <a:pt x="1043218" y="1695412"/>
                      <a:pt x="1033355" y="1705277"/>
                      <a:pt x="1033355" y="1717323"/>
                    </a:cubicBezTo>
                    <a:cubicBezTo>
                      <a:pt x="1033355" y="1729425"/>
                      <a:pt x="1043218" y="1739303"/>
                      <a:pt x="1055299" y="1739303"/>
                    </a:cubicBezTo>
                    <a:cubicBezTo>
                      <a:pt x="1067383" y="1739303"/>
                      <a:pt x="1077247" y="1729425"/>
                      <a:pt x="1077247" y="1717323"/>
                    </a:cubicBezTo>
                    <a:close/>
                    <a:moveTo>
                      <a:pt x="1077493" y="2118211"/>
                    </a:moveTo>
                    <a:cubicBezTo>
                      <a:pt x="1077493" y="2106124"/>
                      <a:pt x="1067630" y="2096504"/>
                      <a:pt x="1055795" y="2096504"/>
                    </a:cubicBezTo>
                    <a:cubicBezTo>
                      <a:pt x="1043959" y="2096504"/>
                      <a:pt x="1034096" y="2106124"/>
                      <a:pt x="1034096" y="2118211"/>
                    </a:cubicBezTo>
                    <a:cubicBezTo>
                      <a:pt x="1034096" y="2130293"/>
                      <a:pt x="1043713" y="2139914"/>
                      <a:pt x="1055795" y="2139914"/>
                    </a:cubicBezTo>
                    <a:cubicBezTo>
                      <a:pt x="1067630" y="2139914"/>
                      <a:pt x="1077493" y="2130293"/>
                      <a:pt x="1077493" y="2118211"/>
                    </a:cubicBezTo>
                    <a:close/>
                    <a:moveTo>
                      <a:pt x="1078725" y="3624345"/>
                    </a:moveTo>
                    <a:cubicBezTo>
                      <a:pt x="1078725" y="3597961"/>
                      <a:pt x="1057272" y="3576509"/>
                      <a:pt x="1030888" y="3576509"/>
                    </a:cubicBezTo>
                    <a:cubicBezTo>
                      <a:pt x="1004507" y="3576509"/>
                      <a:pt x="983054" y="3597961"/>
                      <a:pt x="983054" y="3624345"/>
                    </a:cubicBezTo>
                    <a:cubicBezTo>
                      <a:pt x="983054" y="3650727"/>
                      <a:pt x="1004507" y="3672179"/>
                      <a:pt x="1030888" y="3672179"/>
                    </a:cubicBezTo>
                    <a:cubicBezTo>
                      <a:pt x="1057272" y="3672179"/>
                      <a:pt x="1078725" y="3650727"/>
                      <a:pt x="1078725" y="3624345"/>
                    </a:cubicBezTo>
                    <a:close/>
                    <a:moveTo>
                      <a:pt x="1078726" y="460441"/>
                    </a:moveTo>
                    <a:cubicBezTo>
                      <a:pt x="1078726" y="452799"/>
                      <a:pt x="1072561" y="446387"/>
                      <a:pt x="1064671" y="446387"/>
                    </a:cubicBezTo>
                    <a:cubicBezTo>
                      <a:pt x="1057029" y="446387"/>
                      <a:pt x="1050617" y="452551"/>
                      <a:pt x="1050617" y="460441"/>
                    </a:cubicBezTo>
                    <a:cubicBezTo>
                      <a:pt x="1050617" y="468085"/>
                      <a:pt x="1056780" y="474496"/>
                      <a:pt x="1064671" y="474496"/>
                    </a:cubicBezTo>
                    <a:cubicBezTo>
                      <a:pt x="1072316" y="474496"/>
                      <a:pt x="1078726" y="468085"/>
                      <a:pt x="1078726" y="460441"/>
                    </a:cubicBezTo>
                    <a:close/>
                    <a:moveTo>
                      <a:pt x="1080203" y="890943"/>
                    </a:moveTo>
                    <a:cubicBezTo>
                      <a:pt x="1080203" y="882306"/>
                      <a:pt x="1073299" y="875398"/>
                      <a:pt x="1064671" y="875398"/>
                    </a:cubicBezTo>
                    <a:cubicBezTo>
                      <a:pt x="1056040" y="875398"/>
                      <a:pt x="1049136" y="882306"/>
                      <a:pt x="1049136" y="890943"/>
                    </a:cubicBezTo>
                    <a:cubicBezTo>
                      <a:pt x="1049136" y="899568"/>
                      <a:pt x="1056040" y="906469"/>
                      <a:pt x="1064671" y="906469"/>
                    </a:cubicBezTo>
                    <a:cubicBezTo>
                      <a:pt x="1073299" y="906469"/>
                      <a:pt x="1080203" y="899568"/>
                      <a:pt x="1080203" y="890943"/>
                    </a:cubicBezTo>
                    <a:close/>
                    <a:moveTo>
                      <a:pt x="1083655" y="4251386"/>
                    </a:moveTo>
                    <a:cubicBezTo>
                      <a:pt x="1083655" y="4225742"/>
                      <a:pt x="1062696" y="4204784"/>
                      <a:pt x="1037052" y="4204784"/>
                    </a:cubicBezTo>
                    <a:cubicBezTo>
                      <a:pt x="1011408" y="4204784"/>
                      <a:pt x="990450" y="4225742"/>
                      <a:pt x="990450" y="4251386"/>
                    </a:cubicBezTo>
                    <a:cubicBezTo>
                      <a:pt x="990450" y="4277031"/>
                      <a:pt x="1011408" y="4297991"/>
                      <a:pt x="1037052" y="4297991"/>
                    </a:cubicBezTo>
                    <a:cubicBezTo>
                      <a:pt x="1062945" y="4297991"/>
                      <a:pt x="1083655" y="4277031"/>
                      <a:pt x="1083655" y="4251386"/>
                    </a:cubicBezTo>
                    <a:close/>
                    <a:moveTo>
                      <a:pt x="1085630" y="3160227"/>
                    </a:moveTo>
                    <a:cubicBezTo>
                      <a:pt x="1085630" y="3138773"/>
                      <a:pt x="1068122" y="3121514"/>
                      <a:pt x="1046918" y="3121514"/>
                    </a:cubicBezTo>
                    <a:cubicBezTo>
                      <a:pt x="1025711" y="3121514"/>
                      <a:pt x="1008452" y="3139022"/>
                      <a:pt x="1008452" y="3160227"/>
                    </a:cubicBezTo>
                    <a:cubicBezTo>
                      <a:pt x="1008452" y="3181436"/>
                      <a:pt x="1025711" y="3198695"/>
                      <a:pt x="1046918" y="3198695"/>
                    </a:cubicBezTo>
                    <a:cubicBezTo>
                      <a:pt x="1068370" y="3198695"/>
                      <a:pt x="1085630" y="3181436"/>
                      <a:pt x="1085630" y="3160227"/>
                    </a:cubicBezTo>
                    <a:close/>
                    <a:moveTo>
                      <a:pt x="1089573" y="3740235"/>
                    </a:moveTo>
                    <a:cubicBezTo>
                      <a:pt x="1089573" y="3713111"/>
                      <a:pt x="1067626" y="3691166"/>
                      <a:pt x="1040505" y="3691166"/>
                    </a:cubicBezTo>
                    <a:cubicBezTo>
                      <a:pt x="1013380" y="3691166"/>
                      <a:pt x="991436" y="3713111"/>
                      <a:pt x="991436" y="3740235"/>
                    </a:cubicBezTo>
                    <a:cubicBezTo>
                      <a:pt x="991436" y="3767357"/>
                      <a:pt x="1013380" y="3789301"/>
                      <a:pt x="1040505" y="3789301"/>
                    </a:cubicBezTo>
                    <a:cubicBezTo>
                      <a:pt x="1067626" y="3789301"/>
                      <a:pt x="1089573" y="3767357"/>
                      <a:pt x="1089573" y="3740235"/>
                    </a:cubicBezTo>
                    <a:close/>
                    <a:moveTo>
                      <a:pt x="1094260" y="1027772"/>
                    </a:moveTo>
                    <a:cubicBezTo>
                      <a:pt x="1094260" y="1019150"/>
                      <a:pt x="1087110" y="1011995"/>
                      <a:pt x="1078480" y="1011995"/>
                    </a:cubicBezTo>
                    <a:cubicBezTo>
                      <a:pt x="1069849" y="1011995"/>
                      <a:pt x="1062699" y="1019150"/>
                      <a:pt x="1062699" y="1027772"/>
                    </a:cubicBezTo>
                    <a:cubicBezTo>
                      <a:pt x="1062699" y="1036393"/>
                      <a:pt x="1069849" y="1043546"/>
                      <a:pt x="1078480" y="1043546"/>
                    </a:cubicBezTo>
                    <a:cubicBezTo>
                      <a:pt x="1087110" y="1043546"/>
                      <a:pt x="1094260" y="1036393"/>
                      <a:pt x="1094260" y="1027772"/>
                    </a:cubicBezTo>
                    <a:close/>
                    <a:moveTo>
                      <a:pt x="1095493" y="2542046"/>
                    </a:moveTo>
                    <a:cubicBezTo>
                      <a:pt x="1095493" y="2541308"/>
                      <a:pt x="1095001" y="2540813"/>
                      <a:pt x="1094261" y="2540813"/>
                    </a:cubicBezTo>
                    <a:cubicBezTo>
                      <a:pt x="1093520" y="2540813"/>
                      <a:pt x="1093029" y="2541308"/>
                      <a:pt x="1093029" y="2542046"/>
                    </a:cubicBezTo>
                    <a:cubicBezTo>
                      <a:pt x="1093029" y="2542786"/>
                      <a:pt x="1093520" y="2543279"/>
                      <a:pt x="1094261" y="2543279"/>
                    </a:cubicBezTo>
                    <a:cubicBezTo>
                      <a:pt x="1095001" y="2543279"/>
                      <a:pt x="1095493" y="2542786"/>
                      <a:pt x="1095493" y="2542046"/>
                    </a:cubicBezTo>
                    <a:close/>
                    <a:moveTo>
                      <a:pt x="1095986" y="2275017"/>
                    </a:moveTo>
                    <a:cubicBezTo>
                      <a:pt x="1095986" y="2274529"/>
                      <a:pt x="1095492" y="2274032"/>
                      <a:pt x="1095000" y="2274032"/>
                    </a:cubicBezTo>
                    <a:cubicBezTo>
                      <a:pt x="1094505" y="2274032"/>
                      <a:pt x="1094014" y="2274529"/>
                      <a:pt x="1094014" y="2275017"/>
                    </a:cubicBezTo>
                    <a:cubicBezTo>
                      <a:pt x="1094014" y="2275505"/>
                      <a:pt x="1094505" y="2275999"/>
                      <a:pt x="1095000" y="2275999"/>
                    </a:cubicBezTo>
                    <a:cubicBezTo>
                      <a:pt x="1095741" y="2275999"/>
                      <a:pt x="1096232" y="2275505"/>
                      <a:pt x="1095986" y="2275017"/>
                    </a:cubicBezTo>
                    <a:close/>
                    <a:moveTo>
                      <a:pt x="1099438" y="6792351"/>
                    </a:moveTo>
                    <a:cubicBezTo>
                      <a:pt x="1099438" y="6790870"/>
                      <a:pt x="1098205" y="6789638"/>
                      <a:pt x="1096727" y="6789638"/>
                    </a:cubicBezTo>
                    <a:cubicBezTo>
                      <a:pt x="1095246" y="6789638"/>
                      <a:pt x="1094014" y="6790870"/>
                      <a:pt x="1094014" y="6792351"/>
                    </a:cubicBezTo>
                    <a:cubicBezTo>
                      <a:pt x="1094014" y="6793829"/>
                      <a:pt x="1095246" y="6795064"/>
                      <a:pt x="1096727" y="6795064"/>
                    </a:cubicBezTo>
                    <a:cubicBezTo>
                      <a:pt x="1098205" y="6795064"/>
                      <a:pt x="1099438" y="6793829"/>
                      <a:pt x="1099438" y="6792351"/>
                    </a:cubicBezTo>
                    <a:close/>
                    <a:moveTo>
                      <a:pt x="1100178" y="3045070"/>
                    </a:moveTo>
                    <a:cubicBezTo>
                      <a:pt x="1100178" y="3025589"/>
                      <a:pt x="1084151" y="3009561"/>
                      <a:pt x="1064670" y="3009561"/>
                    </a:cubicBezTo>
                    <a:cubicBezTo>
                      <a:pt x="1044945" y="3009561"/>
                      <a:pt x="1029164" y="3025589"/>
                      <a:pt x="1029164" y="3045070"/>
                    </a:cubicBezTo>
                    <a:cubicBezTo>
                      <a:pt x="1029164" y="3064797"/>
                      <a:pt x="1045191" y="3080579"/>
                      <a:pt x="1064670" y="3080579"/>
                    </a:cubicBezTo>
                    <a:cubicBezTo>
                      <a:pt x="1084151" y="3080579"/>
                      <a:pt x="1100178" y="3064797"/>
                      <a:pt x="1100178" y="3045070"/>
                    </a:cubicBezTo>
                    <a:close/>
                    <a:moveTo>
                      <a:pt x="1100670" y="4629881"/>
                    </a:moveTo>
                    <a:cubicBezTo>
                      <a:pt x="1100670" y="4612868"/>
                      <a:pt x="1087108" y="4599305"/>
                      <a:pt x="1070340" y="4599305"/>
                    </a:cubicBezTo>
                    <a:cubicBezTo>
                      <a:pt x="1053327" y="4599305"/>
                      <a:pt x="1039765" y="4613114"/>
                      <a:pt x="1039765" y="4629881"/>
                    </a:cubicBezTo>
                    <a:cubicBezTo>
                      <a:pt x="1039765" y="4646648"/>
                      <a:pt x="1053573" y="4660211"/>
                      <a:pt x="1070340" y="4660211"/>
                    </a:cubicBezTo>
                    <a:cubicBezTo>
                      <a:pt x="1087108" y="4660211"/>
                      <a:pt x="1100670" y="4646402"/>
                      <a:pt x="1100670" y="4629881"/>
                    </a:cubicBezTo>
                    <a:close/>
                    <a:moveTo>
                      <a:pt x="1105107" y="3855633"/>
                    </a:moveTo>
                    <a:cubicBezTo>
                      <a:pt x="1105107" y="3828264"/>
                      <a:pt x="1082916" y="3806071"/>
                      <a:pt x="1055545" y="3806071"/>
                    </a:cubicBezTo>
                    <a:cubicBezTo>
                      <a:pt x="1028174" y="3806071"/>
                      <a:pt x="1005984" y="3828264"/>
                      <a:pt x="1005984" y="3855633"/>
                    </a:cubicBezTo>
                    <a:cubicBezTo>
                      <a:pt x="1005984" y="3883003"/>
                      <a:pt x="1028174" y="3905196"/>
                      <a:pt x="1055545" y="3905196"/>
                    </a:cubicBezTo>
                    <a:cubicBezTo>
                      <a:pt x="1082916" y="3905196"/>
                      <a:pt x="1105107" y="3883003"/>
                      <a:pt x="1105107" y="3855633"/>
                    </a:cubicBezTo>
                    <a:close/>
                    <a:moveTo>
                      <a:pt x="1107329" y="6663392"/>
                    </a:moveTo>
                    <a:cubicBezTo>
                      <a:pt x="1107329" y="6661664"/>
                      <a:pt x="1105851" y="6660432"/>
                      <a:pt x="1104370" y="6660432"/>
                    </a:cubicBezTo>
                    <a:cubicBezTo>
                      <a:pt x="1102643" y="6660432"/>
                      <a:pt x="1101411" y="6661664"/>
                      <a:pt x="1101411" y="6663392"/>
                    </a:cubicBezTo>
                    <a:cubicBezTo>
                      <a:pt x="1101411" y="6665118"/>
                      <a:pt x="1102643" y="6666351"/>
                      <a:pt x="1104370" y="6666351"/>
                    </a:cubicBezTo>
                    <a:cubicBezTo>
                      <a:pt x="1105851" y="6666351"/>
                      <a:pt x="1107329" y="6664870"/>
                      <a:pt x="1107329" y="6663392"/>
                    </a:cubicBezTo>
                    <a:close/>
                    <a:moveTo>
                      <a:pt x="1107574" y="1866802"/>
                    </a:moveTo>
                    <a:cubicBezTo>
                      <a:pt x="1107574" y="1853251"/>
                      <a:pt x="1096724" y="1842408"/>
                      <a:pt x="1083165" y="1842408"/>
                    </a:cubicBezTo>
                    <a:cubicBezTo>
                      <a:pt x="1069602" y="1842408"/>
                      <a:pt x="1058754" y="1853497"/>
                      <a:pt x="1058754" y="1866802"/>
                    </a:cubicBezTo>
                    <a:cubicBezTo>
                      <a:pt x="1058754" y="1880353"/>
                      <a:pt x="1069849" y="1891193"/>
                      <a:pt x="1083165" y="1891193"/>
                    </a:cubicBezTo>
                    <a:cubicBezTo>
                      <a:pt x="1096479" y="1891193"/>
                      <a:pt x="1107574" y="1880353"/>
                      <a:pt x="1107574" y="1866802"/>
                    </a:cubicBezTo>
                    <a:close/>
                    <a:moveTo>
                      <a:pt x="1111024" y="4889032"/>
                    </a:moveTo>
                    <a:cubicBezTo>
                      <a:pt x="1111024" y="4874977"/>
                      <a:pt x="1099683" y="4863634"/>
                      <a:pt x="1085629" y="4863634"/>
                    </a:cubicBezTo>
                    <a:cubicBezTo>
                      <a:pt x="1071573" y="4863634"/>
                      <a:pt x="1060231" y="4874977"/>
                      <a:pt x="1060231" y="4889032"/>
                    </a:cubicBezTo>
                    <a:cubicBezTo>
                      <a:pt x="1060231" y="4903086"/>
                      <a:pt x="1071573" y="4914430"/>
                      <a:pt x="1085629" y="4914430"/>
                    </a:cubicBezTo>
                    <a:cubicBezTo>
                      <a:pt x="1099683" y="4914430"/>
                      <a:pt x="1111024" y="4902840"/>
                      <a:pt x="1111024" y="4889032"/>
                    </a:cubicBezTo>
                    <a:close/>
                    <a:moveTo>
                      <a:pt x="1111522" y="1166079"/>
                    </a:moveTo>
                    <a:cubicBezTo>
                      <a:pt x="1111522" y="1156461"/>
                      <a:pt x="1103632" y="1148572"/>
                      <a:pt x="1094014" y="1148572"/>
                    </a:cubicBezTo>
                    <a:cubicBezTo>
                      <a:pt x="1084397" y="1148572"/>
                      <a:pt x="1076507" y="1156461"/>
                      <a:pt x="1076507" y="1166079"/>
                    </a:cubicBezTo>
                    <a:cubicBezTo>
                      <a:pt x="1076507" y="1175692"/>
                      <a:pt x="1084397" y="1183586"/>
                      <a:pt x="1094014" y="1183586"/>
                    </a:cubicBezTo>
                    <a:cubicBezTo>
                      <a:pt x="1103877" y="1183586"/>
                      <a:pt x="1111768" y="1175692"/>
                      <a:pt x="1111522" y="1166079"/>
                    </a:cubicBezTo>
                    <a:close/>
                    <a:moveTo>
                      <a:pt x="1111764" y="5929336"/>
                    </a:moveTo>
                    <a:cubicBezTo>
                      <a:pt x="1111764" y="5912074"/>
                      <a:pt x="1097710" y="5897774"/>
                      <a:pt x="1080203" y="5897774"/>
                    </a:cubicBezTo>
                    <a:cubicBezTo>
                      <a:pt x="1062696" y="5897774"/>
                      <a:pt x="1048642" y="5911829"/>
                      <a:pt x="1048642" y="5929336"/>
                    </a:cubicBezTo>
                    <a:cubicBezTo>
                      <a:pt x="1048642" y="5946843"/>
                      <a:pt x="1062696" y="5960898"/>
                      <a:pt x="1080203" y="5960898"/>
                    </a:cubicBezTo>
                    <a:cubicBezTo>
                      <a:pt x="1097710" y="5960898"/>
                      <a:pt x="1111764" y="5946595"/>
                      <a:pt x="1111764" y="5929336"/>
                    </a:cubicBezTo>
                    <a:close/>
                    <a:moveTo>
                      <a:pt x="1114477" y="6533199"/>
                    </a:moveTo>
                    <a:cubicBezTo>
                      <a:pt x="1114477" y="6532212"/>
                      <a:pt x="1113738" y="6531226"/>
                      <a:pt x="1112505" y="6531226"/>
                    </a:cubicBezTo>
                    <a:cubicBezTo>
                      <a:pt x="1111519" y="6531226"/>
                      <a:pt x="1110533" y="6532212"/>
                      <a:pt x="1110533" y="6533199"/>
                    </a:cubicBezTo>
                    <a:cubicBezTo>
                      <a:pt x="1110533" y="6534185"/>
                      <a:pt x="1111519" y="6535171"/>
                      <a:pt x="1112505" y="6535171"/>
                    </a:cubicBezTo>
                    <a:cubicBezTo>
                      <a:pt x="1113492" y="6535171"/>
                      <a:pt x="1114477" y="6534185"/>
                      <a:pt x="1114477" y="6533199"/>
                    </a:cubicBezTo>
                    <a:close/>
                    <a:moveTo>
                      <a:pt x="1117683" y="5790513"/>
                    </a:moveTo>
                    <a:cubicBezTo>
                      <a:pt x="1117683" y="5778183"/>
                      <a:pt x="1107574" y="5768074"/>
                      <a:pt x="1095246" y="5768074"/>
                    </a:cubicBezTo>
                    <a:cubicBezTo>
                      <a:pt x="1082917" y="5768074"/>
                      <a:pt x="1072808" y="5778183"/>
                      <a:pt x="1072808" y="5790513"/>
                    </a:cubicBezTo>
                    <a:cubicBezTo>
                      <a:pt x="1072808" y="5802840"/>
                      <a:pt x="1082917" y="5812952"/>
                      <a:pt x="1095246" y="5812952"/>
                    </a:cubicBezTo>
                    <a:cubicBezTo>
                      <a:pt x="1107820" y="5812952"/>
                      <a:pt x="1117683" y="5802840"/>
                      <a:pt x="1117683" y="5790513"/>
                    </a:cubicBezTo>
                    <a:close/>
                    <a:moveTo>
                      <a:pt x="1118915" y="5285773"/>
                    </a:moveTo>
                    <a:cubicBezTo>
                      <a:pt x="1118915" y="5270237"/>
                      <a:pt x="1106342" y="5257415"/>
                      <a:pt x="1090561" y="5257415"/>
                    </a:cubicBezTo>
                    <a:cubicBezTo>
                      <a:pt x="1075026" y="5257415"/>
                      <a:pt x="1062204" y="5270237"/>
                      <a:pt x="1062204" y="5285773"/>
                    </a:cubicBezTo>
                    <a:cubicBezTo>
                      <a:pt x="1062204" y="5301305"/>
                      <a:pt x="1074779" y="5314130"/>
                      <a:pt x="1090561" y="5314130"/>
                    </a:cubicBezTo>
                    <a:cubicBezTo>
                      <a:pt x="1106342" y="5314130"/>
                      <a:pt x="1118915" y="5301305"/>
                      <a:pt x="1118915" y="5285773"/>
                    </a:cubicBezTo>
                    <a:close/>
                    <a:moveTo>
                      <a:pt x="1119164" y="2931147"/>
                    </a:moveTo>
                    <a:cubicBezTo>
                      <a:pt x="1119164" y="2913885"/>
                      <a:pt x="1105108" y="2899830"/>
                      <a:pt x="1087849" y="2899830"/>
                    </a:cubicBezTo>
                    <a:cubicBezTo>
                      <a:pt x="1070587" y="2899830"/>
                      <a:pt x="1056533" y="2913885"/>
                      <a:pt x="1056533" y="2931147"/>
                    </a:cubicBezTo>
                    <a:cubicBezTo>
                      <a:pt x="1056533" y="2948407"/>
                      <a:pt x="1070587" y="2962462"/>
                      <a:pt x="1087849" y="2962462"/>
                    </a:cubicBezTo>
                    <a:cubicBezTo>
                      <a:pt x="1105108" y="2962462"/>
                      <a:pt x="1119164" y="2948407"/>
                      <a:pt x="1119164" y="2931147"/>
                    </a:cubicBezTo>
                    <a:close/>
                    <a:moveTo>
                      <a:pt x="1120642" y="4361114"/>
                    </a:moveTo>
                    <a:cubicBezTo>
                      <a:pt x="1120642" y="4335716"/>
                      <a:pt x="1099932" y="4315003"/>
                      <a:pt x="1074534" y="4315003"/>
                    </a:cubicBezTo>
                    <a:cubicBezTo>
                      <a:pt x="1049136" y="4315003"/>
                      <a:pt x="1028424" y="4335716"/>
                      <a:pt x="1028424" y="4361114"/>
                    </a:cubicBezTo>
                    <a:cubicBezTo>
                      <a:pt x="1028424" y="4386758"/>
                      <a:pt x="1049136" y="4407471"/>
                      <a:pt x="1074534" y="4407471"/>
                    </a:cubicBezTo>
                    <a:cubicBezTo>
                      <a:pt x="1100179" y="4407471"/>
                      <a:pt x="1120891" y="4386758"/>
                      <a:pt x="1120642" y="4361114"/>
                    </a:cubicBezTo>
                    <a:close/>
                    <a:moveTo>
                      <a:pt x="1125820" y="3970290"/>
                    </a:moveTo>
                    <a:cubicBezTo>
                      <a:pt x="1125820" y="3942919"/>
                      <a:pt x="1103629" y="3920729"/>
                      <a:pt x="1076258" y="3920729"/>
                    </a:cubicBezTo>
                    <a:cubicBezTo>
                      <a:pt x="1048890" y="3920729"/>
                      <a:pt x="1026697" y="3942919"/>
                      <a:pt x="1026697" y="3970290"/>
                    </a:cubicBezTo>
                    <a:cubicBezTo>
                      <a:pt x="1026697" y="3997661"/>
                      <a:pt x="1048890" y="4019851"/>
                      <a:pt x="1076258" y="4019851"/>
                    </a:cubicBezTo>
                    <a:cubicBezTo>
                      <a:pt x="1103629" y="4019851"/>
                      <a:pt x="1125820" y="3997661"/>
                      <a:pt x="1125820" y="3970290"/>
                    </a:cubicBezTo>
                    <a:close/>
                    <a:moveTo>
                      <a:pt x="1128782" y="1306351"/>
                    </a:moveTo>
                    <a:cubicBezTo>
                      <a:pt x="1128782" y="1296488"/>
                      <a:pt x="1120645" y="1288584"/>
                      <a:pt x="1110782" y="1288584"/>
                    </a:cubicBezTo>
                    <a:cubicBezTo>
                      <a:pt x="1100919" y="1288584"/>
                      <a:pt x="1093029" y="1296488"/>
                      <a:pt x="1093029" y="1306351"/>
                    </a:cubicBezTo>
                    <a:cubicBezTo>
                      <a:pt x="1093029" y="1316225"/>
                      <a:pt x="1100919" y="1324351"/>
                      <a:pt x="1110782" y="1324351"/>
                    </a:cubicBezTo>
                    <a:cubicBezTo>
                      <a:pt x="1120645" y="1324351"/>
                      <a:pt x="1128782" y="1316470"/>
                      <a:pt x="1128782" y="1306351"/>
                    </a:cubicBezTo>
                    <a:close/>
                    <a:moveTo>
                      <a:pt x="1130753" y="5650458"/>
                    </a:moveTo>
                    <a:cubicBezTo>
                      <a:pt x="1130753" y="5640346"/>
                      <a:pt x="1122368" y="5631964"/>
                      <a:pt x="1112260" y="5631964"/>
                    </a:cubicBezTo>
                    <a:cubicBezTo>
                      <a:pt x="1102148" y="5631964"/>
                      <a:pt x="1093766" y="5640346"/>
                      <a:pt x="1093766" y="5650458"/>
                    </a:cubicBezTo>
                    <a:cubicBezTo>
                      <a:pt x="1093766" y="5660812"/>
                      <a:pt x="1102148" y="5668952"/>
                      <a:pt x="1112260" y="5668952"/>
                    </a:cubicBezTo>
                    <a:cubicBezTo>
                      <a:pt x="1122614" y="5668952"/>
                      <a:pt x="1130753" y="5660566"/>
                      <a:pt x="1130753" y="5650458"/>
                    </a:cubicBezTo>
                    <a:close/>
                    <a:moveTo>
                      <a:pt x="1133712" y="6409665"/>
                    </a:moveTo>
                    <a:cubicBezTo>
                      <a:pt x="1133712" y="6408184"/>
                      <a:pt x="1132726" y="6407198"/>
                      <a:pt x="1131245" y="6407198"/>
                    </a:cubicBezTo>
                    <a:cubicBezTo>
                      <a:pt x="1129766" y="6407198"/>
                      <a:pt x="1128780" y="6408184"/>
                      <a:pt x="1128780" y="6409665"/>
                    </a:cubicBezTo>
                    <a:cubicBezTo>
                      <a:pt x="1128780" y="6411143"/>
                      <a:pt x="1130013" y="6412129"/>
                      <a:pt x="1131245" y="6412129"/>
                    </a:cubicBezTo>
                    <a:cubicBezTo>
                      <a:pt x="1132726" y="6412129"/>
                      <a:pt x="1133712" y="6411143"/>
                      <a:pt x="1133712" y="6409665"/>
                    </a:cubicBezTo>
                    <a:close/>
                    <a:moveTo>
                      <a:pt x="1135189" y="2018312"/>
                    </a:moveTo>
                    <a:cubicBezTo>
                      <a:pt x="1135189" y="2006978"/>
                      <a:pt x="1125819" y="1997614"/>
                      <a:pt x="1114477" y="1997614"/>
                    </a:cubicBezTo>
                    <a:cubicBezTo>
                      <a:pt x="1103133" y="1997614"/>
                      <a:pt x="1093766" y="2006978"/>
                      <a:pt x="1093766" y="2018312"/>
                    </a:cubicBezTo>
                    <a:cubicBezTo>
                      <a:pt x="1093766" y="2029662"/>
                      <a:pt x="1102888" y="2039031"/>
                      <a:pt x="1114477" y="2039031"/>
                    </a:cubicBezTo>
                    <a:cubicBezTo>
                      <a:pt x="1126067" y="2039031"/>
                      <a:pt x="1135435" y="2029662"/>
                      <a:pt x="1135189" y="2018312"/>
                    </a:cubicBezTo>
                    <a:close/>
                    <a:moveTo>
                      <a:pt x="1138397" y="5508428"/>
                    </a:moveTo>
                    <a:cubicBezTo>
                      <a:pt x="1138397" y="5504483"/>
                      <a:pt x="1135189" y="5501278"/>
                      <a:pt x="1131245" y="5501278"/>
                    </a:cubicBezTo>
                    <a:cubicBezTo>
                      <a:pt x="1127300" y="5501278"/>
                      <a:pt x="1124095" y="5504483"/>
                      <a:pt x="1124095" y="5508428"/>
                    </a:cubicBezTo>
                    <a:cubicBezTo>
                      <a:pt x="1124095" y="5512373"/>
                      <a:pt x="1127300" y="5515581"/>
                      <a:pt x="1131245" y="5515581"/>
                    </a:cubicBezTo>
                    <a:cubicBezTo>
                      <a:pt x="1135189" y="5515581"/>
                      <a:pt x="1138397" y="5512373"/>
                      <a:pt x="1138397" y="5508428"/>
                    </a:cubicBezTo>
                    <a:close/>
                    <a:moveTo>
                      <a:pt x="1139630" y="2435039"/>
                    </a:moveTo>
                    <a:cubicBezTo>
                      <a:pt x="1139630" y="2434789"/>
                      <a:pt x="1139384" y="2434543"/>
                      <a:pt x="1139135" y="2434543"/>
                    </a:cubicBezTo>
                    <a:cubicBezTo>
                      <a:pt x="1138889" y="2434543"/>
                      <a:pt x="1138644" y="2434789"/>
                      <a:pt x="1138644" y="2435039"/>
                    </a:cubicBezTo>
                    <a:cubicBezTo>
                      <a:pt x="1138644" y="2435280"/>
                      <a:pt x="1138889" y="2435524"/>
                      <a:pt x="1139135" y="2435524"/>
                    </a:cubicBezTo>
                    <a:cubicBezTo>
                      <a:pt x="1139384" y="2435524"/>
                      <a:pt x="1139630" y="2435280"/>
                      <a:pt x="1139630" y="2435039"/>
                    </a:cubicBezTo>
                    <a:close/>
                    <a:moveTo>
                      <a:pt x="1141108" y="2818456"/>
                    </a:moveTo>
                    <a:cubicBezTo>
                      <a:pt x="1141108" y="2804646"/>
                      <a:pt x="1130013" y="2793550"/>
                      <a:pt x="1116204" y="2793550"/>
                    </a:cubicBezTo>
                    <a:cubicBezTo>
                      <a:pt x="1102396" y="2793550"/>
                      <a:pt x="1091301" y="2804646"/>
                      <a:pt x="1091301" y="2818456"/>
                    </a:cubicBezTo>
                    <a:cubicBezTo>
                      <a:pt x="1091301" y="2832263"/>
                      <a:pt x="1102396" y="2843362"/>
                      <a:pt x="1116204" y="2843362"/>
                    </a:cubicBezTo>
                    <a:cubicBezTo>
                      <a:pt x="1130013" y="2843362"/>
                      <a:pt x="1141108" y="2832018"/>
                      <a:pt x="1141108" y="2818456"/>
                    </a:cubicBezTo>
                    <a:close/>
                    <a:moveTo>
                      <a:pt x="1143327" y="547457"/>
                    </a:moveTo>
                    <a:cubicBezTo>
                      <a:pt x="1143327" y="539567"/>
                      <a:pt x="1136917" y="533155"/>
                      <a:pt x="1129026" y="533155"/>
                    </a:cubicBezTo>
                    <a:cubicBezTo>
                      <a:pt x="1121136" y="533155"/>
                      <a:pt x="1114724" y="539567"/>
                      <a:pt x="1114724" y="547457"/>
                    </a:cubicBezTo>
                    <a:cubicBezTo>
                      <a:pt x="1114724" y="555346"/>
                      <a:pt x="1121136" y="561755"/>
                      <a:pt x="1129026" y="561755"/>
                    </a:cubicBezTo>
                    <a:cubicBezTo>
                      <a:pt x="1137163" y="561755"/>
                      <a:pt x="1143573" y="555346"/>
                      <a:pt x="1143327" y="547457"/>
                    </a:cubicBezTo>
                    <a:close/>
                    <a:moveTo>
                      <a:pt x="1144561" y="1624888"/>
                    </a:moveTo>
                    <a:cubicBezTo>
                      <a:pt x="1144561" y="1614043"/>
                      <a:pt x="1135685" y="1605409"/>
                      <a:pt x="1125082" y="1605409"/>
                    </a:cubicBezTo>
                    <a:cubicBezTo>
                      <a:pt x="1114233" y="1605409"/>
                      <a:pt x="1105602" y="1614043"/>
                      <a:pt x="1105602" y="1624888"/>
                    </a:cubicBezTo>
                    <a:cubicBezTo>
                      <a:pt x="1105602" y="1635744"/>
                      <a:pt x="1114233" y="1644375"/>
                      <a:pt x="1125082" y="1644375"/>
                    </a:cubicBezTo>
                    <a:cubicBezTo>
                      <a:pt x="1135685" y="1644375"/>
                      <a:pt x="1144313" y="1635744"/>
                      <a:pt x="1144561" y="1624888"/>
                    </a:cubicBezTo>
                    <a:close/>
                    <a:moveTo>
                      <a:pt x="1145299" y="6277500"/>
                    </a:moveTo>
                    <a:cubicBezTo>
                      <a:pt x="1145299" y="6275281"/>
                      <a:pt x="1143573" y="6273555"/>
                      <a:pt x="1141355" y="6273555"/>
                    </a:cubicBezTo>
                    <a:cubicBezTo>
                      <a:pt x="1139136" y="6273555"/>
                      <a:pt x="1137409" y="6275281"/>
                      <a:pt x="1137409" y="6277500"/>
                    </a:cubicBezTo>
                    <a:cubicBezTo>
                      <a:pt x="1137409" y="6279718"/>
                      <a:pt x="1139136" y="6281445"/>
                      <a:pt x="1141355" y="6281445"/>
                    </a:cubicBezTo>
                    <a:cubicBezTo>
                      <a:pt x="1143573" y="6281445"/>
                      <a:pt x="1145299" y="6279718"/>
                      <a:pt x="1145299" y="6277500"/>
                    </a:cubicBezTo>
                    <a:close/>
                    <a:moveTo>
                      <a:pt x="1146780" y="4733194"/>
                    </a:moveTo>
                    <a:cubicBezTo>
                      <a:pt x="1146780" y="4719880"/>
                      <a:pt x="1135931" y="4709030"/>
                      <a:pt x="1122615" y="4709030"/>
                    </a:cubicBezTo>
                    <a:cubicBezTo>
                      <a:pt x="1109301" y="4709030"/>
                      <a:pt x="1098452" y="4719880"/>
                      <a:pt x="1098452" y="4733194"/>
                    </a:cubicBezTo>
                    <a:cubicBezTo>
                      <a:pt x="1098452" y="4746510"/>
                      <a:pt x="1109301" y="4757360"/>
                      <a:pt x="1122615" y="4757360"/>
                    </a:cubicBezTo>
                    <a:cubicBezTo>
                      <a:pt x="1135931" y="4757360"/>
                      <a:pt x="1146780" y="4746510"/>
                      <a:pt x="1146780" y="4733194"/>
                    </a:cubicBezTo>
                    <a:close/>
                    <a:moveTo>
                      <a:pt x="1147027" y="1448609"/>
                    </a:moveTo>
                    <a:cubicBezTo>
                      <a:pt x="1147027" y="1438994"/>
                      <a:pt x="1139136" y="1431105"/>
                      <a:pt x="1129521" y="1431105"/>
                    </a:cubicBezTo>
                    <a:cubicBezTo>
                      <a:pt x="1119904" y="1431105"/>
                      <a:pt x="1112014" y="1438994"/>
                      <a:pt x="1112014" y="1448609"/>
                    </a:cubicBezTo>
                    <a:cubicBezTo>
                      <a:pt x="1112014" y="1458227"/>
                      <a:pt x="1119904" y="1466122"/>
                      <a:pt x="1129521" y="1466122"/>
                    </a:cubicBezTo>
                    <a:cubicBezTo>
                      <a:pt x="1139136" y="1466122"/>
                      <a:pt x="1147027" y="1458473"/>
                      <a:pt x="1147027" y="1448609"/>
                    </a:cubicBezTo>
                    <a:close/>
                    <a:moveTo>
                      <a:pt x="1150479" y="4083715"/>
                    </a:moveTo>
                    <a:cubicBezTo>
                      <a:pt x="1150479" y="4057084"/>
                      <a:pt x="1128780" y="4035386"/>
                      <a:pt x="1102151" y="4035386"/>
                    </a:cubicBezTo>
                    <a:cubicBezTo>
                      <a:pt x="1075520" y="4035386"/>
                      <a:pt x="1053821" y="4057084"/>
                      <a:pt x="1053821" y="4083715"/>
                    </a:cubicBezTo>
                    <a:cubicBezTo>
                      <a:pt x="1053821" y="4110346"/>
                      <a:pt x="1075520" y="4132045"/>
                      <a:pt x="1102151" y="4132045"/>
                    </a:cubicBezTo>
                    <a:cubicBezTo>
                      <a:pt x="1128780" y="4132045"/>
                      <a:pt x="1150479" y="4110346"/>
                      <a:pt x="1150479" y="4083715"/>
                    </a:cubicBezTo>
                    <a:close/>
                    <a:moveTo>
                      <a:pt x="1151218" y="2172453"/>
                    </a:moveTo>
                    <a:cubicBezTo>
                      <a:pt x="1151218" y="2171467"/>
                      <a:pt x="1150480" y="2170724"/>
                      <a:pt x="1149493" y="2170724"/>
                    </a:cubicBezTo>
                    <a:cubicBezTo>
                      <a:pt x="1148507" y="2170724"/>
                      <a:pt x="1147767" y="2171467"/>
                      <a:pt x="1147767" y="2172453"/>
                    </a:cubicBezTo>
                    <a:cubicBezTo>
                      <a:pt x="1147767" y="2173442"/>
                      <a:pt x="1148507" y="2174178"/>
                      <a:pt x="1149493" y="2174178"/>
                    </a:cubicBezTo>
                    <a:cubicBezTo>
                      <a:pt x="1150480" y="2174178"/>
                      <a:pt x="1151218" y="2173442"/>
                      <a:pt x="1151218" y="2172453"/>
                    </a:cubicBezTo>
                    <a:close/>
                    <a:moveTo>
                      <a:pt x="1153685" y="679649"/>
                    </a:moveTo>
                    <a:cubicBezTo>
                      <a:pt x="1153685" y="671766"/>
                      <a:pt x="1147275" y="665353"/>
                      <a:pt x="1139385" y="665353"/>
                    </a:cubicBezTo>
                    <a:cubicBezTo>
                      <a:pt x="1131494" y="665353"/>
                      <a:pt x="1125082" y="671766"/>
                      <a:pt x="1125082" y="679649"/>
                    </a:cubicBezTo>
                    <a:cubicBezTo>
                      <a:pt x="1125082" y="687547"/>
                      <a:pt x="1131494" y="693962"/>
                      <a:pt x="1139385" y="693962"/>
                    </a:cubicBezTo>
                    <a:cubicBezTo>
                      <a:pt x="1147275" y="693962"/>
                      <a:pt x="1153685" y="687547"/>
                      <a:pt x="1153685" y="679649"/>
                    </a:cubicBezTo>
                    <a:close/>
                    <a:moveTo>
                      <a:pt x="1155657" y="6144103"/>
                    </a:moveTo>
                    <a:cubicBezTo>
                      <a:pt x="1155657" y="6142128"/>
                      <a:pt x="1154178" y="6140650"/>
                      <a:pt x="1152203" y="6140650"/>
                    </a:cubicBezTo>
                    <a:cubicBezTo>
                      <a:pt x="1150233" y="6140650"/>
                      <a:pt x="1148752" y="6142377"/>
                      <a:pt x="1148752" y="6144103"/>
                    </a:cubicBezTo>
                    <a:cubicBezTo>
                      <a:pt x="1148752" y="6146076"/>
                      <a:pt x="1150233" y="6147554"/>
                      <a:pt x="1152203" y="6147554"/>
                    </a:cubicBezTo>
                    <a:cubicBezTo>
                      <a:pt x="1154178" y="6147554"/>
                      <a:pt x="1155657" y="6145828"/>
                      <a:pt x="1155657" y="6144103"/>
                    </a:cubicBezTo>
                    <a:close/>
                    <a:moveTo>
                      <a:pt x="1155905" y="131083"/>
                    </a:moveTo>
                    <a:cubicBezTo>
                      <a:pt x="1155905" y="122947"/>
                      <a:pt x="1149492" y="116535"/>
                      <a:pt x="1141357" y="116535"/>
                    </a:cubicBezTo>
                    <a:cubicBezTo>
                      <a:pt x="1133220" y="116535"/>
                      <a:pt x="1126808" y="122947"/>
                      <a:pt x="1126808" y="131083"/>
                    </a:cubicBezTo>
                    <a:cubicBezTo>
                      <a:pt x="1126808" y="139218"/>
                      <a:pt x="1133220" y="145629"/>
                      <a:pt x="1141357" y="145629"/>
                    </a:cubicBezTo>
                    <a:cubicBezTo>
                      <a:pt x="1149492" y="145629"/>
                      <a:pt x="1155905" y="139218"/>
                      <a:pt x="1155905" y="131083"/>
                    </a:cubicBezTo>
                    <a:close/>
                    <a:moveTo>
                      <a:pt x="1158861" y="4987663"/>
                    </a:moveTo>
                    <a:cubicBezTo>
                      <a:pt x="1158861" y="4981004"/>
                      <a:pt x="1153435" y="4975332"/>
                      <a:pt x="1146534" y="4975332"/>
                    </a:cubicBezTo>
                    <a:cubicBezTo>
                      <a:pt x="1139876" y="4975332"/>
                      <a:pt x="1134204" y="4980759"/>
                      <a:pt x="1134204" y="4987663"/>
                    </a:cubicBezTo>
                    <a:cubicBezTo>
                      <a:pt x="1134204" y="4994318"/>
                      <a:pt x="1139629" y="4999989"/>
                      <a:pt x="1146534" y="4999989"/>
                    </a:cubicBezTo>
                    <a:cubicBezTo>
                      <a:pt x="1153435" y="4999989"/>
                      <a:pt x="1158861" y="4994566"/>
                      <a:pt x="1158861" y="4987663"/>
                    </a:cubicBezTo>
                    <a:close/>
                    <a:moveTo>
                      <a:pt x="1162808" y="4469605"/>
                    </a:moveTo>
                    <a:cubicBezTo>
                      <a:pt x="1162808" y="4444455"/>
                      <a:pt x="1142344" y="4423989"/>
                      <a:pt x="1117192" y="4423989"/>
                    </a:cubicBezTo>
                    <a:cubicBezTo>
                      <a:pt x="1092042" y="4423989"/>
                      <a:pt x="1071576" y="4444455"/>
                      <a:pt x="1071576" y="4469605"/>
                    </a:cubicBezTo>
                    <a:cubicBezTo>
                      <a:pt x="1071576" y="4494511"/>
                      <a:pt x="1092042" y="4514974"/>
                      <a:pt x="1117192" y="4514974"/>
                    </a:cubicBezTo>
                    <a:cubicBezTo>
                      <a:pt x="1142344" y="4514974"/>
                      <a:pt x="1162808" y="4494511"/>
                      <a:pt x="1162808" y="4469605"/>
                    </a:cubicBezTo>
                    <a:close/>
                    <a:moveTo>
                      <a:pt x="1162809" y="259518"/>
                    </a:moveTo>
                    <a:cubicBezTo>
                      <a:pt x="1162809" y="251628"/>
                      <a:pt x="1156642" y="245216"/>
                      <a:pt x="1148752" y="245216"/>
                    </a:cubicBezTo>
                    <a:cubicBezTo>
                      <a:pt x="1140862" y="245216"/>
                      <a:pt x="1134453" y="251628"/>
                      <a:pt x="1134453" y="259518"/>
                    </a:cubicBezTo>
                    <a:cubicBezTo>
                      <a:pt x="1134453" y="267159"/>
                      <a:pt x="1140862" y="273571"/>
                      <a:pt x="1148752" y="273571"/>
                    </a:cubicBezTo>
                    <a:cubicBezTo>
                      <a:pt x="1156642" y="273571"/>
                      <a:pt x="1162809" y="267159"/>
                      <a:pt x="1162809" y="259518"/>
                    </a:cubicBezTo>
                    <a:close/>
                    <a:moveTo>
                      <a:pt x="1165274" y="813032"/>
                    </a:moveTo>
                    <a:cubicBezTo>
                      <a:pt x="1165274" y="804893"/>
                      <a:pt x="1158616" y="798237"/>
                      <a:pt x="1150479" y="798237"/>
                    </a:cubicBezTo>
                    <a:cubicBezTo>
                      <a:pt x="1142342" y="798237"/>
                      <a:pt x="1135685" y="804893"/>
                      <a:pt x="1135685" y="813032"/>
                    </a:cubicBezTo>
                    <a:cubicBezTo>
                      <a:pt x="1135685" y="821168"/>
                      <a:pt x="1142342" y="827827"/>
                      <a:pt x="1150479" y="827827"/>
                    </a:cubicBezTo>
                    <a:cubicBezTo>
                      <a:pt x="1158616" y="827827"/>
                      <a:pt x="1165274" y="821168"/>
                      <a:pt x="1165274" y="813032"/>
                    </a:cubicBezTo>
                    <a:close/>
                    <a:moveTo>
                      <a:pt x="1168479" y="2706997"/>
                    </a:moveTo>
                    <a:cubicBezTo>
                      <a:pt x="1168479" y="2696888"/>
                      <a:pt x="1160342" y="2688751"/>
                      <a:pt x="1150233" y="2688751"/>
                    </a:cubicBezTo>
                    <a:cubicBezTo>
                      <a:pt x="1140122" y="2688751"/>
                      <a:pt x="1131986" y="2696888"/>
                      <a:pt x="1131986" y="2706997"/>
                    </a:cubicBezTo>
                    <a:cubicBezTo>
                      <a:pt x="1131986" y="2717109"/>
                      <a:pt x="1140122" y="2725247"/>
                      <a:pt x="1150233" y="2725247"/>
                    </a:cubicBezTo>
                    <a:cubicBezTo>
                      <a:pt x="1160097" y="2725247"/>
                      <a:pt x="1168479" y="2717109"/>
                      <a:pt x="1168479" y="2706997"/>
                    </a:cubicBezTo>
                    <a:close/>
                    <a:moveTo>
                      <a:pt x="1170452" y="388690"/>
                    </a:moveTo>
                    <a:cubicBezTo>
                      <a:pt x="1170452" y="381048"/>
                      <a:pt x="1164288" y="374636"/>
                      <a:pt x="1156398" y="374636"/>
                    </a:cubicBezTo>
                    <a:cubicBezTo>
                      <a:pt x="1148752" y="374636"/>
                      <a:pt x="1142344" y="380799"/>
                      <a:pt x="1142344" y="388690"/>
                    </a:cubicBezTo>
                    <a:cubicBezTo>
                      <a:pt x="1142344" y="396334"/>
                      <a:pt x="1148752" y="402746"/>
                      <a:pt x="1156398" y="402746"/>
                    </a:cubicBezTo>
                    <a:cubicBezTo>
                      <a:pt x="1164042" y="402746"/>
                      <a:pt x="1170452" y="396580"/>
                      <a:pt x="1170452" y="388690"/>
                    </a:cubicBezTo>
                    <a:close/>
                    <a:moveTo>
                      <a:pt x="1172423" y="1771872"/>
                    </a:moveTo>
                    <a:cubicBezTo>
                      <a:pt x="1172423" y="1759285"/>
                      <a:pt x="1162315" y="1749162"/>
                      <a:pt x="1149738" y="1749162"/>
                    </a:cubicBezTo>
                    <a:cubicBezTo>
                      <a:pt x="1137163" y="1749162"/>
                      <a:pt x="1127054" y="1759285"/>
                      <a:pt x="1127054" y="1771872"/>
                    </a:cubicBezTo>
                    <a:cubicBezTo>
                      <a:pt x="1127054" y="1784446"/>
                      <a:pt x="1137163" y="1794573"/>
                      <a:pt x="1149738" y="1794573"/>
                    </a:cubicBezTo>
                    <a:cubicBezTo>
                      <a:pt x="1162315" y="1794573"/>
                      <a:pt x="1172423" y="1784446"/>
                      <a:pt x="1172423" y="1771872"/>
                    </a:cubicBezTo>
                    <a:close/>
                    <a:moveTo>
                      <a:pt x="1175878" y="3450177"/>
                    </a:moveTo>
                    <a:cubicBezTo>
                      <a:pt x="1175878" y="3427743"/>
                      <a:pt x="1157630" y="3409507"/>
                      <a:pt x="1135190" y="3409507"/>
                    </a:cubicBezTo>
                    <a:cubicBezTo>
                      <a:pt x="1112752" y="3409507"/>
                      <a:pt x="1094506" y="3427743"/>
                      <a:pt x="1094506" y="3450177"/>
                    </a:cubicBezTo>
                    <a:cubicBezTo>
                      <a:pt x="1094506" y="3472453"/>
                      <a:pt x="1112752" y="3490701"/>
                      <a:pt x="1135190" y="3490701"/>
                    </a:cubicBezTo>
                    <a:cubicBezTo>
                      <a:pt x="1157630" y="3490701"/>
                      <a:pt x="1175878" y="3472453"/>
                      <a:pt x="1175878" y="3450177"/>
                    </a:cubicBezTo>
                    <a:close/>
                    <a:moveTo>
                      <a:pt x="1177355" y="947634"/>
                    </a:moveTo>
                    <a:cubicBezTo>
                      <a:pt x="1177355" y="939489"/>
                      <a:pt x="1170698" y="932834"/>
                      <a:pt x="1162561" y="932834"/>
                    </a:cubicBezTo>
                    <a:cubicBezTo>
                      <a:pt x="1154425" y="932834"/>
                      <a:pt x="1147767" y="939489"/>
                      <a:pt x="1147767" y="947634"/>
                    </a:cubicBezTo>
                    <a:cubicBezTo>
                      <a:pt x="1147767" y="955776"/>
                      <a:pt x="1154425" y="962431"/>
                      <a:pt x="1162561" y="962431"/>
                    </a:cubicBezTo>
                    <a:cubicBezTo>
                      <a:pt x="1170698" y="962431"/>
                      <a:pt x="1177355" y="955776"/>
                      <a:pt x="1177355" y="947634"/>
                    </a:cubicBezTo>
                    <a:close/>
                    <a:moveTo>
                      <a:pt x="1177847" y="3566645"/>
                    </a:moveTo>
                    <a:cubicBezTo>
                      <a:pt x="1177847" y="3543961"/>
                      <a:pt x="1159356" y="3525467"/>
                      <a:pt x="1136670" y="3525467"/>
                    </a:cubicBezTo>
                    <a:cubicBezTo>
                      <a:pt x="1113985" y="3525467"/>
                      <a:pt x="1095492" y="3543961"/>
                      <a:pt x="1095492" y="3566645"/>
                    </a:cubicBezTo>
                    <a:cubicBezTo>
                      <a:pt x="1095492" y="3589331"/>
                      <a:pt x="1113985" y="3607821"/>
                      <a:pt x="1136670" y="3607821"/>
                    </a:cubicBezTo>
                    <a:cubicBezTo>
                      <a:pt x="1159601" y="3607821"/>
                      <a:pt x="1178095" y="3589085"/>
                      <a:pt x="1177847" y="3566645"/>
                    </a:cubicBezTo>
                    <a:close/>
                    <a:moveTo>
                      <a:pt x="1179574" y="3333781"/>
                    </a:moveTo>
                    <a:cubicBezTo>
                      <a:pt x="1179574" y="3311613"/>
                      <a:pt x="1161575" y="3293607"/>
                      <a:pt x="1139385" y="3293607"/>
                    </a:cubicBezTo>
                    <a:cubicBezTo>
                      <a:pt x="1117191" y="3293607"/>
                      <a:pt x="1099192" y="3311613"/>
                      <a:pt x="1099192" y="3333781"/>
                    </a:cubicBezTo>
                    <a:cubicBezTo>
                      <a:pt x="1099192" y="3355986"/>
                      <a:pt x="1117191" y="3373969"/>
                      <a:pt x="1139385" y="3373969"/>
                    </a:cubicBezTo>
                    <a:cubicBezTo>
                      <a:pt x="1161575" y="3373969"/>
                      <a:pt x="1179574" y="3355743"/>
                      <a:pt x="1179574" y="3333781"/>
                    </a:cubicBezTo>
                    <a:close/>
                    <a:moveTo>
                      <a:pt x="1180561" y="4195662"/>
                    </a:moveTo>
                    <a:cubicBezTo>
                      <a:pt x="1180561" y="4169772"/>
                      <a:pt x="1159602" y="4148565"/>
                      <a:pt x="1133467" y="4148565"/>
                    </a:cubicBezTo>
                    <a:cubicBezTo>
                      <a:pt x="1107576" y="4148565"/>
                      <a:pt x="1086370" y="4169523"/>
                      <a:pt x="1086370" y="4195662"/>
                    </a:cubicBezTo>
                    <a:cubicBezTo>
                      <a:pt x="1086370" y="4221551"/>
                      <a:pt x="1107576" y="4242759"/>
                      <a:pt x="1133467" y="4242759"/>
                    </a:cubicBezTo>
                    <a:cubicBezTo>
                      <a:pt x="1159357" y="4242759"/>
                      <a:pt x="1180561" y="4221551"/>
                      <a:pt x="1180561" y="4195662"/>
                    </a:cubicBezTo>
                    <a:close/>
                    <a:moveTo>
                      <a:pt x="1186233" y="3682784"/>
                    </a:moveTo>
                    <a:cubicBezTo>
                      <a:pt x="1186233" y="3659604"/>
                      <a:pt x="1167247" y="3640619"/>
                      <a:pt x="1144070" y="3640619"/>
                    </a:cubicBezTo>
                    <a:cubicBezTo>
                      <a:pt x="1120891" y="3640619"/>
                      <a:pt x="1101905" y="3659359"/>
                      <a:pt x="1101905" y="3682784"/>
                    </a:cubicBezTo>
                    <a:cubicBezTo>
                      <a:pt x="1101905" y="3705961"/>
                      <a:pt x="1120891" y="3724947"/>
                      <a:pt x="1144070" y="3724947"/>
                    </a:cubicBezTo>
                    <a:cubicBezTo>
                      <a:pt x="1167247" y="3724947"/>
                      <a:pt x="1186233" y="3705961"/>
                      <a:pt x="1186233" y="3682784"/>
                    </a:cubicBezTo>
                    <a:close/>
                    <a:moveTo>
                      <a:pt x="1188205" y="3217664"/>
                    </a:moveTo>
                    <a:cubicBezTo>
                      <a:pt x="1188205" y="3196459"/>
                      <a:pt x="1170700" y="3178952"/>
                      <a:pt x="1149493" y="3178952"/>
                    </a:cubicBezTo>
                    <a:cubicBezTo>
                      <a:pt x="1128289" y="3178952"/>
                      <a:pt x="1110782" y="3196214"/>
                      <a:pt x="1110782" y="3217664"/>
                    </a:cubicBezTo>
                    <a:cubicBezTo>
                      <a:pt x="1110782" y="3238872"/>
                      <a:pt x="1128041" y="3256373"/>
                      <a:pt x="1149493" y="3256373"/>
                    </a:cubicBezTo>
                    <a:cubicBezTo>
                      <a:pt x="1170700" y="3256373"/>
                      <a:pt x="1188205" y="3239119"/>
                      <a:pt x="1188205" y="3217664"/>
                    </a:cubicBezTo>
                    <a:close/>
                    <a:moveTo>
                      <a:pt x="1190176" y="5376758"/>
                    </a:moveTo>
                    <a:cubicBezTo>
                      <a:pt x="1190176" y="5361471"/>
                      <a:pt x="1177601" y="5348895"/>
                      <a:pt x="1162066" y="5348895"/>
                    </a:cubicBezTo>
                    <a:cubicBezTo>
                      <a:pt x="1146534" y="5348895"/>
                      <a:pt x="1133958" y="5361471"/>
                      <a:pt x="1133958" y="5376758"/>
                    </a:cubicBezTo>
                    <a:cubicBezTo>
                      <a:pt x="1133958" y="5392292"/>
                      <a:pt x="1146534" y="5404869"/>
                      <a:pt x="1162066" y="5404869"/>
                    </a:cubicBezTo>
                    <a:cubicBezTo>
                      <a:pt x="1177601" y="5404869"/>
                      <a:pt x="1190176" y="5392292"/>
                      <a:pt x="1190176" y="5376758"/>
                    </a:cubicBezTo>
                    <a:close/>
                    <a:moveTo>
                      <a:pt x="1191161" y="5231524"/>
                    </a:moveTo>
                    <a:cubicBezTo>
                      <a:pt x="1191161" y="5228320"/>
                      <a:pt x="1188697" y="5225607"/>
                      <a:pt x="1185492" y="5225607"/>
                    </a:cubicBezTo>
                    <a:cubicBezTo>
                      <a:pt x="1182532" y="5225607"/>
                      <a:pt x="1179820" y="5228320"/>
                      <a:pt x="1179820" y="5231524"/>
                    </a:cubicBezTo>
                    <a:cubicBezTo>
                      <a:pt x="1179820" y="5234729"/>
                      <a:pt x="1182284" y="5237197"/>
                      <a:pt x="1185492" y="5237197"/>
                    </a:cubicBezTo>
                    <a:cubicBezTo>
                      <a:pt x="1188697" y="5237197"/>
                      <a:pt x="1191161" y="5234483"/>
                      <a:pt x="1191161" y="5231524"/>
                    </a:cubicBezTo>
                    <a:close/>
                    <a:moveTo>
                      <a:pt x="1192644" y="1083969"/>
                    </a:moveTo>
                    <a:cubicBezTo>
                      <a:pt x="1192644" y="1075089"/>
                      <a:pt x="1185245" y="1067692"/>
                      <a:pt x="1176369" y="1067692"/>
                    </a:cubicBezTo>
                    <a:cubicBezTo>
                      <a:pt x="1167492" y="1067692"/>
                      <a:pt x="1160097" y="1075089"/>
                      <a:pt x="1160097" y="1083969"/>
                    </a:cubicBezTo>
                    <a:cubicBezTo>
                      <a:pt x="1160097" y="1092846"/>
                      <a:pt x="1167492" y="1100241"/>
                      <a:pt x="1176369" y="1100241"/>
                    </a:cubicBezTo>
                    <a:cubicBezTo>
                      <a:pt x="1185245" y="1100241"/>
                      <a:pt x="1192398" y="1092846"/>
                      <a:pt x="1192644" y="1083969"/>
                    </a:cubicBezTo>
                    <a:close/>
                    <a:moveTo>
                      <a:pt x="1194368" y="6009473"/>
                    </a:moveTo>
                    <a:cubicBezTo>
                      <a:pt x="1194368" y="5992952"/>
                      <a:pt x="1181054" y="5979389"/>
                      <a:pt x="1164287" y="5979389"/>
                    </a:cubicBezTo>
                    <a:cubicBezTo>
                      <a:pt x="1147766" y="5979389"/>
                      <a:pt x="1134204" y="5992952"/>
                      <a:pt x="1134204" y="6009473"/>
                    </a:cubicBezTo>
                    <a:cubicBezTo>
                      <a:pt x="1134204" y="6025992"/>
                      <a:pt x="1147766" y="6039554"/>
                      <a:pt x="1164287" y="6039554"/>
                    </a:cubicBezTo>
                    <a:cubicBezTo>
                      <a:pt x="1181054" y="6039554"/>
                      <a:pt x="1194613" y="6025992"/>
                      <a:pt x="1194368" y="6009473"/>
                    </a:cubicBezTo>
                    <a:close/>
                    <a:moveTo>
                      <a:pt x="1194616" y="6859170"/>
                    </a:moveTo>
                    <a:cubicBezTo>
                      <a:pt x="1194616" y="6857689"/>
                      <a:pt x="1193384" y="6856457"/>
                      <a:pt x="1191904" y="6856457"/>
                    </a:cubicBezTo>
                    <a:cubicBezTo>
                      <a:pt x="1190177" y="6856457"/>
                      <a:pt x="1188945" y="6857689"/>
                      <a:pt x="1188945" y="6859170"/>
                    </a:cubicBezTo>
                    <a:cubicBezTo>
                      <a:pt x="1188945" y="6860897"/>
                      <a:pt x="1190423" y="6862129"/>
                      <a:pt x="1191904" y="6862129"/>
                    </a:cubicBezTo>
                    <a:cubicBezTo>
                      <a:pt x="1193384" y="6862129"/>
                      <a:pt x="1194616" y="6860897"/>
                      <a:pt x="1194616" y="6859170"/>
                    </a:cubicBezTo>
                    <a:close/>
                    <a:moveTo>
                      <a:pt x="1197327" y="1920739"/>
                    </a:moveTo>
                    <a:cubicBezTo>
                      <a:pt x="1197327" y="1909651"/>
                      <a:pt x="1188451" y="1900782"/>
                      <a:pt x="1177355" y="1900782"/>
                    </a:cubicBezTo>
                    <a:cubicBezTo>
                      <a:pt x="1166260" y="1900782"/>
                      <a:pt x="1157383" y="1909651"/>
                      <a:pt x="1157383" y="1920739"/>
                    </a:cubicBezTo>
                    <a:cubicBezTo>
                      <a:pt x="1157383" y="1931828"/>
                      <a:pt x="1166260" y="1940699"/>
                      <a:pt x="1177355" y="1940699"/>
                    </a:cubicBezTo>
                    <a:cubicBezTo>
                      <a:pt x="1188451" y="1940699"/>
                      <a:pt x="1197327" y="1931828"/>
                      <a:pt x="1197327" y="1920739"/>
                    </a:cubicBezTo>
                    <a:close/>
                    <a:moveTo>
                      <a:pt x="1197822" y="4834540"/>
                    </a:moveTo>
                    <a:cubicBezTo>
                      <a:pt x="1197822" y="4824428"/>
                      <a:pt x="1189438" y="4816046"/>
                      <a:pt x="1179329" y="4816046"/>
                    </a:cubicBezTo>
                    <a:cubicBezTo>
                      <a:pt x="1168971" y="4816046"/>
                      <a:pt x="1160835" y="4824428"/>
                      <a:pt x="1160835" y="4834540"/>
                    </a:cubicBezTo>
                    <a:cubicBezTo>
                      <a:pt x="1160835" y="4844648"/>
                      <a:pt x="1169217" y="4853034"/>
                      <a:pt x="1179329" y="4853034"/>
                    </a:cubicBezTo>
                    <a:cubicBezTo>
                      <a:pt x="1189438" y="4853034"/>
                      <a:pt x="1197822" y="4844648"/>
                      <a:pt x="1197822" y="4834540"/>
                    </a:cubicBezTo>
                    <a:close/>
                    <a:moveTo>
                      <a:pt x="1198808" y="5872621"/>
                    </a:moveTo>
                    <a:cubicBezTo>
                      <a:pt x="1198808" y="5861035"/>
                      <a:pt x="1189191" y="5851417"/>
                      <a:pt x="1177604" y="5851417"/>
                    </a:cubicBezTo>
                    <a:cubicBezTo>
                      <a:pt x="1166014" y="5851417"/>
                      <a:pt x="1156398" y="5861035"/>
                      <a:pt x="1156398" y="5872621"/>
                    </a:cubicBezTo>
                    <a:cubicBezTo>
                      <a:pt x="1156398" y="5884457"/>
                      <a:pt x="1165766" y="5893828"/>
                      <a:pt x="1177604" y="5893828"/>
                    </a:cubicBezTo>
                    <a:cubicBezTo>
                      <a:pt x="1189191" y="5893828"/>
                      <a:pt x="1198808" y="5884457"/>
                      <a:pt x="1198808" y="5872621"/>
                    </a:cubicBezTo>
                    <a:close/>
                    <a:moveTo>
                      <a:pt x="1200040" y="3798427"/>
                    </a:moveTo>
                    <a:cubicBezTo>
                      <a:pt x="1200040" y="3774756"/>
                      <a:pt x="1180806" y="3755275"/>
                      <a:pt x="1156889" y="3755275"/>
                    </a:cubicBezTo>
                    <a:cubicBezTo>
                      <a:pt x="1133217" y="3755275"/>
                      <a:pt x="1113738" y="3774507"/>
                      <a:pt x="1113738" y="3798427"/>
                    </a:cubicBezTo>
                    <a:cubicBezTo>
                      <a:pt x="1113738" y="3822097"/>
                      <a:pt x="1132969" y="3841579"/>
                      <a:pt x="1156889" y="3841579"/>
                    </a:cubicBezTo>
                    <a:cubicBezTo>
                      <a:pt x="1180806" y="3841579"/>
                      <a:pt x="1200040" y="3822345"/>
                      <a:pt x="1200040" y="3798427"/>
                    </a:cubicBezTo>
                    <a:close/>
                    <a:moveTo>
                      <a:pt x="1201273" y="6731692"/>
                    </a:moveTo>
                    <a:cubicBezTo>
                      <a:pt x="1201273" y="6729965"/>
                      <a:pt x="1199795" y="6728733"/>
                      <a:pt x="1198314" y="6728733"/>
                    </a:cubicBezTo>
                    <a:cubicBezTo>
                      <a:pt x="1196587" y="6728733"/>
                      <a:pt x="1195355" y="6730211"/>
                      <a:pt x="1195355" y="6731692"/>
                    </a:cubicBezTo>
                    <a:cubicBezTo>
                      <a:pt x="1195355" y="6733419"/>
                      <a:pt x="1196836" y="6734651"/>
                      <a:pt x="1198314" y="6734651"/>
                    </a:cubicBezTo>
                    <a:cubicBezTo>
                      <a:pt x="1199795" y="6734651"/>
                      <a:pt x="1201273" y="6733419"/>
                      <a:pt x="1201273" y="6731692"/>
                    </a:cubicBezTo>
                    <a:close/>
                    <a:moveTo>
                      <a:pt x="1201519" y="2597267"/>
                    </a:moveTo>
                    <a:cubicBezTo>
                      <a:pt x="1201519" y="2590360"/>
                      <a:pt x="1196095" y="2584935"/>
                      <a:pt x="1189191" y="2584935"/>
                    </a:cubicBezTo>
                    <a:cubicBezTo>
                      <a:pt x="1182287" y="2584935"/>
                      <a:pt x="1176861" y="2590360"/>
                      <a:pt x="1176861" y="2597267"/>
                    </a:cubicBezTo>
                    <a:cubicBezTo>
                      <a:pt x="1176861" y="2604171"/>
                      <a:pt x="1182287" y="2609596"/>
                      <a:pt x="1189191" y="2609596"/>
                    </a:cubicBezTo>
                    <a:cubicBezTo>
                      <a:pt x="1196095" y="2609596"/>
                      <a:pt x="1201519" y="2604171"/>
                      <a:pt x="1201519" y="2597267"/>
                    </a:cubicBezTo>
                    <a:close/>
                    <a:moveTo>
                      <a:pt x="1201764" y="3102261"/>
                    </a:moveTo>
                    <a:cubicBezTo>
                      <a:pt x="1201764" y="3082043"/>
                      <a:pt x="1185245" y="3065521"/>
                      <a:pt x="1165025" y="3065521"/>
                    </a:cubicBezTo>
                    <a:cubicBezTo>
                      <a:pt x="1144807" y="3065521"/>
                      <a:pt x="1128286" y="3082043"/>
                      <a:pt x="1128286" y="3102261"/>
                    </a:cubicBezTo>
                    <a:cubicBezTo>
                      <a:pt x="1128286" y="3122483"/>
                      <a:pt x="1144807" y="3139003"/>
                      <a:pt x="1165025" y="3139003"/>
                    </a:cubicBezTo>
                    <a:cubicBezTo>
                      <a:pt x="1185245" y="3139003"/>
                      <a:pt x="1201764" y="3122483"/>
                      <a:pt x="1201764" y="3102261"/>
                    </a:cubicBezTo>
                    <a:close/>
                    <a:moveTo>
                      <a:pt x="1206943" y="6603227"/>
                    </a:moveTo>
                    <a:cubicBezTo>
                      <a:pt x="1206943" y="6602240"/>
                      <a:pt x="1206205" y="6601499"/>
                      <a:pt x="1205218" y="6601499"/>
                    </a:cubicBezTo>
                    <a:cubicBezTo>
                      <a:pt x="1204232" y="6601499"/>
                      <a:pt x="1203492" y="6602240"/>
                      <a:pt x="1203492" y="6603227"/>
                    </a:cubicBezTo>
                    <a:cubicBezTo>
                      <a:pt x="1203492" y="6604213"/>
                      <a:pt x="1204232" y="6604954"/>
                      <a:pt x="1205218" y="6604954"/>
                    </a:cubicBezTo>
                    <a:cubicBezTo>
                      <a:pt x="1206205" y="6604954"/>
                      <a:pt x="1206943" y="6604213"/>
                      <a:pt x="1206943" y="6603227"/>
                    </a:cubicBezTo>
                    <a:close/>
                    <a:moveTo>
                      <a:pt x="1207439" y="1222030"/>
                    </a:moveTo>
                    <a:cubicBezTo>
                      <a:pt x="1207439" y="1212663"/>
                      <a:pt x="1199795" y="1205263"/>
                      <a:pt x="1190672" y="1205263"/>
                    </a:cubicBezTo>
                    <a:cubicBezTo>
                      <a:pt x="1181301" y="1205263"/>
                      <a:pt x="1173905" y="1212907"/>
                      <a:pt x="1173905" y="1222030"/>
                    </a:cubicBezTo>
                    <a:cubicBezTo>
                      <a:pt x="1173905" y="1231403"/>
                      <a:pt x="1181550" y="1238801"/>
                      <a:pt x="1190672" y="1238801"/>
                    </a:cubicBezTo>
                    <a:cubicBezTo>
                      <a:pt x="1200041" y="1238801"/>
                      <a:pt x="1207439" y="1231403"/>
                      <a:pt x="1207439" y="1222030"/>
                    </a:cubicBezTo>
                    <a:close/>
                    <a:moveTo>
                      <a:pt x="1208917" y="4575388"/>
                    </a:moveTo>
                    <a:cubicBezTo>
                      <a:pt x="1208917" y="4550976"/>
                      <a:pt x="1188945" y="4531004"/>
                      <a:pt x="1164534" y="4531004"/>
                    </a:cubicBezTo>
                    <a:cubicBezTo>
                      <a:pt x="1140123" y="4531004"/>
                      <a:pt x="1120151" y="4550976"/>
                      <a:pt x="1120151" y="4575388"/>
                    </a:cubicBezTo>
                    <a:cubicBezTo>
                      <a:pt x="1120151" y="4599799"/>
                      <a:pt x="1140123" y="4619771"/>
                      <a:pt x="1164534" y="4619771"/>
                    </a:cubicBezTo>
                    <a:cubicBezTo>
                      <a:pt x="1188945" y="4619771"/>
                      <a:pt x="1208917" y="4599799"/>
                      <a:pt x="1208917" y="4575388"/>
                    </a:cubicBezTo>
                    <a:close/>
                    <a:moveTo>
                      <a:pt x="1210644" y="5734785"/>
                    </a:moveTo>
                    <a:cubicBezTo>
                      <a:pt x="1210644" y="5724677"/>
                      <a:pt x="1202507" y="5716540"/>
                      <a:pt x="1192396" y="5716540"/>
                    </a:cubicBezTo>
                    <a:cubicBezTo>
                      <a:pt x="1182288" y="5716540"/>
                      <a:pt x="1174151" y="5724677"/>
                      <a:pt x="1174151" y="5734785"/>
                    </a:cubicBezTo>
                    <a:cubicBezTo>
                      <a:pt x="1174151" y="5744897"/>
                      <a:pt x="1182288" y="5753034"/>
                      <a:pt x="1192396" y="5753034"/>
                    </a:cubicBezTo>
                    <a:cubicBezTo>
                      <a:pt x="1202507" y="5753034"/>
                      <a:pt x="1210644" y="5744897"/>
                      <a:pt x="1210644" y="5734785"/>
                    </a:cubicBezTo>
                    <a:close/>
                    <a:moveTo>
                      <a:pt x="1211630" y="2072315"/>
                    </a:moveTo>
                    <a:cubicBezTo>
                      <a:pt x="1211630" y="2070591"/>
                      <a:pt x="1210150" y="2069109"/>
                      <a:pt x="1208423" y="2069109"/>
                    </a:cubicBezTo>
                    <a:cubicBezTo>
                      <a:pt x="1206699" y="2069109"/>
                      <a:pt x="1205218" y="2070591"/>
                      <a:pt x="1205218" y="2072315"/>
                    </a:cubicBezTo>
                    <a:cubicBezTo>
                      <a:pt x="1205218" y="2074042"/>
                      <a:pt x="1206699" y="2075524"/>
                      <a:pt x="1208423" y="2075524"/>
                    </a:cubicBezTo>
                    <a:cubicBezTo>
                      <a:pt x="1210150" y="2075524"/>
                      <a:pt x="1211630" y="2074042"/>
                      <a:pt x="1211630" y="2072315"/>
                    </a:cubicBezTo>
                    <a:close/>
                    <a:moveTo>
                      <a:pt x="1213848" y="5083580"/>
                    </a:moveTo>
                    <a:cubicBezTo>
                      <a:pt x="1213848" y="5082102"/>
                      <a:pt x="1212616" y="5081115"/>
                      <a:pt x="1211382" y="5081115"/>
                    </a:cubicBezTo>
                    <a:cubicBezTo>
                      <a:pt x="1209903" y="5081115"/>
                      <a:pt x="1208917" y="5082102"/>
                      <a:pt x="1208917" y="5083580"/>
                    </a:cubicBezTo>
                    <a:cubicBezTo>
                      <a:pt x="1208917" y="5085061"/>
                      <a:pt x="1210150" y="5086047"/>
                      <a:pt x="1211382" y="5086047"/>
                    </a:cubicBezTo>
                    <a:cubicBezTo>
                      <a:pt x="1212616" y="5086047"/>
                      <a:pt x="1213848" y="5085061"/>
                      <a:pt x="1213848" y="5083580"/>
                    </a:cubicBezTo>
                    <a:close/>
                    <a:moveTo>
                      <a:pt x="1214835" y="4305879"/>
                    </a:moveTo>
                    <a:cubicBezTo>
                      <a:pt x="1214835" y="4280975"/>
                      <a:pt x="1194614" y="4261003"/>
                      <a:pt x="1169957" y="4261003"/>
                    </a:cubicBezTo>
                    <a:cubicBezTo>
                      <a:pt x="1145299" y="4261003"/>
                      <a:pt x="1125082" y="4281222"/>
                      <a:pt x="1125082" y="4305879"/>
                    </a:cubicBezTo>
                    <a:cubicBezTo>
                      <a:pt x="1125082" y="4330537"/>
                      <a:pt x="1145299" y="4350757"/>
                      <a:pt x="1169957" y="4350757"/>
                    </a:cubicBezTo>
                    <a:cubicBezTo>
                      <a:pt x="1194614" y="4350757"/>
                      <a:pt x="1214835" y="4330785"/>
                      <a:pt x="1214835" y="4305879"/>
                    </a:cubicBezTo>
                    <a:close/>
                    <a:moveTo>
                      <a:pt x="1214835" y="5595223"/>
                    </a:moveTo>
                    <a:cubicBezTo>
                      <a:pt x="1214835" y="5591772"/>
                      <a:pt x="1212122" y="5589059"/>
                      <a:pt x="1208669" y="5589059"/>
                    </a:cubicBezTo>
                    <a:cubicBezTo>
                      <a:pt x="1205218" y="5589059"/>
                      <a:pt x="1202505" y="5591772"/>
                      <a:pt x="1202505" y="5595223"/>
                    </a:cubicBezTo>
                    <a:cubicBezTo>
                      <a:pt x="1202505" y="5598676"/>
                      <a:pt x="1205218" y="5601389"/>
                      <a:pt x="1208669" y="5601389"/>
                    </a:cubicBezTo>
                    <a:cubicBezTo>
                      <a:pt x="1212122" y="5601389"/>
                      <a:pt x="1215081" y="5598676"/>
                      <a:pt x="1214835" y="5595223"/>
                    </a:cubicBezTo>
                    <a:close/>
                    <a:moveTo>
                      <a:pt x="1215820" y="1535389"/>
                    </a:moveTo>
                    <a:cubicBezTo>
                      <a:pt x="1215820" y="1525772"/>
                      <a:pt x="1207929" y="1517879"/>
                      <a:pt x="1198314" y="1517879"/>
                    </a:cubicBezTo>
                    <a:cubicBezTo>
                      <a:pt x="1188697" y="1517879"/>
                      <a:pt x="1180807" y="1525772"/>
                      <a:pt x="1180807" y="1535389"/>
                    </a:cubicBezTo>
                    <a:cubicBezTo>
                      <a:pt x="1180807" y="1545001"/>
                      <a:pt x="1188697" y="1552893"/>
                      <a:pt x="1198314" y="1552893"/>
                    </a:cubicBezTo>
                    <a:cubicBezTo>
                      <a:pt x="1207929" y="1552893"/>
                      <a:pt x="1215820" y="1545001"/>
                      <a:pt x="1215820" y="1535389"/>
                    </a:cubicBezTo>
                    <a:close/>
                    <a:moveTo>
                      <a:pt x="1219766" y="2987845"/>
                    </a:moveTo>
                    <a:cubicBezTo>
                      <a:pt x="1219766" y="2969350"/>
                      <a:pt x="1204726" y="2954309"/>
                      <a:pt x="1186232" y="2954309"/>
                    </a:cubicBezTo>
                    <a:cubicBezTo>
                      <a:pt x="1167738" y="2954309"/>
                      <a:pt x="1152698" y="2969350"/>
                      <a:pt x="1152698" y="2987845"/>
                    </a:cubicBezTo>
                    <a:cubicBezTo>
                      <a:pt x="1152698" y="3006339"/>
                      <a:pt x="1167738" y="3021381"/>
                      <a:pt x="1186232" y="3021381"/>
                    </a:cubicBezTo>
                    <a:cubicBezTo>
                      <a:pt x="1204972" y="3021381"/>
                      <a:pt x="1220012" y="3006092"/>
                      <a:pt x="1219766" y="2987845"/>
                    </a:cubicBezTo>
                    <a:close/>
                    <a:moveTo>
                      <a:pt x="1219766" y="3913579"/>
                    </a:moveTo>
                    <a:cubicBezTo>
                      <a:pt x="1219766" y="3889167"/>
                      <a:pt x="1200038" y="3869441"/>
                      <a:pt x="1175629" y="3869441"/>
                    </a:cubicBezTo>
                    <a:cubicBezTo>
                      <a:pt x="1151217" y="3869441"/>
                      <a:pt x="1131492" y="3889167"/>
                      <a:pt x="1131492" y="3913579"/>
                    </a:cubicBezTo>
                    <a:cubicBezTo>
                      <a:pt x="1131492" y="3937987"/>
                      <a:pt x="1151217" y="3957715"/>
                      <a:pt x="1175629" y="3957715"/>
                    </a:cubicBezTo>
                    <a:cubicBezTo>
                      <a:pt x="1199792" y="3957715"/>
                      <a:pt x="1219766" y="3937741"/>
                      <a:pt x="1219766" y="3913579"/>
                    </a:cubicBezTo>
                    <a:close/>
                    <a:moveTo>
                      <a:pt x="1223466" y="1361819"/>
                    </a:moveTo>
                    <a:cubicBezTo>
                      <a:pt x="1223466" y="1352690"/>
                      <a:pt x="1216067" y="1345548"/>
                      <a:pt x="1207191" y="1345548"/>
                    </a:cubicBezTo>
                    <a:cubicBezTo>
                      <a:pt x="1198314" y="1345548"/>
                      <a:pt x="1190918" y="1352939"/>
                      <a:pt x="1190918" y="1361819"/>
                    </a:cubicBezTo>
                    <a:cubicBezTo>
                      <a:pt x="1190918" y="1370692"/>
                      <a:pt x="1198314" y="1378089"/>
                      <a:pt x="1207191" y="1378089"/>
                    </a:cubicBezTo>
                    <a:cubicBezTo>
                      <a:pt x="1216067" y="1378089"/>
                      <a:pt x="1223466" y="1370940"/>
                      <a:pt x="1223466" y="1361819"/>
                    </a:cubicBezTo>
                    <a:close/>
                    <a:moveTo>
                      <a:pt x="1225189" y="6481171"/>
                    </a:moveTo>
                    <a:cubicBezTo>
                      <a:pt x="1225189" y="6479939"/>
                      <a:pt x="1224203" y="6478706"/>
                      <a:pt x="1222722" y="6478706"/>
                    </a:cubicBezTo>
                    <a:cubicBezTo>
                      <a:pt x="1221491" y="6478706"/>
                      <a:pt x="1220258" y="6479693"/>
                      <a:pt x="1220258" y="6481171"/>
                    </a:cubicBezTo>
                    <a:cubicBezTo>
                      <a:pt x="1220258" y="6482652"/>
                      <a:pt x="1221244" y="6483639"/>
                      <a:pt x="1222722" y="6483639"/>
                    </a:cubicBezTo>
                    <a:cubicBezTo>
                      <a:pt x="1224203" y="6483639"/>
                      <a:pt x="1225189" y="6482406"/>
                      <a:pt x="1225189" y="6481171"/>
                    </a:cubicBezTo>
                    <a:close/>
                    <a:moveTo>
                      <a:pt x="1234807" y="475952"/>
                    </a:moveTo>
                    <a:cubicBezTo>
                      <a:pt x="1234807" y="468062"/>
                      <a:pt x="1228397" y="461653"/>
                      <a:pt x="1220507" y="461653"/>
                    </a:cubicBezTo>
                    <a:cubicBezTo>
                      <a:pt x="1212616" y="461653"/>
                      <a:pt x="1206204" y="468062"/>
                      <a:pt x="1206204" y="475952"/>
                    </a:cubicBezTo>
                    <a:cubicBezTo>
                      <a:pt x="1206204" y="483842"/>
                      <a:pt x="1212616" y="490254"/>
                      <a:pt x="1220507" y="490254"/>
                    </a:cubicBezTo>
                    <a:cubicBezTo>
                      <a:pt x="1228148" y="490254"/>
                      <a:pt x="1234560" y="484089"/>
                      <a:pt x="1234807" y="475952"/>
                    </a:cubicBezTo>
                    <a:close/>
                    <a:moveTo>
                      <a:pt x="1235053" y="6350485"/>
                    </a:moveTo>
                    <a:cubicBezTo>
                      <a:pt x="1235053" y="6348512"/>
                      <a:pt x="1233326" y="6347034"/>
                      <a:pt x="1231353" y="6347034"/>
                    </a:cubicBezTo>
                    <a:cubicBezTo>
                      <a:pt x="1229381" y="6347034"/>
                      <a:pt x="1227903" y="6348512"/>
                      <a:pt x="1227903" y="6350485"/>
                    </a:cubicBezTo>
                    <a:cubicBezTo>
                      <a:pt x="1227903" y="6352706"/>
                      <a:pt x="1229381" y="6354184"/>
                      <a:pt x="1231353" y="6354184"/>
                    </a:cubicBezTo>
                    <a:cubicBezTo>
                      <a:pt x="1233326" y="6354184"/>
                      <a:pt x="1234806" y="6352706"/>
                      <a:pt x="1235053" y="6350485"/>
                    </a:cubicBezTo>
                    <a:close/>
                    <a:moveTo>
                      <a:pt x="1240233" y="1679854"/>
                    </a:moveTo>
                    <a:cubicBezTo>
                      <a:pt x="1240233" y="1668763"/>
                      <a:pt x="1231110" y="1659636"/>
                      <a:pt x="1220013" y="1659636"/>
                    </a:cubicBezTo>
                    <a:cubicBezTo>
                      <a:pt x="1208917" y="1659636"/>
                      <a:pt x="1199795" y="1668763"/>
                      <a:pt x="1199795" y="1679854"/>
                    </a:cubicBezTo>
                    <a:cubicBezTo>
                      <a:pt x="1199795" y="1690955"/>
                      <a:pt x="1208917" y="1700079"/>
                      <a:pt x="1220013" y="1700079"/>
                    </a:cubicBezTo>
                    <a:cubicBezTo>
                      <a:pt x="1231110" y="1700079"/>
                      <a:pt x="1240233" y="1690955"/>
                      <a:pt x="1240233" y="1679854"/>
                    </a:cubicBezTo>
                    <a:close/>
                    <a:moveTo>
                      <a:pt x="1240725" y="2489764"/>
                    </a:moveTo>
                    <a:cubicBezTo>
                      <a:pt x="1240725" y="2485569"/>
                      <a:pt x="1237271" y="2482363"/>
                      <a:pt x="1233326" y="2482363"/>
                    </a:cubicBezTo>
                    <a:cubicBezTo>
                      <a:pt x="1229135" y="2482363"/>
                      <a:pt x="1225930" y="2485815"/>
                      <a:pt x="1225930" y="2489764"/>
                    </a:cubicBezTo>
                    <a:cubicBezTo>
                      <a:pt x="1225930" y="2493954"/>
                      <a:pt x="1229381" y="2497159"/>
                      <a:pt x="1233326" y="2497159"/>
                    </a:cubicBezTo>
                    <a:cubicBezTo>
                      <a:pt x="1237520" y="2497159"/>
                      <a:pt x="1240725" y="2493954"/>
                      <a:pt x="1240725" y="2489764"/>
                    </a:cubicBezTo>
                    <a:close/>
                    <a:moveTo>
                      <a:pt x="1243438" y="606363"/>
                    </a:moveTo>
                    <a:cubicBezTo>
                      <a:pt x="1243438" y="598473"/>
                      <a:pt x="1237028" y="592063"/>
                      <a:pt x="1229138" y="592063"/>
                    </a:cubicBezTo>
                    <a:cubicBezTo>
                      <a:pt x="1221247" y="592063"/>
                      <a:pt x="1214835" y="598473"/>
                      <a:pt x="1214835" y="606363"/>
                    </a:cubicBezTo>
                    <a:cubicBezTo>
                      <a:pt x="1214835" y="614253"/>
                      <a:pt x="1221247" y="620663"/>
                      <a:pt x="1229138" y="620663"/>
                    </a:cubicBezTo>
                    <a:cubicBezTo>
                      <a:pt x="1237028" y="620663"/>
                      <a:pt x="1243438" y="614253"/>
                      <a:pt x="1243438" y="606363"/>
                    </a:cubicBezTo>
                    <a:close/>
                    <a:moveTo>
                      <a:pt x="1243684" y="6219307"/>
                    </a:moveTo>
                    <a:cubicBezTo>
                      <a:pt x="1243684" y="6217579"/>
                      <a:pt x="1242451" y="6216347"/>
                      <a:pt x="1240725" y="6216347"/>
                    </a:cubicBezTo>
                    <a:cubicBezTo>
                      <a:pt x="1238998" y="6216347"/>
                      <a:pt x="1237766" y="6217579"/>
                      <a:pt x="1237766" y="6219307"/>
                    </a:cubicBezTo>
                    <a:cubicBezTo>
                      <a:pt x="1237766" y="6221033"/>
                      <a:pt x="1238998" y="6222266"/>
                      <a:pt x="1240725" y="6222266"/>
                    </a:cubicBezTo>
                    <a:cubicBezTo>
                      <a:pt x="1242206" y="6222266"/>
                      <a:pt x="1243684" y="6220785"/>
                      <a:pt x="1243684" y="6219307"/>
                    </a:cubicBezTo>
                    <a:close/>
                    <a:moveTo>
                      <a:pt x="1243686" y="2874415"/>
                    </a:moveTo>
                    <a:cubicBezTo>
                      <a:pt x="1243686" y="2857649"/>
                      <a:pt x="1230124" y="2844085"/>
                      <a:pt x="1213357" y="2844085"/>
                    </a:cubicBezTo>
                    <a:cubicBezTo>
                      <a:pt x="1196590" y="2844085"/>
                      <a:pt x="1183028" y="2857649"/>
                      <a:pt x="1183028" y="2874415"/>
                    </a:cubicBezTo>
                    <a:cubicBezTo>
                      <a:pt x="1183028" y="2891183"/>
                      <a:pt x="1196590" y="2904745"/>
                      <a:pt x="1213357" y="2904745"/>
                    </a:cubicBezTo>
                    <a:cubicBezTo>
                      <a:pt x="1230124" y="2904745"/>
                      <a:pt x="1243686" y="2891183"/>
                      <a:pt x="1243686" y="2874415"/>
                    </a:cubicBezTo>
                    <a:close/>
                    <a:moveTo>
                      <a:pt x="1244178" y="2227175"/>
                    </a:moveTo>
                    <a:cubicBezTo>
                      <a:pt x="1244178" y="2226689"/>
                      <a:pt x="1243686" y="2226182"/>
                      <a:pt x="1243191" y="2226182"/>
                    </a:cubicBezTo>
                    <a:cubicBezTo>
                      <a:pt x="1242700" y="2226182"/>
                      <a:pt x="1242206" y="2226689"/>
                      <a:pt x="1242206" y="2227175"/>
                    </a:cubicBezTo>
                    <a:cubicBezTo>
                      <a:pt x="1242206" y="2227667"/>
                      <a:pt x="1242700" y="2228164"/>
                      <a:pt x="1243191" y="2228164"/>
                    </a:cubicBezTo>
                    <a:cubicBezTo>
                      <a:pt x="1243686" y="2228164"/>
                      <a:pt x="1244178" y="2227667"/>
                      <a:pt x="1244178" y="2227175"/>
                    </a:cubicBezTo>
                    <a:close/>
                    <a:moveTo>
                      <a:pt x="1244917" y="4027250"/>
                    </a:moveTo>
                    <a:cubicBezTo>
                      <a:pt x="1244917" y="4002346"/>
                      <a:pt x="1224698" y="3982125"/>
                      <a:pt x="1199795" y="3982125"/>
                    </a:cubicBezTo>
                    <a:cubicBezTo>
                      <a:pt x="1174889" y="3982125"/>
                      <a:pt x="1154671" y="4002346"/>
                      <a:pt x="1154671" y="4027250"/>
                    </a:cubicBezTo>
                    <a:cubicBezTo>
                      <a:pt x="1154671" y="4052154"/>
                      <a:pt x="1174889" y="4072374"/>
                      <a:pt x="1199795" y="4072374"/>
                    </a:cubicBezTo>
                    <a:cubicBezTo>
                      <a:pt x="1224698" y="4072374"/>
                      <a:pt x="1244917" y="4052154"/>
                      <a:pt x="1244917" y="4027250"/>
                    </a:cubicBezTo>
                    <a:close/>
                    <a:moveTo>
                      <a:pt x="1252809" y="65497"/>
                    </a:moveTo>
                    <a:cubicBezTo>
                      <a:pt x="1252809" y="57114"/>
                      <a:pt x="1245904" y="50211"/>
                      <a:pt x="1237522" y="50211"/>
                    </a:cubicBezTo>
                    <a:cubicBezTo>
                      <a:pt x="1229138" y="50211"/>
                      <a:pt x="1222234" y="57114"/>
                      <a:pt x="1222234" y="65497"/>
                    </a:cubicBezTo>
                    <a:cubicBezTo>
                      <a:pt x="1222234" y="73881"/>
                      <a:pt x="1229138" y="80785"/>
                      <a:pt x="1237522" y="80785"/>
                    </a:cubicBezTo>
                    <a:cubicBezTo>
                      <a:pt x="1245904" y="80785"/>
                      <a:pt x="1252563" y="74126"/>
                      <a:pt x="1252809" y="65497"/>
                    </a:cubicBezTo>
                    <a:close/>
                    <a:moveTo>
                      <a:pt x="1253300" y="4414621"/>
                    </a:moveTo>
                    <a:cubicBezTo>
                      <a:pt x="1253300" y="4391690"/>
                      <a:pt x="1234806" y="4373195"/>
                      <a:pt x="1211875" y="4373195"/>
                    </a:cubicBezTo>
                    <a:cubicBezTo>
                      <a:pt x="1188944" y="4373195"/>
                      <a:pt x="1170451" y="4391690"/>
                      <a:pt x="1170451" y="4414621"/>
                    </a:cubicBezTo>
                    <a:cubicBezTo>
                      <a:pt x="1170451" y="4437552"/>
                      <a:pt x="1188944" y="4456045"/>
                      <a:pt x="1211875" y="4456045"/>
                    </a:cubicBezTo>
                    <a:cubicBezTo>
                      <a:pt x="1234560" y="4456045"/>
                      <a:pt x="1253300" y="4437552"/>
                      <a:pt x="1253300" y="4414621"/>
                    </a:cubicBezTo>
                    <a:close/>
                    <a:moveTo>
                      <a:pt x="1253304" y="737821"/>
                    </a:moveTo>
                    <a:cubicBezTo>
                      <a:pt x="1253304" y="729932"/>
                      <a:pt x="1246891" y="723279"/>
                      <a:pt x="1238756" y="723279"/>
                    </a:cubicBezTo>
                    <a:cubicBezTo>
                      <a:pt x="1230865" y="723279"/>
                      <a:pt x="1224207" y="729682"/>
                      <a:pt x="1224207" y="737821"/>
                    </a:cubicBezTo>
                    <a:cubicBezTo>
                      <a:pt x="1224207" y="745716"/>
                      <a:pt x="1230616" y="752369"/>
                      <a:pt x="1238756" y="752369"/>
                    </a:cubicBezTo>
                    <a:cubicBezTo>
                      <a:pt x="1246891" y="752369"/>
                      <a:pt x="1253550" y="745716"/>
                      <a:pt x="1253304" y="737821"/>
                    </a:cubicBezTo>
                    <a:close/>
                    <a:moveTo>
                      <a:pt x="1253547" y="4933167"/>
                    </a:moveTo>
                    <a:cubicBezTo>
                      <a:pt x="1253547" y="4926017"/>
                      <a:pt x="1247629" y="4920100"/>
                      <a:pt x="1240479" y="4920100"/>
                    </a:cubicBezTo>
                    <a:cubicBezTo>
                      <a:pt x="1233329" y="4920100"/>
                      <a:pt x="1227411" y="4926017"/>
                      <a:pt x="1227411" y="4933167"/>
                    </a:cubicBezTo>
                    <a:cubicBezTo>
                      <a:pt x="1227411" y="4940317"/>
                      <a:pt x="1233329" y="4946235"/>
                      <a:pt x="1240479" y="4946235"/>
                    </a:cubicBezTo>
                    <a:cubicBezTo>
                      <a:pt x="1247629" y="4946235"/>
                      <a:pt x="1253547" y="4940317"/>
                      <a:pt x="1253547" y="4933167"/>
                    </a:cubicBezTo>
                    <a:close/>
                    <a:moveTo>
                      <a:pt x="1257987" y="4679442"/>
                    </a:moveTo>
                    <a:cubicBezTo>
                      <a:pt x="1257987" y="4656757"/>
                      <a:pt x="1239492" y="4638017"/>
                      <a:pt x="1216562" y="4638017"/>
                    </a:cubicBezTo>
                    <a:cubicBezTo>
                      <a:pt x="1193877" y="4638017"/>
                      <a:pt x="1175138" y="4656511"/>
                      <a:pt x="1175138" y="4679442"/>
                    </a:cubicBezTo>
                    <a:cubicBezTo>
                      <a:pt x="1175138" y="4702126"/>
                      <a:pt x="1193631" y="4720866"/>
                      <a:pt x="1216562" y="4720866"/>
                    </a:cubicBezTo>
                    <a:cubicBezTo>
                      <a:pt x="1239492" y="4720866"/>
                      <a:pt x="1258232" y="4702126"/>
                      <a:pt x="1257987" y="4679442"/>
                    </a:cubicBezTo>
                    <a:close/>
                    <a:moveTo>
                      <a:pt x="1258479" y="192204"/>
                    </a:moveTo>
                    <a:cubicBezTo>
                      <a:pt x="1258479" y="184069"/>
                      <a:pt x="1251820" y="177411"/>
                      <a:pt x="1243684" y="177411"/>
                    </a:cubicBezTo>
                    <a:cubicBezTo>
                      <a:pt x="1235547" y="177411"/>
                      <a:pt x="1228889" y="184069"/>
                      <a:pt x="1228889" y="192204"/>
                    </a:cubicBezTo>
                    <a:cubicBezTo>
                      <a:pt x="1228889" y="200341"/>
                      <a:pt x="1235547" y="206999"/>
                      <a:pt x="1243684" y="206999"/>
                    </a:cubicBezTo>
                    <a:cubicBezTo>
                      <a:pt x="1251820" y="206999"/>
                      <a:pt x="1258479" y="200341"/>
                      <a:pt x="1258479" y="192204"/>
                    </a:cubicBezTo>
                    <a:close/>
                    <a:moveTo>
                      <a:pt x="1263412" y="1826115"/>
                    </a:moveTo>
                    <a:cubicBezTo>
                      <a:pt x="1263412" y="1815766"/>
                      <a:pt x="1254781" y="1807123"/>
                      <a:pt x="1244423" y="1807123"/>
                    </a:cubicBezTo>
                    <a:cubicBezTo>
                      <a:pt x="1234069" y="1807123"/>
                      <a:pt x="1225438" y="1815515"/>
                      <a:pt x="1225438" y="1826115"/>
                    </a:cubicBezTo>
                    <a:cubicBezTo>
                      <a:pt x="1225438" y="1836465"/>
                      <a:pt x="1233822" y="1845098"/>
                      <a:pt x="1244423" y="1845098"/>
                    </a:cubicBezTo>
                    <a:cubicBezTo>
                      <a:pt x="1254781" y="1845098"/>
                      <a:pt x="1263412" y="1836714"/>
                      <a:pt x="1263412" y="1826115"/>
                    </a:cubicBezTo>
                    <a:close/>
                    <a:moveTo>
                      <a:pt x="1263657" y="870686"/>
                    </a:moveTo>
                    <a:cubicBezTo>
                      <a:pt x="1263657" y="862812"/>
                      <a:pt x="1257247" y="856394"/>
                      <a:pt x="1249357" y="856394"/>
                    </a:cubicBezTo>
                    <a:cubicBezTo>
                      <a:pt x="1241466" y="856394"/>
                      <a:pt x="1235054" y="862812"/>
                      <a:pt x="1235054" y="870686"/>
                    </a:cubicBezTo>
                    <a:cubicBezTo>
                      <a:pt x="1235054" y="878585"/>
                      <a:pt x="1241466" y="885001"/>
                      <a:pt x="1249357" y="885001"/>
                    </a:cubicBezTo>
                    <a:cubicBezTo>
                      <a:pt x="1257247" y="885001"/>
                      <a:pt x="1263657" y="878345"/>
                      <a:pt x="1263657" y="870686"/>
                    </a:cubicBezTo>
                    <a:close/>
                    <a:moveTo>
                      <a:pt x="1264642" y="319901"/>
                    </a:moveTo>
                    <a:cubicBezTo>
                      <a:pt x="1264642" y="311762"/>
                      <a:pt x="1257983" y="305353"/>
                      <a:pt x="1250094" y="305353"/>
                    </a:cubicBezTo>
                    <a:cubicBezTo>
                      <a:pt x="1242203" y="305353"/>
                      <a:pt x="1235794" y="312011"/>
                      <a:pt x="1235794" y="319901"/>
                    </a:cubicBezTo>
                    <a:cubicBezTo>
                      <a:pt x="1235794" y="327791"/>
                      <a:pt x="1242203" y="334201"/>
                      <a:pt x="1250094" y="334201"/>
                    </a:cubicBezTo>
                    <a:cubicBezTo>
                      <a:pt x="1257983" y="334201"/>
                      <a:pt x="1264642" y="327791"/>
                      <a:pt x="1264642" y="319901"/>
                    </a:cubicBezTo>
                    <a:close/>
                    <a:moveTo>
                      <a:pt x="1264644" y="5465032"/>
                    </a:moveTo>
                    <a:cubicBezTo>
                      <a:pt x="1264644" y="5449747"/>
                      <a:pt x="1252314" y="5437416"/>
                      <a:pt x="1237028" y="5437416"/>
                    </a:cubicBezTo>
                    <a:cubicBezTo>
                      <a:pt x="1221741" y="5437416"/>
                      <a:pt x="1209412" y="5449747"/>
                      <a:pt x="1209412" y="5465032"/>
                    </a:cubicBezTo>
                    <a:cubicBezTo>
                      <a:pt x="1209412" y="5480322"/>
                      <a:pt x="1221741" y="5492649"/>
                      <a:pt x="1237028" y="5492649"/>
                    </a:cubicBezTo>
                    <a:cubicBezTo>
                      <a:pt x="1252314" y="5492649"/>
                      <a:pt x="1264644" y="5480073"/>
                      <a:pt x="1264644" y="5465032"/>
                    </a:cubicBezTo>
                    <a:close/>
                    <a:moveTo>
                      <a:pt x="1273027" y="2762470"/>
                    </a:moveTo>
                    <a:cubicBezTo>
                      <a:pt x="1273027" y="2747670"/>
                      <a:pt x="1260943" y="2735588"/>
                      <a:pt x="1246149" y="2735588"/>
                    </a:cubicBezTo>
                    <a:cubicBezTo>
                      <a:pt x="1231354" y="2735588"/>
                      <a:pt x="1219273" y="2747670"/>
                      <a:pt x="1219273" y="2762470"/>
                    </a:cubicBezTo>
                    <a:cubicBezTo>
                      <a:pt x="1219273" y="2777260"/>
                      <a:pt x="1231354" y="2789345"/>
                      <a:pt x="1246149" y="2789345"/>
                    </a:cubicBezTo>
                    <a:cubicBezTo>
                      <a:pt x="1260943" y="2789345"/>
                      <a:pt x="1273027" y="2777260"/>
                      <a:pt x="1273027" y="2762470"/>
                    </a:cubicBezTo>
                    <a:close/>
                    <a:moveTo>
                      <a:pt x="1274505" y="1974932"/>
                    </a:moveTo>
                    <a:cubicBezTo>
                      <a:pt x="1274505" y="1973206"/>
                      <a:pt x="1273273" y="1971974"/>
                      <a:pt x="1271547" y="1971974"/>
                    </a:cubicBezTo>
                    <a:cubicBezTo>
                      <a:pt x="1269820" y="1971974"/>
                      <a:pt x="1268588" y="1973206"/>
                      <a:pt x="1268588" y="1974932"/>
                    </a:cubicBezTo>
                    <a:cubicBezTo>
                      <a:pt x="1268588" y="1976657"/>
                      <a:pt x="1269820" y="1977889"/>
                      <a:pt x="1271547" y="1977889"/>
                    </a:cubicBezTo>
                    <a:cubicBezTo>
                      <a:pt x="1273273" y="1977889"/>
                      <a:pt x="1274505" y="1976657"/>
                      <a:pt x="1274505" y="1974932"/>
                    </a:cubicBezTo>
                    <a:close/>
                    <a:moveTo>
                      <a:pt x="1275985" y="4139688"/>
                    </a:moveTo>
                    <a:cubicBezTo>
                      <a:pt x="1275985" y="4114291"/>
                      <a:pt x="1255272" y="4093578"/>
                      <a:pt x="1229878" y="4093578"/>
                    </a:cubicBezTo>
                    <a:cubicBezTo>
                      <a:pt x="1204479" y="4093578"/>
                      <a:pt x="1183767" y="4114291"/>
                      <a:pt x="1183767" y="4139688"/>
                    </a:cubicBezTo>
                    <a:cubicBezTo>
                      <a:pt x="1183767" y="4165083"/>
                      <a:pt x="1204479" y="4185798"/>
                      <a:pt x="1229878" y="4185798"/>
                    </a:cubicBezTo>
                    <a:cubicBezTo>
                      <a:pt x="1255272" y="4185798"/>
                      <a:pt x="1275985" y="4165083"/>
                      <a:pt x="1275985" y="4139688"/>
                    </a:cubicBezTo>
                    <a:close/>
                    <a:moveTo>
                      <a:pt x="1276234" y="1004569"/>
                    </a:moveTo>
                    <a:cubicBezTo>
                      <a:pt x="1276234" y="996186"/>
                      <a:pt x="1269328" y="989526"/>
                      <a:pt x="1261191" y="989526"/>
                    </a:cubicBezTo>
                    <a:cubicBezTo>
                      <a:pt x="1252809" y="989526"/>
                      <a:pt x="1246151" y="996433"/>
                      <a:pt x="1246151" y="1004569"/>
                    </a:cubicBezTo>
                    <a:cubicBezTo>
                      <a:pt x="1246151" y="1012959"/>
                      <a:pt x="1253055" y="1019621"/>
                      <a:pt x="1261191" y="1019621"/>
                    </a:cubicBezTo>
                    <a:cubicBezTo>
                      <a:pt x="1269328" y="1019621"/>
                      <a:pt x="1275985" y="1012713"/>
                      <a:pt x="1276234" y="1004569"/>
                    </a:cubicBezTo>
                    <a:close/>
                    <a:moveTo>
                      <a:pt x="1279931" y="6086650"/>
                    </a:moveTo>
                    <a:cubicBezTo>
                      <a:pt x="1279931" y="6070623"/>
                      <a:pt x="1266863" y="6057801"/>
                      <a:pt x="1251082" y="6057801"/>
                    </a:cubicBezTo>
                    <a:cubicBezTo>
                      <a:pt x="1235056" y="6057801"/>
                      <a:pt x="1222234" y="6070869"/>
                      <a:pt x="1222234" y="6086650"/>
                    </a:cubicBezTo>
                    <a:cubicBezTo>
                      <a:pt x="1222234" y="6102431"/>
                      <a:pt x="1235301" y="6115253"/>
                      <a:pt x="1251082" y="6115253"/>
                    </a:cubicBezTo>
                    <a:cubicBezTo>
                      <a:pt x="1267109" y="6115253"/>
                      <a:pt x="1279931" y="6102431"/>
                      <a:pt x="1279931" y="6086650"/>
                    </a:cubicBezTo>
                    <a:close/>
                    <a:moveTo>
                      <a:pt x="1280672" y="3392228"/>
                    </a:moveTo>
                    <a:cubicBezTo>
                      <a:pt x="1280672" y="3372715"/>
                      <a:pt x="1264645" y="3356719"/>
                      <a:pt x="1245164" y="3356719"/>
                    </a:cubicBezTo>
                    <a:cubicBezTo>
                      <a:pt x="1225685" y="3356719"/>
                      <a:pt x="1209658" y="3372715"/>
                      <a:pt x="1209658" y="3392228"/>
                    </a:cubicBezTo>
                    <a:cubicBezTo>
                      <a:pt x="1209658" y="3411706"/>
                      <a:pt x="1225685" y="3427731"/>
                      <a:pt x="1245164" y="3427731"/>
                    </a:cubicBezTo>
                    <a:cubicBezTo>
                      <a:pt x="1264645" y="3427731"/>
                      <a:pt x="1280672" y="3411706"/>
                      <a:pt x="1280672" y="3392228"/>
                    </a:cubicBezTo>
                    <a:close/>
                    <a:moveTo>
                      <a:pt x="1280917" y="3508703"/>
                    </a:moveTo>
                    <a:cubicBezTo>
                      <a:pt x="1280917" y="3488236"/>
                      <a:pt x="1264150" y="3471469"/>
                      <a:pt x="1243687" y="3471469"/>
                    </a:cubicBezTo>
                    <a:cubicBezTo>
                      <a:pt x="1223219" y="3471469"/>
                      <a:pt x="1206453" y="3488236"/>
                      <a:pt x="1206453" y="3508703"/>
                    </a:cubicBezTo>
                    <a:cubicBezTo>
                      <a:pt x="1206453" y="3529166"/>
                      <a:pt x="1223219" y="3545937"/>
                      <a:pt x="1243687" y="3545937"/>
                    </a:cubicBezTo>
                    <a:cubicBezTo>
                      <a:pt x="1264399" y="3545937"/>
                      <a:pt x="1280917" y="3529166"/>
                      <a:pt x="1280917" y="3508703"/>
                    </a:cubicBezTo>
                    <a:close/>
                    <a:moveTo>
                      <a:pt x="1280917" y="5177034"/>
                    </a:moveTo>
                    <a:cubicBezTo>
                      <a:pt x="1280917" y="5176785"/>
                      <a:pt x="1280671" y="5176539"/>
                      <a:pt x="1280425" y="5176539"/>
                    </a:cubicBezTo>
                    <a:cubicBezTo>
                      <a:pt x="1280176" y="5176539"/>
                      <a:pt x="1279931" y="5176785"/>
                      <a:pt x="1279931" y="5177034"/>
                    </a:cubicBezTo>
                    <a:cubicBezTo>
                      <a:pt x="1279931" y="5177280"/>
                      <a:pt x="1280176" y="5177525"/>
                      <a:pt x="1280425" y="5177525"/>
                    </a:cubicBezTo>
                    <a:cubicBezTo>
                      <a:pt x="1280671" y="5177525"/>
                      <a:pt x="1280917" y="5177280"/>
                      <a:pt x="1280917" y="5177034"/>
                    </a:cubicBezTo>
                    <a:close/>
                    <a:moveTo>
                      <a:pt x="1282150" y="5322019"/>
                    </a:moveTo>
                    <a:cubicBezTo>
                      <a:pt x="1282150" y="5308457"/>
                      <a:pt x="1271054" y="5297361"/>
                      <a:pt x="1257492" y="5297361"/>
                    </a:cubicBezTo>
                    <a:cubicBezTo>
                      <a:pt x="1243930" y="5297361"/>
                      <a:pt x="1232835" y="5308457"/>
                      <a:pt x="1232835" y="5322019"/>
                    </a:cubicBezTo>
                    <a:cubicBezTo>
                      <a:pt x="1232835" y="5335581"/>
                      <a:pt x="1243930" y="5346676"/>
                      <a:pt x="1257492" y="5346676"/>
                    </a:cubicBezTo>
                    <a:cubicBezTo>
                      <a:pt x="1271054" y="5346676"/>
                      <a:pt x="1282150" y="5335581"/>
                      <a:pt x="1282150" y="5322019"/>
                    </a:cubicBezTo>
                    <a:close/>
                    <a:moveTo>
                      <a:pt x="1282643" y="5952021"/>
                    </a:moveTo>
                    <a:cubicBezTo>
                      <a:pt x="1282643" y="5940924"/>
                      <a:pt x="1273521" y="5931801"/>
                      <a:pt x="1262423" y="5931801"/>
                    </a:cubicBezTo>
                    <a:cubicBezTo>
                      <a:pt x="1251573" y="5931801"/>
                      <a:pt x="1242451" y="5940924"/>
                      <a:pt x="1242451" y="5952021"/>
                    </a:cubicBezTo>
                    <a:cubicBezTo>
                      <a:pt x="1242451" y="5963117"/>
                      <a:pt x="1251328" y="5972239"/>
                      <a:pt x="1262423" y="5972239"/>
                    </a:cubicBezTo>
                    <a:cubicBezTo>
                      <a:pt x="1273521" y="5972239"/>
                      <a:pt x="1282643" y="5963117"/>
                      <a:pt x="1282643" y="5952021"/>
                    </a:cubicBezTo>
                    <a:close/>
                    <a:moveTo>
                      <a:pt x="1286341" y="2384476"/>
                    </a:moveTo>
                    <a:cubicBezTo>
                      <a:pt x="1286341" y="2382501"/>
                      <a:pt x="1284616" y="2380769"/>
                      <a:pt x="1282644" y="2380769"/>
                    </a:cubicBezTo>
                    <a:cubicBezTo>
                      <a:pt x="1280672" y="2380769"/>
                      <a:pt x="1278945" y="2382501"/>
                      <a:pt x="1278945" y="2384476"/>
                    </a:cubicBezTo>
                    <a:cubicBezTo>
                      <a:pt x="1278945" y="2386450"/>
                      <a:pt x="1280672" y="2388177"/>
                      <a:pt x="1282644" y="2388177"/>
                    </a:cubicBezTo>
                    <a:cubicBezTo>
                      <a:pt x="1284863" y="2388177"/>
                      <a:pt x="1286589" y="2386696"/>
                      <a:pt x="1286341" y="2384476"/>
                    </a:cubicBezTo>
                    <a:close/>
                    <a:moveTo>
                      <a:pt x="1286341" y="3275838"/>
                    </a:moveTo>
                    <a:cubicBezTo>
                      <a:pt x="1286341" y="3257342"/>
                      <a:pt x="1271300" y="3242062"/>
                      <a:pt x="1252560" y="3242062"/>
                    </a:cubicBezTo>
                    <a:cubicBezTo>
                      <a:pt x="1234069" y="3242062"/>
                      <a:pt x="1218780" y="3257096"/>
                      <a:pt x="1218780" y="3275838"/>
                    </a:cubicBezTo>
                    <a:cubicBezTo>
                      <a:pt x="1218780" y="3294327"/>
                      <a:pt x="1233820" y="3309619"/>
                      <a:pt x="1252560" y="3309619"/>
                    </a:cubicBezTo>
                    <a:cubicBezTo>
                      <a:pt x="1271300" y="3309619"/>
                      <a:pt x="1286341" y="3294327"/>
                      <a:pt x="1286341" y="3275838"/>
                    </a:cubicBezTo>
                    <a:close/>
                    <a:moveTo>
                      <a:pt x="1287329" y="3624840"/>
                    </a:moveTo>
                    <a:cubicBezTo>
                      <a:pt x="1287329" y="3603387"/>
                      <a:pt x="1269822" y="3585879"/>
                      <a:pt x="1248369" y="3585879"/>
                    </a:cubicBezTo>
                    <a:cubicBezTo>
                      <a:pt x="1226919" y="3585879"/>
                      <a:pt x="1209412" y="3603387"/>
                      <a:pt x="1209412" y="3624840"/>
                    </a:cubicBezTo>
                    <a:cubicBezTo>
                      <a:pt x="1209412" y="3646290"/>
                      <a:pt x="1226919" y="3663797"/>
                      <a:pt x="1248369" y="3663797"/>
                    </a:cubicBezTo>
                    <a:cubicBezTo>
                      <a:pt x="1269822" y="3663797"/>
                      <a:pt x="1287329" y="3646535"/>
                      <a:pt x="1287329" y="3624840"/>
                    </a:cubicBezTo>
                    <a:close/>
                    <a:moveTo>
                      <a:pt x="1289302" y="1140657"/>
                    </a:moveTo>
                    <a:cubicBezTo>
                      <a:pt x="1289302" y="1132027"/>
                      <a:pt x="1282397" y="1125128"/>
                      <a:pt x="1273767" y="1125128"/>
                    </a:cubicBezTo>
                    <a:cubicBezTo>
                      <a:pt x="1265136" y="1125128"/>
                      <a:pt x="1258232" y="1132027"/>
                      <a:pt x="1258232" y="1140657"/>
                    </a:cubicBezTo>
                    <a:cubicBezTo>
                      <a:pt x="1258232" y="1149289"/>
                      <a:pt x="1265136" y="1156193"/>
                      <a:pt x="1273767" y="1156193"/>
                    </a:cubicBezTo>
                    <a:cubicBezTo>
                      <a:pt x="1282150" y="1156193"/>
                      <a:pt x="1289302" y="1149289"/>
                      <a:pt x="1289302" y="1140657"/>
                    </a:cubicBezTo>
                    <a:close/>
                    <a:moveTo>
                      <a:pt x="1290780" y="1448338"/>
                    </a:moveTo>
                    <a:cubicBezTo>
                      <a:pt x="1290780" y="1439466"/>
                      <a:pt x="1283630" y="1432315"/>
                      <a:pt x="1274753" y="1432315"/>
                    </a:cubicBezTo>
                    <a:cubicBezTo>
                      <a:pt x="1265876" y="1432315"/>
                      <a:pt x="1258726" y="1439466"/>
                      <a:pt x="1258726" y="1448338"/>
                    </a:cubicBezTo>
                    <a:cubicBezTo>
                      <a:pt x="1258726" y="1457217"/>
                      <a:pt x="1265876" y="1464378"/>
                      <a:pt x="1274753" y="1464378"/>
                    </a:cubicBezTo>
                    <a:cubicBezTo>
                      <a:pt x="1283630" y="1464378"/>
                      <a:pt x="1290780" y="1457217"/>
                      <a:pt x="1290780" y="1448338"/>
                    </a:cubicBezTo>
                    <a:close/>
                    <a:moveTo>
                      <a:pt x="1291767" y="6923282"/>
                    </a:moveTo>
                    <a:cubicBezTo>
                      <a:pt x="1291767" y="6921554"/>
                      <a:pt x="1290535" y="6920322"/>
                      <a:pt x="1288808" y="6920322"/>
                    </a:cubicBezTo>
                    <a:cubicBezTo>
                      <a:pt x="1287082" y="6920322"/>
                      <a:pt x="1285850" y="6921554"/>
                      <a:pt x="1285850" y="6923282"/>
                    </a:cubicBezTo>
                    <a:cubicBezTo>
                      <a:pt x="1285850" y="6925005"/>
                      <a:pt x="1287082" y="6926240"/>
                      <a:pt x="1288808" y="6926240"/>
                    </a:cubicBezTo>
                    <a:cubicBezTo>
                      <a:pt x="1290535" y="6926240"/>
                      <a:pt x="1291767" y="6925005"/>
                      <a:pt x="1291767" y="6923282"/>
                    </a:cubicBezTo>
                    <a:close/>
                    <a:moveTo>
                      <a:pt x="1293245" y="5816403"/>
                    </a:moveTo>
                    <a:cubicBezTo>
                      <a:pt x="1293245" y="5806540"/>
                      <a:pt x="1285109" y="5798403"/>
                      <a:pt x="1275245" y="5798403"/>
                    </a:cubicBezTo>
                    <a:cubicBezTo>
                      <a:pt x="1265382" y="5798403"/>
                      <a:pt x="1257247" y="5806540"/>
                      <a:pt x="1257247" y="5816403"/>
                    </a:cubicBezTo>
                    <a:cubicBezTo>
                      <a:pt x="1257247" y="5826266"/>
                      <a:pt x="1265382" y="5834402"/>
                      <a:pt x="1275245" y="5834402"/>
                    </a:cubicBezTo>
                    <a:cubicBezTo>
                      <a:pt x="1285354" y="5834402"/>
                      <a:pt x="1293245" y="5826266"/>
                      <a:pt x="1293245" y="5816403"/>
                    </a:cubicBezTo>
                    <a:close/>
                    <a:moveTo>
                      <a:pt x="1294971" y="5678815"/>
                    </a:moveTo>
                    <a:cubicBezTo>
                      <a:pt x="1294971" y="5675856"/>
                      <a:pt x="1292504" y="5673389"/>
                      <a:pt x="1289547" y="5673389"/>
                    </a:cubicBezTo>
                    <a:cubicBezTo>
                      <a:pt x="1286586" y="5673389"/>
                      <a:pt x="1284122" y="5675856"/>
                      <a:pt x="1284122" y="5678815"/>
                    </a:cubicBezTo>
                    <a:cubicBezTo>
                      <a:pt x="1284122" y="5681772"/>
                      <a:pt x="1286586" y="5684238"/>
                      <a:pt x="1289547" y="5684238"/>
                    </a:cubicBezTo>
                    <a:cubicBezTo>
                      <a:pt x="1292504" y="5684238"/>
                      <a:pt x="1294971" y="5681772"/>
                      <a:pt x="1294971" y="5678815"/>
                    </a:cubicBezTo>
                    <a:close/>
                    <a:moveTo>
                      <a:pt x="1294972" y="4520896"/>
                    </a:moveTo>
                    <a:cubicBezTo>
                      <a:pt x="1294972" y="4500923"/>
                      <a:pt x="1278699" y="4484648"/>
                      <a:pt x="1258726" y="4484648"/>
                    </a:cubicBezTo>
                    <a:cubicBezTo>
                      <a:pt x="1238751" y="4484648"/>
                      <a:pt x="1222479" y="4500923"/>
                      <a:pt x="1222479" y="4520896"/>
                    </a:cubicBezTo>
                    <a:cubicBezTo>
                      <a:pt x="1222479" y="4540868"/>
                      <a:pt x="1238751" y="4557143"/>
                      <a:pt x="1258726" y="4557143"/>
                    </a:cubicBezTo>
                    <a:cubicBezTo>
                      <a:pt x="1278699" y="4557143"/>
                      <a:pt x="1294972" y="4540868"/>
                      <a:pt x="1294972" y="4520896"/>
                    </a:cubicBezTo>
                    <a:close/>
                    <a:moveTo>
                      <a:pt x="1297193" y="6797529"/>
                    </a:moveTo>
                    <a:cubicBezTo>
                      <a:pt x="1297193" y="6795801"/>
                      <a:pt x="1295960" y="6794569"/>
                      <a:pt x="1294234" y="6794569"/>
                    </a:cubicBezTo>
                    <a:cubicBezTo>
                      <a:pt x="1292507" y="6794569"/>
                      <a:pt x="1291275" y="6795801"/>
                      <a:pt x="1291275" y="6797529"/>
                    </a:cubicBezTo>
                    <a:cubicBezTo>
                      <a:pt x="1291275" y="6799255"/>
                      <a:pt x="1292507" y="6800488"/>
                      <a:pt x="1294234" y="6800488"/>
                    </a:cubicBezTo>
                    <a:cubicBezTo>
                      <a:pt x="1295960" y="6800488"/>
                      <a:pt x="1297193" y="6799255"/>
                      <a:pt x="1297193" y="6797529"/>
                    </a:cubicBezTo>
                    <a:close/>
                    <a:moveTo>
                      <a:pt x="1297931" y="3159949"/>
                    </a:moveTo>
                    <a:cubicBezTo>
                      <a:pt x="1297931" y="3142244"/>
                      <a:pt x="1283579" y="3127892"/>
                      <a:pt x="1265874" y="3127892"/>
                    </a:cubicBezTo>
                    <a:cubicBezTo>
                      <a:pt x="1248173" y="3127892"/>
                      <a:pt x="1233821" y="3142244"/>
                      <a:pt x="1233821" y="3159949"/>
                    </a:cubicBezTo>
                    <a:cubicBezTo>
                      <a:pt x="1233821" y="3177651"/>
                      <a:pt x="1248173" y="3192005"/>
                      <a:pt x="1265874" y="3192005"/>
                    </a:cubicBezTo>
                    <a:cubicBezTo>
                      <a:pt x="1283579" y="3192005"/>
                      <a:pt x="1297931" y="3177651"/>
                      <a:pt x="1297931" y="3159949"/>
                    </a:cubicBezTo>
                    <a:close/>
                    <a:moveTo>
                      <a:pt x="1299657" y="3740977"/>
                    </a:moveTo>
                    <a:cubicBezTo>
                      <a:pt x="1299657" y="3718539"/>
                      <a:pt x="1281410" y="3700291"/>
                      <a:pt x="1258970" y="3700291"/>
                    </a:cubicBezTo>
                    <a:cubicBezTo>
                      <a:pt x="1236534" y="3700291"/>
                      <a:pt x="1218286" y="3718539"/>
                      <a:pt x="1218286" y="3740977"/>
                    </a:cubicBezTo>
                    <a:cubicBezTo>
                      <a:pt x="1218286" y="3763415"/>
                      <a:pt x="1236534" y="3781663"/>
                      <a:pt x="1258970" y="3781663"/>
                    </a:cubicBezTo>
                    <a:cubicBezTo>
                      <a:pt x="1281410" y="3781663"/>
                      <a:pt x="1299408" y="3763415"/>
                      <a:pt x="1299657" y="3740977"/>
                    </a:cubicBezTo>
                    <a:close/>
                    <a:moveTo>
                      <a:pt x="1301878" y="6670542"/>
                    </a:moveTo>
                    <a:cubicBezTo>
                      <a:pt x="1301878" y="6669555"/>
                      <a:pt x="1301138" y="6668814"/>
                      <a:pt x="1300151" y="6668814"/>
                    </a:cubicBezTo>
                    <a:cubicBezTo>
                      <a:pt x="1299165" y="6668814"/>
                      <a:pt x="1298425" y="6669555"/>
                      <a:pt x="1298425" y="6670542"/>
                    </a:cubicBezTo>
                    <a:cubicBezTo>
                      <a:pt x="1298425" y="6671527"/>
                      <a:pt x="1299165" y="6672265"/>
                      <a:pt x="1300151" y="6672265"/>
                    </a:cubicBezTo>
                    <a:cubicBezTo>
                      <a:pt x="1301138" y="6672265"/>
                      <a:pt x="1301878" y="6671527"/>
                      <a:pt x="1301878" y="6670542"/>
                    </a:cubicBezTo>
                    <a:close/>
                    <a:moveTo>
                      <a:pt x="1303110" y="1278227"/>
                    </a:moveTo>
                    <a:cubicBezTo>
                      <a:pt x="1303110" y="1269838"/>
                      <a:pt x="1296206" y="1262925"/>
                      <a:pt x="1287822" y="1262925"/>
                    </a:cubicBezTo>
                    <a:cubicBezTo>
                      <a:pt x="1279439" y="1262925"/>
                      <a:pt x="1272535" y="1269838"/>
                      <a:pt x="1272535" y="1278227"/>
                    </a:cubicBezTo>
                    <a:cubicBezTo>
                      <a:pt x="1272535" y="1286585"/>
                      <a:pt x="1279439" y="1293505"/>
                      <a:pt x="1287822" y="1293505"/>
                    </a:cubicBezTo>
                    <a:cubicBezTo>
                      <a:pt x="1296206" y="1293505"/>
                      <a:pt x="1303110" y="1286585"/>
                      <a:pt x="1303110" y="1278227"/>
                    </a:cubicBezTo>
                    <a:close/>
                    <a:moveTo>
                      <a:pt x="1304095" y="2127059"/>
                    </a:moveTo>
                    <a:cubicBezTo>
                      <a:pt x="1304095" y="2125827"/>
                      <a:pt x="1303108" y="2125086"/>
                      <a:pt x="1302122" y="2125086"/>
                    </a:cubicBezTo>
                    <a:cubicBezTo>
                      <a:pt x="1300889" y="2125086"/>
                      <a:pt x="1300149" y="2126073"/>
                      <a:pt x="1300149" y="2127059"/>
                    </a:cubicBezTo>
                    <a:cubicBezTo>
                      <a:pt x="1300149" y="2128045"/>
                      <a:pt x="1301136" y="2128786"/>
                      <a:pt x="1302122" y="2128786"/>
                    </a:cubicBezTo>
                    <a:cubicBezTo>
                      <a:pt x="1303108" y="2128786"/>
                      <a:pt x="1304095" y="2128045"/>
                      <a:pt x="1304095" y="2127059"/>
                    </a:cubicBezTo>
                    <a:close/>
                    <a:moveTo>
                      <a:pt x="1307055" y="2652490"/>
                    </a:moveTo>
                    <a:cubicBezTo>
                      <a:pt x="1307055" y="2639916"/>
                      <a:pt x="1296697" y="2629556"/>
                      <a:pt x="1284122" y="2629556"/>
                    </a:cubicBezTo>
                    <a:cubicBezTo>
                      <a:pt x="1271545" y="2629556"/>
                      <a:pt x="1261191" y="2639916"/>
                      <a:pt x="1261191" y="2652490"/>
                    </a:cubicBezTo>
                    <a:cubicBezTo>
                      <a:pt x="1261191" y="2665067"/>
                      <a:pt x="1271545" y="2675423"/>
                      <a:pt x="1284122" y="2675423"/>
                    </a:cubicBezTo>
                    <a:cubicBezTo>
                      <a:pt x="1296944" y="2675423"/>
                      <a:pt x="1307055" y="2665067"/>
                      <a:pt x="1307055" y="2652490"/>
                    </a:cubicBezTo>
                    <a:close/>
                    <a:moveTo>
                      <a:pt x="1307056" y="4780539"/>
                    </a:moveTo>
                    <a:cubicBezTo>
                      <a:pt x="1307056" y="4762045"/>
                      <a:pt x="1292015" y="4747004"/>
                      <a:pt x="1273521" y="4747004"/>
                    </a:cubicBezTo>
                    <a:cubicBezTo>
                      <a:pt x="1255027" y="4747004"/>
                      <a:pt x="1239987" y="4762045"/>
                      <a:pt x="1239987" y="4780539"/>
                    </a:cubicBezTo>
                    <a:cubicBezTo>
                      <a:pt x="1239987" y="4799033"/>
                      <a:pt x="1255027" y="4814073"/>
                      <a:pt x="1273521" y="4814073"/>
                    </a:cubicBezTo>
                    <a:cubicBezTo>
                      <a:pt x="1291766" y="4814073"/>
                      <a:pt x="1306809" y="4799033"/>
                      <a:pt x="1307056" y="4780539"/>
                    </a:cubicBezTo>
                    <a:close/>
                    <a:moveTo>
                      <a:pt x="1311738" y="1590347"/>
                    </a:moveTo>
                    <a:cubicBezTo>
                      <a:pt x="1311738" y="1580483"/>
                      <a:pt x="1303602" y="1572348"/>
                      <a:pt x="1293738" y="1572348"/>
                    </a:cubicBezTo>
                    <a:cubicBezTo>
                      <a:pt x="1283875" y="1572348"/>
                      <a:pt x="1275740" y="1580483"/>
                      <a:pt x="1275740" y="1590347"/>
                    </a:cubicBezTo>
                    <a:cubicBezTo>
                      <a:pt x="1275740" y="1600214"/>
                      <a:pt x="1283875" y="1608353"/>
                      <a:pt x="1293738" y="1608353"/>
                    </a:cubicBezTo>
                    <a:cubicBezTo>
                      <a:pt x="1303602" y="1608353"/>
                      <a:pt x="1311738" y="1600214"/>
                      <a:pt x="1311738" y="1590347"/>
                    </a:cubicBezTo>
                    <a:close/>
                    <a:moveTo>
                      <a:pt x="1312234" y="4250646"/>
                    </a:moveTo>
                    <a:cubicBezTo>
                      <a:pt x="1312234" y="4224756"/>
                      <a:pt x="1291275" y="4203797"/>
                      <a:pt x="1265385" y="4203797"/>
                    </a:cubicBezTo>
                    <a:cubicBezTo>
                      <a:pt x="1239492" y="4203797"/>
                      <a:pt x="1218535" y="4224756"/>
                      <a:pt x="1218535" y="4250646"/>
                    </a:cubicBezTo>
                    <a:cubicBezTo>
                      <a:pt x="1218535" y="4276538"/>
                      <a:pt x="1239492" y="4297496"/>
                      <a:pt x="1265385" y="4297496"/>
                    </a:cubicBezTo>
                    <a:cubicBezTo>
                      <a:pt x="1291275" y="4297496"/>
                      <a:pt x="1312234" y="4276538"/>
                      <a:pt x="1312234" y="4250646"/>
                    </a:cubicBezTo>
                    <a:close/>
                    <a:moveTo>
                      <a:pt x="1314698" y="5029088"/>
                    </a:moveTo>
                    <a:cubicBezTo>
                      <a:pt x="1314698" y="5023910"/>
                      <a:pt x="1310507" y="5019965"/>
                      <a:pt x="1305575" y="5019965"/>
                    </a:cubicBezTo>
                    <a:cubicBezTo>
                      <a:pt x="1300398" y="5019965"/>
                      <a:pt x="1296453" y="5024156"/>
                      <a:pt x="1296453" y="5029088"/>
                    </a:cubicBezTo>
                    <a:cubicBezTo>
                      <a:pt x="1296453" y="5034019"/>
                      <a:pt x="1300644" y="5038210"/>
                      <a:pt x="1305575" y="5038210"/>
                    </a:cubicBezTo>
                    <a:cubicBezTo>
                      <a:pt x="1310753" y="5038210"/>
                      <a:pt x="1314698" y="5034019"/>
                      <a:pt x="1314698" y="5029088"/>
                    </a:cubicBezTo>
                    <a:close/>
                    <a:moveTo>
                      <a:pt x="1315684" y="3045038"/>
                    </a:moveTo>
                    <a:cubicBezTo>
                      <a:pt x="1315684" y="3028271"/>
                      <a:pt x="1302122" y="3014707"/>
                      <a:pt x="1285354" y="3014707"/>
                    </a:cubicBezTo>
                    <a:cubicBezTo>
                      <a:pt x="1268341" y="3014707"/>
                      <a:pt x="1254779" y="3028271"/>
                      <a:pt x="1254779" y="3045038"/>
                    </a:cubicBezTo>
                    <a:cubicBezTo>
                      <a:pt x="1254779" y="3061806"/>
                      <a:pt x="1268587" y="3075367"/>
                      <a:pt x="1285354" y="3075367"/>
                    </a:cubicBezTo>
                    <a:cubicBezTo>
                      <a:pt x="1302122" y="3075367"/>
                      <a:pt x="1315929" y="3061806"/>
                      <a:pt x="1315684" y="3045038"/>
                    </a:cubicBezTo>
                    <a:close/>
                    <a:moveTo>
                      <a:pt x="1318645" y="3856373"/>
                    </a:moveTo>
                    <a:cubicBezTo>
                      <a:pt x="1318645" y="3832453"/>
                      <a:pt x="1299165" y="3813221"/>
                      <a:pt x="1275494" y="3813221"/>
                    </a:cubicBezTo>
                    <a:cubicBezTo>
                      <a:pt x="1251577" y="3813221"/>
                      <a:pt x="1232342" y="3832702"/>
                      <a:pt x="1232342" y="3856373"/>
                    </a:cubicBezTo>
                    <a:cubicBezTo>
                      <a:pt x="1232342" y="3880290"/>
                      <a:pt x="1251822" y="3899524"/>
                      <a:pt x="1275494" y="3899524"/>
                    </a:cubicBezTo>
                    <a:cubicBezTo>
                      <a:pt x="1299165" y="3899524"/>
                      <a:pt x="1318645" y="3880290"/>
                      <a:pt x="1318645" y="3856373"/>
                    </a:cubicBezTo>
                    <a:close/>
                    <a:moveTo>
                      <a:pt x="1318891" y="6549471"/>
                    </a:moveTo>
                    <a:cubicBezTo>
                      <a:pt x="1318891" y="6547990"/>
                      <a:pt x="1317657" y="6546758"/>
                      <a:pt x="1316179" y="6546758"/>
                    </a:cubicBezTo>
                    <a:cubicBezTo>
                      <a:pt x="1314698" y="6546758"/>
                      <a:pt x="1313466" y="6547990"/>
                      <a:pt x="1313466" y="6549471"/>
                    </a:cubicBezTo>
                    <a:cubicBezTo>
                      <a:pt x="1313466" y="6550949"/>
                      <a:pt x="1314698" y="6552184"/>
                      <a:pt x="1316179" y="6552184"/>
                    </a:cubicBezTo>
                    <a:cubicBezTo>
                      <a:pt x="1317657" y="6552184"/>
                      <a:pt x="1318891" y="6550949"/>
                      <a:pt x="1318891" y="6549471"/>
                    </a:cubicBezTo>
                    <a:close/>
                    <a:moveTo>
                      <a:pt x="1326779" y="6421007"/>
                    </a:moveTo>
                    <a:cubicBezTo>
                      <a:pt x="1326779" y="6419281"/>
                      <a:pt x="1325300" y="6417802"/>
                      <a:pt x="1323574" y="6417802"/>
                    </a:cubicBezTo>
                    <a:cubicBezTo>
                      <a:pt x="1321847" y="6417802"/>
                      <a:pt x="1320369" y="6419281"/>
                      <a:pt x="1320369" y="6421007"/>
                    </a:cubicBezTo>
                    <a:cubicBezTo>
                      <a:pt x="1320369" y="6422734"/>
                      <a:pt x="1321847" y="6424212"/>
                      <a:pt x="1323574" y="6424212"/>
                    </a:cubicBezTo>
                    <a:cubicBezTo>
                      <a:pt x="1325300" y="6424212"/>
                      <a:pt x="1326532" y="6422734"/>
                      <a:pt x="1326779" y="6421007"/>
                    </a:cubicBezTo>
                    <a:close/>
                    <a:moveTo>
                      <a:pt x="1328262" y="407409"/>
                    </a:moveTo>
                    <a:cubicBezTo>
                      <a:pt x="1328262" y="399270"/>
                      <a:pt x="1321604" y="392861"/>
                      <a:pt x="1313715" y="392861"/>
                    </a:cubicBezTo>
                    <a:cubicBezTo>
                      <a:pt x="1305575" y="392861"/>
                      <a:pt x="1299166" y="399519"/>
                      <a:pt x="1299166" y="407409"/>
                    </a:cubicBezTo>
                    <a:cubicBezTo>
                      <a:pt x="1299166" y="415544"/>
                      <a:pt x="1305824" y="421956"/>
                      <a:pt x="1313715" y="421956"/>
                    </a:cubicBezTo>
                    <a:cubicBezTo>
                      <a:pt x="1321850" y="421956"/>
                      <a:pt x="1328262" y="415544"/>
                      <a:pt x="1328262" y="407409"/>
                    </a:cubicBezTo>
                    <a:close/>
                    <a:moveTo>
                      <a:pt x="1333190" y="1734079"/>
                    </a:moveTo>
                    <a:cubicBezTo>
                      <a:pt x="1333190" y="1723954"/>
                      <a:pt x="1325300" y="1715805"/>
                      <a:pt x="1315188" y="1715805"/>
                    </a:cubicBezTo>
                    <a:cubicBezTo>
                      <a:pt x="1305080" y="1715805"/>
                      <a:pt x="1296944" y="1723954"/>
                      <a:pt x="1296944" y="1734079"/>
                    </a:cubicBezTo>
                    <a:cubicBezTo>
                      <a:pt x="1296944" y="1744202"/>
                      <a:pt x="1305080" y="1752350"/>
                      <a:pt x="1315188" y="1752350"/>
                    </a:cubicBezTo>
                    <a:cubicBezTo>
                      <a:pt x="1325052" y="1752350"/>
                      <a:pt x="1333190" y="1744202"/>
                      <a:pt x="1333190" y="1734079"/>
                    </a:cubicBezTo>
                    <a:close/>
                    <a:moveTo>
                      <a:pt x="1333931" y="6291556"/>
                    </a:moveTo>
                    <a:cubicBezTo>
                      <a:pt x="1333931" y="6290320"/>
                      <a:pt x="1332946" y="6289088"/>
                      <a:pt x="1331465" y="6289088"/>
                    </a:cubicBezTo>
                    <a:cubicBezTo>
                      <a:pt x="1330232" y="6289088"/>
                      <a:pt x="1329000" y="6290075"/>
                      <a:pt x="1329000" y="6291556"/>
                    </a:cubicBezTo>
                    <a:cubicBezTo>
                      <a:pt x="1329000" y="6292788"/>
                      <a:pt x="1329986" y="6294020"/>
                      <a:pt x="1331465" y="6294020"/>
                    </a:cubicBezTo>
                    <a:cubicBezTo>
                      <a:pt x="1332946" y="6294020"/>
                      <a:pt x="1333931" y="6292788"/>
                      <a:pt x="1333931" y="6291556"/>
                    </a:cubicBezTo>
                    <a:close/>
                    <a:moveTo>
                      <a:pt x="1335658" y="536091"/>
                    </a:moveTo>
                    <a:cubicBezTo>
                      <a:pt x="1335658" y="528198"/>
                      <a:pt x="1329246" y="521789"/>
                      <a:pt x="1321356" y="521789"/>
                    </a:cubicBezTo>
                    <a:cubicBezTo>
                      <a:pt x="1313713" y="521789"/>
                      <a:pt x="1307301" y="528198"/>
                      <a:pt x="1307301" y="536091"/>
                    </a:cubicBezTo>
                    <a:cubicBezTo>
                      <a:pt x="1307301" y="543732"/>
                      <a:pt x="1313465" y="550144"/>
                      <a:pt x="1321356" y="550144"/>
                    </a:cubicBezTo>
                    <a:cubicBezTo>
                      <a:pt x="1329246" y="550144"/>
                      <a:pt x="1335409" y="543732"/>
                      <a:pt x="1335658" y="536091"/>
                    </a:cubicBezTo>
                    <a:close/>
                    <a:moveTo>
                      <a:pt x="1339355" y="2281399"/>
                    </a:moveTo>
                    <a:cubicBezTo>
                      <a:pt x="1339355" y="2279919"/>
                      <a:pt x="1338122" y="2278929"/>
                      <a:pt x="1336888" y="2278929"/>
                    </a:cubicBezTo>
                    <a:cubicBezTo>
                      <a:pt x="1335409" y="2278929"/>
                      <a:pt x="1334423" y="2280167"/>
                      <a:pt x="1334423" y="2281399"/>
                    </a:cubicBezTo>
                    <a:cubicBezTo>
                      <a:pt x="1334423" y="2282881"/>
                      <a:pt x="1335656" y="2283869"/>
                      <a:pt x="1336888" y="2283869"/>
                    </a:cubicBezTo>
                    <a:cubicBezTo>
                      <a:pt x="1338369" y="2283869"/>
                      <a:pt x="1339355" y="2282881"/>
                      <a:pt x="1339355" y="2281399"/>
                    </a:cubicBezTo>
                    <a:close/>
                    <a:moveTo>
                      <a:pt x="1339603" y="2931115"/>
                    </a:moveTo>
                    <a:cubicBezTo>
                      <a:pt x="1339603" y="2915087"/>
                      <a:pt x="1326533" y="2902264"/>
                      <a:pt x="1310753" y="2902264"/>
                    </a:cubicBezTo>
                    <a:cubicBezTo>
                      <a:pt x="1294726" y="2902264"/>
                      <a:pt x="1281904" y="2915333"/>
                      <a:pt x="1281904" y="2931115"/>
                    </a:cubicBezTo>
                    <a:cubicBezTo>
                      <a:pt x="1281904" y="2947141"/>
                      <a:pt x="1294972" y="2959964"/>
                      <a:pt x="1310753" y="2959964"/>
                    </a:cubicBezTo>
                    <a:cubicBezTo>
                      <a:pt x="1326533" y="2959964"/>
                      <a:pt x="1339603" y="2946895"/>
                      <a:pt x="1339603" y="2931115"/>
                    </a:cubicBezTo>
                    <a:close/>
                    <a:moveTo>
                      <a:pt x="1340096" y="4624949"/>
                    </a:moveTo>
                    <a:cubicBezTo>
                      <a:pt x="1340096" y="4608674"/>
                      <a:pt x="1326781" y="4595360"/>
                      <a:pt x="1310506" y="4595360"/>
                    </a:cubicBezTo>
                    <a:cubicBezTo>
                      <a:pt x="1294234" y="4595360"/>
                      <a:pt x="1280917" y="4608674"/>
                      <a:pt x="1280917" y="4624949"/>
                    </a:cubicBezTo>
                    <a:cubicBezTo>
                      <a:pt x="1280917" y="4641224"/>
                      <a:pt x="1294234" y="4654539"/>
                      <a:pt x="1310506" y="4654539"/>
                    </a:cubicBezTo>
                    <a:cubicBezTo>
                      <a:pt x="1326781" y="4654539"/>
                      <a:pt x="1340096" y="4641224"/>
                      <a:pt x="1340096" y="4624949"/>
                    </a:cubicBezTo>
                    <a:close/>
                    <a:moveTo>
                      <a:pt x="1342562" y="5550350"/>
                    </a:moveTo>
                    <a:cubicBezTo>
                      <a:pt x="1342562" y="5535556"/>
                      <a:pt x="1330481" y="5523225"/>
                      <a:pt x="1315438" y="5523225"/>
                    </a:cubicBezTo>
                    <a:cubicBezTo>
                      <a:pt x="1300397" y="5523225"/>
                      <a:pt x="1288316" y="5535307"/>
                      <a:pt x="1288316" y="5550350"/>
                    </a:cubicBezTo>
                    <a:cubicBezTo>
                      <a:pt x="1288316" y="5565391"/>
                      <a:pt x="1300397" y="5577472"/>
                      <a:pt x="1315438" y="5577472"/>
                    </a:cubicBezTo>
                    <a:cubicBezTo>
                      <a:pt x="1330481" y="5577472"/>
                      <a:pt x="1342562" y="5565144"/>
                      <a:pt x="1342562" y="5550350"/>
                    </a:cubicBezTo>
                    <a:close/>
                    <a:moveTo>
                      <a:pt x="1343547" y="1880559"/>
                    </a:moveTo>
                    <a:cubicBezTo>
                      <a:pt x="1343547" y="1878093"/>
                      <a:pt x="1341573" y="1875876"/>
                      <a:pt x="1338863" y="1875876"/>
                    </a:cubicBezTo>
                    <a:cubicBezTo>
                      <a:pt x="1336397" y="1875876"/>
                      <a:pt x="1334178" y="1877847"/>
                      <a:pt x="1334178" y="1880559"/>
                    </a:cubicBezTo>
                    <a:cubicBezTo>
                      <a:pt x="1334178" y="1883022"/>
                      <a:pt x="1336150" y="1885239"/>
                      <a:pt x="1338863" y="1885239"/>
                    </a:cubicBezTo>
                    <a:cubicBezTo>
                      <a:pt x="1341573" y="1885239"/>
                      <a:pt x="1343795" y="1883022"/>
                      <a:pt x="1343547" y="1880559"/>
                    </a:cubicBezTo>
                    <a:close/>
                    <a:moveTo>
                      <a:pt x="1344041" y="665576"/>
                    </a:moveTo>
                    <a:cubicBezTo>
                      <a:pt x="1344041" y="657685"/>
                      <a:pt x="1337631" y="651275"/>
                      <a:pt x="1329741" y="651275"/>
                    </a:cubicBezTo>
                    <a:cubicBezTo>
                      <a:pt x="1321850" y="651275"/>
                      <a:pt x="1315438" y="657685"/>
                      <a:pt x="1315438" y="665576"/>
                    </a:cubicBezTo>
                    <a:cubicBezTo>
                      <a:pt x="1315438" y="673459"/>
                      <a:pt x="1321850" y="679871"/>
                      <a:pt x="1329741" y="679871"/>
                    </a:cubicBezTo>
                    <a:cubicBezTo>
                      <a:pt x="1337631" y="679871"/>
                      <a:pt x="1344041" y="673459"/>
                      <a:pt x="1344041" y="665576"/>
                    </a:cubicBezTo>
                    <a:close/>
                    <a:moveTo>
                      <a:pt x="1345519" y="3970785"/>
                    </a:moveTo>
                    <a:cubicBezTo>
                      <a:pt x="1345519" y="3944649"/>
                      <a:pt x="1324315" y="3923441"/>
                      <a:pt x="1298176" y="3923441"/>
                    </a:cubicBezTo>
                    <a:cubicBezTo>
                      <a:pt x="1272040" y="3923441"/>
                      <a:pt x="1250833" y="3944649"/>
                      <a:pt x="1250833" y="3970785"/>
                    </a:cubicBezTo>
                    <a:cubicBezTo>
                      <a:pt x="1250833" y="3996919"/>
                      <a:pt x="1272040" y="4018127"/>
                      <a:pt x="1298176" y="4018127"/>
                    </a:cubicBezTo>
                    <a:cubicBezTo>
                      <a:pt x="1324315" y="4018127"/>
                      <a:pt x="1345519" y="3996919"/>
                      <a:pt x="1345519" y="3970785"/>
                    </a:cubicBezTo>
                    <a:close/>
                    <a:moveTo>
                      <a:pt x="1346754" y="2544486"/>
                    </a:moveTo>
                    <a:cubicBezTo>
                      <a:pt x="1346754" y="2533883"/>
                      <a:pt x="1338123" y="2525498"/>
                      <a:pt x="1327766" y="2525498"/>
                    </a:cubicBezTo>
                    <a:cubicBezTo>
                      <a:pt x="1317411" y="2525498"/>
                      <a:pt x="1308780" y="2534128"/>
                      <a:pt x="1308780" y="2544486"/>
                    </a:cubicBezTo>
                    <a:cubicBezTo>
                      <a:pt x="1308780" y="2555084"/>
                      <a:pt x="1317411" y="2563473"/>
                      <a:pt x="1327766" y="2563473"/>
                    </a:cubicBezTo>
                    <a:cubicBezTo>
                      <a:pt x="1338370" y="2563473"/>
                      <a:pt x="1346754" y="2555084"/>
                      <a:pt x="1346754" y="2544486"/>
                    </a:cubicBezTo>
                    <a:close/>
                    <a:moveTo>
                      <a:pt x="1349712" y="4359634"/>
                    </a:moveTo>
                    <a:cubicBezTo>
                      <a:pt x="1349712" y="4335714"/>
                      <a:pt x="1330232" y="4316482"/>
                      <a:pt x="1306561" y="4316482"/>
                    </a:cubicBezTo>
                    <a:cubicBezTo>
                      <a:pt x="1282641" y="4316482"/>
                      <a:pt x="1263410" y="4335714"/>
                      <a:pt x="1263410" y="4359634"/>
                    </a:cubicBezTo>
                    <a:cubicBezTo>
                      <a:pt x="1263410" y="4383551"/>
                      <a:pt x="1282890" y="4402785"/>
                      <a:pt x="1306561" y="4402785"/>
                    </a:cubicBezTo>
                    <a:cubicBezTo>
                      <a:pt x="1330232" y="4402785"/>
                      <a:pt x="1349463" y="4383305"/>
                      <a:pt x="1349712" y="4359634"/>
                    </a:cubicBezTo>
                    <a:close/>
                    <a:moveTo>
                      <a:pt x="1350944" y="2871"/>
                    </a:moveTo>
                    <a:lnTo>
                      <a:pt x="1349743" y="0"/>
                    </a:lnTo>
                    <a:lnTo>
                      <a:pt x="1320585" y="0"/>
                    </a:lnTo>
                    <a:lnTo>
                      <a:pt x="1319384" y="2871"/>
                    </a:lnTo>
                    <a:cubicBezTo>
                      <a:pt x="1319384" y="11501"/>
                      <a:pt x="1326287" y="18651"/>
                      <a:pt x="1335164" y="18651"/>
                    </a:cubicBezTo>
                    <a:cubicBezTo>
                      <a:pt x="1343794" y="18651"/>
                      <a:pt x="1350944" y="11747"/>
                      <a:pt x="1350944" y="2871"/>
                    </a:cubicBezTo>
                    <a:close/>
                    <a:moveTo>
                      <a:pt x="1352918" y="796240"/>
                    </a:moveTo>
                    <a:cubicBezTo>
                      <a:pt x="1352918" y="788348"/>
                      <a:pt x="1346508" y="781934"/>
                      <a:pt x="1338618" y="781934"/>
                    </a:cubicBezTo>
                    <a:cubicBezTo>
                      <a:pt x="1330727" y="781934"/>
                      <a:pt x="1324315" y="788348"/>
                      <a:pt x="1324315" y="796240"/>
                    </a:cubicBezTo>
                    <a:cubicBezTo>
                      <a:pt x="1324315" y="804129"/>
                      <a:pt x="1330727" y="810539"/>
                      <a:pt x="1338618" y="810539"/>
                    </a:cubicBezTo>
                    <a:cubicBezTo>
                      <a:pt x="1346508" y="810539"/>
                      <a:pt x="1352918" y="804129"/>
                      <a:pt x="1352918" y="796240"/>
                    </a:cubicBezTo>
                    <a:close/>
                    <a:moveTo>
                      <a:pt x="1356125" y="127853"/>
                    </a:moveTo>
                    <a:cubicBezTo>
                      <a:pt x="1356125" y="119223"/>
                      <a:pt x="1349221" y="112318"/>
                      <a:pt x="1340591" y="112318"/>
                    </a:cubicBezTo>
                    <a:cubicBezTo>
                      <a:pt x="1331960" y="112318"/>
                      <a:pt x="1325056" y="119223"/>
                      <a:pt x="1325056" y="127853"/>
                    </a:cubicBezTo>
                    <a:cubicBezTo>
                      <a:pt x="1325056" y="136484"/>
                      <a:pt x="1331960" y="143387"/>
                      <a:pt x="1340591" y="143387"/>
                    </a:cubicBezTo>
                    <a:cubicBezTo>
                      <a:pt x="1348973" y="143387"/>
                      <a:pt x="1356125" y="136235"/>
                      <a:pt x="1356125" y="127853"/>
                    </a:cubicBezTo>
                    <a:close/>
                    <a:moveTo>
                      <a:pt x="1359083" y="4879415"/>
                    </a:moveTo>
                    <a:cubicBezTo>
                      <a:pt x="1359083" y="4866098"/>
                      <a:pt x="1348234" y="4855003"/>
                      <a:pt x="1334672" y="4855003"/>
                    </a:cubicBezTo>
                    <a:cubicBezTo>
                      <a:pt x="1321109" y="4855003"/>
                      <a:pt x="1310260" y="4865853"/>
                      <a:pt x="1310260" y="4879415"/>
                    </a:cubicBezTo>
                    <a:cubicBezTo>
                      <a:pt x="1310260" y="4892975"/>
                      <a:pt x="1321109" y="4903823"/>
                      <a:pt x="1334672" y="4903823"/>
                    </a:cubicBezTo>
                    <a:cubicBezTo>
                      <a:pt x="1348234" y="4903823"/>
                      <a:pt x="1359083" y="4892728"/>
                      <a:pt x="1359083" y="4879415"/>
                    </a:cubicBezTo>
                    <a:close/>
                    <a:moveTo>
                      <a:pt x="1361056" y="253822"/>
                    </a:moveTo>
                    <a:cubicBezTo>
                      <a:pt x="1361056" y="245440"/>
                      <a:pt x="1354399" y="238783"/>
                      <a:pt x="1346013" y="238783"/>
                    </a:cubicBezTo>
                    <a:cubicBezTo>
                      <a:pt x="1337631" y="238783"/>
                      <a:pt x="1330973" y="245440"/>
                      <a:pt x="1330973" y="253822"/>
                    </a:cubicBezTo>
                    <a:cubicBezTo>
                      <a:pt x="1330973" y="261958"/>
                      <a:pt x="1337631" y="268865"/>
                      <a:pt x="1346013" y="268865"/>
                    </a:cubicBezTo>
                    <a:cubicBezTo>
                      <a:pt x="1354153" y="268865"/>
                      <a:pt x="1361056" y="262207"/>
                      <a:pt x="1361056" y="253822"/>
                    </a:cubicBezTo>
                    <a:close/>
                    <a:moveTo>
                      <a:pt x="1362781" y="5409801"/>
                    </a:moveTo>
                    <a:cubicBezTo>
                      <a:pt x="1362781" y="5393526"/>
                      <a:pt x="1349464" y="5380211"/>
                      <a:pt x="1333192" y="5380211"/>
                    </a:cubicBezTo>
                    <a:cubicBezTo>
                      <a:pt x="1316916" y="5380211"/>
                      <a:pt x="1303603" y="5393526"/>
                      <a:pt x="1303603" y="5409801"/>
                    </a:cubicBezTo>
                    <a:cubicBezTo>
                      <a:pt x="1303603" y="5426076"/>
                      <a:pt x="1316916" y="5439390"/>
                      <a:pt x="1333192" y="5439390"/>
                    </a:cubicBezTo>
                    <a:cubicBezTo>
                      <a:pt x="1349464" y="5439390"/>
                      <a:pt x="1362535" y="5426076"/>
                      <a:pt x="1362781" y="5409801"/>
                    </a:cubicBezTo>
                    <a:close/>
                    <a:moveTo>
                      <a:pt x="1363274" y="928378"/>
                    </a:moveTo>
                    <a:cubicBezTo>
                      <a:pt x="1363274" y="920232"/>
                      <a:pt x="1356862" y="913823"/>
                      <a:pt x="1348726" y="913823"/>
                    </a:cubicBezTo>
                    <a:cubicBezTo>
                      <a:pt x="1340590" y="913823"/>
                      <a:pt x="1334178" y="920232"/>
                      <a:pt x="1334178" y="928378"/>
                    </a:cubicBezTo>
                    <a:cubicBezTo>
                      <a:pt x="1334178" y="936265"/>
                      <a:pt x="1340835" y="942922"/>
                      <a:pt x="1348726" y="942922"/>
                    </a:cubicBezTo>
                    <a:cubicBezTo>
                      <a:pt x="1356862" y="942922"/>
                      <a:pt x="1363274" y="936265"/>
                      <a:pt x="1363274" y="928378"/>
                    </a:cubicBezTo>
                    <a:close/>
                    <a:moveTo>
                      <a:pt x="1367465" y="2029633"/>
                    </a:moveTo>
                    <a:cubicBezTo>
                      <a:pt x="1367465" y="2028400"/>
                      <a:pt x="1366480" y="2027661"/>
                      <a:pt x="1365493" y="2027661"/>
                    </a:cubicBezTo>
                    <a:cubicBezTo>
                      <a:pt x="1364506" y="2027661"/>
                      <a:pt x="1363521" y="2028648"/>
                      <a:pt x="1363521" y="2029633"/>
                    </a:cubicBezTo>
                    <a:cubicBezTo>
                      <a:pt x="1363521" y="2030866"/>
                      <a:pt x="1364261" y="2031606"/>
                      <a:pt x="1365493" y="2031606"/>
                    </a:cubicBezTo>
                    <a:cubicBezTo>
                      <a:pt x="1366725" y="2031606"/>
                      <a:pt x="1367465" y="2030866"/>
                      <a:pt x="1367465" y="2029633"/>
                    </a:cubicBezTo>
                    <a:close/>
                    <a:moveTo>
                      <a:pt x="1367957" y="6160622"/>
                    </a:moveTo>
                    <a:cubicBezTo>
                      <a:pt x="1367957" y="6145582"/>
                      <a:pt x="1355630" y="6133251"/>
                      <a:pt x="1340590" y="6133251"/>
                    </a:cubicBezTo>
                    <a:cubicBezTo>
                      <a:pt x="1325549" y="6133251"/>
                      <a:pt x="1313219" y="6145582"/>
                      <a:pt x="1313219" y="6160622"/>
                    </a:cubicBezTo>
                    <a:cubicBezTo>
                      <a:pt x="1313219" y="6175663"/>
                      <a:pt x="1325549" y="6187993"/>
                      <a:pt x="1340590" y="6187993"/>
                    </a:cubicBezTo>
                    <a:cubicBezTo>
                      <a:pt x="1355630" y="6187993"/>
                      <a:pt x="1367711" y="6175663"/>
                      <a:pt x="1367957" y="6160622"/>
                    </a:cubicBezTo>
                    <a:close/>
                    <a:moveTo>
                      <a:pt x="1369192" y="2818674"/>
                    </a:moveTo>
                    <a:cubicBezTo>
                      <a:pt x="1369192" y="2803630"/>
                      <a:pt x="1357111" y="2791549"/>
                      <a:pt x="1342068" y="2791549"/>
                    </a:cubicBezTo>
                    <a:cubicBezTo>
                      <a:pt x="1327027" y="2791549"/>
                      <a:pt x="1314946" y="2803630"/>
                      <a:pt x="1314946" y="2818674"/>
                    </a:cubicBezTo>
                    <a:cubicBezTo>
                      <a:pt x="1314946" y="2833715"/>
                      <a:pt x="1327027" y="2845797"/>
                      <a:pt x="1342068" y="2845797"/>
                    </a:cubicBezTo>
                    <a:cubicBezTo>
                      <a:pt x="1357111" y="2845797"/>
                      <a:pt x="1369192" y="2833715"/>
                      <a:pt x="1369192" y="2818674"/>
                    </a:cubicBezTo>
                    <a:close/>
                    <a:moveTo>
                      <a:pt x="1369193" y="6028212"/>
                    </a:moveTo>
                    <a:cubicBezTo>
                      <a:pt x="1369193" y="6017857"/>
                      <a:pt x="1360562" y="6009226"/>
                      <a:pt x="1350204" y="6009226"/>
                    </a:cubicBezTo>
                    <a:cubicBezTo>
                      <a:pt x="1339850" y="6009226"/>
                      <a:pt x="1331219" y="6017857"/>
                      <a:pt x="1331219" y="6028212"/>
                    </a:cubicBezTo>
                    <a:cubicBezTo>
                      <a:pt x="1331219" y="6038570"/>
                      <a:pt x="1339850" y="6047201"/>
                      <a:pt x="1350204" y="6047201"/>
                    </a:cubicBezTo>
                    <a:cubicBezTo>
                      <a:pt x="1360562" y="6047201"/>
                      <a:pt x="1369193" y="6038816"/>
                      <a:pt x="1369193" y="6028212"/>
                    </a:cubicBezTo>
                    <a:close/>
                    <a:moveTo>
                      <a:pt x="1369687" y="1364751"/>
                    </a:moveTo>
                    <a:cubicBezTo>
                      <a:pt x="1369687" y="1356368"/>
                      <a:pt x="1363029" y="1349713"/>
                      <a:pt x="1354644" y="1349713"/>
                    </a:cubicBezTo>
                    <a:cubicBezTo>
                      <a:pt x="1346262" y="1349713"/>
                      <a:pt x="1339604" y="1356368"/>
                      <a:pt x="1339604" y="1364751"/>
                    </a:cubicBezTo>
                    <a:cubicBezTo>
                      <a:pt x="1339604" y="1373141"/>
                      <a:pt x="1346262" y="1379797"/>
                      <a:pt x="1354644" y="1379797"/>
                    </a:cubicBezTo>
                    <a:cubicBezTo>
                      <a:pt x="1363029" y="1379797"/>
                      <a:pt x="1369687" y="1372894"/>
                      <a:pt x="1369687" y="1364751"/>
                    </a:cubicBezTo>
                    <a:close/>
                    <a:moveTo>
                      <a:pt x="1373876" y="1061999"/>
                    </a:moveTo>
                    <a:cubicBezTo>
                      <a:pt x="1373876" y="1054114"/>
                      <a:pt x="1367466" y="1047699"/>
                      <a:pt x="1359576" y="1047699"/>
                    </a:cubicBezTo>
                    <a:cubicBezTo>
                      <a:pt x="1351685" y="1047699"/>
                      <a:pt x="1345273" y="1054114"/>
                      <a:pt x="1345273" y="1061999"/>
                    </a:cubicBezTo>
                    <a:cubicBezTo>
                      <a:pt x="1345273" y="1070142"/>
                      <a:pt x="1351685" y="1076549"/>
                      <a:pt x="1359576" y="1076549"/>
                    </a:cubicBezTo>
                    <a:cubicBezTo>
                      <a:pt x="1367466" y="1076549"/>
                      <a:pt x="1373876" y="1070142"/>
                      <a:pt x="1373876" y="1061999"/>
                    </a:cubicBezTo>
                    <a:close/>
                    <a:moveTo>
                      <a:pt x="1376341" y="4083961"/>
                    </a:moveTo>
                    <a:cubicBezTo>
                      <a:pt x="1376341" y="4056590"/>
                      <a:pt x="1354150" y="4034399"/>
                      <a:pt x="1326779" y="4034399"/>
                    </a:cubicBezTo>
                    <a:cubicBezTo>
                      <a:pt x="1299408" y="4034399"/>
                      <a:pt x="1277219" y="4056590"/>
                      <a:pt x="1277219" y="4083961"/>
                    </a:cubicBezTo>
                    <a:cubicBezTo>
                      <a:pt x="1277219" y="4111332"/>
                      <a:pt x="1299408" y="4133522"/>
                      <a:pt x="1326779" y="4133522"/>
                    </a:cubicBezTo>
                    <a:cubicBezTo>
                      <a:pt x="1353904" y="4133522"/>
                      <a:pt x="1376094" y="4111332"/>
                      <a:pt x="1376341" y="4083961"/>
                    </a:cubicBezTo>
                    <a:close/>
                    <a:moveTo>
                      <a:pt x="1378067" y="5759444"/>
                    </a:moveTo>
                    <a:cubicBezTo>
                      <a:pt x="1378067" y="5756731"/>
                      <a:pt x="1376094" y="5754512"/>
                      <a:pt x="1373384" y="5754512"/>
                    </a:cubicBezTo>
                    <a:cubicBezTo>
                      <a:pt x="1370916" y="5754512"/>
                      <a:pt x="1368698" y="5756731"/>
                      <a:pt x="1368698" y="5759444"/>
                    </a:cubicBezTo>
                    <a:cubicBezTo>
                      <a:pt x="1368698" y="5762156"/>
                      <a:pt x="1370671" y="5764375"/>
                      <a:pt x="1373384" y="5764375"/>
                    </a:cubicBezTo>
                    <a:cubicBezTo>
                      <a:pt x="1376094" y="5764375"/>
                      <a:pt x="1378067" y="5762402"/>
                      <a:pt x="1378067" y="5759444"/>
                    </a:cubicBezTo>
                    <a:close/>
                    <a:moveTo>
                      <a:pt x="1378560" y="5894816"/>
                    </a:moveTo>
                    <a:cubicBezTo>
                      <a:pt x="1378560" y="5885199"/>
                      <a:pt x="1370669" y="5877307"/>
                      <a:pt x="1361054" y="5877307"/>
                    </a:cubicBezTo>
                    <a:cubicBezTo>
                      <a:pt x="1351437" y="5877307"/>
                      <a:pt x="1343547" y="5885199"/>
                      <a:pt x="1343547" y="5894816"/>
                    </a:cubicBezTo>
                    <a:cubicBezTo>
                      <a:pt x="1343547" y="5904433"/>
                      <a:pt x="1351437" y="5912324"/>
                      <a:pt x="1361054" y="5912324"/>
                    </a:cubicBezTo>
                    <a:cubicBezTo>
                      <a:pt x="1370917" y="5912324"/>
                      <a:pt x="1378808" y="5904433"/>
                      <a:pt x="1378560" y="5894816"/>
                    </a:cubicBezTo>
                    <a:close/>
                    <a:moveTo>
                      <a:pt x="1381768" y="5122046"/>
                    </a:moveTo>
                    <a:cubicBezTo>
                      <a:pt x="1381768" y="5118346"/>
                      <a:pt x="1378807" y="5115387"/>
                      <a:pt x="1375110" y="5115387"/>
                    </a:cubicBezTo>
                    <a:cubicBezTo>
                      <a:pt x="1371412" y="5115387"/>
                      <a:pt x="1368453" y="5118346"/>
                      <a:pt x="1368453" y="5122046"/>
                    </a:cubicBezTo>
                    <a:cubicBezTo>
                      <a:pt x="1368453" y="5125742"/>
                      <a:pt x="1371412" y="5128700"/>
                      <a:pt x="1375110" y="5128700"/>
                    </a:cubicBezTo>
                    <a:cubicBezTo>
                      <a:pt x="1378562" y="5128700"/>
                      <a:pt x="1381519" y="5125742"/>
                      <a:pt x="1381768" y="5122046"/>
                    </a:cubicBezTo>
                    <a:close/>
                    <a:moveTo>
                      <a:pt x="1385959" y="1197353"/>
                    </a:moveTo>
                    <a:cubicBezTo>
                      <a:pt x="1385959" y="1189459"/>
                      <a:pt x="1379547" y="1183049"/>
                      <a:pt x="1371657" y="1183049"/>
                    </a:cubicBezTo>
                    <a:cubicBezTo>
                      <a:pt x="1363766" y="1183049"/>
                      <a:pt x="1357357" y="1189459"/>
                      <a:pt x="1357357" y="1197353"/>
                    </a:cubicBezTo>
                    <a:cubicBezTo>
                      <a:pt x="1357357" y="1205239"/>
                      <a:pt x="1363766" y="1211653"/>
                      <a:pt x="1371657" y="1211653"/>
                    </a:cubicBezTo>
                    <a:cubicBezTo>
                      <a:pt x="1379547" y="1211653"/>
                      <a:pt x="1385959" y="1205239"/>
                      <a:pt x="1385959" y="1197353"/>
                    </a:cubicBezTo>
                    <a:close/>
                    <a:moveTo>
                      <a:pt x="1387192" y="1504051"/>
                    </a:moveTo>
                    <a:cubicBezTo>
                      <a:pt x="1387192" y="1495175"/>
                      <a:pt x="1380042" y="1487777"/>
                      <a:pt x="1370916" y="1487777"/>
                    </a:cubicBezTo>
                    <a:cubicBezTo>
                      <a:pt x="1362040" y="1487777"/>
                      <a:pt x="1354644" y="1495175"/>
                      <a:pt x="1354644" y="1504051"/>
                    </a:cubicBezTo>
                    <a:cubicBezTo>
                      <a:pt x="1354644" y="1512929"/>
                      <a:pt x="1361794" y="1520327"/>
                      <a:pt x="1370916" y="1520327"/>
                    </a:cubicBezTo>
                    <a:cubicBezTo>
                      <a:pt x="1380042" y="1520327"/>
                      <a:pt x="1387192" y="1512929"/>
                      <a:pt x="1387192" y="1504051"/>
                    </a:cubicBezTo>
                    <a:close/>
                    <a:moveTo>
                      <a:pt x="1387437" y="4466400"/>
                    </a:moveTo>
                    <a:cubicBezTo>
                      <a:pt x="1387437" y="4447415"/>
                      <a:pt x="1371903" y="4431880"/>
                      <a:pt x="1352918" y="4431880"/>
                    </a:cubicBezTo>
                    <a:cubicBezTo>
                      <a:pt x="1333931" y="4431880"/>
                      <a:pt x="1318397" y="4447415"/>
                      <a:pt x="1318397" y="4466400"/>
                    </a:cubicBezTo>
                    <a:cubicBezTo>
                      <a:pt x="1318397" y="4485387"/>
                      <a:pt x="1333931" y="4500921"/>
                      <a:pt x="1352918" y="4500921"/>
                    </a:cubicBezTo>
                    <a:cubicBezTo>
                      <a:pt x="1371903" y="4500921"/>
                      <a:pt x="1387437" y="4485387"/>
                      <a:pt x="1387437" y="4466400"/>
                    </a:cubicBezTo>
                    <a:close/>
                    <a:moveTo>
                      <a:pt x="1389902" y="4726538"/>
                    </a:moveTo>
                    <a:cubicBezTo>
                      <a:pt x="1389902" y="4713961"/>
                      <a:pt x="1379793" y="4703853"/>
                      <a:pt x="1367216" y="4703853"/>
                    </a:cubicBezTo>
                    <a:cubicBezTo>
                      <a:pt x="1354641" y="4703853"/>
                      <a:pt x="1344532" y="4713961"/>
                      <a:pt x="1344532" y="4726538"/>
                    </a:cubicBezTo>
                    <a:cubicBezTo>
                      <a:pt x="1344532" y="4739114"/>
                      <a:pt x="1354641" y="4749223"/>
                      <a:pt x="1367216" y="4749223"/>
                    </a:cubicBezTo>
                    <a:cubicBezTo>
                      <a:pt x="1379793" y="4749223"/>
                      <a:pt x="1389902" y="4738866"/>
                      <a:pt x="1389902" y="4726538"/>
                    </a:cubicBezTo>
                    <a:close/>
                    <a:moveTo>
                      <a:pt x="1390643" y="6984926"/>
                    </a:moveTo>
                    <a:cubicBezTo>
                      <a:pt x="1390643" y="6983199"/>
                      <a:pt x="1389410" y="6981966"/>
                      <a:pt x="1387684" y="6981966"/>
                    </a:cubicBezTo>
                    <a:cubicBezTo>
                      <a:pt x="1386206" y="6981966"/>
                      <a:pt x="1384725" y="6983199"/>
                      <a:pt x="1384725" y="6984926"/>
                    </a:cubicBezTo>
                    <a:cubicBezTo>
                      <a:pt x="1384725" y="6986404"/>
                      <a:pt x="1385957" y="6987885"/>
                      <a:pt x="1387684" y="6987885"/>
                    </a:cubicBezTo>
                    <a:cubicBezTo>
                      <a:pt x="1389410" y="6987885"/>
                      <a:pt x="1390643" y="6986404"/>
                      <a:pt x="1390643" y="6984926"/>
                    </a:cubicBezTo>
                    <a:close/>
                    <a:moveTo>
                      <a:pt x="1392124" y="2438715"/>
                    </a:moveTo>
                    <a:cubicBezTo>
                      <a:pt x="1392124" y="2430321"/>
                      <a:pt x="1385219" y="2423412"/>
                      <a:pt x="1376835" y="2423412"/>
                    </a:cubicBezTo>
                    <a:cubicBezTo>
                      <a:pt x="1368453" y="2423412"/>
                      <a:pt x="1361548" y="2430321"/>
                      <a:pt x="1361548" y="2438715"/>
                    </a:cubicBezTo>
                    <a:cubicBezTo>
                      <a:pt x="1361548" y="2447092"/>
                      <a:pt x="1368453" y="2453990"/>
                      <a:pt x="1376835" y="2453990"/>
                    </a:cubicBezTo>
                    <a:cubicBezTo>
                      <a:pt x="1385219" y="2453990"/>
                      <a:pt x="1392124" y="2447339"/>
                      <a:pt x="1392124" y="2438715"/>
                    </a:cubicBezTo>
                    <a:close/>
                    <a:moveTo>
                      <a:pt x="1393109" y="3479359"/>
                    </a:moveTo>
                    <a:cubicBezTo>
                      <a:pt x="1393109" y="3456812"/>
                      <a:pt x="1374616" y="3438318"/>
                      <a:pt x="1351931" y="3438318"/>
                    </a:cubicBezTo>
                    <a:cubicBezTo>
                      <a:pt x="1329246" y="3438318"/>
                      <a:pt x="1310753" y="3456812"/>
                      <a:pt x="1310753" y="3479359"/>
                    </a:cubicBezTo>
                    <a:cubicBezTo>
                      <a:pt x="1310753" y="3502044"/>
                      <a:pt x="1329246" y="3520535"/>
                      <a:pt x="1351931" y="3520535"/>
                    </a:cubicBezTo>
                    <a:cubicBezTo>
                      <a:pt x="1374616" y="3520535"/>
                      <a:pt x="1393109" y="3502044"/>
                      <a:pt x="1393109" y="3479359"/>
                    </a:cubicBezTo>
                    <a:close/>
                    <a:moveTo>
                      <a:pt x="1394836" y="3363599"/>
                    </a:moveTo>
                    <a:cubicBezTo>
                      <a:pt x="1394836" y="3341656"/>
                      <a:pt x="1376836" y="3323664"/>
                      <a:pt x="1354889" y="3323664"/>
                    </a:cubicBezTo>
                    <a:cubicBezTo>
                      <a:pt x="1332945" y="3323664"/>
                      <a:pt x="1314946" y="3341656"/>
                      <a:pt x="1314946" y="3363599"/>
                    </a:cubicBezTo>
                    <a:cubicBezTo>
                      <a:pt x="1314946" y="3385546"/>
                      <a:pt x="1332945" y="3403554"/>
                      <a:pt x="1354889" y="3403554"/>
                    </a:cubicBezTo>
                    <a:cubicBezTo>
                      <a:pt x="1377083" y="3403554"/>
                      <a:pt x="1395081" y="3385793"/>
                      <a:pt x="1394836" y="3363599"/>
                    </a:cubicBezTo>
                    <a:close/>
                    <a:moveTo>
                      <a:pt x="1395329" y="6860404"/>
                    </a:moveTo>
                    <a:cubicBezTo>
                      <a:pt x="1395329" y="6858679"/>
                      <a:pt x="1393850" y="6857198"/>
                      <a:pt x="1392124" y="6857198"/>
                    </a:cubicBezTo>
                    <a:cubicBezTo>
                      <a:pt x="1390397" y="6857198"/>
                      <a:pt x="1388919" y="6858679"/>
                      <a:pt x="1388919" y="6860404"/>
                    </a:cubicBezTo>
                    <a:cubicBezTo>
                      <a:pt x="1388919" y="6862130"/>
                      <a:pt x="1390397" y="6863611"/>
                      <a:pt x="1392124" y="6863611"/>
                    </a:cubicBezTo>
                    <a:cubicBezTo>
                      <a:pt x="1393850" y="6863611"/>
                      <a:pt x="1395329" y="6862130"/>
                      <a:pt x="1395329" y="6860404"/>
                    </a:cubicBezTo>
                    <a:close/>
                    <a:moveTo>
                      <a:pt x="1396808" y="2181303"/>
                    </a:moveTo>
                    <a:cubicBezTo>
                      <a:pt x="1396808" y="2180812"/>
                      <a:pt x="1396314" y="2180565"/>
                      <a:pt x="1396068" y="2180565"/>
                    </a:cubicBezTo>
                    <a:cubicBezTo>
                      <a:pt x="1395574" y="2180565"/>
                      <a:pt x="1395328" y="2180812"/>
                      <a:pt x="1395328" y="2181303"/>
                    </a:cubicBezTo>
                    <a:cubicBezTo>
                      <a:pt x="1395328" y="2181799"/>
                      <a:pt x="1395574" y="2182041"/>
                      <a:pt x="1396068" y="2182041"/>
                    </a:cubicBezTo>
                    <a:cubicBezTo>
                      <a:pt x="1396314" y="2182041"/>
                      <a:pt x="1396560" y="2181799"/>
                      <a:pt x="1396808" y="2181303"/>
                    </a:cubicBezTo>
                    <a:close/>
                    <a:moveTo>
                      <a:pt x="1397793" y="3594754"/>
                    </a:moveTo>
                    <a:cubicBezTo>
                      <a:pt x="1397793" y="3571082"/>
                      <a:pt x="1378561" y="3552097"/>
                      <a:pt x="1355135" y="3552097"/>
                    </a:cubicBezTo>
                    <a:cubicBezTo>
                      <a:pt x="1331710" y="3552097"/>
                      <a:pt x="1312725" y="3571329"/>
                      <a:pt x="1312725" y="3594754"/>
                    </a:cubicBezTo>
                    <a:cubicBezTo>
                      <a:pt x="1312725" y="3618425"/>
                      <a:pt x="1331710" y="3637411"/>
                      <a:pt x="1355135" y="3637411"/>
                    </a:cubicBezTo>
                    <a:cubicBezTo>
                      <a:pt x="1378561" y="3637411"/>
                      <a:pt x="1397793" y="3618425"/>
                      <a:pt x="1397793" y="3594754"/>
                    </a:cubicBezTo>
                    <a:close/>
                    <a:moveTo>
                      <a:pt x="1398779" y="6735146"/>
                    </a:moveTo>
                    <a:cubicBezTo>
                      <a:pt x="1398779" y="6734160"/>
                      <a:pt x="1398041" y="6733419"/>
                      <a:pt x="1397055" y="6733419"/>
                    </a:cubicBezTo>
                    <a:cubicBezTo>
                      <a:pt x="1396068" y="6733419"/>
                      <a:pt x="1395328" y="6734160"/>
                      <a:pt x="1395328" y="6735146"/>
                    </a:cubicBezTo>
                    <a:cubicBezTo>
                      <a:pt x="1395328" y="6736132"/>
                      <a:pt x="1396068" y="6736873"/>
                      <a:pt x="1397055" y="6736873"/>
                    </a:cubicBezTo>
                    <a:cubicBezTo>
                      <a:pt x="1398041" y="6736873"/>
                      <a:pt x="1398779" y="6736132"/>
                      <a:pt x="1398779" y="6735146"/>
                    </a:cubicBezTo>
                    <a:close/>
                    <a:moveTo>
                      <a:pt x="1402970" y="3248211"/>
                    </a:moveTo>
                    <a:cubicBezTo>
                      <a:pt x="1402970" y="3227006"/>
                      <a:pt x="1385712" y="3209497"/>
                      <a:pt x="1364259" y="3209497"/>
                    </a:cubicBezTo>
                    <a:cubicBezTo>
                      <a:pt x="1343054" y="3209497"/>
                      <a:pt x="1325547" y="3226757"/>
                      <a:pt x="1325547" y="3248211"/>
                    </a:cubicBezTo>
                    <a:cubicBezTo>
                      <a:pt x="1325547" y="3269416"/>
                      <a:pt x="1342806" y="3286917"/>
                      <a:pt x="1364259" y="3286917"/>
                    </a:cubicBezTo>
                    <a:cubicBezTo>
                      <a:pt x="1385465" y="3286917"/>
                      <a:pt x="1402970" y="3269663"/>
                      <a:pt x="1402970" y="3248211"/>
                    </a:cubicBezTo>
                    <a:close/>
                    <a:moveTo>
                      <a:pt x="1402973" y="2708205"/>
                    </a:moveTo>
                    <a:cubicBezTo>
                      <a:pt x="1402973" y="2695137"/>
                      <a:pt x="1392369" y="2684532"/>
                      <a:pt x="1379302" y="2684532"/>
                    </a:cubicBezTo>
                    <a:cubicBezTo>
                      <a:pt x="1366234" y="2684532"/>
                      <a:pt x="1355631" y="2695137"/>
                      <a:pt x="1355631" y="2708205"/>
                    </a:cubicBezTo>
                    <a:cubicBezTo>
                      <a:pt x="1355631" y="2721273"/>
                      <a:pt x="1366234" y="2731875"/>
                      <a:pt x="1379302" y="2731875"/>
                    </a:cubicBezTo>
                    <a:cubicBezTo>
                      <a:pt x="1392369" y="2731875"/>
                      <a:pt x="1402973" y="2721273"/>
                      <a:pt x="1402973" y="2708205"/>
                    </a:cubicBezTo>
                    <a:close/>
                    <a:moveTo>
                      <a:pt x="1406178" y="4195416"/>
                    </a:moveTo>
                    <a:cubicBezTo>
                      <a:pt x="1406178" y="4170510"/>
                      <a:pt x="1385959" y="4150291"/>
                      <a:pt x="1361056" y="4150291"/>
                    </a:cubicBezTo>
                    <a:cubicBezTo>
                      <a:pt x="1336150" y="4150291"/>
                      <a:pt x="1315932" y="4170510"/>
                      <a:pt x="1315932" y="4195416"/>
                    </a:cubicBezTo>
                    <a:cubicBezTo>
                      <a:pt x="1315932" y="4220319"/>
                      <a:pt x="1336150" y="4240540"/>
                      <a:pt x="1361056" y="4240540"/>
                    </a:cubicBezTo>
                    <a:cubicBezTo>
                      <a:pt x="1385959" y="4240540"/>
                      <a:pt x="1406178" y="4220319"/>
                      <a:pt x="1406178" y="4195416"/>
                    </a:cubicBezTo>
                    <a:close/>
                    <a:moveTo>
                      <a:pt x="1406918" y="1645321"/>
                    </a:moveTo>
                    <a:cubicBezTo>
                      <a:pt x="1406918" y="1635704"/>
                      <a:pt x="1399274" y="1628057"/>
                      <a:pt x="1389659" y="1628057"/>
                    </a:cubicBezTo>
                    <a:cubicBezTo>
                      <a:pt x="1380042" y="1628057"/>
                      <a:pt x="1372397" y="1635704"/>
                      <a:pt x="1372397" y="1645321"/>
                    </a:cubicBezTo>
                    <a:cubicBezTo>
                      <a:pt x="1372397" y="1654929"/>
                      <a:pt x="1380042" y="1662577"/>
                      <a:pt x="1389659" y="1662577"/>
                    </a:cubicBezTo>
                    <a:cubicBezTo>
                      <a:pt x="1399027" y="1662577"/>
                      <a:pt x="1406918" y="1654683"/>
                      <a:pt x="1406918" y="1645321"/>
                    </a:cubicBezTo>
                    <a:close/>
                    <a:moveTo>
                      <a:pt x="1408397" y="3710151"/>
                    </a:moveTo>
                    <a:cubicBezTo>
                      <a:pt x="1408397" y="3685989"/>
                      <a:pt x="1388670" y="3666262"/>
                      <a:pt x="1364504" y="3666262"/>
                    </a:cubicBezTo>
                    <a:cubicBezTo>
                      <a:pt x="1340341" y="3666262"/>
                      <a:pt x="1320616" y="3685989"/>
                      <a:pt x="1320616" y="3710151"/>
                    </a:cubicBezTo>
                    <a:cubicBezTo>
                      <a:pt x="1320616" y="3734317"/>
                      <a:pt x="1340341" y="3754043"/>
                      <a:pt x="1364504" y="3754043"/>
                    </a:cubicBezTo>
                    <a:cubicBezTo>
                      <a:pt x="1388670" y="3754043"/>
                      <a:pt x="1408397" y="3734562"/>
                      <a:pt x="1408397" y="3710151"/>
                    </a:cubicBezTo>
                    <a:close/>
                    <a:moveTo>
                      <a:pt x="1414315" y="6615308"/>
                    </a:moveTo>
                    <a:cubicBezTo>
                      <a:pt x="1414315" y="6613827"/>
                      <a:pt x="1413082" y="6612595"/>
                      <a:pt x="1411601" y="6612595"/>
                    </a:cubicBezTo>
                    <a:cubicBezTo>
                      <a:pt x="1409875" y="6612595"/>
                      <a:pt x="1408642" y="6613827"/>
                      <a:pt x="1408642" y="6615308"/>
                    </a:cubicBezTo>
                    <a:cubicBezTo>
                      <a:pt x="1408642" y="6616786"/>
                      <a:pt x="1410123" y="6618021"/>
                      <a:pt x="1411601" y="6618021"/>
                    </a:cubicBezTo>
                    <a:cubicBezTo>
                      <a:pt x="1413328" y="6618021"/>
                      <a:pt x="1414560" y="6616786"/>
                      <a:pt x="1414315" y="6615308"/>
                    </a:cubicBezTo>
                    <a:close/>
                    <a:moveTo>
                      <a:pt x="1415794" y="4975087"/>
                    </a:moveTo>
                    <a:cubicBezTo>
                      <a:pt x="1415794" y="4966456"/>
                      <a:pt x="1408890" y="4959551"/>
                      <a:pt x="1400260" y="4959551"/>
                    </a:cubicBezTo>
                    <a:cubicBezTo>
                      <a:pt x="1391629" y="4959551"/>
                      <a:pt x="1384725" y="4966456"/>
                      <a:pt x="1384725" y="4975087"/>
                    </a:cubicBezTo>
                    <a:cubicBezTo>
                      <a:pt x="1384725" y="4983718"/>
                      <a:pt x="1391629" y="4990622"/>
                      <a:pt x="1400260" y="4990622"/>
                    </a:cubicBezTo>
                    <a:cubicBezTo>
                      <a:pt x="1408890" y="4990622"/>
                      <a:pt x="1415794" y="4983718"/>
                      <a:pt x="1415794" y="4975087"/>
                    </a:cubicBezTo>
                    <a:close/>
                    <a:moveTo>
                      <a:pt x="1417028" y="3133551"/>
                    </a:moveTo>
                    <a:cubicBezTo>
                      <a:pt x="1417028" y="3112838"/>
                      <a:pt x="1400260" y="3096069"/>
                      <a:pt x="1379548" y="3096069"/>
                    </a:cubicBezTo>
                    <a:cubicBezTo>
                      <a:pt x="1358835" y="3096069"/>
                      <a:pt x="1342069" y="3112838"/>
                      <a:pt x="1342069" y="3133551"/>
                    </a:cubicBezTo>
                    <a:cubicBezTo>
                      <a:pt x="1342069" y="3154264"/>
                      <a:pt x="1358835" y="3171031"/>
                      <a:pt x="1379548" y="3171031"/>
                    </a:cubicBezTo>
                    <a:cubicBezTo>
                      <a:pt x="1400507" y="3171031"/>
                      <a:pt x="1417274" y="3154264"/>
                      <a:pt x="1417028" y="3133551"/>
                    </a:cubicBezTo>
                    <a:close/>
                    <a:moveTo>
                      <a:pt x="1417029" y="1788821"/>
                    </a:moveTo>
                    <a:cubicBezTo>
                      <a:pt x="1417029" y="1785118"/>
                      <a:pt x="1414068" y="1782193"/>
                      <a:pt x="1410371" y="1782193"/>
                    </a:cubicBezTo>
                    <a:cubicBezTo>
                      <a:pt x="1406672" y="1782193"/>
                      <a:pt x="1403713" y="1785118"/>
                      <a:pt x="1403713" y="1788821"/>
                    </a:cubicBezTo>
                    <a:cubicBezTo>
                      <a:pt x="1403713" y="1792539"/>
                      <a:pt x="1406672" y="1795519"/>
                      <a:pt x="1410371" y="1795519"/>
                    </a:cubicBezTo>
                    <a:cubicBezTo>
                      <a:pt x="1414068" y="1795519"/>
                      <a:pt x="1417029" y="1792539"/>
                      <a:pt x="1417029" y="1788821"/>
                    </a:cubicBezTo>
                    <a:close/>
                    <a:moveTo>
                      <a:pt x="1420727" y="6488571"/>
                    </a:moveTo>
                    <a:cubicBezTo>
                      <a:pt x="1420727" y="6486843"/>
                      <a:pt x="1419494" y="6485611"/>
                      <a:pt x="1417768" y="6485611"/>
                    </a:cubicBezTo>
                    <a:cubicBezTo>
                      <a:pt x="1416290" y="6485611"/>
                      <a:pt x="1414809" y="6486843"/>
                      <a:pt x="1414809" y="6488571"/>
                    </a:cubicBezTo>
                    <a:cubicBezTo>
                      <a:pt x="1414809" y="6490049"/>
                      <a:pt x="1416041" y="6491529"/>
                      <a:pt x="1417768" y="6491529"/>
                    </a:cubicBezTo>
                    <a:cubicBezTo>
                      <a:pt x="1419494" y="6491529"/>
                      <a:pt x="1420973" y="6490049"/>
                      <a:pt x="1420727" y="6488571"/>
                    </a:cubicBezTo>
                    <a:close/>
                    <a:moveTo>
                      <a:pt x="1423437" y="5632459"/>
                    </a:moveTo>
                    <a:cubicBezTo>
                      <a:pt x="1423437" y="5617910"/>
                      <a:pt x="1411601" y="5605828"/>
                      <a:pt x="1396806" y="5605828"/>
                    </a:cubicBezTo>
                    <a:cubicBezTo>
                      <a:pt x="1382012" y="5605828"/>
                      <a:pt x="1369931" y="5617664"/>
                      <a:pt x="1369931" y="5632459"/>
                    </a:cubicBezTo>
                    <a:cubicBezTo>
                      <a:pt x="1369931" y="5647253"/>
                      <a:pt x="1382012" y="5659334"/>
                      <a:pt x="1396806" y="5659334"/>
                    </a:cubicBezTo>
                    <a:cubicBezTo>
                      <a:pt x="1411601" y="5659334"/>
                      <a:pt x="1423437" y="5647008"/>
                      <a:pt x="1423437" y="5632459"/>
                    </a:cubicBezTo>
                    <a:close/>
                    <a:moveTo>
                      <a:pt x="1424423" y="341822"/>
                    </a:moveTo>
                    <a:cubicBezTo>
                      <a:pt x="1424423" y="333439"/>
                      <a:pt x="1417519" y="326535"/>
                      <a:pt x="1409137" y="326535"/>
                    </a:cubicBezTo>
                    <a:cubicBezTo>
                      <a:pt x="1400753" y="326535"/>
                      <a:pt x="1393848" y="333439"/>
                      <a:pt x="1393848" y="341822"/>
                    </a:cubicBezTo>
                    <a:cubicBezTo>
                      <a:pt x="1393848" y="350206"/>
                      <a:pt x="1400753" y="357109"/>
                      <a:pt x="1409137" y="357109"/>
                    </a:cubicBezTo>
                    <a:cubicBezTo>
                      <a:pt x="1417519" y="357109"/>
                      <a:pt x="1424423" y="350206"/>
                      <a:pt x="1424423" y="341822"/>
                    </a:cubicBezTo>
                    <a:close/>
                    <a:moveTo>
                      <a:pt x="1425163" y="3825057"/>
                    </a:moveTo>
                    <a:cubicBezTo>
                      <a:pt x="1425163" y="3800273"/>
                      <a:pt x="1405072" y="3780181"/>
                      <a:pt x="1380288" y="3780181"/>
                    </a:cubicBezTo>
                    <a:cubicBezTo>
                      <a:pt x="1355501" y="3780181"/>
                      <a:pt x="1335410" y="3800273"/>
                      <a:pt x="1335410" y="3825057"/>
                    </a:cubicBezTo>
                    <a:cubicBezTo>
                      <a:pt x="1335410" y="3849845"/>
                      <a:pt x="1355501" y="3869935"/>
                      <a:pt x="1380288" y="3869935"/>
                    </a:cubicBezTo>
                    <a:cubicBezTo>
                      <a:pt x="1405072" y="3869935"/>
                      <a:pt x="1425163" y="3849845"/>
                      <a:pt x="1425163" y="3825057"/>
                    </a:cubicBezTo>
                    <a:close/>
                    <a:moveTo>
                      <a:pt x="1426644" y="6360843"/>
                    </a:moveTo>
                    <a:cubicBezTo>
                      <a:pt x="1426644" y="6359856"/>
                      <a:pt x="1425903" y="6358869"/>
                      <a:pt x="1424671" y="6358869"/>
                    </a:cubicBezTo>
                    <a:cubicBezTo>
                      <a:pt x="1423685" y="6358869"/>
                      <a:pt x="1422699" y="6359610"/>
                      <a:pt x="1422699" y="6360843"/>
                    </a:cubicBezTo>
                    <a:cubicBezTo>
                      <a:pt x="1422699" y="6361828"/>
                      <a:pt x="1423439" y="6362815"/>
                      <a:pt x="1424671" y="6362815"/>
                    </a:cubicBezTo>
                    <a:cubicBezTo>
                      <a:pt x="1425658" y="6362815"/>
                      <a:pt x="1426644" y="6361828"/>
                      <a:pt x="1426644" y="6360843"/>
                    </a:cubicBezTo>
                    <a:close/>
                    <a:moveTo>
                      <a:pt x="1427384" y="4570702"/>
                    </a:moveTo>
                    <a:cubicBezTo>
                      <a:pt x="1427384" y="4558127"/>
                      <a:pt x="1417027" y="4547771"/>
                      <a:pt x="1404451" y="4547771"/>
                    </a:cubicBezTo>
                    <a:cubicBezTo>
                      <a:pt x="1391875" y="4547771"/>
                      <a:pt x="1381520" y="4558127"/>
                      <a:pt x="1381520" y="4570702"/>
                    </a:cubicBezTo>
                    <a:cubicBezTo>
                      <a:pt x="1381520" y="4583279"/>
                      <a:pt x="1391875" y="4593636"/>
                      <a:pt x="1404451" y="4593636"/>
                    </a:cubicBezTo>
                    <a:cubicBezTo>
                      <a:pt x="1417027" y="4593636"/>
                      <a:pt x="1427384" y="4583279"/>
                      <a:pt x="1427384" y="4570702"/>
                    </a:cubicBezTo>
                    <a:close/>
                    <a:moveTo>
                      <a:pt x="1429850" y="5354568"/>
                    </a:moveTo>
                    <a:cubicBezTo>
                      <a:pt x="1429850" y="5354319"/>
                      <a:pt x="1429603" y="5354073"/>
                      <a:pt x="1429358" y="5354073"/>
                    </a:cubicBezTo>
                    <a:cubicBezTo>
                      <a:pt x="1429109" y="5354073"/>
                      <a:pt x="1428863" y="5354319"/>
                      <a:pt x="1428863" y="5354568"/>
                    </a:cubicBezTo>
                    <a:cubicBezTo>
                      <a:pt x="1428863" y="5354814"/>
                      <a:pt x="1429109" y="5355059"/>
                      <a:pt x="1429358" y="5355059"/>
                    </a:cubicBezTo>
                    <a:cubicBezTo>
                      <a:pt x="1429603" y="5355059"/>
                      <a:pt x="1429850" y="5354814"/>
                      <a:pt x="1429850" y="5354568"/>
                    </a:cubicBezTo>
                    <a:close/>
                    <a:moveTo>
                      <a:pt x="1430341" y="468535"/>
                    </a:moveTo>
                    <a:cubicBezTo>
                      <a:pt x="1430341" y="460398"/>
                      <a:pt x="1423682" y="453740"/>
                      <a:pt x="1415546" y="453740"/>
                    </a:cubicBezTo>
                    <a:cubicBezTo>
                      <a:pt x="1407409" y="453740"/>
                      <a:pt x="1400752" y="460398"/>
                      <a:pt x="1400752" y="468535"/>
                    </a:cubicBezTo>
                    <a:cubicBezTo>
                      <a:pt x="1400752" y="476670"/>
                      <a:pt x="1407409" y="483328"/>
                      <a:pt x="1415546" y="483328"/>
                    </a:cubicBezTo>
                    <a:cubicBezTo>
                      <a:pt x="1423682" y="483328"/>
                      <a:pt x="1430341" y="476670"/>
                      <a:pt x="1430341" y="468535"/>
                    </a:cubicBezTo>
                    <a:close/>
                    <a:moveTo>
                      <a:pt x="1432562" y="4304649"/>
                    </a:moveTo>
                    <a:cubicBezTo>
                      <a:pt x="1432562" y="4287387"/>
                      <a:pt x="1418506" y="4273333"/>
                      <a:pt x="1401247" y="4273333"/>
                    </a:cubicBezTo>
                    <a:cubicBezTo>
                      <a:pt x="1383985" y="4273333"/>
                      <a:pt x="1369931" y="4287387"/>
                      <a:pt x="1369931" y="4304649"/>
                    </a:cubicBezTo>
                    <a:cubicBezTo>
                      <a:pt x="1369931" y="4321908"/>
                      <a:pt x="1383985" y="4335962"/>
                      <a:pt x="1401247" y="4335962"/>
                    </a:cubicBezTo>
                    <a:cubicBezTo>
                      <a:pt x="1418506" y="4335962"/>
                      <a:pt x="1432562" y="4321908"/>
                      <a:pt x="1432562" y="4304649"/>
                    </a:cubicBezTo>
                    <a:close/>
                    <a:moveTo>
                      <a:pt x="1436999" y="596231"/>
                    </a:moveTo>
                    <a:cubicBezTo>
                      <a:pt x="1436999" y="588341"/>
                      <a:pt x="1430587" y="581929"/>
                      <a:pt x="1422697" y="581929"/>
                    </a:cubicBezTo>
                    <a:cubicBezTo>
                      <a:pt x="1414806" y="581929"/>
                      <a:pt x="1408397" y="588341"/>
                      <a:pt x="1408397" y="596231"/>
                    </a:cubicBezTo>
                    <a:cubicBezTo>
                      <a:pt x="1408397" y="604121"/>
                      <a:pt x="1414806" y="610531"/>
                      <a:pt x="1422697" y="610531"/>
                    </a:cubicBezTo>
                    <a:cubicBezTo>
                      <a:pt x="1430587" y="610531"/>
                      <a:pt x="1436999" y="604121"/>
                      <a:pt x="1436999" y="596231"/>
                    </a:cubicBezTo>
                    <a:close/>
                    <a:moveTo>
                      <a:pt x="1437002" y="3019627"/>
                    </a:moveTo>
                    <a:cubicBezTo>
                      <a:pt x="1437002" y="2999900"/>
                      <a:pt x="1420972" y="2983873"/>
                      <a:pt x="1401247" y="2983873"/>
                    </a:cubicBezTo>
                    <a:cubicBezTo>
                      <a:pt x="1381520" y="2983873"/>
                      <a:pt x="1365494" y="2999900"/>
                      <a:pt x="1365494" y="3019627"/>
                    </a:cubicBezTo>
                    <a:cubicBezTo>
                      <a:pt x="1365494" y="3039354"/>
                      <a:pt x="1381520" y="3055381"/>
                      <a:pt x="1401247" y="3055381"/>
                    </a:cubicBezTo>
                    <a:cubicBezTo>
                      <a:pt x="1420972" y="3055381"/>
                      <a:pt x="1437002" y="3039354"/>
                      <a:pt x="1437002" y="3019627"/>
                    </a:cubicBezTo>
                    <a:close/>
                    <a:moveTo>
                      <a:pt x="1437493" y="1935488"/>
                    </a:moveTo>
                    <a:cubicBezTo>
                      <a:pt x="1437493" y="1933270"/>
                      <a:pt x="1435767" y="1931299"/>
                      <a:pt x="1433300" y="1931299"/>
                    </a:cubicBezTo>
                    <a:cubicBezTo>
                      <a:pt x="1431081" y="1931299"/>
                      <a:pt x="1429109" y="1933025"/>
                      <a:pt x="1429109" y="1935488"/>
                    </a:cubicBezTo>
                    <a:cubicBezTo>
                      <a:pt x="1429109" y="1937705"/>
                      <a:pt x="1430835" y="1939676"/>
                      <a:pt x="1433300" y="1939676"/>
                    </a:cubicBezTo>
                    <a:cubicBezTo>
                      <a:pt x="1435521" y="1939676"/>
                      <a:pt x="1437493" y="1937705"/>
                      <a:pt x="1437493" y="1935488"/>
                    </a:cubicBezTo>
                    <a:close/>
                    <a:moveTo>
                      <a:pt x="1440944" y="2599703"/>
                    </a:moveTo>
                    <a:cubicBezTo>
                      <a:pt x="1440944" y="2589348"/>
                      <a:pt x="1432562" y="2580964"/>
                      <a:pt x="1422204" y="2580964"/>
                    </a:cubicBezTo>
                    <a:cubicBezTo>
                      <a:pt x="1411849" y="2580964"/>
                      <a:pt x="1403465" y="2589348"/>
                      <a:pt x="1403465" y="2599703"/>
                    </a:cubicBezTo>
                    <a:cubicBezTo>
                      <a:pt x="1403465" y="2610064"/>
                      <a:pt x="1411849" y="2618445"/>
                      <a:pt x="1422204" y="2618445"/>
                    </a:cubicBezTo>
                    <a:cubicBezTo>
                      <a:pt x="1432562" y="2618445"/>
                      <a:pt x="1440944" y="2610064"/>
                      <a:pt x="1440944" y="2599703"/>
                    </a:cubicBezTo>
                    <a:close/>
                    <a:moveTo>
                      <a:pt x="1441190" y="5494622"/>
                    </a:moveTo>
                    <a:cubicBezTo>
                      <a:pt x="1441190" y="5478592"/>
                      <a:pt x="1428122" y="5465525"/>
                      <a:pt x="1412096" y="5465525"/>
                    </a:cubicBezTo>
                    <a:cubicBezTo>
                      <a:pt x="1396066" y="5465525"/>
                      <a:pt x="1382998" y="5478592"/>
                      <a:pt x="1382998" y="5494622"/>
                    </a:cubicBezTo>
                    <a:cubicBezTo>
                      <a:pt x="1382998" y="5510648"/>
                      <a:pt x="1396066" y="5523716"/>
                      <a:pt x="1412096" y="5523716"/>
                    </a:cubicBezTo>
                    <a:cubicBezTo>
                      <a:pt x="1428122" y="5523716"/>
                      <a:pt x="1441190" y="5510648"/>
                      <a:pt x="1441190" y="5494622"/>
                    </a:cubicBezTo>
                    <a:close/>
                    <a:moveTo>
                      <a:pt x="1442425" y="2335885"/>
                    </a:moveTo>
                    <a:cubicBezTo>
                      <a:pt x="1442425" y="2329462"/>
                      <a:pt x="1437244" y="2324279"/>
                      <a:pt x="1430835" y="2324279"/>
                    </a:cubicBezTo>
                    <a:cubicBezTo>
                      <a:pt x="1424422" y="2324279"/>
                      <a:pt x="1419246" y="2329462"/>
                      <a:pt x="1419246" y="2335885"/>
                    </a:cubicBezTo>
                    <a:cubicBezTo>
                      <a:pt x="1419246" y="2342304"/>
                      <a:pt x="1424422" y="2347487"/>
                      <a:pt x="1430835" y="2347487"/>
                    </a:cubicBezTo>
                    <a:cubicBezTo>
                      <a:pt x="1437244" y="2347487"/>
                      <a:pt x="1442671" y="2342057"/>
                      <a:pt x="1442425" y="2335885"/>
                    </a:cubicBezTo>
                    <a:close/>
                    <a:moveTo>
                      <a:pt x="1444643" y="725215"/>
                    </a:moveTo>
                    <a:cubicBezTo>
                      <a:pt x="1444643" y="717572"/>
                      <a:pt x="1438231" y="711164"/>
                      <a:pt x="1430341" y="711164"/>
                    </a:cubicBezTo>
                    <a:cubicBezTo>
                      <a:pt x="1422696" y="711164"/>
                      <a:pt x="1416287" y="717326"/>
                      <a:pt x="1416287" y="725215"/>
                    </a:cubicBezTo>
                    <a:cubicBezTo>
                      <a:pt x="1416287" y="732858"/>
                      <a:pt x="1422450" y="739279"/>
                      <a:pt x="1430341" y="739279"/>
                    </a:cubicBezTo>
                    <a:cubicBezTo>
                      <a:pt x="1437985" y="739279"/>
                      <a:pt x="1444394" y="732858"/>
                      <a:pt x="1444643" y="725215"/>
                    </a:cubicBezTo>
                    <a:close/>
                    <a:moveTo>
                      <a:pt x="1444643" y="4825169"/>
                    </a:moveTo>
                    <a:cubicBezTo>
                      <a:pt x="1444643" y="4816538"/>
                      <a:pt x="1437493" y="4809388"/>
                      <a:pt x="1428863" y="4809388"/>
                    </a:cubicBezTo>
                    <a:cubicBezTo>
                      <a:pt x="1420232" y="4809388"/>
                      <a:pt x="1413082" y="4816538"/>
                      <a:pt x="1413082" y="4825169"/>
                    </a:cubicBezTo>
                    <a:cubicBezTo>
                      <a:pt x="1413082" y="4833800"/>
                      <a:pt x="1420232" y="4840950"/>
                      <a:pt x="1428863" y="4840950"/>
                    </a:cubicBezTo>
                    <a:cubicBezTo>
                      <a:pt x="1437493" y="4840950"/>
                      <a:pt x="1444397" y="4833800"/>
                      <a:pt x="1444643" y="4825169"/>
                    </a:cubicBezTo>
                    <a:close/>
                    <a:moveTo>
                      <a:pt x="1447356" y="3938728"/>
                    </a:moveTo>
                    <a:cubicBezTo>
                      <a:pt x="1447356" y="3913824"/>
                      <a:pt x="1427139" y="3893358"/>
                      <a:pt x="1401987" y="3893358"/>
                    </a:cubicBezTo>
                    <a:cubicBezTo>
                      <a:pt x="1376837" y="3893358"/>
                      <a:pt x="1356371" y="3913575"/>
                      <a:pt x="1356371" y="3938728"/>
                    </a:cubicBezTo>
                    <a:cubicBezTo>
                      <a:pt x="1356371" y="3963631"/>
                      <a:pt x="1376837" y="3984097"/>
                      <a:pt x="1401987" y="3984097"/>
                    </a:cubicBezTo>
                    <a:cubicBezTo>
                      <a:pt x="1427139" y="3984097"/>
                      <a:pt x="1447603" y="3963880"/>
                      <a:pt x="1447356" y="3938728"/>
                    </a:cubicBezTo>
                    <a:close/>
                    <a:moveTo>
                      <a:pt x="1452040" y="1283877"/>
                    </a:moveTo>
                    <a:cubicBezTo>
                      <a:pt x="1452040" y="1275986"/>
                      <a:pt x="1445630" y="1269569"/>
                      <a:pt x="1437740" y="1269569"/>
                    </a:cubicBezTo>
                    <a:cubicBezTo>
                      <a:pt x="1429849" y="1269569"/>
                      <a:pt x="1423437" y="1275986"/>
                      <a:pt x="1423437" y="1283877"/>
                    </a:cubicBezTo>
                    <a:cubicBezTo>
                      <a:pt x="1423437" y="1291760"/>
                      <a:pt x="1429849" y="1298179"/>
                      <a:pt x="1437740" y="1298179"/>
                    </a:cubicBezTo>
                    <a:cubicBezTo>
                      <a:pt x="1445630" y="1298179"/>
                      <a:pt x="1452040" y="1291760"/>
                      <a:pt x="1452040" y="1283877"/>
                    </a:cubicBezTo>
                    <a:close/>
                    <a:moveTo>
                      <a:pt x="1453275" y="855141"/>
                    </a:moveTo>
                    <a:cubicBezTo>
                      <a:pt x="1453275" y="847259"/>
                      <a:pt x="1446865" y="840852"/>
                      <a:pt x="1438975" y="840852"/>
                    </a:cubicBezTo>
                    <a:cubicBezTo>
                      <a:pt x="1431084" y="840852"/>
                      <a:pt x="1424672" y="847259"/>
                      <a:pt x="1424672" y="855141"/>
                    </a:cubicBezTo>
                    <a:cubicBezTo>
                      <a:pt x="1424672" y="863034"/>
                      <a:pt x="1431084" y="869437"/>
                      <a:pt x="1438975" y="869437"/>
                    </a:cubicBezTo>
                    <a:cubicBezTo>
                      <a:pt x="1446865" y="869437"/>
                      <a:pt x="1453275" y="863034"/>
                      <a:pt x="1453275" y="855141"/>
                    </a:cubicBezTo>
                    <a:close/>
                    <a:moveTo>
                      <a:pt x="1453518" y="5212291"/>
                    </a:moveTo>
                    <a:cubicBezTo>
                      <a:pt x="1453518" y="5209333"/>
                      <a:pt x="1451299" y="5207114"/>
                      <a:pt x="1448340" y="5207114"/>
                    </a:cubicBezTo>
                    <a:cubicBezTo>
                      <a:pt x="1445628" y="5207114"/>
                      <a:pt x="1443163" y="5209333"/>
                      <a:pt x="1443163" y="5212291"/>
                    </a:cubicBezTo>
                    <a:cubicBezTo>
                      <a:pt x="1443163" y="5215250"/>
                      <a:pt x="1445381" y="5217468"/>
                      <a:pt x="1448340" y="5217468"/>
                    </a:cubicBezTo>
                    <a:cubicBezTo>
                      <a:pt x="1451053" y="5217468"/>
                      <a:pt x="1453518" y="5215250"/>
                      <a:pt x="1453518" y="5212291"/>
                    </a:cubicBezTo>
                    <a:close/>
                    <a:moveTo>
                      <a:pt x="1455493" y="66212"/>
                    </a:moveTo>
                    <a:cubicBezTo>
                      <a:pt x="1455493" y="57335"/>
                      <a:pt x="1448094" y="49940"/>
                      <a:pt x="1439221" y="49940"/>
                    </a:cubicBezTo>
                    <a:cubicBezTo>
                      <a:pt x="1430095" y="49940"/>
                      <a:pt x="1422945" y="57335"/>
                      <a:pt x="1422945" y="66212"/>
                    </a:cubicBezTo>
                    <a:cubicBezTo>
                      <a:pt x="1422945" y="75336"/>
                      <a:pt x="1430344" y="82486"/>
                      <a:pt x="1439221" y="82486"/>
                    </a:cubicBezTo>
                    <a:cubicBezTo>
                      <a:pt x="1448094" y="82486"/>
                      <a:pt x="1455247" y="75336"/>
                      <a:pt x="1455493" y="66212"/>
                    </a:cubicBezTo>
                    <a:close/>
                    <a:moveTo>
                      <a:pt x="1458203" y="6231882"/>
                    </a:moveTo>
                    <a:cubicBezTo>
                      <a:pt x="1458203" y="6217582"/>
                      <a:pt x="1446615" y="6205992"/>
                      <a:pt x="1432313" y="6205992"/>
                    </a:cubicBezTo>
                    <a:cubicBezTo>
                      <a:pt x="1418013" y="6205992"/>
                      <a:pt x="1406424" y="6217582"/>
                      <a:pt x="1406424" y="6231882"/>
                    </a:cubicBezTo>
                    <a:cubicBezTo>
                      <a:pt x="1406424" y="6246185"/>
                      <a:pt x="1418013" y="6257772"/>
                      <a:pt x="1432313" y="6257772"/>
                    </a:cubicBezTo>
                    <a:cubicBezTo>
                      <a:pt x="1446615" y="6257772"/>
                      <a:pt x="1458203" y="6246185"/>
                      <a:pt x="1458203" y="6231882"/>
                    </a:cubicBezTo>
                    <a:close/>
                    <a:moveTo>
                      <a:pt x="1458452" y="6101691"/>
                    </a:moveTo>
                    <a:cubicBezTo>
                      <a:pt x="1458452" y="6091827"/>
                      <a:pt x="1450315" y="6083936"/>
                      <a:pt x="1440452" y="6083936"/>
                    </a:cubicBezTo>
                    <a:cubicBezTo>
                      <a:pt x="1430589" y="6083936"/>
                      <a:pt x="1422699" y="6091827"/>
                      <a:pt x="1422699" y="6101691"/>
                    </a:cubicBezTo>
                    <a:cubicBezTo>
                      <a:pt x="1422699" y="6111307"/>
                      <a:pt x="1430589" y="6119443"/>
                      <a:pt x="1440452" y="6119443"/>
                    </a:cubicBezTo>
                    <a:cubicBezTo>
                      <a:pt x="1450315" y="6119443"/>
                      <a:pt x="1458205" y="6111307"/>
                      <a:pt x="1458452" y="6101691"/>
                    </a:cubicBezTo>
                    <a:close/>
                    <a:moveTo>
                      <a:pt x="1459190" y="4411662"/>
                    </a:moveTo>
                    <a:cubicBezTo>
                      <a:pt x="1459190" y="4405252"/>
                      <a:pt x="1453766" y="4399826"/>
                      <a:pt x="1447108" y="4399826"/>
                    </a:cubicBezTo>
                    <a:cubicBezTo>
                      <a:pt x="1440698" y="4399826"/>
                      <a:pt x="1435272" y="4405003"/>
                      <a:pt x="1435272" y="4411662"/>
                    </a:cubicBezTo>
                    <a:cubicBezTo>
                      <a:pt x="1435272" y="4418320"/>
                      <a:pt x="1440450" y="4423743"/>
                      <a:pt x="1447108" y="4423743"/>
                    </a:cubicBezTo>
                    <a:cubicBezTo>
                      <a:pt x="1453766" y="4423743"/>
                      <a:pt x="1459190" y="4418565"/>
                      <a:pt x="1459190" y="4411662"/>
                    </a:cubicBezTo>
                    <a:close/>
                    <a:moveTo>
                      <a:pt x="1459438" y="190702"/>
                    </a:moveTo>
                    <a:cubicBezTo>
                      <a:pt x="1459438" y="182072"/>
                      <a:pt x="1452288" y="174922"/>
                      <a:pt x="1443657" y="174922"/>
                    </a:cubicBezTo>
                    <a:cubicBezTo>
                      <a:pt x="1435027" y="174922"/>
                      <a:pt x="1427877" y="182072"/>
                      <a:pt x="1427877" y="190702"/>
                    </a:cubicBezTo>
                    <a:cubicBezTo>
                      <a:pt x="1427877" y="199332"/>
                      <a:pt x="1435027" y="206482"/>
                      <a:pt x="1443657" y="206482"/>
                    </a:cubicBezTo>
                    <a:cubicBezTo>
                      <a:pt x="1452288" y="206482"/>
                      <a:pt x="1459438" y="199332"/>
                      <a:pt x="1459438" y="190702"/>
                    </a:cubicBezTo>
                    <a:close/>
                    <a:moveTo>
                      <a:pt x="1459931" y="2084127"/>
                    </a:moveTo>
                    <a:cubicBezTo>
                      <a:pt x="1459931" y="2083881"/>
                      <a:pt x="1459931" y="2083881"/>
                      <a:pt x="1459684" y="2083881"/>
                    </a:cubicBezTo>
                    <a:cubicBezTo>
                      <a:pt x="1459438" y="2083881"/>
                      <a:pt x="1459438" y="2083881"/>
                      <a:pt x="1459438" y="2084127"/>
                    </a:cubicBezTo>
                    <a:cubicBezTo>
                      <a:pt x="1459438" y="2084127"/>
                      <a:pt x="1459438" y="2084376"/>
                      <a:pt x="1459684" y="2084376"/>
                    </a:cubicBezTo>
                    <a:cubicBezTo>
                      <a:pt x="1459931" y="2084376"/>
                      <a:pt x="1459931" y="2084127"/>
                      <a:pt x="1459931" y="2084127"/>
                    </a:cubicBezTo>
                    <a:close/>
                    <a:moveTo>
                      <a:pt x="1462396" y="986550"/>
                    </a:moveTo>
                    <a:cubicBezTo>
                      <a:pt x="1462396" y="978657"/>
                      <a:pt x="1455987" y="972247"/>
                      <a:pt x="1448094" y="972247"/>
                    </a:cubicBezTo>
                    <a:cubicBezTo>
                      <a:pt x="1440203" y="972247"/>
                      <a:pt x="1433794" y="978657"/>
                      <a:pt x="1433794" y="986550"/>
                    </a:cubicBezTo>
                    <a:cubicBezTo>
                      <a:pt x="1433794" y="994439"/>
                      <a:pt x="1440203" y="1000845"/>
                      <a:pt x="1448094" y="1000845"/>
                    </a:cubicBezTo>
                    <a:cubicBezTo>
                      <a:pt x="1455987" y="1000845"/>
                      <a:pt x="1462151" y="994439"/>
                      <a:pt x="1462396" y="986550"/>
                    </a:cubicBezTo>
                    <a:close/>
                    <a:moveTo>
                      <a:pt x="1462642" y="2907184"/>
                    </a:moveTo>
                    <a:cubicBezTo>
                      <a:pt x="1462642" y="2888689"/>
                      <a:pt x="1447602" y="2873648"/>
                      <a:pt x="1429108" y="2873648"/>
                    </a:cubicBezTo>
                    <a:cubicBezTo>
                      <a:pt x="1410368" y="2873648"/>
                      <a:pt x="1395328" y="2888689"/>
                      <a:pt x="1395328" y="2907184"/>
                    </a:cubicBezTo>
                    <a:cubicBezTo>
                      <a:pt x="1395328" y="2925923"/>
                      <a:pt x="1410617" y="2940965"/>
                      <a:pt x="1429108" y="2940965"/>
                    </a:cubicBezTo>
                    <a:cubicBezTo>
                      <a:pt x="1447848" y="2940965"/>
                      <a:pt x="1462890" y="2925923"/>
                      <a:pt x="1462642" y="2907184"/>
                    </a:cubicBezTo>
                    <a:close/>
                    <a:moveTo>
                      <a:pt x="1464861" y="5837112"/>
                    </a:moveTo>
                    <a:cubicBezTo>
                      <a:pt x="1464861" y="5834649"/>
                      <a:pt x="1462642" y="5832675"/>
                      <a:pt x="1460177" y="5832675"/>
                    </a:cubicBezTo>
                    <a:cubicBezTo>
                      <a:pt x="1457711" y="5832675"/>
                      <a:pt x="1455738" y="5834649"/>
                      <a:pt x="1455738" y="5837112"/>
                    </a:cubicBezTo>
                    <a:cubicBezTo>
                      <a:pt x="1455738" y="5839825"/>
                      <a:pt x="1457711" y="5841798"/>
                      <a:pt x="1460177" y="5841798"/>
                    </a:cubicBezTo>
                    <a:cubicBezTo>
                      <a:pt x="1462642" y="5841798"/>
                      <a:pt x="1464614" y="5839825"/>
                      <a:pt x="1464861" y="5837112"/>
                    </a:cubicBezTo>
                    <a:close/>
                    <a:moveTo>
                      <a:pt x="1466587" y="1420710"/>
                    </a:moveTo>
                    <a:cubicBezTo>
                      <a:pt x="1466587" y="1412571"/>
                      <a:pt x="1459930" y="1405913"/>
                      <a:pt x="1451793" y="1405913"/>
                    </a:cubicBezTo>
                    <a:cubicBezTo>
                      <a:pt x="1443656" y="1405913"/>
                      <a:pt x="1436999" y="1412571"/>
                      <a:pt x="1436999" y="1420710"/>
                    </a:cubicBezTo>
                    <a:cubicBezTo>
                      <a:pt x="1436999" y="1428845"/>
                      <a:pt x="1443656" y="1435500"/>
                      <a:pt x="1451793" y="1435500"/>
                    </a:cubicBezTo>
                    <a:cubicBezTo>
                      <a:pt x="1459930" y="1435500"/>
                      <a:pt x="1466587" y="1428845"/>
                      <a:pt x="1466587" y="1420710"/>
                    </a:cubicBezTo>
                    <a:close/>
                    <a:moveTo>
                      <a:pt x="1466588" y="5970267"/>
                    </a:moveTo>
                    <a:cubicBezTo>
                      <a:pt x="1466588" y="5961143"/>
                      <a:pt x="1459190" y="5953499"/>
                      <a:pt x="1449822" y="5953499"/>
                    </a:cubicBezTo>
                    <a:cubicBezTo>
                      <a:pt x="1440699" y="5953499"/>
                      <a:pt x="1433054" y="5960898"/>
                      <a:pt x="1433054" y="5970267"/>
                    </a:cubicBezTo>
                    <a:cubicBezTo>
                      <a:pt x="1433054" y="5979389"/>
                      <a:pt x="1440450" y="5987033"/>
                      <a:pt x="1449822" y="5987033"/>
                    </a:cubicBezTo>
                    <a:cubicBezTo>
                      <a:pt x="1458944" y="5987033"/>
                      <a:pt x="1466588" y="5979389"/>
                      <a:pt x="1466588" y="5970267"/>
                    </a:cubicBezTo>
                    <a:close/>
                    <a:moveTo>
                      <a:pt x="1472506" y="1119673"/>
                    </a:moveTo>
                    <a:cubicBezTo>
                      <a:pt x="1472506" y="1112034"/>
                      <a:pt x="1466096" y="1105621"/>
                      <a:pt x="1458452" y="1105621"/>
                    </a:cubicBezTo>
                    <a:cubicBezTo>
                      <a:pt x="1450806" y="1105621"/>
                      <a:pt x="1444397" y="1112034"/>
                      <a:pt x="1444397" y="1119673"/>
                    </a:cubicBezTo>
                    <a:cubicBezTo>
                      <a:pt x="1444397" y="1127569"/>
                      <a:pt x="1450806" y="1133734"/>
                      <a:pt x="1458452" y="1133734"/>
                    </a:cubicBezTo>
                    <a:cubicBezTo>
                      <a:pt x="1466096" y="1133734"/>
                      <a:pt x="1472506" y="1127324"/>
                      <a:pt x="1472506" y="1119673"/>
                    </a:cubicBezTo>
                    <a:close/>
                    <a:moveTo>
                      <a:pt x="1476205" y="4050920"/>
                    </a:moveTo>
                    <a:cubicBezTo>
                      <a:pt x="1476205" y="4025523"/>
                      <a:pt x="1455493" y="4004809"/>
                      <a:pt x="1430095" y="4004809"/>
                    </a:cubicBezTo>
                    <a:cubicBezTo>
                      <a:pt x="1404697" y="4004809"/>
                      <a:pt x="1383985" y="4025523"/>
                      <a:pt x="1383985" y="4050920"/>
                    </a:cubicBezTo>
                    <a:cubicBezTo>
                      <a:pt x="1383985" y="4076318"/>
                      <a:pt x="1404697" y="4097031"/>
                      <a:pt x="1430095" y="4097031"/>
                    </a:cubicBezTo>
                    <a:cubicBezTo>
                      <a:pt x="1455493" y="4097031"/>
                      <a:pt x="1476205" y="4076318"/>
                      <a:pt x="1476205" y="4050920"/>
                    </a:cubicBezTo>
                    <a:close/>
                    <a:moveTo>
                      <a:pt x="1477931" y="4672292"/>
                    </a:moveTo>
                    <a:cubicBezTo>
                      <a:pt x="1477931" y="4662921"/>
                      <a:pt x="1470287" y="4655524"/>
                      <a:pt x="1461164" y="4655524"/>
                    </a:cubicBezTo>
                    <a:cubicBezTo>
                      <a:pt x="1451793" y="4655524"/>
                      <a:pt x="1444397" y="4663170"/>
                      <a:pt x="1444397" y="4672292"/>
                    </a:cubicBezTo>
                    <a:cubicBezTo>
                      <a:pt x="1444397" y="4681660"/>
                      <a:pt x="1452042" y="4689059"/>
                      <a:pt x="1461164" y="4689059"/>
                    </a:cubicBezTo>
                    <a:cubicBezTo>
                      <a:pt x="1470533" y="4689059"/>
                      <a:pt x="1477931" y="4681660"/>
                      <a:pt x="1477931" y="4672292"/>
                    </a:cubicBezTo>
                    <a:close/>
                    <a:moveTo>
                      <a:pt x="1479164" y="5068044"/>
                    </a:moveTo>
                    <a:cubicBezTo>
                      <a:pt x="1479164" y="5063113"/>
                      <a:pt x="1475218" y="5059168"/>
                      <a:pt x="1470287" y="5059168"/>
                    </a:cubicBezTo>
                    <a:cubicBezTo>
                      <a:pt x="1465355" y="5059168"/>
                      <a:pt x="1461411" y="5063113"/>
                      <a:pt x="1461411" y="5068044"/>
                    </a:cubicBezTo>
                    <a:cubicBezTo>
                      <a:pt x="1461411" y="5072730"/>
                      <a:pt x="1465355" y="5076675"/>
                      <a:pt x="1470287" y="5076675"/>
                    </a:cubicBezTo>
                    <a:cubicBezTo>
                      <a:pt x="1474973" y="5076675"/>
                      <a:pt x="1478917" y="5072730"/>
                      <a:pt x="1479164" y="5068044"/>
                    </a:cubicBezTo>
                    <a:close/>
                    <a:moveTo>
                      <a:pt x="1483847" y="2493677"/>
                    </a:moveTo>
                    <a:cubicBezTo>
                      <a:pt x="1483847" y="2486527"/>
                      <a:pt x="1477929" y="2480604"/>
                      <a:pt x="1470779" y="2480604"/>
                    </a:cubicBezTo>
                    <a:cubicBezTo>
                      <a:pt x="1463629" y="2480604"/>
                      <a:pt x="1457712" y="2486527"/>
                      <a:pt x="1457712" y="2493677"/>
                    </a:cubicBezTo>
                    <a:cubicBezTo>
                      <a:pt x="1457712" y="2500825"/>
                      <a:pt x="1463629" y="2506740"/>
                      <a:pt x="1470779" y="2506740"/>
                    </a:cubicBezTo>
                    <a:cubicBezTo>
                      <a:pt x="1477929" y="2506740"/>
                      <a:pt x="1483847" y="2501074"/>
                      <a:pt x="1483847" y="2493677"/>
                    </a:cubicBezTo>
                    <a:close/>
                    <a:moveTo>
                      <a:pt x="1483850" y="1559508"/>
                    </a:moveTo>
                    <a:cubicBezTo>
                      <a:pt x="1483850" y="1550632"/>
                      <a:pt x="1476700" y="1543236"/>
                      <a:pt x="1467574" y="1543236"/>
                    </a:cubicBezTo>
                    <a:cubicBezTo>
                      <a:pt x="1458697" y="1543236"/>
                      <a:pt x="1451302" y="1550384"/>
                      <a:pt x="1451302" y="1559508"/>
                    </a:cubicBezTo>
                    <a:cubicBezTo>
                      <a:pt x="1451302" y="1568389"/>
                      <a:pt x="1458452" y="1575780"/>
                      <a:pt x="1467574" y="1575780"/>
                    </a:cubicBezTo>
                    <a:cubicBezTo>
                      <a:pt x="1476700" y="1575780"/>
                      <a:pt x="1484096" y="1568635"/>
                      <a:pt x="1483850" y="1559508"/>
                    </a:cubicBezTo>
                    <a:close/>
                    <a:moveTo>
                      <a:pt x="1491246" y="7043116"/>
                    </a:moveTo>
                    <a:cubicBezTo>
                      <a:pt x="1491246" y="7041389"/>
                      <a:pt x="1489767" y="7039910"/>
                      <a:pt x="1488040" y="7039910"/>
                    </a:cubicBezTo>
                    <a:cubicBezTo>
                      <a:pt x="1486314" y="7039910"/>
                      <a:pt x="1484836" y="7041389"/>
                      <a:pt x="1484836" y="7043116"/>
                    </a:cubicBezTo>
                    <a:cubicBezTo>
                      <a:pt x="1484836" y="7044842"/>
                      <a:pt x="1486314" y="7046323"/>
                      <a:pt x="1488040" y="7046323"/>
                    </a:cubicBezTo>
                    <a:cubicBezTo>
                      <a:pt x="1489767" y="7046323"/>
                      <a:pt x="1491246" y="7044842"/>
                      <a:pt x="1491246" y="7043116"/>
                    </a:cubicBezTo>
                    <a:close/>
                    <a:moveTo>
                      <a:pt x="1493956" y="1700289"/>
                    </a:moveTo>
                    <a:cubicBezTo>
                      <a:pt x="1493956" y="1695601"/>
                      <a:pt x="1490012" y="1691657"/>
                      <a:pt x="1485327" y="1691657"/>
                    </a:cubicBezTo>
                    <a:cubicBezTo>
                      <a:pt x="1480642" y="1691657"/>
                      <a:pt x="1476697" y="1695601"/>
                      <a:pt x="1476697" y="1700289"/>
                    </a:cubicBezTo>
                    <a:cubicBezTo>
                      <a:pt x="1476697" y="1704974"/>
                      <a:pt x="1480642" y="1708886"/>
                      <a:pt x="1485327" y="1708886"/>
                    </a:cubicBezTo>
                    <a:cubicBezTo>
                      <a:pt x="1490259" y="1708886"/>
                      <a:pt x="1494204" y="1705219"/>
                      <a:pt x="1493956" y="1700289"/>
                    </a:cubicBezTo>
                    <a:close/>
                    <a:moveTo>
                      <a:pt x="1494700" y="2796470"/>
                    </a:moveTo>
                    <a:cubicBezTo>
                      <a:pt x="1494700" y="2778961"/>
                      <a:pt x="1480400" y="2764906"/>
                      <a:pt x="1463138" y="2764906"/>
                    </a:cubicBezTo>
                    <a:cubicBezTo>
                      <a:pt x="1445631" y="2764906"/>
                      <a:pt x="1431576" y="2778961"/>
                      <a:pt x="1431576" y="2796470"/>
                    </a:cubicBezTo>
                    <a:cubicBezTo>
                      <a:pt x="1431576" y="2813977"/>
                      <a:pt x="1445878" y="2828031"/>
                      <a:pt x="1463138" y="2828031"/>
                    </a:cubicBezTo>
                    <a:cubicBezTo>
                      <a:pt x="1480400" y="2828031"/>
                      <a:pt x="1494700" y="2813977"/>
                      <a:pt x="1494700" y="2796470"/>
                    </a:cubicBezTo>
                    <a:close/>
                    <a:moveTo>
                      <a:pt x="1494946" y="6920568"/>
                    </a:moveTo>
                    <a:cubicBezTo>
                      <a:pt x="1494946" y="6918842"/>
                      <a:pt x="1493467" y="6917363"/>
                      <a:pt x="1491740" y="6917363"/>
                    </a:cubicBezTo>
                    <a:cubicBezTo>
                      <a:pt x="1490013" y="6917363"/>
                      <a:pt x="1488536" y="6918842"/>
                      <a:pt x="1488536" y="6920568"/>
                    </a:cubicBezTo>
                    <a:cubicBezTo>
                      <a:pt x="1488536" y="6922295"/>
                      <a:pt x="1490013" y="6923776"/>
                      <a:pt x="1491740" y="6923776"/>
                    </a:cubicBezTo>
                    <a:cubicBezTo>
                      <a:pt x="1493467" y="6923776"/>
                      <a:pt x="1494946" y="6922295"/>
                      <a:pt x="1494946" y="6920568"/>
                    </a:cubicBezTo>
                    <a:close/>
                    <a:moveTo>
                      <a:pt x="1497656" y="6796789"/>
                    </a:moveTo>
                    <a:cubicBezTo>
                      <a:pt x="1497656" y="6795802"/>
                      <a:pt x="1496918" y="6795061"/>
                      <a:pt x="1495931" y="6795061"/>
                    </a:cubicBezTo>
                    <a:cubicBezTo>
                      <a:pt x="1494945" y="6795061"/>
                      <a:pt x="1494205" y="6795802"/>
                      <a:pt x="1494205" y="6796789"/>
                    </a:cubicBezTo>
                    <a:cubicBezTo>
                      <a:pt x="1494205" y="6797774"/>
                      <a:pt x="1494945" y="6798515"/>
                      <a:pt x="1495931" y="6798515"/>
                    </a:cubicBezTo>
                    <a:cubicBezTo>
                      <a:pt x="1496918" y="6798515"/>
                      <a:pt x="1497656" y="6797774"/>
                      <a:pt x="1497656" y="6796789"/>
                    </a:cubicBezTo>
                    <a:close/>
                    <a:moveTo>
                      <a:pt x="1498152" y="2235281"/>
                    </a:moveTo>
                    <a:cubicBezTo>
                      <a:pt x="1498152" y="2230849"/>
                      <a:pt x="1494453" y="2227147"/>
                      <a:pt x="1490013" y="2227147"/>
                    </a:cubicBezTo>
                    <a:cubicBezTo>
                      <a:pt x="1485576" y="2227147"/>
                      <a:pt x="1481877" y="2230849"/>
                      <a:pt x="1481877" y="2235281"/>
                    </a:cubicBezTo>
                    <a:cubicBezTo>
                      <a:pt x="1481877" y="2239726"/>
                      <a:pt x="1485576" y="2243428"/>
                      <a:pt x="1490013" y="2243428"/>
                    </a:cubicBezTo>
                    <a:cubicBezTo>
                      <a:pt x="1494453" y="2243428"/>
                      <a:pt x="1498152" y="2239969"/>
                      <a:pt x="1498152" y="2235281"/>
                    </a:cubicBezTo>
                    <a:close/>
                    <a:moveTo>
                      <a:pt x="1499877" y="4516453"/>
                    </a:moveTo>
                    <a:cubicBezTo>
                      <a:pt x="1499877" y="4515716"/>
                      <a:pt x="1499382" y="4514975"/>
                      <a:pt x="1498396" y="4514975"/>
                    </a:cubicBezTo>
                    <a:cubicBezTo>
                      <a:pt x="1497658" y="4514975"/>
                      <a:pt x="1496918" y="4515716"/>
                      <a:pt x="1496918" y="4516453"/>
                    </a:cubicBezTo>
                    <a:cubicBezTo>
                      <a:pt x="1496918" y="4517194"/>
                      <a:pt x="1497658" y="4517934"/>
                      <a:pt x="1498396" y="4517934"/>
                    </a:cubicBezTo>
                    <a:cubicBezTo>
                      <a:pt x="1499382" y="4517934"/>
                      <a:pt x="1500122" y="4517443"/>
                      <a:pt x="1499877" y="4516453"/>
                    </a:cubicBezTo>
                    <a:close/>
                    <a:moveTo>
                      <a:pt x="1502836" y="3421287"/>
                    </a:moveTo>
                    <a:cubicBezTo>
                      <a:pt x="1502836" y="3398356"/>
                      <a:pt x="1484098" y="3379613"/>
                      <a:pt x="1461165" y="3379613"/>
                    </a:cubicBezTo>
                    <a:cubicBezTo>
                      <a:pt x="1438234" y="3379613"/>
                      <a:pt x="1419494" y="3398356"/>
                      <a:pt x="1419494" y="3421287"/>
                    </a:cubicBezTo>
                    <a:cubicBezTo>
                      <a:pt x="1419494" y="3444210"/>
                      <a:pt x="1438234" y="3462965"/>
                      <a:pt x="1461165" y="3462965"/>
                    </a:cubicBezTo>
                    <a:cubicBezTo>
                      <a:pt x="1484098" y="3462965"/>
                      <a:pt x="1502836" y="3444210"/>
                      <a:pt x="1502836" y="3421287"/>
                    </a:cubicBezTo>
                    <a:close/>
                    <a:moveTo>
                      <a:pt x="1503822" y="4920841"/>
                    </a:moveTo>
                    <a:cubicBezTo>
                      <a:pt x="1503822" y="4915909"/>
                      <a:pt x="1499879" y="4911718"/>
                      <a:pt x="1494699" y="4911718"/>
                    </a:cubicBezTo>
                    <a:cubicBezTo>
                      <a:pt x="1489768" y="4911718"/>
                      <a:pt x="1485577" y="4915663"/>
                      <a:pt x="1485577" y="4920841"/>
                    </a:cubicBezTo>
                    <a:cubicBezTo>
                      <a:pt x="1485577" y="4925772"/>
                      <a:pt x="1489768" y="4929963"/>
                      <a:pt x="1494699" y="4929963"/>
                    </a:cubicBezTo>
                    <a:cubicBezTo>
                      <a:pt x="1499879" y="4929963"/>
                      <a:pt x="1504070" y="4926017"/>
                      <a:pt x="1503822" y="4920841"/>
                    </a:cubicBezTo>
                    <a:close/>
                    <a:moveTo>
                      <a:pt x="1505548" y="3537056"/>
                    </a:moveTo>
                    <a:cubicBezTo>
                      <a:pt x="1505548" y="3512645"/>
                      <a:pt x="1485822" y="3492919"/>
                      <a:pt x="1461411" y="3492919"/>
                    </a:cubicBezTo>
                    <a:cubicBezTo>
                      <a:pt x="1436999" y="3492919"/>
                      <a:pt x="1417273" y="3512645"/>
                      <a:pt x="1417273" y="3537056"/>
                    </a:cubicBezTo>
                    <a:cubicBezTo>
                      <a:pt x="1417273" y="3561465"/>
                      <a:pt x="1436999" y="3581194"/>
                      <a:pt x="1461411" y="3581194"/>
                    </a:cubicBezTo>
                    <a:cubicBezTo>
                      <a:pt x="1485574" y="3581194"/>
                      <a:pt x="1505548" y="3561219"/>
                      <a:pt x="1505548" y="3537056"/>
                    </a:cubicBezTo>
                    <a:close/>
                    <a:moveTo>
                      <a:pt x="1507027" y="3305397"/>
                    </a:moveTo>
                    <a:cubicBezTo>
                      <a:pt x="1507027" y="3283690"/>
                      <a:pt x="1489272" y="3265951"/>
                      <a:pt x="1467574" y="3265951"/>
                    </a:cubicBezTo>
                    <a:cubicBezTo>
                      <a:pt x="1445875" y="3265951"/>
                      <a:pt x="1428122" y="3283690"/>
                      <a:pt x="1428122" y="3305397"/>
                    </a:cubicBezTo>
                    <a:cubicBezTo>
                      <a:pt x="1428122" y="3327091"/>
                      <a:pt x="1445875" y="3344851"/>
                      <a:pt x="1467574" y="3344851"/>
                    </a:cubicBezTo>
                    <a:cubicBezTo>
                      <a:pt x="1489272" y="3344851"/>
                      <a:pt x="1507027" y="3327091"/>
                      <a:pt x="1507027" y="3305397"/>
                    </a:cubicBezTo>
                    <a:close/>
                    <a:moveTo>
                      <a:pt x="1507768" y="5711609"/>
                    </a:moveTo>
                    <a:cubicBezTo>
                      <a:pt x="1507768" y="5697059"/>
                      <a:pt x="1495932" y="5685224"/>
                      <a:pt x="1481386" y="5685224"/>
                    </a:cubicBezTo>
                    <a:cubicBezTo>
                      <a:pt x="1466837" y="5685224"/>
                      <a:pt x="1455002" y="5697059"/>
                      <a:pt x="1455002" y="5711609"/>
                    </a:cubicBezTo>
                    <a:cubicBezTo>
                      <a:pt x="1455002" y="5726158"/>
                      <a:pt x="1466837" y="5737993"/>
                      <a:pt x="1481386" y="5737993"/>
                    </a:cubicBezTo>
                    <a:cubicBezTo>
                      <a:pt x="1495932" y="5737993"/>
                      <a:pt x="1507768" y="5726158"/>
                      <a:pt x="1507768" y="5711609"/>
                    </a:cubicBezTo>
                    <a:close/>
                    <a:moveTo>
                      <a:pt x="1509985" y="5438649"/>
                    </a:moveTo>
                    <a:cubicBezTo>
                      <a:pt x="1509985" y="5438154"/>
                      <a:pt x="1509740" y="5437908"/>
                      <a:pt x="1509248" y="5437908"/>
                    </a:cubicBezTo>
                    <a:cubicBezTo>
                      <a:pt x="1508753" y="5437908"/>
                      <a:pt x="1508508" y="5438402"/>
                      <a:pt x="1508508" y="5438649"/>
                    </a:cubicBezTo>
                    <a:cubicBezTo>
                      <a:pt x="1508508" y="5439141"/>
                      <a:pt x="1508753" y="5439386"/>
                      <a:pt x="1509248" y="5439386"/>
                    </a:cubicBezTo>
                    <a:cubicBezTo>
                      <a:pt x="1509493" y="5439386"/>
                      <a:pt x="1509985" y="5439141"/>
                      <a:pt x="1509985" y="5438649"/>
                    </a:cubicBezTo>
                    <a:close/>
                    <a:moveTo>
                      <a:pt x="1510723" y="4161633"/>
                    </a:moveTo>
                    <a:cubicBezTo>
                      <a:pt x="1510723" y="4135989"/>
                      <a:pt x="1489765" y="4115031"/>
                      <a:pt x="1464121" y="4115031"/>
                    </a:cubicBezTo>
                    <a:cubicBezTo>
                      <a:pt x="1438477" y="4115031"/>
                      <a:pt x="1417519" y="4135989"/>
                      <a:pt x="1417519" y="4161633"/>
                    </a:cubicBezTo>
                    <a:cubicBezTo>
                      <a:pt x="1417519" y="4187277"/>
                      <a:pt x="1438477" y="4208235"/>
                      <a:pt x="1464121" y="4208235"/>
                    </a:cubicBezTo>
                    <a:cubicBezTo>
                      <a:pt x="1489765" y="4208235"/>
                      <a:pt x="1510723" y="4187277"/>
                      <a:pt x="1510723" y="4161633"/>
                    </a:cubicBezTo>
                    <a:close/>
                    <a:moveTo>
                      <a:pt x="1511959" y="1844063"/>
                    </a:moveTo>
                    <a:cubicBezTo>
                      <a:pt x="1511959" y="1840120"/>
                      <a:pt x="1509000" y="1836913"/>
                      <a:pt x="1505054" y="1836913"/>
                    </a:cubicBezTo>
                    <a:cubicBezTo>
                      <a:pt x="1501109" y="1836913"/>
                      <a:pt x="1497904" y="1840120"/>
                      <a:pt x="1497904" y="1844063"/>
                    </a:cubicBezTo>
                    <a:cubicBezTo>
                      <a:pt x="1497904" y="1847762"/>
                      <a:pt x="1501109" y="1850966"/>
                      <a:pt x="1505054" y="1850966"/>
                    </a:cubicBezTo>
                    <a:cubicBezTo>
                      <a:pt x="1509000" y="1850966"/>
                      <a:pt x="1512207" y="1848008"/>
                      <a:pt x="1511959" y="1844063"/>
                    </a:cubicBezTo>
                    <a:close/>
                    <a:moveTo>
                      <a:pt x="1512204" y="6677940"/>
                    </a:moveTo>
                    <a:cubicBezTo>
                      <a:pt x="1512204" y="6676213"/>
                      <a:pt x="1510972" y="6674980"/>
                      <a:pt x="1509246" y="6674980"/>
                    </a:cubicBezTo>
                    <a:cubicBezTo>
                      <a:pt x="1507519" y="6674980"/>
                      <a:pt x="1506287" y="6676213"/>
                      <a:pt x="1506287" y="6677940"/>
                    </a:cubicBezTo>
                    <a:cubicBezTo>
                      <a:pt x="1506287" y="6679667"/>
                      <a:pt x="1507519" y="6680899"/>
                      <a:pt x="1509246" y="6680899"/>
                    </a:cubicBezTo>
                    <a:cubicBezTo>
                      <a:pt x="1510726" y="6680899"/>
                      <a:pt x="1512204" y="6679418"/>
                      <a:pt x="1512204" y="6677940"/>
                    </a:cubicBezTo>
                    <a:close/>
                    <a:moveTo>
                      <a:pt x="1515165" y="3652700"/>
                    </a:moveTo>
                    <a:cubicBezTo>
                      <a:pt x="1515165" y="3626565"/>
                      <a:pt x="1493959" y="3605357"/>
                      <a:pt x="1467824" y="3605357"/>
                    </a:cubicBezTo>
                    <a:cubicBezTo>
                      <a:pt x="1441687" y="3605357"/>
                      <a:pt x="1420481" y="3626565"/>
                      <a:pt x="1420481" y="3652700"/>
                    </a:cubicBezTo>
                    <a:cubicBezTo>
                      <a:pt x="1420481" y="3678839"/>
                      <a:pt x="1441687" y="3700043"/>
                      <a:pt x="1467824" y="3700043"/>
                    </a:cubicBezTo>
                    <a:cubicBezTo>
                      <a:pt x="1493959" y="3700043"/>
                      <a:pt x="1515165" y="3678839"/>
                      <a:pt x="1515165" y="3652700"/>
                    </a:cubicBezTo>
                    <a:close/>
                    <a:moveTo>
                      <a:pt x="1517384" y="6552924"/>
                    </a:moveTo>
                    <a:cubicBezTo>
                      <a:pt x="1517384" y="6551443"/>
                      <a:pt x="1516152" y="6549966"/>
                      <a:pt x="1514425" y="6549966"/>
                    </a:cubicBezTo>
                    <a:cubicBezTo>
                      <a:pt x="1512944" y="6549966"/>
                      <a:pt x="1511466" y="6551198"/>
                      <a:pt x="1511466" y="6552924"/>
                    </a:cubicBezTo>
                    <a:cubicBezTo>
                      <a:pt x="1511466" y="6554651"/>
                      <a:pt x="1512699" y="6555883"/>
                      <a:pt x="1514425" y="6555883"/>
                    </a:cubicBezTo>
                    <a:cubicBezTo>
                      <a:pt x="1516152" y="6555883"/>
                      <a:pt x="1517384" y="6554402"/>
                      <a:pt x="1517384" y="6552924"/>
                    </a:cubicBezTo>
                    <a:close/>
                    <a:moveTo>
                      <a:pt x="1518371" y="3190250"/>
                    </a:moveTo>
                    <a:cubicBezTo>
                      <a:pt x="1518371" y="3169537"/>
                      <a:pt x="1501356" y="3152523"/>
                      <a:pt x="1480643" y="3152523"/>
                    </a:cubicBezTo>
                    <a:cubicBezTo>
                      <a:pt x="1459931" y="3152523"/>
                      <a:pt x="1442917" y="3169292"/>
                      <a:pt x="1442917" y="3190250"/>
                    </a:cubicBezTo>
                    <a:cubicBezTo>
                      <a:pt x="1442917" y="3210963"/>
                      <a:pt x="1459931" y="3227977"/>
                      <a:pt x="1480643" y="3227977"/>
                    </a:cubicBezTo>
                    <a:cubicBezTo>
                      <a:pt x="1501604" y="3227977"/>
                      <a:pt x="1518371" y="3211211"/>
                      <a:pt x="1518371" y="3190250"/>
                    </a:cubicBezTo>
                    <a:close/>
                    <a:moveTo>
                      <a:pt x="1521822" y="6426679"/>
                    </a:moveTo>
                    <a:cubicBezTo>
                      <a:pt x="1521822" y="6425693"/>
                      <a:pt x="1521084" y="6424952"/>
                      <a:pt x="1520097" y="6424952"/>
                    </a:cubicBezTo>
                    <a:cubicBezTo>
                      <a:pt x="1519111" y="6424952"/>
                      <a:pt x="1518371" y="6425693"/>
                      <a:pt x="1518371" y="6426679"/>
                    </a:cubicBezTo>
                    <a:cubicBezTo>
                      <a:pt x="1518371" y="6427665"/>
                      <a:pt x="1519111" y="6428406"/>
                      <a:pt x="1520097" y="6428406"/>
                    </a:cubicBezTo>
                    <a:cubicBezTo>
                      <a:pt x="1520835" y="6428406"/>
                      <a:pt x="1521575" y="6427665"/>
                      <a:pt x="1521822" y="6426679"/>
                    </a:cubicBezTo>
                    <a:close/>
                    <a:moveTo>
                      <a:pt x="1522561" y="279193"/>
                    </a:moveTo>
                    <a:cubicBezTo>
                      <a:pt x="1522561" y="270317"/>
                      <a:pt x="1515409" y="263168"/>
                      <a:pt x="1506532" y="263168"/>
                    </a:cubicBezTo>
                    <a:cubicBezTo>
                      <a:pt x="1497656" y="263168"/>
                      <a:pt x="1490506" y="270317"/>
                      <a:pt x="1490506" y="279193"/>
                    </a:cubicBezTo>
                    <a:cubicBezTo>
                      <a:pt x="1490506" y="288069"/>
                      <a:pt x="1497656" y="295221"/>
                      <a:pt x="1506532" y="295221"/>
                    </a:cubicBezTo>
                    <a:cubicBezTo>
                      <a:pt x="1515409" y="295221"/>
                      <a:pt x="1522561" y="288069"/>
                      <a:pt x="1522561" y="279193"/>
                    </a:cubicBezTo>
                    <a:close/>
                    <a:moveTo>
                      <a:pt x="1523053" y="5575991"/>
                    </a:moveTo>
                    <a:cubicBezTo>
                      <a:pt x="1523053" y="5560210"/>
                      <a:pt x="1510231" y="5547388"/>
                      <a:pt x="1494450" y="5547388"/>
                    </a:cubicBezTo>
                    <a:cubicBezTo>
                      <a:pt x="1478670" y="5547388"/>
                      <a:pt x="1465848" y="5560210"/>
                      <a:pt x="1465848" y="5575991"/>
                    </a:cubicBezTo>
                    <a:cubicBezTo>
                      <a:pt x="1465848" y="5591772"/>
                      <a:pt x="1478670" y="5604594"/>
                      <a:pt x="1494450" y="5604594"/>
                    </a:cubicBezTo>
                    <a:cubicBezTo>
                      <a:pt x="1510231" y="5604594"/>
                      <a:pt x="1523299" y="5591772"/>
                      <a:pt x="1523053" y="5575991"/>
                    </a:cubicBezTo>
                    <a:close/>
                    <a:moveTo>
                      <a:pt x="1527493" y="404179"/>
                    </a:moveTo>
                    <a:cubicBezTo>
                      <a:pt x="1527493" y="395549"/>
                      <a:pt x="1520589" y="388645"/>
                      <a:pt x="1511960" y="388645"/>
                    </a:cubicBezTo>
                    <a:cubicBezTo>
                      <a:pt x="1503330" y="388645"/>
                      <a:pt x="1496426" y="395549"/>
                      <a:pt x="1496426" y="404179"/>
                    </a:cubicBezTo>
                    <a:cubicBezTo>
                      <a:pt x="1496426" y="412810"/>
                      <a:pt x="1503330" y="419713"/>
                      <a:pt x="1511960" y="419713"/>
                    </a:cubicBezTo>
                    <a:cubicBezTo>
                      <a:pt x="1520589" y="419713"/>
                      <a:pt x="1527741" y="412561"/>
                      <a:pt x="1527493" y="404179"/>
                    </a:cubicBezTo>
                    <a:close/>
                    <a:moveTo>
                      <a:pt x="1527987" y="2687972"/>
                    </a:moveTo>
                    <a:cubicBezTo>
                      <a:pt x="1527987" y="2674162"/>
                      <a:pt x="1516890" y="2663067"/>
                      <a:pt x="1503081" y="2663067"/>
                    </a:cubicBezTo>
                    <a:cubicBezTo>
                      <a:pt x="1489274" y="2663067"/>
                      <a:pt x="1478178" y="2674162"/>
                      <a:pt x="1478178" y="2687972"/>
                    </a:cubicBezTo>
                    <a:cubicBezTo>
                      <a:pt x="1478178" y="2701781"/>
                      <a:pt x="1489274" y="2712879"/>
                      <a:pt x="1503081" y="2712879"/>
                    </a:cubicBezTo>
                    <a:cubicBezTo>
                      <a:pt x="1516644" y="2712879"/>
                      <a:pt x="1527987" y="2701781"/>
                      <a:pt x="1527987" y="2687972"/>
                    </a:cubicBezTo>
                    <a:close/>
                    <a:moveTo>
                      <a:pt x="1529218" y="1989688"/>
                    </a:moveTo>
                    <a:cubicBezTo>
                      <a:pt x="1529218" y="1988949"/>
                      <a:pt x="1528725" y="1988457"/>
                      <a:pt x="1527985" y="1988457"/>
                    </a:cubicBezTo>
                    <a:cubicBezTo>
                      <a:pt x="1527247" y="1988457"/>
                      <a:pt x="1526753" y="1988949"/>
                      <a:pt x="1526753" y="1989688"/>
                    </a:cubicBezTo>
                    <a:cubicBezTo>
                      <a:pt x="1526753" y="1990428"/>
                      <a:pt x="1527247" y="1990921"/>
                      <a:pt x="1527985" y="1990921"/>
                    </a:cubicBezTo>
                    <a:cubicBezTo>
                      <a:pt x="1528480" y="1990921"/>
                      <a:pt x="1528971" y="1990428"/>
                      <a:pt x="1529218" y="1989688"/>
                    </a:cubicBezTo>
                    <a:close/>
                    <a:moveTo>
                      <a:pt x="1529711" y="5298842"/>
                    </a:moveTo>
                    <a:cubicBezTo>
                      <a:pt x="1529711" y="5296376"/>
                      <a:pt x="1527739" y="5294402"/>
                      <a:pt x="1525274" y="5294402"/>
                    </a:cubicBezTo>
                    <a:cubicBezTo>
                      <a:pt x="1522561" y="5294402"/>
                      <a:pt x="1520589" y="5296376"/>
                      <a:pt x="1520589" y="5298842"/>
                    </a:cubicBezTo>
                    <a:cubicBezTo>
                      <a:pt x="1520589" y="5301552"/>
                      <a:pt x="1522807" y="5303525"/>
                      <a:pt x="1525274" y="5303525"/>
                    </a:cubicBezTo>
                    <a:cubicBezTo>
                      <a:pt x="1527987" y="5303525"/>
                      <a:pt x="1529960" y="5301552"/>
                      <a:pt x="1529711" y="5298842"/>
                    </a:cubicBezTo>
                    <a:close/>
                    <a:moveTo>
                      <a:pt x="1531190" y="3767851"/>
                    </a:moveTo>
                    <a:cubicBezTo>
                      <a:pt x="1531190" y="3740235"/>
                      <a:pt x="1508753" y="3717795"/>
                      <a:pt x="1481137" y="3717795"/>
                    </a:cubicBezTo>
                    <a:cubicBezTo>
                      <a:pt x="1453520" y="3717795"/>
                      <a:pt x="1431081" y="3740235"/>
                      <a:pt x="1431081" y="3767851"/>
                    </a:cubicBezTo>
                    <a:cubicBezTo>
                      <a:pt x="1431081" y="3795468"/>
                      <a:pt x="1453520" y="3817907"/>
                      <a:pt x="1481137" y="3817907"/>
                    </a:cubicBezTo>
                    <a:cubicBezTo>
                      <a:pt x="1508753" y="3817907"/>
                      <a:pt x="1531190" y="3795468"/>
                      <a:pt x="1531190" y="3767851"/>
                    </a:cubicBezTo>
                    <a:close/>
                    <a:moveTo>
                      <a:pt x="1531930" y="2390368"/>
                    </a:moveTo>
                    <a:cubicBezTo>
                      <a:pt x="1531930" y="2386421"/>
                      <a:pt x="1528477" y="2382966"/>
                      <a:pt x="1524533" y="2382966"/>
                    </a:cubicBezTo>
                    <a:cubicBezTo>
                      <a:pt x="1520586" y="2382966"/>
                      <a:pt x="1517135" y="2386176"/>
                      <a:pt x="1517135" y="2390368"/>
                    </a:cubicBezTo>
                    <a:cubicBezTo>
                      <a:pt x="1517135" y="2394302"/>
                      <a:pt x="1520340" y="2397761"/>
                      <a:pt x="1524533" y="2397761"/>
                    </a:cubicBezTo>
                    <a:cubicBezTo>
                      <a:pt x="1528724" y="2397761"/>
                      <a:pt x="1532175" y="2394302"/>
                      <a:pt x="1531930" y="2390368"/>
                    </a:cubicBezTo>
                    <a:close/>
                    <a:moveTo>
                      <a:pt x="1533164" y="529906"/>
                    </a:moveTo>
                    <a:cubicBezTo>
                      <a:pt x="1533164" y="521525"/>
                      <a:pt x="1526261" y="514866"/>
                      <a:pt x="1517875" y="514866"/>
                    </a:cubicBezTo>
                    <a:cubicBezTo>
                      <a:pt x="1509739" y="514866"/>
                      <a:pt x="1502836" y="521525"/>
                      <a:pt x="1502836" y="529906"/>
                    </a:cubicBezTo>
                    <a:cubicBezTo>
                      <a:pt x="1502836" y="538043"/>
                      <a:pt x="1509493" y="544946"/>
                      <a:pt x="1517875" y="544946"/>
                    </a:cubicBezTo>
                    <a:cubicBezTo>
                      <a:pt x="1526261" y="544946"/>
                      <a:pt x="1533164" y="538291"/>
                      <a:pt x="1533164" y="529906"/>
                    </a:cubicBezTo>
                    <a:close/>
                    <a:moveTo>
                      <a:pt x="1536369" y="3076081"/>
                    </a:moveTo>
                    <a:cubicBezTo>
                      <a:pt x="1536369" y="3056357"/>
                      <a:pt x="1520342" y="3040081"/>
                      <a:pt x="1500368" y="3040081"/>
                    </a:cubicBezTo>
                    <a:cubicBezTo>
                      <a:pt x="1480645" y="3040081"/>
                      <a:pt x="1464369" y="3056108"/>
                      <a:pt x="1464369" y="3076081"/>
                    </a:cubicBezTo>
                    <a:cubicBezTo>
                      <a:pt x="1464369" y="3095807"/>
                      <a:pt x="1480396" y="3112083"/>
                      <a:pt x="1500368" y="3112083"/>
                    </a:cubicBezTo>
                    <a:cubicBezTo>
                      <a:pt x="1520096" y="3112083"/>
                      <a:pt x="1536369" y="3095807"/>
                      <a:pt x="1536369" y="3076081"/>
                    </a:cubicBezTo>
                    <a:close/>
                    <a:moveTo>
                      <a:pt x="1537602" y="1206455"/>
                    </a:moveTo>
                    <a:cubicBezTo>
                      <a:pt x="1537602" y="1198810"/>
                      <a:pt x="1531437" y="1192645"/>
                      <a:pt x="1523793" y="1192645"/>
                    </a:cubicBezTo>
                    <a:cubicBezTo>
                      <a:pt x="1516149" y="1192645"/>
                      <a:pt x="1509985" y="1198810"/>
                      <a:pt x="1509985" y="1206455"/>
                    </a:cubicBezTo>
                    <a:cubicBezTo>
                      <a:pt x="1509985" y="1214102"/>
                      <a:pt x="1516149" y="1220264"/>
                      <a:pt x="1523793" y="1220264"/>
                    </a:cubicBezTo>
                    <a:cubicBezTo>
                      <a:pt x="1531192" y="1220264"/>
                      <a:pt x="1537355" y="1213855"/>
                      <a:pt x="1537602" y="1206455"/>
                    </a:cubicBezTo>
                    <a:close/>
                    <a:moveTo>
                      <a:pt x="1538833" y="4771167"/>
                    </a:moveTo>
                    <a:cubicBezTo>
                      <a:pt x="1538833" y="4762536"/>
                      <a:pt x="1531683" y="4755386"/>
                      <a:pt x="1523053" y="4755386"/>
                    </a:cubicBezTo>
                    <a:cubicBezTo>
                      <a:pt x="1514422" y="4755386"/>
                      <a:pt x="1507272" y="4762536"/>
                      <a:pt x="1507272" y="4771167"/>
                    </a:cubicBezTo>
                    <a:cubicBezTo>
                      <a:pt x="1507272" y="4779798"/>
                      <a:pt x="1514422" y="4786948"/>
                      <a:pt x="1523053" y="4786948"/>
                    </a:cubicBezTo>
                    <a:cubicBezTo>
                      <a:pt x="1531683" y="4786948"/>
                      <a:pt x="1538833" y="4779798"/>
                      <a:pt x="1538833" y="4771167"/>
                    </a:cubicBezTo>
                    <a:close/>
                    <a:moveTo>
                      <a:pt x="1538837" y="656925"/>
                    </a:moveTo>
                    <a:cubicBezTo>
                      <a:pt x="1538837" y="649028"/>
                      <a:pt x="1532425" y="642355"/>
                      <a:pt x="1524288" y="642355"/>
                    </a:cubicBezTo>
                    <a:cubicBezTo>
                      <a:pt x="1516152" y="642355"/>
                      <a:pt x="1509494" y="648781"/>
                      <a:pt x="1509494" y="656925"/>
                    </a:cubicBezTo>
                    <a:cubicBezTo>
                      <a:pt x="1509494" y="665058"/>
                      <a:pt x="1516152" y="671718"/>
                      <a:pt x="1524288" y="671718"/>
                    </a:cubicBezTo>
                    <a:cubicBezTo>
                      <a:pt x="1532425" y="671718"/>
                      <a:pt x="1539083" y="665058"/>
                      <a:pt x="1538837" y="656925"/>
                    </a:cubicBezTo>
                    <a:close/>
                    <a:moveTo>
                      <a:pt x="1545738" y="785117"/>
                    </a:moveTo>
                    <a:cubicBezTo>
                      <a:pt x="1545738" y="777470"/>
                      <a:pt x="1539574" y="771063"/>
                      <a:pt x="1531684" y="771063"/>
                    </a:cubicBezTo>
                    <a:cubicBezTo>
                      <a:pt x="1524039" y="771063"/>
                      <a:pt x="1517630" y="777225"/>
                      <a:pt x="1517630" y="785117"/>
                    </a:cubicBezTo>
                    <a:cubicBezTo>
                      <a:pt x="1517630" y="792757"/>
                      <a:pt x="1523793" y="799172"/>
                      <a:pt x="1531684" y="799172"/>
                    </a:cubicBezTo>
                    <a:cubicBezTo>
                      <a:pt x="1539328" y="799172"/>
                      <a:pt x="1545738" y="792757"/>
                      <a:pt x="1545738" y="785117"/>
                    </a:cubicBezTo>
                    <a:close/>
                    <a:moveTo>
                      <a:pt x="1549437" y="5157553"/>
                    </a:moveTo>
                    <a:cubicBezTo>
                      <a:pt x="1549437" y="5154594"/>
                      <a:pt x="1547218" y="5152375"/>
                      <a:pt x="1544259" y="5152375"/>
                    </a:cubicBezTo>
                    <a:cubicBezTo>
                      <a:pt x="1541547" y="5152375"/>
                      <a:pt x="1539083" y="5154594"/>
                      <a:pt x="1539083" y="5157553"/>
                    </a:cubicBezTo>
                    <a:cubicBezTo>
                      <a:pt x="1539083" y="5160265"/>
                      <a:pt x="1541301" y="5162730"/>
                      <a:pt x="1544259" y="5162730"/>
                    </a:cubicBezTo>
                    <a:cubicBezTo>
                      <a:pt x="1546973" y="5162730"/>
                      <a:pt x="1549437" y="5160512"/>
                      <a:pt x="1549437" y="5157553"/>
                    </a:cubicBezTo>
                    <a:close/>
                    <a:moveTo>
                      <a:pt x="1549683" y="1340811"/>
                    </a:moveTo>
                    <a:cubicBezTo>
                      <a:pt x="1549683" y="1333174"/>
                      <a:pt x="1543273" y="1326999"/>
                      <a:pt x="1535629" y="1326999"/>
                    </a:cubicBezTo>
                    <a:cubicBezTo>
                      <a:pt x="1527984" y="1326999"/>
                      <a:pt x="1521821" y="1332927"/>
                      <a:pt x="1521821" y="1340811"/>
                    </a:cubicBezTo>
                    <a:cubicBezTo>
                      <a:pt x="1521821" y="1348707"/>
                      <a:pt x="1527984" y="1354865"/>
                      <a:pt x="1535629" y="1354865"/>
                    </a:cubicBezTo>
                    <a:cubicBezTo>
                      <a:pt x="1543273" y="1354865"/>
                      <a:pt x="1549683" y="1348460"/>
                      <a:pt x="1549683" y="1340811"/>
                    </a:cubicBezTo>
                    <a:close/>
                    <a:moveTo>
                      <a:pt x="1549932" y="6171472"/>
                    </a:moveTo>
                    <a:cubicBezTo>
                      <a:pt x="1549932" y="6162349"/>
                      <a:pt x="1542287" y="6154704"/>
                      <a:pt x="1533164" y="6154704"/>
                    </a:cubicBezTo>
                    <a:cubicBezTo>
                      <a:pt x="1523796" y="6154704"/>
                      <a:pt x="1516398" y="6162103"/>
                      <a:pt x="1516398" y="6171472"/>
                    </a:cubicBezTo>
                    <a:cubicBezTo>
                      <a:pt x="1516398" y="6180840"/>
                      <a:pt x="1524042" y="6188238"/>
                      <a:pt x="1533164" y="6188238"/>
                    </a:cubicBezTo>
                    <a:cubicBezTo>
                      <a:pt x="1542287" y="6188238"/>
                      <a:pt x="1549932" y="6180840"/>
                      <a:pt x="1549932" y="6171472"/>
                    </a:cubicBezTo>
                    <a:close/>
                    <a:moveTo>
                      <a:pt x="1550178" y="4270128"/>
                    </a:moveTo>
                    <a:cubicBezTo>
                      <a:pt x="1550178" y="4244976"/>
                      <a:pt x="1529714" y="4224263"/>
                      <a:pt x="1504316" y="4224263"/>
                    </a:cubicBezTo>
                    <a:cubicBezTo>
                      <a:pt x="1478918" y="4224263"/>
                      <a:pt x="1458206" y="4244730"/>
                      <a:pt x="1458206" y="4270128"/>
                    </a:cubicBezTo>
                    <a:cubicBezTo>
                      <a:pt x="1458206" y="4295278"/>
                      <a:pt x="1478918" y="4315990"/>
                      <a:pt x="1504316" y="4315990"/>
                    </a:cubicBezTo>
                    <a:cubicBezTo>
                      <a:pt x="1529714" y="4315990"/>
                      <a:pt x="1550178" y="4295524"/>
                      <a:pt x="1550178" y="4270128"/>
                    </a:cubicBezTo>
                    <a:close/>
                    <a:moveTo>
                      <a:pt x="1550672" y="6299937"/>
                    </a:moveTo>
                    <a:cubicBezTo>
                      <a:pt x="1550672" y="6286375"/>
                      <a:pt x="1539823" y="6275525"/>
                      <a:pt x="1526261" y="6275525"/>
                    </a:cubicBezTo>
                    <a:cubicBezTo>
                      <a:pt x="1512698" y="6275525"/>
                      <a:pt x="1501849" y="6286375"/>
                      <a:pt x="1501849" y="6299937"/>
                    </a:cubicBezTo>
                    <a:cubicBezTo>
                      <a:pt x="1501849" y="6313250"/>
                      <a:pt x="1512698" y="6324349"/>
                      <a:pt x="1526261" y="6324349"/>
                    </a:cubicBezTo>
                    <a:cubicBezTo>
                      <a:pt x="1539823" y="6324349"/>
                      <a:pt x="1550672" y="6313250"/>
                      <a:pt x="1550672" y="6299937"/>
                    </a:cubicBezTo>
                    <a:close/>
                    <a:moveTo>
                      <a:pt x="1551902" y="3882017"/>
                    </a:moveTo>
                    <a:cubicBezTo>
                      <a:pt x="1551902" y="3853906"/>
                      <a:pt x="1528971" y="3830975"/>
                      <a:pt x="1500862" y="3830975"/>
                    </a:cubicBezTo>
                    <a:cubicBezTo>
                      <a:pt x="1472752" y="3830975"/>
                      <a:pt x="1449821" y="3853906"/>
                      <a:pt x="1449821" y="3882017"/>
                    </a:cubicBezTo>
                    <a:cubicBezTo>
                      <a:pt x="1449821" y="3910125"/>
                      <a:pt x="1472752" y="3933056"/>
                      <a:pt x="1500862" y="3933056"/>
                    </a:cubicBezTo>
                    <a:cubicBezTo>
                      <a:pt x="1528971" y="3933056"/>
                      <a:pt x="1551902" y="3910125"/>
                      <a:pt x="1551902" y="3882017"/>
                    </a:cubicBezTo>
                    <a:close/>
                    <a:moveTo>
                      <a:pt x="1553383" y="914541"/>
                    </a:moveTo>
                    <a:cubicBezTo>
                      <a:pt x="1553383" y="906650"/>
                      <a:pt x="1546971" y="900241"/>
                      <a:pt x="1539081" y="900241"/>
                    </a:cubicBezTo>
                    <a:cubicBezTo>
                      <a:pt x="1531438" y="900241"/>
                      <a:pt x="1525026" y="906650"/>
                      <a:pt x="1525026" y="914541"/>
                    </a:cubicBezTo>
                    <a:cubicBezTo>
                      <a:pt x="1525026" y="922188"/>
                      <a:pt x="1531190" y="928602"/>
                      <a:pt x="1539081" y="928602"/>
                    </a:cubicBezTo>
                    <a:cubicBezTo>
                      <a:pt x="1546971" y="928602"/>
                      <a:pt x="1553383" y="922437"/>
                      <a:pt x="1553383" y="914541"/>
                    </a:cubicBezTo>
                    <a:close/>
                    <a:moveTo>
                      <a:pt x="1553874" y="5911825"/>
                    </a:moveTo>
                    <a:cubicBezTo>
                      <a:pt x="1553874" y="5909362"/>
                      <a:pt x="1552150" y="5907389"/>
                      <a:pt x="1549684" y="5907389"/>
                    </a:cubicBezTo>
                    <a:cubicBezTo>
                      <a:pt x="1547465" y="5907389"/>
                      <a:pt x="1545493" y="5909362"/>
                      <a:pt x="1545493" y="5911825"/>
                    </a:cubicBezTo>
                    <a:cubicBezTo>
                      <a:pt x="1545493" y="5914046"/>
                      <a:pt x="1547219" y="5916020"/>
                      <a:pt x="1549684" y="5916020"/>
                    </a:cubicBezTo>
                    <a:cubicBezTo>
                      <a:pt x="1552150" y="5916020"/>
                      <a:pt x="1554123" y="5914046"/>
                      <a:pt x="1553874" y="5911825"/>
                    </a:cubicBezTo>
                    <a:close/>
                    <a:moveTo>
                      <a:pt x="1555355" y="4618292"/>
                    </a:moveTo>
                    <a:lnTo>
                      <a:pt x="1555109" y="4618045"/>
                    </a:lnTo>
                    <a:lnTo>
                      <a:pt x="1555109" y="4618292"/>
                    </a:lnTo>
                    <a:lnTo>
                      <a:pt x="1555109" y="4618540"/>
                    </a:lnTo>
                    <a:close/>
                    <a:moveTo>
                      <a:pt x="1556343" y="7777"/>
                    </a:moveTo>
                    <a:lnTo>
                      <a:pt x="1553134" y="0"/>
                    </a:lnTo>
                    <a:lnTo>
                      <a:pt x="1525827" y="0"/>
                    </a:lnTo>
                    <a:lnTo>
                      <a:pt x="1522562" y="7777"/>
                    </a:lnTo>
                    <a:cubicBezTo>
                      <a:pt x="1522562" y="16899"/>
                      <a:pt x="1530206" y="24542"/>
                      <a:pt x="1539575" y="24542"/>
                    </a:cubicBezTo>
                    <a:cubicBezTo>
                      <a:pt x="1548946" y="24542"/>
                      <a:pt x="1556343" y="16899"/>
                      <a:pt x="1556343" y="7777"/>
                    </a:cubicBezTo>
                    <a:close/>
                    <a:moveTo>
                      <a:pt x="1557327" y="6042266"/>
                    </a:moveTo>
                    <a:cubicBezTo>
                      <a:pt x="1557327" y="6033141"/>
                      <a:pt x="1549932" y="6025991"/>
                      <a:pt x="1541055" y="6025991"/>
                    </a:cubicBezTo>
                    <a:cubicBezTo>
                      <a:pt x="1531930" y="6025991"/>
                      <a:pt x="1524780" y="6033389"/>
                      <a:pt x="1524780" y="6042266"/>
                    </a:cubicBezTo>
                    <a:cubicBezTo>
                      <a:pt x="1524780" y="6051143"/>
                      <a:pt x="1532178" y="6058293"/>
                      <a:pt x="1541055" y="6058293"/>
                    </a:cubicBezTo>
                    <a:cubicBezTo>
                      <a:pt x="1549932" y="6058293"/>
                      <a:pt x="1557082" y="6051143"/>
                      <a:pt x="1557327" y="6042266"/>
                    </a:cubicBezTo>
                    <a:close/>
                    <a:moveTo>
                      <a:pt x="1559795" y="130541"/>
                    </a:moveTo>
                    <a:cubicBezTo>
                      <a:pt x="1559795" y="121416"/>
                      <a:pt x="1552396" y="114021"/>
                      <a:pt x="1543274" y="114021"/>
                    </a:cubicBezTo>
                    <a:cubicBezTo>
                      <a:pt x="1534152" y="114021"/>
                      <a:pt x="1526753" y="121416"/>
                      <a:pt x="1526753" y="130541"/>
                    </a:cubicBezTo>
                    <a:cubicBezTo>
                      <a:pt x="1526753" y="139664"/>
                      <a:pt x="1534152" y="147059"/>
                      <a:pt x="1543274" y="147059"/>
                    </a:cubicBezTo>
                    <a:cubicBezTo>
                      <a:pt x="1552396" y="147059"/>
                      <a:pt x="1559795" y="139664"/>
                      <a:pt x="1559795" y="130541"/>
                    </a:cubicBezTo>
                    <a:close/>
                    <a:moveTo>
                      <a:pt x="1560040" y="2138127"/>
                    </a:moveTo>
                    <a:cubicBezTo>
                      <a:pt x="1560040" y="2134922"/>
                      <a:pt x="1557328" y="2132212"/>
                      <a:pt x="1554123" y="2132212"/>
                    </a:cubicBezTo>
                    <a:cubicBezTo>
                      <a:pt x="1551164" y="2132212"/>
                      <a:pt x="1548452" y="2134922"/>
                      <a:pt x="1548452" y="2138127"/>
                    </a:cubicBezTo>
                    <a:cubicBezTo>
                      <a:pt x="1548452" y="2141333"/>
                      <a:pt x="1550916" y="2144047"/>
                      <a:pt x="1554123" y="2144047"/>
                    </a:cubicBezTo>
                    <a:cubicBezTo>
                      <a:pt x="1557328" y="2144047"/>
                      <a:pt x="1559792" y="2141333"/>
                      <a:pt x="1560040" y="2138127"/>
                    </a:cubicBezTo>
                    <a:close/>
                    <a:moveTo>
                      <a:pt x="1561027" y="2963146"/>
                    </a:moveTo>
                    <a:cubicBezTo>
                      <a:pt x="1561027" y="2944407"/>
                      <a:pt x="1545493" y="2928870"/>
                      <a:pt x="1526506" y="2928870"/>
                    </a:cubicBezTo>
                    <a:cubicBezTo>
                      <a:pt x="1507767" y="2928870"/>
                      <a:pt x="1492232" y="2944407"/>
                      <a:pt x="1492232" y="2963146"/>
                    </a:cubicBezTo>
                    <a:cubicBezTo>
                      <a:pt x="1492232" y="2981887"/>
                      <a:pt x="1507521" y="2997422"/>
                      <a:pt x="1526506" y="2997422"/>
                    </a:cubicBezTo>
                    <a:cubicBezTo>
                      <a:pt x="1545493" y="2997422"/>
                      <a:pt x="1561027" y="2981887"/>
                      <a:pt x="1561027" y="2963146"/>
                    </a:cubicBezTo>
                    <a:close/>
                    <a:moveTo>
                      <a:pt x="1562012" y="1045215"/>
                    </a:moveTo>
                    <a:cubicBezTo>
                      <a:pt x="1562012" y="1037560"/>
                      <a:pt x="1555602" y="1031153"/>
                      <a:pt x="1547957" y="1031153"/>
                    </a:cubicBezTo>
                    <a:cubicBezTo>
                      <a:pt x="1540315" y="1031153"/>
                      <a:pt x="1533903" y="1037560"/>
                      <a:pt x="1533903" y="1045215"/>
                    </a:cubicBezTo>
                    <a:cubicBezTo>
                      <a:pt x="1533903" y="1052853"/>
                      <a:pt x="1540066" y="1059263"/>
                      <a:pt x="1547957" y="1059263"/>
                    </a:cubicBezTo>
                    <a:cubicBezTo>
                      <a:pt x="1555602" y="1059263"/>
                      <a:pt x="1562012" y="1053096"/>
                      <a:pt x="1562012" y="1045215"/>
                    </a:cubicBezTo>
                    <a:close/>
                    <a:moveTo>
                      <a:pt x="1564727" y="1476903"/>
                    </a:moveTo>
                    <a:cubicBezTo>
                      <a:pt x="1564727" y="1468277"/>
                      <a:pt x="1557823" y="1461371"/>
                      <a:pt x="1549193" y="1461371"/>
                    </a:cubicBezTo>
                    <a:cubicBezTo>
                      <a:pt x="1540562" y="1461371"/>
                      <a:pt x="1533657" y="1468277"/>
                      <a:pt x="1533657" y="1476903"/>
                    </a:cubicBezTo>
                    <a:cubicBezTo>
                      <a:pt x="1533657" y="1485539"/>
                      <a:pt x="1540562" y="1492441"/>
                      <a:pt x="1549193" y="1492441"/>
                    </a:cubicBezTo>
                    <a:cubicBezTo>
                      <a:pt x="1557823" y="1492441"/>
                      <a:pt x="1564727" y="1485539"/>
                      <a:pt x="1564727" y="1476903"/>
                    </a:cubicBezTo>
                    <a:close/>
                    <a:moveTo>
                      <a:pt x="1568177" y="2581695"/>
                    </a:moveTo>
                    <a:cubicBezTo>
                      <a:pt x="1568177" y="2571091"/>
                      <a:pt x="1559546" y="2562459"/>
                      <a:pt x="1548943" y="2562459"/>
                    </a:cubicBezTo>
                    <a:cubicBezTo>
                      <a:pt x="1538343" y="2562459"/>
                      <a:pt x="1529712" y="2571091"/>
                      <a:pt x="1529712" y="2581695"/>
                    </a:cubicBezTo>
                    <a:cubicBezTo>
                      <a:pt x="1529712" y="2592297"/>
                      <a:pt x="1538343" y="2600927"/>
                      <a:pt x="1548943" y="2600927"/>
                    </a:cubicBezTo>
                    <a:cubicBezTo>
                      <a:pt x="1559300" y="2600927"/>
                      <a:pt x="1567931" y="2592297"/>
                      <a:pt x="1568177" y="2581695"/>
                    </a:cubicBezTo>
                    <a:close/>
                    <a:moveTo>
                      <a:pt x="1569163" y="4105907"/>
                    </a:moveTo>
                    <a:cubicBezTo>
                      <a:pt x="1569163" y="4100728"/>
                      <a:pt x="1565218" y="4096536"/>
                      <a:pt x="1560037" y="4096536"/>
                    </a:cubicBezTo>
                    <a:cubicBezTo>
                      <a:pt x="1554861" y="4096536"/>
                      <a:pt x="1550669" y="4100728"/>
                      <a:pt x="1550669" y="4105907"/>
                    </a:cubicBezTo>
                    <a:cubicBezTo>
                      <a:pt x="1550669" y="4110839"/>
                      <a:pt x="1554861" y="4115031"/>
                      <a:pt x="1560037" y="4115031"/>
                    </a:cubicBezTo>
                    <a:cubicBezTo>
                      <a:pt x="1564971" y="4115031"/>
                      <a:pt x="1569163" y="4111085"/>
                      <a:pt x="1569163" y="4105907"/>
                    </a:cubicBezTo>
                    <a:close/>
                    <a:moveTo>
                      <a:pt x="1569167" y="5013553"/>
                    </a:moveTo>
                    <a:cubicBezTo>
                      <a:pt x="1569167" y="5011580"/>
                      <a:pt x="1567440" y="5009853"/>
                      <a:pt x="1565221" y="5009853"/>
                    </a:cubicBezTo>
                    <a:cubicBezTo>
                      <a:pt x="1563249" y="5009853"/>
                      <a:pt x="1561522" y="5011331"/>
                      <a:pt x="1561522" y="5013553"/>
                    </a:cubicBezTo>
                    <a:cubicBezTo>
                      <a:pt x="1561522" y="5015525"/>
                      <a:pt x="1563249" y="5017252"/>
                      <a:pt x="1565221" y="5017252"/>
                    </a:cubicBezTo>
                    <a:cubicBezTo>
                      <a:pt x="1567440" y="5017252"/>
                      <a:pt x="1569167" y="5015525"/>
                      <a:pt x="1569167" y="5013553"/>
                    </a:cubicBezTo>
                    <a:close/>
                    <a:moveTo>
                      <a:pt x="1574839" y="1615219"/>
                    </a:moveTo>
                    <a:cubicBezTo>
                      <a:pt x="1574839" y="1609302"/>
                      <a:pt x="1570152" y="1604613"/>
                      <a:pt x="1564235" y="1604613"/>
                    </a:cubicBezTo>
                    <a:cubicBezTo>
                      <a:pt x="1558317" y="1604613"/>
                      <a:pt x="1553631" y="1609302"/>
                      <a:pt x="1553631" y="1615219"/>
                    </a:cubicBezTo>
                    <a:cubicBezTo>
                      <a:pt x="1553631" y="1621134"/>
                      <a:pt x="1558317" y="1625820"/>
                      <a:pt x="1564235" y="1625820"/>
                    </a:cubicBezTo>
                    <a:cubicBezTo>
                      <a:pt x="1570152" y="1625820"/>
                      <a:pt x="1575084" y="1621134"/>
                      <a:pt x="1574839" y="1615219"/>
                    </a:cubicBezTo>
                    <a:close/>
                    <a:moveTo>
                      <a:pt x="1576808" y="3994702"/>
                    </a:moveTo>
                    <a:cubicBezTo>
                      <a:pt x="1576808" y="3967333"/>
                      <a:pt x="1554617" y="3945141"/>
                      <a:pt x="1527246" y="3945141"/>
                    </a:cubicBezTo>
                    <a:cubicBezTo>
                      <a:pt x="1499879" y="3945141"/>
                      <a:pt x="1477686" y="3967333"/>
                      <a:pt x="1477686" y="3994702"/>
                    </a:cubicBezTo>
                    <a:cubicBezTo>
                      <a:pt x="1477686" y="4022073"/>
                      <a:pt x="1499879" y="4044265"/>
                      <a:pt x="1527246" y="4044265"/>
                    </a:cubicBezTo>
                    <a:cubicBezTo>
                      <a:pt x="1554617" y="4044265"/>
                      <a:pt x="1576808" y="4022073"/>
                      <a:pt x="1576808" y="3994702"/>
                    </a:cubicBezTo>
                    <a:close/>
                    <a:moveTo>
                      <a:pt x="1586180" y="3479110"/>
                    </a:moveTo>
                    <a:cubicBezTo>
                      <a:pt x="1586180" y="3469495"/>
                      <a:pt x="1578289" y="3461969"/>
                      <a:pt x="1568918" y="3461969"/>
                    </a:cubicBezTo>
                    <a:cubicBezTo>
                      <a:pt x="1559303" y="3461969"/>
                      <a:pt x="1551659" y="3469742"/>
                      <a:pt x="1551659" y="3479110"/>
                    </a:cubicBezTo>
                    <a:cubicBezTo>
                      <a:pt x="1551659" y="3488727"/>
                      <a:pt x="1559549" y="3496372"/>
                      <a:pt x="1568918" y="3496372"/>
                    </a:cubicBezTo>
                    <a:cubicBezTo>
                      <a:pt x="1578289" y="3496372"/>
                      <a:pt x="1585933" y="3488727"/>
                      <a:pt x="1586180" y="3479110"/>
                    </a:cubicBezTo>
                    <a:close/>
                    <a:moveTo>
                      <a:pt x="1586917" y="2289749"/>
                    </a:moveTo>
                    <a:cubicBezTo>
                      <a:pt x="1586917" y="2288034"/>
                      <a:pt x="1585439" y="2286803"/>
                      <a:pt x="1583958" y="2286803"/>
                    </a:cubicBezTo>
                    <a:cubicBezTo>
                      <a:pt x="1582231" y="2286803"/>
                      <a:pt x="1580999" y="2288034"/>
                      <a:pt x="1580999" y="2289749"/>
                    </a:cubicBezTo>
                    <a:cubicBezTo>
                      <a:pt x="1580999" y="2291489"/>
                      <a:pt x="1582231" y="2292719"/>
                      <a:pt x="1583958" y="2292719"/>
                    </a:cubicBezTo>
                    <a:cubicBezTo>
                      <a:pt x="1585439" y="2292719"/>
                      <a:pt x="1586671" y="2291489"/>
                      <a:pt x="1586917" y="2289749"/>
                    </a:cubicBezTo>
                    <a:close/>
                    <a:moveTo>
                      <a:pt x="1587409" y="3595001"/>
                    </a:moveTo>
                    <a:cubicBezTo>
                      <a:pt x="1587409" y="3586619"/>
                      <a:pt x="1580505" y="3579960"/>
                      <a:pt x="1572368" y="3579960"/>
                    </a:cubicBezTo>
                    <a:cubicBezTo>
                      <a:pt x="1564232" y="3579960"/>
                      <a:pt x="1557574" y="3586864"/>
                      <a:pt x="1557574" y="3595001"/>
                    </a:cubicBezTo>
                    <a:cubicBezTo>
                      <a:pt x="1557574" y="3603385"/>
                      <a:pt x="1564232" y="3610043"/>
                      <a:pt x="1572368" y="3610043"/>
                    </a:cubicBezTo>
                    <a:cubicBezTo>
                      <a:pt x="1580753" y="3610043"/>
                      <a:pt x="1587409" y="3603385"/>
                      <a:pt x="1587409" y="3595001"/>
                    </a:cubicBezTo>
                    <a:close/>
                    <a:moveTo>
                      <a:pt x="1590617" y="1756259"/>
                    </a:moveTo>
                    <a:cubicBezTo>
                      <a:pt x="1590617" y="1751077"/>
                      <a:pt x="1586423" y="1746631"/>
                      <a:pt x="1581000" y="1746631"/>
                    </a:cubicBezTo>
                    <a:cubicBezTo>
                      <a:pt x="1575822" y="1746631"/>
                      <a:pt x="1571382" y="1750827"/>
                      <a:pt x="1571382" y="1756259"/>
                    </a:cubicBezTo>
                    <a:cubicBezTo>
                      <a:pt x="1571382" y="1761442"/>
                      <a:pt x="1575574" y="1765885"/>
                      <a:pt x="1581000" y="1765885"/>
                    </a:cubicBezTo>
                    <a:cubicBezTo>
                      <a:pt x="1586423" y="1765885"/>
                      <a:pt x="1590617" y="1761442"/>
                      <a:pt x="1590617" y="1756259"/>
                    </a:cubicBezTo>
                    <a:close/>
                    <a:moveTo>
                      <a:pt x="1591358" y="3363327"/>
                    </a:moveTo>
                    <a:cubicBezTo>
                      <a:pt x="1591358" y="3352726"/>
                      <a:pt x="1582727" y="3344097"/>
                      <a:pt x="1572126" y="3344097"/>
                    </a:cubicBezTo>
                    <a:cubicBezTo>
                      <a:pt x="1561522" y="3344097"/>
                      <a:pt x="1552891" y="3352726"/>
                      <a:pt x="1552891" y="3363327"/>
                    </a:cubicBezTo>
                    <a:cubicBezTo>
                      <a:pt x="1552891" y="3373921"/>
                      <a:pt x="1561522" y="3382559"/>
                      <a:pt x="1572126" y="3382559"/>
                    </a:cubicBezTo>
                    <a:cubicBezTo>
                      <a:pt x="1582975" y="3382559"/>
                      <a:pt x="1591603" y="3373921"/>
                      <a:pt x="1591358" y="3363327"/>
                    </a:cubicBezTo>
                    <a:close/>
                    <a:moveTo>
                      <a:pt x="1591602" y="2851937"/>
                    </a:moveTo>
                    <a:cubicBezTo>
                      <a:pt x="1591602" y="2833935"/>
                      <a:pt x="1577054" y="2819142"/>
                      <a:pt x="1559055" y="2819142"/>
                    </a:cubicBezTo>
                    <a:cubicBezTo>
                      <a:pt x="1541055" y="2819142"/>
                      <a:pt x="1526261" y="2833935"/>
                      <a:pt x="1526261" y="2851937"/>
                    </a:cubicBezTo>
                    <a:cubicBezTo>
                      <a:pt x="1526261" y="2870185"/>
                      <a:pt x="1541055" y="2884734"/>
                      <a:pt x="1559055" y="2884734"/>
                    </a:cubicBezTo>
                    <a:cubicBezTo>
                      <a:pt x="1577054" y="2884734"/>
                      <a:pt x="1591848" y="2869937"/>
                      <a:pt x="1591602" y="2851937"/>
                    </a:cubicBezTo>
                    <a:close/>
                    <a:moveTo>
                      <a:pt x="1593329" y="7099088"/>
                    </a:moveTo>
                    <a:cubicBezTo>
                      <a:pt x="1593329" y="7097362"/>
                      <a:pt x="1591848" y="7095883"/>
                      <a:pt x="1590121" y="7095883"/>
                    </a:cubicBezTo>
                    <a:cubicBezTo>
                      <a:pt x="1588149" y="7095883"/>
                      <a:pt x="1586671" y="7097362"/>
                      <a:pt x="1586671" y="7099088"/>
                    </a:cubicBezTo>
                    <a:cubicBezTo>
                      <a:pt x="1586671" y="7100815"/>
                      <a:pt x="1588149" y="7102293"/>
                      <a:pt x="1590121" y="7102293"/>
                    </a:cubicBezTo>
                    <a:cubicBezTo>
                      <a:pt x="1591848" y="7102293"/>
                      <a:pt x="1593329" y="7100815"/>
                      <a:pt x="1593329" y="7099088"/>
                    </a:cubicBezTo>
                    <a:close/>
                    <a:moveTo>
                      <a:pt x="1593575" y="5519279"/>
                    </a:moveTo>
                    <a:cubicBezTo>
                      <a:pt x="1593575" y="5518787"/>
                      <a:pt x="1593081" y="5518293"/>
                      <a:pt x="1592590" y="5518293"/>
                    </a:cubicBezTo>
                    <a:cubicBezTo>
                      <a:pt x="1592094" y="5518293"/>
                      <a:pt x="1591603" y="5518787"/>
                      <a:pt x="1591603" y="5519279"/>
                    </a:cubicBezTo>
                    <a:cubicBezTo>
                      <a:pt x="1591603" y="5519771"/>
                      <a:pt x="1592094" y="5520265"/>
                      <a:pt x="1592590" y="5520265"/>
                    </a:cubicBezTo>
                    <a:cubicBezTo>
                      <a:pt x="1593081" y="5520265"/>
                      <a:pt x="1593330" y="5519771"/>
                      <a:pt x="1593575" y="5519279"/>
                    </a:cubicBezTo>
                    <a:close/>
                    <a:moveTo>
                      <a:pt x="1594562" y="5787554"/>
                    </a:moveTo>
                    <a:cubicBezTo>
                      <a:pt x="1594562" y="5773499"/>
                      <a:pt x="1582972" y="5761910"/>
                      <a:pt x="1568918" y="5761910"/>
                    </a:cubicBezTo>
                    <a:cubicBezTo>
                      <a:pt x="1554864" y="5761910"/>
                      <a:pt x="1543274" y="5773251"/>
                      <a:pt x="1543274" y="5787554"/>
                    </a:cubicBezTo>
                    <a:cubicBezTo>
                      <a:pt x="1543274" y="5801608"/>
                      <a:pt x="1554864" y="5813198"/>
                      <a:pt x="1568918" y="5813198"/>
                    </a:cubicBezTo>
                    <a:cubicBezTo>
                      <a:pt x="1583221" y="5813198"/>
                      <a:pt x="1594562" y="5801608"/>
                      <a:pt x="1594562" y="5787554"/>
                    </a:cubicBezTo>
                    <a:close/>
                    <a:moveTo>
                      <a:pt x="1595056" y="4376400"/>
                    </a:moveTo>
                    <a:cubicBezTo>
                      <a:pt x="1595056" y="4351743"/>
                      <a:pt x="1574836" y="4331522"/>
                      <a:pt x="1550178" y="4331522"/>
                    </a:cubicBezTo>
                    <a:cubicBezTo>
                      <a:pt x="1525521" y="4331522"/>
                      <a:pt x="1505303" y="4351743"/>
                      <a:pt x="1505303" y="4376400"/>
                    </a:cubicBezTo>
                    <a:cubicBezTo>
                      <a:pt x="1505303" y="4401058"/>
                      <a:pt x="1525521" y="4421275"/>
                      <a:pt x="1550178" y="4421275"/>
                    </a:cubicBezTo>
                    <a:cubicBezTo>
                      <a:pt x="1574836" y="4421275"/>
                      <a:pt x="1595056" y="4401058"/>
                      <a:pt x="1595056" y="4376400"/>
                    </a:cubicBezTo>
                    <a:close/>
                    <a:moveTo>
                      <a:pt x="1595549" y="3710647"/>
                    </a:moveTo>
                    <a:cubicBezTo>
                      <a:pt x="1595549" y="3703743"/>
                      <a:pt x="1589879" y="3698071"/>
                      <a:pt x="1582975" y="3698071"/>
                    </a:cubicBezTo>
                    <a:cubicBezTo>
                      <a:pt x="1576071" y="3698071"/>
                      <a:pt x="1570399" y="3703743"/>
                      <a:pt x="1570399" y="3710647"/>
                    </a:cubicBezTo>
                    <a:cubicBezTo>
                      <a:pt x="1570399" y="3717551"/>
                      <a:pt x="1576071" y="3723220"/>
                      <a:pt x="1582975" y="3723220"/>
                    </a:cubicBezTo>
                    <a:cubicBezTo>
                      <a:pt x="1589879" y="3723220"/>
                      <a:pt x="1595549" y="3717551"/>
                      <a:pt x="1595549" y="3710647"/>
                    </a:cubicBezTo>
                    <a:close/>
                    <a:moveTo>
                      <a:pt x="1596533" y="6977528"/>
                    </a:moveTo>
                    <a:cubicBezTo>
                      <a:pt x="1596533" y="6975554"/>
                      <a:pt x="1595055" y="6974076"/>
                      <a:pt x="1593080" y="6974076"/>
                    </a:cubicBezTo>
                    <a:cubicBezTo>
                      <a:pt x="1591108" y="6974076"/>
                      <a:pt x="1589630" y="6975803"/>
                      <a:pt x="1589630" y="6977528"/>
                    </a:cubicBezTo>
                    <a:cubicBezTo>
                      <a:pt x="1589630" y="6979503"/>
                      <a:pt x="1591357" y="6980981"/>
                      <a:pt x="1593080" y="6980981"/>
                    </a:cubicBezTo>
                    <a:cubicBezTo>
                      <a:pt x="1595055" y="6980981"/>
                      <a:pt x="1596533" y="6979503"/>
                      <a:pt x="1596533" y="6977528"/>
                    </a:cubicBezTo>
                    <a:close/>
                    <a:moveTo>
                      <a:pt x="1598261" y="6855226"/>
                    </a:moveTo>
                    <a:cubicBezTo>
                      <a:pt x="1598261" y="6853994"/>
                      <a:pt x="1597274" y="6853253"/>
                      <a:pt x="1596288" y="6853253"/>
                    </a:cubicBezTo>
                    <a:cubicBezTo>
                      <a:pt x="1595055" y="6853253"/>
                      <a:pt x="1594315" y="6854239"/>
                      <a:pt x="1594315" y="6855226"/>
                    </a:cubicBezTo>
                    <a:cubicBezTo>
                      <a:pt x="1594315" y="6856457"/>
                      <a:pt x="1595302" y="6857198"/>
                      <a:pt x="1596288" y="6857198"/>
                    </a:cubicBezTo>
                    <a:cubicBezTo>
                      <a:pt x="1597520" y="6857198"/>
                      <a:pt x="1598261" y="6856457"/>
                      <a:pt x="1598261" y="6855226"/>
                    </a:cubicBezTo>
                    <a:close/>
                    <a:moveTo>
                      <a:pt x="1602700" y="1898999"/>
                    </a:moveTo>
                    <a:cubicBezTo>
                      <a:pt x="1602700" y="1897768"/>
                      <a:pt x="1601711" y="1896783"/>
                      <a:pt x="1600479" y="1896783"/>
                    </a:cubicBezTo>
                    <a:cubicBezTo>
                      <a:pt x="1599246" y="1896783"/>
                      <a:pt x="1598261" y="1897768"/>
                      <a:pt x="1598261" y="1898999"/>
                    </a:cubicBezTo>
                    <a:cubicBezTo>
                      <a:pt x="1598261" y="1900232"/>
                      <a:pt x="1599246" y="1901219"/>
                      <a:pt x="1600479" y="1901219"/>
                    </a:cubicBezTo>
                    <a:cubicBezTo>
                      <a:pt x="1601711" y="1901219"/>
                      <a:pt x="1602700" y="1900232"/>
                      <a:pt x="1602700" y="1898999"/>
                    </a:cubicBezTo>
                    <a:close/>
                    <a:moveTo>
                      <a:pt x="1603932" y="3247693"/>
                    </a:moveTo>
                    <a:cubicBezTo>
                      <a:pt x="1603932" y="3235856"/>
                      <a:pt x="1594315" y="3226239"/>
                      <a:pt x="1582480" y="3226239"/>
                    </a:cubicBezTo>
                    <a:cubicBezTo>
                      <a:pt x="1570644" y="3226239"/>
                      <a:pt x="1561027" y="3235856"/>
                      <a:pt x="1561027" y="3247693"/>
                    </a:cubicBezTo>
                    <a:cubicBezTo>
                      <a:pt x="1561027" y="3259523"/>
                      <a:pt x="1570644" y="3269137"/>
                      <a:pt x="1582480" y="3269137"/>
                    </a:cubicBezTo>
                    <a:cubicBezTo>
                      <a:pt x="1594315" y="3269137"/>
                      <a:pt x="1603932" y="3259523"/>
                      <a:pt x="1603932" y="3247693"/>
                    </a:cubicBezTo>
                    <a:close/>
                    <a:moveTo>
                      <a:pt x="1604424" y="4866594"/>
                    </a:moveTo>
                    <a:cubicBezTo>
                      <a:pt x="1604424" y="4858211"/>
                      <a:pt x="1597767" y="4851553"/>
                      <a:pt x="1589381" y="4851553"/>
                    </a:cubicBezTo>
                    <a:cubicBezTo>
                      <a:pt x="1580999" y="4851553"/>
                      <a:pt x="1574341" y="4858457"/>
                      <a:pt x="1574341" y="4866594"/>
                    </a:cubicBezTo>
                    <a:cubicBezTo>
                      <a:pt x="1574341" y="4874977"/>
                      <a:pt x="1581246" y="4881637"/>
                      <a:pt x="1589381" y="4881637"/>
                    </a:cubicBezTo>
                    <a:cubicBezTo>
                      <a:pt x="1597521" y="4881637"/>
                      <a:pt x="1604424" y="4874732"/>
                      <a:pt x="1604424" y="4866594"/>
                    </a:cubicBezTo>
                    <a:close/>
                    <a:moveTo>
                      <a:pt x="1607875" y="4214893"/>
                    </a:moveTo>
                    <a:cubicBezTo>
                      <a:pt x="1607875" y="4209962"/>
                      <a:pt x="1603930" y="4206016"/>
                      <a:pt x="1598999" y="4206016"/>
                    </a:cubicBezTo>
                    <a:cubicBezTo>
                      <a:pt x="1594067" y="4206016"/>
                      <a:pt x="1590122" y="4209962"/>
                      <a:pt x="1590122" y="4214893"/>
                    </a:cubicBezTo>
                    <a:cubicBezTo>
                      <a:pt x="1590122" y="4219825"/>
                      <a:pt x="1594067" y="4223769"/>
                      <a:pt x="1598999" y="4223769"/>
                    </a:cubicBezTo>
                    <a:cubicBezTo>
                      <a:pt x="1603930" y="4223769"/>
                      <a:pt x="1607875" y="4219825"/>
                      <a:pt x="1607875" y="4214893"/>
                    </a:cubicBezTo>
                    <a:close/>
                    <a:moveTo>
                      <a:pt x="1608124" y="5654401"/>
                    </a:moveTo>
                    <a:cubicBezTo>
                      <a:pt x="1608124" y="5638869"/>
                      <a:pt x="1595549" y="5626292"/>
                      <a:pt x="1580013" y="5626292"/>
                    </a:cubicBezTo>
                    <a:cubicBezTo>
                      <a:pt x="1564480" y="5626292"/>
                      <a:pt x="1551905" y="5638869"/>
                      <a:pt x="1551905" y="5654401"/>
                    </a:cubicBezTo>
                    <a:cubicBezTo>
                      <a:pt x="1551905" y="5669935"/>
                      <a:pt x="1564480" y="5682512"/>
                      <a:pt x="1580013" y="5682512"/>
                    </a:cubicBezTo>
                    <a:cubicBezTo>
                      <a:pt x="1595549" y="5682512"/>
                      <a:pt x="1608371" y="5669935"/>
                      <a:pt x="1608124" y="5654401"/>
                    </a:cubicBezTo>
                    <a:close/>
                    <a:moveTo>
                      <a:pt x="1610096" y="5382430"/>
                    </a:moveTo>
                    <a:cubicBezTo>
                      <a:pt x="1610096" y="5380211"/>
                      <a:pt x="1608370" y="5378485"/>
                      <a:pt x="1606151" y="5378485"/>
                    </a:cubicBezTo>
                    <a:cubicBezTo>
                      <a:pt x="1603933" y="5378485"/>
                      <a:pt x="1602206" y="5380211"/>
                      <a:pt x="1602206" y="5382430"/>
                    </a:cubicBezTo>
                    <a:cubicBezTo>
                      <a:pt x="1602206" y="5384648"/>
                      <a:pt x="1603933" y="5386375"/>
                      <a:pt x="1606151" y="5386375"/>
                    </a:cubicBezTo>
                    <a:cubicBezTo>
                      <a:pt x="1608370" y="5386375"/>
                      <a:pt x="1610096" y="5384648"/>
                      <a:pt x="1610096" y="5382430"/>
                    </a:cubicBezTo>
                    <a:close/>
                    <a:moveTo>
                      <a:pt x="1610834" y="3825302"/>
                    </a:moveTo>
                    <a:cubicBezTo>
                      <a:pt x="1610834" y="3819633"/>
                      <a:pt x="1606149" y="3814947"/>
                      <a:pt x="1600477" y="3814947"/>
                    </a:cubicBezTo>
                    <a:cubicBezTo>
                      <a:pt x="1594808" y="3814947"/>
                      <a:pt x="1590122" y="3819633"/>
                      <a:pt x="1590122" y="3825302"/>
                    </a:cubicBezTo>
                    <a:cubicBezTo>
                      <a:pt x="1590122" y="3830974"/>
                      <a:pt x="1594808" y="3835659"/>
                      <a:pt x="1600477" y="3835659"/>
                    </a:cubicBezTo>
                    <a:cubicBezTo>
                      <a:pt x="1606149" y="3835659"/>
                      <a:pt x="1610588" y="3830974"/>
                      <a:pt x="1610834" y="3825302"/>
                    </a:cubicBezTo>
                    <a:close/>
                    <a:moveTo>
                      <a:pt x="1611823" y="6737609"/>
                    </a:moveTo>
                    <a:cubicBezTo>
                      <a:pt x="1611823" y="6735882"/>
                      <a:pt x="1610342" y="6734404"/>
                      <a:pt x="1608615" y="6734404"/>
                    </a:cubicBezTo>
                    <a:cubicBezTo>
                      <a:pt x="1606889" y="6734404"/>
                      <a:pt x="1605411" y="6735882"/>
                      <a:pt x="1605411" y="6737609"/>
                    </a:cubicBezTo>
                    <a:cubicBezTo>
                      <a:pt x="1605411" y="6739090"/>
                      <a:pt x="1606889" y="6740568"/>
                      <a:pt x="1608615" y="6740568"/>
                    </a:cubicBezTo>
                    <a:cubicBezTo>
                      <a:pt x="1610342" y="6740568"/>
                      <a:pt x="1611823" y="6739335"/>
                      <a:pt x="1611823" y="6737609"/>
                    </a:cubicBezTo>
                    <a:close/>
                    <a:moveTo>
                      <a:pt x="1614782" y="2477885"/>
                    </a:moveTo>
                    <a:cubicBezTo>
                      <a:pt x="1614782" y="2469995"/>
                      <a:pt x="1608370" y="2463334"/>
                      <a:pt x="1600234" y="2463334"/>
                    </a:cubicBezTo>
                    <a:cubicBezTo>
                      <a:pt x="1592098" y="2463334"/>
                      <a:pt x="1585685" y="2469745"/>
                      <a:pt x="1585685" y="2477885"/>
                    </a:cubicBezTo>
                    <a:cubicBezTo>
                      <a:pt x="1585685" y="2486021"/>
                      <a:pt x="1592098" y="2492431"/>
                      <a:pt x="1600234" y="2492431"/>
                    </a:cubicBezTo>
                    <a:cubicBezTo>
                      <a:pt x="1608370" y="2492431"/>
                      <a:pt x="1614782" y="2486021"/>
                      <a:pt x="1614782" y="2477885"/>
                    </a:cubicBezTo>
                    <a:close/>
                    <a:moveTo>
                      <a:pt x="1616014" y="6614322"/>
                    </a:moveTo>
                    <a:cubicBezTo>
                      <a:pt x="1616014" y="6612841"/>
                      <a:pt x="1614536" y="6611363"/>
                      <a:pt x="1612810" y="6611363"/>
                    </a:cubicBezTo>
                    <a:cubicBezTo>
                      <a:pt x="1611329" y="6611363"/>
                      <a:pt x="1609851" y="6612595"/>
                      <a:pt x="1609851" y="6614322"/>
                    </a:cubicBezTo>
                    <a:cubicBezTo>
                      <a:pt x="1609851" y="6615800"/>
                      <a:pt x="1611083" y="6617281"/>
                      <a:pt x="1612810" y="6617281"/>
                    </a:cubicBezTo>
                    <a:cubicBezTo>
                      <a:pt x="1614536" y="6617281"/>
                      <a:pt x="1615767" y="6615800"/>
                      <a:pt x="1616014" y="6614322"/>
                    </a:cubicBezTo>
                    <a:close/>
                    <a:moveTo>
                      <a:pt x="1617742" y="4716924"/>
                    </a:moveTo>
                    <a:cubicBezTo>
                      <a:pt x="1617742" y="4716676"/>
                      <a:pt x="1617495" y="4716429"/>
                      <a:pt x="1617246" y="4716429"/>
                    </a:cubicBezTo>
                    <a:cubicBezTo>
                      <a:pt x="1617001" y="4716429"/>
                      <a:pt x="1616755" y="4716676"/>
                      <a:pt x="1616755" y="4716924"/>
                    </a:cubicBezTo>
                    <a:cubicBezTo>
                      <a:pt x="1616755" y="4717170"/>
                      <a:pt x="1617001" y="4717416"/>
                      <a:pt x="1617246" y="4717416"/>
                    </a:cubicBezTo>
                    <a:cubicBezTo>
                      <a:pt x="1617495" y="4717416"/>
                      <a:pt x="1617495" y="4717170"/>
                      <a:pt x="1617742" y="4716924"/>
                    </a:cubicBezTo>
                    <a:close/>
                    <a:moveTo>
                      <a:pt x="1619217" y="6489803"/>
                    </a:moveTo>
                    <a:cubicBezTo>
                      <a:pt x="1619217" y="6488816"/>
                      <a:pt x="1618480" y="6488075"/>
                      <a:pt x="1617493" y="6488075"/>
                    </a:cubicBezTo>
                    <a:cubicBezTo>
                      <a:pt x="1616506" y="6488075"/>
                      <a:pt x="1615766" y="6488816"/>
                      <a:pt x="1615766" y="6489803"/>
                    </a:cubicBezTo>
                    <a:cubicBezTo>
                      <a:pt x="1615766" y="6490789"/>
                      <a:pt x="1616506" y="6491526"/>
                      <a:pt x="1617493" y="6491526"/>
                    </a:cubicBezTo>
                    <a:cubicBezTo>
                      <a:pt x="1618480" y="6491526"/>
                      <a:pt x="1619217" y="6490789"/>
                      <a:pt x="1619217" y="6489803"/>
                    </a:cubicBezTo>
                    <a:close/>
                    <a:moveTo>
                      <a:pt x="1622670" y="219526"/>
                    </a:moveTo>
                    <a:cubicBezTo>
                      <a:pt x="1622670" y="210404"/>
                      <a:pt x="1615273" y="202761"/>
                      <a:pt x="1605902" y="202761"/>
                    </a:cubicBezTo>
                    <a:cubicBezTo>
                      <a:pt x="1596780" y="202761"/>
                      <a:pt x="1589136" y="210156"/>
                      <a:pt x="1589136" y="219526"/>
                    </a:cubicBezTo>
                    <a:cubicBezTo>
                      <a:pt x="1589136" y="228648"/>
                      <a:pt x="1596534" y="236293"/>
                      <a:pt x="1605902" y="236293"/>
                    </a:cubicBezTo>
                    <a:cubicBezTo>
                      <a:pt x="1615273" y="236293"/>
                      <a:pt x="1622670" y="228648"/>
                      <a:pt x="1622670" y="219526"/>
                    </a:cubicBezTo>
                    <a:close/>
                    <a:moveTo>
                      <a:pt x="1623167" y="3133029"/>
                    </a:moveTo>
                    <a:cubicBezTo>
                      <a:pt x="1623167" y="3120206"/>
                      <a:pt x="1612810" y="3109603"/>
                      <a:pt x="1599742" y="3109603"/>
                    </a:cubicBezTo>
                    <a:cubicBezTo>
                      <a:pt x="1586920" y="3109603"/>
                      <a:pt x="1576317" y="3120206"/>
                      <a:pt x="1576317" y="3133029"/>
                    </a:cubicBezTo>
                    <a:cubicBezTo>
                      <a:pt x="1576317" y="3145851"/>
                      <a:pt x="1586920" y="3156455"/>
                      <a:pt x="1599742" y="3156455"/>
                    </a:cubicBezTo>
                    <a:cubicBezTo>
                      <a:pt x="1612810" y="3156455"/>
                      <a:pt x="1623167" y="3145851"/>
                      <a:pt x="1623167" y="3133029"/>
                    </a:cubicBezTo>
                    <a:close/>
                    <a:moveTo>
                      <a:pt x="1626124" y="2043914"/>
                    </a:moveTo>
                    <a:cubicBezTo>
                      <a:pt x="1626124" y="2041942"/>
                      <a:pt x="1624646" y="2040463"/>
                      <a:pt x="1622673" y="2040463"/>
                    </a:cubicBezTo>
                    <a:cubicBezTo>
                      <a:pt x="1620700" y="2040463"/>
                      <a:pt x="1618974" y="2041942"/>
                      <a:pt x="1618974" y="2043914"/>
                    </a:cubicBezTo>
                    <a:cubicBezTo>
                      <a:pt x="1618974" y="2046136"/>
                      <a:pt x="1620700" y="2047615"/>
                      <a:pt x="1622673" y="2047615"/>
                    </a:cubicBezTo>
                    <a:cubicBezTo>
                      <a:pt x="1624646" y="2047615"/>
                      <a:pt x="1626373" y="2046136"/>
                      <a:pt x="1626124" y="2043914"/>
                    </a:cubicBezTo>
                    <a:close/>
                    <a:moveTo>
                      <a:pt x="1626369" y="5243607"/>
                    </a:moveTo>
                    <a:cubicBezTo>
                      <a:pt x="1626369" y="5241389"/>
                      <a:pt x="1624396" y="5239415"/>
                      <a:pt x="1622178" y="5239415"/>
                    </a:cubicBezTo>
                    <a:cubicBezTo>
                      <a:pt x="1619959" y="5239415"/>
                      <a:pt x="1617987" y="5241389"/>
                      <a:pt x="1617987" y="5243607"/>
                    </a:cubicBezTo>
                    <a:cubicBezTo>
                      <a:pt x="1617987" y="5245825"/>
                      <a:pt x="1619959" y="5247798"/>
                      <a:pt x="1622178" y="5247798"/>
                    </a:cubicBezTo>
                    <a:cubicBezTo>
                      <a:pt x="1624396" y="5247798"/>
                      <a:pt x="1626369" y="5246074"/>
                      <a:pt x="1626369" y="5243607"/>
                    </a:cubicBezTo>
                    <a:close/>
                    <a:moveTo>
                      <a:pt x="1626615" y="1132232"/>
                    </a:moveTo>
                    <a:cubicBezTo>
                      <a:pt x="1626615" y="1124346"/>
                      <a:pt x="1620205" y="1118171"/>
                      <a:pt x="1612561" y="1118171"/>
                    </a:cubicBezTo>
                    <a:cubicBezTo>
                      <a:pt x="1604670" y="1118171"/>
                      <a:pt x="1598507" y="1124595"/>
                      <a:pt x="1598507" y="1132232"/>
                    </a:cubicBezTo>
                    <a:cubicBezTo>
                      <a:pt x="1598507" y="1140121"/>
                      <a:pt x="1604915" y="1146287"/>
                      <a:pt x="1612561" y="1146287"/>
                    </a:cubicBezTo>
                    <a:cubicBezTo>
                      <a:pt x="1620451" y="1146287"/>
                      <a:pt x="1626615" y="1139875"/>
                      <a:pt x="1626615" y="1132232"/>
                    </a:cubicBezTo>
                    <a:close/>
                    <a:moveTo>
                      <a:pt x="1626861" y="342539"/>
                    </a:moveTo>
                    <a:cubicBezTo>
                      <a:pt x="1626861" y="333414"/>
                      <a:pt x="1619464" y="326018"/>
                      <a:pt x="1610342" y="326018"/>
                    </a:cubicBezTo>
                    <a:cubicBezTo>
                      <a:pt x="1601220" y="326018"/>
                      <a:pt x="1593821" y="333414"/>
                      <a:pt x="1593821" y="342539"/>
                    </a:cubicBezTo>
                    <a:cubicBezTo>
                      <a:pt x="1593821" y="351661"/>
                      <a:pt x="1601220" y="359059"/>
                      <a:pt x="1610342" y="359059"/>
                    </a:cubicBezTo>
                    <a:cubicBezTo>
                      <a:pt x="1619464" y="359059"/>
                      <a:pt x="1626861" y="351907"/>
                      <a:pt x="1626861" y="342539"/>
                    </a:cubicBezTo>
                    <a:close/>
                    <a:moveTo>
                      <a:pt x="1629083" y="2742702"/>
                    </a:moveTo>
                    <a:cubicBezTo>
                      <a:pt x="1629083" y="2725440"/>
                      <a:pt x="1615028" y="2711631"/>
                      <a:pt x="1598013" y="2711631"/>
                    </a:cubicBezTo>
                    <a:cubicBezTo>
                      <a:pt x="1580753" y="2711631"/>
                      <a:pt x="1566946" y="2725686"/>
                      <a:pt x="1566946" y="2742702"/>
                    </a:cubicBezTo>
                    <a:cubicBezTo>
                      <a:pt x="1566946" y="2759964"/>
                      <a:pt x="1581000" y="2773771"/>
                      <a:pt x="1598013" y="2773771"/>
                    </a:cubicBezTo>
                    <a:cubicBezTo>
                      <a:pt x="1615028" y="2773771"/>
                      <a:pt x="1629083" y="2759964"/>
                      <a:pt x="1629083" y="2742702"/>
                    </a:cubicBezTo>
                    <a:close/>
                    <a:moveTo>
                      <a:pt x="1631301" y="466784"/>
                    </a:moveTo>
                    <a:cubicBezTo>
                      <a:pt x="1631301" y="457907"/>
                      <a:pt x="1624151" y="450757"/>
                      <a:pt x="1615274" y="450757"/>
                    </a:cubicBezTo>
                    <a:cubicBezTo>
                      <a:pt x="1606397" y="450757"/>
                      <a:pt x="1599248" y="457907"/>
                      <a:pt x="1599248" y="466784"/>
                    </a:cubicBezTo>
                    <a:cubicBezTo>
                      <a:pt x="1599248" y="475659"/>
                      <a:pt x="1606397" y="482811"/>
                      <a:pt x="1615274" y="482811"/>
                    </a:cubicBezTo>
                    <a:cubicBezTo>
                      <a:pt x="1624151" y="482811"/>
                      <a:pt x="1631301" y="475659"/>
                      <a:pt x="1631301" y="466784"/>
                    </a:cubicBezTo>
                    <a:close/>
                    <a:moveTo>
                      <a:pt x="1632781" y="3938728"/>
                    </a:moveTo>
                    <a:cubicBezTo>
                      <a:pt x="1632781" y="3934291"/>
                      <a:pt x="1629330" y="3930837"/>
                      <a:pt x="1624891" y="3930837"/>
                    </a:cubicBezTo>
                    <a:cubicBezTo>
                      <a:pt x="1620451" y="3930837"/>
                      <a:pt x="1617001" y="3934291"/>
                      <a:pt x="1617001" y="3938728"/>
                    </a:cubicBezTo>
                    <a:cubicBezTo>
                      <a:pt x="1617001" y="3942919"/>
                      <a:pt x="1620451" y="3946618"/>
                      <a:pt x="1624891" y="3946618"/>
                    </a:cubicBezTo>
                    <a:cubicBezTo>
                      <a:pt x="1629082" y="3946618"/>
                      <a:pt x="1632781" y="3943168"/>
                      <a:pt x="1632781" y="3938728"/>
                    </a:cubicBezTo>
                    <a:close/>
                    <a:moveTo>
                      <a:pt x="1635986" y="1264367"/>
                    </a:moveTo>
                    <a:cubicBezTo>
                      <a:pt x="1635986" y="1256974"/>
                      <a:pt x="1630068" y="1251060"/>
                      <a:pt x="1622673" y="1251060"/>
                    </a:cubicBezTo>
                    <a:cubicBezTo>
                      <a:pt x="1615274" y="1251060"/>
                      <a:pt x="1609356" y="1256974"/>
                      <a:pt x="1609356" y="1264367"/>
                    </a:cubicBezTo>
                    <a:cubicBezTo>
                      <a:pt x="1609356" y="1271771"/>
                      <a:pt x="1615274" y="1277695"/>
                      <a:pt x="1622673" y="1277695"/>
                    </a:cubicBezTo>
                    <a:cubicBezTo>
                      <a:pt x="1629822" y="1277695"/>
                      <a:pt x="1635986" y="1271771"/>
                      <a:pt x="1635986" y="1264367"/>
                    </a:cubicBezTo>
                    <a:close/>
                    <a:moveTo>
                      <a:pt x="1636235" y="592021"/>
                    </a:moveTo>
                    <a:cubicBezTo>
                      <a:pt x="1636235" y="583390"/>
                      <a:pt x="1629330" y="576487"/>
                      <a:pt x="1620700" y="576487"/>
                    </a:cubicBezTo>
                    <a:cubicBezTo>
                      <a:pt x="1612070" y="576487"/>
                      <a:pt x="1605165" y="583390"/>
                      <a:pt x="1605165" y="592021"/>
                    </a:cubicBezTo>
                    <a:cubicBezTo>
                      <a:pt x="1605165" y="600649"/>
                      <a:pt x="1612070" y="607552"/>
                      <a:pt x="1620700" y="607552"/>
                    </a:cubicBezTo>
                    <a:cubicBezTo>
                      <a:pt x="1629083" y="607552"/>
                      <a:pt x="1636235" y="600649"/>
                      <a:pt x="1636235" y="592021"/>
                    </a:cubicBezTo>
                    <a:close/>
                    <a:moveTo>
                      <a:pt x="1641658" y="718042"/>
                    </a:moveTo>
                    <a:cubicBezTo>
                      <a:pt x="1641658" y="709661"/>
                      <a:pt x="1635000" y="703008"/>
                      <a:pt x="1626615" y="703008"/>
                    </a:cubicBezTo>
                    <a:cubicBezTo>
                      <a:pt x="1618233" y="703008"/>
                      <a:pt x="1611575" y="709661"/>
                      <a:pt x="1611575" y="718042"/>
                    </a:cubicBezTo>
                    <a:cubicBezTo>
                      <a:pt x="1611575" y="726418"/>
                      <a:pt x="1618233" y="733085"/>
                      <a:pt x="1626615" y="733085"/>
                    </a:cubicBezTo>
                    <a:cubicBezTo>
                      <a:pt x="1635000" y="733085"/>
                      <a:pt x="1641658" y="726418"/>
                      <a:pt x="1641658" y="718042"/>
                    </a:cubicBezTo>
                    <a:close/>
                    <a:moveTo>
                      <a:pt x="1642152" y="5102566"/>
                    </a:moveTo>
                    <a:cubicBezTo>
                      <a:pt x="1642152" y="5101334"/>
                      <a:pt x="1641164" y="5100347"/>
                      <a:pt x="1639932" y="5100347"/>
                    </a:cubicBezTo>
                    <a:cubicBezTo>
                      <a:pt x="1638699" y="5100347"/>
                      <a:pt x="1637714" y="5101334"/>
                      <a:pt x="1637714" y="5102566"/>
                    </a:cubicBezTo>
                    <a:cubicBezTo>
                      <a:pt x="1637714" y="5103798"/>
                      <a:pt x="1638699" y="5104784"/>
                      <a:pt x="1639932" y="5104784"/>
                    </a:cubicBezTo>
                    <a:cubicBezTo>
                      <a:pt x="1641164" y="5104784"/>
                      <a:pt x="1642152" y="5103798"/>
                      <a:pt x="1642152" y="5102566"/>
                    </a:cubicBezTo>
                    <a:close/>
                    <a:moveTo>
                      <a:pt x="1643877" y="6238541"/>
                    </a:moveTo>
                    <a:cubicBezTo>
                      <a:pt x="1643877" y="6229910"/>
                      <a:pt x="1636973" y="6223006"/>
                      <a:pt x="1628343" y="6223006"/>
                    </a:cubicBezTo>
                    <a:cubicBezTo>
                      <a:pt x="1619712" y="6223006"/>
                      <a:pt x="1612807" y="6229910"/>
                      <a:pt x="1612807" y="6238541"/>
                    </a:cubicBezTo>
                    <a:cubicBezTo>
                      <a:pt x="1612807" y="6247169"/>
                      <a:pt x="1619712" y="6254073"/>
                      <a:pt x="1628343" y="6254073"/>
                    </a:cubicBezTo>
                    <a:cubicBezTo>
                      <a:pt x="1636973" y="6254073"/>
                      <a:pt x="1643877" y="6246923"/>
                      <a:pt x="1643877" y="6238541"/>
                    </a:cubicBezTo>
                    <a:close/>
                    <a:moveTo>
                      <a:pt x="1644863" y="4479962"/>
                    </a:moveTo>
                    <a:cubicBezTo>
                      <a:pt x="1644863" y="4456291"/>
                      <a:pt x="1625383" y="4436811"/>
                      <a:pt x="1601712" y="4436811"/>
                    </a:cubicBezTo>
                    <a:cubicBezTo>
                      <a:pt x="1578040" y="4436811"/>
                      <a:pt x="1558560" y="4456291"/>
                      <a:pt x="1558560" y="4479962"/>
                    </a:cubicBezTo>
                    <a:cubicBezTo>
                      <a:pt x="1558560" y="4503633"/>
                      <a:pt x="1577791" y="4523114"/>
                      <a:pt x="1601712" y="4523114"/>
                    </a:cubicBezTo>
                    <a:cubicBezTo>
                      <a:pt x="1625629" y="4523114"/>
                      <a:pt x="1644863" y="4503633"/>
                      <a:pt x="1644863" y="4479962"/>
                    </a:cubicBezTo>
                    <a:close/>
                    <a:moveTo>
                      <a:pt x="1645603" y="6364787"/>
                    </a:moveTo>
                    <a:cubicBezTo>
                      <a:pt x="1645603" y="6352214"/>
                      <a:pt x="1635245" y="6341856"/>
                      <a:pt x="1622670" y="6341856"/>
                    </a:cubicBezTo>
                    <a:cubicBezTo>
                      <a:pt x="1610096" y="6341856"/>
                      <a:pt x="1599739" y="6352214"/>
                      <a:pt x="1599739" y="6364787"/>
                    </a:cubicBezTo>
                    <a:cubicBezTo>
                      <a:pt x="1599739" y="6377363"/>
                      <a:pt x="1610096" y="6387721"/>
                      <a:pt x="1622670" y="6387721"/>
                    </a:cubicBezTo>
                    <a:cubicBezTo>
                      <a:pt x="1635492" y="6387721"/>
                      <a:pt x="1645603" y="6377363"/>
                      <a:pt x="1645603" y="6364787"/>
                    </a:cubicBezTo>
                    <a:close/>
                    <a:moveTo>
                      <a:pt x="1646098" y="5982348"/>
                    </a:moveTo>
                    <a:cubicBezTo>
                      <a:pt x="1646098" y="5979883"/>
                      <a:pt x="1644126" y="5978157"/>
                      <a:pt x="1641905" y="5978157"/>
                    </a:cubicBezTo>
                    <a:cubicBezTo>
                      <a:pt x="1639440" y="5978157"/>
                      <a:pt x="1637714" y="5980130"/>
                      <a:pt x="1637714" y="5982348"/>
                    </a:cubicBezTo>
                    <a:cubicBezTo>
                      <a:pt x="1637714" y="5984569"/>
                      <a:pt x="1639686" y="5986539"/>
                      <a:pt x="1641905" y="5986539"/>
                    </a:cubicBezTo>
                    <a:cubicBezTo>
                      <a:pt x="1644126" y="5986539"/>
                      <a:pt x="1646098" y="5984815"/>
                      <a:pt x="1646098" y="5982348"/>
                    </a:cubicBezTo>
                    <a:close/>
                    <a:moveTo>
                      <a:pt x="1647329" y="845512"/>
                    </a:moveTo>
                    <a:cubicBezTo>
                      <a:pt x="1647329" y="837374"/>
                      <a:pt x="1640671" y="830963"/>
                      <a:pt x="1632782" y="830963"/>
                    </a:cubicBezTo>
                    <a:cubicBezTo>
                      <a:pt x="1624645" y="830963"/>
                      <a:pt x="1618233" y="837623"/>
                      <a:pt x="1618233" y="845512"/>
                    </a:cubicBezTo>
                    <a:cubicBezTo>
                      <a:pt x="1618233" y="853639"/>
                      <a:pt x="1624891" y="860052"/>
                      <a:pt x="1632782" y="860052"/>
                    </a:cubicBezTo>
                    <a:cubicBezTo>
                      <a:pt x="1640917" y="860052"/>
                      <a:pt x="1647329" y="853639"/>
                      <a:pt x="1647329" y="845512"/>
                    </a:cubicBezTo>
                    <a:close/>
                    <a:moveTo>
                      <a:pt x="1648561" y="1398003"/>
                    </a:moveTo>
                    <a:cubicBezTo>
                      <a:pt x="1648561" y="1390107"/>
                      <a:pt x="1642149" y="1383455"/>
                      <a:pt x="1634014" y="1383455"/>
                    </a:cubicBezTo>
                    <a:cubicBezTo>
                      <a:pt x="1626123" y="1383455"/>
                      <a:pt x="1619465" y="1389861"/>
                      <a:pt x="1619465" y="1398003"/>
                    </a:cubicBezTo>
                    <a:cubicBezTo>
                      <a:pt x="1619465" y="1405892"/>
                      <a:pt x="1625877" y="1412551"/>
                      <a:pt x="1634014" y="1412551"/>
                    </a:cubicBezTo>
                    <a:cubicBezTo>
                      <a:pt x="1642149" y="1412551"/>
                      <a:pt x="1648561" y="1406137"/>
                      <a:pt x="1648561" y="1398003"/>
                    </a:cubicBezTo>
                    <a:close/>
                    <a:moveTo>
                      <a:pt x="1649794" y="3019355"/>
                    </a:moveTo>
                    <a:cubicBezTo>
                      <a:pt x="1649794" y="3005300"/>
                      <a:pt x="1638204" y="2993710"/>
                      <a:pt x="1624151" y="2993710"/>
                    </a:cubicBezTo>
                    <a:cubicBezTo>
                      <a:pt x="1610096" y="2993710"/>
                      <a:pt x="1598507" y="3005300"/>
                      <a:pt x="1598507" y="3019355"/>
                    </a:cubicBezTo>
                    <a:cubicBezTo>
                      <a:pt x="1598507" y="3033656"/>
                      <a:pt x="1610096" y="3045001"/>
                      <a:pt x="1624151" y="3045001"/>
                    </a:cubicBezTo>
                    <a:cubicBezTo>
                      <a:pt x="1638204" y="3045001"/>
                      <a:pt x="1649548" y="3033409"/>
                      <a:pt x="1649794" y="3019355"/>
                    </a:cubicBezTo>
                    <a:close/>
                    <a:moveTo>
                      <a:pt x="1650041" y="2192612"/>
                    </a:moveTo>
                    <a:cubicBezTo>
                      <a:pt x="1650041" y="2191626"/>
                      <a:pt x="1649303" y="2190885"/>
                      <a:pt x="1648317" y="2190885"/>
                    </a:cubicBezTo>
                    <a:cubicBezTo>
                      <a:pt x="1647330" y="2190885"/>
                      <a:pt x="1646590" y="2191626"/>
                      <a:pt x="1646590" y="2192612"/>
                    </a:cubicBezTo>
                    <a:cubicBezTo>
                      <a:pt x="1646590" y="2193599"/>
                      <a:pt x="1647330" y="2194337"/>
                      <a:pt x="1648317" y="2194337"/>
                    </a:cubicBezTo>
                    <a:cubicBezTo>
                      <a:pt x="1649055" y="2194337"/>
                      <a:pt x="1649795" y="2193599"/>
                      <a:pt x="1650041" y="2192612"/>
                    </a:cubicBezTo>
                    <a:close/>
                    <a:moveTo>
                      <a:pt x="1650289" y="6111061"/>
                    </a:moveTo>
                    <a:cubicBezTo>
                      <a:pt x="1650289" y="6102431"/>
                      <a:pt x="1643385" y="6095526"/>
                      <a:pt x="1634755" y="6095526"/>
                    </a:cubicBezTo>
                    <a:cubicBezTo>
                      <a:pt x="1626124" y="6095526"/>
                      <a:pt x="1619220" y="6102431"/>
                      <a:pt x="1619220" y="6111061"/>
                    </a:cubicBezTo>
                    <a:cubicBezTo>
                      <a:pt x="1619220" y="6119692"/>
                      <a:pt x="1626124" y="6126597"/>
                      <a:pt x="1634755" y="6126597"/>
                    </a:cubicBezTo>
                    <a:cubicBezTo>
                      <a:pt x="1643385" y="6126597"/>
                      <a:pt x="1650289" y="6119692"/>
                      <a:pt x="1650289" y="6111061"/>
                    </a:cubicBezTo>
                    <a:close/>
                    <a:moveTo>
                      <a:pt x="1654232" y="974194"/>
                    </a:moveTo>
                    <a:cubicBezTo>
                      <a:pt x="1654232" y="966551"/>
                      <a:pt x="1648068" y="960146"/>
                      <a:pt x="1640178" y="960146"/>
                    </a:cubicBezTo>
                    <a:cubicBezTo>
                      <a:pt x="1632536" y="960146"/>
                      <a:pt x="1626124" y="966305"/>
                      <a:pt x="1626124" y="974194"/>
                    </a:cubicBezTo>
                    <a:cubicBezTo>
                      <a:pt x="1626124" y="981841"/>
                      <a:pt x="1632287" y="988243"/>
                      <a:pt x="1640178" y="988243"/>
                    </a:cubicBezTo>
                    <a:cubicBezTo>
                      <a:pt x="1647822" y="988243"/>
                      <a:pt x="1654232" y="982088"/>
                      <a:pt x="1654232" y="974194"/>
                    </a:cubicBezTo>
                    <a:close/>
                    <a:moveTo>
                      <a:pt x="1654726" y="4321660"/>
                    </a:moveTo>
                    <a:cubicBezTo>
                      <a:pt x="1654726" y="4315990"/>
                      <a:pt x="1650040" y="4311305"/>
                      <a:pt x="1644371" y="4311305"/>
                    </a:cubicBezTo>
                    <a:cubicBezTo>
                      <a:pt x="1638699" y="4311305"/>
                      <a:pt x="1634014" y="4315990"/>
                      <a:pt x="1634014" y="4321660"/>
                    </a:cubicBezTo>
                    <a:cubicBezTo>
                      <a:pt x="1634014" y="4327332"/>
                      <a:pt x="1638699" y="4332018"/>
                      <a:pt x="1644371" y="4332018"/>
                    </a:cubicBezTo>
                    <a:cubicBezTo>
                      <a:pt x="1650040" y="4332018"/>
                      <a:pt x="1654726" y="4327332"/>
                      <a:pt x="1654726" y="4321660"/>
                    </a:cubicBezTo>
                    <a:close/>
                    <a:moveTo>
                      <a:pt x="1659411" y="1533603"/>
                    </a:moveTo>
                    <a:cubicBezTo>
                      <a:pt x="1659411" y="1526703"/>
                      <a:pt x="1653739" y="1521029"/>
                      <a:pt x="1646836" y="1521029"/>
                    </a:cubicBezTo>
                    <a:cubicBezTo>
                      <a:pt x="1639932" y="1521029"/>
                      <a:pt x="1634259" y="1526703"/>
                      <a:pt x="1634259" y="1533603"/>
                    </a:cubicBezTo>
                    <a:cubicBezTo>
                      <a:pt x="1634259" y="1540508"/>
                      <a:pt x="1639932" y="1546176"/>
                      <a:pt x="1646836" y="1546176"/>
                    </a:cubicBezTo>
                    <a:cubicBezTo>
                      <a:pt x="1653739" y="1546176"/>
                      <a:pt x="1659411" y="1540508"/>
                      <a:pt x="1659411" y="1533603"/>
                    </a:cubicBezTo>
                    <a:close/>
                    <a:moveTo>
                      <a:pt x="1661630" y="4050429"/>
                    </a:moveTo>
                    <a:cubicBezTo>
                      <a:pt x="1661630" y="4047221"/>
                      <a:pt x="1659166" y="4044757"/>
                      <a:pt x="1655961" y="4044757"/>
                    </a:cubicBezTo>
                    <a:cubicBezTo>
                      <a:pt x="1652754" y="4044757"/>
                      <a:pt x="1650289" y="4047221"/>
                      <a:pt x="1650289" y="4050429"/>
                    </a:cubicBezTo>
                    <a:cubicBezTo>
                      <a:pt x="1650289" y="4053634"/>
                      <a:pt x="1653001" y="4056098"/>
                      <a:pt x="1655961" y="4056098"/>
                    </a:cubicBezTo>
                    <a:cubicBezTo>
                      <a:pt x="1659166" y="4056098"/>
                      <a:pt x="1661630" y="4053634"/>
                      <a:pt x="1661630" y="4050429"/>
                    </a:cubicBezTo>
                    <a:close/>
                    <a:moveTo>
                      <a:pt x="1661877" y="73337"/>
                    </a:moveTo>
                    <a:cubicBezTo>
                      <a:pt x="1661877" y="63722"/>
                      <a:pt x="1653986" y="56079"/>
                      <a:pt x="1644615" y="56079"/>
                    </a:cubicBezTo>
                    <a:cubicBezTo>
                      <a:pt x="1635000" y="56079"/>
                      <a:pt x="1627356" y="63968"/>
                      <a:pt x="1627356" y="73337"/>
                    </a:cubicBezTo>
                    <a:cubicBezTo>
                      <a:pt x="1627356" y="82952"/>
                      <a:pt x="1635246" y="90596"/>
                      <a:pt x="1644615" y="90596"/>
                    </a:cubicBezTo>
                    <a:cubicBezTo>
                      <a:pt x="1653986" y="90596"/>
                      <a:pt x="1661630" y="82952"/>
                      <a:pt x="1661877" y="73337"/>
                    </a:cubicBezTo>
                    <a:close/>
                    <a:moveTo>
                      <a:pt x="1669028" y="2377278"/>
                    </a:moveTo>
                    <a:cubicBezTo>
                      <a:pt x="1669028" y="2370880"/>
                      <a:pt x="1663848" y="2365697"/>
                      <a:pt x="1657439" y="2365697"/>
                    </a:cubicBezTo>
                    <a:cubicBezTo>
                      <a:pt x="1651026" y="2365697"/>
                      <a:pt x="1645849" y="2370880"/>
                      <a:pt x="1645849" y="2377278"/>
                    </a:cubicBezTo>
                    <a:cubicBezTo>
                      <a:pt x="1645849" y="2383696"/>
                      <a:pt x="1651026" y="2388878"/>
                      <a:pt x="1657439" y="2388878"/>
                    </a:cubicBezTo>
                    <a:cubicBezTo>
                      <a:pt x="1663848" y="2388878"/>
                      <a:pt x="1669028" y="2383696"/>
                      <a:pt x="1669028" y="2377278"/>
                    </a:cubicBezTo>
                    <a:close/>
                    <a:moveTo>
                      <a:pt x="1672479" y="2635933"/>
                    </a:moveTo>
                    <a:cubicBezTo>
                      <a:pt x="1672479" y="2619657"/>
                      <a:pt x="1659163" y="2606589"/>
                      <a:pt x="1643136" y="2606589"/>
                    </a:cubicBezTo>
                    <a:cubicBezTo>
                      <a:pt x="1626861" y="2606589"/>
                      <a:pt x="1613793" y="2619657"/>
                      <a:pt x="1613793" y="2635933"/>
                    </a:cubicBezTo>
                    <a:cubicBezTo>
                      <a:pt x="1613793" y="2652207"/>
                      <a:pt x="1626861" y="2665277"/>
                      <a:pt x="1643136" y="2665277"/>
                    </a:cubicBezTo>
                    <a:cubicBezTo>
                      <a:pt x="1659409" y="2665277"/>
                      <a:pt x="1672479" y="2652207"/>
                      <a:pt x="1672479" y="2635933"/>
                    </a:cubicBezTo>
                    <a:close/>
                    <a:moveTo>
                      <a:pt x="1672726" y="1671407"/>
                    </a:moveTo>
                    <a:cubicBezTo>
                      <a:pt x="1672726" y="1664758"/>
                      <a:pt x="1667302" y="1659581"/>
                      <a:pt x="1660890" y="1659581"/>
                    </a:cubicBezTo>
                    <a:cubicBezTo>
                      <a:pt x="1654231" y="1659581"/>
                      <a:pt x="1649055" y="1665005"/>
                      <a:pt x="1649055" y="1671407"/>
                    </a:cubicBezTo>
                    <a:cubicBezTo>
                      <a:pt x="1649055" y="1678073"/>
                      <a:pt x="1654480" y="1683255"/>
                      <a:pt x="1660890" y="1683255"/>
                    </a:cubicBezTo>
                    <a:cubicBezTo>
                      <a:pt x="1667302" y="1683255"/>
                      <a:pt x="1672480" y="1678073"/>
                      <a:pt x="1672726" y="1671407"/>
                    </a:cubicBezTo>
                    <a:close/>
                    <a:moveTo>
                      <a:pt x="1674450" y="4958811"/>
                    </a:moveTo>
                    <a:cubicBezTo>
                      <a:pt x="1674450" y="4950922"/>
                      <a:pt x="1668286" y="4944757"/>
                      <a:pt x="1660396" y="4944757"/>
                    </a:cubicBezTo>
                    <a:cubicBezTo>
                      <a:pt x="1652505" y="4944757"/>
                      <a:pt x="1646342" y="4951167"/>
                      <a:pt x="1646342" y="4958811"/>
                    </a:cubicBezTo>
                    <a:cubicBezTo>
                      <a:pt x="1646342" y="4966457"/>
                      <a:pt x="1652754" y="4972866"/>
                      <a:pt x="1660396" y="4972866"/>
                    </a:cubicBezTo>
                    <a:cubicBezTo>
                      <a:pt x="1668286" y="4972866"/>
                      <a:pt x="1674450" y="4966457"/>
                      <a:pt x="1674450" y="4958811"/>
                    </a:cubicBezTo>
                    <a:close/>
                    <a:moveTo>
                      <a:pt x="1680124" y="1811497"/>
                    </a:moveTo>
                    <a:cubicBezTo>
                      <a:pt x="1680124" y="1809771"/>
                      <a:pt x="1678892" y="1808537"/>
                      <a:pt x="1677165" y="1808537"/>
                    </a:cubicBezTo>
                    <a:cubicBezTo>
                      <a:pt x="1675439" y="1808537"/>
                      <a:pt x="1674207" y="1810021"/>
                      <a:pt x="1674207" y="1811497"/>
                    </a:cubicBezTo>
                    <a:cubicBezTo>
                      <a:pt x="1674207" y="1813235"/>
                      <a:pt x="1675684" y="1814459"/>
                      <a:pt x="1677165" y="1814459"/>
                    </a:cubicBezTo>
                    <a:cubicBezTo>
                      <a:pt x="1678646" y="1814459"/>
                      <a:pt x="1680124" y="1813235"/>
                      <a:pt x="1680124" y="1811497"/>
                    </a:cubicBezTo>
                    <a:close/>
                    <a:moveTo>
                      <a:pt x="1680370" y="5596457"/>
                    </a:moveTo>
                    <a:cubicBezTo>
                      <a:pt x="1680370" y="5595719"/>
                      <a:pt x="1679878" y="5595225"/>
                      <a:pt x="1679138" y="5595225"/>
                    </a:cubicBezTo>
                    <a:cubicBezTo>
                      <a:pt x="1678397" y="5595225"/>
                      <a:pt x="1677905" y="5595719"/>
                      <a:pt x="1677905" y="5596457"/>
                    </a:cubicBezTo>
                    <a:cubicBezTo>
                      <a:pt x="1677905" y="5597198"/>
                      <a:pt x="1678397" y="5597693"/>
                      <a:pt x="1679138" y="5597693"/>
                    </a:cubicBezTo>
                    <a:cubicBezTo>
                      <a:pt x="1679632" y="5597693"/>
                      <a:pt x="1680123" y="5597198"/>
                      <a:pt x="1680370" y="5596457"/>
                    </a:cubicBezTo>
                    <a:close/>
                    <a:moveTo>
                      <a:pt x="1682836" y="2907654"/>
                    </a:moveTo>
                    <a:cubicBezTo>
                      <a:pt x="1682836" y="2892366"/>
                      <a:pt x="1670507" y="2880035"/>
                      <a:pt x="1655220" y="2880035"/>
                    </a:cubicBezTo>
                    <a:cubicBezTo>
                      <a:pt x="1639934" y="2880035"/>
                      <a:pt x="1627604" y="2892366"/>
                      <a:pt x="1627604" y="2907654"/>
                    </a:cubicBezTo>
                    <a:cubicBezTo>
                      <a:pt x="1627604" y="2922942"/>
                      <a:pt x="1639934" y="2935270"/>
                      <a:pt x="1655220" y="2935270"/>
                    </a:cubicBezTo>
                    <a:cubicBezTo>
                      <a:pt x="1670507" y="2935270"/>
                      <a:pt x="1682836" y="2922942"/>
                      <a:pt x="1682836" y="2907654"/>
                    </a:cubicBezTo>
                    <a:close/>
                    <a:moveTo>
                      <a:pt x="1683823" y="5859800"/>
                    </a:moveTo>
                    <a:cubicBezTo>
                      <a:pt x="1683823" y="5846238"/>
                      <a:pt x="1672974" y="5835389"/>
                      <a:pt x="1659412" y="5835389"/>
                    </a:cubicBezTo>
                    <a:cubicBezTo>
                      <a:pt x="1645849" y="5835389"/>
                      <a:pt x="1635000" y="5846238"/>
                      <a:pt x="1635000" y="5859800"/>
                    </a:cubicBezTo>
                    <a:cubicBezTo>
                      <a:pt x="1635000" y="5873360"/>
                      <a:pt x="1645849" y="5884209"/>
                      <a:pt x="1659412" y="5884209"/>
                    </a:cubicBezTo>
                    <a:cubicBezTo>
                      <a:pt x="1672726" y="5884209"/>
                      <a:pt x="1683823" y="5873360"/>
                      <a:pt x="1683823" y="5859800"/>
                    </a:cubicBezTo>
                    <a:close/>
                    <a:moveTo>
                      <a:pt x="1684809" y="4812347"/>
                    </a:moveTo>
                    <a:cubicBezTo>
                      <a:pt x="1684809" y="4811851"/>
                      <a:pt x="1684561" y="4811606"/>
                      <a:pt x="1684069" y="4811606"/>
                    </a:cubicBezTo>
                    <a:cubicBezTo>
                      <a:pt x="1683574" y="4811606"/>
                      <a:pt x="1683329" y="4811851"/>
                      <a:pt x="1683329" y="4812347"/>
                    </a:cubicBezTo>
                    <a:cubicBezTo>
                      <a:pt x="1683329" y="4812838"/>
                      <a:pt x="1683823" y="4813087"/>
                      <a:pt x="1684069" y="4813087"/>
                    </a:cubicBezTo>
                    <a:cubicBezTo>
                      <a:pt x="1684561" y="4813087"/>
                      <a:pt x="1684809" y="4812838"/>
                      <a:pt x="1684809" y="4812347"/>
                    </a:cubicBezTo>
                    <a:close/>
                    <a:moveTo>
                      <a:pt x="1693932" y="5462071"/>
                    </a:moveTo>
                    <a:cubicBezTo>
                      <a:pt x="1693932" y="5460098"/>
                      <a:pt x="1692205" y="5458620"/>
                      <a:pt x="1690479" y="5458620"/>
                    </a:cubicBezTo>
                    <a:cubicBezTo>
                      <a:pt x="1688506" y="5458620"/>
                      <a:pt x="1687029" y="5460098"/>
                      <a:pt x="1687029" y="5462071"/>
                    </a:cubicBezTo>
                    <a:cubicBezTo>
                      <a:pt x="1687029" y="5464047"/>
                      <a:pt x="1688755" y="5465525"/>
                      <a:pt x="1690479" y="5465525"/>
                    </a:cubicBezTo>
                    <a:cubicBezTo>
                      <a:pt x="1692205" y="5465525"/>
                      <a:pt x="1693686" y="5464047"/>
                      <a:pt x="1693932" y="5462071"/>
                    </a:cubicBezTo>
                    <a:close/>
                    <a:moveTo>
                      <a:pt x="1696399" y="5728868"/>
                    </a:moveTo>
                    <a:cubicBezTo>
                      <a:pt x="1696399" y="5713581"/>
                      <a:pt x="1683824" y="5701005"/>
                      <a:pt x="1668534" y="5701005"/>
                    </a:cubicBezTo>
                    <a:cubicBezTo>
                      <a:pt x="1653248" y="5701005"/>
                      <a:pt x="1640672" y="5713581"/>
                      <a:pt x="1640672" y="5728868"/>
                    </a:cubicBezTo>
                    <a:cubicBezTo>
                      <a:pt x="1640672" y="5744402"/>
                      <a:pt x="1653248" y="5756733"/>
                      <a:pt x="1668534" y="5756733"/>
                    </a:cubicBezTo>
                    <a:cubicBezTo>
                      <a:pt x="1684070" y="5756733"/>
                      <a:pt x="1696399" y="5744402"/>
                      <a:pt x="1696399" y="5728868"/>
                    </a:cubicBezTo>
                    <a:close/>
                    <a:moveTo>
                      <a:pt x="1697136" y="7151609"/>
                    </a:moveTo>
                    <a:cubicBezTo>
                      <a:pt x="1697136" y="7149636"/>
                      <a:pt x="1695656" y="7148158"/>
                      <a:pt x="1693683" y="7148158"/>
                    </a:cubicBezTo>
                    <a:cubicBezTo>
                      <a:pt x="1691711" y="7148158"/>
                      <a:pt x="1690233" y="7149636"/>
                      <a:pt x="1690233" y="7151609"/>
                    </a:cubicBezTo>
                    <a:cubicBezTo>
                      <a:pt x="1690233" y="7153584"/>
                      <a:pt x="1691711" y="7155062"/>
                      <a:pt x="1693683" y="7155062"/>
                    </a:cubicBezTo>
                    <a:cubicBezTo>
                      <a:pt x="1695656" y="7155062"/>
                      <a:pt x="1697136" y="7153584"/>
                      <a:pt x="1697136" y="7151609"/>
                    </a:cubicBezTo>
                    <a:close/>
                    <a:moveTo>
                      <a:pt x="1698864" y="4159909"/>
                    </a:moveTo>
                    <a:cubicBezTo>
                      <a:pt x="1698864" y="4157195"/>
                      <a:pt x="1696645" y="4154977"/>
                      <a:pt x="1693932" y="4154977"/>
                    </a:cubicBezTo>
                    <a:cubicBezTo>
                      <a:pt x="1691219" y="4154977"/>
                      <a:pt x="1689001" y="4157195"/>
                      <a:pt x="1689001" y="4159909"/>
                    </a:cubicBezTo>
                    <a:cubicBezTo>
                      <a:pt x="1689001" y="4162621"/>
                      <a:pt x="1691219" y="4164840"/>
                      <a:pt x="1693932" y="4164840"/>
                    </a:cubicBezTo>
                    <a:cubicBezTo>
                      <a:pt x="1696645" y="4164840"/>
                      <a:pt x="1698864" y="4162621"/>
                      <a:pt x="1698864" y="4159909"/>
                    </a:cubicBezTo>
                    <a:close/>
                    <a:moveTo>
                      <a:pt x="1699356" y="1953694"/>
                    </a:moveTo>
                    <a:cubicBezTo>
                      <a:pt x="1699356" y="1951725"/>
                      <a:pt x="1697878" y="1950245"/>
                      <a:pt x="1695903" y="1950245"/>
                    </a:cubicBezTo>
                    <a:cubicBezTo>
                      <a:pt x="1693930" y="1950245"/>
                      <a:pt x="1692452" y="1951725"/>
                      <a:pt x="1692452" y="1953694"/>
                    </a:cubicBezTo>
                    <a:cubicBezTo>
                      <a:pt x="1692452" y="1955667"/>
                      <a:pt x="1693930" y="1957144"/>
                      <a:pt x="1695903" y="1957144"/>
                    </a:cubicBezTo>
                    <a:cubicBezTo>
                      <a:pt x="1697878" y="1957144"/>
                      <a:pt x="1699602" y="1955419"/>
                      <a:pt x="1699356" y="1953694"/>
                    </a:cubicBezTo>
                    <a:close/>
                    <a:moveTo>
                      <a:pt x="1699604" y="7031776"/>
                    </a:moveTo>
                    <a:cubicBezTo>
                      <a:pt x="1699604" y="7029800"/>
                      <a:pt x="1698126" y="7028322"/>
                      <a:pt x="1696151" y="7028322"/>
                    </a:cubicBezTo>
                    <a:cubicBezTo>
                      <a:pt x="1694179" y="7028322"/>
                      <a:pt x="1692701" y="7029800"/>
                      <a:pt x="1692701" y="7031776"/>
                    </a:cubicBezTo>
                    <a:cubicBezTo>
                      <a:pt x="1692701" y="7033749"/>
                      <a:pt x="1694179" y="7035227"/>
                      <a:pt x="1696151" y="7035227"/>
                    </a:cubicBezTo>
                    <a:cubicBezTo>
                      <a:pt x="1697877" y="7035227"/>
                      <a:pt x="1699604" y="7033500"/>
                      <a:pt x="1699604" y="7031776"/>
                    </a:cubicBezTo>
                    <a:close/>
                    <a:moveTo>
                      <a:pt x="1700588" y="3536810"/>
                    </a:moveTo>
                    <a:cubicBezTo>
                      <a:pt x="1700588" y="3524481"/>
                      <a:pt x="1690479" y="3514372"/>
                      <a:pt x="1678151" y="3514372"/>
                    </a:cubicBezTo>
                    <a:cubicBezTo>
                      <a:pt x="1665821" y="3514372"/>
                      <a:pt x="1655712" y="3524481"/>
                      <a:pt x="1655712" y="3536810"/>
                    </a:cubicBezTo>
                    <a:cubicBezTo>
                      <a:pt x="1655712" y="3549138"/>
                      <a:pt x="1665821" y="3559250"/>
                      <a:pt x="1678151" y="3559250"/>
                    </a:cubicBezTo>
                    <a:cubicBezTo>
                      <a:pt x="1690479" y="3559250"/>
                      <a:pt x="1700588" y="3549138"/>
                      <a:pt x="1700588" y="3536810"/>
                    </a:cubicBezTo>
                    <a:close/>
                    <a:moveTo>
                      <a:pt x="1700589" y="6910953"/>
                    </a:moveTo>
                    <a:cubicBezTo>
                      <a:pt x="1700589" y="6909966"/>
                      <a:pt x="1699602" y="6908980"/>
                      <a:pt x="1698615" y="6908980"/>
                    </a:cubicBezTo>
                    <a:cubicBezTo>
                      <a:pt x="1697630" y="6908980"/>
                      <a:pt x="1696643" y="6909966"/>
                      <a:pt x="1696643" y="6910953"/>
                    </a:cubicBezTo>
                    <a:cubicBezTo>
                      <a:pt x="1696643" y="6911939"/>
                      <a:pt x="1697630" y="6912925"/>
                      <a:pt x="1698615" y="6912925"/>
                    </a:cubicBezTo>
                    <a:cubicBezTo>
                      <a:pt x="1699848" y="6912925"/>
                      <a:pt x="1700589" y="6912185"/>
                      <a:pt x="1700589" y="6910953"/>
                    </a:cubicBezTo>
                    <a:close/>
                    <a:moveTo>
                      <a:pt x="1700836" y="4580318"/>
                    </a:moveTo>
                    <a:cubicBezTo>
                      <a:pt x="1700836" y="4557140"/>
                      <a:pt x="1682096" y="4538400"/>
                      <a:pt x="1658917" y="4538400"/>
                    </a:cubicBezTo>
                    <a:cubicBezTo>
                      <a:pt x="1635740" y="4538400"/>
                      <a:pt x="1617001" y="4557140"/>
                      <a:pt x="1617001" y="4580318"/>
                    </a:cubicBezTo>
                    <a:cubicBezTo>
                      <a:pt x="1617001" y="4603497"/>
                      <a:pt x="1635740" y="4622237"/>
                      <a:pt x="1658917" y="4622237"/>
                    </a:cubicBezTo>
                    <a:cubicBezTo>
                      <a:pt x="1682096" y="4622237"/>
                      <a:pt x="1700836" y="4603497"/>
                      <a:pt x="1700836" y="4580318"/>
                    </a:cubicBezTo>
                    <a:close/>
                    <a:moveTo>
                      <a:pt x="1703793" y="3652947"/>
                    </a:moveTo>
                    <a:cubicBezTo>
                      <a:pt x="1703793" y="3643083"/>
                      <a:pt x="1695656" y="3634947"/>
                      <a:pt x="1685793" y="3634947"/>
                    </a:cubicBezTo>
                    <a:cubicBezTo>
                      <a:pt x="1675930" y="3634947"/>
                      <a:pt x="1667794" y="3643083"/>
                      <a:pt x="1667794" y="3652947"/>
                    </a:cubicBezTo>
                    <a:cubicBezTo>
                      <a:pt x="1667794" y="3662809"/>
                      <a:pt x="1675930" y="3670949"/>
                      <a:pt x="1685793" y="3670949"/>
                    </a:cubicBezTo>
                    <a:cubicBezTo>
                      <a:pt x="1695656" y="3670949"/>
                      <a:pt x="1703793" y="3662809"/>
                      <a:pt x="1703793" y="3652947"/>
                    </a:cubicBezTo>
                    <a:close/>
                    <a:moveTo>
                      <a:pt x="1704782" y="3420770"/>
                    </a:moveTo>
                    <a:cubicBezTo>
                      <a:pt x="1704782" y="3406228"/>
                      <a:pt x="1692946" y="3394142"/>
                      <a:pt x="1678151" y="3394142"/>
                    </a:cubicBezTo>
                    <a:cubicBezTo>
                      <a:pt x="1663602" y="3394142"/>
                      <a:pt x="1651521" y="3405981"/>
                      <a:pt x="1651521" y="3420770"/>
                    </a:cubicBezTo>
                    <a:cubicBezTo>
                      <a:pt x="1651521" y="3435325"/>
                      <a:pt x="1663357" y="3447399"/>
                      <a:pt x="1678151" y="3447399"/>
                    </a:cubicBezTo>
                    <a:cubicBezTo>
                      <a:pt x="1692946" y="3447399"/>
                      <a:pt x="1704782" y="3435570"/>
                      <a:pt x="1704782" y="3420770"/>
                    </a:cubicBezTo>
                    <a:close/>
                    <a:moveTo>
                      <a:pt x="1707741" y="5326211"/>
                    </a:moveTo>
                    <a:cubicBezTo>
                      <a:pt x="1707741" y="5323992"/>
                      <a:pt x="1706014" y="5322265"/>
                      <a:pt x="1703796" y="5322265"/>
                    </a:cubicBezTo>
                    <a:cubicBezTo>
                      <a:pt x="1701577" y="5322265"/>
                      <a:pt x="1699851" y="5323992"/>
                      <a:pt x="1699851" y="5326211"/>
                    </a:cubicBezTo>
                    <a:cubicBezTo>
                      <a:pt x="1699851" y="5328430"/>
                      <a:pt x="1701577" y="5330156"/>
                      <a:pt x="1703796" y="5330156"/>
                    </a:cubicBezTo>
                    <a:cubicBezTo>
                      <a:pt x="1706014" y="5330156"/>
                      <a:pt x="1707741" y="5328430"/>
                      <a:pt x="1707741" y="5326211"/>
                    </a:cubicBezTo>
                    <a:close/>
                    <a:moveTo>
                      <a:pt x="1709711" y="4425468"/>
                    </a:moveTo>
                    <a:cubicBezTo>
                      <a:pt x="1709711" y="4417578"/>
                      <a:pt x="1703301" y="4411413"/>
                      <a:pt x="1695656" y="4411413"/>
                    </a:cubicBezTo>
                    <a:cubicBezTo>
                      <a:pt x="1688014" y="4411413"/>
                      <a:pt x="1681602" y="4417823"/>
                      <a:pt x="1681602" y="4425468"/>
                    </a:cubicBezTo>
                    <a:cubicBezTo>
                      <a:pt x="1681602" y="4433112"/>
                      <a:pt x="1688014" y="4439522"/>
                      <a:pt x="1695656" y="4439522"/>
                    </a:cubicBezTo>
                    <a:cubicBezTo>
                      <a:pt x="1703301" y="4439522"/>
                      <a:pt x="1709711" y="4433112"/>
                      <a:pt x="1709711" y="4425468"/>
                    </a:cubicBezTo>
                    <a:close/>
                    <a:moveTo>
                      <a:pt x="1712918" y="6794076"/>
                    </a:moveTo>
                    <a:cubicBezTo>
                      <a:pt x="1712918" y="6792349"/>
                      <a:pt x="1711437" y="6790870"/>
                      <a:pt x="1709711" y="6790870"/>
                    </a:cubicBezTo>
                    <a:cubicBezTo>
                      <a:pt x="1707984" y="6790870"/>
                      <a:pt x="1706506" y="6792349"/>
                      <a:pt x="1706506" y="6794076"/>
                    </a:cubicBezTo>
                    <a:cubicBezTo>
                      <a:pt x="1706506" y="6795802"/>
                      <a:pt x="1707984" y="6797280"/>
                      <a:pt x="1709711" y="6797280"/>
                    </a:cubicBezTo>
                    <a:cubicBezTo>
                      <a:pt x="1711437" y="6797280"/>
                      <a:pt x="1712918" y="6795802"/>
                      <a:pt x="1712918" y="6794076"/>
                    </a:cubicBezTo>
                    <a:close/>
                    <a:moveTo>
                      <a:pt x="1715138" y="3768101"/>
                    </a:moveTo>
                    <a:cubicBezTo>
                      <a:pt x="1715138" y="3759961"/>
                      <a:pt x="1708481" y="3753551"/>
                      <a:pt x="1700591" y="3753551"/>
                    </a:cubicBezTo>
                    <a:cubicBezTo>
                      <a:pt x="1692454" y="3753551"/>
                      <a:pt x="1686042" y="3760211"/>
                      <a:pt x="1686042" y="3768101"/>
                    </a:cubicBezTo>
                    <a:cubicBezTo>
                      <a:pt x="1686042" y="3776237"/>
                      <a:pt x="1692700" y="3782646"/>
                      <a:pt x="1700591" y="3782646"/>
                    </a:cubicBezTo>
                    <a:cubicBezTo>
                      <a:pt x="1708481" y="3782646"/>
                      <a:pt x="1714889" y="3775990"/>
                      <a:pt x="1715138" y="3768101"/>
                    </a:cubicBezTo>
                    <a:close/>
                    <a:moveTo>
                      <a:pt x="1716123" y="6672267"/>
                    </a:moveTo>
                    <a:cubicBezTo>
                      <a:pt x="1716123" y="6670786"/>
                      <a:pt x="1714891" y="6669308"/>
                      <a:pt x="1713164" y="6669308"/>
                    </a:cubicBezTo>
                    <a:cubicBezTo>
                      <a:pt x="1711437" y="6669308"/>
                      <a:pt x="1709959" y="6670541"/>
                      <a:pt x="1709959" y="6672267"/>
                    </a:cubicBezTo>
                    <a:cubicBezTo>
                      <a:pt x="1709959" y="6673994"/>
                      <a:pt x="1711437" y="6675472"/>
                      <a:pt x="1713164" y="6675472"/>
                    </a:cubicBezTo>
                    <a:cubicBezTo>
                      <a:pt x="1714891" y="6675472"/>
                      <a:pt x="1716123" y="6673994"/>
                      <a:pt x="1716123" y="6672267"/>
                    </a:cubicBezTo>
                    <a:close/>
                    <a:moveTo>
                      <a:pt x="1716617" y="3304876"/>
                    </a:moveTo>
                    <a:cubicBezTo>
                      <a:pt x="1716617" y="3287617"/>
                      <a:pt x="1702808" y="3273814"/>
                      <a:pt x="1685550" y="3273814"/>
                    </a:cubicBezTo>
                    <a:cubicBezTo>
                      <a:pt x="1668288" y="3273814"/>
                      <a:pt x="1654480" y="3287862"/>
                      <a:pt x="1654480" y="3304876"/>
                    </a:cubicBezTo>
                    <a:cubicBezTo>
                      <a:pt x="1654480" y="3322141"/>
                      <a:pt x="1668534" y="3335943"/>
                      <a:pt x="1685550" y="3335943"/>
                    </a:cubicBezTo>
                    <a:cubicBezTo>
                      <a:pt x="1702563" y="3335943"/>
                      <a:pt x="1716617" y="3321896"/>
                      <a:pt x="1716617" y="3304876"/>
                    </a:cubicBezTo>
                    <a:close/>
                    <a:moveTo>
                      <a:pt x="1717850" y="2098903"/>
                    </a:moveTo>
                    <a:cubicBezTo>
                      <a:pt x="1717850" y="2098656"/>
                      <a:pt x="1717850" y="2098656"/>
                      <a:pt x="1717604" y="2098656"/>
                    </a:cubicBezTo>
                    <a:cubicBezTo>
                      <a:pt x="1717358" y="2098656"/>
                      <a:pt x="1717358" y="2098656"/>
                      <a:pt x="1717358" y="2098903"/>
                    </a:cubicBezTo>
                    <a:cubicBezTo>
                      <a:pt x="1717358" y="2099149"/>
                      <a:pt x="1717358" y="2099149"/>
                      <a:pt x="1717604" y="2099149"/>
                    </a:cubicBezTo>
                    <a:cubicBezTo>
                      <a:pt x="1717604" y="2099149"/>
                      <a:pt x="1717850" y="2099149"/>
                      <a:pt x="1717850" y="2098903"/>
                    </a:cubicBezTo>
                    <a:close/>
                    <a:moveTo>
                      <a:pt x="1718342" y="1061708"/>
                    </a:moveTo>
                    <a:cubicBezTo>
                      <a:pt x="1718342" y="1054072"/>
                      <a:pt x="1712177" y="1047656"/>
                      <a:pt x="1704287" y="1047656"/>
                    </a:cubicBezTo>
                    <a:cubicBezTo>
                      <a:pt x="1696642" y="1047656"/>
                      <a:pt x="1690233" y="1053823"/>
                      <a:pt x="1690233" y="1061708"/>
                    </a:cubicBezTo>
                    <a:cubicBezTo>
                      <a:pt x="1690233" y="1069357"/>
                      <a:pt x="1696396" y="1075763"/>
                      <a:pt x="1704287" y="1075763"/>
                    </a:cubicBezTo>
                    <a:cubicBezTo>
                      <a:pt x="1712177" y="1075763"/>
                      <a:pt x="1718342" y="1069357"/>
                      <a:pt x="1718342" y="1061708"/>
                    </a:cubicBezTo>
                    <a:close/>
                    <a:moveTo>
                      <a:pt x="1718587" y="6549718"/>
                    </a:moveTo>
                    <a:cubicBezTo>
                      <a:pt x="1718587" y="6548486"/>
                      <a:pt x="1717849" y="6547745"/>
                      <a:pt x="1716863" y="6547745"/>
                    </a:cubicBezTo>
                    <a:cubicBezTo>
                      <a:pt x="1715876" y="6547745"/>
                      <a:pt x="1715136" y="6548731"/>
                      <a:pt x="1715136" y="6549718"/>
                    </a:cubicBezTo>
                    <a:cubicBezTo>
                      <a:pt x="1715136" y="6550704"/>
                      <a:pt x="1715876" y="6551445"/>
                      <a:pt x="1716863" y="6551445"/>
                    </a:cubicBezTo>
                    <a:cubicBezTo>
                      <a:pt x="1717849" y="6551445"/>
                      <a:pt x="1718835" y="6550704"/>
                      <a:pt x="1718587" y="6549718"/>
                    </a:cubicBezTo>
                    <a:close/>
                    <a:moveTo>
                      <a:pt x="1719574" y="5187883"/>
                    </a:moveTo>
                    <a:cubicBezTo>
                      <a:pt x="1719574" y="5187387"/>
                      <a:pt x="1719328" y="5187142"/>
                      <a:pt x="1718836" y="5187142"/>
                    </a:cubicBezTo>
                    <a:cubicBezTo>
                      <a:pt x="1718342" y="5187142"/>
                      <a:pt x="1718096" y="5187634"/>
                      <a:pt x="1718096" y="5187883"/>
                    </a:cubicBezTo>
                    <a:cubicBezTo>
                      <a:pt x="1718096" y="5188374"/>
                      <a:pt x="1718342" y="5188620"/>
                      <a:pt x="1718836" y="5188620"/>
                    </a:cubicBezTo>
                    <a:cubicBezTo>
                      <a:pt x="1719082" y="5188620"/>
                      <a:pt x="1719574" y="5188374"/>
                      <a:pt x="1719574" y="5187883"/>
                    </a:cubicBezTo>
                    <a:close/>
                    <a:moveTo>
                      <a:pt x="1722040" y="2532117"/>
                    </a:moveTo>
                    <a:cubicBezTo>
                      <a:pt x="1722040" y="2516832"/>
                      <a:pt x="1709711" y="2504501"/>
                      <a:pt x="1694424" y="2504501"/>
                    </a:cubicBezTo>
                    <a:cubicBezTo>
                      <a:pt x="1679138" y="2504501"/>
                      <a:pt x="1666808" y="2516832"/>
                      <a:pt x="1666808" y="2532117"/>
                    </a:cubicBezTo>
                    <a:cubicBezTo>
                      <a:pt x="1666808" y="2547409"/>
                      <a:pt x="1679138" y="2559734"/>
                      <a:pt x="1694424" y="2559734"/>
                    </a:cubicBezTo>
                    <a:cubicBezTo>
                      <a:pt x="1709711" y="2559734"/>
                      <a:pt x="1722040" y="2547409"/>
                      <a:pt x="1722040" y="2532117"/>
                    </a:cubicBezTo>
                    <a:close/>
                    <a:moveTo>
                      <a:pt x="1722780" y="2797923"/>
                    </a:moveTo>
                    <a:cubicBezTo>
                      <a:pt x="1722780" y="2781401"/>
                      <a:pt x="1709464" y="2768085"/>
                      <a:pt x="1692943" y="2768085"/>
                    </a:cubicBezTo>
                    <a:cubicBezTo>
                      <a:pt x="1676424" y="2768085"/>
                      <a:pt x="1663108" y="2781401"/>
                      <a:pt x="1663108" y="2797923"/>
                    </a:cubicBezTo>
                    <a:cubicBezTo>
                      <a:pt x="1663108" y="2814443"/>
                      <a:pt x="1676424" y="2827759"/>
                      <a:pt x="1692943" y="2827759"/>
                    </a:cubicBezTo>
                    <a:cubicBezTo>
                      <a:pt x="1709464" y="2827759"/>
                      <a:pt x="1722780" y="2814443"/>
                      <a:pt x="1722780" y="2797923"/>
                    </a:cubicBezTo>
                    <a:close/>
                    <a:moveTo>
                      <a:pt x="1724508" y="162819"/>
                    </a:moveTo>
                    <a:cubicBezTo>
                      <a:pt x="1724508" y="153202"/>
                      <a:pt x="1716618" y="145312"/>
                      <a:pt x="1707001" y="145312"/>
                    </a:cubicBezTo>
                    <a:cubicBezTo>
                      <a:pt x="1697383" y="145312"/>
                      <a:pt x="1689493" y="153202"/>
                      <a:pt x="1689493" y="162819"/>
                    </a:cubicBezTo>
                    <a:cubicBezTo>
                      <a:pt x="1689493" y="172435"/>
                      <a:pt x="1697383" y="180325"/>
                      <a:pt x="1707001" y="180325"/>
                    </a:cubicBezTo>
                    <a:cubicBezTo>
                      <a:pt x="1716618" y="180325"/>
                      <a:pt x="1724508" y="172435"/>
                      <a:pt x="1724508" y="162819"/>
                    </a:cubicBezTo>
                    <a:close/>
                    <a:moveTo>
                      <a:pt x="1726480" y="1191392"/>
                    </a:moveTo>
                    <a:cubicBezTo>
                      <a:pt x="1726480" y="1183750"/>
                      <a:pt x="1720317" y="1177581"/>
                      <a:pt x="1712673" y="1177581"/>
                    </a:cubicBezTo>
                    <a:cubicBezTo>
                      <a:pt x="1705027" y="1177581"/>
                      <a:pt x="1698864" y="1183750"/>
                      <a:pt x="1698864" y="1191392"/>
                    </a:cubicBezTo>
                    <a:cubicBezTo>
                      <a:pt x="1698864" y="1199038"/>
                      <a:pt x="1705027" y="1205202"/>
                      <a:pt x="1712673" y="1205202"/>
                    </a:cubicBezTo>
                    <a:cubicBezTo>
                      <a:pt x="1720071" y="1205202"/>
                      <a:pt x="1726235" y="1199038"/>
                      <a:pt x="1726480" y="1191392"/>
                    </a:cubicBezTo>
                    <a:close/>
                    <a:moveTo>
                      <a:pt x="1727958" y="284599"/>
                    </a:moveTo>
                    <a:cubicBezTo>
                      <a:pt x="1727958" y="274982"/>
                      <a:pt x="1720314" y="267338"/>
                      <a:pt x="1710696" y="267338"/>
                    </a:cubicBezTo>
                    <a:cubicBezTo>
                      <a:pt x="1701082" y="267338"/>
                      <a:pt x="1693438" y="274982"/>
                      <a:pt x="1693438" y="284599"/>
                    </a:cubicBezTo>
                    <a:cubicBezTo>
                      <a:pt x="1693438" y="294213"/>
                      <a:pt x="1701082" y="301856"/>
                      <a:pt x="1710696" y="301856"/>
                    </a:cubicBezTo>
                    <a:cubicBezTo>
                      <a:pt x="1720067" y="301856"/>
                      <a:pt x="1727958" y="293966"/>
                      <a:pt x="1727958" y="284599"/>
                    </a:cubicBezTo>
                    <a:close/>
                    <a:moveTo>
                      <a:pt x="1730425" y="2279634"/>
                    </a:moveTo>
                    <a:cubicBezTo>
                      <a:pt x="1730425" y="2273718"/>
                      <a:pt x="1725491" y="2269029"/>
                      <a:pt x="1719822" y="2269029"/>
                    </a:cubicBezTo>
                    <a:cubicBezTo>
                      <a:pt x="1713904" y="2269029"/>
                      <a:pt x="1709218" y="2273718"/>
                      <a:pt x="1709218" y="2279634"/>
                    </a:cubicBezTo>
                    <a:cubicBezTo>
                      <a:pt x="1709218" y="2285559"/>
                      <a:pt x="1713904" y="2290239"/>
                      <a:pt x="1719822" y="2290239"/>
                    </a:cubicBezTo>
                    <a:cubicBezTo>
                      <a:pt x="1725491" y="2290239"/>
                      <a:pt x="1730176" y="2285559"/>
                      <a:pt x="1730425" y="2279634"/>
                    </a:cubicBezTo>
                    <a:close/>
                    <a:moveTo>
                      <a:pt x="1731411" y="407116"/>
                    </a:moveTo>
                    <a:cubicBezTo>
                      <a:pt x="1731411" y="397994"/>
                      <a:pt x="1724013" y="390350"/>
                      <a:pt x="1714644" y="390350"/>
                    </a:cubicBezTo>
                    <a:cubicBezTo>
                      <a:pt x="1705522" y="390350"/>
                      <a:pt x="1697877" y="397745"/>
                      <a:pt x="1697877" y="407116"/>
                    </a:cubicBezTo>
                    <a:cubicBezTo>
                      <a:pt x="1697877" y="416239"/>
                      <a:pt x="1705273" y="423883"/>
                      <a:pt x="1714644" y="423883"/>
                    </a:cubicBezTo>
                    <a:cubicBezTo>
                      <a:pt x="1724013" y="423883"/>
                      <a:pt x="1731411" y="416239"/>
                      <a:pt x="1731411" y="407116"/>
                    </a:cubicBezTo>
                    <a:close/>
                    <a:moveTo>
                      <a:pt x="1734616" y="3882017"/>
                    </a:moveTo>
                    <a:cubicBezTo>
                      <a:pt x="1734616" y="3875607"/>
                      <a:pt x="1729439" y="3870181"/>
                      <a:pt x="1722780" y="3870181"/>
                    </a:cubicBezTo>
                    <a:cubicBezTo>
                      <a:pt x="1716370" y="3870181"/>
                      <a:pt x="1710945" y="3875359"/>
                      <a:pt x="1710945" y="3882017"/>
                    </a:cubicBezTo>
                    <a:cubicBezTo>
                      <a:pt x="1710945" y="3888429"/>
                      <a:pt x="1716122" y="3893853"/>
                      <a:pt x="1722780" y="3893853"/>
                    </a:cubicBezTo>
                    <a:cubicBezTo>
                      <a:pt x="1729439" y="3893853"/>
                      <a:pt x="1734616" y="3888675"/>
                      <a:pt x="1734616" y="3882017"/>
                    </a:cubicBezTo>
                    <a:close/>
                    <a:moveTo>
                      <a:pt x="1735355" y="530380"/>
                    </a:moveTo>
                    <a:cubicBezTo>
                      <a:pt x="1735355" y="521255"/>
                      <a:pt x="1727958" y="513859"/>
                      <a:pt x="1718836" y="513859"/>
                    </a:cubicBezTo>
                    <a:cubicBezTo>
                      <a:pt x="1709711" y="513859"/>
                      <a:pt x="1702315" y="521255"/>
                      <a:pt x="1702315" y="530380"/>
                    </a:cubicBezTo>
                    <a:cubicBezTo>
                      <a:pt x="1702315" y="539502"/>
                      <a:pt x="1709711" y="546900"/>
                      <a:pt x="1718836" y="546900"/>
                    </a:cubicBezTo>
                    <a:cubicBezTo>
                      <a:pt x="1727958" y="546900"/>
                      <a:pt x="1735355" y="539502"/>
                      <a:pt x="1735355" y="530380"/>
                    </a:cubicBezTo>
                    <a:close/>
                    <a:moveTo>
                      <a:pt x="1735357" y="3189486"/>
                    </a:moveTo>
                    <a:cubicBezTo>
                      <a:pt x="1735357" y="3170005"/>
                      <a:pt x="1719576" y="3154224"/>
                      <a:pt x="1700096" y="3154224"/>
                    </a:cubicBezTo>
                    <a:cubicBezTo>
                      <a:pt x="1680617" y="3154224"/>
                      <a:pt x="1664836" y="3170005"/>
                      <a:pt x="1664836" y="3189486"/>
                    </a:cubicBezTo>
                    <a:cubicBezTo>
                      <a:pt x="1664836" y="3208967"/>
                      <a:pt x="1680617" y="3224747"/>
                      <a:pt x="1700096" y="3224747"/>
                    </a:cubicBezTo>
                    <a:cubicBezTo>
                      <a:pt x="1719576" y="3224747"/>
                      <a:pt x="1735357" y="3208967"/>
                      <a:pt x="1735357" y="3189486"/>
                    </a:cubicBezTo>
                    <a:close/>
                    <a:moveTo>
                      <a:pt x="1736342" y="1322547"/>
                    </a:moveTo>
                    <a:cubicBezTo>
                      <a:pt x="1736342" y="1314663"/>
                      <a:pt x="1729930" y="1308246"/>
                      <a:pt x="1722040" y="1308246"/>
                    </a:cubicBezTo>
                    <a:cubicBezTo>
                      <a:pt x="1714150" y="1308246"/>
                      <a:pt x="1707741" y="1314663"/>
                      <a:pt x="1707741" y="1322547"/>
                    </a:cubicBezTo>
                    <a:cubicBezTo>
                      <a:pt x="1707741" y="1330440"/>
                      <a:pt x="1714150" y="1336849"/>
                      <a:pt x="1722040" y="1336849"/>
                    </a:cubicBezTo>
                    <a:cubicBezTo>
                      <a:pt x="1729930" y="1336849"/>
                      <a:pt x="1736342" y="1330440"/>
                      <a:pt x="1736342" y="1322547"/>
                    </a:cubicBezTo>
                    <a:close/>
                    <a:moveTo>
                      <a:pt x="1740041" y="654684"/>
                    </a:moveTo>
                    <a:cubicBezTo>
                      <a:pt x="1740041" y="645789"/>
                      <a:pt x="1732889" y="638601"/>
                      <a:pt x="1724013" y="638601"/>
                    </a:cubicBezTo>
                    <a:cubicBezTo>
                      <a:pt x="1715136" y="638601"/>
                      <a:pt x="1707986" y="645789"/>
                      <a:pt x="1707986" y="654684"/>
                    </a:cubicBezTo>
                    <a:cubicBezTo>
                      <a:pt x="1707986" y="663553"/>
                      <a:pt x="1715136" y="670704"/>
                      <a:pt x="1724013" y="670704"/>
                    </a:cubicBezTo>
                    <a:cubicBezTo>
                      <a:pt x="1732889" y="670704"/>
                      <a:pt x="1740041" y="663553"/>
                      <a:pt x="1740041" y="654684"/>
                    </a:cubicBezTo>
                    <a:close/>
                    <a:moveTo>
                      <a:pt x="1740288" y="6301663"/>
                    </a:moveTo>
                    <a:cubicBezTo>
                      <a:pt x="1740288" y="6293527"/>
                      <a:pt x="1733630" y="6287115"/>
                      <a:pt x="1725740" y="6287115"/>
                    </a:cubicBezTo>
                    <a:cubicBezTo>
                      <a:pt x="1717601" y="6287115"/>
                      <a:pt x="1711192" y="6293773"/>
                      <a:pt x="1711192" y="6301663"/>
                    </a:cubicBezTo>
                    <a:cubicBezTo>
                      <a:pt x="1711192" y="6309800"/>
                      <a:pt x="1717849" y="6316212"/>
                      <a:pt x="1725740" y="6316212"/>
                    </a:cubicBezTo>
                    <a:cubicBezTo>
                      <a:pt x="1733630" y="6316212"/>
                      <a:pt x="1740039" y="6309800"/>
                      <a:pt x="1740288" y="6301663"/>
                    </a:cubicBezTo>
                    <a:close/>
                    <a:moveTo>
                      <a:pt x="1740780" y="6049911"/>
                    </a:moveTo>
                    <a:cubicBezTo>
                      <a:pt x="1740780" y="6047692"/>
                      <a:pt x="1739054" y="6045966"/>
                      <a:pt x="1736836" y="6045966"/>
                    </a:cubicBezTo>
                    <a:cubicBezTo>
                      <a:pt x="1734617" y="6045966"/>
                      <a:pt x="1732890" y="6047692"/>
                      <a:pt x="1732890" y="6049911"/>
                    </a:cubicBezTo>
                    <a:cubicBezTo>
                      <a:pt x="1732890" y="6052129"/>
                      <a:pt x="1734617" y="6053856"/>
                      <a:pt x="1736836" y="6053856"/>
                    </a:cubicBezTo>
                    <a:cubicBezTo>
                      <a:pt x="1739054" y="6053856"/>
                      <a:pt x="1740780" y="6052129"/>
                      <a:pt x="1740780" y="6049911"/>
                    </a:cubicBezTo>
                    <a:close/>
                    <a:moveTo>
                      <a:pt x="1742753" y="6426186"/>
                    </a:moveTo>
                    <a:cubicBezTo>
                      <a:pt x="1742753" y="6414351"/>
                      <a:pt x="1733139" y="6404733"/>
                      <a:pt x="1721304" y="6404733"/>
                    </a:cubicBezTo>
                    <a:cubicBezTo>
                      <a:pt x="1709467" y="6404733"/>
                      <a:pt x="1699851" y="6414351"/>
                      <a:pt x="1699851" y="6426186"/>
                    </a:cubicBezTo>
                    <a:cubicBezTo>
                      <a:pt x="1699851" y="6438267"/>
                      <a:pt x="1709467" y="6447885"/>
                      <a:pt x="1721304" y="6447885"/>
                    </a:cubicBezTo>
                    <a:cubicBezTo>
                      <a:pt x="1733139" y="6447885"/>
                      <a:pt x="1742753" y="6438267"/>
                      <a:pt x="1742753" y="6426186"/>
                    </a:cubicBezTo>
                    <a:close/>
                    <a:moveTo>
                      <a:pt x="1744230" y="780414"/>
                    </a:moveTo>
                    <a:cubicBezTo>
                      <a:pt x="1744230" y="771779"/>
                      <a:pt x="1737326" y="764877"/>
                      <a:pt x="1728944" y="764877"/>
                    </a:cubicBezTo>
                    <a:cubicBezTo>
                      <a:pt x="1720313" y="764877"/>
                      <a:pt x="1713410" y="772026"/>
                      <a:pt x="1713410" y="780414"/>
                    </a:cubicBezTo>
                    <a:cubicBezTo>
                      <a:pt x="1713410" y="788793"/>
                      <a:pt x="1720560" y="795699"/>
                      <a:pt x="1728944" y="795699"/>
                    </a:cubicBezTo>
                    <a:cubicBezTo>
                      <a:pt x="1737575" y="795699"/>
                      <a:pt x="1744230" y="788793"/>
                      <a:pt x="1744230" y="780414"/>
                    </a:cubicBezTo>
                    <a:close/>
                    <a:moveTo>
                      <a:pt x="1744728" y="4266922"/>
                    </a:moveTo>
                    <a:cubicBezTo>
                      <a:pt x="1744728" y="4263471"/>
                      <a:pt x="1742015" y="4260757"/>
                      <a:pt x="1738561" y="4260757"/>
                    </a:cubicBezTo>
                    <a:cubicBezTo>
                      <a:pt x="1735111" y="4260757"/>
                      <a:pt x="1732398" y="4263471"/>
                      <a:pt x="1732398" y="4266922"/>
                    </a:cubicBezTo>
                    <a:cubicBezTo>
                      <a:pt x="1732398" y="4270375"/>
                      <a:pt x="1735111" y="4273088"/>
                      <a:pt x="1738561" y="4273088"/>
                    </a:cubicBezTo>
                    <a:cubicBezTo>
                      <a:pt x="1742015" y="4273088"/>
                      <a:pt x="1744728" y="4270375"/>
                      <a:pt x="1744728" y="4266922"/>
                    </a:cubicBezTo>
                    <a:close/>
                    <a:moveTo>
                      <a:pt x="1745712" y="6176404"/>
                    </a:moveTo>
                    <a:cubicBezTo>
                      <a:pt x="1745712" y="6168267"/>
                      <a:pt x="1739054" y="6161609"/>
                      <a:pt x="1730917" y="6161609"/>
                    </a:cubicBezTo>
                    <a:cubicBezTo>
                      <a:pt x="1722780" y="6161609"/>
                      <a:pt x="1716123" y="6168267"/>
                      <a:pt x="1716123" y="6176404"/>
                    </a:cubicBezTo>
                    <a:cubicBezTo>
                      <a:pt x="1716123" y="6184540"/>
                      <a:pt x="1722780" y="6191198"/>
                      <a:pt x="1730917" y="6191198"/>
                    </a:cubicBezTo>
                    <a:cubicBezTo>
                      <a:pt x="1739054" y="6191198"/>
                      <a:pt x="1745712" y="6184540"/>
                      <a:pt x="1745712" y="6176404"/>
                    </a:cubicBezTo>
                    <a:close/>
                    <a:moveTo>
                      <a:pt x="1746947" y="1455434"/>
                    </a:moveTo>
                    <a:cubicBezTo>
                      <a:pt x="1746947" y="1447542"/>
                      <a:pt x="1740534" y="1441135"/>
                      <a:pt x="1732644" y="1441135"/>
                    </a:cubicBezTo>
                    <a:cubicBezTo>
                      <a:pt x="1724753" y="1441135"/>
                      <a:pt x="1718344" y="1447542"/>
                      <a:pt x="1718344" y="1455434"/>
                    </a:cubicBezTo>
                    <a:cubicBezTo>
                      <a:pt x="1718344" y="1463331"/>
                      <a:pt x="1724753" y="1469738"/>
                      <a:pt x="1732644" y="1469738"/>
                    </a:cubicBezTo>
                    <a:cubicBezTo>
                      <a:pt x="1740782" y="1469738"/>
                      <a:pt x="1747192" y="1463331"/>
                      <a:pt x="1746947" y="1455434"/>
                    </a:cubicBezTo>
                    <a:close/>
                    <a:moveTo>
                      <a:pt x="1749165" y="5047333"/>
                    </a:moveTo>
                    <a:cubicBezTo>
                      <a:pt x="1749165" y="5040183"/>
                      <a:pt x="1743245" y="5034265"/>
                      <a:pt x="1736095" y="5034265"/>
                    </a:cubicBezTo>
                    <a:cubicBezTo>
                      <a:pt x="1728945" y="5034265"/>
                      <a:pt x="1723027" y="5040183"/>
                      <a:pt x="1723027" y="5047333"/>
                    </a:cubicBezTo>
                    <a:cubicBezTo>
                      <a:pt x="1723027" y="5054486"/>
                      <a:pt x="1728945" y="5060403"/>
                      <a:pt x="1736095" y="5060403"/>
                    </a:cubicBezTo>
                    <a:cubicBezTo>
                      <a:pt x="1743245" y="5060403"/>
                      <a:pt x="1749165" y="5054486"/>
                      <a:pt x="1749165" y="5047333"/>
                    </a:cubicBezTo>
                    <a:close/>
                    <a:moveTo>
                      <a:pt x="1749657" y="906878"/>
                    </a:moveTo>
                    <a:cubicBezTo>
                      <a:pt x="1749657" y="898745"/>
                      <a:pt x="1742999" y="892089"/>
                      <a:pt x="1734863" y="892089"/>
                    </a:cubicBezTo>
                    <a:cubicBezTo>
                      <a:pt x="1726726" y="892089"/>
                      <a:pt x="1720068" y="898745"/>
                      <a:pt x="1720068" y="906878"/>
                    </a:cubicBezTo>
                    <a:cubicBezTo>
                      <a:pt x="1720068" y="915013"/>
                      <a:pt x="1726726" y="921671"/>
                      <a:pt x="1734863" y="921671"/>
                    </a:cubicBezTo>
                    <a:cubicBezTo>
                      <a:pt x="1742999" y="921671"/>
                      <a:pt x="1749657" y="915013"/>
                      <a:pt x="1749657" y="906878"/>
                    </a:cubicBezTo>
                    <a:close/>
                    <a:moveTo>
                      <a:pt x="1756807" y="4904073"/>
                    </a:moveTo>
                    <a:cubicBezTo>
                      <a:pt x="1756807" y="4903581"/>
                      <a:pt x="1756312" y="4903087"/>
                      <a:pt x="1755820" y="4903087"/>
                    </a:cubicBezTo>
                    <a:cubicBezTo>
                      <a:pt x="1755329" y="4903087"/>
                      <a:pt x="1754835" y="4903581"/>
                      <a:pt x="1754835" y="4904073"/>
                    </a:cubicBezTo>
                    <a:cubicBezTo>
                      <a:pt x="1754835" y="4904564"/>
                      <a:pt x="1755329" y="4905059"/>
                      <a:pt x="1755820" y="4905059"/>
                    </a:cubicBezTo>
                    <a:cubicBezTo>
                      <a:pt x="1756312" y="4905059"/>
                      <a:pt x="1756807" y="4904813"/>
                      <a:pt x="1756807" y="4904073"/>
                    </a:cubicBezTo>
                    <a:close/>
                    <a:moveTo>
                      <a:pt x="1758042" y="1590785"/>
                    </a:moveTo>
                    <a:cubicBezTo>
                      <a:pt x="1758042" y="1583134"/>
                      <a:pt x="1751878" y="1576977"/>
                      <a:pt x="1744233" y="1576977"/>
                    </a:cubicBezTo>
                    <a:cubicBezTo>
                      <a:pt x="1736589" y="1576977"/>
                      <a:pt x="1730426" y="1583134"/>
                      <a:pt x="1730426" y="1590785"/>
                    </a:cubicBezTo>
                    <a:cubicBezTo>
                      <a:pt x="1730426" y="1598433"/>
                      <a:pt x="1736589" y="1604595"/>
                      <a:pt x="1744233" y="1604595"/>
                    </a:cubicBezTo>
                    <a:cubicBezTo>
                      <a:pt x="1751878" y="1604595"/>
                      <a:pt x="1758042" y="1598433"/>
                      <a:pt x="1758042" y="1590785"/>
                    </a:cubicBezTo>
                    <a:close/>
                    <a:moveTo>
                      <a:pt x="1761987" y="3075563"/>
                    </a:moveTo>
                    <a:cubicBezTo>
                      <a:pt x="1761987" y="3053618"/>
                      <a:pt x="1744233" y="3035864"/>
                      <a:pt x="1722286" y="3035864"/>
                    </a:cubicBezTo>
                    <a:cubicBezTo>
                      <a:pt x="1700342" y="3035864"/>
                      <a:pt x="1682589" y="3053618"/>
                      <a:pt x="1682589" y="3075563"/>
                    </a:cubicBezTo>
                    <a:cubicBezTo>
                      <a:pt x="1682589" y="3097511"/>
                      <a:pt x="1700342" y="3115265"/>
                      <a:pt x="1722286" y="3115265"/>
                    </a:cubicBezTo>
                    <a:cubicBezTo>
                      <a:pt x="1744233" y="3115265"/>
                      <a:pt x="1761987" y="3097263"/>
                      <a:pt x="1761987" y="3075563"/>
                    </a:cubicBezTo>
                    <a:close/>
                    <a:moveTo>
                      <a:pt x="1761988" y="4677715"/>
                    </a:moveTo>
                    <a:cubicBezTo>
                      <a:pt x="1761988" y="4655276"/>
                      <a:pt x="1743740" y="4637030"/>
                      <a:pt x="1721301" y="4637030"/>
                    </a:cubicBezTo>
                    <a:cubicBezTo>
                      <a:pt x="1698864" y="4637030"/>
                      <a:pt x="1680617" y="4655276"/>
                      <a:pt x="1680617" y="4677715"/>
                    </a:cubicBezTo>
                    <a:cubicBezTo>
                      <a:pt x="1680617" y="4700154"/>
                      <a:pt x="1698864" y="4718399"/>
                      <a:pt x="1721301" y="4718399"/>
                    </a:cubicBezTo>
                    <a:cubicBezTo>
                      <a:pt x="1743740" y="4718399"/>
                      <a:pt x="1761988" y="4700154"/>
                      <a:pt x="1761988" y="4677715"/>
                    </a:cubicBezTo>
                    <a:close/>
                    <a:moveTo>
                      <a:pt x="1762728" y="3994453"/>
                    </a:moveTo>
                    <a:cubicBezTo>
                      <a:pt x="1762728" y="3988783"/>
                      <a:pt x="1758042" y="3984097"/>
                      <a:pt x="1752370" y="3984097"/>
                    </a:cubicBezTo>
                    <a:cubicBezTo>
                      <a:pt x="1746701" y="3984097"/>
                      <a:pt x="1742016" y="3988783"/>
                      <a:pt x="1742016" y="3994453"/>
                    </a:cubicBezTo>
                    <a:cubicBezTo>
                      <a:pt x="1742016" y="4000125"/>
                      <a:pt x="1746701" y="4004811"/>
                      <a:pt x="1752370" y="4004811"/>
                    </a:cubicBezTo>
                    <a:cubicBezTo>
                      <a:pt x="1758042" y="4004811"/>
                      <a:pt x="1762728" y="4000125"/>
                      <a:pt x="1762728" y="3994453"/>
                    </a:cubicBezTo>
                    <a:close/>
                    <a:moveTo>
                      <a:pt x="1763713" y="1727608"/>
                    </a:moveTo>
                    <a:cubicBezTo>
                      <a:pt x="1763713" y="1724645"/>
                      <a:pt x="1761001" y="1721929"/>
                      <a:pt x="1757795" y="1721929"/>
                    </a:cubicBezTo>
                    <a:cubicBezTo>
                      <a:pt x="1754837" y="1721929"/>
                      <a:pt x="1752124" y="1724399"/>
                      <a:pt x="1752124" y="1727608"/>
                    </a:cubicBezTo>
                    <a:cubicBezTo>
                      <a:pt x="1752124" y="1730816"/>
                      <a:pt x="1754589" y="1733532"/>
                      <a:pt x="1757795" y="1733532"/>
                    </a:cubicBezTo>
                    <a:cubicBezTo>
                      <a:pt x="1761001" y="1733532"/>
                      <a:pt x="1763713" y="1730816"/>
                      <a:pt x="1763713" y="1727608"/>
                    </a:cubicBezTo>
                    <a:close/>
                    <a:moveTo>
                      <a:pt x="1765683" y="19096"/>
                    </a:moveTo>
                    <a:cubicBezTo>
                      <a:pt x="1765683" y="9233"/>
                      <a:pt x="1757547" y="1097"/>
                      <a:pt x="1747684" y="1097"/>
                    </a:cubicBezTo>
                    <a:cubicBezTo>
                      <a:pt x="1737820" y="1097"/>
                      <a:pt x="1729685" y="9233"/>
                      <a:pt x="1729685" y="19096"/>
                    </a:cubicBezTo>
                    <a:cubicBezTo>
                      <a:pt x="1729685" y="28958"/>
                      <a:pt x="1737820" y="37093"/>
                      <a:pt x="1747684" y="37093"/>
                    </a:cubicBezTo>
                    <a:cubicBezTo>
                      <a:pt x="1757547" y="37093"/>
                      <a:pt x="1765437" y="29203"/>
                      <a:pt x="1765683" y="19096"/>
                    </a:cubicBezTo>
                    <a:close/>
                    <a:moveTo>
                      <a:pt x="1769383" y="2690906"/>
                    </a:moveTo>
                    <a:cubicBezTo>
                      <a:pt x="1769383" y="2673152"/>
                      <a:pt x="1755083" y="2658849"/>
                      <a:pt x="1737330" y="2658849"/>
                    </a:cubicBezTo>
                    <a:cubicBezTo>
                      <a:pt x="1719576" y="2658849"/>
                      <a:pt x="1705274" y="2673152"/>
                      <a:pt x="1705274" y="2690906"/>
                    </a:cubicBezTo>
                    <a:cubicBezTo>
                      <a:pt x="1705274" y="2708660"/>
                      <a:pt x="1719576" y="2722962"/>
                      <a:pt x="1737330" y="2722962"/>
                    </a:cubicBezTo>
                    <a:cubicBezTo>
                      <a:pt x="1755083" y="2722962"/>
                      <a:pt x="1769383" y="2708413"/>
                      <a:pt x="1769383" y="2690906"/>
                    </a:cubicBezTo>
                    <a:close/>
                    <a:moveTo>
                      <a:pt x="1770123" y="5670182"/>
                    </a:moveTo>
                    <a:cubicBezTo>
                      <a:pt x="1770123" y="5669444"/>
                      <a:pt x="1769382" y="5668703"/>
                      <a:pt x="1768642" y="5668703"/>
                    </a:cubicBezTo>
                    <a:cubicBezTo>
                      <a:pt x="1767904" y="5668703"/>
                      <a:pt x="1767164" y="5669444"/>
                      <a:pt x="1767164" y="5670182"/>
                    </a:cubicBezTo>
                    <a:cubicBezTo>
                      <a:pt x="1767164" y="5670922"/>
                      <a:pt x="1767904" y="5671663"/>
                      <a:pt x="1768642" y="5671663"/>
                    </a:cubicBezTo>
                    <a:cubicBezTo>
                      <a:pt x="1769382" y="5671663"/>
                      <a:pt x="1770123" y="5670922"/>
                      <a:pt x="1770123" y="5670182"/>
                    </a:cubicBezTo>
                    <a:close/>
                    <a:moveTo>
                      <a:pt x="1772096" y="4526074"/>
                    </a:moveTo>
                    <a:cubicBezTo>
                      <a:pt x="1772096" y="4515470"/>
                      <a:pt x="1763465" y="4506839"/>
                      <a:pt x="1752861" y="4506839"/>
                    </a:cubicBezTo>
                    <a:cubicBezTo>
                      <a:pt x="1742261" y="4506839"/>
                      <a:pt x="1733630" y="4515470"/>
                      <a:pt x="1733630" y="4526074"/>
                    </a:cubicBezTo>
                    <a:cubicBezTo>
                      <a:pt x="1733630" y="4536674"/>
                      <a:pt x="1742261" y="4545305"/>
                      <a:pt x="1752861" y="4545305"/>
                    </a:cubicBezTo>
                    <a:cubicBezTo>
                      <a:pt x="1763220" y="4545305"/>
                      <a:pt x="1771850" y="4536674"/>
                      <a:pt x="1772096" y="4526074"/>
                    </a:cubicBezTo>
                    <a:close/>
                    <a:moveTo>
                      <a:pt x="1775547" y="5928842"/>
                    </a:moveTo>
                    <a:cubicBezTo>
                      <a:pt x="1775547" y="5916020"/>
                      <a:pt x="1765189" y="5905662"/>
                      <a:pt x="1752370" y="5905662"/>
                    </a:cubicBezTo>
                    <a:cubicBezTo>
                      <a:pt x="1739548" y="5905662"/>
                      <a:pt x="1729190" y="5916020"/>
                      <a:pt x="1729190" y="5928842"/>
                    </a:cubicBezTo>
                    <a:cubicBezTo>
                      <a:pt x="1729190" y="5941664"/>
                      <a:pt x="1739548" y="5952018"/>
                      <a:pt x="1752370" y="5952018"/>
                    </a:cubicBezTo>
                    <a:cubicBezTo>
                      <a:pt x="1765189" y="5952018"/>
                      <a:pt x="1775547" y="5941415"/>
                      <a:pt x="1775547" y="5928842"/>
                    </a:cubicBezTo>
                    <a:close/>
                    <a:moveTo>
                      <a:pt x="1776780" y="1866943"/>
                    </a:moveTo>
                    <a:cubicBezTo>
                      <a:pt x="1776780" y="1865221"/>
                      <a:pt x="1775301" y="1863741"/>
                      <a:pt x="1773574" y="1863741"/>
                    </a:cubicBezTo>
                    <a:cubicBezTo>
                      <a:pt x="1771848" y="1863741"/>
                      <a:pt x="1770370" y="1865221"/>
                      <a:pt x="1770370" y="1866943"/>
                    </a:cubicBezTo>
                    <a:cubicBezTo>
                      <a:pt x="1770370" y="1868669"/>
                      <a:pt x="1771848" y="1870150"/>
                      <a:pt x="1773574" y="1870150"/>
                    </a:cubicBezTo>
                    <a:cubicBezTo>
                      <a:pt x="1775548" y="1870150"/>
                      <a:pt x="1776780" y="1868669"/>
                      <a:pt x="1776780" y="1866943"/>
                    </a:cubicBezTo>
                    <a:close/>
                    <a:moveTo>
                      <a:pt x="1777275" y="2431271"/>
                    </a:moveTo>
                    <a:cubicBezTo>
                      <a:pt x="1777275" y="2416970"/>
                      <a:pt x="1765685" y="2405383"/>
                      <a:pt x="1751383" y="2405383"/>
                    </a:cubicBezTo>
                    <a:cubicBezTo>
                      <a:pt x="1737083" y="2405383"/>
                      <a:pt x="1725494" y="2416970"/>
                      <a:pt x="1725494" y="2431271"/>
                    </a:cubicBezTo>
                    <a:cubicBezTo>
                      <a:pt x="1725494" y="2445574"/>
                      <a:pt x="1737083" y="2457160"/>
                      <a:pt x="1751383" y="2457160"/>
                    </a:cubicBezTo>
                    <a:cubicBezTo>
                      <a:pt x="1765685" y="2457160"/>
                      <a:pt x="1777521" y="2445574"/>
                      <a:pt x="1777275" y="2431271"/>
                    </a:cubicBezTo>
                    <a:close/>
                    <a:moveTo>
                      <a:pt x="1780726" y="5538513"/>
                    </a:moveTo>
                    <a:cubicBezTo>
                      <a:pt x="1780726" y="5537033"/>
                      <a:pt x="1779492" y="5535800"/>
                      <a:pt x="1778014" y="5535800"/>
                    </a:cubicBezTo>
                    <a:cubicBezTo>
                      <a:pt x="1776533" y="5535800"/>
                      <a:pt x="1775301" y="5537033"/>
                      <a:pt x="1775301" y="5538513"/>
                    </a:cubicBezTo>
                    <a:cubicBezTo>
                      <a:pt x="1775301" y="5539991"/>
                      <a:pt x="1776533" y="5541227"/>
                      <a:pt x="1778014" y="5541227"/>
                    </a:cubicBezTo>
                    <a:cubicBezTo>
                      <a:pt x="1779492" y="5541227"/>
                      <a:pt x="1780726" y="5539746"/>
                      <a:pt x="1780726" y="5538513"/>
                    </a:cubicBezTo>
                    <a:close/>
                    <a:moveTo>
                      <a:pt x="1787384" y="5800130"/>
                    </a:moveTo>
                    <a:cubicBezTo>
                      <a:pt x="1787384" y="5785090"/>
                      <a:pt x="1775054" y="5772759"/>
                      <a:pt x="1760014" y="5772759"/>
                    </a:cubicBezTo>
                    <a:cubicBezTo>
                      <a:pt x="1744973" y="5772759"/>
                      <a:pt x="1732644" y="5785090"/>
                      <a:pt x="1732644" y="5800130"/>
                    </a:cubicBezTo>
                    <a:cubicBezTo>
                      <a:pt x="1732644" y="5815171"/>
                      <a:pt x="1744973" y="5827501"/>
                      <a:pt x="1760014" y="5827501"/>
                    </a:cubicBezTo>
                    <a:cubicBezTo>
                      <a:pt x="1775054" y="5827501"/>
                      <a:pt x="1787384" y="5815171"/>
                      <a:pt x="1787384" y="5800130"/>
                    </a:cubicBezTo>
                    <a:close/>
                    <a:moveTo>
                      <a:pt x="1792562" y="5405114"/>
                    </a:moveTo>
                    <a:cubicBezTo>
                      <a:pt x="1792562" y="5403141"/>
                      <a:pt x="1791084" y="5401663"/>
                      <a:pt x="1789109" y="5401663"/>
                    </a:cubicBezTo>
                    <a:cubicBezTo>
                      <a:pt x="1787136" y="5401663"/>
                      <a:pt x="1785658" y="5403141"/>
                      <a:pt x="1785658" y="5405114"/>
                    </a:cubicBezTo>
                    <a:cubicBezTo>
                      <a:pt x="1785658" y="5407090"/>
                      <a:pt x="1787136" y="5408568"/>
                      <a:pt x="1789109" y="5408568"/>
                    </a:cubicBezTo>
                    <a:cubicBezTo>
                      <a:pt x="1791084" y="5408568"/>
                      <a:pt x="1792562" y="5407090"/>
                      <a:pt x="1792562" y="5405114"/>
                    </a:cubicBezTo>
                    <a:close/>
                    <a:moveTo>
                      <a:pt x="1792563" y="2008890"/>
                    </a:moveTo>
                    <a:cubicBezTo>
                      <a:pt x="1792563" y="2008395"/>
                      <a:pt x="1792068" y="2007903"/>
                      <a:pt x="1791577" y="2007903"/>
                    </a:cubicBezTo>
                    <a:cubicBezTo>
                      <a:pt x="1791082" y="2007903"/>
                      <a:pt x="1790591" y="2008395"/>
                      <a:pt x="1790591" y="2008890"/>
                    </a:cubicBezTo>
                    <a:cubicBezTo>
                      <a:pt x="1790591" y="2009380"/>
                      <a:pt x="1791082" y="2009875"/>
                      <a:pt x="1791577" y="2009875"/>
                    </a:cubicBezTo>
                    <a:cubicBezTo>
                      <a:pt x="1792068" y="2009875"/>
                      <a:pt x="1792563" y="2009380"/>
                      <a:pt x="1792563" y="2008890"/>
                    </a:cubicBezTo>
                    <a:close/>
                    <a:moveTo>
                      <a:pt x="1796013" y="2963122"/>
                    </a:moveTo>
                    <a:cubicBezTo>
                      <a:pt x="1796013" y="2938463"/>
                      <a:pt x="1776041" y="2918491"/>
                      <a:pt x="1751630" y="2918491"/>
                    </a:cubicBezTo>
                    <a:cubicBezTo>
                      <a:pt x="1727218" y="2918491"/>
                      <a:pt x="1707246" y="2938463"/>
                      <a:pt x="1707246" y="2963122"/>
                    </a:cubicBezTo>
                    <a:cubicBezTo>
                      <a:pt x="1707246" y="2987533"/>
                      <a:pt x="1727218" y="3007507"/>
                      <a:pt x="1751630" y="3007507"/>
                    </a:cubicBezTo>
                    <a:cubicBezTo>
                      <a:pt x="1776041" y="3007507"/>
                      <a:pt x="1796013" y="2987533"/>
                      <a:pt x="1796013" y="2963122"/>
                    </a:cubicBezTo>
                    <a:close/>
                    <a:moveTo>
                      <a:pt x="1797739" y="2185939"/>
                    </a:moveTo>
                    <a:cubicBezTo>
                      <a:pt x="1797739" y="2180273"/>
                      <a:pt x="1793054" y="2175585"/>
                      <a:pt x="1787382" y="2175585"/>
                    </a:cubicBezTo>
                    <a:cubicBezTo>
                      <a:pt x="1781713" y="2175585"/>
                      <a:pt x="1777027" y="2180273"/>
                      <a:pt x="1777027" y="2185939"/>
                    </a:cubicBezTo>
                    <a:cubicBezTo>
                      <a:pt x="1777027" y="2191610"/>
                      <a:pt x="1781713" y="2196297"/>
                      <a:pt x="1787382" y="2196297"/>
                    </a:cubicBezTo>
                    <a:cubicBezTo>
                      <a:pt x="1793054" y="2196297"/>
                      <a:pt x="1797739" y="2191610"/>
                      <a:pt x="1797739" y="2185939"/>
                    </a:cubicBezTo>
                    <a:close/>
                    <a:moveTo>
                      <a:pt x="1797740" y="4371224"/>
                    </a:moveTo>
                    <a:cubicBezTo>
                      <a:pt x="1797740" y="4366787"/>
                      <a:pt x="1794044" y="4363087"/>
                      <a:pt x="1789604" y="4363087"/>
                    </a:cubicBezTo>
                    <a:cubicBezTo>
                      <a:pt x="1785166" y="4363087"/>
                      <a:pt x="1781467" y="4366787"/>
                      <a:pt x="1781467" y="4371224"/>
                    </a:cubicBezTo>
                    <a:cubicBezTo>
                      <a:pt x="1781467" y="4375663"/>
                      <a:pt x="1785166" y="4379360"/>
                      <a:pt x="1789604" y="4379360"/>
                    </a:cubicBezTo>
                    <a:cubicBezTo>
                      <a:pt x="1794044" y="4379360"/>
                      <a:pt x="1797740" y="4375663"/>
                      <a:pt x="1797740" y="4371224"/>
                    </a:cubicBezTo>
                    <a:close/>
                    <a:moveTo>
                      <a:pt x="1799467" y="4104673"/>
                    </a:moveTo>
                    <a:cubicBezTo>
                      <a:pt x="1799467" y="4099002"/>
                      <a:pt x="1794782" y="4094564"/>
                      <a:pt x="1789110" y="4094564"/>
                    </a:cubicBezTo>
                    <a:cubicBezTo>
                      <a:pt x="1783686" y="4094564"/>
                      <a:pt x="1779001" y="4099002"/>
                      <a:pt x="1779001" y="4104673"/>
                    </a:cubicBezTo>
                    <a:cubicBezTo>
                      <a:pt x="1779001" y="4110099"/>
                      <a:pt x="1783441" y="4114782"/>
                      <a:pt x="1789110" y="4114782"/>
                    </a:cubicBezTo>
                    <a:cubicBezTo>
                      <a:pt x="1794782" y="4114782"/>
                      <a:pt x="1799218" y="4110345"/>
                      <a:pt x="1799467" y="4104673"/>
                    </a:cubicBezTo>
                    <a:close/>
                    <a:moveTo>
                      <a:pt x="1800205" y="7201172"/>
                    </a:moveTo>
                    <a:cubicBezTo>
                      <a:pt x="1800205" y="7200434"/>
                      <a:pt x="1799464" y="7199693"/>
                      <a:pt x="1798724" y="7199693"/>
                    </a:cubicBezTo>
                    <a:cubicBezTo>
                      <a:pt x="1797986" y="7199693"/>
                      <a:pt x="1797246" y="7200434"/>
                      <a:pt x="1797246" y="7201172"/>
                    </a:cubicBezTo>
                    <a:cubicBezTo>
                      <a:pt x="1797246" y="7201912"/>
                      <a:pt x="1797986" y="7202653"/>
                      <a:pt x="1798724" y="7202653"/>
                    </a:cubicBezTo>
                    <a:cubicBezTo>
                      <a:pt x="1799711" y="7202653"/>
                      <a:pt x="1800205" y="7202161"/>
                      <a:pt x="1800205" y="7201172"/>
                    </a:cubicBezTo>
                    <a:close/>
                    <a:moveTo>
                      <a:pt x="1801685" y="5269745"/>
                    </a:moveTo>
                    <a:lnTo>
                      <a:pt x="1801439" y="5269499"/>
                    </a:lnTo>
                    <a:lnTo>
                      <a:pt x="1801439" y="5269745"/>
                    </a:lnTo>
                    <a:close/>
                    <a:moveTo>
                      <a:pt x="1802179" y="7082816"/>
                    </a:moveTo>
                    <a:cubicBezTo>
                      <a:pt x="1802179" y="7082078"/>
                      <a:pt x="1801439" y="7081337"/>
                      <a:pt x="1800698" y="7081337"/>
                    </a:cubicBezTo>
                    <a:cubicBezTo>
                      <a:pt x="1799960" y="7081337"/>
                      <a:pt x="1799220" y="7082078"/>
                      <a:pt x="1799220" y="7082816"/>
                    </a:cubicBezTo>
                    <a:cubicBezTo>
                      <a:pt x="1799220" y="7083556"/>
                      <a:pt x="1799960" y="7084297"/>
                      <a:pt x="1800698" y="7084297"/>
                    </a:cubicBezTo>
                    <a:cubicBezTo>
                      <a:pt x="1801439" y="7084297"/>
                      <a:pt x="1802179" y="7083556"/>
                      <a:pt x="1802179" y="7082816"/>
                    </a:cubicBezTo>
                    <a:close/>
                    <a:moveTo>
                      <a:pt x="1804645" y="6963473"/>
                    </a:moveTo>
                    <a:cubicBezTo>
                      <a:pt x="1804645" y="6962487"/>
                      <a:pt x="1803658" y="6961500"/>
                      <a:pt x="1802672" y="6961500"/>
                    </a:cubicBezTo>
                    <a:cubicBezTo>
                      <a:pt x="1801686" y="6961500"/>
                      <a:pt x="1800699" y="6962487"/>
                      <a:pt x="1800699" y="6963473"/>
                    </a:cubicBezTo>
                    <a:cubicBezTo>
                      <a:pt x="1800699" y="6964459"/>
                      <a:pt x="1801439" y="6965446"/>
                      <a:pt x="1802672" y="6965446"/>
                    </a:cubicBezTo>
                    <a:cubicBezTo>
                      <a:pt x="1803904" y="6965446"/>
                      <a:pt x="1804645" y="6964706"/>
                      <a:pt x="1804645" y="6963473"/>
                    </a:cubicBezTo>
                    <a:close/>
                    <a:moveTo>
                      <a:pt x="1813522" y="994396"/>
                    </a:moveTo>
                    <a:cubicBezTo>
                      <a:pt x="1813522" y="986014"/>
                      <a:pt x="1806865" y="979353"/>
                      <a:pt x="1798479" y="979353"/>
                    </a:cubicBezTo>
                    <a:cubicBezTo>
                      <a:pt x="1790097" y="979353"/>
                      <a:pt x="1783440" y="986014"/>
                      <a:pt x="1783440" y="994396"/>
                    </a:cubicBezTo>
                    <a:cubicBezTo>
                      <a:pt x="1783440" y="1002779"/>
                      <a:pt x="1790097" y="1009440"/>
                      <a:pt x="1798479" y="1009440"/>
                    </a:cubicBezTo>
                    <a:cubicBezTo>
                      <a:pt x="1806865" y="1009440"/>
                      <a:pt x="1813768" y="1002779"/>
                      <a:pt x="1813522" y="994396"/>
                    </a:cubicBezTo>
                    <a:close/>
                    <a:moveTo>
                      <a:pt x="1815987" y="6847335"/>
                    </a:moveTo>
                    <a:cubicBezTo>
                      <a:pt x="1815987" y="6845362"/>
                      <a:pt x="1814260" y="6843884"/>
                      <a:pt x="1812534" y="6843884"/>
                    </a:cubicBezTo>
                    <a:cubicBezTo>
                      <a:pt x="1810562" y="6843884"/>
                      <a:pt x="1809084" y="6845362"/>
                      <a:pt x="1809084" y="6847335"/>
                    </a:cubicBezTo>
                    <a:cubicBezTo>
                      <a:pt x="1809084" y="6849310"/>
                      <a:pt x="1810562" y="6850788"/>
                      <a:pt x="1812534" y="6850788"/>
                    </a:cubicBezTo>
                    <a:cubicBezTo>
                      <a:pt x="1814507" y="6850788"/>
                      <a:pt x="1815987" y="6849310"/>
                      <a:pt x="1815987" y="6847335"/>
                    </a:cubicBezTo>
                    <a:close/>
                    <a:moveTo>
                      <a:pt x="1818452" y="6727254"/>
                    </a:moveTo>
                    <a:cubicBezTo>
                      <a:pt x="1818452" y="6725773"/>
                      <a:pt x="1816972" y="6724295"/>
                      <a:pt x="1815245" y="6724295"/>
                    </a:cubicBezTo>
                    <a:cubicBezTo>
                      <a:pt x="1813521" y="6724295"/>
                      <a:pt x="1812040" y="6725528"/>
                      <a:pt x="1812040" y="6727254"/>
                    </a:cubicBezTo>
                    <a:cubicBezTo>
                      <a:pt x="1812040" y="6728981"/>
                      <a:pt x="1813521" y="6730459"/>
                      <a:pt x="1815245" y="6730459"/>
                    </a:cubicBezTo>
                    <a:cubicBezTo>
                      <a:pt x="1816972" y="6730459"/>
                      <a:pt x="1818452" y="6728981"/>
                      <a:pt x="1818452" y="6727254"/>
                    </a:cubicBezTo>
                    <a:close/>
                    <a:moveTo>
                      <a:pt x="1819684" y="2586601"/>
                    </a:moveTo>
                    <a:cubicBezTo>
                      <a:pt x="1819684" y="2569341"/>
                      <a:pt x="1805629" y="2555037"/>
                      <a:pt x="1788122" y="2555037"/>
                    </a:cubicBezTo>
                    <a:cubicBezTo>
                      <a:pt x="1770615" y="2555037"/>
                      <a:pt x="1756561" y="2569092"/>
                      <a:pt x="1756561" y="2586601"/>
                    </a:cubicBezTo>
                    <a:cubicBezTo>
                      <a:pt x="1756561" y="2604109"/>
                      <a:pt x="1770615" y="2618163"/>
                      <a:pt x="1788122" y="2618163"/>
                    </a:cubicBezTo>
                    <a:cubicBezTo>
                      <a:pt x="1805629" y="2618163"/>
                      <a:pt x="1819929" y="2603861"/>
                      <a:pt x="1819684" y="2586601"/>
                    </a:cubicBezTo>
                    <a:close/>
                    <a:moveTo>
                      <a:pt x="1819685" y="1122106"/>
                    </a:moveTo>
                    <a:cubicBezTo>
                      <a:pt x="1819685" y="1114212"/>
                      <a:pt x="1813275" y="1107802"/>
                      <a:pt x="1805385" y="1107802"/>
                    </a:cubicBezTo>
                    <a:cubicBezTo>
                      <a:pt x="1797494" y="1107802"/>
                      <a:pt x="1791082" y="1114212"/>
                      <a:pt x="1791082" y="1122106"/>
                    </a:cubicBezTo>
                    <a:cubicBezTo>
                      <a:pt x="1791082" y="1129995"/>
                      <a:pt x="1797494" y="1136403"/>
                      <a:pt x="1805385" y="1136403"/>
                    </a:cubicBezTo>
                    <a:cubicBezTo>
                      <a:pt x="1813275" y="1136403"/>
                      <a:pt x="1819685" y="1129995"/>
                      <a:pt x="1819685" y="1122106"/>
                    </a:cubicBezTo>
                    <a:close/>
                    <a:moveTo>
                      <a:pt x="1820179" y="6606186"/>
                    </a:moveTo>
                    <a:cubicBezTo>
                      <a:pt x="1820179" y="6604954"/>
                      <a:pt x="1819192" y="6604213"/>
                      <a:pt x="1818206" y="6604213"/>
                    </a:cubicBezTo>
                    <a:cubicBezTo>
                      <a:pt x="1816974" y="6604213"/>
                      <a:pt x="1816234" y="6605199"/>
                      <a:pt x="1816234" y="6606186"/>
                    </a:cubicBezTo>
                    <a:cubicBezTo>
                      <a:pt x="1816234" y="6607418"/>
                      <a:pt x="1817220" y="6608158"/>
                      <a:pt x="1818206" y="6608158"/>
                    </a:cubicBezTo>
                    <a:cubicBezTo>
                      <a:pt x="1819192" y="6608158"/>
                      <a:pt x="1820179" y="6607418"/>
                      <a:pt x="1820179" y="6606186"/>
                    </a:cubicBezTo>
                    <a:close/>
                    <a:moveTo>
                      <a:pt x="1827329" y="1250547"/>
                    </a:moveTo>
                    <a:cubicBezTo>
                      <a:pt x="1827329" y="1242911"/>
                      <a:pt x="1821166" y="1236499"/>
                      <a:pt x="1813275" y="1236499"/>
                    </a:cubicBezTo>
                    <a:cubicBezTo>
                      <a:pt x="1805385" y="1236499"/>
                      <a:pt x="1798973" y="1242662"/>
                      <a:pt x="1798973" y="1250547"/>
                    </a:cubicBezTo>
                    <a:cubicBezTo>
                      <a:pt x="1798973" y="1258431"/>
                      <a:pt x="1805385" y="1264838"/>
                      <a:pt x="1813275" y="1264838"/>
                    </a:cubicBezTo>
                    <a:cubicBezTo>
                      <a:pt x="1820917" y="1264838"/>
                      <a:pt x="1827329" y="1258186"/>
                      <a:pt x="1827329" y="1250547"/>
                    </a:cubicBezTo>
                    <a:close/>
                    <a:moveTo>
                      <a:pt x="1828069" y="5131909"/>
                    </a:moveTo>
                    <a:cubicBezTo>
                      <a:pt x="1828069" y="5125005"/>
                      <a:pt x="1822397" y="5119578"/>
                      <a:pt x="1815741" y="5119578"/>
                    </a:cubicBezTo>
                    <a:cubicBezTo>
                      <a:pt x="1808837" y="5119578"/>
                      <a:pt x="1803412" y="5125250"/>
                      <a:pt x="1803412" y="5131909"/>
                    </a:cubicBezTo>
                    <a:cubicBezTo>
                      <a:pt x="1803412" y="5138810"/>
                      <a:pt x="1809084" y="5144236"/>
                      <a:pt x="1815741" y="5144236"/>
                    </a:cubicBezTo>
                    <a:cubicBezTo>
                      <a:pt x="1822397" y="5144236"/>
                      <a:pt x="1828069" y="5138810"/>
                      <a:pt x="1828069" y="5131909"/>
                    </a:cubicBezTo>
                    <a:close/>
                    <a:moveTo>
                      <a:pt x="1828070" y="109315"/>
                    </a:moveTo>
                    <a:cubicBezTo>
                      <a:pt x="1828070" y="98958"/>
                      <a:pt x="1819933" y="90822"/>
                      <a:pt x="1809825" y="90822"/>
                    </a:cubicBezTo>
                    <a:cubicBezTo>
                      <a:pt x="1799467" y="90822"/>
                      <a:pt x="1791330" y="99206"/>
                      <a:pt x="1791330" y="109315"/>
                    </a:cubicBezTo>
                    <a:cubicBezTo>
                      <a:pt x="1791330" y="119669"/>
                      <a:pt x="1799713" y="127808"/>
                      <a:pt x="1809825" y="127808"/>
                    </a:cubicBezTo>
                    <a:cubicBezTo>
                      <a:pt x="1819933" y="127808"/>
                      <a:pt x="1828070" y="119423"/>
                      <a:pt x="1828070" y="109315"/>
                    </a:cubicBezTo>
                    <a:close/>
                    <a:moveTo>
                      <a:pt x="1828070" y="4771663"/>
                    </a:moveTo>
                    <a:cubicBezTo>
                      <a:pt x="1828070" y="4750210"/>
                      <a:pt x="1810563" y="4732702"/>
                      <a:pt x="1789113" y="4732702"/>
                    </a:cubicBezTo>
                    <a:cubicBezTo>
                      <a:pt x="1767660" y="4732702"/>
                      <a:pt x="1750152" y="4750210"/>
                      <a:pt x="1750152" y="4771663"/>
                    </a:cubicBezTo>
                    <a:cubicBezTo>
                      <a:pt x="1750152" y="4793113"/>
                      <a:pt x="1767660" y="4810620"/>
                      <a:pt x="1789113" y="4810620"/>
                    </a:cubicBezTo>
                    <a:cubicBezTo>
                      <a:pt x="1810563" y="4810620"/>
                      <a:pt x="1828070" y="4793113"/>
                      <a:pt x="1828070" y="4771663"/>
                    </a:cubicBezTo>
                    <a:close/>
                    <a:moveTo>
                      <a:pt x="1830780" y="229612"/>
                    </a:moveTo>
                    <a:cubicBezTo>
                      <a:pt x="1830780" y="219749"/>
                      <a:pt x="1822644" y="211614"/>
                      <a:pt x="1812780" y="211614"/>
                    </a:cubicBezTo>
                    <a:cubicBezTo>
                      <a:pt x="1802917" y="211614"/>
                      <a:pt x="1794782" y="219749"/>
                      <a:pt x="1794782" y="229612"/>
                    </a:cubicBezTo>
                    <a:cubicBezTo>
                      <a:pt x="1794782" y="239475"/>
                      <a:pt x="1802917" y="247610"/>
                      <a:pt x="1812780" y="247610"/>
                    </a:cubicBezTo>
                    <a:cubicBezTo>
                      <a:pt x="1822644" y="247610"/>
                      <a:pt x="1830780" y="239475"/>
                      <a:pt x="1830780" y="229612"/>
                    </a:cubicBezTo>
                    <a:close/>
                    <a:moveTo>
                      <a:pt x="1832506" y="2852653"/>
                    </a:moveTo>
                    <a:cubicBezTo>
                      <a:pt x="1832506" y="2828241"/>
                      <a:pt x="1812534" y="2808269"/>
                      <a:pt x="1788123" y="2808269"/>
                    </a:cubicBezTo>
                    <a:cubicBezTo>
                      <a:pt x="1763711" y="2808269"/>
                      <a:pt x="1743739" y="2828241"/>
                      <a:pt x="1743739" y="2852653"/>
                    </a:cubicBezTo>
                    <a:cubicBezTo>
                      <a:pt x="1743739" y="2877065"/>
                      <a:pt x="1763711" y="2897038"/>
                      <a:pt x="1788123" y="2897038"/>
                    </a:cubicBezTo>
                    <a:cubicBezTo>
                      <a:pt x="1812780" y="2897038"/>
                      <a:pt x="1832506" y="2877312"/>
                      <a:pt x="1832506" y="2852653"/>
                    </a:cubicBezTo>
                    <a:close/>
                    <a:moveTo>
                      <a:pt x="1833493" y="4992100"/>
                    </a:moveTo>
                    <a:cubicBezTo>
                      <a:pt x="1833493" y="4991362"/>
                      <a:pt x="1833001" y="4990868"/>
                      <a:pt x="1832261" y="4990868"/>
                    </a:cubicBezTo>
                    <a:cubicBezTo>
                      <a:pt x="1831520" y="4990868"/>
                      <a:pt x="1831029" y="4991362"/>
                      <a:pt x="1831029" y="4992100"/>
                    </a:cubicBezTo>
                    <a:cubicBezTo>
                      <a:pt x="1831029" y="4992841"/>
                      <a:pt x="1831520" y="4993335"/>
                      <a:pt x="1832261" y="4993335"/>
                    </a:cubicBezTo>
                    <a:cubicBezTo>
                      <a:pt x="1833001" y="4993335"/>
                      <a:pt x="1833493" y="4992841"/>
                      <a:pt x="1833493" y="4992100"/>
                    </a:cubicBezTo>
                    <a:close/>
                    <a:moveTo>
                      <a:pt x="1833742" y="350159"/>
                    </a:moveTo>
                    <a:cubicBezTo>
                      <a:pt x="1833742" y="340297"/>
                      <a:pt x="1825851" y="332407"/>
                      <a:pt x="1815988" y="332407"/>
                    </a:cubicBezTo>
                    <a:cubicBezTo>
                      <a:pt x="1806125" y="332407"/>
                      <a:pt x="1798235" y="340297"/>
                      <a:pt x="1798235" y="350159"/>
                    </a:cubicBezTo>
                    <a:cubicBezTo>
                      <a:pt x="1798235" y="360021"/>
                      <a:pt x="1806371" y="367911"/>
                      <a:pt x="1815988" y="367911"/>
                    </a:cubicBezTo>
                    <a:cubicBezTo>
                      <a:pt x="1825605" y="367911"/>
                      <a:pt x="1833495" y="360021"/>
                      <a:pt x="1833742" y="350159"/>
                    </a:cubicBezTo>
                    <a:close/>
                    <a:moveTo>
                      <a:pt x="1836206" y="1381209"/>
                    </a:moveTo>
                    <a:cubicBezTo>
                      <a:pt x="1836206" y="1373327"/>
                      <a:pt x="1829796" y="1366912"/>
                      <a:pt x="1821906" y="1366912"/>
                    </a:cubicBezTo>
                    <a:cubicBezTo>
                      <a:pt x="1814015" y="1366912"/>
                      <a:pt x="1807603" y="1373327"/>
                      <a:pt x="1807603" y="1381209"/>
                    </a:cubicBezTo>
                    <a:cubicBezTo>
                      <a:pt x="1807603" y="1389103"/>
                      <a:pt x="1814015" y="1395519"/>
                      <a:pt x="1821906" y="1395519"/>
                    </a:cubicBezTo>
                    <a:cubicBezTo>
                      <a:pt x="1829796" y="1395519"/>
                      <a:pt x="1836206" y="1389103"/>
                      <a:pt x="1836206" y="1381209"/>
                    </a:cubicBezTo>
                    <a:close/>
                    <a:moveTo>
                      <a:pt x="1836698" y="472191"/>
                    </a:moveTo>
                    <a:cubicBezTo>
                      <a:pt x="1836698" y="462575"/>
                      <a:pt x="1829054" y="454931"/>
                      <a:pt x="1819439" y="454931"/>
                    </a:cubicBezTo>
                    <a:cubicBezTo>
                      <a:pt x="1810067" y="454931"/>
                      <a:pt x="1802177" y="462575"/>
                      <a:pt x="1802177" y="472191"/>
                    </a:cubicBezTo>
                    <a:cubicBezTo>
                      <a:pt x="1802177" y="481559"/>
                      <a:pt x="1809822" y="489449"/>
                      <a:pt x="1819439" y="489449"/>
                    </a:cubicBezTo>
                    <a:cubicBezTo>
                      <a:pt x="1828807" y="489449"/>
                      <a:pt x="1836698" y="481559"/>
                      <a:pt x="1836698" y="472191"/>
                    </a:cubicBezTo>
                    <a:close/>
                    <a:moveTo>
                      <a:pt x="1837932" y="6114020"/>
                    </a:moveTo>
                    <a:cubicBezTo>
                      <a:pt x="1837932" y="6112047"/>
                      <a:pt x="1836206" y="6110320"/>
                      <a:pt x="1834233" y="6110320"/>
                    </a:cubicBezTo>
                    <a:cubicBezTo>
                      <a:pt x="1832261" y="6110320"/>
                      <a:pt x="1830535" y="6112047"/>
                      <a:pt x="1830535" y="6114020"/>
                    </a:cubicBezTo>
                    <a:cubicBezTo>
                      <a:pt x="1830535" y="6115993"/>
                      <a:pt x="1832261" y="6117470"/>
                      <a:pt x="1834233" y="6117470"/>
                    </a:cubicBezTo>
                    <a:cubicBezTo>
                      <a:pt x="1836206" y="6117470"/>
                      <a:pt x="1837683" y="6115993"/>
                      <a:pt x="1837932" y="6114020"/>
                    </a:cubicBezTo>
                    <a:close/>
                    <a:moveTo>
                      <a:pt x="1838181" y="3478620"/>
                    </a:moveTo>
                    <a:cubicBezTo>
                      <a:pt x="1838181" y="3449606"/>
                      <a:pt x="1814507" y="3426183"/>
                      <a:pt x="1785658" y="3426183"/>
                    </a:cubicBezTo>
                    <a:cubicBezTo>
                      <a:pt x="1756564" y="3426183"/>
                      <a:pt x="1733139" y="3449856"/>
                      <a:pt x="1733139" y="3478620"/>
                    </a:cubicBezTo>
                    <a:cubicBezTo>
                      <a:pt x="1733139" y="3507717"/>
                      <a:pt x="1756810" y="3531139"/>
                      <a:pt x="1785658" y="3531139"/>
                    </a:cubicBezTo>
                    <a:cubicBezTo>
                      <a:pt x="1814507" y="3531139"/>
                      <a:pt x="1838181" y="3507468"/>
                      <a:pt x="1838181" y="3478620"/>
                    </a:cubicBezTo>
                    <a:close/>
                    <a:moveTo>
                      <a:pt x="1838423" y="2333873"/>
                    </a:moveTo>
                    <a:cubicBezTo>
                      <a:pt x="1838423" y="2320305"/>
                      <a:pt x="1827575" y="2309463"/>
                      <a:pt x="1814260" y="2309463"/>
                    </a:cubicBezTo>
                    <a:cubicBezTo>
                      <a:pt x="1800944" y="2309463"/>
                      <a:pt x="1790095" y="2320551"/>
                      <a:pt x="1790095" y="2333873"/>
                    </a:cubicBezTo>
                    <a:cubicBezTo>
                      <a:pt x="1790095" y="2347198"/>
                      <a:pt x="1800944" y="2358044"/>
                      <a:pt x="1814260" y="2358044"/>
                    </a:cubicBezTo>
                    <a:cubicBezTo>
                      <a:pt x="1827575" y="2358044"/>
                      <a:pt x="1838423" y="2347198"/>
                      <a:pt x="1838423" y="2333873"/>
                    </a:cubicBezTo>
                    <a:close/>
                    <a:moveTo>
                      <a:pt x="1838670" y="6361829"/>
                    </a:moveTo>
                    <a:cubicBezTo>
                      <a:pt x="1838670" y="6354430"/>
                      <a:pt x="1832506" y="6348266"/>
                      <a:pt x="1825110" y="6348266"/>
                    </a:cubicBezTo>
                    <a:cubicBezTo>
                      <a:pt x="1817711" y="6348266"/>
                      <a:pt x="1811548" y="6354430"/>
                      <a:pt x="1811548" y="6361829"/>
                    </a:cubicBezTo>
                    <a:cubicBezTo>
                      <a:pt x="1811548" y="6369225"/>
                      <a:pt x="1817711" y="6375391"/>
                      <a:pt x="1825110" y="6375391"/>
                    </a:cubicBezTo>
                    <a:cubicBezTo>
                      <a:pt x="1832754" y="6375391"/>
                      <a:pt x="1838670" y="6369225"/>
                      <a:pt x="1838670" y="6361829"/>
                    </a:cubicBezTo>
                    <a:close/>
                    <a:moveTo>
                      <a:pt x="1839659" y="4623471"/>
                    </a:moveTo>
                    <a:cubicBezTo>
                      <a:pt x="1839659" y="4610155"/>
                      <a:pt x="1828810" y="4599305"/>
                      <a:pt x="1815494" y="4599305"/>
                    </a:cubicBezTo>
                    <a:cubicBezTo>
                      <a:pt x="1802179" y="4599305"/>
                      <a:pt x="1791330" y="4610155"/>
                      <a:pt x="1791330" y="4623471"/>
                    </a:cubicBezTo>
                    <a:cubicBezTo>
                      <a:pt x="1791330" y="4636785"/>
                      <a:pt x="1802179" y="4647634"/>
                      <a:pt x="1815494" y="4647634"/>
                    </a:cubicBezTo>
                    <a:cubicBezTo>
                      <a:pt x="1829056" y="4647634"/>
                      <a:pt x="1839904" y="4636785"/>
                      <a:pt x="1839659" y="4623471"/>
                    </a:cubicBezTo>
                    <a:close/>
                    <a:moveTo>
                      <a:pt x="1840397" y="3362315"/>
                    </a:moveTo>
                    <a:cubicBezTo>
                      <a:pt x="1840397" y="3334199"/>
                      <a:pt x="1817466" y="3311530"/>
                      <a:pt x="1789604" y="3311530"/>
                    </a:cubicBezTo>
                    <a:cubicBezTo>
                      <a:pt x="1761492" y="3311530"/>
                      <a:pt x="1738808" y="3334447"/>
                      <a:pt x="1738808" y="3362315"/>
                    </a:cubicBezTo>
                    <a:cubicBezTo>
                      <a:pt x="1738808" y="3390434"/>
                      <a:pt x="1761492" y="3413116"/>
                      <a:pt x="1789604" y="3413116"/>
                    </a:cubicBezTo>
                    <a:cubicBezTo>
                      <a:pt x="1817466" y="3413116"/>
                      <a:pt x="1840397" y="3390434"/>
                      <a:pt x="1840397" y="3362315"/>
                    </a:cubicBezTo>
                    <a:close/>
                    <a:moveTo>
                      <a:pt x="1840398" y="594466"/>
                    </a:moveTo>
                    <a:cubicBezTo>
                      <a:pt x="1840398" y="585097"/>
                      <a:pt x="1832755" y="577453"/>
                      <a:pt x="1823385" y="577453"/>
                    </a:cubicBezTo>
                    <a:cubicBezTo>
                      <a:pt x="1814016" y="577453"/>
                      <a:pt x="1806371" y="585097"/>
                      <a:pt x="1806371" y="594466"/>
                    </a:cubicBezTo>
                    <a:cubicBezTo>
                      <a:pt x="1806371" y="603836"/>
                      <a:pt x="1814016" y="611480"/>
                      <a:pt x="1823385" y="611480"/>
                    </a:cubicBezTo>
                    <a:cubicBezTo>
                      <a:pt x="1832755" y="611480"/>
                      <a:pt x="1840398" y="603836"/>
                      <a:pt x="1840398" y="594466"/>
                    </a:cubicBezTo>
                    <a:close/>
                    <a:moveTo>
                      <a:pt x="1841631" y="6484621"/>
                    </a:moveTo>
                    <a:cubicBezTo>
                      <a:pt x="1841631" y="6473772"/>
                      <a:pt x="1832754" y="6464649"/>
                      <a:pt x="1821657" y="6464649"/>
                    </a:cubicBezTo>
                    <a:cubicBezTo>
                      <a:pt x="1810807" y="6464649"/>
                      <a:pt x="1801685" y="6473526"/>
                      <a:pt x="1801685" y="6484621"/>
                    </a:cubicBezTo>
                    <a:cubicBezTo>
                      <a:pt x="1801685" y="6495471"/>
                      <a:pt x="1810562" y="6504593"/>
                      <a:pt x="1821657" y="6504593"/>
                    </a:cubicBezTo>
                    <a:cubicBezTo>
                      <a:pt x="1832754" y="6504593"/>
                      <a:pt x="1841877" y="6495720"/>
                      <a:pt x="1841631" y="6484621"/>
                    </a:cubicBezTo>
                    <a:close/>
                    <a:moveTo>
                      <a:pt x="1842616" y="3594754"/>
                    </a:moveTo>
                    <a:cubicBezTo>
                      <a:pt x="1842616" y="3565660"/>
                      <a:pt x="1818944" y="3541988"/>
                      <a:pt x="1789604" y="3541988"/>
                    </a:cubicBezTo>
                    <a:cubicBezTo>
                      <a:pt x="1760260" y="3541988"/>
                      <a:pt x="1736589" y="3565660"/>
                      <a:pt x="1736589" y="3594754"/>
                    </a:cubicBezTo>
                    <a:cubicBezTo>
                      <a:pt x="1736589" y="3624098"/>
                      <a:pt x="1760507" y="3647769"/>
                      <a:pt x="1789604" y="3647769"/>
                    </a:cubicBezTo>
                    <a:cubicBezTo>
                      <a:pt x="1818944" y="3647769"/>
                      <a:pt x="1842616" y="3624098"/>
                      <a:pt x="1842616" y="3594754"/>
                    </a:cubicBezTo>
                    <a:close/>
                    <a:moveTo>
                      <a:pt x="1843356" y="6238294"/>
                    </a:moveTo>
                    <a:cubicBezTo>
                      <a:pt x="1843356" y="6230653"/>
                      <a:pt x="1836947" y="6224240"/>
                      <a:pt x="1829301" y="6224240"/>
                    </a:cubicBezTo>
                    <a:cubicBezTo>
                      <a:pt x="1821657" y="6224240"/>
                      <a:pt x="1815248" y="6230653"/>
                      <a:pt x="1815248" y="6238294"/>
                    </a:cubicBezTo>
                    <a:cubicBezTo>
                      <a:pt x="1815248" y="6245940"/>
                      <a:pt x="1821657" y="6252348"/>
                      <a:pt x="1829301" y="6252348"/>
                    </a:cubicBezTo>
                    <a:cubicBezTo>
                      <a:pt x="1837192" y="6252348"/>
                      <a:pt x="1843604" y="6246185"/>
                      <a:pt x="1843356" y="6238294"/>
                    </a:cubicBezTo>
                    <a:close/>
                    <a:moveTo>
                      <a:pt x="1843601" y="718267"/>
                    </a:moveTo>
                    <a:cubicBezTo>
                      <a:pt x="1843601" y="709390"/>
                      <a:pt x="1836451" y="702000"/>
                      <a:pt x="1827329" y="702000"/>
                    </a:cubicBezTo>
                    <a:cubicBezTo>
                      <a:pt x="1818452" y="702000"/>
                      <a:pt x="1811054" y="709390"/>
                      <a:pt x="1811054" y="718267"/>
                    </a:cubicBezTo>
                    <a:cubicBezTo>
                      <a:pt x="1811054" y="727142"/>
                      <a:pt x="1818204" y="734539"/>
                      <a:pt x="1827329" y="734539"/>
                    </a:cubicBezTo>
                    <a:cubicBezTo>
                      <a:pt x="1836451" y="734539"/>
                      <a:pt x="1843601" y="727142"/>
                      <a:pt x="1843601" y="718267"/>
                    </a:cubicBezTo>
                    <a:close/>
                    <a:moveTo>
                      <a:pt x="1845576" y="1513611"/>
                    </a:moveTo>
                    <a:cubicBezTo>
                      <a:pt x="1845576" y="1505721"/>
                      <a:pt x="1839164" y="1499309"/>
                      <a:pt x="1831275" y="1499309"/>
                    </a:cubicBezTo>
                    <a:cubicBezTo>
                      <a:pt x="1823384" y="1499309"/>
                      <a:pt x="1816975" y="1505721"/>
                      <a:pt x="1816975" y="1513611"/>
                    </a:cubicBezTo>
                    <a:cubicBezTo>
                      <a:pt x="1816975" y="1521505"/>
                      <a:pt x="1823384" y="1527915"/>
                      <a:pt x="1831275" y="1527915"/>
                    </a:cubicBezTo>
                    <a:cubicBezTo>
                      <a:pt x="1839164" y="1527915"/>
                      <a:pt x="1845576" y="1521505"/>
                      <a:pt x="1845576" y="1513611"/>
                    </a:cubicBezTo>
                    <a:close/>
                    <a:moveTo>
                      <a:pt x="1846809" y="3710891"/>
                    </a:moveTo>
                    <a:cubicBezTo>
                      <a:pt x="1846809" y="3685989"/>
                      <a:pt x="1826588" y="3665767"/>
                      <a:pt x="1801685" y="3665767"/>
                    </a:cubicBezTo>
                    <a:cubicBezTo>
                      <a:pt x="1776779" y="3665767"/>
                      <a:pt x="1756561" y="3685989"/>
                      <a:pt x="1756561" y="3710891"/>
                    </a:cubicBezTo>
                    <a:cubicBezTo>
                      <a:pt x="1756561" y="3735795"/>
                      <a:pt x="1776779" y="3756016"/>
                      <a:pt x="1801685" y="3756016"/>
                    </a:cubicBezTo>
                    <a:cubicBezTo>
                      <a:pt x="1826588" y="3756016"/>
                      <a:pt x="1846809" y="3735550"/>
                      <a:pt x="1846809" y="3710891"/>
                    </a:cubicBezTo>
                    <a:close/>
                    <a:moveTo>
                      <a:pt x="1847054" y="4212182"/>
                    </a:moveTo>
                    <a:cubicBezTo>
                      <a:pt x="1847054" y="4204293"/>
                      <a:pt x="1840645" y="4197879"/>
                      <a:pt x="1832754" y="4197879"/>
                    </a:cubicBezTo>
                    <a:cubicBezTo>
                      <a:pt x="1824865" y="4197879"/>
                      <a:pt x="1818452" y="4204293"/>
                      <a:pt x="1818452" y="4212182"/>
                    </a:cubicBezTo>
                    <a:cubicBezTo>
                      <a:pt x="1818452" y="4220073"/>
                      <a:pt x="1824865" y="4226482"/>
                      <a:pt x="1832754" y="4226482"/>
                    </a:cubicBezTo>
                    <a:cubicBezTo>
                      <a:pt x="1840645" y="4226482"/>
                      <a:pt x="1847054" y="4220073"/>
                      <a:pt x="1847054" y="4212182"/>
                    </a:cubicBezTo>
                    <a:close/>
                    <a:moveTo>
                      <a:pt x="1847795" y="842778"/>
                    </a:moveTo>
                    <a:cubicBezTo>
                      <a:pt x="1847795" y="834146"/>
                      <a:pt x="1840645" y="826995"/>
                      <a:pt x="1832014" y="826995"/>
                    </a:cubicBezTo>
                    <a:cubicBezTo>
                      <a:pt x="1823384" y="826995"/>
                      <a:pt x="1816234" y="834146"/>
                      <a:pt x="1816234" y="842778"/>
                    </a:cubicBezTo>
                    <a:cubicBezTo>
                      <a:pt x="1816234" y="851402"/>
                      <a:pt x="1823384" y="858546"/>
                      <a:pt x="1832014" y="858546"/>
                    </a:cubicBezTo>
                    <a:cubicBezTo>
                      <a:pt x="1840645" y="858546"/>
                      <a:pt x="1847795" y="851402"/>
                      <a:pt x="1847795" y="842778"/>
                    </a:cubicBezTo>
                    <a:close/>
                    <a:moveTo>
                      <a:pt x="1850262" y="3246679"/>
                    </a:moveTo>
                    <a:cubicBezTo>
                      <a:pt x="1850262" y="3219555"/>
                      <a:pt x="1828315" y="3197610"/>
                      <a:pt x="1801194" y="3197610"/>
                    </a:cubicBezTo>
                    <a:cubicBezTo>
                      <a:pt x="1774069" y="3197610"/>
                      <a:pt x="1752124" y="3219555"/>
                      <a:pt x="1752124" y="3246679"/>
                    </a:cubicBezTo>
                    <a:cubicBezTo>
                      <a:pt x="1752124" y="3273799"/>
                      <a:pt x="1774069" y="3295744"/>
                      <a:pt x="1801194" y="3295744"/>
                    </a:cubicBezTo>
                    <a:cubicBezTo>
                      <a:pt x="1828315" y="3295744"/>
                      <a:pt x="1850262" y="3273554"/>
                      <a:pt x="1850262" y="3246679"/>
                    </a:cubicBezTo>
                    <a:close/>
                    <a:moveTo>
                      <a:pt x="1851247" y="1647730"/>
                    </a:moveTo>
                    <a:cubicBezTo>
                      <a:pt x="1851247" y="1642801"/>
                      <a:pt x="1847301" y="1638856"/>
                      <a:pt x="1842369" y="1638856"/>
                    </a:cubicBezTo>
                    <a:cubicBezTo>
                      <a:pt x="1837192" y="1638856"/>
                      <a:pt x="1833247" y="1642555"/>
                      <a:pt x="1833247" y="1647730"/>
                    </a:cubicBezTo>
                    <a:cubicBezTo>
                      <a:pt x="1833247" y="1652905"/>
                      <a:pt x="1837438" y="1656849"/>
                      <a:pt x="1842369" y="1656849"/>
                    </a:cubicBezTo>
                    <a:cubicBezTo>
                      <a:pt x="1847301" y="1656849"/>
                      <a:pt x="1851247" y="1652659"/>
                      <a:pt x="1851247" y="1647730"/>
                    </a:cubicBezTo>
                    <a:close/>
                    <a:moveTo>
                      <a:pt x="1855685" y="3825303"/>
                    </a:moveTo>
                    <a:cubicBezTo>
                      <a:pt x="1855685" y="3806317"/>
                      <a:pt x="1840151" y="3791028"/>
                      <a:pt x="1821411" y="3791028"/>
                    </a:cubicBezTo>
                    <a:cubicBezTo>
                      <a:pt x="1802425" y="3791028"/>
                      <a:pt x="1787136" y="3806563"/>
                      <a:pt x="1787136" y="3825303"/>
                    </a:cubicBezTo>
                    <a:cubicBezTo>
                      <a:pt x="1787136" y="3844289"/>
                      <a:pt x="1802425" y="3859575"/>
                      <a:pt x="1821411" y="3859575"/>
                    </a:cubicBezTo>
                    <a:cubicBezTo>
                      <a:pt x="1840151" y="3859575"/>
                      <a:pt x="1855685" y="3844289"/>
                      <a:pt x="1855685" y="3825303"/>
                    </a:cubicBezTo>
                    <a:close/>
                    <a:moveTo>
                      <a:pt x="1858399" y="4472072"/>
                    </a:moveTo>
                    <a:cubicBezTo>
                      <a:pt x="1858399" y="4465660"/>
                      <a:pt x="1853219" y="4460483"/>
                      <a:pt x="1846810" y="4460483"/>
                    </a:cubicBezTo>
                    <a:cubicBezTo>
                      <a:pt x="1840397" y="4460483"/>
                      <a:pt x="1835220" y="4465660"/>
                      <a:pt x="1835220" y="4472072"/>
                    </a:cubicBezTo>
                    <a:cubicBezTo>
                      <a:pt x="1835220" y="4478482"/>
                      <a:pt x="1840397" y="4483662"/>
                      <a:pt x="1846810" y="4483662"/>
                    </a:cubicBezTo>
                    <a:cubicBezTo>
                      <a:pt x="1853219" y="4483662"/>
                      <a:pt x="1858399" y="4478482"/>
                      <a:pt x="1858399" y="4472072"/>
                    </a:cubicBezTo>
                    <a:close/>
                    <a:moveTo>
                      <a:pt x="1859382" y="1784092"/>
                    </a:moveTo>
                    <a:cubicBezTo>
                      <a:pt x="1859382" y="1781887"/>
                      <a:pt x="1857656" y="1780160"/>
                      <a:pt x="1855438" y="1780160"/>
                    </a:cubicBezTo>
                    <a:cubicBezTo>
                      <a:pt x="1853219" y="1780160"/>
                      <a:pt x="1851492" y="1781887"/>
                      <a:pt x="1851492" y="1784092"/>
                    </a:cubicBezTo>
                    <a:cubicBezTo>
                      <a:pt x="1851492" y="1786286"/>
                      <a:pt x="1853219" y="1788021"/>
                      <a:pt x="1855438" y="1788021"/>
                    </a:cubicBezTo>
                    <a:cubicBezTo>
                      <a:pt x="1857656" y="1788021"/>
                      <a:pt x="1859382" y="1786286"/>
                      <a:pt x="1859382" y="1784092"/>
                    </a:cubicBezTo>
                    <a:close/>
                    <a:moveTo>
                      <a:pt x="1863082" y="5739966"/>
                    </a:moveTo>
                    <a:cubicBezTo>
                      <a:pt x="1863082" y="5738980"/>
                      <a:pt x="1862344" y="5738239"/>
                      <a:pt x="1861357" y="5738239"/>
                    </a:cubicBezTo>
                    <a:cubicBezTo>
                      <a:pt x="1860371" y="5738239"/>
                      <a:pt x="1859631" y="5738980"/>
                      <a:pt x="1859631" y="5739966"/>
                    </a:cubicBezTo>
                    <a:cubicBezTo>
                      <a:pt x="1859631" y="5740952"/>
                      <a:pt x="1860371" y="5741690"/>
                      <a:pt x="1861357" y="5741690"/>
                    </a:cubicBezTo>
                    <a:cubicBezTo>
                      <a:pt x="1862095" y="5741690"/>
                      <a:pt x="1863082" y="5740952"/>
                      <a:pt x="1863082" y="5739966"/>
                    </a:cubicBezTo>
                    <a:close/>
                    <a:moveTo>
                      <a:pt x="1868262" y="3132018"/>
                    </a:moveTo>
                    <a:cubicBezTo>
                      <a:pt x="1868262" y="3105882"/>
                      <a:pt x="1847055" y="3084674"/>
                      <a:pt x="1820920" y="3084674"/>
                    </a:cubicBezTo>
                    <a:cubicBezTo>
                      <a:pt x="1794784" y="3084674"/>
                      <a:pt x="1773577" y="3105882"/>
                      <a:pt x="1773577" y="3132018"/>
                    </a:cubicBezTo>
                    <a:cubicBezTo>
                      <a:pt x="1773577" y="3158155"/>
                      <a:pt x="1794784" y="3179362"/>
                      <a:pt x="1820920" y="3179362"/>
                    </a:cubicBezTo>
                    <a:cubicBezTo>
                      <a:pt x="1847055" y="3179362"/>
                      <a:pt x="1868262" y="3158155"/>
                      <a:pt x="1868262" y="3132018"/>
                    </a:cubicBezTo>
                    <a:close/>
                    <a:moveTo>
                      <a:pt x="1869986" y="5993937"/>
                    </a:moveTo>
                    <a:cubicBezTo>
                      <a:pt x="1869986" y="5981855"/>
                      <a:pt x="1860125" y="5971992"/>
                      <a:pt x="1848041" y="5971992"/>
                    </a:cubicBezTo>
                    <a:cubicBezTo>
                      <a:pt x="1835960" y="5971992"/>
                      <a:pt x="1826097" y="5981855"/>
                      <a:pt x="1826097" y="5993937"/>
                    </a:cubicBezTo>
                    <a:cubicBezTo>
                      <a:pt x="1826097" y="6006021"/>
                      <a:pt x="1835960" y="6015882"/>
                      <a:pt x="1848041" y="6015882"/>
                    </a:cubicBezTo>
                    <a:cubicBezTo>
                      <a:pt x="1860125" y="6015882"/>
                      <a:pt x="1869986" y="6006021"/>
                      <a:pt x="1869986" y="5993937"/>
                    </a:cubicBezTo>
                    <a:close/>
                    <a:moveTo>
                      <a:pt x="1870234" y="2095683"/>
                    </a:moveTo>
                    <a:cubicBezTo>
                      <a:pt x="1870234" y="2090013"/>
                      <a:pt x="1865549" y="2085327"/>
                      <a:pt x="1859876" y="2085327"/>
                    </a:cubicBezTo>
                    <a:cubicBezTo>
                      <a:pt x="1854207" y="2085327"/>
                      <a:pt x="1849522" y="2090013"/>
                      <a:pt x="1849522" y="2095683"/>
                    </a:cubicBezTo>
                    <a:cubicBezTo>
                      <a:pt x="1849522" y="2101356"/>
                      <a:pt x="1854207" y="2106043"/>
                      <a:pt x="1859876" y="2106043"/>
                    </a:cubicBezTo>
                    <a:cubicBezTo>
                      <a:pt x="1865549" y="2106043"/>
                      <a:pt x="1870234" y="2101356"/>
                      <a:pt x="1870234" y="2095683"/>
                    </a:cubicBezTo>
                    <a:close/>
                    <a:moveTo>
                      <a:pt x="1870974" y="5610757"/>
                    </a:moveTo>
                    <a:cubicBezTo>
                      <a:pt x="1870974" y="5609525"/>
                      <a:pt x="1869985" y="5608538"/>
                      <a:pt x="1868753" y="5608538"/>
                    </a:cubicBezTo>
                    <a:cubicBezTo>
                      <a:pt x="1867521" y="5608538"/>
                      <a:pt x="1866535" y="5609525"/>
                      <a:pt x="1866535" y="5610757"/>
                    </a:cubicBezTo>
                    <a:cubicBezTo>
                      <a:pt x="1866535" y="5611744"/>
                      <a:pt x="1867521" y="5612729"/>
                      <a:pt x="1868753" y="5612729"/>
                    </a:cubicBezTo>
                    <a:cubicBezTo>
                      <a:pt x="1869985" y="5612729"/>
                      <a:pt x="1870974" y="5611989"/>
                      <a:pt x="1870974" y="5610757"/>
                    </a:cubicBezTo>
                    <a:close/>
                    <a:moveTo>
                      <a:pt x="1871466" y="2745144"/>
                    </a:moveTo>
                    <a:cubicBezTo>
                      <a:pt x="1871466" y="2723199"/>
                      <a:pt x="1853713" y="2705445"/>
                      <a:pt x="1831766" y="2705445"/>
                    </a:cubicBezTo>
                    <a:cubicBezTo>
                      <a:pt x="1809822" y="2705445"/>
                      <a:pt x="1792068" y="2723199"/>
                      <a:pt x="1792068" y="2745144"/>
                    </a:cubicBezTo>
                    <a:cubicBezTo>
                      <a:pt x="1792068" y="2767093"/>
                      <a:pt x="1809822" y="2784845"/>
                      <a:pt x="1831766" y="2784845"/>
                    </a:cubicBezTo>
                    <a:cubicBezTo>
                      <a:pt x="1853713" y="2784845"/>
                      <a:pt x="1871466" y="2767093"/>
                      <a:pt x="1871466" y="2745144"/>
                    </a:cubicBezTo>
                    <a:close/>
                    <a:moveTo>
                      <a:pt x="1872207" y="3938485"/>
                    </a:moveTo>
                    <a:cubicBezTo>
                      <a:pt x="1872207" y="3925661"/>
                      <a:pt x="1861850" y="3915305"/>
                      <a:pt x="1849028" y="3915305"/>
                    </a:cubicBezTo>
                    <a:cubicBezTo>
                      <a:pt x="1836206" y="3915305"/>
                      <a:pt x="1825851" y="3925661"/>
                      <a:pt x="1825851" y="3938485"/>
                    </a:cubicBezTo>
                    <a:cubicBezTo>
                      <a:pt x="1825851" y="3951058"/>
                      <a:pt x="1836206" y="3961415"/>
                      <a:pt x="1849028" y="3961415"/>
                    </a:cubicBezTo>
                    <a:cubicBezTo>
                      <a:pt x="1861604" y="3961415"/>
                      <a:pt x="1871962" y="3951058"/>
                      <a:pt x="1872207" y="3938485"/>
                    </a:cubicBezTo>
                    <a:close/>
                    <a:moveTo>
                      <a:pt x="1873193" y="1922625"/>
                    </a:moveTo>
                    <a:cubicBezTo>
                      <a:pt x="1873193" y="1920903"/>
                      <a:pt x="1871713" y="1919423"/>
                      <a:pt x="1869985" y="1919423"/>
                    </a:cubicBezTo>
                    <a:cubicBezTo>
                      <a:pt x="1868016" y="1919423"/>
                      <a:pt x="1866535" y="1920903"/>
                      <a:pt x="1866535" y="1922625"/>
                    </a:cubicBezTo>
                    <a:cubicBezTo>
                      <a:pt x="1866535" y="1924599"/>
                      <a:pt x="1868262" y="1926079"/>
                      <a:pt x="1869985" y="1926079"/>
                    </a:cubicBezTo>
                    <a:cubicBezTo>
                      <a:pt x="1871961" y="1926079"/>
                      <a:pt x="1873439" y="1924599"/>
                      <a:pt x="1873193" y="1922625"/>
                    </a:cubicBezTo>
                    <a:close/>
                    <a:moveTo>
                      <a:pt x="1873193" y="2485507"/>
                    </a:moveTo>
                    <a:cubicBezTo>
                      <a:pt x="1873193" y="2470221"/>
                      <a:pt x="1860617" y="2457642"/>
                      <a:pt x="1845328" y="2457642"/>
                    </a:cubicBezTo>
                    <a:cubicBezTo>
                      <a:pt x="1830041" y="2457642"/>
                      <a:pt x="1817466" y="2470221"/>
                      <a:pt x="1817466" y="2485507"/>
                    </a:cubicBezTo>
                    <a:cubicBezTo>
                      <a:pt x="1817466" y="2500793"/>
                      <a:pt x="1830041" y="2513369"/>
                      <a:pt x="1845328" y="2513369"/>
                    </a:cubicBezTo>
                    <a:cubicBezTo>
                      <a:pt x="1860617" y="2513369"/>
                      <a:pt x="1873193" y="2500793"/>
                      <a:pt x="1873193" y="2485507"/>
                    </a:cubicBezTo>
                    <a:close/>
                    <a:moveTo>
                      <a:pt x="1880590" y="5867691"/>
                    </a:moveTo>
                    <a:cubicBezTo>
                      <a:pt x="1880590" y="5853143"/>
                      <a:pt x="1868754" y="5841306"/>
                      <a:pt x="1854205" y="5841306"/>
                    </a:cubicBezTo>
                    <a:cubicBezTo>
                      <a:pt x="1839905" y="5841306"/>
                      <a:pt x="1828070" y="5853388"/>
                      <a:pt x="1828070" y="5867691"/>
                    </a:cubicBezTo>
                    <a:cubicBezTo>
                      <a:pt x="1828070" y="5881991"/>
                      <a:pt x="1839660" y="5893827"/>
                      <a:pt x="1854205" y="5893827"/>
                    </a:cubicBezTo>
                    <a:cubicBezTo>
                      <a:pt x="1868754" y="5893827"/>
                      <a:pt x="1880590" y="5882240"/>
                      <a:pt x="1880590" y="5867691"/>
                    </a:cubicBezTo>
                    <a:close/>
                    <a:moveTo>
                      <a:pt x="1881084" y="5480074"/>
                    </a:moveTo>
                    <a:cubicBezTo>
                      <a:pt x="1881084" y="5478348"/>
                      <a:pt x="1879603" y="5476869"/>
                      <a:pt x="1877876" y="5476869"/>
                    </a:cubicBezTo>
                    <a:cubicBezTo>
                      <a:pt x="1876150" y="5476869"/>
                      <a:pt x="1874672" y="5478348"/>
                      <a:pt x="1874672" y="5480074"/>
                    </a:cubicBezTo>
                    <a:cubicBezTo>
                      <a:pt x="1874672" y="5481801"/>
                      <a:pt x="1876150" y="5483279"/>
                      <a:pt x="1877876" y="5483279"/>
                    </a:cubicBezTo>
                    <a:cubicBezTo>
                      <a:pt x="1879603" y="5483279"/>
                      <a:pt x="1881084" y="5481801"/>
                      <a:pt x="1881084" y="5480074"/>
                    </a:cubicBezTo>
                    <a:close/>
                    <a:moveTo>
                      <a:pt x="1888479" y="5347417"/>
                    </a:moveTo>
                    <a:cubicBezTo>
                      <a:pt x="1888479" y="5347168"/>
                      <a:pt x="1888234" y="5346923"/>
                      <a:pt x="1887985" y="5346923"/>
                    </a:cubicBezTo>
                    <a:cubicBezTo>
                      <a:pt x="1887739" y="5346923"/>
                      <a:pt x="1887494" y="5347168"/>
                      <a:pt x="1887494" y="5347417"/>
                    </a:cubicBezTo>
                    <a:cubicBezTo>
                      <a:pt x="1887494" y="5347664"/>
                      <a:pt x="1887739" y="5347909"/>
                      <a:pt x="1887985" y="5347909"/>
                    </a:cubicBezTo>
                    <a:cubicBezTo>
                      <a:pt x="1888234" y="5347909"/>
                      <a:pt x="1888479" y="5347664"/>
                      <a:pt x="1888479" y="5347417"/>
                    </a:cubicBezTo>
                    <a:close/>
                    <a:moveTo>
                      <a:pt x="1894149" y="3018837"/>
                    </a:moveTo>
                    <a:cubicBezTo>
                      <a:pt x="1894149" y="2993687"/>
                      <a:pt x="1873685" y="2973221"/>
                      <a:pt x="1848533" y="2973221"/>
                    </a:cubicBezTo>
                    <a:cubicBezTo>
                      <a:pt x="1823384" y="2973221"/>
                      <a:pt x="1802917" y="2993687"/>
                      <a:pt x="1802917" y="3018837"/>
                    </a:cubicBezTo>
                    <a:cubicBezTo>
                      <a:pt x="1802917" y="3043990"/>
                      <a:pt x="1823384" y="3064455"/>
                      <a:pt x="1848533" y="3064455"/>
                    </a:cubicBezTo>
                    <a:cubicBezTo>
                      <a:pt x="1873685" y="3064455"/>
                      <a:pt x="1894149" y="3043990"/>
                      <a:pt x="1894149" y="3018837"/>
                    </a:cubicBezTo>
                    <a:close/>
                    <a:moveTo>
                      <a:pt x="1897851" y="4861911"/>
                    </a:moveTo>
                    <a:cubicBezTo>
                      <a:pt x="1897851" y="4841938"/>
                      <a:pt x="1881576" y="4825663"/>
                      <a:pt x="1861604" y="4825663"/>
                    </a:cubicBezTo>
                    <a:cubicBezTo>
                      <a:pt x="1841632" y="4825663"/>
                      <a:pt x="1825357" y="4841938"/>
                      <a:pt x="1825357" y="4861911"/>
                    </a:cubicBezTo>
                    <a:cubicBezTo>
                      <a:pt x="1825357" y="4881883"/>
                      <a:pt x="1841632" y="4898159"/>
                      <a:pt x="1861604" y="4898159"/>
                    </a:cubicBezTo>
                    <a:cubicBezTo>
                      <a:pt x="1881822" y="4898159"/>
                      <a:pt x="1898097" y="4881883"/>
                      <a:pt x="1897851" y="4861911"/>
                    </a:cubicBezTo>
                    <a:close/>
                    <a:moveTo>
                      <a:pt x="1900067" y="4048948"/>
                    </a:moveTo>
                    <a:cubicBezTo>
                      <a:pt x="1900067" y="4040071"/>
                      <a:pt x="1892917" y="4032921"/>
                      <a:pt x="1884286" y="4032921"/>
                    </a:cubicBezTo>
                    <a:cubicBezTo>
                      <a:pt x="1875410" y="4032921"/>
                      <a:pt x="1868260" y="4040071"/>
                      <a:pt x="1868260" y="4048948"/>
                    </a:cubicBezTo>
                    <a:cubicBezTo>
                      <a:pt x="1868260" y="4057825"/>
                      <a:pt x="1875410" y="4064975"/>
                      <a:pt x="1884286" y="4064975"/>
                    </a:cubicBezTo>
                    <a:cubicBezTo>
                      <a:pt x="1893163" y="4064975"/>
                      <a:pt x="1900067" y="4058071"/>
                      <a:pt x="1900067" y="4048948"/>
                    </a:cubicBezTo>
                    <a:close/>
                    <a:moveTo>
                      <a:pt x="1903520" y="4316730"/>
                    </a:moveTo>
                    <a:cubicBezTo>
                      <a:pt x="1903520" y="4305634"/>
                      <a:pt x="1894398" y="4296510"/>
                      <a:pt x="1883300" y="4296510"/>
                    </a:cubicBezTo>
                    <a:cubicBezTo>
                      <a:pt x="1872204" y="4296510"/>
                      <a:pt x="1863082" y="4305634"/>
                      <a:pt x="1863082" y="4316730"/>
                    </a:cubicBezTo>
                    <a:cubicBezTo>
                      <a:pt x="1863082" y="4327826"/>
                      <a:pt x="1872204" y="4336950"/>
                      <a:pt x="1883300" y="4336950"/>
                    </a:cubicBezTo>
                    <a:cubicBezTo>
                      <a:pt x="1894644" y="4336950"/>
                      <a:pt x="1903767" y="4327826"/>
                      <a:pt x="1903520" y="4316730"/>
                    </a:cubicBezTo>
                    <a:close/>
                    <a:moveTo>
                      <a:pt x="1905247" y="2239930"/>
                    </a:moveTo>
                    <a:cubicBezTo>
                      <a:pt x="1905247" y="2227353"/>
                      <a:pt x="1894889" y="2217005"/>
                      <a:pt x="1882314" y="2217005"/>
                    </a:cubicBezTo>
                    <a:cubicBezTo>
                      <a:pt x="1869741" y="2217005"/>
                      <a:pt x="1859383" y="2227353"/>
                      <a:pt x="1859383" y="2239930"/>
                    </a:cubicBezTo>
                    <a:cubicBezTo>
                      <a:pt x="1859383" y="2252507"/>
                      <a:pt x="1869741" y="2262860"/>
                      <a:pt x="1882314" y="2262860"/>
                    </a:cubicBezTo>
                    <a:cubicBezTo>
                      <a:pt x="1894889" y="2262860"/>
                      <a:pt x="1905247" y="2252753"/>
                      <a:pt x="1905247" y="2239930"/>
                    </a:cubicBezTo>
                    <a:close/>
                    <a:moveTo>
                      <a:pt x="1906970" y="7248266"/>
                    </a:moveTo>
                    <a:cubicBezTo>
                      <a:pt x="1906970" y="7247528"/>
                      <a:pt x="1906229" y="7246787"/>
                      <a:pt x="1905244" y="7246787"/>
                    </a:cubicBezTo>
                    <a:cubicBezTo>
                      <a:pt x="1904506" y="7246787"/>
                      <a:pt x="1903766" y="7247280"/>
                      <a:pt x="1903766" y="7248266"/>
                    </a:cubicBezTo>
                    <a:cubicBezTo>
                      <a:pt x="1903766" y="7249006"/>
                      <a:pt x="1904506" y="7249747"/>
                      <a:pt x="1905244" y="7249747"/>
                    </a:cubicBezTo>
                    <a:cubicBezTo>
                      <a:pt x="1906229" y="7249747"/>
                      <a:pt x="1906724" y="7249006"/>
                      <a:pt x="1906970" y="7248266"/>
                    </a:cubicBezTo>
                    <a:close/>
                    <a:moveTo>
                      <a:pt x="1908206" y="7130898"/>
                    </a:moveTo>
                    <a:cubicBezTo>
                      <a:pt x="1908206" y="7129912"/>
                      <a:pt x="1907465" y="7129171"/>
                      <a:pt x="1906479" y="7129171"/>
                    </a:cubicBezTo>
                    <a:cubicBezTo>
                      <a:pt x="1905741" y="7129171"/>
                      <a:pt x="1905001" y="7129912"/>
                      <a:pt x="1905001" y="7130898"/>
                    </a:cubicBezTo>
                    <a:cubicBezTo>
                      <a:pt x="1905001" y="7131636"/>
                      <a:pt x="1905741" y="7132376"/>
                      <a:pt x="1906479" y="7132376"/>
                    </a:cubicBezTo>
                    <a:cubicBezTo>
                      <a:pt x="1907465" y="7132376"/>
                      <a:pt x="1908206" y="7131636"/>
                      <a:pt x="1908206" y="7130898"/>
                    </a:cubicBezTo>
                    <a:close/>
                    <a:moveTo>
                      <a:pt x="1908947" y="3536566"/>
                    </a:moveTo>
                    <a:cubicBezTo>
                      <a:pt x="1908947" y="3528921"/>
                      <a:pt x="1902783" y="3522757"/>
                      <a:pt x="1895139" y="3522757"/>
                    </a:cubicBezTo>
                    <a:cubicBezTo>
                      <a:pt x="1887494" y="3522757"/>
                      <a:pt x="1881330" y="3528921"/>
                      <a:pt x="1881330" y="3536566"/>
                    </a:cubicBezTo>
                    <a:cubicBezTo>
                      <a:pt x="1881330" y="3544210"/>
                      <a:pt x="1887494" y="3550374"/>
                      <a:pt x="1895139" y="3550374"/>
                    </a:cubicBezTo>
                    <a:cubicBezTo>
                      <a:pt x="1902783" y="3550374"/>
                      <a:pt x="1908947" y="3544210"/>
                      <a:pt x="1908947" y="3536566"/>
                    </a:cubicBezTo>
                    <a:close/>
                    <a:moveTo>
                      <a:pt x="1910425" y="7012790"/>
                    </a:moveTo>
                    <a:cubicBezTo>
                      <a:pt x="1910425" y="7011556"/>
                      <a:pt x="1909438" y="7010569"/>
                      <a:pt x="1908206" y="7010569"/>
                    </a:cubicBezTo>
                    <a:cubicBezTo>
                      <a:pt x="1906973" y="7010569"/>
                      <a:pt x="1905988" y="7011556"/>
                      <a:pt x="1905988" y="7012790"/>
                    </a:cubicBezTo>
                    <a:cubicBezTo>
                      <a:pt x="1905988" y="7014023"/>
                      <a:pt x="1906973" y="7015009"/>
                      <a:pt x="1908206" y="7015009"/>
                    </a:cubicBezTo>
                    <a:cubicBezTo>
                      <a:pt x="1909192" y="7015009"/>
                      <a:pt x="1910178" y="7014023"/>
                      <a:pt x="1910425" y="7012790"/>
                    </a:cubicBezTo>
                    <a:close/>
                    <a:moveTo>
                      <a:pt x="1910918" y="5212785"/>
                    </a:moveTo>
                    <a:cubicBezTo>
                      <a:pt x="1910918" y="5206621"/>
                      <a:pt x="1905741" y="5201444"/>
                      <a:pt x="1899575" y="5201444"/>
                    </a:cubicBezTo>
                    <a:cubicBezTo>
                      <a:pt x="1893410" y="5201444"/>
                      <a:pt x="1888234" y="5206621"/>
                      <a:pt x="1888234" y="5212785"/>
                    </a:cubicBezTo>
                    <a:cubicBezTo>
                      <a:pt x="1888234" y="5218951"/>
                      <a:pt x="1893410" y="5224129"/>
                      <a:pt x="1899575" y="5224129"/>
                    </a:cubicBezTo>
                    <a:cubicBezTo>
                      <a:pt x="1905741" y="5224129"/>
                      <a:pt x="1910918" y="5219197"/>
                      <a:pt x="1910918" y="5212785"/>
                    </a:cubicBezTo>
                    <a:close/>
                    <a:moveTo>
                      <a:pt x="1911165" y="3653195"/>
                    </a:moveTo>
                    <a:cubicBezTo>
                      <a:pt x="1911165" y="3649001"/>
                      <a:pt x="1907959" y="3645550"/>
                      <a:pt x="1903769" y="3645550"/>
                    </a:cubicBezTo>
                    <a:cubicBezTo>
                      <a:pt x="1899824" y="3645550"/>
                      <a:pt x="1896370" y="3649001"/>
                      <a:pt x="1896370" y="3653195"/>
                    </a:cubicBezTo>
                    <a:cubicBezTo>
                      <a:pt x="1896370" y="3657139"/>
                      <a:pt x="1899575" y="3660591"/>
                      <a:pt x="1903769" y="3660591"/>
                    </a:cubicBezTo>
                    <a:cubicBezTo>
                      <a:pt x="1907959" y="3660591"/>
                      <a:pt x="1911165" y="3657139"/>
                      <a:pt x="1911165" y="3653195"/>
                    </a:cubicBezTo>
                    <a:close/>
                    <a:moveTo>
                      <a:pt x="1911656" y="931022"/>
                    </a:moveTo>
                    <a:cubicBezTo>
                      <a:pt x="1911656" y="922149"/>
                      <a:pt x="1904257" y="914745"/>
                      <a:pt x="1895384" y="914745"/>
                    </a:cubicBezTo>
                    <a:cubicBezTo>
                      <a:pt x="1886507" y="914745"/>
                      <a:pt x="1879108" y="922149"/>
                      <a:pt x="1879108" y="931022"/>
                    </a:cubicBezTo>
                    <a:cubicBezTo>
                      <a:pt x="1879108" y="939899"/>
                      <a:pt x="1886258" y="947300"/>
                      <a:pt x="1895384" y="947300"/>
                    </a:cubicBezTo>
                    <a:cubicBezTo>
                      <a:pt x="1904506" y="947300"/>
                      <a:pt x="1911656" y="939899"/>
                      <a:pt x="1911656" y="931022"/>
                    </a:cubicBezTo>
                    <a:close/>
                    <a:moveTo>
                      <a:pt x="1912891" y="4716920"/>
                    </a:moveTo>
                    <a:cubicBezTo>
                      <a:pt x="1912891" y="4700894"/>
                      <a:pt x="1899824" y="4687826"/>
                      <a:pt x="1883797" y="4687826"/>
                    </a:cubicBezTo>
                    <a:cubicBezTo>
                      <a:pt x="1867767" y="4687826"/>
                      <a:pt x="1854700" y="4700894"/>
                      <a:pt x="1854700" y="4716920"/>
                    </a:cubicBezTo>
                    <a:cubicBezTo>
                      <a:pt x="1854700" y="4732950"/>
                      <a:pt x="1867767" y="4746018"/>
                      <a:pt x="1883797" y="4746018"/>
                    </a:cubicBezTo>
                    <a:cubicBezTo>
                      <a:pt x="1899824" y="4746018"/>
                      <a:pt x="1912891" y="4732950"/>
                      <a:pt x="1912891" y="4716920"/>
                    </a:cubicBezTo>
                    <a:close/>
                    <a:moveTo>
                      <a:pt x="1913632" y="2640593"/>
                    </a:moveTo>
                    <a:cubicBezTo>
                      <a:pt x="1913632" y="2623329"/>
                      <a:pt x="1899576" y="2609276"/>
                      <a:pt x="1882317" y="2609276"/>
                    </a:cubicBezTo>
                    <a:cubicBezTo>
                      <a:pt x="1865055" y="2609276"/>
                      <a:pt x="1851001" y="2623329"/>
                      <a:pt x="1851001" y="2640593"/>
                    </a:cubicBezTo>
                    <a:cubicBezTo>
                      <a:pt x="1851001" y="2657852"/>
                      <a:pt x="1865055" y="2671905"/>
                      <a:pt x="1882317" y="2671905"/>
                    </a:cubicBezTo>
                    <a:cubicBezTo>
                      <a:pt x="1899576" y="2671905"/>
                      <a:pt x="1913632" y="2657852"/>
                      <a:pt x="1913632" y="2640593"/>
                    </a:cubicBezTo>
                    <a:close/>
                    <a:moveTo>
                      <a:pt x="1914616" y="5076182"/>
                    </a:moveTo>
                    <a:cubicBezTo>
                      <a:pt x="1914616" y="5075444"/>
                      <a:pt x="1913875" y="5074703"/>
                      <a:pt x="1913135" y="5074703"/>
                    </a:cubicBezTo>
                    <a:cubicBezTo>
                      <a:pt x="1912397" y="5074703"/>
                      <a:pt x="1911657" y="5075444"/>
                      <a:pt x="1911657" y="5076182"/>
                    </a:cubicBezTo>
                    <a:cubicBezTo>
                      <a:pt x="1911657" y="5076922"/>
                      <a:pt x="1912397" y="5077663"/>
                      <a:pt x="1913135" y="5077663"/>
                    </a:cubicBezTo>
                    <a:cubicBezTo>
                      <a:pt x="1913875" y="5077663"/>
                      <a:pt x="1914616" y="5076922"/>
                      <a:pt x="1914616" y="5076182"/>
                    </a:cubicBezTo>
                    <a:close/>
                    <a:moveTo>
                      <a:pt x="1916590" y="1056248"/>
                    </a:moveTo>
                    <a:cubicBezTo>
                      <a:pt x="1916590" y="1047633"/>
                      <a:pt x="1909440" y="1040477"/>
                      <a:pt x="1900809" y="1040477"/>
                    </a:cubicBezTo>
                    <a:cubicBezTo>
                      <a:pt x="1892179" y="1040477"/>
                      <a:pt x="1885275" y="1047633"/>
                      <a:pt x="1885275" y="1056248"/>
                    </a:cubicBezTo>
                    <a:cubicBezTo>
                      <a:pt x="1885275" y="1064897"/>
                      <a:pt x="1892179" y="1072049"/>
                      <a:pt x="1900809" y="1072049"/>
                    </a:cubicBezTo>
                    <a:cubicBezTo>
                      <a:pt x="1909440" y="1072049"/>
                      <a:pt x="1916590" y="1064897"/>
                      <a:pt x="1916590" y="1056248"/>
                    </a:cubicBezTo>
                    <a:close/>
                    <a:moveTo>
                      <a:pt x="1920536" y="6897884"/>
                    </a:moveTo>
                    <a:cubicBezTo>
                      <a:pt x="1920536" y="6895909"/>
                      <a:pt x="1919058" y="6894431"/>
                      <a:pt x="1917082" y="6894431"/>
                    </a:cubicBezTo>
                    <a:cubicBezTo>
                      <a:pt x="1915110" y="6894431"/>
                      <a:pt x="1913632" y="6895909"/>
                      <a:pt x="1913632" y="6897884"/>
                    </a:cubicBezTo>
                    <a:cubicBezTo>
                      <a:pt x="1913632" y="6899857"/>
                      <a:pt x="1915110" y="6901335"/>
                      <a:pt x="1917082" y="6901335"/>
                    </a:cubicBezTo>
                    <a:cubicBezTo>
                      <a:pt x="1919058" y="6901335"/>
                      <a:pt x="1920536" y="6899609"/>
                      <a:pt x="1920536" y="6897884"/>
                    </a:cubicBezTo>
                    <a:close/>
                    <a:moveTo>
                      <a:pt x="1922262" y="1182742"/>
                    </a:moveTo>
                    <a:cubicBezTo>
                      <a:pt x="1922262" y="1174359"/>
                      <a:pt x="1915359" y="1167703"/>
                      <a:pt x="1907219" y="1167703"/>
                    </a:cubicBezTo>
                    <a:cubicBezTo>
                      <a:pt x="1898837" y="1167703"/>
                      <a:pt x="1892179" y="1174359"/>
                      <a:pt x="1892179" y="1182742"/>
                    </a:cubicBezTo>
                    <a:cubicBezTo>
                      <a:pt x="1892179" y="1191127"/>
                      <a:pt x="1898837" y="1197787"/>
                      <a:pt x="1907219" y="1197787"/>
                    </a:cubicBezTo>
                    <a:cubicBezTo>
                      <a:pt x="1915359" y="1197787"/>
                      <a:pt x="1922013" y="1191127"/>
                      <a:pt x="1922262" y="1182742"/>
                    </a:cubicBezTo>
                    <a:close/>
                    <a:moveTo>
                      <a:pt x="1922262" y="6779034"/>
                    </a:moveTo>
                    <a:cubicBezTo>
                      <a:pt x="1922262" y="6777307"/>
                      <a:pt x="1920781" y="6775829"/>
                      <a:pt x="1919055" y="6775829"/>
                    </a:cubicBezTo>
                    <a:cubicBezTo>
                      <a:pt x="1917331" y="6775829"/>
                      <a:pt x="1915850" y="6777307"/>
                      <a:pt x="1915850" y="6779034"/>
                    </a:cubicBezTo>
                    <a:cubicBezTo>
                      <a:pt x="1915850" y="6780515"/>
                      <a:pt x="1917331" y="6781993"/>
                      <a:pt x="1919055" y="6781993"/>
                    </a:cubicBezTo>
                    <a:cubicBezTo>
                      <a:pt x="1920781" y="6781993"/>
                      <a:pt x="1922262" y="6780515"/>
                      <a:pt x="1922262" y="6779034"/>
                    </a:cubicBezTo>
                    <a:close/>
                    <a:moveTo>
                      <a:pt x="1923492" y="6659446"/>
                    </a:moveTo>
                    <a:cubicBezTo>
                      <a:pt x="1923492" y="6658460"/>
                      <a:pt x="1922506" y="6657473"/>
                      <a:pt x="1921519" y="6657473"/>
                    </a:cubicBezTo>
                    <a:cubicBezTo>
                      <a:pt x="1920533" y="6657473"/>
                      <a:pt x="1919547" y="6658460"/>
                      <a:pt x="1919547" y="6659446"/>
                    </a:cubicBezTo>
                    <a:cubicBezTo>
                      <a:pt x="1919547" y="6660432"/>
                      <a:pt x="1920533" y="6661418"/>
                      <a:pt x="1921519" y="6661418"/>
                    </a:cubicBezTo>
                    <a:cubicBezTo>
                      <a:pt x="1922506" y="6661418"/>
                      <a:pt x="1923492" y="6660432"/>
                      <a:pt x="1923492" y="6659446"/>
                    </a:cubicBezTo>
                    <a:close/>
                    <a:moveTo>
                      <a:pt x="1923987" y="3420254"/>
                    </a:moveTo>
                    <a:cubicBezTo>
                      <a:pt x="1923987" y="3404229"/>
                      <a:pt x="1910919" y="3391409"/>
                      <a:pt x="1895138" y="3391409"/>
                    </a:cubicBezTo>
                    <a:cubicBezTo>
                      <a:pt x="1879112" y="3391409"/>
                      <a:pt x="1866289" y="3404475"/>
                      <a:pt x="1866289" y="3420254"/>
                    </a:cubicBezTo>
                    <a:cubicBezTo>
                      <a:pt x="1866289" y="3436283"/>
                      <a:pt x="1879357" y="3449101"/>
                      <a:pt x="1895138" y="3449101"/>
                    </a:cubicBezTo>
                    <a:cubicBezTo>
                      <a:pt x="1910919" y="3449101"/>
                      <a:pt x="1923987" y="3436037"/>
                      <a:pt x="1923987" y="3420254"/>
                    </a:cubicBezTo>
                    <a:close/>
                    <a:moveTo>
                      <a:pt x="1924972" y="4569470"/>
                    </a:moveTo>
                    <a:cubicBezTo>
                      <a:pt x="1924972" y="4561088"/>
                      <a:pt x="1918315" y="4554429"/>
                      <a:pt x="1909929" y="4554429"/>
                    </a:cubicBezTo>
                    <a:cubicBezTo>
                      <a:pt x="1901547" y="4554429"/>
                      <a:pt x="1894889" y="4561088"/>
                      <a:pt x="1894889" y="4569470"/>
                    </a:cubicBezTo>
                    <a:cubicBezTo>
                      <a:pt x="1894889" y="4577609"/>
                      <a:pt x="1901547" y="4584513"/>
                      <a:pt x="1909929" y="4584513"/>
                    </a:cubicBezTo>
                    <a:cubicBezTo>
                      <a:pt x="1918315" y="4584513"/>
                      <a:pt x="1924972" y="4577609"/>
                      <a:pt x="1924972" y="4569470"/>
                    </a:cubicBezTo>
                    <a:close/>
                    <a:moveTo>
                      <a:pt x="1927440" y="2388358"/>
                    </a:moveTo>
                    <a:cubicBezTo>
                      <a:pt x="1927440" y="2377995"/>
                      <a:pt x="1918809" y="2369373"/>
                      <a:pt x="1908206" y="2369373"/>
                    </a:cubicBezTo>
                    <a:cubicBezTo>
                      <a:pt x="1897606" y="2369373"/>
                      <a:pt x="1888975" y="2377752"/>
                      <a:pt x="1888975" y="2388358"/>
                    </a:cubicBezTo>
                    <a:cubicBezTo>
                      <a:pt x="1888975" y="2398711"/>
                      <a:pt x="1897606" y="2407343"/>
                      <a:pt x="1908206" y="2407343"/>
                    </a:cubicBezTo>
                    <a:cubicBezTo>
                      <a:pt x="1918809" y="2407343"/>
                      <a:pt x="1927440" y="2398711"/>
                      <a:pt x="1927440" y="2388358"/>
                    </a:cubicBezTo>
                    <a:close/>
                    <a:moveTo>
                      <a:pt x="1927441" y="2908123"/>
                    </a:moveTo>
                    <a:cubicBezTo>
                      <a:pt x="1927441" y="2883959"/>
                      <a:pt x="1907714" y="2864232"/>
                      <a:pt x="1883548" y="2864232"/>
                    </a:cubicBezTo>
                    <a:cubicBezTo>
                      <a:pt x="1859385" y="2864232"/>
                      <a:pt x="1839660" y="2883959"/>
                      <a:pt x="1839660" y="2908123"/>
                    </a:cubicBezTo>
                    <a:cubicBezTo>
                      <a:pt x="1839660" y="2932289"/>
                      <a:pt x="1859385" y="2952015"/>
                      <a:pt x="1883548" y="2952015"/>
                    </a:cubicBezTo>
                    <a:cubicBezTo>
                      <a:pt x="1907960" y="2952015"/>
                      <a:pt x="1927686" y="2932289"/>
                      <a:pt x="1927441" y="2908123"/>
                    </a:cubicBezTo>
                    <a:close/>
                    <a:moveTo>
                      <a:pt x="1928179" y="1310940"/>
                    </a:moveTo>
                    <a:cubicBezTo>
                      <a:pt x="1928179" y="1303295"/>
                      <a:pt x="1922014" y="1296883"/>
                      <a:pt x="1914124" y="1296883"/>
                    </a:cubicBezTo>
                    <a:cubicBezTo>
                      <a:pt x="1906482" y="1296883"/>
                      <a:pt x="1900070" y="1303047"/>
                      <a:pt x="1900070" y="1310940"/>
                    </a:cubicBezTo>
                    <a:cubicBezTo>
                      <a:pt x="1900070" y="1318579"/>
                      <a:pt x="1906234" y="1324989"/>
                      <a:pt x="1914124" y="1324989"/>
                    </a:cubicBezTo>
                    <a:cubicBezTo>
                      <a:pt x="1922014" y="1324989"/>
                      <a:pt x="1928179" y="1318579"/>
                      <a:pt x="1928179" y="1310940"/>
                    </a:cubicBezTo>
                    <a:close/>
                    <a:moveTo>
                      <a:pt x="1930888" y="3768343"/>
                    </a:moveTo>
                    <a:cubicBezTo>
                      <a:pt x="1930888" y="3762674"/>
                      <a:pt x="1926450" y="3758234"/>
                      <a:pt x="1920779" y="3758234"/>
                    </a:cubicBezTo>
                    <a:cubicBezTo>
                      <a:pt x="1915110" y="3758234"/>
                      <a:pt x="1910670" y="3762674"/>
                      <a:pt x="1910670" y="3768343"/>
                    </a:cubicBezTo>
                    <a:cubicBezTo>
                      <a:pt x="1910670" y="3774015"/>
                      <a:pt x="1915110" y="3778455"/>
                      <a:pt x="1920779" y="3778455"/>
                    </a:cubicBezTo>
                    <a:cubicBezTo>
                      <a:pt x="1926205" y="3778455"/>
                      <a:pt x="1930641" y="3774015"/>
                      <a:pt x="1930888" y="3768343"/>
                    </a:cubicBezTo>
                    <a:close/>
                    <a:moveTo>
                      <a:pt x="1933354" y="59013"/>
                    </a:moveTo>
                    <a:cubicBezTo>
                      <a:pt x="1933354" y="48413"/>
                      <a:pt x="1924724" y="39783"/>
                      <a:pt x="1914120" y="39783"/>
                    </a:cubicBezTo>
                    <a:cubicBezTo>
                      <a:pt x="1903520" y="39783"/>
                      <a:pt x="1894889" y="48413"/>
                      <a:pt x="1894889" y="59013"/>
                    </a:cubicBezTo>
                    <a:cubicBezTo>
                      <a:pt x="1894889" y="69616"/>
                      <a:pt x="1903520" y="78246"/>
                      <a:pt x="1914120" y="78246"/>
                    </a:cubicBezTo>
                    <a:cubicBezTo>
                      <a:pt x="1924724" y="78246"/>
                      <a:pt x="1933354" y="69616"/>
                      <a:pt x="1933354" y="59013"/>
                    </a:cubicBezTo>
                    <a:close/>
                    <a:moveTo>
                      <a:pt x="1935328" y="177834"/>
                    </a:moveTo>
                    <a:cubicBezTo>
                      <a:pt x="1935328" y="167480"/>
                      <a:pt x="1926946" y="159095"/>
                      <a:pt x="1916588" y="159095"/>
                    </a:cubicBezTo>
                    <a:cubicBezTo>
                      <a:pt x="1905987" y="159095"/>
                      <a:pt x="1897603" y="167480"/>
                      <a:pt x="1897603" y="177834"/>
                    </a:cubicBezTo>
                    <a:cubicBezTo>
                      <a:pt x="1897603" y="188437"/>
                      <a:pt x="1906234" y="196819"/>
                      <a:pt x="1916588" y="196819"/>
                    </a:cubicBezTo>
                    <a:cubicBezTo>
                      <a:pt x="1926946" y="196819"/>
                      <a:pt x="1935328" y="188191"/>
                      <a:pt x="1935328" y="177834"/>
                    </a:cubicBezTo>
                    <a:close/>
                    <a:moveTo>
                      <a:pt x="1935823" y="1440626"/>
                    </a:moveTo>
                    <a:cubicBezTo>
                      <a:pt x="1935823" y="1432734"/>
                      <a:pt x="1929413" y="1426325"/>
                      <a:pt x="1921523" y="1426325"/>
                    </a:cubicBezTo>
                    <a:cubicBezTo>
                      <a:pt x="1913632" y="1426325"/>
                      <a:pt x="1907220" y="1432734"/>
                      <a:pt x="1907220" y="1440626"/>
                    </a:cubicBezTo>
                    <a:cubicBezTo>
                      <a:pt x="1907220" y="1448514"/>
                      <a:pt x="1913632" y="1454923"/>
                      <a:pt x="1921523" y="1454923"/>
                    </a:cubicBezTo>
                    <a:cubicBezTo>
                      <a:pt x="1929413" y="1454923"/>
                      <a:pt x="1935823" y="1448514"/>
                      <a:pt x="1935823" y="1440626"/>
                    </a:cubicBezTo>
                    <a:close/>
                    <a:moveTo>
                      <a:pt x="1937303" y="6174184"/>
                    </a:moveTo>
                    <a:cubicBezTo>
                      <a:pt x="1937303" y="6172209"/>
                      <a:pt x="1935822" y="6170731"/>
                      <a:pt x="1933850" y="6170731"/>
                    </a:cubicBezTo>
                    <a:cubicBezTo>
                      <a:pt x="1932123" y="6170731"/>
                      <a:pt x="1930645" y="6172209"/>
                      <a:pt x="1930645" y="6174184"/>
                    </a:cubicBezTo>
                    <a:cubicBezTo>
                      <a:pt x="1930645" y="6176157"/>
                      <a:pt x="1932123" y="6177635"/>
                      <a:pt x="1933850" y="6177635"/>
                    </a:cubicBezTo>
                    <a:cubicBezTo>
                      <a:pt x="1935576" y="6177635"/>
                      <a:pt x="1937054" y="6176157"/>
                      <a:pt x="1937303" y="6174184"/>
                    </a:cubicBezTo>
                    <a:close/>
                    <a:moveTo>
                      <a:pt x="1937549" y="297149"/>
                    </a:moveTo>
                    <a:cubicBezTo>
                      <a:pt x="1937549" y="287041"/>
                      <a:pt x="1929164" y="278656"/>
                      <a:pt x="1919056" y="278656"/>
                    </a:cubicBezTo>
                    <a:cubicBezTo>
                      <a:pt x="1908944" y="278656"/>
                      <a:pt x="1900561" y="287041"/>
                      <a:pt x="1900561" y="297149"/>
                    </a:cubicBezTo>
                    <a:cubicBezTo>
                      <a:pt x="1900561" y="307258"/>
                      <a:pt x="1908944" y="315643"/>
                      <a:pt x="1919056" y="315643"/>
                    </a:cubicBezTo>
                    <a:cubicBezTo>
                      <a:pt x="1929164" y="315643"/>
                      <a:pt x="1937549" y="307258"/>
                      <a:pt x="1937549" y="297149"/>
                    </a:cubicBezTo>
                    <a:close/>
                    <a:moveTo>
                      <a:pt x="1938040" y="3303871"/>
                    </a:moveTo>
                    <a:cubicBezTo>
                      <a:pt x="1938040" y="3284883"/>
                      <a:pt x="1922506" y="3269353"/>
                      <a:pt x="1903519" y="3269353"/>
                    </a:cubicBezTo>
                    <a:cubicBezTo>
                      <a:pt x="1884780" y="3269353"/>
                      <a:pt x="1869245" y="3284883"/>
                      <a:pt x="1869245" y="3303871"/>
                    </a:cubicBezTo>
                    <a:cubicBezTo>
                      <a:pt x="1869245" y="3322861"/>
                      <a:pt x="1884534" y="3338393"/>
                      <a:pt x="1903519" y="3338393"/>
                    </a:cubicBezTo>
                    <a:cubicBezTo>
                      <a:pt x="1922506" y="3338393"/>
                      <a:pt x="1938040" y="3322861"/>
                      <a:pt x="1938040" y="3303871"/>
                    </a:cubicBezTo>
                    <a:close/>
                    <a:moveTo>
                      <a:pt x="1939521" y="6418293"/>
                    </a:moveTo>
                    <a:cubicBezTo>
                      <a:pt x="1939521" y="6411143"/>
                      <a:pt x="1933850" y="6405471"/>
                      <a:pt x="1926700" y="6405471"/>
                    </a:cubicBezTo>
                    <a:cubicBezTo>
                      <a:pt x="1919550" y="6405471"/>
                      <a:pt x="1913878" y="6411143"/>
                      <a:pt x="1913878" y="6418293"/>
                    </a:cubicBezTo>
                    <a:cubicBezTo>
                      <a:pt x="1913878" y="6425443"/>
                      <a:pt x="1919550" y="6431115"/>
                      <a:pt x="1926700" y="6431115"/>
                    </a:cubicBezTo>
                    <a:cubicBezTo>
                      <a:pt x="1933850" y="6431115"/>
                      <a:pt x="1939521" y="6425443"/>
                      <a:pt x="1939521" y="6418293"/>
                    </a:cubicBezTo>
                    <a:close/>
                    <a:moveTo>
                      <a:pt x="1940013" y="417204"/>
                    </a:moveTo>
                    <a:cubicBezTo>
                      <a:pt x="1940013" y="407096"/>
                      <a:pt x="1931877" y="398959"/>
                      <a:pt x="1921768" y="398959"/>
                    </a:cubicBezTo>
                    <a:cubicBezTo>
                      <a:pt x="1911656" y="398959"/>
                      <a:pt x="1903520" y="407096"/>
                      <a:pt x="1903520" y="417204"/>
                    </a:cubicBezTo>
                    <a:cubicBezTo>
                      <a:pt x="1903520" y="427316"/>
                      <a:pt x="1911656" y="435451"/>
                      <a:pt x="1921768" y="435451"/>
                    </a:cubicBezTo>
                    <a:cubicBezTo>
                      <a:pt x="1931628" y="435451"/>
                      <a:pt x="1940013" y="427316"/>
                      <a:pt x="1940013" y="417204"/>
                    </a:cubicBezTo>
                    <a:close/>
                    <a:moveTo>
                      <a:pt x="1941493" y="4157195"/>
                    </a:moveTo>
                    <a:cubicBezTo>
                      <a:pt x="1941493" y="4149302"/>
                      <a:pt x="1935081" y="4142892"/>
                      <a:pt x="1927191" y="4142892"/>
                    </a:cubicBezTo>
                    <a:cubicBezTo>
                      <a:pt x="1919300" y="4142892"/>
                      <a:pt x="1912891" y="4149302"/>
                      <a:pt x="1912891" y="4157195"/>
                    </a:cubicBezTo>
                    <a:cubicBezTo>
                      <a:pt x="1912891" y="4165083"/>
                      <a:pt x="1919300" y="4171495"/>
                      <a:pt x="1927191" y="4171495"/>
                    </a:cubicBezTo>
                    <a:cubicBezTo>
                      <a:pt x="1935081" y="4171495"/>
                      <a:pt x="1941493" y="4165083"/>
                      <a:pt x="1941493" y="4157195"/>
                    </a:cubicBezTo>
                    <a:close/>
                    <a:moveTo>
                      <a:pt x="1942232" y="1572029"/>
                    </a:moveTo>
                    <a:cubicBezTo>
                      <a:pt x="1942232" y="1565615"/>
                      <a:pt x="1937054" y="1560441"/>
                      <a:pt x="1930645" y="1560441"/>
                    </a:cubicBezTo>
                    <a:cubicBezTo>
                      <a:pt x="1924232" y="1560441"/>
                      <a:pt x="1919056" y="1565615"/>
                      <a:pt x="1919056" y="1572029"/>
                    </a:cubicBezTo>
                    <a:cubicBezTo>
                      <a:pt x="1919056" y="1578441"/>
                      <a:pt x="1924232" y="1583616"/>
                      <a:pt x="1930645" y="1583616"/>
                    </a:cubicBezTo>
                    <a:cubicBezTo>
                      <a:pt x="1936809" y="1583616"/>
                      <a:pt x="1942232" y="1578441"/>
                      <a:pt x="1942232" y="1572029"/>
                    </a:cubicBezTo>
                    <a:close/>
                    <a:moveTo>
                      <a:pt x="1942481" y="6539362"/>
                    </a:moveTo>
                    <a:cubicBezTo>
                      <a:pt x="1942481" y="6529251"/>
                      <a:pt x="1934342" y="6520868"/>
                      <a:pt x="1923987" y="6520868"/>
                    </a:cubicBezTo>
                    <a:cubicBezTo>
                      <a:pt x="1913878" y="6520868"/>
                      <a:pt x="1905494" y="6529005"/>
                      <a:pt x="1905494" y="6539362"/>
                    </a:cubicBezTo>
                    <a:cubicBezTo>
                      <a:pt x="1905494" y="6549717"/>
                      <a:pt x="1913630" y="6558102"/>
                      <a:pt x="1923987" y="6558102"/>
                    </a:cubicBezTo>
                    <a:cubicBezTo>
                      <a:pt x="1934342" y="6558102"/>
                      <a:pt x="1942726" y="6549717"/>
                      <a:pt x="1942481" y="6539362"/>
                    </a:cubicBezTo>
                    <a:close/>
                    <a:moveTo>
                      <a:pt x="1942974" y="538002"/>
                    </a:moveTo>
                    <a:cubicBezTo>
                      <a:pt x="1942974" y="528140"/>
                      <a:pt x="1934835" y="520003"/>
                      <a:pt x="1924972" y="520003"/>
                    </a:cubicBezTo>
                    <a:cubicBezTo>
                      <a:pt x="1915109" y="520003"/>
                      <a:pt x="1906973" y="528140"/>
                      <a:pt x="1906973" y="538002"/>
                    </a:cubicBezTo>
                    <a:cubicBezTo>
                      <a:pt x="1906973" y="547865"/>
                      <a:pt x="1915109" y="556001"/>
                      <a:pt x="1924972" y="556001"/>
                    </a:cubicBezTo>
                    <a:cubicBezTo>
                      <a:pt x="1934835" y="556001"/>
                      <a:pt x="1942974" y="547865"/>
                      <a:pt x="1942974" y="538002"/>
                    </a:cubicBezTo>
                    <a:close/>
                    <a:moveTo>
                      <a:pt x="1943466" y="6296732"/>
                    </a:moveTo>
                    <a:cubicBezTo>
                      <a:pt x="1943466" y="6289334"/>
                      <a:pt x="1937549" y="6283416"/>
                      <a:pt x="1930153" y="6283416"/>
                    </a:cubicBezTo>
                    <a:cubicBezTo>
                      <a:pt x="1922754" y="6283416"/>
                      <a:pt x="1916837" y="6289334"/>
                      <a:pt x="1916837" y="6296732"/>
                    </a:cubicBezTo>
                    <a:cubicBezTo>
                      <a:pt x="1916837" y="6304128"/>
                      <a:pt x="1922754" y="6310046"/>
                      <a:pt x="1930153" y="6310046"/>
                    </a:cubicBezTo>
                    <a:cubicBezTo>
                      <a:pt x="1937549" y="6310046"/>
                      <a:pt x="1943466" y="6304128"/>
                      <a:pt x="1943466" y="6296732"/>
                    </a:cubicBezTo>
                    <a:close/>
                    <a:moveTo>
                      <a:pt x="1945191" y="659834"/>
                    </a:moveTo>
                    <a:cubicBezTo>
                      <a:pt x="1945191" y="650217"/>
                      <a:pt x="1937300" y="642559"/>
                      <a:pt x="1927932" y="642559"/>
                    </a:cubicBezTo>
                    <a:cubicBezTo>
                      <a:pt x="1918315" y="642559"/>
                      <a:pt x="1910670" y="650217"/>
                      <a:pt x="1910670" y="659834"/>
                    </a:cubicBezTo>
                    <a:cubicBezTo>
                      <a:pt x="1910670" y="669452"/>
                      <a:pt x="1918315" y="677091"/>
                      <a:pt x="1927932" y="677091"/>
                    </a:cubicBezTo>
                    <a:cubicBezTo>
                      <a:pt x="1937300" y="677091"/>
                      <a:pt x="1945191" y="669452"/>
                      <a:pt x="1945191" y="659834"/>
                    </a:cubicBezTo>
                    <a:close/>
                    <a:moveTo>
                      <a:pt x="1947412" y="2009371"/>
                    </a:moveTo>
                    <a:cubicBezTo>
                      <a:pt x="1947412" y="2003704"/>
                      <a:pt x="1942726" y="1999021"/>
                      <a:pt x="1937054" y="1999021"/>
                    </a:cubicBezTo>
                    <a:cubicBezTo>
                      <a:pt x="1931385" y="1999021"/>
                      <a:pt x="1926700" y="2003704"/>
                      <a:pt x="1926700" y="2009371"/>
                    </a:cubicBezTo>
                    <a:cubicBezTo>
                      <a:pt x="1926700" y="2015041"/>
                      <a:pt x="1931385" y="2019725"/>
                      <a:pt x="1937054" y="2019725"/>
                    </a:cubicBezTo>
                    <a:cubicBezTo>
                      <a:pt x="1942726" y="2019725"/>
                      <a:pt x="1947412" y="2015041"/>
                      <a:pt x="1947412" y="2009371"/>
                    </a:cubicBezTo>
                    <a:close/>
                    <a:moveTo>
                      <a:pt x="1948398" y="782362"/>
                    </a:moveTo>
                    <a:cubicBezTo>
                      <a:pt x="1948398" y="772991"/>
                      <a:pt x="1940754" y="765598"/>
                      <a:pt x="1931631" y="765598"/>
                    </a:cubicBezTo>
                    <a:cubicBezTo>
                      <a:pt x="1922263" y="765598"/>
                      <a:pt x="1914864" y="773239"/>
                      <a:pt x="1914864" y="782362"/>
                    </a:cubicBezTo>
                    <a:cubicBezTo>
                      <a:pt x="1914864" y="791731"/>
                      <a:pt x="1922263" y="799129"/>
                      <a:pt x="1931631" y="799129"/>
                    </a:cubicBezTo>
                    <a:cubicBezTo>
                      <a:pt x="1940754" y="799129"/>
                      <a:pt x="1948398" y="791731"/>
                      <a:pt x="1948398" y="782362"/>
                    </a:cubicBezTo>
                    <a:close/>
                    <a:moveTo>
                      <a:pt x="1949138" y="1705165"/>
                    </a:moveTo>
                    <a:cubicBezTo>
                      <a:pt x="1949138" y="1700729"/>
                      <a:pt x="1945440" y="1697028"/>
                      <a:pt x="1941000" y="1697028"/>
                    </a:cubicBezTo>
                    <a:cubicBezTo>
                      <a:pt x="1936562" y="1697028"/>
                      <a:pt x="1932863" y="1700729"/>
                      <a:pt x="1932863" y="1705165"/>
                    </a:cubicBezTo>
                    <a:cubicBezTo>
                      <a:pt x="1932863" y="1709576"/>
                      <a:pt x="1936562" y="1713277"/>
                      <a:pt x="1941000" y="1713277"/>
                    </a:cubicBezTo>
                    <a:cubicBezTo>
                      <a:pt x="1945440" y="1713277"/>
                      <a:pt x="1949138" y="1709576"/>
                      <a:pt x="1949138" y="1705165"/>
                    </a:cubicBezTo>
                    <a:close/>
                    <a:moveTo>
                      <a:pt x="1956535" y="3188723"/>
                    </a:moveTo>
                    <a:cubicBezTo>
                      <a:pt x="1956535" y="3168751"/>
                      <a:pt x="1940260" y="3152474"/>
                      <a:pt x="1920288" y="3152474"/>
                    </a:cubicBezTo>
                    <a:cubicBezTo>
                      <a:pt x="1900316" y="3152474"/>
                      <a:pt x="1884041" y="3168751"/>
                      <a:pt x="1884041" y="3188723"/>
                    </a:cubicBezTo>
                    <a:cubicBezTo>
                      <a:pt x="1884041" y="3208695"/>
                      <a:pt x="1900316" y="3224970"/>
                      <a:pt x="1920288" y="3224970"/>
                    </a:cubicBezTo>
                    <a:cubicBezTo>
                      <a:pt x="1940505" y="3224970"/>
                      <a:pt x="1956781" y="3208695"/>
                      <a:pt x="1956535" y="3188723"/>
                    </a:cubicBezTo>
                    <a:close/>
                    <a:moveTo>
                      <a:pt x="1958262" y="1840803"/>
                    </a:moveTo>
                    <a:cubicBezTo>
                      <a:pt x="1958262" y="1837843"/>
                      <a:pt x="1955797" y="1835381"/>
                      <a:pt x="1952838" y="1835381"/>
                    </a:cubicBezTo>
                    <a:cubicBezTo>
                      <a:pt x="1949878" y="1835381"/>
                      <a:pt x="1947412" y="1837843"/>
                      <a:pt x="1947412" y="1840803"/>
                    </a:cubicBezTo>
                    <a:cubicBezTo>
                      <a:pt x="1947412" y="1843758"/>
                      <a:pt x="1949878" y="1846224"/>
                      <a:pt x="1952838" y="1846224"/>
                    </a:cubicBezTo>
                    <a:cubicBezTo>
                      <a:pt x="1955797" y="1846224"/>
                      <a:pt x="1958262" y="1843758"/>
                      <a:pt x="1958262" y="1840803"/>
                    </a:cubicBezTo>
                    <a:close/>
                    <a:moveTo>
                      <a:pt x="1958754" y="5805800"/>
                    </a:moveTo>
                    <a:cubicBezTo>
                      <a:pt x="1958754" y="5804813"/>
                      <a:pt x="1957767" y="5803827"/>
                      <a:pt x="1956781" y="5803827"/>
                    </a:cubicBezTo>
                    <a:cubicBezTo>
                      <a:pt x="1955795" y="5803827"/>
                      <a:pt x="1954808" y="5804813"/>
                      <a:pt x="1954808" y="5805800"/>
                    </a:cubicBezTo>
                    <a:cubicBezTo>
                      <a:pt x="1954808" y="5806786"/>
                      <a:pt x="1955795" y="5807772"/>
                      <a:pt x="1956781" y="5807772"/>
                    </a:cubicBezTo>
                    <a:cubicBezTo>
                      <a:pt x="1957767" y="5807772"/>
                      <a:pt x="1958507" y="5807031"/>
                      <a:pt x="1958754" y="5805800"/>
                    </a:cubicBezTo>
                    <a:close/>
                    <a:moveTo>
                      <a:pt x="1959988" y="3882263"/>
                    </a:moveTo>
                    <a:cubicBezTo>
                      <a:pt x="1959988" y="3874619"/>
                      <a:pt x="1953825" y="3868455"/>
                      <a:pt x="1946181" y="3868455"/>
                    </a:cubicBezTo>
                    <a:cubicBezTo>
                      <a:pt x="1938535" y="3868455"/>
                      <a:pt x="1932372" y="3874619"/>
                      <a:pt x="1932372" y="3882263"/>
                    </a:cubicBezTo>
                    <a:cubicBezTo>
                      <a:pt x="1932372" y="3889907"/>
                      <a:pt x="1938535" y="3896071"/>
                      <a:pt x="1946181" y="3896071"/>
                    </a:cubicBezTo>
                    <a:cubicBezTo>
                      <a:pt x="1953825" y="3896071"/>
                      <a:pt x="1959988" y="3889662"/>
                      <a:pt x="1959988" y="3882263"/>
                    </a:cubicBezTo>
                    <a:close/>
                    <a:moveTo>
                      <a:pt x="1960234" y="2539246"/>
                    </a:moveTo>
                    <a:cubicBezTo>
                      <a:pt x="1960234" y="2527904"/>
                      <a:pt x="1950863" y="2518535"/>
                      <a:pt x="1939522" y="2518535"/>
                    </a:cubicBezTo>
                    <a:cubicBezTo>
                      <a:pt x="1928178" y="2518535"/>
                      <a:pt x="1919056" y="2527904"/>
                      <a:pt x="1919056" y="2539246"/>
                    </a:cubicBezTo>
                    <a:cubicBezTo>
                      <a:pt x="1919056" y="2550591"/>
                      <a:pt x="1928178" y="2559960"/>
                      <a:pt x="1939522" y="2559960"/>
                    </a:cubicBezTo>
                    <a:cubicBezTo>
                      <a:pt x="1950863" y="2559960"/>
                      <a:pt x="1959985" y="2550591"/>
                      <a:pt x="1960234" y="2539246"/>
                    </a:cubicBezTo>
                    <a:close/>
                    <a:moveTo>
                      <a:pt x="1964672" y="5679062"/>
                    </a:moveTo>
                    <a:cubicBezTo>
                      <a:pt x="1964672" y="5678075"/>
                      <a:pt x="1963931" y="5677088"/>
                      <a:pt x="1962698" y="5677088"/>
                    </a:cubicBezTo>
                    <a:cubicBezTo>
                      <a:pt x="1961713" y="5677088"/>
                      <a:pt x="1960726" y="5678075"/>
                      <a:pt x="1960726" y="5679062"/>
                    </a:cubicBezTo>
                    <a:cubicBezTo>
                      <a:pt x="1960726" y="5680047"/>
                      <a:pt x="1961713" y="5681034"/>
                      <a:pt x="1962698" y="5681034"/>
                    </a:cubicBezTo>
                    <a:cubicBezTo>
                      <a:pt x="1963685" y="5681034"/>
                      <a:pt x="1964672" y="5680294"/>
                      <a:pt x="1964672" y="5679062"/>
                    </a:cubicBezTo>
                    <a:close/>
                    <a:moveTo>
                      <a:pt x="1966153" y="4417825"/>
                    </a:moveTo>
                    <a:cubicBezTo>
                      <a:pt x="1966153" y="4403771"/>
                      <a:pt x="1954563" y="4392181"/>
                      <a:pt x="1940509" y="4392181"/>
                    </a:cubicBezTo>
                    <a:cubicBezTo>
                      <a:pt x="1926454" y="4392181"/>
                      <a:pt x="1914864" y="4403771"/>
                      <a:pt x="1914864" y="4417825"/>
                    </a:cubicBezTo>
                    <a:cubicBezTo>
                      <a:pt x="1914864" y="4431880"/>
                      <a:pt x="1926454" y="4443469"/>
                      <a:pt x="1940509" y="4443469"/>
                    </a:cubicBezTo>
                    <a:cubicBezTo>
                      <a:pt x="1954812" y="4443469"/>
                      <a:pt x="1966153" y="4431880"/>
                      <a:pt x="1966153" y="4417825"/>
                    </a:cubicBezTo>
                    <a:close/>
                    <a:moveTo>
                      <a:pt x="1966890" y="6055582"/>
                    </a:moveTo>
                    <a:cubicBezTo>
                      <a:pt x="1966890" y="6044488"/>
                      <a:pt x="1957521" y="6035116"/>
                      <a:pt x="1946177" y="6035116"/>
                    </a:cubicBezTo>
                    <a:cubicBezTo>
                      <a:pt x="1934587" y="6035116"/>
                      <a:pt x="1925465" y="6044239"/>
                      <a:pt x="1925465" y="6055582"/>
                    </a:cubicBezTo>
                    <a:cubicBezTo>
                      <a:pt x="1925465" y="6067172"/>
                      <a:pt x="1934835" y="6076295"/>
                      <a:pt x="1946177" y="6076295"/>
                    </a:cubicBezTo>
                    <a:cubicBezTo>
                      <a:pt x="1957521" y="6076295"/>
                      <a:pt x="1966890" y="6066923"/>
                      <a:pt x="1966890" y="6055582"/>
                    </a:cubicBezTo>
                    <a:close/>
                    <a:moveTo>
                      <a:pt x="1968370" y="2799875"/>
                    </a:moveTo>
                    <a:cubicBezTo>
                      <a:pt x="1968370" y="2776695"/>
                      <a:pt x="1949631" y="2757708"/>
                      <a:pt x="1926206" y="2757708"/>
                    </a:cubicBezTo>
                    <a:cubicBezTo>
                      <a:pt x="1903026" y="2757708"/>
                      <a:pt x="1884041" y="2776449"/>
                      <a:pt x="1884041" y="2799875"/>
                    </a:cubicBezTo>
                    <a:cubicBezTo>
                      <a:pt x="1884041" y="2823054"/>
                      <a:pt x="1902780" y="2842038"/>
                      <a:pt x="1926206" y="2842038"/>
                    </a:cubicBezTo>
                    <a:cubicBezTo>
                      <a:pt x="1949631" y="2842038"/>
                      <a:pt x="1968616" y="2823054"/>
                      <a:pt x="1968370" y="2799875"/>
                    </a:cubicBezTo>
                    <a:close/>
                    <a:moveTo>
                      <a:pt x="1971575" y="4947718"/>
                    </a:moveTo>
                    <a:cubicBezTo>
                      <a:pt x="1971575" y="4929965"/>
                      <a:pt x="1957026" y="4915416"/>
                      <a:pt x="1939028" y="4915416"/>
                    </a:cubicBezTo>
                    <a:cubicBezTo>
                      <a:pt x="1921028" y="4915416"/>
                      <a:pt x="1906479" y="4929965"/>
                      <a:pt x="1906479" y="4947718"/>
                    </a:cubicBezTo>
                    <a:cubicBezTo>
                      <a:pt x="1906479" y="4965718"/>
                      <a:pt x="1921028" y="4980267"/>
                      <a:pt x="1939028" y="4980267"/>
                    </a:cubicBezTo>
                    <a:cubicBezTo>
                      <a:pt x="1956781" y="4980267"/>
                      <a:pt x="1971329" y="4965718"/>
                      <a:pt x="1971575" y="4947718"/>
                    </a:cubicBezTo>
                    <a:close/>
                    <a:moveTo>
                      <a:pt x="1972564" y="5550841"/>
                    </a:moveTo>
                    <a:cubicBezTo>
                      <a:pt x="1972564" y="5549360"/>
                      <a:pt x="1971328" y="5548128"/>
                      <a:pt x="1969850" y="5548128"/>
                    </a:cubicBezTo>
                    <a:cubicBezTo>
                      <a:pt x="1968370" y="5548128"/>
                      <a:pt x="1967138" y="5549360"/>
                      <a:pt x="1967138" y="5550841"/>
                    </a:cubicBezTo>
                    <a:cubicBezTo>
                      <a:pt x="1967138" y="5552565"/>
                      <a:pt x="1968370" y="5553800"/>
                      <a:pt x="1969850" y="5553800"/>
                    </a:cubicBezTo>
                    <a:cubicBezTo>
                      <a:pt x="1971577" y="5553800"/>
                      <a:pt x="1972809" y="5552565"/>
                      <a:pt x="1972564" y="5550841"/>
                    </a:cubicBezTo>
                    <a:close/>
                    <a:moveTo>
                      <a:pt x="1975766" y="5931305"/>
                    </a:moveTo>
                    <a:cubicBezTo>
                      <a:pt x="1975766" y="5917743"/>
                      <a:pt x="1964671" y="5906648"/>
                      <a:pt x="1951109" y="5906648"/>
                    </a:cubicBezTo>
                    <a:cubicBezTo>
                      <a:pt x="1937547" y="5906648"/>
                      <a:pt x="1926451" y="5917743"/>
                      <a:pt x="1926451" y="5931305"/>
                    </a:cubicBezTo>
                    <a:cubicBezTo>
                      <a:pt x="1926451" y="5944867"/>
                      <a:pt x="1937547" y="5955963"/>
                      <a:pt x="1951109" y="5955963"/>
                    </a:cubicBezTo>
                    <a:cubicBezTo>
                      <a:pt x="1964671" y="5955963"/>
                      <a:pt x="1975766" y="5944867"/>
                      <a:pt x="1975766" y="5931305"/>
                    </a:cubicBezTo>
                    <a:close/>
                    <a:moveTo>
                      <a:pt x="1978725" y="5421142"/>
                    </a:moveTo>
                    <a:cubicBezTo>
                      <a:pt x="1978725" y="5420647"/>
                      <a:pt x="1978479" y="5420401"/>
                      <a:pt x="1977987" y="5420401"/>
                    </a:cubicBezTo>
                    <a:cubicBezTo>
                      <a:pt x="1977493" y="5420401"/>
                      <a:pt x="1977247" y="5420647"/>
                      <a:pt x="1977247" y="5421142"/>
                    </a:cubicBezTo>
                    <a:cubicBezTo>
                      <a:pt x="1977247" y="5421633"/>
                      <a:pt x="1977493" y="5421879"/>
                      <a:pt x="1977987" y="5421879"/>
                    </a:cubicBezTo>
                    <a:cubicBezTo>
                      <a:pt x="1978479" y="5421879"/>
                      <a:pt x="1978725" y="5421633"/>
                      <a:pt x="1978725" y="5421142"/>
                    </a:cubicBezTo>
                    <a:close/>
                    <a:moveTo>
                      <a:pt x="1983903" y="3074802"/>
                    </a:moveTo>
                    <a:cubicBezTo>
                      <a:pt x="1983903" y="3053841"/>
                      <a:pt x="1966644" y="3036581"/>
                      <a:pt x="1945685" y="3036581"/>
                    </a:cubicBezTo>
                    <a:cubicBezTo>
                      <a:pt x="1924725" y="3036581"/>
                      <a:pt x="1907466" y="3053596"/>
                      <a:pt x="1907466" y="3074802"/>
                    </a:cubicBezTo>
                    <a:cubicBezTo>
                      <a:pt x="1907466" y="3095761"/>
                      <a:pt x="1924479" y="3113021"/>
                      <a:pt x="1945685" y="3113021"/>
                    </a:cubicBezTo>
                    <a:cubicBezTo>
                      <a:pt x="1966644" y="3113021"/>
                      <a:pt x="1983903" y="3096007"/>
                      <a:pt x="1983903" y="3074802"/>
                    </a:cubicBezTo>
                    <a:close/>
                    <a:moveTo>
                      <a:pt x="1984644" y="2294660"/>
                    </a:moveTo>
                    <a:cubicBezTo>
                      <a:pt x="1984644" y="2290464"/>
                      <a:pt x="1981193" y="2287016"/>
                      <a:pt x="1977001" y="2287016"/>
                    </a:cubicBezTo>
                    <a:cubicBezTo>
                      <a:pt x="1972807" y="2287016"/>
                      <a:pt x="1969357" y="2290464"/>
                      <a:pt x="1969357" y="2294660"/>
                    </a:cubicBezTo>
                    <a:cubicBezTo>
                      <a:pt x="1969357" y="2298851"/>
                      <a:pt x="1972807" y="2302299"/>
                      <a:pt x="1977001" y="2302299"/>
                    </a:cubicBezTo>
                    <a:cubicBezTo>
                      <a:pt x="1981193" y="2302299"/>
                      <a:pt x="1984644" y="2298851"/>
                      <a:pt x="1984644" y="2294660"/>
                    </a:cubicBezTo>
                    <a:close/>
                    <a:moveTo>
                      <a:pt x="1988097" y="2150421"/>
                    </a:moveTo>
                    <a:cubicBezTo>
                      <a:pt x="1988097" y="2132420"/>
                      <a:pt x="1973548" y="2117870"/>
                      <a:pt x="1955549" y="2117870"/>
                    </a:cubicBezTo>
                    <a:cubicBezTo>
                      <a:pt x="1937550" y="2117870"/>
                      <a:pt x="1923001" y="2132420"/>
                      <a:pt x="1923001" y="2150421"/>
                    </a:cubicBezTo>
                    <a:cubicBezTo>
                      <a:pt x="1923001" y="2168421"/>
                      <a:pt x="1937550" y="2182974"/>
                      <a:pt x="1955549" y="2182974"/>
                    </a:cubicBezTo>
                    <a:cubicBezTo>
                      <a:pt x="1973548" y="2182974"/>
                      <a:pt x="1988097" y="2168421"/>
                      <a:pt x="1988097" y="2150421"/>
                    </a:cubicBezTo>
                    <a:close/>
                    <a:moveTo>
                      <a:pt x="1989081" y="4806675"/>
                    </a:moveTo>
                    <a:cubicBezTo>
                      <a:pt x="1989081" y="4789170"/>
                      <a:pt x="1974779" y="4774867"/>
                      <a:pt x="1957272" y="4774867"/>
                    </a:cubicBezTo>
                    <a:cubicBezTo>
                      <a:pt x="1939767" y="4774867"/>
                      <a:pt x="1925465" y="4789170"/>
                      <a:pt x="1925465" y="4806675"/>
                    </a:cubicBezTo>
                    <a:cubicBezTo>
                      <a:pt x="1925465" y="4824182"/>
                      <a:pt x="1939767" y="4838485"/>
                      <a:pt x="1957272" y="4838485"/>
                    </a:cubicBezTo>
                    <a:cubicBezTo>
                      <a:pt x="1974779" y="4838485"/>
                      <a:pt x="1989081" y="4824182"/>
                      <a:pt x="1989081" y="4806675"/>
                    </a:cubicBezTo>
                    <a:close/>
                    <a:moveTo>
                      <a:pt x="1997465" y="4662674"/>
                    </a:moveTo>
                    <a:cubicBezTo>
                      <a:pt x="1997465" y="4652317"/>
                      <a:pt x="1989082" y="4643935"/>
                      <a:pt x="1978725" y="4643935"/>
                    </a:cubicBezTo>
                    <a:cubicBezTo>
                      <a:pt x="1968369" y="4643935"/>
                      <a:pt x="1959985" y="4652317"/>
                      <a:pt x="1959985" y="4662674"/>
                    </a:cubicBezTo>
                    <a:cubicBezTo>
                      <a:pt x="1959985" y="4673029"/>
                      <a:pt x="1968369" y="4681414"/>
                      <a:pt x="1978725" y="4681414"/>
                    </a:cubicBezTo>
                    <a:cubicBezTo>
                      <a:pt x="1989082" y="4681414"/>
                      <a:pt x="1997465" y="4673029"/>
                      <a:pt x="1997465" y="4662674"/>
                    </a:cubicBezTo>
                    <a:close/>
                    <a:moveTo>
                      <a:pt x="1997713" y="5289469"/>
                    </a:moveTo>
                    <a:cubicBezTo>
                      <a:pt x="1997713" y="5283799"/>
                      <a:pt x="1993028" y="5279114"/>
                      <a:pt x="1987356" y="5279114"/>
                    </a:cubicBezTo>
                    <a:cubicBezTo>
                      <a:pt x="1981687" y="5279114"/>
                      <a:pt x="1977001" y="5283799"/>
                      <a:pt x="1977001" y="5289469"/>
                    </a:cubicBezTo>
                    <a:cubicBezTo>
                      <a:pt x="1977001" y="5295141"/>
                      <a:pt x="1981687" y="5299827"/>
                      <a:pt x="1987356" y="5299827"/>
                    </a:cubicBezTo>
                    <a:cubicBezTo>
                      <a:pt x="1993028" y="5299827"/>
                      <a:pt x="1997713" y="5295141"/>
                      <a:pt x="1997713" y="5289469"/>
                    </a:cubicBezTo>
                    <a:close/>
                    <a:moveTo>
                      <a:pt x="1998946" y="3993713"/>
                    </a:moveTo>
                    <a:cubicBezTo>
                      <a:pt x="1998946" y="3983112"/>
                      <a:pt x="1990315" y="3974481"/>
                      <a:pt x="1979712" y="3974481"/>
                    </a:cubicBezTo>
                    <a:cubicBezTo>
                      <a:pt x="1969111" y="3974481"/>
                      <a:pt x="1960481" y="3983112"/>
                      <a:pt x="1960481" y="3993713"/>
                    </a:cubicBezTo>
                    <a:cubicBezTo>
                      <a:pt x="1960481" y="4004317"/>
                      <a:pt x="1969111" y="4012947"/>
                      <a:pt x="1979712" y="4012947"/>
                    </a:cubicBezTo>
                    <a:cubicBezTo>
                      <a:pt x="1990315" y="4012947"/>
                      <a:pt x="1998946" y="4004317"/>
                      <a:pt x="1998946" y="3993713"/>
                    </a:cubicBezTo>
                    <a:close/>
                    <a:moveTo>
                      <a:pt x="1999932" y="5156075"/>
                    </a:moveTo>
                    <a:cubicBezTo>
                      <a:pt x="1999932" y="5155089"/>
                      <a:pt x="1999194" y="5154348"/>
                      <a:pt x="1998208" y="5154348"/>
                    </a:cubicBezTo>
                    <a:cubicBezTo>
                      <a:pt x="1997221" y="5154348"/>
                      <a:pt x="1996481" y="5155089"/>
                      <a:pt x="1996481" y="5156075"/>
                    </a:cubicBezTo>
                    <a:cubicBezTo>
                      <a:pt x="1996481" y="5157061"/>
                      <a:pt x="1997221" y="5157799"/>
                      <a:pt x="1998208" y="5157799"/>
                    </a:cubicBezTo>
                    <a:cubicBezTo>
                      <a:pt x="1999194" y="5157799"/>
                      <a:pt x="1999932" y="5156812"/>
                      <a:pt x="1999932" y="5156075"/>
                    </a:cubicBezTo>
                    <a:close/>
                    <a:moveTo>
                      <a:pt x="2005109" y="3478373"/>
                    </a:moveTo>
                    <a:cubicBezTo>
                      <a:pt x="2005109" y="3477138"/>
                      <a:pt x="2003877" y="3475905"/>
                      <a:pt x="2002642" y="3475905"/>
                    </a:cubicBezTo>
                    <a:cubicBezTo>
                      <a:pt x="2001410" y="3475905"/>
                      <a:pt x="2000178" y="3476892"/>
                      <a:pt x="2000178" y="3478373"/>
                    </a:cubicBezTo>
                    <a:cubicBezTo>
                      <a:pt x="2000178" y="3479605"/>
                      <a:pt x="2001164" y="3480838"/>
                      <a:pt x="2002642" y="3480838"/>
                    </a:cubicBezTo>
                    <a:cubicBezTo>
                      <a:pt x="2003877" y="3480838"/>
                      <a:pt x="2005109" y="3479851"/>
                      <a:pt x="2005109" y="3478373"/>
                    </a:cubicBezTo>
                    <a:close/>
                    <a:moveTo>
                      <a:pt x="2006344" y="4262235"/>
                    </a:moveTo>
                    <a:cubicBezTo>
                      <a:pt x="2006344" y="4246209"/>
                      <a:pt x="1993277" y="4233141"/>
                      <a:pt x="1977250" y="4233141"/>
                    </a:cubicBezTo>
                    <a:cubicBezTo>
                      <a:pt x="1961221" y="4233141"/>
                      <a:pt x="1948153" y="4246209"/>
                      <a:pt x="1948153" y="4262235"/>
                    </a:cubicBezTo>
                    <a:cubicBezTo>
                      <a:pt x="1948153" y="4278265"/>
                      <a:pt x="1961221" y="4291333"/>
                      <a:pt x="1977250" y="4291333"/>
                    </a:cubicBezTo>
                    <a:cubicBezTo>
                      <a:pt x="1993277" y="4291333"/>
                      <a:pt x="2006590" y="4278265"/>
                      <a:pt x="2006344" y="4262235"/>
                    </a:cubicBezTo>
                    <a:close/>
                    <a:moveTo>
                      <a:pt x="2010534" y="3595001"/>
                    </a:moveTo>
                    <a:cubicBezTo>
                      <a:pt x="2010534" y="3593027"/>
                      <a:pt x="2009054" y="3591549"/>
                      <a:pt x="2007081" y="3591549"/>
                    </a:cubicBezTo>
                    <a:cubicBezTo>
                      <a:pt x="2005109" y="3591549"/>
                      <a:pt x="2003631" y="3593276"/>
                      <a:pt x="2003631" y="3595001"/>
                    </a:cubicBezTo>
                    <a:cubicBezTo>
                      <a:pt x="2003631" y="3596975"/>
                      <a:pt x="2005358" y="3598454"/>
                      <a:pt x="2007081" y="3598454"/>
                    </a:cubicBezTo>
                    <a:cubicBezTo>
                      <a:pt x="2009054" y="3598454"/>
                      <a:pt x="2010534" y="3596975"/>
                      <a:pt x="2010534" y="3595001"/>
                    </a:cubicBezTo>
                    <a:close/>
                    <a:moveTo>
                      <a:pt x="2012014" y="3361802"/>
                    </a:moveTo>
                    <a:cubicBezTo>
                      <a:pt x="2012014" y="3359091"/>
                      <a:pt x="2009795" y="3356876"/>
                      <a:pt x="2007082" y="3356876"/>
                    </a:cubicBezTo>
                    <a:cubicBezTo>
                      <a:pt x="2004369" y="3356876"/>
                      <a:pt x="2002151" y="3359091"/>
                      <a:pt x="2002151" y="3361802"/>
                    </a:cubicBezTo>
                    <a:cubicBezTo>
                      <a:pt x="2002151" y="3364519"/>
                      <a:pt x="2004369" y="3366736"/>
                      <a:pt x="2007082" y="3366736"/>
                    </a:cubicBezTo>
                    <a:cubicBezTo>
                      <a:pt x="2009795" y="3366736"/>
                      <a:pt x="2012014" y="3364519"/>
                      <a:pt x="2012014" y="3361802"/>
                    </a:cubicBezTo>
                    <a:close/>
                    <a:moveTo>
                      <a:pt x="2012260" y="871097"/>
                    </a:moveTo>
                    <a:cubicBezTo>
                      <a:pt x="2012260" y="861484"/>
                      <a:pt x="2004369" y="853597"/>
                      <a:pt x="1994755" y="853597"/>
                    </a:cubicBezTo>
                    <a:cubicBezTo>
                      <a:pt x="1985137" y="853597"/>
                      <a:pt x="1977247" y="861484"/>
                      <a:pt x="1977247" y="871097"/>
                    </a:cubicBezTo>
                    <a:cubicBezTo>
                      <a:pt x="1977247" y="880719"/>
                      <a:pt x="1985137" y="888613"/>
                      <a:pt x="1994755" y="888613"/>
                    </a:cubicBezTo>
                    <a:cubicBezTo>
                      <a:pt x="2004369" y="888613"/>
                      <a:pt x="2012260" y="880965"/>
                      <a:pt x="2012260" y="871097"/>
                    </a:cubicBezTo>
                    <a:close/>
                    <a:moveTo>
                      <a:pt x="2013740" y="2442099"/>
                    </a:moveTo>
                    <a:cubicBezTo>
                      <a:pt x="2013740" y="2436184"/>
                      <a:pt x="2009054" y="2431250"/>
                      <a:pt x="2002891" y="2431250"/>
                    </a:cubicBezTo>
                    <a:cubicBezTo>
                      <a:pt x="1996972" y="2431250"/>
                      <a:pt x="1992041" y="2436184"/>
                      <a:pt x="1992041" y="2442099"/>
                    </a:cubicBezTo>
                    <a:cubicBezTo>
                      <a:pt x="1992041" y="2448017"/>
                      <a:pt x="1996972" y="2452945"/>
                      <a:pt x="2002891" y="2452945"/>
                    </a:cubicBezTo>
                    <a:cubicBezTo>
                      <a:pt x="2008809" y="2452945"/>
                      <a:pt x="2013740" y="2448017"/>
                      <a:pt x="2013740" y="2442099"/>
                    </a:cubicBezTo>
                    <a:close/>
                    <a:moveTo>
                      <a:pt x="2014728" y="7291667"/>
                    </a:moveTo>
                    <a:cubicBezTo>
                      <a:pt x="2014728" y="7290680"/>
                      <a:pt x="2013990" y="7289939"/>
                      <a:pt x="2013003" y="7289939"/>
                    </a:cubicBezTo>
                    <a:cubicBezTo>
                      <a:pt x="2012016" y="7289939"/>
                      <a:pt x="2011276" y="7290680"/>
                      <a:pt x="2011276" y="7291667"/>
                    </a:cubicBezTo>
                    <a:cubicBezTo>
                      <a:pt x="2011276" y="7292652"/>
                      <a:pt x="2012016" y="7293390"/>
                      <a:pt x="2013003" y="7293390"/>
                    </a:cubicBezTo>
                    <a:cubicBezTo>
                      <a:pt x="2013990" y="7293390"/>
                      <a:pt x="2014728" y="7292652"/>
                      <a:pt x="2014728" y="7291667"/>
                    </a:cubicBezTo>
                    <a:close/>
                    <a:moveTo>
                      <a:pt x="2015464" y="7175528"/>
                    </a:moveTo>
                    <a:cubicBezTo>
                      <a:pt x="2015464" y="7174542"/>
                      <a:pt x="2014727" y="7173801"/>
                      <a:pt x="2013740" y="7173801"/>
                    </a:cubicBezTo>
                    <a:cubicBezTo>
                      <a:pt x="2012753" y="7173801"/>
                      <a:pt x="2012013" y="7174542"/>
                      <a:pt x="2012013" y="7175528"/>
                    </a:cubicBezTo>
                    <a:cubicBezTo>
                      <a:pt x="2012013" y="7176514"/>
                      <a:pt x="2012753" y="7177252"/>
                      <a:pt x="2013740" y="7177252"/>
                    </a:cubicBezTo>
                    <a:cubicBezTo>
                      <a:pt x="2014727" y="7177252"/>
                      <a:pt x="2015464" y="7176514"/>
                      <a:pt x="2015464" y="7175528"/>
                    </a:cubicBezTo>
                    <a:close/>
                    <a:moveTo>
                      <a:pt x="2015961" y="994621"/>
                    </a:moveTo>
                    <a:cubicBezTo>
                      <a:pt x="2015961" y="985253"/>
                      <a:pt x="2008317" y="977608"/>
                      <a:pt x="1998946" y="977608"/>
                    </a:cubicBezTo>
                    <a:cubicBezTo>
                      <a:pt x="1989577" y="977608"/>
                      <a:pt x="1981933" y="985253"/>
                      <a:pt x="1981933" y="994621"/>
                    </a:cubicBezTo>
                    <a:cubicBezTo>
                      <a:pt x="1981933" y="1003993"/>
                      <a:pt x="1989577" y="1011638"/>
                      <a:pt x="1998946" y="1011638"/>
                    </a:cubicBezTo>
                    <a:cubicBezTo>
                      <a:pt x="2008317" y="1011638"/>
                      <a:pt x="2015712" y="1003993"/>
                      <a:pt x="2015961" y="994621"/>
                    </a:cubicBezTo>
                    <a:close/>
                    <a:moveTo>
                      <a:pt x="2017191" y="2694581"/>
                    </a:moveTo>
                    <a:cubicBezTo>
                      <a:pt x="2017191" y="2672144"/>
                      <a:pt x="1998946" y="2653897"/>
                      <a:pt x="1976506" y="2653897"/>
                    </a:cubicBezTo>
                    <a:cubicBezTo>
                      <a:pt x="1954067" y="2653897"/>
                      <a:pt x="1935822" y="2672144"/>
                      <a:pt x="1935822" y="2694581"/>
                    </a:cubicBezTo>
                    <a:cubicBezTo>
                      <a:pt x="1935822" y="2717020"/>
                      <a:pt x="1954067" y="2735270"/>
                      <a:pt x="1976506" y="2735270"/>
                    </a:cubicBezTo>
                    <a:cubicBezTo>
                      <a:pt x="1998700" y="2735270"/>
                      <a:pt x="2016944" y="2717020"/>
                      <a:pt x="2017191" y="2694581"/>
                    </a:cubicBezTo>
                    <a:close/>
                    <a:moveTo>
                      <a:pt x="2017193" y="7058899"/>
                    </a:moveTo>
                    <a:cubicBezTo>
                      <a:pt x="2017193" y="7057666"/>
                      <a:pt x="2016204" y="7056680"/>
                      <a:pt x="2014972" y="7056680"/>
                    </a:cubicBezTo>
                    <a:cubicBezTo>
                      <a:pt x="2013740" y="7056680"/>
                      <a:pt x="2012754" y="7057666"/>
                      <a:pt x="2012754" y="7058899"/>
                    </a:cubicBezTo>
                    <a:cubicBezTo>
                      <a:pt x="2012754" y="7060130"/>
                      <a:pt x="2013740" y="7061117"/>
                      <a:pt x="2014972" y="7061117"/>
                    </a:cubicBezTo>
                    <a:cubicBezTo>
                      <a:pt x="2016204" y="7061117"/>
                      <a:pt x="2017193" y="7060130"/>
                      <a:pt x="2017193" y="7058899"/>
                    </a:cubicBezTo>
                    <a:close/>
                    <a:moveTo>
                      <a:pt x="2018425" y="2963099"/>
                    </a:moveTo>
                    <a:cubicBezTo>
                      <a:pt x="2018425" y="2941400"/>
                      <a:pt x="2000918" y="2923892"/>
                      <a:pt x="1979219" y="2923892"/>
                    </a:cubicBezTo>
                    <a:cubicBezTo>
                      <a:pt x="1957521" y="2923892"/>
                      <a:pt x="1940013" y="2941400"/>
                      <a:pt x="1940013" y="2963099"/>
                    </a:cubicBezTo>
                    <a:cubicBezTo>
                      <a:pt x="1940013" y="2984799"/>
                      <a:pt x="1957521" y="3002307"/>
                      <a:pt x="1979219" y="3002307"/>
                    </a:cubicBezTo>
                    <a:cubicBezTo>
                      <a:pt x="2000669" y="3002307"/>
                      <a:pt x="2018425" y="2984799"/>
                      <a:pt x="2018425" y="2963099"/>
                    </a:cubicBezTo>
                    <a:close/>
                    <a:moveTo>
                      <a:pt x="2020399" y="1118873"/>
                    </a:moveTo>
                    <a:cubicBezTo>
                      <a:pt x="2020399" y="1109755"/>
                      <a:pt x="2012754" y="1102354"/>
                      <a:pt x="2003877" y="1102354"/>
                    </a:cubicBezTo>
                    <a:cubicBezTo>
                      <a:pt x="1995000" y="1102354"/>
                      <a:pt x="1987605" y="1110001"/>
                      <a:pt x="1987605" y="1118873"/>
                    </a:cubicBezTo>
                    <a:cubicBezTo>
                      <a:pt x="1987605" y="1127757"/>
                      <a:pt x="1994755" y="1135149"/>
                      <a:pt x="2003877" y="1135149"/>
                    </a:cubicBezTo>
                    <a:cubicBezTo>
                      <a:pt x="2013002" y="1135149"/>
                      <a:pt x="2020399" y="1128002"/>
                      <a:pt x="2020399" y="1118873"/>
                    </a:cubicBezTo>
                    <a:close/>
                    <a:moveTo>
                      <a:pt x="2023111" y="3710893"/>
                    </a:moveTo>
                    <a:cubicBezTo>
                      <a:pt x="2023111" y="3709660"/>
                      <a:pt x="2022122" y="3708673"/>
                      <a:pt x="2020890" y="3708673"/>
                    </a:cubicBezTo>
                    <a:cubicBezTo>
                      <a:pt x="2019658" y="3708673"/>
                      <a:pt x="2018672" y="3709660"/>
                      <a:pt x="2018672" y="3710893"/>
                    </a:cubicBezTo>
                    <a:cubicBezTo>
                      <a:pt x="2018672" y="3712125"/>
                      <a:pt x="2019658" y="3713113"/>
                      <a:pt x="2020890" y="3713113"/>
                    </a:cubicBezTo>
                    <a:cubicBezTo>
                      <a:pt x="2022122" y="3713113"/>
                      <a:pt x="2023111" y="3712373"/>
                      <a:pt x="2023111" y="3710893"/>
                    </a:cubicBezTo>
                    <a:close/>
                    <a:moveTo>
                      <a:pt x="2024590" y="1244372"/>
                    </a:moveTo>
                    <a:cubicBezTo>
                      <a:pt x="2024590" y="1235988"/>
                      <a:pt x="2017685" y="1229083"/>
                      <a:pt x="2009301" y="1229083"/>
                    </a:cubicBezTo>
                    <a:cubicBezTo>
                      <a:pt x="2000919" y="1229083"/>
                      <a:pt x="1994015" y="1235988"/>
                      <a:pt x="1994015" y="1244372"/>
                    </a:cubicBezTo>
                    <a:cubicBezTo>
                      <a:pt x="1994015" y="1252748"/>
                      <a:pt x="2000919" y="1259649"/>
                      <a:pt x="2009301" y="1259649"/>
                    </a:cubicBezTo>
                    <a:cubicBezTo>
                      <a:pt x="2017932" y="1259649"/>
                      <a:pt x="2024590" y="1252748"/>
                      <a:pt x="2024590" y="1244372"/>
                    </a:cubicBezTo>
                    <a:close/>
                    <a:moveTo>
                      <a:pt x="2024590" y="6944734"/>
                    </a:moveTo>
                    <a:cubicBezTo>
                      <a:pt x="2024590" y="6943996"/>
                      <a:pt x="2023849" y="6943255"/>
                      <a:pt x="2023112" y="6943255"/>
                    </a:cubicBezTo>
                    <a:cubicBezTo>
                      <a:pt x="2022371" y="6943255"/>
                      <a:pt x="2021631" y="6943747"/>
                      <a:pt x="2021631" y="6944734"/>
                    </a:cubicBezTo>
                    <a:cubicBezTo>
                      <a:pt x="2021631" y="6945474"/>
                      <a:pt x="2022371" y="6946215"/>
                      <a:pt x="2023112" y="6946215"/>
                    </a:cubicBezTo>
                    <a:cubicBezTo>
                      <a:pt x="2023849" y="6946215"/>
                      <a:pt x="2024590" y="6945474"/>
                      <a:pt x="2024590" y="6944734"/>
                    </a:cubicBezTo>
                    <a:close/>
                    <a:moveTo>
                      <a:pt x="2027797" y="6827117"/>
                    </a:moveTo>
                    <a:cubicBezTo>
                      <a:pt x="2027797" y="6825391"/>
                      <a:pt x="2026316" y="6823912"/>
                      <a:pt x="2024590" y="6823912"/>
                    </a:cubicBezTo>
                    <a:cubicBezTo>
                      <a:pt x="2022866" y="6823912"/>
                      <a:pt x="2021385" y="6825391"/>
                      <a:pt x="2021385" y="6827117"/>
                    </a:cubicBezTo>
                    <a:cubicBezTo>
                      <a:pt x="2021385" y="6828844"/>
                      <a:pt x="2022866" y="6830322"/>
                      <a:pt x="2024590" y="6830322"/>
                    </a:cubicBezTo>
                    <a:cubicBezTo>
                      <a:pt x="2026316" y="6830322"/>
                      <a:pt x="2027797" y="6829090"/>
                      <a:pt x="2027797" y="6827117"/>
                    </a:cubicBezTo>
                    <a:close/>
                    <a:moveTo>
                      <a:pt x="2028043" y="3245915"/>
                    </a:moveTo>
                    <a:cubicBezTo>
                      <a:pt x="2028043" y="3241971"/>
                      <a:pt x="2024838" y="3238519"/>
                      <a:pt x="2020644" y="3238519"/>
                    </a:cubicBezTo>
                    <a:cubicBezTo>
                      <a:pt x="2016699" y="3238519"/>
                      <a:pt x="2013249" y="3241725"/>
                      <a:pt x="2013249" y="3245915"/>
                    </a:cubicBezTo>
                    <a:cubicBezTo>
                      <a:pt x="2013249" y="3249861"/>
                      <a:pt x="2016453" y="3253313"/>
                      <a:pt x="2020644" y="3253313"/>
                    </a:cubicBezTo>
                    <a:cubicBezTo>
                      <a:pt x="2024838" y="3253313"/>
                      <a:pt x="2028043" y="3249861"/>
                      <a:pt x="2028043" y="3245915"/>
                    </a:cubicBezTo>
                    <a:close/>
                    <a:moveTo>
                      <a:pt x="2028535" y="6709007"/>
                    </a:moveTo>
                    <a:cubicBezTo>
                      <a:pt x="2028535" y="6708020"/>
                      <a:pt x="2027549" y="6707034"/>
                      <a:pt x="2026316" y="6707034"/>
                    </a:cubicBezTo>
                    <a:cubicBezTo>
                      <a:pt x="2025330" y="6707034"/>
                      <a:pt x="2024344" y="6707775"/>
                      <a:pt x="2024344" y="6709007"/>
                    </a:cubicBezTo>
                    <a:cubicBezTo>
                      <a:pt x="2024344" y="6710239"/>
                      <a:pt x="2025084" y="6711225"/>
                      <a:pt x="2026316" y="6711225"/>
                    </a:cubicBezTo>
                    <a:cubicBezTo>
                      <a:pt x="2027549" y="6711225"/>
                      <a:pt x="2028289" y="6710487"/>
                      <a:pt x="2028535" y="6709007"/>
                    </a:cubicBezTo>
                    <a:close/>
                    <a:moveTo>
                      <a:pt x="2029766" y="1371830"/>
                    </a:moveTo>
                    <a:cubicBezTo>
                      <a:pt x="2029766" y="1363935"/>
                      <a:pt x="2023109" y="1357279"/>
                      <a:pt x="2014972" y="1357279"/>
                    </a:cubicBezTo>
                    <a:cubicBezTo>
                      <a:pt x="2006836" y="1357279"/>
                      <a:pt x="2000178" y="1363686"/>
                      <a:pt x="2000178" y="1371830"/>
                    </a:cubicBezTo>
                    <a:cubicBezTo>
                      <a:pt x="2000178" y="1379967"/>
                      <a:pt x="2006836" y="1386623"/>
                      <a:pt x="2014972" y="1386623"/>
                    </a:cubicBezTo>
                    <a:cubicBezTo>
                      <a:pt x="2023109" y="1386623"/>
                      <a:pt x="2029766" y="1379967"/>
                      <a:pt x="2029766" y="1371830"/>
                    </a:cubicBezTo>
                    <a:close/>
                    <a:moveTo>
                      <a:pt x="2030261" y="1927542"/>
                    </a:moveTo>
                    <a:cubicBezTo>
                      <a:pt x="2030261" y="1921382"/>
                      <a:pt x="2025330" y="1916206"/>
                      <a:pt x="2018918" y="1916206"/>
                    </a:cubicBezTo>
                    <a:cubicBezTo>
                      <a:pt x="2012753" y="1916206"/>
                      <a:pt x="2007577" y="1921136"/>
                      <a:pt x="2007577" y="1927542"/>
                    </a:cubicBezTo>
                    <a:cubicBezTo>
                      <a:pt x="2007577" y="1933705"/>
                      <a:pt x="2012508" y="1938881"/>
                      <a:pt x="2018918" y="1938881"/>
                    </a:cubicBezTo>
                    <a:cubicBezTo>
                      <a:pt x="2025084" y="1938881"/>
                      <a:pt x="2030261" y="1933952"/>
                      <a:pt x="2030261" y="1927542"/>
                    </a:cubicBezTo>
                    <a:close/>
                    <a:moveTo>
                      <a:pt x="2031493" y="4514977"/>
                    </a:moveTo>
                    <a:cubicBezTo>
                      <a:pt x="2031493" y="4499937"/>
                      <a:pt x="2019163" y="4487607"/>
                      <a:pt x="2004123" y="4487607"/>
                    </a:cubicBezTo>
                    <a:cubicBezTo>
                      <a:pt x="1989082" y="4487607"/>
                      <a:pt x="1976753" y="4499937"/>
                      <a:pt x="1976753" y="4514977"/>
                    </a:cubicBezTo>
                    <a:cubicBezTo>
                      <a:pt x="1976753" y="4530018"/>
                      <a:pt x="1989082" y="4542348"/>
                      <a:pt x="2004123" y="4542348"/>
                    </a:cubicBezTo>
                    <a:cubicBezTo>
                      <a:pt x="2019163" y="4542348"/>
                      <a:pt x="2031493" y="4530018"/>
                      <a:pt x="2031493" y="4514977"/>
                    </a:cubicBezTo>
                    <a:close/>
                    <a:moveTo>
                      <a:pt x="2035931" y="1500525"/>
                    </a:moveTo>
                    <a:cubicBezTo>
                      <a:pt x="2035931" y="1492880"/>
                      <a:pt x="2029766" y="1486717"/>
                      <a:pt x="2022122" y="1486717"/>
                    </a:cubicBezTo>
                    <a:cubicBezTo>
                      <a:pt x="2014478" y="1486717"/>
                      <a:pt x="2008315" y="1492880"/>
                      <a:pt x="2008315" y="1500525"/>
                    </a:cubicBezTo>
                    <a:cubicBezTo>
                      <a:pt x="2008315" y="1507923"/>
                      <a:pt x="2014478" y="1514087"/>
                      <a:pt x="2022122" y="1514087"/>
                    </a:cubicBezTo>
                    <a:cubicBezTo>
                      <a:pt x="2029766" y="1514087"/>
                      <a:pt x="2035931" y="1507923"/>
                      <a:pt x="2035931" y="1500525"/>
                    </a:cubicBezTo>
                    <a:close/>
                    <a:moveTo>
                      <a:pt x="2038892" y="6230650"/>
                    </a:moveTo>
                    <a:cubicBezTo>
                      <a:pt x="2038892" y="6228675"/>
                      <a:pt x="2037659" y="6227197"/>
                      <a:pt x="2035684" y="6227197"/>
                    </a:cubicBezTo>
                    <a:cubicBezTo>
                      <a:pt x="2033712" y="6227197"/>
                      <a:pt x="2032234" y="6228675"/>
                      <a:pt x="2032234" y="6230650"/>
                    </a:cubicBezTo>
                    <a:cubicBezTo>
                      <a:pt x="2032234" y="6232623"/>
                      <a:pt x="2033961" y="6234101"/>
                      <a:pt x="2035684" y="6234101"/>
                    </a:cubicBezTo>
                    <a:cubicBezTo>
                      <a:pt x="2037411" y="6234101"/>
                      <a:pt x="2038892" y="6232623"/>
                      <a:pt x="2038892" y="6230650"/>
                    </a:cubicBezTo>
                    <a:close/>
                    <a:moveTo>
                      <a:pt x="2040122" y="11919"/>
                    </a:moveTo>
                    <a:lnTo>
                      <a:pt x="2035214" y="0"/>
                    </a:lnTo>
                    <a:lnTo>
                      <a:pt x="2005086" y="0"/>
                    </a:lnTo>
                    <a:lnTo>
                      <a:pt x="2000178" y="11919"/>
                    </a:lnTo>
                    <a:cubicBezTo>
                      <a:pt x="2000178" y="23017"/>
                      <a:pt x="2009054" y="31893"/>
                      <a:pt x="2020150" y="31893"/>
                    </a:cubicBezTo>
                    <a:cubicBezTo>
                      <a:pt x="2030999" y="31893"/>
                      <a:pt x="2040122" y="23017"/>
                      <a:pt x="2040122" y="11919"/>
                    </a:cubicBezTo>
                    <a:close/>
                    <a:moveTo>
                      <a:pt x="2041603" y="129508"/>
                    </a:moveTo>
                    <a:cubicBezTo>
                      <a:pt x="2041603" y="118659"/>
                      <a:pt x="2032726" y="109783"/>
                      <a:pt x="2021877" y="109783"/>
                    </a:cubicBezTo>
                    <a:cubicBezTo>
                      <a:pt x="2011028" y="109783"/>
                      <a:pt x="2002151" y="118659"/>
                      <a:pt x="2002151" y="129508"/>
                    </a:cubicBezTo>
                    <a:cubicBezTo>
                      <a:pt x="2002151" y="140357"/>
                      <a:pt x="2011028" y="149233"/>
                      <a:pt x="2021877" y="149233"/>
                    </a:cubicBezTo>
                    <a:cubicBezTo>
                      <a:pt x="2032726" y="149233"/>
                      <a:pt x="2041603" y="140357"/>
                      <a:pt x="2041603" y="129508"/>
                    </a:cubicBezTo>
                    <a:close/>
                    <a:moveTo>
                      <a:pt x="2042343" y="1630701"/>
                    </a:moveTo>
                    <a:cubicBezTo>
                      <a:pt x="2042343" y="1624286"/>
                      <a:pt x="2037166" y="1618862"/>
                      <a:pt x="2030507" y="1618862"/>
                    </a:cubicBezTo>
                    <a:cubicBezTo>
                      <a:pt x="2024095" y="1618862"/>
                      <a:pt x="2018672" y="1624039"/>
                      <a:pt x="2018672" y="1630701"/>
                    </a:cubicBezTo>
                    <a:cubicBezTo>
                      <a:pt x="2018672" y="1637112"/>
                      <a:pt x="2024095" y="1642539"/>
                      <a:pt x="2030507" y="1642539"/>
                    </a:cubicBezTo>
                    <a:cubicBezTo>
                      <a:pt x="2037166" y="1642539"/>
                      <a:pt x="2042343" y="1637112"/>
                      <a:pt x="2042343" y="1630701"/>
                    </a:cubicBezTo>
                    <a:close/>
                    <a:moveTo>
                      <a:pt x="2042343" y="6471308"/>
                    </a:moveTo>
                    <a:cubicBezTo>
                      <a:pt x="2042343" y="6464652"/>
                      <a:pt x="2036917" y="6459226"/>
                      <a:pt x="2030259" y="6459226"/>
                    </a:cubicBezTo>
                    <a:cubicBezTo>
                      <a:pt x="2023603" y="6459226"/>
                      <a:pt x="2018178" y="6464652"/>
                      <a:pt x="2018178" y="6471308"/>
                    </a:cubicBezTo>
                    <a:cubicBezTo>
                      <a:pt x="2018178" y="6477965"/>
                      <a:pt x="2023603" y="6483392"/>
                      <a:pt x="2030259" y="6483392"/>
                    </a:cubicBezTo>
                    <a:cubicBezTo>
                      <a:pt x="2036917" y="6483392"/>
                      <a:pt x="2042343" y="6477965"/>
                      <a:pt x="2042343" y="6471308"/>
                    </a:cubicBezTo>
                    <a:close/>
                    <a:moveTo>
                      <a:pt x="2043330" y="247345"/>
                    </a:moveTo>
                    <a:cubicBezTo>
                      <a:pt x="2043330" y="236497"/>
                      <a:pt x="2034453" y="227866"/>
                      <a:pt x="2023849" y="227866"/>
                    </a:cubicBezTo>
                    <a:cubicBezTo>
                      <a:pt x="2013249" y="227866"/>
                      <a:pt x="2004618" y="236742"/>
                      <a:pt x="2004618" y="247345"/>
                    </a:cubicBezTo>
                    <a:cubicBezTo>
                      <a:pt x="2004618" y="257945"/>
                      <a:pt x="2013249" y="266575"/>
                      <a:pt x="2023849" y="266575"/>
                    </a:cubicBezTo>
                    <a:cubicBezTo>
                      <a:pt x="2034453" y="266575"/>
                      <a:pt x="2043083" y="257945"/>
                      <a:pt x="2043330" y="247345"/>
                    </a:cubicBezTo>
                    <a:close/>
                    <a:moveTo>
                      <a:pt x="2044809" y="365919"/>
                    </a:moveTo>
                    <a:cubicBezTo>
                      <a:pt x="2044809" y="355319"/>
                      <a:pt x="2036425" y="346688"/>
                      <a:pt x="2025821" y="346688"/>
                    </a:cubicBezTo>
                    <a:cubicBezTo>
                      <a:pt x="2015221" y="346688"/>
                      <a:pt x="2006590" y="355319"/>
                      <a:pt x="2006590" y="365919"/>
                    </a:cubicBezTo>
                    <a:cubicBezTo>
                      <a:pt x="2006590" y="376275"/>
                      <a:pt x="2015221" y="384906"/>
                      <a:pt x="2025821" y="384906"/>
                    </a:cubicBezTo>
                    <a:cubicBezTo>
                      <a:pt x="2036425" y="384906"/>
                      <a:pt x="2044809" y="376522"/>
                      <a:pt x="2044809" y="365919"/>
                    </a:cubicBezTo>
                    <a:close/>
                    <a:moveTo>
                      <a:pt x="2045303" y="6351474"/>
                    </a:moveTo>
                    <a:cubicBezTo>
                      <a:pt x="2045303" y="6344569"/>
                      <a:pt x="2039633" y="6338897"/>
                      <a:pt x="2032729" y="6338897"/>
                    </a:cubicBezTo>
                    <a:cubicBezTo>
                      <a:pt x="2025825" y="6338897"/>
                      <a:pt x="2020153" y="6344569"/>
                      <a:pt x="2020153" y="6351474"/>
                    </a:cubicBezTo>
                    <a:cubicBezTo>
                      <a:pt x="2020153" y="6358378"/>
                      <a:pt x="2025825" y="6364047"/>
                      <a:pt x="2032729" y="6364047"/>
                    </a:cubicBezTo>
                    <a:cubicBezTo>
                      <a:pt x="2039879" y="6364047"/>
                      <a:pt x="2045303" y="6358378"/>
                      <a:pt x="2045303" y="6351474"/>
                    </a:cubicBezTo>
                    <a:close/>
                    <a:moveTo>
                      <a:pt x="2045547" y="3825552"/>
                    </a:moveTo>
                    <a:cubicBezTo>
                      <a:pt x="2045547" y="3824319"/>
                      <a:pt x="2044562" y="3823579"/>
                      <a:pt x="2043575" y="3823579"/>
                    </a:cubicBezTo>
                    <a:cubicBezTo>
                      <a:pt x="2042343" y="3823579"/>
                      <a:pt x="2041603" y="3824565"/>
                      <a:pt x="2041603" y="3825552"/>
                    </a:cubicBezTo>
                    <a:cubicBezTo>
                      <a:pt x="2041603" y="3826784"/>
                      <a:pt x="2042589" y="3827524"/>
                      <a:pt x="2043575" y="3827524"/>
                    </a:cubicBezTo>
                    <a:cubicBezTo>
                      <a:pt x="2044807" y="3827524"/>
                      <a:pt x="2045547" y="3826537"/>
                      <a:pt x="2045547" y="3825552"/>
                    </a:cubicBezTo>
                    <a:close/>
                    <a:moveTo>
                      <a:pt x="2045550" y="6590650"/>
                    </a:moveTo>
                    <a:cubicBezTo>
                      <a:pt x="2045550" y="6581035"/>
                      <a:pt x="2037660" y="6573390"/>
                      <a:pt x="2028290" y="6573390"/>
                    </a:cubicBezTo>
                    <a:cubicBezTo>
                      <a:pt x="2018921" y="6573390"/>
                      <a:pt x="2011276" y="6581282"/>
                      <a:pt x="2011276" y="6590650"/>
                    </a:cubicBezTo>
                    <a:cubicBezTo>
                      <a:pt x="2011276" y="6600267"/>
                      <a:pt x="2018921" y="6607911"/>
                      <a:pt x="2028290" y="6607911"/>
                    </a:cubicBezTo>
                    <a:cubicBezTo>
                      <a:pt x="2037660" y="6607911"/>
                      <a:pt x="2045550" y="6600020"/>
                      <a:pt x="2045550" y="6590650"/>
                    </a:cubicBezTo>
                    <a:close/>
                    <a:moveTo>
                      <a:pt x="2047275" y="484989"/>
                    </a:moveTo>
                    <a:cubicBezTo>
                      <a:pt x="2047275" y="474389"/>
                      <a:pt x="2038644" y="466004"/>
                      <a:pt x="2028287" y="466004"/>
                    </a:cubicBezTo>
                    <a:cubicBezTo>
                      <a:pt x="2017685" y="466004"/>
                      <a:pt x="2009301" y="474635"/>
                      <a:pt x="2009301" y="484989"/>
                    </a:cubicBezTo>
                    <a:cubicBezTo>
                      <a:pt x="2009301" y="495592"/>
                      <a:pt x="2017932" y="503975"/>
                      <a:pt x="2028287" y="503975"/>
                    </a:cubicBezTo>
                    <a:cubicBezTo>
                      <a:pt x="2038644" y="503975"/>
                      <a:pt x="2047275" y="495347"/>
                      <a:pt x="2047275" y="484989"/>
                    </a:cubicBezTo>
                    <a:close/>
                    <a:moveTo>
                      <a:pt x="2047275" y="4102454"/>
                    </a:moveTo>
                    <a:cubicBezTo>
                      <a:pt x="2047275" y="4088400"/>
                      <a:pt x="2035934" y="4076810"/>
                      <a:pt x="2021631" y="4076810"/>
                    </a:cubicBezTo>
                    <a:cubicBezTo>
                      <a:pt x="2007577" y="4076810"/>
                      <a:pt x="1995987" y="4088151"/>
                      <a:pt x="1995987" y="4102454"/>
                    </a:cubicBezTo>
                    <a:cubicBezTo>
                      <a:pt x="1995987" y="4116508"/>
                      <a:pt x="2007577" y="4128098"/>
                      <a:pt x="2021631" y="4128098"/>
                    </a:cubicBezTo>
                    <a:cubicBezTo>
                      <a:pt x="2035685" y="4128098"/>
                      <a:pt x="2047275" y="4116508"/>
                      <a:pt x="2047275" y="4102454"/>
                    </a:cubicBezTo>
                    <a:close/>
                    <a:moveTo>
                      <a:pt x="2048015" y="5029582"/>
                    </a:moveTo>
                    <a:cubicBezTo>
                      <a:pt x="2048015" y="5014539"/>
                      <a:pt x="2035934" y="5002457"/>
                      <a:pt x="2020891" y="5002457"/>
                    </a:cubicBezTo>
                    <a:cubicBezTo>
                      <a:pt x="2005850" y="5002457"/>
                      <a:pt x="1993769" y="5014539"/>
                      <a:pt x="1993769" y="5029582"/>
                    </a:cubicBezTo>
                    <a:cubicBezTo>
                      <a:pt x="1993769" y="5044622"/>
                      <a:pt x="2006099" y="5056704"/>
                      <a:pt x="2020891" y="5056704"/>
                    </a:cubicBezTo>
                    <a:cubicBezTo>
                      <a:pt x="2035685" y="5056704"/>
                      <a:pt x="2048015" y="5044622"/>
                      <a:pt x="2048015" y="5029582"/>
                    </a:cubicBezTo>
                    <a:close/>
                    <a:moveTo>
                      <a:pt x="2048755" y="605049"/>
                    </a:moveTo>
                    <a:cubicBezTo>
                      <a:pt x="2048755" y="595185"/>
                      <a:pt x="2040618" y="587050"/>
                      <a:pt x="2030507" y="587050"/>
                    </a:cubicBezTo>
                    <a:cubicBezTo>
                      <a:pt x="2020399" y="587050"/>
                      <a:pt x="2012262" y="594940"/>
                      <a:pt x="2012262" y="605049"/>
                    </a:cubicBezTo>
                    <a:cubicBezTo>
                      <a:pt x="2012262" y="615156"/>
                      <a:pt x="2020399" y="623295"/>
                      <a:pt x="2030507" y="623295"/>
                    </a:cubicBezTo>
                    <a:cubicBezTo>
                      <a:pt x="2040618" y="623295"/>
                      <a:pt x="2048755" y="615156"/>
                      <a:pt x="2048755" y="605049"/>
                    </a:cubicBezTo>
                    <a:close/>
                    <a:moveTo>
                      <a:pt x="2049988" y="1763361"/>
                    </a:moveTo>
                    <a:cubicBezTo>
                      <a:pt x="2049988" y="1757688"/>
                      <a:pt x="2045303" y="1753245"/>
                      <a:pt x="2039879" y="1753245"/>
                    </a:cubicBezTo>
                    <a:cubicBezTo>
                      <a:pt x="2034456" y="1753245"/>
                      <a:pt x="2030016" y="1757933"/>
                      <a:pt x="2030016" y="1763361"/>
                    </a:cubicBezTo>
                    <a:cubicBezTo>
                      <a:pt x="2030016" y="1768791"/>
                      <a:pt x="2034456" y="1773230"/>
                      <a:pt x="2039879" y="1773230"/>
                    </a:cubicBezTo>
                    <a:cubicBezTo>
                      <a:pt x="2045303" y="1773230"/>
                      <a:pt x="2049742" y="1768545"/>
                      <a:pt x="2049988" y="1763361"/>
                    </a:cubicBezTo>
                    <a:close/>
                    <a:moveTo>
                      <a:pt x="2050975" y="725884"/>
                    </a:moveTo>
                    <a:cubicBezTo>
                      <a:pt x="2050975" y="716033"/>
                      <a:pt x="2042838" y="708140"/>
                      <a:pt x="2033221" y="708140"/>
                    </a:cubicBezTo>
                    <a:cubicBezTo>
                      <a:pt x="2023357" y="708140"/>
                      <a:pt x="2015468" y="716278"/>
                      <a:pt x="2015468" y="725884"/>
                    </a:cubicBezTo>
                    <a:cubicBezTo>
                      <a:pt x="2015468" y="735755"/>
                      <a:pt x="2023357" y="743652"/>
                      <a:pt x="2033221" y="743652"/>
                    </a:cubicBezTo>
                    <a:cubicBezTo>
                      <a:pt x="2043084" y="743652"/>
                      <a:pt x="2050975" y="735508"/>
                      <a:pt x="2050975" y="725884"/>
                    </a:cubicBezTo>
                    <a:close/>
                    <a:moveTo>
                      <a:pt x="2052944" y="2205647"/>
                    </a:moveTo>
                    <a:cubicBezTo>
                      <a:pt x="2052944" y="2204663"/>
                      <a:pt x="2052203" y="2203921"/>
                      <a:pt x="2051219" y="2203921"/>
                    </a:cubicBezTo>
                    <a:cubicBezTo>
                      <a:pt x="2050479" y="2203921"/>
                      <a:pt x="2049740" y="2204663"/>
                      <a:pt x="2049740" y="2205647"/>
                    </a:cubicBezTo>
                    <a:cubicBezTo>
                      <a:pt x="2049740" y="2206384"/>
                      <a:pt x="2050234" y="2207122"/>
                      <a:pt x="2051219" y="2207122"/>
                    </a:cubicBezTo>
                    <a:cubicBezTo>
                      <a:pt x="2052203" y="2207122"/>
                      <a:pt x="2052944" y="2206384"/>
                      <a:pt x="2052944" y="2205647"/>
                    </a:cubicBezTo>
                    <a:close/>
                    <a:moveTo>
                      <a:pt x="2053438" y="3131010"/>
                    </a:moveTo>
                    <a:cubicBezTo>
                      <a:pt x="2053438" y="3125339"/>
                      <a:pt x="2049001" y="3120901"/>
                      <a:pt x="2043330" y="3120901"/>
                    </a:cubicBezTo>
                    <a:cubicBezTo>
                      <a:pt x="2037660" y="3120901"/>
                      <a:pt x="2033221" y="3125339"/>
                      <a:pt x="2033221" y="3131010"/>
                    </a:cubicBezTo>
                    <a:cubicBezTo>
                      <a:pt x="2033221" y="3136682"/>
                      <a:pt x="2037660" y="3141119"/>
                      <a:pt x="2043330" y="3141119"/>
                    </a:cubicBezTo>
                    <a:cubicBezTo>
                      <a:pt x="2049001" y="3141119"/>
                      <a:pt x="2053438" y="3136682"/>
                      <a:pt x="2053438" y="3131010"/>
                    </a:cubicBezTo>
                    <a:close/>
                    <a:moveTo>
                      <a:pt x="2056891" y="5867937"/>
                    </a:moveTo>
                    <a:cubicBezTo>
                      <a:pt x="2056891" y="5866705"/>
                      <a:pt x="2055902" y="5865718"/>
                      <a:pt x="2054670" y="5865718"/>
                    </a:cubicBezTo>
                    <a:cubicBezTo>
                      <a:pt x="2053437" y="5865718"/>
                      <a:pt x="2052452" y="5866705"/>
                      <a:pt x="2052452" y="5867937"/>
                    </a:cubicBezTo>
                    <a:cubicBezTo>
                      <a:pt x="2052452" y="5869171"/>
                      <a:pt x="2053437" y="5870155"/>
                      <a:pt x="2054670" y="5870155"/>
                    </a:cubicBezTo>
                    <a:cubicBezTo>
                      <a:pt x="2055902" y="5870155"/>
                      <a:pt x="2056891" y="5869171"/>
                      <a:pt x="2056891" y="5867937"/>
                    </a:cubicBezTo>
                    <a:close/>
                    <a:moveTo>
                      <a:pt x="2060590" y="2854358"/>
                    </a:moveTo>
                    <a:cubicBezTo>
                      <a:pt x="2060590" y="2832413"/>
                      <a:pt x="2042837" y="2814659"/>
                      <a:pt x="2020890" y="2814659"/>
                    </a:cubicBezTo>
                    <a:cubicBezTo>
                      <a:pt x="1998946" y="2814659"/>
                      <a:pt x="1981193" y="2832413"/>
                      <a:pt x="1981193" y="2854358"/>
                    </a:cubicBezTo>
                    <a:cubicBezTo>
                      <a:pt x="1981193" y="2876305"/>
                      <a:pt x="1998946" y="2894059"/>
                      <a:pt x="2020890" y="2894059"/>
                    </a:cubicBezTo>
                    <a:cubicBezTo>
                      <a:pt x="2042837" y="2894059"/>
                      <a:pt x="2060590" y="2876057"/>
                      <a:pt x="2060590" y="2854358"/>
                    </a:cubicBezTo>
                    <a:close/>
                    <a:moveTo>
                      <a:pt x="2061328" y="5743416"/>
                    </a:moveTo>
                    <a:cubicBezTo>
                      <a:pt x="2061328" y="5742430"/>
                      <a:pt x="2060343" y="5741443"/>
                      <a:pt x="2059356" y="5741443"/>
                    </a:cubicBezTo>
                    <a:cubicBezTo>
                      <a:pt x="2058369" y="5741443"/>
                      <a:pt x="2057384" y="5742430"/>
                      <a:pt x="2057384" y="5743416"/>
                    </a:cubicBezTo>
                    <a:cubicBezTo>
                      <a:pt x="2057384" y="5744402"/>
                      <a:pt x="2058124" y="5745389"/>
                      <a:pt x="2059356" y="5745389"/>
                    </a:cubicBezTo>
                    <a:cubicBezTo>
                      <a:pt x="2060343" y="5745389"/>
                      <a:pt x="2061328" y="5744402"/>
                      <a:pt x="2061328" y="5743416"/>
                    </a:cubicBezTo>
                    <a:close/>
                    <a:moveTo>
                      <a:pt x="2066015" y="6113280"/>
                    </a:moveTo>
                    <a:cubicBezTo>
                      <a:pt x="2066015" y="6102679"/>
                      <a:pt x="2057138" y="6094048"/>
                      <a:pt x="2046534" y="6094048"/>
                    </a:cubicBezTo>
                    <a:cubicBezTo>
                      <a:pt x="2035934" y="6094048"/>
                      <a:pt x="2027303" y="6102679"/>
                      <a:pt x="2027303" y="6113280"/>
                    </a:cubicBezTo>
                    <a:cubicBezTo>
                      <a:pt x="2027303" y="6124132"/>
                      <a:pt x="2035934" y="6132760"/>
                      <a:pt x="2046534" y="6132760"/>
                    </a:cubicBezTo>
                    <a:cubicBezTo>
                      <a:pt x="2057386" y="6132760"/>
                      <a:pt x="2066015" y="6124132"/>
                      <a:pt x="2066015" y="6113280"/>
                    </a:cubicBezTo>
                    <a:close/>
                    <a:moveTo>
                      <a:pt x="2067495" y="5617661"/>
                    </a:moveTo>
                    <a:cubicBezTo>
                      <a:pt x="2067495" y="5616429"/>
                      <a:pt x="2066509" y="5615197"/>
                      <a:pt x="2065028" y="5615197"/>
                    </a:cubicBezTo>
                    <a:cubicBezTo>
                      <a:pt x="2063796" y="5615197"/>
                      <a:pt x="2062564" y="5616184"/>
                      <a:pt x="2062564" y="5617661"/>
                    </a:cubicBezTo>
                    <a:cubicBezTo>
                      <a:pt x="2062564" y="5618897"/>
                      <a:pt x="2063549" y="5620129"/>
                      <a:pt x="2065028" y="5620129"/>
                    </a:cubicBezTo>
                    <a:cubicBezTo>
                      <a:pt x="2066509" y="5620129"/>
                      <a:pt x="2067495" y="5619143"/>
                      <a:pt x="2067495" y="5617661"/>
                    </a:cubicBezTo>
                    <a:close/>
                    <a:moveTo>
                      <a:pt x="2068481" y="4891991"/>
                    </a:moveTo>
                    <a:cubicBezTo>
                      <a:pt x="2068481" y="4873992"/>
                      <a:pt x="2053687" y="4859197"/>
                      <a:pt x="2035685" y="4859197"/>
                    </a:cubicBezTo>
                    <a:cubicBezTo>
                      <a:pt x="2017685" y="4859197"/>
                      <a:pt x="2002891" y="4873992"/>
                      <a:pt x="2002891" y="4891991"/>
                    </a:cubicBezTo>
                    <a:cubicBezTo>
                      <a:pt x="2002891" y="4909991"/>
                      <a:pt x="2017685" y="4924788"/>
                      <a:pt x="2035685" y="4924788"/>
                    </a:cubicBezTo>
                    <a:cubicBezTo>
                      <a:pt x="2053687" y="4924788"/>
                      <a:pt x="2068233" y="4909991"/>
                      <a:pt x="2068481" y="4891991"/>
                    </a:cubicBezTo>
                    <a:close/>
                    <a:moveTo>
                      <a:pt x="2072424" y="2593239"/>
                    </a:moveTo>
                    <a:cubicBezTo>
                      <a:pt x="2072424" y="2571787"/>
                      <a:pt x="2054916" y="2554280"/>
                      <a:pt x="2033466" y="2554280"/>
                    </a:cubicBezTo>
                    <a:cubicBezTo>
                      <a:pt x="2012013" y="2554280"/>
                      <a:pt x="1994506" y="2571787"/>
                      <a:pt x="1994506" y="2593239"/>
                    </a:cubicBezTo>
                    <a:cubicBezTo>
                      <a:pt x="1994506" y="2614693"/>
                      <a:pt x="2012013" y="2632200"/>
                      <a:pt x="2033466" y="2632200"/>
                    </a:cubicBezTo>
                    <a:cubicBezTo>
                      <a:pt x="2054916" y="2632200"/>
                      <a:pt x="2072424" y="2614693"/>
                      <a:pt x="2072424" y="2593239"/>
                    </a:cubicBezTo>
                    <a:close/>
                    <a:moveTo>
                      <a:pt x="2072670" y="5490428"/>
                    </a:moveTo>
                    <a:cubicBezTo>
                      <a:pt x="2072670" y="5489688"/>
                      <a:pt x="2071932" y="5489196"/>
                      <a:pt x="2071438" y="5489196"/>
                    </a:cubicBezTo>
                    <a:cubicBezTo>
                      <a:pt x="2070697" y="5489196"/>
                      <a:pt x="2070206" y="5489688"/>
                      <a:pt x="2070206" y="5490428"/>
                    </a:cubicBezTo>
                    <a:cubicBezTo>
                      <a:pt x="2070206" y="5491169"/>
                      <a:pt x="2070697" y="5491660"/>
                      <a:pt x="2071438" y="5491660"/>
                    </a:cubicBezTo>
                    <a:cubicBezTo>
                      <a:pt x="2071932" y="5491660"/>
                      <a:pt x="2072424" y="5491169"/>
                      <a:pt x="2072670" y="5490428"/>
                    </a:cubicBezTo>
                    <a:close/>
                    <a:moveTo>
                      <a:pt x="2073659" y="5991225"/>
                    </a:moveTo>
                    <a:cubicBezTo>
                      <a:pt x="2073659" y="5978423"/>
                      <a:pt x="2063281" y="5968048"/>
                      <a:pt x="2050479" y="5968048"/>
                    </a:cubicBezTo>
                    <a:cubicBezTo>
                      <a:pt x="2037681" y="5968048"/>
                      <a:pt x="2027303" y="5978427"/>
                      <a:pt x="2027303" y="5991225"/>
                    </a:cubicBezTo>
                    <a:cubicBezTo>
                      <a:pt x="2027303" y="6004026"/>
                      <a:pt x="2037681" y="6014405"/>
                      <a:pt x="2050479" y="6014405"/>
                    </a:cubicBezTo>
                    <a:cubicBezTo>
                      <a:pt x="2063281" y="6014405"/>
                      <a:pt x="2073659" y="6004026"/>
                      <a:pt x="2073659" y="5991225"/>
                    </a:cubicBezTo>
                    <a:close/>
                    <a:moveTo>
                      <a:pt x="2075383" y="4751445"/>
                    </a:moveTo>
                    <a:cubicBezTo>
                      <a:pt x="2075383" y="4739114"/>
                      <a:pt x="2065519" y="4729005"/>
                      <a:pt x="2053192" y="4729005"/>
                    </a:cubicBezTo>
                    <a:cubicBezTo>
                      <a:pt x="2040862" y="4729005"/>
                      <a:pt x="2030753" y="4739114"/>
                      <a:pt x="2030753" y="4751445"/>
                    </a:cubicBezTo>
                    <a:cubicBezTo>
                      <a:pt x="2030753" y="4763772"/>
                      <a:pt x="2040862" y="4773881"/>
                      <a:pt x="2053192" y="4773881"/>
                    </a:cubicBezTo>
                    <a:cubicBezTo>
                      <a:pt x="2065519" y="4773881"/>
                      <a:pt x="2075383" y="4764017"/>
                      <a:pt x="2075383" y="4751445"/>
                    </a:cubicBezTo>
                    <a:close/>
                    <a:moveTo>
                      <a:pt x="2076864" y="2065094"/>
                    </a:moveTo>
                    <a:cubicBezTo>
                      <a:pt x="2076864" y="2041418"/>
                      <a:pt x="2057629" y="2022181"/>
                      <a:pt x="2033959" y="2022181"/>
                    </a:cubicBezTo>
                    <a:cubicBezTo>
                      <a:pt x="2010287" y="2022181"/>
                      <a:pt x="1991056" y="2041418"/>
                      <a:pt x="1991056" y="2065094"/>
                    </a:cubicBezTo>
                    <a:cubicBezTo>
                      <a:pt x="1991056" y="2088770"/>
                      <a:pt x="2010287" y="2108005"/>
                      <a:pt x="2033959" y="2108005"/>
                    </a:cubicBezTo>
                    <a:cubicBezTo>
                      <a:pt x="2057629" y="2108005"/>
                      <a:pt x="2076864" y="2088521"/>
                      <a:pt x="2076864" y="2065094"/>
                    </a:cubicBezTo>
                    <a:close/>
                    <a:moveTo>
                      <a:pt x="2077110" y="3937743"/>
                    </a:moveTo>
                    <a:cubicBezTo>
                      <a:pt x="2077110" y="3936756"/>
                      <a:pt x="2076372" y="3936015"/>
                      <a:pt x="2075386" y="3936015"/>
                    </a:cubicBezTo>
                    <a:cubicBezTo>
                      <a:pt x="2074399" y="3936015"/>
                      <a:pt x="2073659" y="3936756"/>
                      <a:pt x="2073659" y="3937743"/>
                    </a:cubicBezTo>
                    <a:cubicBezTo>
                      <a:pt x="2073659" y="3938728"/>
                      <a:pt x="2074399" y="3939466"/>
                      <a:pt x="2075386" y="3939466"/>
                    </a:cubicBezTo>
                    <a:cubicBezTo>
                      <a:pt x="2076372" y="3939466"/>
                      <a:pt x="2077110" y="3938728"/>
                      <a:pt x="2077110" y="3937743"/>
                    </a:cubicBezTo>
                    <a:close/>
                    <a:moveTo>
                      <a:pt x="2078096" y="2348902"/>
                    </a:moveTo>
                    <a:cubicBezTo>
                      <a:pt x="2078096" y="2345697"/>
                      <a:pt x="2075631" y="2343230"/>
                      <a:pt x="2072427" y="2343230"/>
                    </a:cubicBezTo>
                    <a:cubicBezTo>
                      <a:pt x="2069219" y="2343230"/>
                      <a:pt x="2066755" y="2345945"/>
                      <a:pt x="2066755" y="2348902"/>
                    </a:cubicBezTo>
                    <a:cubicBezTo>
                      <a:pt x="2066755" y="2352112"/>
                      <a:pt x="2069467" y="2354572"/>
                      <a:pt x="2072427" y="2354572"/>
                    </a:cubicBezTo>
                    <a:cubicBezTo>
                      <a:pt x="2075386" y="2354572"/>
                      <a:pt x="2077849" y="2352112"/>
                      <a:pt x="2078096" y="2348902"/>
                    </a:cubicBezTo>
                    <a:close/>
                    <a:moveTo>
                      <a:pt x="2082290" y="4363578"/>
                    </a:moveTo>
                    <a:cubicBezTo>
                      <a:pt x="2082290" y="4337194"/>
                      <a:pt x="2060837" y="4315741"/>
                      <a:pt x="2034453" y="4315741"/>
                    </a:cubicBezTo>
                    <a:cubicBezTo>
                      <a:pt x="2008318" y="4315741"/>
                      <a:pt x="1986865" y="4337194"/>
                      <a:pt x="1986865" y="4363578"/>
                    </a:cubicBezTo>
                    <a:cubicBezTo>
                      <a:pt x="1986865" y="4389715"/>
                      <a:pt x="2008071" y="4411168"/>
                      <a:pt x="2034453" y="4411168"/>
                    </a:cubicBezTo>
                    <a:cubicBezTo>
                      <a:pt x="2060837" y="4411168"/>
                      <a:pt x="2082290" y="4389715"/>
                      <a:pt x="2082290" y="4363578"/>
                    </a:cubicBezTo>
                    <a:close/>
                    <a:moveTo>
                      <a:pt x="2087713" y="3018569"/>
                    </a:moveTo>
                    <a:cubicBezTo>
                      <a:pt x="2087713" y="3011419"/>
                      <a:pt x="2082041" y="3005747"/>
                      <a:pt x="2074891" y="3005747"/>
                    </a:cubicBezTo>
                    <a:cubicBezTo>
                      <a:pt x="2067741" y="3005747"/>
                      <a:pt x="2062069" y="3011419"/>
                      <a:pt x="2062069" y="3018569"/>
                    </a:cubicBezTo>
                    <a:cubicBezTo>
                      <a:pt x="2062069" y="3025719"/>
                      <a:pt x="2067987" y="3031391"/>
                      <a:pt x="2074891" y="3031391"/>
                    </a:cubicBezTo>
                    <a:cubicBezTo>
                      <a:pt x="2082041" y="3031391"/>
                      <a:pt x="2087713" y="3025719"/>
                      <a:pt x="2087713" y="3018569"/>
                    </a:cubicBezTo>
                    <a:close/>
                    <a:moveTo>
                      <a:pt x="2088205" y="5361468"/>
                    </a:moveTo>
                    <a:cubicBezTo>
                      <a:pt x="2088205" y="5356291"/>
                      <a:pt x="2083768" y="5352100"/>
                      <a:pt x="2078590" y="5352100"/>
                    </a:cubicBezTo>
                    <a:cubicBezTo>
                      <a:pt x="2073410" y="5352100"/>
                      <a:pt x="2069219" y="5356291"/>
                      <a:pt x="2069219" y="5361468"/>
                    </a:cubicBezTo>
                    <a:cubicBezTo>
                      <a:pt x="2069219" y="5366894"/>
                      <a:pt x="2073410" y="5371085"/>
                      <a:pt x="2078590" y="5371085"/>
                    </a:cubicBezTo>
                    <a:cubicBezTo>
                      <a:pt x="2083768" y="5371085"/>
                      <a:pt x="2088205" y="5366894"/>
                      <a:pt x="2088205" y="5361468"/>
                    </a:cubicBezTo>
                    <a:close/>
                    <a:moveTo>
                      <a:pt x="2089193" y="5231280"/>
                    </a:moveTo>
                    <a:cubicBezTo>
                      <a:pt x="2089193" y="5230293"/>
                      <a:pt x="2088208" y="5229307"/>
                      <a:pt x="2087221" y="5229307"/>
                    </a:cubicBezTo>
                    <a:cubicBezTo>
                      <a:pt x="2086234" y="5229307"/>
                      <a:pt x="2085249" y="5230293"/>
                      <a:pt x="2085249" y="5231280"/>
                    </a:cubicBezTo>
                    <a:cubicBezTo>
                      <a:pt x="2085249" y="5232265"/>
                      <a:pt x="2085989" y="5233252"/>
                      <a:pt x="2087221" y="5233252"/>
                    </a:cubicBezTo>
                    <a:cubicBezTo>
                      <a:pt x="2088208" y="5233252"/>
                      <a:pt x="2089193" y="5232265"/>
                      <a:pt x="2089193" y="5231280"/>
                    </a:cubicBezTo>
                    <a:close/>
                    <a:moveTo>
                      <a:pt x="2099794" y="4607687"/>
                    </a:moveTo>
                    <a:cubicBezTo>
                      <a:pt x="2099794" y="4593387"/>
                      <a:pt x="2087959" y="4581798"/>
                      <a:pt x="2073656" y="4581798"/>
                    </a:cubicBezTo>
                    <a:cubicBezTo>
                      <a:pt x="2059110" y="4581798"/>
                      <a:pt x="2047521" y="4593387"/>
                      <a:pt x="2047521" y="4607687"/>
                    </a:cubicBezTo>
                    <a:cubicBezTo>
                      <a:pt x="2047521" y="4622235"/>
                      <a:pt x="2059356" y="4633826"/>
                      <a:pt x="2073656" y="4633826"/>
                    </a:cubicBezTo>
                    <a:cubicBezTo>
                      <a:pt x="2087959" y="4633826"/>
                      <a:pt x="2099794" y="4622235"/>
                      <a:pt x="2099794" y="4607687"/>
                    </a:cubicBezTo>
                    <a:close/>
                    <a:moveTo>
                      <a:pt x="2103248" y="4207746"/>
                    </a:moveTo>
                    <a:cubicBezTo>
                      <a:pt x="2103248" y="4189993"/>
                      <a:pt x="2088948" y="4175690"/>
                      <a:pt x="2071195" y="4175690"/>
                    </a:cubicBezTo>
                    <a:cubicBezTo>
                      <a:pt x="2053440" y="4175690"/>
                      <a:pt x="2039138" y="4189993"/>
                      <a:pt x="2039138" y="4207746"/>
                    </a:cubicBezTo>
                    <a:cubicBezTo>
                      <a:pt x="2039138" y="4225499"/>
                      <a:pt x="2053440" y="4239799"/>
                      <a:pt x="2071195" y="4239799"/>
                    </a:cubicBezTo>
                    <a:cubicBezTo>
                      <a:pt x="2088948" y="4239799"/>
                      <a:pt x="2103248" y="4225499"/>
                      <a:pt x="2103248" y="4207746"/>
                    </a:cubicBezTo>
                    <a:close/>
                    <a:moveTo>
                      <a:pt x="2110398" y="2748821"/>
                    </a:moveTo>
                    <a:cubicBezTo>
                      <a:pt x="2110398" y="2726874"/>
                      <a:pt x="2092399" y="2708875"/>
                      <a:pt x="2070454" y="2708875"/>
                    </a:cubicBezTo>
                    <a:cubicBezTo>
                      <a:pt x="2048506" y="2708875"/>
                      <a:pt x="2030507" y="2726629"/>
                      <a:pt x="2030507" y="2748821"/>
                    </a:cubicBezTo>
                    <a:cubicBezTo>
                      <a:pt x="2030507" y="2770766"/>
                      <a:pt x="2048261" y="2788765"/>
                      <a:pt x="2070454" y="2788765"/>
                    </a:cubicBezTo>
                    <a:cubicBezTo>
                      <a:pt x="2092644" y="2788765"/>
                      <a:pt x="2110398" y="2770766"/>
                      <a:pt x="2110398" y="2748821"/>
                    </a:cubicBezTo>
                    <a:close/>
                    <a:moveTo>
                      <a:pt x="2114836" y="815383"/>
                    </a:moveTo>
                    <a:cubicBezTo>
                      <a:pt x="2114836" y="805027"/>
                      <a:pt x="2106454" y="796644"/>
                      <a:pt x="2096098" y="796644"/>
                    </a:cubicBezTo>
                    <a:cubicBezTo>
                      <a:pt x="2085740" y="796644"/>
                      <a:pt x="2077358" y="805027"/>
                      <a:pt x="2077358" y="815383"/>
                    </a:cubicBezTo>
                    <a:cubicBezTo>
                      <a:pt x="2077358" y="825742"/>
                      <a:pt x="2085740" y="834126"/>
                      <a:pt x="2096098" y="834126"/>
                    </a:cubicBezTo>
                    <a:cubicBezTo>
                      <a:pt x="2106454" y="834126"/>
                      <a:pt x="2114836" y="825742"/>
                      <a:pt x="2114836" y="815383"/>
                    </a:cubicBezTo>
                    <a:close/>
                    <a:moveTo>
                      <a:pt x="2117302" y="1850151"/>
                    </a:moveTo>
                    <a:cubicBezTo>
                      <a:pt x="2117302" y="1843247"/>
                      <a:pt x="2111630" y="1837578"/>
                      <a:pt x="2104727" y="1837578"/>
                    </a:cubicBezTo>
                    <a:cubicBezTo>
                      <a:pt x="2097822" y="1837578"/>
                      <a:pt x="2092150" y="1843247"/>
                      <a:pt x="2092150" y="1850151"/>
                    </a:cubicBezTo>
                    <a:cubicBezTo>
                      <a:pt x="2092150" y="1857053"/>
                      <a:pt x="2097822" y="1862723"/>
                      <a:pt x="2104727" y="1862723"/>
                    </a:cubicBezTo>
                    <a:cubicBezTo>
                      <a:pt x="2111630" y="1862723"/>
                      <a:pt x="2117302" y="1857053"/>
                      <a:pt x="2117302" y="1850151"/>
                    </a:cubicBezTo>
                    <a:close/>
                    <a:moveTo>
                      <a:pt x="2117548" y="936677"/>
                    </a:moveTo>
                    <a:cubicBezTo>
                      <a:pt x="2117548" y="926571"/>
                      <a:pt x="2109411" y="918426"/>
                      <a:pt x="2099300" y="918426"/>
                    </a:cubicBezTo>
                    <a:cubicBezTo>
                      <a:pt x="2089191" y="918426"/>
                      <a:pt x="2081055" y="926571"/>
                      <a:pt x="2081055" y="936677"/>
                    </a:cubicBezTo>
                    <a:cubicBezTo>
                      <a:pt x="2081055" y="946786"/>
                      <a:pt x="2089191" y="954928"/>
                      <a:pt x="2099300" y="954928"/>
                    </a:cubicBezTo>
                    <a:cubicBezTo>
                      <a:pt x="2109163" y="954928"/>
                      <a:pt x="2117548" y="946786"/>
                      <a:pt x="2117548" y="936677"/>
                    </a:cubicBezTo>
                    <a:close/>
                    <a:moveTo>
                      <a:pt x="2118043" y="4047223"/>
                    </a:moveTo>
                    <a:cubicBezTo>
                      <a:pt x="2118043" y="4046235"/>
                      <a:pt x="2117056" y="4045249"/>
                      <a:pt x="2116070" y="4045249"/>
                    </a:cubicBezTo>
                    <a:cubicBezTo>
                      <a:pt x="2115084" y="4045249"/>
                      <a:pt x="2114097" y="4046235"/>
                      <a:pt x="2114097" y="4047223"/>
                    </a:cubicBezTo>
                    <a:cubicBezTo>
                      <a:pt x="2114097" y="4048208"/>
                      <a:pt x="2115084" y="4049195"/>
                      <a:pt x="2116070" y="4049195"/>
                    </a:cubicBezTo>
                    <a:cubicBezTo>
                      <a:pt x="2117056" y="4049195"/>
                      <a:pt x="2118043" y="4048454"/>
                      <a:pt x="2118043" y="4047223"/>
                    </a:cubicBezTo>
                    <a:close/>
                    <a:moveTo>
                      <a:pt x="2120756" y="1058956"/>
                    </a:moveTo>
                    <a:cubicBezTo>
                      <a:pt x="2120756" y="1049094"/>
                      <a:pt x="2112865" y="1041201"/>
                      <a:pt x="2103002" y="1041201"/>
                    </a:cubicBezTo>
                    <a:cubicBezTo>
                      <a:pt x="2093139" y="1041201"/>
                      <a:pt x="2085249" y="1049094"/>
                      <a:pt x="2085249" y="1058956"/>
                    </a:cubicBezTo>
                    <a:cubicBezTo>
                      <a:pt x="2085249" y="1068822"/>
                      <a:pt x="2093139" y="1076712"/>
                      <a:pt x="2103002" y="1076712"/>
                    </a:cubicBezTo>
                    <a:cubicBezTo>
                      <a:pt x="2112865" y="1076712"/>
                      <a:pt x="2121002" y="1068822"/>
                      <a:pt x="2120756" y="1058956"/>
                    </a:cubicBezTo>
                    <a:close/>
                    <a:moveTo>
                      <a:pt x="2123712" y="7332351"/>
                    </a:moveTo>
                    <a:cubicBezTo>
                      <a:pt x="2123712" y="7331364"/>
                      <a:pt x="2122974" y="7330623"/>
                      <a:pt x="2121987" y="7330623"/>
                    </a:cubicBezTo>
                    <a:cubicBezTo>
                      <a:pt x="2121001" y="7330623"/>
                      <a:pt x="2120261" y="7331364"/>
                      <a:pt x="2120261" y="7332351"/>
                    </a:cubicBezTo>
                    <a:cubicBezTo>
                      <a:pt x="2120261" y="7333336"/>
                      <a:pt x="2121001" y="7334077"/>
                      <a:pt x="2121987" y="7334077"/>
                    </a:cubicBezTo>
                    <a:cubicBezTo>
                      <a:pt x="2122974" y="7334077"/>
                      <a:pt x="2123712" y="7333336"/>
                      <a:pt x="2123712" y="7332351"/>
                    </a:cubicBezTo>
                    <a:close/>
                    <a:moveTo>
                      <a:pt x="2123958" y="1182228"/>
                    </a:moveTo>
                    <a:cubicBezTo>
                      <a:pt x="2123958" y="1173105"/>
                      <a:pt x="2116561" y="1165707"/>
                      <a:pt x="2107439" y="1165707"/>
                    </a:cubicBezTo>
                    <a:cubicBezTo>
                      <a:pt x="2098313" y="1165707"/>
                      <a:pt x="2090918" y="1173105"/>
                      <a:pt x="2090918" y="1182228"/>
                    </a:cubicBezTo>
                    <a:cubicBezTo>
                      <a:pt x="2090918" y="1191351"/>
                      <a:pt x="2098313" y="1198750"/>
                      <a:pt x="2107439" y="1198750"/>
                    </a:cubicBezTo>
                    <a:cubicBezTo>
                      <a:pt x="2116561" y="1198750"/>
                      <a:pt x="2123958" y="1191351"/>
                      <a:pt x="2123958" y="1182228"/>
                    </a:cubicBezTo>
                    <a:close/>
                    <a:moveTo>
                      <a:pt x="2124206" y="7217202"/>
                    </a:moveTo>
                    <a:cubicBezTo>
                      <a:pt x="2124206" y="7216215"/>
                      <a:pt x="2123466" y="7215474"/>
                      <a:pt x="2122480" y="7215474"/>
                    </a:cubicBezTo>
                    <a:cubicBezTo>
                      <a:pt x="2121247" y="7215474"/>
                      <a:pt x="2120507" y="7216215"/>
                      <a:pt x="2120507" y="7217202"/>
                    </a:cubicBezTo>
                    <a:cubicBezTo>
                      <a:pt x="2120507" y="7218188"/>
                      <a:pt x="2121493" y="7218925"/>
                      <a:pt x="2122480" y="7218925"/>
                    </a:cubicBezTo>
                    <a:cubicBezTo>
                      <a:pt x="2123466" y="7218925"/>
                      <a:pt x="2124452" y="7218188"/>
                      <a:pt x="2124206" y="7217202"/>
                    </a:cubicBezTo>
                    <a:close/>
                    <a:moveTo>
                      <a:pt x="2125687" y="7101805"/>
                    </a:moveTo>
                    <a:cubicBezTo>
                      <a:pt x="2125687" y="7100324"/>
                      <a:pt x="2124453" y="7099337"/>
                      <a:pt x="2123221" y="7099337"/>
                    </a:cubicBezTo>
                    <a:cubicBezTo>
                      <a:pt x="2121988" y="7099337"/>
                      <a:pt x="2121002" y="7100569"/>
                      <a:pt x="2121002" y="7101805"/>
                    </a:cubicBezTo>
                    <a:cubicBezTo>
                      <a:pt x="2121002" y="7103037"/>
                      <a:pt x="2121988" y="7104023"/>
                      <a:pt x="2123221" y="7104023"/>
                    </a:cubicBezTo>
                    <a:cubicBezTo>
                      <a:pt x="2124453" y="7104023"/>
                      <a:pt x="2125687" y="7103037"/>
                      <a:pt x="2125687" y="7101805"/>
                    </a:cubicBezTo>
                    <a:close/>
                    <a:moveTo>
                      <a:pt x="2127165" y="5107005"/>
                    </a:moveTo>
                    <a:cubicBezTo>
                      <a:pt x="2127165" y="5095907"/>
                      <a:pt x="2118043" y="5086784"/>
                      <a:pt x="2106944" y="5086784"/>
                    </a:cubicBezTo>
                    <a:cubicBezTo>
                      <a:pt x="2095849" y="5086784"/>
                      <a:pt x="2086727" y="5095907"/>
                      <a:pt x="2086727" y="5107005"/>
                    </a:cubicBezTo>
                    <a:cubicBezTo>
                      <a:pt x="2086727" y="5118100"/>
                      <a:pt x="2095849" y="5127224"/>
                      <a:pt x="2106944" y="5127224"/>
                    </a:cubicBezTo>
                    <a:cubicBezTo>
                      <a:pt x="2118043" y="5127224"/>
                      <a:pt x="2127165" y="5118100"/>
                      <a:pt x="2127165" y="5107005"/>
                    </a:cubicBezTo>
                    <a:close/>
                    <a:moveTo>
                      <a:pt x="2127658" y="1307221"/>
                    </a:moveTo>
                    <a:cubicBezTo>
                      <a:pt x="2127658" y="1298349"/>
                      <a:pt x="2120506" y="1291195"/>
                      <a:pt x="2111630" y="1291195"/>
                    </a:cubicBezTo>
                    <a:cubicBezTo>
                      <a:pt x="2102753" y="1291195"/>
                      <a:pt x="2095603" y="1298349"/>
                      <a:pt x="2095603" y="1307221"/>
                    </a:cubicBezTo>
                    <a:cubicBezTo>
                      <a:pt x="2095603" y="1316104"/>
                      <a:pt x="2102753" y="1323252"/>
                      <a:pt x="2111630" y="1323252"/>
                    </a:cubicBezTo>
                    <a:cubicBezTo>
                      <a:pt x="2120506" y="1323252"/>
                      <a:pt x="2127658" y="1316104"/>
                      <a:pt x="2127658" y="1307221"/>
                    </a:cubicBezTo>
                    <a:close/>
                    <a:moveTo>
                      <a:pt x="2131358" y="2909088"/>
                    </a:moveTo>
                    <a:cubicBezTo>
                      <a:pt x="2131358" y="2900212"/>
                      <a:pt x="2124206" y="2893061"/>
                      <a:pt x="2115330" y="2893061"/>
                    </a:cubicBezTo>
                    <a:cubicBezTo>
                      <a:pt x="2106453" y="2893061"/>
                      <a:pt x="2099303" y="2900212"/>
                      <a:pt x="2099303" y="2909088"/>
                    </a:cubicBezTo>
                    <a:cubicBezTo>
                      <a:pt x="2099303" y="2917964"/>
                      <a:pt x="2106453" y="2925117"/>
                      <a:pt x="2115330" y="2925117"/>
                    </a:cubicBezTo>
                    <a:cubicBezTo>
                      <a:pt x="2124206" y="2925117"/>
                      <a:pt x="2131358" y="2917964"/>
                      <a:pt x="2131358" y="2909088"/>
                    </a:cubicBezTo>
                    <a:close/>
                    <a:moveTo>
                      <a:pt x="2131847" y="2121064"/>
                    </a:moveTo>
                    <a:cubicBezTo>
                      <a:pt x="2131847" y="2120323"/>
                      <a:pt x="2131356" y="2119831"/>
                      <a:pt x="2130616" y="2119831"/>
                    </a:cubicBezTo>
                    <a:cubicBezTo>
                      <a:pt x="2129875" y="2119831"/>
                      <a:pt x="2129384" y="2120323"/>
                      <a:pt x="2129384" y="2121064"/>
                    </a:cubicBezTo>
                    <a:cubicBezTo>
                      <a:pt x="2129384" y="2121804"/>
                      <a:pt x="2129875" y="2122297"/>
                      <a:pt x="2130616" y="2122297"/>
                    </a:cubicBezTo>
                    <a:cubicBezTo>
                      <a:pt x="2131356" y="2122297"/>
                      <a:pt x="2132096" y="2121804"/>
                      <a:pt x="2131847" y="2121064"/>
                    </a:cubicBezTo>
                    <a:close/>
                    <a:moveTo>
                      <a:pt x="2132097" y="6988377"/>
                    </a:moveTo>
                    <a:cubicBezTo>
                      <a:pt x="2132097" y="6987391"/>
                      <a:pt x="2131359" y="6986650"/>
                      <a:pt x="2130373" y="6986650"/>
                    </a:cubicBezTo>
                    <a:cubicBezTo>
                      <a:pt x="2129386" y="6986650"/>
                      <a:pt x="2128646" y="6987391"/>
                      <a:pt x="2128646" y="6988377"/>
                    </a:cubicBezTo>
                    <a:cubicBezTo>
                      <a:pt x="2128646" y="6989363"/>
                      <a:pt x="2129386" y="6990104"/>
                      <a:pt x="2130373" y="6990104"/>
                    </a:cubicBezTo>
                    <a:cubicBezTo>
                      <a:pt x="2131359" y="6990104"/>
                      <a:pt x="2132097" y="6989363"/>
                      <a:pt x="2132097" y="6988377"/>
                    </a:cubicBezTo>
                    <a:close/>
                    <a:moveTo>
                      <a:pt x="2132099" y="1433206"/>
                    </a:moveTo>
                    <a:cubicBezTo>
                      <a:pt x="2132099" y="1424829"/>
                      <a:pt x="2125442" y="1418170"/>
                      <a:pt x="2117056" y="1418170"/>
                    </a:cubicBezTo>
                    <a:cubicBezTo>
                      <a:pt x="2108674" y="1418170"/>
                      <a:pt x="2102016" y="1424829"/>
                      <a:pt x="2102016" y="1433206"/>
                    </a:cubicBezTo>
                    <a:cubicBezTo>
                      <a:pt x="2102016" y="1441592"/>
                      <a:pt x="2108674" y="1448248"/>
                      <a:pt x="2117056" y="1448248"/>
                    </a:cubicBezTo>
                    <a:cubicBezTo>
                      <a:pt x="2125442" y="1448248"/>
                      <a:pt x="2132099" y="1441592"/>
                      <a:pt x="2132099" y="1433206"/>
                    </a:cubicBezTo>
                    <a:close/>
                    <a:moveTo>
                      <a:pt x="2133824" y="3449327"/>
                    </a:moveTo>
                    <a:cubicBezTo>
                      <a:pt x="2133824" y="3437002"/>
                      <a:pt x="2123713" y="3426891"/>
                      <a:pt x="2111385" y="3426891"/>
                    </a:cubicBezTo>
                    <a:cubicBezTo>
                      <a:pt x="2098809" y="3426891"/>
                      <a:pt x="2088700" y="3437002"/>
                      <a:pt x="2088700" y="3449327"/>
                    </a:cubicBezTo>
                    <a:cubicBezTo>
                      <a:pt x="2088700" y="3461907"/>
                      <a:pt x="2099054" y="3471961"/>
                      <a:pt x="2111385" y="3471961"/>
                    </a:cubicBezTo>
                    <a:cubicBezTo>
                      <a:pt x="2123713" y="3471961"/>
                      <a:pt x="2133824" y="3461907"/>
                      <a:pt x="2133824" y="3449327"/>
                    </a:cubicBezTo>
                    <a:close/>
                    <a:moveTo>
                      <a:pt x="2134069" y="3564919"/>
                    </a:moveTo>
                    <a:cubicBezTo>
                      <a:pt x="2134069" y="3553575"/>
                      <a:pt x="2124946" y="3544453"/>
                      <a:pt x="2113849" y="3544453"/>
                    </a:cubicBezTo>
                    <a:cubicBezTo>
                      <a:pt x="2102753" y="3544453"/>
                      <a:pt x="2093631" y="3553575"/>
                      <a:pt x="2093631" y="3564919"/>
                    </a:cubicBezTo>
                    <a:cubicBezTo>
                      <a:pt x="2093631" y="3576015"/>
                      <a:pt x="2102753" y="3585137"/>
                      <a:pt x="2113849" y="3585137"/>
                    </a:cubicBezTo>
                    <a:cubicBezTo>
                      <a:pt x="2124946" y="3585137"/>
                      <a:pt x="2134069" y="3576015"/>
                      <a:pt x="2134069" y="3564919"/>
                    </a:cubicBezTo>
                    <a:close/>
                    <a:moveTo>
                      <a:pt x="2134562" y="2496087"/>
                    </a:moveTo>
                    <a:cubicBezTo>
                      <a:pt x="2134562" y="2475621"/>
                      <a:pt x="2117794" y="2458854"/>
                      <a:pt x="2097331" y="2458854"/>
                    </a:cubicBezTo>
                    <a:cubicBezTo>
                      <a:pt x="2076864" y="2458854"/>
                      <a:pt x="2060097" y="2475621"/>
                      <a:pt x="2060097" y="2496087"/>
                    </a:cubicBezTo>
                    <a:cubicBezTo>
                      <a:pt x="2060097" y="2516554"/>
                      <a:pt x="2076864" y="2533319"/>
                      <a:pt x="2097331" y="2533319"/>
                    </a:cubicBezTo>
                    <a:cubicBezTo>
                      <a:pt x="2117794" y="2533319"/>
                      <a:pt x="2134562" y="2516554"/>
                      <a:pt x="2134562" y="2496087"/>
                    </a:cubicBezTo>
                    <a:close/>
                    <a:moveTo>
                      <a:pt x="2134564" y="6871993"/>
                    </a:moveTo>
                    <a:cubicBezTo>
                      <a:pt x="2134564" y="6870269"/>
                      <a:pt x="2133083" y="6868788"/>
                      <a:pt x="2131356" y="6868788"/>
                    </a:cubicBezTo>
                    <a:cubicBezTo>
                      <a:pt x="2129633" y="6868788"/>
                      <a:pt x="2128152" y="6870269"/>
                      <a:pt x="2128152" y="6871993"/>
                    </a:cubicBezTo>
                    <a:cubicBezTo>
                      <a:pt x="2128152" y="6873720"/>
                      <a:pt x="2129633" y="6875201"/>
                      <a:pt x="2131356" y="6875201"/>
                    </a:cubicBezTo>
                    <a:cubicBezTo>
                      <a:pt x="2133083" y="6875201"/>
                      <a:pt x="2134564" y="6873966"/>
                      <a:pt x="2134564" y="6871993"/>
                    </a:cubicBezTo>
                    <a:close/>
                    <a:moveTo>
                      <a:pt x="2135055" y="6755609"/>
                    </a:moveTo>
                    <a:cubicBezTo>
                      <a:pt x="2135055" y="6754377"/>
                      <a:pt x="2134069" y="6753391"/>
                      <a:pt x="2132834" y="6753391"/>
                    </a:cubicBezTo>
                    <a:cubicBezTo>
                      <a:pt x="2131602" y="6753391"/>
                      <a:pt x="2130616" y="6754377"/>
                      <a:pt x="2130616" y="6755609"/>
                    </a:cubicBezTo>
                    <a:cubicBezTo>
                      <a:pt x="2130616" y="6756843"/>
                      <a:pt x="2131602" y="6757827"/>
                      <a:pt x="2132834" y="6757827"/>
                    </a:cubicBezTo>
                    <a:cubicBezTo>
                      <a:pt x="2133821" y="6757827"/>
                      <a:pt x="2134806" y="6756843"/>
                      <a:pt x="2135055" y="6755609"/>
                    </a:cubicBezTo>
                    <a:close/>
                    <a:moveTo>
                      <a:pt x="2138014" y="1560671"/>
                    </a:moveTo>
                    <a:cubicBezTo>
                      <a:pt x="2138014" y="1552536"/>
                      <a:pt x="2131356" y="1546124"/>
                      <a:pt x="2123466" y="1546124"/>
                    </a:cubicBezTo>
                    <a:cubicBezTo>
                      <a:pt x="2115330" y="1546124"/>
                      <a:pt x="2108918" y="1552783"/>
                      <a:pt x="2108918" y="1560671"/>
                    </a:cubicBezTo>
                    <a:cubicBezTo>
                      <a:pt x="2108918" y="1568809"/>
                      <a:pt x="2115575" y="1575219"/>
                      <a:pt x="2123466" y="1575219"/>
                    </a:cubicBezTo>
                    <a:cubicBezTo>
                      <a:pt x="2131602" y="1575219"/>
                      <a:pt x="2138014" y="1568565"/>
                      <a:pt x="2138014" y="1560671"/>
                    </a:cubicBezTo>
                    <a:close/>
                    <a:moveTo>
                      <a:pt x="2142945" y="6283170"/>
                    </a:moveTo>
                    <a:cubicBezTo>
                      <a:pt x="2142945" y="6281197"/>
                      <a:pt x="2141467" y="6279719"/>
                      <a:pt x="2139492" y="6279719"/>
                    </a:cubicBezTo>
                    <a:cubicBezTo>
                      <a:pt x="2137522" y="6279719"/>
                      <a:pt x="2136042" y="6281197"/>
                      <a:pt x="2136042" y="6283170"/>
                    </a:cubicBezTo>
                    <a:cubicBezTo>
                      <a:pt x="2136042" y="6285146"/>
                      <a:pt x="2137768" y="6286623"/>
                      <a:pt x="2139492" y="6286623"/>
                    </a:cubicBezTo>
                    <a:cubicBezTo>
                      <a:pt x="2141218" y="6286623"/>
                      <a:pt x="2142945" y="6285146"/>
                      <a:pt x="2142945" y="6283170"/>
                    </a:cubicBezTo>
                    <a:close/>
                    <a:moveTo>
                      <a:pt x="2143438" y="3679825"/>
                    </a:moveTo>
                    <a:cubicBezTo>
                      <a:pt x="2143438" y="3669961"/>
                      <a:pt x="2135547" y="3662071"/>
                      <a:pt x="2125684" y="3662071"/>
                    </a:cubicBezTo>
                    <a:cubicBezTo>
                      <a:pt x="2115821" y="3662071"/>
                      <a:pt x="2107931" y="3669961"/>
                      <a:pt x="2107931" y="3679825"/>
                    </a:cubicBezTo>
                    <a:cubicBezTo>
                      <a:pt x="2107931" y="3689688"/>
                      <a:pt x="2115821" y="3697578"/>
                      <a:pt x="2125684" y="3697578"/>
                    </a:cubicBezTo>
                    <a:cubicBezTo>
                      <a:pt x="2135547" y="3697578"/>
                      <a:pt x="2143684" y="3689441"/>
                      <a:pt x="2143438" y="3679825"/>
                    </a:cubicBezTo>
                    <a:close/>
                    <a:moveTo>
                      <a:pt x="2143440" y="3333929"/>
                    </a:moveTo>
                    <a:cubicBezTo>
                      <a:pt x="2143440" y="3320125"/>
                      <a:pt x="2132097" y="3309029"/>
                      <a:pt x="2118534" y="3309029"/>
                    </a:cubicBezTo>
                    <a:cubicBezTo>
                      <a:pt x="2104727" y="3309029"/>
                      <a:pt x="2093631" y="3320125"/>
                      <a:pt x="2093631" y="3333929"/>
                    </a:cubicBezTo>
                    <a:cubicBezTo>
                      <a:pt x="2093631" y="3347744"/>
                      <a:pt x="2104727" y="3358836"/>
                      <a:pt x="2118534" y="3358836"/>
                    </a:cubicBezTo>
                    <a:cubicBezTo>
                      <a:pt x="2132097" y="3358836"/>
                      <a:pt x="2143192" y="3347744"/>
                      <a:pt x="2143440" y="3333929"/>
                    </a:cubicBezTo>
                    <a:close/>
                    <a:moveTo>
                      <a:pt x="2143686" y="1690108"/>
                    </a:moveTo>
                    <a:cubicBezTo>
                      <a:pt x="2143686" y="1682958"/>
                      <a:pt x="2137766" y="1677039"/>
                      <a:pt x="2130616" y="1677039"/>
                    </a:cubicBezTo>
                    <a:cubicBezTo>
                      <a:pt x="2123466" y="1677039"/>
                      <a:pt x="2117549" y="1682958"/>
                      <a:pt x="2117549" y="1690108"/>
                    </a:cubicBezTo>
                    <a:cubicBezTo>
                      <a:pt x="2117549" y="1697258"/>
                      <a:pt x="2123466" y="1703181"/>
                      <a:pt x="2130616" y="1703181"/>
                    </a:cubicBezTo>
                    <a:cubicBezTo>
                      <a:pt x="2137766" y="1703181"/>
                      <a:pt x="2143686" y="1697258"/>
                      <a:pt x="2143686" y="1690108"/>
                    </a:cubicBezTo>
                    <a:close/>
                    <a:moveTo>
                      <a:pt x="2146891" y="6520377"/>
                    </a:moveTo>
                    <a:cubicBezTo>
                      <a:pt x="2146891" y="6514211"/>
                      <a:pt x="2141959" y="6509033"/>
                      <a:pt x="2135550" y="6509033"/>
                    </a:cubicBezTo>
                    <a:cubicBezTo>
                      <a:pt x="2129137" y="6509033"/>
                      <a:pt x="2123961" y="6513965"/>
                      <a:pt x="2123961" y="6520377"/>
                    </a:cubicBezTo>
                    <a:cubicBezTo>
                      <a:pt x="2123961" y="6526787"/>
                      <a:pt x="2129137" y="6531964"/>
                      <a:pt x="2135550" y="6531964"/>
                    </a:cubicBezTo>
                    <a:cubicBezTo>
                      <a:pt x="2141959" y="6531964"/>
                      <a:pt x="2146891" y="6527033"/>
                      <a:pt x="2146891" y="6520377"/>
                    </a:cubicBezTo>
                    <a:close/>
                    <a:moveTo>
                      <a:pt x="2147878" y="4460483"/>
                    </a:moveTo>
                    <a:cubicBezTo>
                      <a:pt x="2147878" y="4433114"/>
                      <a:pt x="2125684" y="4410921"/>
                      <a:pt x="2098313" y="4410921"/>
                    </a:cubicBezTo>
                    <a:cubicBezTo>
                      <a:pt x="2070946" y="4410921"/>
                      <a:pt x="2048753" y="4433114"/>
                      <a:pt x="2048753" y="4460483"/>
                    </a:cubicBezTo>
                    <a:cubicBezTo>
                      <a:pt x="2048753" y="4487853"/>
                      <a:pt x="2070946" y="4510046"/>
                      <a:pt x="2098313" y="4510046"/>
                    </a:cubicBezTo>
                    <a:cubicBezTo>
                      <a:pt x="2125684" y="4510046"/>
                      <a:pt x="2148124" y="4487853"/>
                      <a:pt x="2147878" y="4460483"/>
                    </a:cubicBezTo>
                    <a:close/>
                    <a:moveTo>
                      <a:pt x="2149110" y="84387"/>
                    </a:moveTo>
                    <a:cubicBezTo>
                      <a:pt x="2149110" y="73044"/>
                      <a:pt x="2139987" y="63922"/>
                      <a:pt x="2128646" y="63922"/>
                    </a:cubicBezTo>
                    <a:cubicBezTo>
                      <a:pt x="2117302" y="63922"/>
                      <a:pt x="2108180" y="73044"/>
                      <a:pt x="2108180" y="84387"/>
                    </a:cubicBezTo>
                    <a:cubicBezTo>
                      <a:pt x="2108180" y="95728"/>
                      <a:pt x="2117302" y="104850"/>
                      <a:pt x="2128646" y="104850"/>
                    </a:cubicBezTo>
                    <a:cubicBezTo>
                      <a:pt x="2139987" y="104850"/>
                      <a:pt x="2149110" y="95728"/>
                      <a:pt x="2149110" y="84387"/>
                    </a:cubicBezTo>
                    <a:close/>
                    <a:moveTo>
                      <a:pt x="2149355" y="6402267"/>
                    </a:moveTo>
                    <a:cubicBezTo>
                      <a:pt x="2149355" y="6395857"/>
                      <a:pt x="2144178" y="6390431"/>
                      <a:pt x="2137520" y="6390431"/>
                    </a:cubicBezTo>
                    <a:cubicBezTo>
                      <a:pt x="2131110" y="6390431"/>
                      <a:pt x="2125684" y="6395609"/>
                      <a:pt x="2125684" y="6402267"/>
                    </a:cubicBezTo>
                    <a:cubicBezTo>
                      <a:pt x="2125684" y="6408925"/>
                      <a:pt x="2130861" y="6414349"/>
                      <a:pt x="2137520" y="6414349"/>
                    </a:cubicBezTo>
                    <a:cubicBezTo>
                      <a:pt x="2143930" y="6414349"/>
                      <a:pt x="2149355" y="6408925"/>
                      <a:pt x="2149355" y="6402267"/>
                    </a:cubicBezTo>
                    <a:close/>
                    <a:moveTo>
                      <a:pt x="2150098" y="6638239"/>
                    </a:moveTo>
                    <a:cubicBezTo>
                      <a:pt x="2150098" y="6629608"/>
                      <a:pt x="2142946" y="6622458"/>
                      <a:pt x="2134317" y="6622458"/>
                    </a:cubicBezTo>
                    <a:cubicBezTo>
                      <a:pt x="2125687" y="6622458"/>
                      <a:pt x="2118783" y="6629608"/>
                      <a:pt x="2118783" y="6638239"/>
                    </a:cubicBezTo>
                    <a:cubicBezTo>
                      <a:pt x="2118783" y="6646870"/>
                      <a:pt x="2125687" y="6654020"/>
                      <a:pt x="2134317" y="6654020"/>
                    </a:cubicBezTo>
                    <a:cubicBezTo>
                      <a:pt x="2142946" y="6654020"/>
                      <a:pt x="2149852" y="6647115"/>
                      <a:pt x="2150098" y="6638239"/>
                    </a:cubicBezTo>
                    <a:close/>
                    <a:moveTo>
                      <a:pt x="2150345" y="200988"/>
                    </a:moveTo>
                    <a:cubicBezTo>
                      <a:pt x="2150345" y="189893"/>
                      <a:pt x="2141222" y="180771"/>
                      <a:pt x="2130124" y="180771"/>
                    </a:cubicBezTo>
                    <a:cubicBezTo>
                      <a:pt x="2119028" y="180771"/>
                      <a:pt x="2109906" y="189893"/>
                      <a:pt x="2109906" y="200988"/>
                    </a:cubicBezTo>
                    <a:cubicBezTo>
                      <a:pt x="2109906" y="212086"/>
                      <a:pt x="2119028" y="221208"/>
                      <a:pt x="2130124" y="221208"/>
                    </a:cubicBezTo>
                    <a:cubicBezTo>
                      <a:pt x="2141222" y="221208"/>
                      <a:pt x="2150345" y="212086"/>
                      <a:pt x="2150345" y="200988"/>
                    </a:cubicBezTo>
                    <a:close/>
                    <a:moveTo>
                      <a:pt x="2150589" y="4972619"/>
                    </a:moveTo>
                    <a:cubicBezTo>
                      <a:pt x="2150589" y="4955115"/>
                      <a:pt x="2136287" y="4940812"/>
                      <a:pt x="2118780" y="4940812"/>
                    </a:cubicBezTo>
                    <a:cubicBezTo>
                      <a:pt x="2101274" y="4940812"/>
                      <a:pt x="2086972" y="4955115"/>
                      <a:pt x="2086972" y="4972619"/>
                    </a:cubicBezTo>
                    <a:cubicBezTo>
                      <a:pt x="2086972" y="4990127"/>
                      <a:pt x="2101274" y="5004430"/>
                      <a:pt x="2118780" y="5004430"/>
                    </a:cubicBezTo>
                    <a:cubicBezTo>
                      <a:pt x="2136287" y="5004430"/>
                      <a:pt x="2150589" y="4990127"/>
                      <a:pt x="2150589" y="4972619"/>
                    </a:cubicBezTo>
                    <a:close/>
                    <a:moveTo>
                      <a:pt x="2151577" y="318086"/>
                    </a:moveTo>
                    <a:cubicBezTo>
                      <a:pt x="2151577" y="306991"/>
                      <a:pt x="2142700" y="298115"/>
                      <a:pt x="2131603" y="298115"/>
                    </a:cubicBezTo>
                    <a:cubicBezTo>
                      <a:pt x="2120507" y="298115"/>
                      <a:pt x="2111631" y="306991"/>
                      <a:pt x="2111631" y="318086"/>
                    </a:cubicBezTo>
                    <a:cubicBezTo>
                      <a:pt x="2111631" y="329181"/>
                      <a:pt x="2120507" y="338057"/>
                      <a:pt x="2131603" y="338057"/>
                    </a:cubicBezTo>
                    <a:cubicBezTo>
                      <a:pt x="2142700" y="338057"/>
                      <a:pt x="2151577" y="329181"/>
                      <a:pt x="2151577" y="318086"/>
                    </a:cubicBezTo>
                    <a:close/>
                    <a:moveTo>
                      <a:pt x="2153300" y="2260621"/>
                    </a:moveTo>
                    <a:cubicBezTo>
                      <a:pt x="2153300" y="2257414"/>
                      <a:pt x="2150836" y="2254950"/>
                      <a:pt x="2147631" y="2254950"/>
                    </a:cubicBezTo>
                    <a:cubicBezTo>
                      <a:pt x="2144424" y="2254950"/>
                      <a:pt x="2141959" y="2257414"/>
                      <a:pt x="2141959" y="2260621"/>
                    </a:cubicBezTo>
                    <a:cubicBezTo>
                      <a:pt x="2141959" y="2263822"/>
                      <a:pt x="2144424" y="2266285"/>
                      <a:pt x="2147631" y="2266285"/>
                    </a:cubicBezTo>
                    <a:cubicBezTo>
                      <a:pt x="2150836" y="2266285"/>
                      <a:pt x="2153300" y="2263577"/>
                      <a:pt x="2153300" y="2260621"/>
                    </a:cubicBezTo>
                    <a:close/>
                    <a:moveTo>
                      <a:pt x="2153547" y="435431"/>
                    </a:moveTo>
                    <a:cubicBezTo>
                      <a:pt x="2153547" y="424335"/>
                      <a:pt x="2144424" y="415459"/>
                      <a:pt x="2133575" y="415459"/>
                    </a:cubicBezTo>
                    <a:cubicBezTo>
                      <a:pt x="2122480" y="415459"/>
                      <a:pt x="2113603" y="424581"/>
                      <a:pt x="2113603" y="435431"/>
                    </a:cubicBezTo>
                    <a:cubicBezTo>
                      <a:pt x="2113603" y="446528"/>
                      <a:pt x="2122725" y="455404"/>
                      <a:pt x="2133575" y="455404"/>
                    </a:cubicBezTo>
                    <a:cubicBezTo>
                      <a:pt x="2144424" y="455404"/>
                      <a:pt x="2153300" y="446528"/>
                      <a:pt x="2153547" y="435431"/>
                    </a:cubicBezTo>
                    <a:close/>
                    <a:moveTo>
                      <a:pt x="2154043" y="554256"/>
                    </a:moveTo>
                    <a:cubicBezTo>
                      <a:pt x="2154043" y="543901"/>
                      <a:pt x="2145659" y="535270"/>
                      <a:pt x="2135055" y="535270"/>
                    </a:cubicBezTo>
                    <a:cubicBezTo>
                      <a:pt x="2124701" y="535270"/>
                      <a:pt x="2116070" y="543655"/>
                      <a:pt x="2116070" y="554256"/>
                    </a:cubicBezTo>
                    <a:cubicBezTo>
                      <a:pt x="2116070" y="564612"/>
                      <a:pt x="2124452" y="573243"/>
                      <a:pt x="2135055" y="573243"/>
                    </a:cubicBezTo>
                    <a:cubicBezTo>
                      <a:pt x="2145413" y="573243"/>
                      <a:pt x="2154043" y="564612"/>
                      <a:pt x="2154043" y="554256"/>
                    </a:cubicBezTo>
                    <a:close/>
                    <a:moveTo>
                      <a:pt x="2155521" y="673372"/>
                    </a:moveTo>
                    <a:cubicBezTo>
                      <a:pt x="2155521" y="663266"/>
                      <a:pt x="2147137" y="654887"/>
                      <a:pt x="2137028" y="654887"/>
                    </a:cubicBezTo>
                    <a:cubicBezTo>
                      <a:pt x="2126918" y="654887"/>
                      <a:pt x="2118534" y="663019"/>
                      <a:pt x="2118534" y="673372"/>
                    </a:cubicBezTo>
                    <a:cubicBezTo>
                      <a:pt x="2118534" y="683483"/>
                      <a:pt x="2126671" y="691874"/>
                      <a:pt x="2137028" y="691874"/>
                    </a:cubicBezTo>
                    <a:cubicBezTo>
                      <a:pt x="2147383" y="691874"/>
                      <a:pt x="2155521" y="683483"/>
                      <a:pt x="2155521" y="673372"/>
                    </a:cubicBezTo>
                    <a:close/>
                    <a:moveTo>
                      <a:pt x="2157740" y="5925634"/>
                    </a:moveTo>
                    <a:cubicBezTo>
                      <a:pt x="2157740" y="5924156"/>
                      <a:pt x="2156508" y="5923170"/>
                      <a:pt x="2155273" y="5923170"/>
                    </a:cubicBezTo>
                    <a:cubicBezTo>
                      <a:pt x="2153795" y="5923170"/>
                      <a:pt x="2152809" y="5924402"/>
                      <a:pt x="2152809" y="5925634"/>
                    </a:cubicBezTo>
                    <a:cubicBezTo>
                      <a:pt x="2152809" y="5927115"/>
                      <a:pt x="2154041" y="5928102"/>
                      <a:pt x="2155273" y="5928102"/>
                    </a:cubicBezTo>
                    <a:cubicBezTo>
                      <a:pt x="2156754" y="5928102"/>
                      <a:pt x="2157740" y="5927115"/>
                      <a:pt x="2157740" y="5925634"/>
                    </a:cubicBezTo>
                    <a:close/>
                    <a:moveTo>
                      <a:pt x="2158478" y="4836018"/>
                    </a:moveTo>
                    <a:cubicBezTo>
                      <a:pt x="2158478" y="4821718"/>
                      <a:pt x="2146890" y="4810128"/>
                      <a:pt x="2132588" y="4810128"/>
                    </a:cubicBezTo>
                    <a:cubicBezTo>
                      <a:pt x="2118289" y="4810128"/>
                      <a:pt x="2106699" y="4821718"/>
                      <a:pt x="2106699" y="4836018"/>
                    </a:cubicBezTo>
                    <a:cubicBezTo>
                      <a:pt x="2106699" y="4850321"/>
                      <a:pt x="2118289" y="4861910"/>
                      <a:pt x="2132588" y="4861910"/>
                    </a:cubicBezTo>
                    <a:cubicBezTo>
                      <a:pt x="2146890" y="4861910"/>
                      <a:pt x="2158478" y="4850321"/>
                      <a:pt x="2158478" y="4836018"/>
                    </a:cubicBezTo>
                    <a:close/>
                    <a:moveTo>
                      <a:pt x="2160699" y="5803336"/>
                    </a:moveTo>
                    <a:cubicBezTo>
                      <a:pt x="2160699" y="5802349"/>
                      <a:pt x="2159714" y="5801362"/>
                      <a:pt x="2158727" y="5801362"/>
                    </a:cubicBezTo>
                    <a:cubicBezTo>
                      <a:pt x="2157740" y="5801362"/>
                      <a:pt x="2156755" y="5802349"/>
                      <a:pt x="2156755" y="5803336"/>
                    </a:cubicBezTo>
                    <a:cubicBezTo>
                      <a:pt x="2156755" y="5804568"/>
                      <a:pt x="2157740" y="5805308"/>
                      <a:pt x="2158727" y="5805308"/>
                    </a:cubicBezTo>
                    <a:cubicBezTo>
                      <a:pt x="2159714" y="5805308"/>
                      <a:pt x="2160699" y="5804321"/>
                      <a:pt x="2160699" y="5803336"/>
                    </a:cubicBezTo>
                    <a:close/>
                    <a:moveTo>
                      <a:pt x="2162426" y="3219769"/>
                    </a:moveTo>
                    <a:cubicBezTo>
                      <a:pt x="2162426" y="3204729"/>
                      <a:pt x="2150096" y="3192647"/>
                      <a:pt x="2135302" y="3192647"/>
                    </a:cubicBezTo>
                    <a:cubicBezTo>
                      <a:pt x="2120261" y="3192647"/>
                      <a:pt x="2108180" y="3204729"/>
                      <a:pt x="2108180" y="3219769"/>
                    </a:cubicBezTo>
                    <a:cubicBezTo>
                      <a:pt x="2108180" y="3234813"/>
                      <a:pt x="2120261" y="3246895"/>
                      <a:pt x="2135302" y="3246895"/>
                    </a:cubicBezTo>
                    <a:cubicBezTo>
                      <a:pt x="2150096" y="3246895"/>
                      <a:pt x="2162180" y="3234813"/>
                      <a:pt x="2162426" y="3219769"/>
                    </a:cubicBezTo>
                    <a:close/>
                    <a:moveTo>
                      <a:pt x="2162672" y="3793001"/>
                    </a:moveTo>
                    <a:cubicBezTo>
                      <a:pt x="2162672" y="3784619"/>
                      <a:pt x="2155768" y="3777715"/>
                      <a:pt x="2147384" y="3777715"/>
                    </a:cubicBezTo>
                    <a:cubicBezTo>
                      <a:pt x="2139002" y="3777715"/>
                      <a:pt x="2132097" y="3784619"/>
                      <a:pt x="2132097" y="3793001"/>
                    </a:cubicBezTo>
                    <a:cubicBezTo>
                      <a:pt x="2132097" y="3801385"/>
                      <a:pt x="2139002" y="3808290"/>
                      <a:pt x="2147384" y="3808290"/>
                    </a:cubicBezTo>
                    <a:cubicBezTo>
                      <a:pt x="2155768" y="3808290"/>
                      <a:pt x="2162672" y="3801633"/>
                      <a:pt x="2162672" y="3793001"/>
                    </a:cubicBezTo>
                    <a:close/>
                    <a:moveTo>
                      <a:pt x="2162920" y="1984221"/>
                    </a:moveTo>
                    <a:cubicBezTo>
                      <a:pt x="2162920" y="1958833"/>
                      <a:pt x="2142208" y="1938128"/>
                      <a:pt x="2116811" y="1938128"/>
                    </a:cubicBezTo>
                    <a:cubicBezTo>
                      <a:pt x="2091412" y="1938128"/>
                      <a:pt x="2070700" y="1958833"/>
                      <a:pt x="2070700" y="1984221"/>
                    </a:cubicBezTo>
                    <a:cubicBezTo>
                      <a:pt x="2070700" y="2009609"/>
                      <a:pt x="2091412" y="2030319"/>
                      <a:pt x="2116811" y="2030319"/>
                    </a:cubicBezTo>
                    <a:cubicBezTo>
                      <a:pt x="2142208" y="2030319"/>
                      <a:pt x="2162920" y="2009609"/>
                      <a:pt x="2162920" y="1984221"/>
                    </a:cubicBezTo>
                    <a:close/>
                    <a:moveTo>
                      <a:pt x="2165385" y="5680044"/>
                    </a:moveTo>
                    <a:cubicBezTo>
                      <a:pt x="2165385" y="5678812"/>
                      <a:pt x="2164396" y="5677825"/>
                      <a:pt x="2163164" y="5677825"/>
                    </a:cubicBezTo>
                    <a:cubicBezTo>
                      <a:pt x="2161931" y="5677825"/>
                      <a:pt x="2160946" y="5678812"/>
                      <a:pt x="2160946" y="5680044"/>
                    </a:cubicBezTo>
                    <a:cubicBezTo>
                      <a:pt x="2160946" y="5681278"/>
                      <a:pt x="2161931" y="5682262"/>
                      <a:pt x="2163164" y="5682262"/>
                    </a:cubicBezTo>
                    <a:cubicBezTo>
                      <a:pt x="2164396" y="5682262"/>
                      <a:pt x="2165385" y="5681278"/>
                      <a:pt x="2165385" y="5680044"/>
                    </a:cubicBezTo>
                    <a:close/>
                    <a:moveTo>
                      <a:pt x="2166862" y="4309087"/>
                    </a:moveTo>
                    <a:cubicBezTo>
                      <a:pt x="2166862" y="4288126"/>
                      <a:pt x="2149602" y="4270866"/>
                      <a:pt x="2128397" y="4270866"/>
                    </a:cubicBezTo>
                    <a:cubicBezTo>
                      <a:pt x="2107190" y="4270866"/>
                      <a:pt x="2089931" y="4287879"/>
                      <a:pt x="2089931" y="4309087"/>
                    </a:cubicBezTo>
                    <a:cubicBezTo>
                      <a:pt x="2089931" y="4330291"/>
                      <a:pt x="2107190" y="4347553"/>
                      <a:pt x="2128397" y="4347553"/>
                    </a:cubicBezTo>
                    <a:cubicBezTo>
                      <a:pt x="2149602" y="4347553"/>
                      <a:pt x="2166862" y="4330291"/>
                      <a:pt x="2166862" y="4309087"/>
                    </a:cubicBezTo>
                    <a:close/>
                    <a:moveTo>
                      <a:pt x="2167109" y="6167279"/>
                    </a:moveTo>
                    <a:cubicBezTo>
                      <a:pt x="2167109" y="6157415"/>
                      <a:pt x="2158973" y="6149279"/>
                      <a:pt x="2149109" y="6149279"/>
                    </a:cubicBezTo>
                    <a:cubicBezTo>
                      <a:pt x="2139246" y="6149279"/>
                      <a:pt x="2131111" y="6157415"/>
                      <a:pt x="2131111" y="6167279"/>
                    </a:cubicBezTo>
                    <a:cubicBezTo>
                      <a:pt x="2131111" y="6177142"/>
                      <a:pt x="2139246" y="6185277"/>
                      <a:pt x="2149109" y="6185277"/>
                    </a:cubicBezTo>
                    <a:cubicBezTo>
                      <a:pt x="2158973" y="6185277"/>
                      <a:pt x="2167109" y="6177142"/>
                      <a:pt x="2167109" y="6167279"/>
                    </a:cubicBezTo>
                    <a:close/>
                    <a:moveTo>
                      <a:pt x="2167603" y="2647229"/>
                    </a:moveTo>
                    <a:cubicBezTo>
                      <a:pt x="2167603" y="2625283"/>
                      <a:pt x="2149850" y="2607284"/>
                      <a:pt x="2127659" y="2607284"/>
                    </a:cubicBezTo>
                    <a:cubicBezTo>
                      <a:pt x="2105712" y="2607284"/>
                      <a:pt x="2087713" y="2625037"/>
                      <a:pt x="2087713" y="2647229"/>
                    </a:cubicBezTo>
                    <a:cubicBezTo>
                      <a:pt x="2087713" y="2669176"/>
                      <a:pt x="2105712" y="2687176"/>
                      <a:pt x="2127659" y="2687176"/>
                    </a:cubicBezTo>
                    <a:cubicBezTo>
                      <a:pt x="2149605" y="2687176"/>
                      <a:pt x="2167603" y="2669176"/>
                      <a:pt x="2167603" y="2647229"/>
                    </a:cubicBezTo>
                    <a:close/>
                    <a:moveTo>
                      <a:pt x="2169330" y="5555527"/>
                    </a:moveTo>
                    <a:cubicBezTo>
                      <a:pt x="2169330" y="5554787"/>
                      <a:pt x="2168590" y="5554046"/>
                      <a:pt x="2167849" y="5554046"/>
                    </a:cubicBezTo>
                    <a:cubicBezTo>
                      <a:pt x="2167111" y="5554046"/>
                      <a:pt x="2166371" y="5554787"/>
                      <a:pt x="2166371" y="5555527"/>
                    </a:cubicBezTo>
                    <a:cubicBezTo>
                      <a:pt x="2166371" y="5556265"/>
                      <a:pt x="2167111" y="5557005"/>
                      <a:pt x="2167849" y="5557005"/>
                    </a:cubicBezTo>
                    <a:cubicBezTo>
                      <a:pt x="2168590" y="5557005"/>
                      <a:pt x="2169330" y="5556265"/>
                      <a:pt x="2169330" y="5555527"/>
                    </a:cubicBezTo>
                    <a:close/>
                    <a:moveTo>
                      <a:pt x="2172781" y="4696209"/>
                    </a:moveTo>
                    <a:cubicBezTo>
                      <a:pt x="2172781" y="4683141"/>
                      <a:pt x="2162177" y="4672538"/>
                      <a:pt x="2149109" y="4672538"/>
                    </a:cubicBezTo>
                    <a:cubicBezTo>
                      <a:pt x="2136042" y="4672538"/>
                      <a:pt x="2125438" y="4683141"/>
                      <a:pt x="2125438" y="4696209"/>
                    </a:cubicBezTo>
                    <a:cubicBezTo>
                      <a:pt x="2125438" y="4709277"/>
                      <a:pt x="2136042" y="4719880"/>
                      <a:pt x="2149109" y="4719880"/>
                    </a:cubicBezTo>
                    <a:cubicBezTo>
                      <a:pt x="2162177" y="4719880"/>
                      <a:pt x="2172781" y="4709277"/>
                      <a:pt x="2172781" y="4696209"/>
                    </a:cubicBezTo>
                    <a:close/>
                    <a:moveTo>
                      <a:pt x="2173521" y="6046952"/>
                    </a:moveTo>
                    <a:cubicBezTo>
                      <a:pt x="2173521" y="6035117"/>
                      <a:pt x="2163905" y="6025499"/>
                      <a:pt x="2152069" y="6025499"/>
                    </a:cubicBezTo>
                    <a:cubicBezTo>
                      <a:pt x="2140233" y="6025499"/>
                      <a:pt x="2130616" y="6035117"/>
                      <a:pt x="2130616" y="6046952"/>
                    </a:cubicBezTo>
                    <a:cubicBezTo>
                      <a:pt x="2130616" y="6058788"/>
                      <a:pt x="2140233" y="6068402"/>
                      <a:pt x="2152069" y="6068402"/>
                    </a:cubicBezTo>
                    <a:cubicBezTo>
                      <a:pt x="2163905" y="6068402"/>
                      <a:pt x="2173521" y="6058788"/>
                      <a:pt x="2173521" y="6046952"/>
                    </a:cubicBezTo>
                    <a:close/>
                    <a:moveTo>
                      <a:pt x="2176234" y="4153250"/>
                    </a:moveTo>
                    <a:cubicBezTo>
                      <a:pt x="2176234" y="4147087"/>
                      <a:pt x="2171300" y="4142155"/>
                      <a:pt x="2165137" y="4142155"/>
                    </a:cubicBezTo>
                    <a:cubicBezTo>
                      <a:pt x="2158973" y="4142155"/>
                      <a:pt x="2154041" y="4147087"/>
                      <a:pt x="2154041" y="4153250"/>
                    </a:cubicBezTo>
                    <a:cubicBezTo>
                      <a:pt x="2154041" y="4159414"/>
                      <a:pt x="2158973" y="4164345"/>
                      <a:pt x="2165137" y="4164345"/>
                    </a:cubicBezTo>
                    <a:cubicBezTo>
                      <a:pt x="2171300" y="4164345"/>
                      <a:pt x="2176234" y="4159414"/>
                      <a:pt x="2176234" y="4153250"/>
                    </a:cubicBezTo>
                    <a:close/>
                    <a:moveTo>
                      <a:pt x="2182149" y="5429281"/>
                    </a:moveTo>
                    <a:cubicBezTo>
                      <a:pt x="2182149" y="5424595"/>
                      <a:pt x="2178204" y="5420650"/>
                      <a:pt x="2173521" y="5420650"/>
                    </a:cubicBezTo>
                    <a:cubicBezTo>
                      <a:pt x="2168835" y="5420650"/>
                      <a:pt x="2164890" y="5424595"/>
                      <a:pt x="2164890" y="5429281"/>
                    </a:cubicBezTo>
                    <a:cubicBezTo>
                      <a:pt x="2164890" y="5433964"/>
                      <a:pt x="2168835" y="5437908"/>
                      <a:pt x="2173521" y="5437908"/>
                    </a:cubicBezTo>
                    <a:cubicBezTo>
                      <a:pt x="2178204" y="5437908"/>
                      <a:pt x="2182149" y="5433964"/>
                      <a:pt x="2182149" y="5429281"/>
                    </a:cubicBezTo>
                    <a:close/>
                    <a:moveTo>
                      <a:pt x="2182151" y="5301799"/>
                    </a:moveTo>
                    <a:cubicBezTo>
                      <a:pt x="2182151" y="5300567"/>
                      <a:pt x="2181162" y="5299580"/>
                      <a:pt x="2179930" y="5299580"/>
                    </a:cubicBezTo>
                    <a:cubicBezTo>
                      <a:pt x="2178698" y="5299580"/>
                      <a:pt x="2177712" y="5300567"/>
                      <a:pt x="2177712" y="5301799"/>
                    </a:cubicBezTo>
                    <a:cubicBezTo>
                      <a:pt x="2177712" y="5303031"/>
                      <a:pt x="2178698" y="5304017"/>
                      <a:pt x="2179930" y="5304017"/>
                    </a:cubicBezTo>
                    <a:cubicBezTo>
                      <a:pt x="2181411" y="5304017"/>
                      <a:pt x="2182397" y="5303031"/>
                      <a:pt x="2182151" y="5301799"/>
                    </a:cubicBezTo>
                    <a:close/>
                    <a:moveTo>
                      <a:pt x="2183630" y="2803057"/>
                    </a:moveTo>
                    <a:cubicBezTo>
                      <a:pt x="2183630" y="2792456"/>
                      <a:pt x="2174999" y="2783825"/>
                      <a:pt x="2164396" y="2783825"/>
                    </a:cubicBezTo>
                    <a:cubicBezTo>
                      <a:pt x="2153796" y="2783825"/>
                      <a:pt x="2145165" y="2792456"/>
                      <a:pt x="2145165" y="2803057"/>
                    </a:cubicBezTo>
                    <a:cubicBezTo>
                      <a:pt x="2145165" y="2813661"/>
                      <a:pt x="2153796" y="2822291"/>
                      <a:pt x="2164396" y="2822291"/>
                    </a:cubicBezTo>
                    <a:cubicBezTo>
                      <a:pt x="2174999" y="2822291"/>
                      <a:pt x="2183630" y="2813661"/>
                      <a:pt x="2183630" y="2803057"/>
                    </a:cubicBezTo>
                    <a:close/>
                    <a:moveTo>
                      <a:pt x="2190781" y="3107329"/>
                    </a:moveTo>
                    <a:cubicBezTo>
                      <a:pt x="2190781" y="3091053"/>
                      <a:pt x="2177713" y="3077985"/>
                      <a:pt x="2161440" y="3077985"/>
                    </a:cubicBezTo>
                    <a:cubicBezTo>
                      <a:pt x="2145165" y="3077985"/>
                      <a:pt x="2132097" y="3091053"/>
                      <a:pt x="2132097" y="3107329"/>
                    </a:cubicBezTo>
                    <a:cubicBezTo>
                      <a:pt x="2132097" y="3123601"/>
                      <a:pt x="2145165" y="3136672"/>
                      <a:pt x="2161440" y="3136672"/>
                    </a:cubicBezTo>
                    <a:cubicBezTo>
                      <a:pt x="2177713" y="3136672"/>
                      <a:pt x="2190781" y="3123601"/>
                      <a:pt x="2190781" y="3107329"/>
                    </a:cubicBezTo>
                    <a:close/>
                    <a:moveTo>
                      <a:pt x="2191029" y="3904207"/>
                    </a:moveTo>
                    <a:cubicBezTo>
                      <a:pt x="2191029" y="3897303"/>
                      <a:pt x="2185357" y="3891631"/>
                      <a:pt x="2178453" y="3891631"/>
                    </a:cubicBezTo>
                    <a:cubicBezTo>
                      <a:pt x="2171549" y="3891631"/>
                      <a:pt x="2165877" y="3897303"/>
                      <a:pt x="2165877" y="3904207"/>
                    </a:cubicBezTo>
                    <a:cubicBezTo>
                      <a:pt x="2165877" y="3911112"/>
                      <a:pt x="2171549" y="3916784"/>
                      <a:pt x="2178453" y="3916784"/>
                    </a:cubicBezTo>
                    <a:cubicBezTo>
                      <a:pt x="2185357" y="3916784"/>
                      <a:pt x="2191029" y="3911112"/>
                      <a:pt x="2191029" y="3904207"/>
                    </a:cubicBezTo>
                    <a:close/>
                    <a:moveTo>
                      <a:pt x="2203111" y="2403377"/>
                    </a:moveTo>
                    <a:cubicBezTo>
                      <a:pt x="2203111" y="2383898"/>
                      <a:pt x="2187084" y="2367872"/>
                      <a:pt x="2167604" y="2367872"/>
                    </a:cubicBezTo>
                    <a:cubicBezTo>
                      <a:pt x="2148124" y="2367872"/>
                      <a:pt x="2132097" y="2383898"/>
                      <a:pt x="2132097" y="2403377"/>
                    </a:cubicBezTo>
                    <a:cubicBezTo>
                      <a:pt x="2132097" y="2422854"/>
                      <a:pt x="2148124" y="2438885"/>
                      <a:pt x="2167604" y="2438885"/>
                    </a:cubicBezTo>
                    <a:cubicBezTo>
                      <a:pt x="2187330" y="2438885"/>
                      <a:pt x="2203111" y="2422854"/>
                      <a:pt x="2203111" y="2403377"/>
                    </a:cubicBezTo>
                    <a:close/>
                    <a:moveTo>
                      <a:pt x="2208288" y="1777659"/>
                    </a:moveTo>
                    <a:cubicBezTo>
                      <a:pt x="2208288" y="1770007"/>
                      <a:pt x="2202373" y="1763839"/>
                      <a:pt x="2194728" y="1763839"/>
                    </a:cubicBezTo>
                    <a:cubicBezTo>
                      <a:pt x="2187330" y="1763839"/>
                      <a:pt x="2181166" y="1770007"/>
                      <a:pt x="2181166" y="1777659"/>
                    </a:cubicBezTo>
                    <a:cubicBezTo>
                      <a:pt x="2181166" y="1785037"/>
                      <a:pt x="2187084" y="1791209"/>
                      <a:pt x="2194728" y="1791209"/>
                    </a:cubicBezTo>
                    <a:cubicBezTo>
                      <a:pt x="2202373" y="1791209"/>
                      <a:pt x="2208537" y="1785037"/>
                      <a:pt x="2208288" y="1777659"/>
                    </a:cubicBezTo>
                    <a:close/>
                    <a:moveTo>
                      <a:pt x="2211246" y="5179499"/>
                    </a:moveTo>
                    <a:cubicBezTo>
                      <a:pt x="2211246" y="5171606"/>
                      <a:pt x="2205083" y="5165196"/>
                      <a:pt x="2197192" y="5165196"/>
                    </a:cubicBezTo>
                    <a:cubicBezTo>
                      <a:pt x="2189302" y="5165196"/>
                      <a:pt x="2182890" y="5171606"/>
                      <a:pt x="2182890" y="5179499"/>
                    </a:cubicBezTo>
                    <a:cubicBezTo>
                      <a:pt x="2182890" y="5187387"/>
                      <a:pt x="2189302" y="5193799"/>
                      <a:pt x="2197192" y="5193799"/>
                    </a:cubicBezTo>
                    <a:cubicBezTo>
                      <a:pt x="2204834" y="5193799"/>
                      <a:pt x="2211246" y="5187387"/>
                      <a:pt x="2211246" y="5179499"/>
                    </a:cubicBezTo>
                    <a:close/>
                    <a:moveTo>
                      <a:pt x="2217905" y="4553195"/>
                    </a:moveTo>
                    <a:cubicBezTo>
                      <a:pt x="2217905" y="4526071"/>
                      <a:pt x="2195960" y="4504125"/>
                      <a:pt x="2168839" y="4504125"/>
                    </a:cubicBezTo>
                    <a:cubicBezTo>
                      <a:pt x="2141714" y="4504125"/>
                      <a:pt x="2119769" y="4526071"/>
                      <a:pt x="2119769" y="4553195"/>
                    </a:cubicBezTo>
                    <a:cubicBezTo>
                      <a:pt x="2119769" y="4580317"/>
                      <a:pt x="2141714" y="4602264"/>
                      <a:pt x="2168839" y="4602264"/>
                    </a:cubicBezTo>
                    <a:cubicBezTo>
                      <a:pt x="2195960" y="4602264"/>
                      <a:pt x="2217905" y="4580071"/>
                      <a:pt x="2217905" y="4553195"/>
                    </a:cubicBezTo>
                    <a:close/>
                    <a:moveTo>
                      <a:pt x="2219385" y="763348"/>
                    </a:moveTo>
                    <a:cubicBezTo>
                      <a:pt x="2219385" y="752257"/>
                      <a:pt x="2210508" y="743384"/>
                      <a:pt x="2199411" y="743384"/>
                    </a:cubicBezTo>
                    <a:cubicBezTo>
                      <a:pt x="2188315" y="743384"/>
                      <a:pt x="2179439" y="752257"/>
                      <a:pt x="2179439" y="763348"/>
                    </a:cubicBezTo>
                    <a:cubicBezTo>
                      <a:pt x="2179439" y="774447"/>
                      <a:pt x="2188315" y="783326"/>
                      <a:pt x="2199411" y="783326"/>
                    </a:cubicBezTo>
                    <a:cubicBezTo>
                      <a:pt x="2210508" y="783326"/>
                      <a:pt x="2219385" y="774447"/>
                      <a:pt x="2219385" y="763348"/>
                    </a:cubicBezTo>
                    <a:close/>
                    <a:moveTo>
                      <a:pt x="2221356" y="882918"/>
                    </a:moveTo>
                    <a:cubicBezTo>
                      <a:pt x="2221356" y="872313"/>
                      <a:pt x="2212727" y="863441"/>
                      <a:pt x="2201878" y="863441"/>
                    </a:cubicBezTo>
                    <a:cubicBezTo>
                      <a:pt x="2191275" y="863441"/>
                      <a:pt x="2182399" y="872067"/>
                      <a:pt x="2182399" y="882918"/>
                    </a:cubicBezTo>
                    <a:cubicBezTo>
                      <a:pt x="2182399" y="893525"/>
                      <a:pt x="2191030" y="902398"/>
                      <a:pt x="2201878" y="902398"/>
                    </a:cubicBezTo>
                    <a:cubicBezTo>
                      <a:pt x="2212727" y="902398"/>
                      <a:pt x="2221356" y="893770"/>
                      <a:pt x="2221356" y="882918"/>
                    </a:cubicBezTo>
                    <a:close/>
                    <a:moveTo>
                      <a:pt x="2224068" y="1003230"/>
                    </a:moveTo>
                    <a:cubicBezTo>
                      <a:pt x="2224068" y="992630"/>
                      <a:pt x="2215437" y="983999"/>
                      <a:pt x="2204834" y="983999"/>
                    </a:cubicBezTo>
                    <a:cubicBezTo>
                      <a:pt x="2194234" y="983999"/>
                      <a:pt x="2185603" y="992630"/>
                      <a:pt x="2185603" y="1003230"/>
                    </a:cubicBezTo>
                    <a:cubicBezTo>
                      <a:pt x="2185603" y="1013837"/>
                      <a:pt x="2194234" y="1022469"/>
                      <a:pt x="2204834" y="1022469"/>
                    </a:cubicBezTo>
                    <a:cubicBezTo>
                      <a:pt x="2215437" y="1022469"/>
                      <a:pt x="2224068" y="1013837"/>
                      <a:pt x="2224068" y="1003230"/>
                    </a:cubicBezTo>
                    <a:close/>
                    <a:moveTo>
                      <a:pt x="2225795" y="1124286"/>
                    </a:moveTo>
                    <a:cubicBezTo>
                      <a:pt x="2225795" y="1114418"/>
                      <a:pt x="2217658" y="1106529"/>
                      <a:pt x="2208042" y="1106529"/>
                    </a:cubicBezTo>
                    <a:cubicBezTo>
                      <a:pt x="2198424" y="1106529"/>
                      <a:pt x="2190534" y="1114663"/>
                      <a:pt x="2190534" y="1124286"/>
                    </a:cubicBezTo>
                    <a:cubicBezTo>
                      <a:pt x="2190534" y="1134145"/>
                      <a:pt x="2198424" y="1142038"/>
                      <a:pt x="2208042" y="1142038"/>
                    </a:cubicBezTo>
                    <a:cubicBezTo>
                      <a:pt x="2217658" y="1142038"/>
                      <a:pt x="2225549" y="1134145"/>
                      <a:pt x="2225795" y="1124286"/>
                    </a:cubicBezTo>
                    <a:close/>
                    <a:moveTo>
                      <a:pt x="2228014" y="4012209"/>
                    </a:moveTo>
                    <a:cubicBezTo>
                      <a:pt x="2228014" y="4007277"/>
                      <a:pt x="2224068" y="4003086"/>
                      <a:pt x="2218891" y="4003086"/>
                    </a:cubicBezTo>
                    <a:cubicBezTo>
                      <a:pt x="2213960" y="4003086"/>
                      <a:pt x="2209768" y="4007031"/>
                      <a:pt x="2209768" y="4012209"/>
                    </a:cubicBezTo>
                    <a:cubicBezTo>
                      <a:pt x="2209768" y="4017389"/>
                      <a:pt x="2213713" y="4021580"/>
                      <a:pt x="2218891" y="4021580"/>
                    </a:cubicBezTo>
                    <a:cubicBezTo>
                      <a:pt x="2224068" y="4021580"/>
                      <a:pt x="2228262" y="4017635"/>
                      <a:pt x="2228014" y="4012209"/>
                    </a:cubicBezTo>
                    <a:close/>
                    <a:moveTo>
                      <a:pt x="2228506" y="1247063"/>
                    </a:moveTo>
                    <a:cubicBezTo>
                      <a:pt x="2228506" y="1237448"/>
                      <a:pt x="2220615" y="1229556"/>
                      <a:pt x="2211001" y="1229556"/>
                    </a:cubicBezTo>
                    <a:cubicBezTo>
                      <a:pt x="2201383" y="1229556"/>
                      <a:pt x="2193493" y="1237448"/>
                      <a:pt x="2193493" y="1247063"/>
                    </a:cubicBezTo>
                    <a:cubicBezTo>
                      <a:pt x="2193493" y="1256672"/>
                      <a:pt x="2201383" y="1264557"/>
                      <a:pt x="2211001" y="1264557"/>
                    </a:cubicBezTo>
                    <a:cubicBezTo>
                      <a:pt x="2220615" y="1264557"/>
                      <a:pt x="2228506" y="1256672"/>
                      <a:pt x="2228506" y="1247063"/>
                    </a:cubicBezTo>
                    <a:close/>
                    <a:moveTo>
                      <a:pt x="2228754" y="2997601"/>
                    </a:moveTo>
                    <a:cubicBezTo>
                      <a:pt x="2228754" y="2980093"/>
                      <a:pt x="2214699" y="2966039"/>
                      <a:pt x="2197193" y="2966039"/>
                    </a:cubicBezTo>
                    <a:cubicBezTo>
                      <a:pt x="2179686" y="2966039"/>
                      <a:pt x="2165631" y="2980093"/>
                      <a:pt x="2165631" y="2997601"/>
                    </a:cubicBezTo>
                    <a:cubicBezTo>
                      <a:pt x="2165631" y="3015109"/>
                      <a:pt x="2179686" y="3029163"/>
                      <a:pt x="2197193" y="3029163"/>
                    </a:cubicBezTo>
                    <a:cubicBezTo>
                      <a:pt x="2214699" y="3029163"/>
                      <a:pt x="2228754" y="3014861"/>
                      <a:pt x="2228754" y="2997601"/>
                    </a:cubicBezTo>
                    <a:close/>
                    <a:moveTo>
                      <a:pt x="2229989" y="2041407"/>
                    </a:moveTo>
                    <a:cubicBezTo>
                      <a:pt x="2229989" y="2033023"/>
                      <a:pt x="2223083" y="2026365"/>
                      <a:pt x="2214946" y="2026365"/>
                    </a:cubicBezTo>
                    <a:cubicBezTo>
                      <a:pt x="2206564" y="2026365"/>
                      <a:pt x="2199906" y="2033269"/>
                      <a:pt x="2199906" y="2041407"/>
                    </a:cubicBezTo>
                    <a:cubicBezTo>
                      <a:pt x="2199906" y="2049793"/>
                      <a:pt x="2206811" y="2056453"/>
                      <a:pt x="2214946" y="2056453"/>
                    </a:cubicBezTo>
                    <a:cubicBezTo>
                      <a:pt x="2223331" y="2056453"/>
                      <a:pt x="2229989" y="2049793"/>
                      <a:pt x="2229989" y="2041407"/>
                    </a:cubicBezTo>
                    <a:close/>
                    <a:moveTo>
                      <a:pt x="2231218" y="1370577"/>
                    </a:moveTo>
                    <a:cubicBezTo>
                      <a:pt x="2231218" y="1361704"/>
                      <a:pt x="2224068" y="1354302"/>
                      <a:pt x="2214946" y="1354302"/>
                    </a:cubicBezTo>
                    <a:cubicBezTo>
                      <a:pt x="2206070" y="1354302"/>
                      <a:pt x="2198671" y="1361704"/>
                      <a:pt x="2198671" y="1370577"/>
                    </a:cubicBezTo>
                    <a:cubicBezTo>
                      <a:pt x="2198671" y="1379453"/>
                      <a:pt x="2205821" y="1386852"/>
                      <a:pt x="2214946" y="1386852"/>
                    </a:cubicBezTo>
                    <a:cubicBezTo>
                      <a:pt x="2224068" y="1386852"/>
                      <a:pt x="2231218" y="1379453"/>
                      <a:pt x="2231218" y="1370577"/>
                    </a:cubicBezTo>
                    <a:close/>
                    <a:moveTo>
                      <a:pt x="2231220" y="3506976"/>
                    </a:moveTo>
                    <a:cubicBezTo>
                      <a:pt x="2231220" y="3500810"/>
                      <a:pt x="2226044" y="3495632"/>
                      <a:pt x="2219877" y="3495632"/>
                    </a:cubicBezTo>
                    <a:cubicBezTo>
                      <a:pt x="2213713" y="3495632"/>
                      <a:pt x="2208536" y="3500810"/>
                      <a:pt x="2208536" y="3506976"/>
                    </a:cubicBezTo>
                    <a:cubicBezTo>
                      <a:pt x="2208536" y="3513139"/>
                      <a:pt x="2213713" y="3518317"/>
                      <a:pt x="2219877" y="3518317"/>
                    </a:cubicBezTo>
                    <a:cubicBezTo>
                      <a:pt x="2226044" y="3518317"/>
                      <a:pt x="2230975" y="3513139"/>
                      <a:pt x="2231220" y="3506976"/>
                    </a:cubicBezTo>
                    <a:close/>
                    <a:moveTo>
                      <a:pt x="2231959" y="2550076"/>
                    </a:moveTo>
                    <a:cubicBezTo>
                      <a:pt x="2231959" y="2528133"/>
                      <a:pt x="2213961" y="2510132"/>
                      <a:pt x="2192015" y="2510132"/>
                    </a:cubicBezTo>
                    <a:cubicBezTo>
                      <a:pt x="2170068" y="2510132"/>
                      <a:pt x="2152069" y="2527885"/>
                      <a:pt x="2152069" y="2550076"/>
                    </a:cubicBezTo>
                    <a:cubicBezTo>
                      <a:pt x="2152069" y="2572023"/>
                      <a:pt x="2170068" y="2590023"/>
                      <a:pt x="2192015" y="2590023"/>
                    </a:cubicBezTo>
                    <a:cubicBezTo>
                      <a:pt x="2213961" y="2590023"/>
                      <a:pt x="2231959" y="2572023"/>
                      <a:pt x="2231959" y="2550076"/>
                    </a:cubicBezTo>
                    <a:close/>
                    <a:moveTo>
                      <a:pt x="2233932" y="7369584"/>
                    </a:moveTo>
                    <a:cubicBezTo>
                      <a:pt x="2233932" y="7368352"/>
                      <a:pt x="2232946" y="7367611"/>
                      <a:pt x="2231959" y="7367611"/>
                    </a:cubicBezTo>
                    <a:cubicBezTo>
                      <a:pt x="2230973" y="7367611"/>
                      <a:pt x="2229987" y="7368598"/>
                      <a:pt x="2229987" y="7369584"/>
                    </a:cubicBezTo>
                    <a:cubicBezTo>
                      <a:pt x="2229987" y="7370817"/>
                      <a:pt x="2230973" y="7371557"/>
                      <a:pt x="2231959" y="7371557"/>
                    </a:cubicBezTo>
                    <a:cubicBezTo>
                      <a:pt x="2233192" y="7371557"/>
                      <a:pt x="2233932" y="7370817"/>
                      <a:pt x="2233932" y="7369584"/>
                    </a:cubicBezTo>
                    <a:close/>
                    <a:moveTo>
                      <a:pt x="2234427" y="7255665"/>
                    </a:moveTo>
                    <a:cubicBezTo>
                      <a:pt x="2234427" y="7254678"/>
                      <a:pt x="2233440" y="7253692"/>
                      <a:pt x="2232454" y="7253692"/>
                    </a:cubicBezTo>
                    <a:cubicBezTo>
                      <a:pt x="2231468" y="7253692"/>
                      <a:pt x="2230481" y="7254678"/>
                      <a:pt x="2230481" y="7255665"/>
                    </a:cubicBezTo>
                    <a:cubicBezTo>
                      <a:pt x="2230481" y="7256897"/>
                      <a:pt x="2231468" y="7257637"/>
                      <a:pt x="2232454" y="7257637"/>
                    </a:cubicBezTo>
                    <a:cubicBezTo>
                      <a:pt x="2233440" y="7257637"/>
                      <a:pt x="2234427" y="7256651"/>
                      <a:pt x="2234427" y="7255665"/>
                    </a:cubicBezTo>
                    <a:close/>
                    <a:moveTo>
                      <a:pt x="2234669" y="1908304"/>
                    </a:moveTo>
                    <a:cubicBezTo>
                      <a:pt x="2234669" y="1891545"/>
                      <a:pt x="2221109" y="1877988"/>
                      <a:pt x="2204343" y="1877988"/>
                    </a:cubicBezTo>
                    <a:cubicBezTo>
                      <a:pt x="2187575" y="1877988"/>
                      <a:pt x="2174013" y="1891545"/>
                      <a:pt x="2174013" y="1908304"/>
                    </a:cubicBezTo>
                    <a:cubicBezTo>
                      <a:pt x="2174013" y="1925065"/>
                      <a:pt x="2187575" y="1938619"/>
                      <a:pt x="2204343" y="1938619"/>
                    </a:cubicBezTo>
                    <a:cubicBezTo>
                      <a:pt x="2221109" y="1938619"/>
                      <a:pt x="2234669" y="1925065"/>
                      <a:pt x="2234669" y="1908304"/>
                    </a:cubicBezTo>
                    <a:close/>
                    <a:moveTo>
                      <a:pt x="2234673" y="3391381"/>
                    </a:moveTo>
                    <a:cubicBezTo>
                      <a:pt x="2234673" y="3384718"/>
                      <a:pt x="2229246" y="3379047"/>
                      <a:pt x="2222345" y="3379047"/>
                    </a:cubicBezTo>
                    <a:cubicBezTo>
                      <a:pt x="2215687" y="3379047"/>
                      <a:pt x="2210015" y="3384471"/>
                      <a:pt x="2210015" y="3391381"/>
                    </a:cubicBezTo>
                    <a:cubicBezTo>
                      <a:pt x="2210015" y="3398033"/>
                      <a:pt x="2215440" y="3403707"/>
                      <a:pt x="2222345" y="3403707"/>
                    </a:cubicBezTo>
                    <a:cubicBezTo>
                      <a:pt x="2229246" y="3403707"/>
                      <a:pt x="2234673" y="3398280"/>
                      <a:pt x="2234673" y="3391381"/>
                    </a:cubicBezTo>
                    <a:close/>
                    <a:moveTo>
                      <a:pt x="2235164" y="7141256"/>
                    </a:moveTo>
                    <a:cubicBezTo>
                      <a:pt x="2235164" y="7139775"/>
                      <a:pt x="2233932" y="7138789"/>
                      <a:pt x="2232699" y="7138789"/>
                    </a:cubicBezTo>
                    <a:cubicBezTo>
                      <a:pt x="2231218" y="7138789"/>
                      <a:pt x="2230233" y="7140021"/>
                      <a:pt x="2230233" y="7141256"/>
                    </a:cubicBezTo>
                    <a:cubicBezTo>
                      <a:pt x="2230233" y="7142734"/>
                      <a:pt x="2231465" y="7143720"/>
                      <a:pt x="2232699" y="7143720"/>
                    </a:cubicBezTo>
                    <a:cubicBezTo>
                      <a:pt x="2234177" y="7143720"/>
                      <a:pt x="2235164" y="7142488"/>
                      <a:pt x="2235164" y="7141256"/>
                    </a:cubicBezTo>
                    <a:close/>
                    <a:moveTo>
                      <a:pt x="2236152" y="1495333"/>
                    </a:moveTo>
                    <a:cubicBezTo>
                      <a:pt x="2236152" y="1486454"/>
                      <a:pt x="2228754" y="1479052"/>
                      <a:pt x="2219877" y="1479052"/>
                    </a:cubicBezTo>
                    <a:cubicBezTo>
                      <a:pt x="2211001" y="1479052"/>
                      <a:pt x="2203605" y="1486454"/>
                      <a:pt x="2203605" y="1495333"/>
                    </a:cubicBezTo>
                    <a:cubicBezTo>
                      <a:pt x="2203605" y="1504207"/>
                      <a:pt x="2211001" y="1511603"/>
                      <a:pt x="2219877" y="1511603"/>
                    </a:cubicBezTo>
                    <a:cubicBezTo>
                      <a:pt x="2228754" y="1511603"/>
                      <a:pt x="2236152" y="1504207"/>
                      <a:pt x="2236152" y="1495333"/>
                    </a:cubicBezTo>
                    <a:close/>
                    <a:moveTo>
                      <a:pt x="2237136" y="4406481"/>
                    </a:moveTo>
                    <a:cubicBezTo>
                      <a:pt x="2237136" y="4381824"/>
                      <a:pt x="2217164" y="4361852"/>
                      <a:pt x="2192753" y="4361852"/>
                    </a:cubicBezTo>
                    <a:cubicBezTo>
                      <a:pt x="2168096" y="4361852"/>
                      <a:pt x="2148124" y="4381824"/>
                      <a:pt x="2148124" y="4406481"/>
                    </a:cubicBezTo>
                    <a:cubicBezTo>
                      <a:pt x="2148124" y="4430893"/>
                      <a:pt x="2168096" y="4450865"/>
                      <a:pt x="2192753" y="4450865"/>
                    </a:cubicBezTo>
                    <a:cubicBezTo>
                      <a:pt x="2217411" y="4450865"/>
                      <a:pt x="2237382" y="4430893"/>
                      <a:pt x="2237136" y="4406481"/>
                    </a:cubicBezTo>
                    <a:close/>
                    <a:moveTo>
                      <a:pt x="2237139" y="5048565"/>
                    </a:moveTo>
                    <a:cubicBezTo>
                      <a:pt x="2237139" y="5031552"/>
                      <a:pt x="2223331" y="5017743"/>
                      <a:pt x="2206315" y="5017743"/>
                    </a:cubicBezTo>
                    <a:cubicBezTo>
                      <a:pt x="2189302" y="5017743"/>
                      <a:pt x="2175494" y="5031552"/>
                      <a:pt x="2175494" y="5048565"/>
                    </a:cubicBezTo>
                    <a:cubicBezTo>
                      <a:pt x="2175494" y="5065580"/>
                      <a:pt x="2189302" y="5079389"/>
                      <a:pt x="2206315" y="5079389"/>
                    </a:cubicBezTo>
                    <a:cubicBezTo>
                      <a:pt x="2223083" y="5079389"/>
                      <a:pt x="2236890" y="5065580"/>
                      <a:pt x="2237139" y="5048565"/>
                    </a:cubicBezTo>
                    <a:close/>
                    <a:moveTo>
                      <a:pt x="2239604" y="3622620"/>
                    </a:moveTo>
                    <a:cubicBezTo>
                      <a:pt x="2239604" y="3615961"/>
                      <a:pt x="2234178" y="3610783"/>
                      <a:pt x="2227768" y="3610783"/>
                    </a:cubicBezTo>
                    <a:cubicBezTo>
                      <a:pt x="2221109" y="3610783"/>
                      <a:pt x="2215933" y="3616210"/>
                      <a:pt x="2215933" y="3622620"/>
                    </a:cubicBezTo>
                    <a:cubicBezTo>
                      <a:pt x="2215933" y="3629032"/>
                      <a:pt x="2221356" y="3634210"/>
                      <a:pt x="2227768" y="3634210"/>
                    </a:cubicBezTo>
                    <a:cubicBezTo>
                      <a:pt x="2234178" y="3634210"/>
                      <a:pt x="2239604" y="3629278"/>
                      <a:pt x="2239604" y="3622620"/>
                    </a:cubicBezTo>
                    <a:close/>
                    <a:moveTo>
                      <a:pt x="2240344" y="1621806"/>
                    </a:moveTo>
                    <a:cubicBezTo>
                      <a:pt x="2240344" y="1613426"/>
                      <a:pt x="2233439" y="1606521"/>
                      <a:pt x="2225055" y="1606521"/>
                    </a:cubicBezTo>
                    <a:cubicBezTo>
                      <a:pt x="2216673" y="1606521"/>
                      <a:pt x="2209768" y="1613426"/>
                      <a:pt x="2209768" y="1621806"/>
                    </a:cubicBezTo>
                    <a:cubicBezTo>
                      <a:pt x="2209768" y="1630193"/>
                      <a:pt x="2216673" y="1637099"/>
                      <a:pt x="2225055" y="1637099"/>
                    </a:cubicBezTo>
                    <a:cubicBezTo>
                      <a:pt x="2233686" y="1637099"/>
                      <a:pt x="2240344" y="1630193"/>
                      <a:pt x="2240344" y="1621806"/>
                    </a:cubicBezTo>
                    <a:close/>
                    <a:moveTo>
                      <a:pt x="2240837" y="7028818"/>
                    </a:moveTo>
                    <a:cubicBezTo>
                      <a:pt x="2240837" y="7027831"/>
                      <a:pt x="2240099" y="7027090"/>
                      <a:pt x="2239112" y="7027090"/>
                    </a:cubicBezTo>
                    <a:cubicBezTo>
                      <a:pt x="2238126" y="7027090"/>
                      <a:pt x="2237386" y="7027831"/>
                      <a:pt x="2237386" y="7028818"/>
                    </a:cubicBezTo>
                    <a:cubicBezTo>
                      <a:pt x="2237386" y="7029803"/>
                      <a:pt x="2238126" y="7030544"/>
                      <a:pt x="2239112" y="7030544"/>
                    </a:cubicBezTo>
                    <a:cubicBezTo>
                      <a:pt x="2240099" y="7030544"/>
                      <a:pt x="2241085" y="7029803"/>
                      <a:pt x="2240837" y="7028818"/>
                    </a:cubicBezTo>
                    <a:close/>
                    <a:moveTo>
                      <a:pt x="2242811" y="2177032"/>
                    </a:moveTo>
                    <a:cubicBezTo>
                      <a:pt x="2242811" y="2169138"/>
                      <a:pt x="2236398" y="2162478"/>
                      <a:pt x="2228263" y="2162478"/>
                    </a:cubicBezTo>
                    <a:cubicBezTo>
                      <a:pt x="2220372" y="2162478"/>
                      <a:pt x="2213714" y="2168893"/>
                      <a:pt x="2213714" y="2177032"/>
                    </a:cubicBezTo>
                    <a:cubicBezTo>
                      <a:pt x="2213714" y="2184920"/>
                      <a:pt x="2220126" y="2191579"/>
                      <a:pt x="2228263" y="2191579"/>
                    </a:cubicBezTo>
                    <a:cubicBezTo>
                      <a:pt x="2236398" y="2191579"/>
                      <a:pt x="2243057" y="2184920"/>
                      <a:pt x="2242811" y="2177032"/>
                    </a:cubicBezTo>
                    <a:close/>
                    <a:moveTo>
                      <a:pt x="2242811" y="6798514"/>
                    </a:moveTo>
                    <a:cubicBezTo>
                      <a:pt x="2242811" y="6797282"/>
                      <a:pt x="2241822" y="6796296"/>
                      <a:pt x="2240590" y="6796296"/>
                    </a:cubicBezTo>
                    <a:cubicBezTo>
                      <a:pt x="2239357" y="6796296"/>
                      <a:pt x="2238371" y="6797282"/>
                      <a:pt x="2238371" y="6798514"/>
                    </a:cubicBezTo>
                    <a:cubicBezTo>
                      <a:pt x="2238371" y="6799747"/>
                      <a:pt x="2239357" y="6800732"/>
                      <a:pt x="2240590" y="6800732"/>
                    </a:cubicBezTo>
                    <a:cubicBezTo>
                      <a:pt x="2241822" y="6800732"/>
                      <a:pt x="2243057" y="6799500"/>
                      <a:pt x="2242811" y="6798514"/>
                    </a:cubicBezTo>
                    <a:close/>
                    <a:moveTo>
                      <a:pt x="2243057" y="6913664"/>
                    </a:moveTo>
                    <a:cubicBezTo>
                      <a:pt x="2243057" y="6911937"/>
                      <a:pt x="2241576" y="6910459"/>
                      <a:pt x="2239849" y="6910459"/>
                    </a:cubicBezTo>
                    <a:cubicBezTo>
                      <a:pt x="2238123" y="6910459"/>
                      <a:pt x="2236645" y="6911937"/>
                      <a:pt x="2236645" y="6913664"/>
                    </a:cubicBezTo>
                    <a:cubicBezTo>
                      <a:pt x="2236645" y="6915391"/>
                      <a:pt x="2238123" y="6916872"/>
                      <a:pt x="2239849" y="6916872"/>
                    </a:cubicBezTo>
                    <a:cubicBezTo>
                      <a:pt x="2241576" y="6916872"/>
                      <a:pt x="2243057" y="6915391"/>
                      <a:pt x="2243057" y="6913664"/>
                    </a:cubicBezTo>
                    <a:close/>
                    <a:moveTo>
                      <a:pt x="2244040" y="2701223"/>
                    </a:moveTo>
                    <a:cubicBezTo>
                      <a:pt x="2244040" y="2688893"/>
                      <a:pt x="2233932" y="2678783"/>
                      <a:pt x="2221604" y="2678783"/>
                    </a:cubicBezTo>
                    <a:cubicBezTo>
                      <a:pt x="2209274" y="2678783"/>
                      <a:pt x="2199165" y="2688893"/>
                      <a:pt x="2199165" y="2701223"/>
                    </a:cubicBezTo>
                    <a:cubicBezTo>
                      <a:pt x="2199165" y="2713551"/>
                      <a:pt x="2209274" y="2723663"/>
                      <a:pt x="2221604" y="2723663"/>
                    </a:cubicBezTo>
                    <a:cubicBezTo>
                      <a:pt x="2233932" y="2723663"/>
                      <a:pt x="2244040" y="2713551"/>
                      <a:pt x="2244040" y="2701223"/>
                    </a:cubicBezTo>
                    <a:close/>
                    <a:moveTo>
                      <a:pt x="2246507" y="4255085"/>
                    </a:moveTo>
                    <a:cubicBezTo>
                      <a:pt x="2246507" y="4241772"/>
                      <a:pt x="2235658" y="4230922"/>
                      <a:pt x="2222342" y="4230922"/>
                    </a:cubicBezTo>
                    <a:cubicBezTo>
                      <a:pt x="2209027" y="4230922"/>
                      <a:pt x="2198179" y="4241772"/>
                      <a:pt x="2198179" y="4255085"/>
                    </a:cubicBezTo>
                    <a:cubicBezTo>
                      <a:pt x="2198179" y="4268402"/>
                      <a:pt x="2209027" y="4279252"/>
                      <a:pt x="2222342" y="4279252"/>
                    </a:cubicBezTo>
                    <a:cubicBezTo>
                      <a:pt x="2235658" y="4279252"/>
                      <a:pt x="2246507" y="4268402"/>
                      <a:pt x="2246507" y="4255085"/>
                    </a:cubicBezTo>
                    <a:close/>
                    <a:moveTo>
                      <a:pt x="2246754" y="4915414"/>
                    </a:moveTo>
                    <a:cubicBezTo>
                      <a:pt x="2246754" y="4898895"/>
                      <a:pt x="2233439" y="4885579"/>
                      <a:pt x="2217164" y="4885579"/>
                    </a:cubicBezTo>
                    <a:cubicBezTo>
                      <a:pt x="2200892" y="4885579"/>
                      <a:pt x="2187575" y="4899142"/>
                      <a:pt x="2187575" y="4915414"/>
                    </a:cubicBezTo>
                    <a:cubicBezTo>
                      <a:pt x="2187575" y="4931936"/>
                      <a:pt x="2200892" y="4945253"/>
                      <a:pt x="2217164" y="4945253"/>
                    </a:cubicBezTo>
                    <a:cubicBezTo>
                      <a:pt x="2233439" y="4945253"/>
                      <a:pt x="2246754" y="4931936"/>
                      <a:pt x="2246754" y="4915414"/>
                    </a:cubicBezTo>
                    <a:close/>
                    <a:moveTo>
                      <a:pt x="2248480" y="6331991"/>
                    </a:moveTo>
                    <a:cubicBezTo>
                      <a:pt x="2248480" y="6330018"/>
                      <a:pt x="2246999" y="6328540"/>
                      <a:pt x="2245273" y="6328540"/>
                    </a:cubicBezTo>
                    <a:cubicBezTo>
                      <a:pt x="2243300" y="6328540"/>
                      <a:pt x="2241822" y="6330266"/>
                      <a:pt x="2241822" y="6331991"/>
                    </a:cubicBezTo>
                    <a:cubicBezTo>
                      <a:pt x="2241822" y="6333966"/>
                      <a:pt x="2243300" y="6335444"/>
                      <a:pt x="2245273" y="6335444"/>
                    </a:cubicBezTo>
                    <a:cubicBezTo>
                      <a:pt x="2246999" y="6335444"/>
                      <a:pt x="2248480" y="6333966"/>
                      <a:pt x="2248480" y="6331991"/>
                    </a:cubicBezTo>
                    <a:close/>
                    <a:moveTo>
                      <a:pt x="2250208" y="3276474"/>
                    </a:moveTo>
                    <a:cubicBezTo>
                      <a:pt x="2250208" y="3268337"/>
                      <a:pt x="2243549" y="3261680"/>
                      <a:pt x="2235412" y="3261680"/>
                    </a:cubicBezTo>
                    <a:cubicBezTo>
                      <a:pt x="2227276" y="3261680"/>
                      <a:pt x="2220618" y="3268337"/>
                      <a:pt x="2220618" y="3276474"/>
                    </a:cubicBezTo>
                    <a:cubicBezTo>
                      <a:pt x="2220618" y="3284607"/>
                      <a:pt x="2227276" y="3291268"/>
                      <a:pt x="2235412" y="3291268"/>
                    </a:cubicBezTo>
                    <a:cubicBezTo>
                      <a:pt x="2243549" y="3291268"/>
                      <a:pt x="2250208" y="3284607"/>
                      <a:pt x="2250208" y="3276474"/>
                    </a:cubicBezTo>
                    <a:close/>
                    <a:moveTo>
                      <a:pt x="2250453" y="4779554"/>
                    </a:moveTo>
                    <a:cubicBezTo>
                      <a:pt x="2250453" y="4768210"/>
                      <a:pt x="2241330" y="4759086"/>
                      <a:pt x="2229989" y="4759086"/>
                    </a:cubicBezTo>
                    <a:cubicBezTo>
                      <a:pt x="2218645" y="4759086"/>
                      <a:pt x="2209523" y="4768210"/>
                      <a:pt x="2209523" y="4779554"/>
                    </a:cubicBezTo>
                    <a:cubicBezTo>
                      <a:pt x="2209523" y="4790895"/>
                      <a:pt x="2218645" y="4800017"/>
                      <a:pt x="2229989" y="4800017"/>
                    </a:cubicBezTo>
                    <a:cubicBezTo>
                      <a:pt x="2241085" y="4800017"/>
                      <a:pt x="2250453" y="4790895"/>
                      <a:pt x="2250453" y="4779554"/>
                    </a:cubicBezTo>
                    <a:close/>
                    <a:moveTo>
                      <a:pt x="2253412" y="6566239"/>
                    </a:moveTo>
                    <a:cubicBezTo>
                      <a:pt x="2253412" y="6560321"/>
                      <a:pt x="2248481" y="6555388"/>
                      <a:pt x="2242563" y="6555388"/>
                    </a:cubicBezTo>
                    <a:cubicBezTo>
                      <a:pt x="2236645" y="6555388"/>
                      <a:pt x="2231714" y="6560321"/>
                      <a:pt x="2231714" y="6566239"/>
                    </a:cubicBezTo>
                    <a:cubicBezTo>
                      <a:pt x="2231714" y="6572156"/>
                      <a:pt x="2236645" y="6577088"/>
                      <a:pt x="2242563" y="6577088"/>
                    </a:cubicBezTo>
                    <a:cubicBezTo>
                      <a:pt x="2248481" y="6577088"/>
                      <a:pt x="2253412" y="6572156"/>
                      <a:pt x="2253412" y="6566239"/>
                    </a:cubicBezTo>
                    <a:close/>
                    <a:moveTo>
                      <a:pt x="2255138" y="6449360"/>
                    </a:moveTo>
                    <a:cubicBezTo>
                      <a:pt x="2255138" y="6443197"/>
                      <a:pt x="2249958" y="6438265"/>
                      <a:pt x="2243795" y="6438265"/>
                    </a:cubicBezTo>
                    <a:cubicBezTo>
                      <a:pt x="2237630" y="6438265"/>
                      <a:pt x="2232699" y="6443197"/>
                      <a:pt x="2232699" y="6449360"/>
                    </a:cubicBezTo>
                    <a:cubicBezTo>
                      <a:pt x="2232699" y="6455773"/>
                      <a:pt x="2237630" y="6460705"/>
                      <a:pt x="2243795" y="6460705"/>
                    </a:cubicBezTo>
                    <a:cubicBezTo>
                      <a:pt x="2249958" y="6460705"/>
                      <a:pt x="2255138" y="6455527"/>
                      <a:pt x="2255138" y="6449360"/>
                    </a:cubicBezTo>
                    <a:close/>
                    <a:moveTo>
                      <a:pt x="2255878" y="6682376"/>
                    </a:moveTo>
                    <a:cubicBezTo>
                      <a:pt x="2255878" y="6674489"/>
                      <a:pt x="2249466" y="6668076"/>
                      <a:pt x="2241576" y="6668076"/>
                    </a:cubicBezTo>
                    <a:cubicBezTo>
                      <a:pt x="2233685" y="6668076"/>
                      <a:pt x="2227276" y="6674489"/>
                      <a:pt x="2227276" y="6682376"/>
                    </a:cubicBezTo>
                    <a:cubicBezTo>
                      <a:pt x="2227276" y="6690267"/>
                      <a:pt x="2233685" y="6696679"/>
                      <a:pt x="2241576" y="6696679"/>
                    </a:cubicBezTo>
                    <a:cubicBezTo>
                      <a:pt x="2249466" y="6696679"/>
                      <a:pt x="2255878" y="6690267"/>
                      <a:pt x="2255878" y="6682376"/>
                    </a:cubicBezTo>
                    <a:close/>
                    <a:moveTo>
                      <a:pt x="2258096" y="42964"/>
                    </a:moveTo>
                    <a:cubicBezTo>
                      <a:pt x="2258096" y="31129"/>
                      <a:pt x="2248727" y="21512"/>
                      <a:pt x="2236891" y="21512"/>
                    </a:cubicBezTo>
                    <a:cubicBezTo>
                      <a:pt x="2225055" y="21512"/>
                      <a:pt x="2215438" y="31129"/>
                      <a:pt x="2215438" y="42964"/>
                    </a:cubicBezTo>
                    <a:cubicBezTo>
                      <a:pt x="2215438" y="54550"/>
                      <a:pt x="2225055" y="64167"/>
                      <a:pt x="2236891" y="64167"/>
                    </a:cubicBezTo>
                    <a:cubicBezTo>
                      <a:pt x="2248727" y="64167"/>
                      <a:pt x="2258341" y="54550"/>
                      <a:pt x="2258096" y="42964"/>
                    </a:cubicBezTo>
                    <a:close/>
                    <a:moveTo>
                      <a:pt x="2258343" y="3736535"/>
                    </a:moveTo>
                    <a:cubicBezTo>
                      <a:pt x="2258343" y="3729881"/>
                      <a:pt x="2252671" y="3724455"/>
                      <a:pt x="2246016" y="3724455"/>
                    </a:cubicBezTo>
                    <a:cubicBezTo>
                      <a:pt x="2239111" y="3724455"/>
                      <a:pt x="2233686" y="3729881"/>
                      <a:pt x="2233686" y="3736535"/>
                    </a:cubicBezTo>
                    <a:cubicBezTo>
                      <a:pt x="2233686" y="3743440"/>
                      <a:pt x="2239358" y="3748866"/>
                      <a:pt x="2246016" y="3748866"/>
                    </a:cubicBezTo>
                    <a:cubicBezTo>
                      <a:pt x="2252671" y="3748866"/>
                      <a:pt x="2258097" y="3743194"/>
                      <a:pt x="2258343" y="3736535"/>
                    </a:cubicBezTo>
                    <a:close/>
                    <a:moveTo>
                      <a:pt x="2258837" y="158084"/>
                    </a:moveTo>
                    <a:cubicBezTo>
                      <a:pt x="2258837" y="146498"/>
                      <a:pt x="2249466" y="137127"/>
                      <a:pt x="2237876" y="137127"/>
                    </a:cubicBezTo>
                    <a:cubicBezTo>
                      <a:pt x="2226289" y="137127"/>
                      <a:pt x="2216918" y="146498"/>
                      <a:pt x="2216918" y="158084"/>
                    </a:cubicBezTo>
                    <a:cubicBezTo>
                      <a:pt x="2216918" y="169673"/>
                      <a:pt x="2226289" y="179041"/>
                      <a:pt x="2237876" y="179041"/>
                    </a:cubicBezTo>
                    <a:cubicBezTo>
                      <a:pt x="2249466" y="179041"/>
                      <a:pt x="2259082" y="169673"/>
                      <a:pt x="2258837" y="158084"/>
                    </a:cubicBezTo>
                    <a:close/>
                    <a:moveTo>
                      <a:pt x="2259823" y="273704"/>
                    </a:moveTo>
                    <a:cubicBezTo>
                      <a:pt x="2259823" y="262117"/>
                      <a:pt x="2250452" y="252746"/>
                      <a:pt x="2238863" y="252746"/>
                    </a:cubicBezTo>
                    <a:cubicBezTo>
                      <a:pt x="2227276" y="252746"/>
                      <a:pt x="2217905" y="262117"/>
                      <a:pt x="2217905" y="273704"/>
                    </a:cubicBezTo>
                    <a:cubicBezTo>
                      <a:pt x="2217905" y="285293"/>
                      <a:pt x="2227276" y="294663"/>
                      <a:pt x="2238863" y="294663"/>
                    </a:cubicBezTo>
                    <a:cubicBezTo>
                      <a:pt x="2250452" y="294663"/>
                      <a:pt x="2259823" y="285293"/>
                      <a:pt x="2259823" y="273704"/>
                    </a:cubicBezTo>
                    <a:close/>
                    <a:moveTo>
                      <a:pt x="2261056" y="389817"/>
                    </a:moveTo>
                    <a:cubicBezTo>
                      <a:pt x="2261056" y="378474"/>
                      <a:pt x="2251933" y="369105"/>
                      <a:pt x="2240344" y="369105"/>
                    </a:cubicBezTo>
                    <a:cubicBezTo>
                      <a:pt x="2229002" y="369105"/>
                      <a:pt x="2219632" y="378227"/>
                      <a:pt x="2219632" y="389817"/>
                    </a:cubicBezTo>
                    <a:cubicBezTo>
                      <a:pt x="2219632" y="401405"/>
                      <a:pt x="2229002" y="410774"/>
                      <a:pt x="2240344" y="410774"/>
                    </a:cubicBezTo>
                    <a:cubicBezTo>
                      <a:pt x="2251933" y="410774"/>
                      <a:pt x="2261301" y="401652"/>
                      <a:pt x="2261056" y="389817"/>
                    </a:cubicBezTo>
                    <a:close/>
                    <a:moveTo>
                      <a:pt x="2261056" y="5979389"/>
                    </a:moveTo>
                    <a:cubicBezTo>
                      <a:pt x="2261056" y="5977908"/>
                      <a:pt x="2259821" y="5976676"/>
                      <a:pt x="2258343" y="5976676"/>
                    </a:cubicBezTo>
                    <a:cubicBezTo>
                      <a:pt x="2256862" y="5976676"/>
                      <a:pt x="2255630" y="5977908"/>
                      <a:pt x="2255630" y="5979389"/>
                    </a:cubicBezTo>
                    <a:cubicBezTo>
                      <a:pt x="2255630" y="5980867"/>
                      <a:pt x="2256862" y="5982102"/>
                      <a:pt x="2258343" y="5982102"/>
                    </a:cubicBezTo>
                    <a:cubicBezTo>
                      <a:pt x="2259821" y="5982102"/>
                      <a:pt x="2260807" y="5980867"/>
                      <a:pt x="2261056" y="5979389"/>
                    </a:cubicBezTo>
                    <a:close/>
                    <a:moveTo>
                      <a:pt x="2261302" y="506914"/>
                    </a:moveTo>
                    <a:cubicBezTo>
                      <a:pt x="2261302" y="495820"/>
                      <a:pt x="2252426" y="486943"/>
                      <a:pt x="2241328" y="486943"/>
                    </a:cubicBezTo>
                    <a:cubicBezTo>
                      <a:pt x="2230233" y="486943"/>
                      <a:pt x="2221356" y="495820"/>
                      <a:pt x="2221356" y="506914"/>
                    </a:cubicBezTo>
                    <a:cubicBezTo>
                      <a:pt x="2221356" y="518009"/>
                      <a:pt x="2230233" y="526885"/>
                      <a:pt x="2241328" y="526885"/>
                    </a:cubicBezTo>
                    <a:cubicBezTo>
                      <a:pt x="2252426" y="526885"/>
                      <a:pt x="2261302" y="518009"/>
                      <a:pt x="2261302" y="506914"/>
                    </a:cubicBezTo>
                    <a:close/>
                    <a:moveTo>
                      <a:pt x="2262288" y="624510"/>
                    </a:moveTo>
                    <a:cubicBezTo>
                      <a:pt x="2262288" y="613661"/>
                      <a:pt x="2253657" y="605030"/>
                      <a:pt x="2242808" y="605030"/>
                    </a:cubicBezTo>
                    <a:cubicBezTo>
                      <a:pt x="2231959" y="605030"/>
                      <a:pt x="2223328" y="613661"/>
                      <a:pt x="2223328" y="624510"/>
                    </a:cubicBezTo>
                    <a:cubicBezTo>
                      <a:pt x="2223328" y="635359"/>
                      <a:pt x="2231959" y="644024"/>
                      <a:pt x="2242808" y="644024"/>
                    </a:cubicBezTo>
                    <a:cubicBezTo>
                      <a:pt x="2253411" y="644024"/>
                      <a:pt x="2262288" y="635110"/>
                      <a:pt x="2262288" y="624510"/>
                    </a:cubicBezTo>
                    <a:close/>
                    <a:moveTo>
                      <a:pt x="2262534" y="5859060"/>
                    </a:moveTo>
                    <a:cubicBezTo>
                      <a:pt x="2262534" y="5857828"/>
                      <a:pt x="2261548" y="5857087"/>
                      <a:pt x="2260561" y="5857087"/>
                    </a:cubicBezTo>
                    <a:cubicBezTo>
                      <a:pt x="2259576" y="5857087"/>
                      <a:pt x="2258589" y="5858074"/>
                      <a:pt x="2258589" y="5859060"/>
                    </a:cubicBezTo>
                    <a:cubicBezTo>
                      <a:pt x="2258589" y="5860046"/>
                      <a:pt x="2259576" y="5861033"/>
                      <a:pt x="2260561" y="5861033"/>
                    </a:cubicBezTo>
                    <a:cubicBezTo>
                      <a:pt x="2261793" y="5861033"/>
                      <a:pt x="2262534" y="5860046"/>
                      <a:pt x="2262534" y="5859060"/>
                    </a:cubicBezTo>
                    <a:close/>
                    <a:moveTo>
                      <a:pt x="2265742" y="5737994"/>
                    </a:moveTo>
                    <a:cubicBezTo>
                      <a:pt x="2265742" y="5737007"/>
                      <a:pt x="2265002" y="5736266"/>
                      <a:pt x="2264015" y="5736266"/>
                    </a:cubicBezTo>
                    <a:cubicBezTo>
                      <a:pt x="2262783" y="5736266"/>
                      <a:pt x="2262043" y="5737007"/>
                      <a:pt x="2262043" y="5737994"/>
                    </a:cubicBezTo>
                    <a:cubicBezTo>
                      <a:pt x="2262043" y="5738980"/>
                      <a:pt x="2263029" y="5739721"/>
                      <a:pt x="2264015" y="5739721"/>
                    </a:cubicBezTo>
                    <a:cubicBezTo>
                      <a:pt x="2265002" y="5739721"/>
                      <a:pt x="2265742" y="5738980"/>
                      <a:pt x="2265742" y="5737994"/>
                    </a:cubicBezTo>
                    <a:close/>
                    <a:moveTo>
                      <a:pt x="2269191" y="5615692"/>
                    </a:moveTo>
                    <a:cubicBezTo>
                      <a:pt x="2269191" y="5614706"/>
                      <a:pt x="2268453" y="5613965"/>
                      <a:pt x="2267467" y="5613965"/>
                    </a:cubicBezTo>
                    <a:cubicBezTo>
                      <a:pt x="2266480" y="5613965"/>
                      <a:pt x="2265740" y="5614706"/>
                      <a:pt x="2265740" y="5615692"/>
                    </a:cubicBezTo>
                    <a:cubicBezTo>
                      <a:pt x="2265740" y="5616678"/>
                      <a:pt x="2266480" y="5617416"/>
                      <a:pt x="2267467" y="5617416"/>
                    </a:cubicBezTo>
                    <a:cubicBezTo>
                      <a:pt x="2268453" y="5617416"/>
                      <a:pt x="2269191" y="5616678"/>
                      <a:pt x="2269191" y="5615692"/>
                    </a:cubicBezTo>
                    <a:close/>
                    <a:moveTo>
                      <a:pt x="2270179" y="6217091"/>
                    </a:moveTo>
                    <a:cubicBezTo>
                      <a:pt x="2270179" y="6207966"/>
                      <a:pt x="2262780" y="6200569"/>
                      <a:pt x="2253658" y="6200569"/>
                    </a:cubicBezTo>
                    <a:cubicBezTo>
                      <a:pt x="2244536" y="6200569"/>
                      <a:pt x="2237137" y="6207966"/>
                      <a:pt x="2237137" y="6217091"/>
                    </a:cubicBezTo>
                    <a:cubicBezTo>
                      <a:pt x="2237137" y="6226213"/>
                      <a:pt x="2244536" y="6233609"/>
                      <a:pt x="2253658" y="6233609"/>
                    </a:cubicBezTo>
                    <a:cubicBezTo>
                      <a:pt x="2262780" y="6233609"/>
                      <a:pt x="2270179" y="6226213"/>
                      <a:pt x="2270179" y="6217091"/>
                    </a:cubicBezTo>
                    <a:close/>
                    <a:moveTo>
                      <a:pt x="2274370" y="4116757"/>
                    </a:moveTo>
                    <a:cubicBezTo>
                      <a:pt x="2274370" y="4113307"/>
                      <a:pt x="2271657" y="4110594"/>
                      <a:pt x="2268207" y="4110594"/>
                    </a:cubicBezTo>
                    <a:cubicBezTo>
                      <a:pt x="2265001" y="4110594"/>
                      <a:pt x="2262289" y="4113307"/>
                      <a:pt x="2262289" y="4116757"/>
                    </a:cubicBezTo>
                    <a:cubicBezTo>
                      <a:pt x="2262289" y="4119965"/>
                      <a:pt x="2265001" y="4122675"/>
                      <a:pt x="2268207" y="4122675"/>
                    </a:cubicBezTo>
                    <a:cubicBezTo>
                      <a:pt x="2271657" y="4122675"/>
                      <a:pt x="2274370" y="4120210"/>
                      <a:pt x="2274370" y="4116757"/>
                    </a:cubicBezTo>
                    <a:close/>
                    <a:moveTo>
                      <a:pt x="2275851" y="2891079"/>
                    </a:moveTo>
                    <a:cubicBezTo>
                      <a:pt x="2275851" y="2872585"/>
                      <a:pt x="2260808" y="2857299"/>
                      <a:pt x="2242068" y="2857299"/>
                    </a:cubicBezTo>
                    <a:cubicBezTo>
                      <a:pt x="2223577" y="2857299"/>
                      <a:pt x="2208288" y="2872339"/>
                      <a:pt x="2208288" y="2891079"/>
                    </a:cubicBezTo>
                    <a:cubicBezTo>
                      <a:pt x="2208288" y="2909574"/>
                      <a:pt x="2223328" y="2924863"/>
                      <a:pt x="2242068" y="2924863"/>
                    </a:cubicBezTo>
                    <a:cubicBezTo>
                      <a:pt x="2260562" y="2924863"/>
                      <a:pt x="2275851" y="2909819"/>
                      <a:pt x="2275851" y="2891079"/>
                    </a:cubicBezTo>
                    <a:close/>
                    <a:moveTo>
                      <a:pt x="2275851" y="6098485"/>
                    </a:moveTo>
                    <a:cubicBezTo>
                      <a:pt x="2275851" y="6087390"/>
                      <a:pt x="2266974" y="6078513"/>
                      <a:pt x="2255877" y="6078513"/>
                    </a:cubicBezTo>
                    <a:cubicBezTo>
                      <a:pt x="2244781" y="6078513"/>
                      <a:pt x="2235905" y="6087390"/>
                      <a:pt x="2235905" y="6098485"/>
                    </a:cubicBezTo>
                    <a:cubicBezTo>
                      <a:pt x="2235905" y="6109584"/>
                      <a:pt x="2244781" y="6118457"/>
                      <a:pt x="2255877" y="6118457"/>
                    </a:cubicBezTo>
                    <a:cubicBezTo>
                      <a:pt x="2266974" y="6118457"/>
                      <a:pt x="2275851" y="6109584"/>
                      <a:pt x="2275851" y="6098485"/>
                    </a:cubicBezTo>
                    <a:close/>
                    <a:moveTo>
                      <a:pt x="2277575" y="3163293"/>
                    </a:moveTo>
                    <a:cubicBezTo>
                      <a:pt x="2277575" y="3152939"/>
                      <a:pt x="2269193" y="3144554"/>
                      <a:pt x="2258836" y="3144554"/>
                    </a:cubicBezTo>
                    <a:cubicBezTo>
                      <a:pt x="2248480" y="3144554"/>
                      <a:pt x="2240096" y="3152939"/>
                      <a:pt x="2240096" y="3163293"/>
                    </a:cubicBezTo>
                    <a:cubicBezTo>
                      <a:pt x="2240096" y="3173651"/>
                      <a:pt x="2248480" y="3182034"/>
                      <a:pt x="2258836" y="3182034"/>
                    </a:cubicBezTo>
                    <a:cubicBezTo>
                      <a:pt x="2269193" y="3182034"/>
                      <a:pt x="2277575" y="3173403"/>
                      <a:pt x="2277575" y="3163293"/>
                    </a:cubicBezTo>
                    <a:close/>
                    <a:moveTo>
                      <a:pt x="2277577" y="2315841"/>
                    </a:moveTo>
                    <a:cubicBezTo>
                      <a:pt x="2277577" y="2297349"/>
                      <a:pt x="2262538" y="2282307"/>
                      <a:pt x="2244043" y="2282307"/>
                    </a:cubicBezTo>
                    <a:cubicBezTo>
                      <a:pt x="2225549" y="2282307"/>
                      <a:pt x="2210509" y="2297349"/>
                      <a:pt x="2210509" y="2315841"/>
                    </a:cubicBezTo>
                    <a:cubicBezTo>
                      <a:pt x="2210509" y="2334335"/>
                      <a:pt x="2225549" y="2349385"/>
                      <a:pt x="2244043" y="2349385"/>
                    </a:cubicBezTo>
                    <a:cubicBezTo>
                      <a:pt x="2262783" y="2349385"/>
                      <a:pt x="2277823" y="2334087"/>
                      <a:pt x="2277577" y="2315841"/>
                    </a:cubicBezTo>
                    <a:close/>
                    <a:moveTo>
                      <a:pt x="2278810" y="5367389"/>
                    </a:moveTo>
                    <a:cubicBezTo>
                      <a:pt x="2278810" y="5365908"/>
                      <a:pt x="2277824" y="5364922"/>
                      <a:pt x="2276343" y="5364922"/>
                    </a:cubicBezTo>
                    <a:cubicBezTo>
                      <a:pt x="2275111" y="5364922"/>
                      <a:pt x="2273879" y="5365908"/>
                      <a:pt x="2273879" y="5367389"/>
                    </a:cubicBezTo>
                    <a:cubicBezTo>
                      <a:pt x="2273879" y="5368621"/>
                      <a:pt x="2275111" y="5369854"/>
                      <a:pt x="2276343" y="5369854"/>
                    </a:cubicBezTo>
                    <a:cubicBezTo>
                      <a:pt x="2277824" y="5369854"/>
                      <a:pt x="2278810" y="5368867"/>
                      <a:pt x="2278810" y="5367389"/>
                    </a:cubicBezTo>
                    <a:close/>
                    <a:moveTo>
                      <a:pt x="2279055" y="5492158"/>
                    </a:moveTo>
                    <a:cubicBezTo>
                      <a:pt x="2279055" y="5487964"/>
                      <a:pt x="2275602" y="5484513"/>
                      <a:pt x="2271411" y="5484513"/>
                    </a:cubicBezTo>
                    <a:cubicBezTo>
                      <a:pt x="2267217" y="5484513"/>
                      <a:pt x="2263767" y="5487964"/>
                      <a:pt x="2263767" y="5492158"/>
                    </a:cubicBezTo>
                    <a:cubicBezTo>
                      <a:pt x="2263767" y="5496350"/>
                      <a:pt x="2267217" y="5499800"/>
                      <a:pt x="2271411" y="5499800"/>
                    </a:cubicBezTo>
                    <a:cubicBezTo>
                      <a:pt x="2275602" y="5499800"/>
                      <a:pt x="2279055" y="5496350"/>
                      <a:pt x="2279055" y="5492158"/>
                    </a:cubicBezTo>
                    <a:close/>
                    <a:moveTo>
                      <a:pt x="2287193" y="3848483"/>
                    </a:moveTo>
                    <a:cubicBezTo>
                      <a:pt x="2287193" y="3841579"/>
                      <a:pt x="2281521" y="3835907"/>
                      <a:pt x="2274617" y="3835907"/>
                    </a:cubicBezTo>
                    <a:cubicBezTo>
                      <a:pt x="2267467" y="3835907"/>
                      <a:pt x="2261795" y="3841579"/>
                      <a:pt x="2261795" y="3848483"/>
                    </a:cubicBezTo>
                    <a:cubicBezTo>
                      <a:pt x="2261795" y="3855633"/>
                      <a:pt x="2267712" y="3861305"/>
                      <a:pt x="2274617" y="3861305"/>
                    </a:cubicBezTo>
                    <a:cubicBezTo>
                      <a:pt x="2281767" y="3861305"/>
                      <a:pt x="2287439" y="3855633"/>
                      <a:pt x="2287193" y="3848483"/>
                    </a:cubicBezTo>
                    <a:close/>
                    <a:moveTo>
                      <a:pt x="2293110" y="4640730"/>
                    </a:moveTo>
                    <a:cubicBezTo>
                      <a:pt x="2293110" y="4614346"/>
                      <a:pt x="2271657" y="4592893"/>
                      <a:pt x="2245273" y="4592893"/>
                    </a:cubicBezTo>
                    <a:cubicBezTo>
                      <a:pt x="2218892" y="4592893"/>
                      <a:pt x="2197439" y="4614346"/>
                      <a:pt x="2197439" y="4640730"/>
                    </a:cubicBezTo>
                    <a:cubicBezTo>
                      <a:pt x="2197439" y="4667112"/>
                      <a:pt x="2218892" y="4688564"/>
                      <a:pt x="2245273" y="4688564"/>
                    </a:cubicBezTo>
                    <a:cubicBezTo>
                      <a:pt x="2271657" y="4688564"/>
                      <a:pt x="2293110" y="4667112"/>
                      <a:pt x="2293110" y="4640730"/>
                    </a:cubicBezTo>
                    <a:close/>
                    <a:moveTo>
                      <a:pt x="2301246" y="5247305"/>
                    </a:moveTo>
                    <a:cubicBezTo>
                      <a:pt x="2301246" y="5241882"/>
                      <a:pt x="2296808" y="5237197"/>
                      <a:pt x="2291137" y="5237197"/>
                    </a:cubicBezTo>
                    <a:cubicBezTo>
                      <a:pt x="2285714" y="5237197"/>
                      <a:pt x="2281029" y="5241882"/>
                      <a:pt x="2281029" y="5247305"/>
                    </a:cubicBezTo>
                    <a:cubicBezTo>
                      <a:pt x="2281029" y="5252731"/>
                      <a:pt x="2285468" y="5257414"/>
                      <a:pt x="2291137" y="5257414"/>
                    </a:cubicBezTo>
                    <a:cubicBezTo>
                      <a:pt x="2296563" y="5257414"/>
                      <a:pt x="2301246" y="5252731"/>
                      <a:pt x="2301246" y="5247305"/>
                    </a:cubicBezTo>
                    <a:close/>
                    <a:moveTo>
                      <a:pt x="2303218" y="2457857"/>
                    </a:moveTo>
                    <a:cubicBezTo>
                      <a:pt x="2303218" y="2435914"/>
                      <a:pt x="2285220" y="2417912"/>
                      <a:pt x="2263274" y="2417912"/>
                    </a:cubicBezTo>
                    <a:cubicBezTo>
                      <a:pt x="2241327" y="2417912"/>
                      <a:pt x="2223328" y="2435914"/>
                      <a:pt x="2223328" y="2457857"/>
                    </a:cubicBezTo>
                    <a:cubicBezTo>
                      <a:pt x="2223328" y="2479803"/>
                      <a:pt x="2241327" y="2497803"/>
                      <a:pt x="2263274" y="2497803"/>
                    </a:cubicBezTo>
                    <a:cubicBezTo>
                      <a:pt x="2285220" y="2497803"/>
                      <a:pt x="2303218" y="2479803"/>
                      <a:pt x="2303218" y="2457857"/>
                    </a:cubicBezTo>
                    <a:close/>
                    <a:moveTo>
                      <a:pt x="2303713" y="1709797"/>
                    </a:moveTo>
                    <a:cubicBezTo>
                      <a:pt x="2303713" y="1701440"/>
                      <a:pt x="2297055" y="1694535"/>
                      <a:pt x="2288670" y="1694535"/>
                    </a:cubicBezTo>
                    <a:cubicBezTo>
                      <a:pt x="2280534" y="1694535"/>
                      <a:pt x="2273630" y="1701440"/>
                      <a:pt x="2273630" y="1709797"/>
                    </a:cubicBezTo>
                    <a:cubicBezTo>
                      <a:pt x="2273630" y="1717943"/>
                      <a:pt x="2280288" y="1724852"/>
                      <a:pt x="2288670" y="1724852"/>
                    </a:cubicBezTo>
                    <a:cubicBezTo>
                      <a:pt x="2297055" y="1724852"/>
                      <a:pt x="2303713" y="1718188"/>
                      <a:pt x="2303713" y="1709797"/>
                    </a:cubicBezTo>
                    <a:close/>
                    <a:moveTo>
                      <a:pt x="2310125" y="1837068"/>
                    </a:moveTo>
                    <a:cubicBezTo>
                      <a:pt x="2310125" y="1829423"/>
                      <a:pt x="2303713" y="1823019"/>
                      <a:pt x="2295823" y="1823019"/>
                    </a:cubicBezTo>
                    <a:cubicBezTo>
                      <a:pt x="2288181" y="1823019"/>
                      <a:pt x="2281769" y="1829179"/>
                      <a:pt x="2281769" y="1837068"/>
                    </a:cubicBezTo>
                    <a:cubicBezTo>
                      <a:pt x="2281769" y="1844955"/>
                      <a:pt x="2287932" y="1851366"/>
                      <a:pt x="2295823" y="1851366"/>
                    </a:cubicBezTo>
                    <a:cubicBezTo>
                      <a:pt x="2303713" y="1851366"/>
                      <a:pt x="2310125" y="1845203"/>
                      <a:pt x="2310125" y="1837068"/>
                    </a:cubicBezTo>
                    <a:close/>
                    <a:moveTo>
                      <a:pt x="2311852" y="2604319"/>
                    </a:moveTo>
                    <a:cubicBezTo>
                      <a:pt x="2311852" y="2590260"/>
                      <a:pt x="2300508" y="2578920"/>
                      <a:pt x="2286454" y="2578920"/>
                    </a:cubicBezTo>
                    <a:cubicBezTo>
                      <a:pt x="2272398" y="2578920"/>
                      <a:pt x="2261057" y="2590260"/>
                      <a:pt x="2261057" y="2604319"/>
                    </a:cubicBezTo>
                    <a:cubicBezTo>
                      <a:pt x="2261057" y="2618372"/>
                      <a:pt x="2272398" y="2629713"/>
                      <a:pt x="2286454" y="2629713"/>
                    </a:cubicBezTo>
                    <a:cubicBezTo>
                      <a:pt x="2300508" y="2629713"/>
                      <a:pt x="2312099" y="2618372"/>
                      <a:pt x="2311852" y="2604319"/>
                    </a:cubicBezTo>
                    <a:close/>
                    <a:moveTo>
                      <a:pt x="2312838" y="4498453"/>
                    </a:moveTo>
                    <a:cubicBezTo>
                      <a:pt x="2312838" y="4471577"/>
                      <a:pt x="2291137" y="4449878"/>
                      <a:pt x="2264261" y="4449878"/>
                    </a:cubicBezTo>
                    <a:cubicBezTo>
                      <a:pt x="2237385" y="4449878"/>
                      <a:pt x="2215686" y="4471577"/>
                      <a:pt x="2215686" y="4498453"/>
                    </a:cubicBezTo>
                    <a:cubicBezTo>
                      <a:pt x="2215686" y="4525330"/>
                      <a:pt x="2237385" y="4547031"/>
                      <a:pt x="2264261" y="4547031"/>
                    </a:cubicBezTo>
                    <a:cubicBezTo>
                      <a:pt x="2290891" y="4547031"/>
                      <a:pt x="2312838" y="4525330"/>
                      <a:pt x="2312838" y="4498453"/>
                    </a:cubicBezTo>
                    <a:close/>
                    <a:moveTo>
                      <a:pt x="2315795" y="3052581"/>
                    </a:moveTo>
                    <a:cubicBezTo>
                      <a:pt x="2315795" y="3039757"/>
                      <a:pt x="2305437" y="3029402"/>
                      <a:pt x="2292615" y="3029402"/>
                    </a:cubicBezTo>
                    <a:cubicBezTo>
                      <a:pt x="2279793" y="3029402"/>
                      <a:pt x="2269439" y="3039757"/>
                      <a:pt x="2269439" y="3052581"/>
                    </a:cubicBezTo>
                    <a:cubicBezTo>
                      <a:pt x="2269439" y="3065403"/>
                      <a:pt x="2279793" y="3075758"/>
                      <a:pt x="2292615" y="3075758"/>
                    </a:cubicBezTo>
                    <a:cubicBezTo>
                      <a:pt x="2305437" y="3075758"/>
                      <a:pt x="2315795" y="3065155"/>
                      <a:pt x="2315795" y="3052581"/>
                    </a:cubicBezTo>
                    <a:close/>
                    <a:moveTo>
                      <a:pt x="2324426" y="4351992"/>
                    </a:moveTo>
                    <a:cubicBezTo>
                      <a:pt x="2324426" y="4331525"/>
                      <a:pt x="2307904" y="4315003"/>
                      <a:pt x="2287441" y="4315003"/>
                    </a:cubicBezTo>
                    <a:cubicBezTo>
                      <a:pt x="2266974" y="4315003"/>
                      <a:pt x="2250453" y="4331525"/>
                      <a:pt x="2250453" y="4351992"/>
                    </a:cubicBezTo>
                    <a:cubicBezTo>
                      <a:pt x="2250453" y="4372455"/>
                      <a:pt x="2266974" y="4388976"/>
                      <a:pt x="2287441" y="4388976"/>
                    </a:cubicBezTo>
                    <a:cubicBezTo>
                      <a:pt x="2307658" y="4388976"/>
                      <a:pt x="2324179" y="4372209"/>
                      <a:pt x="2324426" y="4351992"/>
                    </a:cubicBezTo>
                    <a:close/>
                    <a:moveTo>
                      <a:pt x="2326152" y="715519"/>
                    </a:moveTo>
                    <a:cubicBezTo>
                      <a:pt x="2326152" y="703683"/>
                      <a:pt x="2316536" y="694316"/>
                      <a:pt x="2304946" y="694316"/>
                    </a:cubicBezTo>
                    <a:cubicBezTo>
                      <a:pt x="2293111" y="694316"/>
                      <a:pt x="2283742" y="703928"/>
                      <a:pt x="2283742" y="715519"/>
                    </a:cubicBezTo>
                    <a:cubicBezTo>
                      <a:pt x="2283742" y="727346"/>
                      <a:pt x="2293358" y="736719"/>
                      <a:pt x="2304946" y="736719"/>
                    </a:cubicBezTo>
                    <a:cubicBezTo>
                      <a:pt x="2316536" y="736719"/>
                      <a:pt x="2326152" y="727346"/>
                      <a:pt x="2326152" y="715519"/>
                    </a:cubicBezTo>
                    <a:close/>
                    <a:moveTo>
                      <a:pt x="2327385" y="833119"/>
                    </a:moveTo>
                    <a:cubicBezTo>
                      <a:pt x="2327385" y="821775"/>
                      <a:pt x="2318261" y="812405"/>
                      <a:pt x="2306672" y="812405"/>
                    </a:cubicBezTo>
                    <a:cubicBezTo>
                      <a:pt x="2295085" y="812405"/>
                      <a:pt x="2285714" y="821527"/>
                      <a:pt x="2285714" y="833119"/>
                    </a:cubicBezTo>
                    <a:cubicBezTo>
                      <a:pt x="2285714" y="844708"/>
                      <a:pt x="2295085" y="854069"/>
                      <a:pt x="2306672" y="854069"/>
                    </a:cubicBezTo>
                    <a:cubicBezTo>
                      <a:pt x="2318016" y="854069"/>
                      <a:pt x="2327385" y="844953"/>
                      <a:pt x="2327385" y="833119"/>
                    </a:cubicBezTo>
                    <a:close/>
                    <a:moveTo>
                      <a:pt x="2327630" y="5119333"/>
                    </a:moveTo>
                    <a:cubicBezTo>
                      <a:pt x="2327630" y="5103059"/>
                      <a:pt x="2314070" y="5089743"/>
                      <a:pt x="2297795" y="5089743"/>
                    </a:cubicBezTo>
                    <a:cubicBezTo>
                      <a:pt x="2281523" y="5089743"/>
                      <a:pt x="2268207" y="5103059"/>
                      <a:pt x="2268207" y="5119333"/>
                    </a:cubicBezTo>
                    <a:cubicBezTo>
                      <a:pt x="2268207" y="5135854"/>
                      <a:pt x="2281523" y="5149167"/>
                      <a:pt x="2297795" y="5149167"/>
                    </a:cubicBezTo>
                    <a:cubicBezTo>
                      <a:pt x="2314316" y="5149167"/>
                      <a:pt x="2327630" y="5135607"/>
                      <a:pt x="2327630" y="5119333"/>
                    </a:cubicBezTo>
                    <a:close/>
                    <a:moveTo>
                      <a:pt x="2327878" y="3957470"/>
                    </a:moveTo>
                    <a:cubicBezTo>
                      <a:pt x="2327878" y="3949580"/>
                      <a:pt x="2321469" y="3943167"/>
                      <a:pt x="2313578" y="3943167"/>
                    </a:cubicBezTo>
                    <a:cubicBezTo>
                      <a:pt x="2305688" y="3943167"/>
                      <a:pt x="2299276" y="3949580"/>
                      <a:pt x="2299276" y="3957470"/>
                    </a:cubicBezTo>
                    <a:cubicBezTo>
                      <a:pt x="2299276" y="3965361"/>
                      <a:pt x="2305688" y="3971770"/>
                      <a:pt x="2313578" y="3971770"/>
                    </a:cubicBezTo>
                    <a:cubicBezTo>
                      <a:pt x="2321469" y="3971770"/>
                      <a:pt x="2327878" y="3965361"/>
                      <a:pt x="2327878" y="3957470"/>
                    </a:cubicBezTo>
                    <a:close/>
                    <a:moveTo>
                      <a:pt x="2329358" y="951698"/>
                    </a:moveTo>
                    <a:cubicBezTo>
                      <a:pt x="2329358" y="940349"/>
                      <a:pt x="2319986" y="930982"/>
                      <a:pt x="2308645" y="930982"/>
                    </a:cubicBezTo>
                    <a:cubicBezTo>
                      <a:pt x="2297302" y="930982"/>
                      <a:pt x="2287933" y="940349"/>
                      <a:pt x="2287933" y="951698"/>
                    </a:cubicBezTo>
                    <a:cubicBezTo>
                      <a:pt x="2287933" y="963039"/>
                      <a:pt x="2297302" y="972410"/>
                      <a:pt x="2308645" y="972410"/>
                    </a:cubicBezTo>
                    <a:cubicBezTo>
                      <a:pt x="2319986" y="972410"/>
                      <a:pt x="2329358" y="963039"/>
                      <a:pt x="2329358" y="951698"/>
                    </a:cubicBezTo>
                    <a:close/>
                    <a:moveTo>
                      <a:pt x="2329603" y="4216620"/>
                    </a:moveTo>
                    <a:cubicBezTo>
                      <a:pt x="2329603" y="4214647"/>
                      <a:pt x="2328125" y="4213169"/>
                      <a:pt x="2326149" y="4213169"/>
                    </a:cubicBezTo>
                    <a:cubicBezTo>
                      <a:pt x="2324179" y="4213169"/>
                      <a:pt x="2322699" y="4214647"/>
                      <a:pt x="2322699" y="4216620"/>
                    </a:cubicBezTo>
                    <a:cubicBezTo>
                      <a:pt x="2322699" y="4218596"/>
                      <a:pt x="2324426" y="4220073"/>
                      <a:pt x="2326149" y="4220073"/>
                    </a:cubicBezTo>
                    <a:cubicBezTo>
                      <a:pt x="2328125" y="4220073"/>
                      <a:pt x="2329603" y="4218596"/>
                      <a:pt x="2329603" y="4216620"/>
                    </a:cubicBezTo>
                    <a:close/>
                    <a:moveTo>
                      <a:pt x="2329604" y="1071028"/>
                    </a:moveTo>
                    <a:cubicBezTo>
                      <a:pt x="2329604" y="1060668"/>
                      <a:pt x="2321221" y="1052282"/>
                      <a:pt x="2310864" y="1052282"/>
                    </a:cubicBezTo>
                    <a:cubicBezTo>
                      <a:pt x="2300508" y="1052282"/>
                      <a:pt x="2292124" y="1060668"/>
                      <a:pt x="2292124" y="1071028"/>
                    </a:cubicBezTo>
                    <a:cubicBezTo>
                      <a:pt x="2292124" y="1081382"/>
                      <a:pt x="2300508" y="1089767"/>
                      <a:pt x="2310864" y="1089767"/>
                    </a:cubicBezTo>
                    <a:cubicBezTo>
                      <a:pt x="2321467" y="1089767"/>
                      <a:pt x="2329849" y="1081135"/>
                      <a:pt x="2329604" y="1071028"/>
                    </a:cubicBezTo>
                    <a:close/>
                    <a:moveTo>
                      <a:pt x="2331575" y="2788750"/>
                    </a:moveTo>
                    <a:cubicBezTo>
                      <a:pt x="2331575" y="2768776"/>
                      <a:pt x="2315303" y="2752749"/>
                      <a:pt x="2295574" y="2752749"/>
                    </a:cubicBezTo>
                    <a:cubicBezTo>
                      <a:pt x="2275602" y="2752749"/>
                      <a:pt x="2259576" y="2769025"/>
                      <a:pt x="2259576" y="2788750"/>
                    </a:cubicBezTo>
                    <a:cubicBezTo>
                      <a:pt x="2259576" y="2808723"/>
                      <a:pt x="2275851" y="2824750"/>
                      <a:pt x="2295574" y="2824750"/>
                    </a:cubicBezTo>
                    <a:cubicBezTo>
                      <a:pt x="2315548" y="2824750"/>
                      <a:pt x="2331575" y="2808477"/>
                      <a:pt x="2331575" y="2788750"/>
                    </a:cubicBezTo>
                    <a:close/>
                    <a:moveTo>
                      <a:pt x="2331575" y="3449065"/>
                    </a:moveTo>
                    <a:cubicBezTo>
                      <a:pt x="2331575" y="3447091"/>
                      <a:pt x="2330097" y="3445612"/>
                      <a:pt x="2328122" y="3445612"/>
                    </a:cubicBezTo>
                    <a:cubicBezTo>
                      <a:pt x="2326149" y="3445612"/>
                      <a:pt x="2324671" y="3447091"/>
                      <a:pt x="2324671" y="3449065"/>
                    </a:cubicBezTo>
                    <a:cubicBezTo>
                      <a:pt x="2324671" y="3451038"/>
                      <a:pt x="2326149" y="3452517"/>
                      <a:pt x="2328122" y="3452517"/>
                    </a:cubicBezTo>
                    <a:cubicBezTo>
                      <a:pt x="2330097" y="3452517"/>
                      <a:pt x="2331575" y="3450791"/>
                      <a:pt x="2331575" y="3449065"/>
                    </a:cubicBezTo>
                    <a:close/>
                    <a:moveTo>
                      <a:pt x="2331576" y="1191089"/>
                    </a:moveTo>
                    <a:cubicBezTo>
                      <a:pt x="2331576" y="1180482"/>
                      <a:pt x="2323194" y="1172102"/>
                      <a:pt x="2312836" y="1172102"/>
                    </a:cubicBezTo>
                    <a:cubicBezTo>
                      <a:pt x="2302235" y="1172102"/>
                      <a:pt x="2293851" y="1180731"/>
                      <a:pt x="2293851" y="1191089"/>
                    </a:cubicBezTo>
                    <a:cubicBezTo>
                      <a:pt x="2293851" y="1201692"/>
                      <a:pt x="2302482" y="1210080"/>
                      <a:pt x="2312836" y="1210080"/>
                    </a:cubicBezTo>
                    <a:cubicBezTo>
                      <a:pt x="2323194" y="1210080"/>
                      <a:pt x="2331823" y="1201692"/>
                      <a:pt x="2331576" y="1191089"/>
                    </a:cubicBezTo>
                    <a:close/>
                    <a:moveTo>
                      <a:pt x="2331823" y="4857716"/>
                    </a:moveTo>
                    <a:cubicBezTo>
                      <a:pt x="2331823" y="4848840"/>
                      <a:pt x="2324671" y="4841690"/>
                      <a:pt x="2315795" y="4841690"/>
                    </a:cubicBezTo>
                    <a:cubicBezTo>
                      <a:pt x="2306918" y="4841690"/>
                      <a:pt x="2299768" y="4848840"/>
                      <a:pt x="2299768" y="4857716"/>
                    </a:cubicBezTo>
                    <a:cubicBezTo>
                      <a:pt x="2299768" y="4866593"/>
                      <a:pt x="2306918" y="4873746"/>
                      <a:pt x="2315795" y="4873746"/>
                    </a:cubicBezTo>
                    <a:cubicBezTo>
                      <a:pt x="2324671" y="4873746"/>
                      <a:pt x="2331823" y="4866593"/>
                      <a:pt x="2331823" y="4857716"/>
                    </a:cubicBezTo>
                    <a:close/>
                    <a:moveTo>
                      <a:pt x="2333057" y="3564920"/>
                    </a:moveTo>
                    <a:cubicBezTo>
                      <a:pt x="2333057" y="3563933"/>
                      <a:pt x="2332316" y="3562947"/>
                      <a:pt x="2331083" y="3562947"/>
                    </a:cubicBezTo>
                    <a:cubicBezTo>
                      <a:pt x="2330098" y="3562947"/>
                      <a:pt x="2329111" y="3563687"/>
                      <a:pt x="2329111" y="3564920"/>
                    </a:cubicBezTo>
                    <a:cubicBezTo>
                      <a:pt x="2329111" y="3565905"/>
                      <a:pt x="2330098" y="3566892"/>
                      <a:pt x="2331083" y="3566892"/>
                    </a:cubicBezTo>
                    <a:cubicBezTo>
                      <a:pt x="2332316" y="3566892"/>
                      <a:pt x="2333057" y="3565905"/>
                      <a:pt x="2333057" y="3564920"/>
                    </a:cubicBezTo>
                    <a:close/>
                    <a:moveTo>
                      <a:pt x="2333300" y="1312636"/>
                    </a:moveTo>
                    <a:cubicBezTo>
                      <a:pt x="2333300" y="1303015"/>
                      <a:pt x="2325409" y="1295121"/>
                      <a:pt x="2315795" y="1295121"/>
                    </a:cubicBezTo>
                    <a:cubicBezTo>
                      <a:pt x="2306177" y="1295121"/>
                      <a:pt x="2298287" y="1303015"/>
                      <a:pt x="2298287" y="1312636"/>
                    </a:cubicBezTo>
                    <a:cubicBezTo>
                      <a:pt x="2298287" y="1322247"/>
                      <a:pt x="2306177" y="1330137"/>
                      <a:pt x="2315795" y="1330137"/>
                    </a:cubicBezTo>
                    <a:cubicBezTo>
                      <a:pt x="2325409" y="1330137"/>
                      <a:pt x="2333300" y="1322247"/>
                      <a:pt x="2333300" y="1312636"/>
                    </a:cubicBezTo>
                    <a:close/>
                    <a:moveTo>
                      <a:pt x="2337248" y="1434916"/>
                    </a:moveTo>
                    <a:cubicBezTo>
                      <a:pt x="2337248" y="1425057"/>
                      <a:pt x="2329111" y="1416919"/>
                      <a:pt x="2319248" y="1416919"/>
                    </a:cubicBezTo>
                    <a:cubicBezTo>
                      <a:pt x="2309385" y="1416919"/>
                      <a:pt x="2301249" y="1425057"/>
                      <a:pt x="2301249" y="1434916"/>
                    </a:cubicBezTo>
                    <a:cubicBezTo>
                      <a:pt x="2301249" y="1444778"/>
                      <a:pt x="2309139" y="1452916"/>
                      <a:pt x="2319248" y="1452916"/>
                    </a:cubicBezTo>
                    <a:cubicBezTo>
                      <a:pt x="2329111" y="1452916"/>
                      <a:pt x="2337248" y="1444778"/>
                      <a:pt x="2337248" y="1434916"/>
                    </a:cubicBezTo>
                    <a:close/>
                    <a:moveTo>
                      <a:pt x="2338974" y="1966956"/>
                    </a:moveTo>
                    <a:cubicBezTo>
                      <a:pt x="2338974" y="1947485"/>
                      <a:pt x="2323194" y="1931955"/>
                      <a:pt x="2303962" y="1931955"/>
                    </a:cubicBezTo>
                    <a:cubicBezTo>
                      <a:pt x="2284482" y="1931955"/>
                      <a:pt x="2268947" y="1947730"/>
                      <a:pt x="2268947" y="1966956"/>
                    </a:cubicBezTo>
                    <a:cubicBezTo>
                      <a:pt x="2268947" y="1986429"/>
                      <a:pt x="2284727" y="2001958"/>
                      <a:pt x="2303962" y="2001958"/>
                    </a:cubicBezTo>
                    <a:cubicBezTo>
                      <a:pt x="2323194" y="2001958"/>
                      <a:pt x="2338974" y="1986429"/>
                      <a:pt x="2338974" y="1966956"/>
                    </a:cubicBezTo>
                    <a:close/>
                    <a:moveTo>
                      <a:pt x="2339714" y="4989635"/>
                    </a:moveTo>
                    <a:cubicBezTo>
                      <a:pt x="2339714" y="4971141"/>
                      <a:pt x="2324671" y="4956100"/>
                      <a:pt x="2306180" y="4956100"/>
                    </a:cubicBezTo>
                    <a:cubicBezTo>
                      <a:pt x="2287932" y="4956100"/>
                      <a:pt x="2272892" y="4971141"/>
                      <a:pt x="2272892" y="4989635"/>
                    </a:cubicBezTo>
                    <a:cubicBezTo>
                      <a:pt x="2272892" y="5008129"/>
                      <a:pt x="2287686" y="5023169"/>
                      <a:pt x="2306180" y="5023169"/>
                    </a:cubicBezTo>
                    <a:cubicBezTo>
                      <a:pt x="2324671" y="5023169"/>
                      <a:pt x="2339714" y="5008129"/>
                      <a:pt x="2339714" y="4989635"/>
                    </a:cubicBezTo>
                    <a:close/>
                    <a:moveTo>
                      <a:pt x="2340206" y="1558680"/>
                    </a:moveTo>
                    <a:cubicBezTo>
                      <a:pt x="2340206" y="1549064"/>
                      <a:pt x="2332561" y="1541425"/>
                      <a:pt x="2322945" y="1541425"/>
                    </a:cubicBezTo>
                    <a:cubicBezTo>
                      <a:pt x="2313330" y="1541425"/>
                      <a:pt x="2305686" y="1549064"/>
                      <a:pt x="2305686" y="1558680"/>
                    </a:cubicBezTo>
                    <a:cubicBezTo>
                      <a:pt x="2305686" y="1568300"/>
                      <a:pt x="2313330" y="1575941"/>
                      <a:pt x="2322945" y="1575941"/>
                    </a:cubicBezTo>
                    <a:cubicBezTo>
                      <a:pt x="2332561" y="1575941"/>
                      <a:pt x="2340206" y="1568052"/>
                      <a:pt x="2340206" y="1558680"/>
                    </a:cubicBezTo>
                    <a:close/>
                    <a:moveTo>
                      <a:pt x="2340947" y="2098860"/>
                    </a:moveTo>
                    <a:cubicBezTo>
                      <a:pt x="2340947" y="2084063"/>
                      <a:pt x="2328863" y="2071980"/>
                      <a:pt x="2314068" y="2071980"/>
                    </a:cubicBezTo>
                    <a:cubicBezTo>
                      <a:pt x="2299273" y="2071980"/>
                      <a:pt x="2287192" y="2084063"/>
                      <a:pt x="2287192" y="2098860"/>
                    </a:cubicBezTo>
                    <a:cubicBezTo>
                      <a:pt x="2287192" y="2113657"/>
                      <a:pt x="2299273" y="2125743"/>
                      <a:pt x="2314068" y="2125743"/>
                    </a:cubicBezTo>
                    <a:cubicBezTo>
                      <a:pt x="2328863" y="2125743"/>
                      <a:pt x="2340947" y="2113657"/>
                      <a:pt x="2340947" y="2098860"/>
                    </a:cubicBezTo>
                    <a:close/>
                    <a:moveTo>
                      <a:pt x="2345139" y="7404105"/>
                    </a:moveTo>
                    <a:cubicBezTo>
                      <a:pt x="2345139" y="7403118"/>
                      <a:pt x="2344398" y="7402132"/>
                      <a:pt x="2343166" y="7402132"/>
                    </a:cubicBezTo>
                    <a:cubicBezTo>
                      <a:pt x="2342180" y="7402132"/>
                      <a:pt x="2341193" y="7402873"/>
                      <a:pt x="2341193" y="7404105"/>
                    </a:cubicBezTo>
                    <a:cubicBezTo>
                      <a:pt x="2341193" y="7405091"/>
                      <a:pt x="2341933" y="7406077"/>
                      <a:pt x="2343166" y="7406077"/>
                    </a:cubicBezTo>
                    <a:cubicBezTo>
                      <a:pt x="2344152" y="7406077"/>
                      <a:pt x="2345139" y="7405091"/>
                      <a:pt x="2345139" y="7404105"/>
                    </a:cubicBezTo>
                    <a:close/>
                    <a:moveTo>
                      <a:pt x="2345384" y="7290926"/>
                    </a:moveTo>
                    <a:cubicBezTo>
                      <a:pt x="2345384" y="7289939"/>
                      <a:pt x="2344398" y="7288952"/>
                      <a:pt x="2343166" y="7288952"/>
                    </a:cubicBezTo>
                    <a:cubicBezTo>
                      <a:pt x="2342179" y="7288952"/>
                      <a:pt x="2341193" y="7289693"/>
                      <a:pt x="2341193" y="7290926"/>
                    </a:cubicBezTo>
                    <a:cubicBezTo>
                      <a:pt x="2341193" y="7291911"/>
                      <a:pt x="2341933" y="7292898"/>
                      <a:pt x="2343166" y="7292898"/>
                    </a:cubicBezTo>
                    <a:cubicBezTo>
                      <a:pt x="2344398" y="7292898"/>
                      <a:pt x="2345384" y="7292158"/>
                      <a:pt x="2345384" y="7290926"/>
                    </a:cubicBezTo>
                    <a:close/>
                    <a:moveTo>
                      <a:pt x="2345630" y="3333419"/>
                    </a:moveTo>
                    <a:cubicBezTo>
                      <a:pt x="2345630" y="3328488"/>
                      <a:pt x="2341685" y="3324544"/>
                      <a:pt x="2336754" y="3324544"/>
                    </a:cubicBezTo>
                    <a:cubicBezTo>
                      <a:pt x="2331821" y="3324544"/>
                      <a:pt x="2327877" y="3328488"/>
                      <a:pt x="2327877" y="3333419"/>
                    </a:cubicBezTo>
                    <a:cubicBezTo>
                      <a:pt x="2327877" y="3338353"/>
                      <a:pt x="2331821" y="3342297"/>
                      <a:pt x="2336754" y="3342297"/>
                    </a:cubicBezTo>
                    <a:cubicBezTo>
                      <a:pt x="2341685" y="3342297"/>
                      <a:pt x="2345630" y="3338353"/>
                      <a:pt x="2345630" y="3333419"/>
                    </a:cubicBezTo>
                    <a:close/>
                    <a:moveTo>
                      <a:pt x="2345878" y="7177504"/>
                    </a:moveTo>
                    <a:cubicBezTo>
                      <a:pt x="2345878" y="7176023"/>
                      <a:pt x="2344892" y="7175036"/>
                      <a:pt x="2343411" y="7175036"/>
                    </a:cubicBezTo>
                    <a:cubicBezTo>
                      <a:pt x="2342179" y="7175036"/>
                      <a:pt x="2340947" y="7176023"/>
                      <a:pt x="2340947" y="7177504"/>
                    </a:cubicBezTo>
                    <a:cubicBezTo>
                      <a:pt x="2340947" y="7178981"/>
                      <a:pt x="2341932" y="7179967"/>
                      <a:pt x="2343411" y="7179967"/>
                    </a:cubicBezTo>
                    <a:cubicBezTo>
                      <a:pt x="2344892" y="7179967"/>
                      <a:pt x="2345878" y="7178981"/>
                      <a:pt x="2345878" y="7177504"/>
                    </a:cubicBezTo>
                    <a:close/>
                    <a:moveTo>
                      <a:pt x="2345879" y="3679579"/>
                    </a:moveTo>
                    <a:cubicBezTo>
                      <a:pt x="2345879" y="3679329"/>
                      <a:pt x="2345632" y="3679084"/>
                      <a:pt x="2345386" y="3679084"/>
                    </a:cubicBezTo>
                    <a:cubicBezTo>
                      <a:pt x="2345138" y="3679084"/>
                      <a:pt x="2344892" y="3679329"/>
                      <a:pt x="2344892" y="3679579"/>
                    </a:cubicBezTo>
                    <a:cubicBezTo>
                      <a:pt x="2344892" y="3679824"/>
                      <a:pt x="2345138" y="3680071"/>
                      <a:pt x="2345386" y="3680071"/>
                    </a:cubicBezTo>
                    <a:cubicBezTo>
                      <a:pt x="2345632" y="3680071"/>
                      <a:pt x="2345879" y="3680071"/>
                      <a:pt x="2345879" y="3679579"/>
                    </a:cubicBezTo>
                    <a:close/>
                    <a:moveTo>
                      <a:pt x="2351056" y="7065557"/>
                    </a:moveTo>
                    <a:cubicBezTo>
                      <a:pt x="2351056" y="7064571"/>
                      <a:pt x="2350070" y="7063584"/>
                      <a:pt x="2349083" y="7063584"/>
                    </a:cubicBezTo>
                    <a:cubicBezTo>
                      <a:pt x="2347851" y="7063584"/>
                      <a:pt x="2347111" y="7064325"/>
                      <a:pt x="2347111" y="7065557"/>
                    </a:cubicBezTo>
                    <a:cubicBezTo>
                      <a:pt x="2347111" y="7066790"/>
                      <a:pt x="2348097" y="7067530"/>
                      <a:pt x="2349083" y="7067530"/>
                    </a:cubicBezTo>
                    <a:cubicBezTo>
                      <a:pt x="2350070" y="7067530"/>
                      <a:pt x="2351056" y="7066542"/>
                      <a:pt x="2351056" y="7065557"/>
                    </a:cubicBezTo>
                    <a:close/>
                    <a:moveTo>
                      <a:pt x="2352288" y="6837475"/>
                    </a:moveTo>
                    <a:cubicBezTo>
                      <a:pt x="2352288" y="6835994"/>
                      <a:pt x="2351056" y="6835007"/>
                      <a:pt x="2349823" y="6835007"/>
                    </a:cubicBezTo>
                    <a:cubicBezTo>
                      <a:pt x="2348342" y="6835007"/>
                      <a:pt x="2347357" y="6836240"/>
                      <a:pt x="2347357" y="6837475"/>
                    </a:cubicBezTo>
                    <a:cubicBezTo>
                      <a:pt x="2347357" y="6838953"/>
                      <a:pt x="2348589" y="6839938"/>
                      <a:pt x="2349823" y="6839938"/>
                    </a:cubicBezTo>
                    <a:cubicBezTo>
                      <a:pt x="2351301" y="6839938"/>
                      <a:pt x="2352288" y="6838953"/>
                      <a:pt x="2352288" y="6837475"/>
                    </a:cubicBezTo>
                    <a:close/>
                    <a:moveTo>
                      <a:pt x="2352782" y="6951638"/>
                    </a:moveTo>
                    <a:cubicBezTo>
                      <a:pt x="2352782" y="6949911"/>
                      <a:pt x="2351301" y="6948432"/>
                      <a:pt x="2349575" y="6948432"/>
                    </a:cubicBezTo>
                    <a:cubicBezTo>
                      <a:pt x="2347851" y="6948432"/>
                      <a:pt x="2346370" y="6949911"/>
                      <a:pt x="2346370" y="6951638"/>
                    </a:cubicBezTo>
                    <a:cubicBezTo>
                      <a:pt x="2346370" y="6953365"/>
                      <a:pt x="2347851" y="6954845"/>
                      <a:pt x="2349575" y="6954845"/>
                    </a:cubicBezTo>
                    <a:cubicBezTo>
                      <a:pt x="2351301" y="6954845"/>
                      <a:pt x="2352533" y="6953365"/>
                      <a:pt x="2352782" y="6951638"/>
                    </a:cubicBezTo>
                    <a:close/>
                    <a:moveTo>
                      <a:pt x="2355987" y="6376623"/>
                    </a:moveTo>
                    <a:cubicBezTo>
                      <a:pt x="2355987" y="6374897"/>
                      <a:pt x="2354754" y="6373418"/>
                      <a:pt x="2352779" y="6373418"/>
                    </a:cubicBezTo>
                    <a:cubicBezTo>
                      <a:pt x="2350807" y="6373418"/>
                      <a:pt x="2349329" y="6374897"/>
                      <a:pt x="2349329" y="6376623"/>
                    </a:cubicBezTo>
                    <a:cubicBezTo>
                      <a:pt x="2349329" y="6378596"/>
                      <a:pt x="2351056" y="6380077"/>
                      <a:pt x="2352779" y="6380077"/>
                    </a:cubicBezTo>
                    <a:cubicBezTo>
                      <a:pt x="2354506" y="6380077"/>
                      <a:pt x="2355987" y="6378596"/>
                      <a:pt x="2355987" y="6376623"/>
                    </a:cubicBezTo>
                    <a:close/>
                    <a:moveTo>
                      <a:pt x="2357714" y="2233236"/>
                    </a:moveTo>
                    <a:cubicBezTo>
                      <a:pt x="2357714" y="2215974"/>
                      <a:pt x="2343658" y="2201923"/>
                      <a:pt x="2326399" y="2201923"/>
                    </a:cubicBezTo>
                    <a:cubicBezTo>
                      <a:pt x="2309137" y="2201923"/>
                      <a:pt x="2295083" y="2215974"/>
                      <a:pt x="2295083" y="2233236"/>
                    </a:cubicBezTo>
                    <a:cubicBezTo>
                      <a:pt x="2295083" y="2250505"/>
                      <a:pt x="2309137" y="2264552"/>
                      <a:pt x="2326399" y="2264552"/>
                    </a:cubicBezTo>
                    <a:cubicBezTo>
                      <a:pt x="2343658" y="2264552"/>
                      <a:pt x="2357466" y="2250753"/>
                      <a:pt x="2357714" y="2233236"/>
                    </a:cubicBezTo>
                    <a:close/>
                    <a:moveTo>
                      <a:pt x="2361164" y="6608158"/>
                    </a:moveTo>
                    <a:cubicBezTo>
                      <a:pt x="2361164" y="6602487"/>
                      <a:pt x="2356727" y="6598049"/>
                      <a:pt x="2351056" y="6598049"/>
                    </a:cubicBezTo>
                    <a:cubicBezTo>
                      <a:pt x="2345386" y="6598049"/>
                      <a:pt x="2340947" y="6602487"/>
                      <a:pt x="2340947" y="6608158"/>
                    </a:cubicBezTo>
                    <a:cubicBezTo>
                      <a:pt x="2340947" y="6613830"/>
                      <a:pt x="2345386" y="6618270"/>
                      <a:pt x="2351056" y="6618270"/>
                    </a:cubicBezTo>
                    <a:cubicBezTo>
                      <a:pt x="2356727" y="6618270"/>
                      <a:pt x="2361164" y="6613585"/>
                      <a:pt x="2361164" y="6608158"/>
                    </a:cubicBezTo>
                    <a:close/>
                    <a:moveTo>
                      <a:pt x="2362400" y="6492515"/>
                    </a:moveTo>
                    <a:cubicBezTo>
                      <a:pt x="2362400" y="6486594"/>
                      <a:pt x="2357714" y="6481911"/>
                      <a:pt x="2351796" y="6481911"/>
                    </a:cubicBezTo>
                    <a:cubicBezTo>
                      <a:pt x="2345879" y="6481911"/>
                      <a:pt x="2341193" y="6486843"/>
                      <a:pt x="2341193" y="6492515"/>
                    </a:cubicBezTo>
                    <a:cubicBezTo>
                      <a:pt x="2341193" y="6498433"/>
                      <a:pt x="2346124" y="6503115"/>
                      <a:pt x="2351796" y="6503115"/>
                    </a:cubicBezTo>
                    <a:cubicBezTo>
                      <a:pt x="2357714" y="6503115"/>
                      <a:pt x="2362400" y="6498433"/>
                      <a:pt x="2362400" y="6492515"/>
                    </a:cubicBezTo>
                    <a:close/>
                    <a:moveTo>
                      <a:pt x="2363384" y="6722815"/>
                    </a:moveTo>
                    <a:cubicBezTo>
                      <a:pt x="2363384" y="6715665"/>
                      <a:pt x="2357467" y="6709993"/>
                      <a:pt x="2350562" y="6709993"/>
                    </a:cubicBezTo>
                    <a:cubicBezTo>
                      <a:pt x="2343412" y="6709993"/>
                      <a:pt x="2337740" y="6715665"/>
                      <a:pt x="2337740" y="6722815"/>
                    </a:cubicBezTo>
                    <a:cubicBezTo>
                      <a:pt x="2337740" y="6729965"/>
                      <a:pt x="2343658" y="6735637"/>
                      <a:pt x="2350562" y="6735637"/>
                    </a:cubicBezTo>
                    <a:cubicBezTo>
                      <a:pt x="2357467" y="6735637"/>
                      <a:pt x="2363138" y="6729965"/>
                      <a:pt x="2363384" y="6722815"/>
                    </a:cubicBezTo>
                    <a:close/>
                    <a:moveTo>
                      <a:pt x="2364619" y="2945567"/>
                    </a:moveTo>
                    <a:cubicBezTo>
                      <a:pt x="2364619" y="2930031"/>
                      <a:pt x="2352043" y="2917209"/>
                      <a:pt x="2336262" y="2917209"/>
                    </a:cubicBezTo>
                    <a:cubicBezTo>
                      <a:pt x="2320727" y="2917209"/>
                      <a:pt x="2307905" y="2929785"/>
                      <a:pt x="2307905" y="2945567"/>
                    </a:cubicBezTo>
                    <a:cubicBezTo>
                      <a:pt x="2307905" y="2961099"/>
                      <a:pt x="2320480" y="2973922"/>
                      <a:pt x="2336262" y="2973922"/>
                    </a:cubicBezTo>
                    <a:cubicBezTo>
                      <a:pt x="2352043" y="2973922"/>
                      <a:pt x="2364619" y="2961099"/>
                      <a:pt x="2364619" y="2945567"/>
                    </a:cubicBezTo>
                    <a:close/>
                    <a:moveTo>
                      <a:pt x="2366342" y="6028459"/>
                    </a:moveTo>
                    <a:cubicBezTo>
                      <a:pt x="2366342" y="6026732"/>
                      <a:pt x="2365110" y="6025499"/>
                      <a:pt x="2363383" y="6025499"/>
                    </a:cubicBezTo>
                    <a:cubicBezTo>
                      <a:pt x="2361657" y="6025499"/>
                      <a:pt x="2360424" y="6026732"/>
                      <a:pt x="2360424" y="6028459"/>
                    </a:cubicBezTo>
                    <a:cubicBezTo>
                      <a:pt x="2360424" y="6030186"/>
                      <a:pt x="2361657" y="6031418"/>
                      <a:pt x="2363383" y="6031418"/>
                    </a:cubicBezTo>
                    <a:cubicBezTo>
                      <a:pt x="2364864" y="6031418"/>
                      <a:pt x="2366342" y="6030186"/>
                      <a:pt x="2366342" y="6028459"/>
                    </a:cubicBezTo>
                    <a:close/>
                    <a:moveTo>
                      <a:pt x="2366836" y="5910102"/>
                    </a:moveTo>
                    <a:cubicBezTo>
                      <a:pt x="2366836" y="5909115"/>
                      <a:pt x="2365851" y="5908129"/>
                      <a:pt x="2364864" y="5908129"/>
                    </a:cubicBezTo>
                    <a:cubicBezTo>
                      <a:pt x="2363632" y="5908129"/>
                      <a:pt x="2362892" y="5909115"/>
                      <a:pt x="2362892" y="5910102"/>
                    </a:cubicBezTo>
                    <a:cubicBezTo>
                      <a:pt x="2362892" y="5911088"/>
                      <a:pt x="2363878" y="5912074"/>
                      <a:pt x="2364864" y="5912074"/>
                    </a:cubicBezTo>
                    <a:cubicBezTo>
                      <a:pt x="2365851" y="5912074"/>
                      <a:pt x="2366836" y="5911334"/>
                      <a:pt x="2366836" y="5910102"/>
                    </a:cubicBezTo>
                    <a:close/>
                    <a:moveTo>
                      <a:pt x="2368563" y="4746"/>
                    </a:moveTo>
                    <a:lnTo>
                      <a:pt x="2366609" y="0"/>
                    </a:lnTo>
                    <a:lnTo>
                      <a:pt x="2326135" y="0"/>
                    </a:lnTo>
                    <a:lnTo>
                      <a:pt x="2324180" y="4746"/>
                    </a:lnTo>
                    <a:cubicBezTo>
                      <a:pt x="2324180" y="17075"/>
                      <a:pt x="2334043" y="26938"/>
                      <a:pt x="2346370" y="26938"/>
                    </a:cubicBezTo>
                    <a:cubicBezTo>
                      <a:pt x="2358701" y="26938"/>
                      <a:pt x="2368563" y="16829"/>
                      <a:pt x="2368563" y="4746"/>
                    </a:cubicBezTo>
                    <a:close/>
                    <a:moveTo>
                      <a:pt x="2368563" y="5791251"/>
                    </a:moveTo>
                    <a:cubicBezTo>
                      <a:pt x="2368563" y="5790513"/>
                      <a:pt x="2367823" y="5789772"/>
                      <a:pt x="2367082" y="5789772"/>
                    </a:cubicBezTo>
                    <a:cubicBezTo>
                      <a:pt x="2366344" y="5789772"/>
                      <a:pt x="2365604" y="5790513"/>
                      <a:pt x="2365604" y="5791251"/>
                    </a:cubicBezTo>
                    <a:cubicBezTo>
                      <a:pt x="2365604" y="5791991"/>
                      <a:pt x="2366344" y="5792732"/>
                      <a:pt x="2367082" y="5792732"/>
                    </a:cubicBezTo>
                    <a:cubicBezTo>
                      <a:pt x="2368069" y="5792732"/>
                      <a:pt x="2368563" y="5791991"/>
                      <a:pt x="2368563" y="5791251"/>
                    </a:cubicBezTo>
                    <a:close/>
                    <a:moveTo>
                      <a:pt x="2369055" y="118637"/>
                    </a:moveTo>
                    <a:cubicBezTo>
                      <a:pt x="2369055" y="106556"/>
                      <a:pt x="2359192" y="96693"/>
                      <a:pt x="2347111" y="96693"/>
                    </a:cubicBezTo>
                    <a:cubicBezTo>
                      <a:pt x="2335276" y="96693"/>
                      <a:pt x="2325412" y="106556"/>
                      <a:pt x="2325412" y="118637"/>
                    </a:cubicBezTo>
                    <a:cubicBezTo>
                      <a:pt x="2325412" y="130718"/>
                      <a:pt x="2335029" y="140584"/>
                      <a:pt x="2347111" y="140584"/>
                    </a:cubicBezTo>
                    <a:cubicBezTo>
                      <a:pt x="2359192" y="140584"/>
                      <a:pt x="2369055" y="130966"/>
                      <a:pt x="2369055" y="118637"/>
                    </a:cubicBezTo>
                    <a:close/>
                    <a:moveTo>
                      <a:pt x="2369550" y="233513"/>
                    </a:moveTo>
                    <a:cubicBezTo>
                      <a:pt x="2369550" y="221678"/>
                      <a:pt x="2359932" y="211816"/>
                      <a:pt x="2347851" y="211816"/>
                    </a:cubicBezTo>
                    <a:cubicBezTo>
                      <a:pt x="2336016" y="211816"/>
                      <a:pt x="2326152" y="221432"/>
                      <a:pt x="2326152" y="233513"/>
                    </a:cubicBezTo>
                    <a:cubicBezTo>
                      <a:pt x="2326152" y="245349"/>
                      <a:pt x="2335769" y="255211"/>
                      <a:pt x="2347851" y="255211"/>
                    </a:cubicBezTo>
                    <a:cubicBezTo>
                      <a:pt x="2359686" y="255211"/>
                      <a:pt x="2369550" y="245349"/>
                      <a:pt x="2369550" y="233513"/>
                    </a:cubicBezTo>
                    <a:close/>
                    <a:moveTo>
                      <a:pt x="2370288" y="463765"/>
                    </a:moveTo>
                    <a:cubicBezTo>
                      <a:pt x="2370288" y="452178"/>
                      <a:pt x="2360919" y="442807"/>
                      <a:pt x="2349329" y="442807"/>
                    </a:cubicBezTo>
                    <a:cubicBezTo>
                      <a:pt x="2337985" y="442807"/>
                      <a:pt x="2328617" y="452178"/>
                      <a:pt x="2328617" y="463765"/>
                    </a:cubicBezTo>
                    <a:cubicBezTo>
                      <a:pt x="2328617" y="475108"/>
                      <a:pt x="2337739" y="484477"/>
                      <a:pt x="2349329" y="484477"/>
                    </a:cubicBezTo>
                    <a:cubicBezTo>
                      <a:pt x="2360670" y="484477"/>
                      <a:pt x="2370041" y="475108"/>
                      <a:pt x="2370288" y="463765"/>
                    </a:cubicBezTo>
                    <a:close/>
                    <a:moveTo>
                      <a:pt x="2370536" y="348393"/>
                    </a:moveTo>
                    <a:cubicBezTo>
                      <a:pt x="2370536" y="336312"/>
                      <a:pt x="2360919" y="326450"/>
                      <a:pt x="2348838" y="326450"/>
                    </a:cubicBezTo>
                    <a:cubicBezTo>
                      <a:pt x="2336757" y="326450"/>
                      <a:pt x="2326893" y="336312"/>
                      <a:pt x="2326893" y="348393"/>
                    </a:cubicBezTo>
                    <a:cubicBezTo>
                      <a:pt x="2326893" y="360228"/>
                      <a:pt x="2336757" y="370090"/>
                      <a:pt x="2348838" y="370090"/>
                    </a:cubicBezTo>
                    <a:cubicBezTo>
                      <a:pt x="2360919" y="370090"/>
                      <a:pt x="2370536" y="360228"/>
                      <a:pt x="2370536" y="348393"/>
                    </a:cubicBezTo>
                    <a:close/>
                    <a:moveTo>
                      <a:pt x="2370536" y="579636"/>
                    </a:moveTo>
                    <a:cubicBezTo>
                      <a:pt x="2370536" y="568293"/>
                      <a:pt x="2361411" y="559171"/>
                      <a:pt x="2350070" y="559171"/>
                    </a:cubicBezTo>
                    <a:cubicBezTo>
                      <a:pt x="2338726" y="559171"/>
                      <a:pt x="2329604" y="568293"/>
                      <a:pt x="2329604" y="579636"/>
                    </a:cubicBezTo>
                    <a:cubicBezTo>
                      <a:pt x="2329604" y="590977"/>
                      <a:pt x="2338726" y="600099"/>
                      <a:pt x="2350070" y="600099"/>
                    </a:cubicBezTo>
                    <a:cubicBezTo>
                      <a:pt x="2361411" y="600099"/>
                      <a:pt x="2370536" y="590977"/>
                      <a:pt x="2370536" y="579636"/>
                    </a:cubicBezTo>
                    <a:close/>
                    <a:moveTo>
                      <a:pt x="2371771" y="5671168"/>
                    </a:moveTo>
                    <a:cubicBezTo>
                      <a:pt x="2371771" y="5669935"/>
                      <a:pt x="2370782" y="5668949"/>
                      <a:pt x="2369550" y="5668949"/>
                    </a:cubicBezTo>
                    <a:cubicBezTo>
                      <a:pt x="2368317" y="5668949"/>
                      <a:pt x="2367332" y="5669935"/>
                      <a:pt x="2367332" y="5671168"/>
                    </a:cubicBezTo>
                    <a:cubicBezTo>
                      <a:pt x="2367332" y="5672400"/>
                      <a:pt x="2368317" y="5673389"/>
                      <a:pt x="2369550" y="5673389"/>
                    </a:cubicBezTo>
                    <a:cubicBezTo>
                      <a:pt x="2370782" y="5673389"/>
                      <a:pt x="2371771" y="5672400"/>
                      <a:pt x="2371771" y="5671168"/>
                    </a:cubicBezTo>
                    <a:close/>
                    <a:moveTo>
                      <a:pt x="2372507" y="3219260"/>
                    </a:moveTo>
                    <a:cubicBezTo>
                      <a:pt x="2372507" y="3210629"/>
                      <a:pt x="2365357" y="3203478"/>
                      <a:pt x="2356728" y="3203478"/>
                    </a:cubicBezTo>
                    <a:cubicBezTo>
                      <a:pt x="2348097" y="3203478"/>
                      <a:pt x="2340947" y="3210629"/>
                      <a:pt x="2340947" y="3219260"/>
                    </a:cubicBezTo>
                    <a:cubicBezTo>
                      <a:pt x="2340947" y="3227891"/>
                      <a:pt x="2348097" y="3235041"/>
                      <a:pt x="2356728" y="3235041"/>
                    </a:cubicBezTo>
                    <a:cubicBezTo>
                      <a:pt x="2365604" y="3235041"/>
                      <a:pt x="2372507" y="3227891"/>
                      <a:pt x="2372507" y="3219260"/>
                    </a:cubicBezTo>
                    <a:close/>
                    <a:moveTo>
                      <a:pt x="2372755" y="3792755"/>
                    </a:moveTo>
                    <a:cubicBezTo>
                      <a:pt x="2372755" y="3792018"/>
                      <a:pt x="2372261" y="3791277"/>
                      <a:pt x="2371274" y="3791277"/>
                    </a:cubicBezTo>
                    <a:cubicBezTo>
                      <a:pt x="2370536" y="3791277"/>
                      <a:pt x="2369796" y="3792018"/>
                      <a:pt x="2369796" y="3792755"/>
                    </a:cubicBezTo>
                    <a:cubicBezTo>
                      <a:pt x="2369796" y="3793495"/>
                      <a:pt x="2370536" y="3794237"/>
                      <a:pt x="2371274" y="3794237"/>
                    </a:cubicBezTo>
                    <a:cubicBezTo>
                      <a:pt x="2372261" y="3794237"/>
                      <a:pt x="2372755" y="3793495"/>
                      <a:pt x="2372755" y="3792755"/>
                    </a:cubicBezTo>
                    <a:close/>
                    <a:moveTo>
                      <a:pt x="2373495" y="4723088"/>
                    </a:moveTo>
                    <a:cubicBezTo>
                      <a:pt x="2373495" y="4697689"/>
                      <a:pt x="2353029" y="4677223"/>
                      <a:pt x="2327633" y="4677223"/>
                    </a:cubicBezTo>
                    <a:cubicBezTo>
                      <a:pt x="2302481" y="4677223"/>
                      <a:pt x="2281769" y="4697689"/>
                      <a:pt x="2281769" y="4723088"/>
                    </a:cubicBezTo>
                    <a:cubicBezTo>
                      <a:pt x="2281769" y="4748483"/>
                      <a:pt x="2302235" y="4768949"/>
                      <a:pt x="2327633" y="4768949"/>
                    </a:cubicBezTo>
                    <a:cubicBezTo>
                      <a:pt x="2352782" y="4768949"/>
                      <a:pt x="2373495" y="4748238"/>
                      <a:pt x="2373495" y="4723088"/>
                    </a:cubicBezTo>
                    <a:close/>
                    <a:moveTo>
                      <a:pt x="2375221" y="6262704"/>
                    </a:moveTo>
                    <a:cubicBezTo>
                      <a:pt x="2375221" y="6254322"/>
                      <a:pt x="2368317" y="6247663"/>
                      <a:pt x="2360178" y="6247663"/>
                    </a:cubicBezTo>
                    <a:cubicBezTo>
                      <a:pt x="2351795" y="6247663"/>
                      <a:pt x="2345138" y="6254567"/>
                      <a:pt x="2345138" y="6262704"/>
                    </a:cubicBezTo>
                    <a:cubicBezTo>
                      <a:pt x="2345138" y="6271088"/>
                      <a:pt x="2352042" y="6277744"/>
                      <a:pt x="2360178" y="6277744"/>
                    </a:cubicBezTo>
                    <a:cubicBezTo>
                      <a:pt x="2368317" y="6277744"/>
                      <a:pt x="2375221" y="6271088"/>
                      <a:pt x="2375221" y="6262704"/>
                    </a:cubicBezTo>
                    <a:close/>
                    <a:moveTo>
                      <a:pt x="2378672" y="4062265"/>
                    </a:moveTo>
                    <a:cubicBezTo>
                      <a:pt x="2378672" y="4053142"/>
                      <a:pt x="2371273" y="4045743"/>
                      <a:pt x="2362151" y="4045743"/>
                    </a:cubicBezTo>
                    <a:cubicBezTo>
                      <a:pt x="2353029" y="4045743"/>
                      <a:pt x="2345630" y="4053142"/>
                      <a:pt x="2345630" y="4062265"/>
                    </a:cubicBezTo>
                    <a:cubicBezTo>
                      <a:pt x="2345630" y="4071388"/>
                      <a:pt x="2353029" y="4078783"/>
                      <a:pt x="2362151" y="4078783"/>
                    </a:cubicBezTo>
                    <a:cubicBezTo>
                      <a:pt x="2371273" y="4078783"/>
                      <a:pt x="2378672" y="4071388"/>
                      <a:pt x="2378672" y="4062265"/>
                    </a:cubicBezTo>
                    <a:close/>
                    <a:moveTo>
                      <a:pt x="2378675" y="5428045"/>
                    </a:moveTo>
                    <a:cubicBezTo>
                      <a:pt x="2378675" y="5426564"/>
                      <a:pt x="2377441" y="5425332"/>
                      <a:pt x="2375963" y="5425332"/>
                    </a:cubicBezTo>
                    <a:cubicBezTo>
                      <a:pt x="2374482" y="5425332"/>
                      <a:pt x="2373249" y="5426564"/>
                      <a:pt x="2373249" y="5428045"/>
                    </a:cubicBezTo>
                    <a:cubicBezTo>
                      <a:pt x="2373249" y="5429523"/>
                      <a:pt x="2374482" y="5430758"/>
                      <a:pt x="2375963" y="5430758"/>
                    </a:cubicBezTo>
                    <a:cubicBezTo>
                      <a:pt x="2377441" y="5430758"/>
                      <a:pt x="2378675" y="5429523"/>
                      <a:pt x="2378675" y="5428045"/>
                    </a:cubicBezTo>
                    <a:close/>
                    <a:moveTo>
                      <a:pt x="2379660" y="5550101"/>
                    </a:moveTo>
                    <a:cubicBezTo>
                      <a:pt x="2379660" y="5546157"/>
                      <a:pt x="2376453" y="5542951"/>
                      <a:pt x="2372508" y="5542951"/>
                    </a:cubicBezTo>
                    <a:cubicBezTo>
                      <a:pt x="2368563" y="5542951"/>
                      <a:pt x="2365359" y="5546157"/>
                      <a:pt x="2365359" y="5550101"/>
                    </a:cubicBezTo>
                    <a:cubicBezTo>
                      <a:pt x="2365359" y="5554047"/>
                      <a:pt x="2368563" y="5557254"/>
                      <a:pt x="2372508" y="5557254"/>
                    </a:cubicBezTo>
                    <a:cubicBezTo>
                      <a:pt x="2376453" y="5557254"/>
                      <a:pt x="2379660" y="5554047"/>
                      <a:pt x="2379660" y="5550101"/>
                    </a:cubicBezTo>
                    <a:close/>
                    <a:moveTo>
                      <a:pt x="2379904" y="6145829"/>
                    </a:moveTo>
                    <a:cubicBezTo>
                      <a:pt x="2379904" y="6135717"/>
                      <a:pt x="2371767" y="6127580"/>
                      <a:pt x="2361657" y="6127580"/>
                    </a:cubicBezTo>
                    <a:cubicBezTo>
                      <a:pt x="2351548" y="6127580"/>
                      <a:pt x="2343411" y="6135717"/>
                      <a:pt x="2343411" y="6145829"/>
                    </a:cubicBezTo>
                    <a:cubicBezTo>
                      <a:pt x="2343411" y="6155938"/>
                      <a:pt x="2351548" y="6164073"/>
                      <a:pt x="2361657" y="6164073"/>
                    </a:cubicBezTo>
                    <a:cubicBezTo>
                      <a:pt x="2371767" y="6164073"/>
                      <a:pt x="2379904" y="6155938"/>
                      <a:pt x="2379904" y="6145829"/>
                    </a:cubicBezTo>
                    <a:close/>
                    <a:moveTo>
                      <a:pt x="2380891" y="2371063"/>
                    </a:moveTo>
                    <a:cubicBezTo>
                      <a:pt x="2380891" y="2349127"/>
                      <a:pt x="2362892" y="2331115"/>
                      <a:pt x="2340947" y="2331115"/>
                    </a:cubicBezTo>
                    <a:cubicBezTo>
                      <a:pt x="2318999" y="2331115"/>
                      <a:pt x="2301001" y="2349127"/>
                      <a:pt x="2301001" y="2371063"/>
                    </a:cubicBezTo>
                    <a:cubicBezTo>
                      <a:pt x="2301001" y="2393008"/>
                      <a:pt x="2318999" y="2411009"/>
                      <a:pt x="2340947" y="2411009"/>
                    </a:cubicBezTo>
                    <a:cubicBezTo>
                      <a:pt x="2363138" y="2411009"/>
                      <a:pt x="2380891" y="2393008"/>
                      <a:pt x="2380891" y="2371063"/>
                    </a:cubicBezTo>
                    <a:close/>
                    <a:moveTo>
                      <a:pt x="2386811" y="2512587"/>
                    </a:moveTo>
                    <a:cubicBezTo>
                      <a:pt x="2386811" y="2497303"/>
                      <a:pt x="2374236" y="2484726"/>
                      <a:pt x="2358946" y="2484726"/>
                    </a:cubicBezTo>
                    <a:cubicBezTo>
                      <a:pt x="2343660" y="2484726"/>
                      <a:pt x="2331085" y="2497303"/>
                      <a:pt x="2331085" y="2512587"/>
                    </a:cubicBezTo>
                    <a:cubicBezTo>
                      <a:pt x="2331085" y="2527877"/>
                      <a:pt x="2343660" y="2540451"/>
                      <a:pt x="2358946" y="2540451"/>
                    </a:cubicBezTo>
                    <a:cubicBezTo>
                      <a:pt x="2374236" y="2540451"/>
                      <a:pt x="2386811" y="2527877"/>
                      <a:pt x="2386811" y="2512587"/>
                    </a:cubicBezTo>
                    <a:close/>
                    <a:moveTo>
                      <a:pt x="2392975" y="4585005"/>
                    </a:moveTo>
                    <a:cubicBezTo>
                      <a:pt x="2392975" y="4556894"/>
                      <a:pt x="2370042" y="4533963"/>
                      <a:pt x="2341933" y="4533963"/>
                    </a:cubicBezTo>
                    <a:cubicBezTo>
                      <a:pt x="2313823" y="4533963"/>
                      <a:pt x="2290892" y="4556894"/>
                      <a:pt x="2290892" y="4585005"/>
                    </a:cubicBezTo>
                    <a:cubicBezTo>
                      <a:pt x="2290892" y="4613113"/>
                      <a:pt x="2313823" y="4636044"/>
                      <a:pt x="2341933" y="4636044"/>
                    </a:cubicBezTo>
                    <a:cubicBezTo>
                      <a:pt x="2370042" y="4636044"/>
                      <a:pt x="2392975" y="4613113"/>
                      <a:pt x="2392975" y="4585005"/>
                    </a:cubicBezTo>
                    <a:close/>
                    <a:moveTo>
                      <a:pt x="2394947" y="4311305"/>
                    </a:moveTo>
                    <a:cubicBezTo>
                      <a:pt x="2394947" y="4309824"/>
                      <a:pt x="2393713" y="4308591"/>
                      <a:pt x="2392235" y="4308591"/>
                    </a:cubicBezTo>
                    <a:cubicBezTo>
                      <a:pt x="2390754" y="4308591"/>
                      <a:pt x="2389522" y="4309824"/>
                      <a:pt x="2389522" y="4311305"/>
                    </a:cubicBezTo>
                    <a:cubicBezTo>
                      <a:pt x="2389522" y="4312782"/>
                      <a:pt x="2390754" y="4314018"/>
                      <a:pt x="2392235" y="4314018"/>
                    </a:cubicBezTo>
                    <a:cubicBezTo>
                      <a:pt x="2393713" y="4314018"/>
                      <a:pt x="2394947" y="4312782"/>
                      <a:pt x="2394947" y="4311305"/>
                    </a:cubicBezTo>
                    <a:close/>
                    <a:moveTo>
                      <a:pt x="2395194" y="2691349"/>
                    </a:moveTo>
                    <a:cubicBezTo>
                      <a:pt x="2395194" y="2670635"/>
                      <a:pt x="2378426" y="2653868"/>
                      <a:pt x="2357714" y="2653868"/>
                    </a:cubicBezTo>
                    <a:cubicBezTo>
                      <a:pt x="2337001" y="2653868"/>
                      <a:pt x="2320235" y="2670635"/>
                      <a:pt x="2320235" y="2691349"/>
                    </a:cubicBezTo>
                    <a:cubicBezTo>
                      <a:pt x="2320235" y="2712061"/>
                      <a:pt x="2337001" y="2728828"/>
                      <a:pt x="2357714" y="2728828"/>
                    </a:cubicBezTo>
                    <a:cubicBezTo>
                      <a:pt x="2378181" y="2728828"/>
                      <a:pt x="2395194" y="2712061"/>
                      <a:pt x="2395194" y="2691349"/>
                    </a:cubicBezTo>
                    <a:close/>
                    <a:moveTo>
                      <a:pt x="2402590" y="1646947"/>
                    </a:moveTo>
                    <a:cubicBezTo>
                      <a:pt x="2402590" y="1637825"/>
                      <a:pt x="2395194" y="1630179"/>
                      <a:pt x="2385823" y="1630179"/>
                    </a:cubicBezTo>
                    <a:cubicBezTo>
                      <a:pt x="2376454" y="1630179"/>
                      <a:pt x="2368810" y="1637575"/>
                      <a:pt x="2368810" y="1646947"/>
                    </a:cubicBezTo>
                    <a:cubicBezTo>
                      <a:pt x="2368810" y="1656311"/>
                      <a:pt x="2376454" y="1663959"/>
                      <a:pt x="2385823" y="1663959"/>
                    </a:cubicBezTo>
                    <a:cubicBezTo>
                      <a:pt x="2395194" y="1663959"/>
                      <a:pt x="2402836" y="1656561"/>
                      <a:pt x="2402590" y="1646947"/>
                    </a:cubicBezTo>
                    <a:close/>
                    <a:moveTo>
                      <a:pt x="2404562" y="4443469"/>
                    </a:moveTo>
                    <a:cubicBezTo>
                      <a:pt x="2404562" y="4418812"/>
                      <a:pt x="2384341" y="4398591"/>
                      <a:pt x="2359683" y="4398591"/>
                    </a:cubicBezTo>
                    <a:cubicBezTo>
                      <a:pt x="2335026" y="4398591"/>
                      <a:pt x="2314808" y="4418812"/>
                      <a:pt x="2314808" y="4443469"/>
                    </a:cubicBezTo>
                    <a:cubicBezTo>
                      <a:pt x="2314808" y="4468127"/>
                      <a:pt x="2335026" y="4488346"/>
                      <a:pt x="2359683" y="4488346"/>
                    </a:cubicBezTo>
                    <a:cubicBezTo>
                      <a:pt x="2384341" y="4488346"/>
                      <a:pt x="2404562" y="4468127"/>
                      <a:pt x="2404562" y="4443469"/>
                    </a:cubicBezTo>
                    <a:close/>
                    <a:moveTo>
                      <a:pt x="2405797" y="1771717"/>
                    </a:moveTo>
                    <a:cubicBezTo>
                      <a:pt x="2405797" y="1763577"/>
                      <a:pt x="2399384" y="1756915"/>
                      <a:pt x="2391248" y="1756915"/>
                    </a:cubicBezTo>
                    <a:cubicBezTo>
                      <a:pt x="2383357" y="1756915"/>
                      <a:pt x="2376700" y="1763577"/>
                      <a:pt x="2376700" y="1771717"/>
                    </a:cubicBezTo>
                    <a:cubicBezTo>
                      <a:pt x="2376700" y="1779612"/>
                      <a:pt x="2383112" y="1786245"/>
                      <a:pt x="2391248" y="1786245"/>
                    </a:cubicBezTo>
                    <a:cubicBezTo>
                      <a:pt x="2399384" y="1786245"/>
                      <a:pt x="2406042" y="1779859"/>
                      <a:pt x="2405797" y="1771717"/>
                    </a:cubicBezTo>
                    <a:close/>
                    <a:moveTo>
                      <a:pt x="2411715" y="3107560"/>
                    </a:moveTo>
                    <a:cubicBezTo>
                      <a:pt x="2411715" y="3094489"/>
                      <a:pt x="2401111" y="3084134"/>
                      <a:pt x="2388289" y="3084134"/>
                    </a:cubicBezTo>
                    <a:cubicBezTo>
                      <a:pt x="2375222" y="3084134"/>
                      <a:pt x="2364864" y="3094489"/>
                      <a:pt x="2364864" y="3107560"/>
                    </a:cubicBezTo>
                    <a:cubicBezTo>
                      <a:pt x="2364864" y="3120628"/>
                      <a:pt x="2375467" y="3130985"/>
                      <a:pt x="2388289" y="3130985"/>
                    </a:cubicBezTo>
                    <a:cubicBezTo>
                      <a:pt x="2401111" y="3130985"/>
                      <a:pt x="2411715" y="3120628"/>
                      <a:pt x="2411715" y="3107560"/>
                    </a:cubicBezTo>
                    <a:close/>
                    <a:moveTo>
                      <a:pt x="2417877" y="3902237"/>
                    </a:moveTo>
                    <a:cubicBezTo>
                      <a:pt x="2417877" y="3896811"/>
                      <a:pt x="2413439" y="3892620"/>
                      <a:pt x="2408262" y="3892620"/>
                    </a:cubicBezTo>
                    <a:cubicBezTo>
                      <a:pt x="2402836" y="3892620"/>
                      <a:pt x="2398645" y="3897057"/>
                      <a:pt x="2398645" y="3902237"/>
                    </a:cubicBezTo>
                    <a:cubicBezTo>
                      <a:pt x="2398645" y="3907661"/>
                      <a:pt x="2403085" y="3911852"/>
                      <a:pt x="2408262" y="3911852"/>
                    </a:cubicBezTo>
                    <a:cubicBezTo>
                      <a:pt x="2413439" y="3911852"/>
                      <a:pt x="2417877" y="3907661"/>
                      <a:pt x="2417877" y="3902237"/>
                    </a:cubicBezTo>
                    <a:close/>
                    <a:moveTo>
                      <a:pt x="2418125" y="4930211"/>
                    </a:moveTo>
                    <a:cubicBezTo>
                      <a:pt x="2418125" y="4923799"/>
                      <a:pt x="2412945" y="4918621"/>
                      <a:pt x="2406535" y="4918621"/>
                    </a:cubicBezTo>
                    <a:cubicBezTo>
                      <a:pt x="2399877" y="4918621"/>
                      <a:pt x="2394699" y="4923799"/>
                      <a:pt x="2394699" y="4930211"/>
                    </a:cubicBezTo>
                    <a:cubicBezTo>
                      <a:pt x="2394699" y="4936620"/>
                      <a:pt x="2400123" y="4941797"/>
                      <a:pt x="2406535" y="4941797"/>
                    </a:cubicBezTo>
                    <a:cubicBezTo>
                      <a:pt x="2412945" y="4941797"/>
                      <a:pt x="2418125" y="4936620"/>
                      <a:pt x="2418125" y="4930211"/>
                    </a:cubicBezTo>
                    <a:close/>
                    <a:moveTo>
                      <a:pt x="2421823" y="5184924"/>
                    </a:moveTo>
                    <a:cubicBezTo>
                      <a:pt x="2421823" y="5169389"/>
                      <a:pt x="2409248" y="5156567"/>
                      <a:pt x="2393467" y="5156567"/>
                    </a:cubicBezTo>
                    <a:cubicBezTo>
                      <a:pt x="2377932" y="5156567"/>
                      <a:pt x="2365110" y="5169143"/>
                      <a:pt x="2365110" y="5184924"/>
                    </a:cubicBezTo>
                    <a:cubicBezTo>
                      <a:pt x="2365110" y="5200705"/>
                      <a:pt x="2377685" y="5213281"/>
                      <a:pt x="2393467" y="5213281"/>
                    </a:cubicBezTo>
                    <a:cubicBezTo>
                      <a:pt x="2408999" y="5213281"/>
                      <a:pt x="2421823" y="5200456"/>
                      <a:pt x="2421823" y="5184924"/>
                    </a:cubicBezTo>
                    <a:close/>
                    <a:moveTo>
                      <a:pt x="2423302" y="2842741"/>
                    </a:moveTo>
                    <a:cubicBezTo>
                      <a:pt x="2423302" y="2824001"/>
                      <a:pt x="2408016" y="2808961"/>
                      <a:pt x="2389522" y="2808961"/>
                    </a:cubicBezTo>
                    <a:cubicBezTo>
                      <a:pt x="2370782" y="2808961"/>
                      <a:pt x="2355742" y="2824001"/>
                      <a:pt x="2355742" y="2842741"/>
                    </a:cubicBezTo>
                    <a:cubicBezTo>
                      <a:pt x="2355742" y="2861481"/>
                      <a:pt x="2370782" y="2876524"/>
                      <a:pt x="2389522" y="2876524"/>
                    </a:cubicBezTo>
                    <a:cubicBezTo>
                      <a:pt x="2408261" y="2876524"/>
                      <a:pt x="2423302" y="2861481"/>
                      <a:pt x="2423302" y="2842741"/>
                    </a:cubicBezTo>
                    <a:close/>
                    <a:moveTo>
                      <a:pt x="2434642" y="671874"/>
                    </a:moveTo>
                    <a:cubicBezTo>
                      <a:pt x="2434642" y="659546"/>
                      <a:pt x="2424534" y="649433"/>
                      <a:pt x="2412206" y="649433"/>
                    </a:cubicBezTo>
                    <a:cubicBezTo>
                      <a:pt x="2399876" y="649433"/>
                      <a:pt x="2389767" y="659546"/>
                      <a:pt x="2389767" y="671874"/>
                    </a:cubicBezTo>
                    <a:cubicBezTo>
                      <a:pt x="2389767" y="684204"/>
                      <a:pt x="2399876" y="694316"/>
                      <a:pt x="2412206" y="694316"/>
                    </a:cubicBezTo>
                    <a:cubicBezTo>
                      <a:pt x="2424534" y="694316"/>
                      <a:pt x="2434642" y="684204"/>
                      <a:pt x="2434642" y="671874"/>
                    </a:cubicBezTo>
                    <a:close/>
                    <a:moveTo>
                      <a:pt x="2435385" y="787992"/>
                    </a:moveTo>
                    <a:cubicBezTo>
                      <a:pt x="2435385" y="775662"/>
                      <a:pt x="2425277" y="765804"/>
                      <a:pt x="2413196" y="765804"/>
                    </a:cubicBezTo>
                    <a:cubicBezTo>
                      <a:pt x="2400866" y="765804"/>
                      <a:pt x="2391003" y="775908"/>
                      <a:pt x="2391003" y="787992"/>
                    </a:cubicBezTo>
                    <a:cubicBezTo>
                      <a:pt x="2391003" y="800320"/>
                      <a:pt x="2401111" y="810184"/>
                      <a:pt x="2413196" y="810184"/>
                    </a:cubicBezTo>
                    <a:cubicBezTo>
                      <a:pt x="2425277" y="810184"/>
                      <a:pt x="2435385" y="800320"/>
                      <a:pt x="2435385" y="787992"/>
                    </a:cubicBezTo>
                    <a:close/>
                    <a:moveTo>
                      <a:pt x="2435631" y="5058674"/>
                    </a:moveTo>
                    <a:cubicBezTo>
                      <a:pt x="2435631" y="5038948"/>
                      <a:pt x="2419605" y="5022675"/>
                      <a:pt x="2399630" y="5022675"/>
                    </a:cubicBezTo>
                    <a:cubicBezTo>
                      <a:pt x="2379904" y="5022675"/>
                      <a:pt x="2363632" y="5038702"/>
                      <a:pt x="2363632" y="5058674"/>
                    </a:cubicBezTo>
                    <a:cubicBezTo>
                      <a:pt x="2363632" y="5078400"/>
                      <a:pt x="2379658" y="5094675"/>
                      <a:pt x="2399630" y="5094675"/>
                    </a:cubicBezTo>
                    <a:cubicBezTo>
                      <a:pt x="2419359" y="5094675"/>
                      <a:pt x="2435631" y="5078649"/>
                      <a:pt x="2435631" y="5058674"/>
                    </a:cubicBezTo>
                    <a:close/>
                    <a:moveTo>
                      <a:pt x="2436126" y="1021957"/>
                    </a:moveTo>
                    <a:cubicBezTo>
                      <a:pt x="2436126" y="1010859"/>
                      <a:pt x="2427250" y="1001979"/>
                      <a:pt x="2416152" y="1001979"/>
                    </a:cubicBezTo>
                    <a:cubicBezTo>
                      <a:pt x="2405057" y="1001979"/>
                      <a:pt x="2396180" y="1010859"/>
                      <a:pt x="2396180" y="1021957"/>
                    </a:cubicBezTo>
                    <a:cubicBezTo>
                      <a:pt x="2396180" y="1033047"/>
                      <a:pt x="2405057" y="1041923"/>
                      <a:pt x="2416152" y="1041923"/>
                    </a:cubicBezTo>
                    <a:cubicBezTo>
                      <a:pt x="2427250" y="1041923"/>
                      <a:pt x="2436126" y="1032798"/>
                      <a:pt x="2436126" y="1021957"/>
                    </a:cubicBezTo>
                    <a:close/>
                    <a:moveTo>
                      <a:pt x="2436617" y="904592"/>
                    </a:moveTo>
                    <a:cubicBezTo>
                      <a:pt x="2436617" y="892518"/>
                      <a:pt x="2426753" y="882649"/>
                      <a:pt x="2414671" y="882649"/>
                    </a:cubicBezTo>
                    <a:cubicBezTo>
                      <a:pt x="2402590" y="882649"/>
                      <a:pt x="2392727" y="892518"/>
                      <a:pt x="2392727" y="904592"/>
                    </a:cubicBezTo>
                    <a:cubicBezTo>
                      <a:pt x="2392727" y="916678"/>
                      <a:pt x="2402590" y="926552"/>
                      <a:pt x="2414671" y="926552"/>
                    </a:cubicBezTo>
                    <a:cubicBezTo>
                      <a:pt x="2426753" y="926552"/>
                      <a:pt x="2436617" y="916678"/>
                      <a:pt x="2436617" y="904592"/>
                    </a:cubicBezTo>
                    <a:close/>
                    <a:moveTo>
                      <a:pt x="2436867" y="1898184"/>
                    </a:moveTo>
                    <a:cubicBezTo>
                      <a:pt x="2436867" y="1876000"/>
                      <a:pt x="2419113" y="1858253"/>
                      <a:pt x="2397166" y="1858253"/>
                    </a:cubicBezTo>
                    <a:cubicBezTo>
                      <a:pt x="2375222" y="1858253"/>
                      <a:pt x="2357469" y="1876246"/>
                      <a:pt x="2357469" y="1898184"/>
                    </a:cubicBezTo>
                    <a:cubicBezTo>
                      <a:pt x="2357469" y="1920123"/>
                      <a:pt x="2375222" y="1937871"/>
                      <a:pt x="2397166" y="1937871"/>
                    </a:cubicBezTo>
                    <a:cubicBezTo>
                      <a:pt x="2419113" y="1937871"/>
                      <a:pt x="2437113" y="1920123"/>
                      <a:pt x="2436867" y="1898184"/>
                    </a:cubicBezTo>
                    <a:close/>
                    <a:moveTo>
                      <a:pt x="2437357" y="1140291"/>
                    </a:moveTo>
                    <a:cubicBezTo>
                      <a:pt x="2437357" y="1129197"/>
                      <a:pt x="2428234" y="1120072"/>
                      <a:pt x="2417136" y="1120072"/>
                    </a:cubicBezTo>
                    <a:cubicBezTo>
                      <a:pt x="2406040" y="1120072"/>
                      <a:pt x="2396918" y="1129197"/>
                      <a:pt x="2396918" y="1140291"/>
                    </a:cubicBezTo>
                    <a:cubicBezTo>
                      <a:pt x="2396918" y="1151391"/>
                      <a:pt x="2406040" y="1160513"/>
                      <a:pt x="2417136" y="1160513"/>
                    </a:cubicBezTo>
                    <a:cubicBezTo>
                      <a:pt x="2428480" y="1160513"/>
                      <a:pt x="2437603" y="1151391"/>
                      <a:pt x="2437357" y="1140291"/>
                    </a:cubicBezTo>
                    <a:close/>
                    <a:moveTo>
                      <a:pt x="2437851" y="1259365"/>
                    </a:moveTo>
                    <a:cubicBezTo>
                      <a:pt x="2437851" y="1249016"/>
                      <a:pt x="2429469" y="1240635"/>
                      <a:pt x="2419111" y="1240635"/>
                    </a:cubicBezTo>
                    <a:cubicBezTo>
                      <a:pt x="2408756" y="1240635"/>
                      <a:pt x="2400371" y="1249016"/>
                      <a:pt x="2400371" y="1259365"/>
                    </a:cubicBezTo>
                    <a:cubicBezTo>
                      <a:pt x="2400371" y="1269726"/>
                      <a:pt x="2408756" y="1278112"/>
                      <a:pt x="2419111" y="1278112"/>
                    </a:cubicBezTo>
                    <a:cubicBezTo>
                      <a:pt x="2429469" y="1278112"/>
                      <a:pt x="2437851" y="1269726"/>
                      <a:pt x="2437851" y="1259365"/>
                    </a:cubicBezTo>
                    <a:close/>
                    <a:moveTo>
                      <a:pt x="2438097" y="2026357"/>
                    </a:moveTo>
                    <a:cubicBezTo>
                      <a:pt x="2438097" y="2008108"/>
                      <a:pt x="2423302" y="1993073"/>
                      <a:pt x="2404811" y="1993073"/>
                    </a:cubicBezTo>
                    <a:cubicBezTo>
                      <a:pt x="2386563" y="1993073"/>
                      <a:pt x="2371523" y="2007863"/>
                      <a:pt x="2371523" y="2026357"/>
                    </a:cubicBezTo>
                    <a:cubicBezTo>
                      <a:pt x="2371523" y="2044603"/>
                      <a:pt x="2386317" y="2059648"/>
                      <a:pt x="2404811" y="2059648"/>
                    </a:cubicBezTo>
                    <a:cubicBezTo>
                      <a:pt x="2423302" y="2059648"/>
                      <a:pt x="2438345" y="2044603"/>
                      <a:pt x="2438097" y="2026357"/>
                    </a:cubicBezTo>
                    <a:close/>
                    <a:moveTo>
                      <a:pt x="2438591" y="4162373"/>
                    </a:moveTo>
                    <a:cubicBezTo>
                      <a:pt x="2438591" y="4152261"/>
                      <a:pt x="2430207" y="4143879"/>
                      <a:pt x="2420097" y="4143879"/>
                    </a:cubicBezTo>
                    <a:cubicBezTo>
                      <a:pt x="2409986" y="4143879"/>
                      <a:pt x="2401604" y="4152016"/>
                      <a:pt x="2401604" y="4162373"/>
                    </a:cubicBezTo>
                    <a:cubicBezTo>
                      <a:pt x="2401604" y="4172482"/>
                      <a:pt x="2409740" y="4180867"/>
                      <a:pt x="2420097" y="4180867"/>
                    </a:cubicBezTo>
                    <a:cubicBezTo>
                      <a:pt x="2430452" y="4180867"/>
                      <a:pt x="2438837" y="4172482"/>
                      <a:pt x="2438591" y="4162373"/>
                    </a:cubicBezTo>
                    <a:close/>
                    <a:moveTo>
                      <a:pt x="2441548" y="1379191"/>
                    </a:moveTo>
                    <a:cubicBezTo>
                      <a:pt x="2441548" y="1368094"/>
                      <a:pt x="2432671" y="1359219"/>
                      <a:pt x="2421576" y="1359219"/>
                    </a:cubicBezTo>
                    <a:cubicBezTo>
                      <a:pt x="2410480" y="1359219"/>
                      <a:pt x="2401604" y="1368340"/>
                      <a:pt x="2401604" y="1379191"/>
                    </a:cubicBezTo>
                    <a:cubicBezTo>
                      <a:pt x="2401604" y="1390287"/>
                      <a:pt x="2410726" y="1399167"/>
                      <a:pt x="2421576" y="1399167"/>
                    </a:cubicBezTo>
                    <a:cubicBezTo>
                      <a:pt x="2432425" y="1399167"/>
                      <a:pt x="2441301" y="1390287"/>
                      <a:pt x="2441548" y="1379191"/>
                    </a:cubicBezTo>
                    <a:close/>
                    <a:moveTo>
                      <a:pt x="2442781" y="2156797"/>
                    </a:moveTo>
                    <a:cubicBezTo>
                      <a:pt x="2442781" y="2141016"/>
                      <a:pt x="2429959" y="2127948"/>
                      <a:pt x="2413930" y="2127948"/>
                    </a:cubicBezTo>
                    <a:cubicBezTo>
                      <a:pt x="2398150" y="2127948"/>
                      <a:pt x="2385082" y="2140770"/>
                      <a:pt x="2385082" y="2156797"/>
                    </a:cubicBezTo>
                    <a:cubicBezTo>
                      <a:pt x="2385082" y="2172581"/>
                      <a:pt x="2397904" y="2185649"/>
                      <a:pt x="2413930" y="2185649"/>
                    </a:cubicBezTo>
                    <a:cubicBezTo>
                      <a:pt x="2429711" y="2185649"/>
                      <a:pt x="2442781" y="2172827"/>
                      <a:pt x="2442781" y="2156797"/>
                    </a:cubicBezTo>
                    <a:close/>
                    <a:moveTo>
                      <a:pt x="2443273" y="1500493"/>
                    </a:moveTo>
                    <a:cubicBezTo>
                      <a:pt x="2443273" y="1489891"/>
                      <a:pt x="2434642" y="1481257"/>
                      <a:pt x="2424039" y="1481257"/>
                    </a:cubicBezTo>
                    <a:cubicBezTo>
                      <a:pt x="2413439" y="1481257"/>
                      <a:pt x="2404808" y="1489891"/>
                      <a:pt x="2404808" y="1500493"/>
                    </a:cubicBezTo>
                    <a:cubicBezTo>
                      <a:pt x="2404808" y="1511095"/>
                      <a:pt x="2413439" y="1519728"/>
                      <a:pt x="2424039" y="1519728"/>
                    </a:cubicBezTo>
                    <a:cubicBezTo>
                      <a:pt x="2434642" y="1519728"/>
                      <a:pt x="2443273" y="1511095"/>
                      <a:pt x="2443273" y="1500493"/>
                    </a:cubicBezTo>
                    <a:close/>
                    <a:moveTo>
                      <a:pt x="2444754" y="3506726"/>
                    </a:moveTo>
                    <a:cubicBezTo>
                      <a:pt x="2444754" y="3502536"/>
                      <a:pt x="2441057" y="3498837"/>
                      <a:pt x="2436618" y="3498837"/>
                    </a:cubicBezTo>
                    <a:cubicBezTo>
                      <a:pt x="2432427" y="3498837"/>
                      <a:pt x="2428728" y="3502287"/>
                      <a:pt x="2428728" y="3506726"/>
                    </a:cubicBezTo>
                    <a:cubicBezTo>
                      <a:pt x="2428728" y="3511413"/>
                      <a:pt x="2432178" y="3514863"/>
                      <a:pt x="2436618" y="3514863"/>
                    </a:cubicBezTo>
                    <a:cubicBezTo>
                      <a:pt x="2441057" y="3514863"/>
                      <a:pt x="2444754" y="3511413"/>
                      <a:pt x="2444754" y="3506726"/>
                    </a:cubicBezTo>
                    <a:close/>
                    <a:moveTo>
                      <a:pt x="2445990" y="3390866"/>
                    </a:moveTo>
                    <a:cubicBezTo>
                      <a:pt x="2445990" y="3387414"/>
                      <a:pt x="2443276" y="3384700"/>
                      <a:pt x="2439823" y="3384700"/>
                    </a:cubicBezTo>
                    <a:cubicBezTo>
                      <a:pt x="2436373" y="3384700"/>
                      <a:pt x="2433660" y="3387414"/>
                      <a:pt x="2433660" y="3390866"/>
                    </a:cubicBezTo>
                    <a:cubicBezTo>
                      <a:pt x="2433660" y="3394319"/>
                      <a:pt x="2436373" y="3397032"/>
                      <a:pt x="2439823" y="3397032"/>
                    </a:cubicBezTo>
                    <a:cubicBezTo>
                      <a:pt x="2443276" y="3397032"/>
                      <a:pt x="2445990" y="3394073"/>
                      <a:pt x="2445990" y="3390866"/>
                    </a:cubicBezTo>
                    <a:close/>
                    <a:moveTo>
                      <a:pt x="2456590" y="3622616"/>
                    </a:moveTo>
                    <a:cubicBezTo>
                      <a:pt x="2456590" y="3616947"/>
                      <a:pt x="2451904" y="3612261"/>
                      <a:pt x="2446232" y="3612261"/>
                    </a:cubicBezTo>
                    <a:cubicBezTo>
                      <a:pt x="2440563" y="3612261"/>
                      <a:pt x="2435878" y="3616947"/>
                      <a:pt x="2435878" y="3622616"/>
                    </a:cubicBezTo>
                    <a:cubicBezTo>
                      <a:pt x="2435878" y="3628288"/>
                      <a:pt x="2440563" y="3632973"/>
                      <a:pt x="2446232" y="3632973"/>
                    </a:cubicBezTo>
                    <a:cubicBezTo>
                      <a:pt x="2451904" y="3632973"/>
                      <a:pt x="2456590" y="3628288"/>
                      <a:pt x="2456590" y="3622616"/>
                    </a:cubicBezTo>
                    <a:close/>
                    <a:moveTo>
                      <a:pt x="2457330" y="7322733"/>
                    </a:moveTo>
                    <a:cubicBezTo>
                      <a:pt x="2457330" y="7321501"/>
                      <a:pt x="2456344" y="7320514"/>
                      <a:pt x="2455109" y="7320514"/>
                    </a:cubicBezTo>
                    <a:cubicBezTo>
                      <a:pt x="2453876" y="7320514"/>
                      <a:pt x="2452891" y="7321501"/>
                      <a:pt x="2452891" y="7322733"/>
                    </a:cubicBezTo>
                    <a:cubicBezTo>
                      <a:pt x="2452891" y="7323967"/>
                      <a:pt x="2453876" y="7324951"/>
                      <a:pt x="2455109" y="7324951"/>
                    </a:cubicBezTo>
                    <a:cubicBezTo>
                      <a:pt x="2456344" y="7324951"/>
                      <a:pt x="2457330" y="7323967"/>
                      <a:pt x="2457330" y="7322733"/>
                    </a:cubicBezTo>
                    <a:close/>
                    <a:moveTo>
                      <a:pt x="2457330" y="7434926"/>
                    </a:moveTo>
                    <a:cubicBezTo>
                      <a:pt x="2457330" y="7433694"/>
                      <a:pt x="2456344" y="7432707"/>
                      <a:pt x="2455109" y="7432707"/>
                    </a:cubicBezTo>
                    <a:cubicBezTo>
                      <a:pt x="2453876" y="7432707"/>
                      <a:pt x="2452891" y="7433694"/>
                      <a:pt x="2452891" y="7434926"/>
                    </a:cubicBezTo>
                    <a:cubicBezTo>
                      <a:pt x="2452891" y="7436158"/>
                      <a:pt x="2453876" y="7437144"/>
                      <a:pt x="2455109" y="7437144"/>
                    </a:cubicBezTo>
                    <a:cubicBezTo>
                      <a:pt x="2456344" y="7437144"/>
                      <a:pt x="2457330" y="7436158"/>
                      <a:pt x="2457330" y="7434926"/>
                    </a:cubicBezTo>
                    <a:close/>
                    <a:moveTo>
                      <a:pt x="2457576" y="7210543"/>
                    </a:moveTo>
                    <a:cubicBezTo>
                      <a:pt x="2457576" y="7209308"/>
                      <a:pt x="2456591" y="7208076"/>
                      <a:pt x="2455110" y="7208076"/>
                    </a:cubicBezTo>
                    <a:cubicBezTo>
                      <a:pt x="2453877" y="7208076"/>
                      <a:pt x="2452645" y="7209062"/>
                      <a:pt x="2452645" y="7210543"/>
                    </a:cubicBezTo>
                    <a:cubicBezTo>
                      <a:pt x="2452645" y="7211774"/>
                      <a:pt x="2453631" y="7213007"/>
                      <a:pt x="2455110" y="7213007"/>
                    </a:cubicBezTo>
                    <a:cubicBezTo>
                      <a:pt x="2456591" y="7213007"/>
                      <a:pt x="2457576" y="7211774"/>
                      <a:pt x="2457576" y="7210543"/>
                    </a:cubicBezTo>
                    <a:close/>
                    <a:moveTo>
                      <a:pt x="2458316" y="4799279"/>
                    </a:moveTo>
                    <a:cubicBezTo>
                      <a:pt x="2458316" y="4775359"/>
                      <a:pt x="2438837" y="4756127"/>
                      <a:pt x="2415166" y="4756127"/>
                    </a:cubicBezTo>
                    <a:cubicBezTo>
                      <a:pt x="2391245" y="4756127"/>
                      <a:pt x="2372014" y="4775608"/>
                      <a:pt x="2372014" y="4799279"/>
                    </a:cubicBezTo>
                    <a:cubicBezTo>
                      <a:pt x="2372014" y="4823197"/>
                      <a:pt x="2391494" y="4842431"/>
                      <a:pt x="2415166" y="4842431"/>
                    </a:cubicBezTo>
                    <a:cubicBezTo>
                      <a:pt x="2438837" y="4842431"/>
                      <a:pt x="2458316" y="4823197"/>
                      <a:pt x="2458316" y="4799279"/>
                    </a:cubicBezTo>
                    <a:close/>
                    <a:moveTo>
                      <a:pt x="2460287" y="3275715"/>
                    </a:moveTo>
                    <a:cubicBezTo>
                      <a:pt x="2460287" y="3273249"/>
                      <a:pt x="2458069" y="3271032"/>
                      <a:pt x="2455604" y="3271032"/>
                    </a:cubicBezTo>
                    <a:cubicBezTo>
                      <a:pt x="2453137" y="3271032"/>
                      <a:pt x="2450919" y="3273003"/>
                      <a:pt x="2450919" y="3275715"/>
                    </a:cubicBezTo>
                    <a:cubicBezTo>
                      <a:pt x="2450919" y="3278181"/>
                      <a:pt x="2452891" y="3280399"/>
                      <a:pt x="2455604" y="3280399"/>
                    </a:cubicBezTo>
                    <a:cubicBezTo>
                      <a:pt x="2458314" y="3280399"/>
                      <a:pt x="2460287" y="3278428"/>
                      <a:pt x="2460287" y="3275715"/>
                    </a:cubicBezTo>
                    <a:close/>
                    <a:moveTo>
                      <a:pt x="2461275" y="2999803"/>
                    </a:moveTo>
                    <a:cubicBezTo>
                      <a:pt x="2461275" y="2983037"/>
                      <a:pt x="2447466" y="2969228"/>
                      <a:pt x="2430700" y="2969228"/>
                    </a:cubicBezTo>
                    <a:cubicBezTo>
                      <a:pt x="2413932" y="2969228"/>
                      <a:pt x="2400125" y="2983037"/>
                      <a:pt x="2400125" y="2999803"/>
                    </a:cubicBezTo>
                    <a:cubicBezTo>
                      <a:pt x="2400125" y="3016571"/>
                      <a:pt x="2413932" y="3030379"/>
                      <a:pt x="2430700" y="3030379"/>
                    </a:cubicBezTo>
                    <a:cubicBezTo>
                      <a:pt x="2447466" y="3030379"/>
                      <a:pt x="2461275" y="3016571"/>
                      <a:pt x="2461275" y="2999803"/>
                    </a:cubicBezTo>
                    <a:close/>
                    <a:moveTo>
                      <a:pt x="2462016" y="7099088"/>
                    </a:moveTo>
                    <a:cubicBezTo>
                      <a:pt x="2462016" y="7098102"/>
                      <a:pt x="2461031" y="7097115"/>
                      <a:pt x="2460044" y="7097115"/>
                    </a:cubicBezTo>
                    <a:cubicBezTo>
                      <a:pt x="2459057" y="7097115"/>
                      <a:pt x="2458072" y="7098102"/>
                      <a:pt x="2458072" y="7099088"/>
                    </a:cubicBezTo>
                    <a:cubicBezTo>
                      <a:pt x="2458072" y="7100074"/>
                      <a:pt x="2458812" y="7101061"/>
                      <a:pt x="2460044" y="7101061"/>
                    </a:cubicBezTo>
                    <a:cubicBezTo>
                      <a:pt x="2461276" y="7101061"/>
                      <a:pt x="2462016" y="7100074"/>
                      <a:pt x="2462016" y="7099088"/>
                    </a:cubicBezTo>
                    <a:close/>
                    <a:moveTo>
                      <a:pt x="2463003" y="6873228"/>
                    </a:moveTo>
                    <a:cubicBezTo>
                      <a:pt x="2463003" y="6871747"/>
                      <a:pt x="2462017" y="6870760"/>
                      <a:pt x="2460536" y="6870760"/>
                    </a:cubicBezTo>
                    <a:cubicBezTo>
                      <a:pt x="2459304" y="6870760"/>
                      <a:pt x="2458072" y="6871992"/>
                      <a:pt x="2458072" y="6873228"/>
                    </a:cubicBezTo>
                    <a:cubicBezTo>
                      <a:pt x="2458072" y="6874706"/>
                      <a:pt x="2459057" y="6875692"/>
                      <a:pt x="2460536" y="6875692"/>
                    </a:cubicBezTo>
                    <a:cubicBezTo>
                      <a:pt x="2461770" y="6875692"/>
                      <a:pt x="2463003" y="6874460"/>
                      <a:pt x="2463003" y="6873228"/>
                    </a:cubicBezTo>
                    <a:close/>
                    <a:moveTo>
                      <a:pt x="2463495" y="6986159"/>
                    </a:moveTo>
                    <a:cubicBezTo>
                      <a:pt x="2463495" y="6984432"/>
                      <a:pt x="2462016" y="6982953"/>
                      <a:pt x="2460290" y="6982953"/>
                    </a:cubicBezTo>
                    <a:cubicBezTo>
                      <a:pt x="2458563" y="6982953"/>
                      <a:pt x="2457085" y="6984432"/>
                      <a:pt x="2457085" y="6986159"/>
                    </a:cubicBezTo>
                    <a:cubicBezTo>
                      <a:pt x="2457085" y="6987885"/>
                      <a:pt x="2458563" y="6989366"/>
                      <a:pt x="2460290" y="6989366"/>
                    </a:cubicBezTo>
                    <a:cubicBezTo>
                      <a:pt x="2462016" y="6989366"/>
                      <a:pt x="2463495" y="6988131"/>
                      <a:pt x="2463495" y="6986159"/>
                    </a:cubicBezTo>
                    <a:close/>
                    <a:moveTo>
                      <a:pt x="2464726" y="2289937"/>
                    </a:moveTo>
                    <a:cubicBezTo>
                      <a:pt x="2464726" y="2267993"/>
                      <a:pt x="2446728" y="2250005"/>
                      <a:pt x="2424780" y="2250005"/>
                    </a:cubicBezTo>
                    <a:cubicBezTo>
                      <a:pt x="2402835" y="2250005"/>
                      <a:pt x="2385082" y="2267993"/>
                      <a:pt x="2385082" y="2289937"/>
                    </a:cubicBezTo>
                    <a:cubicBezTo>
                      <a:pt x="2385082" y="2312133"/>
                      <a:pt x="2402835" y="2329882"/>
                      <a:pt x="2424780" y="2329882"/>
                    </a:cubicBezTo>
                    <a:cubicBezTo>
                      <a:pt x="2446728" y="2329882"/>
                      <a:pt x="2464726" y="2312133"/>
                      <a:pt x="2464726" y="2289937"/>
                    </a:cubicBezTo>
                    <a:close/>
                    <a:moveTo>
                      <a:pt x="2465221" y="6417307"/>
                    </a:moveTo>
                    <a:cubicBezTo>
                      <a:pt x="2465221" y="6415581"/>
                      <a:pt x="2463740" y="6414102"/>
                      <a:pt x="2461767" y="6414102"/>
                    </a:cubicBezTo>
                    <a:cubicBezTo>
                      <a:pt x="2460041" y="6414102"/>
                      <a:pt x="2458563" y="6415334"/>
                      <a:pt x="2458563" y="6417307"/>
                    </a:cubicBezTo>
                    <a:cubicBezTo>
                      <a:pt x="2458563" y="6419034"/>
                      <a:pt x="2459795" y="6420512"/>
                      <a:pt x="2461767" y="6420512"/>
                    </a:cubicBezTo>
                    <a:cubicBezTo>
                      <a:pt x="2463740" y="6420512"/>
                      <a:pt x="2465221" y="6419034"/>
                      <a:pt x="2465221" y="6417307"/>
                    </a:cubicBezTo>
                    <a:close/>
                    <a:moveTo>
                      <a:pt x="2466454" y="2599375"/>
                    </a:moveTo>
                    <a:cubicBezTo>
                      <a:pt x="2466454" y="2577925"/>
                      <a:pt x="2448946" y="2560417"/>
                      <a:pt x="2427493" y="2560417"/>
                    </a:cubicBezTo>
                    <a:cubicBezTo>
                      <a:pt x="2406044" y="2560417"/>
                      <a:pt x="2388536" y="2577925"/>
                      <a:pt x="2388536" y="2599375"/>
                    </a:cubicBezTo>
                    <a:cubicBezTo>
                      <a:pt x="2388536" y="2620829"/>
                      <a:pt x="2406044" y="2638337"/>
                      <a:pt x="2427493" y="2638337"/>
                    </a:cubicBezTo>
                    <a:cubicBezTo>
                      <a:pt x="2448946" y="2638337"/>
                      <a:pt x="2466454" y="2620829"/>
                      <a:pt x="2466454" y="2599375"/>
                    </a:cubicBezTo>
                    <a:close/>
                    <a:moveTo>
                      <a:pt x="2467686" y="4400073"/>
                    </a:moveTo>
                    <a:cubicBezTo>
                      <a:pt x="2467686" y="4399087"/>
                      <a:pt x="2466948" y="4398346"/>
                      <a:pt x="2465962" y="4398346"/>
                    </a:cubicBezTo>
                    <a:cubicBezTo>
                      <a:pt x="2464975" y="4398346"/>
                      <a:pt x="2464235" y="4399087"/>
                      <a:pt x="2464235" y="4400073"/>
                    </a:cubicBezTo>
                    <a:cubicBezTo>
                      <a:pt x="2464235" y="4401059"/>
                      <a:pt x="2464975" y="4401797"/>
                      <a:pt x="2465962" y="4401797"/>
                    </a:cubicBezTo>
                    <a:cubicBezTo>
                      <a:pt x="2466700" y="4401797"/>
                      <a:pt x="2467440" y="4401059"/>
                      <a:pt x="2467686" y="4400073"/>
                    </a:cubicBezTo>
                    <a:close/>
                    <a:moveTo>
                      <a:pt x="2468426" y="2427028"/>
                    </a:moveTo>
                    <a:cubicBezTo>
                      <a:pt x="2468426" y="2410261"/>
                      <a:pt x="2454866" y="2396699"/>
                      <a:pt x="2438100" y="2396699"/>
                    </a:cubicBezTo>
                    <a:cubicBezTo>
                      <a:pt x="2421332" y="2396699"/>
                      <a:pt x="2407770" y="2410261"/>
                      <a:pt x="2407770" y="2427028"/>
                    </a:cubicBezTo>
                    <a:cubicBezTo>
                      <a:pt x="2407770" y="2443797"/>
                      <a:pt x="2421332" y="2457353"/>
                      <a:pt x="2438100" y="2457353"/>
                    </a:cubicBezTo>
                    <a:cubicBezTo>
                      <a:pt x="2454866" y="2457353"/>
                      <a:pt x="2468426" y="2443551"/>
                      <a:pt x="2468426" y="2427028"/>
                    </a:cubicBezTo>
                    <a:close/>
                    <a:moveTo>
                      <a:pt x="2470398" y="6646130"/>
                    </a:moveTo>
                    <a:cubicBezTo>
                      <a:pt x="2470398" y="6640952"/>
                      <a:pt x="2466207" y="6636761"/>
                      <a:pt x="2461026" y="6636761"/>
                    </a:cubicBezTo>
                    <a:cubicBezTo>
                      <a:pt x="2455850" y="6636761"/>
                      <a:pt x="2451659" y="6640952"/>
                      <a:pt x="2451659" y="6646130"/>
                    </a:cubicBezTo>
                    <a:cubicBezTo>
                      <a:pt x="2451659" y="6651310"/>
                      <a:pt x="2455850" y="6655501"/>
                      <a:pt x="2461026" y="6655501"/>
                    </a:cubicBezTo>
                    <a:cubicBezTo>
                      <a:pt x="2466207" y="6655501"/>
                      <a:pt x="2470398" y="6651061"/>
                      <a:pt x="2470398" y="6646130"/>
                    </a:cubicBezTo>
                    <a:close/>
                    <a:moveTo>
                      <a:pt x="2471139" y="6531718"/>
                    </a:moveTo>
                    <a:cubicBezTo>
                      <a:pt x="2471139" y="6526293"/>
                      <a:pt x="2466702" y="6521855"/>
                      <a:pt x="2461276" y="6521855"/>
                    </a:cubicBezTo>
                    <a:cubicBezTo>
                      <a:pt x="2455853" y="6521855"/>
                      <a:pt x="2451413" y="6526293"/>
                      <a:pt x="2451413" y="6531718"/>
                    </a:cubicBezTo>
                    <a:cubicBezTo>
                      <a:pt x="2451413" y="6537142"/>
                      <a:pt x="2455853" y="6541581"/>
                      <a:pt x="2461276" y="6541581"/>
                    </a:cubicBezTo>
                    <a:cubicBezTo>
                      <a:pt x="2466702" y="6541581"/>
                      <a:pt x="2471139" y="6537142"/>
                      <a:pt x="2471139" y="6531718"/>
                    </a:cubicBezTo>
                    <a:close/>
                    <a:moveTo>
                      <a:pt x="2472125" y="6759554"/>
                    </a:moveTo>
                    <a:cubicBezTo>
                      <a:pt x="2472125" y="6753391"/>
                      <a:pt x="2466948" y="6748213"/>
                      <a:pt x="2460782" y="6748213"/>
                    </a:cubicBezTo>
                    <a:cubicBezTo>
                      <a:pt x="2454617" y="6748213"/>
                      <a:pt x="2449686" y="6753391"/>
                      <a:pt x="2449686" y="6759554"/>
                    </a:cubicBezTo>
                    <a:cubicBezTo>
                      <a:pt x="2449686" y="6765720"/>
                      <a:pt x="2454617" y="6770898"/>
                      <a:pt x="2460782" y="6770898"/>
                    </a:cubicBezTo>
                    <a:cubicBezTo>
                      <a:pt x="2466948" y="6770898"/>
                      <a:pt x="2471879" y="6765966"/>
                      <a:pt x="2472125" y="6759554"/>
                    </a:cubicBezTo>
                    <a:close/>
                    <a:moveTo>
                      <a:pt x="2473112" y="5956950"/>
                    </a:moveTo>
                    <a:cubicBezTo>
                      <a:pt x="2473112" y="5955964"/>
                      <a:pt x="2472371" y="5954977"/>
                      <a:pt x="2471138" y="5954977"/>
                    </a:cubicBezTo>
                    <a:cubicBezTo>
                      <a:pt x="2470153" y="5954977"/>
                      <a:pt x="2469166" y="5955718"/>
                      <a:pt x="2469166" y="5956950"/>
                    </a:cubicBezTo>
                    <a:cubicBezTo>
                      <a:pt x="2469166" y="5957936"/>
                      <a:pt x="2469906" y="5958923"/>
                      <a:pt x="2471138" y="5958923"/>
                    </a:cubicBezTo>
                    <a:cubicBezTo>
                      <a:pt x="2472371" y="5958923"/>
                      <a:pt x="2473112" y="5957936"/>
                      <a:pt x="2473112" y="5956950"/>
                    </a:cubicBezTo>
                    <a:close/>
                    <a:moveTo>
                      <a:pt x="2473358" y="6073334"/>
                    </a:moveTo>
                    <a:cubicBezTo>
                      <a:pt x="2473358" y="6071608"/>
                      <a:pt x="2471879" y="6070129"/>
                      <a:pt x="2470153" y="6070129"/>
                    </a:cubicBezTo>
                    <a:cubicBezTo>
                      <a:pt x="2468426" y="6070129"/>
                      <a:pt x="2466948" y="6071608"/>
                      <a:pt x="2466948" y="6073334"/>
                    </a:cubicBezTo>
                    <a:cubicBezTo>
                      <a:pt x="2466948" y="6075061"/>
                      <a:pt x="2468426" y="6076542"/>
                      <a:pt x="2470153" y="6076542"/>
                    </a:cubicBezTo>
                    <a:cubicBezTo>
                      <a:pt x="2471879" y="6076542"/>
                      <a:pt x="2473358" y="6075061"/>
                      <a:pt x="2473358" y="6073334"/>
                    </a:cubicBezTo>
                    <a:close/>
                    <a:moveTo>
                      <a:pt x="2476316" y="5839827"/>
                    </a:moveTo>
                    <a:cubicBezTo>
                      <a:pt x="2476316" y="5837852"/>
                      <a:pt x="2474838" y="5836374"/>
                      <a:pt x="2472863" y="5836374"/>
                    </a:cubicBezTo>
                    <a:cubicBezTo>
                      <a:pt x="2470891" y="5836374"/>
                      <a:pt x="2469413" y="5837852"/>
                      <a:pt x="2469413" y="5839827"/>
                    </a:cubicBezTo>
                    <a:cubicBezTo>
                      <a:pt x="2469413" y="5841801"/>
                      <a:pt x="2470891" y="5843279"/>
                      <a:pt x="2472863" y="5843279"/>
                    </a:cubicBezTo>
                    <a:cubicBezTo>
                      <a:pt x="2474838" y="5843279"/>
                      <a:pt x="2476316" y="5841552"/>
                      <a:pt x="2476316" y="5839827"/>
                    </a:cubicBezTo>
                    <a:close/>
                    <a:moveTo>
                      <a:pt x="2476808" y="5721967"/>
                    </a:moveTo>
                    <a:cubicBezTo>
                      <a:pt x="2476808" y="5720602"/>
                      <a:pt x="2475706" y="5719499"/>
                      <a:pt x="2474342" y="5719499"/>
                    </a:cubicBezTo>
                    <a:cubicBezTo>
                      <a:pt x="2472980" y="5719499"/>
                      <a:pt x="2471877" y="5720602"/>
                      <a:pt x="2471877" y="5721967"/>
                    </a:cubicBezTo>
                    <a:cubicBezTo>
                      <a:pt x="2471877" y="5723327"/>
                      <a:pt x="2472980" y="5724430"/>
                      <a:pt x="2474342" y="5724430"/>
                    </a:cubicBezTo>
                    <a:cubicBezTo>
                      <a:pt x="2475706" y="5724430"/>
                      <a:pt x="2476808" y="5723327"/>
                      <a:pt x="2476808" y="5721967"/>
                    </a:cubicBezTo>
                    <a:close/>
                    <a:moveTo>
                      <a:pt x="2477797" y="4666128"/>
                    </a:moveTo>
                    <a:cubicBezTo>
                      <a:pt x="2477797" y="4637525"/>
                      <a:pt x="2454617" y="4614099"/>
                      <a:pt x="2425769" y="4614099"/>
                    </a:cubicBezTo>
                    <a:cubicBezTo>
                      <a:pt x="2397166" y="4614099"/>
                      <a:pt x="2373741" y="4637279"/>
                      <a:pt x="2373741" y="4666128"/>
                    </a:cubicBezTo>
                    <a:cubicBezTo>
                      <a:pt x="2373741" y="4694730"/>
                      <a:pt x="2396920" y="4718156"/>
                      <a:pt x="2425769" y="4718156"/>
                    </a:cubicBezTo>
                    <a:cubicBezTo>
                      <a:pt x="2454617" y="4718156"/>
                      <a:pt x="2478043" y="4694730"/>
                      <a:pt x="2477797" y="4666128"/>
                    </a:cubicBezTo>
                    <a:close/>
                    <a:moveTo>
                      <a:pt x="2480262" y="83131"/>
                    </a:moveTo>
                    <a:cubicBezTo>
                      <a:pt x="2480262" y="70556"/>
                      <a:pt x="2470153" y="60448"/>
                      <a:pt x="2457577" y="60448"/>
                    </a:cubicBezTo>
                    <a:cubicBezTo>
                      <a:pt x="2445001" y="60448"/>
                      <a:pt x="2434892" y="70556"/>
                      <a:pt x="2434892" y="83131"/>
                    </a:cubicBezTo>
                    <a:cubicBezTo>
                      <a:pt x="2434892" y="95707"/>
                      <a:pt x="2445001" y="105815"/>
                      <a:pt x="2457577" y="105815"/>
                    </a:cubicBezTo>
                    <a:cubicBezTo>
                      <a:pt x="2470153" y="105815"/>
                      <a:pt x="2480262" y="95707"/>
                      <a:pt x="2480262" y="83131"/>
                    </a:cubicBezTo>
                    <a:close/>
                    <a:moveTo>
                      <a:pt x="2480507" y="196530"/>
                    </a:moveTo>
                    <a:cubicBezTo>
                      <a:pt x="2480507" y="183955"/>
                      <a:pt x="2470398" y="173846"/>
                      <a:pt x="2457823" y="173846"/>
                    </a:cubicBezTo>
                    <a:cubicBezTo>
                      <a:pt x="2445247" y="173846"/>
                      <a:pt x="2435138" y="183955"/>
                      <a:pt x="2435138" y="196530"/>
                    </a:cubicBezTo>
                    <a:cubicBezTo>
                      <a:pt x="2435138" y="209105"/>
                      <a:pt x="2445247" y="219213"/>
                      <a:pt x="2457823" y="219213"/>
                    </a:cubicBezTo>
                    <a:cubicBezTo>
                      <a:pt x="2470398" y="219213"/>
                      <a:pt x="2480507" y="209105"/>
                      <a:pt x="2480507" y="196530"/>
                    </a:cubicBezTo>
                    <a:close/>
                    <a:moveTo>
                      <a:pt x="2480507" y="424563"/>
                    </a:moveTo>
                    <a:cubicBezTo>
                      <a:pt x="2480507" y="412727"/>
                      <a:pt x="2470890" y="402865"/>
                      <a:pt x="2458809" y="402865"/>
                    </a:cubicBezTo>
                    <a:cubicBezTo>
                      <a:pt x="2446973" y="402865"/>
                      <a:pt x="2437110" y="412481"/>
                      <a:pt x="2437110" y="424563"/>
                    </a:cubicBezTo>
                    <a:cubicBezTo>
                      <a:pt x="2437110" y="436398"/>
                      <a:pt x="2446726" y="446261"/>
                      <a:pt x="2458809" y="446261"/>
                    </a:cubicBezTo>
                    <a:cubicBezTo>
                      <a:pt x="2470644" y="446261"/>
                      <a:pt x="2480507" y="436398"/>
                      <a:pt x="2480507" y="424563"/>
                    </a:cubicBezTo>
                    <a:close/>
                    <a:moveTo>
                      <a:pt x="2480754" y="538950"/>
                    </a:moveTo>
                    <a:cubicBezTo>
                      <a:pt x="2480754" y="527115"/>
                      <a:pt x="2471139" y="517498"/>
                      <a:pt x="2459303" y="517498"/>
                    </a:cubicBezTo>
                    <a:cubicBezTo>
                      <a:pt x="2447713" y="517498"/>
                      <a:pt x="2438097" y="527115"/>
                      <a:pt x="2438097" y="538950"/>
                    </a:cubicBezTo>
                    <a:cubicBezTo>
                      <a:pt x="2438097" y="550785"/>
                      <a:pt x="2447467" y="560400"/>
                      <a:pt x="2459303" y="560400"/>
                    </a:cubicBezTo>
                    <a:cubicBezTo>
                      <a:pt x="2470891" y="560400"/>
                      <a:pt x="2480507" y="550785"/>
                      <a:pt x="2480754" y="538950"/>
                    </a:cubicBezTo>
                    <a:close/>
                    <a:moveTo>
                      <a:pt x="2481247" y="310175"/>
                    </a:moveTo>
                    <a:cubicBezTo>
                      <a:pt x="2481247" y="297600"/>
                      <a:pt x="2471138" y="287491"/>
                      <a:pt x="2458563" y="287491"/>
                    </a:cubicBezTo>
                    <a:cubicBezTo>
                      <a:pt x="2445987" y="287491"/>
                      <a:pt x="2435878" y="297600"/>
                      <a:pt x="2435878" y="310175"/>
                    </a:cubicBezTo>
                    <a:cubicBezTo>
                      <a:pt x="2435878" y="322751"/>
                      <a:pt x="2445987" y="332860"/>
                      <a:pt x="2458563" y="332860"/>
                    </a:cubicBezTo>
                    <a:cubicBezTo>
                      <a:pt x="2471138" y="332860"/>
                      <a:pt x="2481247" y="322751"/>
                      <a:pt x="2481247" y="310175"/>
                    </a:cubicBezTo>
                    <a:close/>
                    <a:moveTo>
                      <a:pt x="2481248" y="3736535"/>
                    </a:moveTo>
                    <a:cubicBezTo>
                      <a:pt x="2481248" y="3729385"/>
                      <a:pt x="2475576" y="3723713"/>
                      <a:pt x="2468426" y="3723713"/>
                    </a:cubicBezTo>
                    <a:cubicBezTo>
                      <a:pt x="2461276" y="3723713"/>
                      <a:pt x="2455604" y="3729385"/>
                      <a:pt x="2455604" y="3736535"/>
                    </a:cubicBezTo>
                    <a:cubicBezTo>
                      <a:pt x="2455604" y="3743685"/>
                      <a:pt x="2461276" y="3749357"/>
                      <a:pt x="2468426" y="3749357"/>
                    </a:cubicBezTo>
                    <a:cubicBezTo>
                      <a:pt x="2475576" y="3749357"/>
                      <a:pt x="2481248" y="3743685"/>
                      <a:pt x="2481248" y="3736535"/>
                    </a:cubicBezTo>
                    <a:close/>
                    <a:moveTo>
                      <a:pt x="2481248" y="4007773"/>
                    </a:moveTo>
                    <a:cubicBezTo>
                      <a:pt x="2481248" y="3993964"/>
                      <a:pt x="2469907" y="3982620"/>
                      <a:pt x="2456098" y="3982620"/>
                    </a:cubicBezTo>
                    <a:cubicBezTo>
                      <a:pt x="2442290" y="3982620"/>
                      <a:pt x="2430947" y="3993964"/>
                      <a:pt x="2430947" y="4007773"/>
                    </a:cubicBezTo>
                    <a:cubicBezTo>
                      <a:pt x="2430947" y="4021580"/>
                      <a:pt x="2442290" y="4032921"/>
                      <a:pt x="2456098" y="4032921"/>
                    </a:cubicBezTo>
                    <a:cubicBezTo>
                      <a:pt x="2469907" y="4032921"/>
                      <a:pt x="2481248" y="4021826"/>
                      <a:pt x="2481248" y="4007773"/>
                    </a:cubicBezTo>
                    <a:close/>
                    <a:moveTo>
                      <a:pt x="2481494" y="5483524"/>
                    </a:moveTo>
                    <a:cubicBezTo>
                      <a:pt x="2481494" y="5481798"/>
                      <a:pt x="2480262" y="5480566"/>
                      <a:pt x="2478535" y="5480566"/>
                    </a:cubicBezTo>
                    <a:cubicBezTo>
                      <a:pt x="2476808" y="5480566"/>
                      <a:pt x="2475576" y="5481798"/>
                      <a:pt x="2475576" y="5483524"/>
                    </a:cubicBezTo>
                    <a:cubicBezTo>
                      <a:pt x="2475576" y="5485005"/>
                      <a:pt x="2476808" y="5486483"/>
                      <a:pt x="2478535" y="5486483"/>
                    </a:cubicBezTo>
                    <a:cubicBezTo>
                      <a:pt x="2480262" y="5486483"/>
                      <a:pt x="2481740" y="5485005"/>
                      <a:pt x="2481494" y="5483524"/>
                    </a:cubicBezTo>
                    <a:close/>
                    <a:moveTo>
                      <a:pt x="2481986" y="6304377"/>
                    </a:moveTo>
                    <a:cubicBezTo>
                      <a:pt x="2481986" y="6296978"/>
                      <a:pt x="2475822" y="6291060"/>
                      <a:pt x="2468426" y="6291060"/>
                    </a:cubicBezTo>
                    <a:cubicBezTo>
                      <a:pt x="2461027" y="6291060"/>
                      <a:pt x="2454864" y="6296978"/>
                      <a:pt x="2454864" y="6304377"/>
                    </a:cubicBezTo>
                    <a:cubicBezTo>
                      <a:pt x="2454864" y="6311773"/>
                      <a:pt x="2461027" y="6317937"/>
                      <a:pt x="2468426" y="6317937"/>
                    </a:cubicBezTo>
                    <a:cubicBezTo>
                      <a:pt x="2475822" y="6317937"/>
                      <a:pt x="2481739" y="6312018"/>
                      <a:pt x="2481986" y="6304377"/>
                    </a:cubicBezTo>
                    <a:close/>
                    <a:moveTo>
                      <a:pt x="2482974" y="5603116"/>
                    </a:moveTo>
                    <a:cubicBezTo>
                      <a:pt x="2482974" y="5599416"/>
                      <a:pt x="2480015" y="5596457"/>
                      <a:pt x="2476316" y="5596457"/>
                    </a:cubicBezTo>
                    <a:cubicBezTo>
                      <a:pt x="2472617" y="5596457"/>
                      <a:pt x="2469658" y="5599416"/>
                      <a:pt x="2469658" y="5603116"/>
                    </a:cubicBezTo>
                    <a:cubicBezTo>
                      <a:pt x="2469658" y="5606812"/>
                      <a:pt x="2472617" y="5609774"/>
                      <a:pt x="2476316" y="5609774"/>
                    </a:cubicBezTo>
                    <a:cubicBezTo>
                      <a:pt x="2480015" y="5609774"/>
                      <a:pt x="2482974" y="5606812"/>
                      <a:pt x="2482974" y="5603116"/>
                    </a:cubicBezTo>
                    <a:close/>
                    <a:moveTo>
                      <a:pt x="2484945" y="4529277"/>
                    </a:moveTo>
                    <a:cubicBezTo>
                      <a:pt x="2484945" y="4503880"/>
                      <a:pt x="2464235" y="4483167"/>
                      <a:pt x="2438838" y="4483167"/>
                    </a:cubicBezTo>
                    <a:cubicBezTo>
                      <a:pt x="2413439" y="4483167"/>
                      <a:pt x="2392727" y="4503880"/>
                      <a:pt x="2392727" y="4529277"/>
                    </a:cubicBezTo>
                    <a:cubicBezTo>
                      <a:pt x="2392727" y="4554672"/>
                      <a:pt x="2413439" y="4575388"/>
                      <a:pt x="2438838" y="4575388"/>
                    </a:cubicBezTo>
                    <a:cubicBezTo>
                      <a:pt x="2464481" y="4575388"/>
                      <a:pt x="2484945" y="4554672"/>
                      <a:pt x="2484945" y="4529277"/>
                    </a:cubicBezTo>
                    <a:close/>
                    <a:moveTo>
                      <a:pt x="2485439" y="6189226"/>
                    </a:moveTo>
                    <a:cubicBezTo>
                      <a:pt x="2485439" y="6180348"/>
                      <a:pt x="2478289" y="6172950"/>
                      <a:pt x="2469166" y="6172950"/>
                    </a:cubicBezTo>
                    <a:cubicBezTo>
                      <a:pt x="2460290" y="6172950"/>
                      <a:pt x="2452891" y="6180100"/>
                      <a:pt x="2452891" y="6189226"/>
                    </a:cubicBezTo>
                    <a:cubicBezTo>
                      <a:pt x="2452891" y="6198102"/>
                      <a:pt x="2460290" y="6205498"/>
                      <a:pt x="2469166" y="6205498"/>
                    </a:cubicBezTo>
                    <a:cubicBezTo>
                      <a:pt x="2478289" y="6205498"/>
                      <a:pt x="2485439" y="6198102"/>
                      <a:pt x="2485439" y="6189226"/>
                    </a:cubicBezTo>
                    <a:close/>
                    <a:moveTo>
                      <a:pt x="2487659" y="3163029"/>
                    </a:moveTo>
                    <a:cubicBezTo>
                      <a:pt x="2487659" y="3161059"/>
                      <a:pt x="2486181" y="3159579"/>
                      <a:pt x="2484206" y="3159579"/>
                    </a:cubicBezTo>
                    <a:cubicBezTo>
                      <a:pt x="2482234" y="3159579"/>
                      <a:pt x="2480756" y="3161059"/>
                      <a:pt x="2480756" y="3163029"/>
                    </a:cubicBezTo>
                    <a:cubicBezTo>
                      <a:pt x="2480756" y="3165005"/>
                      <a:pt x="2482234" y="3166483"/>
                      <a:pt x="2484206" y="3166483"/>
                    </a:cubicBezTo>
                    <a:cubicBezTo>
                      <a:pt x="2485933" y="3166483"/>
                      <a:pt x="2487659" y="3165005"/>
                      <a:pt x="2487659" y="3163029"/>
                    </a:cubicBezTo>
                    <a:close/>
                    <a:moveTo>
                      <a:pt x="2490125" y="2745593"/>
                    </a:moveTo>
                    <a:cubicBezTo>
                      <a:pt x="2490125" y="2724384"/>
                      <a:pt x="2472866" y="2707370"/>
                      <a:pt x="2451907" y="2707370"/>
                    </a:cubicBezTo>
                    <a:cubicBezTo>
                      <a:pt x="2430947" y="2707370"/>
                      <a:pt x="2413933" y="2724630"/>
                      <a:pt x="2413933" y="2745593"/>
                    </a:cubicBezTo>
                    <a:cubicBezTo>
                      <a:pt x="2413933" y="2766550"/>
                      <a:pt x="2430947" y="2783562"/>
                      <a:pt x="2451907" y="2783562"/>
                    </a:cubicBezTo>
                    <a:cubicBezTo>
                      <a:pt x="2473112" y="2783562"/>
                      <a:pt x="2490125" y="2766550"/>
                      <a:pt x="2490125" y="2745593"/>
                    </a:cubicBezTo>
                    <a:close/>
                    <a:moveTo>
                      <a:pt x="2504919" y="1589984"/>
                    </a:moveTo>
                    <a:cubicBezTo>
                      <a:pt x="2504919" y="1579876"/>
                      <a:pt x="2496780" y="1571491"/>
                      <a:pt x="2486425" y="1571491"/>
                    </a:cubicBezTo>
                    <a:cubicBezTo>
                      <a:pt x="2476316" y="1571491"/>
                      <a:pt x="2467932" y="1579629"/>
                      <a:pt x="2467932" y="1589984"/>
                    </a:cubicBezTo>
                    <a:cubicBezTo>
                      <a:pt x="2467932" y="1600095"/>
                      <a:pt x="2476068" y="1608480"/>
                      <a:pt x="2486425" y="1608480"/>
                    </a:cubicBezTo>
                    <a:cubicBezTo>
                      <a:pt x="2496780" y="1608480"/>
                      <a:pt x="2505165" y="1600095"/>
                      <a:pt x="2504919" y="1589984"/>
                    </a:cubicBezTo>
                    <a:close/>
                    <a:moveTo>
                      <a:pt x="2505412" y="1711760"/>
                    </a:moveTo>
                    <a:cubicBezTo>
                      <a:pt x="2505412" y="1703645"/>
                      <a:pt x="2498755" y="1696739"/>
                      <a:pt x="2490372" y="1696739"/>
                    </a:cubicBezTo>
                    <a:cubicBezTo>
                      <a:pt x="2481987" y="1696739"/>
                      <a:pt x="2475084" y="1703400"/>
                      <a:pt x="2475084" y="1711760"/>
                    </a:cubicBezTo>
                    <a:cubicBezTo>
                      <a:pt x="2475084" y="1719905"/>
                      <a:pt x="2481987" y="1726814"/>
                      <a:pt x="2490372" y="1726814"/>
                    </a:cubicBezTo>
                    <a:cubicBezTo>
                      <a:pt x="2498755" y="1726814"/>
                      <a:pt x="2505412" y="1719905"/>
                      <a:pt x="2505412" y="1711760"/>
                    </a:cubicBezTo>
                    <a:close/>
                    <a:moveTo>
                      <a:pt x="2508123" y="4256813"/>
                    </a:moveTo>
                    <a:cubicBezTo>
                      <a:pt x="2508123" y="4245223"/>
                      <a:pt x="2498753" y="4235606"/>
                      <a:pt x="2486919" y="4235606"/>
                    </a:cubicBezTo>
                    <a:cubicBezTo>
                      <a:pt x="2475329" y="4235606"/>
                      <a:pt x="2465713" y="4245223"/>
                      <a:pt x="2465713" y="4256813"/>
                    </a:cubicBezTo>
                    <a:cubicBezTo>
                      <a:pt x="2465713" y="4268400"/>
                      <a:pt x="2475081" y="4278016"/>
                      <a:pt x="2486919" y="4278016"/>
                    </a:cubicBezTo>
                    <a:cubicBezTo>
                      <a:pt x="2498753" y="4278016"/>
                      <a:pt x="2508123" y="4268400"/>
                      <a:pt x="2508123" y="4256813"/>
                    </a:cubicBezTo>
                    <a:close/>
                    <a:moveTo>
                      <a:pt x="2509357" y="4996785"/>
                    </a:moveTo>
                    <a:cubicBezTo>
                      <a:pt x="2509357" y="4992591"/>
                      <a:pt x="2505906" y="4989140"/>
                      <a:pt x="2501715" y="4989140"/>
                    </a:cubicBezTo>
                    <a:cubicBezTo>
                      <a:pt x="2497520" y="4989140"/>
                      <a:pt x="2494070" y="4992591"/>
                      <a:pt x="2494070" y="4996785"/>
                    </a:cubicBezTo>
                    <a:cubicBezTo>
                      <a:pt x="2494070" y="5000976"/>
                      <a:pt x="2497520" y="5004427"/>
                      <a:pt x="2501715" y="5004427"/>
                    </a:cubicBezTo>
                    <a:cubicBezTo>
                      <a:pt x="2505906" y="5004427"/>
                      <a:pt x="2509357" y="5000976"/>
                      <a:pt x="2509357" y="4996785"/>
                    </a:cubicBezTo>
                    <a:close/>
                    <a:moveTo>
                      <a:pt x="2518236" y="3847497"/>
                    </a:moveTo>
                    <a:cubicBezTo>
                      <a:pt x="2518236" y="3839115"/>
                      <a:pt x="2511578" y="3832456"/>
                      <a:pt x="2503192" y="3832456"/>
                    </a:cubicBezTo>
                    <a:cubicBezTo>
                      <a:pt x="2495057" y="3832456"/>
                      <a:pt x="2488153" y="3839115"/>
                      <a:pt x="2488153" y="3847497"/>
                    </a:cubicBezTo>
                    <a:cubicBezTo>
                      <a:pt x="2488153" y="3855635"/>
                      <a:pt x="2494810" y="3862540"/>
                      <a:pt x="2503192" y="3862540"/>
                    </a:cubicBezTo>
                    <a:cubicBezTo>
                      <a:pt x="2511578" y="3862540"/>
                      <a:pt x="2518482" y="3855635"/>
                      <a:pt x="2518236" y="3847497"/>
                    </a:cubicBezTo>
                    <a:close/>
                    <a:moveTo>
                      <a:pt x="2518479" y="5244839"/>
                    </a:moveTo>
                    <a:cubicBezTo>
                      <a:pt x="2518479" y="5230539"/>
                      <a:pt x="2506891" y="5218949"/>
                      <a:pt x="2492589" y="5218949"/>
                    </a:cubicBezTo>
                    <a:cubicBezTo>
                      <a:pt x="2478289" y="5218949"/>
                      <a:pt x="2466700" y="5230539"/>
                      <a:pt x="2466700" y="5244839"/>
                    </a:cubicBezTo>
                    <a:cubicBezTo>
                      <a:pt x="2466700" y="5259142"/>
                      <a:pt x="2478289" y="5270732"/>
                      <a:pt x="2492589" y="5270732"/>
                    </a:cubicBezTo>
                    <a:cubicBezTo>
                      <a:pt x="2506891" y="5270732"/>
                      <a:pt x="2518479" y="5259142"/>
                      <a:pt x="2518479" y="5244839"/>
                    </a:cubicBezTo>
                    <a:close/>
                    <a:moveTo>
                      <a:pt x="2520453" y="2896981"/>
                    </a:moveTo>
                    <a:cubicBezTo>
                      <a:pt x="2520453" y="2876763"/>
                      <a:pt x="2503932" y="2860242"/>
                      <a:pt x="2483712" y="2860242"/>
                    </a:cubicBezTo>
                    <a:cubicBezTo>
                      <a:pt x="2463494" y="2860242"/>
                      <a:pt x="2446973" y="2876763"/>
                      <a:pt x="2446973" y="2896981"/>
                    </a:cubicBezTo>
                    <a:cubicBezTo>
                      <a:pt x="2446973" y="2917202"/>
                      <a:pt x="2463494" y="2933723"/>
                      <a:pt x="2483712" y="2933723"/>
                    </a:cubicBezTo>
                    <a:cubicBezTo>
                      <a:pt x="2503932" y="2933723"/>
                      <a:pt x="2520453" y="2917202"/>
                      <a:pt x="2520453" y="2896981"/>
                    </a:cubicBezTo>
                    <a:close/>
                    <a:moveTo>
                      <a:pt x="2525628" y="1835084"/>
                    </a:moveTo>
                    <a:cubicBezTo>
                      <a:pt x="2525628" y="1817821"/>
                      <a:pt x="2511574" y="1803769"/>
                      <a:pt x="2494315" y="1803769"/>
                    </a:cubicBezTo>
                    <a:cubicBezTo>
                      <a:pt x="2477054" y="1803769"/>
                      <a:pt x="2463000" y="1817821"/>
                      <a:pt x="2463000" y="1835084"/>
                    </a:cubicBezTo>
                    <a:cubicBezTo>
                      <a:pt x="2463000" y="1852337"/>
                      <a:pt x="2477054" y="1866387"/>
                      <a:pt x="2494315" y="1866387"/>
                    </a:cubicBezTo>
                    <a:cubicBezTo>
                      <a:pt x="2511822" y="1866387"/>
                      <a:pt x="2525877" y="1852092"/>
                      <a:pt x="2525628" y="1835084"/>
                    </a:cubicBezTo>
                    <a:close/>
                    <a:moveTo>
                      <a:pt x="2529084" y="3054292"/>
                    </a:moveTo>
                    <a:cubicBezTo>
                      <a:pt x="2529084" y="3052074"/>
                      <a:pt x="2527358" y="3050347"/>
                      <a:pt x="2525140" y="3050347"/>
                    </a:cubicBezTo>
                    <a:cubicBezTo>
                      <a:pt x="2522921" y="3050347"/>
                      <a:pt x="2521194" y="3052074"/>
                      <a:pt x="2521194" y="3054292"/>
                    </a:cubicBezTo>
                    <a:cubicBezTo>
                      <a:pt x="2521194" y="3056511"/>
                      <a:pt x="2522921" y="3058237"/>
                      <a:pt x="2525140" y="3058237"/>
                    </a:cubicBezTo>
                    <a:cubicBezTo>
                      <a:pt x="2527112" y="3058237"/>
                      <a:pt x="2529084" y="3056511"/>
                      <a:pt x="2529084" y="3054292"/>
                    </a:cubicBezTo>
                    <a:close/>
                    <a:moveTo>
                      <a:pt x="2533030" y="2086271"/>
                    </a:moveTo>
                    <a:cubicBezTo>
                      <a:pt x="2533030" y="2071475"/>
                      <a:pt x="2521194" y="2059638"/>
                      <a:pt x="2506400" y="2059638"/>
                    </a:cubicBezTo>
                    <a:cubicBezTo>
                      <a:pt x="2491851" y="2059638"/>
                      <a:pt x="2479770" y="2071475"/>
                      <a:pt x="2479770" y="2086271"/>
                    </a:cubicBezTo>
                    <a:cubicBezTo>
                      <a:pt x="2479770" y="2101068"/>
                      <a:pt x="2491606" y="2112905"/>
                      <a:pt x="2506400" y="2112905"/>
                    </a:cubicBezTo>
                    <a:cubicBezTo>
                      <a:pt x="2520949" y="2112905"/>
                      <a:pt x="2533030" y="2101068"/>
                      <a:pt x="2533030" y="2086271"/>
                    </a:cubicBezTo>
                    <a:close/>
                    <a:moveTo>
                      <a:pt x="2533522" y="5121800"/>
                    </a:moveTo>
                    <a:cubicBezTo>
                      <a:pt x="2533522" y="5101583"/>
                      <a:pt x="2517000" y="5085061"/>
                      <a:pt x="2496779" y="5085061"/>
                    </a:cubicBezTo>
                    <a:cubicBezTo>
                      <a:pt x="2476562" y="5085061"/>
                      <a:pt x="2460041" y="5101583"/>
                      <a:pt x="2460041" y="5121800"/>
                    </a:cubicBezTo>
                    <a:cubicBezTo>
                      <a:pt x="2460041" y="5142020"/>
                      <a:pt x="2476562" y="5158539"/>
                      <a:pt x="2496779" y="5158539"/>
                    </a:cubicBezTo>
                    <a:cubicBezTo>
                      <a:pt x="2517247" y="5158539"/>
                      <a:pt x="2533768" y="5142020"/>
                      <a:pt x="2533522" y="5121800"/>
                    </a:cubicBezTo>
                    <a:close/>
                    <a:moveTo>
                      <a:pt x="2533768" y="1959549"/>
                    </a:moveTo>
                    <a:cubicBezTo>
                      <a:pt x="2533768" y="1940815"/>
                      <a:pt x="2518727" y="1925778"/>
                      <a:pt x="2499987" y="1925778"/>
                    </a:cubicBezTo>
                    <a:cubicBezTo>
                      <a:pt x="2481247" y="1925778"/>
                      <a:pt x="2466207" y="1941063"/>
                      <a:pt x="2466207" y="1959549"/>
                    </a:cubicBezTo>
                    <a:cubicBezTo>
                      <a:pt x="2466207" y="1978283"/>
                      <a:pt x="2481496" y="1993319"/>
                      <a:pt x="2499987" y="1993319"/>
                    </a:cubicBezTo>
                    <a:cubicBezTo>
                      <a:pt x="2518481" y="1993319"/>
                      <a:pt x="2533768" y="1978283"/>
                      <a:pt x="2533768" y="1959549"/>
                    </a:cubicBezTo>
                    <a:close/>
                    <a:moveTo>
                      <a:pt x="2544374" y="632382"/>
                    </a:moveTo>
                    <a:cubicBezTo>
                      <a:pt x="2544374" y="619315"/>
                      <a:pt x="2534016" y="608712"/>
                      <a:pt x="2520949" y="608712"/>
                    </a:cubicBezTo>
                    <a:cubicBezTo>
                      <a:pt x="2508127" y="608712"/>
                      <a:pt x="2497523" y="619315"/>
                      <a:pt x="2497523" y="632382"/>
                    </a:cubicBezTo>
                    <a:cubicBezTo>
                      <a:pt x="2497523" y="645233"/>
                      <a:pt x="2507878" y="655852"/>
                      <a:pt x="2520949" y="655852"/>
                    </a:cubicBezTo>
                    <a:cubicBezTo>
                      <a:pt x="2534016" y="655852"/>
                      <a:pt x="2544619" y="645233"/>
                      <a:pt x="2544374" y="632382"/>
                    </a:cubicBezTo>
                    <a:close/>
                    <a:moveTo>
                      <a:pt x="2544616" y="977571"/>
                    </a:moveTo>
                    <a:cubicBezTo>
                      <a:pt x="2544616" y="965981"/>
                      <a:pt x="2534999" y="956369"/>
                      <a:pt x="2523412" y="956369"/>
                    </a:cubicBezTo>
                    <a:cubicBezTo>
                      <a:pt x="2511577" y="956369"/>
                      <a:pt x="2502206" y="965981"/>
                      <a:pt x="2502206" y="977571"/>
                    </a:cubicBezTo>
                    <a:cubicBezTo>
                      <a:pt x="2502206" y="989401"/>
                      <a:pt x="2511822" y="998772"/>
                      <a:pt x="2523412" y="998772"/>
                    </a:cubicBezTo>
                    <a:cubicBezTo>
                      <a:pt x="2535245" y="998772"/>
                      <a:pt x="2544616" y="989154"/>
                      <a:pt x="2544616" y="977571"/>
                    </a:cubicBezTo>
                    <a:close/>
                    <a:moveTo>
                      <a:pt x="2544865" y="747058"/>
                    </a:moveTo>
                    <a:cubicBezTo>
                      <a:pt x="2544865" y="734231"/>
                      <a:pt x="2534262" y="723638"/>
                      <a:pt x="2521440" y="723638"/>
                    </a:cubicBezTo>
                    <a:cubicBezTo>
                      <a:pt x="2508618" y="723638"/>
                      <a:pt x="2498015" y="734231"/>
                      <a:pt x="2498015" y="747058"/>
                    </a:cubicBezTo>
                    <a:cubicBezTo>
                      <a:pt x="2498015" y="759879"/>
                      <a:pt x="2508618" y="770486"/>
                      <a:pt x="2521440" y="770486"/>
                    </a:cubicBezTo>
                    <a:cubicBezTo>
                      <a:pt x="2534508" y="770486"/>
                      <a:pt x="2544865" y="759879"/>
                      <a:pt x="2544865" y="747058"/>
                    </a:cubicBezTo>
                    <a:close/>
                    <a:moveTo>
                      <a:pt x="2544865" y="1211043"/>
                    </a:moveTo>
                    <a:cubicBezTo>
                      <a:pt x="2544865" y="1199947"/>
                      <a:pt x="2535989" y="1191071"/>
                      <a:pt x="2524891" y="1191071"/>
                    </a:cubicBezTo>
                    <a:cubicBezTo>
                      <a:pt x="2513796" y="1191071"/>
                      <a:pt x="2504919" y="1199947"/>
                      <a:pt x="2504919" y="1211043"/>
                    </a:cubicBezTo>
                    <a:cubicBezTo>
                      <a:pt x="2504919" y="1222141"/>
                      <a:pt x="2513796" y="1231019"/>
                      <a:pt x="2524891" y="1231019"/>
                    </a:cubicBezTo>
                    <a:cubicBezTo>
                      <a:pt x="2535989" y="1231019"/>
                      <a:pt x="2544865" y="1222141"/>
                      <a:pt x="2544865" y="1211043"/>
                    </a:cubicBezTo>
                    <a:close/>
                    <a:moveTo>
                      <a:pt x="2545112" y="2513567"/>
                    </a:moveTo>
                    <a:cubicBezTo>
                      <a:pt x="2545112" y="2491376"/>
                      <a:pt x="2526864" y="2473129"/>
                      <a:pt x="2504673" y="2473129"/>
                    </a:cubicBezTo>
                    <a:cubicBezTo>
                      <a:pt x="2482234" y="2473129"/>
                      <a:pt x="2464235" y="2491376"/>
                      <a:pt x="2464235" y="2513567"/>
                    </a:cubicBezTo>
                    <a:cubicBezTo>
                      <a:pt x="2464235" y="2535759"/>
                      <a:pt x="2482480" y="2554006"/>
                      <a:pt x="2504673" y="2554006"/>
                    </a:cubicBezTo>
                    <a:cubicBezTo>
                      <a:pt x="2526864" y="2554006"/>
                      <a:pt x="2545112" y="2535759"/>
                      <a:pt x="2545112" y="2513567"/>
                    </a:cubicBezTo>
                    <a:close/>
                    <a:moveTo>
                      <a:pt x="2545603" y="1093938"/>
                    </a:moveTo>
                    <a:cubicBezTo>
                      <a:pt x="2545603" y="1081856"/>
                      <a:pt x="2535740" y="1072239"/>
                      <a:pt x="2523904" y="1072239"/>
                    </a:cubicBezTo>
                    <a:cubicBezTo>
                      <a:pt x="2511822" y="1072239"/>
                      <a:pt x="2502206" y="1082102"/>
                      <a:pt x="2502206" y="1093938"/>
                    </a:cubicBezTo>
                    <a:cubicBezTo>
                      <a:pt x="2502206" y="1106018"/>
                      <a:pt x="2512069" y="1115634"/>
                      <a:pt x="2523904" y="1115634"/>
                    </a:cubicBezTo>
                    <a:cubicBezTo>
                      <a:pt x="2535740" y="1115634"/>
                      <a:pt x="2545356" y="1106018"/>
                      <a:pt x="2545603" y="1093938"/>
                    </a:cubicBezTo>
                    <a:close/>
                    <a:moveTo>
                      <a:pt x="2545852" y="861943"/>
                    </a:moveTo>
                    <a:cubicBezTo>
                      <a:pt x="2545852" y="849125"/>
                      <a:pt x="2535249" y="838526"/>
                      <a:pt x="2522426" y="838526"/>
                    </a:cubicBezTo>
                    <a:cubicBezTo>
                      <a:pt x="2509604" y="838526"/>
                      <a:pt x="2499001" y="849125"/>
                      <a:pt x="2499001" y="861943"/>
                    </a:cubicBezTo>
                    <a:cubicBezTo>
                      <a:pt x="2499001" y="874762"/>
                      <a:pt x="2509604" y="885370"/>
                      <a:pt x="2522426" y="885370"/>
                    </a:cubicBezTo>
                    <a:cubicBezTo>
                      <a:pt x="2535494" y="885370"/>
                      <a:pt x="2545852" y="874762"/>
                      <a:pt x="2545852" y="861943"/>
                    </a:cubicBezTo>
                    <a:close/>
                    <a:moveTo>
                      <a:pt x="2546344" y="3448314"/>
                    </a:moveTo>
                    <a:cubicBezTo>
                      <a:pt x="2546344" y="3447575"/>
                      <a:pt x="2545850" y="3447081"/>
                      <a:pt x="2545110" y="3447081"/>
                    </a:cubicBezTo>
                    <a:cubicBezTo>
                      <a:pt x="2544372" y="3447081"/>
                      <a:pt x="2543877" y="3447575"/>
                      <a:pt x="2543877" y="3448314"/>
                    </a:cubicBezTo>
                    <a:cubicBezTo>
                      <a:pt x="2543877" y="3449053"/>
                      <a:pt x="2544372" y="3449548"/>
                      <a:pt x="2545110" y="3449548"/>
                    </a:cubicBezTo>
                    <a:cubicBezTo>
                      <a:pt x="2545850" y="3449548"/>
                      <a:pt x="2546344" y="3449053"/>
                      <a:pt x="2546344" y="3448314"/>
                    </a:cubicBezTo>
                    <a:close/>
                    <a:moveTo>
                      <a:pt x="2547330" y="4482676"/>
                    </a:moveTo>
                    <a:cubicBezTo>
                      <a:pt x="2547330" y="4482180"/>
                      <a:pt x="2547084" y="4481935"/>
                      <a:pt x="2546592" y="4481935"/>
                    </a:cubicBezTo>
                    <a:cubicBezTo>
                      <a:pt x="2546097" y="4481935"/>
                      <a:pt x="2545852" y="4482180"/>
                      <a:pt x="2545852" y="4482676"/>
                    </a:cubicBezTo>
                    <a:cubicBezTo>
                      <a:pt x="2545852" y="4483167"/>
                      <a:pt x="2546346" y="4483412"/>
                      <a:pt x="2546592" y="4483412"/>
                    </a:cubicBezTo>
                    <a:cubicBezTo>
                      <a:pt x="2547084" y="4483412"/>
                      <a:pt x="2547330" y="4482921"/>
                      <a:pt x="2547330" y="4482676"/>
                    </a:cubicBezTo>
                    <a:close/>
                    <a:moveTo>
                      <a:pt x="2547576" y="4869798"/>
                    </a:moveTo>
                    <a:cubicBezTo>
                      <a:pt x="2547576" y="4847853"/>
                      <a:pt x="2529825" y="4830100"/>
                      <a:pt x="2507878" y="4830100"/>
                    </a:cubicBezTo>
                    <a:cubicBezTo>
                      <a:pt x="2485934" y="4830100"/>
                      <a:pt x="2468180" y="4847853"/>
                      <a:pt x="2468180" y="4869798"/>
                    </a:cubicBezTo>
                    <a:cubicBezTo>
                      <a:pt x="2468180" y="4891745"/>
                      <a:pt x="2485934" y="4909499"/>
                      <a:pt x="2507878" y="4909499"/>
                    </a:cubicBezTo>
                    <a:cubicBezTo>
                      <a:pt x="2529825" y="4909499"/>
                      <a:pt x="2547576" y="4891745"/>
                      <a:pt x="2547576" y="4869798"/>
                    </a:cubicBezTo>
                    <a:close/>
                    <a:moveTo>
                      <a:pt x="2548071" y="1328889"/>
                    </a:moveTo>
                    <a:cubicBezTo>
                      <a:pt x="2548071" y="1317053"/>
                      <a:pt x="2538454" y="1307188"/>
                      <a:pt x="2526372" y="1307188"/>
                    </a:cubicBezTo>
                    <a:cubicBezTo>
                      <a:pt x="2514290" y="1307188"/>
                      <a:pt x="2504673" y="1316809"/>
                      <a:pt x="2504673" y="1328889"/>
                    </a:cubicBezTo>
                    <a:cubicBezTo>
                      <a:pt x="2504673" y="1340969"/>
                      <a:pt x="2514537" y="1350588"/>
                      <a:pt x="2526372" y="1350588"/>
                    </a:cubicBezTo>
                    <a:cubicBezTo>
                      <a:pt x="2538454" y="1350588"/>
                      <a:pt x="2548071" y="1340722"/>
                      <a:pt x="2548071" y="1328889"/>
                    </a:cubicBezTo>
                    <a:close/>
                    <a:moveTo>
                      <a:pt x="2549056" y="1447477"/>
                    </a:moveTo>
                    <a:cubicBezTo>
                      <a:pt x="2549056" y="1435644"/>
                      <a:pt x="2539439" y="1426275"/>
                      <a:pt x="2527852" y="1426275"/>
                    </a:cubicBezTo>
                    <a:cubicBezTo>
                      <a:pt x="2516013" y="1426275"/>
                      <a:pt x="2506646" y="1435888"/>
                      <a:pt x="2506646" y="1447477"/>
                    </a:cubicBezTo>
                    <a:cubicBezTo>
                      <a:pt x="2506646" y="1459315"/>
                      <a:pt x="2516262" y="1468685"/>
                      <a:pt x="2527852" y="1468685"/>
                    </a:cubicBezTo>
                    <a:cubicBezTo>
                      <a:pt x="2539687" y="1468685"/>
                      <a:pt x="2549056" y="1459315"/>
                      <a:pt x="2549056" y="1447477"/>
                    </a:cubicBezTo>
                    <a:close/>
                    <a:moveTo>
                      <a:pt x="2551521" y="4108126"/>
                    </a:moveTo>
                    <a:cubicBezTo>
                      <a:pt x="2551521" y="4087414"/>
                      <a:pt x="2534754" y="4070647"/>
                      <a:pt x="2514042" y="4070647"/>
                    </a:cubicBezTo>
                    <a:cubicBezTo>
                      <a:pt x="2493329" y="4070647"/>
                      <a:pt x="2476563" y="4087414"/>
                      <a:pt x="2476563" y="4108126"/>
                    </a:cubicBezTo>
                    <a:cubicBezTo>
                      <a:pt x="2476563" y="4128838"/>
                      <a:pt x="2493329" y="4145606"/>
                      <a:pt x="2514042" y="4145606"/>
                    </a:cubicBezTo>
                    <a:cubicBezTo>
                      <a:pt x="2534754" y="4145606"/>
                      <a:pt x="2551521" y="4128838"/>
                      <a:pt x="2551521" y="4108126"/>
                    </a:cubicBezTo>
                    <a:close/>
                    <a:moveTo>
                      <a:pt x="2553987" y="2215479"/>
                    </a:moveTo>
                    <a:cubicBezTo>
                      <a:pt x="2553987" y="2193530"/>
                      <a:pt x="2536234" y="2175778"/>
                      <a:pt x="2514287" y="2175778"/>
                    </a:cubicBezTo>
                    <a:cubicBezTo>
                      <a:pt x="2492343" y="2175778"/>
                      <a:pt x="2474589" y="2193530"/>
                      <a:pt x="2474589" y="2215479"/>
                    </a:cubicBezTo>
                    <a:cubicBezTo>
                      <a:pt x="2474589" y="2237423"/>
                      <a:pt x="2492343" y="2255176"/>
                      <a:pt x="2514287" y="2255176"/>
                    </a:cubicBezTo>
                    <a:cubicBezTo>
                      <a:pt x="2535985" y="2255176"/>
                      <a:pt x="2553739" y="2237423"/>
                      <a:pt x="2553987" y="2215479"/>
                    </a:cubicBezTo>
                    <a:close/>
                    <a:moveTo>
                      <a:pt x="2556453" y="2347636"/>
                    </a:moveTo>
                    <a:cubicBezTo>
                      <a:pt x="2556453" y="2329627"/>
                      <a:pt x="2541661" y="2314836"/>
                      <a:pt x="2523659" y="2314836"/>
                    </a:cubicBezTo>
                    <a:cubicBezTo>
                      <a:pt x="2505659" y="2314836"/>
                      <a:pt x="2490865" y="2329627"/>
                      <a:pt x="2490865" y="2347636"/>
                    </a:cubicBezTo>
                    <a:cubicBezTo>
                      <a:pt x="2490865" y="2365632"/>
                      <a:pt x="2505659" y="2380425"/>
                      <a:pt x="2523659" y="2380425"/>
                    </a:cubicBezTo>
                    <a:cubicBezTo>
                      <a:pt x="2541906" y="2380425"/>
                      <a:pt x="2556453" y="2365632"/>
                      <a:pt x="2556453" y="2347636"/>
                    </a:cubicBezTo>
                    <a:close/>
                    <a:moveTo>
                      <a:pt x="2565328" y="2654109"/>
                    </a:moveTo>
                    <a:cubicBezTo>
                      <a:pt x="2565328" y="2630683"/>
                      <a:pt x="2546343" y="2611697"/>
                      <a:pt x="2522918" y="2611697"/>
                    </a:cubicBezTo>
                    <a:cubicBezTo>
                      <a:pt x="2499493" y="2611697"/>
                      <a:pt x="2480507" y="2630683"/>
                      <a:pt x="2480507" y="2654109"/>
                    </a:cubicBezTo>
                    <a:cubicBezTo>
                      <a:pt x="2480507" y="2677534"/>
                      <a:pt x="2499493" y="2696520"/>
                      <a:pt x="2522918" y="2696520"/>
                    </a:cubicBezTo>
                    <a:cubicBezTo>
                      <a:pt x="2546343" y="2696520"/>
                      <a:pt x="2565328" y="2677534"/>
                      <a:pt x="2565328" y="2654109"/>
                    </a:cubicBezTo>
                    <a:close/>
                    <a:moveTo>
                      <a:pt x="2567302" y="4740347"/>
                    </a:moveTo>
                    <a:cubicBezTo>
                      <a:pt x="2567302" y="4711744"/>
                      <a:pt x="2544125" y="4688318"/>
                      <a:pt x="2515277" y="4688318"/>
                    </a:cubicBezTo>
                    <a:cubicBezTo>
                      <a:pt x="2486674" y="4688318"/>
                      <a:pt x="2463248" y="4711498"/>
                      <a:pt x="2463248" y="4740347"/>
                    </a:cubicBezTo>
                    <a:cubicBezTo>
                      <a:pt x="2463248" y="4769196"/>
                      <a:pt x="2486425" y="4792621"/>
                      <a:pt x="2515277" y="4792621"/>
                    </a:cubicBezTo>
                    <a:cubicBezTo>
                      <a:pt x="2544125" y="4792621"/>
                      <a:pt x="2567550" y="4769196"/>
                      <a:pt x="2567302" y="4740347"/>
                    </a:cubicBezTo>
                    <a:close/>
                    <a:moveTo>
                      <a:pt x="2567548" y="3953523"/>
                    </a:moveTo>
                    <a:cubicBezTo>
                      <a:pt x="2567548" y="3943906"/>
                      <a:pt x="2559657" y="3936015"/>
                      <a:pt x="2550043" y="3936015"/>
                    </a:cubicBezTo>
                    <a:cubicBezTo>
                      <a:pt x="2540425" y="3936015"/>
                      <a:pt x="2532535" y="3943906"/>
                      <a:pt x="2532535" y="3953523"/>
                    </a:cubicBezTo>
                    <a:cubicBezTo>
                      <a:pt x="2532535" y="3963140"/>
                      <a:pt x="2540425" y="3971028"/>
                      <a:pt x="2550043" y="3971028"/>
                    </a:cubicBezTo>
                    <a:cubicBezTo>
                      <a:pt x="2559657" y="3971028"/>
                      <a:pt x="2567548" y="3963140"/>
                      <a:pt x="2567548" y="3953523"/>
                    </a:cubicBezTo>
                    <a:close/>
                    <a:moveTo>
                      <a:pt x="2569029" y="4608428"/>
                    </a:moveTo>
                    <a:cubicBezTo>
                      <a:pt x="2569029" y="4584017"/>
                      <a:pt x="2549057" y="4564044"/>
                      <a:pt x="2524645" y="4564044"/>
                    </a:cubicBezTo>
                    <a:cubicBezTo>
                      <a:pt x="2500234" y="4564044"/>
                      <a:pt x="2480262" y="4584017"/>
                      <a:pt x="2480262" y="4608428"/>
                    </a:cubicBezTo>
                    <a:cubicBezTo>
                      <a:pt x="2480262" y="4632840"/>
                      <a:pt x="2500234" y="4652812"/>
                      <a:pt x="2524645" y="4652812"/>
                    </a:cubicBezTo>
                    <a:cubicBezTo>
                      <a:pt x="2549303" y="4652812"/>
                      <a:pt x="2569029" y="4632840"/>
                      <a:pt x="2569029" y="4608428"/>
                    </a:cubicBezTo>
                    <a:close/>
                    <a:moveTo>
                      <a:pt x="2570015" y="7351582"/>
                    </a:moveTo>
                    <a:cubicBezTo>
                      <a:pt x="2570015" y="7350349"/>
                      <a:pt x="2569028" y="7349363"/>
                      <a:pt x="2567796" y="7349363"/>
                    </a:cubicBezTo>
                    <a:cubicBezTo>
                      <a:pt x="2566315" y="7349363"/>
                      <a:pt x="2565329" y="7350349"/>
                      <a:pt x="2565329" y="7351582"/>
                    </a:cubicBezTo>
                    <a:cubicBezTo>
                      <a:pt x="2565329" y="7352814"/>
                      <a:pt x="2566562" y="7353799"/>
                      <a:pt x="2567796" y="7353799"/>
                    </a:cubicBezTo>
                    <a:cubicBezTo>
                      <a:pt x="2569275" y="7353799"/>
                      <a:pt x="2570260" y="7352814"/>
                      <a:pt x="2570015" y="7351582"/>
                    </a:cubicBezTo>
                    <a:close/>
                    <a:moveTo>
                      <a:pt x="2570263" y="7463035"/>
                    </a:moveTo>
                    <a:cubicBezTo>
                      <a:pt x="2570263" y="7461802"/>
                      <a:pt x="2569274" y="7460816"/>
                      <a:pt x="2568042" y="7460816"/>
                    </a:cubicBezTo>
                    <a:cubicBezTo>
                      <a:pt x="2566809" y="7460816"/>
                      <a:pt x="2565824" y="7461802"/>
                      <a:pt x="2565824" y="7463035"/>
                    </a:cubicBezTo>
                    <a:cubicBezTo>
                      <a:pt x="2565824" y="7464269"/>
                      <a:pt x="2566809" y="7465252"/>
                      <a:pt x="2568042" y="7465252"/>
                    </a:cubicBezTo>
                    <a:cubicBezTo>
                      <a:pt x="2569274" y="7465252"/>
                      <a:pt x="2570263" y="7464020"/>
                      <a:pt x="2570263" y="7463035"/>
                    </a:cubicBezTo>
                    <a:close/>
                    <a:moveTo>
                      <a:pt x="2570509" y="7239637"/>
                    </a:moveTo>
                    <a:cubicBezTo>
                      <a:pt x="2570509" y="7238157"/>
                      <a:pt x="2569275" y="7236924"/>
                      <a:pt x="2567797" y="7236924"/>
                    </a:cubicBezTo>
                    <a:cubicBezTo>
                      <a:pt x="2566316" y="7236924"/>
                      <a:pt x="2565084" y="7238157"/>
                      <a:pt x="2565084" y="7239637"/>
                    </a:cubicBezTo>
                    <a:cubicBezTo>
                      <a:pt x="2565084" y="7241115"/>
                      <a:pt x="2566316" y="7242351"/>
                      <a:pt x="2567797" y="7242351"/>
                    </a:cubicBezTo>
                    <a:cubicBezTo>
                      <a:pt x="2569275" y="7242351"/>
                      <a:pt x="2570260" y="7241362"/>
                      <a:pt x="2570509" y="7239637"/>
                    </a:cubicBezTo>
                    <a:close/>
                    <a:moveTo>
                      <a:pt x="2571247" y="3332421"/>
                    </a:moveTo>
                    <a:cubicBezTo>
                      <a:pt x="2571247" y="3324039"/>
                      <a:pt x="2564343" y="3317135"/>
                      <a:pt x="2555961" y="3317135"/>
                    </a:cubicBezTo>
                    <a:cubicBezTo>
                      <a:pt x="2547575" y="3317135"/>
                      <a:pt x="2540672" y="3324039"/>
                      <a:pt x="2540672" y="3332421"/>
                    </a:cubicBezTo>
                    <a:cubicBezTo>
                      <a:pt x="2540672" y="3340805"/>
                      <a:pt x="2547575" y="3347709"/>
                      <a:pt x="2555961" y="3347709"/>
                    </a:cubicBezTo>
                    <a:cubicBezTo>
                      <a:pt x="2564343" y="3347709"/>
                      <a:pt x="2571247" y="3340805"/>
                      <a:pt x="2571247" y="3332421"/>
                    </a:cubicBezTo>
                    <a:close/>
                    <a:moveTo>
                      <a:pt x="2574206" y="7129174"/>
                    </a:moveTo>
                    <a:cubicBezTo>
                      <a:pt x="2574206" y="7127940"/>
                      <a:pt x="2573219" y="7126953"/>
                      <a:pt x="2571987" y="7126953"/>
                    </a:cubicBezTo>
                    <a:cubicBezTo>
                      <a:pt x="2570755" y="7126953"/>
                      <a:pt x="2569769" y="7127940"/>
                      <a:pt x="2569769" y="7129174"/>
                    </a:cubicBezTo>
                    <a:cubicBezTo>
                      <a:pt x="2569769" y="7130407"/>
                      <a:pt x="2570755" y="7131393"/>
                      <a:pt x="2571987" y="7131393"/>
                    </a:cubicBezTo>
                    <a:cubicBezTo>
                      <a:pt x="2573219" y="7131393"/>
                      <a:pt x="2574206" y="7130407"/>
                      <a:pt x="2574206" y="7129174"/>
                    </a:cubicBezTo>
                    <a:close/>
                    <a:moveTo>
                      <a:pt x="2574455" y="6905282"/>
                    </a:moveTo>
                    <a:cubicBezTo>
                      <a:pt x="2574455" y="6904047"/>
                      <a:pt x="2573469" y="6902814"/>
                      <a:pt x="2571988" y="6902814"/>
                    </a:cubicBezTo>
                    <a:cubicBezTo>
                      <a:pt x="2570756" y="6902814"/>
                      <a:pt x="2569524" y="6903801"/>
                      <a:pt x="2569524" y="6905282"/>
                    </a:cubicBezTo>
                    <a:cubicBezTo>
                      <a:pt x="2569524" y="6906513"/>
                      <a:pt x="2570509" y="6907745"/>
                      <a:pt x="2571988" y="6907745"/>
                    </a:cubicBezTo>
                    <a:cubicBezTo>
                      <a:pt x="2573469" y="6907745"/>
                      <a:pt x="2574701" y="6906513"/>
                      <a:pt x="2574455" y="6905282"/>
                    </a:cubicBezTo>
                    <a:close/>
                    <a:moveTo>
                      <a:pt x="2575195" y="7017226"/>
                    </a:moveTo>
                    <a:cubicBezTo>
                      <a:pt x="2575195" y="7015499"/>
                      <a:pt x="2573714" y="7014021"/>
                      <a:pt x="2571987" y="7014021"/>
                    </a:cubicBezTo>
                    <a:cubicBezTo>
                      <a:pt x="2570264" y="7014021"/>
                      <a:pt x="2568783" y="7015499"/>
                      <a:pt x="2568783" y="7017226"/>
                    </a:cubicBezTo>
                    <a:cubicBezTo>
                      <a:pt x="2568783" y="7018953"/>
                      <a:pt x="2570264" y="7020434"/>
                      <a:pt x="2571987" y="7020434"/>
                    </a:cubicBezTo>
                    <a:cubicBezTo>
                      <a:pt x="2573714" y="7020434"/>
                      <a:pt x="2575195" y="7018953"/>
                      <a:pt x="2575195" y="7017226"/>
                    </a:cubicBezTo>
                    <a:close/>
                    <a:moveTo>
                      <a:pt x="2575687" y="6453555"/>
                    </a:moveTo>
                    <a:cubicBezTo>
                      <a:pt x="2575687" y="6451830"/>
                      <a:pt x="2574206" y="6450349"/>
                      <a:pt x="2572479" y="6450349"/>
                    </a:cubicBezTo>
                    <a:cubicBezTo>
                      <a:pt x="2570753" y="6450349"/>
                      <a:pt x="2569275" y="6451830"/>
                      <a:pt x="2569275" y="6453555"/>
                    </a:cubicBezTo>
                    <a:cubicBezTo>
                      <a:pt x="2569275" y="6455527"/>
                      <a:pt x="2570753" y="6457008"/>
                      <a:pt x="2572479" y="6457008"/>
                    </a:cubicBezTo>
                    <a:cubicBezTo>
                      <a:pt x="2574206" y="6457008"/>
                      <a:pt x="2575687" y="6455527"/>
                      <a:pt x="2575687" y="6453555"/>
                    </a:cubicBezTo>
                    <a:close/>
                    <a:moveTo>
                      <a:pt x="2580864" y="6679913"/>
                    </a:moveTo>
                    <a:cubicBezTo>
                      <a:pt x="2580864" y="6675227"/>
                      <a:pt x="2577165" y="6671282"/>
                      <a:pt x="2572234" y="6671282"/>
                    </a:cubicBezTo>
                    <a:cubicBezTo>
                      <a:pt x="2567302" y="6671282"/>
                      <a:pt x="2563357" y="6674981"/>
                      <a:pt x="2563357" y="6679913"/>
                    </a:cubicBezTo>
                    <a:cubicBezTo>
                      <a:pt x="2563357" y="6684844"/>
                      <a:pt x="2567302" y="6688789"/>
                      <a:pt x="2572234" y="6688789"/>
                    </a:cubicBezTo>
                    <a:cubicBezTo>
                      <a:pt x="2576919" y="6688789"/>
                      <a:pt x="2580864" y="6684844"/>
                      <a:pt x="2580864" y="6679913"/>
                    </a:cubicBezTo>
                    <a:close/>
                    <a:moveTo>
                      <a:pt x="2581359" y="6566980"/>
                    </a:moveTo>
                    <a:cubicBezTo>
                      <a:pt x="2581359" y="6562048"/>
                      <a:pt x="2577166" y="6557857"/>
                      <a:pt x="2572234" y="6557857"/>
                    </a:cubicBezTo>
                    <a:cubicBezTo>
                      <a:pt x="2567057" y="6557857"/>
                      <a:pt x="2563112" y="6562048"/>
                      <a:pt x="2563112" y="6566980"/>
                    </a:cubicBezTo>
                    <a:cubicBezTo>
                      <a:pt x="2563112" y="6571911"/>
                      <a:pt x="2567303" y="6576102"/>
                      <a:pt x="2572234" y="6576102"/>
                    </a:cubicBezTo>
                    <a:cubicBezTo>
                      <a:pt x="2577166" y="6576102"/>
                      <a:pt x="2581359" y="6571911"/>
                      <a:pt x="2581359" y="6566980"/>
                    </a:cubicBezTo>
                    <a:close/>
                    <a:moveTo>
                      <a:pt x="2581850" y="5998623"/>
                    </a:moveTo>
                    <a:cubicBezTo>
                      <a:pt x="2581850" y="5997391"/>
                      <a:pt x="2580862" y="5996404"/>
                      <a:pt x="2579629" y="5996404"/>
                    </a:cubicBezTo>
                    <a:cubicBezTo>
                      <a:pt x="2578397" y="5996404"/>
                      <a:pt x="2577411" y="5997391"/>
                      <a:pt x="2577411" y="5998623"/>
                    </a:cubicBezTo>
                    <a:cubicBezTo>
                      <a:pt x="2577411" y="5999855"/>
                      <a:pt x="2578397" y="6000841"/>
                      <a:pt x="2579629" y="6000841"/>
                    </a:cubicBezTo>
                    <a:cubicBezTo>
                      <a:pt x="2580862" y="6000841"/>
                      <a:pt x="2581850" y="5999855"/>
                      <a:pt x="2581850" y="5998623"/>
                    </a:cubicBezTo>
                    <a:close/>
                    <a:moveTo>
                      <a:pt x="2581851" y="5883469"/>
                    </a:moveTo>
                    <a:cubicBezTo>
                      <a:pt x="2581851" y="5882731"/>
                      <a:pt x="2581111" y="5881990"/>
                      <a:pt x="2580370" y="5881990"/>
                    </a:cubicBezTo>
                    <a:cubicBezTo>
                      <a:pt x="2579632" y="5881990"/>
                      <a:pt x="2578892" y="5882731"/>
                      <a:pt x="2578892" y="5883469"/>
                    </a:cubicBezTo>
                    <a:cubicBezTo>
                      <a:pt x="2578892" y="5884209"/>
                      <a:pt x="2579632" y="5884950"/>
                      <a:pt x="2580370" y="5884950"/>
                    </a:cubicBezTo>
                    <a:cubicBezTo>
                      <a:pt x="2581359" y="5884950"/>
                      <a:pt x="2582097" y="5884209"/>
                      <a:pt x="2581851" y="5883469"/>
                    </a:cubicBezTo>
                    <a:close/>
                    <a:moveTo>
                      <a:pt x="2582097" y="2950727"/>
                    </a:moveTo>
                    <a:cubicBezTo>
                      <a:pt x="2582097" y="2948262"/>
                      <a:pt x="2580124" y="2946290"/>
                      <a:pt x="2577657" y="2946290"/>
                    </a:cubicBezTo>
                    <a:cubicBezTo>
                      <a:pt x="2575193" y="2946290"/>
                      <a:pt x="2573220" y="2948262"/>
                      <a:pt x="2573220" y="2950727"/>
                    </a:cubicBezTo>
                    <a:cubicBezTo>
                      <a:pt x="2573220" y="2953193"/>
                      <a:pt x="2575193" y="2955167"/>
                      <a:pt x="2577657" y="2955167"/>
                    </a:cubicBezTo>
                    <a:cubicBezTo>
                      <a:pt x="2580124" y="2955167"/>
                      <a:pt x="2582097" y="2953193"/>
                      <a:pt x="2582097" y="2950727"/>
                    </a:cubicBezTo>
                    <a:close/>
                    <a:moveTo>
                      <a:pt x="2582099" y="6792594"/>
                    </a:moveTo>
                    <a:cubicBezTo>
                      <a:pt x="2582099" y="6786925"/>
                      <a:pt x="2577659" y="6782485"/>
                      <a:pt x="2571988" y="6782485"/>
                    </a:cubicBezTo>
                    <a:cubicBezTo>
                      <a:pt x="2566319" y="6782485"/>
                      <a:pt x="2561879" y="6786925"/>
                      <a:pt x="2561879" y="6792594"/>
                    </a:cubicBezTo>
                    <a:cubicBezTo>
                      <a:pt x="2561879" y="6798020"/>
                      <a:pt x="2566319" y="6802706"/>
                      <a:pt x="2571988" y="6802706"/>
                    </a:cubicBezTo>
                    <a:cubicBezTo>
                      <a:pt x="2577659" y="6802706"/>
                      <a:pt x="2582099" y="6798266"/>
                      <a:pt x="2582099" y="6792594"/>
                    </a:cubicBezTo>
                    <a:close/>
                    <a:moveTo>
                      <a:pt x="2582342" y="6113528"/>
                    </a:moveTo>
                    <a:cubicBezTo>
                      <a:pt x="2582342" y="6111553"/>
                      <a:pt x="2580864" y="6110075"/>
                      <a:pt x="2578888" y="6110075"/>
                    </a:cubicBezTo>
                    <a:cubicBezTo>
                      <a:pt x="2576916" y="6110075"/>
                      <a:pt x="2575438" y="6111553"/>
                      <a:pt x="2575438" y="6113528"/>
                    </a:cubicBezTo>
                    <a:cubicBezTo>
                      <a:pt x="2575438" y="6115501"/>
                      <a:pt x="2576916" y="6116979"/>
                      <a:pt x="2578888" y="6116979"/>
                    </a:cubicBezTo>
                    <a:cubicBezTo>
                      <a:pt x="2580864" y="6116979"/>
                      <a:pt x="2582342" y="6115501"/>
                      <a:pt x="2582342" y="6113528"/>
                    </a:cubicBezTo>
                    <a:close/>
                    <a:moveTo>
                      <a:pt x="2584071" y="5767583"/>
                    </a:moveTo>
                    <a:cubicBezTo>
                      <a:pt x="2584071" y="5766102"/>
                      <a:pt x="2582837" y="5764869"/>
                      <a:pt x="2581359" y="5764869"/>
                    </a:cubicBezTo>
                    <a:cubicBezTo>
                      <a:pt x="2579878" y="5764869"/>
                      <a:pt x="2578646" y="5766102"/>
                      <a:pt x="2578646" y="5767583"/>
                    </a:cubicBezTo>
                    <a:cubicBezTo>
                      <a:pt x="2578646" y="5769061"/>
                      <a:pt x="2579878" y="5770296"/>
                      <a:pt x="2581359" y="5770296"/>
                    </a:cubicBezTo>
                    <a:cubicBezTo>
                      <a:pt x="2582837" y="5770296"/>
                      <a:pt x="2584071" y="5769061"/>
                      <a:pt x="2584071" y="5767583"/>
                    </a:cubicBezTo>
                    <a:close/>
                    <a:moveTo>
                      <a:pt x="2586288" y="4344593"/>
                    </a:moveTo>
                    <a:cubicBezTo>
                      <a:pt x="2586288" y="4331525"/>
                      <a:pt x="2575438" y="4320675"/>
                      <a:pt x="2562125" y="4320675"/>
                    </a:cubicBezTo>
                    <a:cubicBezTo>
                      <a:pt x="2548807" y="4320675"/>
                      <a:pt x="2537959" y="4331280"/>
                      <a:pt x="2537959" y="4344593"/>
                    </a:cubicBezTo>
                    <a:cubicBezTo>
                      <a:pt x="2537959" y="4357909"/>
                      <a:pt x="2548807" y="4368759"/>
                      <a:pt x="2562125" y="4368759"/>
                    </a:cubicBezTo>
                    <a:cubicBezTo>
                      <a:pt x="2575193" y="4368759"/>
                      <a:pt x="2586041" y="4357909"/>
                      <a:pt x="2586288" y="4344593"/>
                    </a:cubicBezTo>
                    <a:close/>
                    <a:moveTo>
                      <a:pt x="2587275" y="5533335"/>
                    </a:moveTo>
                    <a:cubicBezTo>
                      <a:pt x="2587275" y="5531610"/>
                      <a:pt x="2585796" y="5530129"/>
                      <a:pt x="2584069" y="5530129"/>
                    </a:cubicBezTo>
                    <a:cubicBezTo>
                      <a:pt x="2582343" y="5530129"/>
                      <a:pt x="2580865" y="5531361"/>
                      <a:pt x="2580865" y="5533335"/>
                    </a:cubicBezTo>
                    <a:cubicBezTo>
                      <a:pt x="2580865" y="5535061"/>
                      <a:pt x="2582343" y="5536542"/>
                      <a:pt x="2584069" y="5536542"/>
                    </a:cubicBezTo>
                    <a:cubicBezTo>
                      <a:pt x="2585796" y="5536542"/>
                      <a:pt x="2587275" y="5535307"/>
                      <a:pt x="2587275" y="5533335"/>
                    </a:cubicBezTo>
                    <a:close/>
                    <a:moveTo>
                      <a:pt x="2589001" y="5650701"/>
                    </a:moveTo>
                    <a:cubicBezTo>
                      <a:pt x="2589001" y="5647004"/>
                      <a:pt x="2586042" y="5644291"/>
                      <a:pt x="2582591" y="5644291"/>
                    </a:cubicBezTo>
                    <a:cubicBezTo>
                      <a:pt x="2578892" y="5644291"/>
                      <a:pt x="2576179" y="5647250"/>
                      <a:pt x="2576179" y="5650701"/>
                    </a:cubicBezTo>
                    <a:cubicBezTo>
                      <a:pt x="2576179" y="5654154"/>
                      <a:pt x="2579138" y="5657113"/>
                      <a:pt x="2582591" y="5657113"/>
                    </a:cubicBezTo>
                    <a:cubicBezTo>
                      <a:pt x="2586042" y="5657113"/>
                      <a:pt x="2589001" y="5654400"/>
                      <a:pt x="2589001" y="5650701"/>
                    </a:cubicBezTo>
                    <a:close/>
                    <a:moveTo>
                      <a:pt x="2589740" y="2799585"/>
                    </a:moveTo>
                    <a:cubicBezTo>
                      <a:pt x="2589740" y="2775664"/>
                      <a:pt x="2570260" y="2756432"/>
                      <a:pt x="2546590" y="2756432"/>
                    </a:cubicBezTo>
                    <a:cubicBezTo>
                      <a:pt x="2522669" y="2756432"/>
                      <a:pt x="2503438" y="2775664"/>
                      <a:pt x="2503438" y="2799585"/>
                    </a:cubicBezTo>
                    <a:cubicBezTo>
                      <a:pt x="2503438" y="2823502"/>
                      <a:pt x="2522918" y="2842736"/>
                      <a:pt x="2546590" y="2842736"/>
                    </a:cubicBezTo>
                    <a:cubicBezTo>
                      <a:pt x="2570506" y="2842736"/>
                      <a:pt x="2589740" y="2823257"/>
                      <a:pt x="2589740" y="2799585"/>
                    </a:cubicBezTo>
                    <a:close/>
                    <a:moveTo>
                      <a:pt x="2589988" y="6341856"/>
                    </a:moveTo>
                    <a:cubicBezTo>
                      <a:pt x="2589988" y="6335200"/>
                      <a:pt x="2584564" y="6329774"/>
                      <a:pt x="2577906" y="6329774"/>
                    </a:cubicBezTo>
                    <a:cubicBezTo>
                      <a:pt x="2571496" y="6329774"/>
                      <a:pt x="2566070" y="6335200"/>
                      <a:pt x="2566070" y="6341856"/>
                    </a:cubicBezTo>
                    <a:cubicBezTo>
                      <a:pt x="2566070" y="6348514"/>
                      <a:pt x="2571248" y="6353940"/>
                      <a:pt x="2577906" y="6353940"/>
                    </a:cubicBezTo>
                    <a:cubicBezTo>
                      <a:pt x="2584564" y="6353940"/>
                      <a:pt x="2589988" y="6348514"/>
                      <a:pt x="2589988" y="6341856"/>
                    </a:cubicBezTo>
                    <a:close/>
                    <a:moveTo>
                      <a:pt x="2592206" y="389056"/>
                    </a:moveTo>
                    <a:cubicBezTo>
                      <a:pt x="2592206" y="376481"/>
                      <a:pt x="2582097" y="366372"/>
                      <a:pt x="2569520" y="366372"/>
                    </a:cubicBezTo>
                    <a:cubicBezTo>
                      <a:pt x="2556945" y="366372"/>
                      <a:pt x="2546836" y="376481"/>
                      <a:pt x="2546836" y="389056"/>
                    </a:cubicBezTo>
                    <a:cubicBezTo>
                      <a:pt x="2546836" y="401632"/>
                      <a:pt x="2556945" y="411739"/>
                      <a:pt x="2569520" y="411739"/>
                    </a:cubicBezTo>
                    <a:cubicBezTo>
                      <a:pt x="2582097" y="411739"/>
                      <a:pt x="2592206" y="401632"/>
                      <a:pt x="2592206" y="389056"/>
                    </a:cubicBezTo>
                    <a:close/>
                    <a:moveTo>
                      <a:pt x="2592206" y="502459"/>
                    </a:moveTo>
                    <a:cubicBezTo>
                      <a:pt x="2592206" y="490129"/>
                      <a:pt x="2582097" y="480266"/>
                      <a:pt x="2569769" y="480266"/>
                    </a:cubicBezTo>
                    <a:cubicBezTo>
                      <a:pt x="2557439" y="480266"/>
                      <a:pt x="2547576" y="490129"/>
                      <a:pt x="2547576" y="502459"/>
                    </a:cubicBezTo>
                    <a:cubicBezTo>
                      <a:pt x="2547576" y="514540"/>
                      <a:pt x="2557439" y="524648"/>
                      <a:pt x="2569769" y="524648"/>
                    </a:cubicBezTo>
                    <a:cubicBezTo>
                      <a:pt x="2582097" y="524648"/>
                      <a:pt x="2591959" y="514786"/>
                      <a:pt x="2592206" y="502459"/>
                    </a:cubicBezTo>
                    <a:close/>
                    <a:moveTo>
                      <a:pt x="2592452" y="51325"/>
                    </a:moveTo>
                    <a:cubicBezTo>
                      <a:pt x="2592452" y="38504"/>
                      <a:pt x="2582097" y="27901"/>
                      <a:pt x="2569029" y="27901"/>
                    </a:cubicBezTo>
                    <a:cubicBezTo>
                      <a:pt x="2556207" y="27901"/>
                      <a:pt x="2545604" y="38257"/>
                      <a:pt x="2545604" y="51325"/>
                    </a:cubicBezTo>
                    <a:cubicBezTo>
                      <a:pt x="2545604" y="64146"/>
                      <a:pt x="2555958" y="74749"/>
                      <a:pt x="2569029" y="74749"/>
                    </a:cubicBezTo>
                    <a:cubicBezTo>
                      <a:pt x="2582097" y="74749"/>
                      <a:pt x="2592700" y="64146"/>
                      <a:pt x="2592452" y="51325"/>
                    </a:cubicBezTo>
                    <a:close/>
                    <a:moveTo>
                      <a:pt x="2592948" y="163491"/>
                    </a:moveTo>
                    <a:cubicBezTo>
                      <a:pt x="2592948" y="150669"/>
                      <a:pt x="2582345" y="140067"/>
                      <a:pt x="2569277" y="140067"/>
                    </a:cubicBezTo>
                    <a:cubicBezTo>
                      <a:pt x="2556455" y="140067"/>
                      <a:pt x="2545852" y="150422"/>
                      <a:pt x="2545852" y="163491"/>
                    </a:cubicBezTo>
                    <a:cubicBezTo>
                      <a:pt x="2545852" y="176558"/>
                      <a:pt x="2556206" y="187161"/>
                      <a:pt x="2569277" y="187161"/>
                    </a:cubicBezTo>
                    <a:cubicBezTo>
                      <a:pt x="2582099" y="187161"/>
                      <a:pt x="2592699" y="176558"/>
                      <a:pt x="2592948" y="163491"/>
                    </a:cubicBezTo>
                    <a:close/>
                    <a:moveTo>
                      <a:pt x="2592948" y="6227940"/>
                    </a:moveTo>
                    <a:cubicBezTo>
                      <a:pt x="2592948" y="6219803"/>
                      <a:pt x="2586290" y="6213391"/>
                      <a:pt x="2578400" y="6213391"/>
                    </a:cubicBezTo>
                    <a:cubicBezTo>
                      <a:pt x="2570264" y="6213391"/>
                      <a:pt x="2563851" y="6220050"/>
                      <a:pt x="2563851" y="6227940"/>
                    </a:cubicBezTo>
                    <a:cubicBezTo>
                      <a:pt x="2563851" y="6236076"/>
                      <a:pt x="2570509" y="6242485"/>
                      <a:pt x="2578400" y="6242485"/>
                    </a:cubicBezTo>
                    <a:cubicBezTo>
                      <a:pt x="2586536" y="6242485"/>
                      <a:pt x="2592948" y="6235830"/>
                      <a:pt x="2592948" y="6227940"/>
                    </a:cubicBezTo>
                    <a:close/>
                    <a:moveTo>
                      <a:pt x="2593440" y="276150"/>
                    </a:moveTo>
                    <a:cubicBezTo>
                      <a:pt x="2593440" y="263082"/>
                      <a:pt x="2582837" y="252480"/>
                      <a:pt x="2569769" y="252480"/>
                    </a:cubicBezTo>
                    <a:cubicBezTo>
                      <a:pt x="2556702" y="252480"/>
                      <a:pt x="2546098" y="263082"/>
                      <a:pt x="2546098" y="276150"/>
                    </a:cubicBezTo>
                    <a:cubicBezTo>
                      <a:pt x="2546098" y="289218"/>
                      <a:pt x="2556702" y="299820"/>
                      <a:pt x="2569769" y="299820"/>
                    </a:cubicBezTo>
                    <a:cubicBezTo>
                      <a:pt x="2582837" y="299820"/>
                      <a:pt x="2593440" y="289218"/>
                      <a:pt x="2593440" y="276150"/>
                    </a:cubicBezTo>
                    <a:close/>
                    <a:moveTo>
                      <a:pt x="2600096" y="3218750"/>
                    </a:moveTo>
                    <a:cubicBezTo>
                      <a:pt x="2600096" y="3208149"/>
                      <a:pt x="2591465" y="3199518"/>
                      <a:pt x="2580862" y="3199518"/>
                    </a:cubicBezTo>
                    <a:cubicBezTo>
                      <a:pt x="2570261" y="3199518"/>
                      <a:pt x="2561631" y="3208149"/>
                      <a:pt x="2561631" y="3218750"/>
                    </a:cubicBezTo>
                    <a:cubicBezTo>
                      <a:pt x="2561631" y="3229355"/>
                      <a:pt x="2570261" y="3237984"/>
                      <a:pt x="2580862" y="3237984"/>
                    </a:cubicBezTo>
                    <a:cubicBezTo>
                      <a:pt x="2591465" y="3237984"/>
                      <a:pt x="2600096" y="3229355"/>
                      <a:pt x="2600096" y="3218750"/>
                    </a:cubicBezTo>
                    <a:close/>
                    <a:moveTo>
                      <a:pt x="2604535" y="5057196"/>
                    </a:moveTo>
                    <a:cubicBezTo>
                      <a:pt x="2604535" y="5055222"/>
                      <a:pt x="2603056" y="5053745"/>
                      <a:pt x="2601082" y="5053745"/>
                    </a:cubicBezTo>
                    <a:cubicBezTo>
                      <a:pt x="2599110" y="5053745"/>
                      <a:pt x="2597632" y="5055222"/>
                      <a:pt x="2597632" y="5057196"/>
                    </a:cubicBezTo>
                    <a:cubicBezTo>
                      <a:pt x="2597632" y="5059171"/>
                      <a:pt x="2599110" y="5060648"/>
                      <a:pt x="2601082" y="5060648"/>
                    </a:cubicBezTo>
                    <a:cubicBezTo>
                      <a:pt x="2603056" y="5060648"/>
                      <a:pt x="2604535" y="5058922"/>
                      <a:pt x="2604535" y="5057196"/>
                    </a:cubicBezTo>
                    <a:close/>
                    <a:moveTo>
                      <a:pt x="2608480" y="1657038"/>
                    </a:moveTo>
                    <a:cubicBezTo>
                      <a:pt x="2608480" y="1648410"/>
                      <a:pt x="2601330" y="1641508"/>
                      <a:pt x="2592700" y="1641508"/>
                    </a:cubicBezTo>
                    <a:cubicBezTo>
                      <a:pt x="2584069" y="1641508"/>
                      <a:pt x="2576919" y="1648410"/>
                      <a:pt x="2576919" y="1657038"/>
                    </a:cubicBezTo>
                    <a:cubicBezTo>
                      <a:pt x="2576919" y="1665667"/>
                      <a:pt x="2584069" y="1672818"/>
                      <a:pt x="2592700" y="1672818"/>
                    </a:cubicBezTo>
                    <a:cubicBezTo>
                      <a:pt x="2601330" y="1672818"/>
                      <a:pt x="2608234" y="1665915"/>
                      <a:pt x="2608480" y="1657038"/>
                    </a:cubicBezTo>
                    <a:close/>
                    <a:moveTo>
                      <a:pt x="2610208" y="1538205"/>
                    </a:moveTo>
                    <a:cubicBezTo>
                      <a:pt x="2610208" y="1527110"/>
                      <a:pt x="2601085" y="1517986"/>
                      <a:pt x="2589987" y="1517986"/>
                    </a:cubicBezTo>
                    <a:cubicBezTo>
                      <a:pt x="2578891" y="1517986"/>
                      <a:pt x="2569769" y="1527110"/>
                      <a:pt x="2569769" y="1538205"/>
                    </a:cubicBezTo>
                    <a:cubicBezTo>
                      <a:pt x="2569769" y="1549300"/>
                      <a:pt x="2578891" y="1558420"/>
                      <a:pt x="2589987" y="1558420"/>
                    </a:cubicBezTo>
                    <a:cubicBezTo>
                      <a:pt x="2601085" y="1558420"/>
                      <a:pt x="2610208" y="1549300"/>
                      <a:pt x="2610208" y="1538205"/>
                    </a:cubicBezTo>
                    <a:close/>
                    <a:moveTo>
                      <a:pt x="2613661" y="1777625"/>
                    </a:moveTo>
                    <a:cubicBezTo>
                      <a:pt x="2613661" y="1767508"/>
                      <a:pt x="2605522" y="1759118"/>
                      <a:pt x="2595167" y="1759118"/>
                    </a:cubicBezTo>
                    <a:cubicBezTo>
                      <a:pt x="2585056" y="1759118"/>
                      <a:pt x="2576674" y="1767508"/>
                      <a:pt x="2576674" y="1777625"/>
                    </a:cubicBezTo>
                    <a:cubicBezTo>
                      <a:pt x="2576674" y="1787716"/>
                      <a:pt x="2585056" y="1796127"/>
                      <a:pt x="2595167" y="1796127"/>
                    </a:cubicBezTo>
                    <a:cubicBezTo>
                      <a:pt x="2605522" y="1796127"/>
                      <a:pt x="2613906" y="1787961"/>
                      <a:pt x="2613661" y="1777625"/>
                    </a:cubicBezTo>
                    <a:close/>
                    <a:moveTo>
                      <a:pt x="2618344" y="5299088"/>
                    </a:moveTo>
                    <a:cubicBezTo>
                      <a:pt x="2618344" y="5286266"/>
                      <a:pt x="2607987" y="5275663"/>
                      <a:pt x="2594919" y="5275663"/>
                    </a:cubicBezTo>
                    <a:cubicBezTo>
                      <a:pt x="2582097" y="5275663"/>
                      <a:pt x="2571494" y="5286018"/>
                      <a:pt x="2571494" y="5299088"/>
                    </a:cubicBezTo>
                    <a:cubicBezTo>
                      <a:pt x="2571494" y="5312157"/>
                      <a:pt x="2581851" y="5322760"/>
                      <a:pt x="2594919" y="5322760"/>
                    </a:cubicBezTo>
                    <a:cubicBezTo>
                      <a:pt x="2607987" y="5322760"/>
                      <a:pt x="2618590" y="5312157"/>
                      <a:pt x="2618344" y="5299088"/>
                    </a:cubicBezTo>
                    <a:close/>
                    <a:moveTo>
                      <a:pt x="2623275" y="4202072"/>
                    </a:moveTo>
                    <a:cubicBezTo>
                      <a:pt x="2623275" y="4179141"/>
                      <a:pt x="2604781" y="4160647"/>
                      <a:pt x="2581850" y="4160647"/>
                    </a:cubicBezTo>
                    <a:cubicBezTo>
                      <a:pt x="2558919" y="4160647"/>
                      <a:pt x="2540426" y="4179141"/>
                      <a:pt x="2540426" y="4202072"/>
                    </a:cubicBezTo>
                    <a:cubicBezTo>
                      <a:pt x="2540426" y="4225002"/>
                      <a:pt x="2558919" y="4243496"/>
                      <a:pt x="2581850" y="4243496"/>
                    </a:cubicBezTo>
                    <a:cubicBezTo>
                      <a:pt x="2604781" y="4243496"/>
                      <a:pt x="2623275" y="4224756"/>
                      <a:pt x="2623275" y="4202072"/>
                    </a:cubicBezTo>
                    <a:close/>
                    <a:moveTo>
                      <a:pt x="2627959" y="2022403"/>
                    </a:moveTo>
                    <a:cubicBezTo>
                      <a:pt x="2627959" y="2008842"/>
                      <a:pt x="2616863" y="1997995"/>
                      <a:pt x="2603550" y="1997995"/>
                    </a:cubicBezTo>
                    <a:cubicBezTo>
                      <a:pt x="2589987" y="1997995"/>
                      <a:pt x="2579138" y="2009087"/>
                      <a:pt x="2579138" y="2022403"/>
                    </a:cubicBezTo>
                    <a:cubicBezTo>
                      <a:pt x="2579138" y="2035966"/>
                      <a:pt x="2590234" y="2046815"/>
                      <a:pt x="2603550" y="2046815"/>
                    </a:cubicBezTo>
                    <a:cubicBezTo>
                      <a:pt x="2616863" y="2046815"/>
                      <a:pt x="2627712" y="2035718"/>
                      <a:pt x="2627959" y="2022403"/>
                    </a:cubicBezTo>
                    <a:close/>
                    <a:moveTo>
                      <a:pt x="2628207" y="4053879"/>
                    </a:moveTo>
                    <a:cubicBezTo>
                      <a:pt x="2628207" y="4042783"/>
                      <a:pt x="2619331" y="4033907"/>
                      <a:pt x="2608235" y="4033907"/>
                    </a:cubicBezTo>
                    <a:cubicBezTo>
                      <a:pt x="2597140" y="4033907"/>
                      <a:pt x="2588263" y="4042783"/>
                      <a:pt x="2588263" y="4053879"/>
                    </a:cubicBezTo>
                    <a:cubicBezTo>
                      <a:pt x="2588263" y="4064975"/>
                      <a:pt x="2597386" y="4073851"/>
                      <a:pt x="2608235" y="4073851"/>
                    </a:cubicBezTo>
                    <a:cubicBezTo>
                      <a:pt x="2619084" y="4073851"/>
                      <a:pt x="2628207" y="4064975"/>
                      <a:pt x="2628207" y="4053879"/>
                    </a:cubicBezTo>
                    <a:close/>
                    <a:moveTo>
                      <a:pt x="2629193" y="2434417"/>
                    </a:moveTo>
                    <a:cubicBezTo>
                      <a:pt x="2629193" y="2412223"/>
                      <a:pt x="2610945" y="2393979"/>
                      <a:pt x="2588755" y="2393979"/>
                    </a:cubicBezTo>
                    <a:cubicBezTo>
                      <a:pt x="2566562" y="2393979"/>
                      <a:pt x="2548316" y="2412223"/>
                      <a:pt x="2548316" y="2434417"/>
                    </a:cubicBezTo>
                    <a:cubicBezTo>
                      <a:pt x="2548316" y="2456611"/>
                      <a:pt x="2566562" y="2474855"/>
                      <a:pt x="2588755" y="2474855"/>
                    </a:cubicBezTo>
                    <a:cubicBezTo>
                      <a:pt x="2611194" y="2474855"/>
                      <a:pt x="2629193" y="2456856"/>
                      <a:pt x="2629193" y="2434417"/>
                    </a:cubicBezTo>
                    <a:close/>
                    <a:moveTo>
                      <a:pt x="2631657" y="1899157"/>
                    </a:moveTo>
                    <a:cubicBezTo>
                      <a:pt x="2631657" y="1881162"/>
                      <a:pt x="2617109" y="1866618"/>
                      <a:pt x="2599110" y="1866618"/>
                    </a:cubicBezTo>
                    <a:cubicBezTo>
                      <a:pt x="2581110" y="1866618"/>
                      <a:pt x="2566562" y="1881162"/>
                      <a:pt x="2566562" y="1899157"/>
                    </a:cubicBezTo>
                    <a:cubicBezTo>
                      <a:pt x="2566562" y="1917150"/>
                      <a:pt x="2581110" y="1931695"/>
                      <a:pt x="2599110" y="1931695"/>
                    </a:cubicBezTo>
                    <a:cubicBezTo>
                      <a:pt x="2617109" y="1931695"/>
                      <a:pt x="2631657" y="1917150"/>
                      <a:pt x="2631657" y="1899157"/>
                    </a:cubicBezTo>
                    <a:close/>
                    <a:moveTo>
                      <a:pt x="2634618" y="5178757"/>
                    </a:moveTo>
                    <a:cubicBezTo>
                      <a:pt x="2634618" y="5158540"/>
                      <a:pt x="2618097" y="5142018"/>
                      <a:pt x="2597877" y="5142018"/>
                    </a:cubicBezTo>
                    <a:cubicBezTo>
                      <a:pt x="2577659" y="5142018"/>
                      <a:pt x="2561138" y="5158540"/>
                      <a:pt x="2561138" y="5178757"/>
                    </a:cubicBezTo>
                    <a:cubicBezTo>
                      <a:pt x="2561138" y="5198977"/>
                      <a:pt x="2577659" y="5215496"/>
                      <a:pt x="2597877" y="5215496"/>
                    </a:cubicBezTo>
                    <a:cubicBezTo>
                      <a:pt x="2618097" y="5215496"/>
                      <a:pt x="2634618" y="5199224"/>
                      <a:pt x="2634618" y="5178757"/>
                    </a:cubicBezTo>
                    <a:close/>
                    <a:moveTo>
                      <a:pt x="2641028" y="3109024"/>
                    </a:moveTo>
                    <a:cubicBezTo>
                      <a:pt x="2641028" y="3097189"/>
                      <a:pt x="2631412" y="3087572"/>
                      <a:pt x="2619576" y="3087572"/>
                    </a:cubicBezTo>
                    <a:cubicBezTo>
                      <a:pt x="2607740" y="3087572"/>
                      <a:pt x="2598123" y="3097189"/>
                      <a:pt x="2598123" y="3109024"/>
                    </a:cubicBezTo>
                    <a:cubicBezTo>
                      <a:pt x="2598123" y="3120861"/>
                      <a:pt x="2607740" y="3130478"/>
                      <a:pt x="2619576" y="3130478"/>
                    </a:cubicBezTo>
                    <a:cubicBezTo>
                      <a:pt x="2631412" y="3130478"/>
                      <a:pt x="2641028" y="3120615"/>
                      <a:pt x="2641028" y="3109024"/>
                    </a:cubicBezTo>
                    <a:close/>
                    <a:moveTo>
                      <a:pt x="2641522" y="4933663"/>
                    </a:moveTo>
                    <a:cubicBezTo>
                      <a:pt x="2641522" y="4913444"/>
                      <a:pt x="2625000" y="4897169"/>
                      <a:pt x="2605028" y="4897169"/>
                    </a:cubicBezTo>
                    <a:cubicBezTo>
                      <a:pt x="2584810" y="4897169"/>
                      <a:pt x="2568535" y="4913691"/>
                      <a:pt x="2568535" y="4933663"/>
                    </a:cubicBezTo>
                    <a:cubicBezTo>
                      <a:pt x="2568535" y="4953883"/>
                      <a:pt x="2585056" y="4970156"/>
                      <a:pt x="2605028" y="4970156"/>
                    </a:cubicBezTo>
                    <a:cubicBezTo>
                      <a:pt x="2625000" y="4970156"/>
                      <a:pt x="2641522" y="4953883"/>
                      <a:pt x="2641522" y="4933663"/>
                    </a:cubicBezTo>
                    <a:close/>
                    <a:moveTo>
                      <a:pt x="2643987" y="3899030"/>
                    </a:moveTo>
                    <a:lnTo>
                      <a:pt x="2643987" y="3898784"/>
                    </a:lnTo>
                    <a:lnTo>
                      <a:pt x="2643742" y="3898784"/>
                    </a:lnTo>
                    <a:close/>
                    <a:moveTo>
                      <a:pt x="2646947" y="2853825"/>
                    </a:moveTo>
                    <a:cubicBezTo>
                      <a:pt x="2646947" y="2850617"/>
                      <a:pt x="2644236" y="2848153"/>
                      <a:pt x="2641277" y="2848153"/>
                    </a:cubicBezTo>
                    <a:cubicBezTo>
                      <a:pt x="2638318" y="2848153"/>
                      <a:pt x="2635852" y="2850865"/>
                      <a:pt x="2635852" y="2853825"/>
                    </a:cubicBezTo>
                    <a:cubicBezTo>
                      <a:pt x="2635852" y="2856783"/>
                      <a:pt x="2638318" y="2859248"/>
                      <a:pt x="2641277" y="2859248"/>
                    </a:cubicBezTo>
                    <a:cubicBezTo>
                      <a:pt x="2644236" y="2859248"/>
                      <a:pt x="2646947" y="2856783"/>
                      <a:pt x="2646947" y="2853825"/>
                    </a:cubicBezTo>
                    <a:close/>
                    <a:moveTo>
                      <a:pt x="2647439" y="2569778"/>
                    </a:moveTo>
                    <a:cubicBezTo>
                      <a:pt x="2647439" y="2544629"/>
                      <a:pt x="2626975" y="2524163"/>
                      <a:pt x="2601823" y="2524163"/>
                    </a:cubicBezTo>
                    <a:cubicBezTo>
                      <a:pt x="2576674" y="2524163"/>
                      <a:pt x="2556207" y="2544629"/>
                      <a:pt x="2556207" y="2569778"/>
                    </a:cubicBezTo>
                    <a:cubicBezTo>
                      <a:pt x="2556207" y="2594931"/>
                      <a:pt x="2576674" y="2615395"/>
                      <a:pt x="2601823" y="2615395"/>
                    </a:cubicBezTo>
                    <a:cubicBezTo>
                      <a:pt x="2626975" y="2615395"/>
                      <a:pt x="2647439" y="2594931"/>
                      <a:pt x="2647439" y="2569778"/>
                    </a:cubicBezTo>
                    <a:close/>
                    <a:moveTo>
                      <a:pt x="2648178" y="2147420"/>
                    </a:moveTo>
                    <a:cubicBezTo>
                      <a:pt x="2648178" y="2125720"/>
                      <a:pt x="2630425" y="2107964"/>
                      <a:pt x="2608727" y="2107964"/>
                    </a:cubicBezTo>
                    <a:cubicBezTo>
                      <a:pt x="2587028" y="2107964"/>
                      <a:pt x="2569275" y="2125720"/>
                      <a:pt x="2569275" y="2147420"/>
                    </a:cubicBezTo>
                    <a:cubicBezTo>
                      <a:pt x="2569275" y="2169119"/>
                      <a:pt x="2587028" y="2186871"/>
                      <a:pt x="2608727" y="2186871"/>
                    </a:cubicBezTo>
                    <a:cubicBezTo>
                      <a:pt x="2630671" y="2186871"/>
                      <a:pt x="2648178" y="2169119"/>
                      <a:pt x="2648178" y="2147420"/>
                    </a:cubicBezTo>
                    <a:close/>
                    <a:moveTo>
                      <a:pt x="2650400" y="2275136"/>
                    </a:moveTo>
                    <a:cubicBezTo>
                      <a:pt x="2650400" y="2255660"/>
                      <a:pt x="2634619" y="2239878"/>
                      <a:pt x="2615139" y="2239878"/>
                    </a:cubicBezTo>
                    <a:cubicBezTo>
                      <a:pt x="2595659" y="2239878"/>
                      <a:pt x="2579878" y="2255660"/>
                      <a:pt x="2579878" y="2275136"/>
                    </a:cubicBezTo>
                    <a:cubicBezTo>
                      <a:pt x="2579878" y="2294617"/>
                      <a:pt x="2595659" y="2310397"/>
                      <a:pt x="2615139" y="2310397"/>
                    </a:cubicBezTo>
                    <a:cubicBezTo>
                      <a:pt x="2634619" y="2310397"/>
                      <a:pt x="2650646" y="2294617"/>
                      <a:pt x="2650400" y="2275136"/>
                    </a:cubicBezTo>
                    <a:close/>
                    <a:moveTo>
                      <a:pt x="2654096" y="1167893"/>
                    </a:moveTo>
                    <a:cubicBezTo>
                      <a:pt x="2654096" y="1156303"/>
                      <a:pt x="2644725" y="1146689"/>
                      <a:pt x="2632892" y="1146689"/>
                    </a:cubicBezTo>
                    <a:cubicBezTo>
                      <a:pt x="2621302" y="1146689"/>
                      <a:pt x="2611685" y="1156303"/>
                      <a:pt x="2611685" y="1167893"/>
                    </a:cubicBezTo>
                    <a:cubicBezTo>
                      <a:pt x="2611685" y="1179477"/>
                      <a:pt x="2621302" y="1189099"/>
                      <a:pt x="2632892" y="1189099"/>
                    </a:cubicBezTo>
                    <a:cubicBezTo>
                      <a:pt x="2644725" y="1189099"/>
                      <a:pt x="2654096" y="1179724"/>
                      <a:pt x="2654096" y="1167893"/>
                    </a:cubicBezTo>
                    <a:close/>
                    <a:moveTo>
                      <a:pt x="2655083" y="938118"/>
                    </a:moveTo>
                    <a:cubicBezTo>
                      <a:pt x="2655083" y="925792"/>
                      <a:pt x="2644974" y="915674"/>
                      <a:pt x="2632646" y="915674"/>
                    </a:cubicBezTo>
                    <a:cubicBezTo>
                      <a:pt x="2620316" y="915674"/>
                      <a:pt x="2610208" y="925792"/>
                      <a:pt x="2610208" y="938118"/>
                    </a:cubicBezTo>
                    <a:cubicBezTo>
                      <a:pt x="2610208" y="950200"/>
                      <a:pt x="2620316" y="960312"/>
                      <a:pt x="2632646" y="960312"/>
                    </a:cubicBezTo>
                    <a:cubicBezTo>
                      <a:pt x="2644974" y="960312"/>
                      <a:pt x="2654836" y="950200"/>
                      <a:pt x="2655083" y="938118"/>
                    </a:cubicBezTo>
                    <a:close/>
                    <a:moveTo>
                      <a:pt x="2655331" y="1052756"/>
                    </a:moveTo>
                    <a:cubicBezTo>
                      <a:pt x="2655331" y="1040181"/>
                      <a:pt x="2645221" y="1029826"/>
                      <a:pt x="2632398" y="1029826"/>
                    </a:cubicBezTo>
                    <a:cubicBezTo>
                      <a:pt x="2619822" y="1029826"/>
                      <a:pt x="2609468" y="1039933"/>
                      <a:pt x="2609468" y="1052756"/>
                    </a:cubicBezTo>
                    <a:cubicBezTo>
                      <a:pt x="2609468" y="1065337"/>
                      <a:pt x="2619822" y="1075692"/>
                      <a:pt x="2632398" y="1075692"/>
                    </a:cubicBezTo>
                    <a:cubicBezTo>
                      <a:pt x="2644974" y="1075692"/>
                      <a:pt x="2655331" y="1065581"/>
                      <a:pt x="2655331" y="1052756"/>
                    </a:cubicBezTo>
                    <a:close/>
                    <a:moveTo>
                      <a:pt x="2655824" y="597122"/>
                    </a:moveTo>
                    <a:cubicBezTo>
                      <a:pt x="2655824" y="583560"/>
                      <a:pt x="2644728" y="572466"/>
                      <a:pt x="2631166" y="572466"/>
                    </a:cubicBezTo>
                    <a:cubicBezTo>
                      <a:pt x="2617604" y="572466"/>
                      <a:pt x="2606509" y="583560"/>
                      <a:pt x="2606509" y="597122"/>
                    </a:cubicBezTo>
                    <a:cubicBezTo>
                      <a:pt x="2606509" y="610684"/>
                      <a:pt x="2617604" y="621779"/>
                      <a:pt x="2631166" y="621779"/>
                    </a:cubicBezTo>
                    <a:cubicBezTo>
                      <a:pt x="2644975" y="621779"/>
                      <a:pt x="2656069" y="610684"/>
                      <a:pt x="2655824" y="597122"/>
                    </a:cubicBezTo>
                    <a:close/>
                    <a:moveTo>
                      <a:pt x="2656069" y="710318"/>
                    </a:moveTo>
                    <a:cubicBezTo>
                      <a:pt x="2656069" y="696764"/>
                      <a:pt x="2644974" y="685663"/>
                      <a:pt x="2631412" y="685663"/>
                    </a:cubicBezTo>
                    <a:cubicBezTo>
                      <a:pt x="2617850" y="685663"/>
                      <a:pt x="2606754" y="696764"/>
                      <a:pt x="2606754" y="710318"/>
                    </a:cubicBezTo>
                    <a:cubicBezTo>
                      <a:pt x="2606754" y="723887"/>
                      <a:pt x="2617850" y="734973"/>
                      <a:pt x="2631412" y="734973"/>
                    </a:cubicBezTo>
                    <a:cubicBezTo>
                      <a:pt x="2644974" y="734973"/>
                      <a:pt x="2656069" y="723887"/>
                      <a:pt x="2656069" y="710318"/>
                    </a:cubicBezTo>
                    <a:close/>
                    <a:moveTo>
                      <a:pt x="2656810" y="4680923"/>
                    </a:moveTo>
                    <a:cubicBezTo>
                      <a:pt x="2656810" y="4658729"/>
                      <a:pt x="2638812" y="4640483"/>
                      <a:pt x="2616372" y="4640483"/>
                    </a:cubicBezTo>
                    <a:cubicBezTo>
                      <a:pt x="2594181" y="4640483"/>
                      <a:pt x="2575934" y="4658483"/>
                      <a:pt x="2575934" y="4680923"/>
                    </a:cubicBezTo>
                    <a:cubicBezTo>
                      <a:pt x="2575934" y="4703113"/>
                      <a:pt x="2593932" y="4721361"/>
                      <a:pt x="2616372" y="4721361"/>
                    </a:cubicBezTo>
                    <a:cubicBezTo>
                      <a:pt x="2638563" y="4721361"/>
                      <a:pt x="2656810" y="4703113"/>
                      <a:pt x="2656810" y="4680923"/>
                    </a:cubicBezTo>
                    <a:close/>
                    <a:moveTo>
                      <a:pt x="2657056" y="823728"/>
                    </a:moveTo>
                    <a:cubicBezTo>
                      <a:pt x="2657056" y="809919"/>
                      <a:pt x="2645960" y="798823"/>
                      <a:pt x="2632152" y="798823"/>
                    </a:cubicBezTo>
                    <a:cubicBezTo>
                      <a:pt x="2618344" y="798823"/>
                      <a:pt x="2607249" y="809919"/>
                      <a:pt x="2607249" y="823728"/>
                    </a:cubicBezTo>
                    <a:cubicBezTo>
                      <a:pt x="2607249" y="837539"/>
                      <a:pt x="2618344" y="848631"/>
                      <a:pt x="2632152" y="848631"/>
                    </a:cubicBezTo>
                    <a:cubicBezTo>
                      <a:pt x="2645715" y="848631"/>
                      <a:pt x="2656809" y="837539"/>
                      <a:pt x="2657056" y="823728"/>
                    </a:cubicBezTo>
                    <a:close/>
                    <a:moveTo>
                      <a:pt x="2657056" y="1283768"/>
                    </a:moveTo>
                    <a:cubicBezTo>
                      <a:pt x="2657056" y="1270946"/>
                      <a:pt x="2646455" y="1260339"/>
                      <a:pt x="2633633" y="1260339"/>
                    </a:cubicBezTo>
                    <a:cubicBezTo>
                      <a:pt x="2620811" y="1260339"/>
                      <a:pt x="2610208" y="1270946"/>
                      <a:pt x="2610208" y="1283768"/>
                    </a:cubicBezTo>
                    <a:cubicBezTo>
                      <a:pt x="2610208" y="1296589"/>
                      <a:pt x="2620811" y="1307191"/>
                      <a:pt x="2633633" y="1307191"/>
                    </a:cubicBezTo>
                    <a:cubicBezTo>
                      <a:pt x="2646700" y="1307191"/>
                      <a:pt x="2657304" y="1296589"/>
                      <a:pt x="2657056" y="1283768"/>
                    </a:cubicBezTo>
                    <a:close/>
                    <a:moveTo>
                      <a:pt x="2657550" y="1400137"/>
                    </a:moveTo>
                    <a:cubicBezTo>
                      <a:pt x="2657550" y="1387311"/>
                      <a:pt x="2647195" y="1376958"/>
                      <a:pt x="2634374" y="1376958"/>
                    </a:cubicBezTo>
                    <a:cubicBezTo>
                      <a:pt x="2621549" y="1376958"/>
                      <a:pt x="2611194" y="1387311"/>
                      <a:pt x="2611194" y="1400137"/>
                    </a:cubicBezTo>
                    <a:cubicBezTo>
                      <a:pt x="2611194" y="1412959"/>
                      <a:pt x="2621549" y="1423317"/>
                      <a:pt x="2634374" y="1423317"/>
                    </a:cubicBezTo>
                    <a:cubicBezTo>
                      <a:pt x="2647195" y="1423317"/>
                      <a:pt x="2657550" y="1412959"/>
                      <a:pt x="2657550" y="1400137"/>
                    </a:cubicBezTo>
                    <a:close/>
                    <a:moveTo>
                      <a:pt x="2662236" y="4808402"/>
                    </a:moveTo>
                    <a:cubicBezTo>
                      <a:pt x="2662236" y="4779553"/>
                      <a:pt x="2638810" y="4756127"/>
                      <a:pt x="2609962" y="4756127"/>
                    </a:cubicBezTo>
                    <a:cubicBezTo>
                      <a:pt x="2581359" y="4756127"/>
                      <a:pt x="2557934" y="4779553"/>
                      <a:pt x="2557934" y="4808402"/>
                    </a:cubicBezTo>
                    <a:cubicBezTo>
                      <a:pt x="2557934" y="4837251"/>
                      <a:pt x="2581110" y="4860676"/>
                      <a:pt x="2609962" y="4860676"/>
                    </a:cubicBezTo>
                    <a:cubicBezTo>
                      <a:pt x="2638810" y="4860676"/>
                      <a:pt x="2662236" y="4837251"/>
                      <a:pt x="2662236" y="4808402"/>
                    </a:cubicBezTo>
                    <a:close/>
                    <a:moveTo>
                      <a:pt x="2667168" y="2708842"/>
                    </a:moveTo>
                    <a:cubicBezTo>
                      <a:pt x="2667168" y="2682211"/>
                      <a:pt x="2645469" y="2660513"/>
                      <a:pt x="2618840" y="2660513"/>
                    </a:cubicBezTo>
                    <a:cubicBezTo>
                      <a:pt x="2592209" y="2660513"/>
                      <a:pt x="2570510" y="2682211"/>
                      <a:pt x="2570510" y="2708842"/>
                    </a:cubicBezTo>
                    <a:cubicBezTo>
                      <a:pt x="2570510" y="2735473"/>
                      <a:pt x="2592209" y="2757171"/>
                      <a:pt x="2618840" y="2757171"/>
                    </a:cubicBezTo>
                    <a:cubicBezTo>
                      <a:pt x="2645469" y="2757171"/>
                      <a:pt x="2667168" y="2735718"/>
                      <a:pt x="2667168" y="2708842"/>
                    </a:cubicBezTo>
                    <a:close/>
                    <a:moveTo>
                      <a:pt x="2671605" y="4425468"/>
                    </a:moveTo>
                    <a:cubicBezTo>
                      <a:pt x="2671605" y="4410673"/>
                      <a:pt x="2659520" y="4398591"/>
                      <a:pt x="2644726" y="4398591"/>
                    </a:cubicBezTo>
                    <a:cubicBezTo>
                      <a:pt x="2629931" y="4398591"/>
                      <a:pt x="2617850" y="4410673"/>
                      <a:pt x="2617850" y="4425468"/>
                    </a:cubicBezTo>
                    <a:cubicBezTo>
                      <a:pt x="2617850" y="4440263"/>
                      <a:pt x="2629931" y="4452347"/>
                      <a:pt x="2644726" y="4452347"/>
                    </a:cubicBezTo>
                    <a:cubicBezTo>
                      <a:pt x="2659520" y="4452347"/>
                      <a:pt x="2671605" y="4440263"/>
                      <a:pt x="2671605" y="4425468"/>
                    </a:cubicBezTo>
                    <a:close/>
                    <a:moveTo>
                      <a:pt x="2683440" y="3506727"/>
                    </a:moveTo>
                    <a:cubicBezTo>
                      <a:pt x="2683440" y="3490207"/>
                      <a:pt x="2670126" y="3476892"/>
                      <a:pt x="2653605" y="3476892"/>
                    </a:cubicBezTo>
                    <a:cubicBezTo>
                      <a:pt x="2637083" y="3476892"/>
                      <a:pt x="2623770" y="3490455"/>
                      <a:pt x="2623770" y="3506727"/>
                    </a:cubicBezTo>
                    <a:cubicBezTo>
                      <a:pt x="2623770" y="3523249"/>
                      <a:pt x="2637083" y="3536563"/>
                      <a:pt x="2653605" y="3536563"/>
                    </a:cubicBezTo>
                    <a:cubicBezTo>
                      <a:pt x="2670126" y="3536563"/>
                      <a:pt x="2683440" y="3523249"/>
                      <a:pt x="2683440" y="3506727"/>
                    </a:cubicBezTo>
                    <a:close/>
                    <a:moveTo>
                      <a:pt x="2683931" y="7376734"/>
                    </a:moveTo>
                    <a:cubicBezTo>
                      <a:pt x="2683931" y="7375253"/>
                      <a:pt x="2682699" y="7374267"/>
                      <a:pt x="2681467" y="7374267"/>
                    </a:cubicBezTo>
                    <a:cubicBezTo>
                      <a:pt x="2679986" y="7374267"/>
                      <a:pt x="2679000" y="7375499"/>
                      <a:pt x="2679000" y="7376734"/>
                    </a:cubicBezTo>
                    <a:cubicBezTo>
                      <a:pt x="2679000" y="7378212"/>
                      <a:pt x="2679986" y="7379198"/>
                      <a:pt x="2681467" y="7379198"/>
                    </a:cubicBezTo>
                    <a:cubicBezTo>
                      <a:pt x="2682699" y="7379198"/>
                      <a:pt x="2683931" y="7377966"/>
                      <a:pt x="2683931" y="7376734"/>
                    </a:cubicBezTo>
                    <a:close/>
                    <a:moveTo>
                      <a:pt x="2683934" y="7265776"/>
                    </a:moveTo>
                    <a:cubicBezTo>
                      <a:pt x="2683934" y="7264295"/>
                      <a:pt x="2682700" y="7263063"/>
                      <a:pt x="2681222" y="7263063"/>
                    </a:cubicBezTo>
                    <a:cubicBezTo>
                      <a:pt x="2679741" y="7263063"/>
                      <a:pt x="2678509" y="7264295"/>
                      <a:pt x="2678509" y="7265776"/>
                    </a:cubicBezTo>
                    <a:cubicBezTo>
                      <a:pt x="2678509" y="7267254"/>
                      <a:pt x="2679741" y="7268489"/>
                      <a:pt x="2681222" y="7268489"/>
                    </a:cubicBezTo>
                    <a:cubicBezTo>
                      <a:pt x="2682700" y="7268489"/>
                      <a:pt x="2683934" y="7267254"/>
                      <a:pt x="2683934" y="7265776"/>
                    </a:cubicBezTo>
                    <a:close/>
                    <a:moveTo>
                      <a:pt x="2684180" y="7487448"/>
                    </a:moveTo>
                    <a:cubicBezTo>
                      <a:pt x="2684180" y="7485967"/>
                      <a:pt x="2682948" y="7484981"/>
                      <a:pt x="2681713" y="7484981"/>
                    </a:cubicBezTo>
                    <a:cubicBezTo>
                      <a:pt x="2680234" y="7484981"/>
                      <a:pt x="2679249" y="7485967"/>
                      <a:pt x="2679249" y="7487448"/>
                    </a:cubicBezTo>
                    <a:cubicBezTo>
                      <a:pt x="2679249" y="7488926"/>
                      <a:pt x="2680234" y="7489913"/>
                      <a:pt x="2681713" y="7489913"/>
                    </a:cubicBezTo>
                    <a:cubicBezTo>
                      <a:pt x="2682948" y="7489913"/>
                      <a:pt x="2684180" y="7488681"/>
                      <a:pt x="2684180" y="7487448"/>
                    </a:cubicBezTo>
                    <a:close/>
                    <a:moveTo>
                      <a:pt x="2687385" y="3390116"/>
                    </a:moveTo>
                    <a:cubicBezTo>
                      <a:pt x="2687385" y="3373839"/>
                      <a:pt x="2674071" y="3360525"/>
                      <a:pt x="2657796" y="3360525"/>
                    </a:cubicBezTo>
                    <a:cubicBezTo>
                      <a:pt x="2641524" y="3360525"/>
                      <a:pt x="2628207" y="3373839"/>
                      <a:pt x="2628207" y="3390116"/>
                    </a:cubicBezTo>
                    <a:cubicBezTo>
                      <a:pt x="2628207" y="3406391"/>
                      <a:pt x="2641524" y="3419705"/>
                      <a:pt x="2657796" y="3419705"/>
                    </a:cubicBezTo>
                    <a:cubicBezTo>
                      <a:pt x="2674071" y="3419705"/>
                      <a:pt x="2687385" y="3406391"/>
                      <a:pt x="2687385" y="3390116"/>
                    </a:cubicBezTo>
                    <a:close/>
                    <a:moveTo>
                      <a:pt x="2687385" y="7155553"/>
                    </a:moveTo>
                    <a:cubicBezTo>
                      <a:pt x="2687385" y="7154321"/>
                      <a:pt x="2686151" y="7153334"/>
                      <a:pt x="2684919" y="7153334"/>
                    </a:cubicBezTo>
                    <a:cubicBezTo>
                      <a:pt x="2683687" y="7153334"/>
                      <a:pt x="2682700" y="7154321"/>
                      <a:pt x="2682700" y="7155553"/>
                    </a:cubicBezTo>
                    <a:cubicBezTo>
                      <a:pt x="2682700" y="7157034"/>
                      <a:pt x="2683687" y="7158021"/>
                      <a:pt x="2684919" y="7158021"/>
                    </a:cubicBezTo>
                    <a:cubicBezTo>
                      <a:pt x="2686151" y="7158021"/>
                      <a:pt x="2687385" y="7157034"/>
                      <a:pt x="2687385" y="7155553"/>
                    </a:cubicBezTo>
                    <a:close/>
                    <a:moveTo>
                      <a:pt x="2687387" y="6933144"/>
                    </a:moveTo>
                    <a:cubicBezTo>
                      <a:pt x="2687387" y="6931663"/>
                      <a:pt x="2686153" y="6930431"/>
                      <a:pt x="2684675" y="6930431"/>
                    </a:cubicBezTo>
                    <a:cubicBezTo>
                      <a:pt x="2683194" y="6930431"/>
                      <a:pt x="2681962" y="6931663"/>
                      <a:pt x="2681962" y="6933144"/>
                    </a:cubicBezTo>
                    <a:cubicBezTo>
                      <a:pt x="2681962" y="6934622"/>
                      <a:pt x="2683194" y="6935857"/>
                      <a:pt x="2684675" y="6935857"/>
                    </a:cubicBezTo>
                    <a:cubicBezTo>
                      <a:pt x="2686153" y="6935857"/>
                      <a:pt x="2687387" y="6934622"/>
                      <a:pt x="2687387" y="6933144"/>
                    </a:cubicBezTo>
                    <a:close/>
                    <a:moveTo>
                      <a:pt x="2687630" y="6485857"/>
                    </a:moveTo>
                    <a:cubicBezTo>
                      <a:pt x="2687630" y="6484131"/>
                      <a:pt x="2685903" y="6482652"/>
                      <a:pt x="2684177" y="6482652"/>
                    </a:cubicBezTo>
                    <a:cubicBezTo>
                      <a:pt x="2682205" y="6482652"/>
                      <a:pt x="2680727" y="6484131"/>
                      <a:pt x="2680727" y="6485857"/>
                    </a:cubicBezTo>
                    <a:cubicBezTo>
                      <a:pt x="2680727" y="6487830"/>
                      <a:pt x="2682453" y="6489311"/>
                      <a:pt x="2684177" y="6489311"/>
                    </a:cubicBezTo>
                    <a:cubicBezTo>
                      <a:pt x="2686152" y="6489311"/>
                      <a:pt x="2687630" y="6487830"/>
                      <a:pt x="2687630" y="6485857"/>
                    </a:cubicBezTo>
                    <a:close/>
                    <a:moveTo>
                      <a:pt x="2687878" y="7044596"/>
                    </a:moveTo>
                    <a:cubicBezTo>
                      <a:pt x="2687878" y="7042871"/>
                      <a:pt x="2686399" y="7041390"/>
                      <a:pt x="2684672" y="7041390"/>
                    </a:cubicBezTo>
                    <a:cubicBezTo>
                      <a:pt x="2682946" y="7041390"/>
                      <a:pt x="2681468" y="7042871"/>
                      <a:pt x="2681468" y="7044596"/>
                    </a:cubicBezTo>
                    <a:cubicBezTo>
                      <a:pt x="2681468" y="7046322"/>
                      <a:pt x="2682946" y="7047803"/>
                      <a:pt x="2684672" y="7047803"/>
                    </a:cubicBezTo>
                    <a:cubicBezTo>
                      <a:pt x="2686645" y="7047803"/>
                      <a:pt x="2687878" y="7046322"/>
                      <a:pt x="2687878" y="7044596"/>
                    </a:cubicBezTo>
                    <a:close/>
                    <a:moveTo>
                      <a:pt x="2690836" y="6149279"/>
                    </a:moveTo>
                    <a:cubicBezTo>
                      <a:pt x="2690836" y="6148541"/>
                      <a:pt x="2690095" y="6147800"/>
                      <a:pt x="2689355" y="6147800"/>
                    </a:cubicBezTo>
                    <a:cubicBezTo>
                      <a:pt x="2688617" y="6147800"/>
                      <a:pt x="2687877" y="6148292"/>
                      <a:pt x="2687877" y="6149279"/>
                    </a:cubicBezTo>
                    <a:cubicBezTo>
                      <a:pt x="2687877" y="6150019"/>
                      <a:pt x="2688617" y="6150760"/>
                      <a:pt x="2689355" y="6150760"/>
                    </a:cubicBezTo>
                    <a:cubicBezTo>
                      <a:pt x="2690343" y="6150760"/>
                      <a:pt x="2690836" y="6150268"/>
                      <a:pt x="2690836" y="6149279"/>
                    </a:cubicBezTo>
                    <a:close/>
                    <a:moveTo>
                      <a:pt x="2691823" y="5922184"/>
                    </a:moveTo>
                    <a:cubicBezTo>
                      <a:pt x="2691823" y="5921197"/>
                      <a:pt x="2691085" y="5920456"/>
                      <a:pt x="2690099" y="5920456"/>
                    </a:cubicBezTo>
                    <a:cubicBezTo>
                      <a:pt x="2689112" y="5920456"/>
                      <a:pt x="2688372" y="5921197"/>
                      <a:pt x="2688372" y="5922184"/>
                    </a:cubicBezTo>
                    <a:cubicBezTo>
                      <a:pt x="2688372" y="5923170"/>
                      <a:pt x="2689112" y="5923911"/>
                      <a:pt x="2690099" y="5923911"/>
                    </a:cubicBezTo>
                    <a:cubicBezTo>
                      <a:pt x="2691085" y="5923911"/>
                      <a:pt x="2691823" y="5923170"/>
                      <a:pt x="2691823" y="5922184"/>
                    </a:cubicBezTo>
                    <a:close/>
                    <a:moveTo>
                      <a:pt x="2692071" y="6035854"/>
                    </a:moveTo>
                    <a:cubicBezTo>
                      <a:pt x="2692071" y="6034621"/>
                      <a:pt x="2690837" y="6033635"/>
                      <a:pt x="2689604" y="6033635"/>
                    </a:cubicBezTo>
                    <a:cubicBezTo>
                      <a:pt x="2688372" y="6033635"/>
                      <a:pt x="2687385" y="6034621"/>
                      <a:pt x="2687385" y="6035854"/>
                    </a:cubicBezTo>
                    <a:cubicBezTo>
                      <a:pt x="2687385" y="6037335"/>
                      <a:pt x="2688372" y="6038321"/>
                      <a:pt x="2689604" y="6038321"/>
                    </a:cubicBezTo>
                    <a:cubicBezTo>
                      <a:pt x="2690837" y="6038321"/>
                      <a:pt x="2692071" y="6037335"/>
                      <a:pt x="2692071" y="6035854"/>
                    </a:cubicBezTo>
                    <a:close/>
                    <a:moveTo>
                      <a:pt x="2692565" y="6709993"/>
                    </a:moveTo>
                    <a:cubicBezTo>
                      <a:pt x="2692565" y="6705556"/>
                      <a:pt x="2688866" y="6701857"/>
                      <a:pt x="2684427" y="6701857"/>
                    </a:cubicBezTo>
                    <a:cubicBezTo>
                      <a:pt x="2679989" y="6701857"/>
                      <a:pt x="2676290" y="6705556"/>
                      <a:pt x="2676290" y="6709993"/>
                    </a:cubicBezTo>
                    <a:cubicBezTo>
                      <a:pt x="2676290" y="6714433"/>
                      <a:pt x="2679989" y="6718133"/>
                      <a:pt x="2684427" y="6718133"/>
                    </a:cubicBezTo>
                    <a:cubicBezTo>
                      <a:pt x="2688866" y="6718133"/>
                      <a:pt x="2692565" y="6714680"/>
                      <a:pt x="2692565" y="6709993"/>
                    </a:cubicBezTo>
                    <a:close/>
                    <a:moveTo>
                      <a:pt x="2692809" y="6598046"/>
                    </a:moveTo>
                    <a:cubicBezTo>
                      <a:pt x="2692809" y="6593364"/>
                      <a:pt x="2689109" y="6589664"/>
                      <a:pt x="2684424" y="6589664"/>
                    </a:cubicBezTo>
                    <a:cubicBezTo>
                      <a:pt x="2679740" y="6589664"/>
                      <a:pt x="2676041" y="6593364"/>
                      <a:pt x="2676041" y="6598046"/>
                    </a:cubicBezTo>
                    <a:cubicBezTo>
                      <a:pt x="2676041" y="6602732"/>
                      <a:pt x="2679740" y="6606431"/>
                      <a:pt x="2684424" y="6606431"/>
                    </a:cubicBezTo>
                    <a:cubicBezTo>
                      <a:pt x="2688863" y="6606431"/>
                      <a:pt x="2692562" y="6602732"/>
                      <a:pt x="2692809" y="6598046"/>
                    </a:cubicBezTo>
                    <a:close/>
                    <a:moveTo>
                      <a:pt x="2693303" y="5577719"/>
                    </a:moveTo>
                    <a:cubicBezTo>
                      <a:pt x="2693303" y="5576980"/>
                      <a:pt x="2692563" y="5576240"/>
                      <a:pt x="2691822" y="5576240"/>
                    </a:cubicBezTo>
                    <a:cubicBezTo>
                      <a:pt x="2691084" y="5576240"/>
                      <a:pt x="2690344" y="5576980"/>
                      <a:pt x="2690344" y="5577719"/>
                    </a:cubicBezTo>
                    <a:cubicBezTo>
                      <a:pt x="2690344" y="5578705"/>
                      <a:pt x="2691084" y="5579200"/>
                      <a:pt x="2691822" y="5579200"/>
                    </a:cubicBezTo>
                    <a:cubicBezTo>
                      <a:pt x="2692563" y="5579200"/>
                      <a:pt x="2693058" y="5578459"/>
                      <a:pt x="2693303" y="5577719"/>
                    </a:cubicBezTo>
                    <a:close/>
                    <a:moveTo>
                      <a:pt x="2693795" y="5808018"/>
                    </a:moveTo>
                    <a:cubicBezTo>
                      <a:pt x="2693795" y="5806291"/>
                      <a:pt x="2692317" y="5804813"/>
                      <a:pt x="2690590" y="5804813"/>
                    </a:cubicBezTo>
                    <a:cubicBezTo>
                      <a:pt x="2688863" y="5804813"/>
                      <a:pt x="2687385" y="5806291"/>
                      <a:pt x="2687385" y="5808018"/>
                    </a:cubicBezTo>
                    <a:cubicBezTo>
                      <a:pt x="2687385" y="5809499"/>
                      <a:pt x="2688863" y="5810977"/>
                      <a:pt x="2690590" y="5810977"/>
                    </a:cubicBezTo>
                    <a:cubicBezTo>
                      <a:pt x="2692317" y="5810977"/>
                      <a:pt x="2693549" y="5809499"/>
                      <a:pt x="2693795" y="5808018"/>
                    </a:cubicBezTo>
                    <a:close/>
                    <a:moveTo>
                      <a:pt x="2693796" y="6821693"/>
                    </a:moveTo>
                    <a:cubicBezTo>
                      <a:pt x="2693796" y="6816513"/>
                      <a:pt x="2689605" y="6812322"/>
                      <a:pt x="2684426" y="6812322"/>
                    </a:cubicBezTo>
                    <a:cubicBezTo>
                      <a:pt x="2679249" y="6812322"/>
                      <a:pt x="2675058" y="6816513"/>
                      <a:pt x="2675058" y="6821693"/>
                    </a:cubicBezTo>
                    <a:cubicBezTo>
                      <a:pt x="2675058" y="6826871"/>
                      <a:pt x="2679249" y="6831062"/>
                      <a:pt x="2684426" y="6831062"/>
                    </a:cubicBezTo>
                    <a:cubicBezTo>
                      <a:pt x="2689605" y="6831062"/>
                      <a:pt x="2693796" y="6826871"/>
                      <a:pt x="2693796" y="6821693"/>
                    </a:cubicBezTo>
                    <a:close/>
                    <a:moveTo>
                      <a:pt x="2694040" y="3004724"/>
                    </a:moveTo>
                    <a:cubicBezTo>
                      <a:pt x="2694040" y="2992394"/>
                      <a:pt x="2683931" y="2982285"/>
                      <a:pt x="2671604" y="2982285"/>
                    </a:cubicBezTo>
                    <a:cubicBezTo>
                      <a:pt x="2659274" y="2982285"/>
                      <a:pt x="2649165" y="2992394"/>
                      <a:pt x="2649165" y="3004724"/>
                    </a:cubicBezTo>
                    <a:cubicBezTo>
                      <a:pt x="2649165" y="3017052"/>
                      <a:pt x="2659274" y="3027161"/>
                      <a:pt x="2671604" y="3027161"/>
                    </a:cubicBezTo>
                    <a:cubicBezTo>
                      <a:pt x="2683931" y="3027161"/>
                      <a:pt x="2694040" y="3017052"/>
                      <a:pt x="2694040" y="3004724"/>
                    </a:cubicBezTo>
                    <a:close/>
                    <a:moveTo>
                      <a:pt x="2695522" y="3622865"/>
                    </a:moveTo>
                    <a:cubicBezTo>
                      <a:pt x="2695522" y="3606591"/>
                      <a:pt x="2682209" y="3593276"/>
                      <a:pt x="2665934" y="3593276"/>
                    </a:cubicBezTo>
                    <a:cubicBezTo>
                      <a:pt x="2649660" y="3593276"/>
                      <a:pt x="2636344" y="3606591"/>
                      <a:pt x="2636344" y="3622865"/>
                    </a:cubicBezTo>
                    <a:cubicBezTo>
                      <a:pt x="2636344" y="3639141"/>
                      <a:pt x="2649660" y="3652455"/>
                      <a:pt x="2665934" y="3652455"/>
                    </a:cubicBezTo>
                    <a:cubicBezTo>
                      <a:pt x="2682209" y="3652455"/>
                      <a:pt x="2695522" y="3639141"/>
                      <a:pt x="2695522" y="3622865"/>
                    </a:cubicBezTo>
                    <a:close/>
                    <a:moveTo>
                      <a:pt x="2697002" y="5693115"/>
                    </a:moveTo>
                    <a:cubicBezTo>
                      <a:pt x="2697002" y="5689910"/>
                      <a:pt x="2694289" y="5687197"/>
                      <a:pt x="2691084" y="5687197"/>
                    </a:cubicBezTo>
                    <a:cubicBezTo>
                      <a:pt x="2687879" y="5687197"/>
                      <a:pt x="2685167" y="5689910"/>
                      <a:pt x="2685167" y="5693115"/>
                    </a:cubicBezTo>
                    <a:cubicBezTo>
                      <a:pt x="2685167" y="5696320"/>
                      <a:pt x="2687879" y="5699033"/>
                      <a:pt x="2691084" y="5699033"/>
                    </a:cubicBezTo>
                    <a:cubicBezTo>
                      <a:pt x="2694289" y="5699033"/>
                      <a:pt x="2697002" y="5696320"/>
                      <a:pt x="2697002" y="5693115"/>
                    </a:cubicBezTo>
                    <a:close/>
                    <a:moveTo>
                      <a:pt x="2699221" y="4147333"/>
                    </a:moveTo>
                    <a:cubicBezTo>
                      <a:pt x="2699221" y="4135003"/>
                      <a:pt x="2689358" y="4125139"/>
                      <a:pt x="2677027" y="4125139"/>
                    </a:cubicBezTo>
                    <a:cubicBezTo>
                      <a:pt x="2664700" y="4125139"/>
                      <a:pt x="2654837" y="4135003"/>
                      <a:pt x="2654837" y="4147333"/>
                    </a:cubicBezTo>
                    <a:cubicBezTo>
                      <a:pt x="2654837" y="4159660"/>
                      <a:pt x="2664700" y="4169523"/>
                      <a:pt x="2677027" y="4169523"/>
                    </a:cubicBezTo>
                    <a:cubicBezTo>
                      <a:pt x="2689358" y="4169523"/>
                      <a:pt x="2699221" y="4159660"/>
                      <a:pt x="2699221" y="4147333"/>
                    </a:cubicBezTo>
                    <a:close/>
                    <a:moveTo>
                      <a:pt x="2699468" y="6374897"/>
                    </a:moveTo>
                    <a:cubicBezTo>
                      <a:pt x="2699468" y="6369227"/>
                      <a:pt x="2694782" y="6364541"/>
                      <a:pt x="2689112" y="6364541"/>
                    </a:cubicBezTo>
                    <a:cubicBezTo>
                      <a:pt x="2683194" y="6364541"/>
                      <a:pt x="2678509" y="6369227"/>
                      <a:pt x="2678509" y="6374897"/>
                    </a:cubicBezTo>
                    <a:cubicBezTo>
                      <a:pt x="2678509" y="6380818"/>
                      <a:pt x="2683194" y="6385500"/>
                      <a:pt x="2689112" y="6385500"/>
                    </a:cubicBezTo>
                    <a:cubicBezTo>
                      <a:pt x="2694782" y="6385500"/>
                      <a:pt x="2699468" y="6380818"/>
                      <a:pt x="2699468" y="6374897"/>
                    </a:cubicBezTo>
                    <a:close/>
                    <a:moveTo>
                      <a:pt x="2699961" y="4288866"/>
                    </a:moveTo>
                    <a:cubicBezTo>
                      <a:pt x="2699961" y="4266181"/>
                      <a:pt x="2681221" y="4247687"/>
                      <a:pt x="2658536" y="4247687"/>
                    </a:cubicBezTo>
                    <a:cubicBezTo>
                      <a:pt x="2635852" y="4247687"/>
                      <a:pt x="2617358" y="4266181"/>
                      <a:pt x="2617358" y="4288866"/>
                    </a:cubicBezTo>
                    <a:cubicBezTo>
                      <a:pt x="2617358" y="4311550"/>
                      <a:pt x="2635852" y="4330041"/>
                      <a:pt x="2658536" y="4330041"/>
                    </a:cubicBezTo>
                    <a:cubicBezTo>
                      <a:pt x="2681221" y="4330041"/>
                      <a:pt x="2699961" y="4311550"/>
                      <a:pt x="2699961" y="4288866"/>
                    </a:cubicBezTo>
                    <a:close/>
                    <a:moveTo>
                      <a:pt x="2701685" y="6262212"/>
                    </a:moveTo>
                    <a:cubicBezTo>
                      <a:pt x="2701685" y="6255307"/>
                      <a:pt x="2696015" y="6249635"/>
                      <a:pt x="2689112" y="6249635"/>
                    </a:cubicBezTo>
                    <a:cubicBezTo>
                      <a:pt x="2682208" y="6249635"/>
                      <a:pt x="2676536" y="6255307"/>
                      <a:pt x="2676536" y="6262212"/>
                    </a:cubicBezTo>
                    <a:cubicBezTo>
                      <a:pt x="2676536" y="6269116"/>
                      <a:pt x="2682208" y="6274785"/>
                      <a:pt x="2689112" y="6274785"/>
                    </a:cubicBezTo>
                    <a:cubicBezTo>
                      <a:pt x="2696262" y="6274785"/>
                      <a:pt x="2701685" y="6269116"/>
                      <a:pt x="2701685" y="6262212"/>
                    </a:cubicBezTo>
                    <a:close/>
                    <a:moveTo>
                      <a:pt x="2704398" y="3999633"/>
                    </a:moveTo>
                    <a:cubicBezTo>
                      <a:pt x="2704398" y="3998401"/>
                      <a:pt x="2703411" y="3997414"/>
                      <a:pt x="2702179" y="3997414"/>
                    </a:cubicBezTo>
                    <a:cubicBezTo>
                      <a:pt x="2700946" y="3997414"/>
                      <a:pt x="2699961" y="3998401"/>
                      <a:pt x="2699961" y="3999633"/>
                    </a:cubicBezTo>
                    <a:cubicBezTo>
                      <a:pt x="2699961" y="4000865"/>
                      <a:pt x="2700946" y="4001851"/>
                      <a:pt x="2702179" y="4001851"/>
                    </a:cubicBezTo>
                    <a:cubicBezTo>
                      <a:pt x="2703411" y="4001851"/>
                      <a:pt x="2704398" y="4000619"/>
                      <a:pt x="2704398" y="3999633"/>
                    </a:cubicBezTo>
                    <a:close/>
                    <a:moveTo>
                      <a:pt x="2704644" y="469911"/>
                    </a:moveTo>
                    <a:cubicBezTo>
                      <a:pt x="2704644" y="457090"/>
                      <a:pt x="2694289" y="446733"/>
                      <a:pt x="2681468" y="446733"/>
                    </a:cubicBezTo>
                    <a:cubicBezTo>
                      <a:pt x="2668643" y="446733"/>
                      <a:pt x="2658288" y="457090"/>
                      <a:pt x="2658288" y="469911"/>
                    </a:cubicBezTo>
                    <a:cubicBezTo>
                      <a:pt x="2658288" y="482733"/>
                      <a:pt x="2668643" y="493087"/>
                      <a:pt x="2681468" y="493087"/>
                    </a:cubicBezTo>
                    <a:cubicBezTo>
                      <a:pt x="2694289" y="493087"/>
                      <a:pt x="2704644" y="482733"/>
                      <a:pt x="2704644" y="469911"/>
                    </a:cubicBezTo>
                    <a:close/>
                    <a:moveTo>
                      <a:pt x="2705139" y="357742"/>
                    </a:moveTo>
                    <a:cubicBezTo>
                      <a:pt x="2705139" y="344675"/>
                      <a:pt x="2694534" y="334071"/>
                      <a:pt x="2681467" y="334071"/>
                    </a:cubicBezTo>
                    <a:cubicBezTo>
                      <a:pt x="2668399" y="334071"/>
                      <a:pt x="2657796" y="344675"/>
                      <a:pt x="2657796" y="357742"/>
                    </a:cubicBezTo>
                    <a:cubicBezTo>
                      <a:pt x="2657796" y="370809"/>
                      <a:pt x="2668399" y="381412"/>
                      <a:pt x="2681467" y="381412"/>
                    </a:cubicBezTo>
                    <a:cubicBezTo>
                      <a:pt x="2694534" y="381412"/>
                      <a:pt x="2705139" y="370809"/>
                      <a:pt x="2705139" y="357742"/>
                    </a:cubicBezTo>
                    <a:close/>
                    <a:moveTo>
                      <a:pt x="2705879" y="134394"/>
                    </a:moveTo>
                    <a:cubicBezTo>
                      <a:pt x="2705879" y="120833"/>
                      <a:pt x="2695030" y="109984"/>
                      <a:pt x="2681467" y="109984"/>
                    </a:cubicBezTo>
                    <a:cubicBezTo>
                      <a:pt x="2667905" y="109984"/>
                      <a:pt x="2657056" y="120833"/>
                      <a:pt x="2657056" y="134394"/>
                    </a:cubicBezTo>
                    <a:cubicBezTo>
                      <a:pt x="2657056" y="147956"/>
                      <a:pt x="2667905" y="158803"/>
                      <a:pt x="2681467" y="158803"/>
                    </a:cubicBezTo>
                    <a:cubicBezTo>
                      <a:pt x="2695030" y="158803"/>
                      <a:pt x="2706124" y="147707"/>
                      <a:pt x="2705879" y="134394"/>
                    </a:cubicBezTo>
                    <a:close/>
                    <a:moveTo>
                      <a:pt x="2706125" y="22724"/>
                    </a:moveTo>
                    <a:cubicBezTo>
                      <a:pt x="2706125" y="15943"/>
                      <a:pt x="2703352" y="9840"/>
                      <a:pt x="2698914" y="5433"/>
                    </a:cubicBezTo>
                    <a:lnTo>
                      <a:pt x="2685791" y="0"/>
                    </a:lnTo>
                    <a:lnTo>
                      <a:pt x="2677672" y="0"/>
                    </a:lnTo>
                    <a:lnTo>
                      <a:pt x="2664424" y="5525"/>
                    </a:lnTo>
                    <a:cubicBezTo>
                      <a:pt x="2660017" y="9963"/>
                      <a:pt x="2657305" y="16066"/>
                      <a:pt x="2657305" y="22724"/>
                    </a:cubicBezTo>
                    <a:cubicBezTo>
                      <a:pt x="2657305" y="36283"/>
                      <a:pt x="2668153" y="47132"/>
                      <a:pt x="2681716" y="47132"/>
                    </a:cubicBezTo>
                    <a:cubicBezTo>
                      <a:pt x="2695030" y="47132"/>
                      <a:pt x="2705879" y="36283"/>
                      <a:pt x="2706125" y="22724"/>
                    </a:cubicBezTo>
                    <a:close/>
                    <a:moveTo>
                      <a:pt x="2706370" y="5110950"/>
                    </a:moveTo>
                    <a:cubicBezTo>
                      <a:pt x="2706370" y="5109469"/>
                      <a:pt x="2705384" y="5108237"/>
                      <a:pt x="2703905" y="5108237"/>
                    </a:cubicBezTo>
                    <a:cubicBezTo>
                      <a:pt x="2702425" y="5108237"/>
                      <a:pt x="2701193" y="5109469"/>
                      <a:pt x="2701193" y="5110950"/>
                    </a:cubicBezTo>
                    <a:cubicBezTo>
                      <a:pt x="2701193" y="5112428"/>
                      <a:pt x="2702425" y="5113664"/>
                      <a:pt x="2703905" y="5113664"/>
                    </a:cubicBezTo>
                    <a:cubicBezTo>
                      <a:pt x="2705384" y="5113664"/>
                      <a:pt x="2706619" y="5112428"/>
                      <a:pt x="2706370" y="5110950"/>
                    </a:cubicBezTo>
                    <a:close/>
                    <a:moveTo>
                      <a:pt x="2706620" y="245822"/>
                    </a:moveTo>
                    <a:cubicBezTo>
                      <a:pt x="2706620" y="232259"/>
                      <a:pt x="2695524" y="221165"/>
                      <a:pt x="2681962" y="221165"/>
                    </a:cubicBezTo>
                    <a:cubicBezTo>
                      <a:pt x="2668400" y="221165"/>
                      <a:pt x="2657305" y="232259"/>
                      <a:pt x="2657305" y="245822"/>
                    </a:cubicBezTo>
                    <a:cubicBezTo>
                      <a:pt x="2657305" y="259384"/>
                      <a:pt x="2668400" y="270478"/>
                      <a:pt x="2681962" y="270478"/>
                    </a:cubicBezTo>
                    <a:cubicBezTo>
                      <a:pt x="2695524" y="270478"/>
                      <a:pt x="2706620" y="259384"/>
                      <a:pt x="2706620" y="245822"/>
                    </a:cubicBezTo>
                    <a:close/>
                    <a:moveTo>
                      <a:pt x="2707360" y="3274965"/>
                    </a:moveTo>
                    <a:cubicBezTo>
                      <a:pt x="2707360" y="3258688"/>
                      <a:pt x="2694043" y="3245621"/>
                      <a:pt x="2678017" y="3245621"/>
                    </a:cubicBezTo>
                    <a:cubicBezTo>
                      <a:pt x="2661741" y="3245621"/>
                      <a:pt x="2648674" y="3258935"/>
                      <a:pt x="2648674" y="3274965"/>
                    </a:cubicBezTo>
                    <a:cubicBezTo>
                      <a:pt x="2648674" y="3291235"/>
                      <a:pt x="2661990" y="3304306"/>
                      <a:pt x="2678017" y="3304306"/>
                    </a:cubicBezTo>
                    <a:cubicBezTo>
                      <a:pt x="2694043" y="3304306"/>
                      <a:pt x="2707111" y="3291235"/>
                      <a:pt x="2707360" y="3274965"/>
                    </a:cubicBezTo>
                    <a:close/>
                    <a:moveTo>
                      <a:pt x="2713770" y="1726555"/>
                    </a:moveTo>
                    <a:cubicBezTo>
                      <a:pt x="2713770" y="1718659"/>
                      <a:pt x="2707360" y="1712243"/>
                      <a:pt x="2699470" y="1712243"/>
                    </a:cubicBezTo>
                    <a:cubicBezTo>
                      <a:pt x="2691579" y="1712243"/>
                      <a:pt x="2685167" y="1718659"/>
                      <a:pt x="2685167" y="1726555"/>
                    </a:cubicBezTo>
                    <a:cubicBezTo>
                      <a:pt x="2685167" y="1734450"/>
                      <a:pt x="2691579" y="1740864"/>
                      <a:pt x="2699470" y="1740864"/>
                    </a:cubicBezTo>
                    <a:cubicBezTo>
                      <a:pt x="2707360" y="1740864"/>
                      <a:pt x="2713770" y="1734450"/>
                      <a:pt x="2713770" y="1726555"/>
                    </a:cubicBezTo>
                    <a:close/>
                    <a:moveTo>
                      <a:pt x="2714755" y="1608959"/>
                    </a:moveTo>
                    <a:cubicBezTo>
                      <a:pt x="2714755" y="1599589"/>
                      <a:pt x="2707111" y="1591945"/>
                      <a:pt x="2697740" y="1591945"/>
                    </a:cubicBezTo>
                    <a:cubicBezTo>
                      <a:pt x="2688371" y="1591945"/>
                      <a:pt x="2680727" y="1599589"/>
                      <a:pt x="2680727" y="1608959"/>
                    </a:cubicBezTo>
                    <a:cubicBezTo>
                      <a:pt x="2680727" y="1618329"/>
                      <a:pt x="2688371" y="1625971"/>
                      <a:pt x="2697740" y="1625971"/>
                    </a:cubicBezTo>
                    <a:cubicBezTo>
                      <a:pt x="2707111" y="1625971"/>
                      <a:pt x="2714755" y="1618329"/>
                      <a:pt x="2714755" y="1608959"/>
                    </a:cubicBezTo>
                    <a:close/>
                    <a:moveTo>
                      <a:pt x="2718207" y="1492339"/>
                    </a:moveTo>
                    <a:cubicBezTo>
                      <a:pt x="2718207" y="1480256"/>
                      <a:pt x="2708344" y="1470395"/>
                      <a:pt x="2696262" y="1470395"/>
                    </a:cubicBezTo>
                    <a:cubicBezTo>
                      <a:pt x="2684181" y="1470395"/>
                      <a:pt x="2674318" y="1480256"/>
                      <a:pt x="2674318" y="1492339"/>
                    </a:cubicBezTo>
                    <a:cubicBezTo>
                      <a:pt x="2674318" y="1504421"/>
                      <a:pt x="2684181" y="1514285"/>
                      <a:pt x="2696262" y="1514285"/>
                    </a:cubicBezTo>
                    <a:cubicBezTo>
                      <a:pt x="2708344" y="1514285"/>
                      <a:pt x="2718207" y="1504421"/>
                      <a:pt x="2718207" y="1492339"/>
                    </a:cubicBezTo>
                    <a:close/>
                    <a:moveTo>
                      <a:pt x="2719439" y="2362665"/>
                    </a:moveTo>
                    <a:cubicBezTo>
                      <a:pt x="2719439" y="2340473"/>
                      <a:pt x="2701439" y="2322221"/>
                      <a:pt x="2679000" y="2322221"/>
                    </a:cubicBezTo>
                    <a:cubicBezTo>
                      <a:pt x="2656809" y="2322221"/>
                      <a:pt x="2638562" y="2340227"/>
                      <a:pt x="2638562" y="2362665"/>
                    </a:cubicBezTo>
                    <a:cubicBezTo>
                      <a:pt x="2638562" y="2384857"/>
                      <a:pt x="2656561" y="2403101"/>
                      <a:pt x="2679000" y="2403101"/>
                    </a:cubicBezTo>
                    <a:cubicBezTo>
                      <a:pt x="2701439" y="2403101"/>
                      <a:pt x="2719684" y="2385101"/>
                      <a:pt x="2719439" y="2362665"/>
                    </a:cubicBezTo>
                    <a:close/>
                    <a:moveTo>
                      <a:pt x="2721414" y="5347168"/>
                    </a:moveTo>
                    <a:cubicBezTo>
                      <a:pt x="2721414" y="5335579"/>
                      <a:pt x="2711797" y="5326210"/>
                      <a:pt x="2700207" y="5326210"/>
                    </a:cubicBezTo>
                    <a:cubicBezTo>
                      <a:pt x="2688618" y="5326210"/>
                      <a:pt x="2679249" y="5335579"/>
                      <a:pt x="2679249" y="5347168"/>
                    </a:cubicBezTo>
                    <a:cubicBezTo>
                      <a:pt x="2679249" y="5359004"/>
                      <a:pt x="2688618" y="5368376"/>
                      <a:pt x="2700207" y="5368376"/>
                    </a:cubicBezTo>
                    <a:cubicBezTo>
                      <a:pt x="2712043" y="5368376"/>
                      <a:pt x="2721414" y="5359004"/>
                      <a:pt x="2721414" y="5347168"/>
                    </a:cubicBezTo>
                    <a:close/>
                    <a:moveTo>
                      <a:pt x="2722400" y="3736290"/>
                    </a:moveTo>
                    <a:cubicBezTo>
                      <a:pt x="2722400" y="3720509"/>
                      <a:pt x="2709576" y="3707933"/>
                      <a:pt x="2694044" y="3707933"/>
                    </a:cubicBezTo>
                    <a:cubicBezTo>
                      <a:pt x="2678262" y="3707933"/>
                      <a:pt x="2665687" y="3720755"/>
                      <a:pt x="2665687" y="3736290"/>
                    </a:cubicBezTo>
                    <a:cubicBezTo>
                      <a:pt x="2665687" y="3751822"/>
                      <a:pt x="2678509" y="3764397"/>
                      <a:pt x="2694044" y="3764397"/>
                    </a:cubicBezTo>
                    <a:cubicBezTo>
                      <a:pt x="2709576" y="3764397"/>
                      <a:pt x="2722400" y="3751822"/>
                      <a:pt x="2722400" y="3736290"/>
                    </a:cubicBezTo>
                    <a:close/>
                    <a:moveTo>
                      <a:pt x="2724124" y="2764068"/>
                    </a:moveTo>
                    <a:cubicBezTo>
                      <a:pt x="2724124" y="2759138"/>
                      <a:pt x="2720178" y="2755191"/>
                      <a:pt x="2715247" y="2755191"/>
                    </a:cubicBezTo>
                    <a:cubicBezTo>
                      <a:pt x="2710315" y="2755191"/>
                      <a:pt x="2706371" y="2759138"/>
                      <a:pt x="2706371" y="2764068"/>
                    </a:cubicBezTo>
                    <a:cubicBezTo>
                      <a:pt x="2706371" y="2768998"/>
                      <a:pt x="2710315" y="2772944"/>
                      <a:pt x="2715247" y="2772944"/>
                    </a:cubicBezTo>
                    <a:cubicBezTo>
                      <a:pt x="2719933" y="2772944"/>
                      <a:pt x="2724124" y="2768998"/>
                      <a:pt x="2724124" y="2764068"/>
                    </a:cubicBezTo>
                    <a:close/>
                    <a:moveTo>
                      <a:pt x="2726590" y="1965208"/>
                    </a:moveTo>
                    <a:cubicBezTo>
                      <a:pt x="2726590" y="1953129"/>
                      <a:pt x="2716726" y="1943270"/>
                      <a:pt x="2704644" y="1943270"/>
                    </a:cubicBezTo>
                    <a:cubicBezTo>
                      <a:pt x="2692563" y="1943270"/>
                      <a:pt x="2682700" y="1953129"/>
                      <a:pt x="2682700" y="1965208"/>
                    </a:cubicBezTo>
                    <a:cubicBezTo>
                      <a:pt x="2682700" y="1977287"/>
                      <a:pt x="2692563" y="1987147"/>
                      <a:pt x="2704644" y="1987147"/>
                    </a:cubicBezTo>
                    <a:cubicBezTo>
                      <a:pt x="2716726" y="1987147"/>
                      <a:pt x="2726590" y="1977287"/>
                      <a:pt x="2726590" y="1965208"/>
                    </a:cubicBezTo>
                    <a:close/>
                    <a:moveTo>
                      <a:pt x="2729796" y="4625935"/>
                    </a:moveTo>
                    <a:cubicBezTo>
                      <a:pt x="2729796" y="4624457"/>
                      <a:pt x="2728564" y="4623470"/>
                      <a:pt x="2727332" y="4623470"/>
                    </a:cubicBezTo>
                    <a:cubicBezTo>
                      <a:pt x="2725851" y="4623470"/>
                      <a:pt x="2724865" y="4624703"/>
                      <a:pt x="2724865" y="4625935"/>
                    </a:cubicBezTo>
                    <a:cubicBezTo>
                      <a:pt x="2724865" y="4627416"/>
                      <a:pt x="2726097" y="4628402"/>
                      <a:pt x="2727332" y="4628402"/>
                    </a:cubicBezTo>
                    <a:cubicBezTo>
                      <a:pt x="2728564" y="4628402"/>
                      <a:pt x="2729796" y="4627416"/>
                      <a:pt x="2729796" y="4625935"/>
                    </a:cubicBezTo>
                    <a:close/>
                    <a:moveTo>
                      <a:pt x="2731523" y="1845171"/>
                    </a:moveTo>
                    <a:cubicBezTo>
                      <a:pt x="2731523" y="1828900"/>
                      <a:pt x="2718209" y="1815583"/>
                      <a:pt x="2701934" y="1815583"/>
                    </a:cubicBezTo>
                    <a:cubicBezTo>
                      <a:pt x="2685658" y="1815583"/>
                      <a:pt x="2672345" y="1828900"/>
                      <a:pt x="2672345" y="1845171"/>
                    </a:cubicBezTo>
                    <a:cubicBezTo>
                      <a:pt x="2672345" y="1861441"/>
                      <a:pt x="2685658" y="1874752"/>
                      <a:pt x="2701934" y="1874752"/>
                    </a:cubicBezTo>
                    <a:cubicBezTo>
                      <a:pt x="2718209" y="1874752"/>
                      <a:pt x="2731523" y="1861441"/>
                      <a:pt x="2731523" y="1845171"/>
                    </a:cubicBezTo>
                    <a:close/>
                    <a:moveTo>
                      <a:pt x="2734481" y="2492600"/>
                    </a:moveTo>
                    <a:cubicBezTo>
                      <a:pt x="2734481" y="2466957"/>
                      <a:pt x="2713524" y="2446245"/>
                      <a:pt x="2688125" y="2446245"/>
                    </a:cubicBezTo>
                    <a:cubicBezTo>
                      <a:pt x="2662481" y="2446245"/>
                      <a:pt x="2641769" y="2466957"/>
                      <a:pt x="2641769" y="2492600"/>
                    </a:cubicBezTo>
                    <a:cubicBezTo>
                      <a:pt x="2641769" y="2518245"/>
                      <a:pt x="2662481" y="2538958"/>
                      <a:pt x="2688125" y="2538958"/>
                    </a:cubicBezTo>
                    <a:cubicBezTo>
                      <a:pt x="2713524" y="2538958"/>
                      <a:pt x="2734236" y="2518245"/>
                      <a:pt x="2734481" y="2492600"/>
                    </a:cubicBezTo>
                    <a:close/>
                    <a:moveTo>
                      <a:pt x="2736700" y="5229799"/>
                    </a:moveTo>
                    <a:cubicBezTo>
                      <a:pt x="2736700" y="5210814"/>
                      <a:pt x="2721165" y="5195278"/>
                      <a:pt x="2702180" y="5195278"/>
                    </a:cubicBezTo>
                    <a:cubicBezTo>
                      <a:pt x="2683193" y="5195278"/>
                      <a:pt x="2667659" y="5210565"/>
                      <a:pt x="2667659" y="5229799"/>
                    </a:cubicBezTo>
                    <a:cubicBezTo>
                      <a:pt x="2667659" y="5248784"/>
                      <a:pt x="2683193" y="5264320"/>
                      <a:pt x="2702180" y="5264320"/>
                    </a:cubicBezTo>
                    <a:cubicBezTo>
                      <a:pt x="2721165" y="5264320"/>
                      <a:pt x="2736700" y="5249030"/>
                      <a:pt x="2736700" y="5229799"/>
                    </a:cubicBezTo>
                    <a:close/>
                    <a:moveTo>
                      <a:pt x="2739414" y="4990867"/>
                    </a:moveTo>
                    <a:cubicBezTo>
                      <a:pt x="2739414" y="4972621"/>
                      <a:pt x="2724618" y="4957827"/>
                      <a:pt x="2706371" y="4957827"/>
                    </a:cubicBezTo>
                    <a:cubicBezTo>
                      <a:pt x="2688125" y="4957827"/>
                      <a:pt x="2673331" y="4972621"/>
                      <a:pt x="2673331" y="4990867"/>
                    </a:cubicBezTo>
                    <a:cubicBezTo>
                      <a:pt x="2673331" y="5009115"/>
                      <a:pt x="2688125" y="5023909"/>
                      <a:pt x="2706371" y="5023909"/>
                    </a:cubicBezTo>
                    <a:cubicBezTo>
                      <a:pt x="2724618" y="5023909"/>
                      <a:pt x="2739414" y="5009115"/>
                      <a:pt x="2739414" y="4990867"/>
                    </a:cubicBezTo>
                    <a:close/>
                    <a:moveTo>
                      <a:pt x="2741878" y="3164004"/>
                    </a:moveTo>
                    <a:cubicBezTo>
                      <a:pt x="2741878" y="3148717"/>
                      <a:pt x="2729305" y="3136141"/>
                      <a:pt x="2714015" y="3136141"/>
                    </a:cubicBezTo>
                    <a:cubicBezTo>
                      <a:pt x="2698729" y="3136141"/>
                      <a:pt x="2686153" y="3148717"/>
                      <a:pt x="2686153" y="3164004"/>
                    </a:cubicBezTo>
                    <a:cubicBezTo>
                      <a:pt x="2686153" y="3179293"/>
                      <a:pt x="2698729" y="3191869"/>
                      <a:pt x="2714015" y="3191869"/>
                    </a:cubicBezTo>
                    <a:cubicBezTo>
                      <a:pt x="2729550" y="3191869"/>
                      <a:pt x="2741878" y="3179293"/>
                      <a:pt x="2741878" y="3164004"/>
                    </a:cubicBezTo>
                    <a:close/>
                    <a:moveTo>
                      <a:pt x="2747058" y="2086510"/>
                    </a:moveTo>
                    <a:cubicBezTo>
                      <a:pt x="2747058" y="2065057"/>
                      <a:pt x="2729550" y="2047547"/>
                      <a:pt x="2708100" y="2047547"/>
                    </a:cubicBezTo>
                    <a:cubicBezTo>
                      <a:pt x="2686648" y="2047547"/>
                      <a:pt x="2669140" y="2065057"/>
                      <a:pt x="2669140" y="2086510"/>
                    </a:cubicBezTo>
                    <a:cubicBezTo>
                      <a:pt x="2669140" y="2107965"/>
                      <a:pt x="2686648" y="2125475"/>
                      <a:pt x="2708100" y="2125475"/>
                    </a:cubicBezTo>
                    <a:cubicBezTo>
                      <a:pt x="2729550" y="2125475"/>
                      <a:pt x="2747058" y="2107965"/>
                      <a:pt x="2747058" y="2086510"/>
                    </a:cubicBezTo>
                    <a:close/>
                    <a:moveTo>
                      <a:pt x="2748290" y="4746016"/>
                    </a:moveTo>
                    <a:cubicBezTo>
                      <a:pt x="2748290" y="4726784"/>
                      <a:pt x="2732509" y="4711003"/>
                      <a:pt x="2713274" y="4711003"/>
                    </a:cubicBezTo>
                    <a:cubicBezTo>
                      <a:pt x="2694043" y="4711003"/>
                      <a:pt x="2678262" y="4726784"/>
                      <a:pt x="2678262" y="4746016"/>
                    </a:cubicBezTo>
                    <a:cubicBezTo>
                      <a:pt x="2678262" y="4765250"/>
                      <a:pt x="2693797" y="4781031"/>
                      <a:pt x="2713274" y="4781031"/>
                    </a:cubicBezTo>
                    <a:cubicBezTo>
                      <a:pt x="2732755" y="4781031"/>
                      <a:pt x="2748290" y="4765250"/>
                      <a:pt x="2748290" y="4746016"/>
                    </a:cubicBezTo>
                    <a:close/>
                    <a:moveTo>
                      <a:pt x="2748537" y="2210043"/>
                    </a:moveTo>
                    <a:cubicBezTo>
                      <a:pt x="2748537" y="2189821"/>
                      <a:pt x="2732264" y="2173552"/>
                      <a:pt x="2712043" y="2173552"/>
                    </a:cubicBezTo>
                    <a:cubicBezTo>
                      <a:pt x="2691825" y="2173552"/>
                      <a:pt x="2675550" y="2189821"/>
                      <a:pt x="2675550" y="2210043"/>
                    </a:cubicBezTo>
                    <a:cubicBezTo>
                      <a:pt x="2675550" y="2230261"/>
                      <a:pt x="2691825" y="2246541"/>
                      <a:pt x="2712043" y="2246541"/>
                    </a:cubicBezTo>
                    <a:cubicBezTo>
                      <a:pt x="2732264" y="2246541"/>
                      <a:pt x="2748537" y="2230261"/>
                      <a:pt x="2748537" y="2210043"/>
                    </a:cubicBezTo>
                    <a:close/>
                    <a:moveTo>
                      <a:pt x="2751003" y="2626239"/>
                    </a:moveTo>
                    <a:cubicBezTo>
                      <a:pt x="2751003" y="2597882"/>
                      <a:pt x="2728073" y="2574951"/>
                      <a:pt x="2699715" y="2574951"/>
                    </a:cubicBezTo>
                    <a:cubicBezTo>
                      <a:pt x="2671359" y="2574951"/>
                      <a:pt x="2648428" y="2597882"/>
                      <a:pt x="2648428" y="2626239"/>
                    </a:cubicBezTo>
                    <a:cubicBezTo>
                      <a:pt x="2648428" y="2654597"/>
                      <a:pt x="2671359" y="2677528"/>
                      <a:pt x="2699715" y="2677528"/>
                    </a:cubicBezTo>
                    <a:cubicBezTo>
                      <a:pt x="2728073" y="2677528"/>
                      <a:pt x="2751249" y="2654352"/>
                      <a:pt x="2751003" y="2626239"/>
                    </a:cubicBezTo>
                    <a:close/>
                    <a:moveTo>
                      <a:pt x="2759139" y="2907817"/>
                    </a:moveTo>
                    <a:cubicBezTo>
                      <a:pt x="2759139" y="2895241"/>
                      <a:pt x="2748781" y="2884886"/>
                      <a:pt x="2736206" y="2884886"/>
                    </a:cubicBezTo>
                    <a:cubicBezTo>
                      <a:pt x="2723633" y="2884886"/>
                      <a:pt x="2713275" y="2895241"/>
                      <a:pt x="2713275" y="2907817"/>
                    </a:cubicBezTo>
                    <a:cubicBezTo>
                      <a:pt x="2713275" y="2920393"/>
                      <a:pt x="2723633" y="2930751"/>
                      <a:pt x="2736206" y="2930751"/>
                    </a:cubicBezTo>
                    <a:cubicBezTo>
                      <a:pt x="2748781" y="2930751"/>
                      <a:pt x="2759139" y="2920393"/>
                      <a:pt x="2759139" y="2907817"/>
                    </a:cubicBezTo>
                    <a:close/>
                    <a:moveTo>
                      <a:pt x="2760126" y="4869306"/>
                    </a:moveTo>
                    <a:cubicBezTo>
                      <a:pt x="2760126" y="4841195"/>
                      <a:pt x="2737440" y="4818510"/>
                      <a:pt x="2709333" y="4818510"/>
                    </a:cubicBezTo>
                    <a:cubicBezTo>
                      <a:pt x="2681221" y="4818510"/>
                      <a:pt x="2658537" y="4841195"/>
                      <a:pt x="2658537" y="4869306"/>
                    </a:cubicBezTo>
                    <a:cubicBezTo>
                      <a:pt x="2658537" y="4897415"/>
                      <a:pt x="2681221" y="4920099"/>
                      <a:pt x="2709333" y="4920099"/>
                    </a:cubicBezTo>
                    <a:cubicBezTo>
                      <a:pt x="2737440" y="4920099"/>
                      <a:pt x="2760126" y="4897415"/>
                      <a:pt x="2760126" y="4869306"/>
                    </a:cubicBezTo>
                    <a:close/>
                    <a:moveTo>
                      <a:pt x="2763330" y="4498453"/>
                    </a:moveTo>
                    <a:cubicBezTo>
                      <a:pt x="2763330" y="4482427"/>
                      <a:pt x="2750262" y="4469359"/>
                      <a:pt x="2734233" y="4469359"/>
                    </a:cubicBezTo>
                    <a:cubicBezTo>
                      <a:pt x="2718206" y="4469359"/>
                      <a:pt x="2705139" y="4482427"/>
                      <a:pt x="2705139" y="4498453"/>
                    </a:cubicBezTo>
                    <a:cubicBezTo>
                      <a:pt x="2705139" y="4514483"/>
                      <a:pt x="2718206" y="4527551"/>
                      <a:pt x="2734233" y="4527551"/>
                    </a:cubicBezTo>
                    <a:cubicBezTo>
                      <a:pt x="2750508" y="4527551"/>
                      <a:pt x="2763576" y="4514483"/>
                      <a:pt x="2763330" y="4498453"/>
                    </a:cubicBezTo>
                    <a:close/>
                    <a:moveTo>
                      <a:pt x="2763822" y="3844289"/>
                    </a:moveTo>
                    <a:cubicBezTo>
                      <a:pt x="2763822" y="3829989"/>
                      <a:pt x="2752235" y="3818399"/>
                      <a:pt x="2737933" y="3818399"/>
                    </a:cubicBezTo>
                    <a:cubicBezTo>
                      <a:pt x="2723633" y="3818399"/>
                      <a:pt x="2712043" y="3829989"/>
                      <a:pt x="2712043" y="3844289"/>
                    </a:cubicBezTo>
                    <a:cubicBezTo>
                      <a:pt x="2712043" y="3858591"/>
                      <a:pt x="2723633" y="3870181"/>
                      <a:pt x="2737933" y="3870181"/>
                    </a:cubicBezTo>
                    <a:cubicBezTo>
                      <a:pt x="2752235" y="3870181"/>
                      <a:pt x="2763822" y="3858591"/>
                      <a:pt x="2763822" y="3844289"/>
                    </a:cubicBezTo>
                    <a:close/>
                    <a:moveTo>
                      <a:pt x="2765303" y="1129921"/>
                    </a:moveTo>
                    <a:cubicBezTo>
                      <a:pt x="2765303" y="1117586"/>
                      <a:pt x="2755194" y="1107479"/>
                      <a:pt x="2742867" y="1107479"/>
                    </a:cubicBezTo>
                    <a:cubicBezTo>
                      <a:pt x="2730537" y="1107479"/>
                      <a:pt x="2720428" y="1117586"/>
                      <a:pt x="2720428" y="1129921"/>
                    </a:cubicBezTo>
                    <a:cubicBezTo>
                      <a:pt x="2720428" y="1142249"/>
                      <a:pt x="2730537" y="1152356"/>
                      <a:pt x="2742867" y="1152356"/>
                    </a:cubicBezTo>
                    <a:cubicBezTo>
                      <a:pt x="2755194" y="1152356"/>
                      <a:pt x="2765303" y="1142249"/>
                      <a:pt x="2765303" y="1129921"/>
                    </a:cubicBezTo>
                    <a:close/>
                    <a:moveTo>
                      <a:pt x="2766783" y="903103"/>
                    </a:moveTo>
                    <a:cubicBezTo>
                      <a:pt x="2766783" y="890284"/>
                      <a:pt x="2756180" y="879679"/>
                      <a:pt x="2743358" y="879679"/>
                    </a:cubicBezTo>
                    <a:cubicBezTo>
                      <a:pt x="2730536" y="879679"/>
                      <a:pt x="2719933" y="890035"/>
                      <a:pt x="2719933" y="903103"/>
                    </a:cubicBezTo>
                    <a:cubicBezTo>
                      <a:pt x="2719933" y="915921"/>
                      <a:pt x="2730287" y="926534"/>
                      <a:pt x="2743358" y="926534"/>
                    </a:cubicBezTo>
                    <a:cubicBezTo>
                      <a:pt x="2756180" y="926534"/>
                      <a:pt x="2766783" y="916170"/>
                      <a:pt x="2766783" y="903103"/>
                    </a:cubicBezTo>
                    <a:close/>
                    <a:moveTo>
                      <a:pt x="2767276" y="1016515"/>
                    </a:moveTo>
                    <a:cubicBezTo>
                      <a:pt x="2767276" y="1002947"/>
                      <a:pt x="2756426" y="992099"/>
                      <a:pt x="2742867" y="992099"/>
                    </a:cubicBezTo>
                    <a:cubicBezTo>
                      <a:pt x="2729304" y="992099"/>
                      <a:pt x="2718455" y="1002947"/>
                      <a:pt x="2718455" y="1016515"/>
                    </a:cubicBezTo>
                    <a:cubicBezTo>
                      <a:pt x="2718455" y="1030072"/>
                      <a:pt x="2729304" y="1040919"/>
                      <a:pt x="2742867" y="1040919"/>
                    </a:cubicBezTo>
                    <a:cubicBezTo>
                      <a:pt x="2756180" y="1040919"/>
                      <a:pt x="2767276" y="1029823"/>
                      <a:pt x="2767276" y="1016515"/>
                    </a:cubicBezTo>
                    <a:close/>
                    <a:moveTo>
                      <a:pt x="2768261" y="1358463"/>
                    </a:moveTo>
                    <a:cubicBezTo>
                      <a:pt x="2768261" y="1344655"/>
                      <a:pt x="2757164" y="1333316"/>
                      <a:pt x="2743355" y="1333316"/>
                    </a:cubicBezTo>
                    <a:cubicBezTo>
                      <a:pt x="2729547" y="1333316"/>
                      <a:pt x="2718206" y="1344655"/>
                      <a:pt x="2718206" y="1358463"/>
                    </a:cubicBezTo>
                    <a:cubicBezTo>
                      <a:pt x="2718206" y="1372275"/>
                      <a:pt x="2729547" y="1383616"/>
                      <a:pt x="2743355" y="1383616"/>
                    </a:cubicBezTo>
                    <a:cubicBezTo>
                      <a:pt x="2757164" y="1383616"/>
                      <a:pt x="2768261" y="1372521"/>
                      <a:pt x="2768261" y="1358463"/>
                    </a:cubicBezTo>
                    <a:close/>
                    <a:moveTo>
                      <a:pt x="2768508" y="1244071"/>
                    </a:moveTo>
                    <a:cubicBezTo>
                      <a:pt x="2768508" y="1230263"/>
                      <a:pt x="2757167" y="1218921"/>
                      <a:pt x="2743112" y="1218921"/>
                    </a:cubicBezTo>
                    <a:cubicBezTo>
                      <a:pt x="2729304" y="1218921"/>
                      <a:pt x="2717961" y="1230263"/>
                      <a:pt x="2717961" y="1244071"/>
                    </a:cubicBezTo>
                    <a:cubicBezTo>
                      <a:pt x="2717961" y="1257872"/>
                      <a:pt x="2729304" y="1269213"/>
                      <a:pt x="2743112" y="1269213"/>
                    </a:cubicBezTo>
                    <a:cubicBezTo>
                      <a:pt x="2757167" y="1269213"/>
                      <a:pt x="2768508" y="1257872"/>
                      <a:pt x="2768508" y="1244071"/>
                    </a:cubicBezTo>
                    <a:close/>
                    <a:moveTo>
                      <a:pt x="2768753" y="566053"/>
                    </a:moveTo>
                    <a:cubicBezTo>
                      <a:pt x="2768753" y="551754"/>
                      <a:pt x="2757166" y="540165"/>
                      <a:pt x="2742864" y="540165"/>
                    </a:cubicBezTo>
                    <a:cubicBezTo>
                      <a:pt x="2728564" y="540165"/>
                      <a:pt x="2716974" y="551754"/>
                      <a:pt x="2716974" y="566053"/>
                    </a:cubicBezTo>
                    <a:cubicBezTo>
                      <a:pt x="2716974" y="580355"/>
                      <a:pt x="2728564" y="591942"/>
                      <a:pt x="2742864" y="591942"/>
                    </a:cubicBezTo>
                    <a:cubicBezTo>
                      <a:pt x="2757166" y="591942"/>
                      <a:pt x="2768753" y="580355"/>
                      <a:pt x="2768753" y="566053"/>
                    </a:cubicBezTo>
                    <a:close/>
                    <a:moveTo>
                      <a:pt x="2768753" y="678260"/>
                    </a:moveTo>
                    <a:cubicBezTo>
                      <a:pt x="2768753" y="663964"/>
                      <a:pt x="2757166" y="652378"/>
                      <a:pt x="2742864" y="652378"/>
                    </a:cubicBezTo>
                    <a:cubicBezTo>
                      <a:pt x="2728564" y="652378"/>
                      <a:pt x="2716974" y="663964"/>
                      <a:pt x="2716974" y="678260"/>
                    </a:cubicBezTo>
                    <a:cubicBezTo>
                      <a:pt x="2716974" y="692570"/>
                      <a:pt x="2728564" y="704157"/>
                      <a:pt x="2742864" y="704157"/>
                    </a:cubicBezTo>
                    <a:cubicBezTo>
                      <a:pt x="2757166" y="704157"/>
                      <a:pt x="2768753" y="692570"/>
                      <a:pt x="2768753" y="678260"/>
                    </a:cubicBezTo>
                    <a:close/>
                    <a:moveTo>
                      <a:pt x="2769494" y="790439"/>
                    </a:moveTo>
                    <a:cubicBezTo>
                      <a:pt x="2769494" y="776136"/>
                      <a:pt x="2757658" y="764300"/>
                      <a:pt x="2743109" y="764300"/>
                    </a:cubicBezTo>
                    <a:cubicBezTo>
                      <a:pt x="2728809" y="764300"/>
                      <a:pt x="2716974" y="775891"/>
                      <a:pt x="2716974" y="790439"/>
                    </a:cubicBezTo>
                    <a:cubicBezTo>
                      <a:pt x="2716974" y="804987"/>
                      <a:pt x="2728564" y="816823"/>
                      <a:pt x="2743109" y="816823"/>
                    </a:cubicBezTo>
                    <a:cubicBezTo>
                      <a:pt x="2757658" y="816823"/>
                      <a:pt x="2769248" y="804987"/>
                      <a:pt x="2769494" y="790439"/>
                    </a:cubicBezTo>
                    <a:close/>
                    <a:moveTo>
                      <a:pt x="2778125" y="4092345"/>
                    </a:moveTo>
                    <a:cubicBezTo>
                      <a:pt x="2778125" y="4089141"/>
                      <a:pt x="2775661" y="4086673"/>
                      <a:pt x="2772456" y="4086673"/>
                    </a:cubicBezTo>
                    <a:cubicBezTo>
                      <a:pt x="2769249" y="4086673"/>
                      <a:pt x="2766784" y="4089141"/>
                      <a:pt x="2766784" y="4092345"/>
                    </a:cubicBezTo>
                    <a:cubicBezTo>
                      <a:pt x="2766784" y="4095550"/>
                      <a:pt x="2769249" y="4098017"/>
                      <a:pt x="2772456" y="4098017"/>
                    </a:cubicBezTo>
                    <a:cubicBezTo>
                      <a:pt x="2775661" y="4098017"/>
                      <a:pt x="2778125" y="4095550"/>
                      <a:pt x="2778125" y="4092345"/>
                    </a:cubicBezTo>
                    <a:close/>
                    <a:moveTo>
                      <a:pt x="2780343" y="4232646"/>
                    </a:moveTo>
                    <a:cubicBezTo>
                      <a:pt x="2780343" y="4219084"/>
                      <a:pt x="2769248" y="4207988"/>
                      <a:pt x="2755686" y="4207988"/>
                    </a:cubicBezTo>
                    <a:cubicBezTo>
                      <a:pt x="2742124" y="4207988"/>
                      <a:pt x="2731028" y="4219084"/>
                      <a:pt x="2731028" y="4232646"/>
                    </a:cubicBezTo>
                    <a:cubicBezTo>
                      <a:pt x="2731028" y="4246207"/>
                      <a:pt x="2742124" y="4257303"/>
                      <a:pt x="2755686" y="4257303"/>
                    </a:cubicBezTo>
                    <a:cubicBezTo>
                      <a:pt x="2769248" y="4257303"/>
                      <a:pt x="2780343" y="4246207"/>
                      <a:pt x="2780343" y="4232646"/>
                    </a:cubicBezTo>
                    <a:close/>
                    <a:moveTo>
                      <a:pt x="2782564" y="4367525"/>
                    </a:moveTo>
                    <a:cubicBezTo>
                      <a:pt x="2782564" y="4345825"/>
                      <a:pt x="2765057" y="4328318"/>
                      <a:pt x="2743358" y="4328318"/>
                    </a:cubicBezTo>
                    <a:cubicBezTo>
                      <a:pt x="2721659" y="4328318"/>
                      <a:pt x="2704152" y="4345825"/>
                      <a:pt x="2704152" y="4367525"/>
                    </a:cubicBezTo>
                    <a:cubicBezTo>
                      <a:pt x="2704152" y="4389223"/>
                      <a:pt x="2721905" y="4406728"/>
                      <a:pt x="2743358" y="4406728"/>
                    </a:cubicBezTo>
                    <a:cubicBezTo>
                      <a:pt x="2765057" y="4406728"/>
                      <a:pt x="2782564" y="4389223"/>
                      <a:pt x="2782564" y="4367525"/>
                    </a:cubicBezTo>
                    <a:close/>
                    <a:moveTo>
                      <a:pt x="2791931" y="3059212"/>
                    </a:moveTo>
                    <a:cubicBezTo>
                      <a:pt x="2791931" y="3044663"/>
                      <a:pt x="2780098" y="3032827"/>
                      <a:pt x="2765549" y="3032827"/>
                    </a:cubicBezTo>
                    <a:cubicBezTo>
                      <a:pt x="2751000" y="3032827"/>
                      <a:pt x="2739165" y="3044663"/>
                      <a:pt x="2739165" y="3059212"/>
                    </a:cubicBezTo>
                    <a:cubicBezTo>
                      <a:pt x="2739165" y="3073760"/>
                      <a:pt x="2751000" y="3085594"/>
                      <a:pt x="2765549" y="3085594"/>
                    </a:cubicBezTo>
                    <a:cubicBezTo>
                      <a:pt x="2780098" y="3085594"/>
                      <a:pt x="2791931" y="3073511"/>
                      <a:pt x="2791931" y="3059212"/>
                    </a:cubicBezTo>
                    <a:close/>
                    <a:moveTo>
                      <a:pt x="2798096" y="7398679"/>
                    </a:moveTo>
                    <a:cubicBezTo>
                      <a:pt x="2798096" y="7397198"/>
                      <a:pt x="2797111" y="7395965"/>
                      <a:pt x="2795632" y="7395965"/>
                    </a:cubicBezTo>
                    <a:cubicBezTo>
                      <a:pt x="2794398" y="7395965"/>
                      <a:pt x="2793165" y="7397198"/>
                      <a:pt x="2793165" y="7398679"/>
                    </a:cubicBezTo>
                    <a:cubicBezTo>
                      <a:pt x="2793165" y="7400158"/>
                      <a:pt x="2794151" y="7401143"/>
                      <a:pt x="2795632" y="7401143"/>
                    </a:cubicBezTo>
                    <a:cubicBezTo>
                      <a:pt x="2797111" y="7401143"/>
                      <a:pt x="2798343" y="7399911"/>
                      <a:pt x="2798096" y="7398679"/>
                    </a:cubicBezTo>
                    <a:close/>
                    <a:moveTo>
                      <a:pt x="2798343" y="7508901"/>
                    </a:moveTo>
                    <a:cubicBezTo>
                      <a:pt x="2798343" y="7507666"/>
                      <a:pt x="2797357" y="7506434"/>
                      <a:pt x="2795878" y="7506434"/>
                    </a:cubicBezTo>
                    <a:cubicBezTo>
                      <a:pt x="2794644" y="7506434"/>
                      <a:pt x="2793412" y="7507420"/>
                      <a:pt x="2793412" y="7508901"/>
                    </a:cubicBezTo>
                    <a:cubicBezTo>
                      <a:pt x="2793412" y="7510133"/>
                      <a:pt x="2794398" y="7511365"/>
                      <a:pt x="2795878" y="7511365"/>
                    </a:cubicBezTo>
                    <a:cubicBezTo>
                      <a:pt x="2797357" y="7511365"/>
                      <a:pt x="2798590" y="7510133"/>
                      <a:pt x="2798343" y="7508901"/>
                    </a:cubicBezTo>
                    <a:close/>
                    <a:moveTo>
                      <a:pt x="2798345" y="7288461"/>
                    </a:moveTo>
                    <a:cubicBezTo>
                      <a:pt x="2798345" y="7286980"/>
                      <a:pt x="2796865" y="7285748"/>
                      <a:pt x="2795386" y="7285748"/>
                    </a:cubicBezTo>
                    <a:cubicBezTo>
                      <a:pt x="2793906" y="7285748"/>
                      <a:pt x="2792674" y="7286980"/>
                      <a:pt x="2792674" y="7288461"/>
                    </a:cubicBezTo>
                    <a:cubicBezTo>
                      <a:pt x="2792674" y="7289939"/>
                      <a:pt x="2793906" y="7291174"/>
                      <a:pt x="2795386" y="7291174"/>
                    </a:cubicBezTo>
                    <a:cubicBezTo>
                      <a:pt x="2797113" y="7291174"/>
                      <a:pt x="2798345" y="7289939"/>
                      <a:pt x="2798345" y="7288461"/>
                    </a:cubicBezTo>
                    <a:close/>
                    <a:moveTo>
                      <a:pt x="2799577" y="3448548"/>
                    </a:moveTo>
                    <a:cubicBezTo>
                      <a:pt x="2799577" y="3427835"/>
                      <a:pt x="2782811" y="3411069"/>
                      <a:pt x="2762099" y="3411069"/>
                    </a:cubicBezTo>
                    <a:cubicBezTo>
                      <a:pt x="2741386" y="3411069"/>
                      <a:pt x="2724619" y="3427835"/>
                      <a:pt x="2724619" y="3448548"/>
                    </a:cubicBezTo>
                    <a:cubicBezTo>
                      <a:pt x="2724619" y="3469001"/>
                      <a:pt x="2741386" y="3485769"/>
                      <a:pt x="2762099" y="3485769"/>
                    </a:cubicBezTo>
                    <a:cubicBezTo>
                      <a:pt x="2782811" y="3485769"/>
                      <a:pt x="2799577" y="3469001"/>
                      <a:pt x="2799577" y="3448548"/>
                    </a:cubicBezTo>
                    <a:close/>
                    <a:moveTo>
                      <a:pt x="2800564" y="6513965"/>
                    </a:moveTo>
                    <a:cubicBezTo>
                      <a:pt x="2800564" y="6512238"/>
                      <a:pt x="2799083" y="6510759"/>
                      <a:pt x="2797356" y="6510759"/>
                    </a:cubicBezTo>
                    <a:cubicBezTo>
                      <a:pt x="2795633" y="6510759"/>
                      <a:pt x="2794152" y="6512238"/>
                      <a:pt x="2794152" y="6513965"/>
                    </a:cubicBezTo>
                    <a:cubicBezTo>
                      <a:pt x="2794152" y="6515937"/>
                      <a:pt x="2795384" y="6517418"/>
                      <a:pt x="2797356" y="6517418"/>
                    </a:cubicBezTo>
                    <a:cubicBezTo>
                      <a:pt x="2799083" y="6517418"/>
                      <a:pt x="2800564" y="6515937"/>
                      <a:pt x="2800564" y="6513965"/>
                    </a:cubicBezTo>
                    <a:close/>
                    <a:moveTo>
                      <a:pt x="2800810" y="6957801"/>
                    </a:moveTo>
                    <a:cubicBezTo>
                      <a:pt x="2800810" y="6956320"/>
                      <a:pt x="2799575" y="6955088"/>
                      <a:pt x="2798097" y="6955088"/>
                    </a:cubicBezTo>
                    <a:cubicBezTo>
                      <a:pt x="2796616" y="6955088"/>
                      <a:pt x="2795384" y="6956320"/>
                      <a:pt x="2795384" y="6957801"/>
                    </a:cubicBezTo>
                    <a:cubicBezTo>
                      <a:pt x="2795384" y="6959279"/>
                      <a:pt x="2796616" y="6960514"/>
                      <a:pt x="2798097" y="6960514"/>
                    </a:cubicBezTo>
                    <a:cubicBezTo>
                      <a:pt x="2799575" y="6960514"/>
                      <a:pt x="2800810" y="6959279"/>
                      <a:pt x="2800810" y="6957801"/>
                    </a:cubicBezTo>
                    <a:close/>
                    <a:moveTo>
                      <a:pt x="2801055" y="7178736"/>
                    </a:moveTo>
                    <a:cubicBezTo>
                      <a:pt x="2801055" y="7177255"/>
                      <a:pt x="2800069" y="7176268"/>
                      <a:pt x="2798591" y="7176268"/>
                    </a:cubicBezTo>
                    <a:cubicBezTo>
                      <a:pt x="2797356" y="7176268"/>
                      <a:pt x="2796124" y="7177255"/>
                      <a:pt x="2796124" y="7178736"/>
                    </a:cubicBezTo>
                    <a:cubicBezTo>
                      <a:pt x="2796124" y="7180214"/>
                      <a:pt x="2797110" y="7181199"/>
                      <a:pt x="2798591" y="7181199"/>
                    </a:cubicBezTo>
                    <a:cubicBezTo>
                      <a:pt x="2799823" y="7181199"/>
                      <a:pt x="2801055" y="7179967"/>
                      <a:pt x="2801055" y="7178736"/>
                    </a:cubicBezTo>
                    <a:close/>
                    <a:moveTo>
                      <a:pt x="2801548" y="7068268"/>
                    </a:moveTo>
                    <a:cubicBezTo>
                      <a:pt x="2801548" y="7066541"/>
                      <a:pt x="2800070" y="7065062"/>
                      <a:pt x="2798343" y="7065062"/>
                    </a:cubicBezTo>
                    <a:cubicBezTo>
                      <a:pt x="2796616" y="7065062"/>
                      <a:pt x="2795139" y="7066541"/>
                      <a:pt x="2795139" y="7068268"/>
                    </a:cubicBezTo>
                    <a:cubicBezTo>
                      <a:pt x="2795139" y="7069994"/>
                      <a:pt x="2796616" y="7071472"/>
                      <a:pt x="2798343" y="7071472"/>
                    </a:cubicBezTo>
                    <a:cubicBezTo>
                      <a:pt x="2800070" y="7071472"/>
                      <a:pt x="2801548" y="7069994"/>
                      <a:pt x="2801548" y="7068268"/>
                    </a:cubicBezTo>
                    <a:close/>
                    <a:moveTo>
                      <a:pt x="2803029" y="6180349"/>
                    </a:moveTo>
                    <a:cubicBezTo>
                      <a:pt x="2803029" y="6179363"/>
                      <a:pt x="2802292" y="6178622"/>
                      <a:pt x="2801305" y="6178622"/>
                    </a:cubicBezTo>
                    <a:cubicBezTo>
                      <a:pt x="2800318" y="6178622"/>
                      <a:pt x="2799578" y="6179363"/>
                      <a:pt x="2799578" y="6180349"/>
                    </a:cubicBezTo>
                    <a:cubicBezTo>
                      <a:pt x="2799578" y="6181335"/>
                      <a:pt x="2800318" y="6182076"/>
                      <a:pt x="2801305" y="6182076"/>
                    </a:cubicBezTo>
                    <a:cubicBezTo>
                      <a:pt x="2802292" y="6182076"/>
                      <a:pt x="2803029" y="6181335"/>
                      <a:pt x="2803029" y="6180349"/>
                    </a:cubicBezTo>
                    <a:close/>
                    <a:moveTo>
                      <a:pt x="2803275" y="5955967"/>
                    </a:moveTo>
                    <a:cubicBezTo>
                      <a:pt x="2803275" y="5954980"/>
                      <a:pt x="2802288" y="5953993"/>
                      <a:pt x="2801302" y="5953993"/>
                    </a:cubicBezTo>
                    <a:cubicBezTo>
                      <a:pt x="2800316" y="5953993"/>
                      <a:pt x="2799330" y="5954980"/>
                      <a:pt x="2799330" y="5955967"/>
                    </a:cubicBezTo>
                    <a:cubicBezTo>
                      <a:pt x="2799330" y="5956952"/>
                      <a:pt x="2800316" y="5957939"/>
                      <a:pt x="2801302" y="5957939"/>
                    </a:cubicBezTo>
                    <a:cubicBezTo>
                      <a:pt x="2802288" y="5957939"/>
                      <a:pt x="2803275" y="5956952"/>
                      <a:pt x="2803275" y="5955967"/>
                    </a:cubicBezTo>
                    <a:close/>
                    <a:moveTo>
                      <a:pt x="2803521" y="5616432"/>
                    </a:moveTo>
                    <a:cubicBezTo>
                      <a:pt x="2803521" y="5615446"/>
                      <a:pt x="2802783" y="5614705"/>
                      <a:pt x="2801796" y="5614705"/>
                    </a:cubicBezTo>
                    <a:cubicBezTo>
                      <a:pt x="2800810" y="5614705"/>
                      <a:pt x="2800070" y="5615446"/>
                      <a:pt x="2800070" y="5616432"/>
                    </a:cubicBezTo>
                    <a:cubicBezTo>
                      <a:pt x="2800070" y="5617418"/>
                      <a:pt x="2800810" y="5618156"/>
                      <a:pt x="2801796" y="5618156"/>
                    </a:cubicBezTo>
                    <a:cubicBezTo>
                      <a:pt x="2802783" y="5618156"/>
                      <a:pt x="2803521" y="5617418"/>
                      <a:pt x="2803521" y="5616432"/>
                    </a:cubicBezTo>
                    <a:close/>
                    <a:moveTo>
                      <a:pt x="2803523" y="6068155"/>
                    </a:moveTo>
                    <a:cubicBezTo>
                      <a:pt x="2803523" y="6066678"/>
                      <a:pt x="2802537" y="6065691"/>
                      <a:pt x="2801058" y="6065691"/>
                    </a:cubicBezTo>
                    <a:cubicBezTo>
                      <a:pt x="2799577" y="6065691"/>
                      <a:pt x="2798592" y="6066923"/>
                      <a:pt x="2798592" y="6068155"/>
                    </a:cubicBezTo>
                    <a:cubicBezTo>
                      <a:pt x="2798592" y="6069636"/>
                      <a:pt x="2799577" y="6070623"/>
                      <a:pt x="2801058" y="6070623"/>
                    </a:cubicBezTo>
                    <a:cubicBezTo>
                      <a:pt x="2802537" y="6070623"/>
                      <a:pt x="2803769" y="6069636"/>
                      <a:pt x="2803523" y="6068155"/>
                    </a:cubicBezTo>
                    <a:close/>
                    <a:moveTo>
                      <a:pt x="2804754" y="5843033"/>
                    </a:moveTo>
                    <a:cubicBezTo>
                      <a:pt x="2804754" y="5841058"/>
                      <a:pt x="2803276" y="5839580"/>
                      <a:pt x="2801301" y="5839580"/>
                    </a:cubicBezTo>
                    <a:cubicBezTo>
                      <a:pt x="2799329" y="5839580"/>
                      <a:pt x="2797851" y="5841058"/>
                      <a:pt x="2797851" y="5843033"/>
                    </a:cubicBezTo>
                    <a:cubicBezTo>
                      <a:pt x="2797851" y="5845006"/>
                      <a:pt x="2799329" y="5846484"/>
                      <a:pt x="2801301" y="5846484"/>
                    </a:cubicBezTo>
                    <a:cubicBezTo>
                      <a:pt x="2803276" y="5846484"/>
                      <a:pt x="2804754" y="5845006"/>
                      <a:pt x="2804754" y="5843033"/>
                    </a:cubicBezTo>
                    <a:close/>
                    <a:moveTo>
                      <a:pt x="2805247" y="6736132"/>
                    </a:moveTo>
                    <a:cubicBezTo>
                      <a:pt x="2805247" y="6731939"/>
                      <a:pt x="2801796" y="6728733"/>
                      <a:pt x="2797852" y="6728733"/>
                    </a:cubicBezTo>
                    <a:cubicBezTo>
                      <a:pt x="2793658" y="6728733"/>
                      <a:pt x="2790453" y="6732186"/>
                      <a:pt x="2790453" y="6736132"/>
                    </a:cubicBezTo>
                    <a:cubicBezTo>
                      <a:pt x="2790453" y="6740074"/>
                      <a:pt x="2793658" y="6743527"/>
                      <a:pt x="2797852" y="6743527"/>
                    </a:cubicBezTo>
                    <a:cubicBezTo>
                      <a:pt x="2801796" y="6743527"/>
                      <a:pt x="2805000" y="6740323"/>
                      <a:pt x="2805247" y="6736132"/>
                    </a:cubicBezTo>
                    <a:close/>
                    <a:moveTo>
                      <a:pt x="2805249" y="6625171"/>
                    </a:moveTo>
                    <a:cubicBezTo>
                      <a:pt x="2805249" y="6620977"/>
                      <a:pt x="2801796" y="6617526"/>
                      <a:pt x="2797605" y="6617526"/>
                    </a:cubicBezTo>
                    <a:cubicBezTo>
                      <a:pt x="2793411" y="6617526"/>
                      <a:pt x="2789961" y="6620977"/>
                      <a:pt x="2789961" y="6625171"/>
                    </a:cubicBezTo>
                    <a:cubicBezTo>
                      <a:pt x="2789961" y="6629362"/>
                      <a:pt x="2793411" y="6632812"/>
                      <a:pt x="2797605" y="6632812"/>
                    </a:cubicBezTo>
                    <a:cubicBezTo>
                      <a:pt x="2801796" y="6632812"/>
                      <a:pt x="2805249" y="6629362"/>
                      <a:pt x="2805249" y="6625171"/>
                    </a:cubicBezTo>
                    <a:close/>
                    <a:moveTo>
                      <a:pt x="2806235" y="6847089"/>
                    </a:moveTo>
                    <a:cubicBezTo>
                      <a:pt x="2806235" y="6842404"/>
                      <a:pt x="2802536" y="6838704"/>
                      <a:pt x="2797851" y="6838704"/>
                    </a:cubicBezTo>
                    <a:cubicBezTo>
                      <a:pt x="2793167" y="6838704"/>
                      <a:pt x="2789468" y="6842404"/>
                      <a:pt x="2789468" y="6847089"/>
                    </a:cubicBezTo>
                    <a:cubicBezTo>
                      <a:pt x="2789468" y="6851775"/>
                      <a:pt x="2793167" y="6855472"/>
                      <a:pt x="2797851" y="6855472"/>
                    </a:cubicBezTo>
                    <a:cubicBezTo>
                      <a:pt x="2802536" y="6855472"/>
                      <a:pt x="2806235" y="6851775"/>
                      <a:pt x="2806235" y="6847089"/>
                    </a:cubicBezTo>
                    <a:close/>
                    <a:moveTo>
                      <a:pt x="2806974" y="3565660"/>
                    </a:moveTo>
                    <a:cubicBezTo>
                      <a:pt x="2806974" y="3543715"/>
                      <a:pt x="2788975" y="3525716"/>
                      <a:pt x="2767028" y="3525716"/>
                    </a:cubicBezTo>
                    <a:cubicBezTo>
                      <a:pt x="2745083" y="3525716"/>
                      <a:pt x="2727084" y="3543715"/>
                      <a:pt x="2727084" y="3565660"/>
                    </a:cubicBezTo>
                    <a:cubicBezTo>
                      <a:pt x="2727084" y="3587607"/>
                      <a:pt x="2745083" y="3605606"/>
                      <a:pt x="2767028" y="3605606"/>
                    </a:cubicBezTo>
                    <a:cubicBezTo>
                      <a:pt x="2788975" y="3605606"/>
                      <a:pt x="2806974" y="3587607"/>
                      <a:pt x="2806974" y="3565660"/>
                    </a:cubicBezTo>
                    <a:close/>
                    <a:moveTo>
                      <a:pt x="2807222" y="5729856"/>
                    </a:moveTo>
                    <a:cubicBezTo>
                      <a:pt x="2807222" y="5726652"/>
                      <a:pt x="2804509" y="5724184"/>
                      <a:pt x="2801550" y="5724184"/>
                    </a:cubicBezTo>
                    <a:cubicBezTo>
                      <a:pt x="2798345" y="5724184"/>
                      <a:pt x="2795878" y="5726898"/>
                      <a:pt x="2795878" y="5729856"/>
                    </a:cubicBezTo>
                    <a:cubicBezTo>
                      <a:pt x="2795878" y="5733061"/>
                      <a:pt x="2798591" y="5735525"/>
                      <a:pt x="2801550" y="5735525"/>
                    </a:cubicBezTo>
                    <a:cubicBezTo>
                      <a:pt x="2804509" y="5735525"/>
                      <a:pt x="2807222" y="5733061"/>
                      <a:pt x="2807222" y="5729856"/>
                    </a:cubicBezTo>
                    <a:close/>
                    <a:moveTo>
                      <a:pt x="2810672" y="6403746"/>
                    </a:moveTo>
                    <a:cubicBezTo>
                      <a:pt x="2810672" y="6398572"/>
                      <a:pt x="2806478" y="6394376"/>
                      <a:pt x="2801304" y="6394376"/>
                    </a:cubicBezTo>
                    <a:cubicBezTo>
                      <a:pt x="2796129" y="6394376"/>
                      <a:pt x="2791933" y="6398572"/>
                      <a:pt x="2791933" y="6403746"/>
                    </a:cubicBezTo>
                    <a:cubicBezTo>
                      <a:pt x="2791933" y="6408921"/>
                      <a:pt x="2796129" y="6413115"/>
                      <a:pt x="2801304" y="6413115"/>
                    </a:cubicBezTo>
                    <a:cubicBezTo>
                      <a:pt x="2806478" y="6413115"/>
                      <a:pt x="2810672" y="6408921"/>
                      <a:pt x="2810672" y="6403746"/>
                    </a:cubicBezTo>
                    <a:close/>
                    <a:moveTo>
                      <a:pt x="2810918" y="5158047"/>
                    </a:moveTo>
                    <a:cubicBezTo>
                      <a:pt x="2810918" y="5157553"/>
                      <a:pt x="2810673" y="5157306"/>
                      <a:pt x="2810180" y="5157306"/>
                    </a:cubicBezTo>
                    <a:cubicBezTo>
                      <a:pt x="2809935" y="5157306"/>
                      <a:pt x="2809440" y="5157553"/>
                      <a:pt x="2809440" y="5158047"/>
                    </a:cubicBezTo>
                    <a:cubicBezTo>
                      <a:pt x="2809440" y="5158540"/>
                      <a:pt x="2809686" y="5159034"/>
                      <a:pt x="2810180" y="5159034"/>
                    </a:cubicBezTo>
                    <a:cubicBezTo>
                      <a:pt x="2810673" y="5159034"/>
                      <a:pt x="2810918" y="5158540"/>
                      <a:pt x="2810918" y="5158047"/>
                    </a:cubicBezTo>
                    <a:close/>
                    <a:moveTo>
                      <a:pt x="2810920" y="3331917"/>
                    </a:moveTo>
                    <a:cubicBezTo>
                      <a:pt x="2810920" y="3312687"/>
                      <a:pt x="2795386" y="3297151"/>
                      <a:pt x="2776152" y="3297151"/>
                    </a:cubicBezTo>
                    <a:cubicBezTo>
                      <a:pt x="2756920" y="3297151"/>
                      <a:pt x="2741386" y="3312687"/>
                      <a:pt x="2741386" y="3331917"/>
                    </a:cubicBezTo>
                    <a:cubicBezTo>
                      <a:pt x="2741386" y="3351151"/>
                      <a:pt x="2756920" y="3366687"/>
                      <a:pt x="2776152" y="3366687"/>
                    </a:cubicBezTo>
                    <a:cubicBezTo>
                      <a:pt x="2795386" y="3366687"/>
                      <a:pt x="2810920" y="3351151"/>
                      <a:pt x="2810920" y="3331917"/>
                    </a:cubicBezTo>
                    <a:close/>
                    <a:moveTo>
                      <a:pt x="2811905" y="6292296"/>
                    </a:moveTo>
                    <a:cubicBezTo>
                      <a:pt x="2811905" y="6286377"/>
                      <a:pt x="2807220" y="6281691"/>
                      <a:pt x="2801302" y="6281691"/>
                    </a:cubicBezTo>
                    <a:cubicBezTo>
                      <a:pt x="2795384" y="6281691"/>
                      <a:pt x="2790453" y="6286377"/>
                      <a:pt x="2790453" y="6292296"/>
                    </a:cubicBezTo>
                    <a:cubicBezTo>
                      <a:pt x="2790453" y="6298213"/>
                      <a:pt x="2795384" y="6302899"/>
                      <a:pt x="2801302" y="6302899"/>
                    </a:cubicBezTo>
                    <a:cubicBezTo>
                      <a:pt x="2807220" y="6302899"/>
                      <a:pt x="2811905" y="6297967"/>
                      <a:pt x="2811905" y="6292296"/>
                    </a:cubicBezTo>
                    <a:close/>
                    <a:moveTo>
                      <a:pt x="2813631" y="2683193"/>
                    </a:moveTo>
                    <a:cubicBezTo>
                      <a:pt x="2813631" y="2674747"/>
                      <a:pt x="2806786" y="2667904"/>
                      <a:pt x="2798345" y="2667904"/>
                    </a:cubicBezTo>
                    <a:cubicBezTo>
                      <a:pt x="2789901" y="2667904"/>
                      <a:pt x="2783056" y="2674747"/>
                      <a:pt x="2783056" y="2683193"/>
                    </a:cubicBezTo>
                    <a:cubicBezTo>
                      <a:pt x="2783056" y="2691634"/>
                      <a:pt x="2789901" y="2698479"/>
                      <a:pt x="2798345" y="2698479"/>
                    </a:cubicBezTo>
                    <a:cubicBezTo>
                      <a:pt x="2806786" y="2698479"/>
                      <a:pt x="2813631" y="2691634"/>
                      <a:pt x="2813631" y="2683193"/>
                    </a:cubicBezTo>
                    <a:close/>
                    <a:moveTo>
                      <a:pt x="2815852" y="2298799"/>
                    </a:moveTo>
                    <a:cubicBezTo>
                      <a:pt x="2815852" y="2276362"/>
                      <a:pt x="2797605" y="2258117"/>
                      <a:pt x="2775165" y="2258117"/>
                    </a:cubicBezTo>
                    <a:cubicBezTo>
                      <a:pt x="2752729" y="2258117"/>
                      <a:pt x="2734481" y="2276362"/>
                      <a:pt x="2734481" y="2298799"/>
                    </a:cubicBezTo>
                    <a:cubicBezTo>
                      <a:pt x="2734481" y="2320988"/>
                      <a:pt x="2752729" y="2339238"/>
                      <a:pt x="2775165" y="2339238"/>
                    </a:cubicBezTo>
                    <a:cubicBezTo>
                      <a:pt x="2797359" y="2339238"/>
                      <a:pt x="2815604" y="2320988"/>
                      <a:pt x="2815852" y="2298799"/>
                    </a:cubicBezTo>
                    <a:close/>
                    <a:moveTo>
                      <a:pt x="2818563" y="441802"/>
                    </a:moveTo>
                    <a:cubicBezTo>
                      <a:pt x="2818563" y="428489"/>
                      <a:pt x="2807714" y="417639"/>
                      <a:pt x="2794398" y="417639"/>
                    </a:cubicBezTo>
                    <a:cubicBezTo>
                      <a:pt x="2781083" y="417639"/>
                      <a:pt x="2770234" y="428489"/>
                      <a:pt x="2770234" y="441802"/>
                    </a:cubicBezTo>
                    <a:cubicBezTo>
                      <a:pt x="2770234" y="455117"/>
                      <a:pt x="2781083" y="465967"/>
                      <a:pt x="2794398" y="465967"/>
                    </a:cubicBezTo>
                    <a:cubicBezTo>
                      <a:pt x="2807714" y="465967"/>
                      <a:pt x="2818563" y="455117"/>
                      <a:pt x="2818563" y="441802"/>
                    </a:cubicBezTo>
                    <a:close/>
                    <a:moveTo>
                      <a:pt x="2818809" y="3945387"/>
                    </a:moveTo>
                    <a:cubicBezTo>
                      <a:pt x="2818809" y="3933056"/>
                      <a:pt x="2808700" y="3922947"/>
                      <a:pt x="2796373" y="3922947"/>
                    </a:cubicBezTo>
                    <a:cubicBezTo>
                      <a:pt x="2784043" y="3922947"/>
                      <a:pt x="2773934" y="3933056"/>
                      <a:pt x="2773934" y="3945387"/>
                    </a:cubicBezTo>
                    <a:cubicBezTo>
                      <a:pt x="2773934" y="3957713"/>
                      <a:pt x="2784043" y="3967823"/>
                      <a:pt x="2796373" y="3967823"/>
                    </a:cubicBezTo>
                    <a:cubicBezTo>
                      <a:pt x="2808946" y="3967823"/>
                      <a:pt x="2818809" y="3957713"/>
                      <a:pt x="2818809" y="3945387"/>
                    </a:cubicBezTo>
                    <a:close/>
                    <a:moveTo>
                      <a:pt x="2819055" y="330867"/>
                    </a:moveTo>
                    <a:cubicBezTo>
                      <a:pt x="2819055" y="317305"/>
                      <a:pt x="2808205" y="306456"/>
                      <a:pt x="2794646" y="306456"/>
                    </a:cubicBezTo>
                    <a:cubicBezTo>
                      <a:pt x="2781330" y="306456"/>
                      <a:pt x="2770234" y="317305"/>
                      <a:pt x="2770234" y="330867"/>
                    </a:cubicBezTo>
                    <a:cubicBezTo>
                      <a:pt x="2770234" y="344429"/>
                      <a:pt x="2781083" y="355275"/>
                      <a:pt x="2794646" y="355275"/>
                    </a:cubicBezTo>
                    <a:cubicBezTo>
                      <a:pt x="2808205" y="355275"/>
                      <a:pt x="2819055" y="344180"/>
                      <a:pt x="2819055" y="330867"/>
                    </a:cubicBezTo>
                    <a:close/>
                    <a:moveTo>
                      <a:pt x="2819358" y="0"/>
                    </a:moveTo>
                    <a:lnTo>
                      <a:pt x="2770446" y="0"/>
                    </a:lnTo>
                    <a:lnTo>
                      <a:pt x="2777140" y="16065"/>
                    </a:lnTo>
                    <a:cubicBezTo>
                      <a:pt x="2781702" y="20626"/>
                      <a:pt x="2787990" y="23462"/>
                      <a:pt x="2794895" y="23462"/>
                    </a:cubicBezTo>
                    <a:cubicBezTo>
                      <a:pt x="2801922" y="23462"/>
                      <a:pt x="2808270" y="20626"/>
                      <a:pt x="2812831" y="16065"/>
                    </a:cubicBezTo>
                    <a:close/>
                    <a:moveTo>
                      <a:pt x="2820289" y="108752"/>
                    </a:moveTo>
                    <a:cubicBezTo>
                      <a:pt x="2820289" y="94699"/>
                      <a:pt x="2808946" y="83356"/>
                      <a:pt x="2794892" y="83356"/>
                    </a:cubicBezTo>
                    <a:cubicBezTo>
                      <a:pt x="2780838" y="83356"/>
                      <a:pt x="2769494" y="94699"/>
                      <a:pt x="2769494" y="108752"/>
                    </a:cubicBezTo>
                    <a:cubicBezTo>
                      <a:pt x="2769494" y="122805"/>
                      <a:pt x="2780838" y="134149"/>
                      <a:pt x="2794892" y="134149"/>
                    </a:cubicBezTo>
                    <a:cubicBezTo>
                      <a:pt x="2808946" y="134149"/>
                      <a:pt x="2820289" y="122805"/>
                      <a:pt x="2820289" y="108752"/>
                    </a:cubicBezTo>
                    <a:close/>
                    <a:moveTo>
                      <a:pt x="2820783" y="219685"/>
                    </a:moveTo>
                    <a:cubicBezTo>
                      <a:pt x="2820783" y="205631"/>
                      <a:pt x="2809193" y="194042"/>
                      <a:pt x="2795139" y="194042"/>
                    </a:cubicBezTo>
                    <a:cubicBezTo>
                      <a:pt x="2781084" y="194042"/>
                      <a:pt x="2769494" y="205631"/>
                      <a:pt x="2769494" y="219685"/>
                    </a:cubicBezTo>
                    <a:cubicBezTo>
                      <a:pt x="2769494" y="233738"/>
                      <a:pt x="2781084" y="245328"/>
                      <a:pt x="2795139" y="245328"/>
                    </a:cubicBezTo>
                    <a:cubicBezTo>
                      <a:pt x="2809193" y="245328"/>
                      <a:pt x="2820783" y="233738"/>
                      <a:pt x="2820783" y="219685"/>
                    </a:cubicBezTo>
                    <a:close/>
                    <a:moveTo>
                      <a:pt x="2821523" y="1681931"/>
                    </a:moveTo>
                    <a:cubicBezTo>
                      <a:pt x="2821523" y="1673547"/>
                      <a:pt x="2814867" y="1666889"/>
                      <a:pt x="2806482" y="1666889"/>
                    </a:cubicBezTo>
                    <a:cubicBezTo>
                      <a:pt x="2798099" y="1666889"/>
                      <a:pt x="2791442" y="1673547"/>
                      <a:pt x="2791442" y="1681931"/>
                    </a:cubicBezTo>
                    <a:cubicBezTo>
                      <a:pt x="2791442" y="1690316"/>
                      <a:pt x="2798099" y="1696974"/>
                      <a:pt x="2806482" y="1696974"/>
                    </a:cubicBezTo>
                    <a:cubicBezTo>
                      <a:pt x="2814618" y="1696974"/>
                      <a:pt x="2821523" y="1690316"/>
                      <a:pt x="2821523" y="1681931"/>
                    </a:cubicBezTo>
                    <a:close/>
                    <a:moveTo>
                      <a:pt x="2824235" y="1566545"/>
                    </a:moveTo>
                    <a:cubicBezTo>
                      <a:pt x="2824235" y="1556434"/>
                      <a:pt x="2815850" y="1548053"/>
                      <a:pt x="2805742" y="1548053"/>
                    </a:cubicBezTo>
                    <a:cubicBezTo>
                      <a:pt x="2795632" y="1548053"/>
                      <a:pt x="2787248" y="1556434"/>
                      <a:pt x="2787248" y="1566545"/>
                    </a:cubicBezTo>
                    <a:cubicBezTo>
                      <a:pt x="2787248" y="1576655"/>
                      <a:pt x="2795632" y="1585039"/>
                      <a:pt x="2805742" y="1585039"/>
                    </a:cubicBezTo>
                    <a:cubicBezTo>
                      <a:pt x="2815850" y="1585039"/>
                      <a:pt x="2824235" y="1576655"/>
                      <a:pt x="2824235" y="1566545"/>
                    </a:cubicBezTo>
                    <a:close/>
                    <a:moveTo>
                      <a:pt x="2825467" y="2423559"/>
                    </a:moveTo>
                    <a:cubicBezTo>
                      <a:pt x="2825467" y="2398901"/>
                      <a:pt x="2805495" y="2378930"/>
                      <a:pt x="2780838" y="2378930"/>
                    </a:cubicBezTo>
                    <a:cubicBezTo>
                      <a:pt x="2756180" y="2378930"/>
                      <a:pt x="2736208" y="2398901"/>
                      <a:pt x="2736208" y="2423559"/>
                    </a:cubicBezTo>
                    <a:cubicBezTo>
                      <a:pt x="2736208" y="2448217"/>
                      <a:pt x="2756180" y="2468191"/>
                      <a:pt x="2780838" y="2468191"/>
                    </a:cubicBezTo>
                    <a:cubicBezTo>
                      <a:pt x="2805495" y="2468191"/>
                      <a:pt x="2825467" y="2448217"/>
                      <a:pt x="2825467" y="2423559"/>
                    </a:cubicBezTo>
                    <a:close/>
                    <a:moveTo>
                      <a:pt x="2826453" y="5389579"/>
                    </a:moveTo>
                    <a:cubicBezTo>
                      <a:pt x="2826453" y="5379470"/>
                      <a:pt x="2818317" y="5371334"/>
                      <a:pt x="2808208" y="5371334"/>
                    </a:cubicBezTo>
                    <a:cubicBezTo>
                      <a:pt x="2798096" y="5371334"/>
                      <a:pt x="2789961" y="5379470"/>
                      <a:pt x="2789961" y="5389579"/>
                    </a:cubicBezTo>
                    <a:cubicBezTo>
                      <a:pt x="2789961" y="5399691"/>
                      <a:pt x="2798096" y="5407828"/>
                      <a:pt x="2808208" y="5407828"/>
                    </a:cubicBezTo>
                    <a:cubicBezTo>
                      <a:pt x="2818317" y="5407828"/>
                      <a:pt x="2826453" y="5399691"/>
                      <a:pt x="2826453" y="5389579"/>
                    </a:cubicBezTo>
                    <a:close/>
                    <a:moveTo>
                      <a:pt x="2828427" y="1452146"/>
                    </a:moveTo>
                    <a:cubicBezTo>
                      <a:pt x="2828427" y="1439079"/>
                      <a:pt x="2817823" y="1428479"/>
                      <a:pt x="2804755" y="1428479"/>
                    </a:cubicBezTo>
                    <a:cubicBezTo>
                      <a:pt x="2791687" y="1428479"/>
                      <a:pt x="2781084" y="1439079"/>
                      <a:pt x="2781084" y="1452146"/>
                    </a:cubicBezTo>
                    <a:cubicBezTo>
                      <a:pt x="2781084" y="1465218"/>
                      <a:pt x="2791687" y="1475819"/>
                      <a:pt x="2804755" y="1475819"/>
                    </a:cubicBezTo>
                    <a:cubicBezTo>
                      <a:pt x="2817823" y="1475819"/>
                      <a:pt x="2828427" y="1465218"/>
                      <a:pt x="2828427" y="1452146"/>
                    </a:cubicBezTo>
                    <a:close/>
                    <a:moveTo>
                      <a:pt x="2829167" y="1914919"/>
                    </a:moveTo>
                    <a:cubicBezTo>
                      <a:pt x="2829167" y="1904073"/>
                      <a:pt x="2820290" y="1895199"/>
                      <a:pt x="2809440" y="1895199"/>
                    </a:cubicBezTo>
                    <a:cubicBezTo>
                      <a:pt x="2798592" y="1895199"/>
                      <a:pt x="2789715" y="1904073"/>
                      <a:pt x="2789715" y="1914919"/>
                    </a:cubicBezTo>
                    <a:cubicBezTo>
                      <a:pt x="2789715" y="1925766"/>
                      <a:pt x="2798592" y="1934640"/>
                      <a:pt x="2809440" y="1934640"/>
                    </a:cubicBezTo>
                    <a:cubicBezTo>
                      <a:pt x="2820536" y="1934640"/>
                      <a:pt x="2829413" y="1925766"/>
                      <a:pt x="2829167" y="1914919"/>
                    </a:cubicBezTo>
                    <a:close/>
                    <a:moveTo>
                      <a:pt x="2831137" y="4686100"/>
                    </a:moveTo>
                    <a:cubicBezTo>
                      <a:pt x="2831137" y="4683141"/>
                      <a:pt x="2828918" y="4680922"/>
                      <a:pt x="2825959" y="4680922"/>
                    </a:cubicBezTo>
                    <a:cubicBezTo>
                      <a:pt x="2823249" y="4680922"/>
                      <a:pt x="2820783" y="4683141"/>
                      <a:pt x="2820783" y="4686100"/>
                    </a:cubicBezTo>
                    <a:cubicBezTo>
                      <a:pt x="2820783" y="4688812"/>
                      <a:pt x="2823000" y="4691276"/>
                      <a:pt x="2825959" y="4691276"/>
                    </a:cubicBezTo>
                    <a:cubicBezTo>
                      <a:pt x="2828918" y="4691276"/>
                      <a:pt x="2831137" y="4689058"/>
                      <a:pt x="2831137" y="4686100"/>
                    </a:cubicBezTo>
                    <a:close/>
                    <a:moveTo>
                      <a:pt x="2832617" y="3680565"/>
                    </a:moveTo>
                    <a:cubicBezTo>
                      <a:pt x="2832617" y="3657385"/>
                      <a:pt x="2813631" y="3638400"/>
                      <a:pt x="2790452" y="3638400"/>
                    </a:cubicBezTo>
                    <a:cubicBezTo>
                      <a:pt x="2767027" y="3638400"/>
                      <a:pt x="2748041" y="3657385"/>
                      <a:pt x="2748041" y="3680565"/>
                    </a:cubicBezTo>
                    <a:cubicBezTo>
                      <a:pt x="2748041" y="3703743"/>
                      <a:pt x="2767027" y="3722728"/>
                      <a:pt x="2790452" y="3722728"/>
                    </a:cubicBezTo>
                    <a:cubicBezTo>
                      <a:pt x="2813631" y="3722728"/>
                      <a:pt x="2832617" y="3703743"/>
                      <a:pt x="2832617" y="3680565"/>
                    </a:cubicBezTo>
                    <a:close/>
                    <a:moveTo>
                      <a:pt x="2834098" y="1797840"/>
                    </a:moveTo>
                    <a:cubicBezTo>
                      <a:pt x="2834098" y="1783517"/>
                      <a:pt x="2822508" y="1771687"/>
                      <a:pt x="2807962" y="1771687"/>
                    </a:cubicBezTo>
                    <a:cubicBezTo>
                      <a:pt x="2793660" y="1771687"/>
                      <a:pt x="2781824" y="1783517"/>
                      <a:pt x="2781824" y="1797840"/>
                    </a:cubicBezTo>
                    <a:cubicBezTo>
                      <a:pt x="2781824" y="1812127"/>
                      <a:pt x="2793414" y="1823969"/>
                      <a:pt x="2807962" y="1823969"/>
                    </a:cubicBezTo>
                    <a:cubicBezTo>
                      <a:pt x="2822262" y="1823969"/>
                      <a:pt x="2834098" y="1812368"/>
                      <a:pt x="2834098" y="1797840"/>
                    </a:cubicBezTo>
                    <a:close/>
                    <a:moveTo>
                      <a:pt x="2835330" y="2819296"/>
                    </a:moveTo>
                    <a:cubicBezTo>
                      <a:pt x="2835330" y="2806228"/>
                      <a:pt x="2824727" y="2795869"/>
                      <a:pt x="2811905" y="2795869"/>
                    </a:cubicBezTo>
                    <a:cubicBezTo>
                      <a:pt x="2799083" y="2795869"/>
                      <a:pt x="2788480" y="2806474"/>
                      <a:pt x="2788480" y="2819296"/>
                    </a:cubicBezTo>
                    <a:cubicBezTo>
                      <a:pt x="2788480" y="2832363"/>
                      <a:pt x="2799083" y="2842721"/>
                      <a:pt x="2811905" y="2842721"/>
                    </a:cubicBezTo>
                    <a:cubicBezTo>
                      <a:pt x="2824727" y="2842721"/>
                      <a:pt x="2835330" y="2832363"/>
                      <a:pt x="2835330" y="2819296"/>
                    </a:cubicBezTo>
                    <a:close/>
                    <a:moveTo>
                      <a:pt x="2839275" y="3219479"/>
                    </a:moveTo>
                    <a:cubicBezTo>
                      <a:pt x="2839275" y="3202711"/>
                      <a:pt x="2825715" y="3189149"/>
                      <a:pt x="2808949" y="3189149"/>
                    </a:cubicBezTo>
                    <a:cubicBezTo>
                      <a:pt x="2792182" y="3189149"/>
                      <a:pt x="2778620" y="3202711"/>
                      <a:pt x="2778620" y="3219479"/>
                    </a:cubicBezTo>
                    <a:cubicBezTo>
                      <a:pt x="2778620" y="3236245"/>
                      <a:pt x="2792182" y="3249805"/>
                      <a:pt x="2808949" y="3249805"/>
                    </a:cubicBezTo>
                    <a:cubicBezTo>
                      <a:pt x="2825715" y="3249805"/>
                      <a:pt x="2839275" y="3236245"/>
                      <a:pt x="2839275" y="3219479"/>
                    </a:cubicBezTo>
                    <a:close/>
                    <a:moveTo>
                      <a:pt x="2840262" y="5274185"/>
                    </a:moveTo>
                    <a:cubicBezTo>
                      <a:pt x="2840262" y="5256923"/>
                      <a:pt x="2826208" y="5243114"/>
                      <a:pt x="2809192" y="5243114"/>
                    </a:cubicBezTo>
                    <a:cubicBezTo>
                      <a:pt x="2791933" y="5243114"/>
                      <a:pt x="2778125" y="5257169"/>
                      <a:pt x="2778125" y="5274185"/>
                    </a:cubicBezTo>
                    <a:cubicBezTo>
                      <a:pt x="2778125" y="5291444"/>
                      <a:pt x="2792180" y="5305251"/>
                      <a:pt x="2809192" y="5305251"/>
                    </a:cubicBezTo>
                    <a:cubicBezTo>
                      <a:pt x="2826208" y="5305251"/>
                      <a:pt x="2840015" y="5291444"/>
                      <a:pt x="2840262" y="5274185"/>
                    </a:cubicBezTo>
                    <a:close/>
                    <a:moveTo>
                      <a:pt x="2840510" y="2551525"/>
                    </a:moveTo>
                    <a:cubicBezTo>
                      <a:pt x="2840510" y="2522922"/>
                      <a:pt x="2817085" y="2499498"/>
                      <a:pt x="2788483" y="2499498"/>
                    </a:cubicBezTo>
                    <a:cubicBezTo>
                      <a:pt x="2759880" y="2499498"/>
                      <a:pt x="2736455" y="2522677"/>
                      <a:pt x="2736455" y="2551525"/>
                    </a:cubicBezTo>
                    <a:cubicBezTo>
                      <a:pt x="2736455" y="2580128"/>
                      <a:pt x="2759634" y="2603554"/>
                      <a:pt x="2788483" y="2603554"/>
                    </a:cubicBezTo>
                    <a:cubicBezTo>
                      <a:pt x="2817085" y="2603554"/>
                      <a:pt x="2840510" y="2580375"/>
                      <a:pt x="2840510" y="2551525"/>
                    </a:cubicBezTo>
                    <a:close/>
                    <a:moveTo>
                      <a:pt x="2841002" y="5041169"/>
                    </a:moveTo>
                    <a:cubicBezTo>
                      <a:pt x="2841002" y="5024896"/>
                      <a:pt x="2827688" y="5011580"/>
                      <a:pt x="2811413" y="5011580"/>
                    </a:cubicBezTo>
                    <a:cubicBezTo>
                      <a:pt x="2795141" y="5011580"/>
                      <a:pt x="2781824" y="5024896"/>
                      <a:pt x="2781824" y="5041169"/>
                    </a:cubicBezTo>
                    <a:cubicBezTo>
                      <a:pt x="2781824" y="5057444"/>
                      <a:pt x="2795141" y="5070758"/>
                      <a:pt x="2811413" y="5070758"/>
                    </a:cubicBezTo>
                    <a:cubicBezTo>
                      <a:pt x="2827688" y="5070758"/>
                      <a:pt x="2841002" y="5057444"/>
                      <a:pt x="2841002" y="5041169"/>
                    </a:cubicBezTo>
                    <a:close/>
                    <a:moveTo>
                      <a:pt x="2843468" y="4802978"/>
                    </a:moveTo>
                    <a:cubicBezTo>
                      <a:pt x="2843468" y="4787197"/>
                      <a:pt x="2830646" y="4774621"/>
                      <a:pt x="2815114" y="4774621"/>
                    </a:cubicBezTo>
                    <a:cubicBezTo>
                      <a:pt x="2799578" y="4774621"/>
                      <a:pt x="2786756" y="4787443"/>
                      <a:pt x="2786756" y="4802978"/>
                    </a:cubicBezTo>
                    <a:cubicBezTo>
                      <a:pt x="2786756" y="4818759"/>
                      <a:pt x="2799578" y="4831335"/>
                      <a:pt x="2815114" y="4831335"/>
                    </a:cubicBezTo>
                    <a:cubicBezTo>
                      <a:pt x="2830646" y="4831335"/>
                      <a:pt x="2843468" y="4818759"/>
                      <a:pt x="2843468" y="4802978"/>
                    </a:cubicBezTo>
                    <a:close/>
                    <a:moveTo>
                      <a:pt x="2849139" y="2032998"/>
                    </a:moveTo>
                    <a:cubicBezTo>
                      <a:pt x="2849139" y="2012284"/>
                      <a:pt x="2832371" y="1995521"/>
                      <a:pt x="2811659" y="1995521"/>
                    </a:cubicBezTo>
                    <a:cubicBezTo>
                      <a:pt x="2790946" y="1995521"/>
                      <a:pt x="2774180" y="2012284"/>
                      <a:pt x="2774180" y="2032998"/>
                    </a:cubicBezTo>
                    <a:cubicBezTo>
                      <a:pt x="2774180" y="2053712"/>
                      <a:pt x="2790946" y="2070481"/>
                      <a:pt x="2811659" y="2070481"/>
                    </a:cubicBezTo>
                    <a:cubicBezTo>
                      <a:pt x="2832371" y="2070481"/>
                      <a:pt x="2849139" y="2053712"/>
                      <a:pt x="2849139" y="2032998"/>
                    </a:cubicBezTo>
                    <a:close/>
                    <a:moveTo>
                      <a:pt x="2851603" y="2152835"/>
                    </a:moveTo>
                    <a:cubicBezTo>
                      <a:pt x="2851603" y="2132122"/>
                      <a:pt x="2834590" y="2115107"/>
                      <a:pt x="2813877" y="2115107"/>
                    </a:cubicBezTo>
                    <a:cubicBezTo>
                      <a:pt x="2793165" y="2115107"/>
                      <a:pt x="2776152" y="2132122"/>
                      <a:pt x="2776152" y="2152835"/>
                    </a:cubicBezTo>
                    <a:cubicBezTo>
                      <a:pt x="2776152" y="2173549"/>
                      <a:pt x="2793165" y="2190560"/>
                      <a:pt x="2813877" y="2190560"/>
                    </a:cubicBezTo>
                    <a:cubicBezTo>
                      <a:pt x="2834590" y="2190560"/>
                      <a:pt x="2851603" y="2173549"/>
                      <a:pt x="2851603" y="2152835"/>
                    </a:cubicBezTo>
                    <a:close/>
                    <a:moveTo>
                      <a:pt x="2855549" y="2962304"/>
                    </a:moveTo>
                    <a:cubicBezTo>
                      <a:pt x="2855549" y="2948742"/>
                      <a:pt x="2844453" y="2937647"/>
                      <a:pt x="2830891" y="2937647"/>
                    </a:cubicBezTo>
                    <a:cubicBezTo>
                      <a:pt x="2817329" y="2937647"/>
                      <a:pt x="2806234" y="2948742"/>
                      <a:pt x="2806234" y="2962304"/>
                    </a:cubicBezTo>
                    <a:cubicBezTo>
                      <a:pt x="2806234" y="2975866"/>
                      <a:pt x="2817329" y="2986962"/>
                      <a:pt x="2830891" y="2986962"/>
                    </a:cubicBezTo>
                    <a:cubicBezTo>
                      <a:pt x="2844453" y="2986962"/>
                      <a:pt x="2855549" y="2975866"/>
                      <a:pt x="2855549" y="2962304"/>
                    </a:cubicBezTo>
                    <a:close/>
                    <a:moveTo>
                      <a:pt x="2861468" y="4563307"/>
                    </a:moveTo>
                    <a:cubicBezTo>
                      <a:pt x="2861468" y="4546045"/>
                      <a:pt x="2847412" y="4531990"/>
                      <a:pt x="2830153" y="4531990"/>
                    </a:cubicBezTo>
                    <a:cubicBezTo>
                      <a:pt x="2812891" y="4531990"/>
                      <a:pt x="2798837" y="4546045"/>
                      <a:pt x="2798837" y="4563307"/>
                    </a:cubicBezTo>
                    <a:cubicBezTo>
                      <a:pt x="2798837" y="4580565"/>
                      <a:pt x="2812891" y="4594623"/>
                      <a:pt x="2830153" y="4594623"/>
                    </a:cubicBezTo>
                    <a:cubicBezTo>
                      <a:pt x="2847412" y="4594623"/>
                      <a:pt x="2861468" y="4580565"/>
                      <a:pt x="2861468" y="4563307"/>
                    </a:cubicBezTo>
                    <a:close/>
                    <a:moveTo>
                      <a:pt x="2861714" y="4922563"/>
                    </a:moveTo>
                    <a:cubicBezTo>
                      <a:pt x="2861714" y="4895688"/>
                      <a:pt x="2839770" y="4873743"/>
                      <a:pt x="2812891" y="4873743"/>
                    </a:cubicBezTo>
                    <a:cubicBezTo>
                      <a:pt x="2786015" y="4873743"/>
                      <a:pt x="2764071" y="4895688"/>
                      <a:pt x="2764071" y="4922563"/>
                    </a:cubicBezTo>
                    <a:cubicBezTo>
                      <a:pt x="2764071" y="4949443"/>
                      <a:pt x="2786015" y="4971387"/>
                      <a:pt x="2812891" y="4971387"/>
                    </a:cubicBezTo>
                    <a:cubicBezTo>
                      <a:pt x="2839770" y="4971387"/>
                      <a:pt x="2861714" y="4949443"/>
                      <a:pt x="2861714" y="4922563"/>
                    </a:cubicBezTo>
                    <a:close/>
                    <a:moveTo>
                      <a:pt x="2866398" y="4175932"/>
                    </a:moveTo>
                    <a:cubicBezTo>
                      <a:pt x="2866398" y="4168782"/>
                      <a:pt x="2860480" y="4162864"/>
                      <a:pt x="2853330" y="4162864"/>
                    </a:cubicBezTo>
                    <a:cubicBezTo>
                      <a:pt x="2846180" y="4162864"/>
                      <a:pt x="2840262" y="4168782"/>
                      <a:pt x="2840262" y="4175932"/>
                    </a:cubicBezTo>
                    <a:cubicBezTo>
                      <a:pt x="2840262" y="4183085"/>
                      <a:pt x="2846180" y="4189000"/>
                      <a:pt x="2853330" y="4189000"/>
                    </a:cubicBezTo>
                    <a:cubicBezTo>
                      <a:pt x="2860728" y="4189000"/>
                      <a:pt x="2866646" y="4183085"/>
                      <a:pt x="2866398" y="4175932"/>
                    </a:cubicBezTo>
                    <a:close/>
                    <a:moveTo>
                      <a:pt x="2870098" y="4309084"/>
                    </a:moveTo>
                    <a:cubicBezTo>
                      <a:pt x="2870098" y="4294289"/>
                      <a:pt x="2858015" y="4282207"/>
                      <a:pt x="2843221" y="4282207"/>
                    </a:cubicBezTo>
                    <a:cubicBezTo>
                      <a:pt x="2828426" y="4282207"/>
                      <a:pt x="2816345" y="4294289"/>
                      <a:pt x="2816345" y="4309084"/>
                    </a:cubicBezTo>
                    <a:cubicBezTo>
                      <a:pt x="2816345" y="4323879"/>
                      <a:pt x="2828426" y="4335963"/>
                      <a:pt x="2843221" y="4335963"/>
                    </a:cubicBezTo>
                    <a:cubicBezTo>
                      <a:pt x="2858015" y="4335963"/>
                      <a:pt x="2870098" y="4323879"/>
                      <a:pt x="2870098" y="4309084"/>
                    </a:cubicBezTo>
                    <a:close/>
                    <a:moveTo>
                      <a:pt x="2870838" y="4437550"/>
                    </a:moveTo>
                    <a:cubicBezTo>
                      <a:pt x="2870838" y="4418318"/>
                      <a:pt x="2855056" y="4402537"/>
                      <a:pt x="2835823" y="4402537"/>
                    </a:cubicBezTo>
                    <a:cubicBezTo>
                      <a:pt x="2816591" y="4402537"/>
                      <a:pt x="2800810" y="4418318"/>
                      <a:pt x="2800810" y="4437550"/>
                    </a:cubicBezTo>
                    <a:cubicBezTo>
                      <a:pt x="2800810" y="4457029"/>
                      <a:pt x="2816591" y="4472565"/>
                      <a:pt x="2835823" y="4472565"/>
                    </a:cubicBezTo>
                    <a:cubicBezTo>
                      <a:pt x="2855056" y="4472565"/>
                      <a:pt x="2870592" y="4457029"/>
                      <a:pt x="2870838" y="4437550"/>
                    </a:cubicBezTo>
                    <a:close/>
                    <a:moveTo>
                      <a:pt x="2875768" y="3790043"/>
                    </a:moveTo>
                    <a:cubicBezTo>
                      <a:pt x="2875768" y="3765879"/>
                      <a:pt x="2856289" y="3746399"/>
                      <a:pt x="2832123" y="3746399"/>
                    </a:cubicBezTo>
                    <a:cubicBezTo>
                      <a:pt x="2807960" y="3746399"/>
                      <a:pt x="2788480" y="3765879"/>
                      <a:pt x="2788480" y="3790043"/>
                    </a:cubicBezTo>
                    <a:cubicBezTo>
                      <a:pt x="2788480" y="3814207"/>
                      <a:pt x="2807960" y="3833689"/>
                      <a:pt x="2832123" y="3833689"/>
                    </a:cubicBezTo>
                    <a:cubicBezTo>
                      <a:pt x="2856043" y="3833689"/>
                      <a:pt x="2875768" y="3814207"/>
                      <a:pt x="2875768" y="3790043"/>
                    </a:cubicBezTo>
                    <a:close/>
                    <a:moveTo>
                      <a:pt x="2878233" y="1097370"/>
                    </a:moveTo>
                    <a:cubicBezTo>
                      <a:pt x="2878233" y="1084303"/>
                      <a:pt x="2867630" y="1073698"/>
                      <a:pt x="2854562" y="1073698"/>
                    </a:cubicBezTo>
                    <a:cubicBezTo>
                      <a:pt x="2841495" y="1073698"/>
                      <a:pt x="2830891" y="1084303"/>
                      <a:pt x="2830891" y="1097370"/>
                    </a:cubicBezTo>
                    <a:cubicBezTo>
                      <a:pt x="2830891" y="1110437"/>
                      <a:pt x="2841495" y="1121041"/>
                      <a:pt x="2854562" y="1121041"/>
                    </a:cubicBezTo>
                    <a:cubicBezTo>
                      <a:pt x="2867384" y="1121041"/>
                      <a:pt x="2878233" y="1110437"/>
                      <a:pt x="2878233" y="1097370"/>
                    </a:cubicBezTo>
                    <a:close/>
                    <a:moveTo>
                      <a:pt x="2880206" y="873259"/>
                    </a:moveTo>
                    <a:cubicBezTo>
                      <a:pt x="2880206" y="859702"/>
                      <a:pt x="2869111" y="848611"/>
                      <a:pt x="2855549" y="848611"/>
                    </a:cubicBezTo>
                    <a:cubicBezTo>
                      <a:pt x="2841987" y="848611"/>
                      <a:pt x="2830891" y="859702"/>
                      <a:pt x="2830891" y="873259"/>
                    </a:cubicBezTo>
                    <a:cubicBezTo>
                      <a:pt x="2830891" y="886828"/>
                      <a:pt x="2841987" y="897925"/>
                      <a:pt x="2855549" y="897925"/>
                    </a:cubicBezTo>
                    <a:cubicBezTo>
                      <a:pt x="2869111" y="897925"/>
                      <a:pt x="2880206" y="886828"/>
                      <a:pt x="2880206" y="873259"/>
                    </a:cubicBezTo>
                    <a:close/>
                    <a:moveTo>
                      <a:pt x="2880452" y="984949"/>
                    </a:moveTo>
                    <a:cubicBezTo>
                      <a:pt x="2880452" y="970649"/>
                      <a:pt x="2868864" y="959062"/>
                      <a:pt x="2854562" y="959062"/>
                    </a:cubicBezTo>
                    <a:cubicBezTo>
                      <a:pt x="2840262" y="959062"/>
                      <a:pt x="2828673" y="970649"/>
                      <a:pt x="2828673" y="984949"/>
                    </a:cubicBezTo>
                    <a:cubicBezTo>
                      <a:pt x="2828673" y="999252"/>
                      <a:pt x="2840262" y="1010841"/>
                      <a:pt x="2854562" y="1010841"/>
                    </a:cubicBezTo>
                    <a:cubicBezTo>
                      <a:pt x="2868864" y="1010841"/>
                      <a:pt x="2880452" y="999252"/>
                      <a:pt x="2880452" y="984949"/>
                    </a:cubicBezTo>
                    <a:close/>
                    <a:moveTo>
                      <a:pt x="2881195" y="1322706"/>
                    </a:moveTo>
                    <a:cubicBezTo>
                      <a:pt x="2881195" y="1307666"/>
                      <a:pt x="2868865" y="1295582"/>
                      <a:pt x="2854071" y="1295582"/>
                    </a:cubicBezTo>
                    <a:cubicBezTo>
                      <a:pt x="2839275" y="1295582"/>
                      <a:pt x="2827195" y="1307913"/>
                      <a:pt x="2827195" y="1322706"/>
                    </a:cubicBezTo>
                    <a:cubicBezTo>
                      <a:pt x="2827195" y="1337499"/>
                      <a:pt x="2839275" y="1349586"/>
                      <a:pt x="2854071" y="1349586"/>
                    </a:cubicBezTo>
                    <a:cubicBezTo>
                      <a:pt x="2869111" y="1349586"/>
                      <a:pt x="2881195" y="1337499"/>
                      <a:pt x="2881195" y="1322706"/>
                    </a:cubicBezTo>
                    <a:close/>
                    <a:moveTo>
                      <a:pt x="2881686" y="1209547"/>
                    </a:moveTo>
                    <a:cubicBezTo>
                      <a:pt x="2881686" y="1194505"/>
                      <a:pt x="2869356" y="1182423"/>
                      <a:pt x="2854564" y="1182423"/>
                    </a:cubicBezTo>
                    <a:cubicBezTo>
                      <a:pt x="2839521" y="1182423"/>
                      <a:pt x="2827440" y="1194752"/>
                      <a:pt x="2827440" y="1209547"/>
                    </a:cubicBezTo>
                    <a:cubicBezTo>
                      <a:pt x="2827440" y="1224590"/>
                      <a:pt x="2839521" y="1236673"/>
                      <a:pt x="2854564" y="1236673"/>
                    </a:cubicBezTo>
                    <a:cubicBezTo>
                      <a:pt x="2869356" y="1236673"/>
                      <a:pt x="2881440" y="1224590"/>
                      <a:pt x="2881686" y="1209547"/>
                    </a:cubicBezTo>
                    <a:close/>
                    <a:moveTo>
                      <a:pt x="2882673" y="539427"/>
                    </a:moveTo>
                    <a:cubicBezTo>
                      <a:pt x="2882673" y="524385"/>
                      <a:pt x="2870592" y="512304"/>
                      <a:pt x="2855549" y="512304"/>
                    </a:cubicBezTo>
                    <a:cubicBezTo>
                      <a:pt x="2840508" y="512304"/>
                      <a:pt x="2828427" y="524385"/>
                      <a:pt x="2828427" y="539427"/>
                    </a:cubicBezTo>
                    <a:cubicBezTo>
                      <a:pt x="2828427" y="554468"/>
                      <a:pt x="2840508" y="566549"/>
                      <a:pt x="2855549" y="566549"/>
                    </a:cubicBezTo>
                    <a:cubicBezTo>
                      <a:pt x="2870592" y="566549"/>
                      <a:pt x="2882673" y="554468"/>
                      <a:pt x="2882673" y="539427"/>
                    </a:cubicBezTo>
                    <a:close/>
                    <a:moveTo>
                      <a:pt x="2882675" y="650402"/>
                    </a:moveTo>
                    <a:cubicBezTo>
                      <a:pt x="2882675" y="635570"/>
                      <a:pt x="2870345" y="623240"/>
                      <a:pt x="2855305" y="623240"/>
                    </a:cubicBezTo>
                    <a:cubicBezTo>
                      <a:pt x="2840264" y="623240"/>
                      <a:pt x="2827935" y="635321"/>
                      <a:pt x="2827935" y="650402"/>
                    </a:cubicBezTo>
                    <a:cubicBezTo>
                      <a:pt x="2827935" y="665442"/>
                      <a:pt x="2840264" y="677765"/>
                      <a:pt x="2855305" y="677765"/>
                    </a:cubicBezTo>
                    <a:cubicBezTo>
                      <a:pt x="2870345" y="677765"/>
                      <a:pt x="2882675" y="665442"/>
                      <a:pt x="2882675" y="650402"/>
                    </a:cubicBezTo>
                    <a:close/>
                    <a:moveTo>
                      <a:pt x="2883167" y="761835"/>
                    </a:moveTo>
                    <a:cubicBezTo>
                      <a:pt x="2883167" y="746549"/>
                      <a:pt x="2870838" y="734214"/>
                      <a:pt x="2855551" y="734214"/>
                    </a:cubicBezTo>
                    <a:cubicBezTo>
                      <a:pt x="2840264" y="734214"/>
                      <a:pt x="2827935" y="746549"/>
                      <a:pt x="2827935" y="761835"/>
                    </a:cubicBezTo>
                    <a:cubicBezTo>
                      <a:pt x="2827935" y="777124"/>
                      <a:pt x="2840264" y="789452"/>
                      <a:pt x="2855551" y="789452"/>
                    </a:cubicBezTo>
                    <a:cubicBezTo>
                      <a:pt x="2870592" y="789452"/>
                      <a:pt x="2883167" y="776874"/>
                      <a:pt x="2883167" y="761835"/>
                    </a:cubicBezTo>
                    <a:close/>
                    <a:moveTo>
                      <a:pt x="2883414" y="3113451"/>
                    </a:moveTo>
                    <a:cubicBezTo>
                      <a:pt x="2883414" y="3100136"/>
                      <a:pt x="2872564" y="3089287"/>
                      <a:pt x="2859251" y="3089287"/>
                    </a:cubicBezTo>
                    <a:cubicBezTo>
                      <a:pt x="2845933" y="3089287"/>
                      <a:pt x="2835085" y="3100136"/>
                      <a:pt x="2835085" y="3113451"/>
                    </a:cubicBezTo>
                    <a:cubicBezTo>
                      <a:pt x="2835085" y="3126766"/>
                      <a:pt x="2845933" y="3137616"/>
                      <a:pt x="2859251" y="3137616"/>
                    </a:cubicBezTo>
                    <a:cubicBezTo>
                      <a:pt x="2872564" y="3137616"/>
                      <a:pt x="2883414" y="3126766"/>
                      <a:pt x="2883414" y="3113451"/>
                    </a:cubicBezTo>
                    <a:close/>
                    <a:moveTo>
                      <a:pt x="2886618" y="4037361"/>
                    </a:moveTo>
                    <a:cubicBezTo>
                      <a:pt x="2886618" y="4027249"/>
                      <a:pt x="2878482" y="4019113"/>
                      <a:pt x="2868373" y="4019113"/>
                    </a:cubicBezTo>
                    <a:cubicBezTo>
                      <a:pt x="2858262" y="4019113"/>
                      <a:pt x="2850125" y="4027249"/>
                      <a:pt x="2850125" y="4037361"/>
                    </a:cubicBezTo>
                    <a:cubicBezTo>
                      <a:pt x="2850125" y="4047470"/>
                      <a:pt x="2858262" y="4055606"/>
                      <a:pt x="2868373" y="4055606"/>
                    </a:cubicBezTo>
                    <a:cubicBezTo>
                      <a:pt x="2878482" y="4055606"/>
                      <a:pt x="2886618" y="4047470"/>
                      <a:pt x="2886618" y="4037361"/>
                    </a:cubicBezTo>
                    <a:close/>
                    <a:moveTo>
                      <a:pt x="2910536" y="3420433"/>
                    </a:moveTo>
                    <a:cubicBezTo>
                      <a:pt x="2910536" y="3399475"/>
                      <a:pt x="2893523" y="3382461"/>
                      <a:pt x="2872561" y="3382461"/>
                    </a:cubicBezTo>
                    <a:cubicBezTo>
                      <a:pt x="2851603" y="3382461"/>
                      <a:pt x="2834590" y="3399475"/>
                      <a:pt x="2834590" y="3420433"/>
                    </a:cubicBezTo>
                    <a:cubicBezTo>
                      <a:pt x="2834590" y="3441394"/>
                      <a:pt x="2851603" y="3458406"/>
                      <a:pt x="2872561" y="3458406"/>
                    </a:cubicBezTo>
                    <a:cubicBezTo>
                      <a:pt x="2893768" y="3458406"/>
                      <a:pt x="2910781" y="3441394"/>
                      <a:pt x="2910536" y="3420433"/>
                    </a:cubicBezTo>
                    <a:close/>
                    <a:moveTo>
                      <a:pt x="2913002" y="3535084"/>
                    </a:moveTo>
                    <a:cubicBezTo>
                      <a:pt x="2913002" y="3512891"/>
                      <a:pt x="2895003" y="3494645"/>
                      <a:pt x="2872564" y="3494645"/>
                    </a:cubicBezTo>
                    <a:cubicBezTo>
                      <a:pt x="2850373" y="3494645"/>
                      <a:pt x="2832125" y="3512645"/>
                      <a:pt x="2832125" y="3535084"/>
                    </a:cubicBezTo>
                    <a:cubicBezTo>
                      <a:pt x="2832125" y="3557275"/>
                      <a:pt x="2850125" y="3575523"/>
                      <a:pt x="2872564" y="3575523"/>
                    </a:cubicBezTo>
                    <a:cubicBezTo>
                      <a:pt x="2895003" y="3575523"/>
                      <a:pt x="2913248" y="3557275"/>
                      <a:pt x="2913002" y="3535084"/>
                    </a:cubicBezTo>
                    <a:close/>
                    <a:moveTo>
                      <a:pt x="2913248" y="7307448"/>
                    </a:moveTo>
                    <a:cubicBezTo>
                      <a:pt x="2913248" y="7305720"/>
                      <a:pt x="2911767" y="7304488"/>
                      <a:pt x="2910289" y="7304488"/>
                    </a:cubicBezTo>
                    <a:cubicBezTo>
                      <a:pt x="2908563" y="7304488"/>
                      <a:pt x="2907330" y="7305720"/>
                      <a:pt x="2907330" y="7307448"/>
                    </a:cubicBezTo>
                    <a:cubicBezTo>
                      <a:pt x="2907330" y="7309174"/>
                      <a:pt x="2908808" y="7310406"/>
                      <a:pt x="2910289" y="7310406"/>
                    </a:cubicBezTo>
                    <a:cubicBezTo>
                      <a:pt x="2911767" y="7310406"/>
                      <a:pt x="2913248" y="7309174"/>
                      <a:pt x="2913248" y="7307448"/>
                    </a:cubicBezTo>
                    <a:close/>
                    <a:moveTo>
                      <a:pt x="2913248" y="7417172"/>
                    </a:moveTo>
                    <a:cubicBezTo>
                      <a:pt x="2913248" y="7415691"/>
                      <a:pt x="2912014" y="7414459"/>
                      <a:pt x="2910536" y="7414459"/>
                    </a:cubicBezTo>
                    <a:cubicBezTo>
                      <a:pt x="2909055" y="7414459"/>
                      <a:pt x="2907823" y="7415691"/>
                      <a:pt x="2907823" y="7417172"/>
                    </a:cubicBezTo>
                    <a:cubicBezTo>
                      <a:pt x="2907823" y="7418650"/>
                      <a:pt x="2909055" y="7419885"/>
                      <a:pt x="2910536" y="7419885"/>
                    </a:cubicBezTo>
                    <a:cubicBezTo>
                      <a:pt x="2912014" y="7419885"/>
                      <a:pt x="2913248" y="7418650"/>
                      <a:pt x="2913248" y="7417172"/>
                    </a:cubicBezTo>
                    <a:close/>
                    <a:moveTo>
                      <a:pt x="2913249" y="2611930"/>
                    </a:moveTo>
                    <a:cubicBezTo>
                      <a:pt x="2913249" y="2599108"/>
                      <a:pt x="2902893" y="2588504"/>
                      <a:pt x="2889826" y="2588504"/>
                    </a:cubicBezTo>
                    <a:cubicBezTo>
                      <a:pt x="2877004" y="2588504"/>
                      <a:pt x="2866401" y="2598860"/>
                      <a:pt x="2866401" y="2611930"/>
                    </a:cubicBezTo>
                    <a:cubicBezTo>
                      <a:pt x="2866401" y="2624753"/>
                      <a:pt x="2876755" y="2635353"/>
                      <a:pt x="2889826" y="2635353"/>
                    </a:cubicBezTo>
                    <a:cubicBezTo>
                      <a:pt x="2902893" y="2635353"/>
                      <a:pt x="2913249" y="2624753"/>
                      <a:pt x="2913249" y="2611930"/>
                    </a:cubicBezTo>
                    <a:close/>
                    <a:moveTo>
                      <a:pt x="2913497" y="7526651"/>
                    </a:moveTo>
                    <a:cubicBezTo>
                      <a:pt x="2913497" y="7525170"/>
                      <a:pt x="2912262" y="7523938"/>
                      <a:pt x="2910785" y="7523938"/>
                    </a:cubicBezTo>
                    <a:cubicBezTo>
                      <a:pt x="2909303" y="7523938"/>
                      <a:pt x="2908071" y="7525170"/>
                      <a:pt x="2908071" y="7526651"/>
                    </a:cubicBezTo>
                    <a:cubicBezTo>
                      <a:pt x="2908071" y="7528129"/>
                      <a:pt x="2909303" y="7529365"/>
                      <a:pt x="2910785" y="7529365"/>
                    </a:cubicBezTo>
                    <a:cubicBezTo>
                      <a:pt x="2912262" y="7529365"/>
                      <a:pt x="2913497" y="7528129"/>
                      <a:pt x="2913497" y="7526651"/>
                    </a:cubicBezTo>
                    <a:close/>
                    <a:moveTo>
                      <a:pt x="2914480" y="6537885"/>
                    </a:moveTo>
                    <a:cubicBezTo>
                      <a:pt x="2914480" y="6535910"/>
                      <a:pt x="2913002" y="6534431"/>
                      <a:pt x="2911276" y="6534431"/>
                    </a:cubicBezTo>
                    <a:cubicBezTo>
                      <a:pt x="2909549" y="6534431"/>
                      <a:pt x="2908071" y="6536158"/>
                      <a:pt x="2908071" y="6537885"/>
                    </a:cubicBezTo>
                    <a:cubicBezTo>
                      <a:pt x="2908071" y="6539609"/>
                      <a:pt x="2909549" y="6541090"/>
                      <a:pt x="2911276" y="6541090"/>
                    </a:cubicBezTo>
                    <a:cubicBezTo>
                      <a:pt x="2913248" y="6541090"/>
                      <a:pt x="2914729" y="6539609"/>
                      <a:pt x="2914480" y="6537885"/>
                    </a:cubicBezTo>
                    <a:close/>
                    <a:moveTo>
                      <a:pt x="2914975" y="6978268"/>
                    </a:moveTo>
                    <a:cubicBezTo>
                      <a:pt x="2914975" y="6976541"/>
                      <a:pt x="2913740" y="6975309"/>
                      <a:pt x="2912262" y="6975309"/>
                    </a:cubicBezTo>
                    <a:cubicBezTo>
                      <a:pt x="2910536" y="6975309"/>
                      <a:pt x="2909303" y="6976787"/>
                      <a:pt x="2909303" y="6978268"/>
                    </a:cubicBezTo>
                    <a:cubicBezTo>
                      <a:pt x="2909303" y="6979994"/>
                      <a:pt x="2910781" y="6981226"/>
                      <a:pt x="2912262" y="6981226"/>
                    </a:cubicBezTo>
                    <a:cubicBezTo>
                      <a:pt x="2913989" y="6981226"/>
                      <a:pt x="2915221" y="6979994"/>
                      <a:pt x="2914975" y="6978268"/>
                    </a:cubicBezTo>
                    <a:close/>
                    <a:moveTo>
                      <a:pt x="2915467" y="5649223"/>
                    </a:moveTo>
                    <a:cubicBezTo>
                      <a:pt x="2915467" y="5648237"/>
                      <a:pt x="2914480" y="5647250"/>
                      <a:pt x="2913493" y="5647250"/>
                    </a:cubicBezTo>
                    <a:cubicBezTo>
                      <a:pt x="2912508" y="5647250"/>
                      <a:pt x="2911521" y="5648237"/>
                      <a:pt x="2911521" y="5649223"/>
                    </a:cubicBezTo>
                    <a:cubicBezTo>
                      <a:pt x="2911521" y="5650456"/>
                      <a:pt x="2912508" y="5651196"/>
                      <a:pt x="2913493" y="5651196"/>
                    </a:cubicBezTo>
                    <a:cubicBezTo>
                      <a:pt x="2914726" y="5651196"/>
                      <a:pt x="2915467" y="5650456"/>
                      <a:pt x="2915467" y="5649223"/>
                    </a:cubicBezTo>
                    <a:close/>
                    <a:moveTo>
                      <a:pt x="2915468" y="5873117"/>
                    </a:moveTo>
                    <a:cubicBezTo>
                      <a:pt x="2915468" y="5872130"/>
                      <a:pt x="2914730" y="5871389"/>
                      <a:pt x="2913743" y="5871389"/>
                    </a:cubicBezTo>
                    <a:cubicBezTo>
                      <a:pt x="2912757" y="5871389"/>
                      <a:pt x="2912017" y="5872130"/>
                      <a:pt x="2912017" y="5873117"/>
                    </a:cubicBezTo>
                    <a:cubicBezTo>
                      <a:pt x="2912017" y="5874102"/>
                      <a:pt x="2912757" y="5874840"/>
                      <a:pt x="2913743" y="5874840"/>
                    </a:cubicBezTo>
                    <a:cubicBezTo>
                      <a:pt x="2914730" y="5874840"/>
                      <a:pt x="2915468" y="5873857"/>
                      <a:pt x="2915468" y="5873117"/>
                    </a:cubicBezTo>
                    <a:close/>
                    <a:moveTo>
                      <a:pt x="2915469" y="7197966"/>
                    </a:moveTo>
                    <a:cubicBezTo>
                      <a:pt x="2915469" y="7196486"/>
                      <a:pt x="2914235" y="7195254"/>
                      <a:pt x="2912757" y="7195254"/>
                    </a:cubicBezTo>
                    <a:cubicBezTo>
                      <a:pt x="2911276" y="7195254"/>
                      <a:pt x="2910043" y="7196486"/>
                      <a:pt x="2910043" y="7197966"/>
                    </a:cubicBezTo>
                    <a:cubicBezTo>
                      <a:pt x="2910043" y="7199445"/>
                      <a:pt x="2911276" y="7200680"/>
                      <a:pt x="2912757" y="7200680"/>
                    </a:cubicBezTo>
                    <a:cubicBezTo>
                      <a:pt x="2914235" y="7200680"/>
                      <a:pt x="2915469" y="7199445"/>
                      <a:pt x="2915469" y="7197966"/>
                    </a:cubicBezTo>
                    <a:close/>
                    <a:moveTo>
                      <a:pt x="2915713" y="7088485"/>
                    </a:moveTo>
                    <a:cubicBezTo>
                      <a:pt x="2915713" y="7086761"/>
                      <a:pt x="2914235" y="7085280"/>
                      <a:pt x="2912508" y="7085280"/>
                    </a:cubicBezTo>
                    <a:cubicBezTo>
                      <a:pt x="2910781" y="7085280"/>
                      <a:pt x="2909303" y="7086761"/>
                      <a:pt x="2909303" y="7088485"/>
                    </a:cubicBezTo>
                    <a:cubicBezTo>
                      <a:pt x="2909303" y="7090212"/>
                      <a:pt x="2910781" y="7091693"/>
                      <a:pt x="2912508" y="7091693"/>
                    </a:cubicBezTo>
                    <a:cubicBezTo>
                      <a:pt x="2914481" y="7091693"/>
                      <a:pt x="2915713" y="7090212"/>
                      <a:pt x="2915713" y="7088485"/>
                    </a:cubicBezTo>
                    <a:close/>
                    <a:moveTo>
                      <a:pt x="2915961" y="2242833"/>
                    </a:moveTo>
                    <a:cubicBezTo>
                      <a:pt x="2915961" y="2220883"/>
                      <a:pt x="2897963" y="2202884"/>
                      <a:pt x="2876015" y="2202884"/>
                    </a:cubicBezTo>
                    <a:cubicBezTo>
                      <a:pt x="2854070" y="2202884"/>
                      <a:pt x="2836071" y="2220883"/>
                      <a:pt x="2836071" y="2242833"/>
                    </a:cubicBezTo>
                    <a:cubicBezTo>
                      <a:pt x="2836071" y="2264771"/>
                      <a:pt x="2854070" y="2282772"/>
                      <a:pt x="2876015" y="2282772"/>
                    </a:cubicBezTo>
                    <a:cubicBezTo>
                      <a:pt x="2898208" y="2282772"/>
                      <a:pt x="2915961" y="2264771"/>
                      <a:pt x="2915961" y="2242833"/>
                    </a:cubicBezTo>
                    <a:close/>
                    <a:moveTo>
                      <a:pt x="2916207" y="5984567"/>
                    </a:moveTo>
                    <a:cubicBezTo>
                      <a:pt x="2916207" y="5983334"/>
                      <a:pt x="2915218" y="5982348"/>
                      <a:pt x="2913986" y="5982348"/>
                    </a:cubicBezTo>
                    <a:cubicBezTo>
                      <a:pt x="2912754" y="5982348"/>
                      <a:pt x="2911768" y="5983334"/>
                      <a:pt x="2911768" y="5984567"/>
                    </a:cubicBezTo>
                    <a:cubicBezTo>
                      <a:pt x="2911768" y="5985799"/>
                      <a:pt x="2912754" y="5986784"/>
                      <a:pt x="2913986" y="5986784"/>
                    </a:cubicBezTo>
                    <a:cubicBezTo>
                      <a:pt x="2915218" y="5986784"/>
                      <a:pt x="2916207" y="5985799"/>
                      <a:pt x="2916207" y="5984567"/>
                    </a:cubicBezTo>
                    <a:close/>
                    <a:moveTo>
                      <a:pt x="2916208" y="6206733"/>
                    </a:moveTo>
                    <a:cubicBezTo>
                      <a:pt x="2916208" y="6205747"/>
                      <a:pt x="2915467" y="6204760"/>
                      <a:pt x="2914235" y="6204760"/>
                    </a:cubicBezTo>
                    <a:cubicBezTo>
                      <a:pt x="2913249" y="6204760"/>
                      <a:pt x="2912262" y="6205747"/>
                      <a:pt x="2912262" y="6206733"/>
                    </a:cubicBezTo>
                    <a:cubicBezTo>
                      <a:pt x="2912262" y="6207719"/>
                      <a:pt x="2913002" y="6208706"/>
                      <a:pt x="2914235" y="6208706"/>
                    </a:cubicBezTo>
                    <a:cubicBezTo>
                      <a:pt x="2915467" y="6208706"/>
                      <a:pt x="2916208" y="6207719"/>
                      <a:pt x="2916208" y="6206733"/>
                    </a:cubicBezTo>
                    <a:close/>
                    <a:moveTo>
                      <a:pt x="2916701" y="6095526"/>
                    </a:moveTo>
                    <a:cubicBezTo>
                      <a:pt x="2916701" y="6094045"/>
                      <a:pt x="2915467" y="6092813"/>
                      <a:pt x="2913989" y="6092813"/>
                    </a:cubicBezTo>
                    <a:cubicBezTo>
                      <a:pt x="2912508" y="6092813"/>
                      <a:pt x="2911276" y="6094045"/>
                      <a:pt x="2911276" y="6095526"/>
                    </a:cubicBezTo>
                    <a:cubicBezTo>
                      <a:pt x="2911276" y="6097004"/>
                      <a:pt x="2912508" y="6098239"/>
                      <a:pt x="2913989" y="6098239"/>
                    </a:cubicBezTo>
                    <a:cubicBezTo>
                      <a:pt x="2915467" y="6098239"/>
                      <a:pt x="2916701" y="6097004"/>
                      <a:pt x="2916701" y="6095526"/>
                    </a:cubicBezTo>
                    <a:close/>
                    <a:moveTo>
                      <a:pt x="2917710" y="0"/>
                    </a:moveTo>
                    <a:lnTo>
                      <a:pt x="2900853" y="0"/>
                    </a:lnTo>
                    <a:lnTo>
                      <a:pt x="2909303" y="3490"/>
                    </a:lnTo>
                    <a:close/>
                    <a:moveTo>
                      <a:pt x="2918426" y="6648102"/>
                    </a:moveTo>
                    <a:cubicBezTo>
                      <a:pt x="2918426" y="6644157"/>
                      <a:pt x="2915221" y="6641198"/>
                      <a:pt x="2911523" y="6641198"/>
                    </a:cubicBezTo>
                    <a:cubicBezTo>
                      <a:pt x="2907577" y="6641198"/>
                      <a:pt x="2904618" y="6644157"/>
                      <a:pt x="2904618" y="6648102"/>
                    </a:cubicBezTo>
                    <a:cubicBezTo>
                      <a:pt x="2904618" y="6652048"/>
                      <a:pt x="2907823" y="6655006"/>
                      <a:pt x="2911523" y="6655006"/>
                    </a:cubicBezTo>
                    <a:cubicBezTo>
                      <a:pt x="2915467" y="6655006"/>
                      <a:pt x="2918426" y="6652048"/>
                      <a:pt x="2918426" y="6648102"/>
                    </a:cubicBezTo>
                    <a:close/>
                    <a:moveTo>
                      <a:pt x="2918429" y="6758323"/>
                    </a:moveTo>
                    <a:cubicBezTo>
                      <a:pt x="2918429" y="6754623"/>
                      <a:pt x="2915470" y="6751664"/>
                      <a:pt x="2911770" y="6751664"/>
                    </a:cubicBezTo>
                    <a:cubicBezTo>
                      <a:pt x="2908071" y="6751664"/>
                      <a:pt x="2905113" y="6754623"/>
                      <a:pt x="2905113" y="6758323"/>
                    </a:cubicBezTo>
                    <a:cubicBezTo>
                      <a:pt x="2905113" y="6762021"/>
                      <a:pt x="2908071" y="6764980"/>
                      <a:pt x="2911770" y="6764980"/>
                    </a:cubicBezTo>
                    <a:cubicBezTo>
                      <a:pt x="2915470" y="6764980"/>
                      <a:pt x="2918675" y="6762021"/>
                      <a:pt x="2918429" y="6758323"/>
                    </a:cubicBezTo>
                    <a:close/>
                    <a:moveTo>
                      <a:pt x="2918917" y="5761416"/>
                    </a:moveTo>
                    <a:cubicBezTo>
                      <a:pt x="2918917" y="5758457"/>
                      <a:pt x="2916698" y="5756238"/>
                      <a:pt x="2913739" y="5756238"/>
                    </a:cubicBezTo>
                    <a:cubicBezTo>
                      <a:pt x="2910781" y="5756238"/>
                      <a:pt x="2908563" y="5758457"/>
                      <a:pt x="2908563" y="5761416"/>
                    </a:cubicBezTo>
                    <a:cubicBezTo>
                      <a:pt x="2908563" y="5764375"/>
                      <a:pt x="2910781" y="5766596"/>
                      <a:pt x="2913739" y="5766596"/>
                    </a:cubicBezTo>
                    <a:cubicBezTo>
                      <a:pt x="2916453" y="5766596"/>
                      <a:pt x="2918917" y="5764128"/>
                      <a:pt x="2918917" y="5761416"/>
                    </a:cubicBezTo>
                    <a:close/>
                    <a:moveTo>
                      <a:pt x="2919660" y="6868297"/>
                    </a:moveTo>
                    <a:cubicBezTo>
                      <a:pt x="2919660" y="6864105"/>
                      <a:pt x="2916207" y="6860651"/>
                      <a:pt x="2912016" y="6860651"/>
                    </a:cubicBezTo>
                    <a:cubicBezTo>
                      <a:pt x="2907821" y="6860651"/>
                      <a:pt x="2904371" y="6864105"/>
                      <a:pt x="2904371" y="6868297"/>
                    </a:cubicBezTo>
                    <a:cubicBezTo>
                      <a:pt x="2904371" y="6872488"/>
                      <a:pt x="2907821" y="6875938"/>
                      <a:pt x="2912016" y="6875938"/>
                    </a:cubicBezTo>
                    <a:cubicBezTo>
                      <a:pt x="2916207" y="6875938"/>
                      <a:pt x="2919660" y="6872733"/>
                      <a:pt x="2919660" y="6868297"/>
                    </a:cubicBezTo>
                    <a:close/>
                    <a:moveTo>
                      <a:pt x="2920399" y="2363148"/>
                    </a:moveTo>
                    <a:cubicBezTo>
                      <a:pt x="2920399" y="2340711"/>
                      <a:pt x="2902153" y="2322213"/>
                      <a:pt x="2879468" y="2322213"/>
                    </a:cubicBezTo>
                    <a:cubicBezTo>
                      <a:pt x="2856783" y="2322213"/>
                      <a:pt x="2838290" y="2340464"/>
                      <a:pt x="2838290" y="2363148"/>
                    </a:cubicBezTo>
                    <a:cubicBezTo>
                      <a:pt x="2838290" y="2385832"/>
                      <a:pt x="2856783" y="2404325"/>
                      <a:pt x="2879468" y="2404325"/>
                    </a:cubicBezTo>
                    <a:cubicBezTo>
                      <a:pt x="2902153" y="2404325"/>
                      <a:pt x="2920399" y="2386081"/>
                      <a:pt x="2920399" y="2363148"/>
                    </a:cubicBezTo>
                    <a:close/>
                    <a:moveTo>
                      <a:pt x="2922617" y="2741130"/>
                    </a:moveTo>
                    <a:cubicBezTo>
                      <a:pt x="2922617" y="2727568"/>
                      <a:pt x="2911521" y="2716473"/>
                      <a:pt x="2897959" y="2716473"/>
                    </a:cubicBezTo>
                    <a:cubicBezTo>
                      <a:pt x="2884397" y="2716473"/>
                      <a:pt x="2873302" y="2727568"/>
                      <a:pt x="2873302" y="2741130"/>
                    </a:cubicBezTo>
                    <a:cubicBezTo>
                      <a:pt x="2873302" y="2754694"/>
                      <a:pt x="2884397" y="2765789"/>
                      <a:pt x="2897959" y="2765789"/>
                    </a:cubicBezTo>
                    <a:cubicBezTo>
                      <a:pt x="2911521" y="2765789"/>
                      <a:pt x="2922617" y="2754694"/>
                      <a:pt x="2922617" y="2741130"/>
                    </a:cubicBezTo>
                    <a:close/>
                    <a:moveTo>
                      <a:pt x="2922864" y="6427911"/>
                    </a:moveTo>
                    <a:cubicBezTo>
                      <a:pt x="2922864" y="6423225"/>
                      <a:pt x="2919166" y="6419525"/>
                      <a:pt x="2914480" y="6419525"/>
                    </a:cubicBezTo>
                    <a:cubicBezTo>
                      <a:pt x="2909797" y="6419525"/>
                      <a:pt x="2906098" y="6423225"/>
                      <a:pt x="2906098" y="6427911"/>
                    </a:cubicBezTo>
                    <a:cubicBezTo>
                      <a:pt x="2906098" y="6432596"/>
                      <a:pt x="2909797" y="6436293"/>
                      <a:pt x="2914480" y="6436293"/>
                    </a:cubicBezTo>
                    <a:cubicBezTo>
                      <a:pt x="2919166" y="6436293"/>
                      <a:pt x="2922864" y="6432596"/>
                      <a:pt x="2922864" y="6427911"/>
                    </a:cubicBezTo>
                    <a:close/>
                    <a:moveTo>
                      <a:pt x="2923852" y="6317445"/>
                    </a:moveTo>
                    <a:cubicBezTo>
                      <a:pt x="2923852" y="6312265"/>
                      <a:pt x="2919661" y="6308073"/>
                      <a:pt x="2914483" y="6308073"/>
                    </a:cubicBezTo>
                    <a:cubicBezTo>
                      <a:pt x="2909303" y="6308073"/>
                      <a:pt x="2905113" y="6312265"/>
                      <a:pt x="2905113" y="6317445"/>
                    </a:cubicBezTo>
                    <a:cubicBezTo>
                      <a:pt x="2905113" y="6322622"/>
                      <a:pt x="2909303" y="6326813"/>
                      <a:pt x="2914483" y="6326813"/>
                    </a:cubicBezTo>
                    <a:cubicBezTo>
                      <a:pt x="2919415" y="6326813"/>
                      <a:pt x="2923605" y="6322622"/>
                      <a:pt x="2923852" y="6317445"/>
                    </a:cubicBezTo>
                    <a:close/>
                    <a:moveTo>
                      <a:pt x="2929029" y="3307749"/>
                    </a:moveTo>
                    <a:cubicBezTo>
                      <a:pt x="2929029" y="3288269"/>
                      <a:pt x="2913002" y="3272244"/>
                      <a:pt x="2893523" y="3272244"/>
                    </a:cubicBezTo>
                    <a:cubicBezTo>
                      <a:pt x="2874042" y="3272244"/>
                      <a:pt x="2858015" y="3288269"/>
                      <a:pt x="2858015" y="3307749"/>
                    </a:cubicBezTo>
                    <a:cubicBezTo>
                      <a:pt x="2858015" y="3327230"/>
                      <a:pt x="2874042" y="3343257"/>
                      <a:pt x="2893523" y="3343257"/>
                    </a:cubicBezTo>
                    <a:cubicBezTo>
                      <a:pt x="2913248" y="3343257"/>
                      <a:pt x="2929029" y="3327476"/>
                      <a:pt x="2929029" y="3307749"/>
                    </a:cubicBezTo>
                    <a:close/>
                    <a:moveTo>
                      <a:pt x="2931741" y="1643961"/>
                    </a:moveTo>
                    <a:cubicBezTo>
                      <a:pt x="2931741" y="1635330"/>
                      <a:pt x="2924591" y="1628178"/>
                      <a:pt x="2915961" y="1628178"/>
                    </a:cubicBezTo>
                    <a:cubicBezTo>
                      <a:pt x="2907330" y="1628178"/>
                      <a:pt x="2900180" y="1635330"/>
                      <a:pt x="2900180" y="1643961"/>
                    </a:cubicBezTo>
                    <a:cubicBezTo>
                      <a:pt x="2900180" y="1652589"/>
                      <a:pt x="2907330" y="1659738"/>
                      <a:pt x="2915961" y="1659738"/>
                    </a:cubicBezTo>
                    <a:cubicBezTo>
                      <a:pt x="2924591" y="1659738"/>
                      <a:pt x="2931741" y="1652589"/>
                      <a:pt x="2931741" y="1643961"/>
                    </a:cubicBezTo>
                    <a:close/>
                    <a:moveTo>
                      <a:pt x="2931742" y="2875509"/>
                    </a:moveTo>
                    <a:cubicBezTo>
                      <a:pt x="2931742" y="2862933"/>
                      <a:pt x="2921633" y="2852824"/>
                      <a:pt x="2909058" y="2852824"/>
                    </a:cubicBezTo>
                    <a:cubicBezTo>
                      <a:pt x="2896481" y="2852824"/>
                      <a:pt x="2886373" y="2862933"/>
                      <a:pt x="2886373" y="2875509"/>
                    </a:cubicBezTo>
                    <a:cubicBezTo>
                      <a:pt x="2886373" y="2888085"/>
                      <a:pt x="2896481" y="2898194"/>
                      <a:pt x="2909058" y="2898194"/>
                    </a:cubicBezTo>
                    <a:cubicBezTo>
                      <a:pt x="2921633" y="2898194"/>
                      <a:pt x="2931742" y="2888085"/>
                      <a:pt x="2931742" y="2875509"/>
                    </a:cubicBezTo>
                    <a:close/>
                    <a:moveTo>
                      <a:pt x="2933469" y="417889"/>
                    </a:moveTo>
                    <a:cubicBezTo>
                      <a:pt x="2933469" y="404078"/>
                      <a:pt x="2922125" y="392737"/>
                      <a:pt x="2908317" y="392737"/>
                    </a:cubicBezTo>
                    <a:cubicBezTo>
                      <a:pt x="2894755" y="392737"/>
                      <a:pt x="2883414" y="404078"/>
                      <a:pt x="2883414" y="417889"/>
                    </a:cubicBezTo>
                    <a:cubicBezTo>
                      <a:pt x="2883414" y="431693"/>
                      <a:pt x="2894509" y="443036"/>
                      <a:pt x="2908317" y="443036"/>
                    </a:cubicBezTo>
                    <a:cubicBezTo>
                      <a:pt x="2922373" y="443036"/>
                      <a:pt x="2933469" y="431942"/>
                      <a:pt x="2933469" y="417889"/>
                    </a:cubicBezTo>
                    <a:close/>
                    <a:moveTo>
                      <a:pt x="2933714" y="5425332"/>
                    </a:moveTo>
                    <a:cubicBezTo>
                      <a:pt x="2933714" y="5416950"/>
                      <a:pt x="2926810" y="5410045"/>
                      <a:pt x="2918425" y="5410045"/>
                    </a:cubicBezTo>
                    <a:cubicBezTo>
                      <a:pt x="2910043" y="5410045"/>
                      <a:pt x="2903139" y="5416950"/>
                      <a:pt x="2903139" y="5425332"/>
                    </a:cubicBezTo>
                    <a:cubicBezTo>
                      <a:pt x="2903139" y="5433717"/>
                      <a:pt x="2910043" y="5440620"/>
                      <a:pt x="2918425" y="5440620"/>
                    </a:cubicBezTo>
                    <a:cubicBezTo>
                      <a:pt x="2927056" y="5440620"/>
                      <a:pt x="2933960" y="5433963"/>
                      <a:pt x="2933714" y="5425332"/>
                    </a:cubicBezTo>
                    <a:close/>
                    <a:moveTo>
                      <a:pt x="2933960" y="307690"/>
                    </a:moveTo>
                    <a:cubicBezTo>
                      <a:pt x="2933960" y="293634"/>
                      <a:pt x="2922617" y="282294"/>
                      <a:pt x="2908563" y="282294"/>
                    </a:cubicBezTo>
                    <a:cubicBezTo>
                      <a:pt x="2894508" y="282294"/>
                      <a:pt x="2883165" y="293634"/>
                      <a:pt x="2883165" y="307690"/>
                    </a:cubicBezTo>
                    <a:cubicBezTo>
                      <a:pt x="2883165" y="321744"/>
                      <a:pt x="2894508" y="333085"/>
                      <a:pt x="2908563" y="333085"/>
                    </a:cubicBezTo>
                    <a:cubicBezTo>
                      <a:pt x="2922617" y="333085"/>
                      <a:pt x="2933960" y="321744"/>
                      <a:pt x="2933960" y="307690"/>
                    </a:cubicBezTo>
                    <a:close/>
                    <a:moveTo>
                      <a:pt x="2933961" y="2485937"/>
                    </a:moveTo>
                    <a:cubicBezTo>
                      <a:pt x="2933961" y="2458320"/>
                      <a:pt x="2911523" y="2435882"/>
                      <a:pt x="2883906" y="2435882"/>
                    </a:cubicBezTo>
                    <a:cubicBezTo>
                      <a:pt x="2856289" y="2435882"/>
                      <a:pt x="2833850" y="2458320"/>
                      <a:pt x="2833850" y="2485937"/>
                    </a:cubicBezTo>
                    <a:cubicBezTo>
                      <a:pt x="2833850" y="2513553"/>
                      <a:pt x="2856289" y="2535990"/>
                      <a:pt x="2883906" y="2535990"/>
                    </a:cubicBezTo>
                    <a:cubicBezTo>
                      <a:pt x="2911523" y="2535990"/>
                      <a:pt x="2933961" y="2513800"/>
                      <a:pt x="2933961" y="2485937"/>
                    </a:cubicBezTo>
                    <a:close/>
                    <a:moveTo>
                      <a:pt x="2935193" y="87547"/>
                    </a:moveTo>
                    <a:cubicBezTo>
                      <a:pt x="2935193" y="73247"/>
                      <a:pt x="2923603" y="61412"/>
                      <a:pt x="2909055" y="61412"/>
                    </a:cubicBezTo>
                    <a:cubicBezTo>
                      <a:pt x="2894755" y="61412"/>
                      <a:pt x="2882920" y="73001"/>
                      <a:pt x="2882920" y="87547"/>
                    </a:cubicBezTo>
                    <a:cubicBezTo>
                      <a:pt x="2882920" y="101849"/>
                      <a:pt x="2894509" y="113683"/>
                      <a:pt x="2909055" y="113683"/>
                    </a:cubicBezTo>
                    <a:cubicBezTo>
                      <a:pt x="2923603" y="113683"/>
                      <a:pt x="2935193" y="101849"/>
                      <a:pt x="2935193" y="87547"/>
                    </a:cubicBezTo>
                    <a:close/>
                    <a:moveTo>
                      <a:pt x="2935441" y="3647522"/>
                    </a:moveTo>
                    <a:cubicBezTo>
                      <a:pt x="2935441" y="3624591"/>
                      <a:pt x="2916699" y="3605851"/>
                      <a:pt x="2893768" y="3605851"/>
                    </a:cubicBezTo>
                    <a:cubicBezTo>
                      <a:pt x="2870838" y="3605851"/>
                      <a:pt x="2852098" y="3624591"/>
                      <a:pt x="2852098" y="3647522"/>
                    </a:cubicBezTo>
                    <a:cubicBezTo>
                      <a:pt x="2852098" y="3670453"/>
                      <a:pt x="2870838" y="3689196"/>
                      <a:pt x="2893768" y="3689196"/>
                    </a:cubicBezTo>
                    <a:cubicBezTo>
                      <a:pt x="2916699" y="3689196"/>
                      <a:pt x="2935441" y="3670453"/>
                      <a:pt x="2935441" y="3647522"/>
                    </a:cubicBezTo>
                    <a:close/>
                    <a:moveTo>
                      <a:pt x="2935441" y="3891385"/>
                    </a:moveTo>
                    <a:cubicBezTo>
                      <a:pt x="2935441" y="3866728"/>
                      <a:pt x="2915467" y="3846756"/>
                      <a:pt x="2890810" y="3846756"/>
                    </a:cubicBezTo>
                    <a:cubicBezTo>
                      <a:pt x="2866152" y="3846756"/>
                      <a:pt x="2846180" y="3866728"/>
                      <a:pt x="2846180" y="3891385"/>
                    </a:cubicBezTo>
                    <a:cubicBezTo>
                      <a:pt x="2846180" y="3916043"/>
                      <a:pt x="2866152" y="3936015"/>
                      <a:pt x="2890810" y="3936015"/>
                    </a:cubicBezTo>
                    <a:cubicBezTo>
                      <a:pt x="2915467" y="3936015"/>
                      <a:pt x="2935441" y="3916043"/>
                      <a:pt x="2935441" y="3891385"/>
                    </a:cubicBezTo>
                    <a:close/>
                    <a:moveTo>
                      <a:pt x="2935442" y="1872028"/>
                    </a:moveTo>
                    <a:cubicBezTo>
                      <a:pt x="2935442" y="1862167"/>
                      <a:pt x="2927551" y="1854280"/>
                      <a:pt x="2917688" y="1854280"/>
                    </a:cubicBezTo>
                    <a:cubicBezTo>
                      <a:pt x="2907825" y="1854280"/>
                      <a:pt x="2899935" y="1862167"/>
                      <a:pt x="2899935" y="1872028"/>
                    </a:cubicBezTo>
                    <a:cubicBezTo>
                      <a:pt x="2899935" y="1881889"/>
                      <a:pt x="2907825" y="1889777"/>
                      <a:pt x="2917688" y="1889777"/>
                    </a:cubicBezTo>
                    <a:cubicBezTo>
                      <a:pt x="2927305" y="1889777"/>
                      <a:pt x="2935442" y="1881889"/>
                      <a:pt x="2935442" y="1872028"/>
                    </a:cubicBezTo>
                    <a:close/>
                    <a:moveTo>
                      <a:pt x="2935686" y="1530547"/>
                    </a:moveTo>
                    <a:cubicBezTo>
                      <a:pt x="2935686" y="1519452"/>
                      <a:pt x="2926809" y="1510574"/>
                      <a:pt x="2915713" y="1510574"/>
                    </a:cubicBezTo>
                    <a:cubicBezTo>
                      <a:pt x="2904618" y="1510574"/>
                      <a:pt x="2895741" y="1519452"/>
                      <a:pt x="2895741" y="1530547"/>
                    </a:cubicBezTo>
                    <a:cubicBezTo>
                      <a:pt x="2895741" y="1541646"/>
                      <a:pt x="2904618" y="1550520"/>
                      <a:pt x="2915713" y="1550520"/>
                    </a:cubicBezTo>
                    <a:cubicBezTo>
                      <a:pt x="2926809" y="1550520"/>
                      <a:pt x="2935686" y="1541646"/>
                      <a:pt x="2935686" y="1530547"/>
                    </a:cubicBezTo>
                    <a:close/>
                    <a:moveTo>
                      <a:pt x="2935932" y="197495"/>
                    </a:moveTo>
                    <a:cubicBezTo>
                      <a:pt x="2935932" y="182701"/>
                      <a:pt x="2923851" y="170867"/>
                      <a:pt x="2909303" y="170867"/>
                    </a:cubicBezTo>
                    <a:cubicBezTo>
                      <a:pt x="2894508" y="170867"/>
                      <a:pt x="2882673" y="182948"/>
                      <a:pt x="2882673" y="197495"/>
                    </a:cubicBezTo>
                    <a:cubicBezTo>
                      <a:pt x="2882673" y="212289"/>
                      <a:pt x="2894754" y="224124"/>
                      <a:pt x="2909303" y="224124"/>
                    </a:cubicBezTo>
                    <a:cubicBezTo>
                      <a:pt x="2923851" y="224124"/>
                      <a:pt x="2935686" y="212043"/>
                      <a:pt x="2935932" y="197495"/>
                    </a:cubicBezTo>
                    <a:close/>
                    <a:moveTo>
                      <a:pt x="2938401" y="1757627"/>
                    </a:moveTo>
                    <a:cubicBezTo>
                      <a:pt x="2938401" y="1745541"/>
                      <a:pt x="2928538" y="1735918"/>
                      <a:pt x="2916702" y="1735918"/>
                    </a:cubicBezTo>
                    <a:cubicBezTo>
                      <a:pt x="2904867" y="1735918"/>
                      <a:pt x="2895003" y="1745786"/>
                      <a:pt x="2895003" y="1757627"/>
                    </a:cubicBezTo>
                    <a:cubicBezTo>
                      <a:pt x="2895003" y="1769716"/>
                      <a:pt x="2904620" y="1779335"/>
                      <a:pt x="2916702" y="1779335"/>
                    </a:cubicBezTo>
                    <a:cubicBezTo>
                      <a:pt x="2928784" y="1779335"/>
                      <a:pt x="2938401" y="1769468"/>
                      <a:pt x="2938401" y="1757627"/>
                    </a:cubicBezTo>
                    <a:close/>
                    <a:moveTo>
                      <a:pt x="2940616" y="1417879"/>
                    </a:moveTo>
                    <a:cubicBezTo>
                      <a:pt x="2940616" y="1403820"/>
                      <a:pt x="2929274" y="1392478"/>
                      <a:pt x="2915220" y="1392478"/>
                    </a:cubicBezTo>
                    <a:cubicBezTo>
                      <a:pt x="2901166" y="1392478"/>
                      <a:pt x="2889823" y="1403820"/>
                      <a:pt x="2889823" y="1417879"/>
                    </a:cubicBezTo>
                    <a:cubicBezTo>
                      <a:pt x="2889823" y="1431930"/>
                      <a:pt x="2901166" y="1443270"/>
                      <a:pt x="2915220" y="1443270"/>
                    </a:cubicBezTo>
                    <a:cubicBezTo>
                      <a:pt x="2929274" y="1443270"/>
                      <a:pt x="2940616" y="1431930"/>
                      <a:pt x="2940616" y="1417879"/>
                    </a:cubicBezTo>
                    <a:close/>
                    <a:moveTo>
                      <a:pt x="2941851" y="4852045"/>
                    </a:moveTo>
                    <a:cubicBezTo>
                      <a:pt x="2941851" y="4840704"/>
                      <a:pt x="2932480" y="4831332"/>
                      <a:pt x="2921139" y="4831332"/>
                    </a:cubicBezTo>
                    <a:cubicBezTo>
                      <a:pt x="2909795" y="4831332"/>
                      <a:pt x="2900427" y="4840704"/>
                      <a:pt x="2900427" y="4852045"/>
                    </a:cubicBezTo>
                    <a:cubicBezTo>
                      <a:pt x="2900427" y="4863388"/>
                      <a:pt x="2909795" y="4872757"/>
                      <a:pt x="2921139" y="4872757"/>
                    </a:cubicBezTo>
                    <a:cubicBezTo>
                      <a:pt x="2932480" y="4872757"/>
                      <a:pt x="2941851" y="4863388"/>
                      <a:pt x="2941851" y="4852045"/>
                    </a:cubicBezTo>
                    <a:close/>
                    <a:moveTo>
                      <a:pt x="2942096" y="4737633"/>
                    </a:moveTo>
                    <a:cubicBezTo>
                      <a:pt x="2942096" y="4730483"/>
                      <a:pt x="2936426" y="4724811"/>
                      <a:pt x="2929276" y="4724811"/>
                    </a:cubicBezTo>
                    <a:cubicBezTo>
                      <a:pt x="2922125" y="4724811"/>
                      <a:pt x="2916453" y="4730483"/>
                      <a:pt x="2916453" y="4737633"/>
                    </a:cubicBezTo>
                    <a:cubicBezTo>
                      <a:pt x="2916453" y="4744783"/>
                      <a:pt x="2922125" y="4750455"/>
                      <a:pt x="2929276" y="4750455"/>
                    </a:cubicBezTo>
                    <a:cubicBezTo>
                      <a:pt x="2936426" y="4750455"/>
                      <a:pt x="2942096" y="4744537"/>
                      <a:pt x="2942096" y="4737633"/>
                    </a:cubicBezTo>
                    <a:close/>
                    <a:moveTo>
                      <a:pt x="2943330" y="3017041"/>
                    </a:moveTo>
                    <a:cubicBezTo>
                      <a:pt x="2943330" y="3007424"/>
                      <a:pt x="2935442" y="2999533"/>
                      <a:pt x="2925825" y="2999533"/>
                    </a:cubicBezTo>
                    <a:cubicBezTo>
                      <a:pt x="2916207" y="2999533"/>
                      <a:pt x="2908317" y="3007424"/>
                      <a:pt x="2908317" y="3017041"/>
                    </a:cubicBezTo>
                    <a:cubicBezTo>
                      <a:pt x="2908317" y="3026656"/>
                      <a:pt x="2916207" y="3034546"/>
                      <a:pt x="2925825" y="3034546"/>
                    </a:cubicBezTo>
                    <a:cubicBezTo>
                      <a:pt x="2935442" y="3034546"/>
                      <a:pt x="2943330" y="3026656"/>
                      <a:pt x="2943330" y="3017041"/>
                    </a:cubicBezTo>
                    <a:close/>
                    <a:moveTo>
                      <a:pt x="2944318" y="5312157"/>
                    </a:moveTo>
                    <a:cubicBezTo>
                      <a:pt x="2944318" y="5298102"/>
                      <a:pt x="2932729" y="5286512"/>
                      <a:pt x="2918675" y="5286512"/>
                    </a:cubicBezTo>
                    <a:cubicBezTo>
                      <a:pt x="2904620" y="5286512"/>
                      <a:pt x="2893030" y="5298102"/>
                      <a:pt x="2893030" y="5312157"/>
                    </a:cubicBezTo>
                    <a:cubicBezTo>
                      <a:pt x="2893030" y="5326211"/>
                      <a:pt x="2904620" y="5337801"/>
                      <a:pt x="2918675" y="5337801"/>
                    </a:cubicBezTo>
                    <a:cubicBezTo>
                      <a:pt x="2932974" y="5337801"/>
                      <a:pt x="2944318" y="5326458"/>
                      <a:pt x="2944318" y="5312157"/>
                    </a:cubicBezTo>
                    <a:close/>
                    <a:moveTo>
                      <a:pt x="2945796" y="5083826"/>
                    </a:moveTo>
                    <a:cubicBezTo>
                      <a:pt x="2945796" y="5069526"/>
                      <a:pt x="2934206" y="5057690"/>
                      <a:pt x="2919658" y="5057690"/>
                    </a:cubicBezTo>
                    <a:cubicBezTo>
                      <a:pt x="2905358" y="5057690"/>
                      <a:pt x="2893523" y="5069280"/>
                      <a:pt x="2893523" y="5083826"/>
                    </a:cubicBezTo>
                    <a:cubicBezTo>
                      <a:pt x="2893523" y="5098129"/>
                      <a:pt x="2905113" y="5109965"/>
                      <a:pt x="2919658" y="5109965"/>
                    </a:cubicBezTo>
                    <a:cubicBezTo>
                      <a:pt x="2933961" y="5109965"/>
                      <a:pt x="2945796" y="5098375"/>
                      <a:pt x="2945796" y="5083826"/>
                    </a:cubicBezTo>
                    <a:close/>
                    <a:moveTo>
                      <a:pt x="2954672" y="1987383"/>
                    </a:moveTo>
                    <a:cubicBezTo>
                      <a:pt x="2954672" y="1967661"/>
                      <a:pt x="2938646" y="1951393"/>
                      <a:pt x="2918671" y="1951393"/>
                    </a:cubicBezTo>
                    <a:cubicBezTo>
                      <a:pt x="2898945" y="1951393"/>
                      <a:pt x="2882673" y="1967416"/>
                      <a:pt x="2882673" y="1987383"/>
                    </a:cubicBezTo>
                    <a:cubicBezTo>
                      <a:pt x="2882673" y="2007107"/>
                      <a:pt x="2898699" y="2023378"/>
                      <a:pt x="2918671" y="2023378"/>
                    </a:cubicBezTo>
                    <a:cubicBezTo>
                      <a:pt x="2938646" y="2023378"/>
                      <a:pt x="2954672" y="2007107"/>
                      <a:pt x="2954672" y="1987383"/>
                    </a:cubicBezTo>
                    <a:close/>
                    <a:moveTo>
                      <a:pt x="2958618" y="2103518"/>
                    </a:moveTo>
                    <a:cubicBezTo>
                      <a:pt x="2958618" y="2082063"/>
                      <a:pt x="2941111" y="2064555"/>
                      <a:pt x="2919661" y="2064555"/>
                    </a:cubicBezTo>
                    <a:cubicBezTo>
                      <a:pt x="2898208" y="2064555"/>
                      <a:pt x="2880700" y="2082063"/>
                      <a:pt x="2880700" y="2103518"/>
                    </a:cubicBezTo>
                    <a:cubicBezTo>
                      <a:pt x="2880700" y="2124970"/>
                      <a:pt x="2898208" y="2142479"/>
                      <a:pt x="2919661" y="2142479"/>
                    </a:cubicBezTo>
                    <a:cubicBezTo>
                      <a:pt x="2941111" y="2142479"/>
                      <a:pt x="2958618" y="2124970"/>
                      <a:pt x="2958618" y="2103518"/>
                    </a:cubicBezTo>
                    <a:close/>
                    <a:moveTo>
                      <a:pt x="2964536" y="4498211"/>
                    </a:moveTo>
                    <a:cubicBezTo>
                      <a:pt x="2964536" y="4481690"/>
                      <a:pt x="2950973" y="4468127"/>
                      <a:pt x="2934455" y="4468127"/>
                    </a:cubicBezTo>
                    <a:cubicBezTo>
                      <a:pt x="2917933" y="4468127"/>
                      <a:pt x="2904371" y="4481690"/>
                      <a:pt x="2904371" y="4498211"/>
                    </a:cubicBezTo>
                    <a:cubicBezTo>
                      <a:pt x="2904371" y="4514730"/>
                      <a:pt x="2917933" y="4528292"/>
                      <a:pt x="2934455" y="4528292"/>
                    </a:cubicBezTo>
                    <a:cubicBezTo>
                      <a:pt x="2950973" y="4528292"/>
                      <a:pt x="2964536" y="4514975"/>
                      <a:pt x="2964536" y="4498211"/>
                    </a:cubicBezTo>
                    <a:close/>
                    <a:moveTo>
                      <a:pt x="2965027" y="4619032"/>
                    </a:moveTo>
                    <a:cubicBezTo>
                      <a:pt x="2965027" y="4600537"/>
                      <a:pt x="2949988" y="4585496"/>
                      <a:pt x="2931493" y="4585496"/>
                    </a:cubicBezTo>
                    <a:cubicBezTo>
                      <a:pt x="2912999" y="4585496"/>
                      <a:pt x="2897959" y="4600537"/>
                      <a:pt x="2897959" y="4619032"/>
                    </a:cubicBezTo>
                    <a:cubicBezTo>
                      <a:pt x="2897959" y="4637526"/>
                      <a:pt x="2912999" y="4652566"/>
                      <a:pt x="2931493" y="4652566"/>
                    </a:cubicBezTo>
                    <a:cubicBezTo>
                      <a:pt x="2949988" y="4652566"/>
                      <a:pt x="2965273" y="4637279"/>
                      <a:pt x="2965027" y="4619032"/>
                    </a:cubicBezTo>
                    <a:close/>
                    <a:moveTo>
                      <a:pt x="2965522" y="4249167"/>
                    </a:moveTo>
                    <a:cubicBezTo>
                      <a:pt x="2965522" y="4237087"/>
                      <a:pt x="2955905" y="4227469"/>
                      <a:pt x="2944070" y="4227469"/>
                    </a:cubicBezTo>
                    <a:cubicBezTo>
                      <a:pt x="2932233" y="4227469"/>
                      <a:pt x="2922617" y="4237332"/>
                      <a:pt x="2922617" y="4249167"/>
                    </a:cubicBezTo>
                    <a:cubicBezTo>
                      <a:pt x="2922617" y="4261003"/>
                      <a:pt x="2932233" y="4270621"/>
                      <a:pt x="2944070" y="4270621"/>
                    </a:cubicBezTo>
                    <a:cubicBezTo>
                      <a:pt x="2955905" y="4270621"/>
                      <a:pt x="2965522" y="4260757"/>
                      <a:pt x="2965522" y="4249167"/>
                    </a:cubicBezTo>
                    <a:close/>
                    <a:moveTo>
                      <a:pt x="2966263" y="4968428"/>
                    </a:moveTo>
                    <a:cubicBezTo>
                      <a:pt x="2966263" y="4943031"/>
                      <a:pt x="2945550" y="4922318"/>
                      <a:pt x="2920152" y="4922318"/>
                    </a:cubicBezTo>
                    <a:cubicBezTo>
                      <a:pt x="2894754" y="4922318"/>
                      <a:pt x="2874042" y="4943031"/>
                      <a:pt x="2874042" y="4968428"/>
                    </a:cubicBezTo>
                    <a:cubicBezTo>
                      <a:pt x="2874042" y="4994072"/>
                      <a:pt x="2894754" y="5014785"/>
                      <a:pt x="2920152" y="5014785"/>
                    </a:cubicBezTo>
                    <a:cubicBezTo>
                      <a:pt x="2945796" y="5014785"/>
                      <a:pt x="2966508" y="4994072"/>
                      <a:pt x="2966263" y="4968428"/>
                    </a:cubicBezTo>
                    <a:close/>
                    <a:moveTo>
                      <a:pt x="2966508" y="4118481"/>
                    </a:moveTo>
                    <a:cubicBezTo>
                      <a:pt x="2966508" y="4110591"/>
                      <a:pt x="2960342" y="4104181"/>
                      <a:pt x="2952454" y="4104181"/>
                    </a:cubicBezTo>
                    <a:cubicBezTo>
                      <a:pt x="2944561" y="4104181"/>
                      <a:pt x="2938152" y="4110591"/>
                      <a:pt x="2938152" y="4118481"/>
                    </a:cubicBezTo>
                    <a:cubicBezTo>
                      <a:pt x="2938152" y="4126372"/>
                      <a:pt x="2944561" y="4132784"/>
                      <a:pt x="2952454" y="4132784"/>
                    </a:cubicBezTo>
                    <a:cubicBezTo>
                      <a:pt x="2960342" y="4132784"/>
                      <a:pt x="2966508" y="4126372"/>
                      <a:pt x="2966508" y="4118481"/>
                    </a:cubicBezTo>
                    <a:close/>
                    <a:moveTo>
                      <a:pt x="2967741" y="3201229"/>
                    </a:moveTo>
                    <a:cubicBezTo>
                      <a:pt x="2967741" y="3183230"/>
                      <a:pt x="2953192" y="3168681"/>
                      <a:pt x="2935193" y="3168681"/>
                    </a:cubicBezTo>
                    <a:cubicBezTo>
                      <a:pt x="2917193" y="3168681"/>
                      <a:pt x="2902645" y="3183230"/>
                      <a:pt x="2902645" y="3201229"/>
                    </a:cubicBezTo>
                    <a:cubicBezTo>
                      <a:pt x="2902645" y="3219229"/>
                      <a:pt x="2917193" y="3233778"/>
                      <a:pt x="2935193" y="3233778"/>
                    </a:cubicBezTo>
                    <a:cubicBezTo>
                      <a:pt x="2953192" y="3233778"/>
                      <a:pt x="2967741" y="3218983"/>
                      <a:pt x="2967741" y="3201229"/>
                    </a:cubicBezTo>
                    <a:close/>
                    <a:moveTo>
                      <a:pt x="2967741" y="4375415"/>
                    </a:moveTo>
                    <a:cubicBezTo>
                      <a:pt x="2967741" y="4359385"/>
                      <a:pt x="2954673" y="4346318"/>
                      <a:pt x="2938643" y="4346318"/>
                    </a:cubicBezTo>
                    <a:cubicBezTo>
                      <a:pt x="2922617" y="4346318"/>
                      <a:pt x="2909549" y="4359385"/>
                      <a:pt x="2909549" y="4375415"/>
                    </a:cubicBezTo>
                    <a:cubicBezTo>
                      <a:pt x="2909549" y="4391441"/>
                      <a:pt x="2922617" y="4404509"/>
                      <a:pt x="2938643" y="4404509"/>
                    </a:cubicBezTo>
                    <a:cubicBezTo>
                      <a:pt x="2954673" y="4404509"/>
                      <a:pt x="2967741" y="4391441"/>
                      <a:pt x="2967741" y="4375415"/>
                    </a:cubicBezTo>
                    <a:close/>
                    <a:moveTo>
                      <a:pt x="2977851" y="3754044"/>
                    </a:moveTo>
                    <a:cubicBezTo>
                      <a:pt x="2977851" y="3730619"/>
                      <a:pt x="2958864" y="3711387"/>
                      <a:pt x="2935192" y="3711387"/>
                    </a:cubicBezTo>
                    <a:cubicBezTo>
                      <a:pt x="2911767" y="3711387"/>
                      <a:pt x="2892536" y="3730372"/>
                      <a:pt x="2892536" y="3754044"/>
                    </a:cubicBezTo>
                    <a:cubicBezTo>
                      <a:pt x="2892536" y="3777715"/>
                      <a:pt x="2911521" y="3796950"/>
                      <a:pt x="2935192" y="3796950"/>
                    </a:cubicBezTo>
                    <a:cubicBezTo>
                      <a:pt x="2958618" y="3796950"/>
                      <a:pt x="2977851" y="3777715"/>
                      <a:pt x="2977851" y="3754044"/>
                    </a:cubicBezTo>
                    <a:close/>
                    <a:moveTo>
                      <a:pt x="2989439" y="3477633"/>
                    </a:moveTo>
                    <a:cubicBezTo>
                      <a:pt x="2989439" y="3471640"/>
                      <a:pt x="2984583" y="3466783"/>
                      <a:pt x="2978591" y="3466783"/>
                    </a:cubicBezTo>
                    <a:cubicBezTo>
                      <a:pt x="2972597" y="3466783"/>
                      <a:pt x="2967741" y="3471640"/>
                      <a:pt x="2967741" y="3477633"/>
                    </a:cubicBezTo>
                    <a:cubicBezTo>
                      <a:pt x="2967741" y="3483626"/>
                      <a:pt x="2972597" y="3488483"/>
                      <a:pt x="2978591" y="3488483"/>
                    </a:cubicBezTo>
                    <a:cubicBezTo>
                      <a:pt x="2984583" y="3488483"/>
                      <a:pt x="2989439" y="3483626"/>
                      <a:pt x="2989439" y="3477633"/>
                    </a:cubicBezTo>
                    <a:close/>
                    <a:moveTo>
                      <a:pt x="2991658" y="3363717"/>
                    </a:moveTo>
                    <a:cubicBezTo>
                      <a:pt x="2991658" y="3363471"/>
                      <a:pt x="2991411" y="3363225"/>
                      <a:pt x="2991166" y="3363225"/>
                    </a:cubicBezTo>
                    <a:cubicBezTo>
                      <a:pt x="2990917" y="3363225"/>
                      <a:pt x="2990671" y="3363471"/>
                      <a:pt x="2990671" y="3363717"/>
                    </a:cubicBezTo>
                    <a:cubicBezTo>
                      <a:pt x="2990671" y="3363965"/>
                      <a:pt x="2990917" y="3364211"/>
                      <a:pt x="2991166" y="3364211"/>
                    </a:cubicBezTo>
                    <a:cubicBezTo>
                      <a:pt x="2991658" y="3364211"/>
                      <a:pt x="2991904" y="3363965"/>
                      <a:pt x="2991658" y="3363717"/>
                    </a:cubicBezTo>
                    <a:close/>
                    <a:moveTo>
                      <a:pt x="2992401" y="1070003"/>
                    </a:moveTo>
                    <a:cubicBezTo>
                      <a:pt x="2992401" y="1056179"/>
                      <a:pt x="2981304" y="1045098"/>
                      <a:pt x="2967495" y="1045098"/>
                    </a:cubicBezTo>
                    <a:cubicBezTo>
                      <a:pt x="2953687" y="1045098"/>
                      <a:pt x="2942592" y="1056179"/>
                      <a:pt x="2942592" y="1070003"/>
                    </a:cubicBezTo>
                    <a:cubicBezTo>
                      <a:pt x="2942592" y="1083810"/>
                      <a:pt x="2953687" y="1094908"/>
                      <a:pt x="2967495" y="1094908"/>
                    </a:cubicBezTo>
                    <a:cubicBezTo>
                      <a:pt x="2981304" y="1094908"/>
                      <a:pt x="2992401" y="1083565"/>
                      <a:pt x="2992401" y="1070003"/>
                    </a:cubicBezTo>
                    <a:close/>
                    <a:moveTo>
                      <a:pt x="2994617" y="848118"/>
                    </a:moveTo>
                    <a:cubicBezTo>
                      <a:pt x="2994617" y="833820"/>
                      <a:pt x="2983029" y="822228"/>
                      <a:pt x="2968727" y="822228"/>
                    </a:cubicBezTo>
                    <a:cubicBezTo>
                      <a:pt x="2954427" y="822228"/>
                      <a:pt x="2942838" y="833820"/>
                      <a:pt x="2942838" y="848118"/>
                    </a:cubicBezTo>
                    <a:cubicBezTo>
                      <a:pt x="2942838" y="862419"/>
                      <a:pt x="2954427" y="874001"/>
                      <a:pt x="2968727" y="874001"/>
                    </a:cubicBezTo>
                    <a:cubicBezTo>
                      <a:pt x="2983029" y="874001"/>
                      <a:pt x="2994617" y="862419"/>
                      <a:pt x="2994617" y="848118"/>
                    </a:cubicBezTo>
                    <a:close/>
                    <a:moveTo>
                      <a:pt x="2994865" y="959062"/>
                    </a:moveTo>
                    <a:cubicBezTo>
                      <a:pt x="2994865" y="944016"/>
                      <a:pt x="2982783" y="931931"/>
                      <a:pt x="2967743" y="931931"/>
                    </a:cubicBezTo>
                    <a:cubicBezTo>
                      <a:pt x="2952700" y="931931"/>
                      <a:pt x="2940619" y="944016"/>
                      <a:pt x="2940619" y="959062"/>
                    </a:cubicBezTo>
                    <a:cubicBezTo>
                      <a:pt x="2940619" y="974099"/>
                      <a:pt x="2952700" y="986182"/>
                      <a:pt x="2967743" y="986182"/>
                    </a:cubicBezTo>
                    <a:cubicBezTo>
                      <a:pt x="2982783" y="986182"/>
                      <a:pt x="2995110" y="973853"/>
                      <a:pt x="2994865" y="959062"/>
                    </a:cubicBezTo>
                    <a:close/>
                    <a:moveTo>
                      <a:pt x="2995606" y="1292622"/>
                    </a:moveTo>
                    <a:cubicBezTo>
                      <a:pt x="2995606" y="1276846"/>
                      <a:pt x="2982783" y="1263771"/>
                      <a:pt x="2966755" y="1263771"/>
                    </a:cubicBezTo>
                    <a:cubicBezTo>
                      <a:pt x="2950974" y="1263771"/>
                      <a:pt x="2937906" y="1276598"/>
                      <a:pt x="2937906" y="1292622"/>
                    </a:cubicBezTo>
                    <a:cubicBezTo>
                      <a:pt x="2937906" y="1308406"/>
                      <a:pt x="2950728" y="1321473"/>
                      <a:pt x="2966755" y="1321473"/>
                    </a:cubicBezTo>
                    <a:cubicBezTo>
                      <a:pt x="2982783" y="1321473"/>
                      <a:pt x="2995606" y="1308406"/>
                      <a:pt x="2995606" y="1292622"/>
                    </a:cubicBezTo>
                    <a:close/>
                    <a:moveTo>
                      <a:pt x="2996095" y="1180944"/>
                    </a:moveTo>
                    <a:cubicBezTo>
                      <a:pt x="2996095" y="1164918"/>
                      <a:pt x="2983275" y="1152097"/>
                      <a:pt x="2967246" y="1152097"/>
                    </a:cubicBezTo>
                    <a:cubicBezTo>
                      <a:pt x="2951220" y="1152097"/>
                      <a:pt x="2938398" y="1164918"/>
                      <a:pt x="2938398" y="1180944"/>
                    </a:cubicBezTo>
                    <a:cubicBezTo>
                      <a:pt x="2938398" y="1196974"/>
                      <a:pt x="2951220" y="1209795"/>
                      <a:pt x="2967246" y="1209795"/>
                    </a:cubicBezTo>
                    <a:cubicBezTo>
                      <a:pt x="2983275" y="1209795"/>
                      <a:pt x="2996095" y="1196974"/>
                      <a:pt x="2996095" y="1180944"/>
                    </a:cubicBezTo>
                    <a:close/>
                    <a:moveTo>
                      <a:pt x="2997577" y="517235"/>
                    </a:moveTo>
                    <a:cubicBezTo>
                      <a:pt x="2997577" y="501701"/>
                      <a:pt x="2984755" y="488879"/>
                      <a:pt x="2969223" y="488879"/>
                    </a:cubicBezTo>
                    <a:cubicBezTo>
                      <a:pt x="2953687" y="488879"/>
                      <a:pt x="2940865" y="501701"/>
                      <a:pt x="2940865" y="517235"/>
                    </a:cubicBezTo>
                    <a:cubicBezTo>
                      <a:pt x="2940865" y="532767"/>
                      <a:pt x="2953687" y="545588"/>
                      <a:pt x="2969223" y="545588"/>
                    </a:cubicBezTo>
                    <a:cubicBezTo>
                      <a:pt x="2984755" y="545588"/>
                      <a:pt x="2997577" y="532767"/>
                      <a:pt x="2997577" y="517235"/>
                    </a:cubicBezTo>
                    <a:close/>
                    <a:moveTo>
                      <a:pt x="2997578" y="627185"/>
                    </a:moveTo>
                    <a:cubicBezTo>
                      <a:pt x="2997578" y="611405"/>
                      <a:pt x="2984756" y="598584"/>
                      <a:pt x="2968976" y="598584"/>
                    </a:cubicBezTo>
                    <a:cubicBezTo>
                      <a:pt x="2953195" y="598584"/>
                      <a:pt x="2940373" y="611405"/>
                      <a:pt x="2940373" y="627185"/>
                    </a:cubicBezTo>
                    <a:cubicBezTo>
                      <a:pt x="2940373" y="642996"/>
                      <a:pt x="2953195" y="655828"/>
                      <a:pt x="2968976" y="655828"/>
                    </a:cubicBezTo>
                    <a:cubicBezTo>
                      <a:pt x="2984756" y="655828"/>
                      <a:pt x="2997578" y="642996"/>
                      <a:pt x="2997578" y="627185"/>
                    </a:cubicBezTo>
                    <a:close/>
                    <a:moveTo>
                      <a:pt x="2998070" y="737668"/>
                    </a:moveTo>
                    <a:cubicBezTo>
                      <a:pt x="2998070" y="721641"/>
                      <a:pt x="2985003" y="708571"/>
                      <a:pt x="2968976" y="708571"/>
                    </a:cubicBezTo>
                    <a:cubicBezTo>
                      <a:pt x="2952946" y="708571"/>
                      <a:pt x="2939879" y="721641"/>
                      <a:pt x="2939879" y="737668"/>
                    </a:cubicBezTo>
                    <a:cubicBezTo>
                      <a:pt x="2939879" y="753698"/>
                      <a:pt x="2952946" y="766767"/>
                      <a:pt x="2968976" y="766767"/>
                    </a:cubicBezTo>
                    <a:cubicBezTo>
                      <a:pt x="2985003" y="766767"/>
                      <a:pt x="2998070" y="753698"/>
                      <a:pt x="2998070" y="737668"/>
                    </a:cubicBezTo>
                    <a:close/>
                    <a:moveTo>
                      <a:pt x="3009658" y="3982125"/>
                    </a:moveTo>
                    <a:cubicBezTo>
                      <a:pt x="3009658" y="3957468"/>
                      <a:pt x="2989686" y="3937496"/>
                      <a:pt x="2965028" y="3937496"/>
                    </a:cubicBezTo>
                    <a:cubicBezTo>
                      <a:pt x="2940371" y="3937496"/>
                      <a:pt x="2920399" y="3957468"/>
                      <a:pt x="2920399" y="3982125"/>
                    </a:cubicBezTo>
                    <a:cubicBezTo>
                      <a:pt x="2920399" y="4006783"/>
                      <a:pt x="2940371" y="4026758"/>
                      <a:pt x="2965028" y="4026758"/>
                    </a:cubicBezTo>
                    <a:cubicBezTo>
                      <a:pt x="2989686" y="4026758"/>
                      <a:pt x="3009658" y="4006783"/>
                      <a:pt x="3009658" y="3982125"/>
                    </a:cubicBezTo>
                    <a:close/>
                    <a:moveTo>
                      <a:pt x="3018290" y="2932465"/>
                    </a:moveTo>
                    <a:cubicBezTo>
                      <a:pt x="3018290" y="2926298"/>
                      <a:pt x="3013113" y="2921121"/>
                      <a:pt x="3006947" y="2921121"/>
                    </a:cubicBezTo>
                    <a:cubicBezTo>
                      <a:pt x="3000783" y="2921121"/>
                      <a:pt x="2995606" y="2926298"/>
                      <a:pt x="2995606" y="2932465"/>
                    </a:cubicBezTo>
                    <a:cubicBezTo>
                      <a:pt x="2995606" y="2938629"/>
                      <a:pt x="3000783" y="2943805"/>
                      <a:pt x="3006947" y="2943805"/>
                    </a:cubicBezTo>
                    <a:cubicBezTo>
                      <a:pt x="3013359" y="2943805"/>
                      <a:pt x="3018290" y="2938874"/>
                      <a:pt x="3018290" y="2932465"/>
                    </a:cubicBezTo>
                    <a:close/>
                    <a:moveTo>
                      <a:pt x="3019274" y="2673570"/>
                    </a:moveTo>
                    <a:cubicBezTo>
                      <a:pt x="3019274" y="2659021"/>
                      <a:pt x="3007441" y="2647185"/>
                      <a:pt x="2992893" y="2647185"/>
                    </a:cubicBezTo>
                    <a:cubicBezTo>
                      <a:pt x="2978344" y="2647185"/>
                      <a:pt x="2966508" y="2659021"/>
                      <a:pt x="2966508" y="2673570"/>
                    </a:cubicBezTo>
                    <a:cubicBezTo>
                      <a:pt x="2966508" y="2688119"/>
                      <a:pt x="2978344" y="2699952"/>
                      <a:pt x="2992893" y="2699952"/>
                    </a:cubicBezTo>
                    <a:cubicBezTo>
                      <a:pt x="3007192" y="2699952"/>
                      <a:pt x="3019028" y="2688365"/>
                      <a:pt x="3019274" y="2673570"/>
                    </a:cubicBezTo>
                    <a:close/>
                    <a:moveTo>
                      <a:pt x="3019769" y="2800307"/>
                    </a:moveTo>
                    <a:cubicBezTo>
                      <a:pt x="3019769" y="2788471"/>
                      <a:pt x="3010151" y="2779100"/>
                      <a:pt x="2998564" y="2779100"/>
                    </a:cubicBezTo>
                    <a:cubicBezTo>
                      <a:pt x="2986729" y="2779100"/>
                      <a:pt x="2977358" y="2788717"/>
                      <a:pt x="2977358" y="2800307"/>
                    </a:cubicBezTo>
                    <a:cubicBezTo>
                      <a:pt x="2977358" y="2812140"/>
                      <a:pt x="2986975" y="2821511"/>
                      <a:pt x="2998564" y="2821511"/>
                    </a:cubicBezTo>
                    <a:cubicBezTo>
                      <a:pt x="3010151" y="2821511"/>
                      <a:pt x="3019522" y="2812140"/>
                      <a:pt x="3019769" y="2800307"/>
                    </a:cubicBezTo>
                    <a:close/>
                    <a:moveTo>
                      <a:pt x="3020016" y="2312107"/>
                    </a:moveTo>
                    <a:cubicBezTo>
                      <a:pt x="3020016" y="2291890"/>
                      <a:pt x="3003496" y="2275366"/>
                      <a:pt x="2983276" y="2275366"/>
                    </a:cubicBezTo>
                    <a:cubicBezTo>
                      <a:pt x="2963058" y="2275366"/>
                      <a:pt x="2946538" y="2291890"/>
                      <a:pt x="2946538" y="2312107"/>
                    </a:cubicBezTo>
                    <a:cubicBezTo>
                      <a:pt x="2946538" y="2332573"/>
                      <a:pt x="2963058" y="2349099"/>
                      <a:pt x="2983276" y="2349099"/>
                    </a:cubicBezTo>
                    <a:cubicBezTo>
                      <a:pt x="3003496" y="2349099"/>
                      <a:pt x="3020016" y="2332573"/>
                      <a:pt x="3020016" y="2312107"/>
                    </a:cubicBezTo>
                    <a:close/>
                    <a:moveTo>
                      <a:pt x="3020261" y="2195486"/>
                    </a:moveTo>
                    <a:cubicBezTo>
                      <a:pt x="3020261" y="2174034"/>
                      <a:pt x="3003002" y="2156773"/>
                      <a:pt x="2981549" y="2156773"/>
                    </a:cubicBezTo>
                    <a:cubicBezTo>
                      <a:pt x="2960096" y="2156773"/>
                      <a:pt x="2942838" y="2174034"/>
                      <a:pt x="2942838" y="2195486"/>
                    </a:cubicBezTo>
                    <a:cubicBezTo>
                      <a:pt x="2942838" y="2216942"/>
                      <a:pt x="2960096" y="2234196"/>
                      <a:pt x="2981549" y="2234196"/>
                    </a:cubicBezTo>
                    <a:cubicBezTo>
                      <a:pt x="3002756" y="2234196"/>
                      <a:pt x="3020261" y="2216942"/>
                      <a:pt x="3020261" y="2195486"/>
                    </a:cubicBezTo>
                    <a:close/>
                    <a:moveTo>
                      <a:pt x="3020509" y="2550781"/>
                    </a:moveTo>
                    <a:cubicBezTo>
                      <a:pt x="3020509" y="2533028"/>
                      <a:pt x="3006209" y="2518725"/>
                      <a:pt x="2988456" y="2518725"/>
                    </a:cubicBezTo>
                    <a:cubicBezTo>
                      <a:pt x="2970701" y="2518725"/>
                      <a:pt x="2956399" y="2533028"/>
                      <a:pt x="2956399" y="2550781"/>
                    </a:cubicBezTo>
                    <a:cubicBezTo>
                      <a:pt x="2956399" y="2568532"/>
                      <a:pt x="2970701" y="2582835"/>
                      <a:pt x="2988456" y="2582835"/>
                    </a:cubicBezTo>
                    <a:cubicBezTo>
                      <a:pt x="3006209" y="2582835"/>
                      <a:pt x="3020509" y="2568532"/>
                      <a:pt x="3020509" y="2550781"/>
                    </a:cubicBezTo>
                    <a:close/>
                    <a:moveTo>
                      <a:pt x="3023963" y="3591549"/>
                    </a:moveTo>
                    <a:cubicBezTo>
                      <a:pt x="3023963" y="3573550"/>
                      <a:pt x="3009166" y="3558755"/>
                      <a:pt x="2991167" y="3558755"/>
                    </a:cubicBezTo>
                    <a:cubicBezTo>
                      <a:pt x="2973167" y="3558755"/>
                      <a:pt x="2958373" y="3573550"/>
                      <a:pt x="2958373" y="3591549"/>
                    </a:cubicBezTo>
                    <a:cubicBezTo>
                      <a:pt x="2958373" y="3609549"/>
                      <a:pt x="2973167" y="3624347"/>
                      <a:pt x="2991167" y="3624347"/>
                    </a:cubicBezTo>
                    <a:cubicBezTo>
                      <a:pt x="3009414" y="3624347"/>
                      <a:pt x="3023963" y="3609549"/>
                      <a:pt x="3023963" y="3591549"/>
                    </a:cubicBezTo>
                    <a:close/>
                    <a:moveTo>
                      <a:pt x="3025192" y="3104077"/>
                    </a:moveTo>
                    <a:cubicBezTo>
                      <a:pt x="3025192" y="3087805"/>
                      <a:pt x="3011878" y="3074488"/>
                      <a:pt x="2995602" y="3074488"/>
                    </a:cubicBezTo>
                    <a:cubicBezTo>
                      <a:pt x="2979331" y="3074488"/>
                      <a:pt x="2966014" y="3087805"/>
                      <a:pt x="2966014" y="3104077"/>
                    </a:cubicBezTo>
                    <a:cubicBezTo>
                      <a:pt x="2966014" y="3120353"/>
                      <a:pt x="2979331" y="3133666"/>
                      <a:pt x="2995602" y="3133666"/>
                    </a:cubicBezTo>
                    <a:cubicBezTo>
                      <a:pt x="3011878" y="3133666"/>
                      <a:pt x="3025192" y="3120353"/>
                      <a:pt x="3025192" y="3104077"/>
                    </a:cubicBezTo>
                    <a:close/>
                    <a:moveTo>
                      <a:pt x="3028645" y="7322983"/>
                    </a:moveTo>
                    <a:cubicBezTo>
                      <a:pt x="3028645" y="7321255"/>
                      <a:pt x="3027413" y="7320023"/>
                      <a:pt x="3025686" y="7320023"/>
                    </a:cubicBezTo>
                    <a:cubicBezTo>
                      <a:pt x="3023960" y="7320023"/>
                      <a:pt x="3022728" y="7321255"/>
                      <a:pt x="3022728" y="7322983"/>
                    </a:cubicBezTo>
                    <a:cubicBezTo>
                      <a:pt x="3022728" y="7324709"/>
                      <a:pt x="3023960" y="7325942"/>
                      <a:pt x="3025686" y="7325942"/>
                    </a:cubicBezTo>
                    <a:cubicBezTo>
                      <a:pt x="3027413" y="7325942"/>
                      <a:pt x="3028645" y="7324709"/>
                      <a:pt x="3028645" y="7322983"/>
                    </a:cubicBezTo>
                    <a:close/>
                    <a:moveTo>
                      <a:pt x="3028645" y="7432216"/>
                    </a:moveTo>
                    <a:cubicBezTo>
                      <a:pt x="3028645" y="7430735"/>
                      <a:pt x="3027411" y="7429503"/>
                      <a:pt x="3025933" y="7429503"/>
                    </a:cubicBezTo>
                    <a:cubicBezTo>
                      <a:pt x="3024206" y="7429503"/>
                      <a:pt x="3022974" y="7430735"/>
                      <a:pt x="3022974" y="7432216"/>
                    </a:cubicBezTo>
                    <a:cubicBezTo>
                      <a:pt x="3022974" y="7433939"/>
                      <a:pt x="3024452" y="7435175"/>
                      <a:pt x="3025933" y="7435175"/>
                    </a:cubicBezTo>
                    <a:cubicBezTo>
                      <a:pt x="3027411" y="7435175"/>
                      <a:pt x="3028645" y="7433939"/>
                      <a:pt x="3028645" y="7432216"/>
                    </a:cubicBezTo>
                    <a:close/>
                    <a:moveTo>
                      <a:pt x="3028894" y="7541695"/>
                    </a:moveTo>
                    <a:cubicBezTo>
                      <a:pt x="3028894" y="7540214"/>
                      <a:pt x="3027660" y="7538982"/>
                      <a:pt x="3026182" y="7538982"/>
                    </a:cubicBezTo>
                    <a:cubicBezTo>
                      <a:pt x="3024701" y="7538982"/>
                      <a:pt x="3023469" y="7540214"/>
                      <a:pt x="3023469" y="7541695"/>
                    </a:cubicBezTo>
                    <a:cubicBezTo>
                      <a:pt x="3023469" y="7543173"/>
                      <a:pt x="3024701" y="7544409"/>
                      <a:pt x="3026182" y="7544409"/>
                    </a:cubicBezTo>
                    <a:cubicBezTo>
                      <a:pt x="3027660" y="7544409"/>
                      <a:pt x="3028894" y="7542928"/>
                      <a:pt x="3028894" y="7541695"/>
                    </a:cubicBezTo>
                    <a:close/>
                    <a:moveTo>
                      <a:pt x="3029140" y="5676348"/>
                    </a:moveTo>
                    <a:cubicBezTo>
                      <a:pt x="3029140" y="5675116"/>
                      <a:pt x="3028151" y="5674129"/>
                      <a:pt x="3026919" y="5674129"/>
                    </a:cubicBezTo>
                    <a:cubicBezTo>
                      <a:pt x="3025686" y="5674129"/>
                      <a:pt x="3024701" y="5675116"/>
                      <a:pt x="3024701" y="5676348"/>
                    </a:cubicBezTo>
                    <a:cubicBezTo>
                      <a:pt x="3024701" y="5677581"/>
                      <a:pt x="3025686" y="5678566"/>
                      <a:pt x="3026919" y="5678566"/>
                    </a:cubicBezTo>
                    <a:cubicBezTo>
                      <a:pt x="3028400" y="5678566"/>
                      <a:pt x="3029385" y="5677581"/>
                      <a:pt x="3029140" y="5676348"/>
                    </a:cubicBezTo>
                    <a:close/>
                    <a:moveTo>
                      <a:pt x="3029384" y="6557362"/>
                    </a:moveTo>
                    <a:cubicBezTo>
                      <a:pt x="3029384" y="6555636"/>
                      <a:pt x="3028152" y="6554157"/>
                      <a:pt x="3026179" y="6554157"/>
                    </a:cubicBezTo>
                    <a:cubicBezTo>
                      <a:pt x="3024452" y="6554157"/>
                      <a:pt x="3022974" y="6555636"/>
                      <a:pt x="3022974" y="6557362"/>
                    </a:cubicBezTo>
                    <a:cubicBezTo>
                      <a:pt x="3022974" y="6559089"/>
                      <a:pt x="3024452" y="6560566"/>
                      <a:pt x="3026179" y="6560566"/>
                    </a:cubicBezTo>
                    <a:cubicBezTo>
                      <a:pt x="3027906" y="6560566"/>
                      <a:pt x="3029384" y="6559089"/>
                      <a:pt x="3029384" y="6557362"/>
                    </a:cubicBezTo>
                    <a:close/>
                    <a:moveTo>
                      <a:pt x="3029632" y="5897526"/>
                    </a:moveTo>
                    <a:cubicBezTo>
                      <a:pt x="3029632" y="5896539"/>
                      <a:pt x="3028646" y="5895552"/>
                      <a:pt x="3027660" y="5895552"/>
                    </a:cubicBezTo>
                    <a:cubicBezTo>
                      <a:pt x="3026673" y="5895552"/>
                      <a:pt x="3025688" y="5896539"/>
                      <a:pt x="3025688" y="5897526"/>
                    </a:cubicBezTo>
                    <a:cubicBezTo>
                      <a:pt x="3025688" y="5898511"/>
                      <a:pt x="3026673" y="5899498"/>
                      <a:pt x="3027660" y="5899498"/>
                    </a:cubicBezTo>
                    <a:cubicBezTo>
                      <a:pt x="3028646" y="5899498"/>
                      <a:pt x="3029632" y="5898758"/>
                      <a:pt x="3029632" y="5897526"/>
                    </a:cubicBezTo>
                    <a:close/>
                    <a:moveTo>
                      <a:pt x="3030124" y="6995282"/>
                    </a:moveTo>
                    <a:cubicBezTo>
                      <a:pt x="3030124" y="6993554"/>
                      <a:pt x="3028892" y="6992322"/>
                      <a:pt x="3027166" y="6992322"/>
                    </a:cubicBezTo>
                    <a:cubicBezTo>
                      <a:pt x="3025439" y="6992322"/>
                      <a:pt x="3024206" y="6993554"/>
                      <a:pt x="3024206" y="6995282"/>
                    </a:cubicBezTo>
                    <a:cubicBezTo>
                      <a:pt x="3024206" y="6997008"/>
                      <a:pt x="3025439" y="6998241"/>
                      <a:pt x="3027166" y="6998241"/>
                    </a:cubicBezTo>
                    <a:cubicBezTo>
                      <a:pt x="3028892" y="6998241"/>
                      <a:pt x="3030124" y="6997008"/>
                      <a:pt x="3030124" y="6995282"/>
                    </a:cubicBezTo>
                    <a:close/>
                    <a:moveTo>
                      <a:pt x="3030370" y="6228183"/>
                    </a:moveTo>
                    <a:cubicBezTo>
                      <a:pt x="3030370" y="6226951"/>
                      <a:pt x="3029383" y="6225964"/>
                      <a:pt x="3028151" y="6225964"/>
                    </a:cubicBezTo>
                    <a:cubicBezTo>
                      <a:pt x="3026919" y="6225964"/>
                      <a:pt x="3025933" y="6226951"/>
                      <a:pt x="3025933" y="6228183"/>
                    </a:cubicBezTo>
                    <a:cubicBezTo>
                      <a:pt x="3025933" y="6229416"/>
                      <a:pt x="3026919" y="6230401"/>
                      <a:pt x="3028151" y="6230401"/>
                    </a:cubicBezTo>
                    <a:cubicBezTo>
                      <a:pt x="3029632" y="6230401"/>
                      <a:pt x="3030617" y="6229416"/>
                      <a:pt x="3030370" y="6228183"/>
                    </a:cubicBezTo>
                    <a:close/>
                    <a:moveTo>
                      <a:pt x="3030372" y="6007995"/>
                    </a:moveTo>
                    <a:cubicBezTo>
                      <a:pt x="3030372" y="6006513"/>
                      <a:pt x="3029140" y="6005527"/>
                      <a:pt x="3027908" y="6005527"/>
                    </a:cubicBezTo>
                    <a:cubicBezTo>
                      <a:pt x="3026426" y="6005527"/>
                      <a:pt x="3025441" y="6006760"/>
                      <a:pt x="3025441" y="6007995"/>
                    </a:cubicBezTo>
                    <a:cubicBezTo>
                      <a:pt x="3025441" y="6009473"/>
                      <a:pt x="3026426" y="6010459"/>
                      <a:pt x="3027908" y="6010459"/>
                    </a:cubicBezTo>
                    <a:cubicBezTo>
                      <a:pt x="3029140" y="6010459"/>
                      <a:pt x="3030126" y="6009227"/>
                      <a:pt x="3030372" y="6007995"/>
                    </a:cubicBezTo>
                    <a:close/>
                    <a:moveTo>
                      <a:pt x="3030372" y="7214242"/>
                    </a:moveTo>
                    <a:cubicBezTo>
                      <a:pt x="3030372" y="7212761"/>
                      <a:pt x="3029138" y="7211529"/>
                      <a:pt x="3027660" y="7211529"/>
                    </a:cubicBezTo>
                    <a:cubicBezTo>
                      <a:pt x="3026179" y="7211529"/>
                      <a:pt x="3024946" y="7212761"/>
                      <a:pt x="3024946" y="7214242"/>
                    </a:cubicBezTo>
                    <a:cubicBezTo>
                      <a:pt x="3024946" y="7215720"/>
                      <a:pt x="3026179" y="7216955"/>
                      <a:pt x="3027660" y="7216955"/>
                    </a:cubicBezTo>
                    <a:cubicBezTo>
                      <a:pt x="3029138" y="7216955"/>
                      <a:pt x="3030372" y="7215720"/>
                      <a:pt x="3030372" y="7214242"/>
                    </a:cubicBezTo>
                    <a:close/>
                    <a:moveTo>
                      <a:pt x="3030619" y="7104760"/>
                    </a:moveTo>
                    <a:cubicBezTo>
                      <a:pt x="3030619" y="7103034"/>
                      <a:pt x="3029138" y="7101555"/>
                      <a:pt x="3027411" y="7101555"/>
                    </a:cubicBezTo>
                    <a:cubicBezTo>
                      <a:pt x="3025688" y="7101555"/>
                      <a:pt x="3024206" y="7103034"/>
                      <a:pt x="3024206" y="7104760"/>
                    </a:cubicBezTo>
                    <a:cubicBezTo>
                      <a:pt x="3024206" y="7106487"/>
                      <a:pt x="3025688" y="7107968"/>
                      <a:pt x="3027411" y="7107968"/>
                    </a:cubicBezTo>
                    <a:cubicBezTo>
                      <a:pt x="3029138" y="7107968"/>
                      <a:pt x="3030619" y="7106733"/>
                      <a:pt x="3030619" y="7104760"/>
                    </a:cubicBezTo>
                    <a:close/>
                    <a:moveTo>
                      <a:pt x="3030621" y="6118211"/>
                    </a:moveTo>
                    <a:cubicBezTo>
                      <a:pt x="3030621" y="6116730"/>
                      <a:pt x="3029386" y="6115498"/>
                      <a:pt x="3027908" y="6115498"/>
                    </a:cubicBezTo>
                    <a:cubicBezTo>
                      <a:pt x="3026428" y="6115498"/>
                      <a:pt x="3025195" y="6116730"/>
                      <a:pt x="3025195" y="6118211"/>
                    </a:cubicBezTo>
                    <a:cubicBezTo>
                      <a:pt x="3025195" y="6119689"/>
                      <a:pt x="3026428" y="6120925"/>
                      <a:pt x="3027908" y="6120925"/>
                    </a:cubicBezTo>
                    <a:cubicBezTo>
                      <a:pt x="3029632" y="6120925"/>
                      <a:pt x="3030621" y="6119689"/>
                      <a:pt x="3030621" y="6118211"/>
                    </a:cubicBezTo>
                    <a:close/>
                    <a:moveTo>
                      <a:pt x="3030865" y="3255227"/>
                    </a:moveTo>
                    <a:cubicBezTo>
                      <a:pt x="3030865" y="3254240"/>
                      <a:pt x="3030127" y="3253499"/>
                      <a:pt x="3029141" y="3253499"/>
                    </a:cubicBezTo>
                    <a:cubicBezTo>
                      <a:pt x="3028154" y="3253499"/>
                      <a:pt x="3027414" y="3254240"/>
                      <a:pt x="3027414" y="3255227"/>
                    </a:cubicBezTo>
                    <a:cubicBezTo>
                      <a:pt x="3027414" y="3256213"/>
                      <a:pt x="3028154" y="3256950"/>
                      <a:pt x="3029141" y="3256950"/>
                    </a:cubicBezTo>
                    <a:cubicBezTo>
                      <a:pt x="3030127" y="3256950"/>
                      <a:pt x="3030865" y="3256213"/>
                      <a:pt x="3030865" y="3255227"/>
                    </a:cubicBezTo>
                    <a:close/>
                    <a:moveTo>
                      <a:pt x="3031604" y="5231525"/>
                    </a:moveTo>
                    <a:cubicBezTo>
                      <a:pt x="3031604" y="5231033"/>
                      <a:pt x="3031110" y="5230539"/>
                      <a:pt x="3030617" y="5230539"/>
                    </a:cubicBezTo>
                    <a:cubicBezTo>
                      <a:pt x="3030126" y="5230539"/>
                      <a:pt x="3029632" y="5231033"/>
                      <a:pt x="3029632" y="5231525"/>
                    </a:cubicBezTo>
                    <a:cubicBezTo>
                      <a:pt x="3029632" y="5232017"/>
                      <a:pt x="3030126" y="5232511"/>
                      <a:pt x="3030617" y="5232511"/>
                    </a:cubicBezTo>
                    <a:cubicBezTo>
                      <a:pt x="3031110" y="5232511"/>
                      <a:pt x="3031604" y="5232017"/>
                      <a:pt x="3031604" y="5231525"/>
                    </a:cubicBezTo>
                    <a:close/>
                    <a:moveTo>
                      <a:pt x="3032098" y="5787060"/>
                    </a:moveTo>
                    <a:cubicBezTo>
                      <a:pt x="3032098" y="5784347"/>
                      <a:pt x="3030126" y="5782128"/>
                      <a:pt x="3027413" y="5782128"/>
                    </a:cubicBezTo>
                    <a:cubicBezTo>
                      <a:pt x="3024946" y="5782128"/>
                      <a:pt x="3022728" y="5784347"/>
                      <a:pt x="3022728" y="5787060"/>
                    </a:cubicBezTo>
                    <a:cubicBezTo>
                      <a:pt x="3022728" y="5789525"/>
                      <a:pt x="3024700" y="5791746"/>
                      <a:pt x="3027413" y="5791746"/>
                    </a:cubicBezTo>
                    <a:cubicBezTo>
                      <a:pt x="3029877" y="5791746"/>
                      <a:pt x="3032098" y="5789772"/>
                      <a:pt x="3032098" y="5787060"/>
                    </a:cubicBezTo>
                    <a:close/>
                    <a:moveTo>
                      <a:pt x="3032591" y="6776567"/>
                    </a:moveTo>
                    <a:cubicBezTo>
                      <a:pt x="3032591" y="6773117"/>
                      <a:pt x="3029877" y="6770404"/>
                      <a:pt x="3026673" y="6770404"/>
                    </a:cubicBezTo>
                    <a:cubicBezTo>
                      <a:pt x="3023467" y="6770404"/>
                      <a:pt x="3020756" y="6773363"/>
                      <a:pt x="3020756" y="6776567"/>
                    </a:cubicBezTo>
                    <a:cubicBezTo>
                      <a:pt x="3020756" y="6779775"/>
                      <a:pt x="3023222" y="6782485"/>
                      <a:pt x="3026673" y="6782485"/>
                    </a:cubicBezTo>
                    <a:cubicBezTo>
                      <a:pt x="3030126" y="6782485"/>
                      <a:pt x="3032591" y="6780020"/>
                      <a:pt x="3032591" y="6776567"/>
                    </a:cubicBezTo>
                    <a:close/>
                    <a:moveTo>
                      <a:pt x="3032594" y="6666842"/>
                    </a:moveTo>
                    <a:cubicBezTo>
                      <a:pt x="3032594" y="6663391"/>
                      <a:pt x="3029881" y="6660677"/>
                      <a:pt x="3026428" y="6660677"/>
                    </a:cubicBezTo>
                    <a:cubicBezTo>
                      <a:pt x="3022977" y="6660677"/>
                      <a:pt x="3020264" y="6663391"/>
                      <a:pt x="3020264" y="6666842"/>
                    </a:cubicBezTo>
                    <a:cubicBezTo>
                      <a:pt x="3020264" y="6670295"/>
                      <a:pt x="3022977" y="6673008"/>
                      <a:pt x="3026428" y="6673008"/>
                    </a:cubicBezTo>
                    <a:cubicBezTo>
                      <a:pt x="3029881" y="6673008"/>
                      <a:pt x="3032594" y="6670295"/>
                      <a:pt x="3032594" y="6666842"/>
                    </a:cubicBezTo>
                    <a:close/>
                    <a:moveTo>
                      <a:pt x="3033085" y="2430457"/>
                    </a:moveTo>
                    <a:cubicBezTo>
                      <a:pt x="3033085" y="2404322"/>
                      <a:pt x="3011879" y="2382867"/>
                      <a:pt x="2985495" y="2382867"/>
                    </a:cubicBezTo>
                    <a:cubicBezTo>
                      <a:pt x="2959358" y="2382867"/>
                      <a:pt x="2937906" y="2404076"/>
                      <a:pt x="2937906" y="2430457"/>
                    </a:cubicBezTo>
                    <a:cubicBezTo>
                      <a:pt x="2937906" y="2456594"/>
                      <a:pt x="2959113" y="2478049"/>
                      <a:pt x="2985495" y="2478049"/>
                    </a:cubicBezTo>
                    <a:cubicBezTo>
                      <a:pt x="3011879" y="2478049"/>
                      <a:pt x="3033085" y="2456840"/>
                      <a:pt x="3033085" y="2430457"/>
                    </a:cubicBezTo>
                    <a:close/>
                    <a:moveTo>
                      <a:pt x="3033578" y="6886049"/>
                    </a:moveTo>
                    <a:cubicBezTo>
                      <a:pt x="3033578" y="6882350"/>
                      <a:pt x="3030619" y="6879391"/>
                      <a:pt x="3026922" y="6879391"/>
                    </a:cubicBezTo>
                    <a:cubicBezTo>
                      <a:pt x="3023223" y="6879391"/>
                      <a:pt x="3020264" y="6882350"/>
                      <a:pt x="3020264" y="6886049"/>
                    </a:cubicBezTo>
                    <a:cubicBezTo>
                      <a:pt x="3020264" y="6889746"/>
                      <a:pt x="3023223" y="6892704"/>
                      <a:pt x="3026922" y="6892704"/>
                    </a:cubicBezTo>
                    <a:cubicBezTo>
                      <a:pt x="3030619" y="6892704"/>
                      <a:pt x="3033826" y="6889746"/>
                      <a:pt x="3033578" y="6886049"/>
                    </a:cubicBezTo>
                    <a:close/>
                    <a:moveTo>
                      <a:pt x="3036042" y="6447885"/>
                    </a:moveTo>
                    <a:cubicBezTo>
                      <a:pt x="3036042" y="6443691"/>
                      <a:pt x="3032591" y="6440486"/>
                      <a:pt x="3028646" y="6440486"/>
                    </a:cubicBezTo>
                    <a:cubicBezTo>
                      <a:pt x="3024452" y="6440486"/>
                      <a:pt x="3021248" y="6443691"/>
                      <a:pt x="3021248" y="6447885"/>
                    </a:cubicBezTo>
                    <a:cubicBezTo>
                      <a:pt x="3021248" y="6452076"/>
                      <a:pt x="3024698" y="6455280"/>
                      <a:pt x="3028646" y="6455280"/>
                    </a:cubicBezTo>
                    <a:cubicBezTo>
                      <a:pt x="3032591" y="6455280"/>
                      <a:pt x="3036042" y="6452076"/>
                      <a:pt x="3036042" y="6447885"/>
                    </a:cubicBezTo>
                    <a:close/>
                    <a:moveTo>
                      <a:pt x="3036537" y="6338157"/>
                    </a:moveTo>
                    <a:cubicBezTo>
                      <a:pt x="3036537" y="6333721"/>
                      <a:pt x="3032840" y="6330021"/>
                      <a:pt x="3028401" y="6330021"/>
                    </a:cubicBezTo>
                    <a:cubicBezTo>
                      <a:pt x="3023963" y="6330021"/>
                      <a:pt x="3020264" y="6333721"/>
                      <a:pt x="3020264" y="6338157"/>
                    </a:cubicBezTo>
                    <a:cubicBezTo>
                      <a:pt x="3020264" y="6342597"/>
                      <a:pt x="3023963" y="6346297"/>
                      <a:pt x="3028401" y="6346297"/>
                    </a:cubicBezTo>
                    <a:cubicBezTo>
                      <a:pt x="3032840" y="6346297"/>
                      <a:pt x="3036537" y="6342597"/>
                      <a:pt x="3036537" y="6338157"/>
                    </a:cubicBezTo>
                    <a:close/>
                    <a:moveTo>
                      <a:pt x="3038262" y="3851193"/>
                    </a:moveTo>
                    <a:cubicBezTo>
                      <a:pt x="3038262" y="3827767"/>
                      <a:pt x="3019274" y="3808535"/>
                      <a:pt x="2995602" y="3808535"/>
                    </a:cubicBezTo>
                    <a:cubicBezTo>
                      <a:pt x="2972177" y="3808535"/>
                      <a:pt x="2952946" y="3827521"/>
                      <a:pt x="2952946" y="3851193"/>
                    </a:cubicBezTo>
                    <a:cubicBezTo>
                      <a:pt x="2952946" y="3874618"/>
                      <a:pt x="2971932" y="3893849"/>
                      <a:pt x="2995602" y="3893849"/>
                    </a:cubicBezTo>
                    <a:cubicBezTo>
                      <a:pt x="3019028" y="3893849"/>
                      <a:pt x="3038262" y="3874863"/>
                      <a:pt x="3038262" y="3851193"/>
                    </a:cubicBezTo>
                    <a:close/>
                    <a:moveTo>
                      <a:pt x="3042948" y="5454925"/>
                    </a:moveTo>
                    <a:cubicBezTo>
                      <a:pt x="3042948" y="5448266"/>
                      <a:pt x="3037522" y="5442594"/>
                      <a:pt x="3030621" y="5442594"/>
                    </a:cubicBezTo>
                    <a:cubicBezTo>
                      <a:pt x="3023963" y="5442594"/>
                      <a:pt x="3018291" y="5448020"/>
                      <a:pt x="3018291" y="5454925"/>
                    </a:cubicBezTo>
                    <a:cubicBezTo>
                      <a:pt x="3018291" y="5461579"/>
                      <a:pt x="3023716" y="5467251"/>
                      <a:pt x="3030621" y="5467251"/>
                    </a:cubicBezTo>
                    <a:cubicBezTo>
                      <a:pt x="3037522" y="5467251"/>
                      <a:pt x="3042948" y="5461826"/>
                      <a:pt x="3042948" y="5454925"/>
                    </a:cubicBezTo>
                    <a:close/>
                    <a:moveTo>
                      <a:pt x="3043686" y="4892729"/>
                    </a:moveTo>
                    <a:cubicBezTo>
                      <a:pt x="3043686" y="4885579"/>
                      <a:pt x="3037769" y="4879661"/>
                      <a:pt x="3030619" y="4879661"/>
                    </a:cubicBezTo>
                    <a:cubicBezTo>
                      <a:pt x="3023469" y="4879661"/>
                      <a:pt x="3017551" y="4885579"/>
                      <a:pt x="3017551" y="4892729"/>
                    </a:cubicBezTo>
                    <a:cubicBezTo>
                      <a:pt x="3017551" y="4899879"/>
                      <a:pt x="3023469" y="4905797"/>
                      <a:pt x="3030619" y="4905797"/>
                    </a:cubicBezTo>
                    <a:cubicBezTo>
                      <a:pt x="3037769" y="4905797"/>
                      <a:pt x="3043686" y="4899879"/>
                      <a:pt x="3043686" y="4892729"/>
                    </a:cubicBezTo>
                    <a:close/>
                    <a:moveTo>
                      <a:pt x="3044179" y="1612645"/>
                    </a:moveTo>
                    <a:cubicBezTo>
                      <a:pt x="3044179" y="1603272"/>
                      <a:pt x="3036781" y="1595877"/>
                      <a:pt x="3027659" y="1595877"/>
                    </a:cubicBezTo>
                    <a:cubicBezTo>
                      <a:pt x="3018291" y="1595877"/>
                      <a:pt x="3010892" y="1603521"/>
                      <a:pt x="3010892" y="1612645"/>
                    </a:cubicBezTo>
                    <a:cubicBezTo>
                      <a:pt x="3010892" y="1621764"/>
                      <a:pt x="3018536" y="1629165"/>
                      <a:pt x="3027659" y="1629165"/>
                    </a:cubicBezTo>
                    <a:cubicBezTo>
                      <a:pt x="3036781" y="1629165"/>
                      <a:pt x="3044179" y="1622010"/>
                      <a:pt x="3044179" y="1612645"/>
                    </a:cubicBezTo>
                    <a:close/>
                    <a:moveTo>
                      <a:pt x="3044181" y="1836528"/>
                    </a:moveTo>
                    <a:cubicBezTo>
                      <a:pt x="3044181" y="1827899"/>
                      <a:pt x="3037031" y="1820750"/>
                      <a:pt x="3028400" y="1820750"/>
                    </a:cubicBezTo>
                    <a:cubicBezTo>
                      <a:pt x="3019769" y="1820750"/>
                      <a:pt x="3012619" y="1827899"/>
                      <a:pt x="3012619" y="1836528"/>
                    </a:cubicBezTo>
                    <a:cubicBezTo>
                      <a:pt x="3012619" y="1845158"/>
                      <a:pt x="3019769" y="1852307"/>
                      <a:pt x="3028400" y="1852307"/>
                    </a:cubicBezTo>
                    <a:cubicBezTo>
                      <a:pt x="3037031" y="1852307"/>
                      <a:pt x="3044181" y="1845158"/>
                      <a:pt x="3044181" y="1836528"/>
                    </a:cubicBezTo>
                    <a:close/>
                    <a:moveTo>
                      <a:pt x="3045412" y="1724320"/>
                    </a:moveTo>
                    <a:cubicBezTo>
                      <a:pt x="3045412" y="1714699"/>
                      <a:pt x="3037522" y="1707068"/>
                      <a:pt x="3028151" y="1707068"/>
                    </a:cubicBezTo>
                    <a:cubicBezTo>
                      <a:pt x="3018536" y="1707068"/>
                      <a:pt x="3010892" y="1714699"/>
                      <a:pt x="3010892" y="1724320"/>
                    </a:cubicBezTo>
                    <a:cubicBezTo>
                      <a:pt x="3010892" y="1733941"/>
                      <a:pt x="3018782" y="1741590"/>
                      <a:pt x="3028151" y="1741590"/>
                    </a:cubicBezTo>
                    <a:cubicBezTo>
                      <a:pt x="3037522" y="1741590"/>
                      <a:pt x="3045166" y="1733695"/>
                      <a:pt x="3045412" y="1724320"/>
                    </a:cubicBezTo>
                    <a:close/>
                    <a:moveTo>
                      <a:pt x="3049112" y="398651"/>
                    </a:moveTo>
                    <a:cubicBezTo>
                      <a:pt x="3049112" y="384352"/>
                      <a:pt x="3037522" y="372763"/>
                      <a:pt x="3023220" y="372763"/>
                    </a:cubicBezTo>
                    <a:cubicBezTo>
                      <a:pt x="3008920" y="372763"/>
                      <a:pt x="2997330" y="384352"/>
                      <a:pt x="2997330" y="398651"/>
                    </a:cubicBezTo>
                    <a:cubicBezTo>
                      <a:pt x="2997330" y="412953"/>
                      <a:pt x="3008920" y="424543"/>
                      <a:pt x="3023220" y="424543"/>
                    </a:cubicBezTo>
                    <a:cubicBezTo>
                      <a:pt x="3037522" y="424543"/>
                      <a:pt x="3049112" y="412708"/>
                      <a:pt x="3049112" y="398651"/>
                    </a:cubicBezTo>
                    <a:close/>
                    <a:moveTo>
                      <a:pt x="3049851" y="288703"/>
                    </a:moveTo>
                    <a:cubicBezTo>
                      <a:pt x="3049851" y="274154"/>
                      <a:pt x="3038017" y="262319"/>
                      <a:pt x="3023469" y="262319"/>
                    </a:cubicBezTo>
                    <a:cubicBezTo>
                      <a:pt x="3008920" y="262319"/>
                      <a:pt x="2997084" y="274154"/>
                      <a:pt x="2997084" y="288703"/>
                    </a:cubicBezTo>
                    <a:cubicBezTo>
                      <a:pt x="2997084" y="303249"/>
                      <a:pt x="3008920" y="315083"/>
                      <a:pt x="3023469" y="315083"/>
                    </a:cubicBezTo>
                    <a:cubicBezTo>
                      <a:pt x="3038017" y="315083"/>
                      <a:pt x="3049604" y="303249"/>
                      <a:pt x="3049851" y="288703"/>
                    </a:cubicBezTo>
                    <a:close/>
                    <a:moveTo>
                      <a:pt x="3050095" y="1500959"/>
                    </a:moveTo>
                    <a:cubicBezTo>
                      <a:pt x="3050095" y="1488629"/>
                      <a:pt x="3039987" y="1478518"/>
                      <a:pt x="3027659" y="1478518"/>
                    </a:cubicBezTo>
                    <a:cubicBezTo>
                      <a:pt x="3015329" y="1478518"/>
                      <a:pt x="3005220" y="1488629"/>
                      <a:pt x="3005220" y="1500959"/>
                    </a:cubicBezTo>
                    <a:cubicBezTo>
                      <a:pt x="3005220" y="1513041"/>
                      <a:pt x="3015329" y="1523151"/>
                      <a:pt x="3027659" y="1523151"/>
                    </a:cubicBezTo>
                    <a:cubicBezTo>
                      <a:pt x="3039987" y="1523151"/>
                      <a:pt x="3050095" y="1513286"/>
                      <a:pt x="3050095" y="1500959"/>
                    </a:cubicBezTo>
                    <a:close/>
                    <a:moveTo>
                      <a:pt x="3050836" y="5343226"/>
                    </a:moveTo>
                    <a:cubicBezTo>
                      <a:pt x="3050836" y="5332129"/>
                      <a:pt x="3041714" y="5323005"/>
                      <a:pt x="3030619" y="5323005"/>
                    </a:cubicBezTo>
                    <a:cubicBezTo>
                      <a:pt x="3019520" y="5323005"/>
                      <a:pt x="3010398" y="5332129"/>
                      <a:pt x="3010398" y="5343226"/>
                    </a:cubicBezTo>
                    <a:cubicBezTo>
                      <a:pt x="3010398" y="5354322"/>
                      <a:pt x="3019520" y="5363445"/>
                      <a:pt x="3030619" y="5363445"/>
                    </a:cubicBezTo>
                    <a:cubicBezTo>
                      <a:pt x="3041714" y="5363445"/>
                      <a:pt x="3050591" y="5354568"/>
                      <a:pt x="3050836" y="5343226"/>
                    </a:cubicBezTo>
                    <a:close/>
                    <a:moveTo>
                      <a:pt x="3051085" y="69797"/>
                    </a:moveTo>
                    <a:cubicBezTo>
                      <a:pt x="3051085" y="54755"/>
                      <a:pt x="3039003" y="42673"/>
                      <a:pt x="3023963" y="42673"/>
                    </a:cubicBezTo>
                    <a:cubicBezTo>
                      <a:pt x="3008919" y="42673"/>
                      <a:pt x="2996838" y="54755"/>
                      <a:pt x="2996838" y="69797"/>
                    </a:cubicBezTo>
                    <a:cubicBezTo>
                      <a:pt x="2996838" y="84837"/>
                      <a:pt x="3008919" y="96918"/>
                      <a:pt x="3023963" y="96918"/>
                    </a:cubicBezTo>
                    <a:cubicBezTo>
                      <a:pt x="3038757" y="96918"/>
                      <a:pt x="3050838" y="84837"/>
                      <a:pt x="3051085" y="69797"/>
                    </a:cubicBezTo>
                    <a:close/>
                    <a:moveTo>
                      <a:pt x="3051576" y="179248"/>
                    </a:moveTo>
                    <a:cubicBezTo>
                      <a:pt x="3051576" y="164208"/>
                      <a:pt x="3039001" y="151878"/>
                      <a:pt x="3023960" y="151878"/>
                    </a:cubicBezTo>
                    <a:cubicBezTo>
                      <a:pt x="3008673" y="151878"/>
                      <a:pt x="2996344" y="164208"/>
                      <a:pt x="2996344" y="179248"/>
                    </a:cubicBezTo>
                    <a:cubicBezTo>
                      <a:pt x="2996344" y="194534"/>
                      <a:pt x="3008673" y="206864"/>
                      <a:pt x="3023960" y="206864"/>
                    </a:cubicBezTo>
                    <a:cubicBezTo>
                      <a:pt x="3039247" y="206864"/>
                      <a:pt x="3051576" y="194534"/>
                      <a:pt x="3051576" y="179248"/>
                    </a:cubicBezTo>
                    <a:close/>
                    <a:moveTo>
                      <a:pt x="3053057" y="5119087"/>
                    </a:moveTo>
                    <a:cubicBezTo>
                      <a:pt x="3053057" y="5106757"/>
                      <a:pt x="3042948" y="5096402"/>
                      <a:pt x="3030373" y="5096402"/>
                    </a:cubicBezTo>
                    <a:cubicBezTo>
                      <a:pt x="3017796" y="5096402"/>
                      <a:pt x="3007688" y="5106511"/>
                      <a:pt x="3007688" y="5119087"/>
                    </a:cubicBezTo>
                    <a:cubicBezTo>
                      <a:pt x="3007688" y="5131663"/>
                      <a:pt x="3017796" y="5141772"/>
                      <a:pt x="3030373" y="5141772"/>
                    </a:cubicBezTo>
                    <a:cubicBezTo>
                      <a:pt x="3042948" y="5141772"/>
                      <a:pt x="3053057" y="5131415"/>
                      <a:pt x="3053057" y="5119087"/>
                    </a:cubicBezTo>
                    <a:close/>
                    <a:moveTo>
                      <a:pt x="3054536" y="1389764"/>
                    </a:moveTo>
                    <a:cubicBezTo>
                      <a:pt x="3054536" y="1374725"/>
                      <a:pt x="3042454" y="1362637"/>
                      <a:pt x="3027414" y="1362637"/>
                    </a:cubicBezTo>
                    <a:cubicBezTo>
                      <a:pt x="3012370" y="1362637"/>
                      <a:pt x="3000289" y="1374725"/>
                      <a:pt x="3000289" y="1389764"/>
                    </a:cubicBezTo>
                    <a:cubicBezTo>
                      <a:pt x="3000289" y="1404807"/>
                      <a:pt x="3012370" y="1416890"/>
                      <a:pt x="3027414" y="1416890"/>
                    </a:cubicBezTo>
                    <a:cubicBezTo>
                      <a:pt x="3042454" y="1416890"/>
                      <a:pt x="3054536" y="1404807"/>
                      <a:pt x="3054536" y="1389764"/>
                    </a:cubicBezTo>
                    <a:close/>
                    <a:moveTo>
                      <a:pt x="3057248" y="4187277"/>
                    </a:moveTo>
                    <a:cubicBezTo>
                      <a:pt x="3057248" y="4181607"/>
                      <a:pt x="3052563" y="4176922"/>
                      <a:pt x="3046891" y="4176922"/>
                    </a:cubicBezTo>
                    <a:cubicBezTo>
                      <a:pt x="3041222" y="4176922"/>
                      <a:pt x="3036536" y="4181607"/>
                      <a:pt x="3036536" y="4187277"/>
                    </a:cubicBezTo>
                    <a:cubicBezTo>
                      <a:pt x="3036536" y="4192949"/>
                      <a:pt x="3041222" y="4197635"/>
                      <a:pt x="3046891" y="4197635"/>
                    </a:cubicBezTo>
                    <a:cubicBezTo>
                      <a:pt x="3052563" y="4197635"/>
                      <a:pt x="3057002" y="4192949"/>
                      <a:pt x="3057248" y="4187277"/>
                    </a:cubicBezTo>
                    <a:close/>
                    <a:moveTo>
                      <a:pt x="3058727" y="4780045"/>
                    </a:moveTo>
                    <a:cubicBezTo>
                      <a:pt x="3058727" y="4767963"/>
                      <a:pt x="3048864" y="4758100"/>
                      <a:pt x="3036782" y="4758100"/>
                    </a:cubicBezTo>
                    <a:cubicBezTo>
                      <a:pt x="3024701" y="4758100"/>
                      <a:pt x="3014838" y="4767963"/>
                      <a:pt x="3014838" y="4780045"/>
                    </a:cubicBezTo>
                    <a:cubicBezTo>
                      <a:pt x="3014838" y="4792129"/>
                      <a:pt x="3024701" y="4801989"/>
                      <a:pt x="3036782" y="4801989"/>
                    </a:cubicBezTo>
                    <a:cubicBezTo>
                      <a:pt x="3048864" y="4801989"/>
                      <a:pt x="3058727" y="4792375"/>
                      <a:pt x="3058727" y="4780045"/>
                    </a:cubicBezTo>
                    <a:close/>
                    <a:moveTo>
                      <a:pt x="3063660" y="1949421"/>
                    </a:moveTo>
                    <a:cubicBezTo>
                      <a:pt x="3063660" y="1930193"/>
                      <a:pt x="3048126" y="1914663"/>
                      <a:pt x="3028892" y="1914663"/>
                    </a:cubicBezTo>
                    <a:cubicBezTo>
                      <a:pt x="3009660" y="1914663"/>
                      <a:pt x="2994126" y="1930193"/>
                      <a:pt x="2994126" y="1949421"/>
                    </a:cubicBezTo>
                    <a:cubicBezTo>
                      <a:pt x="2994126" y="1968403"/>
                      <a:pt x="3009660" y="1983934"/>
                      <a:pt x="3028892" y="1983934"/>
                    </a:cubicBezTo>
                    <a:cubicBezTo>
                      <a:pt x="3047879" y="1983934"/>
                      <a:pt x="3063660" y="1968403"/>
                      <a:pt x="3063660" y="1949421"/>
                    </a:cubicBezTo>
                    <a:close/>
                    <a:moveTo>
                      <a:pt x="3063660" y="4548509"/>
                    </a:moveTo>
                    <a:cubicBezTo>
                      <a:pt x="3063660" y="4534946"/>
                      <a:pt x="3052565" y="4523605"/>
                      <a:pt x="3038757" y="4523605"/>
                    </a:cubicBezTo>
                    <a:cubicBezTo>
                      <a:pt x="3024946" y="4523605"/>
                      <a:pt x="3013606" y="4534701"/>
                      <a:pt x="3013606" y="4548509"/>
                    </a:cubicBezTo>
                    <a:cubicBezTo>
                      <a:pt x="3013606" y="4562317"/>
                      <a:pt x="3024946" y="4573661"/>
                      <a:pt x="3038757" y="4573661"/>
                    </a:cubicBezTo>
                    <a:cubicBezTo>
                      <a:pt x="3052565" y="4573661"/>
                      <a:pt x="3063906" y="4562566"/>
                      <a:pt x="3063660" y="4548509"/>
                    </a:cubicBezTo>
                    <a:close/>
                    <a:moveTo>
                      <a:pt x="3065138" y="3699551"/>
                    </a:moveTo>
                    <a:cubicBezTo>
                      <a:pt x="3065138" y="3679576"/>
                      <a:pt x="3048863" y="3663549"/>
                      <a:pt x="3029140" y="3663549"/>
                    </a:cubicBezTo>
                    <a:cubicBezTo>
                      <a:pt x="3009166" y="3663549"/>
                      <a:pt x="2993139" y="3679825"/>
                      <a:pt x="2993139" y="3699551"/>
                    </a:cubicBezTo>
                    <a:cubicBezTo>
                      <a:pt x="2993139" y="3719277"/>
                      <a:pt x="3009414" y="3735550"/>
                      <a:pt x="3029140" y="3735550"/>
                    </a:cubicBezTo>
                    <a:cubicBezTo>
                      <a:pt x="3049112" y="3735550"/>
                      <a:pt x="3065138" y="3719523"/>
                      <a:pt x="3065138" y="3699551"/>
                    </a:cubicBezTo>
                    <a:close/>
                    <a:moveTo>
                      <a:pt x="3068591" y="2062827"/>
                    </a:moveTo>
                    <a:cubicBezTo>
                      <a:pt x="3068591" y="2041126"/>
                      <a:pt x="3050838" y="2023372"/>
                      <a:pt x="3029140" y="2023372"/>
                    </a:cubicBezTo>
                    <a:cubicBezTo>
                      <a:pt x="3007441" y="2023372"/>
                      <a:pt x="2989688" y="2041126"/>
                      <a:pt x="2989688" y="2062827"/>
                    </a:cubicBezTo>
                    <a:cubicBezTo>
                      <a:pt x="2989688" y="2084528"/>
                      <a:pt x="3007441" y="2102283"/>
                      <a:pt x="3029140" y="2102283"/>
                    </a:cubicBezTo>
                    <a:cubicBezTo>
                      <a:pt x="3050838" y="2102283"/>
                      <a:pt x="3068591" y="2084773"/>
                      <a:pt x="3068591" y="2062827"/>
                    </a:cubicBezTo>
                    <a:close/>
                    <a:moveTo>
                      <a:pt x="3071056" y="4310318"/>
                    </a:moveTo>
                    <a:cubicBezTo>
                      <a:pt x="3071056" y="4294784"/>
                      <a:pt x="3058481" y="4282207"/>
                      <a:pt x="3042945" y="4282207"/>
                    </a:cubicBezTo>
                    <a:cubicBezTo>
                      <a:pt x="3027413" y="4282207"/>
                      <a:pt x="3014838" y="4294784"/>
                      <a:pt x="3014838" y="4310318"/>
                    </a:cubicBezTo>
                    <a:cubicBezTo>
                      <a:pt x="3014838" y="4325851"/>
                      <a:pt x="3027413" y="4338427"/>
                      <a:pt x="3042945" y="4338427"/>
                    </a:cubicBezTo>
                    <a:cubicBezTo>
                      <a:pt x="3058481" y="4338427"/>
                      <a:pt x="3071056" y="4325851"/>
                      <a:pt x="3071056" y="4310318"/>
                    </a:cubicBezTo>
                    <a:close/>
                    <a:moveTo>
                      <a:pt x="3072289" y="4430647"/>
                    </a:moveTo>
                    <a:cubicBezTo>
                      <a:pt x="3072289" y="4413143"/>
                      <a:pt x="3057989" y="4398840"/>
                      <a:pt x="3040482" y="4398840"/>
                    </a:cubicBezTo>
                    <a:cubicBezTo>
                      <a:pt x="3023222" y="4398840"/>
                      <a:pt x="3008920" y="4413143"/>
                      <a:pt x="3008920" y="4430647"/>
                    </a:cubicBezTo>
                    <a:cubicBezTo>
                      <a:pt x="3008920" y="4448155"/>
                      <a:pt x="3022974" y="4462458"/>
                      <a:pt x="3040482" y="4462458"/>
                    </a:cubicBezTo>
                    <a:cubicBezTo>
                      <a:pt x="3057989" y="4462458"/>
                      <a:pt x="3072289" y="4448155"/>
                      <a:pt x="3072289" y="4430647"/>
                    </a:cubicBezTo>
                    <a:close/>
                    <a:moveTo>
                      <a:pt x="3073030" y="5006157"/>
                    </a:moveTo>
                    <a:cubicBezTo>
                      <a:pt x="3073030" y="4982731"/>
                      <a:pt x="3054044" y="4963746"/>
                      <a:pt x="3030619" y="4963746"/>
                    </a:cubicBezTo>
                    <a:cubicBezTo>
                      <a:pt x="3007194" y="4963746"/>
                      <a:pt x="2988208" y="4982731"/>
                      <a:pt x="2988208" y="5006157"/>
                    </a:cubicBezTo>
                    <a:cubicBezTo>
                      <a:pt x="2988208" y="5029582"/>
                      <a:pt x="3007194" y="5048568"/>
                      <a:pt x="3030619" y="5048568"/>
                    </a:cubicBezTo>
                    <a:cubicBezTo>
                      <a:pt x="3053798" y="5048568"/>
                      <a:pt x="3072784" y="5029582"/>
                      <a:pt x="3073030" y="5006157"/>
                    </a:cubicBezTo>
                    <a:close/>
                    <a:moveTo>
                      <a:pt x="3073520" y="4664892"/>
                    </a:moveTo>
                    <a:cubicBezTo>
                      <a:pt x="3073520" y="4644920"/>
                      <a:pt x="3057248" y="4628894"/>
                      <a:pt x="3037522" y="4628894"/>
                    </a:cubicBezTo>
                    <a:cubicBezTo>
                      <a:pt x="3017548" y="4628894"/>
                      <a:pt x="3001521" y="4645167"/>
                      <a:pt x="3001521" y="4664892"/>
                    </a:cubicBezTo>
                    <a:cubicBezTo>
                      <a:pt x="3001521" y="4684867"/>
                      <a:pt x="3017796" y="4700894"/>
                      <a:pt x="3037522" y="4700894"/>
                    </a:cubicBezTo>
                    <a:cubicBezTo>
                      <a:pt x="3057494" y="4700894"/>
                      <a:pt x="3073520" y="4684867"/>
                      <a:pt x="3073520" y="4664892"/>
                    </a:cubicBezTo>
                    <a:close/>
                    <a:moveTo>
                      <a:pt x="3095220" y="4059798"/>
                    </a:moveTo>
                    <a:cubicBezTo>
                      <a:pt x="3095220" y="4036373"/>
                      <a:pt x="3076234" y="4017386"/>
                      <a:pt x="3052809" y="4017386"/>
                    </a:cubicBezTo>
                    <a:cubicBezTo>
                      <a:pt x="3029383" y="4017386"/>
                      <a:pt x="3010398" y="4036373"/>
                      <a:pt x="3010398" y="4059798"/>
                    </a:cubicBezTo>
                    <a:cubicBezTo>
                      <a:pt x="3010398" y="4083223"/>
                      <a:pt x="3029383" y="4102208"/>
                      <a:pt x="3052809" y="4102208"/>
                    </a:cubicBezTo>
                    <a:cubicBezTo>
                      <a:pt x="3076234" y="4102208"/>
                      <a:pt x="3095220" y="4083223"/>
                      <a:pt x="3095220" y="4059798"/>
                    </a:cubicBezTo>
                    <a:close/>
                    <a:moveTo>
                      <a:pt x="3096701" y="3158319"/>
                    </a:moveTo>
                    <a:cubicBezTo>
                      <a:pt x="3096701" y="3154621"/>
                      <a:pt x="3093988" y="3151907"/>
                      <a:pt x="3090291" y="3151907"/>
                    </a:cubicBezTo>
                    <a:cubicBezTo>
                      <a:pt x="3086592" y="3151907"/>
                      <a:pt x="3083879" y="3154866"/>
                      <a:pt x="3083879" y="3158319"/>
                    </a:cubicBezTo>
                    <a:cubicBezTo>
                      <a:pt x="3083879" y="3162016"/>
                      <a:pt x="3086838" y="3164729"/>
                      <a:pt x="3090291" y="3164729"/>
                    </a:cubicBezTo>
                    <a:cubicBezTo>
                      <a:pt x="3093742" y="3164729"/>
                      <a:pt x="3096701" y="3162016"/>
                      <a:pt x="3096701" y="3158319"/>
                    </a:cubicBezTo>
                    <a:close/>
                    <a:moveTo>
                      <a:pt x="3099412" y="3019255"/>
                    </a:moveTo>
                    <a:cubicBezTo>
                      <a:pt x="3099412" y="3004460"/>
                      <a:pt x="3087330" y="2992379"/>
                      <a:pt x="3072536" y="2992379"/>
                    </a:cubicBezTo>
                    <a:cubicBezTo>
                      <a:pt x="3057741" y="2992379"/>
                      <a:pt x="3045659" y="3004460"/>
                      <a:pt x="3045659" y="3019255"/>
                    </a:cubicBezTo>
                    <a:cubicBezTo>
                      <a:pt x="3045659" y="3034050"/>
                      <a:pt x="3057741" y="3046134"/>
                      <a:pt x="3072536" y="3046134"/>
                    </a:cubicBezTo>
                    <a:cubicBezTo>
                      <a:pt x="3087330" y="3046134"/>
                      <a:pt x="3099412" y="3034050"/>
                      <a:pt x="3099412" y="3019255"/>
                    </a:cubicBezTo>
                    <a:close/>
                    <a:moveTo>
                      <a:pt x="3106072" y="3363469"/>
                    </a:moveTo>
                    <a:cubicBezTo>
                      <a:pt x="3106072" y="3361988"/>
                      <a:pt x="3104838" y="3360756"/>
                      <a:pt x="3103360" y="3360756"/>
                    </a:cubicBezTo>
                    <a:cubicBezTo>
                      <a:pt x="3101879" y="3360756"/>
                      <a:pt x="3100646" y="3361988"/>
                      <a:pt x="3100646" y="3363469"/>
                    </a:cubicBezTo>
                    <a:cubicBezTo>
                      <a:pt x="3100646" y="3364947"/>
                      <a:pt x="3101879" y="3366182"/>
                      <a:pt x="3103360" y="3366182"/>
                    </a:cubicBezTo>
                    <a:cubicBezTo>
                      <a:pt x="3104838" y="3366182"/>
                      <a:pt x="3106072" y="3364947"/>
                      <a:pt x="3106072" y="3363469"/>
                    </a:cubicBezTo>
                    <a:close/>
                    <a:moveTo>
                      <a:pt x="3107795" y="1047809"/>
                    </a:moveTo>
                    <a:cubicBezTo>
                      <a:pt x="3107795" y="1033506"/>
                      <a:pt x="3095960" y="1021677"/>
                      <a:pt x="3081657" y="1021677"/>
                    </a:cubicBezTo>
                    <a:cubicBezTo>
                      <a:pt x="3067357" y="1021677"/>
                      <a:pt x="3055522" y="1033506"/>
                      <a:pt x="3055522" y="1047809"/>
                    </a:cubicBezTo>
                    <a:cubicBezTo>
                      <a:pt x="3055522" y="1062356"/>
                      <a:pt x="3067357" y="1073947"/>
                      <a:pt x="3081657" y="1073947"/>
                    </a:cubicBezTo>
                    <a:cubicBezTo>
                      <a:pt x="3096206" y="1073947"/>
                      <a:pt x="3107795" y="1062356"/>
                      <a:pt x="3107795" y="1047809"/>
                    </a:cubicBezTo>
                    <a:close/>
                    <a:moveTo>
                      <a:pt x="3108288" y="2861945"/>
                    </a:moveTo>
                    <a:cubicBezTo>
                      <a:pt x="3108288" y="2857751"/>
                      <a:pt x="3104837" y="2854299"/>
                      <a:pt x="3100646" y="2854299"/>
                    </a:cubicBezTo>
                    <a:cubicBezTo>
                      <a:pt x="3096451" y="2854299"/>
                      <a:pt x="3093001" y="2857751"/>
                      <a:pt x="3093001" y="2861945"/>
                    </a:cubicBezTo>
                    <a:cubicBezTo>
                      <a:pt x="3093001" y="2866136"/>
                      <a:pt x="3096451" y="2869586"/>
                      <a:pt x="3100646" y="2869586"/>
                    </a:cubicBezTo>
                    <a:cubicBezTo>
                      <a:pt x="3104837" y="2869586"/>
                      <a:pt x="3108288" y="2866136"/>
                      <a:pt x="3108288" y="2861945"/>
                    </a:cubicBezTo>
                    <a:close/>
                    <a:moveTo>
                      <a:pt x="3110263" y="828147"/>
                    </a:moveTo>
                    <a:cubicBezTo>
                      <a:pt x="3110263" y="813351"/>
                      <a:pt x="3097933" y="801267"/>
                      <a:pt x="3083139" y="801267"/>
                    </a:cubicBezTo>
                    <a:cubicBezTo>
                      <a:pt x="3068344" y="801267"/>
                      <a:pt x="3056263" y="813351"/>
                      <a:pt x="3056263" y="828147"/>
                    </a:cubicBezTo>
                    <a:cubicBezTo>
                      <a:pt x="3056263" y="842943"/>
                      <a:pt x="3068344" y="855019"/>
                      <a:pt x="3083139" y="855019"/>
                    </a:cubicBezTo>
                    <a:cubicBezTo>
                      <a:pt x="3098179" y="855019"/>
                      <a:pt x="3110263" y="842943"/>
                      <a:pt x="3110263" y="828147"/>
                    </a:cubicBezTo>
                    <a:close/>
                    <a:moveTo>
                      <a:pt x="3110755" y="937853"/>
                    </a:moveTo>
                    <a:cubicBezTo>
                      <a:pt x="3110755" y="922073"/>
                      <a:pt x="3097933" y="909250"/>
                      <a:pt x="3082152" y="909250"/>
                    </a:cubicBezTo>
                    <a:cubicBezTo>
                      <a:pt x="3066371" y="909250"/>
                      <a:pt x="3053549" y="922073"/>
                      <a:pt x="3053549" y="937853"/>
                    </a:cubicBezTo>
                    <a:cubicBezTo>
                      <a:pt x="3053549" y="953638"/>
                      <a:pt x="3066371" y="966456"/>
                      <a:pt x="3082152" y="966456"/>
                    </a:cubicBezTo>
                    <a:cubicBezTo>
                      <a:pt x="3097933" y="966456"/>
                      <a:pt x="3110755" y="953638"/>
                      <a:pt x="3110755" y="937853"/>
                    </a:cubicBezTo>
                    <a:close/>
                    <a:moveTo>
                      <a:pt x="3111498" y="1268457"/>
                    </a:moveTo>
                    <a:cubicBezTo>
                      <a:pt x="3111498" y="1251448"/>
                      <a:pt x="3097690" y="1237642"/>
                      <a:pt x="3080674" y="1237642"/>
                    </a:cubicBezTo>
                    <a:cubicBezTo>
                      <a:pt x="3063660" y="1237642"/>
                      <a:pt x="3049853" y="1251448"/>
                      <a:pt x="3049853" y="1268457"/>
                    </a:cubicBezTo>
                    <a:cubicBezTo>
                      <a:pt x="3049853" y="1285468"/>
                      <a:pt x="3063660" y="1299287"/>
                      <a:pt x="3080674" y="1299287"/>
                    </a:cubicBezTo>
                    <a:cubicBezTo>
                      <a:pt x="3097935" y="1299287"/>
                      <a:pt x="3111744" y="1285220"/>
                      <a:pt x="3111498" y="1268457"/>
                    </a:cubicBezTo>
                    <a:close/>
                    <a:moveTo>
                      <a:pt x="3111987" y="1158012"/>
                    </a:moveTo>
                    <a:cubicBezTo>
                      <a:pt x="3111987" y="1141245"/>
                      <a:pt x="3098424" y="1127439"/>
                      <a:pt x="3081412" y="1127439"/>
                    </a:cubicBezTo>
                    <a:cubicBezTo>
                      <a:pt x="3064644" y="1127439"/>
                      <a:pt x="3050836" y="1141245"/>
                      <a:pt x="3050836" y="1158012"/>
                    </a:cubicBezTo>
                    <a:cubicBezTo>
                      <a:pt x="3050836" y="1174779"/>
                      <a:pt x="3064644" y="1188589"/>
                      <a:pt x="3081412" y="1188589"/>
                    </a:cubicBezTo>
                    <a:cubicBezTo>
                      <a:pt x="3098424" y="1188589"/>
                      <a:pt x="3111987" y="1175026"/>
                      <a:pt x="3111987" y="1158012"/>
                    </a:cubicBezTo>
                    <a:close/>
                    <a:moveTo>
                      <a:pt x="3113220" y="608940"/>
                    </a:moveTo>
                    <a:cubicBezTo>
                      <a:pt x="3113220" y="592420"/>
                      <a:pt x="3099905" y="579106"/>
                      <a:pt x="3083385" y="579106"/>
                    </a:cubicBezTo>
                    <a:cubicBezTo>
                      <a:pt x="3066866" y="579106"/>
                      <a:pt x="3053549" y="592420"/>
                      <a:pt x="3053549" y="608940"/>
                    </a:cubicBezTo>
                    <a:cubicBezTo>
                      <a:pt x="3053549" y="625461"/>
                      <a:pt x="3066866" y="638774"/>
                      <a:pt x="3083385" y="638774"/>
                    </a:cubicBezTo>
                    <a:cubicBezTo>
                      <a:pt x="3099660" y="638774"/>
                      <a:pt x="3113220" y="625215"/>
                      <a:pt x="3113220" y="608940"/>
                    </a:cubicBezTo>
                    <a:close/>
                    <a:moveTo>
                      <a:pt x="3113222" y="499235"/>
                    </a:moveTo>
                    <a:cubicBezTo>
                      <a:pt x="3113222" y="482963"/>
                      <a:pt x="3099908" y="469648"/>
                      <a:pt x="3083633" y="469648"/>
                    </a:cubicBezTo>
                    <a:cubicBezTo>
                      <a:pt x="3067357" y="469648"/>
                      <a:pt x="3054044" y="482963"/>
                      <a:pt x="3054044" y="499235"/>
                    </a:cubicBezTo>
                    <a:cubicBezTo>
                      <a:pt x="3054044" y="515510"/>
                      <a:pt x="3067357" y="528824"/>
                      <a:pt x="3083633" y="528824"/>
                    </a:cubicBezTo>
                    <a:cubicBezTo>
                      <a:pt x="3099908" y="528824"/>
                      <a:pt x="3113222" y="515756"/>
                      <a:pt x="3113222" y="499235"/>
                    </a:cubicBezTo>
                    <a:close/>
                    <a:moveTo>
                      <a:pt x="3113962" y="718433"/>
                    </a:moveTo>
                    <a:cubicBezTo>
                      <a:pt x="3113962" y="701426"/>
                      <a:pt x="3100154" y="687862"/>
                      <a:pt x="3083387" y="687862"/>
                    </a:cubicBezTo>
                    <a:cubicBezTo>
                      <a:pt x="3066619" y="687862"/>
                      <a:pt x="3053057" y="701672"/>
                      <a:pt x="3053057" y="718433"/>
                    </a:cubicBezTo>
                    <a:cubicBezTo>
                      <a:pt x="3053057" y="735446"/>
                      <a:pt x="3066619" y="749013"/>
                      <a:pt x="3083387" y="749013"/>
                    </a:cubicBezTo>
                    <a:cubicBezTo>
                      <a:pt x="3100154" y="749013"/>
                      <a:pt x="3113716" y="735199"/>
                      <a:pt x="3113962" y="718433"/>
                    </a:cubicBezTo>
                    <a:close/>
                    <a:moveTo>
                      <a:pt x="3114701" y="3935769"/>
                    </a:moveTo>
                    <a:cubicBezTo>
                      <a:pt x="3114701" y="3912590"/>
                      <a:pt x="3095714" y="3893603"/>
                      <a:pt x="3072538" y="3893603"/>
                    </a:cubicBezTo>
                    <a:cubicBezTo>
                      <a:pt x="3049358" y="3893603"/>
                      <a:pt x="3030373" y="3912590"/>
                      <a:pt x="3030373" y="3935769"/>
                    </a:cubicBezTo>
                    <a:cubicBezTo>
                      <a:pt x="3030373" y="3958946"/>
                      <a:pt x="3049358" y="3977931"/>
                      <a:pt x="3072538" y="3977931"/>
                    </a:cubicBezTo>
                    <a:cubicBezTo>
                      <a:pt x="3095963" y="3977931"/>
                      <a:pt x="3114701" y="3958946"/>
                      <a:pt x="3114701" y="3935769"/>
                    </a:cubicBezTo>
                    <a:close/>
                    <a:moveTo>
                      <a:pt x="3117167" y="2738412"/>
                    </a:moveTo>
                    <a:cubicBezTo>
                      <a:pt x="3117167" y="2727563"/>
                      <a:pt x="3108291" y="2718687"/>
                      <a:pt x="3097441" y="2718687"/>
                    </a:cubicBezTo>
                    <a:cubicBezTo>
                      <a:pt x="3086592" y="2718687"/>
                      <a:pt x="3077716" y="2727563"/>
                      <a:pt x="3077716" y="2738412"/>
                    </a:cubicBezTo>
                    <a:cubicBezTo>
                      <a:pt x="3077716" y="2749262"/>
                      <a:pt x="3086592" y="2758138"/>
                      <a:pt x="3097441" y="2758138"/>
                    </a:cubicBezTo>
                    <a:cubicBezTo>
                      <a:pt x="3108291" y="2758138"/>
                      <a:pt x="3117167" y="2749262"/>
                      <a:pt x="3117167" y="2738412"/>
                    </a:cubicBezTo>
                    <a:close/>
                    <a:moveTo>
                      <a:pt x="3123085" y="2618334"/>
                    </a:moveTo>
                    <a:cubicBezTo>
                      <a:pt x="3123085" y="2603048"/>
                      <a:pt x="3110510" y="2590471"/>
                      <a:pt x="3095220" y="2590471"/>
                    </a:cubicBezTo>
                    <a:cubicBezTo>
                      <a:pt x="3079934" y="2590471"/>
                      <a:pt x="3067358" y="2603048"/>
                      <a:pt x="3067358" y="2618334"/>
                    </a:cubicBezTo>
                    <a:cubicBezTo>
                      <a:pt x="3067358" y="2633869"/>
                      <a:pt x="3079688" y="2646445"/>
                      <a:pt x="3095220" y="2646445"/>
                    </a:cubicBezTo>
                    <a:cubicBezTo>
                      <a:pt x="3110510" y="2646445"/>
                      <a:pt x="3123085" y="2633869"/>
                      <a:pt x="3123085" y="2618334"/>
                    </a:cubicBezTo>
                    <a:close/>
                    <a:moveTo>
                      <a:pt x="3123577" y="2270927"/>
                    </a:moveTo>
                    <a:cubicBezTo>
                      <a:pt x="3123577" y="2252931"/>
                      <a:pt x="3109028" y="2238381"/>
                      <a:pt x="3091029" y="2238381"/>
                    </a:cubicBezTo>
                    <a:cubicBezTo>
                      <a:pt x="3072784" y="2238381"/>
                      <a:pt x="3058235" y="2252931"/>
                      <a:pt x="3058235" y="2270927"/>
                    </a:cubicBezTo>
                    <a:cubicBezTo>
                      <a:pt x="3058235" y="2288929"/>
                      <a:pt x="3073029" y="2303477"/>
                      <a:pt x="3091029" y="2303477"/>
                    </a:cubicBezTo>
                    <a:cubicBezTo>
                      <a:pt x="3109028" y="2303477"/>
                      <a:pt x="3123825" y="2288929"/>
                      <a:pt x="3123577" y="2270927"/>
                    </a:cubicBezTo>
                    <a:close/>
                    <a:moveTo>
                      <a:pt x="3123826" y="3796701"/>
                    </a:moveTo>
                    <a:cubicBezTo>
                      <a:pt x="3123826" y="3778207"/>
                      <a:pt x="3108785" y="3763166"/>
                      <a:pt x="3090291" y="3763166"/>
                    </a:cubicBezTo>
                    <a:cubicBezTo>
                      <a:pt x="3071797" y="3763166"/>
                      <a:pt x="3056757" y="3778207"/>
                      <a:pt x="3056757" y="3796701"/>
                    </a:cubicBezTo>
                    <a:cubicBezTo>
                      <a:pt x="3056757" y="3814947"/>
                      <a:pt x="3071797" y="3829989"/>
                      <a:pt x="3090291" y="3829989"/>
                    </a:cubicBezTo>
                    <a:cubicBezTo>
                      <a:pt x="3108785" y="3829989"/>
                      <a:pt x="3123579" y="3814947"/>
                      <a:pt x="3123826" y="3796701"/>
                    </a:cubicBezTo>
                    <a:close/>
                    <a:moveTo>
                      <a:pt x="3127027" y="2157513"/>
                    </a:moveTo>
                    <a:cubicBezTo>
                      <a:pt x="3127027" y="2137047"/>
                      <a:pt x="3110509" y="2120525"/>
                      <a:pt x="3090288" y="2120525"/>
                    </a:cubicBezTo>
                    <a:cubicBezTo>
                      <a:pt x="3070070" y="2120525"/>
                      <a:pt x="3053549" y="2137294"/>
                      <a:pt x="3053549" y="2157513"/>
                    </a:cubicBezTo>
                    <a:cubicBezTo>
                      <a:pt x="3053549" y="2177734"/>
                      <a:pt x="3070070" y="2194254"/>
                      <a:pt x="3090288" y="2194254"/>
                    </a:cubicBezTo>
                    <a:cubicBezTo>
                      <a:pt x="3110755" y="2194254"/>
                      <a:pt x="3127276" y="2177734"/>
                      <a:pt x="3127027" y="2157513"/>
                    </a:cubicBezTo>
                    <a:close/>
                    <a:moveTo>
                      <a:pt x="3133194" y="2500968"/>
                    </a:moveTo>
                    <a:cubicBezTo>
                      <a:pt x="3133194" y="2479023"/>
                      <a:pt x="3115443" y="2461271"/>
                      <a:pt x="3093496" y="2461271"/>
                    </a:cubicBezTo>
                    <a:cubicBezTo>
                      <a:pt x="3071551" y="2461271"/>
                      <a:pt x="3053798" y="2479023"/>
                      <a:pt x="3053798" y="2500968"/>
                    </a:cubicBezTo>
                    <a:cubicBezTo>
                      <a:pt x="3053798" y="2522916"/>
                      <a:pt x="3071551" y="2540669"/>
                      <a:pt x="3093496" y="2540669"/>
                    </a:cubicBezTo>
                    <a:cubicBezTo>
                      <a:pt x="3115443" y="2540669"/>
                      <a:pt x="3133194" y="2522916"/>
                      <a:pt x="3133194" y="2500968"/>
                    </a:cubicBezTo>
                    <a:close/>
                    <a:moveTo>
                      <a:pt x="3137631" y="2385332"/>
                    </a:moveTo>
                    <a:cubicBezTo>
                      <a:pt x="3137631" y="2360428"/>
                      <a:pt x="3117412" y="2339965"/>
                      <a:pt x="3092260" y="2339965"/>
                    </a:cubicBezTo>
                    <a:cubicBezTo>
                      <a:pt x="3067357" y="2339965"/>
                      <a:pt x="3046891" y="2360428"/>
                      <a:pt x="3046891" y="2385332"/>
                    </a:cubicBezTo>
                    <a:cubicBezTo>
                      <a:pt x="3046891" y="2410236"/>
                      <a:pt x="3067111" y="2430701"/>
                      <a:pt x="3092260" y="2430701"/>
                    </a:cubicBezTo>
                    <a:cubicBezTo>
                      <a:pt x="3117164" y="2430701"/>
                      <a:pt x="3137631" y="2410236"/>
                      <a:pt x="3137631" y="2385332"/>
                    </a:cubicBezTo>
                    <a:close/>
                    <a:moveTo>
                      <a:pt x="3144289" y="5697309"/>
                    </a:moveTo>
                    <a:cubicBezTo>
                      <a:pt x="3144289" y="5696074"/>
                      <a:pt x="3143303" y="5694841"/>
                      <a:pt x="3141825" y="5694841"/>
                    </a:cubicBezTo>
                    <a:cubicBezTo>
                      <a:pt x="3140590" y="5694841"/>
                      <a:pt x="3139358" y="5696074"/>
                      <a:pt x="3139358" y="5697309"/>
                    </a:cubicBezTo>
                    <a:cubicBezTo>
                      <a:pt x="3139358" y="5698787"/>
                      <a:pt x="3140344" y="5699773"/>
                      <a:pt x="3141825" y="5699773"/>
                    </a:cubicBezTo>
                    <a:cubicBezTo>
                      <a:pt x="3143057" y="5699773"/>
                      <a:pt x="3144289" y="5698787"/>
                      <a:pt x="3144289" y="5697309"/>
                    </a:cubicBezTo>
                    <a:close/>
                    <a:moveTo>
                      <a:pt x="3144535" y="5916760"/>
                    </a:moveTo>
                    <a:cubicBezTo>
                      <a:pt x="3144535" y="5915527"/>
                      <a:pt x="3143549" y="5914541"/>
                      <a:pt x="3142316" y="5914541"/>
                    </a:cubicBezTo>
                    <a:cubicBezTo>
                      <a:pt x="3141084" y="5914541"/>
                      <a:pt x="3140098" y="5915527"/>
                      <a:pt x="3140098" y="5916760"/>
                    </a:cubicBezTo>
                    <a:cubicBezTo>
                      <a:pt x="3140098" y="5917992"/>
                      <a:pt x="3141084" y="5918977"/>
                      <a:pt x="3142316" y="5918977"/>
                    </a:cubicBezTo>
                    <a:cubicBezTo>
                      <a:pt x="3143549" y="5918977"/>
                      <a:pt x="3144535" y="5917992"/>
                      <a:pt x="3144535" y="5916760"/>
                    </a:cubicBezTo>
                    <a:close/>
                    <a:moveTo>
                      <a:pt x="3144535" y="7335309"/>
                    </a:moveTo>
                    <a:cubicBezTo>
                      <a:pt x="3144535" y="7333828"/>
                      <a:pt x="3143303" y="7332350"/>
                      <a:pt x="3141576" y="7332350"/>
                    </a:cubicBezTo>
                    <a:cubicBezTo>
                      <a:pt x="3140098" y="7332350"/>
                      <a:pt x="3138617" y="7333582"/>
                      <a:pt x="3138617" y="7335309"/>
                    </a:cubicBezTo>
                    <a:cubicBezTo>
                      <a:pt x="3138617" y="7336787"/>
                      <a:pt x="3139850" y="7338268"/>
                      <a:pt x="3141576" y="7338268"/>
                    </a:cubicBezTo>
                    <a:cubicBezTo>
                      <a:pt x="3143057" y="7338268"/>
                      <a:pt x="3144535" y="7337036"/>
                      <a:pt x="3144535" y="7335309"/>
                    </a:cubicBezTo>
                    <a:close/>
                    <a:moveTo>
                      <a:pt x="3144535" y="7444049"/>
                    </a:moveTo>
                    <a:cubicBezTo>
                      <a:pt x="3144535" y="7442322"/>
                      <a:pt x="3143303" y="7441089"/>
                      <a:pt x="3141576" y="7441089"/>
                    </a:cubicBezTo>
                    <a:cubicBezTo>
                      <a:pt x="3139850" y="7441089"/>
                      <a:pt x="3138617" y="7442322"/>
                      <a:pt x="3138617" y="7444049"/>
                    </a:cubicBezTo>
                    <a:cubicBezTo>
                      <a:pt x="3138617" y="7445776"/>
                      <a:pt x="3139850" y="7447008"/>
                      <a:pt x="3141576" y="7447008"/>
                    </a:cubicBezTo>
                    <a:cubicBezTo>
                      <a:pt x="3143303" y="7447008"/>
                      <a:pt x="3144535" y="7445776"/>
                      <a:pt x="3144535" y="7444049"/>
                    </a:cubicBezTo>
                    <a:close/>
                    <a:moveTo>
                      <a:pt x="3144781" y="6572403"/>
                    </a:moveTo>
                    <a:cubicBezTo>
                      <a:pt x="3144781" y="6570677"/>
                      <a:pt x="3143303" y="6569198"/>
                      <a:pt x="3141576" y="6569198"/>
                    </a:cubicBezTo>
                    <a:cubicBezTo>
                      <a:pt x="3139850" y="6569198"/>
                      <a:pt x="3138372" y="6570677"/>
                      <a:pt x="3138372" y="6572403"/>
                    </a:cubicBezTo>
                    <a:cubicBezTo>
                      <a:pt x="3138372" y="6574130"/>
                      <a:pt x="3139850" y="6575611"/>
                      <a:pt x="3141576" y="6575611"/>
                    </a:cubicBezTo>
                    <a:cubicBezTo>
                      <a:pt x="3143549" y="6575611"/>
                      <a:pt x="3145029" y="6574130"/>
                      <a:pt x="3144781" y="6572403"/>
                    </a:cubicBezTo>
                    <a:close/>
                    <a:moveTo>
                      <a:pt x="3144784" y="7553035"/>
                    </a:moveTo>
                    <a:cubicBezTo>
                      <a:pt x="3144784" y="7551309"/>
                      <a:pt x="3143551" y="7550077"/>
                      <a:pt x="3141825" y="7550077"/>
                    </a:cubicBezTo>
                    <a:cubicBezTo>
                      <a:pt x="3140098" y="7550077"/>
                      <a:pt x="3138866" y="7551554"/>
                      <a:pt x="3138866" y="7553035"/>
                    </a:cubicBezTo>
                    <a:cubicBezTo>
                      <a:pt x="3138866" y="7554762"/>
                      <a:pt x="3140098" y="7555994"/>
                      <a:pt x="3141825" y="7555994"/>
                    </a:cubicBezTo>
                    <a:cubicBezTo>
                      <a:pt x="3143551" y="7555994"/>
                      <a:pt x="3144784" y="7554516"/>
                      <a:pt x="3144784" y="7553035"/>
                    </a:cubicBezTo>
                    <a:close/>
                    <a:moveTo>
                      <a:pt x="3145278" y="6026239"/>
                    </a:moveTo>
                    <a:cubicBezTo>
                      <a:pt x="3145278" y="6024758"/>
                      <a:pt x="3144044" y="6023526"/>
                      <a:pt x="3142566" y="6023526"/>
                    </a:cubicBezTo>
                    <a:cubicBezTo>
                      <a:pt x="3141085" y="6023526"/>
                      <a:pt x="3139853" y="6024758"/>
                      <a:pt x="3139853" y="6026239"/>
                    </a:cubicBezTo>
                    <a:cubicBezTo>
                      <a:pt x="3139853" y="6027717"/>
                      <a:pt x="3141085" y="6028952"/>
                      <a:pt x="3142566" y="6028952"/>
                    </a:cubicBezTo>
                    <a:cubicBezTo>
                      <a:pt x="3144044" y="6028952"/>
                      <a:pt x="3145278" y="6027717"/>
                      <a:pt x="3145278" y="6026239"/>
                    </a:cubicBezTo>
                    <a:close/>
                    <a:moveTo>
                      <a:pt x="3145520" y="6244953"/>
                    </a:moveTo>
                    <a:cubicBezTo>
                      <a:pt x="3145520" y="6243718"/>
                      <a:pt x="3144535" y="6242485"/>
                      <a:pt x="3143056" y="6242485"/>
                    </a:cubicBezTo>
                    <a:cubicBezTo>
                      <a:pt x="3141822" y="6242485"/>
                      <a:pt x="3140590" y="6243472"/>
                      <a:pt x="3140590" y="6244953"/>
                    </a:cubicBezTo>
                    <a:cubicBezTo>
                      <a:pt x="3140590" y="6246431"/>
                      <a:pt x="3141575" y="6247416"/>
                      <a:pt x="3143056" y="6247416"/>
                    </a:cubicBezTo>
                    <a:cubicBezTo>
                      <a:pt x="3144535" y="6247416"/>
                      <a:pt x="3145520" y="6246431"/>
                      <a:pt x="3145520" y="6244953"/>
                    </a:cubicBezTo>
                    <a:close/>
                    <a:moveTo>
                      <a:pt x="3145524" y="7008598"/>
                    </a:moveTo>
                    <a:cubicBezTo>
                      <a:pt x="3145524" y="7006871"/>
                      <a:pt x="3144291" y="7005638"/>
                      <a:pt x="3142565" y="7005638"/>
                    </a:cubicBezTo>
                    <a:cubicBezTo>
                      <a:pt x="3141084" y="7005638"/>
                      <a:pt x="3139606" y="7006871"/>
                      <a:pt x="3139606" y="7008598"/>
                    </a:cubicBezTo>
                    <a:cubicBezTo>
                      <a:pt x="3139606" y="7010325"/>
                      <a:pt x="3140838" y="7011557"/>
                      <a:pt x="3142565" y="7011557"/>
                    </a:cubicBezTo>
                    <a:cubicBezTo>
                      <a:pt x="3144291" y="7011557"/>
                      <a:pt x="3145524" y="7010325"/>
                      <a:pt x="3145524" y="7008598"/>
                    </a:cubicBezTo>
                    <a:close/>
                    <a:moveTo>
                      <a:pt x="3145770" y="6135474"/>
                    </a:moveTo>
                    <a:cubicBezTo>
                      <a:pt x="3145770" y="6133747"/>
                      <a:pt x="3144293" y="6132514"/>
                      <a:pt x="3142811" y="6132514"/>
                    </a:cubicBezTo>
                    <a:cubicBezTo>
                      <a:pt x="3141085" y="6132514"/>
                      <a:pt x="3139853" y="6133993"/>
                      <a:pt x="3139853" y="6135474"/>
                    </a:cubicBezTo>
                    <a:cubicBezTo>
                      <a:pt x="3139853" y="6137201"/>
                      <a:pt x="3141085" y="6138433"/>
                      <a:pt x="3142811" y="6138433"/>
                    </a:cubicBezTo>
                    <a:cubicBezTo>
                      <a:pt x="3144293" y="6138433"/>
                      <a:pt x="3145770" y="6137201"/>
                      <a:pt x="3145770" y="6135474"/>
                    </a:cubicBezTo>
                    <a:close/>
                    <a:moveTo>
                      <a:pt x="3145770" y="7226321"/>
                    </a:moveTo>
                    <a:cubicBezTo>
                      <a:pt x="3145770" y="7224594"/>
                      <a:pt x="3144538" y="7223362"/>
                      <a:pt x="3142811" y="7223362"/>
                    </a:cubicBezTo>
                    <a:cubicBezTo>
                      <a:pt x="3141085" y="7223362"/>
                      <a:pt x="3139853" y="7224840"/>
                      <a:pt x="3139853" y="7226321"/>
                    </a:cubicBezTo>
                    <a:cubicBezTo>
                      <a:pt x="3139853" y="7228048"/>
                      <a:pt x="3141330" y="7229280"/>
                      <a:pt x="3142811" y="7229280"/>
                    </a:cubicBezTo>
                    <a:cubicBezTo>
                      <a:pt x="3144538" y="7229280"/>
                      <a:pt x="3145770" y="7228048"/>
                      <a:pt x="3145770" y="7226321"/>
                    </a:cubicBezTo>
                    <a:close/>
                    <a:moveTo>
                      <a:pt x="3146016" y="5257415"/>
                    </a:moveTo>
                    <a:cubicBezTo>
                      <a:pt x="3146016" y="5256183"/>
                      <a:pt x="3145029" y="5255196"/>
                      <a:pt x="3143797" y="5255196"/>
                    </a:cubicBezTo>
                    <a:cubicBezTo>
                      <a:pt x="3142565" y="5255196"/>
                      <a:pt x="3141579" y="5256183"/>
                      <a:pt x="3141579" y="5257415"/>
                    </a:cubicBezTo>
                    <a:cubicBezTo>
                      <a:pt x="3141579" y="5258647"/>
                      <a:pt x="3142565" y="5259636"/>
                      <a:pt x="3143797" y="5259636"/>
                    </a:cubicBezTo>
                    <a:cubicBezTo>
                      <a:pt x="3145029" y="5259636"/>
                      <a:pt x="3146016" y="5258647"/>
                      <a:pt x="3146016" y="5257415"/>
                    </a:cubicBezTo>
                    <a:close/>
                    <a:moveTo>
                      <a:pt x="3146016" y="7117582"/>
                    </a:moveTo>
                    <a:cubicBezTo>
                      <a:pt x="3146016" y="7115856"/>
                      <a:pt x="3144537" y="7114377"/>
                      <a:pt x="3142810" y="7114377"/>
                    </a:cubicBezTo>
                    <a:cubicBezTo>
                      <a:pt x="3141084" y="7114377"/>
                      <a:pt x="3139606" y="7115856"/>
                      <a:pt x="3139606" y="7117582"/>
                    </a:cubicBezTo>
                    <a:cubicBezTo>
                      <a:pt x="3139606" y="7119309"/>
                      <a:pt x="3141084" y="7120787"/>
                      <a:pt x="3142810" y="7120787"/>
                    </a:cubicBezTo>
                    <a:cubicBezTo>
                      <a:pt x="3144537" y="7120787"/>
                      <a:pt x="3146016" y="7119309"/>
                      <a:pt x="3146016" y="7117582"/>
                    </a:cubicBezTo>
                    <a:close/>
                    <a:moveTo>
                      <a:pt x="3146510" y="5807031"/>
                    </a:moveTo>
                    <a:cubicBezTo>
                      <a:pt x="3146510" y="5804568"/>
                      <a:pt x="3144537" y="5802595"/>
                      <a:pt x="3142070" y="5802595"/>
                    </a:cubicBezTo>
                    <a:cubicBezTo>
                      <a:pt x="3139606" y="5802595"/>
                      <a:pt x="3137634" y="5804568"/>
                      <a:pt x="3137634" y="5807031"/>
                    </a:cubicBezTo>
                    <a:cubicBezTo>
                      <a:pt x="3137634" y="5809499"/>
                      <a:pt x="3139606" y="5811471"/>
                      <a:pt x="3142070" y="5811471"/>
                    </a:cubicBezTo>
                    <a:cubicBezTo>
                      <a:pt x="3144537" y="5811471"/>
                      <a:pt x="3146510" y="5809499"/>
                      <a:pt x="3146510" y="5807031"/>
                    </a:cubicBezTo>
                    <a:close/>
                    <a:moveTo>
                      <a:pt x="3147248" y="6681639"/>
                    </a:moveTo>
                    <a:cubicBezTo>
                      <a:pt x="3147248" y="6678680"/>
                      <a:pt x="3144781" y="6676213"/>
                      <a:pt x="3141825" y="6676213"/>
                    </a:cubicBezTo>
                    <a:cubicBezTo>
                      <a:pt x="3138865" y="6676213"/>
                      <a:pt x="3136399" y="6678680"/>
                      <a:pt x="3136399" y="6681639"/>
                    </a:cubicBezTo>
                    <a:cubicBezTo>
                      <a:pt x="3136399" y="6684596"/>
                      <a:pt x="3138865" y="6687063"/>
                      <a:pt x="3141825" y="6687063"/>
                    </a:cubicBezTo>
                    <a:cubicBezTo>
                      <a:pt x="3144781" y="6687063"/>
                      <a:pt x="3147248" y="6684596"/>
                      <a:pt x="3147248" y="6681639"/>
                    </a:cubicBezTo>
                    <a:close/>
                    <a:moveTo>
                      <a:pt x="3147496" y="6790624"/>
                    </a:moveTo>
                    <a:cubicBezTo>
                      <a:pt x="3147496" y="6787666"/>
                      <a:pt x="3145029" y="6785198"/>
                      <a:pt x="3142070" y="6785198"/>
                    </a:cubicBezTo>
                    <a:cubicBezTo>
                      <a:pt x="3139112" y="6785198"/>
                      <a:pt x="3136647" y="6787666"/>
                      <a:pt x="3136647" y="6790624"/>
                    </a:cubicBezTo>
                    <a:cubicBezTo>
                      <a:pt x="3136647" y="6793581"/>
                      <a:pt x="3139112" y="6796048"/>
                      <a:pt x="3142070" y="6796048"/>
                    </a:cubicBezTo>
                    <a:cubicBezTo>
                      <a:pt x="3145029" y="6796048"/>
                      <a:pt x="3147496" y="6793581"/>
                      <a:pt x="3147496" y="6790624"/>
                    </a:cubicBezTo>
                    <a:close/>
                    <a:moveTo>
                      <a:pt x="3148234" y="6899609"/>
                    </a:moveTo>
                    <a:cubicBezTo>
                      <a:pt x="3148234" y="6896404"/>
                      <a:pt x="3145520" y="6893691"/>
                      <a:pt x="3142316" y="6893691"/>
                    </a:cubicBezTo>
                    <a:cubicBezTo>
                      <a:pt x="3139112" y="6893691"/>
                      <a:pt x="3136399" y="6896404"/>
                      <a:pt x="3136399" y="6899609"/>
                    </a:cubicBezTo>
                    <a:cubicBezTo>
                      <a:pt x="3136399" y="6902814"/>
                      <a:pt x="3139112" y="6905526"/>
                      <a:pt x="3142316" y="6905526"/>
                    </a:cubicBezTo>
                    <a:cubicBezTo>
                      <a:pt x="3145520" y="6905526"/>
                      <a:pt x="3148234" y="6902814"/>
                      <a:pt x="3148234" y="6899609"/>
                    </a:cubicBezTo>
                    <a:close/>
                    <a:moveTo>
                      <a:pt x="3149960" y="4924293"/>
                    </a:moveTo>
                    <a:cubicBezTo>
                      <a:pt x="3149960" y="4920347"/>
                      <a:pt x="3146756" y="4917389"/>
                      <a:pt x="3143057" y="4917389"/>
                    </a:cubicBezTo>
                    <a:cubicBezTo>
                      <a:pt x="3139112" y="4917389"/>
                      <a:pt x="3136153" y="4920594"/>
                      <a:pt x="3136153" y="4924293"/>
                    </a:cubicBezTo>
                    <a:cubicBezTo>
                      <a:pt x="3136153" y="4928238"/>
                      <a:pt x="3139357" y="4931197"/>
                      <a:pt x="3143057" y="4931197"/>
                    </a:cubicBezTo>
                    <a:cubicBezTo>
                      <a:pt x="3146756" y="4931197"/>
                      <a:pt x="3149715" y="4927992"/>
                      <a:pt x="3149960" y="4924293"/>
                    </a:cubicBezTo>
                    <a:close/>
                    <a:moveTo>
                      <a:pt x="3149962" y="6463418"/>
                    </a:moveTo>
                    <a:cubicBezTo>
                      <a:pt x="3149962" y="6459967"/>
                      <a:pt x="3147002" y="6457253"/>
                      <a:pt x="3143551" y="6457253"/>
                    </a:cubicBezTo>
                    <a:cubicBezTo>
                      <a:pt x="3139853" y="6457253"/>
                      <a:pt x="3137139" y="6459967"/>
                      <a:pt x="3137139" y="6463418"/>
                    </a:cubicBezTo>
                    <a:cubicBezTo>
                      <a:pt x="3137139" y="6466871"/>
                      <a:pt x="3140098" y="6469830"/>
                      <a:pt x="3143551" y="6469830"/>
                    </a:cubicBezTo>
                    <a:cubicBezTo>
                      <a:pt x="3147002" y="6469830"/>
                      <a:pt x="3149715" y="6466871"/>
                      <a:pt x="3149962" y="6463418"/>
                    </a:cubicBezTo>
                    <a:close/>
                    <a:moveTo>
                      <a:pt x="3150206" y="6354184"/>
                    </a:moveTo>
                    <a:cubicBezTo>
                      <a:pt x="3150206" y="6350485"/>
                      <a:pt x="3147002" y="6347279"/>
                      <a:pt x="3143303" y="6347279"/>
                    </a:cubicBezTo>
                    <a:cubicBezTo>
                      <a:pt x="3139603" y="6347279"/>
                      <a:pt x="3136399" y="6350485"/>
                      <a:pt x="3136399" y="6354184"/>
                    </a:cubicBezTo>
                    <a:cubicBezTo>
                      <a:pt x="3136399" y="6358129"/>
                      <a:pt x="3139603" y="6361088"/>
                      <a:pt x="3143303" y="6361088"/>
                    </a:cubicBezTo>
                    <a:cubicBezTo>
                      <a:pt x="3147002" y="6361088"/>
                      <a:pt x="3150206" y="6358129"/>
                      <a:pt x="3150206" y="6354184"/>
                    </a:cubicBezTo>
                    <a:close/>
                    <a:moveTo>
                      <a:pt x="3154152" y="5477855"/>
                    </a:moveTo>
                    <a:cubicBezTo>
                      <a:pt x="3154152" y="5472430"/>
                      <a:pt x="3149715" y="5467992"/>
                      <a:pt x="3144289" y="5467992"/>
                    </a:cubicBezTo>
                    <a:cubicBezTo>
                      <a:pt x="3138617" y="5467992"/>
                      <a:pt x="3134181" y="5472430"/>
                      <a:pt x="3134181" y="5477855"/>
                    </a:cubicBezTo>
                    <a:cubicBezTo>
                      <a:pt x="3134181" y="5483528"/>
                      <a:pt x="3138866" y="5487964"/>
                      <a:pt x="3144289" y="5487964"/>
                    </a:cubicBezTo>
                    <a:cubicBezTo>
                      <a:pt x="3149715" y="5487964"/>
                      <a:pt x="3154152" y="5483528"/>
                      <a:pt x="3154152" y="5477855"/>
                    </a:cubicBezTo>
                    <a:close/>
                    <a:moveTo>
                      <a:pt x="3154646" y="1698439"/>
                    </a:moveTo>
                    <a:cubicBezTo>
                      <a:pt x="3154646" y="1691041"/>
                      <a:pt x="3148728" y="1685125"/>
                      <a:pt x="3141329" y="1685125"/>
                    </a:cubicBezTo>
                    <a:cubicBezTo>
                      <a:pt x="3133934" y="1685125"/>
                      <a:pt x="3128016" y="1691041"/>
                      <a:pt x="3128016" y="1698439"/>
                    </a:cubicBezTo>
                    <a:cubicBezTo>
                      <a:pt x="3128016" y="1705836"/>
                      <a:pt x="3133934" y="1711737"/>
                      <a:pt x="3141329" y="1711737"/>
                    </a:cubicBezTo>
                    <a:cubicBezTo>
                      <a:pt x="3148728" y="1711737"/>
                      <a:pt x="3154646" y="1705591"/>
                      <a:pt x="3154646" y="1698439"/>
                    </a:cubicBezTo>
                    <a:close/>
                    <a:moveTo>
                      <a:pt x="3155385" y="1808915"/>
                    </a:moveTo>
                    <a:cubicBezTo>
                      <a:pt x="3155385" y="1801275"/>
                      <a:pt x="3148975" y="1794859"/>
                      <a:pt x="3141330" y="1794859"/>
                    </a:cubicBezTo>
                    <a:cubicBezTo>
                      <a:pt x="3133685" y="1794859"/>
                      <a:pt x="3127276" y="1801275"/>
                      <a:pt x="3127276" y="1808915"/>
                    </a:cubicBezTo>
                    <a:cubicBezTo>
                      <a:pt x="3127276" y="1816563"/>
                      <a:pt x="3133685" y="1822969"/>
                      <a:pt x="3141330" y="1822969"/>
                    </a:cubicBezTo>
                    <a:cubicBezTo>
                      <a:pt x="3149220" y="1822969"/>
                      <a:pt x="3155385" y="1816563"/>
                      <a:pt x="3155385" y="1808915"/>
                    </a:cubicBezTo>
                    <a:close/>
                    <a:moveTo>
                      <a:pt x="3157357" y="4242263"/>
                    </a:moveTo>
                    <a:cubicBezTo>
                      <a:pt x="3157357" y="4238070"/>
                      <a:pt x="3154152" y="4234865"/>
                      <a:pt x="3149962" y="4234865"/>
                    </a:cubicBezTo>
                    <a:cubicBezTo>
                      <a:pt x="3145767" y="4234865"/>
                      <a:pt x="3142563" y="4238070"/>
                      <a:pt x="3142563" y="4242263"/>
                    </a:cubicBezTo>
                    <a:cubicBezTo>
                      <a:pt x="3142563" y="4246454"/>
                      <a:pt x="3145767" y="4249659"/>
                      <a:pt x="3149962" y="4249659"/>
                    </a:cubicBezTo>
                    <a:cubicBezTo>
                      <a:pt x="3153906" y="4249659"/>
                      <a:pt x="3157357" y="4246454"/>
                      <a:pt x="3157357" y="4242263"/>
                    </a:cubicBezTo>
                    <a:close/>
                    <a:moveTo>
                      <a:pt x="3158591" y="5367635"/>
                    </a:moveTo>
                    <a:cubicBezTo>
                      <a:pt x="3158591" y="5359496"/>
                      <a:pt x="3152179" y="5353086"/>
                      <a:pt x="3144044" y="5353086"/>
                    </a:cubicBezTo>
                    <a:cubicBezTo>
                      <a:pt x="3136153" y="5353086"/>
                      <a:pt x="3129495" y="5359496"/>
                      <a:pt x="3129495" y="5367635"/>
                    </a:cubicBezTo>
                    <a:cubicBezTo>
                      <a:pt x="3129495" y="5375525"/>
                      <a:pt x="3135904" y="5382180"/>
                      <a:pt x="3144044" y="5382180"/>
                    </a:cubicBezTo>
                    <a:cubicBezTo>
                      <a:pt x="3151934" y="5382180"/>
                      <a:pt x="3158591" y="5375771"/>
                      <a:pt x="3158591" y="5367635"/>
                    </a:cubicBezTo>
                    <a:close/>
                    <a:moveTo>
                      <a:pt x="3158592" y="1587983"/>
                    </a:moveTo>
                    <a:cubicBezTo>
                      <a:pt x="3158592" y="1578369"/>
                      <a:pt x="3150702" y="1570478"/>
                      <a:pt x="3141085" y="1570478"/>
                    </a:cubicBezTo>
                    <a:cubicBezTo>
                      <a:pt x="3131467" y="1570478"/>
                      <a:pt x="3123577" y="1578369"/>
                      <a:pt x="3123577" y="1587983"/>
                    </a:cubicBezTo>
                    <a:cubicBezTo>
                      <a:pt x="3123577" y="1597605"/>
                      <a:pt x="3131467" y="1605493"/>
                      <a:pt x="3141085" y="1605493"/>
                    </a:cubicBezTo>
                    <a:cubicBezTo>
                      <a:pt x="3150702" y="1605493"/>
                      <a:pt x="3158344" y="1597605"/>
                      <a:pt x="3158592" y="1587983"/>
                    </a:cubicBezTo>
                    <a:close/>
                    <a:moveTo>
                      <a:pt x="3158838" y="3258921"/>
                    </a:moveTo>
                    <a:cubicBezTo>
                      <a:pt x="3158838" y="3254727"/>
                      <a:pt x="3155387" y="3251276"/>
                      <a:pt x="3151196" y="3251276"/>
                    </a:cubicBezTo>
                    <a:cubicBezTo>
                      <a:pt x="3147002" y="3251276"/>
                      <a:pt x="3143551" y="3254727"/>
                      <a:pt x="3143551" y="3258921"/>
                    </a:cubicBezTo>
                    <a:cubicBezTo>
                      <a:pt x="3143551" y="3263112"/>
                      <a:pt x="3147002" y="3266565"/>
                      <a:pt x="3151196" y="3266565"/>
                    </a:cubicBezTo>
                    <a:cubicBezTo>
                      <a:pt x="3155387" y="3266565"/>
                      <a:pt x="3158838" y="3263112"/>
                      <a:pt x="3158838" y="3258921"/>
                    </a:cubicBezTo>
                    <a:close/>
                    <a:moveTo>
                      <a:pt x="3164016" y="5146704"/>
                    </a:moveTo>
                    <a:cubicBezTo>
                      <a:pt x="3164016" y="5135360"/>
                      <a:pt x="3154892" y="5126237"/>
                      <a:pt x="3143551" y="5126237"/>
                    </a:cubicBezTo>
                    <a:cubicBezTo>
                      <a:pt x="3132207" y="5126237"/>
                      <a:pt x="3123085" y="5135360"/>
                      <a:pt x="3123085" y="5146704"/>
                    </a:cubicBezTo>
                    <a:cubicBezTo>
                      <a:pt x="3123085" y="5158045"/>
                      <a:pt x="3132207" y="5167171"/>
                      <a:pt x="3143551" y="5167171"/>
                    </a:cubicBezTo>
                    <a:cubicBezTo>
                      <a:pt x="3154892" y="5167171"/>
                      <a:pt x="3164016" y="5158045"/>
                      <a:pt x="3164016" y="5146704"/>
                    </a:cubicBezTo>
                    <a:close/>
                    <a:moveTo>
                      <a:pt x="3165496" y="383366"/>
                    </a:moveTo>
                    <a:cubicBezTo>
                      <a:pt x="3165496" y="368573"/>
                      <a:pt x="3153412" y="356491"/>
                      <a:pt x="3138617" y="356491"/>
                    </a:cubicBezTo>
                    <a:cubicBezTo>
                      <a:pt x="3123822" y="356491"/>
                      <a:pt x="3111741" y="368573"/>
                      <a:pt x="3111741" y="383366"/>
                    </a:cubicBezTo>
                    <a:cubicBezTo>
                      <a:pt x="3111741" y="398160"/>
                      <a:pt x="3123822" y="410244"/>
                      <a:pt x="3138617" y="410244"/>
                    </a:cubicBezTo>
                    <a:cubicBezTo>
                      <a:pt x="3153412" y="410244"/>
                      <a:pt x="3165496" y="398160"/>
                      <a:pt x="3165496" y="383366"/>
                    </a:cubicBezTo>
                    <a:close/>
                    <a:moveTo>
                      <a:pt x="3165987" y="274155"/>
                    </a:moveTo>
                    <a:cubicBezTo>
                      <a:pt x="3165987" y="259115"/>
                      <a:pt x="3153906" y="247034"/>
                      <a:pt x="3138865" y="247034"/>
                    </a:cubicBezTo>
                    <a:cubicBezTo>
                      <a:pt x="3123822" y="247034"/>
                      <a:pt x="3111741" y="259115"/>
                      <a:pt x="3111741" y="274155"/>
                    </a:cubicBezTo>
                    <a:cubicBezTo>
                      <a:pt x="3111741" y="288952"/>
                      <a:pt x="3123822" y="301279"/>
                      <a:pt x="3138865" y="301279"/>
                    </a:cubicBezTo>
                    <a:cubicBezTo>
                      <a:pt x="3153906" y="301279"/>
                      <a:pt x="3165987" y="289198"/>
                      <a:pt x="3165987" y="274155"/>
                    </a:cubicBezTo>
                    <a:close/>
                    <a:moveTo>
                      <a:pt x="3165988" y="1477778"/>
                    </a:moveTo>
                    <a:cubicBezTo>
                      <a:pt x="3165988" y="1464219"/>
                      <a:pt x="3154892" y="1453122"/>
                      <a:pt x="3141330" y="1453122"/>
                    </a:cubicBezTo>
                    <a:cubicBezTo>
                      <a:pt x="3127769" y="1453122"/>
                      <a:pt x="3116673" y="1464219"/>
                      <a:pt x="3116673" y="1477778"/>
                    </a:cubicBezTo>
                    <a:cubicBezTo>
                      <a:pt x="3116673" y="1491342"/>
                      <a:pt x="3127769" y="1502437"/>
                      <a:pt x="3141330" y="1502437"/>
                    </a:cubicBezTo>
                    <a:cubicBezTo>
                      <a:pt x="3154892" y="1502437"/>
                      <a:pt x="3165988" y="1491342"/>
                      <a:pt x="3165988" y="1477778"/>
                    </a:cubicBezTo>
                    <a:close/>
                    <a:moveTo>
                      <a:pt x="3167222" y="56232"/>
                    </a:moveTo>
                    <a:cubicBezTo>
                      <a:pt x="3167222" y="40946"/>
                      <a:pt x="3154647" y="28371"/>
                      <a:pt x="3139112" y="28371"/>
                    </a:cubicBezTo>
                    <a:cubicBezTo>
                      <a:pt x="3123825" y="28371"/>
                      <a:pt x="3111250" y="40701"/>
                      <a:pt x="3111250" y="56232"/>
                    </a:cubicBezTo>
                    <a:cubicBezTo>
                      <a:pt x="3111250" y="71520"/>
                      <a:pt x="3123579" y="84096"/>
                      <a:pt x="3139112" y="84096"/>
                    </a:cubicBezTo>
                    <a:cubicBezTo>
                      <a:pt x="3154647" y="84096"/>
                      <a:pt x="3167222" y="71520"/>
                      <a:pt x="3167222" y="56232"/>
                    </a:cubicBezTo>
                    <a:close/>
                    <a:moveTo>
                      <a:pt x="3167222" y="4588456"/>
                    </a:moveTo>
                    <a:cubicBezTo>
                      <a:pt x="3167222" y="4577607"/>
                      <a:pt x="3158346" y="4568730"/>
                      <a:pt x="3147497" y="4568730"/>
                    </a:cubicBezTo>
                    <a:cubicBezTo>
                      <a:pt x="3136647" y="4568730"/>
                      <a:pt x="3127771" y="4577607"/>
                      <a:pt x="3127771" y="4588456"/>
                    </a:cubicBezTo>
                    <a:cubicBezTo>
                      <a:pt x="3127771" y="4599306"/>
                      <a:pt x="3136647" y="4608183"/>
                      <a:pt x="3147497" y="4608183"/>
                    </a:cubicBezTo>
                    <a:cubicBezTo>
                      <a:pt x="3158346" y="4608183"/>
                      <a:pt x="3167222" y="4599306"/>
                      <a:pt x="3167222" y="4588456"/>
                    </a:cubicBezTo>
                    <a:close/>
                    <a:moveTo>
                      <a:pt x="3167960" y="164948"/>
                    </a:moveTo>
                    <a:cubicBezTo>
                      <a:pt x="3167960" y="149414"/>
                      <a:pt x="3155138" y="136593"/>
                      <a:pt x="3139358" y="136593"/>
                    </a:cubicBezTo>
                    <a:cubicBezTo>
                      <a:pt x="3123577" y="136593"/>
                      <a:pt x="3110755" y="149168"/>
                      <a:pt x="3110755" y="164948"/>
                    </a:cubicBezTo>
                    <a:cubicBezTo>
                      <a:pt x="3110755" y="180729"/>
                      <a:pt x="3123577" y="193550"/>
                      <a:pt x="3139358" y="193550"/>
                    </a:cubicBezTo>
                    <a:cubicBezTo>
                      <a:pt x="3155138" y="193550"/>
                      <a:pt x="3167960" y="180729"/>
                      <a:pt x="3167960" y="164948"/>
                    </a:cubicBezTo>
                    <a:close/>
                    <a:moveTo>
                      <a:pt x="3169932" y="1367815"/>
                    </a:moveTo>
                    <a:cubicBezTo>
                      <a:pt x="3169932" y="1351790"/>
                      <a:pt x="3156865" y="1338968"/>
                      <a:pt x="3141084" y="1338968"/>
                    </a:cubicBezTo>
                    <a:cubicBezTo>
                      <a:pt x="3125057" y="1338968"/>
                      <a:pt x="3112235" y="1352035"/>
                      <a:pt x="3112235" y="1367815"/>
                    </a:cubicBezTo>
                    <a:cubicBezTo>
                      <a:pt x="3112235" y="1383845"/>
                      <a:pt x="3125303" y="1396671"/>
                      <a:pt x="3141084" y="1396671"/>
                    </a:cubicBezTo>
                    <a:cubicBezTo>
                      <a:pt x="3156865" y="1396671"/>
                      <a:pt x="3169932" y="1383598"/>
                      <a:pt x="3169932" y="1367815"/>
                    </a:cubicBezTo>
                    <a:close/>
                    <a:moveTo>
                      <a:pt x="3174619" y="1919841"/>
                    </a:moveTo>
                    <a:cubicBezTo>
                      <a:pt x="3174619" y="1901597"/>
                      <a:pt x="3159824" y="1886805"/>
                      <a:pt x="3141579" y="1886805"/>
                    </a:cubicBezTo>
                    <a:cubicBezTo>
                      <a:pt x="3123331" y="1886805"/>
                      <a:pt x="3108536" y="1901597"/>
                      <a:pt x="3108536" y="1919841"/>
                    </a:cubicBezTo>
                    <a:cubicBezTo>
                      <a:pt x="3108536" y="1938082"/>
                      <a:pt x="3123331" y="1952873"/>
                      <a:pt x="3141579" y="1952873"/>
                    </a:cubicBezTo>
                    <a:cubicBezTo>
                      <a:pt x="3159824" y="1952873"/>
                      <a:pt x="3174619" y="1938082"/>
                      <a:pt x="3174619" y="1919841"/>
                    </a:cubicBezTo>
                    <a:close/>
                    <a:moveTo>
                      <a:pt x="3178072" y="4813579"/>
                    </a:moveTo>
                    <a:cubicBezTo>
                      <a:pt x="3178072" y="4796558"/>
                      <a:pt x="3164272" y="4782757"/>
                      <a:pt x="3147248" y="4782757"/>
                    </a:cubicBezTo>
                    <a:cubicBezTo>
                      <a:pt x="3130228" y="4782757"/>
                      <a:pt x="3116427" y="4796558"/>
                      <a:pt x="3116427" y="4813579"/>
                    </a:cubicBezTo>
                    <a:cubicBezTo>
                      <a:pt x="3116427" y="4830602"/>
                      <a:pt x="3130228" y="4844400"/>
                      <a:pt x="3147248" y="4844400"/>
                    </a:cubicBezTo>
                    <a:cubicBezTo>
                      <a:pt x="3164272" y="4844400"/>
                      <a:pt x="3178072" y="4830602"/>
                      <a:pt x="3178072" y="4813579"/>
                    </a:cubicBezTo>
                    <a:close/>
                    <a:moveTo>
                      <a:pt x="3181029" y="4359143"/>
                    </a:moveTo>
                    <a:cubicBezTo>
                      <a:pt x="3181029" y="4341388"/>
                      <a:pt x="3166482" y="4326840"/>
                      <a:pt x="3148729" y="4326840"/>
                    </a:cubicBezTo>
                    <a:cubicBezTo>
                      <a:pt x="3130976" y="4326840"/>
                      <a:pt x="3116427" y="4341388"/>
                      <a:pt x="3116427" y="4359143"/>
                    </a:cubicBezTo>
                    <a:cubicBezTo>
                      <a:pt x="3116427" y="4376896"/>
                      <a:pt x="3130976" y="4391441"/>
                      <a:pt x="3148729" y="4391441"/>
                    </a:cubicBezTo>
                    <a:cubicBezTo>
                      <a:pt x="3166482" y="4391441"/>
                      <a:pt x="3180782" y="4377141"/>
                      <a:pt x="3181029" y="4359143"/>
                    </a:cubicBezTo>
                    <a:close/>
                    <a:moveTo>
                      <a:pt x="3181277" y="2031019"/>
                    </a:moveTo>
                    <a:cubicBezTo>
                      <a:pt x="3181277" y="2009073"/>
                      <a:pt x="3163524" y="1991322"/>
                      <a:pt x="3141576" y="1991322"/>
                    </a:cubicBezTo>
                    <a:cubicBezTo>
                      <a:pt x="3119632" y="1991322"/>
                      <a:pt x="3101879" y="2009073"/>
                      <a:pt x="3101879" y="2031019"/>
                    </a:cubicBezTo>
                    <a:cubicBezTo>
                      <a:pt x="3101879" y="2052966"/>
                      <a:pt x="3119632" y="2070721"/>
                      <a:pt x="3141576" y="2070721"/>
                    </a:cubicBezTo>
                    <a:cubicBezTo>
                      <a:pt x="3163275" y="2070721"/>
                      <a:pt x="3181028" y="2052966"/>
                      <a:pt x="3181277" y="2031019"/>
                    </a:cubicBezTo>
                    <a:close/>
                    <a:moveTo>
                      <a:pt x="3181769" y="5035743"/>
                    </a:moveTo>
                    <a:cubicBezTo>
                      <a:pt x="3181769" y="5014538"/>
                      <a:pt x="3164508" y="4997277"/>
                      <a:pt x="3143304" y="4997277"/>
                    </a:cubicBezTo>
                    <a:cubicBezTo>
                      <a:pt x="3122097" y="4997277"/>
                      <a:pt x="3104838" y="5014538"/>
                      <a:pt x="3104838" y="5035743"/>
                    </a:cubicBezTo>
                    <a:cubicBezTo>
                      <a:pt x="3104838" y="5056949"/>
                      <a:pt x="3122097" y="5074208"/>
                      <a:pt x="3143304" y="5074208"/>
                    </a:cubicBezTo>
                    <a:cubicBezTo>
                      <a:pt x="3164508" y="5074208"/>
                      <a:pt x="3181769" y="5056949"/>
                      <a:pt x="3181769" y="5035743"/>
                    </a:cubicBezTo>
                    <a:close/>
                    <a:moveTo>
                      <a:pt x="3182261" y="4474539"/>
                    </a:moveTo>
                    <a:cubicBezTo>
                      <a:pt x="3182261" y="4455554"/>
                      <a:pt x="3166974" y="4440264"/>
                      <a:pt x="3147989" y="4440264"/>
                    </a:cubicBezTo>
                    <a:cubicBezTo>
                      <a:pt x="3129001" y="4440264"/>
                      <a:pt x="3113714" y="4455554"/>
                      <a:pt x="3113714" y="4474539"/>
                    </a:cubicBezTo>
                    <a:cubicBezTo>
                      <a:pt x="3113714" y="4493524"/>
                      <a:pt x="3129001" y="4508811"/>
                      <a:pt x="3147989" y="4508811"/>
                    </a:cubicBezTo>
                    <a:cubicBezTo>
                      <a:pt x="3166974" y="4508811"/>
                      <a:pt x="3182261" y="4493524"/>
                      <a:pt x="3182261" y="4474539"/>
                    </a:cubicBezTo>
                    <a:close/>
                    <a:moveTo>
                      <a:pt x="3184730" y="4122675"/>
                    </a:moveTo>
                    <a:cubicBezTo>
                      <a:pt x="3184730" y="4104427"/>
                      <a:pt x="3169936" y="4089632"/>
                      <a:pt x="3151688" y="4089632"/>
                    </a:cubicBezTo>
                    <a:cubicBezTo>
                      <a:pt x="3133688" y="4089632"/>
                      <a:pt x="3118894" y="4104427"/>
                      <a:pt x="3118894" y="4122675"/>
                    </a:cubicBezTo>
                    <a:cubicBezTo>
                      <a:pt x="3118894" y="4140920"/>
                      <a:pt x="3133442" y="4155715"/>
                      <a:pt x="3151688" y="4155715"/>
                    </a:cubicBezTo>
                    <a:cubicBezTo>
                      <a:pt x="3169936" y="4155715"/>
                      <a:pt x="3184730" y="4140920"/>
                      <a:pt x="3184730" y="4122675"/>
                    </a:cubicBezTo>
                    <a:close/>
                    <a:moveTo>
                      <a:pt x="3185713" y="4701389"/>
                    </a:moveTo>
                    <a:cubicBezTo>
                      <a:pt x="3185713" y="4680427"/>
                      <a:pt x="3168454" y="4663169"/>
                      <a:pt x="3147496" y="4663169"/>
                    </a:cubicBezTo>
                    <a:cubicBezTo>
                      <a:pt x="3126535" y="4663169"/>
                      <a:pt x="3109276" y="4680427"/>
                      <a:pt x="3109276" y="4701389"/>
                    </a:cubicBezTo>
                    <a:cubicBezTo>
                      <a:pt x="3109276" y="4722347"/>
                      <a:pt x="3126535" y="4739606"/>
                      <a:pt x="3147496" y="4739606"/>
                    </a:cubicBezTo>
                    <a:cubicBezTo>
                      <a:pt x="3168454" y="4739606"/>
                      <a:pt x="3185713" y="4722592"/>
                      <a:pt x="3185713" y="4701389"/>
                    </a:cubicBezTo>
                    <a:close/>
                    <a:moveTo>
                      <a:pt x="3188181" y="2950213"/>
                    </a:moveTo>
                    <a:cubicBezTo>
                      <a:pt x="3188181" y="2936897"/>
                      <a:pt x="3177086" y="2926047"/>
                      <a:pt x="3163769" y="2926047"/>
                    </a:cubicBezTo>
                    <a:cubicBezTo>
                      <a:pt x="3150455" y="2926047"/>
                      <a:pt x="3139606" y="2936897"/>
                      <a:pt x="3139606" y="2950213"/>
                    </a:cubicBezTo>
                    <a:cubicBezTo>
                      <a:pt x="3139606" y="2963773"/>
                      <a:pt x="3150455" y="2974622"/>
                      <a:pt x="3163769" y="2974622"/>
                    </a:cubicBezTo>
                    <a:cubicBezTo>
                      <a:pt x="3177086" y="2974622"/>
                      <a:pt x="3188181" y="2963773"/>
                      <a:pt x="3188181" y="2950213"/>
                    </a:cubicBezTo>
                    <a:close/>
                    <a:moveTo>
                      <a:pt x="3188181" y="3077442"/>
                    </a:moveTo>
                    <a:cubicBezTo>
                      <a:pt x="3188181" y="3068074"/>
                      <a:pt x="3180537" y="3060675"/>
                      <a:pt x="3171414" y="3060675"/>
                    </a:cubicBezTo>
                    <a:cubicBezTo>
                      <a:pt x="3162046" y="3060675"/>
                      <a:pt x="3154647" y="3068319"/>
                      <a:pt x="3154647" y="3077442"/>
                    </a:cubicBezTo>
                    <a:cubicBezTo>
                      <a:pt x="3154647" y="3086811"/>
                      <a:pt x="3162291" y="3094209"/>
                      <a:pt x="3171414" y="3094209"/>
                    </a:cubicBezTo>
                    <a:cubicBezTo>
                      <a:pt x="3180537" y="3094209"/>
                      <a:pt x="3188181" y="3086811"/>
                      <a:pt x="3188181" y="3077442"/>
                    </a:cubicBezTo>
                    <a:close/>
                    <a:moveTo>
                      <a:pt x="3201989" y="3877578"/>
                    </a:moveTo>
                    <a:cubicBezTo>
                      <a:pt x="3201989" y="3860565"/>
                      <a:pt x="3188181" y="3846756"/>
                      <a:pt x="3171165" y="3846756"/>
                    </a:cubicBezTo>
                    <a:cubicBezTo>
                      <a:pt x="3154152" y="3846756"/>
                      <a:pt x="3140344" y="3860565"/>
                      <a:pt x="3140344" y="3877578"/>
                    </a:cubicBezTo>
                    <a:cubicBezTo>
                      <a:pt x="3140344" y="3894593"/>
                      <a:pt x="3154152" y="3908402"/>
                      <a:pt x="3171165" y="3908402"/>
                    </a:cubicBezTo>
                    <a:cubicBezTo>
                      <a:pt x="3188181" y="3908402"/>
                      <a:pt x="3202235" y="3894593"/>
                      <a:pt x="3201989" y="3877578"/>
                    </a:cubicBezTo>
                    <a:close/>
                    <a:moveTo>
                      <a:pt x="3204456" y="4004811"/>
                    </a:moveTo>
                    <a:cubicBezTo>
                      <a:pt x="3204456" y="3982374"/>
                      <a:pt x="3186208" y="3964125"/>
                      <a:pt x="3163769" y="3964125"/>
                    </a:cubicBezTo>
                    <a:cubicBezTo>
                      <a:pt x="3141330" y="3964125"/>
                      <a:pt x="3123085" y="3982374"/>
                      <a:pt x="3123085" y="4004811"/>
                    </a:cubicBezTo>
                    <a:cubicBezTo>
                      <a:pt x="3123085" y="4027249"/>
                      <a:pt x="3141330" y="4045497"/>
                      <a:pt x="3163769" y="4045497"/>
                    </a:cubicBezTo>
                    <a:cubicBezTo>
                      <a:pt x="3186208" y="4045497"/>
                      <a:pt x="3204702" y="4027249"/>
                      <a:pt x="3204456" y="4004811"/>
                    </a:cubicBezTo>
                    <a:close/>
                    <a:moveTo>
                      <a:pt x="3211112" y="2807203"/>
                    </a:moveTo>
                    <a:cubicBezTo>
                      <a:pt x="3211112" y="2803503"/>
                      <a:pt x="3207907" y="2800298"/>
                      <a:pt x="3204209" y="2800298"/>
                    </a:cubicBezTo>
                    <a:cubicBezTo>
                      <a:pt x="3200509" y="2800298"/>
                      <a:pt x="3197304" y="2803503"/>
                      <a:pt x="3197304" y="2807203"/>
                    </a:cubicBezTo>
                    <a:cubicBezTo>
                      <a:pt x="3197304" y="2810901"/>
                      <a:pt x="3200509" y="2814107"/>
                      <a:pt x="3204209" y="2814107"/>
                    </a:cubicBezTo>
                    <a:cubicBezTo>
                      <a:pt x="3208153" y="2814107"/>
                      <a:pt x="3211112" y="2811148"/>
                      <a:pt x="3211112" y="2807203"/>
                    </a:cubicBezTo>
                    <a:close/>
                    <a:moveTo>
                      <a:pt x="3222455" y="2690824"/>
                    </a:moveTo>
                    <a:cubicBezTo>
                      <a:pt x="3222455" y="2680466"/>
                      <a:pt x="3214071" y="2672329"/>
                      <a:pt x="3203962" y="2672329"/>
                    </a:cubicBezTo>
                    <a:cubicBezTo>
                      <a:pt x="3193850" y="2672329"/>
                      <a:pt x="3185468" y="2680712"/>
                      <a:pt x="3185468" y="2690824"/>
                    </a:cubicBezTo>
                    <a:cubicBezTo>
                      <a:pt x="3185468" y="2701178"/>
                      <a:pt x="3193850" y="2709318"/>
                      <a:pt x="3203962" y="2709318"/>
                    </a:cubicBezTo>
                    <a:cubicBezTo>
                      <a:pt x="3214316" y="2709318"/>
                      <a:pt x="3222455" y="2700933"/>
                      <a:pt x="3222455" y="2690824"/>
                    </a:cubicBezTo>
                    <a:close/>
                    <a:moveTo>
                      <a:pt x="3224182" y="1031534"/>
                    </a:moveTo>
                    <a:cubicBezTo>
                      <a:pt x="3224182" y="1016499"/>
                      <a:pt x="3211852" y="1004165"/>
                      <a:pt x="3196812" y="1004165"/>
                    </a:cubicBezTo>
                    <a:cubicBezTo>
                      <a:pt x="3181771" y="1004165"/>
                      <a:pt x="3169441" y="1016499"/>
                      <a:pt x="3169441" y="1031534"/>
                    </a:cubicBezTo>
                    <a:cubicBezTo>
                      <a:pt x="3169441" y="1046577"/>
                      <a:pt x="3181771" y="1058902"/>
                      <a:pt x="3196812" y="1058902"/>
                    </a:cubicBezTo>
                    <a:cubicBezTo>
                      <a:pt x="3211852" y="1058902"/>
                      <a:pt x="3224182" y="1046577"/>
                      <a:pt x="3224182" y="1031534"/>
                    </a:cubicBezTo>
                    <a:close/>
                    <a:moveTo>
                      <a:pt x="3226398" y="813105"/>
                    </a:moveTo>
                    <a:cubicBezTo>
                      <a:pt x="3226398" y="797574"/>
                      <a:pt x="3213822" y="784995"/>
                      <a:pt x="3198290" y="784995"/>
                    </a:cubicBezTo>
                    <a:cubicBezTo>
                      <a:pt x="3182755" y="784995"/>
                      <a:pt x="3170179" y="797574"/>
                      <a:pt x="3170179" y="813105"/>
                    </a:cubicBezTo>
                    <a:cubicBezTo>
                      <a:pt x="3170179" y="828641"/>
                      <a:pt x="3182755" y="841220"/>
                      <a:pt x="3198290" y="841220"/>
                    </a:cubicBezTo>
                    <a:cubicBezTo>
                      <a:pt x="3213822" y="841220"/>
                      <a:pt x="3226398" y="828641"/>
                      <a:pt x="3226398" y="813105"/>
                    </a:cubicBezTo>
                    <a:close/>
                    <a:moveTo>
                      <a:pt x="3227387" y="922319"/>
                    </a:moveTo>
                    <a:cubicBezTo>
                      <a:pt x="3227387" y="905794"/>
                      <a:pt x="3213825" y="892235"/>
                      <a:pt x="3197304" y="892235"/>
                    </a:cubicBezTo>
                    <a:cubicBezTo>
                      <a:pt x="3181031" y="892235"/>
                      <a:pt x="3167469" y="905794"/>
                      <a:pt x="3167469" y="922319"/>
                    </a:cubicBezTo>
                    <a:cubicBezTo>
                      <a:pt x="3167469" y="938835"/>
                      <a:pt x="3180782" y="952156"/>
                      <a:pt x="3197304" y="952156"/>
                    </a:cubicBezTo>
                    <a:cubicBezTo>
                      <a:pt x="3213825" y="952156"/>
                      <a:pt x="3227387" y="938835"/>
                      <a:pt x="3227387" y="922319"/>
                    </a:cubicBezTo>
                    <a:close/>
                    <a:moveTo>
                      <a:pt x="3228865" y="1250215"/>
                    </a:moveTo>
                    <a:cubicBezTo>
                      <a:pt x="3228865" y="1232219"/>
                      <a:pt x="3214071" y="1217423"/>
                      <a:pt x="3196069" y="1217423"/>
                    </a:cubicBezTo>
                    <a:cubicBezTo>
                      <a:pt x="3178069" y="1217423"/>
                      <a:pt x="3163275" y="1232219"/>
                      <a:pt x="3163275" y="1250215"/>
                    </a:cubicBezTo>
                    <a:cubicBezTo>
                      <a:pt x="3163275" y="1268214"/>
                      <a:pt x="3178069" y="1283015"/>
                      <a:pt x="3196069" y="1283015"/>
                    </a:cubicBezTo>
                    <a:cubicBezTo>
                      <a:pt x="3214071" y="1283015"/>
                      <a:pt x="3228865" y="1268214"/>
                      <a:pt x="3228865" y="1250215"/>
                    </a:cubicBezTo>
                    <a:close/>
                    <a:moveTo>
                      <a:pt x="3229112" y="1140505"/>
                    </a:moveTo>
                    <a:cubicBezTo>
                      <a:pt x="3229112" y="1122508"/>
                      <a:pt x="3214563" y="1107958"/>
                      <a:pt x="3196563" y="1107958"/>
                    </a:cubicBezTo>
                    <a:cubicBezTo>
                      <a:pt x="3178564" y="1107958"/>
                      <a:pt x="3164016" y="1122508"/>
                      <a:pt x="3164016" y="1140505"/>
                    </a:cubicBezTo>
                    <a:cubicBezTo>
                      <a:pt x="3164016" y="1158504"/>
                      <a:pt x="3178564" y="1173053"/>
                      <a:pt x="3196563" y="1173053"/>
                    </a:cubicBezTo>
                    <a:cubicBezTo>
                      <a:pt x="3214563" y="1173053"/>
                      <a:pt x="3229112" y="1158504"/>
                      <a:pt x="3229112" y="1140505"/>
                    </a:cubicBezTo>
                    <a:close/>
                    <a:moveTo>
                      <a:pt x="3229605" y="485920"/>
                    </a:moveTo>
                    <a:cubicBezTo>
                      <a:pt x="3229605" y="468907"/>
                      <a:pt x="3215797" y="455099"/>
                      <a:pt x="3198781" y="455099"/>
                    </a:cubicBezTo>
                    <a:cubicBezTo>
                      <a:pt x="3181768" y="455099"/>
                      <a:pt x="3167960" y="468907"/>
                      <a:pt x="3167960" y="485920"/>
                    </a:cubicBezTo>
                    <a:cubicBezTo>
                      <a:pt x="3167960" y="502934"/>
                      <a:pt x="3181768" y="516743"/>
                      <a:pt x="3198781" y="516743"/>
                    </a:cubicBezTo>
                    <a:cubicBezTo>
                      <a:pt x="3215548" y="516743"/>
                      <a:pt x="3229356" y="502934"/>
                      <a:pt x="3229605" y="485920"/>
                    </a:cubicBezTo>
                    <a:close/>
                    <a:moveTo>
                      <a:pt x="3229606" y="595131"/>
                    </a:moveTo>
                    <a:cubicBezTo>
                      <a:pt x="3229606" y="578119"/>
                      <a:pt x="3215798" y="564066"/>
                      <a:pt x="3198537" y="564066"/>
                    </a:cubicBezTo>
                    <a:cubicBezTo>
                      <a:pt x="3181523" y="564066"/>
                      <a:pt x="3167469" y="577874"/>
                      <a:pt x="3167469" y="595131"/>
                    </a:cubicBezTo>
                    <a:cubicBezTo>
                      <a:pt x="3167469" y="612147"/>
                      <a:pt x="3181277" y="626201"/>
                      <a:pt x="3198537" y="626201"/>
                    </a:cubicBezTo>
                    <a:cubicBezTo>
                      <a:pt x="3215552" y="626201"/>
                      <a:pt x="3229606" y="612147"/>
                      <a:pt x="3229606" y="595131"/>
                    </a:cubicBezTo>
                    <a:close/>
                    <a:moveTo>
                      <a:pt x="3230345" y="704134"/>
                    </a:moveTo>
                    <a:cubicBezTo>
                      <a:pt x="3230345" y="686628"/>
                      <a:pt x="3216043" y="672324"/>
                      <a:pt x="3198535" y="672324"/>
                    </a:cubicBezTo>
                    <a:cubicBezTo>
                      <a:pt x="3181030" y="672324"/>
                      <a:pt x="3166728" y="686628"/>
                      <a:pt x="3166728" y="704134"/>
                    </a:cubicBezTo>
                    <a:cubicBezTo>
                      <a:pt x="3166728" y="721641"/>
                      <a:pt x="3181030" y="735938"/>
                      <a:pt x="3198535" y="735938"/>
                    </a:cubicBezTo>
                    <a:cubicBezTo>
                      <a:pt x="3216043" y="735938"/>
                      <a:pt x="3230345" y="721641"/>
                      <a:pt x="3230345" y="704134"/>
                    </a:cubicBezTo>
                    <a:close/>
                    <a:moveTo>
                      <a:pt x="3231083" y="2239616"/>
                    </a:moveTo>
                    <a:cubicBezTo>
                      <a:pt x="3231083" y="2223836"/>
                      <a:pt x="3218261" y="2211012"/>
                      <a:pt x="3202481" y="2211012"/>
                    </a:cubicBezTo>
                    <a:cubicBezTo>
                      <a:pt x="3186700" y="2211012"/>
                      <a:pt x="3173878" y="2223836"/>
                      <a:pt x="3173878" y="2239616"/>
                    </a:cubicBezTo>
                    <a:cubicBezTo>
                      <a:pt x="3173878" y="2255151"/>
                      <a:pt x="3186700" y="2267969"/>
                      <a:pt x="3202481" y="2267969"/>
                    </a:cubicBezTo>
                    <a:cubicBezTo>
                      <a:pt x="3218261" y="2267969"/>
                      <a:pt x="3230837" y="2255397"/>
                      <a:pt x="3231083" y="2239616"/>
                    </a:cubicBezTo>
                    <a:close/>
                    <a:moveTo>
                      <a:pt x="3233303" y="2576418"/>
                    </a:moveTo>
                    <a:cubicBezTo>
                      <a:pt x="3233303" y="2560143"/>
                      <a:pt x="3219988" y="2546829"/>
                      <a:pt x="3203713" y="2546829"/>
                    </a:cubicBezTo>
                    <a:cubicBezTo>
                      <a:pt x="3187441" y="2546829"/>
                      <a:pt x="3174125" y="2560143"/>
                      <a:pt x="3174125" y="2576418"/>
                    </a:cubicBezTo>
                    <a:cubicBezTo>
                      <a:pt x="3174125" y="2592693"/>
                      <a:pt x="3187441" y="2606007"/>
                      <a:pt x="3203713" y="2606007"/>
                    </a:cubicBezTo>
                    <a:cubicBezTo>
                      <a:pt x="3219988" y="2606007"/>
                      <a:pt x="3233303" y="2592693"/>
                      <a:pt x="3233303" y="2576418"/>
                    </a:cubicBezTo>
                    <a:close/>
                    <a:moveTo>
                      <a:pt x="3236755" y="2128413"/>
                    </a:moveTo>
                    <a:cubicBezTo>
                      <a:pt x="3236755" y="2109674"/>
                      <a:pt x="3221220" y="2094138"/>
                      <a:pt x="3202234" y="2094138"/>
                    </a:cubicBezTo>
                    <a:cubicBezTo>
                      <a:pt x="3183495" y="2094138"/>
                      <a:pt x="3167960" y="2109426"/>
                      <a:pt x="3167960" y="2128413"/>
                    </a:cubicBezTo>
                    <a:cubicBezTo>
                      <a:pt x="3167960" y="2147401"/>
                      <a:pt x="3183249" y="2162934"/>
                      <a:pt x="3202234" y="2162934"/>
                    </a:cubicBezTo>
                    <a:cubicBezTo>
                      <a:pt x="3221220" y="2162934"/>
                      <a:pt x="3236506" y="2147401"/>
                      <a:pt x="3236755" y="2128413"/>
                    </a:cubicBezTo>
                    <a:close/>
                    <a:moveTo>
                      <a:pt x="3243905" y="3172372"/>
                    </a:moveTo>
                    <a:cubicBezTo>
                      <a:pt x="3243905" y="3163003"/>
                      <a:pt x="3236260" y="3155113"/>
                      <a:pt x="3226644" y="3155113"/>
                    </a:cubicBezTo>
                    <a:cubicBezTo>
                      <a:pt x="3217275" y="3155113"/>
                      <a:pt x="3209385" y="3162757"/>
                      <a:pt x="3209385" y="3172372"/>
                    </a:cubicBezTo>
                    <a:cubicBezTo>
                      <a:pt x="3209385" y="3181988"/>
                      <a:pt x="3217030" y="3189633"/>
                      <a:pt x="3226644" y="3189633"/>
                    </a:cubicBezTo>
                    <a:cubicBezTo>
                      <a:pt x="3236015" y="3189633"/>
                      <a:pt x="3243905" y="3181743"/>
                      <a:pt x="3243905" y="3172372"/>
                    </a:cubicBezTo>
                    <a:close/>
                    <a:moveTo>
                      <a:pt x="3246126" y="2351066"/>
                    </a:moveTo>
                    <a:cubicBezTo>
                      <a:pt x="3246126" y="2327386"/>
                      <a:pt x="3226646" y="2307907"/>
                      <a:pt x="3202729" y="2307907"/>
                    </a:cubicBezTo>
                    <a:cubicBezTo>
                      <a:pt x="3179058" y="2307907"/>
                      <a:pt x="3159578" y="2327139"/>
                      <a:pt x="3159578" y="2351066"/>
                    </a:cubicBezTo>
                    <a:cubicBezTo>
                      <a:pt x="3159578" y="2374979"/>
                      <a:pt x="3178809" y="2394457"/>
                      <a:pt x="3202729" y="2394457"/>
                    </a:cubicBezTo>
                    <a:cubicBezTo>
                      <a:pt x="3226646" y="2394457"/>
                      <a:pt x="3246126" y="2374979"/>
                      <a:pt x="3246126" y="2351066"/>
                    </a:cubicBezTo>
                    <a:close/>
                    <a:moveTo>
                      <a:pt x="3248097" y="2463246"/>
                    </a:moveTo>
                    <a:cubicBezTo>
                      <a:pt x="3248097" y="2438588"/>
                      <a:pt x="3227879" y="2418369"/>
                      <a:pt x="3203222" y="2418369"/>
                    </a:cubicBezTo>
                    <a:cubicBezTo>
                      <a:pt x="3178316" y="2418369"/>
                      <a:pt x="3158344" y="2438588"/>
                      <a:pt x="3158344" y="2463246"/>
                    </a:cubicBezTo>
                    <a:cubicBezTo>
                      <a:pt x="3158344" y="2488149"/>
                      <a:pt x="3178564" y="2508120"/>
                      <a:pt x="3203222" y="2508120"/>
                    </a:cubicBezTo>
                    <a:cubicBezTo>
                      <a:pt x="3227879" y="2508120"/>
                      <a:pt x="3248097" y="2487903"/>
                      <a:pt x="3248097" y="2463246"/>
                    </a:cubicBezTo>
                    <a:close/>
                    <a:moveTo>
                      <a:pt x="3259687" y="4946976"/>
                    </a:moveTo>
                    <a:cubicBezTo>
                      <a:pt x="3259687" y="4945744"/>
                      <a:pt x="3258700" y="4944757"/>
                      <a:pt x="3257468" y="4944757"/>
                    </a:cubicBezTo>
                    <a:cubicBezTo>
                      <a:pt x="3256235" y="4944757"/>
                      <a:pt x="3255250" y="4945744"/>
                      <a:pt x="3255250" y="4946976"/>
                    </a:cubicBezTo>
                    <a:cubicBezTo>
                      <a:pt x="3255250" y="4948208"/>
                      <a:pt x="3256235" y="4949194"/>
                      <a:pt x="3257468" y="4949194"/>
                    </a:cubicBezTo>
                    <a:cubicBezTo>
                      <a:pt x="3258700" y="4949194"/>
                      <a:pt x="3259687" y="4948208"/>
                      <a:pt x="3259687" y="4946976"/>
                    </a:cubicBezTo>
                    <a:close/>
                    <a:moveTo>
                      <a:pt x="3260181" y="5712349"/>
                    </a:moveTo>
                    <a:cubicBezTo>
                      <a:pt x="3260181" y="5710868"/>
                      <a:pt x="3258947" y="5709636"/>
                      <a:pt x="3257469" y="5709636"/>
                    </a:cubicBezTo>
                    <a:cubicBezTo>
                      <a:pt x="3255988" y="5709636"/>
                      <a:pt x="3254756" y="5710868"/>
                      <a:pt x="3254756" y="5712349"/>
                    </a:cubicBezTo>
                    <a:cubicBezTo>
                      <a:pt x="3254756" y="5713827"/>
                      <a:pt x="3255988" y="5715062"/>
                      <a:pt x="3257469" y="5715062"/>
                    </a:cubicBezTo>
                    <a:cubicBezTo>
                      <a:pt x="3258947" y="5715062"/>
                      <a:pt x="3260181" y="5713827"/>
                      <a:pt x="3260181" y="5712349"/>
                    </a:cubicBezTo>
                    <a:close/>
                    <a:moveTo>
                      <a:pt x="3260673" y="7452680"/>
                    </a:moveTo>
                    <a:cubicBezTo>
                      <a:pt x="3260673" y="7451199"/>
                      <a:pt x="3259441" y="7449720"/>
                      <a:pt x="3257715" y="7449720"/>
                    </a:cubicBezTo>
                    <a:cubicBezTo>
                      <a:pt x="3256233" y="7449720"/>
                      <a:pt x="3254756" y="7450952"/>
                      <a:pt x="3254756" y="7452680"/>
                    </a:cubicBezTo>
                    <a:cubicBezTo>
                      <a:pt x="3254756" y="7454158"/>
                      <a:pt x="3255988" y="7455639"/>
                      <a:pt x="3257715" y="7455639"/>
                    </a:cubicBezTo>
                    <a:cubicBezTo>
                      <a:pt x="3259441" y="7455639"/>
                      <a:pt x="3260673" y="7454158"/>
                      <a:pt x="3260673" y="7452680"/>
                    </a:cubicBezTo>
                    <a:close/>
                    <a:moveTo>
                      <a:pt x="3260675" y="5930074"/>
                    </a:moveTo>
                    <a:cubicBezTo>
                      <a:pt x="3260675" y="5928593"/>
                      <a:pt x="3259441" y="5927361"/>
                      <a:pt x="3257963" y="5927361"/>
                    </a:cubicBezTo>
                    <a:cubicBezTo>
                      <a:pt x="3256482" y="5927361"/>
                      <a:pt x="3255250" y="5928593"/>
                      <a:pt x="3255250" y="5930074"/>
                    </a:cubicBezTo>
                    <a:cubicBezTo>
                      <a:pt x="3255250" y="5931552"/>
                      <a:pt x="3256482" y="5932787"/>
                      <a:pt x="3257963" y="5932787"/>
                    </a:cubicBezTo>
                    <a:cubicBezTo>
                      <a:pt x="3259441" y="5932787"/>
                      <a:pt x="3260675" y="5931798"/>
                      <a:pt x="3260675" y="5930074"/>
                    </a:cubicBezTo>
                    <a:close/>
                    <a:moveTo>
                      <a:pt x="3260675" y="6583252"/>
                    </a:moveTo>
                    <a:cubicBezTo>
                      <a:pt x="3260675" y="6581525"/>
                      <a:pt x="3259195" y="6580046"/>
                      <a:pt x="3257468" y="6580046"/>
                    </a:cubicBezTo>
                    <a:cubicBezTo>
                      <a:pt x="3255741" y="6580046"/>
                      <a:pt x="3254264" y="6581525"/>
                      <a:pt x="3254264" y="6583252"/>
                    </a:cubicBezTo>
                    <a:cubicBezTo>
                      <a:pt x="3254264" y="6584979"/>
                      <a:pt x="3255741" y="6586459"/>
                      <a:pt x="3257468" y="6586459"/>
                    </a:cubicBezTo>
                    <a:cubicBezTo>
                      <a:pt x="3259440" y="6586459"/>
                      <a:pt x="3260921" y="6584979"/>
                      <a:pt x="3260675" y="6583252"/>
                    </a:cubicBezTo>
                    <a:close/>
                    <a:moveTo>
                      <a:pt x="3260675" y="7343940"/>
                    </a:moveTo>
                    <a:cubicBezTo>
                      <a:pt x="3260675" y="7342214"/>
                      <a:pt x="3259195" y="7340735"/>
                      <a:pt x="3257468" y="7340735"/>
                    </a:cubicBezTo>
                    <a:cubicBezTo>
                      <a:pt x="3255741" y="7340735"/>
                      <a:pt x="3254264" y="7342214"/>
                      <a:pt x="3254264" y="7343940"/>
                    </a:cubicBezTo>
                    <a:cubicBezTo>
                      <a:pt x="3254264" y="7345667"/>
                      <a:pt x="3255741" y="7347148"/>
                      <a:pt x="3257468" y="7347148"/>
                    </a:cubicBezTo>
                    <a:cubicBezTo>
                      <a:pt x="3259195" y="7347148"/>
                      <a:pt x="3260675" y="7345667"/>
                      <a:pt x="3260675" y="7343940"/>
                    </a:cubicBezTo>
                    <a:close/>
                    <a:moveTo>
                      <a:pt x="3260919" y="7561173"/>
                    </a:moveTo>
                    <a:cubicBezTo>
                      <a:pt x="3260919" y="7559445"/>
                      <a:pt x="3259687" y="7558213"/>
                      <a:pt x="3257960" y="7558213"/>
                    </a:cubicBezTo>
                    <a:cubicBezTo>
                      <a:pt x="3256479" y="7558213"/>
                      <a:pt x="3255001" y="7559445"/>
                      <a:pt x="3255001" y="7561173"/>
                    </a:cubicBezTo>
                    <a:cubicBezTo>
                      <a:pt x="3255001" y="7562651"/>
                      <a:pt x="3256233" y="7564132"/>
                      <a:pt x="3257960" y="7564132"/>
                    </a:cubicBezTo>
                    <a:cubicBezTo>
                      <a:pt x="3259687" y="7564132"/>
                      <a:pt x="3260919" y="7562900"/>
                      <a:pt x="3260919" y="7561173"/>
                    </a:cubicBezTo>
                    <a:close/>
                    <a:moveTo>
                      <a:pt x="3261167" y="6039062"/>
                    </a:moveTo>
                    <a:cubicBezTo>
                      <a:pt x="3261167" y="6037335"/>
                      <a:pt x="3259687" y="6036102"/>
                      <a:pt x="3258208" y="6036102"/>
                    </a:cubicBezTo>
                    <a:cubicBezTo>
                      <a:pt x="3256728" y="6036102"/>
                      <a:pt x="3255496" y="6037581"/>
                      <a:pt x="3255496" y="6039062"/>
                    </a:cubicBezTo>
                    <a:cubicBezTo>
                      <a:pt x="3255496" y="6040789"/>
                      <a:pt x="3256728" y="6042021"/>
                      <a:pt x="3258208" y="6042021"/>
                    </a:cubicBezTo>
                    <a:cubicBezTo>
                      <a:pt x="3259687" y="6042021"/>
                      <a:pt x="3260921" y="6040789"/>
                      <a:pt x="3261167" y="6039062"/>
                    </a:cubicBezTo>
                    <a:close/>
                    <a:moveTo>
                      <a:pt x="3261167" y="6257034"/>
                    </a:moveTo>
                    <a:cubicBezTo>
                      <a:pt x="3261167" y="6255307"/>
                      <a:pt x="3259933" y="6254075"/>
                      <a:pt x="3258455" y="6254075"/>
                    </a:cubicBezTo>
                    <a:cubicBezTo>
                      <a:pt x="3256973" y="6254075"/>
                      <a:pt x="3255741" y="6255553"/>
                      <a:pt x="3255741" y="6257034"/>
                    </a:cubicBezTo>
                    <a:cubicBezTo>
                      <a:pt x="3255741" y="6258512"/>
                      <a:pt x="3256973" y="6259747"/>
                      <a:pt x="3258455" y="6259747"/>
                    </a:cubicBezTo>
                    <a:cubicBezTo>
                      <a:pt x="3259933" y="6259747"/>
                      <a:pt x="3261167" y="6258512"/>
                      <a:pt x="3261167" y="6257034"/>
                    </a:cubicBezTo>
                    <a:close/>
                    <a:moveTo>
                      <a:pt x="3261168" y="6148048"/>
                    </a:moveTo>
                    <a:cubicBezTo>
                      <a:pt x="3261168" y="6146567"/>
                      <a:pt x="3259935" y="6145088"/>
                      <a:pt x="3258209" y="6145088"/>
                    </a:cubicBezTo>
                    <a:cubicBezTo>
                      <a:pt x="3256482" y="6145088"/>
                      <a:pt x="3255250" y="6146320"/>
                      <a:pt x="3255250" y="6148048"/>
                    </a:cubicBezTo>
                    <a:cubicBezTo>
                      <a:pt x="3255250" y="6149774"/>
                      <a:pt x="3256482" y="6151006"/>
                      <a:pt x="3258209" y="6151006"/>
                    </a:cubicBezTo>
                    <a:cubicBezTo>
                      <a:pt x="3259935" y="6151006"/>
                      <a:pt x="3261414" y="6149774"/>
                      <a:pt x="3261168" y="6148048"/>
                    </a:cubicBezTo>
                    <a:close/>
                    <a:moveTo>
                      <a:pt x="3261413" y="7017966"/>
                    </a:moveTo>
                    <a:cubicBezTo>
                      <a:pt x="3261413" y="7016239"/>
                      <a:pt x="3259933" y="7014760"/>
                      <a:pt x="3258206" y="7014760"/>
                    </a:cubicBezTo>
                    <a:cubicBezTo>
                      <a:pt x="3256479" y="7014760"/>
                      <a:pt x="3255001" y="7016239"/>
                      <a:pt x="3255001" y="7017966"/>
                    </a:cubicBezTo>
                    <a:cubicBezTo>
                      <a:pt x="3255001" y="7019693"/>
                      <a:pt x="3256479" y="7021174"/>
                      <a:pt x="3258206" y="7021174"/>
                    </a:cubicBezTo>
                    <a:cubicBezTo>
                      <a:pt x="3259933" y="7021174"/>
                      <a:pt x="3261413" y="7019693"/>
                      <a:pt x="3261413" y="7017966"/>
                    </a:cubicBezTo>
                    <a:close/>
                    <a:moveTo>
                      <a:pt x="3261413" y="7235446"/>
                    </a:moveTo>
                    <a:cubicBezTo>
                      <a:pt x="3261413" y="7233968"/>
                      <a:pt x="3260181" y="7232487"/>
                      <a:pt x="3258455" y="7232487"/>
                    </a:cubicBezTo>
                    <a:cubicBezTo>
                      <a:pt x="3256728" y="7232487"/>
                      <a:pt x="3255496" y="7233720"/>
                      <a:pt x="3255496" y="7235446"/>
                    </a:cubicBezTo>
                    <a:cubicBezTo>
                      <a:pt x="3255496" y="7236927"/>
                      <a:pt x="3256728" y="7238405"/>
                      <a:pt x="3258455" y="7238405"/>
                    </a:cubicBezTo>
                    <a:cubicBezTo>
                      <a:pt x="3260181" y="7238405"/>
                      <a:pt x="3261660" y="7236927"/>
                      <a:pt x="3261413" y="7235446"/>
                    </a:cubicBezTo>
                    <a:close/>
                    <a:moveTo>
                      <a:pt x="3261660" y="5275909"/>
                    </a:moveTo>
                    <a:cubicBezTo>
                      <a:pt x="3261660" y="5274183"/>
                      <a:pt x="3260181" y="5272704"/>
                      <a:pt x="3258455" y="5272704"/>
                    </a:cubicBezTo>
                    <a:cubicBezTo>
                      <a:pt x="3256728" y="5272704"/>
                      <a:pt x="3255250" y="5274183"/>
                      <a:pt x="3255250" y="5275909"/>
                    </a:cubicBezTo>
                    <a:cubicBezTo>
                      <a:pt x="3255250" y="5277636"/>
                      <a:pt x="3256728" y="5279114"/>
                      <a:pt x="3258455" y="5279114"/>
                    </a:cubicBezTo>
                    <a:cubicBezTo>
                      <a:pt x="3260181" y="5279114"/>
                      <a:pt x="3261660" y="5277636"/>
                      <a:pt x="3261660" y="5275909"/>
                    </a:cubicBezTo>
                    <a:close/>
                    <a:moveTo>
                      <a:pt x="3261660" y="5821334"/>
                    </a:moveTo>
                    <a:cubicBezTo>
                      <a:pt x="3261660" y="5818870"/>
                      <a:pt x="3259935" y="5817143"/>
                      <a:pt x="3257715" y="5817143"/>
                    </a:cubicBezTo>
                    <a:cubicBezTo>
                      <a:pt x="3255250" y="5817143"/>
                      <a:pt x="3253524" y="5819116"/>
                      <a:pt x="3253524" y="5821334"/>
                    </a:cubicBezTo>
                    <a:cubicBezTo>
                      <a:pt x="3253524" y="5823556"/>
                      <a:pt x="3255496" y="5825280"/>
                      <a:pt x="3257715" y="5825280"/>
                    </a:cubicBezTo>
                    <a:cubicBezTo>
                      <a:pt x="3259935" y="5825280"/>
                      <a:pt x="3261660" y="5823556"/>
                      <a:pt x="3261660" y="5821334"/>
                    </a:cubicBezTo>
                    <a:close/>
                    <a:moveTo>
                      <a:pt x="3261660" y="7126706"/>
                    </a:moveTo>
                    <a:cubicBezTo>
                      <a:pt x="3261660" y="7124979"/>
                      <a:pt x="3260181" y="7123500"/>
                      <a:pt x="3258455" y="7123500"/>
                    </a:cubicBezTo>
                    <a:cubicBezTo>
                      <a:pt x="3256728" y="7123500"/>
                      <a:pt x="3255250" y="7124979"/>
                      <a:pt x="3255250" y="7126706"/>
                    </a:cubicBezTo>
                    <a:cubicBezTo>
                      <a:pt x="3255250" y="7128432"/>
                      <a:pt x="3256728" y="7129913"/>
                      <a:pt x="3258455" y="7129913"/>
                    </a:cubicBezTo>
                    <a:cubicBezTo>
                      <a:pt x="3260181" y="7129913"/>
                      <a:pt x="3261660" y="7128432"/>
                      <a:pt x="3261660" y="7126706"/>
                    </a:cubicBezTo>
                    <a:close/>
                    <a:moveTo>
                      <a:pt x="3262400" y="6691995"/>
                    </a:moveTo>
                    <a:cubicBezTo>
                      <a:pt x="3262400" y="6689527"/>
                      <a:pt x="3260428" y="6687308"/>
                      <a:pt x="3257715" y="6687308"/>
                    </a:cubicBezTo>
                    <a:cubicBezTo>
                      <a:pt x="3255247" y="6687308"/>
                      <a:pt x="3253029" y="6689281"/>
                      <a:pt x="3253029" y="6691995"/>
                    </a:cubicBezTo>
                    <a:cubicBezTo>
                      <a:pt x="3253029" y="6694459"/>
                      <a:pt x="3255001" y="6696680"/>
                      <a:pt x="3257715" y="6696680"/>
                    </a:cubicBezTo>
                    <a:cubicBezTo>
                      <a:pt x="3260428" y="6696680"/>
                      <a:pt x="3262400" y="6694459"/>
                      <a:pt x="3262400" y="6691995"/>
                    </a:cubicBezTo>
                    <a:close/>
                    <a:moveTo>
                      <a:pt x="3262645" y="6800488"/>
                    </a:moveTo>
                    <a:cubicBezTo>
                      <a:pt x="3262645" y="6797774"/>
                      <a:pt x="3260427" y="6795801"/>
                      <a:pt x="3257962" y="6795801"/>
                    </a:cubicBezTo>
                    <a:cubicBezTo>
                      <a:pt x="3255249" y="6795801"/>
                      <a:pt x="3253277" y="6798020"/>
                      <a:pt x="3253277" y="6800488"/>
                    </a:cubicBezTo>
                    <a:cubicBezTo>
                      <a:pt x="3253277" y="6802952"/>
                      <a:pt x="3255495" y="6805173"/>
                      <a:pt x="3257962" y="6805173"/>
                    </a:cubicBezTo>
                    <a:cubicBezTo>
                      <a:pt x="3260427" y="6805173"/>
                      <a:pt x="3262645" y="6803200"/>
                      <a:pt x="3262645" y="6800488"/>
                    </a:cubicBezTo>
                    <a:close/>
                    <a:moveTo>
                      <a:pt x="3263139" y="6909473"/>
                    </a:moveTo>
                    <a:cubicBezTo>
                      <a:pt x="3263139" y="6906760"/>
                      <a:pt x="3260921" y="6904541"/>
                      <a:pt x="3258208" y="6904541"/>
                    </a:cubicBezTo>
                    <a:cubicBezTo>
                      <a:pt x="3255495" y="6904541"/>
                      <a:pt x="3253277" y="6906760"/>
                      <a:pt x="3253277" y="6909473"/>
                    </a:cubicBezTo>
                    <a:cubicBezTo>
                      <a:pt x="3253277" y="6912185"/>
                      <a:pt x="3255495" y="6914404"/>
                      <a:pt x="3258208" y="6914404"/>
                    </a:cubicBezTo>
                    <a:cubicBezTo>
                      <a:pt x="3260921" y="6914404"/>
                      <a:pt x="3263139" y="6912185"/>
                      <a:pt x="3263139" y="6909473"/>
                    </a:cubicBezTo>
                    <a:close/>
                    <a:moveTo>
                      <a:pt x="3263880" y="6474762"/>
                    </a:moveTo>
                    <a:cubicBezTo>
                      <a:pt x="3263880" y="6471803"/>
                      <a:pt x="3261658" y="6469336"/>
                      <a:pt x="3258702" y="6469336"/>
                    </a:cubicBezTo>
                    <a:cubicBezTo>
                      <a:pt x="3255741" y="6469336"/>
                      <a:pt x="3253277" y="6471803"/>
                      <a:pt x="3253277" y="6474762"/>
                    </a:cubicBezTo>
                    <a:cubicBezTo>
                      <a:pt x="3253277" y="6477472"/>
                      <a:pt x="3255741" y="6479940"/>
                      <a:pt x="3258702" y="6479940"/>
                    </a:cubicBezTo>
                    <a:cubicBezTo>
                      <a:pt x="3261658" y="6479940"/>
                      <a:pt x="3264125" y="6477472"/>
                      <a:pt x="3263880" y="6474762"/>
                    </a:cubicBezTo>
                    <a:close/>
                    <a:moveTo>
                      <a:pt x="3264372" y="6365774"/>
                    </a:moveTo>
                    <a:cubicBezTo>
                      <a:pt x="3264372" y="6362566"/>
                      <a:pt x="3261906" y="6360102"/>
                      <a:pt x="3258701" y="6360102"/>
                    </a:cubicBezTo>
                    <a:cubicBezTo>
                      <a:pt x="3255496" y="6360102"/>
                      <a:pt x="3253029" y="6362566"/>
                      <a:pt x="3253029" y="6365774"/>
                    </a:cubicBezTo>
                    <a:cubicBezTo>
                      <a:pt x="3253029" y="6368978"/>
                      <a:pt x="3255496" y="6371443"/>
                      <a:pt x="3258701" y="6371443"/>
                    </a:cubicBezTo>
                    <a:cubicBezTo>
                      <a:pt x="3261906" y="6371443"/>
                      <a:pt x="3264372" y="6368978"/>
                      <a:pt x="3264372" y="6365774"/>
                    </a:cubicBezTo>
                    <a:close/>
                    <a:moveTo>
                      <a:pt x="3265605" y="4282210"/>
                    </a:moveTo>
                    <a:cubicBezTo>
                      <a:pt x="3265605" y="4279005"/>
                      <a:pt x="3262891" y="4276292"/>
                      <a:pt x="3259687" y="4276292"/>
                    </a:cubicBezTo>
                    <a:cubicBezTo>
                      <a:pt x="3256482" y="4276292"/>
                      <a:pt x="3253769" y="4279005"/>
                      <a:pt x="3253769" y="4282210"/>
                    </a:cubicBezTo>
                    <a:cubicBezTo>
                      <a:pt x="3253769" y="4285415"/>
                      <a:pt x="3256482" y="4288128"/>
                      <a:pt x="3259687" y="4288128"/>
                    </a:cubicBezTo>
                    <a:cubicBezTo>
                      <a:pt x="3262891" y="4288128"/>
                      <a:pt x="3265359" y="4285664"/>
                      <a:pt x="3265605" y="4282210"/>
                    </a:cubicBezTo>
                    <a:close/>
                    <a:moveTo>
                      <a:pt x="3265605" y="1679698"/>
                    </a:moveTo>
                    <a:cubicBezTo>
                      <a:pt x="3265605" y="1674270"/>
                      <a:pt x="3261168" y="1670078"/>
                      <a:pt x="3255991" y="1670078"/>
                    </a:cubicBezTo>
                    <a:cubicBezTo>
                      <a:pt x="3250565" y="1670078"/>
                      <a:pt x="3246374" y="1674519"/>
                      <a:pt x="3246374" y="1679698"/>
                    </a:cubicBezTo>
                    <a:cubicBezTo>
                      <a:pt x="3246374" y="1684877"/>
                      <a:pt x="3250810" y="1689069"/>
                      <a:pt x="3255991" y="1689069"/>
                    </a:cubicBezTo>
                    <a:cubicBezTo>
                      <a:pt x="3261168" y="1689069"/>
                      <a:pt x="3265359" y="1684877"/>
                      <a:pt x="3265605" y="1679698"/>
                    </a:cubicBezTo>
                    <a:close/>
                    <a:moveTo>
                      <a:pt x="3266594" y="5494376"/>
                    </a:moveTo>
                    <a:cubicBezTo>
                      <a:pt x="3266594" y="5489937"/>
                      <a:pt x="3263140" y="5486485"/>
                      <a:pt x="3258949" y="5486485"/>
                    </a:cubicBezTo>
                    <a:cubicBezTo>
                      <a:pt x="3254509" y="5486485"/>
                      <a:pt x="3251059" y="5490185"/>
                      <a:pt x="3251059" y="5494376"/>
                    </a:cubicBezTo>
                    <a:cubicBezTo>
                      <a:pt x="3251059" y="5498567"/>
                      <a:pt x="3254758" y="5502021"/>
                      <a:pt x="3258949" y="5502021"/>
                    </a:cubicBezTo>
                    <a:cubicBezTo>
                      <a:pt x="3263140" y="5502021"/>
                      <a:pt x="3266840" y="5498567"/>
                      <a:pt x="3266594" y="5494376"/>
                    </a:cubicBezTo>
                    <a:close/>
                    <a:moveTo>
                      <a:pt x="3267825" y="5385142"/>
                    </a:moveTo>
                    <a:cubicBezTo>
                      <a:pt x="3267825" y="5379963"/>
                      <a:pt x="3263881" y="5375771"/>
                      <a:pt x="3258703" y="5375771"/>
                    </a:cubicBezTo>
                    <a:cubicBezTo>
                      <a:pt x="3253524" y="5375771"/>
                      <a:pt x="3249332" y="5379963"/>
                      <a:pt x="3249332" y="5385142"/>
                    </a:cubicBezTo>
                    <a:cubicBezTo>
                      <a:pt x="3249332" y="5390320"/>
                      <a:pt x="3253524" y="5394511"/>
                      <a:pt x="3258703" y="5394511"/>
                    </a:cubicBezTo>
                    <a:cubicBezTo>
                      <a:pt x="3263881" y="5394511"/>
                      <a:pt x="3267825" y="5390320"/>
                      <a:pt x="3267825" y="5385142"/>
                    </a:cubicBezTo>
                    <a:close/>
                    <a:moveTo>
                      <a:pt x="3269055" y="1788925"/>
                    </a:moveTo>
                    <a:cubicBezTo>
                      <a:pt x="3269055" y="1781779"/>
                      <a:pt x="3263137" y="1775867"/>
                      <a:pt x="3255987" y="1775867"/>
                    </a:cubicBezTo>
                    <a:cubicBezTo>
                      <a:pt x="3248837" y="1775867"/>
                      <a:pt x="3242919" y="1781779"/>
                      <a:pt x="3242919" y="1788925"/>
                    </a:cubicBezTo>
                    <a:cubicBezTo>
                      <a:pt x="3242919" y="1796343"/>
                      <a:pt x="3248837" y="1802260"/>
                      <a:pt x="3255987" y="1802260"/>
                    </a:cubicBezTo>
                    <a:cubicBezTo>
                      <a:pt x="3263385" y="1802260"/>
                      <a:pt x="3269303" y="1796343"/>
                      <a:pt x="3269055" y="1788925"/>
                    </a:cubicBezTo>
                    <a:close/>
                    <a:moveTo>
                      <a:pt x="3274973" y="4617059"/>
                    </a:moveTo>
                    <a:cubicBezTo>
                      <a:pt x="3274973" y="4608923"/>
                      <a:pt x="3268318" y="4602018"/>
                      <a:pt x="3259933" y="4602018"/>
                    </a:cubicBezTo>
                    <a:cubicBezTo>
                      <a:pt x="3251550" y="4602018"/>
                      <a:pt x="3244892" y="4608677"/>
                      <a:pt x="3244892" y="4617059"/>
                    </a:cubicBezTo>
                    <a:cubicBezTo>
                      <a:pt x="3244892" y="4625444"/>
                      <a:pt x="3251550" y="4632102"/>
                      <a:pt x="3259933" y="4632102"/>
                    </a:cubicBezTo>
                    <a:cubicBezTo>
                      <a:pt x="3268318" y="4632102"/>
                      <a:pt x="3274973" y="4625444"/>
                      <a:pt x="3274973" y="4617059"/>
                    </a:cubicBezTo>
                    <a:close/>
                    <a:moveTo>
                      <a:pt x="3275223" y="1570478"/>
                    </a:moveTo>
                    <a:cubicBezTo>
                      <a:pt x="3275223" y="1559628"/>
                      <a:pt x="3266347" y="1550999"/>
                      <a:pt x="3255743" y="1550999"/>
                    </a:cubicBezTo>
                    <a:cubicBezTo>
                      <a:pt x="3244894" y="1550999"/>
                      <a:pt x="3236264" y="1559628"/>
                      <a:pt x="3236264" y="1570478"/>
                    </a:cubicBezTo>
                    <a:cubicBezTo>
                      <a:pt x="3236264" y="1581323"/>
                      <a:pt x="3244894" y="1589953"/>
                      <a:pt x="3255743" y="1589953"/>
                    </a:cubicBezTo>
                    <a:cubicBezTo>
                      <a:pt x="3266347" y="1589953"/>
                      <a:pt x="3275223" y="1581323"/>
                      <a:pt x="3275223" y="1570478"/>
                    </a:cubicBezTo>
                    <a:close/>
                    <a:moveTo>
                      <a:pt x="3276702" y="5166430"/>
                    </a:moveTo>
                    <a:cubicBezTo>
                      <a:pt x="3276702" y="5156321"/>
                      <a:pt x="3268318" y="5147936"/>
                      <a:pt x="3258209" y="5147936"/>
                    </a:cubicBezTo>
                    <a:cubicBezTo>
                      <a:pt x="3248097" y="5147936"/>
                      <a:pt x="3239715" y="5156321"/>
                      <a:pt x="3239715" y="5166430"/>
                    </a:cubicBezTo>
                    <a:cubicBezTo>
                      <a:pt x="3239715" y="5176784"/>
                      <a:pt x="3248097" y="5184924"/>
                      <a:pt x="3258209" y="5184924"/>
                    </a:cubicBezTo>
                    <a:cubicBezTo>
                      <a:pt x="3268318" y="5184924"/>
                      <a:pt x="3276702" y="5176539"/>
                      <a:pt x="3276702" y="5166430"/>
                    </a:cubicBezTo>
                    <a:close/>
                    <a:moveTo>
                      <a:pt x="3282372" y="372271"/>
                    </a:moveTo>
                    <a:cubicBezTo>
                      <a:pt x="3282372" y="356985"/>
                      <a:pt x="3269799" y="344410"/>
                      <a:pt x="3254509" y="344410"/>
                    </a:cubicBezTo>
                    <a:cubicBezTo>
                      <a:pt x="3239222" y="344410"/>
                      <a:pt x="3226647" y="356985"/>
                      <a:pt x="3226647" y="372271"/>
                    </a:cubicBezTo>
                    <a:cubicBezTo>
                      <a:pt x="3226647" y="387559"/>
                      <a:pt x="3239222" y="400132"/>
                      <a:pt x="3254509" y="400132"/>
                    </a:cubicBezTo>
                    <a:cubicBezTo>
                      <a:pt x="3270044" y="400132"/>
                      <a:pt x="3282372" y="387805"/>
                      <a:pt x="3282372" y="372271"/>
                    </a:cubicBezTo>
                    <a:close/>
                    <a:moveTo>
                      <a:pt x="3282865" y="263552"/>
                    </a:moveTo>
                    <a:cubicBezTo>
                      <a:pt x="3282865" y="248020"/>
                      <a:pt x="3270290" y="235445"/>
                      <a:pt x="3254755" y="235445"/>
                    </a:cubicBezTo>
                    <a:cubicBezTo>
                      <a:pt x="3239222" y="235445"/>
                      <a:pt x="3226647" y="248020"/>
                      <a:pt x="3226647" y="263552"/>
                    </a:cubicBezTo>
                    <a:cubicBezTo>
                      <a:pt x="3226647" y="279087"/>
                      <a:pt x="3239222" y="291662"/>
                      <a:pt x="3254755" y="291662"/>
                    </a:cubicBezTo>
                    <a:cubicBezTo>
                      <a:pt x="3270290" y="291662"/>
                      <a:pt x="3282865" y="279087"/>
                      <a:pt x="3282865" y="263552"/>
                    </a:cubicBezTo>
                    <a:close/>
                    <a:moveTo>
                      <a:pt x="3283112" y="1461013"/>
                    </a:moveTo>
                    <a:cubicBezTo>
                      <a:pt x="3283112" y="1445974"/>
                      <a:pt x="3270782" y="1433889"/>
                      <a:pt x="3255990" y="1433889"/>
                    </a:cubicBezTo>
                    <a:cubicBezTo>
                      <a:pt x="3240947" y="1433889"/>
                      <a:pt x="3228866" y="1446219"/>
                      <a:pt x="3228866" y="1461013"/>
                    </a:cubicBezTo>
                    <a:cubicBezTo>
                      <a:pt x="3228866" y="1476053"/>
                      <a:pt x="3241196" y="1488135"/>
                      <a:pt x="3255990" y="1488135"/>
                    </a:cubicBezTo>
                    <a:cubicBezTo>
                      <a:pt x="3270782" y="1488135"/>
                      <a:pt x="3283112" y="1476053"/>
                      <a:pt x="3283112" y="1461013"/>
                    </a:cubicBezTo>
                    <a:close/>
                    <a:moveTo>
                      <a:pt x="3283850" y="46369"/>
                    </a:moveTo>
                    <a:cubicBezTo>
                      <a:pt x="3283850" y="30589"/>
                      <a:pt x="3271030" y="17521"/>
                      <a:pt x="3255001" y="17521"/>
                    </a:cubicBezTo>
                    <a:cubicBezTo>
                      <a:pt x="3239220" y="17521"/>
                      <a:pt x="3226153" y="30343"/>
                      <a:pt x="3226153" y="46369"/>
                    </a:cubicBezTo>
                    <a:cubicBezTo>
                      <a:pt x="3226153" y="62397"/>
                      <a:pt x="3238975" y="75218"/>
                      <a:pt x="3255001" y="75218"/>
                    </a:cubicBezTo>
                    <a:cubicBezTo>
                      <a:pt x="3270782" y="75218"/>
                      <a:pt x="3283850" y="62148"/>
                      <a:pt x="3283850" y="46369"/>
                    </a:cubicBezTo>
                    <a:close/>
                    <a:moveTo>
                      <a:pt x="3284346" y="4168783"/>
                    </a:moveTo>
                    <a:cubicBezTo>
                      <a:pt x="3284346" y="4154975"/>
                      <a:pt x="3273249" y="4143879"/>
                      <a:pt x="3259440" y="4143879"/>
                    </a:cubicBezTo>
                    <a:cubicBezTo>
                      <a:pt x="3245632" y="4143879"/>
                      <a:pt x="3234537" y="4154975"/>
                      <a:pt x="3234537" y="4168783"/>
                    </a:cubicBezTo>
                    <a:cubicBezTo>
                      <a:pt x="3234537" y="4182591"/>
                      <a:pt x="3245632" y="4193686"/>
                      <a:pt x="3259440" y="4193686"/>
                    </a:cubicBezTo>
                    <a:cubicBezTo>
                      <a:pt x="3273249" y="4193686"/>
                      <a:pt x="3284592" y="4182591"/>
                      <a:pt x="3284346" y="4168783"/>
                    </a:cubicBezTo>
                    <a:close/>
                    <a:moveTo>
                      <a:pt x="3284592" y="155085"/>
                    </a:moveTo>
                    <a:cubicBezTo>
                      <a:pt x="3284592" y="139056"/>
                      <a:pt x="3271522" y="125743"/>
                      <a:pt x="3255249" y="125743"/>
                    </a:cubicBezTo>
                    <a:cubicBezTo>
                      <a:pt x="3239220" y="125743"/>
                      <a:pt x="3225906" y="138811"/>
                      <a:pt x="3225906" y="155085"/>
                    </a:cubicBezTo>
                    <a:cubicBezTo>
                      <a:pt x="3225906" y="171111"/>
                      <a:pt x="3238974" y="184425"/>
                      <a:pt x="3255249" y="184425"/>
                    </a:cubicBezTo>
                    <a:cubicBezTo>
                      <a:pt x="3271522" y="184425"/>
                      <a:pt x="3284592" y="171111"/>
                      <a:pt x="3284592" y="155085"/>
                    </a:cubicBezTo>
                    <a:close/>
                    <a:moveTo>
                      <a:pt x="3286070" y="1352285"/>
                    </a:moveTo>
                    <a:cubicBezTo>
                      <a:pt x="3286070" y="1335519"/>
                      <a:pt x="3272508" y="1321957"/>
                      <a:pt x="3255741" y="1321957"/>
                    </a:cubicBezTo>
                    <a:cubicBezTo>
                      <a:pt x="3238974" y="1321957"/>
                      <a:pt x="3225412" y="1335519"/>
                      <a:pt x="3225412" y="1352285"/>
                    </a:cubicBezTo>
                    <a:cubicBezTo>
                      <a:pt x="3225412" y="1369052"/>
                      <a:pt x="3238974" y="1382615"/>
                      <a:pt x="3255741" y="1382615"/>
                    </a:cubicBezTo>
                    <a:cubicBezTo>
                      <a:pt x="3272508" y="1382615"/>
                      <a:pt x="3286070" y="1368803"/>
                      <a:pt x="3286070" y="1352285"/>
                    </a:cubicBezTo>
                    <a:close/>
                    <a:moveTo>
                      <a:pt x="3287057" y="1898390"/>
                    </a:moveTo>
                    <a:cubicBezTo>
                      <a:pt x="3287057" y="1881382"/>
                      <a:pt x="3273249" y="1867576"/>
                      <a:pt x="3256233" y="1867576"/>
                    </a:cubicBezTo>
                    <a:cubicBezTo>
                      <a:pt x="3239220" y="1867576"/>
                      <a:pt x="3225412" y="1881382"/>
                      <a:pt x="3225412" y="1898390"/>
                    </a:cubicBezTo>
                    <a:cubicBezTo>
                      <a:pt x="3225412" y="1915402"/>
                      <a:pt x="3239220" y="1929208"/>
                      <a:pt x="3256233" y="1929208"/>
                    </a:cubicBezTo>
                    <a:cubicBezTo>
                      <a:pt x="3273000" y="1929208"/>
                      <a:pt x="3286808" y="1915402"/>
                      <a:pt x="3287057" y="1898390"/>
                    </a:cubicBezTo>
                    <a:close/>
                    <a:moveTo>
                      <a:pt x="3292234" y="2899171"/>
                    </a:moveTo>
                    <a:cubicBezTo>
                      <a:pt x="3292234" y="2884872"/>
                      <a:pt x="3280644" y="2873035"/>
                      <a:pt x="3266099" y="2873035"/>
                    </a:cubicBezTo>
                    <a:cubicBezTo>
                      <a:pt x="3251796" y="2873035"/>
                      <a:pt x="3239960" y="2884625"/>
                      <a:pt x="3239960" y="2899171"/>
                    </a:cubicBezTo>
                    <a:cubicBezTo>
                      <a:pt x="3239960" y="2913473"/>
                      <a:pt x="3251550" y="2925310"/>
                      <a:pt x="3266099" y="2925310"/>
                    </a:cubicBezTo>
                    <a:cubicBezTo>
                      <a:pt x="3280644" y="2925310"/>
                      <a:pt x="3292234" y="2913720"/>
                      <a:pt x="3292234" y="2899171"/>
                    </a:cubicBezTo>
                    <a:close/>
                    <a:moveTo>
                      <a:pt x="3292481" y="5056949"/>
                    </a:moveTo>
                    <a:cubicBezTo>
                      <a:pt x="3292481" y="5037964"/>
                      <a:pt x="3276945" y="5022428"/>
                      <a:pt x="3257960" y="5022428"/>
                    </a:cubicBezTo>
                    <a:cubicBezTo>
                      <a:pt x="3238974" y="5022428"/>
                      <a:pt x="3223440" y="5037964"/>
                      <a:pt x="3223440" y="5056949"/>
                    </a:cubicBezTo>
                    <a:cubicBezTo>
                      <a:pt x="3223440" y="5075935"/>
                      <a:pt x="3238974" y="5091470"/>
                      <a:pt x="3257960" y="5091470"/>
                    </a:cubicBezTo>
                    <a:cubicBezTo>
                      <a:pt x="3276945" y="5091470"/>
                      <a:pt x="3292481" y="5075935"/>
                      <a:pt x="3292481" y="5056949"/>
                    </a:cubicBezTo>
                    <a:close/>
                    <a:moveTo>
                      <a:pt x="3294949" y="4394649"/>
                    </a:moveTo>
                    <a:cubicBezTo>
                      <a:pt x="3294949" y="4375168"/>
                      <a:pt x="3279169" y="4359387"/>
                      <a:pt x="3259689" y="4359387"/>
                    </a:cubicBezTo>
                    <a:cubicBezTo>
                      <a:pt x="3240209" y="4359387"/>
                      <a:pt x="3224428" y="4375168"/>
                      <a:pt x="3224428" y="4394649"/>
                    </a:cubicBezTo>
                    <a:cubicBezTo>
                      <a:pt x="3224428" y="4414129"/>
                      <a:pt x="3240209" y="4429909"/>
                      <a:pt x="3259689" y="4429909"/>
                    </a:cubicBezTo>
                    <a:cubicBezTo>
                      <a:pt x="3278921" y="4429909"/>
                      <a:pt x="3294701" y="4414129"/>
                      <a:pt x="3294949" y="4394649"/>
                    </a:cubicBezTo>
                    <a:close/>
                    <a:moveTo>
                      <a:pt x="3295934" y="2008083"/>
                    </a:moveTo>
                    <a:cubicBezTo>
                      <a:pt x="3295934" y="1986143"/>
                      <a:pt x="3277935" y="1968392"/>
                      <a:pt x="3255988" y="1968392"/>
                    </a:cubicBezTo>
                    <a:cubicBezTo>
                      <a:pt x="3234043" y="1968392"/>
                      <a:pt x="3216290" y="1986143"/>
                      <a:pt x="3216290" y="2008083"/>
                    </a:cubicBezTo>
                    <a:cubicBezTo>
                      <a:pt x="3216290" y="2030031"/>
                      <a:pt x="3234043" y="2048032"/>
                      <a:pt x="3255988" y="2048032"/>
                    </a:cubicBezTo>
                    <a:cubicBezTo>
                      <a:pt x="3277935" y="2048032"/>
                      <a:pt x="3295688" y="2030277"/>
                      <a:pt x="3295934" y="2008083"/>
                    </a:cubicBezTo>
                    <a:close/>
                    <a:moveTo>
                      <a:pt x="3295934" y="3016291"/>
                    </a:moveTo>
                    <a:cubicBezTo>
                      <a:pt x="3295934" y="3001005"/>
                      <a:pt x="3283606" y="2988675"/>
                      <a:pt x="3268318" y="2988675"/>
                    </a:cubicBezTo>
                    <a:cubicBezTo>
                      <a:pt x="3253031" y="2988675"/>
                      <a:pt x="3240701" y="3001005"/>
                      <a:pt x="3240701" y="3016291"/>
                    </a:cubicBezTo>
                    <a:cubicBezTo>
                      <a:pt x="3240701" y="3031580"/>
                      <a:pt x="3253031" y="3043908"/>
                      <a:pt x="3268318" y="3043908"/>
                    </a:cubicBezTo>
                    <a:cubicBezTo>
                      <a:pt x="3283606" y="3043908"/>
                      <a:pt x="3295934" y="3031580"/>
                      <a:pt x="3295934" y="3016291"/>
                    </a:cubicBezTo>
                    <a:close/>
                    <a:moveTo>
                      <a:pt x="3296428" y="3938483"/>
                    </a:moveTo>
                    <a:cubicBezTo>
                      <a:pt x="3296428" y="3922701"/>
                      <a:pt x="3283604" y="3910125"/>
                      <a:pt x="3268072" y="3910125"/>
                    </a:cubicBezTo>
                    <a:cubicBezTo>
                      <a:pt x="3252290" y="3910125"/>
                      <a:pt x="3239715" y="3922947"/>
                      <a:pt x="3239715" y="3938483"/>
                    </a:cubicBezTo>
                    <a:cubicBezTo>
                      <a:pt x="3239715" y="3954263"/>
                      <a:pt x="3252537" y="3966840"/>
                      <a:pt x="3268072" y="3966840"/>
                    </a:cubicBezTo>
                    <a:cubicBezTo>
                      <a:pt x="3283853" y="3966840"/>
                      <a:pt x="3296428" y="3954263"/>
                      <a:pt x="3296428" y="3938483"/>
                    </a:cubicBezTo>
                    <a:close/>
                    <a:moveTo>
                      <a:pt x="3296674" y="4506102"/>
                    </a:moveTo>
                    <a:cubicBezTo>
                      <a:pt x="3296674" y="4485635"/>
                      <a:pt x="3280152" y="4469114"/>
                      <a:pt x="3259689" y="4469114"/>
                    </a:cubicBezTo>
                    <a:cubicBezTo>
                      <a:pt x="3239222" y="4469114"/>
                      <a:pt x="3222702" y="4485635"/>
                      <a:pt x="3222702" y="4506102"/>
                    </a:cubicBezTo>
                    <a:cubicBezTo>
                      <a:pt x="3222702" y="4526565"/>
                      <a:pt x="3239222" y="4543086"/>
                      <a:pt x="3259689" y="4543086"/>
                    </a:cubicBezTo>
                    <a:cubicBezTo>
                      <a:pt x="3280152" y="4543086"/>
                      <a:pt x="3296674" y="4526565"/>
                      <a:pt x="3296674" y="4506102"/>
                    </a:cubicBezTo>
                    <a:close/>
                    <a:moveTo>
                      <a:pt x="3299633" y="4837500"/>
                    </a:moveTo>
                    <a:cubicBezTo>
                      <a:pt x="3299633" y="4815801"/>
                      <a:pt x="3281880" y="4798047"/>
                      <a:pt x="3260181" y="4798047"/>
                    </a:cubicBezTo>
                    <a:cubicBezTo>
                      <a:pt x="3238482" y="4798047"/>
                      <a:pt x="3220729" y="4815801"/>
                      <a:pt x="3220729" y="4837500"/>
                    </a:cubicBezTo>
                    <a:cubicBezTo>
                      <a:pt x="3220729" y="4859198"/>
                      <a:pt x="3238482" y="4876951"/>
                      <a:pt x="3260181" y="4876951"/>
                    </a:cubicBezTo>
                    <a:cubicBezTo>
                      <a:pt x="3281880" y="4876951"/>
                      <a:pt x="3299633" y="4859444"/>
                      <a:pt x="3299633" y="4837500"/>
                    </a:cubicBezTo>
                    <a:close/>
                    <a:moveTo>
                      <a:pt x="3300373" y="4727525"/>
                    </a:moveTo>
                    <a:cubicBezTo>
                      <a:pt x="3300373" y="4705332"/>
                      <a:pt x="3282371" y="4687332"/>
                      <a:pt x="3260181" y="4687332"/>
                    </a:cubicBezTo>
                    <a:cubicBezTo>
                      <a:pt x="3237987" y="4687332"/>
                      <a:pt x="3219988" y="4705332"/>
                      <a:pt x="3219988" y="4727525"/>
                    </a:cubicBezTo>
                    <a:cubicBezTo>
                      <a:pt x="3219988" y="4749715"/>
                      <a:pt x="3237987" y="4767714"/>
                      <a:pt x="3260181" y="4767714"/>
                    </a:cubicBezTo>
                    <a:cubicBezTo>
                      <a:pt x="3282371" y="4767714"/>
                      <a:pt x="3300373" y="4749715"/>
                      <a:pt x="3300373" y="4727525"/>
                    </a:cubicBezTo>
                    <a:close/>
                    <a:moveTo>
                      <a:pt x="3304070" y="4055852"/>
                    </a:moveTo>
                    <a:cubicBezTo>
                      <a:pt x="3304070" y="4035139"/>
                      <a:pt x="3287057" y="4018126"/>
                      <a:pt x="3266345" y="4018126"/>
                    </a:cubicBezTo>
                    <a:cubicBezTo>
                      <a:pt x="3245632" y="4018126"/>
                      <a:pt x="3228619" y="4035139"/>
                      <a:pt x="3228619" y="4055852"/>
                    </a:cubicBezTo>
                    <a:cubicBezTo>
                      <a:pt x="3228619" y="4076564"/>
                      <a:pt x="3245632" y="4093578"/>
                      <a:pt x="3266345" y="4093578"/>
                    </a:cubicBezTo>
                    <a:cubicBezTo>
                      <a:pt x="3287057" y="4093578"/>
                      <a:pt x="3303824" y="4076813"/>
                      <a:pt x="3304070" y="4055852"/>
                    </a:cubicBezTo>
                    <a:close/>
                    <a:moveTo>
                      <a:pt x="3326755" y="2769971"/>
                    </a:moveTo>
                    <a:cubicBezTo>
                      <a:pt x="3326755" y="2763805"/>
                      <a:pt x="3321578" y="2758627"/>
                      <a:pt x="3315414" y="2758627"/>
                    </a:cubicBezTo>
                    <a:cubicBezTo>
                      <a:pt x="3309247" y="2758627"/>
                      <a:pt x="3304070" y="2763805"/>
                      <a:pt x="3304070" y="2769971"/>
                    </a:cubicBezTo>
                    <a:cubicBezTo>
                      <a:pt x="3304070" y="2776135"/>
                      <a:pt x="3309247" y="2781312"/>
                      <a:pt x="3315414" y="2781312"/>
                    </a:cubicBezTo>
                    <a:cubicBezTo>
                      <a:pt x="3321578" y="2781312"/>
                      <a:pt x="3326755" y="2776135"/>
                      <a:pt x="3326755" y="2769971"/>
                    </a:cubicBezTo>
                    <a:close/>
                    <a:moveTo>
                      <a:pt x="3334893" y="2658524"/>
                    </a:moveTo>
                    <a:cubicBezTo>
                      <a:pt x="3334893" y="2648412"/>
                      <a:pt x="3326509" y="2640030"/>
                      <a:pt x="3316400" y="2640030"/>
                    </a:cubicBezTo>
                    <a:cubicBezTo>
                      <a:pt x="3306288" y="2640030"/>
                      <a:pt x="3297906" y="2648412"/>
                      <a:pt x="3297906" y="2658524"/>
                    </a:cubicBezTo>
                    <a:cubicBezTo>
                      <a:pt x="3297906" y="2668633"/>
                      <a:pt x="3306288" y="2677018"/>
                      <a:pt x="3316400" y="2677018"/>
                    </a:cubicBezTo>
                    <a:cubicBezTo>
                      <a:pt x="3326509" y="2677018"/>
                      <a:pt x="3334893" y="2668879"/>
                      <a:pt x="3334893" y="2658524"/>
                    </a:cubicBezTo>
                    <a:close/>
                    <a:moveTo>
                      <a:pt x="3340318" y="2218657"/>
                    </a:moveTo>
                    <a:cubicBezTo>
                      <a:pt x="3340318" y="2205342"/>
                      <a:pt x="3329468" y="2194491"/>
                      <a:pt x="3316155" y="2194491"/>
                    </a:cubicBezTo>
                    <a:cubicBezTo>
                      <a:pt x="3302837" y="2194491"/>
                      <a:pt x="3291988" y="2205342"/>
                      <a:pt x="3291988" y="2218657"/>
                    </a:cubicBezTo>
                    <a:cubicBezTo>
                      <a:pt x="3291988" y="2231970"/>
                      <a:pt x="3302837" y="2242822"/>
                      <a:pt x="3316155" y="2242822"/>
                    </a:cubicBezTo>
                    <a:cubicBezTo>
                      <a:pt x="3329468" y="2242822"/>
                      <a:pt x="3340318" y="2231970"/>
                      <a:pt x="3340318" y="2218657"/>
                    </a:cubicBezTo>
                    <a:close/>
                    <a:moveTo>
                      <a:pt x="3341303" y="1020443"/>
                    </a:moveTo>
                    <a:cubicBezTo>
                      <a:pt x="3341303" y="1004657"/>
                      <a:pt x="3328481" y="991836"/>
                      <a:pt x="3312702" y="991836"/>
                    </a:cubicBezTo>
                    <a:cubicBezTo>
                      <a:pt x="3296920" y="991836"/>
                      <a:pt x="3284098" y="1004657"/>
                      <a:pt x="3284098" y="1020443"/>
                    </a:cubicBezTo>
                    <a:cubicBezTo>
                      <a:pt x="3284098" y="1036215"/>
                      <a:pt x="3296920" y="1049039"/>
                      <a:pt x="3312702" y="1049039"/>
                    </a:cubicBezTo>
                    <a:cubicBezTo>
                      <a:pt x="3328481" y="1049039"/>
                      <a:pt x="3341303" y="1036215"/>
                      <a:pt x="3341303" y="1020443"/>
                    </a:cubicBezTo>
                    <a:close/>
                    <a:moveTo>
                      <a:pt x="3343277" y="802994"/>
                    </a:moveTo>
                    <a:cubicBezTo>
                      <a:pt x="3343277" y="786720"/>
                      <a:pt x="3330209" y="773651"/>
                      <a:pt x="3313936" y="773651"/>
                    </a:cubicBezTo>
                    <a:cubicBezTo>
                      <a:pt x="3297660" y="773651"/>
                      <a:pt x="3284593" y="786720"/>
                      <a:pt x="3284593" y="802994"/>
                    </a:cubicBezTo>
                    <a:cubicBezTo>
                      <a:pt x="3284593" y="819269"/>
                      <a:pt x="3297660" y="832338"/>
                      <a:pt x="3313936" y="832338"/>
                    </a:cubicBezTo>
                    <a:cubicBezTo>
                      <a:pt x="3330209" y="832338"/>
                      <a:pt x="3343277" y="819269"/>
                      <a:pt x="3343277" y="802994"/>
                    </a:cubicBezTo>
                    <a:close/>
                    <a:moveTo>
                      <a:pt x="3344262" y="911718"/>
                    </a:moveTo>
                    <a:cubicBezTo>
                      <a:pt x="3344262" y="894451"/>
                      <a:pt x="3330206" y="880395"/>
                      <a:pt x="3312947" y="880395"/>
                    </a:cubicBezTo>
                    <a:cubicBezTo>
                      <a:pt x="3295685" y="880395"/>
                      <a:pt x="3281631" y="894451"/>
                      <a:pt x="3281631" y="911718"/>
                    </a:cubicBezTo>
                    <a:cubicBezTo>
                      <a:pt x="3281631" y="928974"/>
                      <a:pt x="3295685" y="943030"/>
                      <a:pt x="3312947" y="943030"/>
                    </a:cubicBezTo>
                    <a:cubicBezTo>
                      <a:pt x="3330451" y="943030"/>
                      <a:pt x="3344262" y="928974"/>
                      <a:pt x="3344262" y="911718"/>
                    </a:cubicBezTo>
                    <a:close/>
                    <a:moveTo>
                      <a:pt x="3346235" y="477042"/>
                    </a:moveTo>
                    <a:cubicBezTo>
                      <a:pt x="3346235" y="459292"/>
                      <a:pt x="3331686" y="444990"/>
                      <a:pt x="3314182" y="444990"/>
                    </a:cubicBezTo>
                    <a:cubicBezTo>
                      <a:pt x="3296427" y="444990"/>
                      <a:pt x="3282125" y="459292"/>
                      <a:pt x="3282125" y="477042"/>
                    </a:cubicBezTo>
                    <a:cubicBezTo>
                      <a:pt x="3282125" y="494799"/>
                      <a:pt x="3296674" y="509097"/>
                      <a:pt x="3314182" y="509097"/>
                    </a:cubicBezTo>
                    <a:cubicBezTo>
                      <a:pt x="3331935" y="509097"/>
                      <a:pt x="3346235" y="494550"/>
                      <a:pt x="3346235" y="477042"/>
                    </a:cubicBezTo>
                    <a:close/>
                    <a:moveTo>
                      <a:pt x="3346235" y="585764"/>
                    </a:moveTo>
                    <a:cubicBezTo>
                      <a:pt x="3346235" y="568011"/>
                      <a:pt x="3331687" y="553463"/>
                      <a:pt x="3313933" y="553463"/>
                    </a:cubicBezTo>
                    <a:cubicBezTo>
                      <a:pt x="3296180" y="553463"/>
                      <a:pt x="3281631" y="567763"/>
                      <a:pt x="3281631" y="585764"/>
                    </a:cubicBezTo>
                    <a:cubicBezTo>
                      <a:pt x="3281631" y="603517"/>
                      <a:pt x="3296180" y="618062"/>
                      <a:pt x="3313933" y="618062"/>
                    </a:cubicBezTo>
                    <a:cubicBezTo>
                      <a:pt x="3331933" y="618062"/>
                      <a:pt x="3346481" y="603517"/>
                      <a:pt x="3346235" y="585764"/>
                    </a:cubicBezTo>
                    <a:close/>
                    <a:moveTo>
                      <a:pt x="3346727" y="1237891"/>
                    </a:moveTo>
                    <a:cubicBezTo>
                      <a:pt x="3346727" y="1218658"/>
                      <a:pt x="3331195" y="1203122"/>
                      <a:pt x="3311960" y="1203122"/>
                    </a:cubicBezTo>
                    <a:cubicBezTo>
                      <a:pt x="3292728" y="1203122"/>
                      <a:pt x="3277194" y="1218658"/>
                      <a:pt x="3277194" y="1237891"/>
                    </a:cubicBezTo>
                    <a:cubicBezTo>
                      <a:pt x="3277194" y="1257119"/>
                      <a:pt x="3292728" y="1272649"/>
                      <a:pt x="3311960" y="1272649"/>
                    </a:cubicBezTo>
                    <a:cubicBezTo>
                      <a:pt x="3331195" y="1272649"/>
                      <a:pt x="3346727" y="1257119"/>
                      <a:pt x="3346727" y="1237891"/>
                    </a:cubicBezTo>
                    <a:close/>
                    <a:moveTo>
                      <a:pt x="3346728" y="1129164"/>
                    </a:moveTo>
                    <a:cubicBezTo>
                      <a:pt x="3346728" y="1110176"/>
                      <a:pt x="3331441" y="1094890"/>
                      <a:pt x="3312456" y="1094890"/>
                    </a:cubicBezTo>
                    <a:cubicBezTo>
                      <a:pt x="3293468" y="1094890"/>
                      <a:pt x="3278181" y="1110176"/>
                      <a:pt x="3278181" y="1129164"/>
                    </a:cubicBezTo>
                    <a:cubicBezTo>
                      <a:pt x="3278181" y="1148151"/>
                      <a:pt x="3293468" y="1163439"/>
                      <a:pt x="3312456" y="1163439"/>
                    </a:cubicBezTo>
                    <a:cubicBezTo>
                      <a:pt x="3331441" y="1163439"/>
                      <a:pt x="3346728" y="1147905"/>
                      <a:pt x="3346728" y="1129164"/>
                    </a:cubicBezTo>
                    <a:close/>
                    <a:moveTo>
                      <a:pt x="3347222" y="2109183"/>
                    </a:moveTo>
                    <a:cubicBezTo>
                      <a:pt x="3347222" y="2092166"/>
                      <a:pt x="3333413" y="2078111"/>
                      <a:pt x="3316155" y="2078111"/>
                    </a:cubicBezTo>
                    <a:cubicBezTo>
                      <a:pt x="3299140" y="2078111"/>
                      <a:pt x="3285085" y="2091919"/>
                      <a:pt x="3285085" y="2109183"/>
                    </a:cubicBezTo>
                    <a:cubicBezTo>
                      <a:pt x="3285085" y="2126197"/>
                      <a:pt x="3298893" y="2140251"/>
                      <a:pt x="3316155" y="2140251"/>
                    </a:cubicBezTo>
                    <a:cubicBezTo>
                      <a:pt x="3333168" y="2140251"/>
                      <a:pt x="3347222" y="2126443"/>
                      <a:pt x="3347222" y="2109183"/>
                    </a:cubicBezTo>
                    <a:close/>
                    <a:moveTo>
                      <a:pt x="3347467" y="694278"/>
                    </a:moveTo>
                    <a:cubicBezTo>
                      <a:pt x="3347467" y="675780"/>
                      <a:pt x="3332426" y="660985"/>
                      <a:pt x="3314182" y="660985"/>
                    </a:cubicBezTo>
                    <a:cubicBezTo>
                      <a:pt x="3295687" y="660985"/>
                      <a:pt x="3280893" y="676025"/>
                      <a:pt x="3280893" y="694278"/>
                    </a:cubicBezTo>
                    <a:cubicBezTo>
                      <a:pt x="3280893" y="712516"/>
                      <a:pt x="3295933" y="727554"/>
                      <a:pt x="3314182" y="727554"/>
                    </a:cubicBezTo>
                    <a:cubicBezTo>
                      <a:pt x="3332426" y="727554"/>
                      <a:pt x="3347220" y="712764"/>
                      <a:pt x="3347467" y="694278"/>
                    </a:cubicBezTo>
                    <a:close/>
                    <a:moveTo>
                      <a:pt x="3347960" y="2547815"/>
                    </a:moveTo>
                    <a:cubicBezTo>
                      <a:pt x="3347960" y="2530553"/>
                      <a:pt x="3333906" y="2516498"/>
                      <a:pt x="3316647" y="2516498"/>
                    </a:cubicBezTo>
                    <a:cubicBezTo>
                      <a:pt x="3299385" y="2516498"/>
                      <a:pt x="3285331" y="2530553"/>
                      <a:pt x="3285331" y="2547815"/>
                    </a:cubicBezTo>
                    <a:cubicBezTo>
                      <a:pt x="3285331" y="2565073"/>
                      <a:pt x="3299385" y="2579128"/>
                      <a:pt x="3316647" y="2579128"/>
                    </a:cubicBezTo>
                    <a:cubicBezTo>
                      <a:pt x="3333906" y="2579128"/>
                      <a:pt x="3347713" y="2565073"/>
                      <a:pt x="3347960" y="2547815"/>
                    </a:cubicBezTo>
                    <a:close/>
                    <a:moveTo>
                      <a:pt x="3349440" y="3110237"/>
                    </a:moveTo>
                    <a:cubicBezTo>
                      <a:pt x="3349440" y="3095688"/>
                      <a:pt x="3337607" y="3083853"/>
                      <a:pt x="3323058" y="3083853"/>
                    </a:cubicBezTo>
                    <a:cubicBezTo>
                      <a:pt x="3308510" y="3083853"/>
                      <a:pt x="3296674" y="3095688"/>
                      <a:pt x="3296674" y="3110237"/>
                    </a:cubicBezTo>
                    <a:cubicBezTo>
                      <a:pt x="3296674" y="3124785"/>
                      <a:pt x="3308510" y="3136619"/>
                      <a:pt x="3323058" y="3136619"/>
                    </a:cubicBezTo>
                    <a:cubicBezTo>
                      <a:pt x="3337607" y="3136619"/>
                      <a:pt x="3349440" y="3124785"/>
                      <a:pt x="3349440" y="3110237"/>
                    </a:cubicBezTo>
                    <a:close/>
                    <a:moveTo>
                      <a:pt x="3356839" y="2328124"/>
                    </a:moveTo>
                    <a:cubicBezTo>
                      <a:pt x="3356839" y="2305934"/>
                      <a:pt x="3338591" y="2287690"/>
                      <a:pt x="3316400" y="2287690"/>
                    </a:cubicBezTo>
                    <a:cubicBezTo>
                      <a:pt x="3294209" y="2287690"/>
                      <a:pt x="3275962" y="2305934"/>
                      <a:pt x="3275962" y="2328124"/>
                    </a:cubicBezTo>
                    <a:cubicBezTo>
                      <a:pt x="3275962" y="2350323"/>
                      <a:pt x="3294209" y="2368567"/>
                      <a:pt x="3316400" y="2368567"/>
                    </a:cubicBezTo>
                    <a:cubicBezTo>
                      <a:pt x="3338591" y="2368567"/>
                      <a:pt x="3356839" y="2350323"/>
                      <a:pt x="3356839" y="2328124"/>
                    </a:cubicBezTo>
                    <a:close/>
                    <a:moveTo>
                      <a:pt x="3363248" y="2437845"/>
                    </a:moveTo>
                    <a:cubicBezTo>
                      <a:pt x="3363248" y="2411955"/>
                      <a:pt x="3342290" y="2390997"/>
                      <a:pt x="3316397" y="2390997"/>
                    </a:cubicBezTo>
                    <a:cubicBezTo>
                      <a:pt x="3290508" y="2390997"/>
                      <a:pt x="3269550" y="2411955"/>
                      <a:pt x="3269550" y="2437845"/>
                    </a:cubicBezTo>
                    <a:cubicBezTo>
                      <a:pt x="3269550" y="2463737"/>
                      <a:pt x="3290508" y="2484695"/>
                      <a:pt x="3316397" y="2484695"/>
                    </a:cubicBezTo>
                    <a:cubicBezTo>
                      <a:pt x="3342290" y="2484695"/>
                      <a:pt x="3363248" y="2463737"/>
                      <a:pt x="3363248" y="2437845"/>
                    </a:cubicBezTo>
                    <a:close/>
                    <a:moveTo>
                      <a:pt x="3374592" y="4960787"/>
                    </a:moveTo>
                    <a:cubicBezTo>
                      <a:pt x="3374592" y="4960292"/>
                      <a:pt x="3374098" y="4959800"/>
                      <a:pt x="3373605" y="4959800"/>
                    </a:cubicBezTo>
                    <a:cubicBezTo>
                      <a:pt x="3373114" y="4959800"/>
                      <a:pt x="3372620" y="4960292"/>
                      <a:pt x="3372620" y="4960787"/>
                    </a:cubicBezTo>
                    <a:cubicBezTo>
                      <a:pt x="3372620" y="4961278"/>
                      <a:pt x="3373114" y="4961772"/>
                      <a:pt x="3373605" y="4961772"/>
                    </a:cubicBezTo>
                    <a:cubicBezTo>
                      <a:pt x="3374098" y="4961772"/>
                      <a:pt x="3374592" y="4961278"/>
                      <a:pt x="3374592" y="4960787"/>
                    </a:cubicBezTo>
                    <a:close/>
                    <a:moveTo>
                      <a:pt x="3376316" y="5286758"/>
                    </a:moveTo>
                    <a:cubicBezTo>
                      <a:pt x="3376316" y="5285526"/>
                      <a:pt x="3375330" y="5284539"/>
                      <a:pt x="3374098" y="5284539"/>
                    </a:cubicBezTo>
                    <a:cubicBezTo>
                      <a:pt x="3372865" y="5284539"/>
                      <a:pt x="3371880" y="5285526"/>
                      <a:pt x="3371880" y="5286758"/>
                    </a:cubicBezTo>
                    <a:cubicBezTo>
                      <a:pt x="3371880" y="5287990"/>
                      <a:pt x="3372865" y="5288976"/>
                      <a:pt x="3374098" y="5288976"/>
                    </a:cubicBezTo>
                    <a:cubicBezTo>
                      <a:pt x="3375330" y="5288976"/>
                      <a:pt x="3376316" y="5287990"/>
                      <a:pt x="3376316" y="5286758"/>
                    </a:cubicBezTo>
                    <a:close/>
                    <a:moveTo>
                      <a:pt x="3376565" y="5721471"/>
                    </a:moveTo>
                    <a:cubicBezTo>
                      <a:pt x="3376565" y="5719990"/>
                      <a:pt x="3375333" y="5718512"/>
                      <a:pt x="3373606" y="5718512"/>
                    </a:cubicBezTo>
                    <a:cubicBezTo>
                      <a:pt x="3372125" y="5718512"/>
                      <a:pt x="3370647" y="5719745"/>
                      <a:pt x="3370647" y="5721471"/>
                    </a:cubicBezTo>
                    <a:cubicBezTo>
                      <a:pt x="3370647" y="5723198"/>
                      <a:pt x="3371880" y="5724430"/>
                      <a:pt x="3373606" y="5724430"/>
                    </a:cubicBezTo>
                    <a:cubicBezTo>
                      <a:pt x="3375333" y="5724430"/>
                      <a:pt x="3376812" y="5722949"/>
                      <a:pt x="3376565" y="5721471"/>
                    </a:cubicBezTo>
                    <a:close/>
                    <a:moveTo>
                      <a:pt x="3377056" y="5938459"/>
                    </a:moveTo>
                    <a:cubicBezTo>
                      <a:pt x="3377056" y="5936732"/>
                      <a:pt x="3375824" y="5935499"/>
                      <a:pt x="3374098" y="5935499"/>
                    </a:cubicBezTo>
                    <a:cubicBezTo>
                      <a:pt x="3372371" y="5935499"/>
                      <a:pt x="3371139" y="5936732"/>
                      <a:pt x="3371139" y="5938459"/>
                    </a:cubicBezTo>
                    <a:cubicBezTo>
                      <a:pt x="3371139" y="5940186"/>
                      <a:pt x="3372371" y="5941418"/>
                      <a:pt x="3374098" y="5941418"/>
                    </a:cubicBezTo>
                    <a:cubicBezTo>
                      <a:pt x="3375576" y="5941418"/>
                      <a:pt x="3377056" y="5940186"/>
                      <a:pt x="3377056" y="5938459"/>
                    </a:cubicBezTo>
                    <a:close/>
                    <a:moveTo>
                      <a:pt x="3377056" y="6046951"/>
                    </a:moveTo>
                    <a:cubicBezTo>
                      <a:pt x="3377056" y="6045470"/>
                      <a:pt x="3375824" y="6043992"/>
                      <a:pt x="3374098" y="6043992"/>
                    </a:cubicBezTo>
                    <a:cubicBezTo>
                      <a:pt x="3372371" y="6043992"/>
                      <a:pt x="3370893" y="6045225"/>
                      <a:pt x="3370893" y="6046951"/>
                    </a:cubicBezTo>
                    <a:cubicBezTo>
                      <a:pt x="3370893" y="6048678"/>
                      <a:pt x="3372371" y="6050156"/>
                      <a:pt x="3374098" y="6050156"/>
                    </a:cubicBezTo>
                    <a:cubicBezTo>
                      <a:pt x="3375824" y="6050156"/>
                      <a:pt x="3377056" y="6048678"/>
                      <a:pt x="3377056" y="6046951"/>
                    </a:cubicBezTo>
                    <a:close/>
                    <a:moveTo>
                      <a:pt x="3377060" y="6589665"/>
                    </a:moveTo>
                    <a:cubicBezTo>
                      <a:pt x="3377060" y="6587938"/>
                      <a:pt x="3375578" y="6586459"/>
                      <a:pt x="3373852" y="6586459"/>
                    </a:cubicBezTo>
                    <a:cubicBezTo>
                      <a:pt x="3372125" y="6586459"/>
                      <a:pt x="3370647" y="6587938"/>
                      <a:pt x="3370647" y="6589665"/>
                    </a:cubicBezTo>
                    <a:cubicBezTo>
                      <a:pt x="3370647" y="6591392"/>
                      <a:pt x="3372125" y="6592873"/>
                      <a:pt x="3373852" y="6592873"/>
                    </a:cubicBezTo>
                    <a:cubicBezTo>
                      <a:pt x="3375578" y="6592873"/>
                      <a:pt x="3377060" y="6591392"/>
                      <a:pt x="3377060" y="6589665"/>
                    </a:cubicBezTo>
                    <a:close/>
                    <a:moveTo>
                      <a:pt x="3377060" y="7349118"/>
                    </a:moveTo>
                    <a:cubicBezTo>
                      <a:pt x="3377060" y="7347392"/>
                      <a:pt x="3375578" y="7345913"/>
                      <a:pt x="3373852" y="7345913"/>
                    </a:cubicBezTo>
                    <a:cubicBezTo>
                      <a:pt x="3372125" y="7345913"/>
                      <a:pt x="3370647" y="7347392"/>
                      <a:pt x="3370647" y="7349118"/>
                    </a:cubicBezTo>
                    <a:cubicBezTo>
                      <a:pt x="3370647" y="7350845"/>
                      <a:pt x="3372125" y="7352326"/>
                      <a:pt x="3373852" y="7352326"/>
                    </a:cubicBezTo>
                    <a:cubicBezTo>
                      <a:pt x="3375578" y="7352326"/>
                      <a:pt x="3377060" y="7350845"/>
                      <a:pt x="3377060" y="7349118"/>
                    </a:cubicBezTo>
                    <a:close/>
                    <a:moveTo>
                      <a:pt x="3377303" y="6155443"/>
                    </a:moveTo>
                    <a:cubicBezTo>
                      <a:pt x="3377303" y="6153717"/>
                      <a:pt x="3375824" y="6152238"/>
                      <a:pt x="3374098" y="6152238"/>
                    </a:cubicBezTo>
                    <a:cubicBezTo>
                      <a:pt x="3372371" y="6152238"/>
                      <a:pt x="3370893" y="6153717"/>
                      <a:pt x="3370893" y="6155443"/>
                    </a:cubicBezTo>
                    <a:cubicBezTo>
                      <a:pt x="3370893" y="6157170"/>
                      <a:pt x="3372371" y="6158651"/>
                      <a:pt x="3374098" y="6158651"/>
                    </a:cubicBezTo>
                    <a:cubicBezTo>
                      <a:pt x="3375824" y="6158651"/>
                      <a:pt x="3377303" y="6157415"/>
                      <a:pt x="3377303" y="6155443"/>
                    </a:cubicBezTo>
                    <a:close/>
                    <a:moveTo>
                      <a:pt x="3377303" y="6264185"/>
                    </a:moveTo>
                    <a:cubicBezTo>
                      <a:pt x="3377303" y="6262457"/>
                      <a:pt x="3376071" y="6261225"/>
                      <a:pt x="3374344" y="6261225"/>
                    </a:cubicBezTo>
                    <a:cubicBezTo>
                      <a:pt x="3372863" y="6261225"/>
                      <a:pt x="3371385" y="6262457"/>
                      <a:pt x="3371385" y="6264185"/>
                    </a:cubicBezTo>
                    <a:cubicBezTo>
                      <a:pt x="3371385" y="6265663"/>
                      <a:pt x="3372618" y="6267144"/>
                      <a:pt x="3374344" y="6267144"/>
                    </a:cubicBezTo>
                    <a:cubicBezTo>
                      <a:pt x="3376071" y="6267144"/>
                      <a:pt x="3377303" y="6265912"/>
                      <a:pt x="3377303" y="6264185"/>
                    </a:cubicBezTo>
                    <a:close/>
                    <a:moveTo>
                      <a:pt x="3377303" y="7457611"/>
                    </a:moveTo>
                    <a:cubicBezTo>
                      <a:pt x="3377303" y="7455886"/>
                      <a:pt x="3375824" y="7454406"/>
                      <a:pt x="3374098" y="7454406"/>
                    </a:cubicBezTo>
                    <a:cubicBezTo>
                      <a:pt x="3372371" y="7454406"/>
                      <a:pt x="3370893" y="7455886"/>
                      <a:pt x="3370893" y="7457611"/>
                    </a:cubicBezTo>
                    <a:cubicBezTo>
                      <a:pt x="3370893" y="7459338"/>
                      <a:pt x="3372371" y="7460819"/>
                      <a:pt x="3374098" y="7460819"/>
                    </a:cubicBezTo>
                    <a:cubicBezTo>
                      <a:pt x="3375824" y="7460819"/>
                      <a:pt x="3377056" y="7459338"/>
                      <a:pt x="3377303" y="7457611"/>
                    </a:cubicBezTo>
                    <a:close/>
                    <a:moveTo>
                      <a:pt x="3377303" y="7566104"/>
                    </a:moveTo>
                    <a:cubicBezTo>
                      <a:pt x="3377303" y="7564378"/>
                      <a:pt x="3375824" y="7562899"/>
                      <a:pt x="3374098" y="7562899"/>
                    </a:cubicBezTo>
                    <a:cubicBezTo>
                      <a:pt x="3372371" y="7562899"/>
                      <a:pt x="3370893" y="7564378"/>
                      <a:pt x="3370893" y="7566104"/>
                    </a:cubicBezTo>
                    <a:cubicBezTo>
                      <a:pt x="3370893" y="7567831"/>
                      <a:pt x="3372371" y="7569308"/>
                      <a:pt x="3374098" y="7569308"/>
                    </a:cubicBezTo>
                    <a:cubicBezTo>
                      <a:pt x="3375824" y="7569308"/>
                      <a:pt x="3377303" y="7567831"/>
                      <a:pt x="3377303" y="7566104"/>
                    </a:cubicBezTo>
                    <a:close/>
                    <a:moveTo>
                      <a:pt x="3377549" y="7023638"/>
                    </a:moveTo>
                    <a:cubicBezTo>
                      <a:pt x="3377549" y="7021911"/>
                      <a:pt x="3376070" y="7020433"/>
                      <a:pt x="3374343" y="7020433"/>
                    </a:cubicBezTo>
                    <a:cubicBezTo>
                      <a:pt x="3372616" y="7020433"/>
                      <a:pt x="3371139" y="7021911"/>
                      <a:pt x="3371139" y="7023638"/>
                    </a:cubicBezTo>
                    <a:cubicBezTo>
                      <a:pt x="3371139" y="7025365"/>
                      <a:pt x="3372616" y="7026843"/>
                      <a:pt x="3374343" y="7026843"/>
                    </a:cubicBezTo>
                    <a:cubicBezTo>
                      <a:pt x="3376070" y="7026843"/>
                      <a:pt x="3377302" y="7025365"/>
                      <a:pt x="3377549" y="7023638"/>
                    </a:cubicBezTo>
                    <a:close/>
                    <a:moveTo>
                      <a:pt x="3377549" y="7132131"/>
                    </a:moveTo>
                    <a:cubicBezTo>
                      <a:pt x="3377549" y="7130404"/>
                      <a:pt x="3376070" y="7128926"/>
                      <a:pt x="3374343" y="7128926"/>
                    </a:cubicBezTo>
                    <a:cubicBezTo>
                      <a:pt x="3372616" y="7128926"/>
                      <a:pt x="3371139" y="7130404"/>
                      <a:pt x="3371139" y="7132131"/>
                    </a:cubicBezTo>
                    <a:cubicBezTo>
                      <a:pt x="3371139" y="7133858"/>
                      <a:pt x="3372616" y="7135339"/>
                      <a:pt x="3374343" y="7135339"/>
                    </a:cubicBezTo>
                    <a:cubicBezTo>
                      <a:pt x="3376070" y="7135339"/>
                      <a:pt x="3377549" y="7133858"/>
                      <a:pt x="3377549" y="7132131"/>
                    </a:cubicBezTo>
                    <a:close/>
                    <a:moveTo>
                      <a:pt x="3377549" y="7240624"/>
                    </a:moveTo>
                    <a:cubicBezTo>
                      <a:pt x="3377549" y="7238897"/>
                      <a:pt x="3376070" y="7237419"/>
                      <a:pt x="3374343" y="7237419"/>
                    </a:cubicBezTo>
                    <a:cubicBezTo>
                      <a:pt x="3372616" y="7237419"/>
                      <a:pt x="3371139" y="7238897"/>
                      <a:pt x="3371139" y="7240624"/>
                    </a:cubicBezTo>
                    <a:cubicBezTo>
                      <a:pt x="3371139" y="7242351"/>
                      <a:pt x="3372616" y="7243832"/>
                      <a:pt x="3374343" y="7243832"/>
                    </a:cubicBezTo>
                    <a:cubicBezTo>
                      <a:pt x="3376070" y="7243832"/>
                      <a:pt x="3377549" y="7242351"/>
                      <a:pt x="3377549" y="7240624"/>
                    </a:cubicBezTo>
                    <a:close/>
                    <a:moveTo>
                      <a:pt x="3377551" y="1668355"/>
                    </a:moveTo>
                    <a:cubicBezTo>
                      <a:pt x="3377551" y="1665149"/>
                      <a:pt x="3374838" y="1662437"/>
                      <a:pt x="3371633" y="1662437"/>
                    </a:cubicBezTo>
                    <a:cubicBezTo>
                      <a:pt x="3368428" y="1662437"/>
                      <a:pt x="3365715" y="1665149"/>
                      <a:pt x="3365715" y="1668355"/>
                    </a:cubicBezTo>
                    <a:cubicBezTo>
                      <a:pt x="3365715" y="1671556"/>
                      <a:pt x="3368428" y="1674270"/>
                      <a:pt x="3371633" y="1674270"/>
                    </a:cubicBezTo>
                    <a:cubicBezTo>
                      <a:pt x="3374838" y="1674270"/>
                      <a:pt x="3377305" y="1671556"/>
                      <a:pt x="3377551" y="1668355"/>
                    </a:cubicBezTo>
                    <a:close/>
                    <a:moveTo>
                      <a:pt x="3377551" y="5829965"/>
                    </a:moveTo>
                    <a:cubicBezTo>
                      <a:pt x="3377551" y="5827992"/>
                      <a:pt x="3375824" y="5826265"/>
                      <a:pt x="3373852" y="5826265"/>
                    </a:cubicBezTo>
                    <a:cubicBezTo>
                      <a:pt x="3371880" y="5826265"/>
                      <a:pt x="3370153" y="5827992"/>
                      <a:pt x="3370153" y="5829965"/>
                    </a:cubicBezTo>
                    <a:cubicBezTo>
                      <a:pt x="3370153" y="5831937"/>
                      <a:pt x="3371880" y="5833664"/>
                      <a:pt x="3373852" y="5833664"/>
                    </a:cubicBezTo>
                    <a:cubicBezTo>
                      <a:pt x="3375824" y="5833664"/>
                      <a:pt x="3377551" y="5831937"/>
                      <a:pt x="3377551" y="5829965"/>
                    </a:cubicBezTo>
                    <a:close/>
                    <a:moveTo>
                      <a:pt x="3378043" y="6698158"/>
                    </a:moveTo>
                    <a:cubicBezTo>
                      <a:pt x="3378043" y="6695939"/>
                      <a:pt x="3376316" y="6694213"/>
                      <a:pt x="3374098" y="6694213"/>
                    </a:cubicBezTo>
                    <a:cubicBezTo>
                      <a:pt x="3371880" y="6694213"/>
                      <a:pt x="3370153" y="6695939"/>
                      <a:pt x="3370153" y="6698158"/>
                    </a:cubicBezTo>
                    <a:cubicBezTo>
                      <a:pt x="3370153" y="6700376"/>
                      <a:pt x="3371880" y="6702102"/>
                      <a:pt x="3374098" y="6702102"/>
                    </a:cubicBezTo>
                    <a:cubicBezTo>
                      <a:pt x="3376316" y="6702102"/>
                      <a:pt x="3378043" y="6700376"/>
                      <a:pt x="3378043" y="6698158"/>
                    </a:cubicBezTo>
                    <a:close/>
                    <a:moveTo>
                      <a:pt x="3378043" y="6806651"/>
                    </a:moveTo>
                    <a:cubicBezTo>
                      <a:pt x="3378043" y="6804432"/>
                      <a:pt x="3376316" y="6802706"/>
                      <a:pt x="3374098" y="6802706"/>
                    </a:cubicBezTo>
                    <a:cubicBezTo>
                      <a:pt x="3371880" y="6802706"/>
                      <a:pt x="3370153" y="6804432"/>
                      <a:pt x="3370153" y="6806651"/>
                    </a:cubicBezTo>
                    <a:cubicBezTo>
                      <a:pt x="3370153" y="6808869"/>
                      <a:pt x="3371880" y="6810595"/>
                      <a:pt x="3374098" y="6810595"/>
                    </a:cubicBezTo>
                    <a:cubicBezTo>
                      <a:pt x="3376316" y="6810595"/>
                      <a:pt x="3378043" y="6808869"/>
                      <a:pt x="3378043" y="6806651"/>
                    </a:cubicBezTo>
                    <a:close/>
                    <a:moveTo>
                      <a:pt x="3378288" y="6915144"/>
                    </a:moveTo>
                    <a:cubicBezTo>
                      <a:pt x="3378288" y="6912926"/>
                      <a:pt x="3376315" y="6910953"/>
                      <a:pt x="3374098" y="6910953"/>
                    </a:cubicBezTo>
                    <a:cubicBezTo>
                      <a:pt x="3371878" y="6910953"/>
                      <a:pt x="3369906" y="6912926"/>
                      <a:pt x="3369906" y="6915144"/>
                    </a:cubicBezTo>
                    <a:cubicBezTo>
                      <a:pt x="3369906" y="6917363"/>
                      <a:pt x="3371878" y="6919335"/>
                      <a:pt x="3374098" y="6919335"/>
                    </a:cubicBezTo>
                    <a:cubicBezTo>
                      <a:pt x="3376315" y="6919335"/>
                      <a:pt x="3378288" y="6917363"/>
                      <a:pt x="3378288" y="6915144"/>
                    </a:cubicBezTo>
                    <a:close/>
                    <a:moveTo>
                      <a:pt x="3378783" y="6372675"/>
                    </a:moveTo>
                    <a:cubicBezTo>
                      <a:pt x="3378783" y="6370211"/>
                      <a:pt x="3376810" y="6368238"/>
                      <a:pt x="3374346" y="6368238"/>
                    </a:cubicBezTo>
                    <a:cubicBezTo>
                      <a:pt x="3371878" y="6368238"/>
                      <a:pt x="3369906" y="6370211"/>
                      <a:pt x="3369906" y="6372675"/>
                    </a:cubicBezTo>
                    <a:cubicBezTo>
                      <a:pt x="3369906" y="6375142"/>
                      <a:pt x="3371878" y="6377115"/>
                      <a:pt x="3374346" y="6377115"/>
                    </a:cubicBezTo>
                    <a:cubicBezTo>
                      <a:pt x="3376810" y="6377115"/>
                      <a:pt x="3378783" y="6375142"/>
                      <a:pt x="3378783" y="6372675"/>
                    </a:cubicBezTo>
                    <a:close/>
                    <a:moveTo>
                      <a:pt x="3378783" y="6481171"/>
                    </a:moveTo>
                    <a:cubicBezTo>
                      <a:pt x="3378783" y="6478953"/>
                      <a:pt x="3376811" y="6476980"/>
                      <a:pt x="3374344" y="6476980"/>
                    </a:cubicBezTo>
                    <a:cubicBezTo>
                      <a:pt x="3372125" y="6476980"/>
                      <a:pt x="3370153" y="6478953"/>
                      <a:pt x="3370153" y="6481171"/>
                    </a:cubicBezTo>
                    <a:cubicBezTo>
                      <a:pt x="3370153" y="6483392"/>
                      <a:pt x="3371880" y="6485362"/>
                      <a:pt x="3374344" y="6485362"/>
                    </a:cubicBezTo>
                    <a:cubicBezTo>
                      <a:pt x="3376811" y="6485362"/>
                      <a:pt x="3378783" y="6483392"/>
                      <a:pt x="3378783" y="6481171"/>
                    </a:cubicBezTo>
                    <a:close/>
                    <a:moveTo>
                      <a:pt x="3379524" y="4306373"/>
                    </a:moveTo>
                    <a:cubicBezTo>
                      <a:pt x="3379524" y="4303169"/>
                      <a:pt x="3376811" y="4300701"/>
                      <a:pt x="3373854" y="4300701"/>
                    </a:cubicBezTo>
                    <a:cubicBezTo>
                      <a:pt x="3370895" y="4300701"/>
                      <a:pt x="3368428" y="4303415"/>
                      <a:pt x="3368428" y="4306373"/>
                    </a:cubicBezTo>
                    <a:cubicBezTo>
                      <a:pt x="3368428" y="4309578"/>
                      <a:pt x="3370895" y="4312046"/>
                      <a:pt x="3373854" y="4312046"/>
                    </a:cubicBezTo>
                    <a:cubicBezTo>
                      <a:pt x="3376811" y="4312046"/>
                      <a:pt x="3379277" y="4309578"/>
                      <a:pt x="3379524" y="4306373"/>
                    </a:cubicBezTo>
                    <a:close/>
                    <a:moveTo>
                      <a:pt x="3379770" y="5504239"/>
                    </a:moveTo>
                    <a:cubicBezTo>
                      <a:pt x="3379770" y="5501278"/>
                      <a:pt x="3377303" y="5498813"/>
                      <a:pt x="3374346" y="5498813"/>
                    </a:cubicBezTo>
                    <a:cubicBezTo>
                      <a:pt x="3371385" y="5498813"/>
                      <a:pt x="3368921" y="5501278"/>
                      <a:pt x="3368921" y="5504239"/>
                    </a:cubicBezTo>
                    <a:cubicBezTo>
                      <a:pt x="3368921" y="5507196"/>
                      <a:pt x="3371385" y="5509663"/>
                      <a:pt x="3374346" y="5509663"/>
                    </a:cubicBezTo>
                    <a:cubicBezTo>
                      <a:pt x="3377552" y="5509663"/>
                      <a:pt x="3380016" y="5507196"/>
                      <a:pt x="3379770" y="5504239"/>
                    </a:cubicBezTo>
                    <a:close/>
                    <a:moveTo>
                      <a:pt x="3380017" y="5395500"/>
                    </a:moveTo>
                    <a:cubicBezTo>
                      <a:pt x="3380017" y="5392292"/>
                      <a:pt x="3377305" y="5389828"/>
                      <a:pt x="3374346" y="5389828"/>
                    </a:cubicBezTo>
                    <a:cubicBezTo>
                      <a:pt x="3371141" y="5389828"/>
                      <a:pt x="3368674" y="5392541"/>
                      <a:pt x="3368674" y="5395500"/>
                    </a:cubicBezTo>
                    <a:cubicBezTo>
                      <a:pt x="3368674" y="5398704"/>
                      <a:pt x="3371386" y="5401169"/>
                      <a:pt x="3374346" y="5401169"/>
                    </a:cubicBezTo>
                    <a:cubicBezTo>
                      <a:pt x="3377305" y="5401169"/>
                      <a:pt x="3379768" y="5398704"/>
                      <a:pt x="3380017" y="5395500"/>
                    </a:cubicBezTo>
                    <a:close/>
                    <a:moveTo>
                      <a:pt x="3384210" y="1777103"/>
                    </a:moveTo>
                    <a:cubicBezTo>
                      <a:pt x="3384210" y="1770195"/>
                      <a:pt x="3378783" y="1764769"/>
                      <a:pt x="3371882" y="1764769"/>
                    </a:cubicBezTo>
                    <a:cubicBezTo>
                      <a:pt x="3364977" y="1764769"/>
                      <a:pt x="3359552" y="1770443"/>
                      <a:pt x="3359552" y="1777103"/>
                    </a:cubicBezTo>
                    <a:cubicBezTo>
                      <a:pt x="3359552" y="1783997"/>
                      <a:pt x="3365224" y="1789420"/>
                      <a:pt x="3371882" y="1789420"/>
                    </a:cubicBezTo>
                    <a:cubicBezTo>
                      <a:pt x="3378537" y="1789420"/>
                      <a:pt x="3383963" y="1783754"/>
                      <a:pt x="3384210" y="1777103"/>
                    </a:cubicBezTo>
                    <a:close/>
                    <a:moveTo>
                      <a:pt x="3386673" y="4634318"/>
                    </a:moveTo>
                    <a:cubicBezTo>
                      <a:pt x="3386673" y="4627662"/>
                      <a:pt x="3381248" y="4622235"/>
                      <a:pt x="3374589" y="4622235"/>
                    </a:cubicBezTo>
                    <a:cubicBezTo>
                      <a:pt x="3367933" y="4622235"/>
                      <a:pt x="3362508" y="4627662"/>
                      <a:pt x="3362508" y="4634318"/>
                    </a:cubicBezTo>
                    <a:cubicBezTo>
                      <a:pt x="3362508" y="4640976"/>
                      <a:pt x="3367933" y="4646399"/>
                      <a:pt x="3374589" y="4646399"/>
                    </a:cubicBezTo>
                    <a:cubicBezTo>
                      <a:pt x="3381248" y="4646399"/>
                      <a:pt x="3386673" y="4640976"/>
                      <a:pt x="3386673" y="4634318"/>
                    </a:cubicBezTo>
                    <a:close/>
                    <a:moveTo>
                      <a:pt x="3391356" y="4196894"/>
                    </a:moveTo>
                    <a:cubicBezTo>
                      <a:pt x="3391356" y="4187031"/>
                      <a:pt x="3383220" y="4178894"/>
                      <a:pt x="3373356" y="4178894"/>
                    </a:cubicBezTo>
                    <a:cubicBezTo>
                      <a:pt x="3363493" y="4178894"/>
                      <a:pt x="3355358" y="4187031"/>
                      <a:pt x="3355358" y="4196894"/>
                    </a:cubicBezTo>
                    <a:cubicBezTo>
                      <a:pt x="3355358" y="4206757"/>
                      <a:pt x="3363493" y="4214893"/>
                      <a:pt x="3373356" y="4214893"/>
                    </a:cubicBezTo>
                    <a:cubicBezTo>
                      <a:pt x="3383220" y="4214893"/>
                      <a:pt x="3391356" y="4206757"/>
                      <a:pt x="3391356" y="4196894"/>
                    </a:cubicBezTo>
                    <a:close/>
                    <a:moveTo>
                      <a:pt x="3391854" y="5178018"/>
                    </a:moveTo>
                    <a:cubicBezTo>
                      <a:pt x="3391854" y="5168402"/>
                      <a:pt x="3383964" y="5160511"/>
                      <a:pt x="3374100" y="5160511"/>
                    </a:cubicBezTo>
                    <a:cubicBezTo>
                      <a:pt x="3364483" y="5160511"/>
                      <a:pt x="3356593" y="5168402"/>
                      <a:pt x="3356593" y="5178018"/>
                    </a:cubicBezTo>
                    <a:cubicBezTo>
                      <a:pt x="3356593" y="5187882"/>
                      <a:pt x="3364483" y="5195773"/>
                      <a:pt x="3374100" y="5195773"/>
                    </a:cubicBezTo>
                    <a:cubicBezTo>
                      <a:pt x="3383715" y="5195773"/>
                      <a:pt x="3391605" y="5187882"/>
                      <a:pt x="3391854" y="5178018"/>
                    </a:cubicBezTo>
                    <a:close/>
                    <a:moveTo>
                      <a:pt x="3392591" y="1559877"/>
                    </a:moveTo>
                    <a:cubicBezTo>
                      <a:pt x="3392591" y="1548041"/>
                      <a:pt x="3382977" y="1538425"/>
                      <a:pt x="3371142" y="1538425"/>
                    </a:cubicBezTo>
                    <a:cubicBezTo>
                      <a:pt x="3359305" y="1538425"/>
                      <a:pt x="3349689" y="1548041"/>
                      <a:pt x="3349689" y="1559877"/>
                    </a:cubicBezTo>
                    <a:cubicBezTo>
                      <a:pt x="3349689" y="1571712"/>
                      <a:pt x="3359305" y="1581323"/>
                      <a:pt x="3371142" y="1581323"/>
                    </a:cubicBezTo>
                    <a:cubicBezTo>
                      <a:pt x="3382977" y="1581323"/>
                      <a:pt x="3392591" y="1571712"/>
                      <a:pt x="3392591" y="1559877"/>
                    </a:cubicBezTo>
                    <a:close/>
                    <a:moveTo>
                      <a:pt x="3399741" y="257144"/>
                    </a:moveTo>
                    <a:cubicBezTo>
                      <a:pt x="3399741" y="241116"/>
                      <a:pt x="3386920" y="228048"/>
                      <a:pt x="3370893" y="228048"/>
                    </a:cubicBezTo>
                    <a:cubicBezTo>
                      <a:pt x="3354863" y="228048"/>
                      <a:pt x="3341796" y="241116"/>
                      <a:pt x="3341796" y="257144"/>
                    </a:cubicBezTo>
                    <a:cubicBezTo>
                      <a:pt x="3341796" y="273171"/>
                      <a:pt x="3354863" y="286237"/>
                      <a:pt x="3370893" y="286237"/>
                    </a:cubicBezTo>
                    <a:cubicBezTo>
                      <a:pt x="3386920" y="286237"/>
                      <a:pt x="3399987" y="273416"/>
                      <a:pt x="3399741" y="257144"/>
                    </a:cubicBezTo>
                    <a:close/>
                    <a:moveTo>
                      <a:pt x="3399744" y="365613"/>
                    </a:moveTo>
                    <a:cubicBezTo>
                      <a:pt x="3399744" y="349586"/>
                      <a:pt x="3386674" y="336765"/>
                      <a:pt x="3370893" y="336765"/>
                    </a:cubicBezTo>
                    <a:cubicBezTo>
                      <a:pt x="3354867" y="336765"/>
                      <a:pt x="3342045" y="349832"/>
                      <a:pt x="3342045" y="365613"/>
                    </a:cubicBezTo>
                    <a:cubicBezTo>
                      <a:pt x="3342045" y="381638"/>
                      <a:pt x="3355112" y="394462"/>
                      <a:pt x="3370893" y="394462"/>
                    </a:cubicBezTo>
                    <a:cubicBezTo>
                      <a:pt x="3386674" y="394462"/>
                      <a:pt x="3399495" y="381638"/>
                      <a:pt x="3399744" y="365613"/>
                    </a:cubicBezTo>
                    <a:close/>
                    <a:moveTo>
                      <a:pt x="3400481" y="1885820"/>
                    </a:moveTo>
                    <a:cubicBezTo>
                      <a:pt x="3400481" y="1870289"/>
                      <a:pt x="3387906" y="1857469"/>
                      <a:pt x="3372125" y="1857469"/>
                    </a:cubicBezTo>
                    <a:cubicBezTo>
                      <a:pt x="3356345" y="1857469"/>
                      <a:pt x="3343522" y="1870042"/>
                      <a:pt x="3343522" y="1885820"/>
                    </a:cubicBezTo>
                    <a:cubicBezTo>
                      <a:pt x="3343522" y="1901352"/>
                      <a:pt x="3356345" y="1914171"/>
                      <a:pt x="3372125" y="1914171"/>
                    </a:cubicBezTo>
                    <a:cubicBezTo>
                      <a:pt x="3387660" y="1914171"/>
                      <a:pt x="3400481" y="1901352"/>
                      <a:pt x="3400481" y="1885820"/>
                    </a:cubicBezTo>
                    <a:close/>
                    <a:moveTo>
                      <a:pt x="3400728" y="40205"/>
                    </a:moveTo>
                    <a:cubicBezTo>
                      <a:pt x="3400728" y="23684"/>
                      <a:pt x="3387168" y="10371"/>
                      <a:pt x="3370893" y="10371"/>
                    </a:cubicBezTo>
                    <a:cubicBezTo>
                      <a:pt x="3354371" y="10371"/>
                      <a:pt x="3341058" y="23684"/>
                      <a:pt x="3341058" y="40205"/>
                    </a:cubicBezTo>
                    <a:cubicBezTo>
                      <a:pt x="3341058" y="56726"/>
                      <a:pt x="3354371" y="70041"/>
                      <a:pt x="3370893" y="70041"/>
                    </a:cubicBezTo>
                    <a:cubicBezTo>
                      <a:pt x="3387414" y="70041"/>
                      <a:pt x="3400728" y="56726"/>
                      <a:pt x="3400728" y="40205"/>
                    </a:cubicBezTo>
                    <a:close/>
                    <a:moveTo>
                      <a:pt x="3400730" y="1451145"/>
                    </a:moveTo>
                    <a:cubicBezTo>
                      <a:pt x="3400730" y="1434872"/>
                      <a:pt x="3387660" y="1421807"/>
                      <a:pt x="3371387" y="1421807"/>
                    </a:cubicBezTo>
                    <a:cubicBezTo>
                      <a:pt x="3355112" y="1421807"/>
                      <a:pt x="3342045" y="1434872"/>
                      <a:pt x="3342045" y="1451145"/>
                    </a:cubicBezTo>
                    <a:cubicBezTo>
                      <a:pt x="3342045" y="1467423"/>
                      <a:pt x="3355112" y="1480489"/>
                      <a:pt x="3371387" y="1480489"/>
                    </a:cubicBezTo>
                    <a:cubicBezTo>
                      <a:pt x="3387660" y="1480489"/>
                      <a:pt x="3400730" y="1467423"/>
                      <a:pt x="3400730" y="1451145"/>
                    </a:cubicBezTo>
                    <a:close/>
                    <a:moveTo>
                      <a:pt x="3401468" y="148921"/>
                    </a:moveTo>
                    <a:cubicBezTo>
                      <a:pt x="3401468" y="132155"/>
                      <a:pt x="3387908" y="118593"/>
                      <a:pt x="3371142" y="118593"/>
                    </a:cubicBezTo>
                    <a:cubicBezTo>
                      <a:pt x="3354374" y="118593"/>
                      <a:pt x="3340812" y="132155"/>
                      <a:pt x="3340812" y="148921"/>
                    </a:cubicBezTo>
                    <a:cubicBezTo>
                      <a:pt x="3340812" y="165688"/>
                      <a:pt x="3354374" y="179249"/>
                      <a:pt x="3371142" y="179249"/>
                    </a:cubicBezTo>
                    <a:cubicBezTo>
                      <a:pt x="3387908" y="179249"/>
                      <a:pt x="3401717" y="165439"/>
                      <a:pt x="3401468" y="148921"/>
                    </a:cubicBezTo>
                    <a:close/>
                    <a:moveTo>
                      <a:pt x="3401961" y="3976702"/>
                    </a:moveTo>
                    <a:cubicBezTo>
                      <a:pt x="3401961" y="3962648"/>
                      <a:pt x="3390371" y="3951058"/>
                      <a:pt x="3376316" y="3951058"/>
                    </a:cubicBezTo>
                    <a:cubicBezTo>
                      <a:pt x="3362262" y="3951058"/>
                      <a:pt x="3350672" y="3962648"/>
                      <a:pt x="3350672" y="3976702"/>
                    </a:cubicBezTo>
                    <a:cubicBezTo>
                      <a:pt x="3350672" y="3990757"/>
                      <a:pt x="3362262" y="4002346"/>
                      <a:pt x="3376316" y="4002346"/>
                    </a:cubicBezTo>
                    <a:cubicBezTo>
                      <a:pt x="3390616" y="4002346"/>
                      <a:pt x="3401961" y="3990757"/>
                      <a:pt x="3401961" y="3976702"/>
                    </a:cubicBezTo>
                    <a:close/>
                    <a:moveTo>
                      <a:pt x="3403195" y="1342669"/>
                    </a:moveTo>
                    <a:cubicBezTo>
                      <a:pt x="3403195" y="1324913"/>
                      <a:pt x="3388895" y="1310615"/>
                      <a:pt x="3371142" y="1310615"/>
                    </a:cubicBezTo>
                    <a:cubicBezTo>
                      <a:pt x="3353387" y="1310615"/>
                      <a:pt x="3339085" y="1324913"/>
                      <a:pt x="3339085" y="1342669"/>
                    </a:cubicBezTo>
                    <a:cubicBezTo>
                      <a:pt x="3339085" y="1360422"/>
                      <a:pt x="3353387" y="1374727"/>
                      <a:pt x="3371142" y="1374727"/>
                    </a:cubicBezTo>
                    <a:cubicBezTo>
                      <a:pt x="3388895" y="1374727"/>
                      <a:pt x="3403195" y="1360422"/>
                      <a:pt x="3403195" y="1342669"/>
                    </a:cubicBezTo>
                    <a:close/>
                    <a:moveTo>
                      <a:pt x="3404427" y="5069525"/>
                    </a:moveTo>
                    <a:cubicBezTo>
                      <a:pt x="3404427" y="5052759"/>
                      <a:pt x="3390620" y="5038950"/>
                      <a:pt x="3373852" y="5038950"/>
                    </a:cubicBezTo>
                    <a:cubicBezTo>
                      <a:pt x="3357084" y="5038950"/>
                      <a:pt x="3343277" y="5052512"/>
                      <a:pt x="3343277" y="5069525"/>
                    </a:cubicBezTo>
                    <a:cubicBezTo>
                      <a:pt x="3343277" y="5086293"/>
                      <a:pt x="3356839" y="5100101"/>
                      <a:pt x="3373852" y="5100101"/>
                    </a:cubicBezTo>
                    <a:cubicBezTo>
                      <a:pt x="3390620" y="5100101"/>
                      <a:pt x="3404427" y="5086293"/>
                      <a:pt x="3404427" y="5069525"/>
                    </a:cubicBezTo>
                    <a:close/>
                    <a:moveTo>
                      <a:pt x="3405167" y="2867609"/>
                    </a:moveTo>
                    <a:cubicBezTo>
                      <a:pt x="3405167" y="2851582"/>
                      <a:pt x="3392099" y="2838515"/>
                      <a:pt x="3376070" y="2838515"/>
                    </a:cubicBezTo>
                    <a:cubicBezTo>
                      <a:pt x="3360043" y="2838515"/>
                      <a:pt x="3346975" y="2851582"/>
                      <a:pt x="3346975" y="2867609"/>
                    </a:cubicBezTo>
                    <a:cubicBezTo>
                      <a:pt x="3346975" y="2883639"/>
                      <a:pt x="3360043" y="2896706"/>
                      <a:pt x="3376070" y="2896706"/>
                    </a:cubicBezTo>
                    <a:cubicBezTo>
                      <a:pt x="3392099" y="2896706"/>
                      <a:pt x="3405167" y="2883885"/>
                      <a:pt x="3405167" y="2867609"/>
                    </a:cubicBezTo>
                    <a:close/>
                    <a:moveTo>
                      <a:pt x="3410344" y="4087169"/>
                    </a:moveTo>
                    <a:cubicBezTo>
                      <a:pt x="3410344" y="4068426"/>
                      <a:pt x="3395055" y="4053139"/>
                      <a:pt x="3376315" y="4053139"/>
                    </a:cubicBezTo>
                    <a:cubicBezTo>
                      <a:pt x="3357821" y="4053139"/>
                      <a:pt x="3342536" y="4068426"/>
                      <a:pt x="3342536" y="4087169"/>
                    </a:cubicBezTo>
                    <a:cubicBezTo>
                      <a:pt x="3342536" y="4105905"/>
                      <a:pt x="3357576" y="4121195"/>
                      <a:pt x="3376315" y="4121195"/>
                    </a:cubicBezTo>
                    <a:cubicBezTo>
                      <a:pt x="3395055" y="4121195"/>
                      <a:pt x="3410098" y="4105905"/>
                      <a:pt x="3410344" y="4087169"/>
                    </a:cubicBezTo>
                    <a:close/>
                    <a:moveTo>
                      <a:pt x="3410837" y="4415853"/>
                    </a:moveTo>
                    <a:cubicBezTo>
                      <a:pt x="3410837" y="4395635"/>
                      <a:pt x="3394318" y="4379114"/>
                      <a:pt x="3374098" y="4379114"/>
                    </a:cubicBezTo>
                    <a:cubicBezTo>
                      <a:pt x="3354125" y="4379114"/>
                      <a:pt x="3337605" y="4395635"/>
                      <a:pt x="3337605" y="4415853"/>
                    </a:cubicBezTo>
                    <a:cubicBezTo>
                      <a:pt x="3337605" y="4436072"/>
                      <a:pt x="3353880" y="4452592"/>
                      <a:pt x="3374098" y="4452592"/>
                    </a:cubicBezTo>
                    <a:cubicBezTo>
                      <a:pt x="3394318" y="4452592"/>
                      <a:pt x="3410591" y="4436072"/>
                      <a:pt x="3410837" y="4415853"/>
                    </a:cubicBezTo>
                    <a:close/>
                    <a:moveTo>
                      <a:pt x="3411084" y="1994527"/>
                    </a:moveTo>
                    <a:cubicBezTo>
                      <a:pt x="3411084" y="1972831"/>
                      <a:pt x="3393578" y="1955328"/>
                      <a:pt x="3371880" y="1955328"/>
                    </a:cubicBezTo>
                    <a:cubicBezTo>
                      <a:pt x="3350181" y="1955328"/>
                      <a:pt x="3332673" y="1972831"/>
                      <a:pt x="3332673" y="1994527"/>
                    </a:cubicBezTo>
                    <a:cubicBezTo>
                      <a:pt x="3332673" y="2016222"/>
                      <a:pt x="3350181" y="2033730"/>
                      <a:pt x="3371880" y="2033730"/>
                    </a:cubicBezTo>
                    <a:cubicBezTo>
                      <a:pt x="3393578" y="2033730"/>
                      <a:pt x="3411084" y="2016222"/>
                      <a:pt x="3411084" y="1994527"/>
                    </a:cubicBezTo>
                    <a:close/>
                    <a:moveTo>
                      <a:pt x="3411825" y="2978320"/>
                    </a:moveTo>
                    <a:cubicBezTo>
                      <a:pt x="3411825" y="2958594"/>
                      <a:pt x="3395798" y="2942813"/>
                      <a:pt x="3376318" y="2942813"/>
                    </a:cubicBezTo>
                    <a:cubicBezTo>
                      <a:pt x="3356839" y="2942813"/>
                      <a:pt x="3341058" y="2958840"/>
                      <a:pt x="3341058" y="2978320"/>
                    </a:cubicBezTo>
                    <a:cubicBezTo>
                      <a:pt x="3341058" y="2998046"/>
                      <a:pt x="3356839" y="3013827"/>
                      <a:pt x="3376318" y="3013827"/>
                    </a:cubicBezTo>
                    <a:cubicBezTo>
                      <a:pt x="3396044" y="3013827"/>
                      <a:pt x="3411825" y="2998046"/>
                      <a:pt x="3411825" y="2978320"/>
                    </a:cubicBezTo>
                    <a:close/>
                    <a:moveTo>
                      <a:pt x="3414043" y="4525084"/>
                    </a:moveTo>
                    <a:cubicBezTo>
                      <a:pt x="3414043" y="4503139"/>
                      <a:pt x="3396290" y="4485386"/>
                      <a:pt x="3374343" y="4485386"/>
                    </a:cubicBezTo>
                    <a:cubicBezTo>
                      <a:pt x="3352399" y="4485386"/>
                      <a:pt x="3334646" y="4503139"/>
                      <a:pt x="3334646" y="4525084"/>
                    </a:cubicBezTo>
                    <a:cubicBezTo>
                      <a:pt x="3334646" y="4547031"/>
                      <a:pt x="3352399" y="4564784"/>
                      <a:pt x="3374343" y="4564784"/>
                    </a:cubicBezTo>
                    <a:cubicBezTo>
                      <a:pt x="3396042" y="4564784"/>
                      <a:pt x="3413795" y="4547031"/>
                      <a:pt x="3414043" y="4525084"/>
                    </a:cubicBezTo>
                    <a:close/>
                    <a:moveTo>
                      <a:pt x="3415525" y="4743305"/>
                    </a:moveTo>
                    <a:cubicBezTo>
                      <a:pt x="3415525" y="4720869"/>
                      <a:pt x="3397277" y="4702620"/>
                      <a:pt x="3374838" y="4702620"/>
                    </a:cubicBezTo>
                    <a:cubicBezTo>
                      <a:pt x="3352401" y="4702620"/>
                      <a:pt x="3334153" y="4720869"/>
                      <a:pt x="3334153" y="4743305"/>
                    </a:cubicBezTo>
                    <a:cubicBezTo>
                      <a:pt x="3334153" y="4765744"/>
                      <a:pt x="3352401" y="4783992"/>
                      <a:pt x="3374838" y="4783992"/>
                    </a:cubicBezTo>
                    <a:cubicBezTo>
                      <a:pt x="3397032" y="4783992"/>
                      <a:pt x="3415276" y="4765744"/>
                      <a:pt x="3415525" y="4743305"/>
                    </a:cubicBezTo>
                    <a:close/>
                    <a:moveTo>
                      <a:pt x="3420208" y="4852045"/>
                    </a:moveTo>
                    <a:cubicBezTo>
                      <a:pt x="3420208" y="4827141"/>
                      <a:pt x="3399989" y="4806675"/>
                      <a:pt x="3374838" y="4806675"/>
                    </a:cubicBezTo>
                    <a:cubicBezTo>
                      <a:pt x="3349934" y="4806675"/>
                      <a:pt x="3329468" y="4826895"/>
                      <a:pt x="3329468" y="4852045"/>
                    </a:cubicBezTo>
                    <a:cubicBezTo>
                      <a:pt x="3329468" y="4876948"/>
                      <a:pt x="3349689" y="4897415"/>
                      <a:pt x="3374838" y="4897415"/>
                    </a:cubicBezTo>
                    <a:cubicBezTo>
                      <a:pt x="3399989" y="4897415"/>
                      <a:pt x="3420453" y="4877197"/>
                      <a:pt x="3420208" y="4852045"/>
                    </a:cubicBezTo>
                    <a:close/>
                    <a:moveTo>
                      <a:pt x="3448318" y="2751230"/>
                    </a:moveTo>
                    <a:cubicBezTo>
                      <a:pt x="3448318" y="2741861"/>
                      <a:pt x="3440674" y="2734217"/>
                      <a:pt x="3431303" y="2734217"/>
                    </a:cubicBezTo>
                    <a:cubicBezTo>
                      <a:pt x="3421935" y="2734217"/>
                      <a:pt x="3414290" y="2741861"/>
                      <a:pt x="3414290" y="2751230"/>
                    </a:cubicBezTo>
                    <a:cubicBezTo>
                      <a:pt x="3414290" y="2760601"/>
                      <a:pt x="3421935" y="2768245"/>
                      <a:pt x="3431303" y="2768245"/>
                    </a:cubicBezTo>
                    <a:cubicBezTo>
                      <a:pt x="3440674" y="2768245"/>
                      <a:pt x="3448070" y="2760601"/>
                      <a:pt x="3448318" y="2751230"/>
                    </a:cubicBezTo>
                    <a:close/>
                    <a:moveTo>
                      <a:pt x="3450783" y="2208053"/>
                    </a:moveTo>
                    <a:cubicBezTo>
                      <a:pt x="3450783" y="2197205"/>
                      <a:pt x="3441906" y="2188574"/>
                      <a:pt x="3431303" y="2188574"/>
                    </a:cubicBezTo>
                    <a:cubicBezTo>
                      <a:pt x="3420455" y="2188574"/>
                      <a:pt x="3411824" y="2197205"/>
                      <a:pt x="3411824" y="2208053"/>
                    </a:cubicBezTo>
                    <a:cubicBezTo>
                      <a:pt x="3411824" y="2218904"/>
                      <a:pt x="3420455" y="2227533"/>
                      <a:pt x="3431303" y="2227533"/>
                    </a:cubicBezTo>
                    <a:cubicBezTo>
                      <a:pt x="3442152" y="2227533"/>
                      <a:pt x="3450783" y="2218904"/>
                      <a:pt x="3450783" y="2208053"/>
                    </a:cubicBezTo>
                    <a:close/>
                    <a:moveTo>
                      <a:pt x="3450783" y="2642494"/>
                    </a:moveTo>
                    <a:cubicBezTo>
                      <a:pt x="3450783" y="2632137"/>
                      <a:pt x="3442401" y="2623755"/>
                      <a:pt x="3432043" y="2623755"/>
                    </a:cubicBezTo>
                    <a:cubicBezTo>
                      <a:pt x="3421688" y="2623755"/>
                      <a:pt x="3413303" y="2632137"/>
                      <a:pt x="3413303" y="2642494"/>
                    </a:cubicBezTo>
                    <a:cubicBezTo>
                      <a:pt x="3413303" y="2652852"/>
                      <a:pt x="3421688" y="2661234"/>
                      <a:pt x="3432043" y="2661234"/>
                    </a:cubicBezTo>
                    <a:cubicBezTo>
                      <a:pt x="3442401" y="2661234"/>
                      <a:pt x="3450783" y="2652852"/>
                      <a:pt x="3450783" y="2642494"/>
                    </a:cubicBezTo>
                    <a:close/>
                    <a:moveTo>
                      <a:pt x="3458428" y="2099565"/>
                    </a:moveTo>
                    <a:cubicBezTo>
                      <a:pt x="3458428" y="2084523"/>
                      <a:pt x="3446098" y="2072192"/>
                      <a:pt x="3431058" y="2072192"/>
                    </a:cubicBezTo>
                    <a:cubicBezTo>
                      <a:pt x="3416017" y="2072192"/>
                      <a:pt x="3403687" y="2084523"/>
                      <a:pt x="3403687" y="2099565"/>
                    </a:cubicBezTo>
                    <a:cubicBezTo>
                      <a:pt x="3403687" y="2114607"/>
                      <a:pt x="3416017" y="2126934"/>
                      <a:pt x="3431058" y="2126934"/>
                    </a:cubicBezTo>
                    <a:cubicBezTo>
                      <a:pt x="3446344" y="2126934"/>
                      <a:pt x="3458674" y="2114607"/>
                      <a:pt x="3458428" y="2099565"/>
                    </a:cubicBezTo>
                    <a:close/>
                    <a:moveTo>
                      <a:pt x="3458674" y="1014770"/>
                    </a:moveTo>
                    <a:cubicBezTo>
                      <a:pt x="3458674" y="998247"/>
                      <a:pt x="3445360" y="984932"/>
                      <a:pt x="3428839" y="984932"/>
                    </a:cubicBezTo>
                    <a:cubicBezTo>
                      <a:pt x="3412317" y="984932"/>
                      <a:pt x="3399004" y="998247"/>
                      <a:pt x="3399004" y="1014770"/>
                    </a:cubicBezTo>
                    <a:cubicBezTo>
                      <a:pt x="3399004" y="1031286"/>
                      <a:pt x="3412317" y="1044604"/>
                      <a:pt x="3428839" y="1044604"/>
                    </a:cubicBezTo>
                    <a:cubicBezTo>
                      <a:pt x="3445360" y="1044604"/>
                      <a:pt x="3458674" y="1031286"/>
                      <a:pt x="3458674" y="1014770"/>
                    </a:cubicBezTo>
                    <a:close/>
                    <a:moveTo>
                      <a:pt x="3460646" y="797817"/>
                    </a:moveTo>
                    <a:cubicBezTo>
                      <a:pt x="3460646" y="781049"/>
                      <a:pt x="3446838" y="767239"/>
                      <a:pt x="3430071" y="767239"/>
                    </a:cubicBezTo>
                    <a:cubicBezTo>
                      <a:pt x="3413303" y="767239"/>
                      <a:pt x="3399496" y="781049"/>
                      <a:pt x="3399496" y="797817"/>
                    </a:cubicBezTo>
                    <a:cubicBezTo>
                      <a:pt x="3399496" y="814583"/>
                      <a:pt x="3413303" y="828393"/>
                      <a:pt x="3430071" y="828393"/>
                    </a:cubicBezTo>
                    <a:cubicBezTo>
                      <a:pt x="3446838" y="828393"/>
                      <a:pt x="3460646" y="814830"/>
                      <a:pt x="3460646" y="797817"/>
                    </a:cubicBezTo>
                    <a:close/>
                    <a:moveTo>
                      <a:pt x="3461879" y="906283"/>
                    </a:moveTo>
                    <a:cubicBezTo>
                      <a:pt x="3461879" y="888288"/>
                      <a:pt x="3447084" y="873489"/>
                      <a:pt x="3429085" y="873489"/>
                    </a:cubicBezTo>
                    <a:cubicBezTo>
                      <a:pt x="3411086" y="873489"/>
                      <a:pt x="3396292" y="888288"/>
                      <a:pt x="3396292" y="906283"/>
                    </a:cubicBezTo>
                    <a:cubicBezTo>
                      <a:pt x="3396292" y="924294"/>
                      <a:pt x="3411086" y="939080"/>
                      <a:pt x="3429085" y="939080"/>
                    </a:cubicBezTo>
                    <a:cubicBezTo>
                      <a:pt x="3447333" y="939080"/>
                      <a:pt x="3461879" y="924294"/>
                      <a:pt x="3461879" y="906283"/>
                    </a:cubicBezTo>
                    <a:close/>
                    <a:moveTo>
                      <a:pt x="3463358" y="472605"/>
                    </a:moveTo>
                    <a:cubicBezTo>
                      <a:pt x="3463358" y="454221"/>
                      <a:pt x="3448455" y="439318"/>
                      <a:pt x="3430071" y="439318"/>
                    </a:cubicBezTo>
                    <a:cubicBezTo>
                      <a:pt x="3411686" y="439318"/>
                      <a:pt x="3396783" y="454221"/>
                      <a:pt x="3396783" y="472605"/>
                    </a:cubicBezTo>
                    <a:cubicBezTo>
                      <a:pt x="3396783" y="490987"/>
                      <a:pt x="3411686" y="505890"/>
                      <a:pt x="3430071" y="505890"/>
                    </a:cubicBezTo>
                    <a:cubicBezTo>
                      <a:pt x="3448455" y="505890"/>
                      <a:pt x="3463358" y="490987"/>
                      <a:pt x="3463358" y="472605"/>
                    </a:cubicBezTo>
                    <a:close/>
                    <a:moveTo>
                      <a:pt x="3463605" y="580833"/>
                    </a:moveTo>
                    <a:cubicBezTo>
                      <a:pt x="3463605" y="562339"/>
                      <a:pt x="3448316" y="547299"/>
                      <a:pt x="3429823" y="547299"/>
                    </a:cubicBezTo>
                    <a:cubicBezTo>
                      <a:pt x="3411083" y="547299"/>
                      <a:pt x="3396043" y="562339"/>
                      <a:pt x="3396043" y="580833"/>
                    </a:cubicBezTo>
                    <a:cubicBezTo>
                      <a:pt x="3396043" y="599572"/>
                      <a:pt x="3411331" y="614612"/>
                      <a:pt x="3429823" y="614612"/>
                    </a:cubicBezTo>
                    <a:cubicBezTo>
                      <a:pt x="3448316" y="614612"/>
                      <a:pt x="3463605" y="599572"/>
                      <a:pt x="3463605" y="580833"/>
                    </a:cubicBezTo>
                    <a:close/>
                    <a:moveTo>
                      <a:pt x="3464100" y="3078181"/>
                    </a:moveTo>
                    <a:cubicBezTo>
                      <a:pt x="3464100" y="3061167"/>
                      <a:pt x="3450289" y="3047360"/>
                      <a:pt x="3433276" y="3047360"/>
                    </a:cubicBezTo>
                    <a:cubicBezTo>
                      <a:pt x="3416263" y="3047360"/>
                      <a:pt x="3402455" y="3061167"/>
                      <a:pt x="3402455" y="3078181"/>
                    </a:cubicBezTo>
                    <a:cubicBezTo>
                      <a:pt x="3402455" y="3095194"/>
                      <a:pt x="3416263" y="3109005"/>
                      <a:pt x="3433276" y="3109005"/>
                    </a:cubicBezTo>
                    <a:cubicBezTo>
                      <a:pt x="3450289" y="3109005"/>
                      <a:pt x="3464100" y="3095194"/>
                      <a:pt x="3464100" y="3078181"/>
                    </a:cubicBezTo>
                    <a:close/>
                    <a:moveTo>
                      <a:pt x="3464343" y="2533760"/>
                    </a:moveTo>
                    <a:cubicBezTo>
                      <a:pt x="3464343" y="2516005"/>
                      <a:pt x="3449796" y="2501457"/>
                      <a:pt x="3432043" y="2501457"/>
                    </a:cubicBezTo>
                    <a:cubicBezTo>
                      <a:pt x="3414290" y="2501457"/>
                      <a:pt x="3399741" y="2516005"/>
                      <a:pt x="3399741" y="2533760"/>
                    </a:cubicBezTo>
                    <a:cubicBezTo>
                      <a:pt x="3399741" y="2551514"/>
                      <a:pt x="3414290" y="2566061"/>
                      <a:pt x="3432043" y="2566061"/>
                    </a:cubicBezTo>
                    <a:cubicBezTo>
                      <a:pt x="3450043" y="2566061"/>
                      <a:pt x="3464343" y="2551514"/>
                      <a:pt x="3464343" y="2533760"/>
                    </a:cubicBezTo>
                    <a:close/>
                    <a:moveTo>
                      <a:pt x="3464836" y="1123247"/>
                    </a:moveTo>
                    <a:cubicBezTo>
                      <a:pt x="3464836" y="1103522"/>
                      <a:pt x="3448810" y="1087248"/>
                      <a:pt x="3428836" y="1087248"/>
                    </a:cubicBezTo>
                    <a:cubicBezTo>
                      <a:pt x="3409109" y="1087248"/>
                      <a:pt x="3392837" y="1103274"/>
                      <a:pt x="3392837" y="1123247"/>
                    </a:cubicBezTo>
                    <a:cubicBezTo>
                      <a:pt x="3392837" y="1142973"/>
                      <a:pt x="3408864" y="1159245"/>
                      <a:pt x="3428836" y="1159245"/>
                    </a:cubicBezTo>
                    <a:cubicBezTo>
                      <a:pt x="3448810" y="1159245"/>
                      <a:pt x="3464836" y="1143219"/>
                      <a:pt x="3464836" y="1123247"/>
                    </a:cubicBezTo>
                    <a:close/>
                    <a:moveTo>
                      <a:pt x="3464840" y="689341"/>
                    </a:moveTo>
                    <a:cubicBezTo>
                      <a:pt x="3464840" y="670109"/>
                      <a:pt x="3449305" y="654578"/>
                      <a:pt x="3430071" y="654578"/>
                    </a:cubicBezTo>
                    <a:cubicBezTo>
                      <a:pt x="3410839" y="654578"/>
                      <a:pt x="3395305" y="670354"/>
                      <a:pt x="3395305" y="689341"/>
                    </a:cubicBezTo>
                    <a:cubicBezTo>
                      <a:pt x="3395305" y="708570"/>
                      <a:pt x="3410839" y="724106"/>
                      <a:pt x="3430071" y="724106"/>
                    </a:cubicBezTo>
                    <a:cubicBezTo>
                      <a:pt x="3449058" y="724106"/>
                      <a:pt x="3464591" y="708570"/>
                      <a:pt x="3464840" y="689341"/>
                    </a:cubicBezTo>
                    <a:close/>
                    <a:moveTo>
                      <a:pt x="3465083" y="1231724"/>
                    </a:moveTo>
                    <a:cubicBezTo>
                      <a:pt x="3465083" y="1211506"/>
                      <a:pt x="3448564" y="1194982"/>
                      <a:pt x="3428343" y="1194982"/>
                    </a:cubicBezTo>
                    <a:cubicBezTo>
                      <a:pt x="3408126" y="1194982"/>
                      <a:pt x="3391605" y="1211506"/>
                      <a:pt x="3391605" y="1231724"/>
                    </a:cubicBezTo>
                    <a:cubicBezTo>
                      <a:pt x="3391605" y="1251942"/>
                      <a:pt x="3408126" y="1268457"/>
                      <a:pt x="3428343" y="1268457"/>
                    </a:cubicBezTo>
                    <a:cubicBezTo>
                      <a:pt x="3448564" y="1268457"/>
                      <a:pt x="3465083" y="1251942"/>
                      <a:pt x="3465083" y="1231724"/>
                    </a:cubicBezTo>
                    <a:close/>
                    <a:moveTo>
                      <a:pt x="3469029" y="2316786"/>
                    </a:moveTo>
                    <a:cubicBezTo>
                      <a:pt x="3469029" y="2295827"/>
                      <a:pt x="3452262" y="2279059"/>
                      <a:pt x="3431549" y="2279059"/>
                    </a:cubicBezTo>
                    <a:cubicBezTo>
                      <a:pt x="3410591" y="2279059"/>
                      <a:pt x="3393824" y="2296072"/>
                      <a:pt x="3393824" y="2316786"/>
                    </a:cubicBezTo>
                    <a:cubicBezTo>
                      <a:pt x="3393824" y="2337498"/>
                      <a:pt x="3410837" y="2354269"/>
                      <a:pt x="3431549" y="2354269"/>
                    </a:cubicBezTo>
                    <a:cubicBezTo>
                      <a:pt x="3452262" y="2354269"/>
                      <a:pt x="3469275" y="2337252"/>
                      <a:pt x="3469029" y="2316786"/>
                    </a:cubicBezTo>
                    <a:close/>
                    <a:moveTo>
                      <a:pt x="3478154" y="2425025"/>
                    </a:moveTo>
                    <a:cubicBezTo>
                      <a:pt x="3478154" y="2399382"/>
                      <a:pt x="3457442" y="2378670"/>
                      <a:pt x="3431798" y="2378670"/>
                    </a:cubicBezTo>
                    <a:cubicBezTo>
                      <a:pt x="3406154" y="2378670"/>
                      <a:pt x="3385442" y="2399382"/>
                      <a:pt x="3385442" y="2425025"/>
                    </a:cubicBezTo>
                    <a:cubicBezTo>
                      <a:pt x="3385442" y="2450669"/>
                      <a:pt x="3406154" y="2471382"/>
                      <a:pt x="3431798" y="2471382"/>
                    </a:cubicBezTo>
                    <a:cubicBezTo>
                      <a:pt x="3457442" y="2471382"/>
                      <a:pt x="3478154" y="2450669"/>
                      <a:pt x="3478154" y="2425025"/>
                    </a:cubicBezTo>
                    <a:close/>
                    <a:moveTo>
                      <a:pt x="3491468" y="1664411"/>
                    </a:moveTo>
                    <a:cubicBezTo>
                      <a:pt x="3491468" y="1662190"/>
                      <a:pt x="3489743" y="1660711"/>
                      <a:pt x="3487768" y="1660711"/>
                    </a:cubicBezTo>
                    <a:cubicBezTo>
                      <a:pt x="3485796" y="1660711"/>
                      <a:pt x="3484318" y="1662439"/>
                      <a:pt x="3484318" y="1664411"/>
                    </a:cubicBezTo>
                    <a:cubicBezTo>
                      <a:pt x="3484318" y="1666383"/>
                      <a:pt x="3485796" y="1668111"/>
                      <a:pt x="3487768" y="1668111"/>
                    </a:cubicBezTo>
                    <a:cubicBezTo>
                      <a:pt x="3489743" y="1668111"/>
                      <a:pt x="3491221" y="1666630"/>
                      <a:pt x="3491468" y="1664411"/>
                    </a:cubicBezTo>
                    <a:close/>
                    <a:moveTo>
                      <a:pt x="3493439" y="5290704"/>
                    </a:moveTo>
                    <a:cubicBezTo>
                      <a:pt x="3493439" y="5288977"/>
                      <a:pt x="3491961" y="5287498"/>
                      <a:pt x="3490235" y="5287498"/>
                    </a:cubicBezTo>
                    <a:cubicBezTo>
                      <a:pt x="3488508" y="5287498"/>
                      <a:pt x="3487030" y="5288977"/>
                      <a:pt x="3487030" y="5290704"/>
                    </a:cubicBezTo>
                    <a:cubicBezTo>
                      <a:pt x="3487030" y="5292430"/>
                      <a:pt x="3488508" y="5293911"/>
                      <a:pt x="3490235" y="5293911"/>
                    </a:cubicBezTo>
                    <a:cubicBezTo>
                      <a:pt x="3492207" y="5293911"/>
                      <a:pt x="3493688" y="5292430"/>
                      <a:pt x="3493439" y="5290704"/>
                    </a:cubicBezTo>
                    <a:close/>
                    <a:moveTo>
                      <a:pt x="3493439" y="5399198"/>
                    </a:moveTo>
                    <a:cubicBezTo>
                      <a:pt x="3493439" y="5397471"/>
                      <a:pt x="3491961" y="5395992"/>
                      <a:pt x="3490235" y="5395992"/>
                    </a:cubicBezTo>
                    <a:cubicBezTo>
                      <a:pt x="3488508" y="5395992"/>
                      <a:pt x="3487030" y="5397471"/>
                      <a:pt x="3487030" y="5399198"/>
                    </a:cubicBezTo>
                    <a:cubicBezTo>
                      <a:pt x="3487030" y="5400924"/>
                      <a:pt x="3488508" y="5402402"/>
                      <a:pt x="3490235" y="5402402"/>
                    </a:cubicBezTo>
                    <a:cubicBezTo>
                      <a:pt x="3492207" y="5402402"/>
                      <a:pt x="3493688" y="5400924"/>
                      <a:pt x="3493439" y="5399198"/>
                    </a:cubicBezTo>
                    <a:close/>
                    <a:moveTo>
                      <a:pt x="3493439" y="5507445"/>
                    </a:moveTo>
                    <a:cubicBezTo>
                      <a:pt x="3493439" y="5505718"/>
                      <a:pt x="3491961" y="5504239"/>
                      <a:pt x="3490235" y="5504239"/>
                    </a:cubicBezTo>
                    <a:cubicBezTo>
                      <a:pt x="3488508" y="5504239"/>
                      <a:pt x="3487030" y="5505718"/>
                      <a:pt x="3487030" y="5507445"/>
                    </a:cubicBezTo>
                    <a:cubicBezTo>
                      <a:pt x="3487030" y="5509172"/>
                      <a:pt x="3488508" y="5510649"/>
                      <a:pt x="3490235" y="5510649"/>
                    </a:cubicBezTo>
                    <a:cubicBezTo>
                      <a:pt x="3492207" y="5510649"/>
                      <a:pt x="3493688" y="5509172"/>
                      <a:pt x="3493439" y="5507445"/>
                    </a:cubicBezTo>
                    <a:close/>
                    <a:moveTo>
                      <a:pt x="3493439" y="5724431"/>
                    </a:moveTo>
                    <a:cubicBezTo>
                      <a:pt x="3493439" y="5722704"/>
                      <a:pt x="3491961" y="5721226"/>
                      <a:pt x="3490235" y="5721226"/>
                    </a:cubicBezTo>
                    <a:cubicBezTo>
                      <a:pt x="3488508" y="5721226"/>
                      <a:pt x="3487030" y="5722704"/>
                      <a:pt x="3487030" y="5724431"/>
                    </a:cubicBezTo>
                    <a:cubicBezTo>
                      <a:pt x="3487030" y="5726158"/>
                      <a:pt x="3488508" y="5727636"/>
                      <a:pt x="3490235" y="5727636"/>
                    </a:cubicBezTo>
                    <a:cubicBezTo>
                      <a:pt x="3492207" y="5727636"/>
                      <a:pt x="3493688" y="5726158"/>
                      <a:pt x="3493439" y="5724431"/>
                    </a:cubicBezTo>
                    <a:close/>
                    <a:moveTo>
                      <a:pt x="3493439" y="5832924"/>
                    </a:moveTo>
                    <a:cubicBezTo>
                      <a:pt x="3493439" y="5831197"/>
                      <a:pt x="3491961" y="5829719"/>
                      <a:pt x="3490235" y="5829719"/>
                    </a:cubicBezTo>
                    <a:cubicBezTo>
                      <a:pt x="3488508" y="5829719"/>
                      <a:pt x="3487030" y="5831197"/>
                      <a:pt x="3487030" y="5832924"/>
                    </a:cubicBezTo>
                    <a:cubicBezTo>
                      <a:pt x="3487030" y="5834651"/>
                      <a:pt x="3488508" y="5836132"/>
                      <a:pt x="3490235" y="5836132"/>
                    </a:cubicBezTo>
                    <a:cubicBezTo>
                      <a:pt x="3492207" y="5836132"/>
                      <a:pt x="3493688" y="5834651"/>
                      <a:pt x="3493439" y="5832924"/>
                    </a:cubicBezTo>
                    <a:close/>
                    <a:moveTo>
                      <a:pt x="3493439" y="5941169"/>
                    </a:moveTo>
                    <a:cubicBezTo>
                      <a:pt x="3493439" y="5939445"/>
                      <a:pt x="3491961" y="5937964"/>
                      <a:pt x="3490235" y="5937964"/>
                    </a:cubicBezTo>
                    <a:cubicBezTo>
                      <a:pt x="3488508" y="5937964"/>
                      <a:pt x="3487030" y="5939445"/>
                      <a:pt x="3487030" y="5941169"/>
                    </a:cubicBezTo>
                    <a:cubicBezTo>
                      <a:pt x="3487030" y="5942896"/>
                      <a:pt x="3488508" y="5944377"/>
                      <a:pt x="3490235" y="5944377"/>
                    </a:cubicBezTo>
                    <a:cubicBezTo>
                      <a:pt x="3492207" y="5944377"/>
                      <a:pt x="3493688" y="5942896"/>
                      <a:pt x="3493439" y="5941169"/>
                    </a:cubicBezTo>
                    <a:close/>
                    <a:moveTo>
                      <a:pt x="3493439" y="6049662"/>
                    </a:moveTo>
                    <a:cubicBezTo>
                      <a:pt x="3493439" y="6047936"/>
                      <a:pt x="3491961" y="6046457"/>
                      <a:pt x="3490235" y="6046457"/>
                    </a:cubicBezTo>
                    <a:cubicBezTo>
                      <a:pt x="3488508" y="6046457"/>
                      <a:pt x="3487030" y="6047936"/>
                      <a:pt x="3487030" y="6049662"/>
                    </a:cubicBezTo>
                    <a:cubicBezTo>
                      <a:pt x="3487030" y="6051389"/>
                      <a:pt x="3488508" y="6052867"/>
                      <a:pt x="3490235" y="6052867"/>
                    </a:cubicBezTo>
                    <a:cubicBezTo>
                      <a:pt x="3492207" y="6052867"/>
                      <a:pt x="3493688" y="6051389"/>
                      <a:pt x="3493439" y="6049662"/>
                    </a:cubicBezTo>
                    <a:close/>
                    <a:moveTo>
                      <a:pt x="3493439" y="6158155"/>
                    </a:moveTo>
                    <a:cubicBezTo>
                      <a:pt x="3493439" y="6156429"/>
                      <a:pt x="3491961" y="6154950"/>
                      <a:pt x="3490235" y="6154950"/>
                    </a:cubicBezTo>
                    <a:cubicBezTo>
                      <a:pt x="3488508" y="6154950"/>
                      <a:pt x="3487030" y="6156429"/>
                      <a:pt x="3487030" y="6158155"/>
                    </a:cubicBezTo>
                    <a:cubicBezTo>
                      <a:pt x="3487030" y="6159882"/>
                      <a:pt x="3488508" y="6161363"/>
                      <a:pt x="3490235" y="6161363"/>
                    </a:cubicBezTo>
                    <a:cubicBezTo>
                      <a:pt x="3492207" y="6161363"/>
                      <a:pt x="3493688" y="6159882"/>
                      <a:pt x="3493439" y="6158155"/>
                    </a:cubicBezTo>
                    <a:close/>
                    <a:moveTo>
                      <a:pt x="3493439" y="6266649"/>
                    </a:moveTo>
                    <a:cubicBezTo>
                      <a:pt x="3493439" y="6264923"/>
                      <a:pt x="3491961" y="6263444"/>
                      <a:pt x="3490235" y="6263444"/>
                    </a:cubicBezTo>
                    <a:cubicBezTo>
                      <a:pt x="3488508" y="6263444"/>
                      <a:pt x="3487030" y="6264923"/>
                      <a:pt x="3487030" y="6266649"/>
                    </a:cubicBezTo>
                    <a:cubicBezTo>
                      <a:pt x="3487030" y="6268376"/>
                      <a:pt x="3488508" y="6269857"/>
                      <a:pt x="3490235" y="6269857"/>
                    </a:cubicBezTo>
                    <a:cubicBezTo>
                      <a:pt x="3492207" y="6269857"/>
                      <a:pt x="3493688" y="6268376"/>
                      <a:pt x="3493439" y="6266649"/>
                    </a:cubicBezTo>
                    <a:close/>
                    <a:moveTo>
                      <a:pt x="3493439" y="6374897"/>
                    </a:moveTo>
                    <a:cubicBezTo>
                      <a:pt x="3493439" y="6373170"/>
                      <a:pt x="3491961" y="6371691"/>
                      <a:pt x="3490235" y="6371691"/>
                    </a:cubicBezTo>
                    <a:cubicBezTo>
                      <a:pt x="3488508" y="6371691"/>
                      <a:pt x="3487030" y="6373170"/>
                      <a:pt x="3487030" y="6374897"/>
                    </a:cubicBezTo>
                    <a:cubicBezTo>
                      <a:pt x="3487030" y="6376623"/>
                      <a:pt x="3488508" y="6378101"/>
                      <a:pt x="3490235" y="6378101"/>
                    </a:cubicBezTo>
                    <a:cubicBezTo>
                      <a:pt x="3492207" y="6378101"/>
                      <a:pt x="3493688" y="6376623"/>
                      <a:pt x="3493439" y="6374897"/>
                    </a:cubicBezTo>
                    <a:close/>
                    <a:moveTo>
                      <a:pt x="3493439" y="6483390"/>
                    </a:moveTo>
                    <a:cubicBezTo>
                      <a:pt x="3493439" y="6481663"/>
                      <a:pt x="3491961" y="6480184"/>
                      <a:pt x="3490235" y="6480184"/>
                    </a:cubicBezTo>
                    <a:cubicBezTo>
                      <a:pt x="3488508" y="6480184"/>
                      <a:pt x="3487030" y="6481663"/>
                      <a:pt x="3487030" y="6483390"/>
                    </a:cubicBezTo>
                    <a:cubicBezTo>
                      <a:pt x="3487030" y="6485116"/>
                      <a:pt x="3488508" y="6486594"/>
                      <a:pt x="3490235" y="6486594"/>
                    </a:cubicBezTo>
                    <a:cubicBezTo>
                      <a:pt x="3492207" y="6486594"/>
                      <a:pt x="3493688" y="6485116"/>
                      <a:pt x="3493439" y="6483390"/>
                    </a:cubicBezTo>
                    <a:close/>
                    <a:moveTo>
                      <a:pt x="3493439" y="6591883"/>
                    </a:moveTo>
                    <a:cubicBezTo>
                      <a:pt x="3493439" y="6590156"/>
                      <a:pt x="3491961" y="6588677"/>
                      <a:pt x="3490235" y="6588677"/>
                    </a:cubicBezTo>
                    <a:cubicBezTo>
                      <a:pt x="3488508" y="6588677"/>
                      <a:pt x="3487030" y="6590156"/>
                      <a:pt x="3487030" y="6591883"/>
                    </a:cubicBezTo>
                    <a:cubicBezTo>
                      <a:pt x="3487030" y="6593609"/>
                      <a:pt x="3488508" y="6595090"/>
                      <a:pt x="3490235" y="6595090"/>
                    </a:cubicBezTo>
                    <a:cubicBezTo>
                      <a:pt x="3492207" y="6595090"/>
                      <a:pt x="3493688" y="6593609"/>
                      <a:pt x="3493439" y="6591883"/>
                    </a:cubicBezTo>
                    <a:close/>
                    <a:moveTo>
                      <a:pt x="3493439" y="6700377"/>
                    </a:moveTo>
                    <a:cubicBezTo>
                      <a:pt x="3493439" y="6698650"/>
                      <a:pt x="3491961" y="6697171"/>
                      <a:pt x="3490235" y="6697171"/>
                    </a:cubicBezTo>
                    <a:cubicBezTo>
                      <a:pt x="3488508" y="6697171"/>
                      <a:pt x="3487030" y="6698650"/>
                      <a:pt x="3487030" y="6700377"/>
                    </a:cubicBezTo>
                    <a:cubicBezTo>
                      <a:pt x="3487030" y="6702103"/>
                      <a:pt x="3488508" y="6703584"/>
                      <a:pt x="3490235" y="6703584"/>
                    </a:cubicBezTo>
                    <a:cubicBezTo>
                      <a:pt x="3492207" y="6703584"/>
                      <a:pt x="3493688" y="6702103"/>
                      <a:pt x="3493439" y="6700377"/>
                    </a:cubicBezTo>
                    <a:close/>
                    <a:moveTo>
                      <a:pt x="3493439" y="6808624"/>
                    </a:moveTo>
                    <a:cubicBezTo>
                      <a:pt x="3493439" y="6806898"/>
                      <a:pt x="3491961" y="6805419"/>
                      <a:pt x="3490235" y="6805419"/>
                    </a:cubicBezTo>
                    <a:cubicBezTo>
                      <a:pt x="3488508" y="6805419"/>
                      <a:pt x="3487030" y="6806898"/>
                      <a:pt x="3487030" y="6808624"/>
                    </a:cubicBezTo>
                    <a:cubicBezTo>
                      <a:pt x="3487030" y="6810351"/>
                      <a:pt x="3488508" y="6811829"/>
                      <a:pt x="3490235" y="6811829"/>
                    </a:cubicBezTo>
                    <a:cubicBezTo>
                      <a:pt x="3492207" y="6811829"/>
                      <a:pt x="3493688" y="6810351"/>
                      <a:pt x="3493439" y="6808624"/>
                    </a:cubicBezTo>
                    <a:close/>
                    <a:moveTo>
                      <a:pt x="3493439" y="6917117"/>
                    </a:moveTo>
                    <a:cubicBezTo>
                      <a:pt x="3493439" y="6915391"/>
                      <a:pt x="3491961" y="6913912"/>
                      <a:pt x="3490235" y="6913912"/>
                    </a:cubicBezTo>
                    <a:cubicBezTo>
                      <a:pt x="3488508" y="6913912"/>
                      <a:pt x="3487030" y="6915391"/>
                      <a:pt x="3487030" y="6917117"/>
                    </a:cubicBezTo>
                    <a:cubicBezTo>
                      <a:pt x="3487030" y="6918844"/>
                      <a:pt x="3488508" y="6920325"/>
                      <a:pt x="3490235" y="6920325"/>
                    </a:cubicBezTo>
                    <a:cubicBezTo>
                      <a:pt x="3492207" y="6920325"/>
                      <a:pt x="3493688" y="6918844"/>
                      <a:pt x="3493439" y="6917117"/>
                    </a:cubicBezTo>
                    <a:close/>
                    <a:moveTo>
                      <a:pt x="3493439" y="7025610"/>
                    </a:moveTo>
                    <a:cubicBezTo>
                      <a:pt x="3493439" y="7023884"/>
                      <a:pt x="3491961" y="7022405"/>
                      <a:pt x="3490235" y="7022405"/>
                    </a:cubicBezTo>
                    <a:cubicBezTo>
                      <a:pt x="3488508" y="7022405"/>
                      <a:pt x="3487030" y="7023884"/>
                      <a:pt x="3487030" y="7025610"/>
                    </a:cubicBezTo>
                    <a:cubicBezTo>
                      <a:pt x="3487030" y="7027337"/>
                      <a:pt x="3488508" y="7028818"/>
                      <a:pt x="3490235" y="7028818"/>
                    </a:cubicBezTo>
                    <a:cubicBezTo>
                      <a:pt x="3492207" y="7028818"/>
                      <a:pt x="3493688" y="7027337"/>
                      <a:pt x="3493439" y="7025610"/>
                    </a:cubicBezTo>
                    <a:close/>
                    <a:moveTo>
                      <a:pt x="3493439" y="7134103"/>
                    </a:moveTo>
                    <a:cubicBezTo>
                      <a:pt x="3493439" y="7132377"/>
                      <a:pt x="3491961" y="7130898"/>
                      <a:pt x="3490235" y="7130898"/>
                    </a:cubicBezTo>
                    <a:cubicBezTo>
                      <a:pt x="3488508" y="7130898"/>
                      <a:pt x="3487030" y="7132377"/>
                      <a:pt x="3487030" y="7134103"/>
                    </a:cubicBezTo>
                    <a:cubicBezTo>
                      <a:pt x="3487030" y="7135830"/>
                      <a:pt x="3488508" y="7137311"/>
                      <a:pt x="3490235" y="7137311"/>
                    </a:cubicBezTo>
                    <a:cubicBezTo>
                      <a:pt x="3492207" y="7137311"/>
                      <a:pt x="3493688" y="7135830"/>
                      <a:pt x="3493439" y="7134103"/>
                    </a:cubicBezTo>
                    <a:close/>
                    <a:moveTo>
                      <a:pt x="3493439" y="7242351"/>
                    </a:moveTo>
                    <a:cubicBezTo>
                      <a:pt x="3493439" y="7240624"/>
                      <a:pt x="3491961" y="7239145"/>
                      <a:pt x="3490235" y="7239145"/>
                    </a:cubicBezTo>
                    <a:cubicBezTo>
                      <a:pt x="3488508" y="7239145"/>
                      <a:pt x="3487030" y="7240624"/>
                      <a:pt x="3487030" y="7242351"/>
                    </a:cubicBezTo>
                    <a:cubicBezTo>
                      <a:pt x="3487030" y="7244077"/>
                      <a:pt x="3488508" y="7245555"/>
                      <a:pt x="3490235" y="7245555"/>
                    </a:cubicBezTo>
                    <a:cubicBezTo>
                      <a:pt x="3492207" y="7245555"/>
                      <a:pt x="3493688" y="7244077"/>
                      <a:pt x="3493439" y="7242351"/>
                    </a:cubicBezTo>
                    <a:close/>
                    <a:moveTo>
                      <a:pt x="3493439" y="7350845"/>
                    </a:moveTo>
                    <a:cubicBezTo>
                      <a:pt x="3493439" y="7349118"/>
                      <a:pt x="3491961" y="7347639"/>
                      <a:pt x="3490235" y="7347639"/>
                    </a:cubicBezTo>
                    <a:cubicBezTo>
                      <a:pt x="3488508" y="7347639"/>
                      <a:pt x="3487030" y="7349118"/>
                      <a:pt x="3487030" y="7350845"/>
                    </a:cubicBezTo>
                    <a:cubicBezTo>
                      <a:pt x="3487030" y="7352571"/>
                      <a:pt x="3488508" y="7354052"/>
                      <a:pt x="3490235" y="7354052"/>
                    </a:cubicBezTo>
                    <a:cubicBezTo>
                      <a:pt x="3492207" y="7354052"/>
                      <a:pt x="3493688" y="7352571"/>
                      <a:pt x="3493439" y="7350845"/>
                    </a:cubicBezTo>
                    <a:close/>
                    <a:moveTo>
                      <a:pt x="3493439" y="7459335"/>
                    </a:moveTo>
                    <a:cubicBezTo>
                      <a:pt x="3493439" y="7457608"/>
                      <a:pt x="3491961" y="7456129"/>
                      <a:pt x="3490235" y="7456129"/>
                    </a:cubicBezTo>
                    <a:cubicBezTo>
                      <a:pt x="3488508" y="7456129"/>
                      <a:pt x="3487030" y="7457608"/>
                      <a:pt x="3487030" y="7459335"/>
                    </a:cubicBezTo>
                    <a:cubicBezTo>
                      <a:pt x="3487030" y="7461061"/>
                      <a:pt x="3488508" y="7462542"/>
                      <a:pt x="3490235" y="7462542"/>
                    </a:cubicBezTo>
                    <a:cubicBezTo>
                      <a:pt x="3492207" y="7462542"/>
                      <a:pt x="3493688" y="7461061"/>
                      <a:pt x="3493439" y="7459335"/>
                    </a:cubicBezTo>
                    <a:close/>
                    <a:moveTo>
                      <a:pt x="3493439" y="7567829"/>
                    </a:moveTo>
                    <a:cubicBezTo>
                      <a:pt x="3493439" y="7566102"/>
                      <a:pt x="3491961" y="7564623"/>
                      <a:pt x="3490235" y="7564623"/>
                    </a:cubicBezTo>
                    <a:cubicBezTo>
                      <a:pt x="3488508" y="7564623"/>
                      <a:pt x="3487030" y="7566102"/>
                      <a:pt x="3487030" y="7567829"/>
                    </a:cubicBezTo>
                    <a:cubicBezTo>
                      <a:pt x="3487030" y="7569555"/>
                      <a:pt x="3488508" y="7571036"/>
                      <a:pt x="3490235" y="7571036"/>
                    </a:cubicBezTo>
                    <a:cubicBezTo>
                      <a:pt x="3492207" y="7571036"/>
                      <a:pt x="3493688" y="7569555"/>
                      <a:pt x="3493439" y="7567829"/>
                    </a:cubicBezTo>
                    <a:close/>
                    <a:moveTo>
                      <a:pt x="3496646" y="4314513"/>
                    </a:moveTo>
                    <a:cubicBezTo>
                      <a:pt x="3496646" y="4311059"/>
                      <a:pt x="3493687" y="4308100"/>
                      <a:pt x="3490236" y="4308100"/>
                    </a:cubicBezTo>
                    <a:cubicBezTo>
                      <a:pt x="3486783" y="4308100"/>
                      <a:pt x="3483824" y="4311059"/>
                      <a:pt x="3483824" y="4314513"/>
                    </a:cubicBezTo>
                    <a:cubicBezTo>
                      <a:pt x="3483824" y="4317963"/>
                      <a:pt x="3486783" y="4320922"/>
                      <a:pt x="3490236" y="4320922"/>
                    </a:cubicBezTo>
                    <a:cubicBezTo>
                      <a:pt x="3493933" y="4320922"/>
                      <a:pt x="3496646" y="4318209"/>
                      <a:pt x="3496646" y="4314513"/>
                    </a:cubicBezTo>
                    <a:close/>
                    <a:moveTo>
                      <a:pt x="3499358" y="1773150"/>
                    </a:moveTo>
                    <a:cubicBezTo>
                      <a:pt x="3499358" y="1766987"/>
                      <a:pt x="3494181" y="1761807"/>
                      <a:pt x="3488017" y="1761807"/>
                    </a:cubicBezTo>
                    <a:cubicBezTo>
                      <a:pt x="3481851" y="1761807"/>
                      <a:pt x="3476674" y="1766987"/>
                      <a:pt x="3476674" y="1773150"/>
                    </a:cubicBezTo>
                    <a:cubicBezTo>
                      <a:pt x="3476674" y="1779318"/>
                      <a:pt x="3481851" y="1784492"/>
                      <a:pt x="3488017" y="1784492"/>
                    </a:cubicBezTo>
                    <a:cubicBezTo>
                      <a:pt x="3494427" y="1784492"/>
                      <a:pt x="3499358" y="1779318"/>
                      <a:pt x="3499358" y="1773150"/>
                    </a:cubicBezTo>
                    <a:close/>
                    <a:moveTo>
                      <a:pt x="3500592" y="4639744"/>
                    </a:moveTo>
                    <a:cubicBezTo>
                      <a:pt x="3500592" y="4634320"/>
                      <a:pt x="3495907" y="4629635"/>
                      <a:pt x="3490235" y="4629635"/>
                    </a:cubicBezTo>
                    <a:cubicBezTo>
                      <a:pt x="3484566" y="4629635"/>
                      <a:pt x="3479881" y="4634072"/>
                      <a:pt x="3479881" y="4639744"/>
                    </a:cubicBezTo>
                    <a:cubicBezTo>
                      <a:pt x="3479881" y="4645417"/>
                      <a:pt x="3484566" y="4650102"/>
                      <a:pt x="3490235" y="4650102"/>
                    </a:cubicBezTo>
                    <a:cubicBezTo>
                      <a:pt x="3495907" y="4650102"/>
                      <a:pt x="3500592" y="4645662"/>
                      <a:pt x="3500592" y="4639744"/>
                    </a:cubicBezTo>
                    <a:close/>
                    <a:moveTo>
                      <a:pt x="3503303" y="4206262"/>
                    </a:moveTo>
                    <a:cubicBezTo>
                      <a:pt x="3503303" y="4199112"/>
                      <a:pt x="3497386" y="4193194"/>
                      <a:pt x="3490236" y="4193194"/>
                    </a:cubicBezTo>
                    <a:cubicBezTo>
                      <a:pt x="3483086" y="4193194"/>
                      <a:pt x="3477168" y="4199112"/>
                      <a:pt x="3477168" y="4206262"/>
                    </a:cubicBezTo>
                    <a:cubicBezTo>
                      <a:pt x="3477168" y="4213412"/>
                      <a:pt x="3483086" y="4219329"/>
                      <a:pt x="3490236" y="4219329"/>
                    </a:cubicBezTo>
                    <a:cubicBezTo>
                      <a:pt x="3497635" y="4219329"/>
                      <a:pt x="3503552" y="4213412"/>
                      <a:pt x="3503303" y="4206262"/>
                    </a:cubicBezTo>
                    <a:close/>
                    <a:moveTo>
                      <a:pt x="3507002" y="5182211"/>
                    </a:moveTo>
                    <a:cubicBezTo>
                      <a:pt x="3507002" y="5173087"/>
                      <a:pt x="3499604" y="5165443"/>
                      <a:pt x="3490235" y="5165443"/>
                    </a:cubicBezTo>
                    <a:cubicBezTo>
                      <a:pt x="3481113" y="5165443"/>
                      <a:pt x="3473468" y="5172842"/>
                      <a:pt x="3473468" y="5182211"/>
                    </a:cubicBezTo>
                    <a:cubicBezTo>
                      <a:pt x="3473468" y="5191333"/>
                      <a:pt x="3480867" y="5198977"/>
                      <a:pt x="3490235" y="5198977"/>
                    </a:cubicBezTo>
                    <a:cubicBezTo>
                      <a:pt x="3499604" y="5198977"/>
                      <a:pt x="3507248" y="5191333"/>
                      <a:pt x="3507002" y="5182211"/>
                    </a:cubicBezTo>
                    <a:close/>
                    <a:moveTo>
                      <a:pt x="3510453" y="1556176"/>
                    </a:moveTo>
                    <a:cubicBezTo>
                      <a:pt x="3510453" y="1543357"/>
                      <a:pt x="3499852" y="1532754"/>
                      <a:pt x="3487030" y="1532754"/>
                    </a:cubicBezTo>
                    <a:cubicBezTo>
                      <a:pt x="3474208" y="1532754"/>
                      <a:pt x="3463605" y="1543357"/>
                      <a:pt x="3463605" y="1556176"/>
                    </a:cubicBezTo>
                    <a:cubicBezTo>
                      <a:pt x="3463605" y="1569000"/>
                      <a:pt x="3474208" y="1579603"/>
                      <a:pt x="3487030" y="1579603"/>
                    </a:cubicBezTo>
                    <a:cubicBezTo>
                      <a:pt x="3500098" y="1579603"/>
                      <a:pt x="3510453" y="1569000"/>
                      <a:pt x="3510453" y="1556176"/>
                    </a:cubicBezTo>
                    <a:close/>
                    <a:moveTo>
                      <a:pt x="3513415" y="3989277"/>
                    </a:moveTo>
                    <a:cubicBezTo>
                      <a:pt x="3513415" y="3976453"/>
                      <a:pt x="3503058" y="3966098"/>
                      <a:pt x="3490239" y="3966098"/>
                    </a:cubicBezTo>
                    <a:cubicBezTo>
                      <a:pt x="3477414" y="3966098"/>
                      <a:pt x="3467059" y="3976453"/>
                      <a:pt x="3467059" y="3989277"/>
                    </a:cubicBezTo>
                    <a:cubicBezTo>
                      <a:pt x="3467059" y="4002099"/>
                      <a:pt x="3477414" y="4012454"/>
                      <a:pt x="3490239" y="4012454"/>
                    </a:cubicBezTo>
                    <a:cubicBezTo>
                      <a:pt x="3503058" y="4012454"/>
                      <a:pt x="3513415" y="4002099"/>
                      <a:pt x="3513415" y="3989277"/>
                    </a:cubicBezTo>
                    <a:close/>
                    <a:moveTo>
                      <a:pt x="3514646" y="1881627"/>
                    </a:moveTo>
                    <a:cubicBezTo>
                      <a:pt x="3514646" y="1867331"/>
                      <a:pt x="3502811" y="1855497"/>
                      <a:pt x="3488508" y="1855497"/>
                    </a:cubicBezTo>
                    <a:cubicBezTo>
                      <a:pt x="3474208" y="1855497"/>
                      <a:pt x="3462373" y="1867331"/>
                      <a:pt x="3462373" y="1881627"/>
                    </a:cubicBezTo>
                    <a:cubicBezTo>
                      <a:pt x="3462373" y="1895927"/>
                      <a:pt x="3474208" y="1907760"/>
                      <a:pt x="3488508" y="1907760"/>
                    </a:cubicBezTo>
                    <a:cubicBezTo>
                      <a:pt x="3502811" y="1907760"/>
                      <a:pt x="3514646" y="1895927"/>
                      <a:pt x="3514646" y="1881627"/>
                    </a:cubicBezTo>
                    <a:close/>
                    <a:moveTo>
                      <a:pt x="3516864" y="5073718"/>
                    </a:moveTo>
                    <a:cubicBezTo>
                      <a:pt x="3516864" y="5059169"/>
                      <a:pt x="3505029" y="5047087"/>
                      <a:pt x="3490235" y="5047087"/>
                    </a:cubicBezTo>
                    <a:cubicBezTo>
                      <a:pt x="3475686" y="5047087"/>
                      <a:pt x="3463605" y="5058922"/>
                      <a:pt x="3463605" y="5073718"/>
                    </a:cubicBezTo>
                    <a:cubicBezTo>
                      <a:pt x="3463605" y="5088266"/>
                      <a:pt x="3475441" y="5100347"/>
                      <a:pt x="3490235" y="5100347"/>
                    </a:cubicBezTo>
                    <a:cubicBezTo>
                      <a:pt x="3505029" y="5100347"/>
                      <a:pt x="3517110" y="5088512"/>
                      <a:pt x="3516864" y="5073718"/>
                    </a:cubicBezTo>
                    <a:close/>
                    <a:moveTo>
                      <a:pt x="3516866" y="363640"/>
                    </a:moveTo>
                    <a:cubicBezTo>
                      <a:pt x="3516866" y="347367"/>
                      <a:pt x="3503551" y="334052"/>
                      <a:pt x="3487276" y="334052"/>
                    </a:cubicBezTo>
                    <a:cubicBezTo>
                      <a:pt x="3471004" y="334052"/>
                      <a:pt x="3457688" y="347367"/>
                      <a:pt x="3457688" y="363640"/>
                    </a:cubicBezTo>
                    <a:cubicBezTo>
                      <a:pt x="3457688" y="379915"/>
                      <a:pt x="3471004" y="393228"/>
                      <a:pt x="3487276" y="393228"/>
                    </a:cubicBezTo>
                    <a:cubicBezTo>
                      <a:pt x="3503551" y="393228"/>
                      <a:pt x="3516866" y="379915"/>
                      <a:pt x="3516866" y="363640"/>
                    </a:cubicBezTo>
                    <a:close/>
                    <a:moveTo>
                      <a:pt x="3517112" y="255169"/>
                    </a:moveTo>
                    <a:cubicBezTo>
                      <a:pt x="3517112" y="238651"/>
                      <a:pt x="3503798" y="225335"/>
                      <a:pt x="3487277" y="225335"/>
                    </a:cubicBezTo>
                    <a:cubicBezTo>
                      <a:pt x="3470755" y="225335"/>
                      <a:pt x="3457442" y="238651"/>
                      <a:pt x="3457442" y="255169"/>
                    </a:cubicBezTo>
                    <a:cubicBezTo>
                      <a:pt x="3457442" y="271690"/>
                      <a:pt x="3470755" y="285006"/>
                      <a:pt x="3487277" y="285006"/>
                    </a:cubicBezTo>
                    <a:cubicBezTo>
                      <a:pt x="3503798" y="285006"/>
                      <a:pt x="3517112" y="271690"/>
                      <a:pt x="3517112" y="255169"/>
                    </a:cubicBezTo>
                    <a:close/>
                    <a:moveTo>
                      <a:pt x="3517606" y="38479"/>
                    </a:moveTo>
                    <a:cubicBezTo>
                      <a:pt x="3517606" y="21713"/>
                      <a:pt x="3503798" y="7904"/>
                      <a:pt x="3487030" y="7904"/>
                    </a:cubicBezTo>
                    <a:cubicBezTo>
                      <a:pt x="3470263" y="7904"/>
                      <a:pt x="3456455" y="21713"/>
                      <a:pt x="3456455" y="38479"/>
                    </a:cubicBezTo>
                    <a:cubicBezTo>
                      <a:pt x="3456455" y="55245"/>
                      <a:pt x="3470017" y="69053"/>
                      <a:pt x="3487030" y="69053"/>
                    </a:cubicBezTo>
                    <a:cubicBezTo>
                      <a:pt x="3504043" y="69053"/>
                      <a:pt x="3517851" y="55245"/>
                      <a:pt x="3517606" y="38479"/>
                    </a:cubicBezTo>
                    <a:close/>
                    <a:moveTo>
                      <a:pt x="3518837" y="146703"/>
                    </a:moveTo>
                    <a:cubicBezTo>
                      <a:pt x="3518837" y="129443"/>
                      <a:pt x="3504781" y="115388"/>
                      <a:pt x="3487523" y="115388"/>
                    </a:cubicBezTo>
                    <a:cubicBezTo>
                      <a:pt x="3470261" y="115388"/>
                      <a:pt x="3456206" y="129443"/>
                      <a:pt x="3456206" y="146703"/>
                    </a:cubicBezTo>
                    <a:cubicBezTo>
                      <a:pt x="3456206" y="163961"/>
                      <a:pt x="3470261" y="178018"/>
                      <a:pt x="3487523" y="178018"/>
                    </a:cubicBezTo>
                    <a:cubicBezTo>
                      <a:pt x="3504781" y="178018"/>
                      <a:pt x="3518837" y="163961"/>
                      <a:pt x="3518837" y="146703"/>
                    </a:cubicBezTo>
                    <a:close/>
                    <a:moveTo>
                      <a:pt x="3519086" y="1447693"/>
                    </a:moveTo>
                    <a:cubicBezTo>
                      <a:pt x="3519086" y="1430191"/>
                      <a:pt x="3504784" y="1415889"/>
                      <a:pt x="3487277" y="1415889"/>
                    </a:cubicBezTo>
                    <a:cubicBezTo>
                      <a:pt x="3469771" y="1415889"/>
                      <a:pt x="3455470" y="1430191"/>
                      <a:pt x="3455470" y="1447693"/>
                    </a:cubicBezTo>
                    <a:cubicBezTo>
                      <a:pt x="3455470" y="1465205"/>
                      <a:pt x="3469771" y="1479504"/>
                      <a:pt x="3487277" y="1479504"/>
                    </a:cubicBezTo>
                    <a:cubicBezTo>
                      <a:pt x="3504784" y="1479504"/>
                      <a:pt x="3519086" y="1465205"/>
                      <a:pt x="3519086" y="1447693"/>
                    </a:cubicBezTo>
                    <a:close/>
                    <a:moveTo>
                      <a:pt x="3519824" y="4097772"/>
                    </a:moveTo>
                    <a:cubicBezTo>
                      <a:pt x="3519824" y="4081496"/>
                      <a:pt x="3506511" y="4068182"/>
                      <a:pt x="3490236" y="4068182"/>
                    </a:cubicBezTo>
                    <a:cubicBezTo>
                      <a:pt x="3473959" y="4068182"/>
                      <a:pt x="3460646" y="4081496"/>
                      <a:pt x="3460646" y="4097772"/>
                    </a:cubicBezTo>
                    <a:cubicBezTo>
                      <a:pt x="3460646" y="4114047"/>
                      <a:pt x="3473959" y="4127361"/>
                      <a:pt x="3490236" y="4127361"/>
                    </a:cubicBezTo>
                    <a:cubicBezTo>
                      <a:pt x="3506511" y="4127361"/>
                      <a:pt x="3519824" y="4114047"/>
                      <a:pt x="3519824" y="4097772"/>
                    </a:cubicBezTo>
                    <a:close/>
                    <a:moveTo>
                      <a:pt x="3520564" y="1339212"/>
                    </a:moveTo>
                    <a:cubicBezTo>
                      <a:pt x="3520564" y="1320473"/>
                      <a:pt x="3505521" y="1305432"/>
                      <a:pt x="3486782" y="1305432"/>
                    </a:cubicBezTo>
                    <a:cubicBezTo>
                      <a:pt x="3468042" y="1305432"/>
                      <a:pt x="3453002" y="1320721"/>
                      <a:pt x="3453002" y="1339212"/>
                    </a:cubicBezTo>
                    <a:cubicBezTo>
                      <a:pt x="3453002" y="1357953"/>
                      <a:pt x="3468291" y="1372999"/>
                      <a:pt x="3486782" y="1372999"/>
                    </a:cubicBezTo>
                    <a:cubicBezTo>
                      <a:pt x="3505521" y="1372999"/>
                      <a:pt x="3520564" y="1357953"/>
                      <a:pt x="3520564" y="1339212"/>
                    </a:cubicBezTo>
                    <a:close/>
                    <a:moveTo>
                      <a:pt x="3521551" y="2857254"/>
                    </a:moveTo>
                    <a:cubicBezTo>
                      <a:pt x="3521551" y="2839747"/>
                      <a:pt x="3507497" y="2825693"/>
                      <a:pt x="3489989" y="2825693"/>
                    </a:cubicBezTo>
                    <a:cubicBezTo>
                      <a:pt x="3472730" y="2825693"/>
                      <a:pt x="3458428" y="2839747"/>
                      <a:pt x="3458428" y="2857254"/>
                    </a:cubicBezTo>
                    <a:cubicBezTo>
                      <a:pt x="3458428" y="2874762"/>
                      <a:pt x="3472483" y="2888815"/>
                      <a:pt x="3489989" y="2888815"/>
                    </a:cubicBezTo>
                    <a:cubicBezTo>
                      <a:pt x="3507497" y="2888815"/>
                      <a:pt x="3521796" y="2874762"/>
                      <a:pt x="3521551" y="2857254"/>
                    </a:cubicBezTo>
                    <a:close/>
                    <a:moveTo>
                      <a:pt x="3524756" y="1989842"/>
                    </a:moveTo>
                    <a:cubicBezTo>
                      <a:pt x="3524756" y="1969874"/>
                      <a:pt x="3508481" y="1953602"/>
                      <a:pt x="3488509" y="1953602"/>
                    </a:cubicBezTo>
                    <a:cubicBezTo>
                      <a:pt x="3468537" y="1953602"/>
                      <a:pt x="3452262" y="1969874"/>
                      <a:pt x="3452262" y="1989842"/>
                    </a:cubicBezTo>
                    <a:cubicBezTo>
                      <a:pt x="3452262" y="2009810"/>
                      <a:pt x="3468537" y="2026085"/>
                      <a:pt x="3488509" y="2026085"/>
                    </a:cubicBezTo>
                    <a:cubicBezTo>
                      <a:pt x="3508727" y="2026085"/>
                      <a:pt x="3525002" y="2009810"/>
                      <a:pt x="3524756" y="1989842"/>
                    </a:cubicBezTo>
                    <a:close/>
                    <a:moveTo>
                      <a:pt x="3527714" y="4423003"/>
                    </a:moveTo>
                    <a:cubicBezTo>
                      <a:pt x="3527714" y="4402291"/>
                      <a:pt x="3510948" y="4385524"/>
                      <a:pt x="3490236" y="4385524"/>
                    </a:cubicBezTo>
                    <a:cubicBezTo>
                      <a:pt x="3469523" y="4385524"/>
                      <a:pt x="3452756" y="4402291"/>
                      <a:pt x="3452756" y="4423003"/>
                    </a:cubicBezTo>
                    <a:cubicBezTo>
                      <a:pt x="3452756" y="4443716"/>
                      <a:pt x="3469523" y="4460483"/>
                      <a:pt x="3490236" y="4460483"/>
                    </a:cubicBezTo>
                    <a:cubicBezTo>
                      <a:pt x="3510948" y="4460483"/>
                      <a:pt x="3527714" y="4443716"/>
                      <a:pt x="3527714" y="4423003"/>
                    </a:cubicBezTo>
                    <a:close/>
                    <a:moveTo>
                      <a:pt x="3528701" y="2965743"/>
                    </a:moveTo>
                    <a:cubicBezTo>
                      <a:pt x="3528701" y="2944536"/>
                      <a:pt x="3511439" y="2927278"/>
                      <a:pt x="3490235" y="2927278"/>
                    </a:cubicBezTo>
                    <a:cubicBezTo>
                      <a:pt x="3469029" y="2927278"/>
                      <a:pt x="3451770" y="2944536"/>
                      <a:pt x="3451770" y="2965743"/>
                    </a:cubicBezTo>
                    <a:cubicBezTo>
                      <a:pt x="3451770" y="2986947"/>
                      <a:pt x="3469029" y="3004208"/>
                      <a:pt x="3490235" y="3004208"/>
                    </a:cubicBezTo>
                    <a:cubicBezTo>
                      <a:pt x="3511688" y="3004208"/>
                      <a:pt x="3528946" y="2986947"/>
                      <a:pt x="3528701" y="2965743"/>
                    </a:cubicBezTo>
                    <a:close/>
                    <a:moveTo>
                      <a:pt x="3529196" y="4748485"/>
                    </a:moveTo>
                    <a:cubicBezTo>
                      <a:pt x="3529196" y="4727032"/>
                      <a:pt x="3511689" y="4709525"/>
                      <a:pt x="3490239" y="4709525"/>
                    </a:cubicBezTo>
                    <a:cubicBezTo>
                      <a:pt x="3468786" y="4709525"/>
                      <a:pt x="3451278" y="4727032"/>
                      <a:pt x="3451278" y="4748485"/>
                    </a:cubicBezTo>
                    <a:cubicBezTo>
                      <a:pt x="3451278" y="4769935"/>
                      <a:pt x="3468786" y="4787443"/>
                      <a:pt x="3490239" y="4787443"/>
                    </a:cubicBezTo>
                    <a:cubicBezTo>
                      <a:pt x="3511934" y="4787443"/>
                      <a:pt x="3529443" y="4769935"/>
                      <a:pt x="3529196" y="4748485"/>
                    </a:cubicBezTo>
                    <a:close/>
                    <a:moveTo>
                      <a:pt x="3532398" y="4531499"/>
                    </a:moveTo>
                    <a:cubicBezTo>
                      <a:pt x="3532398" y="4508320"/>
                      <a:pt x="3513412" y="4489333"/>
                      <a:pt x="3490236" y="4489333"/>
                    </a:cubicBezTo>
                    <a:cubicBezTo>
                      <a:pt x="3467056" y="4489333"/>
                      <a:pt x="3448071" y="4508320"/>
                      <a:pt x="3448071" y="4531499"/>
                    </a:cubicBezTo>
                    <a:cubicBezTo>
                      <a:pt x="3448071" y="4554676"/>
                      <a:pt x="3467056" y="4573661"/>
                      <a:pt x="3490236" y="4573661"/>
                    </a:cubicBezTo>
                    <a:cubicBezTo>
                      <a:pt x="3513661" y="4573661"/>
                      <a:pt x="3532646" y="4554924"/>
                      <a:pt x="3532398" y="4531499"/>
                    </a:cubicBezTo>
                    <a:close/>
                    <a:moveTo>
                      <a:pt x="3539551" y="4856730"/>
                    </a:moveTo>
                    <a:cubicBezTo>
                      <a:pt x="3539551" y="4829608"/>
                      <a:pt x="3517357" y="4807414"/>
                      <a:pt x="3490236" y="4807414"/>
                    </a:cubicBezTo>
                    <a:cubicBezTo>
                      <a:pt x="3463111" y="4807414"/>
                      <a:pt x="3440921" y="4829608"/>
                      <a:pt x="3440921" y="4856730"/>
                    </a:cubicBezTo>
                    <a:cubicBezTo>
                      <a:pt x="3440921" y="4883855"/>
                      <a:pt x="3463111" y="4906044"/>
                      <a:pt x="3490236" y="4906044"/>
                    </a:cubicBezTo>
                    <a:cubicBezTo>
                      <a:pt x="3517606" y="4906044"/>
                      <a:pt x="3539551" y="4884100"/>
                      <a:pt x="3539551" y="4856730"/>
                    </a:cubicBezTo>
                    <a:close/>
                    <a:moveTo>
                      <a:pt x="3561989" y="2207807"/>
                    </a:moveTo>
                    <a:cubicBezTo>
                      <a:pt x="3561989" y="2199423"/>
                      <a:pt x="3555331" y="2192765"/>
                      <a:pt x="3546946" y="2192765"/>
                    </a:cubicBezTo>
                    <a:cubicBezTo>
                      <a:pt x="3538564" y="2192765"/>
                      <a:pt x="3531906" y="2199669"/>
                      <a:pt x="3531906" y="2207807"/>
                    </a:cubicBezTo>
                    <a:cubicBezTo>
                      <a:pt x="3531906" y="2216192"/>
                      <a:pt x="3538811" y="2222848"/>
                      <a:pt x="3546946" y="2222848"/>
                    </a:cubicBezTo>
                    <a:cubicBezTo>
                      <a:pt x="3555331" y="2222848"/>
                      <a:pt x="3561989" y="2216192"/>
                      <a:pt x="3561989" y="2207807"/>
                    </a:cubicBezTo>
                    <a:close/>
                    <a:moveTo>
                      <a:pt x="3567167" y="2642249"/>
                    </a:moveTo>
                    <a:cubicBezTo>
                      <a:pt x="3567167" y="2632137"/>
                      <a:pt x="3558783" y="2624000"/>
                      <a:pt x="3548674" y="2624000"/>
                    </a:cubicBezTo>
                    <a:cubicBezTo>
                      <a:pt x="3538562" y="2624000"/>
                      <a:pt x="3530180" y="2632137"/>
                      <a:pt x="3530180" y="2642249"/>
                    </a:cubicBezTo>
                    <a:cubicBezTo>
                      <a:pt x="3530180" y="2652603"/>
                      <a:pt x="3538562" y="2660740"/>
                      <a:pt x="3548674" y="2660740"/>
                    </a:cubicBezTo>
                    <a:cubicBezTo>
                      <a:pt x="3558783" y="2660740"/>
                      <a:pt x="3567167" y="2652603"/>
                      <a:pt x="3567167" y="2642249"/>
                    </a:cubicBezTo>
                    <a:close/>
                    <a:moveTo>
                      <a:pt x="3568645" y="2751229"/>
                    </a:moveTo>
                    <a:cubicBezTo>
                      <a:pt x="3568645" y="2740133"/>
                      <a:pt x="3559523" y="2731011"/>
                      <a:pt x="3548427" y="2731011"/>
                    </a:cubicBezTo>
                    <a:cubicBezTo>
                      <a:pt x="3537329" y="2731011"/>
                      <a:pt x="3528207" y="2740133"/>
                      <a:pt x="3528207" y="2751229"/>
                    </a:cubicBezTo>
                    <a:cubicBezTo>
                      <a:pt x="3528207" y="2762327"/>
                      <a:pt x="3537329" y="2771449"/>
                      <a:pt x="3548427" y="2771449"/>
                    </a:cubicBezTo>
                    <a:cubicBezTo>
                      <a:pt x="3559523" y="2771449"/>
                      <a:pt x="3568645" y="2762327"/>
                      <a:pt x="3568645" y="2751229"/>
                    </a:cubicBezTo>
                    <a:close/>
                    <a:moveTo>
                      <a:pt x="3570372" y="2099563"/>
                    </a:moveTo>
                    <a:cubicBezTo>
                      <a:pt x="3570372" y="2086493"/>
                      <a:pt x="3559770" y="2075889"/>
                      <a:pt x="3546699" y="2075889"/>
                    </a:cubicBezTo>
                    <a:cubicBezTo>
                      <a:pt x="3533386" y="2075889"/>
                      <a:pt x="3522783" y="2086493"/>
                      <a:pt x="3522783" y="2099563"/>
                    </a:cubicBezTo>
                    <a:cubicBezTo>
                      <a:pt x="3522783" y="2112631"/>
                      <a:pt x="3533632" y="2123235"/>
                      <a:pt x="3546699" y="2123235"/>
                    </a:cubicBezTo>
                    <a:cubicBezTo>
                      <a:pt x="3559770" y="2123235"/>
                      <a:pt x="3570372" y="2112631"/>
                      <a:pt x="3570372" y="2099563"/>
                    </a:cubicBezTo>
                    <a:close/>
                    <a:moveTo>
                      <a:pt x="3576290" y="1014526"/>
                    </a:moveTo>
                    <a:cubicBezTo>
                      <a:pt x="3576290" y="997260"/>
                      <a:pt x="3562236" y="983453"/>
                      <a:pt x="3545221" y="983453"/>
                    </a:cubicBezTo>
                    <a:cubicBezTo>
                      <a:pt x="3527961" y="983453"/>
                      <a:pt x="3514153" y="997507"/>
                      <a:pt x="3514153" y="1014526"/>
                    </a:cubicBezTo>
                    <a:cubicBezTo>
                      <a:pt x="3514153" y="1031780"/>
                      <a:pt x="3528208" y="1045592"/>
                      <a:pt x="3545221" y="1045592"/>
                    </a:cubicBezTo>
                    <a:cubicBezTo>
                      <a:pt x="3562482" y="1045592"/>
                      <a:pt x="3576290" y="1031780"/>
                      <a:pt x="3576290" y="1014526"/>
                    </a:cubicBezTo>
                    <a:close/>
                    <a:moveTo>
                      <a:pt x="3577771" y="797821"/>
                    </a:moveTo>
                    <a:cubicBezTo>
                      <a:pt x="3577771" y="780312"/>
                      <a:pt x="3563717" y="766257"/>
                      <a:pt x="3546209" y="766257"/>
                    </a:cubicBezTo>
                    <a:cubicBezTo>
                      <a:pt x="3528950" y="766257"/>
                      <a:pt x="3514648" y="780312"/>
                      <a:pt x="3514648" y="797821"/>
                    </a:cubicBezTo>
                    <a:cubicBezTo>
                      <a:pt x="3514648" y="815077"/>
                      <a:pt x="3528702" y="829381"/>
                      <a:pt x="3546209" y="829381"/>
                    </a:cubicBezTo>
                    <a:cubicBezTo>
                      <a:pt x="3563717" y="829381"/>
                      <a:pt x="3577771" y="815326"/>
                      <a:pt x="3577771" y="797821"/>
                    </a:cubicBezTo>
                    <a:close/>
                    <a:moveTo>
                      <a:pt x="3579002" y="3078181"/>
                    </a:moveTo>
                    <a:cubicBezTo>
                      <a:pt x="3579002" y="3061167"/>
                      <a:pt x="3565195" y="3047359"/>
                      <a:pt x="3548179" y="3047359"/>
                    </a:cubicBezTo>
                    <a:cubicBezTo>
                      <a:pt x="3531165" y="3047359"/>
                      <a:pt x="3517357" y="3061167"/>
                      <a:pt x="3517357" y="3078181"/>
                    </a:cubicBezTo>
                    <a:cubicBezTo>
                      <a:pt x="3517357" y="3095194"/>
                      <a:pt x="3531165" y="3109005"/>
                      <a:pt x="3548179" y="3109005"/>
                    </a:cubicBezTo>
                    <a:cubicBezTo>
                      <a:pt x="3565195" y="3109005"/>
                      <a:pt x="3579002" y="3095194"/>
                      <a:pt x="3579002" y="3078181"/>
                    </a:cubicBezTo>
                    <a:close/>
                    <a:moveTo>
                      <a:pt x="3579497" y="906283"/>
                    </a:moveTo>
                    <a:cubicBezTo>
                      <a:pt x="3579497" y="887547"/>
                      <a:pt x="3564209" y="872257"/>
                      <a:pt x="3545469" y="872257"/>
                    </a:cubicBezTo>
                    <a:cubicBezTo>
                      <a:pt x="3526729" y="872257"/>
                      <a:pt x="3511442" y="887547"/>
                      <a:pt x="3511442" y="906283"/>
                    </a:cubicBezTo>
                    <a:cubicBezTo>
                      <a:pt x="3511442" y="925032"/>
                      <a:pt x="3526729" y="940313"/>
                      <a:pt x="3545469" y="940313"/>
                    </a:cubicBezTo>
                    <a:cubicBezTo>
                      <a:pt x="3564209" y="940313"/>
                      <a:pt x="3579497" y="925032"/>
                      <a:pt x="3579497" y="906283"/>
                    </a:cubicBezTo>
                    <a:close/>
                    <a:moveTo>
                      <a:pt x="3579988" y="472605"/>
                    </a:moveTo>
                    <a:cubicBezTo>
                      <a:pt x="3579988" y="453620"/>
                      <a:pt x="3564701" y="438331"/>
                      <a:pt x="3545716" y="438331"/>
                    </a:cubicBezTo>
                    <a:cubicBezTo>
                      <a:pt x="3526729" y="438331"/>
                      <a:pt x="3511442" y="453620"/>
                      <a:pt x="3511442" y="472605"/>
                    </a:cubicBezTo>
                    <a:cubicBezTo>
                      <a:pt x="3511442" y="491344"/>
                      <a:pt x="3526729" y="506879"/>
                      <a:pt x="3545716" y="506879"/>
                    </a:cubicBezTo>
                    <a:cubicBezTo>
                      <a:pt x="3564701" y="506879"/>
                      <a:pt x="3580237" y="491344"/>
                      <a:pt x="3579988" y="472605"/>
                    </a:cubicBezTo>
                    <a:close/>
                    <a:moveTo>
                      <a:pt x="3580729" y="580833"/>
                    </a:moveTo>
                    <a:cubicBezTo>
                      <a:pt x="3580729" y="561353"/>
                      <a:pt x="3564948" y="545819"/>
                      <a:pt x="3545714" y="545819"/>
                    </a:cubicBezTo>
                    <a:cubicBezTo>
                      <a:pt x="3526236" y="545819"/>
                      <a:pt x="3510702" y="561353"/>
                      <a:pt x="3510702" y="580833"/>
                    </a:cubicBezTo>
                    <a:cubicBezTo>
                      <a:pt x="3510702" y="600309"/>
                      <a:pt x="3526483" y="615844"/>
                      <a:pt x="3545714" y="615844"/>
                    </a:cubicBezTo>
                    <a:cubicBezTo>
                      <a:pt x="3564948" y="615844"/>
                      <a:pt x="3580729" y="600309"/>
                      <a:pt x="3580729" y="580833"/>
                    </a:cubicBezTo>
                    <a:close/>
                    <a:moveTo>
                      <a:pt x="3581470" y="2316536"/>
                    </a:moveTo>
                    <a:cubicBezTo>
                      <a:pt x="3581470" y="2297797"/>
                      <a:pt x="3566181" y="2282511"/>
                      <a:pt x="3547441" y="2282511"/>
                    </a:cubicBezTo>
                    <a:cubicBezTo>
                      <a:pt x="3528702" y="2282511"/>
                      <a:pt x="3513415" y="2297797"/>
                      <a:pt x="3513415" y="2316536"/>
                    </a:cubicBezTo>
                    <a:cubicBezTo>
                      <a:pt x="3513415" y="2335277"/>
                      <a:pt x="3528702" y="2350569"/>
                      <a:pt x="3547441" y="2350569"/>
                    </a:cubicBezTo>
                    <a:cubicBezTo>
                      <a:pt x="3566430" y="2350569"/>
                      <a:pt x="3581717" y="2335277"/>
                      <a:pt x="3581470" y="2316536"/>
                    </a:cubicBezTo>
                    <a:close/>
                    <a:moveTo>
                      <a:pt x="3581712" y="2533759"/>
                    </a:moveTo>
                    <a:cubicBezTo>
                      <a:pt x="3581712" y="2515511"/>
                      <a:pt x="3566921" y="2500470"/>
                      <a:pt x="3548427" y="2500470"/>
                    </a:cubicBezTo>
                    <a:cubicBezTo>
                      <a:pt x="3530179" y="2500470"/>
                      <a:pt x="3515139" y="2515265"/>
                      <a:pt x="3515139" y="2533759"/>
                    </a:cubicBezTo>
                    <a:cubicBezTo>
                      <a:pt x="3515139" y="2552005"/>
                      <a:pt x="3529933" y="2567044"/>
                      <a:pt x="3548427" y="2567044"/>
                    </a:cubicBezTo>
                    <a:cubicBezTo>
                      <a:pt x="3566921" y="2567044"/>
                      <a:pt x="3581961" y="2552005"/>
                      <a:pt x="3581712" y="2533759"/>
                    </a:cubicBezTo>
                    <a:close/>
                    <a:moveTo>
                      <a:pt x="3581961" y="689341"/>
                    </a:moveTo>
                    <a:cubicBezTo>
                      <a:pt x="3581961" y="669370"/>
                      <a:pt x="3565686" y="653345"/>
                      <a:pt x="3545961" y="653345"/>
                    </a:cubicBezTo>
                    <a:cubicBezTo>
                      <a:pt x="3526234" y="653345"/>
                      <a:pt x="3509962" y="669615"/>
                      <a:pt x="3509962" y="689341"/>
                    </a:cubicBezTo>
                    <a:cubicBezTo>
                      <a:pt x="3509962" y="709312"/>
                      <a:pt x="3526234" y="725334"/>
                      <a:pt x="3545961" y="725334"/>
                    </a:cubicBezTo>
                    <a:cubicBezTo>
                      <a:pt x="3565935" y="725334"/>
                      <a:pt x="3581961" y="709312"/>
                      <a:pt x="3581961" y="689341"/>
                    </a:cubicBezTo>
                    <a:close/>
                    <a:moveTo>
                      <a:pt x="3582702" y="1123249"/>
                    </a:moveTo>
                    <a:cubicBezTo>
                      <a:pt x="3582702" y="1102533"/>
                      <a:pt x="3565935" y="1085768"/>
                      <a:pt x="3545223" y="1085768"/>
                    </a:cubicBezTo>
                    <a:cubicBezTo>
                      <a:pt x="3524509" y="1085768"/>
                      <a:pt x="3507743" y="1102533"/>
                      <a:pt x="3507743" y="1123249"/>
                    </a:cubicBezTo>
                    <a:cubicBezTo>
                      <a:pt x="3507743" y="1143955"/>
                      <a:pt x="3524509" y="1160726"/>
                      <a:pt x="3545223" y="1160726"/>
                    </a:cubicBezTo>
                    <a:cubicBezTo>
                      <a:pt x="3565935" y="1160726"/>
                      <a:pt x="3582949" y="1143711"/>
                      <a:pt x="3582702" y="1123249"/>
                    </a:cubicBezTo>
                    <a:close/>
                    <a:moveTo>
                      <a:pt x="3583442" y="1231478"/>
                    </a:moveTo>
                    <a:cubicBezTo>
                      <a:pt x="3583442" y="1210270"/>
                      <a:pt x="3566181" y="1193009"/>
                      <a:pt x="3544976" y="1193009"/>
                    </a:cubicBezTo>
                    <a:cubicBezTo>
                      <a:pt x="3524015" y="1193009"/>
                      <a:pt x="3506757" y="1210270"/>
                      <a:pt x="3506757" y="1231478"/>
                    </a:cubicBezTo>
                    <a:cubicBezTo>
                      <a:pt x="3506757" y="1252678"/>
                      <a:pt x="3523770" y="1269941"/>
                      <a:pt x="3544976" y="1269941"/>
                    </a:cubicBezTo>
                    <a:cubicBezTo>
                      <a:pt x="3566181" y="1269941"/>
                      <a:pt x="3583442" y="1252678"/>
                      <a:pt x="3583442" y="1231478"/>
                    </a:cubicBezTo>
                    <a:close/>
                    <a:moveTo>
                      <a:pt x="3592811" y="2425023"/>
                    </a:moveTo>
                    <a:cubicBezTo>
                      <a:pt x="3592811" y="2400367"/>
                      <a:pt x="3572593" y="2380147"/>
                      <a:pt x="3547936" y="2380147"/>
                    </a:cubicBezTo>
                    <a:cubicBezTo>
                      <a:pt x="3523278" y="2380147"/>
                      <a:pt x="3503058" y="2400367"/>
                      <a:pt x="3503058" y="2425023"/>
                    </a:cubicBezTo>
                    <a:cubicBezTo>
                      <a:pt x="3503058" y="2449681"/>
                      <a:pt x="3523278" y="2469902"/>
                      <a:pt x="3547936" y="2469902"/>
                    </a:cubicBezTo>
                    <a:cubicBezTo>
                      <a:pt x="3572839" y="2469902"/>
                      <a:pt x="3592811" y="2449929"/>
                      <a:pt x="3592811" y="2425023"/>
                    </a:cubicBezTo>
                    <a:close/>
                    <a:moveTo>
                      <a:pt x="3607359" y="1668110"/>
                    </a:moveTo>
                    <a:cubicBezTo>
                      <a:pt x="3607359" y="1666137"/>
                      <a:pt x="3605881" y="1664656"/>
                      <a:pt x="3603905" y="1664656"/>
                    </a:cubicBezTo>
                    <a:cubicBezTo>
                      <a:pt x="3601933" y="1664656"/>
                      <a:pt x="3600455" y="1666137"/>
                      <a:pt x="3600455" y="1668110"/>
                    </a:cubicBezTo>
                    <a:cubicBezTo>
                      <a:pt x="3600455" y="1670079"/>
                      <a:pt x="3601933" y="1671557"/>
                      <a:pt x="3603905" y="1671557"/>
                    </a:cubicBezTo>
                    <a:cubicBezTo>
                      <a:pt x="3605632" y="1671557"/>
                      <a:pt x="3607359" y="1670079"/>
                      <a:pt x="3607359" y="1668110"/>
                    </a:cubicBezTo>
                    <a:close/>
                    <a:moveTo>
                      <a:pt x="3613770" y="6155445"/>
                    </a:moveTo>
                    <a:cubicBezTo>
                      <a:pt x="3613770" y="6153812"/>
                      <a:pt x="3612444" y="6152486"/>
                      <a:pt x="3610811" y="6152486"/>
                    </a:cubicBezTo>
                    <a:cubicBezTo>
                      <a:pt x="3609177" y="6152486"/>
                      <a:pt x="3607852" y="6153812"/>
                      <a:pt x="3607852" y="6155445"/>
                    </a:cubicBezTo>
                    <a:cubicBezTo>
                      <a:pt x="3607852" y="6157079"/>
                      <a:pt x="3609177" y="6158404"/>
                      <a:pt x="3610811" y="6158404"/>
                    </a:cubicBezTo>
                    <a:cubicBezTo>
                      <a:pt x="3612444" y="6158404"/>
                      <a:pt x="3613770" y="6157079"/>
                      <a:pt x="3613770" y="6155445"/>
                    </a:cubicBezTo>
                    <a:close/>
                    <a:moveTo>
                      <a:pt x="3614017" y="6263938"/>
                    </a:moveTo>
                    <a:cubicBezTo>
                      <a:pt x="3614017" y="6262212"/>
                      <a:pt x="3612786" y="6260979"/>
                      <a:pt x="3611058" y="6260979"/>
                    </a:cubicBezTo>
                    <a:cubicBezTo>
                      <a:pt x="3609332" y="6260979"/>
                      <a:pt x="3608100" y="6262212"/>
                      <a:pt x="3608100" y="6263938"/>
                    </a:cubicBezTo>
                    <a:cubicBezTo>
                      <a:pt x="3608100" y="6265665"/>
                      <a:pt x="3609332" y="6266897"/>
                      <a:pt x="3611058" y="6266897"/>
                    </a:cubicBezTo>
                    <a:cubicBezTo>
                      <a:pt x="3612786" y="6266897"/>
                      <a:pt x="3614017" y="6265416"/>
                      <a:pt x="3614017" y="6263938"/>
                    </a:cubicBezTo>
                    <a:close/>
                    <a:moveTo>
                      <a:pt x="3614263" y="6372431"/>
                    </a:moveTo>
                    <a:cubicBezTo>
                      <a:pt x="3614263" y="6370705"/>
                      <a:pt x="3613029" y="6369472"/>
                      <a:pt x="3611551" y="6369472"/>
                    </a:cubicBezTo>
                    <a:cubicBezTo>
                      <a:pt x="3609824" y="6369472"/>
                      <a:pt x="3608592" y="6370953"/>
                      <a:pt x="3608592" y="6372431"/>
                    </a:cubicBezTo>
                    <a:cubicBezTo>
                      <a:pt x="3608592" y="6373912"/>
                      <a:pt x="3610070" y="6375145"/>
                      <a:pt x="3611551" y="6375145"/>
                    </a:cubicBezTo>
                    <a:cubicBezTo>
                      <a:pt x="3613029" y="6375145"/>
                      <a:pt x="3614263" y="6373912"/>
                      <a:pt x="3614263" y="6372431"/>
                    </a:cubicBezTo>
                    <a:close/>
                    <a:moveTo>
                      <a:pt x="3614510" y="5503745"/>
                    </a:moveTo>
                    <a:cubicBezTo>
                      <a:pt x="3614510" y="5502759"/>
                      <a:pt x="3613523" y="5501771"/>
                      <a:pt x="3612536" y="5501771"/>
                    </a:cubicBezTo>
                    <a:cubicBezTo>
                      <a:pt x="3611551" y="5501771"/>
                      <a:pt x="3610564" y="5502759"/>
                      <a:pt x="3610564" y="5503745"/>
                    </a:cubicBezTo>
                    <a:cubicBezTo>
                      <a:pt x="3610564" y="5504731"/>
                      <a:pt x="3611304" y="5505717"/>
                      <a:pt x="3612536" y="5505717"/>
                    </a:cubicBezTo>
                    <a:cubicBezTo>
                      <a:pt x="3613523" y="5505717"/>
                      <a:pt x="3614510" y="5504977"/>
                      <a:pt x="3614510" y="5503745"/>
                    </a:cubicBezTo>
                    <a:close/>
                    <a:moveTo>
                      <a:pt x="3614510" y="6480925"/>
                    </a:moveTo>
                    <a:cubicBezTo>
                      <a:pt x="3614510" y="6479198"/>
                      <a:pt x="3613277" y="6477965"/>
                      <a:pt x="3611551" y="6477965"/>
                    </a:cubicBezTo>
                    <a:cubicBezTo>
                      <a:pt x="3609824" y="6477965"/>
                      <a:pt x="3608592" y="6479198"/>
                      <a:pt x="3608592" y="6480925"/>
                    </a:cubicBezTo>
                    <a:cubicBezTo>
                      <a:pt x="3608592" y="6482652"/>
                      <a:pt x="3610070" y="6483884"/>
                      <a:pt x="3611551" y="6483884"/>
                    </a:cubicBezTo>
                    <a:cubicBezTo>
                      <a:pt x="3613277" y="6483884"/>
                      <a:pt x="3614510" y="6482652"/>
                      <a:pt x="3614510" y="6480925"/>
                    </a:cubicBezTo>
                    <a:close/>
                    <a:moveTo>
                      <a:pt x="3614755" y="5286512"/>
                    </a:moveTo>
                    <a:cubicBezTo>
                      <a:pt x="3614755" y="5284786"/>
                      <a:pt x="3613275" y="5283554"/>
                      <a:pt x="3611796" y="5283554"/>
                    </a:cubicBezTo>
                    <a:cubicBezTo>
                      <a:pt x="3610070" y="5283554"/>
                      <a:pt x="3608837" y="5285035"/>
                      <a:pt x="3608837" y="5286512"/>
                    </a:cubicBezTo>
                    <a:cubicBezTo>
                      <a:pt x="3608837" y="5288239"/>
                      <a:pt x="3610070" y="5289471"/>
                      <a:pt x="3611796" y="5289471"/>
                    </a:cubicBezTo>
                    <a:cubicBezTo>
                      <a:pt x="3613275" y="5289471"/>
                      <a:pt x="3614509" y="5288239"/>
                      <a:pt x="3614755" y="5286512"/>
                    </a:cubicBezTo>
                    <a:close/>
                    <a:moveTo>
                      <a:pt x="3615250" y="6806404"/>
                    </a:moveTo>
                    <a:cubicBezTo>
                      <a:pt x="3615250" y="6804678"/>
                      <a:pt x="3614017" y="6803446"/>
                      <a:pt x="3612291" y="6803446"/>
                    </a:cubicBezTo>
                    <a:cubicBezTo>
                      <a:pt x="3610564" y="6803446"/>
                      <a:pt x="3609332" y="6804678"/>
                      <a:pt x="3609332" y="6806404"/>
                    </a:cubicBezTo>
                    <a:cubicBezTo>
                      <a:pt x="3609332" y="6808131"/>
                      <a:pt x="3610564" y="6809363"/>
                      <a:pt x="3612291" y="6809363"/>
                    </a:cubicBezTo>
                    <a:cubicBezTo>
                      <a:pt x="3613769" y="6809363"/>
                      <a:pt x="3615250" y="6808131"/>
                      <a:pt x="3615250" y="6806404"/>
                    </a:cubicBezTo>
                    <a:close/>
                    <a:moveTo>
                      <a:pt x="3615496" y="5395251"/>
                    </a:moveTo>
                    <a:cubicBezTo>
                      <a:pt x="3615496" y="5393525"/>
                      <a:pt x="3614264" y="5392292"/>
                      <a:pt x="3612537" y="5392292"/>
                    </a:cubicBezTo>
                    <a:cubicBezTo>
                      <a:pt x="3610811" y="5392292"/>
                      <a:pt x="3609578" y="5393525"/>
                      <a:pt x="3609578" y="5395251"/>
                    </a:cubicBezTo>
                    <a:cubicBezTo>
                      <a:pt x="3609578" y="5396978"/>
                      <a:pt x="3610811" y="5398210"/>
                      <a:pt x="3612537" y="5398210"/>
                    </a:cubicBezTo>
                    <a:cubicBezTo>
                      <a:pt x="3614264" y="5398210"/>
                      <a:pt x="3615496" y="5396732"/>
                      <a:pt x="3615496" y="5395251"/>
                    </a:cubicBezTo>
                    <a:close/>
                    <a:moveTo>
                      <a:pt x="3615496" y="6046704"/>
                    </a:moveTo>
                    <a:cubicBezTo>
                      <a:pt x="3615496" y="6044979"/>
                      <a:pt x="3614015" y="6043498"/>
                      <a:pt x="3612289" y="6043498"/>
                    </a:cubicBezTo>
                    <a:cubicBezTo>
                      <a:pt x="3610562" y="6043498"/>
                      <a:pt x="3609084" y="6044979"/>
                      <a:pt x="3609084" y="6046704"/>
                    </a:cubicBezTo>
                    <a:cubicBezTo>
                      <a:pt x="3609084" y="6048430"/>
                      <a:pt x="3610562" y="6049911"/>
                      <a:pt x="3612289" y="6049911"/>
                    </a:cubicBezTo>
                    <a:cubicBezTo>
                      <a:pt x="3614015" y="6049911"/>
                      <a:pt x="3615496" y="6048430"/>
                      <a:pt x="3615496" y="6046704"/>
                    </a:cubicBezTo>
                    <a:close/>
                    <a:moveTo>
                      <a:pt x="3615987" y="1776855"/>
                    </a:moveTo>
                    <a:cubicBezTo>
                      <a:pt x="3615987" y="1770437"/>
                      <a:pt x="3610810" y="1765254"/>
                      <a:pt x="3604401" y="1765254"/>
                    </a:cubicBezTo>
                    <a:cubicBezTo>
                      <a:pt x="3597988" y="1765254"/>
                      <a:pt x="3592811" y="1770437"/>
                      <a:pt x="3592811" y="1776855"/>
                    </a:cubicBezTo>
                    <a:cubicBezTo>
                      <a:pt x="3592811" y="1783255"/>
                      <a:pt x="3597988" y="1788431"/>
                      <a:pt x="3604401" y="1788431"/>
                    </a:cubicBezTo>
                    <a:cubicBezTo>
                      <a:pt x="3610810" y="1788431"/>
                      <a:pt x="3615987" y="1783255"/>
                      <a:pt x="3615987" y="1776855"/>
                    </a:cubicBezTo>
                    <a:close/>
                    <a:moveTo>
                      <a:pt x="3615987" y="6589418"/>
                    </a:moveTo>
                    <a:cubicBezTo>
                      <a:pt x="3615987" y="6587937"/>
                      <a:pt x="3614510" y="6586459"/>
                      <a:pt x="3612783" y="6586459"/>
                    </a:cubicBezTo>
                    <a:cubicBezTo>
                      <a:pt x="3611304" y="6586459"/>
                      <a:pt x="3609824" y="6587692"/>
                      <a:pt x="3609824" y="6589418"/>
                    </a:cubicBezTo>
                    <a:cubicBezTo>
                      <a:pt x="3609824" y="6591145"/>
                      <a:pt x="3611056" y="6592623"/>
                      <a:pt x="3612783" y="6592623"/>
                    </a:cubicBezTo>
                    <a:cubicBezTo>
                      <a:pt x="3614510" y="6592623"/>
                      <a:pt x="3615987" y="6591145"/>
                      <a:pt x="3615987" y="6589418"/>
                    </a:cubicBezTo>
                    <a:close/>
                    <a:moveTo>
                      <a:pt x="3615987" y="6697911"/>
                    </a:moveTo>
                    <a:cubicBezTo>
                      <a:pt x="3615987" y="6696430"/>
                      <a:pt x="3614510" y="6694952"/>
                      <a:pt x="3612783" y="6694952"/>
                    </a:cubicBezTo>
                    <a:cubicBezTo>
                      <a:pt x="3611304" y="6694952"/>
                      <a:pt x="3609824" y="6696184"/>
                      <a:pt x="3609824" y="6697911"/>
                    </a:cubicBezTo>
                    <a:cubicBezTo>
                      <a:pt x="3609824" y="6699638"/>
                      <a:pt x="3611056" y="6701116"/>
                      <a:pt x="3612783" y="6701116"/>
                    </a:cubicBezTo>
                    <a:cubicBezTo>
                      <a:pt x="3614510" y="6701116"/>
                      <a:pt x="3615987" y="6699638"/>
                      <a:pt x="3615987" y="6697911"/>
                    </a:cubicBezTo>
                    <a:close/>
                    <a:moveTo>
                      <a:pt x="3615987" y="6915145"/>
                    </a:moveTo>
                    <a:cubicBezTo>
                      <a:pt x="3615987" y="6913664"/>
                      <a:pt x="3614510" y="6912185"/>
                      <a:pt x="3612783" y="6912185"/>
                    </a:cubicBezTo>
                    <a:cubicBezTo>
                      <a:pt x="3611056" y="6912185"/>
                      <a:pt x="3609824" y="6913417"/>
                      <a:pt x="3609824" y="6915145"/>
                    </a:cubicBezTo>
                    <a:cubicBezTo>
                      <a:pt x="3609824" y="6916872"/>
                      <a:pt x="3611056" y="6918104"/>
                      <a:pt x="3612783" y="6918104"/>
                    </a:cubicBezTo>
                    <a:cubicBezTo>
                      <a:pt x="3614510" y="6918104"/>
                      <a:pt x="3615987" y="6916623"/>
                      <a:pt x="3615987" y="6915145"/>
                    </a:cubicBezTo>
                    <a:close/>
                    <a:moveTo>
                      <a:pt x="3616236" y="7023638"/>
                    </a:moveTo>
                    <a:cubicBezTo>
                      <a:pt x="3616236" y="7021911"/>
                      <a:pt x="3615004" y="7020433"/>
                      <a:pt x="3613029" y="7020433"/>
                    </a:cubicBezTo>
                    <a:cubicBezTo>
                      <a:pt x="3611056" y="7020433"/>
                      <a:pt x="3609578" y="7021911"/>
                      <a:pt x="3609578" y="7023638"/>
                    </a:cubicBezTo>
                    <a:cubicBezTo>
                      <a:pt x="3609578" y="7025365"/>
                      <a:pt x="3611056" y="7026843"/>
                      <a:pt x="3613029" y="7026843"/>
                    </a:cubicBezTo>
                    <a:cubicBezTo>
                      <a:pt x="3614755" y="7026843"/>
                      <a:pt x="3616236" y="7025365"/>
                      <a:pt x="3616236" y="7023638"/>
                    </a:cubicBezTo>
                    <a:close/>
                    <a:moveTo>
                      <a:pt x="3616482" y="5938210"/>
                    </a:moveTo>
                    <a:cubicBezTo>
                      <a:pt x="3616482" y="5935990"/>
                      <a:pt x="3614755" y="5934264"/>
                      <a:pt x="3612536" y="5934264"/>
                    </a:cubicBezTo>
                    <a:cubicBezTo>
                      <a:pt x="3610318" y="5934264"/>
                      <a:pt x="3608592" y="5935990"/>
                      <a:pt x="3608592" y="5938210"/>
                    </a:cubicBezTo>
                    <a:cubicBezTo>
                      <a:pt x="3608592" y="5940427"/>
                      <a:pt x="3610318" y="5942154"/>
                      <a:pt x="3612536" y="5942154"/>
                    </a:cubicBezTo>
                    <a:cubicBezTo>
                      <a:pt x="3614755" y="5942154"/>
                      <a:pt x="3616727" y="5940427"/>
                      <a:pt x="3616482" y="5938210"/>
                    </a:cubicBezTo>
                    <a:close/>
                    <a:moveTo>
                      <a:pt x="3616727" y="7131885"/>
                    </a:moveTo>
                    <a:cubicBezTo>
                      <a:pt x="3616727" y="7129912"/>
                      <a:pt x="3615250" y="7128431"/>
                      <a:pt x="3613275" y="7128431"/>
                    </a:cubicBezTo>
                    <a:cubicBezTo>
                      <a:pt x="3611304" y="7128431"/>
                      <a:pt x="3609824" y="7129912"/>
                      <a:pt x="3609824" y="7131885"/>
                    </a:cubicBezTo>
                    <a:cubicBezTo>
                      <a:pt x="3609824" y="7133858"/>
                      <a:pt x="3611304" y="7135336"/>
                      <a:pt x="3613275" y="7135336"/>
                    </a:cubicBezTo>
                    <a:cubicBezTo>
                      <a:pt x="3615250" y="7135336"/>
                      <a:pt x="3616727" y="7133858"/>
                      <a:pt x="3616727" y="7131885"/>
                    </a:cubicBezTo>
                    <a:close/>
                    <a:moveTo>
                      <a:pt x="3616728" y="5829720"/>
                    </a:moveTo>
                    <a:cubicBezTo>
                      <a:pt x="3616728" y="5827992"/>
                      <a:pt x="3615496" y="5826760"/>
                      <a:pt x="3613770" y="5826760"/>
                    </a:cubicBezTo>
                    <a:cubicBezTo>
                      <a:pt x="3612043" y="5826760"/>
                      <a:pt x="3610811" y="5827992"/>
                      <a:pt x="3610811" y="5829720"/>
                    </a:cubicBezTo>
                    <a:cubicBezTo>
                      <a:pt x="3610811" y="5831197"/>
                      <a:pt x="3612043" y="5832678"/>
                      <a:pt x="3613770" y="5832678"/>
                    </a:cubicBezTo>
                    <a:cubicBezTo>
                      <a:pt x="3615247" y="5832678"/>
                      <a:pt x="3616728" y="5831197"/>
                      <a:pt x="3616728" y="5829720"/>
                    </a:cubicBezTo>
                    <a:close/>
                    <a:moveTo>
                      <a:pt x="3617222" y="5720978"/>
                    </a:moveTo>
                    <a:cubicBezTo>
                      <a:pt x="3617222" y="5719253"/>
                      <a:pt x="3615744" y="5717527"/>
                      <a:pt x="3613769" y="5717527"/>
                    </a:cubicBezTo>
                    <a:cubicBezTo>
                      <a:pt x="3611796" y="5717527"/>
                      <a:pt x="3610318" y="5719005"/>
                      <a:pt x="3610318" y="5720978"/>
                    </a:cubicBezTo>
                    <a:cubicBezTo>
                      <a:pt x="3610318" y="5722950"/>
                      <a:pt x="3611796" y="5724431"/>
                      <a:pt x="3613769" y="5724431"/>
                    </a:cubicBezTo>
                    <a:cubicBezTo>
                      <a:pt x="3615496" y="5724431"/>
                      <a:pt x="3617222" y="5722950"/>
                      <a:pt x="3617222" y="5720978"/>
                    </a:cubicBezTo>
                    <a:close/>
                    <a:moveTo>
                      <a:pt x="3617467" y="7240378"/>
                    </a:moveTo>
                    <a:cubicBezTo>
                      <a:pt x="3617467" y="7238336"/>
                      <a:pt x="3615811" y="7236679"/>
                      <a:pt x="3613769" y="7236679"/>
                    </a:cubicBezTo>
                    <a:cubicBezTo>
                      <a:pt x="3611726" y="7236679"/>
                      <a:pt x="3610070" y="7238333"/>
                      <a:pt x="3610070" y="7240378"/>
                    </a:cubicBezTo>
                    <a:cubicBezTo>
                      <a:pt x="3610070" y="7242420"/>
                      <a:pt x="3611726" y="7244074"/>
                      <a:pt x="3613769" y="7244074"/>
                    </a:cubicBezTo>
                    <a:cubicBezTo>
                      <a:pt x="3615811" y="7244074"/>
                      <a:pt x="3617467" y="7242420"/>
                      <a:pt x="3617467" y="7240378"/>
                    </a:cubicBezTo>
                    <a:close/>
                    <a:moveTo>
                      <a:pt x="3617960" y="7457364"/>
                    </a:moveTo>
                    <a:cubicBezTo>
                      <a:pt x="3617960" y="7455456"/>
                      <a:pt x="3616415" y="7453911"/>
                      <a:pt x="3614506" y="7453911"/>
                    </a:cubicBezTo>
                    <a:cubicBezTo>
                      <a:pt x="3612602" y="7453911"/>
                      <a:pt x="3611056" y="7455456"/>
                      <a:pt x="3611056" y="7457364"/>
                    </a:cubicBezTo>
                    <a:cubicBezTo>
                      <a:pt x="3611056" y="7459270"/>
                      <a:pt x="3612602" y="7460816"/>
                      <a:pt x="3614506" y="7460816"/>
                    </a:cubicBezTo>
                    <a:cubicBezTo>
                      <a:pt x="3616415" y="7460816"/>
                      <a:pt x="3617960" y="7459270"/>
                      <a:pt x="3617960" y="7457364"/>
                    </a:cubicBezTo>
                    <a:close/>
                    <a:moveTo>
                      <a:pt x="3618209" y="7348871"/>
                    </a:moveTo>
                    <a:cubicBezTo>
                      <a:pt x="3618209" y="7346898"/>
                      <a:pt x="3616482" y="7345172"/>
                      <a:pt x="3614510" y="7345172"/>
                    </a:cubicBezTo>
                    <a:cubicBezTo>
                      <a:pt x="3612537" y="7345172"/>
                      <a:pt x="3610811" y="7346898"/>
                      <a:pt x="3610811" y="7348871"/>
                    </a:cubicBezTo>
                    <a:cubicBezTo>
                      <a:pt x="3610811" y="7350844"/>
                      <a:pt x="3612537" y="7352570"/>
                      <a:pt x="3614510" y="7352570"/>
                    </a:cubicBezTo>
                    <a:cubicBezTo>
                      <a:pt x="3616482" y="7352570"/>
                      <a:pt x="3618209" y="7350844"/>
                      <a:pt x="3618209" y="7348871"/>
                    </a:cubicBezTo>
                    <a:close/>
                    <a:moveTo>
                      <a:pt x="3618454" y="7565857"/>
                    </a:moveTo>
                    <a:cubicBezTo>
                      <a:pt x="3618454" y="7563882"/>
                      <a:pt x="3616976" y="7562404"/>
                      <a:pt x="3615001" y="7562404"/>
                    </a:cubicBezTo>
                    <a:cubicBezTo>
                      <a:pt x="3613277" y="7562404"/>
                      <a:pt x="3611551" y="7563882"/>
                      <a:pt x="3611551" y="7565857"/>
                    </a:cubicBezTo>
                    <a:cubicBezTo>
                      <a:pt x="3611551" y="7567831"/>
                      <a:pt x="3613029" y="7569308"/>
                      <a:pt x="3615001" y="7569308"/>
                    </a:cubicBezTo>
                    <a:cubicBezTo>
                      <a:pt x="3616976" y="7569308"/>
                      <a:pt x="3618454" y="7567831"/>
                      <a:pt x="3618454" y="7565857"/>
                    </a:cubicBezTo>
                    <a:close/>
                    <a:moveTo>
                      <a:pt x="3618455" y="4634072"/>
                    </a:moveTo>
                    <a:cubicBezTo>
                      <a:pt x="3618455" y="4628155"/>
                      <a:pt x="3613770" y="4623223"/>
                      <a:pt x="3607605" y="4623223"/>
                    </a:cubicBezTo>
                    <a:cubicBezTo>
                      <a:pt x="3601688" y="4623223"/>
                      <a:pt x="3596756" y="4628155"/>
                      <a:pt x="3596756" y="4634072"/>
                    </a:cubicBezTo>
                    <a:cubicBezTo>
                      <a:pt x="3596756" y="4639990"/>
                      <a:pt x="3601688" y="4644921"/>
                      <a:pt x="3607605" y="4644921"/>
                    </a:cubicBezTo>
                    <a:cubicBezTo>
                      <a:pt x="3613523" y="4644921"/>
                      <a:pt x="3618455" y="4639990"/>
                      <a:pt x="3618455" y="4634072"/>
                    </a:cubicBezTo>
                    <a:close/>
                    <a:moveTo>
                      <a:pt x="3621413" y="4196647"/>
                    </a:moveTo>
                    <a:cubicBezTo>
                      <a:pt x="3621413" y="4189249"/>
                      <a:pt x="3615496" y="4183330"/>
                      <a:pt x="3608100" y="4183330"/>
                    </a:cubicBezTo>
                    <a:cubicBezTo>
                      <a:pt x="3600701" y="4183330"/>
                      <a:pt x="3594784" y="4189249"/>
                      <a:pt x="3594784" y="4196647"/>
                    </a:cubicBezTo>
                    <a:cubicBezTo>
                      <a:pt x="3594784" y="4204043"/>
                      <a:pt x="3600701" y="4209961"/>
                      <a:pt x="3608100" y="4209961"/>
                    </a:cubicBezTo>
                    <a:cubicBezTo>
                      <a:pt x="3615496" y="4209961"/>
                      <a:pt x="3621413" y="4204043"/>
                      <a:pt x="3621413" y="4196647"/>
                    </a:cubicBezTo>
                    <a:close/>
                    <a:moveTo>
                      <a:pt x="3624621" y="3976703"/>
                    </a:moveTo>
                    <a:cubicBezTo>
                      <a:pt x="3624621" y="3965605"/>
                      <a:pt x="3615496" y="3956235"/>
                      <a:pt x="3604155" y="3956235"/>
                    </a:cubicBezTo>
                    <a:cubicBezTo>
                      <a:pt x="3592811" y="3956235"/>
                      <a:pt x="3583689" y="3965359"/>
                      <a:pt x="3583689" y="3976703"/>
                    </a:cubicBezTo>
                    <a:cubicBezTo>
                      <a:pt x="3583689" y="3988044"/>
                      <a:pt x="3592811" y="3997167"/>
                      <a:pt x="3604155" y="3997167"/>
                    </a:cubicBezTo>
                    <a:cubicBezTo>
                      <a:pt x="3615496" y="3997167"/>
                      <a:pt x="3624867" y="3988044"/>
                      <a:pt x="3624621" y="3976703"/>
                    </a:cubicBezTo>
                    <a:close/>
                    <a:moveTo>
                      <a:pt x="3626098" y="4087169"/>
                    </a:moveTo>
                    <a:cubicBezTo>
                      <a:pt x="3626098" y="4075333"/>
                      <a:pt x="3616482" y="4065716"/>
                      <a:pt x="3604645" y="4065716"/>
                    </a:cubicBezTo>
                    <a:cubicBezTo>
                      <a:pt x="3592810" y="4065716"/>
                      <a:pt x="3583193" y="4075333"/>
                      <a:pt x="3583193" y="4087169"/>
                    </a:cubicBezTo>
                    <a:cubicBezTo>
                      <a:pt x="3583193" y="4099250"/>
                      <a:pt x="3592810" y="4108867"/>
                      <a:pt x="3604645" y="4108867"/>
                    </a:cubicBezTo>
                    <a:cubicBezTo>
                      <a:pt x="3616727" y="4108867"/>
                      <a:pt x="3626344" y="4099004"/>
                      <a:pt x="3626098" y="4087169"/>
                    </a:cubicBezTo>
                    <a:close/>
                    <a:moveTo>
                      <a:pt x="3628317" y="4960538"/>
                    </a:moveTo>
                    <a:cubicBezTo>
                      <a:pt x="3628317" y="4950921"/>
                      <a:pt x="3620427" y="4942784"/>
                      <a:pt x="3610564" y="4942784"/>
                    </a:cubicBezTo>
                    <a:cubicBezTo>
                      <a:pt x="3600947" y="4942784"/>
                      <a:pt x="3592811" y="4950675"/>
                      <a:pt x="3592811" y="4960538"/>
                    </a:cubicBezTo>
                    <a:cubicBezTo>
                      <a:pt x="3592811" y="4970155"/>
                      <a:pt x="3600701" y="4978291"/>
                      <a:pt x="3610564" y="4978291"/>
                    </a:cubicBezTo>
                    <a:cubicBezTo>
                      <a:pt x="3620182" y="4978291"/>
                      <a:pt x="3628317" y="4970401"/>
                      <a:pt x="3628317" y="4960538"/>
                    </a:cubicBezTo>
                    <a:close/>
                    <a:moveTo>
                      <a:pt x="3628564" y="5178019"/>
                    </a:moveTo>
                    <a:cubicBezTo>
                      <a:pt x="3628564" y="5168402"/>
                      <a:pt x="3620673" y="5160511"/>
                      <a:pt x="3611058" y="5160511"/>
                    </a:cubicBezTo>
                    <a:cubicBezTo>
                      <a:pt x="3601441" y="5160511"/>
                      <a:pt x="3593551" y="5168402"/>
                      <a:pt x="3593551" y="5178019"/>
                    </a:cubicBezTo>
                    <a:cubicBezTo>
                      <a:pt x="3593551" y="5187634"/>
                      <a:pt x="3601441" y="5195524"/>
                      <a:pt x="3611058" y="5195524"/>
                    </a:cubicBezTo>
                    <a:cubicBezTo>
                      <a:pt x="3620673" y="5195524"/>
                      <a:pt x="3628564" y="5187634"/>
                      <a:pt x="3628564" y="5178019"/>
                    </a:cubicBezTo>
                    <a:close/>
                    <a:moveTo>
                      <a:pt x="3628811" y="1559381"/>
                    </a:moveTo>
                    <a:cubicBezTo>
                      <a:pt x="3628811" y="1545327"/>
                      <a:pt x="3617221" y="1533739"/>
                      <a:pt x="3603166" y="1533739"/>
                    </a:cubicBezTo>
                    <a:cubicBezTo>
                      <a:pt x="3588865" y="1533739"/>
                      <a:pt x="3577522" y="1545327"/>
                      <a:pt x="3577522" y="1559381"/>
                    </a:cubicBezTo>
                    <a:cubicBezTo>
                      <a:pt x="3577522" y="1573683"/>
                      <a:pt x="3589112" y="1585023"/>
                      <a:pt x="3603166" y="1585023"/>
                    </a:cubicBezTo>
                    <a:cubicBezTo>
                      <a:pt x="3617221" y="1585023"/>
                      <a:pt x="3628811" y="1573435"/>
                      <a:pt x="3628811" y="1559381"/>
                    </a:cubicBezTo>
                    <a:close/>
                    <a:moveTo>
                      <a:pt x="3628811" y="5069031"/>
                    </a:moveTo>
                    <a:cubicBezTo>
                      <a:pt x="3628811" y="5058674"/>
                      <a:pt x="3620674" y="5050537"/>
                      <a:pt x="3610566" y="5050537"/>
                    </a:cubicBezTo>
                    <a:cubicBezTo>
                      <a:pt x="3600455" y="5050537"/>
                      <a:pt x="3592071" y="5058919"/>
                      <a:pt x="3592071" y="5069031"/>
                    </a:cubicBezTo>
                    <a:cubicBezTo>
                      <a:pt x="3592071" y="5079386"/>
                      <a:pt x="3600455" y="5087525"/>
                      <a:pt x="3610566" y="5087525"/>
                    </a:cubicBezTo>
                    <a:cubicBezTo>
                      <a:pt x="3620674" y="5087525"/>
                      <a:pt x="3628811" y="5079386"/>
                      <a:pt x="3628811" y="5069031"/>
                    </a:cubicBezTo>
                    <a:close/>
                    <a:moveTo>
                      <a:pt x="3628812" y="1885571"/>
                    </a:moveTo>
                    <a:cubicBezTo>
                      <a:pt x="3628812" y="1872505"/>
                      <a:pt x="3617963" y="1861659"/>
                      <a:pt x="3604892" y="1861659"/>
                    </a:cubicBezTo>
                    <a:cubicBezTo>
                      <a:pt x="3591824" y="1861659"/>
                      <a:pt x="3580976" y="1872505"/>
                      <a:pt x="3580976" y="1885571"/>
                    </a:cubicBezTo>
                    <a:cubicBezTo>
                      <a:pt x="3580976" y="1898884"/>
                      <a:pt x="3591824" y="1909482"/>
                      <a:pt x="3604892" y="1909482"/>
                    </a:cubicBezTo>
                    <a:cubicBezTo>
                      <a:pt x="3618209" y="1909482"/>
                      <a:pt x="3628812" y="1898637"/>
                      <a:pt x="3628812" y="1885571"/>
                    </a:cubicBezTo>
                    <a:close/>
                    <a:moveTo>
                      <a:pt x="3630045" y="4306622"/>
                    </a:moveTo>
                    <a:cubicBezTo>
                      <a:pt x="3630045" y="4293798"/>
                      <a:pt x="3619689" y="4283443"/>
                      <a:pt x="3606868" y="4283443"/>
                    </a:cubicBezTo>
                    <a:cubicBezTo>
                      <a:pt x="3594044" y="4283443"/>
                      <a:pt x="3583689" y="4293798"/>
                      <a:pt x="3583689" y="4306622"/>
                    </a:cubicBezTo>
                    <a:cubicBezTo>
                      <a:pt x="3583689" y="4319444"/>
                      <a:pt x="3594044" y="4329799"/>
                      <a:pt x="3606868" y="4329799"/>
                    </a:cubicBezTo>
                    <a:cubicBezTo>
                      <a:pt x="3619689" y="4329799"/>
                      <a:pt x="3630045" y="4319444"/>
                      <a:pt x="3630045" y="4306622"/>
                    </a:cubicBezTo>
                    <a:close/>
                    <a:moveTo>
                      <a:pt x="3634482" y="365612"/>
                    </a:moveTo>
                    <a:cubicBezTo>
                      <a:pt x="3634482" y="348600"/>
                      <a:pt x="3620673" y="334792"/>
                      <a:pt x="3603660" y="334792"/>
                    </a:cubicBezTo>
                    <a:cubicBezTo>
                      <a:pt x="3586892" y="334792"/>
                      <a:pt x="3573085" y="348600"/>
                      <a:pt x="3573085" y="365612"/>
                    </a:cubicBezTo>
                    <a:cubicBezTo>
                      <a:pt x="3573085" y="382378"/>
                      <a:pt x="3586647" y="396187"/>
                      <a:pt x="3603660" y="396187"/>
                    </a:cubicBezTo>
                    <a:cubicBezTo>
                      <a:pt x="3620673" y="396187"/>
                      <a:pt x="3634482" y="382378"/>
                      <a:pt x="3634482" y="365612"/>
                    </a:cubicBezTo>
                    <a:close/>
                    <a:moveTo>
                      <a:pt x="3634484" y="257142"/>
                    </a:moveTo>
                    <a:cubicBezTo>
                      <a:pt x="3634484" y="240129"/>
                      <a:pt x="3620676" y="226321"/>
                      <a:pt x="3603660" y="226321"/>
                    </a:cubicBezTo>
                    <a:cubicBezTo>
                      <a:pt x="3586647" y="226321"/>
                      <a:pt x="3572839" y="240129"/>
                      <a:pt x="3572839" y="257142"/>
                    </a:cubicBezTo>
                    <a:cubicBezTo>
                      <a:pt x="3572839" y="274154"/>
                      <a:pt x="3586647" y="287964"/>
                      <a:pt x="3603660" y="287964"/>
                    </a:cubicBezTo>
                    <a:cubicBezTo>
                      <a:pt x="3620676" y="287964"/>
                      <a:pt x="3634484" y="274154"/>
                      <a:pt x="3634484" y="257142"/>
                    </a:cubicBezTo>
                    <a:close/>
                    <a:moveTo>
                      <a:pt x="3634729" y="39959"/>
                    </a:moveTo>
                    <a:cubicBezTo>
                      <a:pt x="3634729" y="22452"/>
                      <a:pt x="3620675" y="8399"/>
                      <a:pt x="3603169" y="8399"/>
                    </a:cubicBezTo>
                    <a:cubicBezTo>
                      <a:pt x="3585661" y="8399"/>
                      <a:pt x="3571607" y="22699"/>
                      <a:pt x="3571607" y="39959"/>
                    </a:cubicBezTo>
                    <a:cubicBezTo>
                      <a:pt x="3571607" y="57466"/>
                      <a:pt x="3585907" y="71519"/>
                      <a:pt x="3603169" y="71519"/>
                    </a:cubicBezTo>
                    <a:cubicBezTo>
                      <a:pt x="3620675" y="71519"/>
                      <a:pt x="3634729" y="57466"/>
                      <a:pt x="3634729" y="39959"/>
                    </a:cubicBezTo>
                    <a:close/>
                    <a:moveTo>
                      <a:pt x="3636207" y="148427"/>
                    </a:moveTo>
                    <a:cubicBezTo>
                      <a:pt x="3636207" y="130675"/>
                      <a:pt x="3621659" y="116126"/>
                      <a:pt x="3603660" y="116126"/>
                    </a:cubicBezTo>
                    <a:cubicBezTo>
                      <a:pt x="3585907" y="116126"/>
                      <a:pt x="3571358" y="130675"/>
                      <a:pt x="3571358" y="148427"/>
                    </a:cubicBezTo>
                    <a:cubicBezTo>
                      <a:pt x="3571358" y="166426"/>
                      <a:pt x="3585907" y="180973"/>
                      <a:pt x="3603660" y="180973"/>
                    </a:cubicBezTo>
                    <a:cubicBezTo>
                      <a:pt x="3621659" y="180973"/>
                      <a:pt x="3636207" y="166426"/>
                      <a:pt x="3636207" y="148427"/>
                    </a:cubicBezTo>
                    <a:close/>
                    <a:moveTo>
                      <a:pt x="3637195" y="1450898"/>
                    </a:moveTo>
                    <a:cubicBezTo>
                      <a:pt x="3637195" y="1432160"/>
                      <a:pt x="3621906" y="1416875"/>
                      <a:pt x="3603169" y="1416875"/>
                    </a:cubicBezTo>
                    <a:cubicBezTo>
                      <a:pt x="3584427" y="1416875"/>
                      <a:pt x="3569141" y="1432160"/>
                      <a:pt x="3569141" y="1450898"/>
                    </a:cubicBezTo>
                    <a:cubicBezTo>
                      <a:pt x="3569141" y="1469641"/>
                      <a:pt x="3584427" y="1484931"/>
                      <a:pt x="3603169" y="1484931"/>
                    </a:cubicBezTo>
                    <a:cubicBezTo>
                      <a:pt x="3621906" y="1484931"/>
                      <a:pt x="3636949" y="1469641"/>
                      <a:pt x="3637195" y="1450898"/>
                    </a:cubicBezTo>
                    <a:close/>
                    <a:moveTo>
                      <a:pt x="3638180" y="1342178"/>
                    </a:moveTo>
                    <a:cubicBezTo>
                      <a:pt x="3638180" y="1322696"/>
                      <a:pt x="3622154" y="1306668"/>
                      <a:pt x="3602673" y="1306668"/>
                    </a:cubicBezTo>
                    <a:cubicBezTo>
                      <a:pt x="3583193" y="1306668"/>
                      <a:pt x="3567167" y="1322696"/>
                      <a:pt x="3567167" y="1342178"/>
                    </a:cubicBezTo>
                    <a:cubicBezTo>
                      <a:pt x="3567167" y="1361656"/>
                      <a:pt x="3583193" y="1377684"/>
                      <a:pt x="3602673" y="1377684"/>
                    </a:cubicBezTo>
                    <a:cubicBezTo>
                      <a:pt x="3622154" y="1377684"/>
                      <a:pt x="3638180" y="1361656"/>
                      <a:pt x="3638180" y="1342178"/>
                    </a:cubicBezTo>
                    <a:close/>
                    <a:moveTo>
                      <a:pt x="3638180" y="1994278"/>
                    </a:moveTo>
                    <a:cubicBezTo>
                      <a:pt x="3638180" y="1976282"/>
                      <a:pt x="3623383" y="1961490"/>
                      <a:pt x="3605384" y="1961490"/>
                    </a:cubicBezTo>
                    <a:cubicBezTo>
                      <a:pt x="3587385" y="1961490"/>
                      <a:pt x="3572590" y="1976282"/>
                      <a:pt x="3572590" y="1994278"/>
                    </a:cubicBezTo>
                    <a:cubicBezTo>
                      <a:pt x="3572590" y="2012277"/>
                      <a:pt x="3587385" y="2027072"/>
                      <a:pt x="3605384" y="2027072"/>
                    </a:cubicBezTo>
                    <a:cubicBezTo>
                      <a:pt x="3623383" y="2027072"/>
                      <a:pt x="3638180" y="2012277"/>
                      <a:pt x="3638180" y="1994278"/>
                    </a:cubicBezTo>
                    <a:close/>
                    <a:moveTo>
                      <a:pt x="3638427" y="2867857"/>
                    </a:moveTo>
                    <a:cubicBezTo>
                      <a:pt x="3638427" y="2848871"/>
                      <a:pt x="3623141" y="2833583"/>
                      <a:pt x="3604155" y="2833583"/>
                    </a:cubicBezTo>
                    <a:cubicBezTo>
                      <a:pt x="3585167" y="2833583"/>
                      <a:pt x="3569880" y="2848871"/>
                      <a:pt x="3569880" y="2867857"/>
                    </a:cubicBezTo>
                    <a:cubicBezTo>
                      <a:pt x="3569880" y="2886843"/>
                      <a:pt x="3585167" y="2902131"/>
                      <a:pt x="3604155" y="2902131"/>
                    </a:cubicBezTo>
                    <a:cubicBezTo>
                      <a:pt x="3622895" y="2902131"/>
                      <a:pt x="3638427" y="2886597"/>
                      <a:pt x="3638427" y="2867857"/>
                    </a:cubicBezTo>
                    <a:close/>
                    <a:moveTo>
                      <a:pt x="3640399" y="2978562"/>
                    </a:moveTo>
                    <a:cubicBezTo>
                      <a:pt x="3640399" y="2958837"/>
                      <a:pt x="3624372" y="2942564"/>
                      <a:pt x="3604398" y="2942564"/>
                    </a:cubicBezTo>
                    <a:cubicBezTo>
                      <a:pt x="3584674" y="2942564"/>
                      <a:pt x="3568399" y="2958591"/>
                      <a:pt x="3568399" y="2978562"/>
                    </a:cubicBezTo>
                    <a:cubicBezTo>
                      <a:pt x="3568399" y="2998289"/>
                      <a:pt x="3584426" y="3014564"/>
                      <a:pt x="3604398" y="3014564"/>
                    </a:cubicBezTo>
                    <a:cubicBezTo>
                      <a:pt x="3624123" y="3014564"/>
                      <a:pt x="3640399" y="2998289"/>
                      <a:pt x="3640399" y="2978562"/>
                    </a:cubicBezTo>
                    <a:close/>
                    <a:moveTo>
                      <a:pt x="3641139" y="4743057"/>
                    </a:moveTo>
                    <a:cubicBezTo>
                      <a:pt x="3641139" y="4724812"/>
                      <a:pt x="3626345" y="4710017"/>
                      <a:pt x="3608098" y="4710017"/>
                    </a:cubicBezTo>
                    <a:cubicBezTo>
                      <a:pt x="3589852" y="4710017"/>
                      <a:pt x="3575058" y="4724812"/>
                      <a:pt x="3575058" y="4743057"/>
                    </a:cubicBezTo>
                    <a:cubicBezTo>
                      <a:pt x="3575058" y="4761305"/>
                      <a:pt x="3589852" y="4776099"/>
                      <a:pt x="3608098" y="4776099"/>
                    </a:cubicBezTo>
                    <a:cubicBezTo>
                      <a:pt x="3626345" y="4776099"/>
                      <a:pt x="3641139" y="4761305"/>
                      <a:pt x="3641139" y="4743057"/>
                    </a:cubicBezTo>
                    <a:close/>
                    <a:moveTo>
                      <a:pt x="3644836" y="4416099"/>
                    </a:moveTo>
                    <a:cubicBezTo>
                      <a:pt x="3644836" y="4394891"/>
                      <a:pt x="3627577" y="4377878"/>
                      <a:pt x="3606619" y="4377878"/>
                    </a:cubicBezTo>
                    <a:cubicBezTo>
                      <a:pt x="3585412" y="4377878"/>
                      <a:pt x="3568399" y="4395137"/>
                      <a:pt x="3568399" y="4416099"/>
                    </a:cubicBezTo>
                    <a:cubicBezTo>
                      <a:pt x="3568399" y="4437056"/>
                      <a:pt x="3585658" y="4454318"/>
                      <a:pt x="3606619" y="4454318"/>
                    </a:cubicBezTo>
                    <a:cubicBezTo>
                      <a:pt x="3627577" y="4454318"/>
                      <a:pt x="3644836" y="4437056"/>
                      <a:pt x="3644836" y="4416099"/>
                    </a:cubicBezTo>
                    <a:close/>
                    <a:moveTo>
                      <a:pt x="3651743" y="4525086"/>
                    </a:moveTo>
                    <a:cubicBezTo>
                      <a:pt x="3651743" y="4500429"/>
                      <a:pt x="3631771" y="4480457"/>
                      <a:pt x="3607114" y="4480457"/>
                    </a:cubicBezTo>
                    <a:cubicBezTo>
                      <a:pt x="3582702" y="4480457"/>
                      <a:pt x="3562731" y="4500429"/>
                      <a:pt x="3562731" y="4525086"/>
                    </a:cubicBezTo>
                    <a:cubicBezTo>
                      <a:pt x="3562731" y="4549744"/>
                      <a:pt x="3582702" y="4569716"/>
                      <a:pt x="3607114" y="4569716"/>
                    </a:cubicBezTo>
                    <a:cubicBezTo>
                      <a:pt x="3631525" y="4569716"/>
                      <a:pt x="3651497" y="4549744"/>
                      <a:pt x="3651743" y="4525086"/>
                    </a:cubicBezTo>
                    <a:close/>
                    <a:moveTo>
                      <a:pt x="3658893" y="4851798"/>
                    </a:moveTo>
                    <a:cubicBezTo>
                      <a:pt x="3658893" y="4823936"/>
                      <a:pt x="3636209" y="4801497"/>
                      <a:pt x="3608592" y="4801497"/>
                    </a:cubicBezTo>
                    <a:cubicBezTo>
                      <a:pt x="3580729" y="4801497"/>
                      <a:pt x="3558290" y="4824182"/>
                      <a:pt x="3558290" y="4851798"/>
                    </a:cubicBezTo>
                    <a:cubicBezTo>
                      <a:pt x="3558290" y="4879661"/>
                      <a:pt x="3580976" y="4902100"/>
                      <a:pt x="3608592" y="4902100"/>
                    </a:cubicBezTo>
                    <a:cubicBezTo>
                      <a:pt x="3636209" y="4902100"/>
                      <a:pt x="3658893" y="4879415"/>
                      <a:pt x="3658893" y="4851798"/>
                    </a:cubicBezTo>
                    <a:close/>
                    <a:moveTo>
                      <a:pt x="3673441" y="2218160"/>
                    </a:moveTo>
                    <a:cubicBezTo>
                      <a:pt x="3673441" y="2211996"/>
                      <a:pt x="3668264" y="2206819"/>
                      <a:pt x="3662100" y="2206819"/>
                    </a:cubicBezTo>
                    <a:cubicBezTo>
                      <a:pt x="3655934" y="2206819"/>
                      <a:pt x="3650757" y="2211996"/>
                      <a:pt x="3650757" y="2218160"/>
                    </a:cubicBezTo>
                    <a:cubicBezTo>
                      <a:pt x="3650757" y="2224327"/>
                      <a:pt x="3655934" y="2229504"/>
                      <a:pt x="3662100" y="2229504"/>
                    </a:cubicBezTo>
                    <a:cubicBezTo>
                      <a:pt x="3668510" y="2229504"/>
                      <a:pt x="3673441" y="2224572"/>
                      <a:pt x="3673441" y="2218160"/>
                    </a:cubicBezTo>
                    <a:close/>
                    <a:moveTo>
                      <a:pt x="3681332" y="2658767"/>
                    </a:moveTo>
                    <a:cubicBezTo>
                      <a:pt x="3681332" y="2649399"/>
                      <a:pt x="3673688" y="2641754"/>
                      <a:pt x="3664317" y="2641754"/>
                    </a:cubicBezTo>
                    <a:cubicBezTo>
                      <a:pt x="3654948" y="2641754"/>
                      <a:pt x="3647304" y="2649399"/>
                      <a:pt x="3647304" y="2658767"/>
                    </a:cubicBezTo>
                    <a:cubicBezTo>
                      <a:pt x="3647304" y="2668139"/>
                      <a:pt x="3654948" y="2675783"/>
                      <a:pt x="3664317" y="2675783"/>
                    </a:cubicBezTo>
                    <a:cubicBezTo>
                      <a:pt x="3673933" y="2675783"/>
                      <a:pt x="3681578" y="2668139"/>
                      <a:pt x="3681332" y="2658767"/>
                    </a:cubicBezTo>
                    <a:close/>
                    <a:moveTo>
                      <a:pt x="3681824" y="2108934"/>
                    </a:moveTo>
                    <a:cubicBezTo>
                      <a:pt x="3681824" y="2098083"/>
                      <a:pt x="3672950" y="2088960"/>
                      <a:pt x="3661852" y="2088960"/>
                    </a:cubicBezTo>
                    <a:cubicBezTo>
                      <a:pt x="3651002" y="2088960"/>
                      <a:pt x="3641881" y="2097838"/>
                      <a:pt x="3641881" y="2108934"/>
                    </a:cubicBezTo>
                    <a:cubicBezTo>
                      <a:pt x="3641881" y="2120030"/>
                      <a:pt x="3650757" y="2128907"/>
                      <a:pt x="3661852" y="2128907"/>
                    </a:cubicBezTo>
                    <a:cubicBezTo>
                      <a:pt x="3672950" y="2128907"/>
                      <a:pt x="3681824" y="2120030"/>
                      <a:pt x="3681824" y="2108934"/>
                    </a:cubicBezTo>
                    <a:close/>
                    <a:moveTo>
                      <a:pt x="3684784" y="3110728"/>
                    </a:moveTo>
                    <a:cubicBezTo>
                      <a:pt x="3684784" y="3096179"/>
                      <a:pt x="3673196" y="3084344"/>
                      <a:pt x="3658647" y="3084344"/>
                    </a:cubicBezTo>
                    <a:cubicBezTo>
                      <a:pt x="3644098" y="3084344"/>
                      <a:pt x="3632263" y="3096179"/>
                      <a:pt x="3632263" y="3110728"/>
                    </a:cubicBezTo>
                    <a:cubicBezTo>
                      <a:pt x="3632263" y="3125275"/>
                      <a:pt x="3644098" y="3137110"/>
                      <a:pt x="3658647" y="3137110"/>
                    </a:cubicBezTo>
                    <a:cubicBezTo>
                      <a:pt x="3672947" y="3137110"/>
                      <a:pt x="3684784" y="3125275"/>
                      <a:pt x="3684784" y="3110728"/>
                    </a:cubicBezTo>
                    <a:close/>
                    <a:moveTo>
                      <a:pt x="3686757" y="2769723"/>
                    </a:moveTo>
                    <a:cubicBezTo>
                      <a:pt x="3686757" y="2757393"/>
                      <a:pt x="3676647" y="2747283"/>
                      <a:pt x="3664319" y="2747283"/>
                    </a:cubicBezTo>
                    <a:cubicBezTo>
                      <a:pt x="3651989" y="2747283"/>
                      <a:pt x="3641881" y="2757393"/>
                      <a:pt x="3641881" y="2769723"/>
                    </a:cubicBezTo>
                    <a:cubicBezTo>
                      <a:pt x="3641881" y="2782051"/>
                      <a:pt x="3651989" y="2792161"/>
                      <a:pt x="3664319" y="2792161"/>
                    </a:cubicBezTo>
                    <a:cubicBezTo>
                      <a:pt x="3676647" y="2792161"/>
                      <a:pt x="3686757" y="2782051"/>
                      <a:pt x="3686757" y="2769723"/>
                    </a:cubicBezTo>
                    <a:close/>
                    <a:moveTo>
                      <a:pt x="3692922" y="2327878"/>
                    </a:moveTo>
                    <a:cubicBezTo>
                      <a:pt x="3692922" y="2311359"/>
                      <a:pt x="3679359" y="2297797"/>
                      <a:pt x="3662841" y="2297797"/>
                    </a:cubicBezTo>
                    <a:cubicBezTo>
                      <a:pt x="3646319" y="2297797"/>
                      <a:pt x="3632757" y="2311359"/>
                      <a:pt x="3632757" y="2327878"/>
                    </a:cubicBezTo>
                    <a:cubicBezTo>
                      <a:pt x="3632757" y="2344401"/>
                      <a:pt x="3646319" y="2357964"/>
                      <a:pt x="3662841" y="2357964"/>
                    </a:cubicBezTo>
                    <a:cubicBezTo>
                      <a:pt x="3679359" y="2357964"/>
                      <a:pt x="3692922" y="2344401"/>
                      <a:pt x="3692922" y="2327878"/>
                    </a:cubicBezTo>
                    <a:close/>
                    <a:moveTo>
                      <a:pt x="3693905" y="1019951"/>
                    </a:moveTo>
                    <a:cubicBezTo>
                      <a:pt x="3693905" y="1002191"/>
                      <a:pt x="3679359" y="987643"/>
                      <a:pt x="3661606" y="987643"/>
                    </a:cubicBezTo>
                    <a:cubicBezTo>
                      <a:pt x="3643852" y="987643"/>
                      <a:pt x="3629304" y="1002191"/>
                      <a:pt x="3629304" y="1019951"/>
                    </a:cubicBezTo>
                    <a:cubicBezTo>
                      <a:pt x="3629304" y="1037695"/>
                      <a:pt x="3643852" y="1052247"/>
                      <a:pt x="3661606" y="1052247"/>
                    </a:cubicBezTo>
                    <a:cubicBezTo>
                      <a:pt x="3679359" y="1052247"/>
                      <a:pt x="3693659" y="1037695"/>
                      <a:pt x="3693905" y="1019951"/>
                    </a:cubicBezTo>
                    <a:close/>
                    <a:moveTo>
                      <a:pt x="3694894" y="802501"/>
                    </a:moveTo>
                    <a:cubicBezTo>
                      <a:pt x="3694894" y="784255"/>
                      <a:pt x="3680097" y="769705"/>
                      <a:pt x="3662098" y="769705"/>
                    </a:cubicBezTo>
                    <a:cubicBezTo>
                      <a:pt x="3643852" y="769705"/>
                      <a:pt x="3629304" y="784500"/>
                      <a:pt x="3629304" y="802501"/>
                    </a:cubicBezTo>
                    <a:cubicBezTo>
                      <a:pt x="3629304" y="820501"/>
                      <a:pt x="3644098" y="835297"/>
                      <a:pt x="3662098" y="835297"/>
                    </a:cubicBezTo>
                    <a:cubicBezTo>
                      <a:pt x="3680345" y="835297"/>
                      <a:pt x="3694894" y="820749"/>
                      <a:pt x="3694894" y="802501"/>
                    </a:cubicBezTo>
                    <a:close/>
                    <a:moveTo>
                      <a:pt x="3696866" y="911467"/>
                    </a:moveTo>
                    <a:cubicBezTo>
                      <a:pt x="3696866" y="891989"/>
                      <a:pt x="3681085" y="876204"/>
                      <a:pt x="3661606" y="876204"/>
                    </a:cubicBezTo>
                    <a:cubicBezTo>
                      <a:pt x="3642126" y="876204"/>
                      <a:pt x="3626345" y="891989"/>
                      <a:pt x="3626345" y="911467"/>
                    </a:cubicBezTo>
                    <a:cubicBezTo>
                      <a:pt x="3626345" y="930945"/>
                      <a:pt x="3642126" y="946731"/>
                      <a:pt x="3661606" y="946731"/>
                    </a:cubicBezTo>
                    <a:cubicBezTo>
                      <a:pt x="3681085" y="946731"/>
                      <a:pt x="3696866" y="930699"/>
                      <a:pt x="3696866" y="911467"/>
                    </a:cubicBezTo>
                    <a:close/>
                    <a:moveTo>
                      <a:pt x="3697113" y="476797"/>
                    </a:moveTo>
                    <a:cubicBezTo>
                      <a:pt x="3697113" y="457317"/>
                      <a:pt x="3681086" y="441290"/>
                      <a:pt x="3661606" y="441290"/>
                    </a:cubicBezTo>
                    <a:cubicBezTo>
                      <a:pt x="3642126" y="441290"/>
                      <a:pt x="3626099" y="457317"/>
                      <a:pt x="3626099" y="476797"/>
                    </a:cubicBezTo>
                    <a:cubicBezTo>
                      <a:pt x="3626099" y="496276"/>
                      <a:pt x="3642126" y="512302"/>
                      <a:pt x="3661606" y="512302"/>
                    </a:cubicBezTo>
                    <a:cubicBezTo>
                      <a:pt x="3681086" y="512302"/>
                      <a:pt x="3697113" y="496276"/>
                      <a:pt x="3697113" y="476797"/>
                    </a:cubicBezTo>
                    <a:close/>
                    <a:moveTo>
                      <a:pt x="3697359" y="2548062"/>
                    </a:moveTo>
                    <a:cubicBezTo>
                      <a:pt x="3697359" y="2529569"/>
                      <a:pt x="3682318" y="2514773"/>
                      <a:pt x="3664074" y="2514773"/>
                    </a:cubicBezTo>
                    <a:cubicBezTo>
                      <a:pt x="3645579" y="2514773"/>
                      <a:pt x="3630785" y="2529813"/>
                      <a:pt x="3630785" y="2548062"/>
                    </a:cubicBezTo>
                    <a:cubicBezTo>
                      <a:pt x="3630785" y="2566307"/>
                      <a:pt x="3645825" y="2581348"/>
                      <a:pt x="3664074" y="2581348"/>
                    </a:cubicBezTo>
                    <a:cubicBezTo>
                      <a:pt x="3682566" y="2581348"/>
                      <a:pt x="3697359" y="2566307"/>
                      <a:pt x="3697359" y="2548062"/>
                    </a:cubicBezTo>
                    <a:close/>
                    <a:moveTo>
                      <a:pt x="3697605" y="585515"/>
                    </a:moveTo>
                    <a:cubicBezTo>
                      <a:pt x="3697605" y="565789"/>
                      <a:pt x="3681579" y="549517"/>
                      <a:pt x="3661607" y="549517"/>
                    </a:cubicBezTo>
                    <a:cubicBezTo>
                      <a:pt x="3641881" y="549517"/>
                      <a:pt x="3625605" y="565543"/>
                      <a:pt x="3625605" y="585515"/>
                    </a:cubicBezTo>
                    <a:cubicBezTo>
                      <a:pt x="3625605" y="605240"/>
                      <a:pt x="3641632" y="621515"/>
                      <a:pt x="3661607" y="621515"/>
                    </a:cubicBezTo>
                    <a:cubicBezTo>
                      <a:pt x="3681579" y="621515"/>
                      <a:pt x="3697605" y="605240"/>
                      <a:pt x="3697605" y="585515"/>
                    </a:cubicBezTo>
                    <a:close/>
                    <a:moveTo>
                      <a:pt x="3699331" y="694028"/>
                    </a:moveTo>
                    <a:cubicBezTo>
                      <a:pt x="3699331" y="673554"/>
                      <a:pt x="3682564" y="656792"/>
                      <a:pt x="3662098" y="656792"/>
                    </a:cubicBezTo>
                    <a:cubicBezTo>
                      <a:pt x="3641631" y="656792"/>
                      <a:pt x="3624864" y="673554"/>
                      <a:pt x="3624864" y="694028"/>
                    </a:cubicBezTo>
                    <a:cubicBezTo>
                      <a:pt x="3624864" y="714487"/>
                      <a:pt x="3641631" y="731259"/>
                      <a:pt x="3662098" y="731259"/>
                    </a:cubicBezTo>
                    <a:cubicBezTo>
                      <a:pt x="3682564" y="731259"/>
                      <a:pt x="3699082" y="714487"/>
                      <a:pt x="3699331" y="694028"/>
                    </a:cubicBezTo>
                    <a:close/>
                    <a:moveTo>
                      <a:pt x="3700564" y="1128671"/>
                    </a:moveTo>
                    <a:cubicBezTo>
                      <a:pt x="3700564" y="1107216"/>
                      <a:pt x="3683057" y="1089713"/>
                      <a:pt x="3661607" y="1089713"/>
                    </a:cubicBezTo>
                    <a:cubicBezTo>
                      <a:pt x="3640154" y="1089713"/>
                      <a:pt x="3622646" y="1107216"/>
                      <a:pt x="3622646" y="1128671"/>
                    </a:cubicBezTo>
                    <a:cubicBezTo>
                      <a:pt x="3622646" y="1150120"/>
                      <a:pt x="3640154" y="1167628"/>
                      <a:pt x="3661607" y="1167628"/>
                    </a:cubicBezTo>
                    <a:cubicBezTo>
                      <a:pt x="3683057" y="1167628"/>
                      <a:pt x="3700564" y="1150120"/>
                      <a:pt x="3700564" y="1128671"/>
                    </a:cubicBezTo>
                    <a:close/>
                    <a:moveTo>
                      <a:pt x="3701303" y="1237395"/>
                    </a:moveTo>
                    <a:cubicBezTo>
                      <a:pt x="3701303" y="1215450"/>
                      <a:pt x="3683550" y="1197696"/>
                      <a:pt x="3661603" y="1197696"/>
                    </a:cubicBezTo>
                    <a:cubicBezTo>
                      <a:pt x="3639659" y="1197696"/>
                      <a:pt x="3621905" y="1215450"/>
                      <a:pt x="3621905" y="1237395"/>
                    </a:cubicBezTo>
                    <a:cubicBezTo>
                      <a:pt x="3621905" y="1259335"/>
                      <a:pt x="3639659" y="1277094"/>
                      <a:pt x="3661603" y="1277094"/>
                    </a:cubicBezTo>
                    <a:cubicBezTo>
                      <a:pt x="3683550" y="1277094"/>
                      <a:pt x="3701303" y="1259335"/>
                      <a:pt x="3701303" y="1237395"/>
                    </a:cubicBezTo>
                    <a:close/>
                    <a:moveTo>
                      <a:pt x="3705742" y="2437603"/>
                    </a:moveTo>
                    <a:cubicBezTo>
                      <a:pt x="3705742" y="2414423"/>
                      <a:pt x="3686755" y="2395437"/>
                      <a:pt x="3663579" y="2395437"/>
                    </a:cubicBezTo>
                    <a:cubicBezTo>
                      <a:pt x="3640399" y="2395437"/>
                      <a:pt x="3621414" y="2414423"/>
                      <a:pt x="3621414" y="2437603"/>
                    </a:cubicBezTo>
                    <a:cubicBezTo>
                      <a:pt x="3621414" y="2460778"/>
                      <a:pt x="3640399" y="2479763"/>
                      <a:pt x="3663579" y="2479763"/>
                    </a:cubicBezTo>
                    <a:cubicBezTo>
                      <a:pt x="3686755" y="2479763"/>
                      <a:pt x="3705495" y="2461025"/>
                      <a:pt x="3705742" y="2437603"/>
                    </a:cubicBezTo>
                    <a:close/>
                    <a:moveTo>
                      <a:pt x="3722755" y="1678957"/>
                    </a:moveTo>
                    <a:cubicBezTo>
                      <a:pt x="3722755" y="1677231"/>
                      <a:pt x="3721276" y="1675751"/>
                      <a:pt x="3719550" y="1675751"/>
                    </a:cubicBezTo>
                    <a:cubicBezTo>
                      <a:pt x="3717823" y="1675751"/>
                      <a:pt x="3716345" y="1677231"/>
                      <a:pt x="3716345" y="1678957"/>
                    </a:cubicBezTo>
                    <a:cubicBezTo>
                      <a:pt x="3716345" y="1680685"/>
                      <a:pt x="3717823" y="1682166"/>
                      <a:pt x="3719550" y="1682166"/>
                    </a:cubicBezTo>
                    <a:cubicBezTo>
                      <a:pt x="3721276" y="1682166"/>
                      <a:pt x="3722755" y="1680685"/>
                      <a:pt x="3722755" y="1678957"/>
                    </a:cubicBezTo>
                    <a:close/>
                    <a:moveTo>
                      <a:pt x="3723989" y="4055852"/>
                    </a:moveTo>
                    <a:cubicBezTo>
                      <a:pt x="3723989" y="4050920"/>
                      <a:pt x="3719796" y="4046729"/>
                      <a:pt x="3714864" y="4046729"/>
                    </a:cubicBezTo>
                    <a:cubicBezTo>
                      <a:pt x="3709933" y="4046729"/>
                      <a:pt x="3705742" y="4050920"/>
                      <a:pt x="3705742" y="4055852"/>
                    </a:cubicBezTo>
                    <a:cubicBezTo>
                      <a:pt x="3705742" y="4060783"/>
                      <a:pt x="3709687" y="4064975"/>
                      <a:pt x="3714864" y="4064975"/>
                    </a:cubicBezTo>
                    <a:cubicBezTo>
                      <a:pt x="3719796" y="4064975"/>
                      <a:pt x="3723989" y="4060783"/>
                      <a:pt x="3723989" y="4055852"/>
                    </a:cubicBezTo>
                    <a:close/>
                    <a:moveTo>
                      <a:pt x="3727439" y="5275168"/>
                    </a:moveTo>
                    <a:lnTo>
                      <a:pt x="3727194" y="5274923"/>
                    </a:lnTo>
                    <a:lnTo>
                      <a:pt x="3727194" y="5275168"/>
                    </a:lnTo>
                    <a:close/>
                    <a:moveTo>
                      <a:pt x="3729415" y="6147554"/>
                    </a:moveTo>
                    <a:cubicBezTo>
                      <a:pt x="3729415" y="6146073"/>
                      <a:pt x="3728180" y="6144841"/>
                      <a:pt x="3726702" y="6144841"/>
                    </a:cubicBezTo>
                    <a:cubicBezTo>
                      <a:pt x="3725222" y="6144841"/>
                      <a:pt x="3723989" y="6146073"/>
                      <a:pt x="3723989" y="6147554"/>
                    </a:cubicBezTo>
                    <a:cubicBezTo>
                      <a:pt x="3723989" y="6149032"/>
                      <a:pt x="3725222" y="6150268"/>
                      <a:pt x="3726702" y="6150268"/>
                    </a:cubicBezTo>
                    <a:cubicBezTo>
                      <a:pt x="3728180" y="6150268"/>
                      <a:pt x="3729415" y="6149279"/>
                      <a:pt x="3729415" y="6147554"/>
                    </a:cubicBezTo>
                    <a:close/>
                    <a:moveTo>
                      <a:pt x="3729415" y="6365527"/>
                    </a:moveTo>
                    <a:cubicBezTo>
                      <a:pt x="3729415" y="6364293"/>
                      <a:pt x="3728429" y="6363306"/>
                      <a:pt x="3727196" y="6363306"/>
                    </a:cubicBezTo>
                    <a:cubicBezTo>
                      <a:pt x="3725716" y="6363306"/>
                      <a:pt x="3724729" y="6364293"/>
                      <a:pt x="3724729" y="6365527"/>
                    </a:cubicBezTo>
                    <a:cubicBezTo>
                      <a:pt x="3724729" y="6366759"/>
                      <a:pt x="3725961" y="6367746"/>
                      <a:pt x="3727196" y="6367746"/>
                    </a:cubicBezTo>
                    <a:cubicBezTo>
                      <a:pt x="3728429" y="6367746"/>
                      <a:pt x="3729661" y="6366511"/>
                      <a:pt x="3729415" y="6365527"/>
                    </a:cubicBezTo>
                    <a:close/>
                    <a:moveTo>
                      <a:pt x="3729660" y="6256543"/>
                    </a:moveTo>
                    <a:cubicBezTo>
                      <a:pt x="3729660" y="6255061"/>
                      <a:pt x="3728426" y="6253829"/>
                      <a:pt x="3726948" y="6253829"/>
                    </a:cubicBezTo>
                    <a:cubicBezTo>
                      <a:pt x="3725467" y="6253829"/>
                      <a:pt x="3724235" y="6255061"/>
                      <a:pt x="3724235" y="6256543"/>
                    </a:cubicBezTo>
                    <a:cubicBezTo>
                      <a:pt x="3724235" y="6258021"/>
                      <a:pt x="3725467" y="6259253"/>
                      <a:pt x="3726948" y="6259253"/>
                    </a:cubicBezTo>
                    <a:cubicBezTo>
                      <a:pt x="3728426" y="6259253"/>
                      <a:pt x="3729660" y="6258021"/>
                      <a:pt x="3729660" y="6256543"/>
                    </a:cubicBezTo>
                    <a:close/>
                    <a:moveTo>
                      <a:pt x="3729660" y="6474021"/>
                    </a:moveTo>
                    <a:cubicBezTo>
                      <a:pt x="3729660" y="6472540"/>
                      <a:pt x="3728675" y="6471553"/>
                      <a:pt x="3727196" y="6471553"/>
                    </a:cubicBezTo>
                    <a:cubicBezTo>
                      <a:pt x="3725715" y="6471553"/>
                      <a:pt x="3724729" y="6472786"/>
                      <a:pt x="3724729" y="6474021"/>
                    </a:cubicBezTo>
                    <a:cubicBezTo>
                      <a:pt x="3724729" y="6475252"/>
                      <a:pt x="3725961" y="6476484"/>
                      <a:pt x="3727196" y="6476484"/>
                    </a:cubicBezTo>
                    <a:cubicBezTo>
                      <a:pt x="3728428" y="6476484"/>
                      <a:pt x="3729660" y="6475499"/>
                      <a:pt x="3729660" y="6474021"/>
                    </a:cubicBezTo>
                    <a:close/>
                    <a:moveTo>
                      <a:pt x="3730398" y="3938728"/>
                    </a:moveTo>
                    <a:cubicBezTo>
                      <a:pt x="3730398" y="3928865"/>
                      <a:pt x="3722262" y="3920729"/>
                      <a:pt x="3712398" y="3920729"/>
                    </a:cubicBezTo>
                    <a:cubicBezTo>
                      <a:pt x="3702535" y="3920729"/>
                      <a:pt x="3694400" y="3928865"/>
                      <a:pt x="3694400" y="3938728"/>
                    </a:cubicBezTo>
                    <a:cubicBezTo>
                      <a:pt x="3694400" y="3948591"/>
                      <a:pt x="3702535" y="3956727"/>
                      <a:pt x="3712398" y="3956727"/>
                    </a:cubicBezTo>
                    <a:cubicBezTo>
                      <a:pt x="3722262" y="3956727"/>
                      <a:pt x="3730398" y="3948591"/>
                      <a:pt x="3730398" y="3938728"/>
                    </a:cubicBezTo>
                    <a:close/>
                    <a:moveTo>
                      <a:pt x="3730647" y="5493636"/>
                    </a:moveTo>
                    <a:cubicBezTo>
                      <a:pt x="3730647" y="5492155"/>
                      <a:pt x="3729413" y="5490923"/>
                      <a:pt x="3727935" y="5490923"/>
                    </a:cubicBezTo>
                    <a:cubicBezTo>
                      <a:pt x="3726454" y="5490923"/>
                      <a:pt x="3725222" y="5492155"/>
                      <a:pt x="3725222" y="5493636"/>
                    </a:cubicBezTo>
                    <a:cubicBezTo>
                      <a:pt x="3725222" y="5495114"/>
                      <a:pt x="3726454" y="5496350"/>
                      <a:pt x="3727935" y="5496350"/>
                    </a:cubicBezTo>
                    <a:cubicBezTo>
                      <a:pt x="3729413" y="5496350"/>
                      <a:pt x="3730647" y="5495114"/>
                      <a:pt x="3730647" y="5493636"/>
                    </a:cubicBezTo>
                    <a:close/>
                    <a:moveTo>
                      <a:pt x="3730893" y="5384157"/>
                    </a:moveTo>
                    <a:cubicBezTo>
                      <a:pt x="3730893" y="5382676"/>
                      <a:pt x="3729658" y="5381443"/>
                      <a:pt x="3728180" y="5381443"/>
                    </a:cubicBezTo>
                    <a:cubicBezTo>
                      <a:pt x="3726454" y="5381443"/>
                      <a:pt x="3725222" y="5382676"/>
                      <a:pt x="3725222" y="5384157"/>
                    </a:cubicBezTo>
                    <a:cubicBezTo>
                      <a:pt x="3725222" y="5385883"/>
                      <a:pt x="3726454" y="5387115"/>
                      <a:pt x="3728180" y="5387115"/>
                    </a:cubicBezTo>
                    <a:cubicBezTo>
                      <a:pt x="3729658" y="5387115"/>
                      <a:pt x="3730893" y="5385883"/>
                      <a:pt x="3730893" y="5384157"/>
                    </a:cubicBezTo>
                    <a:close/>
                    <a:moveTo>
                      <a:pt x="3730893" y="6800241"/>
                    </a:moveTo>
                    <a:cubicBezTo>
                      <a:pt x="3730893" y="6798760"/>
                      <a:pt x="3729657" y="6797528"/>
                      <a:pt x="3728179" y="6797528"/>
                    </a:cubicBezTo>
                    <a:cubicBezTo>
                      <a:pt x="3726699" y="6797528"/>
                      <a:pt x="3725467" y="6798760"/>
                      <a:pt x="3725467" y="6800241"/>
                    </a:cubicBezTo>
                    <a:cubicBezTo>
                      <a:pt x="3725467" y="6801719"/>
                      <a:pt x="3726699" y="6802954"/>
                      <a:pt x="3728179" y="6802954"/>
                    </a:cubicBezTo>
                    <a:cubicBezTo>
                      <a:pt x="3729906" y="6802954"/>
                      <a:pt x="3731138" y="6801719"/>
                      <a:pt x="3730893" y="6800241"/>
                    </a:cubicBezTo>
                    <a:close/>
                    <a:moveTo>
                      <a:pt x="3731385" y="6038813"/>
                    </a:moveTo>
                    <a:cubicBezTo>
                      <a:pt x="3731385" y="6037086"/>
                      <a:pt x="3730153" y="6035854"/>
                      <a:pt x="3728426" y="6035854"/>
                    </a:cubicBezTo>
                    <a:cubicBezTo>
                      <a:pt x="3726699" y="6035854"/>
                      <a:pt x="3725467" y="6037086"/>
                      <a:pt x="3725467" y="6038813"/>
                    </a:cubicBezTo>
                    <a:cubicBezTo>
                      <a:pt x="3725467" y="6040294"/>
                      <a:pt x="3726699" y="6041771"/>
                      <a:pt x="3728426" y="6041771"/>
                    </a:cubicBezTo>
                    <a:cubicBezTo>
                      <a:pt x="3729907" y="6041771"/>
                      <a:pt x="3731385" y="6040294"/>
                      <a:pt x="3731385" y="6038813"/>
                    </a:cubicBezTo>
                    <a:close/>
                    <a:moveTo>
                      <a:pt x="3731635" y="5056458"/>
                    </a:moveTo>
                    <a:cubicBezTo>
                      <a:pt x="3731635" y="5053250"/>
                      <a:pt x="3729170" y="5050786"/>
                      <a:pt x="3726210" y="5050786"/>
                    </a:cubicBezTo>
                    <a:cubicBezTo>
                      <a:pt x="3723251" y="5050786"/>
                      <a:pt x="3720785" y="5053499"/>
                      <a:pt x="3720785" y="5056458"/>
                    </a:cubicBezTo>
                    <a:cubicBezTo>
                      <a:pt x="3720785" y="5059417"/>
                      <a:pt x="3723251" y="5061881"/>
                      <a:pt x="3726210" y="5061881"/>
                    </a:cubicBezTo>
                    <a:cubicBezTo>
                      <a:pt x="3729416" y="5061881"/>
                      <a:pt x="3731880" y="5059417"/>
                      <a:pt x="3731635" y="5056458"/>
                    </a:cubicBezTo>
                    <a:close/>
                    <a:moveTo>
                      <a:pt x="3731879" y="6691499"/>
                    </a:moveTo>
                    <a:cubicBezTo>
                      <a:pt x="3731879" y="6689772"/>
                      <a:pt x="3730398" y="6688540"/>
                      <a:pt x="3728920" y="6688540"/>
                    </a:cubicBezTo>
                    <a:cubicBezTo>
                      <a:pt x="3727194" y="6688540"/>
                      <a:pt x="3725961" y="6689772"/>
                      <a:pt x="3725961" y="6691499"/>
                    </a:cubicBezTo>
                    <a:cubicBezTo>
                      <a:pt x="3725961" y="6693226"/>
                      <a:pt x="3727194" y="6694458"/>
                      <a:pt x="3728920" y="6694458"/>
                    </a:cubicBezTo>
                    <a:cubicBezTo>
                      <a:pt x="3730647" y="6694458"/>
                      <a:pt x="3731879" y="6692980"/>
                      <a:pt x="3731879" y="6691499"/>
                    </a:cubicBezTo>
                    <a:close/>
                    <a:moveTo>
                      <a:pt x="3731879" y="6908732"/>
                    </a:moveTo>
                    <a:cubicBezTo>
                      <a:pt x="3731879" y="6907005"/>
                      <a:pt x="3730399" y="6905773"/>
                      <a:pt x="3728920" y="6905773"/>
                    </a:cubicBezTo>
                    <a:cubicBezTo>
                      <a:pt x="3727440" y="6905773"/>
                      <a:pt x="3726208" y="6907254"/>
                      <a:pt x="3726208" y="6908732"/>
                    </a:cubicBezTo>
                    <a:cubicBezTo>
                      <a:pt x="3726208" y="6910459"/>
                      <a:pt x="3727440" y="6911691"/>
                      <a:pt x="3728920" y="6911691"/>
                    </a:cubicBezTo>
                    <a:cubicBezTo>
                      <a:pt x="3730399" y="6911691"/>
                      <a:pt x="3731879" y="6910459"/>
                      <a:pt x="3731879" y="6908732"/>
                    </a:cubicBezTo>
                    <a:close/>
                    <a:moveTo>
                      <a:pt x="3732125" y="1788431"/>
                    </a:moveTo>
                    <a:cubicBezTo>
                      <a:pt x="3732125" y="1782029"/>
                      <a:pt x="3726701" y="1776607"/>
                      <a:pt x="3720290" y="1776607"/>
                    </a:cubicBezTo>
                    <a:cubicBezTo>
                      <a:pt x="3713631" y="1776607"/>
                      <a:pt x="3708454" y="1782029"/>
                      <a:pt x="3708454" y="1788431"/>
                    </a:cubicBezTo>
                    <a:cubicBezTo>
                      <a:pt x="3708454" y="1794859"/>
                      <a:pt x="3713879" y="1800288"/>
                      <a:pt x="3720290" y="1800288"/>
                    </a:cubicBezTo>
                    <a:cubicBezTo>
                      <a:pt x="3726701" y="1800288"/>
                      <a:pt x="3732125" y="1795105"/>
                      <a:pt x="3732125" y="1788431"/>
                    </a:cubicBezTo>
                    <a:close/>
                    <a:moveTo>
                      <a:pt x="3732125" y="7017474"/>
                    </a:moveTo>
                    <a:cubicBezTo>
                      <a:pt x="3732125" y="7015747"/>
                      <a:pt x="3730893" y="7014268"/>
                      <a:pt x="3728917" y="7014268"/>
                    </a:cubicBezTo>
                    <a:cubicBezTo>
                      <a:pt x="3726945" y="7014268"/>
                      <a:pt x="3725467" y="7015747"/>
                      <a:pt x="3725467" y="7017474"/>
                    </a:cubicBezTo>
                    <a:cubicBezTo>
                      <a:pt x="3725467" y="7019446"/>
                      <a:pt x="3726945" y="7020927"/>
                      <a:pt x="3728917" y="7020927"/>
                    </a:cubicBezTo>
                    <a:cubicBezTo>
                      <a:pt x="3730645" y="7020927"/>
                      <a:pt x="3732371" y="7019446"/>
                      <a:pt x="3732125" y="7017474"/>
                    </a:cubicBezTo>
                    <a:close/>
                    <a:moveTo>
                      <a:pt x="3732126" y="6582760"/>
                    </a:moveTo>
                    <a:cubicBezTo>
                      <a:pt x="3732126" y="6581033"/>
                      <a:pt x="3730894" y="6579801"/>
                      <a:pt x="3729167" y="6579801"/>
                    </a:cubicBezTo>
                    <a:cubicBezTo>
                      <a:pt x="3727440" y="6579801"/>
                      <a:pt x="3726208" y="6581282"/>
                      <a:pt x="3726208" y="6582760"/>
                    </a:cubicBezTo>
                    <a:cubicBezTo>
                      <a:pt x="3726208" y="6584486"/>
                      <a:pt x="3727686" y="6585718"/>
                      <a:pt x="3729167" y="6585718"/>
                    </a:cubicBezTo>
                    <a:cubicBezTo>
                      <a:pt x="3730648" y="6585718"/>
                      <a:pt x="3731879" y="6584241"/>
                      <a:pt x="3732126" y="6582760"/>
                    </a:cubicBezTo>
                    <a:close/>
                    <a:moveTo>
                      <a:pt x="3732619" y="5820594"/>
                    </a:moveTo>
                    <a:cubicBezTo>
                      <a:pt x="3732619" y="5819113"/>
                      <a:pt x="3731385" y="5817881"/>
                      <a:pt x="3729907" y="5817881"/>
                    </a:cubicBezTo>
                    <a:cubicBezTo>
                      <a:pt x="3728426" y="5817881"/>
                      <a:pt x="3727194" y="5819113"/>
                      <a:pt x="3727194" y="5820594"/>
                    </a:cubicBezTo>
                    <a:cubicBezTo>
                      <a:pt x="3727194" y="5822072"/>
                      <a:pt x="3728426" y="5823308"/>
                      <a:pt x="3729907" y="5823308"/>
                    </a:cubicBezTo>
                    <a:cubicBezTo>
                      <a:pt x="3731385" y="5823308"/>
                      <a:pt x="3732619" y="5822072"/>
                      <a:pt x="3732619" y="5820594"/>
                    </a:cubicBezTo>
                    <a:close/>
                    <a:moveTo>
                      <a:pt x="3732865" y="7126213"/>
                    </a:moveTo>
                    <a:cubicBezTo>
                      <a:pt x="3732865" y="7124489"/>
                      <a:pt x="3731138" y="7122762"/>
                      <a:pt x="3729166" y="7122762"/>
                    </a:cubicBezTo>
                    <a:cubicBezTo>
                      <a:pt x="3727194" y="7122762"/>
                      <a:pt x="3725467" y="7124240"/>
                      <a:pt x="3725467" y="7126213"/>
                    </a:cubicBezTo>
                    <a:cubicBezTo>
                      <a:pt x="3725467" y="7128434"/>
                      <a:pt x="3727194" y="7129912"/>
                      <a:pt x="3729166" y="7129912"/>
                    </a:cubicBezTo>
                    <a:cubicBezTo>
                      <a:pt x="3731138" y="7129912"/>
                      <a:pt x="3732865" y="7128189"/>
                      <a:pt x="3732865" y="7126213"/>
                    </a:cubicBezTo>
                    <a:close/>
                    <a:moveTo>
                      <a:pt x="3733360" y="5929828"/>
                    </a:moveTo>
                    <a:cubicBezTo>
                      <a:pt x="3733360" y="5927361"/>
                      <a:pt x="3731388" y="5925142"/>
                      <a:pt x="3728675" y="5925142"/>
                    </a:cubicBezTo>
                    <a:cubicBezTo>
                      <a:pt x="3726207" y="5925142"/>
                      <a:pt x="3723989" y="5927115"/>
                      <a:pt x="3723989" y="5929828"/>
                    </a:cubicBezTo>
                    <a:cubicBezTo>
                      <a:pt x="3723989" y="5932293"/>
                      <a:pt x="3725961" y="5934514"/>
                      <a:pt x="3728675" y="5934514"/>
                    </a:cubicBezTo>
                    <a:cubicBezTo>
                      <a:pt x="3731388" y="5934514"/>
                      <a:pt x="3733360" y="5932293"/>
                      <a:pt x="3733360" y="5929828"/>
                    </a:cubicBezTo>
                    <a:close/>
                    <a:moveTo>
                      <a:pt x="3733606" y="5711609"/>
                    </a:moveTo>
                    <a:cubicBezTo>
                      <a:pt x="3733606" y="5709636"/>
                      <a:pt x="3731879" y="5707909"/>
                      <a:pt x="3729907" y="5707909"/>
                    </a:cubicBezTo>
                    <a:cubicBezTo>
                      <a:pt x="3727935" y="5707909"/>
                      <a:pt x="3726208" y="5709636"/>
                      <a:pt x="3726208" y="5711609"/>
                    </a:cubicBezTo>
                    <a:cubicBezTo>
                      <a:pt x="3726208" y="5713581"/>
                      <a:pt x="3727935" y="5715305"/>
                      <a:pt x="3729907" y="5715305"/>
                    </a:cubicBezTo>
                    <a:cubicBezTo>
                      <a:pt x="3731879" y="5715305"/>
                      <a:pt x="3733606" y="5713581"/>
                      <a:pt x="3733606" y="5711609"/>
                    </a:cubicBezTo>
                    <a:close/>
                    <a:moveTo>
                      <a:pt x="3733606" y="7234706"/>
                    </a:moveTo>
                    <a:cubicBezTo>
                      <a:pt x="3733606" y="7232487"/>
                      <a:pt x="3731879" y="7230761"/>
                      <a:pt x="3729661" y="7230761"/>
                    </a:cubicBezTo>
                    <a:cubicBezTo>
                      <a:pt x="3727442" y="7230761"/>
                      <a:pt x="3725716" y="7232487"/>
                      <a:pt x="3725716" y="7234706"/>
                    </a:cubicBezTo>
                    <a:cubicBezTo>
                      <a:pt x="3725716" y="7236925"/>
                      <a:pt x="3727442" y="7238652"/>
                      <a:pt x="3729661" y="7238652"/>
                    </a:cubicBezTo>
                    <a:cubicBezTo>
                      <a:pt x="3731634" y="7238652"/>
                      <a:pt x="3733360" y="7236925"/>
                      <a:pt x="3733606" y="7234706"/>
                    </a:cubicBezTo>
                    <a:close/>
                    <a:moveTo>
                      <a:pt x="3734098" y="7452185"/>
                    </a:moveTo>
                    <a:cubicBezTo>
                      <a:pt x="3734098" y="7450211"/>
                      <a:pt x="3732620" y="7448734"/>
                      <a:pt x="3730645" y="7448734"/>
                    </a:cubicBezTo>
                    <a:cubicBezTo>
                      <a:pt x="3728672" y="7448734"/>
                      <a:pt x="3727194" y="7450211"/>
                      <a:pt x="3727194" y="7452185"/>
                    </a:cubicBezTo>
                    <a:cubicBezTo>
                      <a:pt x="3727194" y="7454160"/>
                      <a:pt x="3728672" y="7455638"/>
                      <a:pt x="3730645" y="7455638"/>
                    </a:cubicBezTo>
                    <a:cubicBezTo>
                      <a:pt x="3732620" y="7455638"/>
                      <a:pt x="3734344" y="7453911"/>
                      <a:pt x="3734098" y="7452185"/>
                    </a:cubicBezTo>
                    <a:close/>
                    <a:moveTo>
                      <a:pt x="3734839" y="7560681"/>
                    </a:moveTo>
                    <a:cubicBezTo>
                      <a:pt x="3734839" y="7558708"/>
                      <a:pt x="3733111" y="7556981"/>
                      <a:pt x="3731139" y="7556981"/>
                    </a:cubicBezTo>
                    <a:cubicBezTo>
                      <a:pt x="3729167" y="7556981"/>
                      <a:pt x="3727440" y="7558708"/>
                      <a:pt x="3727440" y="7560681"/>
                    </a:cubicBezTo>
                    <a:cubicBezTo>
                      <a:pt x="3727440" y="7562653"/>
                      <a:pt x="3728918" y="7564380"/>
                      <a:pt x="3731139" y="7564380"/>
                    </a:cubicBezTo>
                    <a:cubicBezTo>
                      <a:pt x="3733111" y="7564380"/>
                      <a:pt x="3734839" y="7562899"/>
                      <a:pt x="3734839" y="7560681"/>
                    </a:cubicBezTo>
                    <a:close/>
                    <a:moveTo>
                      <a:pt x="3735085" y="7343445"/>
                    </a:moveTo>
                    <a:cubicBezTo>
                      <a:pt x="3735085" y="7341227"/>
                      <a:pt x="3733111" y="7339254"/>
                      <a:pt x="3730894" y="7339254"/>
                    </a:cubicBezTo>
                    <a:cubicBezTo>
                      <a:pt x="3728675" y="7339254"/>
                      <a:pt x="3726702" y="7341227"/>
                      <a:pt x="3726702" y="7343445"/>
                    </a:cubicBezTo>
                    <a:cubicBezTo>
                      <a:pt x="3726702" y="7345913"/>
                      <a:pt x="3728675" y="7347636"/>
                      <a:pt x="3730894" y="7347636"/>
                    </a:cubicBezTo>
                    <a:cubicBezTo>
                      <a:pt x="3733111" y="7347636"/>
                      <a:pt x="3734839" y="7345666"/>
                      <a:pt x="3735085" y="7343445"/>
                    </a:cubicBezTo>
                    <a:close/>
                    <a:moveTo>
                      <a:pt x="3735578" y="4616814"/>
                    </a:moveTo>
                    <a:cubicBezTo>
                      <a:pt x="3735578" y="4609415"/>
                      <a:pt x="3729412" y="4603251"/>
                      <a:pt x="3722016" y="4603251"/>
                    </a:cubicBezTo>
                    <a:cubicBezTo>
                      <a:pt x="3714617" y="4603251"/>
                      <a:pt x="3708454" y="4609415"/>
                      <a:pt x="3708454" y="4616814"/>
                    </a:cubicBezTo>
                    <a:cubicBezTo>
                      <a:pt x="3708454" y="4624209"/>
                      <a:pt x="3714617" y="4630376"/>
                      <a:pt x="3722016" y="4630376"/>
                    </a:cubicBezTo>
                    <a:cubicBezTo>
                      <a:pt x="3729660" y="4630376"/>
                      <a:pt x="3735578" y="4624209"/>
                      <a:pt x="3735578" y="4616814"/>
                    </a:cubicBezTo>
                    <a:close/>
                    <a:moveTo>
                      <a:pt x="3741004" y="4168538"/>
                    </a:moveTo>
                    <a:cubicBezTo>
                      <a:pt x="3741004" y="4158182"/>
                      <a:pt x="3732373" y="4149551"/>
                      <a:pt x="3722016" y="4149551"/>
                    </a:cubicBezTo>
                    <a:cubicBezTo>
                      <a:pt x="3711415" y="4149551"/>
                      <a:pt x="3703031" y="4158182"/>
                      <a:pt x="3703031" y="4168538"/>
                    </a:cubicBezTo>
                    <a:cubicBezTo>
                      <a:pt x="3703031" y="4179141"/>
                      <a:pt x="3711662" y="4187523"/>
                      <a:pt x="3722016" y="4187523"/>
                    </a:cubicBezTo>
                    <a:cubicBezTo>
                      <a:pt x="3732373" y="4187523"/>
                      <a:pt x="3740756" y="4178895"/>
                      <a:pt x="3741004" y="4168538"/>
                    </a:cubicBezTo>
                    <a:close/>
                    <a:moveTo>
                      <a:pt x="3741497" y="3016539"/>
                    </a:moveTo>
                    <a:cubicBezTo>
                      <a:pt x="3741497" y="3000509"/>
                      <a:pt x="3728429" y="2987442"/>
                      <a:pt x="3712399" y="2987442"/>
                    </a:cubicBezTo>
                    <a:cubicBezTo>
                      <a:pt x="3696373" y="2987442"/>
                      <a:pt x="3683305" y="3000509"/>
                      <a:pt x="3683305" y="3016539"/>
                    </a:cubicBezTo>
                    <a:cubicBezTo>
                      <a:pt x="3683305" y="3032566"/>
                      <a:pt x="3696373" y="3045633"/>
                      <a:pt x="3712399" y="3045633"/>
                    </a:cubicBezTo>
                    <a:cubicBezTo>
                      <a:pt x="3728429" y="3045633"/>
                      <a:pt x="3741497" y="3032566"/>
                      <a:pt x="3741497" y="3016539"/>
                    </a:cubicBezTo>
                    <a:close/>
                    <a:moveTo>
                      <a:pt x="3742482" y="1897898"/>
                    </a:moveTo>
                    <a:cubicBezTo>
                      <a:pt x="3742482" y="1885820"/>
                      <a:pt x="3732866" y="1876205"/>
                      <a:pt x="3721030" y="1876205"/>
                    </a:cubicBezTo>
                    <a:cubicBezTo>
                      <a:pt x="3708948" y="1876205"/>
                      <a:pt x="3699332" y="1886064"/>
                      <a:pt x="3699332" y="1897898"/>
                    </a:cubicBezTo>
                    <a:cubicBezTo>
                      <a:pt x="3699332" y="1909977"/>
                      <a:pt x="3709195" y="1919592"/>
                      <a:pt x="3721030" y="1919592"/>
                    </a:cubicBezTo>
                    <a:cubicBezTo>
                      <a:pt x="3732866" y="1919592"/>
                      <a:pt x="3742482" y="1909977"/>
                      <a:pt x="3742482" y="1897898"/>
                    </a:cubicBezTo>
                    <a:close/>
                    <a:moveTo>
                      <a:pt x="3745196" y="4727033"/>
                    </a:moveTo>
                    <a:cubicBezTo>
                      <a:pt x="3745196" y="4714457"/>
                      <a:pt x="3735087" y="4704348"/>
                      <a:pt x="3722512" y="4704348"/>
                    </a:cubicBezTo>
                    <a:cubicBezTo>
                      <a:pt x="3709935" y="4704348"/>
                      <a:pt x="3699826" y="4714457"/>
                      <a:pt x="3699826" y="4727033"/>
                    </a:cubicBezTo>
                    <a:cubicBezTo>
                      <a:pt x="3699826" y="4739610"/>
                      <a:pt x="3709935" y="4749718"/>
                      <a:pt x="3722512" y="4749718"/>
                    </a:cubicBezTo>
                    <a:cubicBezTo>
                      <a:pt x="3735087" y="4749718"/>
                      <a:pt x="3745196" y="4739610"/>
                      <a:pt x="3745196" y="4727033"/>
                    </a:cubicBezTo>
                    <a:close/>
                    <a:moveTo>
                      <a:pt x="3745441" y="5165937"/>
                    </a:moveTo>
                    <a:cubicBezTo>
                      <a:pt x="3745441" y="5155826"/>
                      <a:pt x="3737303" y="5147443"/>
                      <a:pt x="3726948" y="5147443"/>
                    </a:cubicBezTo>
                    <a:cubicBezTo>
                      <a:pt x="3716839" y="5147443"/>
                      <a:pt x="3708454" y="5155580"/>
                      <a:pt x="3708454" y="5165937"/>
                    </a:cubicBezTo>
                    <a:cubicBezTo>
                      <a:pt x="3708454" y="5176046"/>
                      <a:pt x="3716591" y="5184432"/>
                      <a:pt x="3726948" y="5184432"/>
                    </a:cubicBezTo>
                    <a:cubicBezTo>
                      <a:pt x="3737057" y="5184432"/>
                      <a:pt x="3745441" y="5176046"/>
                      <a:pt x="3745441" y="5165937"/>
                    </a:cubicBezTo>
                    <a:close/>
                    <a:moveTo>
                      <a:pt x="3746675" y="1569737"/>
                    </a:moveTo>
                    <a:cubicBezTo>
                      <a:pt x="3746675" y="1554449"/>
                      <a:pt x="3734101" y="1541877"/>
                      <a:pt x="3718812" y="1541877"/>
                    </a:cubicBezTo>
                    <a:cubicBezTo>
                      <a:pt x="3703525" y="1541877"/>
                      <a:pt x="3690950" y="1554449"/>
                      <a:pt x="3690950" y="1569737"/>
                    </a:cubicBezTo>
                    <a:cubicBezTo>
                      <a:pt x="3690950" y="1585023"/>
                      <a:pt x="3703525" y="1597603"/>
                      <a:pt x="3718812" y="1597603"/>
                    </a:cubicBezTo>
                    <a:cubicBezTo>
                      <a:pt x="3734101" y="1597603"/>
                      <a:pt x="3746675" y="1585023"/>
                      <a:pt x="3746675" y="1569737"/>
                    </a:cubicBezTo>
                    <a:close/>
                    <a:moveTo>
                      <a:pt x="3750619" y="2007840"/>
                    </a:moveTo>
                    <a:cubicBezTo>
                      <a:pt x="3750619" y="1991568"/>
                      <a:pt x="3737550" y="1978503"/>
                      <a:pt x="3721276" y="1978503"/>
                    </a:cubicBezTo>
                    <a:cubicBezTo>
                      <a:pt x="3705001" y="1978503"/>
                      <a:pt x="3691933" y="1991568"/>
                      <a:pt x="3691933" y="2007840"/>
                    </a:cubicBezTo>
                    <a:cubicBezTo>
                      <a:pt x="3691933" y="2024112"/>
                      <a:pt x="3705001" y="2037181"/>
                      <a:pt x="3721276" y="2037181"/>
                    </a:cubicBezTo>
                    <a:cubicBezTo>
                      <a:pt x="3737550" y="2037181"/>
                      <a:pt x="3750619" y="2023867"/>
                      <a:pt x="3750619" y="2007840"/>
                    </a:cubicBezTo>
                    <a:close/>
                    <a:moveTo>
                      <a:pt x="3751359" y="2898925"/>
                    </a:moveTo>
                    <a:cubicBezTo>
                      <a:pt x="3751359" y="2878459"/>
                      <a:pt x="3734592" y="2861691"/>
                      <a:pt x="3714127" y="2861691"/>
                    </a:cubicBezTo>
                    <a:cubicBezTo>
                      <a:pt x="3693659" y="2861691"/>
                      <a:pt x="3676892" y="2878459"/>
                      <a:pt x="3676892" y="2898925"/>
                    </a:cubicBezTo>
                    <a:cubicBezTo>
                      <a:pt x="3676892" y="2919388"/>
                      <a:pt x="3693659" y="2936156"/>
                      <a:pt x="3714127" y="2936156"/>
                    </a:cubicBezTo>
                    <a:cubicBezTo>
                      <a:pt x="3734592" y="2936156"/>
                      <a:pt x="3751359" y="2919637"/>
                      <a:pt x="3751359" y="2898925"/>
                    </a:cubicBezTo>
                    <a:close/>
                    <a:moveTo>
                      <a:pt x="3751603" y="45877"/>
                    </a:moveTo>
                    <a:cubicBezTo>
                      <a:pt x="3751603" y="28124"/>
                      <a:pt x="3737057" y="13576"/>
                      <a:pt x="3719304" y="13576"/>
                    </a:cubicBezTo>
                    <a:cubicBezTo>
                      <a:pt x="3701551" y="13576"/>
                      <a:pt x="3687002" y="28124"/>
                      <a:pt x="3687002" y="45877"/>
                    </a:cubicBezTo>
                    <a:cubicBezTo>
                      <a:pt x="3687002" y="63629"/>
                      <a:pt x="3701551" y="78178"/>
                      <a:pt x="3719304" y="78178"/>
                    </a:cubicBezTo>
                    <a:cubicBezTo>
                      <a:pt x="3737057" y="78178"/>
                      <a:pt x="3751603" y="63629"/>
                      <a:pt x="3751603" y="45877"/>
                    </a:cubicBezTo>
                    <a:close/>
                    <a:moveTo>
                      <a:pt x="3751605" y="263306"/>
                    </a:moveTo>
                    <a:cubicBezTo>
                      <a:pt x="3751605" y="245801"/>
                      <a:pt x="3737303" y="231499"/>
                      <a:pt x="3719795" y="231499"/>
                    </a:cubicBezTo>
                    <a:cubicBezTo>
                      <a:pt x="3702290" y="231499"/>
                      <a:pt x="3687988" y="245801"/>
                      <a:pt x="3687988" y="263306"/>
                    </a:cubicBezTo>
                    <a:cubicBezTo>
                      <a:pt x="3687988" y="280812"/>
                      <a:pt x="3702290" y="295114"/>
                      <a:pt x="3719795" y="295114"/>
                    </a:cubicBezTo>
                    <a:cubicBezTo>
                      <a:pt x="3737303" y="295114"/>
                      <a:pt x="3751605" y="280812"/>
                      <a:pt x="3751605" y="263306"/>
                    </a:cubicBezTo>
                    <a:close/>
                    <a:moveTo>
                      <a:pt x="3751851" y="372021"/>
                    </a:moveTo>
                    <a:cubicBezTo>
                      <a:pt x="3751851" y="354516"/>
                      <a:pt x="3737552" y="340214"/>
                      <a:pt x="3720044" y="340214"/>
                    </a:cubicBezTo>
                    <a:cubicBezTo>
                      <a:pt x="3702784" y="340214"/>
                      <a:pt x="3688482" y="354516"/>
                      <a:pt x="3688482" y="372021"/>
                    </a:cubicBezTo>
                    <a:cubicBezTo>
                      <a:pt x="3688482" y="389283"/>
                      <a:pt x="3702536" y="403582"/>
                      <a:pt x="3720044" y="403582"/>
                    </a:cubicBezTo>
                    <a:cubicBezTo>
                      <a:pt x="3737552" y="403582"/>
                      <a:pt x="3751605" y="389283"/>
                      <a:pt x="3751851" y="372021"/>
                    </a:cubicBezTo>
                    <a:close/>
                    <a:moveTo>
                      <a:pt x="3753333" y="154590"/>
                    </a:moveTo>
                    <a:cubicBezTo>
                      <a:pt x="3753333" y="136097"/>
                      <a:pt x="3738292" y="121057"/>
                      <a:pt x="3719798" y="121057"/>
                    </a:cubicBezTo>
                    <a:cubicBezTo>
                      <a:pt x="3701304" y="121057"/>
                      <a:pt x="3686264" y="136097"/>
                      <a:pt x="3686264" y="154590"/>
                    </a:cubicBezTo>
                    <a:cubicBezTo>
                      <a:pt x="3686264" y="173083"/>
                      <a:pt x="3701304" y="188123"/>
                      <a:pt x="3719798" y="188123"/>
                    </a:cubicBezTo>
                    <a:cubicBezTo>
                      <a:pt x="3738292" y="188123"/>
                      <a:pt x="3753333" y="173083"/>
                      <a:pt x="3753333" y="154590"/>
                    </a:cubicBezTo>
                    <a:close/>
                    <a:moveTo>
                      <a:pt x="3754810" y="1460518"/>
                    </a:moveTo>
                    <a:cubicBezTo>
                      <a:pt x="3754810" y="1440547"/>
                      <a:pt x="3738537" y="1424274"/>
                      <a:pt x="3718563" y="1424274"/>
                    </a:cubicBezTo>
                    <a:cubicBezTo>
                      <a:pt x="3698836" y="1424274"/>
                      <a:pt x="3682564" y="1440547"/>
                      <a:pt x="3682564" y="1460518"/>
                    </a:cubicBezTo>
                    <a:cubicBezTo>
                      <a:pt x="3682564" y="1480489"/>
                      <a:pt x="3698591" y="1496767"/>
                      <a:pt x="3718563" y="1496767"/>
                    </a:cubicBezTo>
                    <a:cubicBezTo>
                      <a:pt x="3738537" y="1496767"/>
                      <a:pt x="3754810" y="1480489"/>
                      <a:pt x="3754810" y="1460518"/>
                    </a:cubicBezTo>
                    <a:close/>
                    <a:moveTo>
                      <a:pt x="3755304" y="1351543"/>
                    </a:moveTo>
                    <a:cubicBezTo>
                      <a:pt x="3755304" y="1331076"/>
                      <a:pt x="3738783" y="1314313"/>
                      <a:pt x="3718072" y="1314313"/>
                    </a:cubicBezTo>
                    <a:cubicBezTo>
                      <a:pt x="3697604" y="1314313"/>
                      <a:pt x="3680838" y="1331076"/>
                      <a:pt x="3680838" y="1351543"/>
                    </a:cubicBezTo>
                    <a:cubicBezTo>
                      <a:pt x="3680838" y="1372011"/>
                      <a:pt x="3697604" y="1388777"/>
                      <a:pt x="3718072" y="1388777"/>
                    </a:cubicBezTo>
                    <a:cubicBezTo>
                      <a:pt x="3738535" y="1388777"/>
                      <a:pt x="3755304" y="1372011"/>
                      <a:pt x="3755304" y="1351543"/>
                    </a:cubicBezTo>
                    <a:close/>
                    <a:moveTo>
                      <a:pt x="3756042" y="4946484"/>
                    </a:moveTo>
                    <a:cubicBezTo>
                      <a:pt x="3756042" y="4930211"/>
                      <a:pt x="3742728" y="4916894"/>
                      <a:pt x="3726453" y="4916894"/>
                    </a:cubicBezTo>
                    <a:cubicBezTo>
                      <a:pt x="3710181" y="4916894"/>
                      <a:pt x="3696864" y="4930211"/>
                      <a:pt x="3696864" y="4946484"/>
                    </a:cubicBezTo>
                    <a:cubicBezTo>
                      <a:pt x="3696864" y="4962759"/>
                      <a:pt x="3710181" y="4976072"/>
                      <a:pt x="3726453" y="4976072"/>
                    </a:cubicBezTo>
                    <a:cubicBezTo>
                      <a:pt x="3742728" y="4976072"/>
                      <a:pt x="3756042" y="4963005"/>
                      <a:pt x="3756042" y="4946484"/>
                    </a:cubicBezTo>
                    <a:close/>
                    <a:moveTo>
                      <a:pt x="3759991" y="4394649"/>
                    </a:moveTo>
                    <a:cubicBezTo>
                      <a:pt x="3759991" y="4373195"/>
                      <a:pt x="3742484" y="4355688"/>
                      <a:pt x="3721034" y="4355688"/>
                    </a:cubicBezTo>
                    <a:cubicBezTo>
                      <a:pt x="3699581" y="4355688"/>
                      <a:pt x="3682073" y="4373195"/>
                      <a:pt x="3682073" y="4394649"/>
                    </a:cubicBezTo>
                    <a:cubicBezTo>
                      <a:pt x="3682073" y="4416099"/>
                      <a:pt x="3699581" y="4433606"/>
                      <a:pt x="3721034" y="4433606"/>
                    </a:cubicBezTo>
                    <a:cubicBezTo>
                      <a:pt x="3742484" y="4433606"/>
                      <a:pt x="3759991" y="4416099"/>
                      <a:pt x="3759991" y="4394649"/>
                    </a:cubicBezTo>
                    <a:close/>
                    <a:moveTo>
                      <a:pt x="3766153" y="4506098"/>
                    </a:moveTo>
                    <a:cubicBezTo>
                      <a:pt x="3766153" y="4481440"/>
                      <a:pt x="3746179" y="4461468"/>
                      <a:pt x="3721522" y="4461468"/>
                    </a:cubicBezTo>
                    <a:cubicBezTo>
                      <a:pt x="3696864" y="4461468"/>
                      <a:pt x="3676892" y="4481440"/>
                      <a:pt x="3676892" y="4506098"/>
                    </a:cubicBezTo>
                    <a:cubicBezTo>
                      <a:pt x="3676892" y="4530755"/>
                      <a:pt x="3696864" y="4550730"/>
                      <a:pt x="3721522" y="4550730"/>
                    </a:cubicBezTo>
                    <a:cubicBezTo>
                      <a:pt x="3746179" y="4550730"/>
                      <a:pt x="3766153" y="4530509"/>
                      <a:pt x="3766153" y="4506098"/>
                    </a:cubicBezTo>
                    <a:close/>
                    <a:moveTo>
                      <a:pt x="3769851" y="4282453"/>
                    </a:moveTo>
                    <a:cubicBezTo>
                      <a:pt x="3769851" y="4255578"/>
                      <a:pt x="3747906" y="4233632"/>
                      <a:pt x="3721030" y="4233632"/>
                    </a:cubicBezTo>
                    <a:cubicBezTo>
                      <a:pt x="3694151" y="4233632"/>
                      <a:pt x="3672207" y="4255578"/>
                      <a:pt x="3672207" y="4282453"/>
                    </a:cubicBezTo>
                    <a:cubicBezTo>
                      <a:pt x="3672207" y="4309331"/>
                      <a:pt x="3694151" y="4331277"/>
                      <a:pt x="3721030" y="4331277"/>
                    </a:cubicBezTo>
                    <a:cubicBezTo>
                      <a:pt x="3747906" y="4331277"/>
                      <a:pt x="3769851" y="4309331"/>
                      <a:pt x="3769851" y="4282453"/>
                    </a:cubicBezTo>
                    <a:close/>
                    <a:moveTo>
                      <a:pt x="3771578" y="4837251"/>
                    </a:moveTo>
                    <a:cubicBezTo>
                      <a:pt x="3771578" y="4810620"/>
                      <a:pt x="3749879" y="4788921"/>
                      <a:pt x="3723248" y="4788921"/>
                    </a:cubicBezTo>
                    <a:cubicBezTo>
                      <a:pt x="3696619" y="4788921"/>
                      <a:pt x="3674920" y="4810620"/>
                      <a:pt x="3674920" y="4837251"/>
                    </a:cubicBezTo>
                    <a:cubicBezTo>
                      <a:pt x="3674920" y="4863882"/>
                      <a:pt x="3696619" y="4885580"/>
                      <a:pt x="3723248" y="4885580"/>
                    </a:cubicBezTo>
                    <a:cubicBezTo>
                      <a:pt x="3749879" y="4885580"/>
                      <a:pt x="3771578" y="4863882"/>
                      <a:pt x="3771578" y="4837251"/>
                    </a:cubicBezTo>
                    <a:close/>
                    <a:moveTo>
                      <a:pt x="3772319" y="3173111"/>
                    </a:moveTo>
                    <a:cubicBezTo>
                      <a:pt x="3772319" y="3163496"/>
                      <a:pt x="3764675" y="3155852"/>
                      <a:pt x="3755057" y="3155852"/>
                    </a:cubicBezTo>
                    <a:cubicBezTo>
                      <a:pt x="3745442" y="3155852"/>
                      <a:pt x="3737798" y="3163496"/>
                      <a:pt x="3737798" y="3173111"/>
                    </a:cubicBezTo>
                    <a:cubicBezTo>
                      <a:pt x="3737798" y="3182728"/>
                      <a:pt x="3745442" y="3190373"/>
                      <a:pt x="3755057" y="3190373"/>
                    </a:cubicBezTo>
                    <a:cubicBezTo>
                      <a:pt x="3764675" y="3190373"/>
                      <a:pt x="3772319" y="3182728"/>
                      <a:pt x="3772319" y="3173111"/>
                    </a:cubicBezTo>
                    <a:close/>
                    <a:moveTo>
                      <a:pt x="3784154" y="2239120"/>
                    </a:moveTo>
                    <a:cubicBezTo>
                      <a:pt x="3784154" y="2234681"/>
                      <a:pt x="3780455" y="2230983"/>
                      <a:pt x="3776015" y="2230983"/>
                    </a:cubicBezTo>
                    <a:cubicBezTo>
                      <a:pt x="3771578" y="2230983"/>
                      <a:pt x="3767879" y="2234681"/>
                      <a:pt x="3767879" y="2239120"/>
                    </a:cubicBezTo>
                    <a:cubicBezTo>
                      <a:pt x="3767879" y="2243563"/>
                      <a:pt x="3771578" y="2247263"/>
                      <a:pt x="3776015" y="2247263"/>
                    </a:cubicBezTo>
                    <a:cubicBezTo>
                      <a:pt x="3780455" y="2247263"/>
                      <a:pt x="3784154" y="2243563"/>
                      <a:pt x="3784154" y="2239120"/>
                    </a:cubicBezTo>
                    <a:close/>
                    <a:moveTo>
                      <a:pt x="3792044" y="2127920"/>
                    </a:moveTo>
                    <a:cubicBezTo>
                      <a:pt x="3792044" y="2119042"/>
                      <a:pt x="3784894" y="2111647"/>
                      <a:pt x="3775772" y="2111647"/>
                    </a:cubicBezTo>
                    <a:cubicBezTo>
                      <a:pt x="3766895" y="2111647"/>
                      <a:pt x="3759496" y="2118797"/>
                      <a:pt x="3759496" y="2127920"/>
                    </a:cubicBezTo>
                    <a:cubicBezTo>
                      <a:pt x="3759496" y="2136798"/>
                      <a:pt x="3766647" y="2144195"/>
                      <a:pt x="3775772" y="2144195"/>
                    </a:cubicBezTo>
                    <a:cubicBezTo>
                      <a:pt x="3784648" y="2144195"/>
                      <a:pt x="3792044" y="2137046"/>
                      <a:pt x="3792044" y="2127920"/>
                    </a:cubicBezTo>
                    <a:close/>
                    <a:moveTo>
                      <a:pt x="3792291" y="2690823"/>
                    </a:moveTo>
                    <a:cubicBezTo>
                      <a:pt x="3792291" y="2682193"/>
                      <a:pt x="3785141" y="2675043"/>
                      <a:pt x="3776510" y="2675043"/>
                    </a:cubicBezTo>
                    <a:cubicBezTo>
                      <a:pt x="3767879" y="2675043"/>
                      <a:pt x="3760729" y="2682193"/>
                      <a:pt x="3760729" y="2690823"/>
                    </a:cubicBezTo>
                    <a:cubicBezTo>
                      <a:pt x="3760729" y="2699453"/>
                      <a:pt x="3767879" y="2706603"/>
                      <a:pt x="3776510" y="2706603"/>
                    </a:cubicBezTo>
                    <a:cubicBezTo>
                      <a:pt x="3785387" y="2706603"/>
                      <a:pt x="3792536" y="2699700"/>
                      <a:pt x="3792291" y="2690823"/>
                    </a:cubicBezTo>
                    <a:close/>
                    <a:moveTo>
                      <a:pt x="3800183" y="2806708"/>
                    </a:moveTo>
                    <a:cubicBezTo>
                      <a:pt x="3800183" y="2793145"/>
                      <a:pt x="3788839" y="2782051"/>
                      <a:pt x="3775525" y="2782051"/>
                    </a:cubicBezTo>
                    <a:cubicBezTo>
                      <a:pt x="3762209" y="2782051"/>
                      <a:pt x="3751114" y="2793145"/>
                      <a:pt x="3751114" y="2806708"/>
                    </a:cubicBezTo>
                    <a:cubicBezTo>
                      <a:pt x="3751114" y="2820270"/>
                      <a:pt x="3761964" y="2831366"/>
                      <a:pt x="3775525" y="2831366"/>
                    </a:cubicBezTo>
                    <a:cubicBezTo>
                      <a:pt x="3789085" y="2831366"/>
                      <a:pt x="3799934" y="2820517"/>
                      <a:pt x="3800183" y="2806708"/>
                    </a:cubicBezTo>
                    <a:close/>
                    <a:moveTo>
                      <a:pt x="3802400" y="2350815"/>
                    </a:moveTo>
                    <a:cubicBezTo>
                      <a:pt x="3802400" y="2336512"/>
                      <a:pt x="3790811" y="2324919"/>
                      <a:pt x="3776509" y="2324919"/>
                    </a:cubicBezTo>
                    <a:cubicBezTo>
                      <a:pt x="3762209" y="2324919"/>
                      <a:pt x="3750619" y="2336512"/>
                      <a:pt x="3750619" y="2350815"/>
                    </a:cubicBezTo>
                    <a:cubicBezTo>
                      <a:pt x="3750619" y="2365117"/>
                      <a:pt x="3762209" y="2376700"/>
                      <a:pt x="3776509" y="2376700"/>
                    </a:cubicBezTo>
                    <a:cubicBezTo>
                      <a:pt x="3790811" y="2376700"/>
                      <a:pt x="3802400" y="2365117"/>
                      <a:pt x="3802400" y="2350815"/>
                    </a:cubicBezTo>
                    <a:close/>
                    <a:moveTo>
                      <a:pt x="3809551" y="2576417"/>
                    </a:moveTo>
                    <a:cubicBezTo>
                      <a:pt x="3809551" y="2558418"/>
                      <a:pt x="3795003" y="2543869"/>
                      <a:pt x="3777004" y="2543869"/>
                    </a:cubicBezTo>
                    <a:cubicBezTo>
                      <a:pt x="3759004" y="2543869"/>
                      <a:pt x="3744456" y="2558418"/>
                      <a:pt x="3744456" y="2576417"/>
                    </a:cubicBezTo>
                    <a:cubicBezTo>
                      <a:pt x="3744456" y="2594416"/>
                      <a:pt x="3759004" y="2608965"/>
                      <a:pt x="3777004" y="2608965"/>
                    </a:cubicBezTo>
                    <a:cubicBezTo>
                      <a:pt x="3795003" y="2608965"/>
                      <a:pt x="3809551" y="2594416"/>
                      <a:pt x="3809551" y="2576417"/>
                    </a:cubicBezTo>
                    <a:close/>
                    <a:moveTo>
                      <a:pt x="3811030" y="1030549"/>
                    </a:moveTo>
                    <a:cubicBezTo>
                      <a:pt x="3811030" y="1012058"/>
                      <a:pt x="3795990" y="997016"/>
                      <a:pt x="3777495" y="997016"/>
                    </a:cubicBezTo>
                    <a:cubicBezTo>
                      <a:pt x="3759002" y="997016"/>
                      <a:pt x="3743962" y="1012058"/>
                      <a:pt x="3743962" y="1030549"/>
                    </a:cubicBezTo>
                    <a:cubicBezTo>
                      <a:pt x="3743962" y="1049042"/>
                      <a:pt x="3759002" y="1064085"/>
                      <a:pt x="3777495" y="1064085"/>
                    </a:cubicBezTo>
                    <a:cubicBezTo>
                      <a:pt x="3795744" y="1064085"/>
                      <a:pt x="3810784" y="1049042"/>
                      <a:pt x="3811030" y="1030549"/>
                    </a:cubicBezTo>
                    <a:close/>
                    <a:moveTo>
                      <a:pt x="3811770" y="812611"/>
                    </a:moveTo>
                    <a:cubicBezTo>
                      <a:pt x="3811770" y="793867"/>
                      <a:pt x="3796730" y="778830"/>
                      <a:pt x="3777990" y="778830"/>
                    </a:cubicBezTo>
                    <a:cubicBezTo>
                      <a:pt x="3759496" y="778830"/>
                      <a:pt x="3744210" y="793867"/>
                      <a:pt x="3744210" y="812611"/>
                    </a:cubicBezTo>
                    <a:cubicBezTo>
                      <a:pt x="3744210" y="831351"/>
                      <a:pt x="3759496" y="846393"/>
                      <a:pt x="3777990" y="846393"/>
                    </a:cubicBezTo>
                    <a:cubicBezTo>
                      <a:pt x="3796484" y="846393"/>
                      <a:pt x="3811770" y="831106"/>
                      <a:pt x="3811770" y="812611"/>
                    </a:cubicBezTo>
                    <a:close/>
                    <a:moveTo>
                      <a:pt x="3813743" y="485427"/>
                    </a:moveTo>
                    <a:cubicBezTo>
                      <a:pt x="3813743" y="465210"/>
                      <a:pt x="3797224" y="448689"/>
                      <a:pt x="3777003" y="448689"/>
                    </a:cubicBezTo>
                    <a:cubicBezTo>
                      <a:pt x="3756785" y="448689"/>
                      <a:pt x="3740264" y="465210"/>
                      <a:pt x="3740264" y="485427"/>
                    </a:cubicBezTo>
                    <a:cubicBezTo>
                      <a:pt x="3740264" y="505646"/>
                      <a:pt x="3756785" y="522164"/>
                      <a:pt x="3777003" y="522164"/>
                    </a:cubicBezTo>
                    <a:cubicBezTo>
                      <a:pt x="3797224" y="522164"/>
                      <a:pt x="3813743" y="505646"/>
                      <a:pt x="3813743" y="485427"/>
                    </a:cubicBezTo>
                    <a:close/>
                    <a:moveTo>
                      <a:pt x="3813988" y="921575"/>
                    </a:moveTo>
                    <a:cubicBezTo>
                      <a:pt x="3813988" y="901352"/>
                      <a:pt x="3797469" y="884838"/>
                      <a:pt x="3777249" y="884838"/>
                    </a:cubicBezTo>
                    <a:cubicBezTo>
                      <a:pt x="3757031" y="884838"/>
                      <a:pt x="3740510" y="901352"/>
                      <a:pt x="3740510" y="921575"/>
                    </a:cubicBezTo>
                    <a:cubicBezTo>
                      <a:pt x="3740510" y="941552"/>
                      <a:pt x="3757031" y="958075"/>
                      <a:pt x="3777249" y="958075"/>
                    </a:cubicBezTo>
                    <a:cubicBezTo>
                      <a:pt x="3797469" y="958075"/>
                      <a:pt x="3813988" y="941801"/>
                      <a:pt x="3813988" y="921575"/>
                    </a:cubicBezTo>
                    <a:close/>
                    <a:moveTo>
                      <a:pt x="3813990" y="2462998"/>
                    </a:moveTo>
                    <a:cubicBezTo>
                      <a:pt x="3813990" y="2442531"/>
                      <a:pt x="3797222" y="2425763"/>
                      <a:pt x="3776755" y="2425763"/>
                    </a:cubicBezTo>
                    <a:cubicBezTo>
                      <a:pt x="3756042" y="2425763"/>
                      <a:pt x="3739276" y="2442531"/>
                      <a:pt x="3739276" y="2462998"/>
                    </a:cubicBezTo>
                    <a:cubicBezTo>
                      <a:pt x="3739276" y="2483709"/>
                      <a:pt x="3756042" y="2500477"/>
                      <a:pt x="3776755" y="2500477"/>
                    </a:cubicBezTo>
                    <a:cubicBezTo>
                      <a:pt x="3797467" y="2500477"/>
                      <a:pt x="3814235" y="2483709"/>
                      <a:pt x="3813990" y="2462998"/>
                    </a:cubicBezTo>
                    <a:close/>
                    <a:moveTo>
                      <a:pt x="3814482" y="594391"/>
                    </a:moveTo>
                    <a:cubicBezTo>
                      <a:pt x="3814482" y="573926"/>
                      <a:pt x="3797716" y="557159"/>
                      <a:pt x="3777250" y="557159"/>
                    </a:cubicBezTo>
                    <a:cubicBezTo>
                      <a:pt x="3756782" y="557159"/>
                      <a:pt x="3740016" y="573926"/>
                      <a:pt x="3740016" y="594391"/>
                    </a:cubicBezTo>
                    <a:cubicBezTo>
                      <a:pt x="3740016" y="614857"/>
                      <a:pt x="3756782" y="631624"/>
                      <a:pt x="3777250" y="631624"/>
                    </a:cubicBezTo>
                    <a:cubicBezTo>
                      <a:pt x="3797716" y="631624"/>
                      <a:pt x="3814482" y="614857"/>
                      <a:pt x="3814482" y="594391"/>
                    </a:cubicBezTo>
                    <a:close/>
                    <a:moveTo>
                      <a:pt x="3816207" y="703396"/>
                    </a:moveTo>
                    <a:cubicBezTo>
                      <a:pt x="3816207" y="682188"/>
                      <a:pt x="3798945" y="664929"/>
                      <a:pt x="3777741" y="664929"/>
                    </a:cubicBezTo>
                    <a:cubicBezTo>
                      <a:pt x="3756537" y="664929"/>
                      <a:pt x="3739276" y="682188"/>
                      <a:pt x="3739276" y="703396"/>
                    </a:cubicBezTo>
                    <a:cubicBezTo>
                      <a:pt x="3739276" y="724598"/>
                      <a:pt x="3756537" y="741866"/>
                      <a:pt x="3777741" y="741866"/>
                    </a:cubicBezTo>
                    <a:cubicBezTo>
                      <a:pt x="3798700" y="741866"/>
                      <a:pt x="3815960" y="724598"/>
                      <a:pt x="3816207" y="703396"/>
                    </a:cubicBezTo>
                    <a:close/>
                    <a:moveTo>
                      <a:pt x="3817934" y="1140013"/>
                    </a:moveTo>
                    <a:cubicBezTo>
                      <a:pt x="3817934" y="1117816"/>
                      <a:pt x="3799934" y="1099819"/>
                      <a:pt x="3777744" y="1099819"/>
                    </a:cubicBezTo>
                    <a:cubicBezTo>
                      <a:pt x="3755550" y="1099819"/>
                      <a:pt x="3737552" y="1117816"/>
                      <a:pt x="3737552" y="1140013"/>
                    </a:cubicBezTo>
                    <a:cubicBezTo>
                      <a:pt x="3737552" y="1162205"/>
                      <a:pt x="3755550" y="1180204"/>
                      <a:pt x="3777744" y="1180204"/>
                    </a:cubicBezTo>
                    <a:cubicBezTo>
                      <a:pt x="3799934" y="1180204"/>
                      <a:pt x="3817934" y="1162205"/>
                      <a:pt x="3817934" y="1140013"/>
                    </a:cubicBezTo>
                    <a:close/>
                    <a:moveTo>
                      <a:pt x="3818428" y="1248982"/>
                    </a:moveTo>
                    <a:cubicBezTo>
                      <a:pt x="3818428" y="1226299"/>
                      <a:pt x="3800183" y="1207805"/>
                      <a:pt x="3777498" y="1207805"/>
                    </a:cubicBezTo>
                    <a:cubicBezTo>
                      <a:pt x="3755059" y="1207805"/>
                      <a:pt x="3736566" y="1226299"/>
                      <a:pt x="3736566" y="1248982"/>
                    </a:cubicBezTo>
                    <a:cubicBezTo>
                      <a:pt x="3736566" y="1271665"/>
                      <a:pt x="3754813" y="1290161"/>
                      <a:pt x="3777498" y="1290161"/>
                    </a:cubicBezTo>
                    <a:cubicBezTo>
                      <a:pt x="3800183" y="1290161"/>
                      <a:pt x="3818674" y="1271911"/>
                      <a:pt x="3818428" y="1248982"/>
                    </a:cubicBezTo>
                    <a:close/>
                    <a:moveTo>
                      <a:pt x="3818919" y="4004565"/>
                    </a:moveTo>
                    <a:cubicBezTo>
                      <a:pt x="3818919" y="4003579"/>
                      <a:pt x="3817934" y="4002592"/>
                      <a:pt x="3816947" y="4002592"/>
                    </a:cubicBezTo>
                    <a:cubicBezTo>
                      <a:pt x="3815960" y="4002592"/>
                      <a:pt x="3814975" y="4003579"/>
                      <a:pt x="3814975" y="4004565"/>
                    </a:cubicBezTo>
                    <a:cubicBezTo>
                      <a:pt x="3814975" y="4005797"/>
                      <a:pt x="3815960" y="4006537"/>
                      <a:pt x="3816947" y="4006537"/>
                    </a:cubicBezTo>
                    <a:cubicBezTo>
                      <a:pt x="3818179" y="4006537"/>
                      <a:pt x="3819165" y="4005797"/>
                      <a:pt x="3818919" y="4004565"/>
                    </a:cubicBezTo>
                    <a:close/>
                    <a:moveTo>
                      <a:pt x="3824838" y="3877577"/>
                    </a:moveTo>
                    <a:cubicBezTo>
                      <a:pt x="3824838" y="3868946"/>
                      <a:pt x="3817934" y="3862041"/>
                      <a:pt x="3809306" y="3862041"/>
                    </a:cubicBezTo>
                    <a:cubicBezTo>
                      <a:pt x="3800675" y="3862041"/>
                      <a:pt x="3793770" y="3868946"/>
                      <a:pt x="3793770" y="3877577"/>
                    </a:cubicBezTo>
                    <a:cubicBezTo>
                      <a:pt x="3793770" y="3886205"/>
                      <a:pt x="3800675" y="3893109"/>
                      <a:pt x="3809306" y="3893109"/>
                    </a:cubicBezTo>
                    <a:cubicBezTo>
                      <a:pt x="3817934" y="3893109"/>
                      <a:pt x="3824838" y="3886205"/>
                      <a:pt x="3824838" y="3877577"/>
                    </a:cubicBezTo>
                    <a:close/>
                    <a:moveTo>
                      <a:pt x="3828042" y="3077443"/>
                    </a:moveTo>
                    <a:cubicBezTo>
                      <a:pt x="3828042" y="3066839"/>
                      <a:pt x="3819660" y="3058457"/>
                      <a:pt x="3809303" y="3058457"/>
                    </a:cubicBezTo>
                    <a:cubicBezTo>
                      <a:pt x="3798700" y="3058457"/>
                      <a:pt x="3790317" y="3067087"/>
                      <a:pt x="3790317" y="3077443"/>
                    </a:cubicBezTo>
                    <a:cubicBezTo>
                      <a:pt x="3790317" y="3088046"/>
                      <a:pt x="3798948" y="3096428"/>
                      <a:pt x="3809303" y="3096428"/>
                    </a:cubicBezTo>
                    <a:cubicBezTo>
                      <a:pt x="3819906" y="3096428"/>
                      <a:pt x="3828288" y="3088046"/>
                      <a:pt x="3828042" y="3077443"/>
                    </a:cubicBezTo>
                    <a:close/>
                    <a:moveTo>
                      <a:pt x="3837660" y="3259905"/>
                    </a:moveTo>
                    <a:cubicBezTo>
                      <a:pt x="3837660" y="3255712"/>
                      <a:pt x="3834209" y="3252261"/>
                      <a:pt x="3830018" y="3252261"/>
                    </a:cubicBezTo>
                    <a:cubicBezTo>
                      <a:pt x="3826069" y="3252261"/>
                      <a:pt x="3822619" y="3255712"/>
                      <a:pt x="3822619" y="3259905"/>
                    </a:cubicBezTo>
                    <a:cubicBezTo>
                      <a:pt x="3822619" y="3264096"/>
                      <a:pt x="3825824" y="3267547"/>
                      <a:pt x="3830018" y="3267547"/>
                    </a:cubicBezTo>
                    <a:cubicBezTo>
                      <a:pt x="3834209" y="3267547"/>
                      <a:pt x="3837660" y="3264096"/>
                      <a:pt x="3837660" y="3259905"/>
                    </a:cubicBezTo>
                    <a:close/>
                    <a:moveTo>
                      <a:pt x="3837906" y="1697205"/>
                    </a:moveTo>
                    <a:cubicBezTo>
                      <a:pt x="3837906" y="1695233"/>
                      <a:pt x="3836182" y="1693509"/>
                      <a:pt x="3834209" y="1693509"/>
                    </a:cubicBezTo>
                    <a:cubicBezTo>
                      <a:pt x="3832237" y="1693509"/>
                      <a:pt x="3830510" y="1695233"/>
                      <a:pt x="3830510" y="1697205"/>
                    </a:cubicBezTo>
                    <a:cubicBezTo>
                      <a:pt x="3830510" y="1699179"/>
                      <a:pt x="3832237" y="1700903"/>
                      <a:pt x="3834209" y="1700903"/>
                    </a:cubicBezTo>
                    <a:cubicBezTo>
                      <a:pt x="3836428" y="1700903"/>
                      <a:pt x="3837906" y="1699425"/>
                      <a:pt x="3837906" y="1697205"/>
                    </a:cubicBezTo>
                    <a:close/>
                    <a:moveTo>
                      <a:pt x="3841359" y="5035005"/>
                    </a:moveTo>
                    <a:cubicBezTo>
                      <a:pt x="3841359" y="5034756"/>
                      <a:pt x="3841113" y="5034510"/>
                      <a:pt x="3840868" y="5034510"/>
                    </a:cubicBezTo>
                    <a:cubicBezTo>
                      <a:pt x="3840619" y="5034510"/>
                      <a:pt x="3840373" y="5034756"/>
                      <a:pt x="3840373" y="5035005"/>
                    </a:cubicBezTo>
                    <a:cubicBezTo>
                      <a:pt x="3840373" y="5035251"/>
                      <a:pt x="3840619" y="5035497"/>
                      <a:pt x="3840868" y="5035497"/>
                    </a:cubicBezTo>
                    <a:cubicBezTo>
                      <a:pt x="3841113" y="5035497"/>
                      <a:pt x="3841359" y="5035251"/>
                      <a:pt x="3841359" y="5035005"/>
                    </a:cubicBezTo>
                    <a:close/>
                    <a:moveTo>
                      <a:pt x="3842840" y="5256429"/>
                    </a:moveTo>
                    <a:cubicBezTo>
                      <a:pt x="3842840" y="5255936"/>
                      <a:pt x="3842345" y="5255442"/>
                      <a:pt x="3841853" y="5255442"/>
                    </a:cubicBezTo>
                    <a:cubicBezTo>
                      <a:pt x="3841359" y="5255442"/>
                      <a:pt x="3840868" y="5255936"/>
                      <a:pt x="3840868" y="5256429"/>
                    </a:cubicBezTo>
                    <a:cubicBezTo>
                      <a:pt x="3840868" y="5256923"/>
                      <a:pt x="3841359" y="5257414"/>
                      <a:pt x="3841853" y="5257414"/>
                    </a:cubicBezTo>
                    <a:cubicBezTo>
                      <a:pt x="3842595" y="5257414"/>
                      <a:pt x="3843085" y="5256923"/>
                      <a:pt x="3842840" y="5256429"/>
                    </a:cubicBezTo>
                    <a:close/>
                    <a:moveTo>
                      <a:pt x="3844072" y="5476867"/>
                    </a:moveTo>
                    <a:cubicBezTo>
                      <a:pt x="3844072" y="5476129"/>
                      <a:pt x="3843332" y="5475388"/>
                      <a:pt x="3842591" y="5475388"/>
                    </a:cubicBezTo>
                    <a:cubicBezTo>
                      <a:pt x="3841853" y="5475388"/>
                      <a:pt x="3841113" y="5476129"/>
                      <a:pt x="3841113" y="5476867"/>
                    </a:cubicBezTo>
                    <a:cubicBezTo>
                      <a:pt x="3841113" y="5477607"/>
                      <a:pt x="3841853" y="5478348"/>
                      <a:pt x="3842591" y="5478348"/>
                    </a:cubicBezTo>
                    <a:cubicBezTo>
                      <a:pt x="3843332" y="5478348"/>
                      <a:pt x="3844072" y="5477607"/>
                      <a:pt x="3844072" y="5476867"/>
                    </a:cubicBezTo>
                    <a:close/>
                    <a:moveTo>
                      <a:pt x="3844565" y="6134979"/>
                    </a:moveTo>
                    <a:cubicBezTo>
                      <a:pt x="3844565" y="6133747"/>
                      <a:pt x="3843579" y="6132760"/>
                      <a:pt x="3842345" y="6132760"/>
                    </a:cubicBezTo>
                    <a:cubicBezTo>
                      <a:pt x="3840866" y="6132760"/>
                      <a:pt x="3839879" y="6133747"/>
                      <a:pt x="3839879" y="6134979"/>
                    </a:cubicBezTo>
                    <a:cubicBezTo>
                      <a:pt x="3839879" y="6136460"/>
                      <a:pt x="3841111" y="6137446"/>
                      <a:pt x="3842345" y="6137446"/>
                    </a:cubicBezTo>
                    <a:cubicBezTo>
                      <a:pt x="3843579" y="6137446"/>
                      <a:pt x="3844565" y="6136460"/>
                      <a:pt x="3844565" y="6134979"/>
                    </a:cubicBezTo>
                    <a:close/>
                    <a:moveTo>
                      <a:pt x="3844565" y="6244462"/>
                    </a:moveTo>
                    <a:cubicBezTo>
                      <a:pt x="3844565" y="6242981"/>
                      <a:pt x="3843579" y="6241994"/>
                      <a:pt x="3842345" y="6241994"/>
                    </a:cubicBezTo>
                    <a:cubicBezTo>
                      <a:pt x="3840866" y="6241994"/>
                      <a:pt x="3839879" y="6243226"/>
                      <a:pt x="3839879" y="6244462"/>
                    </a:cubicBezTo>
                    <a:cubicBezTo>
                      <a:pt x="3839879" y="6245694"/>
                      <a:pt x="3841111" y="6246680"/>
                      <a:pt x="3842345" y="6246680"/>
                    </a:cubicBezTo>
                    <a:cubicBezTo>
                      <a:pt x="3843579" y="6246680"/>
                      <a:pt x="3844565" y="6245694"/>
                      <a:pt x="3844565" y="6244462"/>
                    </a:cubicBezTo>
                    <a:close/>
                    <a:moveTo>
                      <a:pt x="3844565" y="6462926"/>
                    </a:moveTo>
                    <a:cubicBezTo>
                      <a:pt x="3844565" y="6461939"/>
                      <a:pt x="3843823" y="6460952"/>
                      <a:pt x="3842591" y="6460952"/>
                    </a:cubicBezTo>
                    <a:cubicBezTo>
                      <a:pt x="3841605" y="6460952"/>
                      <a:pt x="3840619" y="6461693"/>
                      <a:pt x="3840619" y="6462926"/>
                    </a:cubicBezTo>
                    <a:cubicBezTo>
                      <a:pt x="3840619" y="6463911"/>
                      <a:pt x="3841605" y="6464898"/>
                      <a:pt x="3842591" y="6464898"/>
                    </a:cubicBezTo>
                    <a:cubicBezTo>
                      <a:pt x="3843578" y="6464898"/>
                      <a:pt x="3844565" y="6463911"/>
                      <a:pt x="3844565" y="6462926"/>
                    </a:cubicBezTo>
                    <a:close/>
                    <a:moveTo>
                      <a:pt x="3844567" y="6353446"/>
                    </a:moveTo>
                    <a:cubicBezTo>
                      <a:pt x="3844567" y="6352460"/>
                      <a:pt x="3843581" y="6351719"/>
                      <a:pt x="3842595" y="6351719"/>
                    </a:cubicBezTo>
                    <a:cubicBezTo>
                      <a:pt x="3841608" y="6351719"/>
                      <a:pt x="3840868" y="6352460"/>
                      <a:pt x="3840868" y="6353446"/>
                    </a:cubicBezTo>
                    <a:cubicBezTo>
                      <a:pt x="3840868" y="6354678"/>
                      <a:pt x="3841608" y="6355419"/>
                      <a:pt x="3842595" y="6355419"/>
                    </a:cubicBezTo>
                    <a:cubicBezTo>
                      <a:pt x="3843581" y="6355419"/>
                      <a:pt x="3844318" y="6354678"/>
                      <a:pt x="3844567" y="6353446"/>
                    </a:cubicBezTo>
                    <a:close/>
                    <a:moveTo>
                      <a:pt x="3846537" y="6790132"/>
                    </a:moveTo>
                    <a:cubicBezTo>
                      <a:pt x="3846537" y="6788897"/>
                      <a:pt x="3845551" y="6787665"/>
                      <a:pt x="3844070" y="6787665"/>
                    </a:cubicBezTo>
                    <a:cubicBezTo>
                      <a:pt x="3842591" y="6787665"/>
                      <a:pt x="3841605" y="6788651"/>
                      <a:pt x="3841605" y="6790132"/>
                    </a:cubicBezTo>
                    <a:cubicBezTo>
                      <a:pt x="3841605" y="6791610"/>
                      <a:pt x="3842591" y="6792597"/>
                      <a:pt x="3844070" y="6792597"/>
                    </a:cubicBezTo>
                    <a:cubicBezTo>
                      <a:pt x="3845551" y="6792597"/>
                      <a:pt x="3846537" y="6791364"/>
                      <a:pt x="3846537" y="6790132"/>
                    </a:cubicBezTo>
                    <a:close/>
                    <a:moveTo>
                      <a:pt x="3846785" y="6025254"/>
                    </a:moveTo>
                    <a:cubicBezTo>
                      <a:pt x="3846785" y="6023526"/>
                      <a:pt x="3845304" y="6022294"/>
                      <a:pt x="3843827" y="6022294"/>
                    </a:cubicBezTo>
                    <a:cubicBezTo>
                      <a:pt x="3842100" y="6022294"/>
                      <a:pt x="3840868" y="6023773"/>
                      <a:pt x="3840868" y="6025254"/>
                    </a:cubicBezTo>
                    <a:cubicBezTo>
                      <a:pt x="3840868" y="6026980"/>
                      <a:pt x="3842345" y="6028212"/>
                      <a:pt x="3843827" y="6028212"/>
                    </a:cubicBezTo>
                    <a:cubicBezTo>
                      <a:pt x="3845304" y="6028212"/>
                      <a:pt x="3846540" y="6026980"/>
                      <a:pt x="3846785" y="6025254"/>
                    </a:cubicBezTo>
                    <a:close/>
                    <a:moveTo>
                      <a:pt x="3847031" y="1807924"/>
                    </a:moveTo>
                    <a:cubicBezTo>
                      <a:pt x="3847031" y="1801274"/>
                      <a:pt x="3841605" y="1795846"/>
                      <a:pt x="3834947" y="1795846"/>
                    </a:cubicBezTo>
                    <a:cubicBezTo>
                      <a:pt x="3828291" y="1795846"/>
                      <a:pt x="3822866" y="1801274"/>
                      <a:pt x="3822866" y="1807924"/>
                    </a:cubicBezTo>
                    <a:cubicBezTo>
                      <a:pt x="3822866" y="1814584"/>
                      <a:pt x="3828291" y="1820008"/>
                      <a:pt x="3834947" y="1820008"/>
                    </a:cubicBezTo>
                    <a:cubicBezTo>
                      <a:pt x="3841605" y="1820008"/>
                      <a:pt x="3847031" y="1814584"/>
                      <a:pt x="3847031" y="1807924"/>
                    </a:cubicBezTo>
                    <a:close/>
                    <a:moveTo>
                      <a:pt x="3847278" y="6898872"/>
                    </a:moveTo>
                    <a:cubicBezTo>
                      <a:pt x="3847278" y="6897391"/>
                      <a:pt x="3846045" y="6896159"/>
                      <a:pt x="3844567" y="6896159"/>
                    </a:cubicBezTo>
                    <a:cubicBezTo>
                      <a:pt x="3843332" y="6896159"/>
                      <a:pt x="3842100" y="6897391"/>
                      <a:pt x="3842100" y="6898872"/>
                    </a:cubicBezTo>
                    <a:cubicBezTo>
                      <a:pt x="3842100" y="6900350"/>
                      <a:pt x="3843085" y="6901585"/>
                      <a:pt x="3844567" y="6901585"/>
                    </a:cubicBezTo>
                    <a:cubicBezTo>
                      <a:pt x="3846045" y="6901585"/>
                      <a:pt x="3847278" y="6900350"/>
                      <a:pt x="3847278" y="6898872"/>
                    </a:cubicBezTo>
                    <a:close/>
                    <a:moveTo>
                      <a:pt x="3847523" y="5366649"/>
                    </a:moveTo>
                    <a:cubicBezTo>
                      <a:pt x="3847523" y="5363936"/>
                      <a:pt x="3845304" y="5361963"/>
                      <a:pt x="3842840" y="5361963"/>
                    </a:cubicBezTo>
                    <a:cubicBezTo>
                      <a:pt x="3840127" y="5361963"/>
                      <a:pt x="3838155" y="5364182"/>
                      <a:pt x="3838155" y="5366649"/>
                    </a:cubicBezTo>
                    <a:cubicBezTo>
                      <a:pt x="3838155" y="5369361"/>
                      <a:pt x="3840373" y="5371335"/>
                      <a:pt x="3842840" y="5371335"/>
                    </a:cubicBezTo>
                    <a:cubicBezTo>
                      <a:pt x="3845304" y="5371335"/>
                      <a:pt x="3847277" y="5369113"/>
                      <a:pt x="3847523" y="5366649"/>
                    </a:cubicBezTo>
                    <a:close/>
                    <a:moveTo>
                      <a:pt x="3847525" y="6680898"/>
                    </a:moveTo>
                    <a:cubicBezTo>
                      <a:pt x="3847525" y="6679417"/>
                      <a:pt x="3846291" y="6678185"/>
                      <a:pt x="3844813" y="6678185"/>
                    </a:cubicBezTo>
                    <a:cubicBezTo>
                      <a:pt x="3843332" y="6678185"/>
                      <a:pt x="3842100" y="6679417"/>
                      <a:pt x="3842100" y="6680898"/>
                    </a:cubicBezTo>
                    <a:cubicBezTo>
                      <a:pt x="3842100" y="6682376"/>
                      <a:pt x="3843332" y="6683611"/>
                      <a:pt x="3844813" y="6683611"/>
                    </a:cubicBezTo>
                    <a:cubicBezTo>
                      <a:pt x="3846291" y="6683611"/>
                      <a:pt x="3847525" y="6682376"/>
                      <a:pt x="3847525" y="6680898"/>
                    </a:cubicBezTo>
                    <a:close/>
                    <a:moveTo>
                      <a:pt x="3847771" y="5806049"/>
                    </a:moveTo>
                    <a:cubicBezTo>
                      <a:pt x="3847771" y="5804568"/>
                      <a:pt x="3846539" y="5803581"/>
                      <a:pt x="3845304" y="5803581"/>
                    </a:cubicBezTo>
                    <a:cubicBezTo>
                      <a:pt x="3843825" y="5803581"/>
                      <a:pt x="3842840" y="5804813"/>
                      <a:pt x="3842840" y="5806049"/>
                    </a:cubicBezTo>
                    <a:cubicBezTo>
                      <a:pt x="3842840" y="5807527"/>
                      <a:pt x="3844072" y="5808513"/>
                      <a:pt x="3845304" y="5808513"/>
                    </a:cubicBezTo>
                    <a:cubicBezTo>
                      <a:pt x="3846785" y="5808513"/>
                      <a:pt x="3847771" y="5807281"/>
                      <a:pt x="3847771" y="5806049"/>
                    </a:cubicBezTo>
                    <a:close/>
                    <a:moveTo>
                      <a:pt x="3847771" y="6571665"/>
                    </a:moveTo>
                    <a:cubicBezTo>
                      <a:pt x="3847771" y="6570184"/>
                      <a:pt x="3846537" y="6568952"/>
                      <a:pt x="3845059" y="6568952"/>
                    </a:cubicBezTo>
                    <a:cubicBezTo>
                      <a:pt x="3843578" y="6568952"/>
                      <a:pt x="3842345" y="6570184"/>
                      <a:pt x="3842345" y="6571665"/>
                    </a:cubicBezTo>
                    <a:cubicBezTo>
                      <a:pt x="3842345" y="6573143"/>
                      <a:pt x="3843578" y="6574378"/>
                      <a:pt x="3845059" y="6574378"/>
                    </a:cubicBezTo>
                    <a:cubicBezTo>
                      <a:pt x="3846537" y="6574378"/>
                      <a:pt x="3847771" y="6573143"/>
                      <a:pt x="3847771" y="6571665"/>
                    </a:cubicBezTo>
                    <a:close/>
                    <a:moveTo>
                      <a:pt x="3848017" y="7007856"/>
                    </a:moveTo>
                    <a:cubicBezTo>
                      <a:pt x="3848017" y="7005883"/>
                      <a:pt x="3846539" y="7004403"/>
                      <a:pt x="3844563" y="7004403"/>
                    </a:cubicBezTo>
                    <a:cubicBezTo>
                      <a:pt x="3842591" y="7004403"/>
                      <a:pt x="3841113" y="7006130"/>
                      <a:pt x="3841113" y="7007856"/>
                    </a:cubicBezTo>
                    <a:cubicBezTo>
                      <a:pt x="3841113" y="7009829"/>
                      <a:pt x="3842591" y="7011307"/>
                      <a:pt x="3844563" y="7011307"/>
                    </a:cubicBezTo>
                    <a:cubicBezTo>
                      <a:pt x="3846539" y="7011307"/>
                      <a:pt x="3848017" y="7009829"/>
                      <a:pt x="3848017" y="7007856"/>
                    </a:cubicBezTo>
                    <a:close/>
                    <a:moveTo>
                      <a:pt x="3848509" y="4700894"/>
                    </a:moveTo>
                    <a:cubicBezTo>
                      <a:pt x="3848509" y="4693495"/>
                      <a:pt x="3842591" y="4687577"/>
                      <a:pt x="3835192" y="4687577"/>
                    </a:cubicBezTo>
                    <a:cubicBezTo>
                      <a:pt x="3827797" y="4687577"/>
                      <a:pt x="3821879" y="4693495"/>
                      <a:pt x="3821879" y="4700894"/>
                    </a:cubicBezTo>
                    <a:cubicBezTo>
                      <a:pt x="3821879" y="4708289"/>
                      <a:pt x="3827797" y="4714207"/>
                      <a:pt x="3835192" y="4714207"/>
                    </a:cubicBezTo>
                    <a:cubicBezTo>
                      <a:pt x="3842591" y="4714207"/>
                      <a:pt x="3848509" y="4708289"/>
                      <a:pt x="3848509" y="4700894"/>
                    </a:cubicBezTo>
                    <a:close/>
                    <a:moveTo>
                      <a:pt x="3848511" y="7116845"/>
                    </a:moveTo>
                    <a:cubicBezTo>
                      <a:pt x="3848511" y="7114871"/>
                      <a:pt x="3846784" y="7113145"/>
                      <a:pt x="3844812" y="7113145"/>
                    </a:cubicBezTo>
                    <a:cubicBezTo>
                      <a:pt x="3842840" y="7113145"/>
                      <a:pt x="3841113" y="7114871"/>
                      <a:pt x="3841113" y="7116845"/>
                    </a:cubicBezTo>
                    <a:cubicBezTo>
                      <a:pt x="3841113" y="7118817"/>
                      <a:pt x="3842840" y="7120543"/>
                      <a:pt x="3844812" y="7120543"/>
                    </a:cubicBezTo>
                    <a:cubicBezTo>
                      <a:pt x="3847031" y="7120543"/>
                      <a:pt x="3848511" y="7119062"/>
                      <a:pt x="3848511" y="7116845"/>
                    </a:cubicBezTo>
                    <a:close/>
                    <a:moveTo>
                      <a:pt x="3849250" y="7225829"/>
                    </a:moveTo>
                    <a:cubicBezTo>
                      <a:pt x="3849250" y="7223611"/>
                      <a:pt x="3847277" y="7221638"/>
                      <a:pt x="3845059" y="7221638"/>
                    </a:cubicBezTo>
                    <a:cubicBezTo>
                      <a:pt x="3842840" y="7221638"/>
                      <a:pt x="3840868" y="7223611"/>
                      <a:pt x="3840868" y="7225829"/>
                    </a:cubicBezTo>
                    <a:cubicBezTo>
                      <a:pt x="3840868" y="7228048"/>
                      <a:pt x="3842840" y="7230020"/>
                      <a:pt x="3845059" y="7230020"/>
                    </a:cubicBezTo>
                    <a:cubicBezTo>
                      <a:pt x="3847525" y="7230020"/>
                      <a:pt x="3849250" y="7228048"/>
                      <a:pt x="3849250" y="7225829"/>
                    </a:cubicBezTo>
                    <a:close/>
                    <a:moveTo>
                      <a:pt x="3849495" y="5696319"/>
                    </a:moveTo>
                    <a:cubicBezTo>
                      <a:pt x="3849495" y="5694100"/>
                      <a:pt x="3847769" y="5692374"/>
                      <a:pt x="3845551" y="5692374"/>
                    </a:cubicBezTo>
                    <a:cubicBezTo>
                      <a:pt x="3843332" y="5692374"/>
                      <a:pt x="3841605" y="5694100"/>
                      <a:pt x="3841605" y="5696319"/>
                    </a:cubicBezTo>
                    <a:cubicBezTo>
                      <a:pt x="3841605" y="5698293"/>
                      <a:pt x="3843578" y="5700019"/>
                      <a:pt x="3845551" y="5700019"/>
                    </a:cubicBezTo>
                    <a:cubicBezTo>
                      <a:pt x="3847523" y="5700019"/>
                      <a:pt x="3849250" y="5698293"/>
                      <a:pt x="3849495" y="5696319"/>
                    </a:cubicBezTo>
                    <a:close/>
                    <a:moveTo>
                      <a:pt x="3849496" y="5915774"/>
                    </a:moveTo>
                    <a:cubicBezTo>
                      <a:pt x="3849496" y="5912815"/>
                      <a:pt x="3847032" y="5910348"/>
                      <a:pt x="3844073" y="5910348"/>
                    </a:cubicBezTo>
                    <a:cubicBezTo>
                      <a:pt x="3841113" y="5910348"/>
                      <a:pt x="3838647" y="5912815"/>
                      <a:pt x="3838647" y="5915774"/>
                    </a:cubicBezTo>
                    <a:cubicBezTo>
                      <a:pt x="3838647" y="5918731"/>
                      <a:pt x="3841113" y="5921197"/>
                      <a:pt x="3844073" y="5921197"/>
                    </a:cubicBezTo>
                    <a:cubicBezTo>
                      <a:pt x="3847278" y="5921197"/>
                      <a:pt x="3849496" y="5918731"/>
                      <a:pt x="3849496" y="5915774"/>
                    </a:cubicBezTo>
                    <a:close/>
                    <a:moveTo>
                      <a:pt x="3850484" y="7443311"/>
                    </a:moveTo>
                    <a:cubicBezTo>
                      <a:pt x="3850484" y="7441338"/>
                      <a:pt x="3848757" y="7439611"/>
                      <a:pt x="3846785" y="7439611"/>
                    </a:cubicBezTo>
                    <a:cubicBezTo>
                      <a:pt x="3844813" y="7439611"/>
                      <a:pt x="3843087" y="7441338"/>
                      <a:pt x="3843087" y="7443311"/>
                    </a:cubicBezTo>
                    <a:cubicBezTo>
                      <a:pt x="3843087" y="7445283"/>
                      <a:pt x="3844813" y="7447007"/>
                      <a:pt x="3846785" y="7447007"/>
                    </a:cubicBezTo>
                    <a:cubicBezTo>
                      <a:pt x="3848757" y="7447007"/>
                      <a:pt x="3850484" y="7445283"/>
                      <a:pt x="3850484" y="7443311"/>
                    </a:cubicBezTo>
                    <a:close/>
                    <a:moveTo>
                      <a:pt x="3850976" y="7552295"/>
                    </a:moveTo>
                    <a:cubicBezTo>
                      <a:pt x="3850976" y="7550077"/>
                      <a:pt x="3849250" y="7548350"/>
                      <a:pt x="3847032" y="7548350"/>
                    </a:cubicBezTo>
                    <a:cubicBezTo>
                      <a:pt x="3844813" y="7548350"/>
                      <a:pt x="3843087" y="7550077"/>
                      <a:pt x="3843087" y="7552295"/>
                    </a:cubicBezTo>
                    <a:cubicBezTo>
                      <a:pt x="3843087" y="7554514"/>
                      <a:pt x="3844813" y="7556241"/>
                      <a:pt x="3847032" y="7556241"/>
                    </a:cubicBezTo>
                    <a:cubicBezTo>
                      <a:pt x="3849250" y="7556241"/>
                      <a:pt x="3850976" y="7554514"/>
                      <a:pt x="3850976" y="7552295"/>
                    </a:cubicBezTo>
                    <a:close/>
                    <a:moveTo>
                      <a:pt x="3851222" y="7334569"/>
                    </a:moveTo>
                    <a:cubicBezTo>
                      <a:pt x="3851222" y="7332105"/>
                      <a:pt x="3849250" y="7330132"/>
                      <a:pt x="3846782" y="7330132"/>
                    </a:cubicBezTo>
                    <a:cubicBezTo>
                      <a:pt x="3844318" y="7330132"/>
                      <a:pt x="3842345" y="7332105"/>
                      <a:pt x="3842345" y="7334569"/>
                    </a:cubicBezTo>
                    <a:cubicBezTo>
                      <a:pt x="3842345" y="7337036"/>
                      <a:pt x="3844318" y="7339009"/>
                      <a:pt x="3846782" y="7339009"/>
                    </a:cubicBezTo>
                    <a:cubicBezTo>
                      <a:pt x="3849250" y="7339009"/>
                      <a:pt x="3851468" y="7337036"/>
                      <a:pt x="3851222" y="7334569"/>
                    </a:cubicBezTo>
                    <a:close/>
                    <a:moveTo>
                      <a:pt x="3852454" y="4588208"/>
                    </a:moveTo>
                    <a:cubicBezTo>
                      <a:pt x="3852454" y="4578099"/>
                      <a:pt x="3844318" y="4569962"/>
                      <a:pt x="3834209" y="4569962"/>
                    </a:cubicBezTo>
                    <a:cubicBezTo>
                      <a:pt x="3824097" y="4569962"/>
                      <a:pt x="3815962" y="4578099"/>
                      <a:pt x="3815962" y="4588208"/>
                    </a:cubicBezTo>
                    <a:cubicBezTo>
                      <a:pt x="3815962" y="4598320"/>
                      <a:pt x="3824097" y="4606456"/>
                      <a:pt x="3834209" y="4606456"/>
                    </a:cubicBezTo>
                    <a:cubicBezTo>
                      <a:pt x="3844318" y="4606456"/>
                      <a:pt x="3852700" y="4598071"/>
                      <a:pt x="3852454" y="4588208"/>
                    </a:cubicBezTo>
                    <a:close/>
                    <a:moveTo>
                      <a:pt x="3853934" y="4122180"/>
                    </a:moveTo>
                    <a:cubicBezTo>
                      <a:pt x="3853934" y="4108618"/>
                      <a:pt x="3842837" y="4097769"/>
                      <a:pt x="3829523" y="4097769"/>
                    </a:cubicBezTo>
                    <a:cubicBezTo>
                      <a:pt x="3815960" y="4097769"/>
                      <a:pt x="3805112" y="4108864"/>
                      <a:pt x="3805112" y="4122180"/>
                    </a:cubicBezTo>
                    <a:cubicBezTo>
                      <a:pt x="3805112" y="4135742"/>
                      <a:pt x="3816207" y="4146589"/>
                      <a:pt x="3829523" y="4146589"/>
                    </a:cubicBezTo>
                    <a:cubicBezTo>
                      <a:pt x="3843085" y="4146589"/>
                      <a:pt x="3853934" y="4135742"/>
                      <a:pt x="3853934" y="4122180"/>
                    </a:cubicBezTo>
                    <a:close/>
                    <a:moveTo>
                      <a:pt x="3854675" y="1919098"/>
                    </a:moveTo>
                    <a:cubicBezTo>
                      <a:pt x="3854675" y="1908500"/>
                      <a:pt x="3846044" y="1899870"/>
                      <a:pt x="3835442" y="1899870"/>
                    </a:cubicBezTo>
                    <a:cubicBezTo>
                      <a:pt x="3824841" y="1899870"/>
                      <a:pt x="3816210" y="1908500"/>
                      <a:pt x="3816210" y="1919098"/>
                    </a:cubicBezTo>
                    <a:cubicBezTo>
                      <a:pt x="3816210" y="1929699"/>
                      <a:pt x="3824841" y="1938329"/>
                      <a:pt x="3835442" y="1938329"/>
                    </a:cubicBezTo>
                    <a:cubicBezTo>
                      <a:pt x="3846293" y="1938329"/>
                      <a:pt x="3854921" y="1929699"/>
                      <a:pt x="3854675" y="1919098"/>
                    </a:cubicBezTo>
                    <a:close/>
                    <a:moveTo>
                      <a:pt x="3856893" y="2950213"/>
                    </a:moveTo>
                    <a:cubicBezTo>
                      <a:pt x="3856893" y="2928019"/>
                      <a:pt x="3838893" y="2910021"/>
                      <a:pt x="3816702" y="2910021"/>
                    </a:cubicBezTo>
                    <a:cubicBezTo>
                      <a:pt x="3794508" y="2910021"/>
                      <a:pt x="3776510" y="2928019"/>
                      <a:pt x="3776510" y="2950213"/>
                    </a:cubicBezTo>
                    <a:cubicBezTo>
                      <a:pt x="3776510" y="2972403"/>
                      <a:pt x="3794508" y="2990403"/>
                      <a:pt x="3816702" y="2990403"/>
                    </a:cubicBezTo>
                    <a:cubicBezTo>
                      <a:pt x="3838647" y="2990403"/>
                      <a:pt x="3856893" y="2972403"/>
                      <a:pt x="3856893" y="2950213"/>
                    </a:cubicBezTo>
                    <a:close/>
                    <a:moveTo>
                      <a:pt x="3861823" y="2030277"/>
                    </a:moveTo>
                    <a:cubicBezTo>
                      <a:pt x="3861823" y="2015975"/>
                      <a:pt x="3850235" y="2004388"/>
                      <a:pt x="3835933" y="2004388"/>
                    </a:cubicBezTo>
                    <a:cubicBezTo>
                      <a:pt x="3821633" y="2004388"/>
                      <a:pt x="3810044" y="2015975"/>
                      <a:pt x="3810044" y="2030277"/>
                    </a:cubicBezTo>
                    <a:cubicBezTo>
                      <a:pt x="3810044" y="2044579"/>
                      <a:pt x="3821633" y="2056168"/>
                      <a:pt x="3835933" y="2056168"/>
                    </a:cubicBezTo>
                    <a:cubicBezTo>
                      <a:pt x="3850235" y="2056168"/>
                      <a:pt x="3861823" y="2044579"/>
                      <a:pt x="3861823" y="2030277"/>
                    </a:cubicBezTo>
                    <a:close/>
                    <a:moveTo>
                      <a:pt x="3862317" y="5145963"/>
                    </a:moveTo>
                    <a:cubicBezTo>
                      <a:pt x="3862317" y="5134377"/>
                      <a:pt x="3852949" y="5125005"/>
                      <a:pt x="3841359" y="5125005"/>
                    </a:cubicBezTo>
                    <a:cubicBezTo>
                      <a:pt x="3829770" y="5125005"/>
                      <a:pt x="3820401" y="5134377"/>
                      <a:pt x="3820401" y="5145963"/>
                    </a:cubicBezTo>
                    <a:cubicBezTo>
                      <a:pt x="3820401" y="5157307"/>
                      <a:pt x="3829770" y="5166675"/>
                      <a:pt x="3841359" y="5166675"/>
                    </a:cubicBezTo>
                    <a:cubicBezTo>
                      <a:pt x="3852949" y="5166675"/>
                      <a:pt x="3862317" y="5157307"/>
                      <a:pt x="3862317" y="5145963"/>
                    </a:cubicBezTo>
                    <a:close/>
                    <a:moveTo>
                      <a:pt x="3863796" y="1586748"/>
                    </a:moveTo>
                    <a:cubicBezTo>
                      <a:pt x="3863796" y="1569986"/>
                      <a:pt x="3850235" y="1556424"/>
                      <a:pt x="3833469" y="1556424"/>
                    </a:cubicBezTo>
                    <a:cubicBezTo>
                      <a:pt x="3816702" y="1556424"/>
                      <a:pt x="3803139" y="1569986"/>
                      <a:pt x="3803139" y="1586748"/>
                    </a:cubicBezTo>
                    <a:cubicBezTo>
                      <a:pt x="3803139" y="1603519"/>
                      <a:pt x="3816702" y="1617079"/>
                      <a:pt x="3833469" y="1617079"/>
                    </a:cubicBezTo>
                    <a:cubicBezTo>
                      <a:pt x="3850235" y="1617079"/>
                      <a:pt x="3863796" y="1603519"/>
                      <a:pt x="3863796" y="1586748"/>
                    </a:cubicBezTo>
                    <a:close/>
                    <a:moveTo>
                      <a:pt x="3868481" y="55493"/>
                    </a:moveTo>
                    <a:cubicBezTo>
                      <a:pt x="3868481" y="37000"/>
                      <a:pt x="3853440" y="22205"/>
                      <a:pt x="3835195" y="22205"/>
                    </a:cubicBezTo>
                    <a:cubicBezTo>
                      <a:pt x="3816702" y="22205"/>
                      <a:pt x="3801907" y="37245"/>
                      <a:pt x="3801907" y="55493"/>
                    </a:cubicBezTo>
                    <a:cubicBezTo>
                      <a:pt x="3801907" y="73986"/>
                      <a:pt x="3816947" y="88779"/>
                      <a:pt x="3835195" y="88779"/>
                    </a:cubicBezTo>
                    <a:cubicBezTo>
                      <a:pt x="3853440" y="88779"/>
                      <a:pt x="3868234" y="73737"/>
                      <a:pt x="3868481" y="55493"/>
                    </a:cubicBezTo>
                    <a:close/>
                    <a:moveTo>
                      <a:pt x="3868484" y="273413"/>
                    </a:moveTo>
                    <a:cubicBezTo>
                      <a:pt x="3868484" y="255415"/>
                      <a:pt x="3853687" y="240621"/>
                      <a:pt x="3835688" y="240621"/>
                    </a:cubicBezTo>
                    <a:cubicBezTo>
                      <a:pt x="3817688" y="240621"/>
                      <a:pt x="3802894" y="255415"/>
                      <a:pt x="3802894" y="273413"/>
                    </a:cubicBezTo>
                    <a:cubicBezTo>
                      <a:pt x="3802894" y="291415"/>
                      <a:pt x="3817688" y="306206"/>
                      <a:pt x="3835688" y="306206"/>
                    </a:cubicBezTo>
                    <a:cubicBezTo>
                      <a:pt x="3853687" y="306206"/>
                      <a:pt x="3868484" y="291661"/>
                      <a:pt x="3868484" y="273413"/>
                    </a:cubicBezTo>
                    <a:close/>
                    <a:moveTo>
                      <a:pt x="3868728" y="382625"/>
                    </a:moveTo>
                    <a:cubicBezTo>
                      <a:pt x="3868728" y="364626"/>
                      <a:pt x="3853932" y="349832"/>
                      <a:pt x="3835933" y="349832"/>
                    </a:cubicBezTo>
                    <a:cubicBezTo>
                      <a:pt x="3817688" y="349832"/>
                      <a:pt x="3803139" y="364626"/>
                      <a:pt x="3803139" y="382625"/>
                    </a:cubicBezTo>
                    <a:cubicBezTo>
                      <a:pt x="3803139" y="400626"/>
                      <a:pt x="3817934" y="415418"/>
                      <a:pt x="3835933" y="415418"/>
                    </a:cubicBezTo>
                    <a:cubicBezTo>
                      <a:pt x="3853932" y="415418"/>
                      <a:pt x="3868728" y="400626"/>
                      <a:pt x="3868728" y="382625"/>
                    </a:cubicBezTo>
                    <a:close/>
                    <a:moveTo>
                      <a:pt x="3870208" y="164453"/>
                    </a:moveTo>
                    <a:cubicBezTo>
                      <a:pt x="3870208" y="145467"/>
                      <a:pt x="3854673" y="129933"/>
                      <a:pt x="3835688" y="129933"/>
                    </a:cubicBezTo>
                    <a:cubicBezTo>
                      <a:pt x="3816702" y="129933"/>
                      <a:pt x="3801167" y="145467"/>
                      <a:pt x="3801167" y="164453"/>
                    </a:cubicBezTo>
                    <a:cubicBezTo>
                      <a:pt x="3801167" y="183437"/>
                      <a:pt x="3816702" y="198971"/>
                      <a:pt x="3835688" y="198971"/>
                    </a:cubicBezTo>
                    <a:cubicBezTo>
                      <a:pt x="3854673" y="198971"/>
                      <a:pt x="3870208" y="183686"/>
                      <a:pt x="3870208" y="164453"/>
                    </a:cubicBezTo>
                    <a:close/>
                    <a:moveTo>
                      <a:pt x="3871688" y="4359140"/>
                    </a:moveTo>
                    <a:cubicBezTo>
                      <a:pt x="3871688" y="4337194"/>
                      <a:pt x="3853935" y="4319441"/>
                      <a:pt x="3831988" y="4319441"/>
                    </a:cubicBezTo>
                    <a:cubicBezTo>
                      <a:pt x="3810044" y="4319441"/>
                      <a:pt x="3792291" y="4337194"/>
                      <a:pt x="3792291" y="4359140"/>
                    </a:cubicBezTo>
                    <a:cubicBezTo>
                      <a:pt x="3792291" y="4381087"/>
                      <a:pt x="3810290" y="4398840"/>
                      <a:pt x="3831988" y="4398840"/>
                    </a:cubicBezTo>
                    <a:cubicBezTo>
                      <a:pt x="3853687" y="4398840"/>
                      <a:pt x="3871440" y="4381087"/>
                      <a:pt x="3871688" y="4359140"/>
                    </a:cubicBezTo>
                    <a:close/>
                    <a:moveTo>
                      <a:pt x="3871934" y="1476545"/>
                    </a:moveTo>
                    <a:cubicBezTo>
                      <a:pt x="3871934" y="1455337"/>
                      <a:pt x="3854673" y="1438080"/>
                      <a:pt x="3833469" y="1438080"/>
                    </a:cubicBezTo>
                    <a:cubicBezTo>
                      <a:pt x="3812262" y="1438080"/>
                      <a:pt x="3795003" y="1455337"/>
                      <a:pt x="3795003" y="1476545"/>
                    </a:cubicBezTo>
                    <a:cubicBezTo>
                      <a:pt x="3795003" y="1497749"/>
                      <a:pt x="3812262" y="1515013"/>
                      <a:pt x="3833469" y="1515013"/>
                    </a:cubicBezTo>
                    <a:cubicBezTo>
                      <a:pt x="3854673" y="1515013"/>
                      <a:pt x="3871688" y="1497998"/>
                      <a:pt x="3871934" y="1476545"/>
                    </a:cubicBezTo>
                    <a:close/>
                    <a:moveTo>
                      <a:pt x="3871935" y="1366832"/>
                    </a:moveTo>
                    <a:cubicBezTo>
                      <a:pt x="3871935" y="1345136"/>
                      <a:pt x="3854430" y="1327624"/>
                      <a:pt x="3832731" y="1327624"/>
                    </a:cubicBezTo>
                    <a:cubicBezTo>
                      <a:pt x="3811032" y="1327624"/>
                      <a:pt x="3793525" y="1345136"/>
                      <a:pt x="3793525" y="1366832"/>
                    </a:cubicBezTo>
                    <a:cubicBezTo>
                      <a:pt x="3793525" y="1388530"/>
                      <a:pt x="3811032" y="1406040"/>
                      <a:pt x="3832731" y="1406040"/>
                    </a:cubicBezTo>
                    <a:cubicBezTo>
                      <a:pt x="3854430" y="1406040"/>
                      <a:pt x="3871935" y="1388283"/>
                      <a:pt x="3871935" y="1366832"/>
                    </a:cubicBezTo>
                    <a:close/>
                    <a:moveTo>
                      <a:pt x="3876620" y="4923553"/>
                    </a:moveTo>
                    <a:cubicBezTo>
                      <a:pt x="3876620" y="4903827"/>
                      <a:pt x="3860590" y="4887800"/>
                      <a:pt x="3840865" y="4887800"/>
                    </a:cubicBezTo>
                    <a:cubicBezTo>
                      <a:pt x="3821138" y="4887800"/>
                      <a:pt x="3805112" y="4903827"/>
                      <a:pt x="3805112" y="4923553"/>
                    </a:cubicBezTo>
                    <a:cubicBezTo>
                      <a:pt x="3805112" y="4943524"/>
                      <a:pt x="3821138" y="4959555"/>
                      <a:pt x="3840865" y="4959555"/>
                    </a:cubicBezTo>
                    <a:cubicBezTo>
                      <a:pt x="3860590" y="4959555"/>
                      <a:pt x="3876620" y="4943279"/>
                      <a:pt x="3876620" y="4923553"/>
                    </a:cubicBezTo>
                    <a:close/>
                    <a:moveTo>
                      <a:pt x="3877360" y="4474291"/>
                    </a:moveTo>
                    <a:cubicBezTo>
                      <a:pt x="3877360" y="4449879"/>
                      <a:pt x="3857631" y="4430153"/>
                      <a:pt x="3833222" y="4430153"/>
                    </a:cubicBezTo>
                    <a:cubicBezTo>
                      <a:pt x="3808810" y="4430153"/>
                      <a:pt x="3789085" y="4449879"/>
                      <a:pt x="3789085" y="4474291"/>
                    </a:cubicBezTo>
                    <a:cubicBezTo>
                      <a:pt x="3789085" y="4498702"/>
                      <a:pt x="3808810" y="4518428"/>
                      <a:pt x="3833222" y="4518428"/>
                    </a:cubicBezTo>
                    <a:cubicBezTo>
                      <a:pt x="3857631" y="4518428"/>
                      <a:pt x="3877360" y="4498702"/>
                      <a:pt x="3877360" y="4474291"/>
                    </a:cubicBezTo>
                    <a:close/>
                    <a:moveTo>
                      <a:pt x="3880074" y="4813088"/>
                    </a:moveTo>
                    <a:cubicBezTo>
                      <a:pt x="3880074" y="4788676"/>
                      <a:pt x="3860345" y="4768949"/>
                      <a:pt x="3835935" y="4768949"/>
                    </a:cubicBezTo>
                    <a:cubicBezTo>
                      <a:pt x="3811524" y="4768949"/>
                      <a:pt x="3791798" y="4788676"/>
                      <a:pt x="3791798" y="4813088"/>
                    </a:cubicBezTo>
                    <a:cubicBezTo>
                      <a:pt x="3791798" y="4837496"/>
                      <a:pt x="3811524" y="4857225"/>
                      <a:pt x="3835935" y="4857225"/>
                    </a:cubicBezTo>
                    <a:cubicBezTo>
                      <a:pt x="3860345" y="4857225"/>
                      <a:pt x="3880320" y="4837250"/>
                      <a:pt x="3880074" y="4813088"/>
                    </a:cubicBezTo>
                    <a:close/>
                    <a:moveTo>
                      <a:pt x="3880320" y="3364950"/>
                    </a:moveTo>
                    <a:cubicBezTo>
                      <a:pt x="3880320" y="3363463"/>
                      <a:pt x="3879085" y="3362233"/>
                      <a:pt x="3877607" y="3362233"/>
                    </a:cubicBezTo>
                    <a:cubicBezTo>
                      <a:pt x="3876126" y="3362233"/>
                      <a:pt x="3874894" y="3363463"/>
                      <a:pt x="3874894" y="3364950"/>
                    </a:cubicBezTo>
                    <a:cubicBezTo>
                      <a:pt x="3874894" y="3366448"/>
                      <a:pt x="3876126" y="3367625"/>
                      <a:pt x="3877607" y="3367625"/>
                    </a:cubicBezTo>
                    <a:cubicBezTo>
                      <a:pt x="3879085" y="3367625"/>
                      <a:pt x="3880320" y="3366448"/>
                      <a:pt x="3880320" y="3364950"/>
                    </a:cubicBezTo>
                    <a:close/>
                    <a:moveTo>
                      <a:pt x="3882289" y="4242263"/>
                    </a:moveTo>
                    <a:cubicBezTo>
                      <a:pt x="3882289" y="4213909"/>
                      <a:pt x="3859358" y="4190729"/>
                      <a:pt x="3830755" y="4190729"/>
                    </a:cubicBezTo>
                    <a:cubicBezTo>
                      <a:pt x="3802401" y="4190729"/>
                      <a:pt x="3779222" y="4213909"/>
                      <a:pt x="3779222" y="4242263"/>
                    </a:cubicBezTo>
                    <a:cubicBezTo>
                      <a:pt x="3779222" y="4270621"/>
                      <a:pt x="3802401" y="4293797"/>
                      <a:pt x="3830755" y="4293797"/>
                    </a:cubicBezTo>
                    <a:cubicBezTo>
                      <a:pt x="3859358" y="4293797"/>
                      <a:pt x="3882538" y="4270866"/>
                      <a:pt x="3882289" y="4242263"/>
                    </a:cubicBezTo>
                    <a:close/>
                    <a:moveTo>
                      <a:pt x="3893879" y="2270187"/>
                    </a:moveTo>
                    <a:cubicBezTo>
                      <a:pt x="3893879" y="2266735"/>
                      <a:pt x="3891166" y="2263777"/>
                      <a:pt x="3887470" y="2263777"/>
                    </a:cubicBezTo>
                    <a:cubicBezTo>
                      <a:pt x="3884016" y="2263777"/>
                      <a:pt x="3881057" y="2266489"/>
                      <a:pt x="3881057" y="2270187"/>
                    </a:cubicBezTo>
                    <a:cubicBezTo>
                      <a:pt x="3881057" y="2273886"/>
                      <a:pt x="3883770" y="2276843"/>
                      <a:pt x="3887470" y="2276843"/>
                    </a:cubicBezTo>
                    <a:cubicBezTo>
                      <a:pt x="3890920" y="2276843"/>
                      <a:pt x="3893879" y="2273886"/>
                      <a:pt x="3893879" y="2270187"/>
                    </a:cubicBezTo>
                    <a:close/>
                    <a:moveTo>
                      <a:pt x="3897330" y="2738657"/>
                    </a:moveTo>
                    <a:cubicBezTo>
                      <a:pt x="3897330" y="2731015"/>
                      <a:pt x="3891167" y="2724603"/>
                      <a:pt x="3883276" y="2724603"/>
                    </a:cubicBezTo>
                    <a:cubicBezTo>
                      <a:pt x="3875632" y="2724603"/>
                      <a:pt x="3869222" y="2730767"/>
                      <a:pt x="3869222" y="2738657"/>
                    </a:cubicBezTo>
                    <a:cubicBezTo>
                      <a:pt x="3869222" y="2746302"/>
                      <a:pt x="3875632" y="2752712"/>
                      <a:pt x="3883276" y="2752712"/>
                    </a:cubicBezTo>
                    <a:cubicBezTo>
                      <a:pt x="3891167" y="2752712"/>
                      <a:pt x="3897330" y="2746302"/>
                      <a:pt x="3897330" y="2738657"/>
                    </a:cubicBezTo>
                    <a:close/>
                    <a:moveTo>
                      <a:pt x="3899305" y="3158564"/>
                    </a:moveTo>
                    <a:cubicBezTo>
                      <a:pt x="3899305" y="3153633"/>
                      <a:pt x="3895360" y="3149687"/>
                      <a:pt x="3890428" y="3149687"/>
                    </a:cubicBezTo>
                    <a:cubicBezTo>
                      <a:pt x="3885498" y="3149687"/>
                      <a:pt x="3881552" y="3153633"/>
                      <a:pt x="3881552" y="3158564"/>
                    </a:cubicBezTo>
                    <a:cubicBezTo>
                      <a:pt x="3881552" y="3163495"/>
                      <a:pt x="3885498" y="3167441"/>
                      <a:pt x="3890428" y="3167441"/>
                    </a:cubicBezTo>
                    <a:cubicBezTo>
                      <a:pt x="3895360" y="3167441"/>
                      <a:pt x="3899305" y="3163495"/>
                      <a:pt x="3899305" y="3158564"/>
                    </a:cubicBezTo>
                    <a:close/>
                    <a:moveTo>
                      <a:pt x="3900289" y="2156524"/>
                    </a:moveTo>
                    <a:cubicBezTo>
                      <a:pt x="3900289" y="2149619"/>
                      <a:pt x="3894620" y="2143947"/>
                      <a:pt x="3887716" y="2143947"/>
                    </a:cubicBezTo>
                    <a:cubicBezTo>
                      <a:pt x="3880812" y="2143947"/>
                      <a:pt x="3875140" y="2149619"/>
                      <a:pt x="3875140" y="2156524"/>
                    </a:cubicBezTo>
                    <a:cubicBezTo>
                      <a:pt x="3875140" y="2163428"/>
                      <a:pt x="3880812" y="2169101"/>
                      <a:pt x="3887716" y="2169101"/>
                    </a:cubicBezTo>
                    <a:cubicBezTo>
                      <a:pt x="3894620" y="2169101"/>
                      <a:pt x="3900289" y="2163428"/>
                      <a:pt x="3900289" y="2156524"/>
                    </a:cubicBezTo>
                    <a:close/>
                    <a:moveTo>
                      <a:pt x="3903248" y="3796700"/>
                    </a:moveTo>
                    <a:cubicBezTo>
                      <a:pt x="3903248" y="3789550"/>
                      <a:pt x="3897329" y="3783633"/>
                      <a:pt x="3890179" y="3783633"/>
                    </a:cubicBezTo>
                    <a:cubicBezTo>
                      <a:pt x="3883029" y="3783633"/>
                      <a:pt x="3877112" y="3789550"/>
                      <a:pt x="3877112" y="3796700"/>
                    </a:cubicBezTo>
                    <a:cubicBezTo>
                      <a:pt x="3877112" y="3803605"/>
                      <a:pt x="3883029" y="3809522"/>
                      <a:pt x="3890179" y="3809522"/>
                    </a:cubicBezTo>
                    <a:cubicBezTo>
                      <a:pt x="3897329" y="3809522"/>
                      <a:pt x="3903248" y="3803605"/>
                      <a:pt x="3903248" y="3796700"/>
                    </a:cubicBezTo>
                    <a:close/>
                    <a:moveTo>
                      <a:pt x="3905223" y="2861449"/>
                    </a:moveTo>
                    <a:cubicBezTo>
                      <a:pt x="3905223" y="2847149"/>
                      <a:pt x="3893634" y="2835314"/>
                      <a:pt x="3879085" y="2835314"/>
                    </a:cubicBezTo>
                    <a:cubicBezTo>
                      <a:pt x="3864784" y="2835314"/>
                      <a:pt x="3852949" y="2846904"/>
                      <a:pt x="3852949" y="2861449"/>
                    </a:cubicBezTo>
                    <a:cubicBezTo>
                      <a:pt x="3852949" y="2875753"/>
                      <a:pt x="3864784" y="2887588"/>
                      <a:pt x="3879085" y="2887588"/>
                    </a:cubicBezTo>
                    <a:cubicBezTo>
                      <a:pt x="3893634" y="2887588"/>
                      <a:pt x="3905470" y="2875998"/>
                      <a:pt x="3905223" y="2861449"/>
                    </a:cubicBezTo>
                    <a:close/>
                    <a:moveTo>
                      <a:pt x="3908675" y="3935523"/>
                    </a:moveTo>
                    <a:cubicBezTo>
                      <a:pt x="3908675" y="3935277"/>
                      <a:pt x="3908429" y="3935031"/>
                      <a:pt x="3908183" y="3935031"/>
                    </a:cubicBezTo>
                    <a:cubicBezTo>
                      <a:pt x="3907935" y="3935031"/>
                      <a:pt x="3907688" y="3935277"/>
                      <a:pt x="3907688" y="3935523"/>
                    </a:cubicBezTo>
                    <a:cubicBezTo>
                      <a:pt x="3907688" y="3935773"/>
                      <a:pt x="3907935" y="3936018"/>
                      <a:pt x="3908183" y="3936018"/>
                    </a:cubicBezTo>
                    <a:cubicBezTo>
                      <a:pt x="3908429" y="3936018"/>
                      <a:pt x="3908675" y="3935773"/>
                      <a:pt x="3908675" y="3935523"/>
                    </a:cubicBezTo>
                    <a:close/>
                    <a:moveTo>
                      <a:pt x="3909168" y="2384837"/>
                    </a:moveTo>
                    <a:cubicBezTo>
                      <a:pt x="3909168" y="2372757"/>
                      <a:pt x="3899305" y="2362892"/>
                      <a:pt x="3887224" y="2362892"/>
                    </a:cubicBezTo>
                    <a:cubicBezTo>
                      <a:pt x="3875388" y="2362892"/>
                      <a:pt x="3865525" y="2372757"/>
                      <a:pt x="3865525" y="2384837"/>
                    </a:cubicBezTo>
                    <a:cubicBezTo>
                      <a:pt x="3865525" y="2396921"/>
                      <a:pt x="3875143" y="2406785"/>
                      <a:pt x="3887224" y="2406785"/>
                    </a:cubicBezTo>
                    <a:cubicBezTo>
                      <a:pt x="3899305" y="2406785"/>
                      <a:pt x="3908923" y="2396921"/>
                      <a:pt x="3909168" y="2384837"/>
                    </a:cubicBezTo>
                    <a:close/>
                    <a:moveTo>
                      <a:pt x="3917305" y="2618580"/>
                    </a:moveTo>
                    <a:cubicBezTo>
                      <a:pt x="3917305" y="2601075"/>
                      <a:pt x="3903001" y="2586771"/>
                      <a:pt x="3885494" y="2586771"/>
                    </a:cubicBezTo>
                    <a:cubicBezTo>
                      <a:pt x="3867989" y="2586771"/>
                      <a:pt x="3853687" y="2601075"/>
                      <a:pt x="3853687" y="2618580"/>
                    </a:cubicBezTo>
                    <a:cubicBezTo>
                      <a:pt x="3853687" y="2636087"/>
                      <a:pt x="3867989" y="2650389"/>
                      <a:pt x="3885494" y="2650389"/>
                    </a:cubicBezTo>
                    <a:cubicBezTo>
                      <a:pt x="3903001" y="2650389"/>
                      <a:pt x="3917305" y="2636087"/>
                      <a:pt x="3917305" y="2618580"/>
                    </a:cubicBezTo>
                    <a:close/>
                    <a:moveTo>
                      <a:pt x="3919278" y="2500971"/>
                    </a:moveTo>
                    <a:cubicBezTo>
                      <a:pt x="3919278" y="2482972"/>
                      <a:pt x="3904730" y="2468423"/>
                      <a:pt x="3886730" y="2468423"/>
                    </a:cubicBezTo>
                    <a:cubicBezTo>
                      <a:pt x="3868730" y="2468423"/>
                      <a:pt x="3854181" y="2482972"/>
                      <a:pt x="3854181" y="2500971"/>
                    </a:cubicBezTo>
                    <a:cubicBezTo>
                      <a:pt x="3854181" y="2518971"/>
                      <a:pt x="3868730" y="2533519"/>
                      <a:pt x="3886730" y="2533519"/>
                    </a:cubicBezTo>
                    <a:cubicBezTo>
                      <a:pt x="3904730" y="2533519"/>
                      <a:pt x="3919278" y="2518725"/>
                      <a:pt x="3919278" y="2500971"/>
                    </a:cubicBezTo>
                    <a:close/>
                    <a:moveTo>
                      <a:pt x="3927413" y="1046822"/>
                    </a:moveTo>
                    <a:cubicBezTo>
                      <a:pt x="3927413" y="1027590"/>
                      <a:pt x="3911882" y="1012057"/>
                      <a:pt x="3892647" y="1012057"/>
                    </a:cubicBezTo>
                    <a:cubicBezTo>
                      <a:pt x="3873415" y="1012057"/>
                      <a:pt x="3857881" y="1027590"/>
                      <a:pt x="3857881" y="1046822"/>
                    </a:cubicBezTo>
                    <a:cubicBezTo>
                      <a:pt x="3857881" y="1066053"/>
                      <a:pt x="3873415" y="1081588"/>
                      <a:pt x="3892647" y="1081588"/>
                    </a:cubicBezTo>
                    <a:cubicBezTo>
                      <a:pt x="3911633" y="1081588"/>
                      <a:pt x="3927413" y="1066053"/>
                      <a:pt x="3927413" y="1046822"/>
                    </a:cubicBezTo>
                    <a:close/>
                    <a:moveTo>
                      <a:pt x="3927908" y="827405"/>
                    </a:moveTo>
                    <a:cubicBezTo>
                      <a:pt x="3927908" y="808172"/>
                      <a:pt x="3912373" y="792635"/>
                      <a:pt x="3893138" y="792635"/>
                    </a:cubicBezTo>
                    <a:cubicBezTo>
                      <a:pt x="3873906" y="792635"/>
                      <a:pt x="3858372" y="808172"/>
                      <a:pt x="3858372" y="827405"/>
                    </a:cubicBezTo>
                    <a:cubicBezTo>
                      <a:pt x="3858372" y="846638"/>
                      <a:pt x="3873906" y="862168"/>
                      <a:pt x="3893138" y="862168"/>
                    </a:cubicBezTo>
                    <a:cubicBezTo>
                      <a:pt x="3912373" y="862168"/>
                      <a:pt x="3927908" y="846638"/>
                      <a:pt x="3927908" y="827405"/>
                    </a:cubicBezTo>
                    <a:close/>
                    <a:moveTo>
                      <a:pt x="3929882" y="498740"/>
                    </a:moveTo>
                    <a:cubicBezTo>
                      <a:pt x="3929882" y="478029"/>
                      <a:pt x="3913115" y="461016"/>
                      <a:pt x="3892154" y="461016"/>
                    </a:cubicBezTo>
                    <a:cubicBezTo>
                      <a:pt x="3871441" y="461016"/>
                      <a:pt x="3854428" y="478029"/>
                      <a:pt x="3854428" y="498740"/>
                    </a:cubicBezTo>
                    <a:cubicBezTo>
                      <a:pt x="3854428" y="519452"/>
                      <a:pt x="3871441" y="536465"/>
                      <a:pt x="3892154" y="536465"/>
                    </a:cubicBezTo>
                    <a:cubicBezTo>
                      <a:pt x="3913115" y="536465"/>
                      <a:pt x="3929882" y="519452"/>
                      <a:pt x="3929882" y="498740"/>
                    </a:cubicBezTo>
                    <a:close/>
                    <a:moveTo>
                      <a:pt x="3930621" y="936866"/>
                    </a:moveTo>
                    <a:cubicBezTo>
                      <a:pt x="3930621" y="915901"/>
                      <a:pt x="3913608" y="898893"/>
                      <a:pt x="3892647" y="898893"/>
                    </a:cubicBezTo>
                    <a:cubicBezTo>
                      <a:pt x="3871688" y="898893"/>
                      <a:pt x="3854675" y="915901"/>
                      <a:pt x="3854675" y="936866"/>
                    </a:cubicBezTo>
                    <a:cubicBezTo>
                      <a:pt x="3854675" y="957829"/>
                      <a:pt x="3871688" y="974839"/>
                      <a:pt x="3892647" y="974839"/>
                    </a:cubicBezTo>
                    <a:cubicBezTo>
                      <a:pt x="3913362" y="974839"/>
                      <a:pt x="3930375" y="958075"/>
                      <a:pt x="3930621" y="936866"/>
                    </a:cubicBezTo>
                    <a:close/>
                    <a:moveTo>
                      <a:pt x="3930867" y="608199"/>
                    </a:moveTo>
                    <a:cubicBezTo>
                      <a:pt x="3930867" y="586996"/>
                      <a:pt x="3913606" y="569735"/>
                      <a:pt x="3892402" y="569735"/>
                    </a:cubicBezTo>
                    <a:cubicBezTo>
                      <a:pt x="3871194" y="569735"/>
                      <a:pt x="3853935" y="586996"/>
                      <a:pt x="3853935" y="608199"/>
                    </a:cubicBezTo>
                    <a:cubicBezTo>
                      <a:pt x="3853935" y="629403"/>
                      <a:pt x="3871194" y="646695"/>
                      <a:pt x="3892402" y="646695"/>
                    </a:cubicBezTo>
                    <a:cubicBezTo>
                      <a:pt x="3913606" y="646695"/>
                      <a:pt x="3930867" y="629403"/>
                      <a:pt x="3930867" y="608199"/>
                    </a:cubicBezTo>
                    <a:close/>
                    <a:moveTo>
                      <a:pt x="3932591" y="717691"/>
                    </a:moveTo>
                    <a:cubicBezTo>
                      <a:pt x="3932591" y="695757"/>
                      <a:pt x="3914838" y="677995"/>
                      <a:pt x="3892894" y="677995"/>
                    </a:cubicBezTo>
                    <a:cubicBezTo>
                      <a:pt x="3871194" y="677995"/>
                      <a:pt x="3853441" y="695757"/>
                      <a:pt x="3853441" y="717691"/>
                    </a:cubicBezTo>
                    <a:cubicBezTo>
                      <a:pt x="3853441" y="739645"/>
                      <a:pt x="3871194" y="757399"/>
                      <a:pt x="3892894" y="757399"/>
                    </a:cubicBezTo>
                    <a:cubicBezTo>
                      <a:pt x="3914593" y="757399"/>
                      <a:pt x="3932345" y="739645"/>
                      <a:pt x="3932591" y="717691"/>
                    </a:cubicBezTo>
                    <a:close/>
                    <a:moveTo>
                      <a:pt x="3934318" y="1157025"/>
                    </a:moveTo>
                    <a:cubicBezTo>
                      <a:pt x="3934318" y="1134095"/>
                      <a:pt x="3915825" y="1115600"/>
                      <a:pt x="3892894" y="1115600"/>
                    </a:cubicBezTo>
                    <a:cubicBezTo>
                      <a:pt x="3869962" y="1115600"/>
                      <a:pt x="3851469" y="1134095"/>
                      <a:pt x="3851469" y="1157025"/>
                    </a:cubicBezTo>
                    <a:cubicBezTo>
                      <a:pt x="3851469" y="1179708"/>
                      <a:pt x="3869962" y="1198451"/>
                      <a:pt x="3892894" y="1198451"/>
                    </a:cubicBezTo>
                    <a:cubicBezTo>
                      <a:pt x="3915825" y="1198451"/>
                      <a:pt x="3934318" y="1179708"/>
                      <a:pt x="3934318" y="1157025"/>
                    </a:cubicBezTo>
                    <a:close/>
                    <a:moveTo>
                      <a:pt x="3935305" y="1266976"/>
                    </a:moveTo>
                    <a:cubicBezTo>
                      <a:pt x="3935305" y="1243560"/>
                      <a:pt x="3916319" y="1224572"/>
                      <a:pt x="3892894" y="1224572"/>
                    </a:cubicBezTo>
                    <a:cubicBezTo>
                      <a:pt x="3869468" y="1224572"/>
                      <a:pt x="3850482" y="1243560"/>
                      <a:pt x="3850482" y="1266976"/>
                    </a:cubicBezTo>
                    <a:cubicBezTo>
                      <a:pt x="3850482" y="1290405"/>
                      <a:pt x="3869468" y="1309391"/>
                      <a:pt x="3892894" y="1309391"/>
                    </a:cubicBezTo>
                    <a:cubicBezTo>
                      <a:pt x="3916319" y="1309391"/>
                      <a:pt x="3935305" y="1290405"/>
                      <a:pt x="3935305" y="1266976"/>
                    </a:cubicBezTo>
                    <a:close/>
                    <a:moveTo>
                      <a:pt x="3949853" y="3019255"/>
                    </a:moveTo>
                    <a:cubicBezTo>
                      <a:pt x="3949853" y="2996075"/>
                      <a:pt x="3931113" y="2977335"/>
                      <a:pt x="3907937" y="2977335"/>
                    </a:cubicBezTo>
                    <a:cubicBezTo>
                      <a:pt x="3884758" y="2977335"/>
                      <a:pt x="3866018" y="2996075"/>
                      <a:pt x="3866018" y="3019255"/>
                    </a:cubicBezTo>
                    <a:cubicBezTo>
                      <a:pt x="3866018" y="3042431"/>
                      <a:pt x="3884758" y="3061171"/>
                      <a:pt x="3907937" y="3061171"/>
                    </a:cubicBezTo>
                    <a:cubicBezTo>
                      <a:pt x="3930867" y="3061171"/>
                      <a:pt x="3949853" y="3042431"/>
                      <a:pt x="3949853" y="3019255"/>
                    </a:cubicBezTo>
                    <a:close/>
                    <a:moveTo>
                      <a:pt x="3952071" y="1723087"/>
                    </a:moveTo>
                    <a:cubicBezTo>
                      <a:pt x="3952071" y="1720619"/>
                      <a:pt x="3950099" y="1718645"/>
                      <a:pt x="3947634" y="1718645"/>
                    </a:cubicBezTo>
                    <a:cubicBezTo>
                      <a:pt x="3945168" y="1718645"/>
                      <a:pt x="3943194" y="1720619"/>
                      <a:pt x="3943194" y="1723087"/>
                    </a:cubicBezTo>
                    <a:cubicBezTo>
                      <a:pt x="3943194" y="1725553"/>
                      <a:pt x="3945168" y="1727527"/>
                      <a:pt x="3947634" y="1727527"/>
                    </a:cubicBezTo>
                    <a:cubicBezTo>
                      <a:pt x="3950099" y="1727527"/>
                      <a:pt x="3952071" y="1725553"/>
                      <a:pt x="3952071" y="1723087"/>
                    </a:cubicBezTo>
                    <a:close/>
                    <a:moveTo>
                      <a:pt x="3954047" y="3255469"/>
                    </a:moveTo>
                    <a:cubicBezTo>
                      <a:pt x="3954047" y="3253989"/>
                      <a:pt x="3952812" y="3252757"/>
                      <a:pt x="3951334" y="3252757"/>
                    </a:cubicBezTo>
                    <a:cubicBezTo>
                      <a:pt x="3949853" y="3252757"/>
                      <a:pt x="3948621" y="3253989"/>
                      <a:pt x="3948621" y="3255469"/>
                    </a:cubicBezTo>
                    <a:cubicBezTo>
                      <a:pt x="3948621" y="3256948"/>
                      <a:pt x="3949853" y="3258184"/>
                      <a:pt x="3951334" y="3258184"/>
                    </a:cubicBezTo>
                    <a:cubicBezTo>
                      <a:pt x="3952812" y="3258184"/>
                      <a:pt x="3954047" y="3256948"/>
                      <a:pt x="3954047" y="3255469"/>
                    </a:cubicBezTo>
                    <a:close/>
                    <a:moveTo>
                      <a:pt x="3954536" y="4664155"/>
                    </a:moveTo>
                    <a:cubicBezTo>
                      <a:pt x="3954536" y="4658978"/>
                      <a:pt x="3950345" y="4654538"/>
                      <a:pt x="3944922" y="4654538"/>
                    </a:cubicBezTo>
                    <a:cubicBezTo>
                      <a:pt x="3939742" y="4654538"/>
                      <a:pt x="3935305" y="4658729"/>
                      <a:pt x="3935305" y="4664155"/>
                    </a:cubicBezTo>
                    <a:cubicBezTo>
                      <a:pt x="3935305" y="4669579"/>
                      <a:pt x="3939496" y="4674018"/>
                      <a:pt x="3944922" y="4674018"/>
                    </a:cubicBezTo>
                    <a:cubicBezTo>
                      <a:pt x="3950345" y="4674018"/>
                      <a:pt x="3954785" y="4669824"/>
                      <a:pt x="3954536" y="4664155"/>
                    </a:cubicBezTo>
                    <a:close/>
                    <a:moveTo>
                      <a:pt x="3956017" y="5005168"/>
                    </a:moveTo>
                    <a:cubicBezTo>
                      <a:pt x="3956017" y="5003935"/>
                      <a:pt x="3954785" y="5002949"/>
                      <a:pt x="3953550" y="5002949"/>
                    </a:cubicBezTo>
                    <a:cubicBezTo>
                      <a:pt x="3952072" y="5002949"/>
                      <a:pt x="3951085" y="5003935"/>
                      <a:pt x="3951085" y="5005168"/>
                    </a:cubicBezTo>
                    <a:cubicBezTo>
                      <a:pt x="3951085" y="5006649"/>
                      <a:pt x="3952317" y="5007635"/>
                      <a:pt x="3953550" y="5007635"/>
                    </a:cubicBezTo>
                    <a:cubicBezTo>
                      <a:pt x="3954785" y="5007635"/>
                      <a:pt x="3956017" y="5006400"/>
                      <a:pt x="3956017" y="5005168"/>
                    </a:cubicBezTo>
                    <a:close/>
                    <a:moveTo>
                      <a:pt x="3956511" y="4059304"/>
                    </a:moveTo>
                    <a:cubicBezTo>
                      <a:pt x="3956511" y="4043771"/>
                      <a:pt x="3943935" y="4031195"/>
                      <a:pt x="3928400" y="4031195"/>
                    </a:cubicBezTo>
                    <a:cubicBezTo>
                      <a:pt x="3912868" y="4031195"/>
                      <a:pt x="3900291" y="4043771"/>
                      <a:pt x="3900291" y="4059304"/>
                    </a:cubicBezTo>
                    <a:cubicBezTo>
                      <a:pt x="3900291" y="4074838"/>
                      <a:pt x="3912868" y="4087414"/>
                      <a:pt x="3928400" y="4087414"/>
                    </a:cubicBezTo>
                    <a:cubicBezTo>
                      <a:pt x="3943935" y="4087414"/>
                      <a:pt x="3956511" y="4074838"/>
                      <a:pt x="3956511" y="4059304"/>
                    </a:cubicBezTo>
                    <a:close/>
                    <a:moveTo>
                      <a:pt x="3956756" y="5453692"/>
                    </a:moveTo>
                    <a:cubicBezTo>
                      <a:pt x="3956756" y="5453444"/>
                      <a:pt x="3956511" y="5452951"/>
                      <a:pt x="3956019" y="5452951"/>
                    </a:cubicBezTo>
                    <a:cubicBezTo>
                      <a:pt x="3955771" y="5452951"/>
                      <a:pt x="3955278" y="5453197"/>
                      <a:pt x="3955278" y="5453692"/>
                    </a:cubicBezTo>
                    <a:cubicBezTo>
                      <a:pt x="3955278" y="5454184"/>
                      <a:pt x="3955524" y="5454429"/>
                      <a:pt x="3956019" y="5454429"/>
                    </a:cubicBezTo>
                    <a:cubicBezTo>
                      <a:pt x="3956511" y="5454429"/>
                      <a:pt x="3956756" y="5453938"/>
                      <a:pt x="3956756" y="5453692"/>
                    </a:cubicBezTo>
                    <a:close/>
                    <a:moveTo>
                      <a:pt x="3957252" y="5230290"/>
                    </a:moveTo>
                    <a:cubicBezTo>
                      <a:pt x="3957252" y="5229058"/>
                      <a:pt x="3956263" y="5228071"/>
                      <a:pt x="3955031" y="5228071"/>
                    </a:cubicBezTo>
                    <a:cubicBezTo>
                      <a:pt x="3953798" y="5228071"/>
                      <a:pt x="3952812" y="5229058"/>
                      <a:pt x="3952812" y="5230290"/>
                    </a:cubicBezTo>
                    <a:cubicBezTo>
                      <a:pt x="3952812" y="5231522"/>
                      <a:pt x="3953798" y="5232511"/>
                      <a:pt x="3955031" y="5232511"/>
                    </a:cubicBezTo>
                    <a:cubicBezTo>
                      <a:pt x="3956263" y="5232511"/>
                      <a:pt x="3957252" y="5231522"/>
                      <a:pt x="3957252" y="5230290"/>
                    </a:cubicBezTo>
                    <a:close/>
                    <a:moveTo>
                      <a:pt x="3958976" y="6117471"/>
                    </a:moveTo>
                    <a:cubicBezTo>
                      <a:pt x="3958976" y="6116485"/>
                      <a:pt x="3957988" y="6115498"/>
                      <a:pt x="3957003" y="6115498"/>
                    </a:cubicBezTo>
                    <a:cubicBezTo>
                      <a:pt x="3956016" y="6115498"/>
                      <a:pt x="3955030" y="6116485"/>
                      <a:pt x="3955030" y="6117471"/>
                    </a:cubicBezTo>
                    <a:cubicBezTo>
                      <a:pt x="3955030" y="6118457"/>
                      <a:pt x="3955771" y="6119443"/>
                      <a:pt x="3957003" y="6119443"/>
                    </a:cubicBezTo>
                    <a:cubicBezTo>
                      <a:pt x="3957988" y="6119443"/>
                      <a:pt x="3958976" y="6118457"/>
                      <a:pt x="3958976" y="6117471"/>
                    </a:cubicBezTo>
                    <a:close/>
                    <a:moveTo>
                      <a:pt x="3958976" y="6227445"/>
                    </a:moveTo>
                    <a:cubicBezTo>
                      <a:pt x="3958976" y="6226459"/>
                      <a:pt x="3957988" y="6225472"/>
                      <a:pt x="3957003" y="6225472"/>
                    </a:cubicBezTo>
                    <a:cubicBezTo>
                      <a:pt x="3956016" y="6225472"/>
                      <a:pt x="3955030" y="6226459"/>
                      <a:pt x="3955030" y="6227445"/>
                    </a:cubicBezTo>
                    <a:cubicBezTo>
                      <a:pt x="3955030" y="6228431"/>
                      <a:pt x="3956016" y="6229418"/>
                      <a:pt x="3957003" y="6229418"/>
                    </a:cubicBezTo>
                    <a:cubicBezTo>
                      <a:pt x="3958236" y="6229418"/>
                      <a:pt x="3958976" y="6228431"/>
                      <a:pt x="3958976" y="6227445"/>
                    </a:cubicBezTo>
                    <a:close/>
                    <a:moveTo>
                      <a:pt x="3958976" y="6447144"/>
                    </a:moveTo>
                    <a:cubicBezTo>
                      <a:pt x="3958976" y="6446159"/>
                      <a:pt x="3958238" y="6445418"/>
                      <a:pt x="3957252" y="6445418"/>
                    </a:cubicBezTo>
                    <a:cubicBezTo>
                      <a:pt x="3956512" y="6445418"/>
                      <a:pt x="3955771" y="6446159"/>
                      <a:pt x="3955771" y="6447144"/>
                    </a:cubicBezTo>
                    <a:cubicBezTo>
                      <a:pt x="3955771" y="6447885"/>
                      <a:pt x="3956512" y="6448623"/>
                      <a:pt x="3957252" y="6448623"/>
                    </a:cubicBezTo>
                    <a:cubicBezTo>
                      <a:pt x="3958238" y="6448623"/>
                      <a:pt x="3958729" y="6448131"/>
                      <a:pt x="3958976" y="6447144"/>
                    </a:cubicBezTo>
                    <a:close/>
                    <a:moveTo>
                      <a:pt x="3960456" y="1835543"/>
                    </a:moveTo>
                    <a:cubicBezTo>
                      <a:pt x="3960456" y="1828637"/>
                      <a:pt x="3955031" y="1823215"/>
                      <a:pt x="3948129" y="1823215"/>
                    </a:cubicBezTo>
                    <a:cubicBezTo>
                      <a:pt x="3941471" y="1823215"/>
                      <a:pt x="3935799" y="1828637"/>
                      <a:pt x="3935799" y="1835543"/>
                    </a:cubicBezTo>
                    <a:cubicBezTo>
                      <a:pt x="3935799" y="1842196"/>
                      <a:pt x="3941225" y="1847867"/>
                      <a:pt x="3948129" y="1847867"/>
                    </a:cubicBezTo>
                    <a:cubicBezTo>
                      <a:pt x="3954784" y="1847867"/>
                      <a:pt x="3960456" y="1842196"/>
                      <a:pt x="3960456" y="1835543"/>
                    </a:cubicBezTo>
                    <a:close/>
                    <a:moveTo>
                      <a:pt x="3960702" y="6337416"/>
                    </a:moveTo>
                    <a:cubicBezTo>
                      <a:pt x="3960702" y="6335443"/>
                      <a:pt x="3959221" y="6333965"/>
                      <a:pt x="3957248" y="6333965"/>
                    </a:cubicBezTo>
                    <a:cubicBezTo>
                      <a:pt x="3955276" y="6333965"/>
                      <a:pt x="3953797" y="6335443"/>
                      <a:pt x="3953797" y="6337416"/>
                    </a:cubicBezTo>
                    <a:cubicBezTo>
                      <a:pt x="3953797" y="6339389"/>
                      <a:pt x="3955276" y="6340869"/>
                      <a:pt x="3957248" y="6340869"/>
                    </a:cubicBezTo>
                    <a:cubicBezTo>
                      <a:pt x="3959221" y="6340869"/>
                      <a:pt x="3960702" y="6339143"/>
                      <a:pt x="3960702" y="6337416"/>
                    </a:cubicBezTo>
                    <a:close/>
                    <a:moveTo>
                      <a:pt x="3961198" y="6007005"/>
                    </a:moveTo>
                    <a:cubicBezTo>
                      <a:pt x="3961198" y="6005524"/>
                      <a:pt x="3959962" y="6004292"/>
                      <a:pt x="3958484" y="6004292"/>
                    </a:cubicBezTo>
                    <a:cubicBezTo>
                      <a:pt x="3957003" y="6004292"/>
                      <a:pt x="3955771" y="6005524"/>
                      <a:pt x="3955771" y="6007005"/>
                    </a:cubicBezTo>
                    <a:cubicBezTo>
                      <a:pt x="3955771" y="6008483"/>
                      <a:pt x="3957003" y="6009718"/>
                      <a:pt x="3958484" y="6009718"/>
                    </a:cubicBezTo>
                    <a:cubicBezTo>
                      <a:pt x="3959962" y="6009718"/>
                      <a:pt x="3961198" y="6008483"/>
                      <a:pt x="3961198" y="6007005"/>
                    </a:cubicBezTo>
                    <a:close/>
                    <a:moveTo>
                      <a:pt x="3961688" y="6775829"/>
                    </a:moveTo>
                    <a:cubicBezTo>
                      <a:pt x="3961688" y="6774597"/>
                      <a:pt x="3960703" y="6773610"/>
                      <a:pt x="3959470" y="6773610"/>
                    </a:cubicBezTo>
                    <a:cubicBezTo>
                      <a:pt x="3958238" y="6773610"/>
                      <a:pt x="3957252" y="6774597"/>
                      <a:pt x="3957252" y="6775829"/>
                    </a:cubicBezTo>
                    <a:cubicBezTo>
                      <a:pt x="3957252" y="6777061"/>
                      <a:pt x="3958238" y="6778047"/>
                      <a:pt x="3959470" y="6778047"/>
                    </a:cubicBezTo>
                    <a:cubicBezTo>
                      <a:pt x="3960703" y="6778047"/>
                      <a:pt x="3961688" y="6777061"/>
                      <a:pt x="3961688" y="6775829"/>
                    </a:cubicBezTo>
                    <a:close/>
                    <a:moveTo>
                      <a:pt x="3961690" y="3699795"/>
                    </a:moveTo>
                    <a:cubicBezTo>
                      <a:pt x="3961690" y="3694125"/>
                      <a:pt x="3957004" y="3689439"/>
                      <a:pt x="3951332" y="3689439"/>
                    </a:cubicBezTo>
                    <a:cubicBezTo>
                      <a:pt x="3945662" y="3689439"/>
                      <a:pt x="3940976" y="3694125"/>
                      <a:pt x="3940976" y="3699795"/>
                    </a:cubicBezTo>
                    <a:cubicBezTo>
                      <a:pt x="3940976" y="3705466"/>
                      <a:pt x="3945662" y="3710153"/>
                      <a:pt x="3951332" y="3710153"/>
                    </a:cubicBezTo>
                    <a:cubicBezTo>
                      <a:pt x="3957252" y="3710153"/>
                      <a:pt x="3961690" y="3705466"/>
                      <a:pt x="3961690" y="3699795"/>
                    </a:cubicBezTo>
                    <a:close/>
                    <a:moveTo>
                      <a:pt x="3961934" y="5785828"/>
                    </a:moveTo>
                    <a:cubicBezTo>
                      <a:pt x="3961934" y="5784841"/>
                      <a:pt x="3960948" y="5783855"/>
                      <a:pt x="3959962" y="5783855"/>
                    </a:cubicBezTo>
                    <a:cubicBezTo>
                      <a:pt x="3958976" y="5783855"/>
                      <a:pt x="3957988" y="5784596"/>
                      <a:pt x="3957988" y="5785828"/>
                    </a:cubicBezTo>
                    <a:cubicBezTo>
                      <a:pt x="3957988" y="5786814"/>
                      <a:pt x="3958729" y="5787800"/>
                      <a:pt x="3959962" y="5787800"/>
                    </a:cubicBezTo>
                    <a:cubicBezTo>
                      <a:pt x="3961193" y="5787800"/>
                      <a:pt x="3961934" y="5786814"/>
                      <a:pt x="3961934" y="5785828"/>
                    </a:cubicBezTo>
                    <a:close/>
                    <a:moveTo>
                      <a:pt x="3962430" y="6885060"/>
                    </a:moveTo>
                    <a:cubicBezTo>
                      <a:pt x="3962430" y="6883582"/>
                      <a:pt x="3961198" y="6882596"/>
                      <a:pt x="3959965" y="6882596"/>
                    </a:cubicBezTo>
                    <a:cubicBezTo>
                      <a:pt x="3958484" y="6882596"/>
                      <a:pt x="3957498" y="6883828"/>
                      <a:pt x="3957498" y="6885060"/>
                    </a:cubicBezTo>
                    <a:cubicBezTo>
                      <a:pt x="3957498" y="6886541"/>
                      <a:pt x="3958729" y="6887528"/>
                      <a:pt x="3959965" y="6887528"/>
                    </a:cubicBezTo>
                    <a:cubicBezTo>
                      <a:pt x="3961443" y="6887528"/>
                      <a:pt x="3962430" y="6886541"/>
                      <a:pt x="3962430" y="6885060"/>
                    </a:cubicBezTo>
                    <a:close/>
                    <a:moveTo>
                      <a:pt x="3962674" y="6666101"/>
                    </a:moveTo>
                    <a:cubicBezTo>
                      <a:pt x="3962674" y="6664623"/>
                      <a:pt x="3961688" y="6663636"/>
                      <a:pt x="3960210" y="6663636"/>
                    </a:cubicBezTo>
                    <a:cubicBezTo>
                      <a:pt x="3958729" y="6663636"/>
                      <a:pt x="3957743" y="6664623"/>
                      <a:pt x="3957743" y="6666101"/>
                    </a:cubicBezTo>
                    <a:cubicBezTo>
                      <a:pt x="3957743" y="6667582"/>
                      <a:pt x="3958729" y="6668568"/>
                      <a:pt x="3960210" y="6668568"/>
                    </a:cubicBezTo>
                    <a:cubicBezTo>
                      <a:pt x="3961688" y="6668568"/>
                      <a:pt x="3962674" y="6667336"/>
                      <a:pt x="3962674" y="6666101"/>
                    </a:cubicBezTo>
                    <a:close/>
                    <a:moveTo>
                      <a:pt x="3962921" y="5341991"/>
                    </a:moveTo>
                    <a:cubicBezTo>
                      <a:pt x="3962921" y="5338045"/>
                      <a:pt x="3959716" y="5335086"/>
                      <a:pt x="3956016" y="5335086"/>
                    </a:cubicBezTo>
                    <a:cubicBezTo>
                      <a:pt x="3952071" y="5335086"/>
                      <a:pt x="3949112" y="5338292"/>
                      <a:pt x="3949112" y="5341991"/>
                    </a:cubicBezTo>
                    <a:cubicBezTo>
                      <a:pt x="3949112" y="5345936"/>
                      <a:pt x="3952317" y="5348895"/>
                      <a:pt x="3956016" y="5348895"/>
                    </a:cubicBezTo>
                    <a:cubicBezTo>
                      <a:pt x="3959962" y="5348895"/>
                      <a:pt x="3962921" y="5345690"/>
                      <a:pt x="3962921" y="5341991"/>
                    </a:cubicBezTo>
                    <a:close/>
                    <a:moveTo>
                      <a:pt x="3962921" y="6556379"/>
                    </a:moveTo>
                    <a:cubicBezTo>
                      <a:pt x="3962921" y="6554898"/>
                      <a:pt x="3961934" y="6553911"/>
                      <a:pt x="3960453" y="6553911"/>
                    </a:cubicBezTo>
                    <a:cubicBezTo>
                      <a:pt x="3958976" y="6553911"/>
                      <a:pt x="3957988" y="6554898"/>
                      <a:pt x="3957988" y="6556379"/>
                    </a:cubicBezTo>
                    <a:cubicBezTo>
                      <a:pt x="3957988" y="6557610"/>
                      <a:pt x="3958976" y="6558842"/>
                      <a:pt x="3960453" y="6558842"/>
                    </a:cubicBezTo>
                    <a:cubicBezTo>
                      <a:pt x="3961934" y="6558842"/>
                      <a:pt x="3962921" y="6557857"/>
                      <a:pt x="3962921" y="6556379"/>
                    </a:cubicBezTo>
                    <a:close/>
                    <a:moveTo>
                      <a:pt x="3963415" y="6994541"/>
                    </a:moveTo>
                    <a:cubicBezTo>
                      <a:pt x="3963415" y="6992567"/>
                      <a:pt x="3961934" y="6991090"/>
                      <a:pt x="3959962" y="6991090"/>
                    </a:cubicBezTo>
                    <a:cubicBezTo>
                      <a:pt x="3957988" y="6991090"/>
                      <a:pt x="3956511" y="6992567"/>
                      <a:pt x="3956511" y="6994541"/>
                    </a:cubicBezTo>
                    <a:cubicBezTo>
                      <a:pt x="3956511" y="6996516"/>
                      <a:pt x="3957988" y="6997994"/>
                      <a:pt x="3959962" y="6997994"/>
                    </a:cubicBezTo>
                    <a:cubicBezTo>
                      <a:pt x="3961934" y="6997994"/>
                      <a:pt x="3963415" y="6996516"/>
                      <a:pt x="3963415" y="6994541"/>
                    </a:cubicBezTo>
                    <a:close/>
                    <a:moveTo>
                      <a:pt x="3964152" y="5674869"/>
                    </a:moveTo>
                    <a:cubicBezTo>
                      <a:pt x="3964152" y="5672651"/>
                      <a:pt x="3962426" y="5670924"/>
                      <a:pt x="3960208" y="5670924"/>
                    </a:cubicBezTo>
                    <a:cubicBezTo>
                      <a:pt x="3957988" y="5670924"/>
                      <a:pt x="3956262" y="5672651"/>
                      <a:pt x="3956262" y="5674869"/>
                    </a:cubicBezTo>
                    <a:cubicBezTo>
                      <a:pt x="3956262" y="5677087"/>
                      <a:pt x="3957988" y="5678814"/>
                      <a:pt x="3960208" y="5678814"/>
                    </a:cubicBezTo>
                    <a:cubicBezTo>
                      <a:pt x="3962426" y="5678814"/>
                      <a:pt x="3964152" y="5677087"/>
                      <a:pt x="3964152" y="5674869"/>
                    </a:cubicBezTo>
                    <a:close/>
                    <a:moveTo>
                      <a:pt x="3964152" y="7103774"/>
                    </a:moveTo>
                    <a:cubicBezTo>
                      <a:pt x="3964152" y="7101555"/>
                      <a:pt x="3962426" y="7099828"/>
                      <a:pt x="3960208" y="7099828"/>
                    </a:cubicBezTo>
                    <a:cubicBezTo>
                      <a:pt x="3957988" y="7099828"/>
                      <a:pt x="3956262" y="7101555"/>
                      <a:pt x="3956262" y="7103774"/>
                    </a:cubicBezTo>
                    <a:cubicBezTo>
                      <a:pt x="3956262" y="7105993"/>
                      <a:pt x="3957988" y="7107719"/>
                      <a:pt x="3960208" y="7107719"/>
                    </a:cubicBezTo>
                    <a:cubicBezTo>
                      <a:pt x="3962180" y="7107719"/>
                      <a:pt x="3963906" y="7105993"/>
                      <a:pt x="3964152" y="7103774"/>
                    </a:cubicBezTo>
                    <a:close/>
                    <a:moveTo>
                      <a:pt x="3964893" y="7213253"/>
                    </a:moveTo>
                    <a:cubicBezTo>
                      <a:pt x="3964893" y="7210790"/>
                      <a:pt x="3962921" y="7208817"/>
                      <a:pt x="3960453" y="7208817"/>
                    </a:cubicBezTo>
                    <a:cubicBezTo>
                      <a:pt x="3957989" y="7208817"/>
                      <a:pt x="3956016" y="7210790"/>
                      <a:pt x="3956016" y="7213253"/>
                    </a:cubicBezTo>
                    <a:cubicBezTo>
                      <a:pt x="3956016" y="7215721"/>
                      <a:pt x="3957989" y="7217693"/>
                      <a:pt x="3960453" y="7217693"/>
                    </a:cubicBezTo>
                    <a:cubicBezTo>
                      <a:pt x="3962921" y="7217693"/>
                      <a:pt x="3964893" y="7215721"/>
                      <a:pt x="3964893" y="7213253"/>
                    </a:cubicBezTo>
                    <a:close/>
                    <a:moveTo>
                      <a:pt x="3965143" y="5896540"/>
                    </a:moveTo>
                    <a:cubicBezTo>
                      <a:pt x="3965143" y="5893089"/>
                      <a:pt x="3962430" y="5890376"/>
                      <a:pt x="3958976" y="5890376"/>
                    </a:cubicBezTo>
                    <a:cubicBezTo>
                      <a:pt x="3955525" y="5890376"/>
                      <a:pt x="3952812" y="5893089"/>
                      <a:pt x="3952812" y="5896540"/>
                    </a:cubicBezTo>
                    <a:cubicBezTo>
                      <a:pt x="3952812" y="5899993"/>
                      <a:pt x="3955525" y="5902706"/>
                      <a:pt x="3958976" y="5902706"/>
                    </a:cubicBezTo>
                    <a:cubicBezTo>
                      <a:pt x="3962184" y="5902706"/>
                      <a:pt x="3965143" y="5899993"/>
                      <a:pt x="3965143" y="5896540"/>
                    </a:cubicBezTo>
                    <a:close/>
                    <a:moveTo>
                      <a:pt x="3965385" y="1948435"/>
                    </a:moveTo>
                    <a:cubicBezTo>
                      <a:pt x="3965385" y="1939068"/>
                      <a:pt x="3957744" y="1931425"/>
                      <a:pt x="3948372" y="1931425"/>
                    </a:cubicBezTo>
                    <a:cubicBezTo>
                      <a:pt x="3939003" y="1931425"/>
                      <a:pt x="3931359" y="1939068"/>
                      <a:pt x="3931359" y="1948435"/>
                    </a:cubicBezTo>
                    <a:cubicBezTo>
                      <a:pt x="3931359" y="1957803"/>
                      <a:pt x="3939003" y="1965447"/>
                      <a:pt x="3948372" y="1965447"/>
                    </a:cubicBezTo>
                    <a:cubicBezTo>
                      <a:pt x="3957744" y="1965447"/>
                      <a:pt x="3965385" y="1957803"/>
                      <a:pt x="3965385" y="1948435"/>
                    </a:cubicBezTo>
                    <a:close/>
                    <a:moveTo>
                      <a:pt x="3966128" y="7431475"/>
                    </a:moveTo>
                    <a:cubicBezTo>
                      <a:pt x="3966128" y="7429502"/>
                      <a:pt x="3964402" y="7427775"/>
                      <a:pt x="3962430" y="7427775"/>
                    </a:cubicBezTo>
                    <a:cubicBezTo>
                      <a:pt x="3960456" y="7427775"/>
                      <a:pt x="3958729" y="7429502"/>
                      <a:pt x="3958729" y="7431475"/>
                    </a:cubicBezTo>
                    <a:cubicBezTo>
                      <a:pt x="3958729" y="7433447"/>
                      <a:pt x="3960456" y="7435171"/>
                      <a:pt x="3962430" y="7435171"/>
                    </a:cubicBezTo>
                    <a:cubicBezTo>
                      <a:pt x="3964647" y="7435171"/>
                      <a:pt x="3966128" y="7433447"/>
                      <a:pt x="3966128" y="7431475"/>
                    </a:cubicBezTo>
                    <a:close/>
                    <a:moveTo>
                      <a:pt x="3966869" y="7540706"/>
                    </a:moveTo>
                    <a:cubicBezTo>
                      <a:pt x="3966869" y="7538488"/>
                      <a:pt x="3964896" y="7536515"/>
                      <a:pt x="3962675" y="7536515"/>
                    </a:cubicBezTo>
                    <a:cubicBezTo>
                      <a:pt x="3960458" y="7536515"/>
                      <a:pt x="3958484" y="7538241"/>
                      <a:pt x="3958484" y="7540706"/>
                    </a:cubicBezTo>
                    <a:cubicBezTo>
                      <a:pt x="3958484" y="7542927"/>
                      <a:pt x="3960210" y="7544897"/>
                      <a:pt x="3962675" y="7544897"/>
                    </a:cubicBezTo>
                    <a:cubicBezTo>
                      <a:pt x="3965143" y="7544897"/>
                      <a:pt x="3966869" y="7542927"/>
                      <a:pt x="3966869" y="7540706"/>
                    </a:cubicBezTo>
                    <a:close/>
                    <a:moveTo>
                      <a:pt x="3967360" y="4548264"/>
                    </a:moveTo>
                    <a:cubicBezTo>
                      <a:pt x="3967360" y="4534950"/>
                      <a:pt x="3956511" y="4524100"/>
                      <a:pt x="3943194" y="4524100"/>
                    </a:cubicBezTo>
                    <a:cubicBezTo>
                      <a:pt x="3929881" y="4524100"/>
                      <a:pt x="3919031" y="4534950"/>
                      <a:pt x="3919031" y="4548264"/>
                    </a:cubicBezTo>
                    <a:cubicBezTo>
                      <a:pt x="3919031" y="4561580"/>
                      <a:pt x="3929881" y="4572430"/>
                      <a:pt x="3943194" y="4572430"/>
                    </a:cubicBezTo>
                    <a:cubicBezTo>
                      <a:pt x="3956511" y="4572430"/>
                      <a:pt x="3967115" y="4561580"/>
                      <a:pt x="3967360" y="4548264"/>
                    </a:cubicBezTo>
                    <a:close/>
                    <a:moveTo>
                      <a:pt x="3967606" y="7322242"/>
                    </a:moveTo>
                    <a:cubicBezTo>
                      <a:pt x="3967606" y="7319529"/>
                      <a:pt x="3965388" y="7317310"/>
                      <a:pt x="3962675" y="7317310"/>
                    </a:cubicBezTo>
                    <a:cubicBezTo>
                      <a:pt x="3959962" y="7317310"/>
                      <a:pt x="3957743" y="7319529"/>
                      <a:pt x="3957743" y="7322242"/>
                    </a:cubicBezTo>
                    <a:cubicBezTo>
                      <a:pt x="3957743" y="7324954"/>
                      <a:pt x="3959962" y="7327173"/>
                      <a:pt x="3962675" y="7327173"/>
                    </a:cubicBezTo>
                    <a:cubicBezTo>
                      <a:pt x="3965388" y="7327173"/>
                      <a:pt x="3967606" y="7324954"/>
                      <a:pt x="3967606" y="7322242"/>
                    </a:cubicBezTo>
                    <a:close/>
                    <a:moveTo>
                      <a:pt x="3970811" y="2061843"/>
                    </a:moveTo>
                    <a:cubicBezTo>
                      <a:pt x="3970811" y="2049512"/>
                      <a:pt x="3960702" y="2039402"/>
                      <a:pt x="3948375" y="2039402"/>
                    </a:cubicBezTo>
                    <a:cubicBezTo>
                      <a:pt x="3936045" y="2039402"/>
                      <a:pt x="3925935" y="2049512"/>
                      <a:pt x="3925935" y="2061843"/>
                    </a:cubicBezTo>
                    <a:cubicBezTo>
                      <a:pt x="3925935" y="2074171"/>
                      <a:pt x="3936045" y="2084281"/>
                      <a:pt x="3948375" y="2084281"/>
                    </a:cubicBezTo>
                    <a:cubicBezTo>
                      <a:pt x="3960702" y="2084281"/>
                      <a:pt x="3970811" y="2074417"/>
                      <a:pt x="3970811" y="2061843"/>
                    </a:cubicBezTo>
                    <a:close/>
                    <a:moveTo>
                      <a:pt x="3976975" y="4310565"/>
                    </a:moveTo>
                    <a:cubicBezTo>
                      <a:pt x="3976975" y="4288866"/>
                      <a:pt x="3959222" y="4271112"/>
                      <a:pt x="3937523" y="4271112"/>
                    </a:cubicBezTo>
                    <a:cubicBezTo>
                      <a:pt x="3915825" y="4271112"/>
                      <a:pt x="3898070" y="4288866"/>
                      <a:pt x="3898070" y="4310565"/>
                    </a:cubicBezTo>
                    <a:cubicBezTo>
                      <a:pt x="3898070" y="4332263"/>
                      <a:pt x="3915825" y="4350016"/>
                      <a:pt x="3937523" y="4350016"/>
                    </a:cubicBezTo>
                    <a:cubicBezTo>
                      <a:pt x="3959222" y="4350016"/>
                      <a:pt x="3976975" y="4332263"/>
                      <a:pt x="3976975" y="4310565"/>
                    </a:cubicBezTo>
                    <a:close/>
                    <a:moveTo>
                      <a:pt x="3978456" y="5117855"/>
                    </a:moveTo>
                    <a:cubicBezTo>
                      <a:pt x="3978456" y="5104538"/>
                      <a:pt x="3967607" y="5093689"/>
                      <a:pt x="3954290" y="5093689"/>
                    </a:cubicBezTo>
                    <a:cubicBezTo>
                      <a:pt x="3940976" y="5093689"/>
                      <a:pt x="3930127" y="5104538"/>
                      <a:pt x="3930127" y="5117855"/>
                    </a:cubicBezTo>
                    <a:cubicBezTo>
                      <a:pt x="3930127" y="5131169"/>
                      <a:pt x="3940976" y="5142018"/>
                      <a:pt x="3954290" y="5142018"/>
                    </a:cubicBezTo>
                    <a:cubicBezTo>
                      <a:pt x="3967607" y="5142018"/>
                      <a:pt x="3978456" y="5131169"/>
                      <a:pt x="3978456" y="5117855"/>
                    </a:cubicBezTo>
                    <a:close/>
                    <a:moveTo>
                      <a:pt x="3979688" y="1611162"/>
                    </a:moveTo>
                    <a:cubicBezTo>
                      <a:pt x="3979688" y="1592917"/>
                      <a:pt x="3964893" y="1578368"/>
                      <a:pt x="3946894" y="1578368"/>
                    </a:cubicBezTo>
                    <a:cubicBezTo>
                      <a:pt x="3928894" y="1578368"/>
                      <a:pt x="3914346" y="1593163"/>
                      <a:pt x="3914346" y="1611162"/>
                    </a:cubicBezTo>
                    <a:cubicBezTo>
                      <a:pt x="3914346" y="1629164"/>
                      <a:pt x="3928894" y="1643711"/>
                      <a:pt x="3946894" y="1643711"/>
                    </a:cubicBezTo>
                    <a:cubicBezTo>
                      <a:pt x="3964893" y="1643711"/>
                      <a:pt x="3979688" y="1628915"/>
                      <a:pt x="3979688" y="1611162"/>
                    </a:cubicBezTo>
                    <a:close/>
                    <a:moveTo>
                      <a:pt x="3984128" y="4187524"/>
                    </a:moveTo>
                    <a:cubicBezTo>
                      <a:pt x="3984128" y="4159909"/>
                      <a:pt x="3961690" y="4137223"/>
                      <a:pt x="3933826" y="4137223"/>
                    </a:cubicBezTo>
                    <a:cubicBezTo>
                      <a:pt x="3906210" y="4137223"/>
                      <a:pt x="3883525" y="4159663"/>
                      <a:pt x="3883525" y="4187524"/>
                    </a:cubicBezTo>
                    <a:cubicBezTo>
                      <a:pt x="3883525" y="4215141"/>
                      <a:pt x="3905964" y="4237827"/>
                      <a:pt x="3933826" y="4237827"/>
                    </a:cubicBezTo>
                    <a:cubicBezTo>
                      <a:pt x="3961690" y="4237827"/>
                      <a:pt x="3984128" y="4215141"/>
                      <a:pt x="3984128" y="4187524"/>
                    </a:cubicBezTo>
                    <a:close/>
                    <a:moveTo>
                      <a:pt x="3984374" y="4430400"/>
                    </a:moveTo>
                    <a:cubicBezTo>
                      <a:pt x="3984374" y="4406237"/>
                      <a:pt x="3964896" y="4386756"/>
                      <a:pt x="3940731" y="4386756"/>
                    </a:cubicBezTo>
                    <a:cubicBezTo>
                      <a:pt x="3916568" y="4386756"/>
                      <a:pt x="3897087" y="4406237"/>
                      <a:pt x="3897087" y="4430400"/>
                    </a:cubicBezTo>
                    <a:cubicBezTo>
                      <a:pt x="3897087" y="4454565"/>
                      <a:pt x="3916568" y="4474046"/>
                      <a:pt x="3940731" y="4474046"/>
                    </a:cubicBezTo>
                    <a:cubicBezTo>
                      <a:pt x="3964648" y="4474046"/>
                      <a:pt x="3984374" y="4454319"/>
                      <a:pt x="3984374" y="4430400"/>
                    </a:cubicBezTo>
                    <a:close/>
                    <a:moveTo>
                      <a:pt x="3984619" y="69052"/>
                    </a:moveTo>
                    <a:cubicBezTo>
                      <a:pt x="3984619" y="50315"/>
                      <a:pt x="3969331" y="35027"/>
                      <a:pt x="3950594" y="35027"/>
                    </a:cubicBezTo>
                    <a:cubicBezTo>
                      <a:pt x="3931855" y="35027"/>
                      <a:pt x="3916565" y="50315"/>
                      <a:pt x="3916565" y="69052"/>
                    </a:cubicBezTo>
                    <a:cubicBezTo>
                      <a:pt x="3916565" y="87790"/>
                      <a:pt x="3931855" y="103079"/>
                      <a:pt x="3950594" y="103079"/>
                    </a:cubicBezTo>
                    <a:cubicBezTo>
                      <a:pt x="3969331" y="103079"/>
                      <a:pt x="3984619" y="87790"/>
                      <a:pt x="3984619" y="69052"/>
                    </a:cubicBezTo>
                    <a:close/>
                    <a:moveTo>
                      <a:pt x="3984868" y="287962"/>
                    </a:moveTo>
                    <a:cubicBezTo>
                      <a:pt x="3984868" y="269223"/>
                      <a:pt x="3969825" y="254183"/>
                      <a:pt x="3951085" y="254183"/>
                    </a:cubicBezTo>
                    <a:cubicBezTo>
                      <a:pt x="3932345" y="254183"/>
                      <a:pt x="3917305" y="269469"/>
                      <a:pt x="3917305" y="287962"/>
                    </a:cubicBezTo>
                    <a:cubicBezTo>
                      <a:pt x="3917305" y="306701"/>
                      <a:pt x="3932595" y="321741"/>
                      <a:pt x="3951085" y="321741"/>
                    </a:cubicBezTo>
                    <a:cubicBezTo>
                      <a:pt x="3969825" y="321741"/>
                      <a:pt x="3984868" y="306455"/>
                      <a:pt x="3984868" y="287962"/>
                    </a:cubicBezTo>
                    <a:close/>
                    <a:moveTo>
                      <a:pt x="3985361" y="397419"/>
                    </a:moveTo>
                    <a:cubicBezTo>
                      <a:pt x="3985361" y="378679"/>
                      <a:pt x="3970071" y="363640"/>
                      <a:pt x="3951577" y="363640"/>
                    </a:cubicBezTo>
                    <a:cubicBezTo>
                      <a:pt x="3932838" y="363640"/>
                      <a:pt x="3917797" y="378926"/>
                      <a:pt x="3917797" y="397419"/>
                    </a:cubicBezTo>
                    <a:cubicBezTo>
                      <a:pt x="3917797" y="416158"/>
                      <a:pt x="3933083" y="431201"/>
                      <a:pt x="3951577" y="431201"/>
                    </a:cubicBezTo>
                    <a:cubicBezTo>
                      <a:pt x="3970071" y="431201"/>
                      <a:pt x="3985111" y="416158"/>
                      <a:pt x="3985361" y="397419"/>
                    </a:cubicBezTo>
                    <a:close/>
                    <a:moveTo>
                      <a:pt x="3985605" y="4779553"/>
                    </a:moveTo>
                    <a:cubicBezTo>
                      <a:pt x="3985605" y="4758100"/>
                      <a:pt x="3967852" y="4740592"/>
                      <a:pt x="3946402" y="4740592"/>
                    </a:cubicBezTo>
                    <a:cubicBezTo>
                      <a:pt x="3924949" y="4740592"/>
                      <a:pt x="3907441" y="4758100"/>
                      <a:pt x="3907441" y="4779553"/>
                    </a:cubicBezTo>
                    <a:cubicBezTo>
                      <a:pt x="3907441" y="4801004"/>
                      <a:pt x="3924949" y="4818511"/>
                      <a:pt x="3946402" y="4818511"/>
                    </a:cubicBezTo>
                    <a:cubicBezTo>
                      <a:pt x="3968097" y="4818511"/>
                      <a:pt x="3985605" y="4800757"/>
                      <a:pt x="3985605" y="4779553"/>
                    </a:cubicBezTo>
                    <a:close/>
                    <a:moveTo>
                      <a:pt x="3986841" y="178506"/>
                    </a:moveTo>
                    <a:cubicBezTo>
                      <a:pt x="3986841" y="158780"/>
                      <a:pt x="3970812" y="142755"/>
                      <a:pt x="3951085" y="142755"/>
                    </a:cubicBezTo>
                    <a:cubicBezTo>
                      <a:pt x="3931360" y="142755"/>
                      <a:pt x="3915333" y="158780"/>
                      <a:pt x="3915333" y="178506"/>
                    </a:cubicBezTo>
                    <a:cubicBezTo>
                      <a:pt x="3915333" y="198231"/>
                      <a:pt x="3931360" y="214258"/>
                      <a:pt x="3951085" y="214258"/>
                    </a:cubicBezTo>
                    <a:cubicBezTo>
                      <a:pt x="3970812" y="214258"/>
                      <a:pt x="3986841" y="198231"/>
                      <a:pt x="3986841" y="178506"/>
                    </a:cubicBezTo>
                    <a:close/>
                    <a:moveTo>
                      <a:pt x="3987581" y="1499477"/>
                    </a:moveTo>
                    <a:cubicBezTo>
                      <a:pt x="3987581" y="1477039"/>
                      <a:pt x="3969333" y="1458792"/>
                      <a:pt x="3946894" y="1458792"/>
                    </a:cubicBezTo>
                    <a:cubicBezTo>
                      <a:pt x="3924457" y="1458792"/>
                      <a:pt x="3906210" y="1477039"/>
                      <a:pt x="3906210" y="1499477"/>
                    </a:cubicBezTo>
                    <a:cubicBezTo>
                      <a:pt x="3906210" y="1521917"/>
                      <a:pt x="3924457" y="1540165"/>
                      <a:pt x="3946894" y="1540165"/>
                    </a:cubicBezTo>
                    <a:cubicBezTo>
                      <a:pt x="3969333" y="1540165"/>
                      <a:pt x="3987581" y="1521917"/>
                      <a:pt x="3987581" y="1499477"/>
                    </a:cubicBezTo>
                    <a:close/>
                    <a:moveTo>
                      <a:pt x="3988073" y="1388283"/>
                    </a:moveTo>
                    <a:cubicBezTo>
                      <a:pt x="3988073" y="1365354"/>
                      <a:pt x="3969333" y="1346862"/>
                      <a:pt x="3946648" y="1346862"/>
                    </a:cubicBezTo>
                    <a:cubicBezTo>
                      <a:pt x="3923718" y="1346862"/>
                      <a:pt x="3905223" y="1365354"/>
                      <a:pt x="3905223" y="1388283"/>
                    </a:cubicBezTo>
                    <a:cubicBezTo>
                      <a:pt x="3905223" y="1411213"/>
                      <a:pt x="3923718" y="1429709"/>
                      <a:pt x="3946648" y="1429709"/>
                    </a:cubicBezTo>
                    <a:cubicBezTo>
                      <a:pt x="3969333" y="1429709"/>
                      <a:pt x="3987827" y="1411213"/>
                      <a:pt x="3988073" y="1388283"/>
                    </a:cubicBezTo>
                    <a:close/>
                    <a:moveTo>
                      <a:pt x="3988073" y="3850949"/>
                    </a:moveTo>
                    <a:cubicBezTo>
                      <a:pt x="3988073" y="3849469"/>
                      <a:pt x="3986838" y="3848236"/>
                      <a:pt x="3985361" y="3848236"/>
                    </a:cubicBezTo>
                    <a:cubicBezTo>
                      <a:pt x="3983879" y="3848236"/>
                      <a:pt x="3982647" y="3849469"/>
                      <a:pt x="3982647" y="3850949"/>
                    </a:cubicBezTo>
                    <a:cubicBezTo>
                      <a:pt x="3982647" y="3852427"/>
                      <a:pt x="3983879" y="3853663"/>
                      <a:pt x="3985361" y="3853663"/>
                    </a:cubicBezTo>
                    <a:cubicBezTo>
                      <a:pt x="3986838" y="3853663"/>
                      <a:pt x="3988073" y="3852427"/>
                      <a:pt x="3988073" y="3850949"/>
                    </a:cubicBezTo>
                    <a:close/>
                    <a:moveTo>
                      <a:pt x="3992018" y="3363718"/>
                    </a:moveTo>
                    <a:cubicBezTo>
                      <a:pt x="3992018" y="3362237"/>
                      <a:pt x="3990783" y="3361005"/>
                      <a:pt x="3989305" y="3361005"/>
                    </a:cubicBezTo>
                    <a:cubicBezTo>
                      <a:pt x="3987824" y="3361005"/>
                      <a:pt x="3986591" y="3362237"/>
                      <a:pt x="3986591" y="3363718"/>
                    </a:cubicBezTo>
                    <a:cubicBezTo>
                      <a:pt x="3986591" y="3365196"/>
                      <a:pt x="3987824" y="3366428"/>
                      <a:pt x="3989305" y="3366428"/>
                    </a:cubicBezTo>
                    <a:cubicBezTo>
                      <a:pt x="3990783" y="3366428"/>
                      <a:pt x="3992018" y="3365196"/>
                      <a:pt x="3992018" y="3363718"/>
                    </a:cubicBezTo>
                    <a:close/>
                    <a:moveTo>
                      <a:pt x="3994237" y="2800549"/>
                    </a:moveTo>
                    <a:cubicBezTo>
                      <a:pt x="3994237" y="2793892"/>
                      <a:pt x="3988811" y="2788467"/>
                      <a:pt x="3982153" y="2788467"/>
                    </a:cubicBezTo>
                    <a:cubicBezTo>
                      <a:pt x="3975497" y="2788467"/>
                      <a:pt x="3970071" y="2793892"/>
                      <a:pt x="3970071" y="2800549"/>
                    </a:cubicBezTo>
                    <a:cubicBezTo>
                      <a:pt x="3970071" y="2807207"/>
                      <a:pt x="3975497" y="2812630"/>
                      <a:pt x="3982153" y="2812630"/>
                    </a:cubicBezTo>
                    <a:cubicBezTo>
                      <a:pt x="3989057" y="2812630"/>
                      <a:pt x="3994482" y="2807207"/>
                      <a:pt x="3994237" y="2800549"/>
                    </a:cubicBezTo>
                    <a:close/>
                    <a:moveTo>
                      <a:pt x="3994237" y="4891745"/>
                    </a:moveTo>
                    <a:cubicBezTo>
                      <a:pt x="3994237" y="4869060"/>
                      <a:pt x="3975743" y="4850566"/>
                      <a:pt x="3953058" y="4850566"/>
                    </a:cubicBezTo>
                    <a:cubicBezTo>
                      <a:pt x="3930373" y="4850566"/>
                      <a:pt x="3911879" y="4869060"/>
                      <a:pt x="3911879" y="4891745"/>
                    </a:cubicBezTo>
                    <a:cubicBezTo>
                      <a:pt x="3911879" y="4914430"/>
                      <a:pt x="3930373" y="4932924"/>
                      <a:pt x="3953058" y="4932924"/>
                    </a:cubicBezTo>
                    <a:cubicBezTo>
                      <a:pt x="3975743" y="4932924"/>
                      <a:pt x="3994237" y="4914430"/>
                      <a:pt x="3994237" y="4891745"/>
                    </a:cubicBezTo>
                    <a:close/>
                    <a:moveTo>
                      <a:pt x="3996950" y="3591551"/>
                    </a:moveTo>
                    <a:cubicBezTo>
                      <a:pt x="3996950" y="3587359"/>
                      <a:pt x="3993497" y="3583907"/>
                      <a:pt x="3989306" y="3583907"/>
                    </a:cubicBezTo>
                    <a:cubicBezTo>
                      <a:pt x="3985111" y="3583907"/>
                      <a:pt x="3981660" y="3587359"/>
                      <a:pt x="3981660" y="3591551"/>
                    </a:cubicBezTo>
                    <a:cubicBezTo>
                      <a:pt x="3981660" y="3595743"/>
                      <a:pt x="3985111" y="3599194"/>
                      <a:pt x="3989306" y="3599194"/>
                    </a:cubicBezTo>
                    <a:cubicBezTo>
                      <a:pt x="3993497" y="3599194"/>
                      <a:pt x="3996950" y="3595743"/>
                      <a:pt x="3996950" y="3591551"/>
                    </a:cubicBezTo>
                    <a:close/>
                    <a:moveTo>
                      <a:pt x="4000646" y="2931969"/>
                    </a:moveTo>
                    <a:cubicBezTo>
                      <a:pt x="4000646" y="2916682"/>
                      <a:pt x="3988073" y="2904107"/>
                      <a:pt x="3972784" y="2904107"/>
                    </a:cubicBezTo>
                    <a:cubicBezTo>
                      <a:pt x="3957498" y="2904107"/>
                      <a:pt x="3944921" y="2916682"/>
                      <a:pt x="3944921" y="2931969"/>
                    </a:cubicBezTo>
                    <a:cubicBezTo>
                      <a:pt x="3944921" y="2947258"/>
                      <a:pt x="3957498" y="2959834"/>
                      <a:pt x="3972784" y="2959834"/>
                    </a:cubicBezTo>
                    <a:cubicBezTo>
                      <a:pt x="3988318" y="2959834"/>
                      <a:pt x="4000646" y="2947258"/>
                      <a:pt x="4000646" y="2931969"/>
                    </a:cubicBezTo>
                    <a:close/>
                    <a:moveTo>
                      <a:pt x="4000649" y="2311611"/>
                    </a:moveTo>
                    <a:cubicBezTo>
                      <a:pt x="4000649" y="2308898"/>
                      <a:pt x="3998430" y="2306680"/>
                      <a:pt x="3995718" y="2306680"/>
                    </a:cubicBezTo>
                    <a:cubicBezTo>
                      <a:pt x="3993005" y="2306680"/>
                      <a:pt x="3990786" y="2308898"/>
                      <a:pt x="3990786" y="2311611"/>
                    </a:cubicBezTo>
                    <a:cubicBezTo>
                      <a:pt x="3990786" y="2314325"/>
                      <a:pt x="3993005" y="2316542"/>
                      <a:pt x="3995718" y="2316542"/>
                    </a:cubicBezTo>
                    <a:cubicBezTo>
                      <a:pt x="3998430" y="2316542"/>
                      <a:pt x="4000649" y="2314325"/>
                      <a:pt x="4000649" y="2311611"/>
                    </a:cubicBezTo>
                    <a:close/>
                    <a:moveTo>
                      <a:pt x="4005577" y="2194499"/>
                    </a:moveTo>
                    <a:cubicBezTo>
                      <a:pt x="4005577" y="2189567"/>
                      <a:pt x="4001632" y="2185621"/>
                      <a:pt x="3996700" y="2185621"/>
                    </a:cubicBezTo>
                    <a:cubicBezTo>
                      <a:pt x="3991769" y="2185621"/>
                      <a:pt x="3987824" y="2189567"/>
                      <a:pt x="3987824" y="2194499"/>
                    </a:cubicBezTo>
                    <a:cubicBezTo>
                      <a:pt x="3987824" y="2199429"/>
                      <a:pt x="3991769" y="2203377"/>
                      <a:pt x="3996700" y="2203377"/>
                    </a:cubicBezTo>
                    <a:cubicBezTo>
                      <a:pt x="4001632" y="2203377"/>
                      <a:pt x="4005577" y="2199429"/>
                      <a:pt x="4005577" y="2194499"/>
                    </a:cubicBezTo>
                    <a:close/>
                    <a:moveTo>
                      <a:pt x="4005827" y="3477387"/>
                    </a:moveTo>
                    <a:cubicBezTo>
                      <a:pt x="4005827" y="3475414"/>
                      <a:pt x="4004100" y="3473688"/>
                      <a:pt x="4002128" y="3473688"/>
                    </a:cubicBezTo>
                    <a:cubicBezTo>
                      <a:pt x="4000154" y="3473688"/>
                      <a:pt x="3998428" y="3475414"/>
                      <a:pt x="3998428" y="3477387"/>
                    </a:cubicBezTo>
                    <a:cubicBezTo>
                      <a:pt x="3998428" y="3479360"/>
                      <a:pt x="4000154" y="3481086"/>
                      <a:pt x="4002128" y="3481086"/>
                    </a:cubicBezTo>
                    <a:cubicBezTo>
                      <a:pt x="4004100" y="3481086"/>
                      <a:pt x="4005827" y="3479360"/>
                      <a:pt x="4005827" y="3477387"/>
                    </a:cubicBezTo>
                    <a:close/>
                    <a:moveTo>
                      <a:pt x="4011745" y="2429960"/>
                    </a:moveTo>
                    <a:cubicBezTo>
                      <a:pt x="4011745" y="2420097"/>
                      <a:pt x="4003854" y="2412207"/>
                      <a:pt x="3993991" y="2412207"/>
                    </a:cubicBezTo>
                    <a:cubicBezTo>
                      <a:pt x="3984128" y="2412207"/>
                      <a:pt x="3976237" y="2420097"/>
                      <a:pt x="3976237" y="2429960"/>
                    </a:cubicBezTo>
                    <a:cubicBezTo>
                      <a:pt x="3976237" y="2439823"/>
                      <a:pt x="3984128" y="2447715"/>
                      <a:pt x="3993991" y="2447715"/>
                    </a:cubicBezTo>
                    <a:cubicBezTo>
                      <a:pt x="4003854" y="2447715"/>
                      <a:pt x="4011745" y="2439823"/>
                      <a:pt x="4011745" y="2429960"/>
                    </a:cubicBezTo>
                    <a:close/>
                    <a:moveTo>
                      <a:pt x="4016676" y="2673815"/>
                    </a:moveTo>
                    <a:cubicBezTo>
                      <a:pt x="4016676" y="2658035"/>
                      <a:pt x="4003853" y="2645213"/>
                      <a:pt x="3988073" y="2645213"/>
                    </a:cubicBezTo>
                    <a:cubicBezTo>
                      <a:pt x="3972291" y="2645213"/>
                      <a:pt x="3959469" y="2658035"/>
                      <a:pt x="3959469" y="2673815"/>
                    </a:cubicBezTo>
                    <a:cubicBezTo>
                      <a:pt x="3959469" y="2689595"/>
                      <a:pt x="3972291" y="2702419"/>
                      <a:pt x="3988073" y="2702419"/>
                    </a:cubicBezTo>
                    <a:cubicBezTo>
                      <a:pt x="4003853" y="2702419"/>
                      <a:pt x="4016676" y="2689595"/>
                      <a:pt x="4016676" y="2673815"/>
                    </a:cubicBezTo>
                    <a:close/>
                    <a:moveTo>
                      <a:pt x="4019140" y="2550531"/>
                    </a:moveTo>
                    <a:cubicBezTo>
                      <a:pt x="4019140" y="2535245"/>
                      <a:pt x="4006813" y="2522915"/>
                      <a:pt x="3991524" y="2522915"/>
                    </a:cubicBezTo>
                    <a:cubicBezTo>
                      <a:pt x="3976484" y="2522915"/>
                      <a:pt x="3963908" y="2535245"/>
                      <a:pt x="3963908" y="2550531"/>
                    </a:cubicBezTo>
                    <a:cubicBezTo>
                      <a:pt x="3963908" y="2565820"/>
                      <a:pt x="3976238" y="2578148"/>
                      <a:pt x="3991524" y="2578148"/>
                    </a:cubicBezTo>
                    <a:cubicBezTo>
                      <a:pt x="4006813" y="2578148"/>
                      <a:pt x="4019140" y="2565820"/>
                      <a:pt x="4019140" y="2550531"/>
                    </a:cubicBezTo>
                    <a:close/>
                    <a:moveTo>
                      <a:pt x="4027031" y="3103830"/>
                    </a:moveTo>
                    <a:cubicBezTo>
                      <a:pt x="4027031" y="3080650"/>
                      <a:pt x="4008293" y="3061665"/>
                      <a:pt x="3984868" y="3061665"/>
                    </a:cubicBezTo>
                    <a:cubicBezTo>
                      <a:pt x="3961688" y="3061665"/>
                      <a:pt x="3942703" y="3080650"/>
                      <a:pt x="3942703" y="3103830"/>
                    </a:cubicBezTo>
                    <a:cubicBezTo>
                      <a:pt x="3942703" y="3127007"/>
                      <a:pt x="3961443" y="3145995"/>
                      <a:pt x="3984868" y="3145995"/>
                    </a:cubicBezTo>
                    <a:cubicBezTo>
                      <a:pt x="4008293" y="3145995"/>
                      <a:pt x="4027279" y="3127007"/>
                      <a:pt x="4027031" y="3103830"/>
                    </a:cubicBezTo>
                    <a:close/>
                    <a:moveTo>
                      <a:pt x="4043059" y="1068517"/>
                    </a:moveTo>
                    <a:cubicBezTo>
                      <a:pt x="4043059" y="1048545"/>
                      <a:pt x="4026784" y="1032517"/>
                      <a:pt x="4007058" y="1032517"/>
                    </a:cubicBezTo>
                    <a:cubicBezTo>
                      <a:pt x="3987086" y="1032517"/>
                      <a:pt x="3971059" y="1048792"/>
                      <a:pt x="3971059" y="1068517"/>
                    </a:cubicBezTo>
                    <a:cubicBezTo>
                      <a:pt x="3971059" y="1088497"/>
                      <a:pt x="3987334" y="1104520"/>
                      <a:pt x="4007058" y="1104520"/>
                    </a:cubicBezTo>
                    <a:cubicBezTo>
                      <a:pt x="4026784" y="1104520"/>
                      <a:pt x="4042814" y="1088251"/>
                      <a:pt x="4043059" y="1068517"/>
                    </a:cubicBezTo>
                    <a:close/>
                    <a:moveTo>
                      <a:pt x="4043552" y="847130"/>
                    </a:moveTo>
                    <a:cubicBezTo>
                      <a:pt x="4043552" y="827159"/>
                      <a:pt x="4027525" y="811132"/>
                      <a:pt x="4007553" y="811132"/>
                    </a:cubicBezTo>
                    <a:cubicBezTo>
                      <a:pt x="3987578" y="811132"/>
                      <a:pt x="3971551" y="827405"/>
                      <a:pt x="3971551" y="847130"/>
                    </a:cubicBezTo>
                    <a:cubicBezTo>
                      <a:pt x="3971551" y="867101"/>
                      <a:pt x="3987827" y="883125"/>
                      <a:pt x="4007553" y="883125"/>
                    </a:cubicBezTo>
                    <a:cubicBezTo>
                      <a:pt x="4027279" y="883125"/>
                      <a:pt x="4043552" y="867101"/>
                      <a:pt x="4043552" y="847130"/>
                    </a:cubicBezTo>
                    <a:close/>
                    <a:moveTo>
                      <a:pt x="4045770" y="516247"/>
                    </a:moveTo>
                    <a:cubicBezTo>
                      <a:pt x="4045770" y="494797"/>
                      <a:pt x="4028262" y="477291"/>
                      <a:pt x="4006813" y="477291"/>
                    </a:cubicBezTo>
                    <a:cubicBezTo>
                      <a:pt x="3985359" y="477291"/>
                      <a:pt x="3967852" y="494797"/>
                      <a:pt x="3967852" y="516247"/>
                    </a:cubicBezTo>
                    <a:cubicBezTo>
                      <a:pt x="3967852" y="537699"/>
                      <a:pt x="3985359" y="555207"/>
                      <a:pt x="4006813" y="555207"/>
                    </a:cubicBezTo>
                    <a:cubicBezTo>
                      <a:pt x="4028262" y="555207"/>
                      <a:pt x="4045770" y="537699"/>
                      <a:pt x="4045770" y="516247"/>
                    </a:cubicBezTo>
                    <a:close/>
                    <a:moveTo>
                      <a:pt x="4046016" y="957829"/>
                    </a:moveTo>
                    <a:cubicBezTo>
                      <a:pt x="4046016" y="936125"/>
                      <a:pt x="4028512" y="918616"/>
                      <a:pt x="4006813" y="918616"/>
                    </a:cubicBezTo>
                    <a:cubicBezTo>
                      <a:pt x="3985114" y="918616"/>
                      <a:pt x="3967606" y="936125"/>
                      <a:pt x="3967606" y="957829"/>
                    </a:cubicBezTo>
                    <a:cubicBezTo>
                      <a:pt x="3967606" y="979523"/>
                      <a:pt x="3985114" y="997033"/>
                      <a:pt x="4006813" y="997033"/>
                    </a:cubicBezTo>
                    <a:cubicBezTo>
                      <a:pt x="4028512" y="997033"/>
                      <a:pt x="4046016" y="979278"/>
                      <a:pt x="4046016" y="957829"/>
                    </a:cubicBezTo>
                    <a:close/>
                    <a:moveTo>
                      <a:pt x="4046265" y="626445"/>
                    </a:moveTo>
                    <a:cubicBezTo>
                      <a:pt x="4046265" y="604748"/>
                      <a:pt x="4028512" y="586995"/>
                      <a:pt x="4006813" y="586995"/>
                    </a:cubicBezTo>
                    <a:cubicBezTo>
                      <a:pt x="3985115" y="586995"/>
                      <a:pt x="3967360" y="604748"/>
                      <a:pt x="3967360" y="626445"/>
                    </a:cubicBezTo>
                    <a:cubicBezTo>
                      <a:pt x="3967360" y="648177"/>
                      <a:pt x="3984868" y="665936"/>
                      <a:pt x="4006813" y="665936"/>
                    </a:cubicBezTo>
                    <a:cubicBezTo>
                      <a:pt x="4028757" y="665936"/>
                      <a:pt x="4046265" y="648423"/>
                      <a:pt x="4046265" y="626445"/>
                    </a:cubicBezTo>
                    <a:close/>
                    <a:moveTo>
                      <a:pt x="4047743" y="3981385"/>
                    </a:moveTo>
                    <a:cubicBezTo>
                      <a:pt x="4047743" y="3963877"/>
                      <a:pt x="4033688" y="3949823"/>
                      <a:pt x="4016181" y="3949823"/>
                    </a:cubicBezTo>
                    <a:cubicBezTo>
                      <a:pt x="3998673" y="3949823"/>
                      <a:pt x="3984619" y="3963877"/>
                      <a:pt x="3984619" y="3981385"/>
                    </a:cubicBezTo>
                    <a:cubicBezTo>
                      <a:pt x="3984619" y="3998892"/>
                      <a:pt x="3998919" y="4012946"/>
                      <a:pt x="4016181" y="4012946"/>
                    </a:cubicBezTo>
                    <a:cubicBezTo>
                      <a:pt x="4033440" y="4012946"/>
                      <a:pt x="4047497" y="3998892"/>
                      <a:pt x="4047743" y="3981385"/>
                    </a:cubicBezTo>
                    <a:close/>
                    <a:moveTo>
                      <a:pt x="4047991" y="736928"/>
                    </a:moveTo>
                    <a:cubicBezTo>
                      <a:pt x="4047991" y="714487"/>
                      <a:pt x="4029743" y="696251"/>
                      <a:pt x="4007306" y="696251"/>
                    </a:cubicBezTo>
                    <a:cubicBezTo>
                      <a:pt x="3984623" y="696251"/>
                      <a:pt x="3966374" y="714487"/>
                      <a:pt x="3966374" y="736928"/>
                    </a:cubicBezTo>
                    <a:cubicBezTo>
                      <a:pt x="3966374" y="759367"/>
                      <a:pt x="3984868" y="777615"/>
                      <a:pt x="4007306" y="777615"/>
                    </a:cubicBezTo>
                    <a:cubicBezTo>
                      <a:pt x="4029743" y="777615"/>
                      <a:pt x="4047991" y="759367"/>
                      <a:pt x="4047991" y="736928"/>
                    </a:cubicBezTo>
                    <a:close/>
                    <a:moveTo>
                      <a:pt x="4049964" y="1179460"/>
                    </a:moveTo>
                    <a:cubicBezTo>
                      <a:pt x="4049964" y="1155792"/>
                      <a:pt x="4030730" y="1136559"/>
                      <a:pt x="4007058" y="1136559"/>
                    </a:cubicBezTo>
                    <a:cubicBezTo>
                      <a:pt x="3983387" y="1136559"/>
                      <a:pt x="3964155" y="1155792"/>
                      <a:pt x="3964155" y="1179460"/>
                    </a:cubicBezTo>
                    <a:cubicBezTo>
                      <a:pt x="3964155" y="1203138"/>
                      <a:pt x="3983387" y="1222370"/>
                      <a:pt x="4007058" y="1222370"/>
                    </a:cubicBezTo>
                    <a:cubicBezTo>
                      <a:pt x="4030730" y="1222370"/>
                      <a:pt x="4049964" y="1203138"/>
                      <a:pt x="4049964" y="1179460"/>
                    </a:cubicBezTo>
                    <a:close/>
                    <a:moveTo>
                      <a:pt x="4050702" y="1290895"/>
                    </a:moveTo>
                    <a:cubicBezTo>
                      <a:pt x="4050702" y="1266976"/>
                      <a:pt x="4031221" y="1247257"/>
                      <a:pt x="4007056" y="1247257"/>
                    </a:cubicBezTo>
                    <a:cubicBezTo>
                      <a:pt x="3982893" y="1247257"/>
                      <a:pt x="3963166" y="1266729"/>
                      <a:pt x="3963166" y="1290895"/>
                    </a:cubicBezTo>
                    <a:cubicBezTo>
                      <a:pt x="3963166" y="1314821"/>
                      <a:pt x="3982893" y="1334545"/>
                      <a:pt x="4007056" y="1334545"/>
                    </a:cubicBezTo>
                    <a:cubicBezTo>
                      <a:pt x="4030976" y="1334545"/>
                      <a:pt x="4050702" y="1315068"/>
                      <a:pt x="4050702" y="1290895"/>
                    </a:cubicBezTo>
                    <a:close/>
                    <a:moveTo>
                      <a:pt x="4051442" y="3753797"/>
                    </a:moveTo>
                    <a:cubicBezTo>
                      <a:pt x="4051442" y="3750590"/>
                      <a:pt x="4048977" y="3748125"/>
                      <a:pt x="4045773" y="3748125"/>
                    </a:cubicBezTo>
                    <a:cubicBezTo>
                      <a:pt x="4042565" y="3748125"/>
                      <a:pt x="4040101" y="3750590"/>
                      <a:pt x="4040101" y="3753797"/>
                    </a:cubicBezTo>
                    <a:cubicBezTo>
                      <a:pt x="4040101" y="3757002"/>
                      <a:pt x="4042565" y="3759467"/>
                      <a:pt x="4045773" y="3759467"/>
                    </a:cubicBezTo>
                    <a:cubicBezTo>
                      <a:pt x="4048731" y="3759467"/>
                      <a:pt x="4051442" y="3757002"/>
                      <a:pt x="4051442" y="3753797"/>
                    </a:cubicBezTo>
                    <a:close/>
                    <a:moveTo>
                      <a:pt x="4064511" y="1755902"/>
                    </a:moveTo>
                    <a:cubicBezTo>
                      <a:pt x="4064511" y="1752939"/>
                      <a:pt x="4062046" y="1750474"/>
                      <a:pt x="4059087" y="1750474"/>
                    </a:cubicBezTo>
                    <a:cubicBezTo>
                      <a:pt x="4056128" y="1750474"/>
                      <a:pt x="4053660" y="1752939"/>
                      <a:pt x="4053660" y="1755902"/>
                    </a:cubicBezTo>
                    <a:cubicBezTo>
                      <a:pt x="4053660" y="1758858"/>
                      <a:pt x="4056128" y="1761327"/>
                      <a:pt x="4059087" y="1761327"/>
                    </a:cubicBezTo>
                    <a:cubicBezTo>
                      <a:pt x="4062046" y="1761327"/>
                      <a:pt x="4064511" y="1758858"/>
                      <a:pt x="4064511" y="1755902"/>
                    </a:cubicBezTo>
                    <a:close/>
                    <a:moveTo>
                      <a:pt x="4066237" y="4618045"/>
                    </a:moveTo>
                    <a:cubicBezTo>
                      <a:pt x="4066237" y="4609414"/>
                      <a:pt x="4059333" y="4602510"/>
                      <a:pt x="4050702" y="4602510"/>
                    </a:cubicBezTo>
                    <a:cubicBezTo>
                      <a:pt x="4042071" y="4602510"/>
                      <a:pt x="4035166" y="4609414"/>
                      <a:pt x="4035166" y="4618045"/>
                    </a:cubicBezTo>
                    <a:cubicBezTo>
                      <a:pt x="4035166" y="4626673"/>
                      <a:pt x="4042071" y="4633577"/>
                      <a:pt x="4050702" y="4633577"/>
                    </a:cubicBezTo>
                    <a:cubicBezTo>
                      <a:pt x="4059333" y="4633577"/>
                      <a:pt x="4066483" y="4626673"/>
                      <a:pt x="4066237" y="4618045"/>
                    </a:cubicBezTo>
                    <a:close/>
                    <a:moveTo>
                      <a:pt x="4068455" y="5423854"/>
                    </a:moveTo>
                    <a:cubicBezTo>
                      <a:pt x="4068455" y="5423607"/>
                      <a:pt x="4068209" y="5423362"/>
                      <a:pt x="4067960" y="5423362"/>
                    </a:cubicBezTo>
                    <a:cubicBezTo>
                      <a:pt x="4067714" y="5423362"/>
                      <a:pt x="4067468" y="5423607"/>
                      <a:pt x="4067468" y="5423854"/>
                    </a:cubicBezTo>
                    <a:cubicBezTo>
                      <a:pt x="4067468" y="5424103"/>
                      <a:pt x="4067714" y="5424348"/>
                      <a:pt x="4067960" y="5424348"/>
                    </a:cubicBezTo>
                    <a:cubicBezTo>
                      <a:pt x="4068209" y="5424348"/>
                      <a:pt x="4068455" y="5424103"/>
                      <a:pt x="4068455" y="5423854"/>
                    </a:cubicBezTo>
                    <a:close/>
                    <a:moveTo>
                      <a:pt x="4069441" y="5196756"/>
                    </a:moveTo>
                    <a:cubicBezTo>
                      <a:pt x="4069441" y="5195030"/>
                      <a:pt x="4067963" y="5193551"/>
                      <a:pt x="4066237" y="5193551"/>
                    </a:cubicBezTo>
                    <a:cubicBezTo>
                      <a:pt x="4064509" y="5193551"/>
                      <a:pt x="4063031" y="5195030"/>
                      <a:pt x="4063031" y="5196756"/>
                    </a:cubicBezTo>
                    <a:cubicBezTo>
                      <a:pt x="4063031" y="5198483"/>
                      <a:pt x="4064509" y="5199961"/>
                      <a:pt x="4066237" y="5199961"/>
                    </a:cubicBezTo>
                    <a:cubicBezTo>
                      <a:pt x="4068209" y="5199961"/>
                      <a:pt x="4069690" y="5198483"/>
                      <a:pt x="4069441" y="5196756"/>
                    </a:cubicBezTo>
                    <a:close/>
                    <a:moveTo>
                      <a:pt x="4072403" y="1870545"/>
                    </a:moveTo>
                    <a:cubicBezTo>
                      <a:pt x="4072403" y="1863150"/>
                      <a:pt x="4066237" y="1856987"/>
                      <a:pt x="4058841" y="1856987"/>
                    </a:cubicBezTo>
                    <a:cubicBezTo>
                      <a:pt x="4051443" y="1856987"/>
                      <a:pt x="4045278" y="1863150"/>
                      <a:pt x="4045278" y="1870545"/>
                    </a:cubicBezTo>
                    <a:cubicBezTo>
                      <a:pt x="4045278" y="1877940"/>
                      <a:pt x="4051443" y="1884102"/>
                      <a:pt x="4058841" y="1884102"/>
                    </a:cubicBezTo>
                    <a:cubicBezTo>
                      <a:pt x="4066486" y="1884102"/>
                      <a:pt x="4072403" y="1877940"/>
                      <a:pt x="4072403" y="1870545"/>
                    </a:cubicBezTo>
                    <a:close/>
                    <a:moveTo>
                      <a:pt x="4072646" y="6094787"/>
                    </a:moveTo>
                    <a:cubicBezTo>
                      <a:pt x="4072646" y="6093801"/>
                      <a:pt x="4071908" y="6093060"/>
                      <a:pt x="4070922" y="6093060"/>
                    </a:cubicBezTo>
                    <a:cubicBezTo>
                      <a:pt x="4069936" y="6093060"/>
                      <a:pt x="4069195" y="6093801"/>
                      <a:pt x="4069195" y="6094787"/>
                    </a:cubicBezTo>
                    <a:cubicBezTo>
                      <a:pt x="4069195" y="6095773"/>
                      <a:pt x="4069936" y="6096514"/>
                      <a:pt x="4070922" y="6096514"/>
                    </a:cubicBezTo>
                    <a:cubicBezTo>
                      <a:pt x="4071908" y="6096514"/>
                      <a:pt x="4072646" y="6095773"/>
                      <a:pt x="4072646" y="6094787"/>
                    </a:cubicBezTo>
                    <a:close/>
                    <a:moveTo>
                      <a:pt x="4072646" y="6205747"/>
                    </a:moveTo>
                    <a:cubicBezTo>
                      <a:pt x="4072646" y="6204760"/>
                      <a:pt x="4071908" y="6204019"/>
                      <a:pt x="4070922" y="6204019"/>
                    </a:cubicBezTo>
                    <a:cubicBezTo>
                      <a:pt x="4069936" y="6204019"/>
                      <a:pt x="4069195" y="6204760"/>
                      <a:pt x="4069195" y="6205747"/>
                    </a:cubicBezTo>
                    <a:cubicBezTo>
                      <a:pt x="4069195" y="6206732"/>
                      <a:pt x="4069936" y="6207473"/>
                      <a:pt x="4070922" y="6207473"/>
                    </a:cubicBezTo>
                    <a:cubicBezTo>
                      <a:pt x="4071908" y="6207473"/>
                      <a:pt x="4072646" y="6206732"/>
                      <a:pt x="4072646" y="6205747"/>
                    </a:cubicBezTo>
                    <a:close/>
                    <a:moveTo>
                      <a:pt x="4073387" y="1985905"/>
                    </a:moveTo>
                    <a:cubicBezTo>
                      <a:pt x="4073387" y="1977771"/>
                      <a:pt x="4066728" y="1971114"/>
                      <a:pt x="4058592" y="1971114"/>
                    </a:cubicBezTo>
                    <a:cubicBezTo>
                      <a:pt x="4050702" y="1971114"/>
                      <a:pt x="4044043" y="1977771"/>
                      <a:pt x="4044043" y="1985905"/>
                    </a:cubicBezTo>
                    <a:cubicBezTo>
                      <a:pt x="4044043" y="1994039"/>
                      <a:pt x="4050456" y="2000696"/>
                      <a:pt x="4058592" y="2000696"/>
                    </a:cubicBezTo>
                    <a:cubicBezTo>
                      <a:pt x="4066728" y="2000696"/>
                      <a:pt x="4073387" y="1994039"/>
                      <a:pt x="4073387" y="1985905"/>
                    </a:cubicBezTo>
                    <a:close/>
                    <a:moveTo>
                      <a:pt x="4073387" y="4967197"/>
                    </a:moveTo>
                    <a:cubicBezTo>
                      <a:pt x="4073387" y="4961770"/>
                      <a:pt x="4068950" y="4957579"/>
                      <a:pt x="4063773" y="4957579"/>
                    </a:cubicBezTo>
                    <a:cubicBezTo>
                      <a:pt x="4058346" y="4957579"/>
                      <a:pt x="4054155" y="4962017"/>
                      <a:pt x="4054155" y="4967197"/>
                    </a:cubicBezTo>
                    <a:cubicBezTo>
                      <a:pt x="4054155" y="4972620"/>
                      <a:pt x="4058595" y="4976811"/>
                      <a:pt x="4063773" y="4976811"/>
                    </a:cubicBezTo>
                    <a:cubicBezTo>
                      <a:pt x="4068950" y="4976811"/>
                      <a:pt x="4073387" y="4972620"/>
                      <a:pt x="4073387" y="4967197"/>
                    </a:cubicBezTo>
                    <a:close/>
                    <a:moveTo>
                      <a:pt x="4074372" y="6316459"/>
                    </a:moveTo>
                    <a:cubicBezTo>
                      <a:pt x="4074372" y="6314731"/>
                      <a:pt x="4073140" y="6313499"/>
                      <a:pt x="4071414" y="6313499"/>
                    </a:cubicBezTo>
                    <a:cubicBezTo>
                      <a:pt x="4069687" y="6313499"/>
                      <a:pt x="4068455" y="6314731"/>
                      <a:pt x="4068455" y="6316459"/>
                    </a:cubicBezTo>
                    <a:cubicBezTo>
                      <a:pt x="4068455" y="6318185"/>
                      <a:pt x="4069687" y="6319418"/>
                      <a:pt x="4071414" y="6319418"/>
                    </a:cubicBezTo>
                    <a:cubicBezTo>
                      <a:pt x="4072892" y="6319418"/>
                      <a:pt x="4074372" y="6317937"/>
                      <a:pt x="4074372" y="6316459"/>
                    </a:cubicBezTo>
                    <a:close/>
                    <a:moveTo>
                      <a:pt x="4074619" y="6427171"/>
                    </a:moveTo>
                    <a:cubicBezTo>
                      <a:pt x="4074619" y="6425444"/>
                      <a:pt x="4073141" y="6423965"/>
                      <a:pt x="4071415" y="6423965"/>
                    </a:cubicBezTo>
                    <a:cubicBezTo>
                      <a:pt x="4069688" y="6423965"/>
                      <a:pt x="4068209" y="6425444"/>
                      <a:pt x="4068209" y="6427171"/>
                    </a:cubicBezTo>
                    <a:cubicBezTo>
                      <a:pt x="4068209" y="6428897"/>
                      <a:pt x="4069688" y="6430375"/>
                      <a:pt x="4071415" y="6430375"/>
                    </a:cubicBezTo>
                    <a:cubicBezTo>
                      <a:pt x="4073141" y="6430375"/>
                      <a:pt x="4074619" y="6428897"/>
                      <a:pt x="4074619" y="6427171"/>
                    </a:cubicBezTo>
                    <a:close/>
                    <a:moveTo>
                      <a:pt x="4074622" y="5983336"/>
                    </a:moveTo>
                    <a:cubicBezTo>
                      <a:pt x="4074622" y="5982101"/>
                      <a:pt x="4073636" y="5980869"/>
                      <a:pt x="4072155" y="5980869"/>
                    </a:cubicBezTo>
                    <a:cubicBezTo>
                      <a:pt x="4070922" y="5980869"/>
                      <a:pt x="4069690" y="5981855"/>
                      <a:pt x="4069690" y="5983336"/>
                    </a:cubicBezTo>
                    <a:cubicBezTo>
                      <a:pt x="4069690" y="5984569"/>
                      <a:pt x="4070677" y="5985801"/>
                      <a:pt x="4072155" y="5985801"/>
                    </a:cubicBezTo>
                    <a:cubicBezTo>
                      <a:pt x="4073636" y="5985801"/>
                      <a:pt x="4074868" y="5984569"/>
                      <a:pt x="4074622" y="5983336"/>
                    </a:cubicBezTo>
                    <a:close/>
                    <a:moveTo>
                      <a:pt x="4075113" y="5759693"/>
                    </a:moveTo>
                    <a:cubicBezTo>
                      <a:pt x="4075113" y="5758706"/>
                      <a:pt x="4074376" y="5757965"/>
                      <a:pt x="4073389" y="5757965"/>
                    </a:cubicBezTo>
                    <a:cubicBezTo>
                      <a:pt x="4072403" y="5757965"/>
                      <a:pt x="4071662" y="5758706"/>
                      <a:pt x="4071662" y="5759693"/>
                    </a:cubicBezTo>
                    <a:cubicBezTo>
                      <a:pt x="4071662" y="5760678"/>
                      <a:pt x="4072403" y="5761419"/>
                      <a:pt x="4073389" y="5761419"/>
                    </a:cubicBezTo>
                    <a:cubicBezTo>
                      <a:pt x="4074376" y="5761419"/>
                      <a:pt x="4075362" y="5760678"/>
                      <a:pt x="4075113" y="5759693"/>
                    </a:cubicBezTo>
                    <a:close/>
                    <a:moveTo>
                      <a:pt x="4075359" y="4118482"/>
                    </a:moveTo>
                    <a:cubicBezTo>
                      <a:pt x="4075359" y="4092346"/>
                      <a:pt x="4054152" y="4071139"/>
                      <a:pt x="4028016" y="4071139"/>
                    </a:cubicBezTo>
                    <a:cubicBezTo>
                      <a:pt x="4001881" y="4071139"/>
                      <a:pt x="3980674" y="4092346"/>
                      <a:pt x="3980674" y="4118482"/>
                    </a:cubicBezTo>
                    <a:cubicBezTo>
                      <a:pt x="3980674" y="4144620"/>
                      <a:pt x="4001881" y="4165824"/>
                      <a:pt x="4028016" y="4165824"/>
                    </a:cubicBezTo>
                    <a:cubicBezTo>
                      <a:pt x="4054152" y="4165824"/>
                      <a:pt x="4075359" y="4144620"/>
                      <a:pt x="4075359" y="4118482"/>
                    </a:cubicBezTo>
                    <a:close/>
                    <a:moveTo>
                      <a:pt x="4075606" y="4249169"/>
                    </a:moveTo>
                    <a:cubicBezTo>
                      <a:pt x="4075606" y="4227469"/>
                      <a:pt x="4058101" y="4209962"/>
                      <a:pt x="4036403" y="4209962"/>
                    </a:cubicBezTo>
                    <a:cubicBezTo>
                      <a:pt x="4014703" y="4209962"/>
                      <a:pt x="3997196" y="4227469"/>
                      <a:pt x="3997196" y="4249169"/>
                    </a:cubicBezTo>
                    <a:cubicBezTo>
                      <a:pt x="3997196" y="4270867"/>
                      <a:pt x="4014703" y="4288372"/>
                      <a:pt x="4036403" y="4288372"/>
                    </a:cubicBezTo>
                    <a:cubicBezTo>
                      <a:pt x="4058101" y="4288372"/>
                      <a:pt x="4075606" y="4270621"/>
                      <a:pt x="4075606" y="4249169"/>
                    </a:cubicBezTo>
                    <a:close/>
                    <a:moveTo>
                      <a:pt x="4076100" y="6757336"/>
                    </a:moveTo>
                    <a:cubicBezTo>
                      <a:pt x="4076100" y="6756349"/>
                      <a:pt x="4075113" y="6755363"/>
                      <a:pt x="4074128" y="6755363"/>
                    </a:cubicBezTo>
                    <a:cubicBezTo>
                      <a:pt x="4073141" y="6755363"/>
                      <a:pt x="4072155" y="6756349"/>
                      <a:pt x="4072155" y="6757336"/>
                    </a:cubicBezTo>
                    <a:cubicBezTo>
                      <a:pt x="4072155" y="6758322"/>
                      <a:pt x="4073141" y="6759308"/>
                      <a:pt x="4074128" y="6759308"/>
                    </a:cubicBezTo>
                    <a:cubicBezTo>
                      <a:pt x="4075360" y="6759308"/>
                      <a:pt x="4076100" y="6758568"/>
                      <a:pt x="4076100" y="6757336"/>
                    </a:cubicBezTo>
                    <a:close/>
                    <a:moveTo>
                      <a:pt x="4077086" y="6867307"/>
                    </a:moveTo>
                    <a:cubicBezTo>
                      <a:pt x="4077086" y="6866075"/>
                      <a:pt x="4076097" y="6865088"/>
                      <a:pt x="4074865" y="6865088"/>
                    </a:cubicBezTo>
                    <a:cubicBezTo>
                      <a:pt x="4073632" y="6865088"/>
                      <a:pt x="4072646" y="6866075"/>
                      <a:pt x="4072646" y="6867307"/>
                    </a:cubicBezTo>
                    <a:cubicBezTo>
                      <a:pt x="4072646" y="6868541"/>
                      <a:pt x="4073632" y="6869525"/>
                      <a:pt x="4074865" y="6869525"/>
                    </a:cubicBezTo>
                    <a:cubicBezTo>
                      <a:pt x="4075850" y="6869525"/>
                      <a:pt x="4076837" y="6868541"/>
                      <a:pt x="4077086" y="6867307"/>
                    </a:cubicBezTo>
                    <a:close/>
                    <a:moveTo>
                      <a:pt x="4077087" y="2102283"/>
                    </a:moveTo>
                    <a:cubicBezTo>
                      <a:pt x="4077087" y="2091798"/>
                      <a:pt x="4068585" y="2083295"/>
                      <a:pt x="4058099" y="2083295"/>
                    </a:cubicBezTo>
                    <a:cubicBezTo>
                      <a:pt x="4047613" y="2083295"/>
                      <a:pt x="4039112" y="2091798"/>
                      <a:pt x="4039112" y="2102283"/>
                    </a:cubicBezTo>
                    <a:cubicBezTo>
                      <a:pt x="4039112" y="2112771"/>
                      <a:pt x="4047613" y="2121270"/>
                      <a:pt x="4058099" y="2121270"/>
                    </a:cubicBezTo>
                    <a:cubicBezTo>
                      <a:pt x="4068585" y="2121270"/>
                      <a:pt x="4077087" y="2112771"/>
                      <a:pt x="4077087" y="2102283"/>
                    </a:cubicBezTo>
                    <a:close/>
                    <a:moveTo>
                      <a:pt x="4077332" y="4497470"/>
                    </a:moveTo>
                    <a:cubicBezTo>
                      <a:pt x="4077332" y="4480949"/>
                      <a:pt x="4063771" y="4467386"/>
                      <a:pt x="4047251" y="4467386"/>
                    </a:cubicBezTo>
                    <a:cubicBezTo>
                      <a:pt x="4030731" y="4467386"/>
                      <a:pt x="4017168" y="4480949"/>
                      <a:pt x="4017168" y="4497470"/>
                    </a:cubicBezTo>
                    <a:cubicBezTo>
                      <a:pt x="4017168" y="4513989"/>
                      <a:pt x="4030731" y="4527551"/>
                      <a:pt x="4047251" y="4527551"/>
                    </a:cubicBezTo>
                    <a:cubicBezTo>
                      <a:pt x="4063771" y="4527551"/>
                      <a:pt x="4077332" y="4514234"/>
                      <a:pt x="4077332" y="4497470"/>
                    </a:cubicBezTo>
                    <a:close/>
                    <a:moveTo>
                      <a:pt x="4077332" y="5310430"/>
                    </a:moveTo>
                    <a:cubicBezTo>
                      <a:pt x="4077332" y="5305004"/>
                      <a:pt x="4072896" y="5300812"/>
                      <a:pt x="4067718" y="5300812"/>
                    </a:cubicBezTo>
                    <a:cubicBezTo>
                      <a:pt x="4062291" y="5300812"/>
                      <a:pt x="4058101" y="5305250"/>
                      <a:pt x="4058101" y="5310430"/>
                    </a:cubicBezTo>
                    <a:cubicBezTo>
                      <a:pt x="4058101" y="5315853"/>
                      <a:pt x="4062538" y="5320044"/>
                      <a:pt x="4067718" y="5320044"/>
                    </a:cubicBezTo>
                    <a:cubicBezTo>
                      <a:pt x="4073141" y="5320044"/>
                      <a:pt x="4077332" y="5315608"/>
                      <a:pt x="4077332" y="5310430"/>
                    </a:cubicBezTo>
                    <a:close/>
                    <a:moveTo>
                      <a:pt x="4077334" y="6536896"/>
                    </a:moveTo>
                    <a:cubicBezTo>
                      <a:pt x="4077334" y="6535664"/>
                      <a:pt x="4076346" y="6534677"/>
                      <a:pt x="4075113" y="6534677"/>
                    </a:cubicBezTo>
                    <a:cubicBezTo>
                      <a:pt x="4073881" y="6534677"/>
                      <a:pt x="4072895" y="6535664"/>
                      <a:pt x="4072895" y="6536896"/>
                    </a:cubicBezTo>
                    <a:cubicBezTo>
                      <a:pt x="4072895" y="6538130"/>
                      <a:pt x="4073881" y="6539114"/>
                      <a:pt x="4075113" y="6539114"/>
                    </a:cubicBezTo>
                    <a:cubicBezTo>
                      <a:pt x="4076593" y="6539114"/>
                      <a:pt x="4077581" y="6537881"/>
                      <a:pt x="4077334" y="6536896"/>
                    </a:cubicBezTo>
                    <a:close/>
                    <a:moveTo>
                      <a:pt x="4077334" y="6647115"/>
                    </a:moveTo>
                    <a:cubicBezTo>
                      <a:pt x="4077334" y="6645883"/>
                      <a:pt x="4076346" y="6644897"/>
                      <a:pt x="4075113" y="6644897"/>
                    </a:cubicBezTo>
                    <a:cubicBezTo>
                      <a:pt x="4073881" y="6644897"/>
                      <a:pt x="4072895" y="6645883"/>
                      <a:pt x="4072895" y="6647115"/>
                    </a:cubicBezTo>
                    <a:cubicBezTo>
                      <a:pt x="4072895" y="6648350"/>
                      <a:pt x="4073881" y="6649333"/>
                      <a:pt x="4075113" y="6649333"/>
                    </a:cubicBezTo>
                    <a:cubicBezTo>
                      <a:pt x="4076346" y="6649333"/>
                      <a:pt x="4077334" y="6648350"/>
                      <a:pt x="4077334" y="6647115"/>
                    </a:cubicBezTo>
                    <a:close/>
                    <a:moveTo>
                      <a:pt x="4077577" y="5647499"/>
                    </a:moveTo>
                    <a:cubicBezTo>
                      <a:pt x="4077577" y="5645281"/>
                      <a:pt x="4075605" y="5643308"/>
                      <a:pt x="4073386" y="5643308"/>
                    </a:cubicBezTo>
                    <a:cubicBezTo>
                      <a:pt x="4071168" y="5643308"/>
                      <a:pt x="4069195" y="5645281"/>
                      <a:pt x="4069195" y="5647499"/>
                    </a:cubicBezTo>
                    <a:cubicBezTo>
                      <a:pt x="4069195" y="5649718"/>
                      <a:pt x="4071168" y="5651690"/>
                      <a:pt x="4073386" y="5651690"/>
                    </a:cubicBezTo>
                    <a:cubicBezTo>
                      <a:pt x="4075853" y="5651690"/>
                      <a:pt x="4077577" y="5649966"/>
                      <a:pt x="4077577" y="5647499"/>
                    </a:cubicBezTo>
                    <a:close/>
                    <a:moveTo>
                      <a:pt x="4078072" y="6977281"/>
                    </a:moveTo>
                    <a:cubicBezTo>
                      <a:pt x="4078072" y="6975306"/>
                      <a:pt x="4076594" y="6973828"/>
                      <a:pt x="4074619" y="6973828"/>
                    </a:cubicBezTo>
                    <a:cubicBezTo>
                      <a:pt x="4072646" y="6973828"/>
                      <a:pt x="4071168" y="6975306"/>
                      <a:pt x="4071168" y="6977281"/>
                    </a:cubicBezTo>
                    <a:cubicBezTo>
                      <a:pt x="4071168" y="6979254"/>
                      <a:pt x="4072646" y="6980732"/>
                      <a:pt x="4074619" y="6980732"/>
                    </a:cubicBezTo>
                    <a:cubicBezTo>
                      <a:pt x="4076594" y="6980732"/>
                      <a:pt x="4078072" y="6979254"/>
                      <a:pt x="4078072" y="6977281"/>
                    </a:cubicBezTo>
                    <a:close/>
                    <a:moveTo>
                      <a:pt x="4078813" y="7087253"/>
                    </a:moveTo>
                    <a:cubicBezTo>
                      <a:pt x="4078813" y="7085034"/>
                      <a:pt x="4077087" y="7083307"/>
                      <a:pt x="4074868" y="7083307"/>
                    </a:cubicBezTo>
                    <a:cubicBezTo>
                      <a:pt x="4072649" y="7083307"/>
                      <a:pt x="4070922" y="7085034"/>
                      <a:pt x="4070922" y="7087253"/>
                    </a:cubicBezTo>
                    <a:cubicBezTo>
                      <a:pt x="4070922" y="7089471"/>
                      <a:pt x="4072649" y="7091197"/>
                      <a:pt x="4074868" y="7091197"/>
                    </a:cubicBezTo>
                    <a:cubicBezTo>
                      <a:pt x="4077087" y="7091197"/>
                      <a:pt x="4078813" y="7089471"/>
                      <a:pt x="4078813" y="7087253"/>
                    </a:cubicBezTo>
                    <a:close/>
                    <a:moveTo>
                      <a:pt x="4079551" y="5871636"/>
                    </a:moveTo>
                    <a:cubicBezTo>
                      <a:pt x="4079551" y="5867690"/>
                      <a:pt x="4076345" y="5864731"/>
                      <a:pt x="4072646" y="5864731"/>
                    </a:cubicBezTo>
                    <a:cubicBezTo>
                      <a:pt x="4068947" y="5864731"/>
                      <a:pt x="4065742" y="5867937"/>
                      <a:pt x="4065742" y="5871636"/>
                    </a:cubicBezTo>
                    <a:cubicBezTo>
                      <a:pt x="4065742" y="5875581"/>
                      <a:pt x="4068947" y="5878540"/>
                      <a:pt x="4072646" y="5878540"/>
                    </a:cubicBezTo>
                    <a:cubicBezTo>
                      <a:pt x="4076345" y="5878540"/>
                      <a:pt x="4079305" y="5875581"/>
                      <a:pt x="4079551" y="5871636"/>
                    </a:cubicBezTo>
                    <a:close/>
                    <a:moveTo>
                      <a:pt x="4079799" y="7197227"/>
                    </a:moveTo>
                    <a:cubicBezTo>
                      <a:pt x="4079799" y="7194759"/>
                      <a:pt x="4077827" y="7192540"/>
                      <a:pt x="4075113" y="7192540"/>
                    </a:cubicBezTo>
                    <a:cubicBezTo>
                      <a:pt x="4072646" y="7192540"/>
                      <a:pt x="4070427" y="7194514"/>
                      <a:pt x="4070427" y="7197227"/>
                    </a:cubicBezTo>
                    <a:cubicBezTo>
                      <a:pt x="4070427" y="7199691"/>
                      <a:pt x="4072400" y="7201912"/>
                      <a:pt x="4075113" y="7201912"/>
                    </a:cubicBezTo>
                    <a:cubicBezTo>
                      <a:pt x="4077827" y="7201912"/>
                      <a:pt x="4080045" y="7199691"/>
                      <a:pt x="4079799" y="7197227"/>
                    </a:cubicBezTo>
                    <a:close/>
                    <a:moveTo>
                      <a:pt x="4081522" y="7415941"/>
                    </a:moveTo>
                    <a:cubicBezTo>
                      <a:pt x="4081522" y="7413898"/>
                      <a:pt x="4079869" y="7412241"/>
                      <a:pt x="4077827" y="7412241"/>
                    </a:cubicBezTo>
                    <a:cubicBezTo>
                      <a:pt x="4075784" y="7412241"/>
                      <a:pt x="4074127" y="7413895"/>
                      <a:pt x="4074127" y="7415941"/>
                    </a:cubicBezTo>
                    <a:cubicBezTo>
                      <a:pt x="4074127" y="7417982"/>
                      <a:pt x="4075784" y="7419636"/>
                      <a:pt x="4077827" y="7419636"/>
                    </a:cubicBezTo>
                    <a:cubicBezTo>
                      <a:pt x="4079869" y="7419636"/>
                      <a:pt x="4081522" y="7417982"/>
                      <a:pt x="4081522" y="7415941"/>
                    </a:cubicBezTo>
                    <a:close/>
                    <a:moveTo>
                      <a:pt x="4082266" y="2875755"/>
                    </a:moveTo>
                    <a:cubicBezTo>
                      <a:pt x="4082266" y="2869838"/>
                      <a:pt x="4077581" y="2865153"/>
                      <a:pt x="4071663" y="2865153"/>
                    </a:cubicBezTo>
                    <a:cubicBezTo>
                      <a:pt x="4065745" y="2865153"/>
                      <a:pt x="4061059" y="2869838"/>
                      <a:pt x="4061059" y="2875755"/>
                    </a:cubicBezTo>
                    <a:cubicBezTo>
                      <a:pt x="4061059" y="2881674"/>
                      <a:pt x="4065745" y="2886360"/>
                      <a:pt x="4071663" y="2886360"/>
                    </a:cubicBezTo>
                    <a:cubicBezTo>
                      <a:pt x="4077581" y="2886360"/>
                      <a:pt x="4082266" y="2881425"/>
                      <a:pt x="4082266" y="2875755"/>
                    </a:cubicBezTo>
                    <a:close/>
                    <a:moveTo>
                      <a:pt x="4082513" y="7525666"/>
                    </a:moveTo>
                    <a:cubicBezTo>
                      <a:pt x="4082513" y="7523201"/>
                      <a:pt x="4080539" y="7521228"/>
                      <a:pt x="4078072" y="7521228"/>
                    </a:cubicBezTo>
                    <a:cubicBezTo>
                      <a:pt x="4075608" y="7521228"/>
                      <a:pt x="4073635" y="7523201"/>
                      <a:pt x="4073635" y="7525666"/>
                    </a:cubicBezTo>
                    <a:cubicBezTo>
                      <a:pt x="4073635" y="7528132"/>
                      <a:pt x="4075608" y="7530106"/>
                      <a:pt x="4078072" y="7530106"/>
                    </a:cubicBezTo>
                    <a:cubicBezTo>
                      <a:pt x="4080539" y="7530106"/>
                      <a:pt x="4082513" y="7528132"/>
                      <a:pt x="4082513" y="7525666"/>
                    </a:cubicBezTo>
                    <a:close/>
                    <a:moveTo>
                      <a:pt x="4083253" y="7306458"/>
                    </a:moveTo>
                    <a:cubicBezTo>
                      <a:pt x="4083253" y="7303499"/>
                      <a:pt x="4081031" y="7301280"/>
                      <a:pt x="4078072" y="7301280"/>
                    </a:cubicBezTo>
                    <a:cubicBezTo>
                      <a:pt x="4075113" y="7301280"/>
                      <a:pt x="4072895" y="7303499"/>
                      <a:pt x="4072895" y="7306458"/>
                    </a:cubicBezTo>
                    <a:cubicBezTo>
                      <a:pt x="4072895" y="7309170"/>
                      <a:pt x="4075113" y="7311638"/>
                      <a:pt x="4078072" y="7311638"/>
                    </a:cubicBezTo>
                    <a:cubicBezTo>
                      <a:pt x="4080785" y="7311638"/>
                      <a:pt x="4083253" y="7309170"/>
                      <a:pt x="4083253" y="7306458"/>
                    </a:cubicBezTo>
                    <a:close/>
                    <a:moveTo>
                      <a:pt x="4084236" y="3016299"/>
                    </a:moveTo>
                    <a:cubicBezTo>
                      <a:pt x="4084236" y="2999778"/>
                      <a:pt x="4070674" y="2986216"/>
                      <a:pt x="4054155" y="2986216"/>
                    </a:cubicBezTo>
                    <a:cubicBezTo>
                      <a:pt x="4037634" y="2986216"/>
                      <a:pt x="4024071" y="2999778"/>
                      <a:pt x="4024071" y="3016299"/>
                    </a:cubicBezTo>
                    <a:cubicBezTo>
                      <a:pt x="4024071" y="3032819"/>
                      <a:pt x="4037634" y="3046381"/>
                      <a:pt x="4054155" y="3046381"/>
                    </a:cubicBezTo>
                    <a:cubicBezTo>
                      <a:pt x="4070674" y="3046381"/>
                      <a:pt x="4084236" y="3032819"/>
                      <a:pt x="4084236" y="3016299"/>
                    </a:cubicBezTo>
                    <a:close/>
                    <a:moveTo>
                      <a:pt x="4085471" y="3200980"/>
                    </a:moveTo>
                    <a:cubicBezTo>
                      <a:pt x="4085471" y="3178786"/>
                      <a:pt x="4067469" y="3160787"/>
                      <a:pt x="4045278" y="3160787"/>
                    </a:cubicBezTo>
                    <a:cubicBezTo>
                      <a:pt x="4023085" y="3160787"/>
                      <a:pt x="4005086" y="3178786"/>
                      <a:pt x="4005086" y="3200980"/>
                    </a:cubicBezTo>
                    <a:cubicBezTo>
                      <a:pt x="4005086" y="3223170"/>
                      <a:pt x="4023085" y="3241171"/>
                      <a:pt x="4045278" y="3241171"/>
                    </a:cubicBezTo>
                    <a:cubicBezTo>
                      <a:pt x="4067718" y="3241171"/>
                      <a:pt x="4085718" y="3222924"/>
                      <a:pt x="4085471" y="3200980"/>
                    </a:cubicBezTo>
                    <a:close/>
                    <a:moveTo>
                      <a:pt x="4085717" y="4374922"/>
                    </a:moveTo>
                    <a:cubicBezTo>
                      <a:pt x="4085717" y="4351003"/>
                      <a:pt x="4066236" y="4331771"/>
                      <a:pt x="4042565" y="4331771"/>
                    </a:cubicBezTo>
                    <a:cubicBezTo>
                      <a:pt x="4018894" y="4331771"/>
                      <a:pt x="3999413" y="4351252"/>
                      <a:pt x="3999413" y="4374922"/>
                    </a:cubicBezTo>
                    <a:cubicBezTo>
                      <a:pt x="3999413" y="4398840"/>
                      <a:pt x="4018894" y="4418074"/>
                      <a:pt x="4042565" y="4418074"/>
                    </a:cubicBezTo>
                    <a:cubicBezTo>
                      <a:pt x="4066483" y="4418074"/>
                      <a:pt x="4085717" y="4398593"/>
                      <a:pt x="4085717" y="4374922"/>
                    </a:cubicBezTo>
                    <a:close/>
                    <a:moveTo>
                      <a:pt x="4088181" y="4736647"/>
                    </a:moveTo>
                    <a:cubicBezTo>
                      <a:pt x="4088181" y="4717416"/>
                      <a:pt x="4072647" y="4701880"/>
                      <a:pt x="4053660" y="4701880"/>
                    </a:cubicBezTo>
                    <a:cubicBezTo>
                      <a:pt x="4034429" y="4701880"/>
                      <a:pt x="4018894" y="4717661"/>
                      <a:pt x="4018894" y="4736647"/>
                    </a:cubicBezTo>
                    <a:cubicBezTo>
                      <a:pt x="4018894" y="4755635"/>
                      <a:pt x="4034429" y="4771167"/>
                      <a:pt x="4053660" y="4771167"/>
                    </a:cubicBezTo>
                    <a:cubicBezTo>
                      <a:pt x="4072895" y="4771167"/>
                      <a:pt x="4088181" y="4755635"/>
                      <a:pt x="4088181" y="4736647"/>
                    </a:cubicBezTo>
                    <a:close/>
                    <a:moveTo>
                      <a:pt x="4089694" y="0"/>
                    </a:moveTo>
                    <a:lnTo>
                      <a:pt x="4040315" y="0"/>
                    </a:lnTo>
                    <a:lnTo>
                      <a:pt x="4040625" y="744"/>
                    </a:lnTo>
                    <a:cubicBezTo>
                      <a:pt x="4046882" y="7001"/>
                      <a:pt x="4055512" y="10885"/>
                      <a:pt x="4065005" y="10885"/>
                    </a:cubicBezTo>
                    <a:cubicBezTo>
                      <a:pt x="4074498" y="10885"/>
                      <a:pt x="4083128" y="7001"/>
                      <a:pt x="4089385" y="744"/>
                    </a:cubicBezTo>
                    <a:close/>
                    <a:moveTo>
                      <a:pt x="4093112" y="5082594"/>
                    </a:moveTo>
                    <a:cubicBezTo>
                      <a:pt x="4093112" y="5067308"/>
                      <a:pt x="4080785" y="5054731"/>
                      <a:pt x="4065250" y="5054731"/>
                    </a:cubicBezTo>
                    <a:cubicBezTo>
                      <a:pt x="4049964" y="5054731"/>
                      <a:pt x="4037388" y="5067308"/>
                      <a:pt x="4037388" y="5082594"/>
                    </a:cubicBezTo>
                    <a:cubicBezTo>
                      <a:pt x="4037388" y="5097883"/>
                      <a:pt x="4049964" y="5110459"/>
                      <a:pt x="4065250" y="5110459"/>
                    </a:cubicBezTo>
                    <a:cubicBezTo>
                      <a:pt x="4080539" y="5110459"/>
                      <a:pt x="4093112" y="5097883"/>
                      <a:pt x="4093112" y="5082594"/>
                    </a:cubicBezTo>
                    <a:close/>
                    <a:moveTo>
                      <a:pt x="4093853" y="1641985"/>
                    </a:moveTo>
                    <a:cubicBezTo>
                      <a:pt x="4093853" y="1622749"/>
                      <a:pt x="4078072" y="1606969"/>
                      <a:pt x="4058839" y="1606969"/>
                    </a:cubicBezTo>
                    <a:cubicBezTo>
                      <a:pt x="4039606" y="1606969"/>
                      <a:pt x="4023825" y="1622749"/>
                      <a:pt x="4023825" y="1641985"/>
                    </a:cubicBezTo>
                    <a:cubicBezTo>
                      <a:pt x="4023825" y="1661215"/>
                      <a:pt x="4039606" y="1676996"/>
                      <a:pt x="4058839" y="1676996"/>
                    </a:cubicBezTo>
                    <a:cubicBezTo>
                      <a:pt x="4078072" y="1676996"/>
                      <a:pt x="4093853" y="1661215"/>
                      <a:pt x="4093853" y="1641985"/>
                    </a:cubicBezTo>
                    <a:close/>
                    <a:moveTo>
                      <a:pt x="4100263" y="86313"/>
                    </a:moveTo>
                    <a:cubicBezTo>
                      <a:pt x="4100263" y="67079"/>
                      <a:pt x="4084482" y="51300"/>
                      <a:pt x="4065248" y="51300"/>
                    </a:cubicBezTo>
                    <a:cubicBezTo>
                      <a:pt x="4046016" y="51300"/>
                      <a:pt x="4030235" y="67079"/>
                      <a:pt x="4030235" y="86313"/>
                    </a:cubicBezTo>
                    <a:cubicBezTo>
                      <a:pt x="4030235" y="105545"/>
                      <a:pt x="4046016" y="121324"/>
                      <a:pt x="4065248" y="121324"/>
                    </a:cubicBezTo>
                    <a:cubicBezTo>
                      <a:pt x="4084728" y="121324"/>
                      <a:pt x="4100263" y="105545"/>
                      <a:pt x="4100263" y="86313"/>
                    </a:cubicBezTo>
                    <a:close/>
                    <a:moveTo>
                      <a:pt x="4100266" y="3646785"/>
                    </a:moveTo>
                    <a:cubicBezTo>
                      <a:pt x="4100266" y="3639387"/>
                      <a:pt x="4094349" y="3633469"/>
                      <a:pt x="4086950" y="3633469"/>
                    </a:cubicBezTo>
                    <a:cubicBezTo>
                      <a:pt x="4079799" y="3633469"/>
                      <a:pt x="4073881" y="3639632"/>
                      <a:pt x="4073881" y="3646785"/>
                    </a:cubicBezTo>
                    <a:cubicBezTo>
                      <a:pt x="4073881" y="3654181"/>
                      <a:pt x="4079799" y="3660099"/>
                      <a:pt x="4086950" y="3660099"/>
                    </a:cubicBezTo>
                    <a:cubicBezTo>
                      <a:pt x="4094349" y="3660099"/>
                      <a:pt x="4100266" y="3654181"/>
                      <a:pt x="4100266" y="3646785"/>
                    </a:cubicBezTo>
                    <a:close/>
                    <a:moveTo>
                      <a:pt x="4100757" y="306701"/>
                    </a:moveTo>
                    <a:cubicBezTo>
                      <a:pt x="4100757" y="287470"/>
                      <a:pt x="4085224" y="271935"/>
                      <a:pt x="4065990" y="271935"/>
                    </a:cubicBezTo>
                    <a:cubicBezTo>
                      <a:pt x="4046759" y="271935"/>
                      <a:pt x="4031224" y="287470"/>
                      <a:pt x="4031224" y="306701"/>
                    </a:cubicBezTo>
                    <a:cubicBezTo>
                      <a:pt x="4031224" y="325934"/>
                      <a:pt x="4046759" y="341466"/>
                      <a:pt x="4065990" y="341466"/>
                    </a:cubicBezTo>
                    <a:cubicBezTo>
                      <a:pt x="4085224" y="341466"/>
                      <a:pt x="4100757" y="325688"/>
                      <a:pt x="4100757" y="306701"/>
                    </a:cubicBezTo>
                    <a:close/>
                    <a:moveTo>
                      <a:pt x="4101002" y="416897"/>
                    </a:moveTo>
                    <a:cubicBezTo>
                      <a:pt x="4101002" y="397666"/>
                      <a:pt x="4085470" y="382133"/>
                      <a:pt x="4066236" y="382133"/>
                    </a:cubicBezTo>
                    <a:cubicBezTo>
                      <a:pt x="4047005" y="382133"/>
                      <a:pt x="4031470" y="397666"/>
                      <a:pt x="4031470" y="416897"/>
                    </a:cubicBezTo>
                    <a:cubicBezTo>
                      <a:pt x="4031470" y="436131"/>
                      <a:pt x="4047005" y="451662"/>
                      <a:pt x="4066236" y="451662"/>
                    </a:cubicBezTo>
                    <a:cubicBezTo>
                      <a:pt x="4085470" y="451662"/>
                      <a:pt x="4101002" y="436131"/>
                      <a:pt x="4101002" y="416897"/>
                    </a:cubicBezTo>
                    <a:close/>
                    <a:moveTo>
                      <a:pt x="4101990" y="1528821"/>
                    </a:moveTo>
                    <a:cubicBezTo>
                      <a:pt x="4101990" y="1505148"/>
                      <a:pt x="4082756" y="1485914"/>
                      <a:pt x="4059084" y="1485914"/>
                    </a:cubicBezTo>
                    <a:cubicBezTo>
                      <a:pt x="4035413" y="1485914"/>
                      <a:pt x="4016181" y="1505148"/>
                      <a:pt x="4016181" y="1528821"/>
                    </a:cubicBezTo>
                    <a:cubicBezTo>
                      <a:pt x="4016181" y="1552491"/>
                      <a:pt x="4035413" y="1571721"/>
                      <a:pt x="4059084" y="1571721"/>
                    </a:cubicBezTo>
                    <a:cubicBezTo>
                      <a:pt x="4082756" y="1571721"/>
                      <a:pt x="4101990" y="1552491"/>
                      <a:pt x="4101990" y="1528821"/>
                    </a:cubicBezTo>
                    <a:close/>
                    <a:moveTo>
                      <a:pt x="4102484" y="1415901"/>
                    </a:moveTo>
                    <a:cubicBezTo>
                      <a:pt x="4102484" y="1391735"/>
                      <a:pt x="4082758" y="1372257"/>
                      <a:pt x="4058841" y="1372257"/>
                    </a:cubicBezTo>
                    <a:cubicBezTo>
                      <a:pt x="4034924" y="1372257"/>
                      <a:pt x="4015443" y="1391981"/>
                      <a:pt x="4015443" y="1415901"/>
                    </a:cubicBezTo>
                    <a:cubicBezTo>
                      <a:pt x="4015443" y="1440066"/>
                      <a:pt x="4034924" y="1459542"/>
                      <a:pt x="4058841" y="1459542"/>
                    </a:cubicBezTo>
                    <a:cubicBezTo>
                      <a:pt x="4083004" y="1459542"/>
                      <a:pt x="4102484" y="1440066"/>
                      <a:pt x="4102484" y="1415901"/>
                    </a:cubicBezTo>
                    <a:close/>
                    <a:moveTo>
                      <a:pt x="4102730" y="196505"/>
                    </a:moveTo>
                    <a:cubicBezTo>
                      <a:pt x="4102730" y="176288"/>
                      <a:pt x="4086211" y="159767"/>
                      <a:pt x="4065991" y="159767"/>
                    </a:cubicBezTo>
                    <a:cubicBezTo>
                      <a:pt x="4045774" y="159767"/>
                      <a:pt x="4029252" y="176288"/>
                      <a:pt x="4029252" y="196505"/>
                    </a:cubicBezTo>
                    <a:cubicBezTo>
                      <a:pt x="4029252" y="216724"/>
                      <a:pt x="4045774" y="233242"/>
                      <a:pt x="4065991" y="233242"/>
                    </a:cubicBezTo>
                    <a:cubicBezTo>
                      <a:pt x="4086211" y="233242"/>
                      <a:pt x="4102730" y="216724"/>
                      <a:pt x="4102730" y="196505"/>
                    </a:cubicBezTo>
                    <a:close/>
                    <a:moveTo>
                      <a:pt x="4104704" y="2362408"/>
                    </a:moveTo>
                    <a:cubicBezTo>
                      <a:pt x="4104704" y="2359695"/>
                      <a:pt x="4102484" y="2357233"/>
                      <a:pt x="4099525" y="2357233"/>
                    </a:cubicBezTo>
                    <a:cubicBezTo>
                      <a:pt x="4096566" y="2357233"/>
                      <a:pt x="4094099" y="2359449"/>
                      <a:pt x="4094099" y="2362408"/>
                    </a:cubicBezTo>
                    <a:cubicBezTo>
                      <a:pt x="4094099" y="2365368"/>
                      <a:pt x="4096566" y="2367835"/>
                      <a:pt x="4099525" y="2367835"/>
                    </a:cubicBezTo>
                    <a:cubicBezTo>
                      <a:pt x="4102484" y="2367835"/>
                      <a:pt x="4104704" y="2365368"/>
                      <a:pt x="4104704" y="2362408"/>
                    </a:cubicBezTo>
                    <a:close/>
                    <a:moveTo>
                      <a:pt x="4105689" y="2741130"/>
                    </a:moveTo>
                    <a:cubicBezTo>
                      <a:pt x="4105689" y="2728554"/>
                      <a:pt x="4095580" y="2718445"/>
                      <a:pt x="4083003" y="2718445"/>
                    </a:cubicBezTo>
                    <a:cubicBezTo>
                      <a:pt x="4070427" y="2718445"/>
                      <a:pt x="4060319" y="2728554"/>
                      <a:pt x="4060319" y="2741130"/>
                    </a:cubicBezTo>
                    <a:cubicBezTo>
                      <a:pt x="4060319" y="2753706"/>
                      <a:pt x="4070427" y="2763815"/>
                      <a:pt x="4083003" y="2763815"/>
                    </a:cubicBezTo>
                    <a:cubicBezTo>
                      <a:pt x="4095580" y="2763815"/>
                      <a:pt x="4105689" y="2753706"/>
                      <a:pt x="4105689" y="2741130"/>
                    </a:cubicBezTo>
                    <a:close/>
                    <a:moveTo>
                      <a:pt x="4108154" y="4850813"/>
                    </a:moveTo>
                    <a:cubicBezTo>
                      <a:pt x="4108154" y="4825663"/>
                      <a:pt x="4087690" y="4805197"/>
                      <a:pt x="4062537" y="4805197"/>
                    </a:cubicBezTo>
                    <a:cubicBezTo>
                      <a:pt x="4037388" y="4805197"/>
                      <a:pt x="4016921" y="4825663"/>
                      <a:pt x="4016921" y="4850813"/>
                    </a:cubicBezTo>
                    <a:cubicBezTo>
                      <a:pt x="4016921" y="4875966"/>
                      <a:pt x="4037388" y="4896429"/>
                      <a:pt x="4062537" y="4896429"/>
                    </a:cubicBezTo>
                    <a:cubicBezTo>
                      <a:pt x="4087690" y="4896429"/>
                      <a:pt x="4108154" y="4875966"/>
                      <a:pt x="4108154" y="4850813"/>
                    </a:cubicBezTo>
                    <a:close/>
                    <a:moveTo>
                      <a:pt x="4108647" y="2241351"/>
                    </a:moveTo>
                    <a:cubicBezTo>
                      <a:pt x="4108647" y="2237649"/>
                      <a:pt x="4105689" y="2234936"/>
                      <a:pt x="4102235" y="2234936"/>
                    </a:cubicBezTo>
                    <a:cubicBezTo>
                      <a:pt x="4098784" y="2234936"/>
                      <a:pt x="4095825" y="2237896"/>
                      <a:pt x="4095825" y="2241351"/>
                    </a:cubicBezTo>
                    <a:cubicBezTo>
                      <a:pt x="4095825" y="2245049"/>
                      <a:pt x="4098784" y="2247763"/>
                      <a:pt x="4102235" y="2247763"/>
                    </a:cubicBezTo>
                    <a:cubicBezTo>
                      <a:pt x="4105689" y="2247763"/>
                      <a:pt x="4108402" y="2245049"/>
                      <a:pt x="4108647" y="2241351"/>
                    </a:cubicBezTo>
                    <a:close/>
                    <a:moveTo>
                      <a:pt x="4109139" y="2485688"/>
                    </a:moveTo>
                    <a:cubicBezTo>
                      <a:pt x="4109139" y="2478044"/>
                      <a:pt x="4103224" y="2471881"/>
                      <a:pt x="4095580" y="2471881"/>
                    </a:cubicBezTo>
                    <a:cubicBezTo>
                      <a:pt x="4088181" y="2471881"/>
                      <a:pt x="4082017" y="2478290"/>
                      <a:pt x="4082017" y="2485688"/>
                    </a:cubicBezTo>
                    <a:cubicBezTo>
                      <a:pt x="4082017" y="2493087"/>
                      <a:pt x="4087934" y="2499250"/>
                      <a:pt x="4095580" y="2499250"/>
                    </a:cubicBezTo>
                    <a:cubicBezTo>
                      <a:pt x="4103224" y="2499250"/>
                      <a:pt x="4109139" y="2493333"/>
                      <a:pt x="4109139" y="2485688"/>
                    </a:cubicBezTo>
                    <a:close/>
                    <a:moveTo>
                      <a:pt x="4113088" y="2611437"/>
                    </a:moveTo>
                    <a:cubicBezTo>
                      <a:pt x="4113088" y="2598860"/>
                      <a:pt x="4102978" y="2588751"/>
                      <a:pt x="4090402" y="2588751"/>
                    </a:cubicBezTo>
                    <a:cubicBezTo>
                      <a:pt x="4077826" y="2588751"/>
                      <a:pt x="4067717" y="2598860"/>
                      <a:pt x="4067717" y="2611437"/>
                    </a:cubicBezTo>
                    <a:cubicBezTo>
                      <a:pt x="4067717" y="2624013"/>
                      <a:pt x="4077826" y="2634121"/>
                      <a:pt x="4090402" y="2634121"/>
                    </a:cubicBezTo>
                    <a:cubicBezTo>
                      <a:pt x="4102978" y="2634121"/>
                      <a:pt x="4113088" y="2624013"/>
                      <a:pt x="4113088" y="2611437"/>
                    </a:cubicBezTo>
                    <a:close/>
                    <a:moveTo>
                      <a:pt x="4123197" y="3307499"/>
                    </a:moveTo>
                    <a:cubicBezTo>
                      <a:pt x="4123197" y="3287282"/>
                      <a:pt x="4106922" y="3271007"/>
                      <a:pt x="4086950" y="3271007"/>
                    </a:cubicBezTo>
                    <a:cubicBezTo>
                      <a:pt x="4066977" y="3271007"/>
                      <a:pt x="4050702" y="3287527"/>
                      <a:pt x="4050702" y="3307499"/>
                    </a:cubicBezTo>
                    <a:cubicBezTo>
                      <a:pt x="4050702" y="3327471"/>
                      <a:pt x="4066977" y="3343747"/>
                      <a:pt x="4086950" y="3343747"/>
                    </a:cubicBezTo>
                    <a:cubicBezTo>
                      <a:pt x="4106922" y="3343747"/>
                      <a:pt x="4123197" y="3327471"/>
                      <a:pt x="4123197" y="3307499"/>
                    </a:cubicBezTo>
                    <a:close/>
                    <a:moveTo>
                      <a:pt x="4124921" y="3890890"/>
                    </a:moveTo>
                    <a:cubicBezTo>
                      <a:pt x="4124921" y="3871659"/>
                      <a:pt x="4109388" y="3856124"/>
                      <a:pt x="4090154" y="3856124"/>
                    </a:cubicBezTo>
                    <a:cubicBezTo>
                      <a:pt x="4070922" y="3856124"/>
                      <a:pt x="4055388" y="3871659"/>
                      <a:pt x="4055388" y="3890890"/>
                    </a:cubicBezTo>
                    <a:cubicBezTo>
                      <a:pt x="4055388" y="3910125"/>
                      <a:pt x="4070922" y="3925659"/>
                      <a:pt x="4090154" y="3925659"/>
                    </a:cubicBezTo>
                    <a:cubicBezTo>
                      <a:pt x="4109388" y="3925659"/>
                      <a:pt x="4125169" y="3910125"/>
                      <a:pt x="4124921" y="3890890"/>
                    </a:cubicBezTo>
                    <a:close/>
                    <a:moveTo>
                      <a:pt x="4129360" y="3534593"/>
                    </a:moveTo>
                    <a:cubicBezTo>
                      <a:pt x="4129360" y="3522757"/>
                      <a:pt x="4119743" y="3513139"/>
                      <a:pt x="4107908" y="3513139"/>
                    </a:cubicBezTo>
                    <a:cubicBezTo>
                      <a:pt x="4096072" y="3513139"/>
                      <a:pt x="4086455" y="3522757"/>
                      <a:pt x="4086455" y="3534593"/>
                    </a:cubicBezTo>
                    <a:cubicBezTo>
                      <a:pt x="4086455" y="3546428"/>
                      <a:pt x="4096072" y="3556043"/>
                      <a:pt x="4107908" y="3556043"/>
                    </a:cubicBezTo>
                    <a:cubicBezTo>
                      <a:pt x="4119989" y="3556043"/>
                      <a:pt x="4129606" y="3546428"/>
                      <a:pt x="4129360" y="3534593"/>
                    </a:cubicBezTo>
                    <a:close/>
                    <a:moveTo>
                      <a:pt x="4137743" y="3419939"/>
                    </a:moveTo>
                    <a:cubicBezTo>
                      <a:pt x="4137743" y="3403417"/>
                      <a:pt x="4124429" y="3390103"/>
                      <a:pt x="4107908" y="3390103"/>
                    </a:cubicBezTo>
                    <a:cubicBezTo>
                      <a:pt x="4091387" y="3390103"/>
                      <a:pt x="4078072" y="3403417"/>
                      <a:pt x="4078072" y="3419939"/>
                    </a:cubicBezTo>
                    <a:cubicBezTo>
                      <a:pt x="4078072" y="3436460"/>
                      <a:pt x="4091387" y="3449773"/>
                      <a:pt x="4107908" y="3449773"/>
                    </a:cubicBezTo>
                    <a:cubicBezTo>
                      <a:pt x="4124429" y="3449773"/>
                      <a:pt x="4137743" y="3436460"/>
                      <a:pt x="4137743" y="3419939"/>
                    </a:cubicBezTo>
                    <a:close/>
                    <a:moveTo>
                      <a:pt x="4153281" y="3112711"/>
                    </a:moveTo>
                    <a:cubicBezTo>
                      <a:pt x="4153281" y="3094957"/>
                      <a:pt x="4138731" y="3080409"/>
                      <a:pt x="4120978" y="3080409"/>
                    </a:cubicBezTo>
                    <a:cubicBezTo>
                      <a:pt x="4103224" y="3080409"/>
                      <a:pt x="4088676" y="3094957"/>
                      <a:pt x="4088676" y="3112711"/>
                    </a:cubicBezTo>
                    <a:cubicBezTo>
                      <a:pt x="4088676" y="3130464"/>
                      <a:pt x="4103224" y="3145010"/>
                      <a:pt x="4120978" y="3145010"/>
                    </a:cubicBezTo>
                    <a:cubicBezTo>
                      <a:pt x="4138731" y="3145010"/>
                      <a:pt x="4153281" y="3130464"/>
                      <a:pt x="4153281" y="3112711"/>
                    </a:cubicBezTo>
                    <a:close/>
                    <a:moveTo>
                      <a:pt x="4154512" y="4037605"/>
                    </a:moveTo>
                    <a:cubicBezTo>
                      <a:pt x="4154512" y="4014179"/>
                      <a:pt x="4135527" y="3995193"/>
                      <a:pt x="4112102" y="3995193"/>
                    </a:cubicBezTo>
                    <a:cubicBezTo>
                      <a:pt x="4088676" y="3995193"/>
                      <a:pt x="4069690" y="4014179"/>
                      <a:pt x="4069690" y="4037605"/>
                    </a:cubicBezTo>
                    <a:cubicBezTo>
                      <a:pt x="4069690" y="4061030"/>
                      <a:pt x="4088676" y="4080016"/>
                      <a:pt x="4112102" y="4080016"/>
                    </a:cubicBezTo>
                    <a:cubicBezTo>
                      <a:pt x="4135527" y="4080016"/>
                      <a:pt x="4154512" y="4060785"/>
                      <a:pt x="4154512" y="4037605"/>
                    </a:cubicBezTo>
                    <a:close/>
                    <a:moveTo>
                      <a:pt x="4157471" y="1095646"/>
                    </a:moveTo>
                    <a:cubicBezTo>
                      <a:pt x="4157471" y="1075177"/>
                      <a:pt x="4140702" y="1058408"/>
                      <a:pt x="4120237" y="1058408"/>
                    </a:cubicBezTo>
                    <a:cubicBezTo>
                      <a:pt x="4099771" y="1058408"/>
                      <a:pt x="4083003" y="1075177"/>
                      <a:pt x="4083003" y="1095646"/>
                    </a:cubicBezTo>
                    <a:cubicBezTo>
                      <a:pt x="4083003" y="1116107"/>
                      <a:pt x="4099771" y="1132876"/>
                      <a:pt x="4120237" y="1132876"/>
                    </a:cubicBezTo>
                    <a:cubicBezTo>
                      <a:pt x="4140702" y="1132876"/>
                      <a:pt x="4157222" y="1116107"/>
                      <a:pt x="4157471" y="1095646"/>
                    </a:cubicBezTo>
                    <a:close/>
                    <a:moveTo>
                      <a:pt x="4157962" y="872277"/>
                    </a:moveTo>
                    <a:cubicBezTo>
                      <a:pt x="4157962" y="851816"/>
                      <a:pt x="4141442" y="835300"/>
                      <a:pt x="4120978" y="835300"/>
                    </a:cubicBezTo>
                    <a:cubicBezTo>
                      <a:pt x="4100512" y="835300"/>
                      <a:pt x="4083990" y="851816"/>
                      <a:pt x="4083990" y="872277"/>
                    </a:cubicBezTo>
                    <a:cubicBezTo>
                      <a:pt x="4083990" y="892747"/>
                      <a:pt x="4100512" y="909265"/>
                      <a:pt x="4120978" y="909265"/>
                    </a:cubicBezTo>
                    <a:cubicBezTo>
                      <a:pt x="4141442" y="909265"/>
                      <a:pt x="4157962" y="892501"/>
                      <a:pt x="4157962" y="872277"/>
                    </a:cubicBezTo>
                    <a:close/>
                    <a:moveTo>
                      <a:pt x="4159195" y="2962552"/>
                    </a:moveTo>
                    <a:cubicBezTo>
                      <a:pt x="4159195" y="2957371"/>
                      <a:pt x="4155004" y="2953180"/>
                      <a:pt x="4149826" y="2953180"/>
                    </a:cubicBezTo>
                    <a:cubicBezTo>
                      <a:pt x="4144646" y="2953180"/>
                      <a:pt x="4140455" y="2957371"/>
                      <a:pt x="4140455" y="2962552"/>
                    </a:cubicBezTo>
                    <a:cubicBezTo>
                      <a:pt x="4140455" y="2967729"/>
                      <a:pt x="4144646" y="2971920"/>
                      <a:pt x="4149826" y="2971920"/>
                    </a:cubicBezTo>
                    <a:cubicBezTo>
                      <a:pt x="4155004" y="2971920"/>
                      <a:pt x="4159195" y="2967729"/>
                      <a:pt x="4159195" y="2962552"/>
                    </a:cubicBezTo>
                    <a:close/>
                    <a:moveTo>
                      <a:pt x="4160427" y="538439"/>
                    </a:moveTo>
                    <a:cubicBezTo>
                      <a:pt x="4160427" y="516247"/>
                      <a:pt x="4142674" y="498249"/>
                      <a:pt x="4120483" y="498249"/>
                    </a:cubicBezTo>
                    <a:cubicBezTo>
                      <a:pt x="4098290" y="498249"/>
                      <a:pt x="4080291" y="516247"/>
                      <a:pt x="4080291" y="538439"/>
                    </a:cubicBezTo>
                    <a:cubicBezTo>
                      <a:pt x="4080291" y="560383"/>
                      <a:pt x="4098290" y="578382"/>
                      <a:pt x="4120483" y="578382"/>
                    </a:cubicBezTo>
                    <a:cubicBezTo>
                      <a:pt x="4142674" y="578382"/>
                      <a:pt x="4160427" y="560383"/>
                      <a:pt x="4160427" y="538439"/>
                    </a:cubicBezTo>
                    <a:close/>
                    <a:moveTo>
                      <a:pt x="4160677" y="983715"/>
                    </a:moveTo>
                    <a:cubicBezTo>
                      <a:pt x="4160677" y="961525"/>
                      <a:pt x="4142677" y="943274"/>
                      <a:pt x="4120238" y="943274"/>
                    </a:cubicBezTo>
                    <a:cubicBezTo>
                      <a:pt x="4098044" y="943274"/>
                      <a:pt x="4079799" y="961525"/>
                      <a:pt x="4079799" y="983715"/>
                    </a:cubicBezTo>
                    <a:cubicBezTo>
                      <a:pt x="4079799" y="1005909"/>
                      <a:pt x="4098044" y="1024156"/>
                      <a:pt x="4120238" y="1024156"/>
                    </a:cubicBezTo>
                    <a:cubicBezTo>
                      <a:pt x="4142677" y="1024156"/>
                      <a:pt x="4160677" y="1005909"/>
                      <a:pt x="4160677" y="983715"/>
                    </a:cubicBezTo>
                    <a:close/>
                    <a:moveTo>
                      <a:pt x="4161168" y="649412"/>
                    </a:moveTo>
                    <a:cubicBezTo>
                      <a:pt x="4161168" y="626940"/>
                      <a:pt x="4142922" y="608692"/>
                      <a:pt x="4120484" y="608692"/>
                    </a:cubicBezTo>
                    <a:cubicBezTo>
                      <a:pt x="4098044" y="608692"/>
                      <a:pt x="4079799" y="626940"/>
                      <a:pt x="4079799" y="649412"/>
                    </a:cubicBezTo>
                    <a:cubicBezTo>
                      <a:pt x="4079799" y="671852"/>
                      <a:pt x="4098044" y="690103"/>
                      <a:pt x="4120484" y="690103"/>
                    </a:cubicBezTo>
                    <a:cubicBezTo>
                      <a:pt x="4142922" y="690103"/>
                      <a:pt x="4161168" y="671852"/>
                      <a:pt x="4161168" y="649412"/>
                    </a:cubicBezTo>
                    <a:close/>
                    <a:moveTo>
                      <a:pt x="4162648" y="760846"/>
                    </a:moveTo>
                    <a:cubicBezTo>
                      <a:pt x="4162648" y="737667"/>
                      <a:pt x="4143908" y="718922"/>
                      <a:pt x="4120729" y="718922"/>
                    </a:cubicBezTo>
                    <a:cubicBezTo>
                      <a:pt x="4097552" y="718922"/>
                      <a:pt x="4078812" y="737667"/>
                      <a:pt x="4078812" y="760846"/>
                    </a:cubicBezTo>
                    <a:cubicBezTo>
                      <a:pt x="4078812" y="784023"/>
                      <a:pt x="4097552" y="802765"/>
                      <a:pt x="4120729" y="802765"/>
                    </a:cubicBezTo>
                    <a:cubicBezTo>
                      <a:pt x="4143908" y="802765"/>
                      <a:pt x="4162895" y="783777"/>
                      <a:pt x="4162648" y="760846"/>
                    </a:cubicBezTo>
                    <a:close/>
                    <a:moveTo>
                      <a:pt x="4164129" y="1208069"/>
                    </a:moveTo>
                    <a:cubicBezTo>
                      <a:pt x="4164129" y="1183658"/>
                      <a:pt x="4144400" y="1163932"/>
                      <a:pt x="4119992" y="1163932"/>
                    </a:cubicBezTo>
                    <a:cubicBezTo>
                      <a:pt x="4095580" y="1163932"/>
                      <a:pt x="4075853" y="1183658"/>
                      <a:pt x="4075853" y="1208069"/>
                    </a:cubicBezTo>
                    <a:cubicBezTo>
                      <a:pt x="4075853" y="1232480"/>
                      <a:pt x="4095580" y="1252204"/>
                      <a:pt x="4119992" y="1252204"/>
                    </a:cubicBezTo>
                    <a:cubicBezTo>
                      <a:pt x="4144400" y="1252204"/>
                      <a:pt x="4164129" y="1232233"/>
                      <a:pt x="4164129" y="1208069"/>
                    </a:cubicBezTo>
                    <a:close/>
                    <a:moveTo>
                      <a:pt x="4164870" y="1320489"/>
                    </a:moveTo>
                    <a:cubicBezTo>
                      <a:pt x="4164870" y="1295581"/>
                      <a:pt x="4144649" y="1275366"/>
                      <a:pt x="4119746" y="1275366"/>
                    </a:cubicBezTo>
                    <a:cubicBezTo>
                      <a:pt x="4094840" y="1275366"/>
                      <a:pt x="4074621" y="1295581"/>
                      <a:pt x="4074621" y="1320489"/>
                    </a:cubicBezTo>
                    <a:cubicBezTo>
                      <a:pt x="4074621" y="1345397"/>
                      <a:pt x="4094840" y="1365612"/>
                      <a:pt x="4119746" y="1365612"/>
                    </a:cubicBezTo>
                    <a:cubicBezTo>
                      <a:pt x="4144649" y="1365612"/>
                      <a:pt x="4164870" y="1345397"/>
                      <a:pt x="4164870" y="1320489"/>
                    </a:cubicBezTo>
                    <a:close/>
                    <a:moveTo>
                      <a:pt x="4165854" y="4176184"/>
                    </a:moveTo>
                    <a:cubicBezTo>
                      <a:pt x="4165854" y="4154731"/>
                      <a:pt x="4148346" y="4137223"/>
                      <a:pt x="4126895" y="4137223"/>
                    </a:cubicBezTo>
                    <a:cubicBezTo>
                      <a:pt x="4105442" y="4137223"/>
                      <a:pt x="4087934" y="4154731"/>
                      <a:pt x="4087934" y="4176184"/>
                    </a:cubicBezTo>
                    <a:cubicBezTo>
                      <a:pt x="4087934" y="4197634"/>
                      <a:pt x="4105442" y="4215141"/>
                      <a:pt x="4126895" y="4215141"/>
                    </a:cubicBezTo>
                    <a:cubicBezTo>
                      <a:pt x="4148594" y="4215141"/>
                      <a:pt x="4166099" y="4197634"/>
                      <a:pt x="4165854" y="4176184"/>
                    </a:cubicBezTo>
                    <a:close/>
                    <a:moveTo>
                      <a:pt x="4174976" y="1796111"/>
                    </a:moveTo>
                    <a:cubicBezTo>
                      <a:pt x="4174976" y="1792400"/>
                      <a:pt x="4172017" y="1789185"/>
                      <a:pt x="4168071" y="1789185"/>
                    </a:cubicBezTo>
                    <a:cubicBezTo>
                      <a:pt x="4164372" y="1789185"/>
                      <a:pt x="4161167" y="1792151"/>
                      <a:pt x="4161167" y="1796111"/>
                    </a:cubicBezTo>
                    <a:cubicBezTo>
                      <a:pt x="4161167" y="1799814"/>
                      <a:pt x="4164126" y="1803015"/>
                      <a:pt x="4168071" y="1803015"/>
                    </a:cubicBezTo>
                    <a:cubicBezTo>
                      <a:pt x="4172017" y="1803015"/>
                      <a:pt x="4174976" y="1799814"/>
                      <a:pt x="4174976" y="1796111"/>
                    </a:cubicBezTo>
                    <a:close/>
                    <a:moveTo>
                      <a:pt x="4178922" y="2031763"/>
                    </a:moveTo>
                    <a:cubicBezTo>
                      <a:pt x="4178922" y="2024613"/>
                      <a:pt x="4173003" y="2018941"/>
                      <a:pt x="4165854" y="2018941"/>
                    </a:cubicBezTo>
                    <a:cubicBezTo>
                      <a:pt x="4158704" y="2018941"/>
                      <a:pt x="4153031" y="2024613"/>
                      <a:pt x="4153031" y="2031763"/>
                    </a:cubicBezTo>
                    <a:cubicBezTo>
                      <a:pt x="4153031" y="2038915"/>
                      <a:pt x="4158704" y="2044588"/>
                      <a:pt x="4165854" y="2044588"/>
                    </a:cubicBezTo>
                    <a:cubicBezTo>
                      <a:pt x="4173003" y="2044588"/>
                      <a:pt x="4178922" y="2038668"/>
                      <a:pt x="4178922" y="2031763"/>
                    </a:cubicBezTo>
                    <a:close/>
                    <a:moveTo>
                      <a:pt x="4179662" y="4308591"/>
                    </a:moveTo>
                    <a:cubicBezTo>
                      <a:pt x="4179662" y="4285660"/>
                      <a:pt x="4160922" y="4266921"/>
                      <a:pt x="4137987" y="4266921"/>
                    </a:cubicBezTo>
                    <a:cubicBezTo>
                      <a:pt x="4114811" y="4266921"/>
                      <a:pt x="4096071" y="4285660"/>
                      <a:pt x="4096071" y="4308591"/>
                    </a:cubicBezTo>
                    <a:cubicBezTo>
                      <a:pt x="4096071" y="4331771"/>
                      <a:pt x="4115057" y="4350511"/>
                      <a:pt x="4137987" y="4350511"/>
                    </a:cubicBezTo>
                    <a:cubicBezTo>
                      <a:pt x="4160922" y="4350511"/>
                      <a:pt x="4179662" y="4331771"/>
                      <a:pt x="4179662" y="4308591"/>
                    </a:cubicBezTo>
                    <a:close/>
                    <a:moveTo>
                      <a:pt x="4179910" y="2151353"/>
                    </a:moveTo>
                    <a:cubicBezTo>
                      <a:pt x="4179910" y="2142722"/>
                      <a:pt x="4172757" y="2135817"/>
                      <a:pt x="4164129" y="2135817"/>
                    </a:cubicBezTo>
                    <a:cubicBezTo>
                      <a:pt x="4155498" y="2135817"/>
                      <a:pt x="4148594" y="2142722"/>
                      <a:pt x="4148594" y="2151353"/>
                    </a:cubicBezTo>
                    <a:cubicBezTo>
                      <a:pt x="4148594" y="2159985"/>
                      <a:pt x="4155498" y="2166893"/>
                      <a:pt x="4164129" y="2166893"/>
                    </a:cubicBezTo>
                    <a:cubicBezTo>
                      <a:pt x="4172757" y="2166893"/>
                      <a:pt x="4179662" y="2159985"/>
                      <a:pt x="4179910" y="2151353"/>
                    </a:cubicBezTo>
                    <a:close/>
                    <a:moveTo>
                      <a:pt x="4181389" y="4562071"/>
                    </a:moveTo>
                    <a:cubicBezTo>
                      <a:pt x="4181389" y="4546045"/>
                      <a:pt x="4168318" y="4532728"/>
                      <a:pt x="4152046" y="4532728"/>
                    </a:cubicBezTo>
                    <a:cubicBezTo>
                      <a:pt x="4136019" y="4532728"/>
                      <a:pt x="4122702" y="4545796"/>
                      <a:pt x="4122702" y="4562071"/>
                    </a:cubicBezTo>
                    <a:cubicBezTo>
                      <a:pt x="4122702" y="4578344"/>
                      <a:pt x="4135769" y="4591661"/>
                      <a:pt x="4152046" y="4591661"/>
                    </a:cubicBezTo>
                    <a:cubicBezTo>
                      <a:pt x="4168318" y="4591661"/>
                      <a:pt x="4181389" y="4578344"/>
                      <a:pt x="4181389" y="4562071"/>
                    </a:cubicBezTo>
                    <a:close/>
                    <a:moveTo>
                      <a:pt x="4182129" y="1913195"/>
                    </a:moveTo>
                    <a:cubicBezTo>
                      <a:pt x="4182129" y="1905060"/>
                      <a:pt x="4175470" y="1898403"/>
                      <a:pt x="4167334" y="1898403"/>
                    </a:cubicBezTo>
                    <a:cubicBezTo>
                      <a:pt x="4159198" y="1898403"/>
                      <a:pt x="4152539" y="1905060"/>
                      <a:pt x="4152539" y="1913195"/>
                    </a:cubicBezTo>
                    <a:cubicBezTo>
                      <a:pt x="4152539" y="1921328"/>
                      <a:pt x="4159198" y="1927985"/>
                      <a:pt x="4167334" y="1927985"/>
                    </a:cubicBezTo>
                    <a:cubicBezTo>
                      <a:pt x="4175224" y="1927985"/>
                      <a:pt x="4181883" y="1921328"/>
                      <a:pt x="4182129" y="1913195"/>
                    </a:cubicBezTo>
                    <a:close/>
                    <a:moveTo>
                      <a:pt x="4182129" y="5156320"/>
                    </a:moveTo>
                    <a:cubicBezTo>
                      <a:pt x="4182129" y="5152374"/>
                      <a:pt x="4178924" y="5149416"/>
                      <a:pt x="4175224" y="5149416"/>
                    </a:cubicBezTo>
                    <a:cubicBezTo>
                      <a:pt x="4171279" y="5149416"/>
                      <a:pt x="4168320" y="5152621"/>
                      <a:pt x="4168320" y="5156320"/>
                    </a:cubicBezTo>
                    <a:cubicBezTo>
                      <a:pt x="4168320" y="5160019"/>
                      <a:pt x="4171525" y="5163224"/>
                      <a:pt x="4175224" y="5163224"/>
                    </a:cubicBezTo>
                    <a:cubicBezTo>
                      <a:pt x="4178924" y="5163224"/>
                      <a:pt x="4182129" y="5160019"/>
                      <a:pt x="4182129" y="5156320"/>
                    </a:cubicBezTo>
                    <a:close/>
                    <a:moveTo>
                      <a:pt x="4184347" y="2819786"/>
                    </a:moveTo>
                    <a:cubicBezTo>
                      <a:pt x="4184347" y="2811404"/>
                      <a:pt x="4177444" y="2804499"/>
                      <a:pt x="4169058" y="2804499"/>
                    </a:cubicBezTo>
                    <a:cubicBezTo>
                      <a:pt x="4160676" y="2804499"/>
                      <a:pt x="4153771" y="2811404"/>
                      <a:pt x="4153771" y="2819786"/>
                    </a:cubicBezTo>
                    <a:cubicBezTo>
                      <a:pt x="4153771" y="2828170"/>
                      <a:pt x="4160676" y="2835075"/>
                      <a:pt x="4169058" y="2835075"/>
                    </a:cubicBezTo>
                    <a:cubicBezTo>
                      <a:pt x="4177444" y="2835075"/>
                      <a:pt x="4184347" y="2828170"/>
                      <a:pt x="4184347" y="2819786"/>
                    </a:cubicBezTo>
                    <a:close/>
                    <a:moveTo>
                      <a:pt x="4186320" y="3789305"/>
                    </a:moveTo>
                    <a:cubicBezTo>
                      <a:pt x="4186320" y="3768593"/>
                      <a:pt x="4169552" y="3751825"/>
                      <a:pt x="4148840" y="3751825"/>
                    </a:cubicBezTo>
                    <a:cubicBezTo>
                      <a:pt x="4128128" y="3751825"/>
                      <a:pt x="4111361" y="3768593"/>
                      <a:pt x="4111361" y="3789305"/>
                    </a:cubicBezTo>
                    <a:cubicBezTo>
                      <a:pt x="4111361" y="3810017"/>
                      <a:pt x="4128128" y="3826784"/>
                      <a:pt x="4148840" y="3826784"/>
                    </a:cubicBezTo>
                    <a:cubicBezTo>
                      <a:pt x="4169552" y="3826784"/>
                      <a:pt x="4186320" y="3810017"/>
                      <a:pt x="4186320" y="3789305"/>
                    </a:cubicBezTo>
                    <a:close/>
                    <a:moveTo>
                      <a:pt x="4186321" y="4436812"/>
                    </a:moveTo>
                    <a:cubicBezTo>
                      <a:pt x="4186321" y="4414372"/>
                      <a:pt x="4168072" y="4396372"/>
                      <a:pt x="4145882" y="4396372"/>
                    </a:cubicBezTo>
                    <a:cubicBezTo>
                      <a:pt x="4123691" y="4396372"/>
                      <a:pt x="4105443" y="4414621"/>
                      <a:pt x="4105443" y="4436812"/>
                    </a:cubicBezTo>
                    <a:cubicBezTo>
                      <a:pt x="4105443" y="4459250"/>
                      <a:pt x="4123691" y="4477250"/>
                      <a:pt x="4145882" y="4477250"/>
                    </a:cubicBezTo>
                    <a:cubicBezTo>
                      <a:pt x="4168321" y="4477250"/>
                      <a:pt x="4186321" y="4459250"/>
                      <a:pt x="4186321" y="4436812"/>
                    </a:cubicBezTo>
                    <a:close/>
                    <a:moveTo>
                      <a:pt x="4186812" y="6291063"/>
                    </a:moveTo>
                    <a:cubicBezTo>
                      <a:pt x="4186812" y="6289582"/>
                      <a:pt x="4185825" y="6288596"/>
                      <a:pt x="4184345" y="6288596"/>
                    </a:cubicBezTo>
                    <a:cubicBezTo>
                      <a:pt x="4183112" y="6288596"/>
                      <a:pt x="4181880" y="6289582"/>
                      <a:pt x="4181880" y="6291063"/>
                    </a:cubicBezTo>
                    <a:cubicBezTo>
                      <a:pt x="4181880" y="6292295"/>
                      <a:pt x="4182867" y="6293527"/>
                      <a:pt x="4184345" y="6293527"/>
                    </a:cubicBezTo>
                    <a:cubicBezTo>
                      <a:pt x="4185825" y="6293527"/>
                      <a:pt x="4186812" y="6292295"/>
                      <a:pt x="4186812" y="6291063"/>
                    </a:cubicBezTo>
                    <a:close/>
                    <a:moveTo>
                      <a:pt x="4187058" y="6067172"/>
                    </a:moveTo>
                    <a:cubicBezTo>
                      <a:pt x="4187058" y="6065196"/>
                      <a:pt x="4185580" y="6063719"/>
                      <a:pt x="4183605" y="6063719"/>
                    </a:cubicBezTo>
                    <a:cubicBezTo>
                      <a:pt x="4181632" y="6063719"/>
                      <a:pt x="4180154" y="6065196"/>
                      <a:pt x="4180154" y="6067172"/>
                    </a:cubicBezTo>
                    <a:cubicBezTo>
                      <a:pt x="4180154" y="6069145"/>
                      <a:pt x="4181632" y="6070623"/>
                      <a:pt x="4183605" y="6070623"/>
                    </a:cubicBezTo>
                    <a:cubicBezTo>
                      <a:pt x="4185580" y="6070623"/>
                      <a:pt x="4187058" y="6069145"/>
                      <a:pt x="4187058" y="6067172"/>
                    </a:cubicBezTo>
                    <a:close/>
                    <a:moveTo>
                      <a:pt x="4187061" y="5728128"/>
                    </a:moveTo>
                    <a:cubicBezTo>
                      <a:pt x="4187061" y="5727390"/>
                      <a:pt x="4186320" y="5726649"/>
                      <a:pt x="4185580" y="5726649"/>
                    </a:cubicBezTo>
                    <a:cubicBezTo>
                      <a:pt x="4184596" y="5726649"/>
                      <a:pt x="4184101" y="5727390"/>
                      <a:pt x="4184101" y="5728128"/>
                    </a:cubicBezTo>
                    <a:cubicBezTo>
                      <a:pt x="4184101" y="5728868"/>
                      <a:pt x="4184842" y="5729609"/>
                      <a:pt x="4185580" y="5729609"/>
                    </a:cubicBezTo>
                    <a:cubicBezTo>
                      <a:pt x="4186320" y="5729609"/>
                      <a:pt x="4187061" y="5728868"/>
                      <a:pt x="4187061" y="5728128"/>
                    </a:cubicBezTo>
                    <a:close/>
                    <a:moveTo>
                      <a:pt x="4187303" y="6179363"/>
                    </a:moveTo>
                    <a:cubicBezTo>
                      <a:pt x="4187303" y="6177389"/>
                      <a:pt x="4185825" y="6175912"/>
                      <a:pt x="4183854" y="6175912"/>
                    </a:cubicBezTo>
                    <a:cubicBezTo>
                      <a:pt x="4181632" y="6175912"/>
                      <a:pt x="4180154" y="6177389"/>
                      <a:pt x="4180154" y="6179363"/>
                    </a:cubicBezTo>
                    <a:cubicBezTo>
                      <a:pt x="4180154" y="6181338"/>
                      <a:pt x="4181880" y="6182816"/>
                      <a:pt x="4183854" y="6182816"/>
                    </a:cubicBezTo>
                    <a:cubicBezTo>
                      <a:pt x="4185825" y="6182816"/>
                      <a:pt x="4187552" y="6181089"/>
                      <a:pt x="4187303" y="6179363"/>
                    </a:cubicBezTo>
                    <a:close/>
                    <a:moveTo>
                      <a:pt x="4187306" y="5954236"/>
                    </a:moveTo>
                    <a:cubicBezTo>
                      <a:pt x="4187306" y="5952758"/>
                      <a:pt x="4186074" y="5951772"/>
                      <a:pt x="4184842" y="5951772"/>
                    </a:cubicBezTo>
                    <a:cubicBezTo>
                      <a:pt x="4183361" y="5951772"/>
                      <a:pt x="4182374" y="5953004"/>
                      <a:pt x="4182374" y="5954236"/>
                    </a:cubicBezTo>
                    <a:cubicBezTo>
                      <a:pt x="4182374" y="5955717"/>
                      <a:pt x="4183606" y="5956704"/>
                      <a:pt x="4184842" y="5956704"/>
                    </a:cubicBezTo>
                    <a:cubicBezTo>
                      <a:pt x="4186074" y="5956704"/>
                      <a:pt x="4187306" y="5955717"/>
                      <a:pt x="4187306" y="5954236"/>
                    </a:cubicBezTo>
                    <a:close/>
                    <a:moveTo>
                      <a:pt x="4187552" y="6402267"/>
                    </a:moveTo>
                    <a:cubicBezTo>
                      <a:pt x="4187552" y="6400540"/>
                      <a:pt x="4186074" y="6399308"/>
                      <a:pt x="4184594" y="6399308"/>
                    </a:cubicBezTo>
                    <a:cubicBezTo>
                      <a:pt x="4182867" y="6399308"/>
                      <a:pt x="4181634" y="6400787"/>
                      <a:pt x="4181634" y="6402267"/>
                    </a:cubicBezTo>
                    <a:cubicBezTo>
                      <a:pt x="4181634" y="6403994"/>
                      <a:pt x="4183112" y="6405226"/>
                      <a:pt x="4184594" y="6405226"/>
                    </a:cubicBezTo>
                    <a:cubicBezTo>
                      <a:pt x="4186074" y="6405226"/>
                      <a:pt x="4187306" y="6403994"/>
                      <a:pt x="4187552" y="6402267"/>
                    </a:cubicBezTo>
                    <a:close/>
                    <a:moveTo>
                      <a:pt x="4189029" y="4684865"/>
                    </a:moveTo>
                    <a:cubicBezTo>
                      <a:pt x="4189029" y="4667111"/>
                      <a:pt x="4174729" y="4652811"/>
                      <a:pt x="4156976" y="4652811"/>
                    </a:cubicBezTo>
                    <a:cubicBezTo>
                      <a:pt x="4139223" y="4652811"/>
                      <a:pt x="4124920" y="4667111"/>
                      <a:pt x="4124920" y="4684865"/>
                    </a:cubicBezTo>
                    <a:cubicBezTo>
                      <a:pt x="4124920" y="4702618"/>
                      <a:pt x="4139223" y="4716921"/>
                      <a:pt x="4156976" y="4716921"/>
                    </a:cubicBezTo>
                    <a:cubicBezTo>
                      <a:pt x="4174480" y="4716921"/>
                      <a:pt x="4189029" y="4702373"/>
                      <a:pt x="4189029" y="4684865"/>
                    </a:cubicBezTo>
                    <a:close/>
                    <a:moveTo>
                      <a:pt x="4189524" y="5272213"/>
                    </a:moveTo>
                    <a:cubicBezTo>
                      <a:pt x="4189524" y="5265308"/>
                      <a:pt x="4184099" y="5259882"/>
                      <a:pt x="4177198" y="5259882"/>
                    </a:cubicBezTo>
                    <a:cubicBezTo>
                      <a:pt x="4170293" y="5259882"/>
                      <a:pt x="4164867" y="5265308"/>
                      <a:pt x="4164867" y="5272213"/>
                    </a:cubicBezTo>
                    <a:cubicBezTo>
                      <a:pt x="4164867" y="5279114"/>
                      <a:pt x="4170293" y="5284539"/>
                      <a:pt x="4177198" y="5284539"/>
                    </a:cubicBezTo>
                    <a:cubicBezTo>
                      <a:pt x="4184099" y="5284539"/>
                      <a:pt x="4189524" y="5278867"/>
                      <a:pt x="4189524" y="5272213"/>
                    </a:cubicBezTo>
                    <a:close/>
                    <a:moveTo>
                      <a:pt x="4189524" y="5614210"/>
                    </a:moveTo>
                    <a:cubicBezTo>
                      <a:pt x="4189524" y="5611747"/>
                      <a:pt x="4187552" y="5609774"/>
                      <a:pt x="4185085" y="5609774"/>
                    </a:cubicBezTo>
                    <a:cubicBezTo>
                      <a:pt x="4182621" y="5609774"/>
                      <a:pt x="4180648" y="5611747"/>
                      <a:pt x="4180648" y="5614210"/>
                    </a:cubicBezTo>
                    <a:cubicBezTo>
                      <a:pt x="4180648" y="5616678"/>
                      <a:pt x="4182621" y="5618650"/>
                      <a:pt x="4185085" y="5618650"/>
                    </a:cubicBezTo>
                    <a:cubicBezTo>
                      <a:pt x="4187552" y="5618650"/>
                      <a:pt x="4189524" y="5616678"/>
                      <a:pt x="4189524" y="5614210"/>
                    </a:cubicBezTo>
                    <a:close/>
                    <a:moveTo>
                      <a:pt x="4190017" y="6735146"/>
                    </a:moveTo>
                    <a:cubicBezTo>
                      <a:pt x="4190017" y="6734160"/>
                      <a:pt x="4189279" y="6733419"/>
                      <a:pt x="4188293" y="6733419"/>
                    </a:cubicBezTo>
                    <a:cubicBezTo>
                      <a:pt x="4187306" y="6733419"/>
                      <a:pt x="4186565" y="6734160"/>
                      <a:pt x="4186565" y="6735146"/>
                    </a:cubicBezTo>
                    <a:cubicBezTo>
                      <a:pt x="4186565" y="6736132"/>
                      <a:pt x="4187306" y="6736873"/>
                      <a:pt x="4188293" y="6736873"/>
                    </a:cubicBezTo>
                    <a:cubicBezTo>
                      <a:pt x="4189279" y="6736873"/>
                      <a:pt x="4190017" y="6736132"/>
                      <a:pt x="4190017" y="6735146"/>
                    </a:cubicBezTo>
                    <a:close/>
                    <a:moveTo>
                      <a:pt x="4190757" y="6845857"/>
                    </a:moveTo>
                    <a:cubicBezTo>
                      <a:pt x="4190757" y="6844870"/>
                      <a:pt x="4189770" y="6843884"/>
                      <a:pt x="4188784" y="6843884"/>
                    </a:cubicBezTo>
                    <a:cubicBezTo>
                      <a:pt x="4187798" y="6843884"/>
                      <a:pt x="4186811" y="6844870"/>
                      <a:pt x="4186811" y="6845857"/>
                    </a:cubicBezTo>
                    <a:cubicBezTo>
                      <a:pt x="4186811" y="6847089"/>
                      <a:pt x="4187798" y="6847829"/>
                      <a:pt x="4188784" y="6847829"/>
                    </a:cubicBezTo>
                    <a:cubicBezTo>
                      <a:pt x="4190017" y="6847829"/>
                      <a:pt x="4190757" y="6846843"/>
                      <a:pt x="4190757" y="6845857"/>
                    </a:cubicBezTo>
                    <a:close/>
                    <a:moveTo>
                      <a:pt x="4191002" y="6512735"/>
                    </a:moveTo>
                    <a:cubicBezTo>
                      <a:pt x="4191002" y="6511500"/>
                      <a:pt x="4190261" y="6510513"/>
                      <a:pt x="4189029" y="6510513"/>
                    </a:cubicBezTo>
                    <a:cubicBezTo>
                      <a:pt x="4188043" y="6510513"/>
                      <a:pt x="4187057" y="6511500"/>
                      <a:pt x="4187057" y="6512735"/>
                    </a:cubicBezTo>
                    <a:cubicBezTo>
                      <a:pt x="4187057" y="6513967"/>
                      <a:pt x="4187798" y="6514954"/>
                      <a:pt x="4189029" y="6514954"/>
                    </a:cubicBezTo>
                    <a:cubicBezTo>
                      <a:pt x="4190261" y="6514954"/>
                      <a:pt x="4191248" y="6513967"/>
                      <a:pt x="4191002" y="6512735"/>
                    </a:cubicBezTo>
                    <a:close/>
                    <a:moveTo>
                      <a:pt x="4191002" y="6623939"/>
                    </a:moveTo>
                    <a:cubicBezTo>
                      <a:pt x="4191002" y="6622952"/>
                      <a:pt x="4190262" y="6621966"/>
                      <a:pt x="4189030" y="6621966"/>
                    </a:cubicBezTo>
                    <a:cubicBezTo>
                      <a:pt x="4188043" y="6621966"/>
                      <a:pt x="4187057" y="6622707"/>
                      <a:pt x="4187057" y="6623939"/>
                    </a:cubicBezTo>
                    <a:cubicBezTo>
                      <a:pt x="4187057" y="6625171"/>
                      <a:pt x="4187798" y="6626157"/>
                      <a:pt x="4189030" y="6626157"/>
                    </a:cubicBezTo>
                    <a:cubicBezTo>
                      <a:pt x="4190262" y="6626157"/>
                      <a:pt x="4191002" y="6625171"/>
                      <a:pt x="4191002" y="6623939"/>
                    </a:cubicBezTo>
                    <a:close/>
                    <a:moveTo>
                      <a:pt x="4192237" y="6956571"/>
                    </a:moveTo>
                    <a:cubicBezTo>
                      <a:pt x="4192237" y="6954596"/>
                      <a:pt x="4190760" y="6953118"/>
                      <a:pt x="4188784" y="6953118"/>
                    </a:cubicBezTo>
                    <a:cubicBezTo>
                      <a:pt x="4186811" y="6953118"/>
                      <a:pt x="4185333" y="6954596"/>
                      <a:pt x="4185333" y="6956571"/>
                    </a:cubicBezTo>
                    <a:cubicBezTo>
                      <a:pt x="4185333" y="6958544"/>
                      <a:pt x="4186811" y="6960022"/>
                      <a:pt x="4188784" y="6960022"/>
                    </a:cubicBezTo>
                    <a:cubicBezTo>
                      <a:pt x="4190760" y="6960022"/>
                      <a:pt x="4192237" y="6958296"/>
                      <a:pt x="4192237" y="6956571"/>
                    </a:cubicBezTo>
                    <a:close/>
                    <a:moveTo>
                      <a:pt x="4192483" y="5841555"/>
                    </a:moveTo>
                    <a:cubicBezTo>
                      <a:pt x="4192483" y="5837363"/>
                      <a:pt x="4189033" y="5833910"/>
                      <a:pt x="4184842" y="5833910"/>
                    </a:cubicBezTo>
                    <a:cubicBezTo>
                      <a:pt x="4180648" y="5833910"/>
                      <a:pt x="4177196" y="5837363"/>
                      <a:pt x="4177196" y="5841555"/>
                    </a:cubicBezTo>
                    <a:cubicBezTo>
                      <a:pt x="4177196" y="5845746"/>
                      <a:pt x="4180648" y="5849199"/>
                      <a:pt x="4184842" y="5849199"/>
                    </a:cubicBezTo>
                    <a:cubicBezTo>
                      <a:pt x="4189033" y="5849199"/>
                      <a:pt x="4192483" y="5845746"/>
                      <a:pt x="4192483" y="5841555"/>
                    </a:cubicBezTo>
                    <a:close/>
                    <a:moveTo>
                      <a:pt x="4193221" y="7067034"/>
                    </a:moveTo>
                    <a:cubicBezTo>
                      <a:pt x="4193221" y="7064816"/>
                      <a:pt x="4191249" y="7062843"/>
                      <a:pt x="4189030" y="7062843"/>
                    </a:cubicBezTo>
                    <a:cubicBezTo>
                      <a:pt x="4186812" y="7062843"/>
                      <a:pt x="4184839" y="7064816"/>
                      <a:pt x="4184839" y="7067034"/>
                    </a:cubicBezTo>
                    <a:cubicBezTo>
                      <a:pt x="4184839" y="7069253"/>
                      <a:pt x="4186812" y="7071225"/>
                      <a:pt x="4189030" y="7071225"/>
                    </a:cubicBezTo>
                    <a:cubicBezTo>
                      <a:pt x="4191249" y="7071225"/>
                      <a:pt x="4193221" y="7069253"/>
                      <a:pt x="4193221" y="7067034"/>
                    </a:cubicBezTo>
                    <a:close/>
                    <a:moveTo>
                      <a:pt x="4193718" y="4921332"/>
                    </a:moveTo>
                    <a:cubicBezTo>
                      <a:pt x="4193718" y="4908757"/>
                      <a:pt x="4183361" y="4898401"/>
                      <a:pt x="4170784" y="4898401"/>
                    </a:cubicBezTo>
                    <a:cubicBezTo>
                      <a:pt x="4158209" y="4898401"/>
                      <a:pt x="4147854" y="4908757"/>
                      <a:pt x="4147854" y="4921332"/>
                    </a:cubicBezTo>
                    <a:cubicBezTo>
                      <a:pt x="4147854" y="4933908"/>
                      <a:pt x="4158209" y="4944266"/>
                      <a:pt x="4170784" y="4944266"/>
                    </a:cubicBezTo>
                    <a:cubicBezTo>
                      <a:pt x="4183361" y="4944266"/>
                      <a:pt x="4193718" y="4933908"/>
                      <a:pt x="4193718" y="4921332"/>
                    </a:cubicBezTo>
                    <a:close/>
                    <a:moveTo>
                      <a:pt x="4194455" y="7177255"/>
                    </a:moveTo>
                    <a:cubicBezTo>
                      <a:pt x="4194455" y="7174542"/>
                      <a:pt x="4191991" y="7172323"/>
                      <a:pt x="4189279" y="7172323"/>
                    </a:cubicBezTo>
                    <a:cubicBezTo>
                      <a:pt x="4186320" y="7172323"/>
                      <a:pt x="4184101" y="7174542"/>
                      <a:pt x="4184101" y="7177255"/>
                    </a:cubicBezTo>
                    <a:cubicBezTo>
                      <a:pt x="4184101" y="7180214"/>
                      <a:pt x="4186565" y="7182433"/>
                      <a:pt x="4189279" y="7182433"/>
                    </a:cubicBezTo>
                    <a:cubicBezTo>
                      <a:pt x="4192237" y="7182433"/>
                      <a:pt x="4194455" y="7180214"/>
                      <a:pt x="4194455" y="7177255"/>
                    </a:cubicBezTo>
                    <a:close/>
                    <a:moveTo>
                      <a:pt x="4196428" y="7397201"/>
                    </a:moveTo>
                    <a:cubicBezTo>
                      <a:pt x="4196428" y="7394982"/>
                      <a:pt x="4194701" y="7393255"/>
                      <a:pt x="4192483" y="7393255"/>
                    </a:cubicBezTo>
                    <a:cubicBezTo>
                      <a:pt x="4190264" y="7393255"/>
                      <a:pt x="4188538" y="7394982"/>
                      <a:pt x="4188538" y="7397201"/>
                    </a:cubicBezTo>
                    <a:cubicBezTo>
                      <a:pt x="4188538" y="7399419"/>
                      <a:pt x="4190264" y="7401145"/>
                      <a:pt x="4192483" y="7401145"/>
                    </a:cubicBezTo>
                    <a:cubicBezTo>
                      <a:pt x="4194701" y="7401145"/>
                      <a:pt x="4196428" y="7399419"/>
                      <a:pt x="4196428" y="7397201"/>
                    </a:cubicBezTo>
                    <a:close/>
                    <a:moveTo>
                      <a:pt x="4197415" y="7507420"/>
                    </a:moveTo>
                    <a:cubicBezTo>
                      <a:pt x="4197415" y="7504707"/>
                      <a:pt x="4195443" y="7502734"/>
                      <a:pt x="4192733" y="7502734"/>
                    </a:cubicBezTo>
                    <a:cubicBezTo>
                      <a:pt x="4190020" y="7502734"/>
                      <a:pt x="4188046" y="7504707"/>
                      <a:pt x="4188046" y="7507420"/>
                    </a:cubicBezTo>
                    <a:cubicBezTo>
                      <a:pt x="4188046" y="7510131"/>
                      <a:pt x="4190020" y="7512106"/>
                      <a:pt x="4192733" y="7512106"/>
                    </a:cubicBezTo>
                    <a:cubicBezTo>
                      <a:pt x="4195443" y="7512106"/>
                      <a:pt x="4197415" y="7509885"/>
                      <a:pt x="4197415" y="7507420"/>
                    </a:cubicBezTo>
                    <a:close/>
                    <a:moveTo>
                      <a:pt x="4198401" y="7286980"/>
                    </a:moveTo>
                    <a:cubicBezTo>
                      <a:pt x="4198401" y="7283776"/>
                      <a:pt x="4195933" y="7281308"/>
                      <a:pt x="4192729" y="7281308"/>
                    </a:cubicBezTo>
                    <a:cubicBezTo>
                      <a:pt x="4189524" y="7281308"/>
                      <a:pt x="4187057" y="7283776"/>
                      <a:pt x="4187057" y="7286980"/>
                    </a:cubicBezTo>
                    <a:cubicBezTo>
                      <a:pt x="4187057" y="7290185"/>
                      <a:pt x="4189524" y="7292649"/>
                      <a:pt x="4192729" y="7292649"/>
                    </a:cubicBezTo>
                    <a:cubicBezTo>
                      <a:pt x="4195933" y="7292649"/>
                      <a:pt x="4198401" y="7290185"/>
                      <a:pt x="4198401" y="7286980"/>
                    </a:cubicBezTo>
                    <a:close/>
                    <a:moveTo>
                      <a:pt x="4199879" y="2682697"/>
                    </a:moveTo>
                    <a:cubicBezTo>
                      <a:pt x="4199879" y="2672834"/>
                      <a:pt x="4191742" y="2664697"/>
                      <a:pt x="4181880" y="2664697"/>
                    </a:cubicBezTo>
                    <a:cubicBezTo>
                      <a:pt x="4172262" y="2664697"/>
                      <a:pt x="4164126" y="2672834"/>
                      <a:pt x="4164126" y="2682697"/>
                    </a:cubicBezTo>
                    <a:cubicBezTo>
                      <a:pt x="4164126" y="2692559"/>
                      <a:pt x="4172017" y="2700696"/>
                      <a:pt x="4181880" y="2700696"/>
                    </a:cubicBezTo>
                    <a:cubicBezTo>
                      <a:pt x="4191989" y="2700696"/>
                      <a:pt x="4199879" y="2692805"/>
                      <a:pt x="4199879" y="2682697"/>
                    </a:cubicBezTo>
                    <a:close/>
                    <a:moveTo>
                      <a:pt x="4200866" y="2550784"/>
                    </a:moveTo>
                    <a:cubicBezTo>
                      <a:pt x="4200866" y="2545358"/>
                      <a:pt x="4196675" y="2541169"/>
                      <a:pt x="4191252" y="2541169"/>
                    </a:cubicBezTo>
                    <a:cubicBezTo>
                      <a:pt x="4186074" y="2541169"/>
                      <a:pt x="4181634" y="2545358"/>
                      <a:pt x="4181634" y="2550784"/>
                    </a:cubicBezTo>
                    <a:cubicBezTo>
                      <a:pt x="4181634" y="2555962"/>
                      <a:pt x="4186074" y="2560400"/>
                      <a:pt x="4191252" y="2560400"/>
                    </a:cubicBezTo>
                    <a:cubicBezTo>
                      <a:pt x="4196675" y="2560400"/>
                      <a:pt x="4200866" y="2556207"/>
                      <a:pt x="4200866" y="2550784"/>
                    </a:cubicBezTo>
                    <a:close/>
                    <a:moveTo>
                      <a:pt x="4203827" y="2422570"/>
                    </a:moveTo>
                    <a:cubicBezTo>
                      <a:pt x="4203827" y="2419365"/>
                      <a:pt x="4201360" y="2416902"/>
                      <a:pt x="4198155" y="2416902"/>
                    </a:cubicBezTo>
                    <a:cubicBezTo>
                      <a:pt x="4194951" y="2416902"/>
                      <a:pt x="4192483" y="2419365"/>
                      <a:pt x="4192483" y="2422570"/>
                    </a:cubicBezTo>
                    <a:cubicBezTo>
                      <a:pt x="4192483" y="2425774"/>
                      <a:pt x="4194951" y="2428241"/>
                      <a:pt x="4198155" y="2428241"/>
                    </a:cubicBezTo>
                    <a:cubicBezTo>
                      <a:pt x="4201360" y="2428241"/>
                      <a:pt x="4203827" y="2425774"/>
                      <a:pt x="4203827" y="2422570"/>
                    </a:cubicBezTo>
                    <a:close/>
                    <a:moveTo>
                      <a:pt x="4205057" y="5039196"/>
                    </a:moveTo>
                    <a:cubicBezTo>
                      <a:pt x="4205057" y="5021691"/>
                      <a:pt x="4190757" y="5007388"/>
                      <a:pt x="4173249" y="5007388"/>
                    </a:cubicBezTo>
                    <a:cubicBezTo>
                      <a:pt x="4155741" y="5007388"/>
                      <a:pt x="4141442" y="5021691"/>
                      <a:pt x="4141442" y="5039196"/>
                    </a:cubicBezTo>
                    <a:cubicBezTo>
                      <a:pt x="4141442" y="5056703"/>
                      <a:pt x="4155741" y="5071006"/>
                      <a:pt x="4173249" y="5071006"/>
                    </a:cubicBezTo>
                    <a:cubicBezTo>
                      <a:pt x="4190757" y="5071006"/>
                      <a:pt x="4205057" y="5056949"/>
                      <a:pt x="4205057" y="5039196"/>
                    </a:cubicBezTo>
                    <a:close/>
                    <a:moveTo>
                      <a:pt x="4206045" y="1679711"/>
                    </a:moveTo>
                    <a:cubicBezTo>
                      <a:pt x="4206045" y="1658997"/>
                      <a:pt x="4189279" y="1642233"/>
                      <a:pt x="4168566" y="1642233"/>
                    </a:cubicBezTo>
                    <a:cubicBezTo>
                      <a:pt x="4147854" y="1642233"/>
                      <a:pt x="4131086" y="1658997"/>
                      <a:pt x="4131086" y="1679711"/>
                    </a:cubicBezTo>
                    <a:cubicBezTo>
                      <a:pt x="4131086" y="1700424"/>
                      <a:pt x="4147854" y="1717177"/>
                      <a:pt x="4168566" y="1717177"/>
                    </a:cubicBezTo>
                    <a:cubicBezTo>
                      <a:pt x="4189279" y="1717177"/>
                      <a:pt x="4206045" y="1700424"/>
                      <a:pt x="4206045" y="1679711"/>
                    </a:cubicBezTo>
                    <a:close/>
                    <a:moveTo>
                      <a:pt x="4206291" y="3218490"/>
                    </a:moveTo>
                    <a:cubicBezTo>
                      <a:pt x="4206291" y="3199259"/>
                      <a:pt x="4190759" y="3183724"/>
                      <a:pt x="4171524" y="3183724"/>
                    </a:cubicBezTo>
                    <a:cubicBezTo>
                      <a:pt x="4152293" y="3183724"/>
                      <a:pt x="4136758" y="3199259"/>
                      <a:pt x="4136758" y="3218490"/>
                    </a:cubicBezTo>
                    <a:cubicBezTo>
                      <a:pt x="4136758" y="3237725"/>
                      <a:pt x="4152293" y="3253257"/>
                      <a:pt x="4171524" y="3253257"/>
                    </a:cubicBezTo>
                    <a:cubicBezTo>
                      <a:pt x="4190510" y="3253257"/>
                      <a:pt x="4206045" y="3237476"/>
                      <a:pt x="4206291" y="3218490"/>
                    </a:cubicBezTo>
                    <a:close/>
                    <a:moveTo>
                      <a:pt x="4207277" y="2297319"/>
                    </a:moveTo>
                    <a:cubicBezTo>
                      <a:pt x="4207277" y="2295101"/>
                      <a:pt x="4205551" y="2293374"/>
                      <a:pt x="4203333" y="2293374"/>
                    </a:cubicBezTo>
                    <a:cubicBezTo>
                      <a:pt x="4201114" y="2293374"/>
                      <a:pt x="4199387" y="2295101"/>
                      <a:pt x="4199387" y="2297319"/>
                    </a:cubicBezTo>
                    <a:cubicBezTo>
                      <a:pt x="4199387" y="2299537"/>
                      <a:pt x="4201114" y="2301265"/>
                      <a:pt x="4203333" y="2301265"/>
                    </a:cubicBezTo>
                    <a:cubicBezTo>
                      <a:pt x="4205551" y="2301265"/>
                      <a:pt x="4207277" y="2299293"/>
                      <a:pt x="4207277" y="2297319"/>
                    </a:cubicBezTo>
                    <a:close/>
                    <a:moveTo>
                      <a:pt x="4213444" y="1564571"/>
                    </a:moveTo>
                    <a:cubicBezTo>
                      <a:pt x="4213444" y="1540162"/>
                      <a:pt x="4193715" y="1520436"/>
                      <a:pt x="4169307" y="1520436"/>
                    </a:cubicBezTo>
                    <a:cubicBezTo>
                      <a:pt x="4144895" y="1520436"/>
                      <a:pt x="4125168" y="1540162"/>
                      <a:pt x="4125168" y="1564571"/>
                    </a:cubicBezTo>
                    <a:cubicBezTo>
                      <a:pt x="4125168" y="1588978"/>
                      <a:pt x="4144895" y="1608710"/>
                      <a:pt x="4169307" y="1608710"/>
                    </a:cubicBezTo>
                    <a:cubicBezTo>
                      <a:pt x="4193715" y="1608710"/>
                      <a:pt x="4213444" y="1588978"/>
                      <a:pt x="4213444" y="1564571"/>
                    </a:cubicBezTo>
                    <a:close/>
                    <a:moveTo>
                      <a:pt x="4213452" y="0"/>
                    </a:moveTo>
                    <a:lnTo>
                      <a:pt x="4145118" y="0"/>
                    </a:lnTo>
                    <a:lnTo>
                      <a:pt x="4154234" y="22011"/>
                    </a:lnTo>
                    <a:cubicBezTo>
                      <a:pt x="4160614" y="28391"/>
                      <a:pt x="4169429" y="32336"/>
                      <a:pt x="4179169" y="32336"/>
                    </a:cubicBezTo>
                    <a:cubicBezTo>
                      <a:pt x="4188909" y="32336"/>
                      <a:pt x="4197786" y="28391"/>
                      <a:pt x="4204227" y="22011"/>
                    </a:cubicBezTo>
                    <a:close/>
                    <a:moveTo>
                      <a:pt x="4214428" y="1449924"/>
                    </a:moveTo>
                    <a:cubicBezTo>
                      <a:pt x="4214428" y="1425271"/>
                      <a:pt x="4194210" y="1405051"/>
                      <a:pt x="4169552" y="1405051"/>
                    </a:cubicBezTo>
                    <a:cubicBezTo>
                      <a:pt x="4144895" y="1405051"/>
                      <a:pt x="4124674" y="1425271"/>
                      <a:pt x="4124674" y="1449924"/>
                    </a:cubicBezTo>
                    <a:cubicBezTo>
                      <a:pt x="4124674" y="1474584"/>
                      <a:pt x="4144895" y="1494805"/>
                      <a:pt x="4169552" y="1494805"/>
                    </a:cubicBezTo>
                    <a:cubicBezTo>
                      <a:pt x="4194456" y="1494805"/>
                      <a:pt x="4214428" y="1474584"/>
                      <a:pt x="4214428" y="1449924"/>
                    </a:cubicBezTo>
                    <a:close/>
                    <a:moveTo>
                      <a:pt x="4215168" y="107764"/>
                    </a:moveTo>
                    <a:cubicBezTo>
                      <a:pt x="4215168" y="88040"/>
                      <a:pt x="4199142" y="72014"/>
                      <a:pt x="4179415" y="72014"/>
                    </a:cubicBezTo>
                    <a:cubicBezTo>
                      <a:pt x="4159689" y="72014"/>
                      <a:pt x="4143662" y="88040"/>
                      <a:pt x="4143662" y="107764"/>
                    </a:cubicBezTo>
                    <a:cubicBezTo>
                      <a:pt x="4143662" y="127490"/>
                      <a:pt x="4159689" y="143516"/>
                      <a:pt x="4179415" y="143516"/>
                    </a:cubicBezTo>
                    <a:cubicBezTo>
                      <a:pt x="4199142" y="143516"/>
                      <a:pt x="4215417" y="127490"/>
                      <a:pt x="4215168" y="107764"/>
                    </a:cubicBezTo>
                    <a:close/>
                    <a:moveTo>
                      <a:pt x="4215906" y="329385"/>
                    </a:moveTo>
                    <a:cubicBezTo>
                      <a:pt x="4215906" y="309660"/>
                      <a:pt x="4199880" y="293633"/>
                      <a:pt x="4180154" y="293633"/>
                    </a:cubicBezTo>
                    <a:cubicBezTo>
                      <a:pt x="4160428" y="293633"/>
                      <a:pt x="4144400" y="309660"/>
                      <a:pt x="4144400" y="329385"/>
                    </a:cubicBezTo>
                    <a:cubicBezTo>
                      <a:pt x="4144400" y="349110"/>
                      <a:pt x="4160428" y="365139"/>
                      <a:pt x="4180154" y="365139"/>
                    </a:cubicBezTo>
                    <a:cubicBezTo>
                      <a:pt x="4199880" y="365139"/>
                      <a:pt x="4215661" y="349110"/>
                      <a:pt x="4215906" y="329385"/>
                    </a:cubicBezTo>
                    <a:close/>
                    <a:moveTo>
                      <a:pt x="4216155" y="440568"/>
                    </a:moveTo>
                    <a:cubicBezTo>
                      <a:pt x="4216155" y="420842"/>
                      <a:pt x="4200125" y="404817"/>
                      <a:pt x="4180399" y="404817"/>
                    </a:cubicBezTo>
                    <a:cubicBezTo>
                      <a:pt x="4160674" y="404817"/>
                      <a:pt x="4144646" y="420842"/>
                      <a:pt x="4144646" y="440568"/>
                    </a:cubicBezTo>
                    <a:cubicBezTo>
                      <a:pt x="4144646" y="460293"/>
                      <a:pt x="4160674" y="476323"/>
                      <a:pt x="4180399" y="476323"/>
                    </a:cubicBezTo>
                    <a:cubicBezTo>
                      <a:pt x="4200125" y="476323"/>
                      <a:pt x="4216155" y="460293"/>
                      <a:pt x="4216155" y="440568"/>
                    </a:cubicBezTo>
                    <a:close/>
                    <a:moveTo>
                      <a:pt x="4216892" y="4801744"/>
                    </a:moveTo>
                    <a:cubicBezTo>
                      <a:pt x="4216892" y="4775113"/>
                      <a:pt x="4194948" y="4753414"/>
                      <a:pt x="4168318" y="4753414"/>
                    </a:cubicBezTo>
                    <a:cubicBezTo>
                      <a:pt x="4141687" y="4753414"/>
                      <a:pt x="4119989" y="4775113"/>
                      <a:pt x="4119989" y="4801744"/>
                    </a:cubicBezTo>
                    <a:cubicBezTo>
                      <a:pt x="4119989" y="4828373"/>
                      <a:pt x="4141687" y="4850072"/>
                      <a:pt x="4168318" y="4850072"/>
                    </a:cubicBezTo>
                    <a:cubicBezTo>
                      <a:pt x="4194948" y="4850072"/>
                      <a:pt x="4216892" y="4828373"/>
                      <a:pt x="4216892" y="4801744"/>
                    </a:cubicBezTo>
                    <a:close/>
                    <a:moveTo>
                      <a:pt x="4218127" y="218452"/>
                    </a:moveTo>
                    <a:cubicBezTo>
                      <a:pt x="4218127" y="197491"/>
                      <a:pt x="4201114" y="180479"/>
                      <a:pt x="4180154" y="180479"/>
                    </a:cubicBezTo>
                    <a:cubicBezTo>
                      <a:pt x="4159195" y="180479"/>
                      <a:pt x="4142182" y="197491"/>
                      <a:pt x="4142182" y="218452"/>
                    </a:cubicBezTo>
                    <a:cubicBezTo>
                      <a:pt x="4142182" y="239409"/>
                      <a:pt x="4159195" y="256422"/>
                      <a:pt x="4180154" y="256422"/>
                    </a:cubicBezTo>
                    <a:cubicBezTo>
                      <a:pt x="4201114" y="256422"/>
                      <a:pt x="4217882" y="239409"/>
                      <a:pt x="4218127" y="218452"/>
                    </a:cubicBezTo>
                    <a:close/>
                    <a:moveTo>
                      <a:pt x="4220595" y="3945387"/>
                    </a:moveTo>
                    <a:cubicBezTo>
                      <a:pt x="4220595" y="3925169"/>
                      <a:pt x="4204319" y="3908893"/>
                      <a:pt x="4184102" y="3908893"/>
                    </a:cubicBezTo>
                    <a:cubicBezTo>
                      <a:pt x="4163881" y="3908893"/>
                      <a:pt x="4147608" y="3925169"/>
                      <a:pt x="4147608" y="3945387"/>
                    </a:cubicBezTo>
                    <a:cubicBezTo>
                      <a:pt x="4147608" y="3965607"/>
                      <a:pt x="4163881" y="3981880"/>
                      <a:pt x="4184102" y="3981880"/>
                    </a:cubicBezTo>
                    <a:cubicBezTo>
                      <a:pt x="4204319" y="3981880"/>
                      <a:pt x="4220595" y="3965607"/>
                      <a:pt x="4220595" y="3945387"/>
                    </a:cubicBezTo>
                    <a:close/>
                    <a:moveTo>
                      <a:pt x="4223554" y="3059207"/>
                    </a:moveTo>
                    <a:cubicBezTo>
                      <a:pt x="4223554" y="3054523"/>
                      <a:pt x="4219854" y="3050824"/>
                      <a:pt x="4215168" y="3050824"/>
                    </a:cubicBezTo>
                    <a:cubicBezTo>
                      <a:pt x="4210486" y="3050824"/>
                      <a:pt x="4206786" y="3054523"/>
                      <a:pt x="4206786" y="3059207"/>
                    </a:cubicBezTo>
                    <a:cubicBezTo>
                      <a:pt x="4206786" y="3063892"/>
                      <a:pt x="4210486" y="3067591"/>
                      <a:pt x="4215168" y="3067591"/>
                    </a:cubicBezTo>
                    <a:cubicBezTo>
                      <a:pt x="4219854" y="3067591"/>
                      <a:pt x="4223554" y="3063892"/>
                      <a:pt x="4223554" y="3059207"/>
                    </a:cubicBezTo>
                    <a:close/>
                    <a:moveTo>
                      <a:pt x="4229223" y="3679331"/>
                    </a:moveTo>
                    <a:cubicBezTo>
                      <a:pt x="4229223" y="3657877"/>
                      <a:pt x="4211719" y="3640619"/>
                      <a:pt x="4190511" y="3640619"/>
                    </a:cubicBezTo>
                    <a:cubicBezTo>
                      <a:pt x="4169058" y="3640619"/>
                      <a:pt x="4151799" y="3658127"/>
                      <a:pt x="4151799" y="3679331"/>
                    </a:cubicBezTo>
                    <a:cubicBezTo>
                      <a:pt x="4151799" y="3700783"/>
                      <a:pt x="4169307" y="3718043"/>
                      <a:pt x="4190511" y="3718043"/>
                    </a:cubicBezTo>
                    <a:cubicBezTo>
                      <a:pt x="4211964" y="3718043"/>
                      <a:pt x="4229223" y="3700783"/>
                      <a:pt x="4229223" y="3679331"/>
                    </a:cubicBezTo>
                    <a:close/>
                    <a:moveTo>
                      <a:pt x="4241058" y="3330927"/>
                    </a:moveTo>
                    <a:cubicBezTo>
                      <a:pt x="4241058" y="3310711"/>
                      <a:pt x="4224539" y="3294190"/>
                      <a:pt x="4204319" y="3294190"/>
                    </a:cubicBezTo>
                    <a:cubicBezTo>
                      <a:pt x="4184102" y="3294190"/>
                      <a:pt x="4167580" y="3310711"/>
                      <a:pt x="4167580" y="3330927"/>
                    </a:cubicBezTo>
                    <a:cubicBezTo>
                      <a:pt x="4167580" y="3351149"/>
                      <a:pt x="4184102" y="3367669"/>
                      <a:pt x="4204319" y="3367669"/>
                    </a:cubicBezTo>
                    <a:cubicBezTo>
                      <a:pt x="4224539" y="3367669"/>
                      <a:pt x="4241058" y="3351149"/>
                      <a:pt x="4241058" y="3330927"/>
                    </a:cubicBezTo>
                    <a:close/>
                    <a:moveTo>
                      <a:pt x="4245990" y="4092595"/>
                    </a:moveTo>
                    <a:cubicBezTo>
                      <a:pt x="4245990" y="4071633"/>
                      <a:pt x="4228977" y="4054620"/>
                      <a:pt x="4208019" y="4054620"/>
                    </a:cubicBezTo>
                    <a:cubicBezTo>
                      <a:pt x="4187058" y="4054620"/>
                      <a:pt x="4170044" y="4071633"/>
                      <a:pt x="4170044" y="4092595"/>
                    </a:cubicBezTo>
                    <a:cubicBezTo>
                      <a:pt x="4170044" y="4113553"/>
                      <a:pt x="4187058" y="4130566"/>
                      <a:pt x="4208019" y="4130566"/>
                    </a:cubicBezTo>
                    <a:cubicBezTo>
                      <a:pt x="4228977" y="4130566"/>
                      <a:pt x="4245990" y="4113553"/>
                      <a:pt x="4245990" y="4092595"/>
                    </a:cubicBezTo>
                    <a:close/>
                    <a:moveTo>
                      <a:pt x="4252157" y="2908063"/>
                    </a:moveTo>
                    <a:cubicBezTo>
                      <a:pt x="4252157" y="2903870"/>
                      <a:pt x="4248703" y="2900665"/>
                      <a:pt x="4244758" y="2900665"/>
                    </a:cubicBezTo>
                    <a:cubicBezTo>
                      <a:pt x="4240567" y="2900665"/>
                      <a:pt x="4237362" y="2904116"/>
                      <a:pt x="4237362" y="2908063"/>
                    </a:cubicBezTo>
                    <a:cubicBezTo>
                      <a:pt x="4237362" y="2912255"/>
                      <a:pt x="4240812" y="2915460"/>
                      <a:pt x="4244758" y="2915460"/>
                    </a:cubicBezTo>
                    <a:cubicBezTo>
                      <a:pt x="4248703" y="2915460"/>
                      <a:pt x="4252157" y="2912009"/>
                      <a:pt x="4252157" y="2908063"/>
                    </a:cubicBezTo>
                    <a:close/>
                    <a:moveTo>
                      <a:pt x="4252893" y="3564427"/>
                    </a:moveTo>
                    <a:cubicBezTo>
                      <a:pt x="4252893" y="3542975"/>
                      <a:pt x="4235386" y="3525467"/>
                      <a:pt x="4213936" y="3525467"/>
                    </a:cubicBezTo>
                    <a:cubicBezTo>
                      <a:pt x="4192483" y="3525467"/>
                      <a:pt x="4174976" y="3542975"/>
                      <a:pt x="4174976" y="3564427"/>
                    </a:cubicBezTo>
                    <a:cubicBezTo>
                      <a:pt x="4174976" y="3585879"/>
                      <a:pt x="4192483" y="3603386"/>
                      <a:pt x="4213936" y="3603386"/>
                    </a:cubicBezTo>
                    <a:cubicBezTo>
                      <a:pt x="4235386" y="3603386"/>
                      <a:pt x="4252648" y="3586124"/>
                      <a:pt x="4252893" y="3564427"/>
                    </a:cubicBezTo>
                    <a:close/>
                    <a:moveTo>
                      <a:pt x="4256839" y="3447313"/>
                    </a:moveTo>
                    <a:cubicBezTo>
                      <a:pt x="4256839" y="3426109"/>
                      <a:pt x="4239577" y="3408849"/>
                      <a:pt x="4218373" y="3408849"/>
                    </a:cubicBezTo>
                    <a:cubicBezTo>
                      <a:pt x="4197165" y="3408849"/>
                      <a:pt x="4179907" y="3426109"/>
                      <a:pt x="4179907" y="3447313"/>
                    </a:cubicBezTo>
                    <a:cubicBezTo>
                      <a:pt x="4179907" y="3468507"/>
                      <a:pt x="4197165" y="3485769"/>
                      <a:pt x="4218373" y="3485769"/>
                    </a:cubicBezTo>
                    <a:cubicBezTo>
                      <a:pt x="4239577" y="3485769"/>
                      <a:pt x="4256839" y="3468507"/>
                      <a:pt x="4256839" y="3447313"/>
                    </a:cubicBezTo>
                    <a:close/>
                    <a:moveTo>
                      <a:pt x="4265716" y="4232155"/>
                    </a:moveTo>
                    <a:cubicBezTo>
                      <a:pt x="4265716" y="4209716"/>
                      <a:pt x="4247468" y="4191716"/>
                      <a:pt x="4225278" y="4191716"/>
                    </a:cubicBezTo>
                    <a:cubicBezTo>
                      <a:pt x="4203087" y="4191716"/>
                      <a:pt x="4184839" y="4209965"/>
                      <a:pt x="4184839" y="4232155"/>
                    </a:cubicBezTo>
                    <a:cubicBezTo>
                      <a:pt x="4184839" y="4254594"/>
                      <a:pt x="4203087" y="4272594"/>
                      <a:pt x="4225278" y="4272594"/>
                    </a:cubicBezTo>
                    <a:cubicBezTo>
                      <a:pt x="4247717" y="4272594"/>
                      <a:pt x="4265716" y="4254594"/>
                      <a:pt x="4265716" y="4232155"/>
                    </a:cubicBezTo>
                    <a:close/>
                    <a:moveTo>
                      <a:pt x="4270402" y="1128191"/>
                    </a:moveTo>
                    <a:cubicBezTo>
                      <a:pt x="4270402" y="1106987"/>
                      <a:pt x="4253140" y="1089728"/>
                      <a:pt x="4231936" y="1089728"/>
                    </a:cubicBezTo>
                    <a:cubicBezTo>
                      <a:pt x="4210975" y="1089728"/>
                      <a:pt x="4193715" y="1106987"/>
                      <a:pt x="4193715" y="1128191"/>
                    </a:cubicBezTo>
                    <a:cubicBezTo>
                      <a:pt x="4193715" y="1149150"/>
                      <a:pt x="4210728" y="1166413"/>
                      <a:pt x="4231936" y="1166413"/>
                    </a:cubicBezTo>
                    <a:cubicBezTo>
                      <a:pt x="4252894" y="1166413"/>
                      <a:pt x="4270153" y="1149150"/>
                      <a:pt x="4270402" y="1128191"/>
                    </a:cubicBezTo>
                    <a:close/>
                    <a:moveTo>
                      <a:pt x="4271142" y="902115"/>
                    </a:moveTo>
                    <a:cubicBezTo>
                      <a:pt x="4271142" y="881156"/>
                      <a:pt x="4254129" y="864143"/>
                      <a:pt x="4233168" y="864143"/>
                    </a:cubicBezTo>
                    <a:cubicBezTo>
                      <a:pt x="4212209" y="864143"/>
                      <a:pt x="4195196" y="881156"/>
                      <a:pt x="4195196" y="902115"/>
                    </a:cubicBezTo>
                    <a:cubicBezTo>
                      <a:pt x="4195196" y="923077"/>
                      <a:pt x="4212209" y="940085"/>
                      <a:pt x="4233168" y="940085"/>
                    </a:cubicBezTo>
                    <a:cubicBezTo>
                      <a:pt x="4254129" y="940085"/>
                      <a:pt x="4271142" y="923077"/>
                      <a:pt x="4271142" y="902115"/>
                    </a:cubicBezTo>
                    <a:close/>
                    <a:moveTo>
                      <a:pt x="4272865" y="3844291"/>
                    </a:moveTo>
                    <a:cubicBezTo>
                      <a:pt x="4272865" y="3827524"/>
                      <a:pt x="4259552" y="3813962"/>
                      <a:pt x="4242785" y="3813962"/>
                    </a:cubicBezTo>
                    <a:cubicBezTo>
                      <a:pt x="4226019" y="3813962"/>
                      <a:pt x="4212455" y="3827524"/>
                      <a:pt x="4212455" y="3844291"/>
                    </a:cubicBezTo>
                    <a:cubicBezTo>
                      <a:pt x="4212455" y="3861059"/>
                      <a:pt x="4226019" y="3874618"/>
                      <a:pt x="4242785" y="3874618"/>
                    </a:cubicBezTo>
                    <a:cubicBezTo>
                      <a:pt x="4259307" y="3874618"/>
                      <a:pt x="4272865" y="3861059"/>
                      <a:pt x="4272865" y="3844291"/>
                    </a:cubicBezTo>
                    <a:close/>
                    <a:moveTo>
                      <a:pt x="4273855" y="1014786"/>
                    </a:moveTo>
                    <a:cubicBezTo>
                      <a:pt x="4273855" y="991851"/>
                      <a:pt x="4255112" y="973111"/>
                      <a:pt x="4232182" y="973111"/>
                    </a:cubicBezTo>
                    <a:cubicBezTo>
                      <a:pt x="4209251" y="973111"/>
                      <a:pt x="4190511" y="991851"/>
                      <a:pt x="4190511" y="1014786"/>
                    </a:cubicBezTo>
                    <a:cubicBezTo>
                      <a:pt x="4190511" y="1037708"/>
                      <a:pt x="4209251" y="1056441"/>
                      <a:pt x="4232182" y="1056441"/>
                    </a:cubicBezTo>
                    <a:cubicBezTo>
                      <a:pt x="4255112" y="1056441"/>
                      <a:pt x="4273855" y="1037708"/>
                      <a:pt x="4273855" y="1014786"/>
                    </a:cubicBezTo>
                    <a:close/>
                    <a:moveTo>
                      <a:pt x="4274346" y="564822"/>
                    </a:moveTo>
                    <a:cubicBezTo>
                      <a:pt x="4274346" y="542138"/>
                      <a:pt x="4255852" y="523645"/>
                      <a:pt x="4233168" y="523645"/>
                    </a:cubicBezTo>
                    <a:cubicBezTo>
                      <a:pt x="4210483" y="523645"/>
                      <a:pt x="4191989" y="542138"/>
                      <a:pt x="4191989" y="564822"/>
                    </a:cubicBezTo>
                    <a:cubicBezTo>
                      <a:pt x="4191989" y="587507"/>
                      <a:pt x="4210483" y="606000"/>
                      <a:pt x="4233168" y="606000"/>
                    </a:cubicBezTo>
                    <a:cubicBezTo>
                      <a:pt x="4255852" y="606000"/>
                      <a:pt x="4274346" y="587507"/>
                      <a:pt x="4274346" y="564822"/>
                    </a:cubicBezTo>
                    <a:close/>
                    <a:moveTo>
                      <a:pt x="4274841" y="3164249"/>
                    </a:moveTo>
                    <a:cubicBezTo>
                      <a:pt x="4274841" y="3159566"/>
                      <a:pt x="4271142" y="3155867"/>
                      <a:pt x="4266455" y="3155867"/>
                    </a:cubicBezTo>
                    <a:cubicBezTo>
                      <a:pt x="4262019" y="3155867"/>
                      <a:pt x="4258074" y="3159566"/>
                      <a:pt x="4258074" y="3164249"/>
                    </a:cubicBezTo>
                    <a:cubicBezTo>
                      <a:pt x="4258074" y="3168935"/>
                      <a:pt x="4261773" y="3172635"/>
                      <a:pt x="4266455" y="3172635"/>
                    </a:cubicBezTo>
                    <a:cubicBezTo>
                      <a:pt x="4271142" y="3172635"/>
                      <a:pt x="4275086" y="3168689"/>
                      <a:pt x="4274841" y="3164249"/>
                    </a:cubicBezTo>
                    <a:close/>
                    <a:moveTo>
                      <a:pt x="4275086" y="676783"/>
                    </a:moveTo>
                    <a:cubicBezTo>
                      <a:pt x="4275086" y="653610"/>
                      <a:pt x="4256347" y="634829"/>
                      <a:pt x="4233167" y="634829"/>
                    </a:cubicBezTo>
                    <a:cubicBezTo>
                      <a:pt x="4209991" y="634829"/>
                      <a:pt x="4191251" y="653610"/>
                      <a:pt x="4191251" y="676783"/>
                    </a:cubicBezTo>
                    <a:cubicBezTo>
                      <a:pt x="4191251" y="699964"/>
                      <a:pt x="4209991" y="718697"/>
                      <a:pt x="4233167" y="718697"/>
                    </a:cubicBezTo>
                    <a:cubicBezTo>
                      <a:pt x="4256101" y="718697"/>
                      <a:pt x="4275086" y="699964"/>
                      <a:pt x="4275086" y="676783"/>
                    </a:cubicBezTo>
                    <a:close/>
                    <a:moveTo>
                      <a:pt x="4276072" y="1356241"/>
                    </a:moveTo>
                    <a:cubicBezTo>
                      <a:pt x="4276072" y="1331338"/>
                      <a:pt x="4255855" y="1310873"/>
                      <a:pt x="4230704" y="1310873"/>
                    </a:cubicBezTo>
                    <a:cubicBezTo>
                      <a:pt x="4205799" y="1310873"/>
                      <a:pt x="4185333" y="1331091"/>
                      <a:pt x="4185333" y="1356241"/>
                    </a:cubicBezTo>
                    <a:cubicBezTo>
                      <a:pt x="4185333" y="1381143"/>
                      <a:pt x="4205552" y="1401611"/>
                      <a:pt x="4230704" y="1401611"/>
                    </a:cubicBezTo>
                    <a:cubicBezTo>
                      <a:pt x="4255855" y="1401611"/>
                      <a:pt x="4276320" y="1381393"/>
                      <a:pt x="4276072" y="1356241"/>
                    </a:cubicBezTo>
                    <a:close/>
                    <a:moveTo>
                      <a:pt x="4276320" y="1241849"/>
                    </a:moveTo>
                    <a:cubicBezTo>
                      <a:pt x="4276320" y="1216943"/>
                      <a:pt x="4256101" y="1196972"/>
                      <a:pt x="4231444" y="1196972"/>
                    </a:cubicBezTo>
                    <a:cubicBezTo>
                      <a:pt x="4206786" y="1196972"/>
                      <a:pt x="4186565" y="1217190"/>
                      <a:pt x="4186565" y="1241849"/>
                    </a:cubicBezTo>
                    <a:cubicBezTo>
                      <a:pt x="4186565" y="1266496"/>
                      <a:pt x="4206786" y="1286709"/>
                      <a:pt x="4231444" y="1286709"/>
                    </a:cubicBezTo>
                    <a:cubicBezTo>
                      <a:pt x="4256348" y="1286709"/>
                      <a:pt x="4276320" y="1266745"/>
                      <a:pt x="4276320" y="1241849"/>
                    </a:cubicBezTo>
                    <a:close/>
                    <a:moveTo>
                      <a:pt x="4276567" y="789449"/>
                    </a:moveTo>
                    <a:cubicBezTo>
                      <a:pt x="4276567" y="765783"/>
                      <a:pt x="4257087" y="746300"/>
                      <a:pt x="4233416" y="746300"/>
                    </a:cubicBezTo>
                    <a:cubicBezTo>
                      <a:pt x="4209745" y="746300"/>
                      <a:pt x="4190264" y="765533"/>
                      <a:pt x="4190264" y="789449"/>
                    </a:cubicBezTo>
                    <a:cubicBezTo>
                      <a:pt x="4190264" y="813122"/>
                      <a:pt x="4209497" y="832604"/>
                      <a:pt x="4233416" y="832604"/>
                    </a:cubicBezTo>
                    <a:cubicBezTo>
                      <a:pt x="4257087" y="832604"/>
                      <a:pt x="4276567" y="813122"/>
                      <a:pt x="4276567" y="789449"/>
                    </a:cubicBezTo>
                    <a:close/>
                    <a:moveTo>
                      <a:pt x="4278291" y="2208564"/>
                    </a:moveTo>
                    <a:cubicBezTo>
                      <a:pt x="4278291" y="2201905"/>
                      <a:pt x="4272865" y="2196234"/>
                      <a:pt x="4265964" y="2196234"/>
                    </a:cubicBezTo>
                    <a:cubicBezTo>
                      <a:pt x="4259305" y="2196234"/>
                      <a:pt x="4253633" y="2201659"/>
                      <a:pt x="4253633" y="2208564"/>
                    </a:cubicBezTo>
                    <a:cubicBezTo>
                      <a:pt x="4253633" y="2215219"/>
                      <a:pt x="4259060" y="2220892"/>
                      <a:pt x="4265964" y="2220892"/>
                    </a:cubicBezTo>
                    <a:cubicBezTo>
                      <a:pt x="4272865" y="2220892"/>
                      <a:pt x="4278291" y="2215219"/>
                      <a:pt x="4278291" y="2208564"/>
                    </a:cubicBezTo>
                    <a:close/>
                    <a:moveTo>
                      <a:pt x="4279768" y="2763819"/>
                    </a:moveTo>
                    <a:cubicBezTo>
                      <a:pt x="4279768" y="2755930"/>
                      <a:pt x="4273360" y="2749271"/>
                      <a:pt x="4265223" y="2749271"/>
                    </a:cubicBezTo>
                    <a:cubicBezTo>
                      <a:pt x="4257334" y="2749271"/>
                      <a:pt x="4250675" y="2755683"/>
                      <a:pt x="4250675" y="2763819"/>
                    </a:cubicBezTo>
                    <a:cubicBezTo>
                      <a:pt x="4250675" y="2771711"/>
                      <a:pt x="4257085" y="2778368"/>
                      <a:pt x="4265223" y="2778368"/>
                    </a:cubicBezTo>
                    <a:cubicBezTo>
                      <a:pt x="4273360" y="2778368"/>
                      <a:pt x="4279768" y="2771711"/>
                      <a:pt x="4279768" y="2763819"/>
                    </a:cubicBezTo>
                    <a:close/>
                    <a:moveTo>
                      <a:pt x="4281005" y="2084781"/>
                    </a:moveTo>
                    <a:cubicBezTo>
                      <a:pt x="4281005" y="2078617"/>
                      <a:pt x="4275827" y="2073439"/>
                      <a:pt x="4269664" y="2073439"/>
                    </a:cubicBezTo>
                    <a:cubicBezTo>
                      <a:pt x="4263498" y="2073439"/>
                      <a:pt x="4258320" y="2078617"/>
                      <a:pt x="4258320" y="2084781"/>
                    </a:cubicBezTo>
                    <a:cubicBezTo>
                      <a:pt x="4258320" y="2090948"/>
                      <a:pt x="4263498" y="2096125"/>
                      <a:pt x="4269664" y="2096125"/>
                    </a:cubicBezTo>
                    <a:cubicBezTo>
                      <a:pt x="4275827" y="2096125"/>
                      <a:pt x="4281005" y="2091195"/>
                      <a:pt x="4281005" y="2084781"/>
                    </a:cubicBezTo>
                    <a:close/>
                    <a:moveTo>
                      <a:pt x="4282975" y="1842955"/>
                    </a:moveTo>
                    <a:cubicBezTo>
                      <a:pt x="4282975" y="1838269"/>
                      <a:pt x="4279030" y="1834321"/>
                      <a:pt x="4274346" y="1834321"/>
                    </a:cubicBezTo>
                    <a:cubicBezTo>
                      <a:pt x="4269660" y="1834321"/>
                      <a:pt x="4265715" y="1838269"/>
                      <a:pt x="4265715" y="1842955"/>
                    </a:cubicBezTo>
                    <a:cubicBezTo>
                      <a:pt x="4265715" y="1847637"/>
                      <a:pt x="4269660" y="1851579"/>
                      <a:pt x="4274346" y="1851579"/>
                    </a:cubicBezTo>
                    <a:cubicBezTo>
                      <a:pt x="4279030" y="1851579"/>
                      <a:pt x="4282975" y="1847885"/>
                      <a:pt x="4282975" y="1842955"/>
                    </a:cubicBezTo>
                    <a:close/>
                    <a:moveTo>
                      <a:pt x="4286182" y="4497470"/>
                    </a:moveTo>
                    <a:cubicBezTo>
                      <a:pt x="4286182" y="4476262"/>
                      <a:pt x="4268921" y="4459004"/>
                      <a:pt x="4247717" y="4459004"/>
                    </a:cubicBezTo>
                    <a:cubicBezTo>
                      <a:pt x="4226509" y="4459004"/>
                      <a:pt x="4209251" y="4476262"/>
                      <a:pt x="4209251" y="4497470"/>
                    </a:cubicBezTo>
                    <a:cubicBezTo>
                      <a:pt x="4209251" y="4518674"/>
                      <a:pt x="4226509" y="4535936"/>
                      <a:pt x="4247717" y="4535936"/>
                    </a:cubicBezTo>
                    <a:cubicBezTo>
                      <a:pt x="4269169" y="4535936"/>
                      <a:pt x="4286428" y="4518674"/>
                      <a:pt x="4286182" y="4497470"/>
                    </a:cubicBezTo>
                    <a:close/>
                    <a:moveTo>
                      <a:pt x="4286182" y="5345196"/>
                    </a:moveTo>
                    <a:cubicBezTo>
                      <a:pt x="4286182" y="5345196"/>
                      <a:pt x="4286182" y="5344950"/>
                      <a:pt x="4285934" y="5344950"/>
                    </a:cubicBezTo>
                    <a:cubicBezTo>
                      <a:pt x="4285934" y="5344950"/>
                      <a:pt x="4285687" y="5344950"/>
                      <a:pt x="4285687" y="5345196"/>
                    </a:cubicBezTo>
                    <a:cubicBezTo>
                      <a:pt x="4285687" y="5345196"/>
                      <a:pt x="4285687" y="5345445"/>
                      <a:pt x="4285934" y="5345445"/>
                    </a:cubicBezTo>
                    <a:cubicBezTo>
                      <a:pt x="4285934" y="5345445"/>
                      <a:pt x="4286182" y="5345196"/>
                      <a:pt x="4286182" y="5345196"/>
                    </a:cubicBezTo>
                    <a:close/>
                    <a:moveTo>
                      <a:pt x="4286185" y="4624703"/>
                    </a:moveTo>
                    <a:cubicBezTo>
                      <a:pt x="4286185" y="4607690"/>
                      <a:pt x="4272377" y="4593882"/>
                      <a:pt x="4255362" y="4593882"/>
                    </a:cubicBezTo>
                    <a:cubicBezTo>
                      <a:pt x="4238348" y="4593882"/>
                      <a:pt x="4224539" y="4607690"/>
                      <a:pt x="4224539" y="4624703"/>
                    </a:cubicBezTo>
                    <a:cubicBezTo>
                      <a:pt x="4224539" y="4641717"/>
                      <a:pt x="4238348" y="4655527"/>
                      <a:pt x="4255362" y="4655527"/>
                    </a:cubicBezTo>
                    <a:cubicBezTo>
                      <a:pt x="4272377" y="4655527"/>
                      <a:pt x="4286432" y="4641717"/>
                      <a:pt x="4286185" y="4624703"/>
                    </a:cubicBezTo>
                    <a:close/>
                    <a:moveTo>
                      <a:pt x="4286427" y="2625497"/>
                    </a:moveTo>
                    <a:cubicBezTo>
                      <a:pt x="4286427" y="2622043"/>
                      <a:pt x="4283714" y="2619085"/>
                      <a:pt x="4280018" y="2619085"/>
                    </a:cubicBezTo>
                    <a:cubicBezTo>
                      <a:pt x="4276564" y="2619085"/>
                      <a:pt x="4273605" y="2621798"/>
                      <a:pt x="4273605" y="2625497"/>
                    </a:cubicBezTo>
                    <a:cubicBezTo>
                      <a:pt x="4273605" y="2628949"/>
                      <a:pt x="4276564" y="2631907"/>
                      <a:pt x="4280018" y="2631907"/>
                    </a:cubicBezTo>
                    <a:cubicBezTo>
                      <a:pt x="4283714" y="2631907"/>
                      <a:pt x="4286427" y="2628949"/>
                      <a:pt x="4286427" y="2625497"/>
                    </a:cubicBezTo>
                    <a:close/>
                    <a:moveTo>
                      <a:pt x="4287906" y="5461826"/>
                    </a:moveTo>
                    <a:cubicBezTo>
                      <a:pt x="4287906" y="5461579"/>
                      <a:pt x="4287906" y="5461579"/>
                      <a:pt x="4287660" y="5461579"/>
                    </a:cubicBezTo>
                    <a:cubicBezTo>
                      <a:pt x="4287660" y="5461579"/>
                      <a:pt x="4287414" y="5461579"/>
                      <a:pt x="4287414" y="5461826"/>
                    </a:cubicBezTo>
                    <a:cubicBezTo>
                      <a:pt x="4287414" y="5462075"/>
                      <a:pt x="4287414" y="5462075"/>
                      <a:pt x="4287660" y="5462075"/>
                    </a:cubicBezTo>
                    <a:cubicBezTo>
                      <a:pt x="4287906" y="5462075"/>
                      <a:pt x="4288155" y="5461826"/>
                      <a:pt x="4287906" y="5461826"/>
                    </a:cubicBezTo>
                    <a:close/>
                    <a:moveTo>
                      <a:pt x="4287908" y="4366783"/>
                    </a:moveTo>
                    <a:cubicBezTo>
                      <a:pt x="4287908" y="4339413"/>
                      <a:pt x="4265468" y="4317222"/>
                      <a:pt x="4238099" y="4317222"/>
                    </a:cubicBezTo>
                    <a:cubicBezTo>
                      <a:pt x="4210731" y="4317222"/>
                      <a:pt x="4188538" y="4339413"/>
                      <a:pt x="4188538" y="4366783"/>
                    </a:cubicBezTo>
                    <a:cubicBezTo>
                      <a:pt x="4188538" y="4394400"/>
                      <a:pt x="4210731" y="4416593"/>
                      <a:pt x="4238099" y="4416593"/>
                    </a:cubicBezTo>
                    <a:cubicBezTo>
                      <a:pt x="4265468" y="4416593"/>
                      <a:pt x="4287662" y="4394153"/>
                      <a:pt x="4287908" y="4366783"/>
                    </a:cubicBezTo>
                    <a:close/>
                    <a:moveTo>
                      <a:pt x="4288402" y="1962988"/>
                    </a:moveTo>
                    <a:cubicBezTo>
                      <a:pt x="4288402" y="1954114"/>
                      <a:pt x="4281250" y="1946966"/>
                      <a:pt x="4272373" y="1946966"/>
                    </a:cubicBezTo>
                    <a:cubicBezTo>
                      <a:pt x="4263497" y="1946966"/>
                      <a:pt x="4256347" y="1954114"/>
                      <a:pt x="4256347" y="1962988"/>
                    </a:cubicBezTo>
                    <a:cubicBezTo>
                      <a:pt x="4256347" y="1971862"/>
                      <a:pt x="4263497" y="1979011"/>
                      <a:pt x="4272373" y="1979011"/>
                    </a:cubicBezTo>
                    <a:cubicBezTo>
                      <a:pt x="4281005" y="1979011"/>
                      <a:pt x="4288154" y="1971862"/>
                      <a:pt x="4288402" y="1962988"/>
                    </a:cubicBezTo>
                    <a:close/>
                    <a:moveTo>
                      <a:pt x="4293087" y="5108732"/>
                    </a:moveTo>
                    <a:cubicBezTo>
                      <a:pt x="4293087" y="5102319"/>
                      <a:pt x="4287660" y="5097142"/>
                      <a:pt x="4281250" y="5097142"/>
                    </a:cubicBezTo>
                    <a:cubicBezTo>
                      <a:pt x="4274839" y="5097142"/>
                      <a:pt x="4269660" y="5102319"/>
                      <a:pt x="4269660" y="5108732"/>
                    </a:cubicBezTo>
                    <a:cubicBezTo>
                      <a:pt x="4269660" y="5115390"/>
                      <a:pt x="4274839" y="5120568"/>
                      <a:pt x="4281250" y="5120568"/>
                    </a:cubicBezTo>
                    <a:cubicBezTo>
                      <a:pt x="4287660" y="5120568"/>
                      <a:pt x="4292841" y="5115390"/>
                      <a:pt x="4293087" y="5108732"/>
                    </a:cubicBezTo>
                    <a:close/>
                    <a:moveTo>
                      <a:pt x="4297280" y="2491367"/>
                    </a:moveTo>
                    <a:cubicBezTo>
                      <a:pt x="4297280" y="2487916"/>
                      <a:pt x="4294567" y="2485204"/>
                      <a:pt x="4291113" y="2485204"/>
                    </a:cubicBezTo>
                    <a:cubicBezTo>
                      <a:pt x="4287662" y="2485204"/>
                      <a:pt x="4284950" y="2488162"/>
                      <a:pt x="4284950" y="2491367"/>
                    </a:cubicBezTo>
                    <a:cubicBezTo>
                      <a:pt x="4284950" y="2494821"/>
                      <a:pt x="4287662" y="2497533"/>
                      <a:pt x="4291113" y="2497533"/>
                    </a:cubicBezTo>
                    <a:cubicBezTo>
                      <a:pt x="4294567" y="2497533"/>
                      <a:pt x="4297280" y="2494821"/>
                      <a:pt x="4297280" y="2491367"/>
                    </a:cubicBezTo>
                    <a:close/>
                    <a:moveTo>
                      <a:pt x="4298018" y="5920456"/>
                    </a:moveTo>
                    <a:cubicBezTo>
                      <a:pt x="4298018" y="5919224"/>
                      <a:pt x="4297032" y="5918238"/>
                      <a:pt x="4295799" y="5918238"/>
                    </a:cubicBezTo>
                    <a:cubicBezTo>
                      <a:pt x="4294567" y="5918238"/>
                      <a:pt x="4293580" y="5919224"/>
                      <a:pt x="4293580" y="5920456"/>
                    </a:cubicBezTo>
                    <a:cubicBezTo>
                      <a:pt x="4293580" y="5921691"/>
                      <a:pt x="4294567" y="5922674"/>
                      <a:pt x="4295799" y="5922674"/>
                    </a:cubicBezTo>
                    <a:cubicBezTo>
                      <a:pt x="4297032" y="5922674"/>
                      <a:pt x="4298267" y="5921691"/>
                      <a:pt x="4298018" y="5920456"/>
                    </a:cubicBezTo>
                    <a:close/>
                    <a:moveTo>
                      <a:pt x="4298264" y="6034622"/>
                    </a:moveTo>
                    <a:cubicBezTo>
                      <a:pt x="4298264" y="6032896"/>
                      <a:pt x="4296785" y="6031417"/>
                      <a:pt x="4295059" y="6031417"/>
                    </a:cubicBezTo>
                    <a:cubicBezTo>
                      <a:pt x="4293333" y="6031417"/>
                      <a:pt x="4291854" y="6032896"/>
                      <a:pt x="4291854" y="6034622"/>
                    </a:cubicBezTo>
                    <a:cubicBezTo>
                      <a:pt x="4291854" y="6036349"/>
                      <a:pt x="4293333" y="6037830"/>
                      <a:pt x="4295059" y="6037830"/>
                    </a:cubicBezTo>
                    <a:cubicBezTo>
                      <a:pt x="4296785" y="6037830"/>
                      <a:pt x="4298264" y="6036349"/>
                      <a:pt x="4298264" y="6034622"/>
                    </a:cubicBezTo>
                    <a:close/>
                    <a:moveTo>
                      <a:pt x="4298264" y="6260979"/>
                    </a:moveTo>
                    <a:cubicBezTo>
                      <a:pt x="4298264" y="6259993"/>
                      <a:pt x="4297277" y="6259006"/>
                      <a:pt x="4296292" y="6259006"/>
                    </a:cubicBezTo>
                    <a:cubicBezTo>
                      <a:pt x="4295305" y="6259006"/>
                      <a:pt x="4294318" y="6259747"/>
                      <a:pt x="4294318" y="6260979"/>
                    </a:cubicBezTo>
                    <a:cubicBezTo>
                      <a:pt x="4294318" y="6261965"/>
                      <a:pt x="4295305" y="6262952"/>
                      <a:pt x="4296292" y="6262952"/>
                    </a:cubicBezTo>
                    <a:cubicBezTo>
                      <a:pt x="4297523" y="6262952"/>
                      <a:pt x="4298264" y="6261965"/>
                      <a:pt x="4298264" y="6260979"/>
                    </a:cubicBezTo>
                    <a:close/>
                    <a:moveTo>
                      <a:pt x="4298755" y="6148047"/>
                    </a:moveTo>
                    <a:cubicBezTo>
                      <a:pt x="4298755" y="6146320"/>
                      <a:pt x="4297277" y="6144841"/>
                      <a:pt x="4295551" y="6144841"/>
                    </a:cubicBezTo>
                    <a:cubicBezTo>
                      <a:pt x="4293824" y="6144841"/>
                      <a:pt x="4292345" y="6146320"/>
                      <a:pt x="4292345" y="6148047"/>
                    </a:cubicBezTo>
                    <a:cubicBezTo>
                      <a:pt x="4292345" y="6149773"/>
                      <a:pt x="4293824" y="6151254"/>
                      <a:pt x="4295551" y="6151254"/>
                    </a:cubicBezTo>
                    <a:cubicBezTo>
                      <a:pt x="4297277" y="6151254"/>
                      <a:pt x="4298755" y="6149773"/>
                      <a:pt x="4298755" y="6148047"/>
                    </a:cubicBezTo>
                    <a:close/>
                    <a:moveTo>
                      <a:pt x="4299004" y="5690894"/>
                    </a:moveTo>
                    <a:cubicBezTo>
                      <a:pt x="4299004" y="5689167"/>
                      <a:pt x="4297524" y="5687688"/>
                      <a:pt x="4295797" y="5687688"/>
                    </a:cubicBezTo>
                    <a:cubicBezTo>
                      <a:pt x="4294070" y="5687688"/>
                      <a:pt x="4292592" y="5689167"/>
                      <a:pt x="4292592" y="5690894"/>
                    </a:cubicBezTo>
                    <a:cubicBezTo>
                      <a:pt x="4292592" y="5692621"/>
                      <a:pt x="4294070" y="5694102"/>
                      <a:pt x="4295797" y="5694102"/>
                    </a:cubicBezTo>
                    <a:cubicBezTo>
                      <a:pt x="4297770" y="5694102"/>
                      <a:pt x="4299250" y="5692621"/>
                      <a:pt x="4299004" y="5690894"/>
                    </a:cubicBezTo>
                    <a:close/>
                    <a:moveTo>
                      <a:pt x="4299004" y="6373415"/>
                    </a:moveTo>
                    <a:cubicBezTo>
                      <a:pt x="4299004" y="6371937"/>
                      <a:pt x="4298018" y="6370950"/>
                      <a:pt x="4296540" y="6370950"/>
                    </a:cubicBezTo>
                    <a:cubicBezTo>
                      <a:pt x="4295059" y="6370950"/>
                      <a:pt x="4294072" y="6372183"/>
                      <a:pt x="4294072" y="6373415"/>
                    </a:cubicBezTo>
                    <a:cubicBezTo>
                      <a:pt x="4294072" y="6374650"/>
                      <a:pt x="4295305" y="6375882"/>
                      <a:pt x="4296540" y="6375882"/>
                    </a:cubicBezTo>
                    <a:cubicBezTo>
                      <a:pt x="4298018" y="6375882"/>
                      <a:pt x="4299004" y="6374895"/>
                      <a:pt x="4299004" y="6373415"/>
                    </a:cubicBezTo>
                    <a:close/>
                    <a:moveTo>
                      <a:pt x="4299253" y="5227331"/>
                    </a:moveTo>
                    <a:cubicBezTo>
                      <a:pt x="4299253" y="5218949"/>
                      <a:pt x="4292593" y="5212290"/>
                      <a:pt x="4284210" y="5212290"/>
                    </a:cubicBezTo>
                    <a:cubicBezTo>
                      <a:pt x="4275827" y="5212290"/>
                      <a:pt x="4269169" y="5218949"/>
                      <a:pt x="4269169" y="5227331"/>
                    </a:cubicBezTo>
                    <a:cubicBezTo>
                      <a:pt x="4269169" y="5235716"/>
                      <a:pt x="4275827" y="5242374"/>
                      <a:pt x="4284210" y="5242374"/>
                    </a:cubicBezTo>
                    <a:cubicBezTo>
                      <a:pt x="4292593" y="5242374"/>
                      <a:pt x="4299253" y="5235716"/>
                      <a:pt x="4299253" y="5227331"/>
                    </a:cubicBezTo>
                    <a:close/>
                    <a:moveTo>
                      <a:pt x="4299495" y="5575499"/>
                    </a:moveTo>
                    <a:cubicBezTo>
                      <a:pt x="4299495" y="5573032"/>
                      <a:pt x="4297523" y="5571059"/>
                      <a:pt x="4295058" y="5571059"/>
                    </a:cubicBezTo>
                    <a:cubicBezTo>
                      <a:pt x="4292346" y="5571059"/>
                      <a:pt x="4290373" y="5573032"/>
                      <a:pt x="4290373" y="5575499"/>
                    </a:cubicBezTo>
                    <a:cubicBezTo>
                      <a:pt x="4290373" y="5577963"/>
                      <a:pt x="4292592" y="5579935"/>
                      <a:pt x="4295058" y="5579935"/>
                    </a:cubicBezTo>
                    <a:cubicBezTo>
                      <a:pt x="4297523" y="5579935"/>
                      <a:pt x="4299495" y="5577963"/>
                      <a:pt x="4299495" y="5575499"/>
                    </a:cubicBezTo>
                    <a:close/>
                    <a:moveTo>
                      <a:pt x="4301964" y="2361179"/>
                    </a:moveTo>
                    <a:cubicBezTo>
                      <a:pt x="4301964" y="2359949"/>
                      <a:pt x="4300977" y="2358719"/>
                      <a:pt x="4299497" y="2358719"/>
                    </a:cubicBezTo>
                    <a:cubicBezTo>
                      <a:pt x="4298018" y="2358719"/>
                      <a:pt x="4297032" y="2359702"/>
                      <a:pt x="4297032" y="2361179"/>
                    </a:cubicBezTo>
                    <a:cubicBezTo>
                      <a:pt x="4297032" y="2362412"/>
                      <a:pt x="4298018" y="2363651"/>
                      <a:pt x="4299497" y="2363651"/>
                    </a:cubicBezTo>
                    <a:cubicBezTo>
                      <a:pt x="4300731" y="2363651"/>
                      <a:pt x="4301964" y="2362412"/>
                      <a:pt x="4301964" y="2361179"/>
                    </a:cubicBezTo>
                    <a:close/>
                    <a:moveTo>
                      <a:pt x="4302950" y="6708759"/>
                    </a:moveTo>
                    <a:cubicBezTo>
                      <a:pt x="4302950" y="6708021"/>
                      <a:pt x="4302209" y="6707280"/>
                      <a:pt x="4301469" y="6707280"/>
                    </a:cubicBezTo>
                    <a:cubicBezTo>
                      <a:pt x="4300731" y="6707280"/>
                      <a:pt x="4299990" y="6708021"/>
                      <a:pt x="4299990" y="6708759"/>
                    </a:cubicBezTo>
                    <a:cubicBezTo>
                      <a:pt x="4299990" y="6709499"/>
                      <a:pt x="4300731" y="6710240"/>
                      <a:pt x="4301469" y="6710240"/>
                    </a:cubicBezTo>
                    <a:cubicBezTo>
                      <a:pt x="4302209" y="6710240"/>
                      <a:pt x="4302950" y="6709499"/>
                      <a:pt x="4302950" y="6708759"/>
                    </a:cubicBezTo>
                    <a:close/>
                    <a:moveTo>
                      <a:pt x="4303936" y="5806045"/>
                    </a:moveTo>
                    <a:cubicBezTo>
                      <a:pt x="4303936" y="5801362"/>
                      <a:pt x="4300237" y="5797662"/>
                      <a:pt x="4295554" y="5797662"/>
                    </a:cubicBezTo>
                    <a:cubicBezTo>
                      <a:pt x="4290868" y="5797662"/>
                      <a:pt x="4287168" y="5801362"/>
                      <a:pt x="4287168" y="5806045"/>
                    </a:cubicBezTo>
                    <a:cubicBezTo>
                      <a:pt x="4287168" y="5810730"/>
                      <a:pt x="4290868" y="5814430"/>
                      <a:pt x="4295554" y="5814430"/>
                    </a:cubicBezTo>
                    <a:cubicBezTo>
                      <a:pt x="4300237" y="5814430"/>
                      <a:pt x="4303936" y="5810730"/>
                      <a:pt x="4303936" y="5806045"/>
                    </a:cubicBezTo>
                    <a:close/>
                    <a:moveTo>
                      <a:pt x="4303936" y="6484376"/>
                    </a:moveTo>
                    <a:cubicBezTo>
                      <a:pt x="4303936" y="6483144"/>
                      <a:pt x="4302949" y="6482403"/>
                      <a:pt x="4301964" y="6482403"/>
                    </a:cubicBezTo>
                    <a:cubicBezTo>
                      <a:pt x="4300977" y="6482403"/>
                      <a:pt x="4299990" y="6483390"/>
                      <a:pt x="4299990" y="6484376"/>
                    </a:cubicBezTo>
                    <a:cubicBezTo>
                      <a:pt x="4299990" y="6485362"/>
                      <a:pt x="4300977" y="6486349"/>
                      <a:pt x="4301964" y="6486349"/>
                    </a:cubicBezTo>
                    <a:cubicBezTo>
                      <a:pt x="4303196" y="6486349"/>
                      <a:pt x="4303936" y="6485609"/>
                      <a:pt x="4303936" y="6484376"/>
                    </a:cubicBezTo>
                    <a:close/>
                    <a:moveTo>
                      <a:pt x="4303936" y="6596568"/>
                    </a:moveTo>
                    <a:cubicBezTo>
                      <a:pt x="4303936" y="6595582"/>
                      <a:pt x="4302949" y="6594595"/>
                      <a:pt x="4301964" y="6594595"/>
                    </a:cubicBezTo>
                    <a:cubicBezTo>
                      <a:pt x="4300731" y="6594595"/>
                      <a:pt x="4299990" y="6595582"/>
                      <a:pt x="4299990" y="6596568"/>
                    </a:cubicBezTo>
                    <a:cubicBezTo>
                      <a:pt x="4299990" y="6597801"/>
                      <a:pt x="4300977" y="6598541"/>
                      <a:pt x="4301964" y="6598541"/>
                    </a:cubicBezTo>
                    <a:cubicBezTo>
                      <a:pt x="4303196" y="6598541"/>
                      <a:pt x="4303936" y="6597801"/>
                      <a:pt x="4303936" y="6596568"/>
                    </a:cubicBezTo>
                    <a:close/>
                    <a:moveTo>
                      <a:pt x="4303936" y="6820214"/>
                    </a:moveTo>
                    <a:cubicBezTo>
                      <a:pt x="4303936" y="6819227"/>
                      <a:pt x="4303198" y="6818486"/>
                      <a:pt x="4302212" y="6818486"/>
                    </a:cubicBezTo>
                    <a:cubicBezTo>
                      <a:pt x="4301226" y="6818486"/>
                      <a:pt x="4300485" y="6819227"/>
                      <a:pt x="4300485" y="6820214"/>
                    </a:cubicBezTo>
                    <a:cubicBezTo>
                      <a:pt x="4300485" y="6821200"/>
                      <a:pt x="4301226" y="6821938"/>
                      <a:pt x="4302212" y="6821938"/>
                    </a:cubicBezTo>
                    <a:cubicBezTo>
                      <a:pt x="4303198" y="6821938"/>
                      <a:pt x="4303936" y="6821200"/>
                      <a:pt x="4303936" y="6820214"/>
                    </a:cubicBezTo>
                    <a:close/>
                    <a:moveTo>
                      <a:pt x="4305662" y="6931914"/>
                    </a:moveTo>
                    <a:cubicBezTo>
                      <a:pt x="4305662" y="6929938"/>
                      <a:pt x="4304185" y="6928460"/>
                      <a:pt x="4302209" y="6928460"/>
                    </a:cubicBezTo>
                    <a:cubicBezTo>
                      <a:pt x="4300236" y="6928460"/>
                      <a:pt x="4298758" y="6929938"/>
                      <a:pt x="4298758" y="6931914"/>
                    </a:cubicBezTo>
                    <a:cubicBezTo>
                      <a:pt x="4298758" y="6933887"/>
                      <a:pt x="4300236" y="6935365"/>
                      <a:pt x="4302209" y="6935365"/>
                    </a:cubicBezTo>
                    <a:cubicBezTo>
                      <a:pt x="4304185" y="6935365"/>
                      <a:pt x="4305662" y="6933887"/>
                      <a:pt x="4305662" y="6931914"/>
                    </a:cubicBezTo>
                    <a:close/>
                    <a:moveTo>
                      <a:pt x="4306895" y="7043118"/>
                    </a:moveTo>
                    <a:cubicBezTo>
                      <a:pt x="4306895" y="7040900"/>
                      <a:pt x="4304922" y="7038927"/>
                      <a:pt x="4302455" y="7038927"/>
                    </a:cubicBezTo>
                    <a:cubicBezTo>
                      <a:pt x="4300237" y="7038927"/>
                      <a:pt x="4298264" y="7040653"/>
                      <a:pt x="4298264" y="7043118"/>
                    </a:cubicBezTo>
                    <a:cubicBezTo>
                      <a:pt x="4298264" y="7045337"/>
                      <a:pt x="4299990" y="7047309"/>
                      <a:pt x="4302455" y="7047309"/>
                    </a:cubicBezTo>
                    <a:cubicBezTo>
                      <a:pt x="4304922" y="7047309"/>
                      <a:pt x="4306895" y="7045337"/>
                      <a:pt x="4306895" y="7043118"/>
                    </a:cubicBezTo>
                    <a:close/>
                    <a:moveTo>
                      <a:pt x="4307883" y="4867579"/>
                    </a:moveTo>
                    <a:cubicBezTo>
                      <a:pt x="4307883" y="4848840"/>
                      <a:pt x="4292593" y="4833799"/>
                      <a:pt x="4274101" y="4833799"/>
                    </a:cubicBezTo>
                    <a:cubicBezTo>
                      <a:pt x="4255362" y="4833799"/>
                      <a:pt x="4240320" y="4849085"/>
                      <a:pt x="4240320" y="4867579"/>
                    </a:cubicBezTo>
                    <a:cubicBezTo>
                      <a:pt x="4240320" y="4886319"/>
                      <a:pt x="4255607" y="4901359"/>
                      <a:pt x="4274101" y="4901359"/>
                    </a:cubicBezTo>
                    <a:cubicBezTo>
                      <a:pt x="4292841" y="4901359"/>
                      <a:pt x="4307883" y="4886319"/>
                      <a:pt x="4307883" y="4867579"/>
                    </a:cubicBezTo>
                    <a:close/>
                    <a:moveTo>
                      <a:pt x="4308373" y="7154078"/>
                    </a:moveTo>
                    <a:cubicBezTo>
                      <a:pt x="4308373" y="7151120"/>
                      <a:pt x="4305908" y="7148652"/>
                      <a:pt x="4302949" y="7148652"/>
                    </a:cubicBezTo>
                    <a:cubicBezTo>
                      <a:pt x="4299990" y="7148652"/>
                      <a:pt x="4297523" y="7151120"/>
                      <a:pt x="4297523" y="7154078"/>
                    </a:cubicBezTo>
                    <a:cubicBezTo>
                      <a:pt x="4297523" y="7157035"/>
                      <a:pt x="4299990" y="7159502"/>
                      <a:pt x="4302949" y="7159502"/>
                    </a:cubicBezTo>
                    <a:cubicBezTo>
                      <a:pt x="4305908" y="7159502"/>
                      <a:pt x="4308373" y="7157035"/>
                      <a:pt x="4308373" y="7154078"/>
                    </a:cubicBezTo>
                    <a:close/>
                    <a:moveTo>
                      <a:pt x="4310348" y="3736290"/>
                    </a:moveTo>
                    <a:cubicBezTo>
                      <a:pt x="4310348" y="3723222"/>
                      <a:pt x="4299745" y="3712373"/>
                      <a:pt x="4286428" y="3712373"/>
                    </a:cubicBezTo>
                    <a:cubicBezTo>
                      <a:pt x="4273361" y="3712373"/>
                      <a:pt x="4262511" y="3722975"/>
                      <a:pt x="4262511" y="3736290"/>
                    </a:cubicBezTo>
                    <a:cubicBezTo>
                      <a:pt x="4262511" y="3749606"/>
                      <a:pt x="4273114" y="3760207"/>
                      <a:pt x="4286428" y="3760207"/>
                    </a:cubicBezTo>
                    <a:cubicBezTo>
                      <a:pt x="4299745" y="3760207"/>
                      <a:pt x="4310593" y="3749606"/>
                      <a:pt x="4310348" y="3736290"/>
                    </a:cubicBezTo>
                    <a:close/>
                    <a:moveTo>
                      <a:pt x="4310593" y="7375253"/>
                    </a:moveTo>
                    <a:cubicBezTo>
                      <a:pt x="4310593" y="7373035"/>
                      <a:pt x="4308867" y="7371308"/>
                      <a:pt x="4306648" y="7371308"/>
                    </a:cubicBezTo>
                    <a:cubicBezTo>
                      <a:pt x="4304430" y="7371308"/>
                      <a:pt x="4302703" y="7373035"/>
                      <a:pt x="4302703" y="7375253"/>
                    </a:cubicBezTo>
                    <a:cubicBezTo>
                      <a:pt x="4302703" y="7377471"/>
                      <a:pt x="4304430" y="7379198"/>
                      <a:pt x="4306648" y="7379198"/>
                    </a:cubicBezTo>
                    <a:cubicBezTo>
                      <a:pt x="4309113" y="7379198"/>
                      <a:pt x="4310839" y="7377471"/>
                      <a:pt x="4310593" y="7375253"/>
                    </a:cubicBezTo>
                    <a:close/>
                    <a:moveTo>
                      <a:pt x="4310594" y="3004966"/>
                    </a:moveTo>
                    <a:cubicBezTo>
                      <a:pt x="4310594" y="3004227"/>
                      <a:pt x="4309853" y="3003487"/>
                      <a:pt x="4309114" y="3003487"/>
                    </a:cubicBezTo>
                    <a:cubicBezTo>
                      <a:pt x="4308375" y="3003487"/>
                      <a:pt x="4307635" y="3004227"/>
                      <a:pt x="4307635" y="3004966"/>
                    </a:cubicBezTo>
                    <a:cubicBezTo>
                      <a:pt x="4307635" y="3005706"/>
                      <a:pt x="4308375" y="3006445"/>
                      <a:pt x="4309114" y="3006445"/>
                    </a:cubicBezTo>
                    <a:cubicBezTo>
                      <a:pt x="4309853" y="3006445"/>
                      <a:pt x="4310594" y="3005706"/>
                      <a:pt x="4310594" y="3004966"/>
                    </a:cubicBezTo>
                    <a:close/>
                    <a:moveTo>
                      <a:pt x="4311826" y="7485720"/>
                    </a:moveTo>
                    <a:cubicBezTo>
                      <a:pt x="4311826" y="7483007"/>
                      <a:pt x="4309607" y="7480788"/>
                      <a:pt x="4306895" y="7480788"/>
                    </a:cubicBezTo>
                    <a:cubicBezTo>
                      <a:pt x="4304182" y="7480788"/>
                      <a:pt x="4301963" y="7483007"/>
                      <a:pt x="4301963" y="7485720"/>
                    </a:cubicBezTo>
                    <a:cubicBezTo>
                      <a:pt x="4301963" y="7488432"/>
                      <a:pt x="4304182" y="7490651"/>
                      <a:pt x="4306895" y="7490651"/>
                    </a:cubicBezTo>
                    <a:cubicBezTo>
                      <a:pt x="4309607" y="7490651"/>
                      <a:pt x="4311826" y="7488432"/>
                      <a:pt x="4311826" y="7485720"/>
                    </a:cubicBezTo>
                    <a:close/>
                    <a:moveTo>
                      <a:pt x="4312072" y="3275207"/>
                    </a:moveTo>
                    <a:cubicBezTo>
                      <a:pt x="4312072" y="3270029"/>
                      <a:pt x="4307880" y="3265839"/>
                      <a:pt x="4302704" y="3265839"/>
                    </a:cubicBezTo>
                    <a:cubicBezTo>
                      <a:pt x="4297523" y="3265839"/>
                      <a:pt x="4293332" y="3270029"/>
                      <a:pt x="4293332" y="3275207"/>
                    </a:cubicBezTo>
                    <a:cubicBezTo>
                      <a:pt x="4293332" y="3280387"/>
                      <a:pt x="4297523" y="3284578"/>
                      <a:pt x="4302704" y="3284578"/>
                    </a:cubicBezTo>
                    <a:cubicBezTo>
                      <a:pt x="4307880" y="3284578"/>
                      <a:pt x="4312072" y="3280387"/>
                      <a:pt x="4312072" y="3275207"/>
                    </a:cubicBezTo>
                    <a:close/>
                    <a:moveTo>
                      <a:pt x="4312812" y="7264047"/>
                    </a:moveTo>
                    <a:cubicBezTo>
                      <a:pt x="4312812" y="7260596"/>
                      <a:pt x="4310101" y="7257883"/>
                      <a:pt x="4306893" y="7257883"/>
                    </a:cubicBezTo>
                    <a:cubicBezTo>
                      <a:pt x="4303444" y="7257883"/>
                      <a:pt x="4300730" y="7260842"/>
                      <a:pt x="4300730" y="7264047"/>
                    </a:cubicBezTo>
                    <a:cubicBezTo>
                      <a:pt x="4300730" y="7267500"/>
                      <a:pt x="4303444" y="7270214"/>
                      <a:pt x="4306893" y="7270214"/>
                    </a:cubicBezTo>
                    <a:cubicBezTo>
                      <a:pt x="4310101" y="7270214"/>
                      <a:pt x="4312812" y="7267500"/>
                      <a:pt x="4312812" y="7264047"/>
                    </a:cubicBezTo>
                    <a:close/>
                    <a:moveTo>
                      <a:pt x="4313552" y="4988895"/>
                    </a:moveTo>
                    <a:cubicBezTo>
                      <a:pt x="4313552" y="4969169"/>
                      <a:pt x="4297525" y="4953388"/>
                      <a:pt x="4278047" y="4953388"/>
                    </a:cubicBezTo>
                    <a:cubicBezTo>
                      <a:pt x="4258320" y="4953388"/>
                      <a:pt x="4242539" y="4969415"/>
                      <a:pt x="4242539" y="4988895"/>
                    </a:cubicBezTo>
                    <a:cubicBezTo>
                      <a:pt x="4242539" y="5008375"/>
                      <a:pt x="4258566" y="5024402"/>
                      <a:pt x="4278047" y="5024402"/>
                    </a:cubicBezTo>
                    <a:cubicBezTo>
                      <a:pt x="4297525" y="5024402"/>
                      <a:pt x="4313552" y="5008621"/>
                      <a:pt x="4313552" y="4988895"/>
                    </a:cubicBezTo>
                    <a:close/>
                    <a:moveTo>
                      <a:pt x="4315279" y="1724081"/>
                    </a:moveTo>
                    <a:cubicBezTo>
                      <a:pt x="4315279" y="1702149"/>
                      <a:pt x="4297525" y="1684394"/>
                      <a:pt x="4275579" y="1684394"/>
                    </a:cubicBezTo>
                    <a:cubicBezTo>
                      <a:pt x="4253633" y="1684394"/>
                      <a:pt x="4235880" y="1702149"/>
                      <a:pt x="4235880" y="1724081"/>
                    </a:cubicBezTo>
                    <a:cubicBezTo>
                      <a:pt x="4235880" y="1746043"/>
                      <a:pt x="4253633" y="1763805"/>
                      <a:pt x="4275579" y="1763805"/>
                    </a:cubicBezTo>
                    <a:cubicBezTo>
                      <a:pt x="4297525" y="1763805"/>
                      <a:pt x="4315279" y="1746043"/>
                      <a:pt x="4315279" y="1724081"/>
                    </a:cubicBezTo>
                    <a:close/>
                    <a:moveTo>
                      <a:pt x="4315279" y="3999633"/>
                    </a:moveTo>
                    <a:cubicBezTo>
                      <a:pt x="4315279" y="3979415"/>
                      <a:pt x="4298512" y="3962893"/>
                      <a:pt x="4278292" y="3962893"/>
                    </a:cubicBezTo>
                    <a:cubicBezTo>
                      <a:pt x="4258074" y="3962893"/>
                      <a:pt x="4241552" y="3979415"/>
                      <a:pt x="4241552" y="3999633"/>
                    </a:cubicBezTo>
                    <a:cubicBezTo>
                      <a:pt x="4241552" y="4020099"/>
                      <a:pt x="4258074" y="4036621"/>
                      <a:pt x="4278292" y="4036621"/>
                    </a:cubicBezTo>
                    <a:cubicBezTo>
                      <a:pt x="4298512" y="4036621"/>
                      <a:pt x="4315030" y="4020099"/>
                      <a:pt x="4315279" y="3999633"/>
                    </a:cubicBezTo>
                    <a:close/>
                    <a:moveTo>
                      <a:pt x="4319222" y="4744291"/>
                    </a:moveTo>
                    <a:cubicBezTo>
                      <a:pt x="4319222" y="4717169"/>
                      <a:pt x="4297032" y="4694976"/>
                      <a:pt x="4269907" y="4694976"/>
                    </a:cubicBezTo>
                    <a:cubicBezTo>
                      <a:pt x="4242783" y="4694976"/>
                      <a:pt x="4220592" y="4717169"/>
                      <a:pt x="4220592" y="4744291"/>
                    </a:cubicBezTo>
                    <a:cubicBezTo>
                      <a:pt x="4220592" y="4771416"/>
                      <a:pt x="4242783" y="4793606"/>
                      <a:pt x="4269907" y="4793606"/>
                    </a:cubicBezTo>
                    <a:cubicBezTo>
                      <a:pt x="4297277" y="4793606"/>
                      <a:pt x="4319222" y="4771416"/>
                      <a:pt x="4319222" y="4744291"/>
                    </a:cubicBezTo>
                    <a:close/>
                    <a:moveTo>
                      <a:pt x="4322676" y="1606737"/>
                    </a:moveTo>
                    <a:cubicBezTo>
                      <a:pt x="4322676" y="1581826"/>
                      <a:pt x="4302455" y="1561611"/>
                      <a:pt x="4277552" y="1561611"/>
                    </a:cubicBezTo>
                    <a:cubicBezTo>
                      <a:pt x="4252648" y="1561611"/>
                      <a:pt x="4232427" y="1581826"/>
                      <a:pt x="4232427" y="1606737"/>
                    </a:cubicBezTo>
                    <a:cubicBezTo>
                      <a:pt x="4232427" y="1631643"/>
                      <a:pt x="4252648" y="1651860"/>
                      <a:pt x="4277552" y="1651860"/>
                    </a:cubicBezTo>
                    <a:cubicBezTo>
                      <a:pt x="4302455" y="1651860"/>
                      <a:pt x="4322676" y="1631643"/>
                      <a:pt x="4322676" y="1606737"/>
                    </a:cubicBezTo>
                    <a:close/>
                    <a:moveTo>
                      <a:pt x="4323416" y="1489627"/>
                    </a:moveTo>
                    <a:cubicBezTo>
                      <a:pt x="4323416" y="1464726"/>
                      <a:pt x="4303198" y="1444502"/>
                      <a:pt x="4278292" y="1444502"/>
                    </a:cubicBezTo>
                    <a:cubicBezTo>
                      <a:pt x="4253634" y="1444502"/>
                      <a:pt x="4233416" y="1464726"/>
                      <a:pt x="4233416" y="1489627"/>
                    </a:cubicBezTo>
                    <a:cubicBezTo>
                      <a:pt x="4233416" y="1514532"/>
                      <a:pt x="4253388" y="1534753"/>
                      <a:pt x="4278292" y="1534753"/>
                    </a:cubicBezTo>
                    <a:cubicBezTo>
                      <a:pt x="4303198" y="1534753"/>
                      <a:pt x="4323416" y="1514532"/>
                      <a:pt x="4323416" y="1489627"/>
                    </a:cubicBezTo>
                    <a:close/>
                    <a:moveTo>
                      <a:pt x="4329086" y="21488"/>
                    </a:moveTo>
                    <a:lnTo>
                      <a:pt x="4320166" y="0"/>
                    </a:lnTo>
                    <a:lnTo>
                      <a:pt x="4265514" y="0"/>
                    </a:lnTo>
                    <a:lnTo>
                      <a:pt x="4256594" y="21488"/>
                    </a:lnTo>
                    <a:cubicBezTo>
                      <a:pt x="4256594" y="41459"/>
                      <a:pt x="4272866" y="57733"/>
                      <a:pt x="4292842" y="57733"/>
                    </a:cubicBezTo>
                    <a:cubicBezTo>
                      <a:pt x="4312814" y="57733"/>
                      <a:pt x="4328840" y="41459"/>
                      <a:pt x="4329086" y="21488"/>
                    </a:cubicBezTo>
                    <a:close/>
                    <a:moveTo>
                      <a:pt x="4329580" y="132913"/>
                    </a:moveTo>
                    <a:cubicBezTo>
                      <a:pt x="4329580" y="112695"/>
                      <a:pt x="4313060" y="96176"/>
                      <a:pt x="4292841" y="96176"/>
                    </a:cubicBezTo>
                    <a:cubicBezTo>
                      <a:pt x="4272622" y="96176"/>
                      <a:pt x="4256101" y="112695"/>
                      <a:pt x="4256101" y="132913"/>
                    </a:cubicBezTo>
                    <a:cubicBezTo>
                      <a:pt x="4256101" y="153133"/>
                      <a:pt x="4272622" y="169653"/>
                      <a:pt x="4292841" y="169653"/>
                    </a:cubicBezTo>
                    <a:cubicBezTo>
                      <a:pt x="4313060" y="169653"/>
                      <a:pt x="4329580" y="153133"/>
                      <a:pt x="4329580" y="132913"/>
                    </a:cubicBezTo>
                    <a:close/>
                    <a:moveTo>
                      <a:pt x="4330071" y="356259"/>
                    </a:moveTo>
                    <a:cubicBezTo>
                      <a:pt x="4330071" y="336043"/>
                      <a:pt x="4313552" y="319522"/>
                      <a:pt x="4293333" y="319522"/>
                    </a:cubicBezTo>
                    <a:cubicBezTo>
                      <a:pt x="4273115" y="319522"/>
                      <a:pt x="4256594" y="336043"/>
                      <a:pt x="4256594" y="356259"/>
                    </a:cubicBezTo>
                    <a:cubicBezTo>
                      <a:pt x="4256594" y="376479"/>
                      <a:pt x="4273115" y="392997"/>
                      <a:pt x="4293333" y="392997"/>
                    </a:cubicBezTo>
                    <a:cubicBezTo>
                      <a:pt x="4313552" y="392997"/>
                      <a:pt x="4329825" y="376479"/>
                      <a:pt x="4330071" y="356259"/>
                    </a:cubicBezTo>
                    <a:close/>
                    <a:moveTo>
                      <a:pt x="4330071" y="468430"/>
                    </a:moveTo>
                    <a:cubicBezTo>
                      <a:pt x="4330071" y="448212"/>
                      <a:pt x="4313552" y="431692"/>
                      <a:pt x="4293333" y="431692"/>
                    </a:cubicBezTo>
                    <a:cubicBezTo>
                      <a:pt x="4273115" y="431692"/>
                      <a:pt x="4256594" y="448212"/>
                      <a:pt x="4256594" y="468430"/>
                    </a:cubicBezTo>
                    <a:cubicBezTo>
                      <a:pt x="4256594" y="488649"/>
                      <a:pt x="4273115" y="505170"/>
                      <a:pt x="4293333" y="505170"/>
                    </a:cubicBezTo>
                    <a:cubicBezTo>
                      <a:pt x="4313552" y="505170"/>
                      <a:pt x="4330071" y="488649"/>
                      <a:pt x="4330071" y="468430"/>
                    </a:cubicBezTo>
                    <a:close/>
                    <a:moveTo>
                      <a:pt x="4332538" y="244586"/>
                    </a:moveTo>
                    <a:cubicBezTo>
                      <a:pt x="4332538" y="223136"/>
                      <a:pt x="4315030" y="205630"/>
                      <a:pt x="4293580" y="205630"/>
                    </a:cubicBezTo>
                    <a:cubicBezTo>
                      <a:pt x="4272128" y="205630"/>
                      <a:pt x="4254620" y="223136"/>
                      <a:pt x="4254620" y="244586"/>
                    </a:cubicBezTo>
                    <a:cubicBezTo>
                      <a:pt x="4254620" y="266038"/>
                      <a:pt x="4272128" y="283545"/>
                      <a:pt x="4293580" y="283545"/>
                    </a:cubicBezTo>
                    <a:cubicBezTo>
                      <a:pt x="4315030" y="283545"/>
                      <a:pt x="4332538" y="266038"/>
                      <a:pt x="4332538" y="244586"/>
                    </a:cubicBezTo>
                    <a:close/>
                    <a:moveTo>
                      <a:pt x="4333034" y="3622865"/>
                    </a:moveTo>
                    <a:cubicBezTo>
                      <a:pt x="4333034" y="3612754"/>
                      <a:pt x="4324897" y="3604617"/>
                      <a:pt x="4314787" y="3604617"/>
                    </a:cubicBezTo>
                    <a:cubicBezTo>
                      <a:pt x="4304676" y="3604617"/>
                      <a:pt x="4296539" y="3612754"/>
                      <a:pt x="4296539" y="3622865"/>
                    </a:cubicBezTo>
                    <a:cubicBezTo>
                      <a:pt x="4296539" y="3632975"/>
                      <a:pt x="4304676" y="3641111"/>
                      <a:pt x="4314787" y="3641111"/>
                    </a:cubicBezTo>
                    <a:cubicBezTo>
                      <a:pt x="4324897" y="3641111"/>
                      <a:pt x="4333034" y="3632975"/>
                      <a:pt x="4333034" y="3622865"/>
                    </a:cubicBezTo>
                    <a:close/>
                    <a:moveTo>
                      <a:pt x="4334020" y="3390114"/>
                    </a:moveTo>
                    <a:cubicBezTo>
                      <a:pt x="4334020" y="3383948"/>
                      <a:pt x="4329086" y="3379017"/>
                      <a:pt x="4322921" y="3379017"/>
                    </a:cubicBezTo>
                    <a:cubicBezTo>
                      <a:pt x="4316758" y="3379017"/>
                      <a:pt x="4311826" y="3383948"/>
                      <a:pt x="4311826" y="3390114"/>
                    </a:cubicBezTo>
                    <a:cubicBezTo>
                      <a:pt x="4311826" y="3396277"/>
                      <a:pt x="4316758" y="3401209"/>
                      <a:pt x="4322921" y="3401209"/>
                    </a:cubicBezTo>
                    <a:cubicBezTo>
                      <a:pt x="4329086" y="3401209"/>
                      <a:pt x="4334020" y="3396277"/>
                      <a:pt x="4334020" y="3390114"/>
                    </a:cubicBezTo>
                    <a:close/>
                    <a:moveTo>
                      <a:pt x="4340676" y="3506727"/>
                    </a:moveTo>
                    <a:cubicBezTo>
                      <a:pt x="4340676" y="3499083"/>
                      <a:pt x="4334511" y="3492919"/>
                      <a:pt x="4326867" y="3492919"/>
                    </a:cubicBezTo>
                    <a:cubicBezTo>
                      <a:pt x="4319223" y="3492919"/>
                      <a:pt x="4313058" y="3499083"/>
                      <a:pt x="4313058" y="3506727"/>
                    </a:cubicBezTo>
                    <a:cubicBezTo>
                      <a:pt x="4313058" y="3514372"/>
                      <a:pt x="4319223" y="3520536"/>
                      <a:pt x="4326867" y="3520536"/>
                    </a:cubicBezTo>
                    <a:cubicBezTo>
                      <a:pt x="4334511" y="3520536"/>
                      <a:pt x="4340676" y="3514372"/>
                      <a:pt x="4340676" y="3506727"/>
                    </a:cubicBezTo>
                    <a:close/>
                    <a:moveTo>
                      <a:pt x="4342895" y="4146841"/>
                    </a:moveTo>
                    <a:cubicBezTo>
                      <a:pt x="4342895" y="4125388"/>
                      <a:pt x="4325388" y="4107881"/>
                      <a:pt x="4303939" y="4107881"/>
                    </a:cubicBezTo>
                    <a:cubicBezTo>
                      <a:pt x="4282485" y="4107881"/>
                      <a:pt x="4264977" y="4125388"/>
                      <a:pt x="4264977" y="4146841"/>
                    </a:cubicBezTo>
                    <a:cubicBezTo>
                      <a:pt x="4264977" y="4168291"/>
                      <a:pt x="4282485" y="4185798"/>
                      <a:pt x="4303939" y="4185798"/>
                    </a:cubicBezTo>
                    <a:cubicBezTo>
                      <a:pt x="4325388" y="4185798"/>
                      <a:pt x="4342895" y="4168540"/>
                      <a:pt x="4342895" y="4146841"/>
                    </a:cubicBezTo>
                    <a:close/>
                    <a:moveTo>
                      <a:pt x="4352019" y="2853328"/>
                    </a:moveTo>
                    <a:cubicBezTo>
                      <a:pt x="4352019" y="2846178"/>
                      <a:pt x="4346347" y="2840506"/>
                      <a:pt x="4339197" y="2840506"/>
                    </a:cubicBezTo>
                    <a:cubicBezTo>
                      <a:pt x="4332047" y="2840506"/>
                      <a:pt x="4326375" y="2846178"/>
                      <a:pt x="4326375" y="2853328"/>
                    </a:cubicBezTo>
                    <a:cubicBezTo>
                      <a:pt x="4326375" y="2860478"/>
                      <a:pt x="4332047" y="2866149"/>
                      <a:pt x="4339197" y="2866149"/>
                    </a:cubicBezTo>
                    <a:cubicBezTo>
                      <a:pt x="4346100" y="2866149"/>
                      <a:pt x="4352019" y="2860231"/>
                      <a:pt x="4352019" y="2853328"/>
                    </a:cubicBezTo>
                    <a:close/>
                    <a:moveTo>
                      <a:pt x="4361390" y="3109023"/>
                    </a:moveTo>
                    <a:lnTo>
                      <a:pt x="4361142" y="3109023"/>
                    </a:lnTo>
                    <a:lnTo>
                      <a:pt x="4360895" y="3109023"/>
                    </a:lnTo>
                    <a:lnTo>
                      <a:pt x="4361142" y="3109267"/>
                    </a:lnTo>
                    <a:close/>
                    <a:moveTo>
                      <a:pt x="4364591" y="2708101"/>
                    </a:moveTo>
                    <a:cubicBezTo>
                      <a:pt x="4364591" y="2706129"/>
                      <a:pt x="4362867" y="2704402"/>
                      <a:pt x="4360895" y="2704402"/>
                    </a:cubicBezTo>
                    <a:cubicBezTo>
                      <a:pt x="4358922" y="2704402"/>
                      <a:pt x="4357195" y="2706129"/>
                      <a:pt x="4357195" y="2708101"/>
                    </a:cubicBezTo>
                    <a:cubicBezTo>
                      <a:pt x="4357195" y="2710074"/>
                      <a:pt x="4358922" y="2711801"/>
                      <a:pt x="4360895" y="2711801"/>
                    </a:cubicBezTo>
                    <a:cubicBezTo>
                      <a:pt x="4362867" y="2711801"/>
                      <a:pt x="4364591" y="2710074"/>
                      <a:pt x="4364591" y="2708101"/>
                    </a:cubicBezTo>
                    <a:close/>
                    <a:moveTo>
                      <a:pt x="4367554" y="4288125"/>
                    </a:moveTo>
                    <a:cubicBezTo>
                      <a:pt x="4367554" y="4263468"/>
                      <a:pt x="4347579" y="4243496"/>
                      <a:pt x="4322921" y="4243496"/>
                    </a:cubicBezTo>
                    <a:cubicBezTo>
                      <a:pt x="4298264" y="4243496"/>
                      <a:pt x="4278292" y="4263468"/>
                      <a:pt x="4278292" y="4288125"/>
                    </a:cubicBezTo>
                    <a:cubicBezTo>
                      <a:pt x="4278292" y="4312782"/>
                      <a:pt x="4298264" y="4332754"/>
                      <a:pt x="4322921" y="4332754"/>
                    </a:cubicBezTo>
                    <a:cubicBezTo>
                      <a:pt x="4347579" y="4332754"/>
                      <a:pt x="4367554" y="4312536"/>
                      <a:pt x="4367554" y="4288125"/>
                    </a:cubicBezTo>
                    <a:close/>
                    <a:moveTo>
                      <a:pt x="4371251" y="4424238"/>
                    </a:moveTo>
                    <a:cubicBezTo>
                      <a:pt x="4371251" y="4405496"/>
                      <a:pt x="4355961" y="4390209"/>
                      <a:pt x="4337221" y="4390209"/>
                    </a:cubicBezTo>
                    <a:cubicBezTo>
                      <a:pt x="4318482" y="4390209"/>
                      <a:pt x="4303195" y="4405496"/>
                      <a:pt x="4303195" y="4424238"/>
                    </a:cubicBezTo>
                    <a:cubicBezTo>
                      <a:pt x="4303195" y="4442975"/>
                      <a:pt x="4318482" y="4458264"/>
                      <a:pt x="4337221" y="4458264"/>
                    </a:cubicBezTo>
                    <a:cubicBezTo>
                      <a:pt x="4356210" y="4458264"/>
                      <a:pt x="4371496" y="4442975"/>
                      <a:pt x="4371251" y="4424238"/>
                    </a:cubicBezTo>
                    <a:close/>
                    <a:moveTo>
                      <a:pt x="4371991" y="3899031"/>
                    </a:moveTo>
                    <a:cubicBezTo>
                      <a:pt x="4371991" y="3879550"/>
                      <a:pt x="4356210" y="3863769"/>
                      <a:pt x="4336730" y="3863769"/>
                    </a:cubicBezTo>
                    <a:cubicBezTo>
                      <a:pt x="4317249" y="3863769"/>
                      <a:pt x="4301468" y="3879550"/>
                      <a:pt x="4301468" y="3899031"/>
                    </a:cubicBezTo>
                    <a:cubicBezTo>
                      <a:pt x="4301468" y="3918507"/>
                      <a:pt x="4317249" y="3934291"/>
                      <a:pt x="4336730" y="3934291"/>
                    </a:cubicBezTo>
                    <a:cubicBezTo>
                      <a:pt x="4356210" y="3934291"/>
                      <a:pt x="4371991" y="3918507"/>
                      <a:pt x="4371991" y="3899031"/>
                    </a:cubicBezTo>
                    <a:close/>
                    <a:moveTo>
                      <a:pt x="4372483" y="2273407"/>
                    </a:moveTo>
                    <a:cubicBezTo>
                      <a:pt x="4372483" y="2267983"/>
                      <a:pt x="4368046" y="2263793"/>
                      <a:pt x="4362868" y="2263793"/>
                    </a:cubicBezTo>
                    <a:cubicBezTo>
                      <a:pt x="4357689" y="2263793"/>
                      <a:pt x="4353251" y="2267983"/>
                      <a:pt x="4353251" y="2273407"/>
                    </a:cubicBezTo>
                    <a:cubicBezTo>
                      <a:pt x="4353251" y="2278586"/>
                      <a:pt x="4357442" y="2283027"/>
                      <a:pt x="4362868" y="2283027"/>
                    </a:cubicBezTo>
                    <a:cubicBezTo>
                      <a:pt x="4368291" y="2283027"/>
                      <a:pt x="4372732" y="2278586"/>
                      <a:pt x="4372483" y="2273407"/>
                    </a:cubicBezTo>
                    <a:close/>
                    <a:moveTo>
                      <a:pt x="4378400" y="4556648"/>
                    </a:moveTo>
                    <a:cubicBezTo>
                      <a:pt x="4378400" y="4540127"/>
                      <a:pt x="4365087" y="4526813"/>
                      <a:pt x="4348565" y="4526813"/>
                    </a:cubicBezTo>
                    <a:cubicBezTo>
                      <a:pt x="4332047" y="4526813"/>
                      <a:pt x="4318730" y="4540127"/>
                      <a:pt x="4318730" y="4556648"/>
                    </a:cubicBezTo>
                    <a:cubicBezTo>
                      <a:pt x="4318730" y="4573170"/>
                      <a:pt x="4332047" y="4586483"/>
                      <a:pt x="4348565" y="4586483"/>
                    </a:cubicBezTo>
                    <a:cubicBezTo>
                      <a:pt x="4365087" y="4586483"/>
                      <a:pt x="4378400" y="4572923"/>
                      <a:pt x="4378400" y="4556648"/>
                    </a:cubicBezTo>
                    <a:close/>
                    <a:moveTo>
                      <a:pt x="4378649" y="2145445"/>
                    </a:moveTo>
                    <a:cubicBezTo>
                      <a:pt x="4378649" y="2140266"/>
                      <a:pt x="4374458" y="2135825"/>
                      <a:pt x="4369031" y="2135825"/>
                    </a:cubicBezTo>
                    <a:cubicBezTo>
                      <a:pt x="4363608" y="2135825"/>
                      <a:pt x="4359168" y="2140018"/>
                      <a:pt x="4359168" y="2145445"/>
                    </a:cubicBezTo>
                    <a:cubicBezTo>
                      <a:pt x="4359168" y="2150867"/>
                      <a:pt x="4363608" y="2155308"/>
                      <a:pt x="4369031" y="2155308"/>
                    </a:cubicBezTo>
                    <a:cubicBezTo>
                      <a:pt x="4374458" y="2155308"/>
                      <a:pt x="4378895" y="2151117"/>
                      <a:pt x="4378649" y="2145445"/>
                    </a:cubicBezTo>
                    <a:close/>
                    <a:moveTo>
                      <a:pt x="4381608" y="1165673"/>
                    </a:moveTo>
                    <a:cubicBezTo>
                      <a:pt x="4381608" y="1143971"/>
                      <a:pt x="4363854" y="1126222"/>
                      <a:pt x="4341906" y="1126222"/>
                    </a:cubicBezTo>
                    <a:cubicBezTo>
                      <a:pt x="4319961" y="1126222"/>
                      <a:pt x="4302208" y="1143971"/>
                      <a:pt x="4302208" y="1165673"/>
                    </a:cubicBezTo>
                    <a:cubicBezTo>
                      <a:pt x="4302208" y="1187617"/>
                      <a:pt x="4319961" y="1205371"/>
                      <a:pt x="4341906" y="1205371"/>
                    </a:cubicBezTo>
                    <a:cubicBezTo>
                      <a:pt x="4363854" y="1205371"/>
                      <a:pt x="4381608" y="1187617"/>
                      <a:pt x="4381608" y="1165673"/>
                    </a:cubicBezTo>
                    <a:close/>
                    <a:moveTo>
                      <a:pt x="4383335" y="936637"/>
                    </a:moveTo>
                    <a:cubicBezTo>
                      <a:pt x="4383335" y="914936"/>
                      <a:pt x="4365827" y="897429"/>
                      <a:pt x="4344129" y="897429"/>
                    </a:cubicBezTo>
                    <a:cubicBezTo>
                      <a:pt x="4322429" y="897429"/>
                      <a:pt x="4304922" y="914936"/>
                      <a:pt x="4304922" y="936637"/>
                    </a:cubicBezTo>
                    <a:cubicBezTo>
                      <a:pt x="4304922" y="958342"/>
                      <a:pt x="4322429" y="975846"/>
                      <a:pt x="4344129" y="975846"/>
                    </a:cubicBezTo>
                    <a:cubicBezTo>
                      <a:pt x="4365580" y="975846"/>
                      <a:pt x="4383335" y="958093"/>
                      <a:pt x="4383335" y="936637"/>
                    </a:cubicBezTo>
                    <a:close/>
                    <a:moveTo>
                      <a:pt x="4384811" y="2568297"/>
                    </a:moveTo>
                    <a:cubicBezTo>
                      <a:pt x="4384811" y="2564103"/>
                      <a:pt x="4381608" y="2560900"/>
                      <a:pt x="4377417" y="2560900"/>
                    </a:cubicBezTo>
                    <a:cubicBezTo>
                      <a:pt x="4373223" y="2560900"/>
                      <a:pt x="4370017" y="2564103"/>
                      <a:pt x="4370017" y="2568297"/>
                    </a:cubicBezTo>
                    <a:cubicBezTo>
                      <a:pt x="4370017" y="2572242"/>
                      <a:pt x="4373223" y="2575693"/>
                      <a:pt x="4377417" y="2575693"/>
                    </a:cubicBezTo>
                    <a:cubicBezTo>
                      <a:pt x="4381608" y="2575693"/>
                      <a:pt x="4384811" y="2572488"/>
                      <a:pt x="4384811" y="2568297"/>
                    </a:cubicBezTo>
                    <a:close/>
                    <a:moveTo>
                      <a:pt x="4385058" y="1050782"/>
                    </a:moveTo>
                    <a:cubicBezTo>
                      <a:pt x="4385058" y="1027359"/>
                      <a:pt x="4366073" y="1008373"/>
                      <a:pt x="4342648" y="1008373"/>
                    </a:cubicBezTo>
                    <a:cubicBezTo>
                      <a:pt x="4319223" y="1008373"/>
                      <a:pt x="4300236" y="1027359"/>
                      <a:pt x="4300236" y="1050782"/>
                    </a:cubicBezTo>
                    <a:cubicBezTo>
                      <a:pt x="4300236" y="1074208"/>
                      <a:pt x="4319223" y="1093196"/>
                      <a:pt x="4342648" y="1093196"/>
                    </a:cubicBezTo>
                    <a:cubicBezTo>
                      <a:pt x="4366073" y="1093196"/>
                      <a:pt x="4385058" y="1074208"/>
                      <a:pt x="4385058" y="1050782"/>
                    </a:cubicBezTo>
                    <a:close/>
                    <a:moveTo>
                      <a:pt x="4385551" y="1397667"/>
                    </a:moveTo>
                    <a:cubicBezTo>
                      <a:pt x="4385551" y="1372517"/>
                      <a:pt x="4365087" y="1352049"/>
                      <a:pt x="4339935" y="1352049"/>
                    </a:cubicBezTo>
                    <a:cubicBezTo>
                      <a:pt x="4314785" y="1352049"/>
                      <a:pt x="4294318" y="1372517"/>
                      <a:pt x="4294318" y="1397667"/>
                    </a:cubicBezTo>
                    <a:cubicBezTo>
                      <a:pt x="4294318" y="1422821"/>
                      <a:pt x="4314785" y="1443283"/>
                      <a:pt x="4339935" y="1443283"/>
                    </a:cubicBezTo>
                    <a:cubicBezTo>
                      <a:pt x="4365087" y="1443283"/>
                      <a:pt x="4385551" y="1422821"/>
                      <a:pt x="4385551" y="1397667"/>
                    </a:cubicBezTo>
                    <a:close/>
                    <a:moveTo>
                      <a:pt x="4386293" y="1281297"/>
                    </a:moveTo>
                    <a:cubicBezTo>
                      <a:pt x="4386293" y="1256390"/>
                      <a:pt x="4366073" y="1236178"/>
                      <a:pt x="4341170" y="1236178"/>
                    </a:cubicBezTo>
                    <a:cubicBezTo>
                      <a:pt x="4316265" y="1236178"/>
                      <a:pt x="4296045" y="1256390"/>
                      <a:pt x="4296045" y="1281297"/>
                    </a:cubicBezTo>
                    <a:cubicBezTo>
                      <a:pt x="4296045" y="1306201"/>
                      <a:pt x="4316265" y="1326418"/>
                      <a:pt x="4341170" y="1326418"/>
                    </a:cubicBezTo>
                    <a:cubicBezTo>
                      <a:pt x="4366073" y="1326418"/>
                      <a:pt x="4386293" y="1306201"/>
                      <a:pt x="4386293" y="1281297"/>
                    </a:cubicBezTo>
                    <a:close/>
                    <a:moveTo>
                      <a:pt x="4387279" y="595640"/>
                    </a:moveTo>
                    <a:cubicBezTo>
                      <a:pt x="4387279" y="572215"/>
                      <a:pt x="4368293" y="553231"/>
                      <a:pt x="4344869" y="553231"/>
                    </a:cubicBezTo>
                    <a:cubicBezTo>
                      <a:pt x="4321442" y="553231"/>
                      <a:pt x="4302457" y="572215"/>
                      <a:pt x="4302457" y="595640"/>
                    </a:cubicBezTo>
                    <a:cubicBezTo>
                      <a:pt x="4302457" y="619064"/>
                      <a:pt x="4321442" y="638050"/>
                      <a:pt x="4344869" y="638050"/>
                    </a:cubicBezTo>
                    <a:cubicBezTo>
                      <a:pt x="4368293" y="638050"/>
                      <a:pt x="4387279" y="619064"/>
                      <a:pt x="4387279" y="595640"/>
                    </a:cubicBezTo>
                    <a:close/>
                    <a:moveTo>
                      <a:pt x="4387526" y="708837"/>
                    </a:moveTo>
                    <a:cubicBezTo>
                      <a:pt x="4387526" y="685169"/>
                      <a:pt x="4368291" y="665936"/>
                      <a:pt x="4344620" y="665936"/>
                    </a:cubicBezTo>
                    <a:cubicBezTo>
                      <a:pt x="4320949" y="665936"/>
                      <a:pt x="4301717" y="685169"/>
                      <a:pt x="4301717" y="708837"/>
                    </a:cubicBezTo>
                    <a:cubicBezTo>
                      <a:pt x="4301717" y="732506"/>
                      <a:pt x="4320949" y="751747"/>
                      <a:pt x="4344620" y="751747"/>
                    </a:cubicBezTo>
                    <a:cubicBezTo>
                      <a:pt x="4368045" y="751747"/>
                      <a:pt x="4387279" y="732506"/>
                      <a:pt x="4387526" y="708837"/>
                    </a:cubicBezTo>
                    <a:close/>
                    <a:moveTo>
                      <a:pt x="4387772" y="1896935"/>
                    </a:moveTo>
                    <a:cubicBezTo>
                      <a:pt x="4387772" y="1891267"/>
                      <a:pt x="4383086" y="1886581"/>
                      <a:pt x="4377414" y="1886581"/>
                    </a:cubicBezTo>
                    <a:cubicBezTo>
                      <a:pt x="4371743" y="1886581"/>
                      <a:pt x="4367059" y="1891267"/>
                      <a:pt x="4367059" y="1896935"/>
                    </a:cubicBezTo>
                    <a:cubicBezTo>
                      <a:pt x="4367059" y="1902605"/>
                      <a:pt x="4371743" y="1907287"/>
                      <a:pt x="4377414" y="1907287"/>
                    </a:cubicBezTo>
                    <a:cubicBezTo>
                      <a:pt x="4383086" y="1907287"/>
                      <a:pt x="4387772" y="1902605"/>
                      <a:pt x="4387772" y="1896935"/>
                    </a:cubicBezTo>
                    <a:close/>
                    <a:moveTo>
                      <a:pt x="4388265" y="822738"/>
                    </a:moveTo>
                    <a:cubicBezTo>
                      <a:pt x="4388265" y="798573"/>
                      <a:pt x="4368539" y="778847"/>
                      <a:pt x="4344374" y="778847"/>
                    </a:cubicBezTo>
                    <a:cubicBezTo>
                      <a:pt x="4320211" y="778847"/>
                      <a:pt x="4300485" y="798573"/>
                      <a:pt x="4300485" y="822738"/>
                    </a:cubicBezTo>
                    <a:cubicBezTo>
                      <a:pt x="4300485" y="846903"/>
                      <a:pt x="4320211" y="866629"/>
                      <a:pt x="4344374" y="866629"/>
                    </a:cubicBezTo>
                    <a:cubicBezTo>
                      <a:pt x="4368785" y="866629"/>
                      <a:pt x="4388265" y="846903"/>
                      <a:pt x="4388265" y="822738"/>
                    </a:cubicBezTo>
                    <a:close/>
                    <a:moveTo>
                      <a:pt x="4390976" y="2020180"/>
                    </a:moveTo>
                    <a:cubicBezTo>
                      <a:pt x="4390976" y="2010565"/>
                      <a:pt x="4383331" y="2002921"/>
                      <a:pt x="4373717" y="2002921"/>
                    </a:cubicBezTo>
                    <a:cubicBezTo>
                      <a:pt x="4364100" y="2002921"/>
                      <a:pt x="4356455" y="2010565"/>
                      <a:pt x="4356455" y="2020180"/>
                    </a:cubicBezTo>
                    <a:cubicBezTo>
                      <a:pt x="4356455" y="2029797"/>
                      <a:pt x="4364100" y="2037441"/>
                      <a:pt x="4373717" y="2037441"/>
                    </a:cubicBezTo>
                    <a:cubicBezTo>
                      <a:pt x="4383331" y="2037441"/>
                      <a:pt x="4390976" y="2029797"/>
                      <a:pt x="4390976" y="2020180"/>
                    </a:cubicBezTo>
                    <a:close/>
                    <a:moveTo>
                      <a:pt x="4393444" y="2432935"/>
                    </a:moveTo>
                    <a:cubicBezTo>
                      <a:pt x="4393444" y="2430962"/>
                      <a:pt x="4391965" y="2429483"/>
                      <a:pt x="4389990" y="2429483"/>
                    </a:cubicBezTo>
                    <a:cubicBezTo>
                      <a:pt x="4388020" y="2429483"/>
                      <a:pt x="4386539" y="2430962"/>
                      <a:pt x="4386539" y="2432935"/>
                    </a:cubicBezTo>
                    <a:cubicBezTo>
                      <a:pt x="4386539" y="2434908"/>
                      <a:pt x="4388020" y="2436390"/>
                      <a:pt x="4389990" y="2436390"/>
                    </a:cubicBezTo>
                    <a:cubicBezTo>
                      <a:pt x="4391965" y="2436390"/>
                      <a:pt x="4393444" y="2434660"/>
                      <a:pt x="4393444" y="2432935"/>
                    </a:cubicBezTo>
                    <a:close/>
                    <a:moveTo>
                      <a:pt x="4393444" y="5296373"/>
                    </a:moveTo>
                    <a:cubicBezTo>
                      <a:pt x="4393444" y="5294895"/>
                      <a:pt x="4392211" y="5293908"/>
                      <a:pt x="4390979" y="5293908"/>
                    </a:cubicBezTo>
                    <a:cubicBezTo>
                      <a:pt x="4389498" y="5293908"/>
                      <a:pt x="4388512" y="5295140"/>
                      <a:pt x="4388512" y="5296373"/>
                    </a:cubicBezTo>
                    <a:cubicBezTo>
                      <a:pt x="4388512" y="5297854"/>
                      <a:pt x="4389743" y="5298840"/>
                      <a:pt x="4390979" y="5298840"/>
                    </a:cubicBezTo>
                    <a:cubicBezTo>
                      <a:pt x="4392211" y="5298840"/>
                      <a:pt x="4393444" y="5297854"/>
                      <a:pt x="4393444" y="5296373"/>
                    </a:cubicBezTo>
                    <a:close/>
                    <a:moveTo>
                      <a:pt x="4394673" y="5415473"/>
                    </a:moveTo>
                    <a:cubicBezTo>
                      <a:pt x="4394673" y="5414978"/>
                      <a:pt x="4394427" y="5414732"/>
                      <a:pt x="4393935" y="5414732"/>
                    </a:cubicBezTo>
                    <a:cubicBezTo>
                      <a:pt x="4393689" y="5414732"/>
                      <a:pt x="4393195" y="5414978"/>
                      <a:pt x="4393195" y="5415473"/>
                    </a:cubicBezTo>
                    <a:cubicBezTo>
                      <a:pt x="4393195" y="5415964"/>
                      <a:pt x="4393441" y="5416210"/>
                      <a:pt x="4393935" y="5416210"/>
                    </a:cubicBezTo>
                    <a:cubicBezTo>
                      <a:pt x="4394427" y="5416210"/>
                      <a:pt x="4394673" y="5415964"/>
                      <a:pt x="4394673" y="5415473"/>
                    </a:cubicBezTo>
                    <a:close/>
                    <a:moveTo>
                      <a:pt x="4400347" y="5054731"/>
                    </a:moveTo>
                    <a:cubicBezTo>
                      <a:pt x="4400347" y="5045608"/>
                      <a:pt x="4392948" y="5038209"/>
                      <a:pt x="4383826" y="5038209"/>
                    </a:cubicBezTo>
                    <a:cubicBezTo>
                      <a:pt x="4374703" y="5038209"/>
                      <a:pt x="4367304" y="5045608"/>
                      <a:pt x="4367304" y="5054731"/>
                    </a:cubicBezTo>
                    <a:cubicBezTo>
                      <a:pt x="4367304" y="5063853"/>
                      <a:pt x="4374703" y="5071249"/>
                      <a:pt x="4383826" y="5071249"/>
                    </a:cubicBezTo>
                    <a:cubicBezTo>
                      <a:pt x="4392948" y="5071249"/>
                      <a:pt x="4400347" y="5063853"/>
                      <a:pt x="4400347" y="5054731"/>
                    </a:cubicBezTo>
                    <a:close/>
                    <a:moveTo>
                      <a:pt x="4402075" y="3218750"/>
                    </a:moveTo>
                    <a:cubicBezTo>
                      <a:pt x="4402075" y="3217270"/>
                      <a:pt x="4401088" y="3216284"/>
                      <a:pt x="4399856" y="3216284"/>
                    </a:cubicBezTo>
                    <a:cubicBezTo>
                      <a:pt x="4398375" y="3216284"/>
                      <a:pt x="4397388" y="3217516"/>
                      <a:pt x="4397388" y="3218750"/>
                    </a:cubicBezTo>
                    <a:cubicBezTo>
                      <a:pt x="4397388" y="3220229"/>
                      <a:pt x="4398620" y="3221215"/>
                      <a:pt x="4399856" y="3221215"/>
                    </a:cubicBezTo>
                    <a:cubicBezTo>
                      <a:pt x="4401333" y="3221215"/>
                      <a:pt x="4402320" y="3219983"/>
                      <a:pt x="4402075" y="3218750"/>
                    </a:cubicBezTo>
                    <a:close/>
                    <a:moveTo>
                      <a:pt x="4406261" y="5176046"/>
                    </a:moveTo>
                    <a:cubicBezTo>
                      <a:pt x="4406261" y="5166106"/>
                      <a:pt x="4398203" y="5158046"/>
                      <a:pt x="4388263" y="5158046"/>
                    </a:cubicBezTo>
                    <a:cubicBezTo>
                      <a:pt x="4378322" y="5158046"/>
                      <a:pt x="4370263" y="5166106"/>
                      <a:pt x="4370263" y="5176046"/>
                    </a:cubicBezTo>
                    <a:cubicBezTo>
                      <a:pt x="4370263" y="5185987"/>
                      <a:pt x="4378322" y="5194045"/>
                      <a:pt x="4388263" y="5194045"/>
                    </a:cubicBezTo>
                    <a:cubicBezTo>
                      <a:pt x="4398203" y="5194045"/>
                      <a:pt x="4406261" y="5185987"/>
                      <a:pt x="4406261" y="5176046"/>
                    </a:cubicBezTo>
                    <a:close/>
                    <a:moveTo>
                      <a:pt x="4407248" y="5881253"/>
                    </a:moveTo>
                    <a:cubicBezTo>
                      <a:pt x="4407248" y="5880267"/>
                      <a:pt x="4406510" y="5879280"/>
                      <a:pt x="4405276" y="5879280"/>
                    </a:cubicBezTo>
                    <a:cubicBezTo>
                      <a:pt x="4404043" y="5879280"/>
                      <a:pt x="4403058" y="5880021"/>
                      <a:pt x="4403058" y="5881253"/>
                    </a:cubicBezTo>
                    <a:cubicBezTo>
                      <a:pt x="4403058" y="5882485"/>
                      <a:pt x="4404043" y="5883471"/>
                      <a:pt x="4405276" y="5883471"/>
                    </a:cubicBezTo>
                    <a:cubicBezTo>
                      <a:pt x="4406510" y="5883471"/>
                      <a:pt x="4407497" y="5882731"/>
                      <a:pt x="4407248" y="5881253"/>
                    </a:cubicBezTo>
                    <a:close/>
                    <a:moveTo>
                      <a:pt x="4407251" y="5648240"/>
                    </a:moveTo>
                    <a:cubicBezTo>
                      <a:pt x="4407251" y="5646512"/>
                      <a:pt x="4405770" y="5645280"/>
                      <a:pt x="4404292" y="5645280"/>
                    </a:cubicBezTo>
                    <a:cubicBezTo>
                      <a:pt x="4402566" y="5645280"/>
                      <a:pt x="4401333" y="5646512"/>
                      <a:pt x="4401333" y="5648240"/>
                    </a:cubicBezTo>
                    <a:cubicBezTo>
                      <a:pt x="4401333" y="5649966"/>
                      <a:pt x="4402566" y="5651199"/>
                      <a:pt x="4404292" y="5651199"/>
                    </a:cubicBezTo>
                    <a:cubicBezTo>
                      <a:pt x="4405770" y="5651199"/>
                      <a:pt x="4407251" y="5649966"/>
                      <a:pt x="4407251" y="5648240"/>
                    </a:cubicBezTo>
                    <a:close/>
                    <a:moveTo>
                      <a:pt x="4407252" y="5530622"/>
                    </a:moveTo>
                    <a:cubicBezTo>
                      <a:pt x="4407252" y="5528154"/>
                      <a:pt x="4405280" y="5525935"/>
                      <a:pt x="4402567" y="5525935"/>
                    </a:cubicBezTo>
                    <a:cubicBezTo>
                      <a:pt x="4400100" y="5525935"/>
                      <a:pt x="4397880" y="5527908"/>
                      <a:pt x="4397880" y="5530622"/>
                    </a:cubicBezTo>
                    <a:cubicBezTo>
                      <a:pt x="4397880" y="5533086"/>
                      <a:pt x="4399853" y="5535307"/>
                      <a:pt x="4402567" y="5535307"/>
                    </a:cubicBezTo>
                    <a:cubicBezTo>
                      <a:pt x="4405280" y="5535307"/>
                      <a:pt x="4407498" y="5533334"/>
                      <a:pt x="4407252" y="5530622"/>
                    </a:cubicBezTo>
                    <a:close/>
                    <a:moveTo>
                      <a:pt x="4407989" y="5997141"/>
                    </a:moveTo>
                    <a:cubicBezTo>
                      <a:pt x="4407989" y="5995661"/>
                      <a:pt x="4406511" y="5994429"/>
                      <a:pt x="4405030" y="5994429"/>
                    </a:cubicBezTo>
                    <a:cubicBezTo>
                      <a:pt x="4403303" y="5994429"/>
                      <a:pt x="4402071" y="5995661"/>
                      <a:pt x="4402071" y="5997141"/>
                    </a:cubicBezTo>
                    <a:cubicBezTo>
                      <a:pt x="4402071" y="5998866"/>
                      <a:pt x="4403549" y="6000101"/>
                      <a:pt x="4405030" y="6000101"/>
                    </a:cubicBezTo>
                    <a:cubicBezTo>
                      <a:pt x="4406511" y="6000101"/>
                      <a:pt x="4407743" y="5998866"/>
                      <a:pt x="4407989" y="5997141"/>
                    </a:cubicBezTo>
                    <a:close/>
                    <a:moveTo>
                      <a:pt x="4408485" y="6226457"/>
                    </a:moveTo>
                    <a:cubicBezTo>
                      <a:pt x="4408485" y="6225719"/>
                      <a:pt x="4407992" y="6224978"/>
                      <a:pt x="4407003" y="6224978"/>
                    </a:cubicBezTo>
                    <a:cubicBezTo>
                      <a:pt x="4406265" y="6224978"/>
                      <a:pt x="4405525" y="6225719"/>
                      <a:pt x="4405525" y="6226457"/>
                    </a:cubicBezTo>
                    <a:cubicBezTo>
                      <a:pt x="4405525" y="6227197"/>
                      <a:pt x="4406265" y="6227938"/>
                      <a:pt x="4407003" y="6227938"/>
                    </a:cubicBezTo>
                    <a:cubicBezTo>
                      <a:pt x="4407743" y="6227938"/>
                      <a:pt x="4408485" y="6227197"/>
                      <a:pt x="4408485" y="6226457"/>
                    </a:cubicBezTo>
                    <a:close/>
                    <a:moveTo>
                      <a:pt x="4408729" y="6112047"/>
                    </a:moveTo>
                    <a:cubicBezTo>
                      <a:pt x="4408729" y="6110320"/>
                      <a:pt x="4407497" y="6109088"/>
                      <a:pt x="4405770" y="6109088"/>
                    </a:cubicBezTo>
                    <a:cubicBezTo>
                      <a:pt x="4404043" y="6109088"/>
                      <a:pt x="4402811" y="6110320"/>
                      <a:pt x="4402811" y="6112047"/>
                    </a:cubicBezTo>
                    <a:cubicBezTo>
                      <a:pt x="4402811" y="6113774"/>
                      <a:pt x="4404289" y="6115006"/>
                      <a:pt x="4405770" y="6115006"/>
                    </a:cubicBezTo>
                    <a:cubicBezTo>
                      <a:pt x="4407497" y="6115006"/>
                      <a:pt x="4408729" y="6113774"/>
                      <a:pt x="4408729" y="6112047"/>
                    </a:cubicBezTo>
                    <a:close/>
                    <a:moveTo>
                      <a:pt x="4409470" y="6340376"/>
                    </a:moveTo>
                    <a:cubicBezTo>
                      <a:pt x="4409470" y="6339390"/>
                      <a:pt x="4408484" y="6338403"/>
                      <a:pt x="4407498" y="6338403"/>
                    </a:cubicBezTo>
                    <a:cubicBezTo>
                      <a:pt x="4406511" y="6338403"/>
                      <a:pt x="4405525" y="6339390"/>
                      <a:pt x="4405525" y="6340376"/>
                    </a:cubicBezTo>
                    <a:cubicBezTo>
                      <a:pt x="4405525" y="6341362"/>
                      <a:pt x="4406265" y="6342348"/>
                      <a:pt x="4407498" y="6342348"/>
                    </a:cubicBezTo>
                    <a:cubicBezTo>
                      <a:pt x="4408730" y="6342348"/>
                      <a:pt x="4409470" y="6341362"/>
                      <a:pt x="4409470" y="6340376"/>
                    </a:cubicBezTo>
                    <a:close/>
                    <a:moveTo>
                      <a:pt x="4409964" y="4053388"/>
                    </a:moveTo>
                    <a:cubicBezTo>
                      <a:pt x="4409964" y="4032921"/>
                      <a:pt x="4393195" y="4016154"/>
                      <a:pt x="4372731" y="4016154"/>
                    </a:cubicBezTo>
                    <a:cubicBezTo>
                      <a:pt x="4352264" y="4016154"/>
                      <a:pt x="4335497" y="4032921"/>
                      <a:pt x="4335497" y="4053388"/>
                    </a:cubicBezTo>
                    <a:cubicBezTo>
                      <a:pt x="4335497" y="4073852"/>
                      <a:pt x="4352264" y="4090622"/>
                      <a:pt x="4372731" y="4090622"/>
                    </a:cubicBezTo>
                    <a:cubicBezTo>
                      <a:pt x="4393195" y="4090622"/>
                      <a:pt x="4409964" y="4073852"/>
                      <a:pt x="4409964" y="4053388"/>
                    </a:cubicBezTo>
                    <a:close/>
                    <a:moveTo>
                      <a:pt x="4413664" y="5765362"/>
                    </a:moveTo>
                    <a:cubicBezTo>
                      <a:pt x="4413664" y="5760183"/>
                      <a:pt x="4409718" y="5756238"/>
                      <a:pt x="4404539" y="5756238"/>
                    </a:cubicBezTo>
                    <a:cubicBezTo>
                      <a:pt x="4399361" y="5756238"/>
                      <a:pt x="4395416" y="5760430"/>
                      <a:pt x="4395416" y="5765362"/>
                    </a:cubicBezTo>
                    <a:cubicBezTo>
                      <a:pt x="4395416" y="5770541"/>
                      <a:pt x="4399607" y="5774487"/>
                      <a:pt x="4404539" y="5774487"/>
                    </a:cubicBezTo>
                    <a:cubicBezTo>
                      <a:pt x="4409470" y="5774487"/>
                      <a:pt x="4413415" y="5770293"/>
                      <a:pt x="4413664" y="5765362"/>
                    </a:cubicBezTo>
                    <a:close/>
                    <a:moveTo>
                      <a:pt x="4414401" y="4806678"/>
                    </a:moveTo>
                    <a:cubicBezTo>
                      <a:pt x="4414401" y="4783992"/>
                      <a:pt x="4395907" y="4765744"/>
                      <a:pt x="4373469" y="4765744"/>
                    </a:cubicBezTo>
                    <a:cubicBezTo>
                      <a:pt x="4350783" y="4765744"/>
                      <a:pt x="4332538" y="4784238"/>
                      <a:pt x="4332538" y="4806678"/>
                    </a:cubicBezTo>
                    <a:cubicBezTo>
                      <a:pt x="4332538" y="4829362"/>
                      <a:pt x="4351032" y="4847607"/>
                      <a:pt x="4373469" y="4847607"/>
                    </a:cubicBezTo>
                    <a:cubicBezTo>
                      <a:pt x="4395907" y="4847607"/>
                      <a:pt x="4414155" y="4829113"/>
                      <a:pt x="4414401" y="4806678"/>
                    </a:cubicBezTo>
                    <a:close/>
                    <a:moveTo>
                      <a:pt x="4414648" y="2950231"/>
                    </a:moveTo>
                    <a:cubicBezTo>
                      <a:pt x="4414648" y="2943823"/>
                      <a:pt x="4409221" y="2938396"/>
                      <a:pt x="4402812" y="2938396"/>
                    </a:cubicBezTo>
                    <a:cubicBezTo>
                      <a:pt x="4396402" y="2938396"/>
                      <a:pt x="4390976" y="2943574"/>
                      <a:pt x="4390976" y="2950231"/>
                    </a:cubicBezTo>
                    <a:cubicBezTo>
                      <a:pt x="4390976" y="2956890"/>
                      <a:pt x="4396154" y="2962067"/>
                      <a:pt x="4402812" y="2962067"/>
                    </a:cubicBezTo>
                    <a:cubicBezTo>
                      <a:pt x="4409221" y="2962067"/>
                      <a:pt x="4414648" y="2956890"/>
                      <a:pt x="4414648" y="2950231"/>
                    </a:cubicBezTo>
                    <a:close/>
                    <a:moveTo>
                      <a:pt x="4414897" y="3791769"/>
                    </a:moveTo>
                    <a:cubicBezTo>
                      <a:pt x="4414897" y="3773769"/>
                      <a:pt x="4400100" y="3758975"/>
                      <a:pt x="4382100" y="3758975"/>
                    </a:cubicBezTo>
                    <a:cubicBezTo>
                      <a:pt x="4364101" y="3758975"/>
                      <a:pt x="4349305" y="3773769"/>
                      <a:pt x="4349305" y="3791769"/>
                    </a:cubicBezTo>
                    <a:cubicBezTo>
                      <a:pt x="4349305" y="3809769"/>
                      <a:pt x="4364101" y="3824563"/>
                      <a:pt x="4382100" y="3824563"/>
                    </a:cubicBezTo>
                    <a:cubicBezTo>
                      <a:pt x="4400348" y="3824563"/>
                      <a:pt x="4414897" y="3809769"/>
                      <a:pt x="4414897" y="3791769"/>
                    </a:cubicBezTo>
                    <a:close/>
                    <a:moveTo>
                      <a:pt x="4415633" y="6452077"/>
                    </a:moveTo>
                    <a:cubicBezTo>
                      <a:pt x="4415633" y="6451090"/>
                      <a:pt x="4414896" y="6450349"/>
                      <a:pt x="4413910" y="6450349"/>
                    </a:cubicBezTo>
                    <a:cubicBezTo>
                      <a:pt x="4412923" y="6450349"/>
                      <a:pt x="4412182" y="6451090"/>
                      <a:pt x="4412182" y="6452077"/>
                    </a:cubicBezTo>
                    <a:cubicBezTo>
                      <a:pt x="4412182" y="6453062"/>
                      <a:pt x="4412923" y="6453803"/>
                      <a:pt x="4413910" y="6453803"/>
                    </a:cubicBezTo>
                    <a:cubicBezTo>
                      <a:pt x="4414896" y="6453803"/>
                      <a:pt x="4415633" y="6453062"/>
                      <a:pt x="4415633" y="6452077"/>
                    </a:cubicBezTo>
                    <a:close/>
                    <a:moveTo>
                      <a:pt x="4415880" y="6565256"/>
                    </a:moveTo>
                    <a:cubicBezTo>
                      <a:pt x="4415880" y="6564270"/>
                      <a:pt x="4415142" y="6563529"/>
                      <a:pt x="4414157" y="6563529"/>
                    </a:cubicBezTo>
                    <a:cubicBezTo>
                      <a:pt x="4413170" y="6563529"/>
                      <a:pt x="4412429" y="6564270"/>
                      <a:pt x="4412429" y="6565256"/>
                    </a:cubicBezTo>
                    <a:cubicBezTo>
                      <a:pt x="4412429" y="6566242"/>
                      <a:pt x="4413170" y="6566980"/>
                      <a:pt x="4414157" y="6566980"/>
                    </a:cubicBezTo>
                    <a:cubicBezTo>
                      <a:pt x="4414897" y="6566980"/>
                      <a:pt x="4415880" y="6566242"/>
                      <a:pt x="4415880" y="6565256"/>
                    </a:cubicBezTo>
                    <a:close/>
                    <a:moveTo>
                      <a:pt x="4415883" y="6791117"/>
                    </a:moveTo>
                    <a:cubicBezTo>
                      <a:pt x="4415883" y="6790379"/>
                      <a:pt x="4415142" y="6789638"/>
                      <a:pt x="4414402" y="6789638"/>
                    </a:cubicBezTo>
                    <a:cubicBezTo>
                      <a:pt x="4413664" y="6789638"/>
                      <a:pt x="4412923" y="6790379"/>
                      <a:pt x="4412923" y="6791117"/>
                    </a:cubicBezTo>
                    <a:cubicBezTo>
                      <a:pt x="4412923" y="6791857"/>
                      <a:pt x="4413664" y="6792598"/>
                      <a:pt x="4414402" y="6792598"/>
                    </a:cubicBezTo>
                    <a:cubicBezTo>
                      <a:pt x="4415388" y="6792598"/>
                      <a:pt x="4415883" y="6791857"/>
                      <a:pt x="4415883" y="6791117"/>
                    </a:cubicBezTo>
                    <a:close/>
                    <a:moveTo>
                      <a:pt x="4416374" y="4678948"/>
                    </a:moveTo>
                    <a:cubicBezTo>
                      <a:pt x="4416374" y="4651579"/>
                      <a:pt x="4394182" y="4629386"/>
                      <a:pt x="4366811" y="4629386"/>
                    </a:cubicBezTo>
                    <a:cubicBezTo>
                      <a:pt x="4339442" y="4629386"/>
                      <a:pt x="4317249" y="4651579"/>
                      <a:pt x="4317249" y="4678948"/>
                    </a:cubicBezTo>
                    <a:cubicBezTo>
                      <a:pt x="4317249" y="4706318"/>
                      <a:pt x="4339442" y="4728511"/>
                      <a:pt x="4366811" y="4728511"/>
                    </a:cubicBezTo>
                    <a:cubicBezTo>
                      <a:pt x="4394182" y="4728511"/>
                      <a:pt x="4416374" y="4706318"/>
                      <a:pt x="4416374" y="4678948"/>
                    </a:cubicBezTo>
                    <a:close/>
                    <a:moveTo>
                      <a:pt x="4416868" y="6678677"/>
                    </a:moveTo>
                    <a:cubicBezTo>
                      <a:pt x="4416868" y="6676705"/>
                      <a:pt x="4415633" y="6675226"/>
                      <a:pt x="4413661" y="6675226"/>
                    </a:cubicBezTo>
                    <a:cubicBezTo>
                      <a:pt x="4411933" y="6675226"/>
                      <a:pt x="4410455" y="6676705"/>
                      <a:pt x="4410455" y="6678677"/>
                    </a:cubicBezTo>
                    <a:cubicBezTo>
                      <a:pt x="4410455" y="6680404"/>
                      <a:pt x="4411933" y="6681885"/>
                      <a:pt x="4413661" y="6681885"/>
                    </a:cubicBezTo>
                    <a:cubicBezTo>
                      <a:pt x="4415633" y="6681885"/>
                      <a:pt x="4417114" y="6680404"/>
                      <a:pt x="4416868" y="6678677"/>
                    </a:cubicBezTo>
                    <a:close/>
                    <a:moveTo>
                      <a:pt x="4418101" y="6903308"/>
                    </a:moveTo>
                    <a:cubicBezTo>
                      <a:pt x="4418101" y="6901332"/>
                      <a:pt x="4416623" y="6899854"/>
                      <a:pt x="4414648" y="6899854"/>
                    </a:cubicBezTo>
                    <a:cubicBezTo>
                      <a:pt x="4412677" y="6899854"/>
                      <a:pt x="4411197" y="6901332"/>
                      <a:pt x="4411197" y="6903308"/>
                    </a:cubicBezTo>
                    <a:cubicBezTo>
                      <a:pt x="4411197" y="6905281"/>
                      <a:pt x="4412677" y="6906759"/>
                      <a:pt x="4414648" y="6906759"/>
                    </a:cubicBezTo>
                    <a:cubicBezTo>
                      <a:pt x="4416623" y="6906759"/>
                      <a:pt x="4418348" y="6905281"/>
                      <a:pt x="4418101" y="6903308"/>
                    </a:cubicBezTo>
                    <a:close/>
                    <a:moveTo>
                      <a:pt x="4418348" y="4931444"/>
                    </a:moveTo>
                    <a:cubicBezTo>
                      <a:pt x="4418348" y="4909744"/>
                      <a:pt x="4400840" y="4892237"/>
                      <a:pt x="4379142" y="4892237"/>
                    </a:cubicBezTo>
                    <a:cubicBezTo>
                      <a:pt x="4357442" y="4892237"/>
                      <a:pt x="4339935" y="4909991"/>
                      <a:pt x="4339935" y="4931444"/>
                    </a:cubicBezTo>
                    <a:cubicBezTo>
                      <a:pt x="4339935" y="4953142"/>
                      <a:pt x="4357442" y="4970650"/>
                      <a:pt x="4379142" y="4970650"/>
                    </a:cubicBezTo>
                    <a:cubicBezTo>
                      <a:pt x="4400594" y="4970650"/>
                      <a:pt x="4418348" y="4953142"/>
                      <a:pt x="4418348" y="4931444"/>
                    </a:cubicBezTo>
                    <a:close/>
                    <a:moveTo>
                      <a:pt x="4419578" y="7015499"/>
                    </a:moveTo>
                    <a:cubicBezTo>
                      <a:pt x="4419578" y="7013035"/>
                      <a:pt x="4417606" y="7011062"/>
                      <a:pt x="4415139" y="7011062"/>
                    </a:cubicBezTo>
                    <a:cubicBezTo>
                      <a:pt x="4412676" y="7011062"/>
                      <a:pt x="4410703" y="7013035"/>
                      <a:pt x="4410703" y="7015499"/>
                    </a:cubicBezTo>
                    <a:cubicBezTo>
                      <a:pt x="4410703" y="7017966"/>
                      <a:pt x="4412676" y="7019939"/>
                      <a:pt x="4415139" y="7019939"/>
                    </a:cubicBezTo>
                    <a:cubicBezTo>
                      <a:pt x="4417606" y="7019939"/>
                      <a:pt x="4419578" y="7017966"/>
                      <a:pt x="4419578" y="7015499"/>
                    </a:cubicBezTo>
                    <a:close/>
                    <a:moveTo>
                      <a:pt x="4421306" y="7127199"/>
                    </a:moveTo>
                    <a:cubicBezTo>
                      <a:pt x="4421306" y="7123994"/>
                      <a:pt x="4418841" y="7121527"/>
                      <a:pt x="4415637" y="7121527"/>
                    </a:cubicBezTo>
                    <a:cubicBezTo>
                      <a:pt x="4412429" y="7121527"/>
                      <a:pt x="4409964" y="7123994"/>
                      <a:pt x="4409964" y="7127199"/>
                    </a:cubicBezTo>
                    <a:cubicBezTo>
                      <a:pt x="4409964" y="7130403"/>
                      <a:pt x="4412429" y="7132871"/>
                      <a:pt x="4415637" y="7132871"/>
                    </a:cubicBezTo>
                    <a:cubicBezTo>
                      <a:pt x="4418841" y="7132871"/>
                      <a:pt x="4421306" y="7130403"/>
                      <a:pt x="4421306" y="7127199"/>
                    </a:cubicBezTo>
                    <a:close/>
                    <a:moveTo>
                      <a:pt x="4422044" y="1774663"/>
                    </a:moveTo>
                    <a:cubicBezTo>
                      <a:pt x="4422044" y="1751471"/>
                      <a:pt x="4403058" y="1732473"/>
                      <a:pt x="4379882" y="1732473"/>
                    </a:cubicBezTo>
                    <a:cubicBezTo>
                      <a:pt x="4356702" y="1732473"/>
                      <a:pt x="4337715" y="1751471"/>
                      <a:pt x="4337715" y="1774663"/>
                    </a:cubicBezTo>
                    <a:cubicBezTo>
                      <a:pt x="4337715" y="1797853"/>
                      <a:pt x="4356702" y="1816833"/>
                      <a:pt x="4379882" y="1816833"/>
                    </a:cubicBezTo>
                    <a:cubicBezTo>
                      <a:pt x="4403307" y="1816833"/>
                      <a:pt x="4422044" y="1798105"/>
                      <a:pt x="4422044" y="1774663"/>
                    </a:cubicBezTo>
                    <a:close/>
                    <a:moveTo>
                      <a:pt x="4424264" y="7349609"/>
                    </a:moveTo>
                    <a:cubicBezTo>
                      <a:pt x="4424264" y="7347145"/>
                      <a:pt x="4422538" y="7345418"/>
                      <a:pt x="4420319" y="7345418"/>
                    </a:cubicBezTo>
                    <a:cubicBezTo>
                      <a:pt x="4418101" y="7345418"/>
                      <a:pt x="4416128" y="7347145"/>
                      <a:pt x="4416128" y="7349609"/>
                    </a:cubicBezTo>
                    <a:cubicBezTo>
                      <a:pt x="4416128" y="7352077"/>
                      <a:pt x="4418101" y="7353801"/>
                      <a:pt x="4420319" y="7353801"/>
                    </a:cubicBezTo>
                    <a:cubicBezTo>
                      <a:pt x="4422538" y="7353801"/>
                      <a:pt x="4424264" y="7352077"/>
                      <a:pt x="4424264" y="7349609"/>
                    </a:cubicBezTo>
                    <a:close/>
                    <a:moveTo>
                      <a:pt x="4425745" y="7461061"/>
                    </a:moveTo>
                    <a:cubicBezTo>
                      <a:pt x="4425745" y="7458102"/>
                      <a:pt x="4423524" y="7455884"/>
                      <a:pt x="4420566" y="7455884"/>
                    </a:cubicBezTo>
                    <a:cubicBezTo>
                      <a:pt x="4417606" y="7455884"/>
                      <a:pt x="4415388" y="7458102"/>
                      <a:pt x="4415388" y="7461061"/>
                    </a:cubicBezTo>
                    <a:cubicBezTo>
                      <a:pt x="4415388" y="7464020"/>
                      <a:pt x="4417606" y="7466238"/>
                      <a:pt x="4420566" y="7466238"/>
                    </a:cubicBezTo>
                    <a:cubicBezTo>
                      <a:pt x="4423278" y="7466238"/>
                      <a:pt x="4425745" y="7463773"/>
                      <a:pt x="4425745" y="7461061"/>
                    </a:cubicBezTo>
                    <a:close/>
                    <a:moveTo>
                      <a:pt x="4426729" y="7238161"/>
                    </a:moveTo>
                    <a:cubicBezTo>
                      <a:pt x="4426729" y="7234706"/>
                      <a:pt x="4423771" y="7231748"/>
                      <a:pt x="4420320" y="7231748"/>
                    </a:cubicBezTo>
                    <a:cubicBezTo>
                      <a:pt x="4416866" y="7231748"/>
                      <a:pt x="4413906" y="7234706"/>
                      <a:pt x="4413906" y="7238161"/>
                    </a:cubicBezTo>
                    <a:cubicBezTo>
                      <a:pt x="4413906" y="7241611"/>
                      <a:pt x="4416620" y="7244570"/>
                      <a:pt x="4420320" y="7244570"/>
                    </a:cubicBezTo>
                    <a:cubicBezTo>
                      <a:pt x="4423771" y="7244570"/>
                      <a:pt x="4426729" y="7241611"/>
                      <a:pt x="4426729" y="7238161"/>
                    </a:cubicBezTo>
                    <a:close/>
                    <a:moveTo>
                      <a:pt x="4428950" y="1535493"/>
                    </a:moveTo>
                    <a:cubicBezTo>
                      <a:pt x="4428950" y="1511080"/>
                      <a:pt x="4409221" y="1491353"/>
                      <a:pt x="4384813" y="1491353"/>
                    </a:cubicBezTo>
                    <a:cubicBezTo>
                      <a:pt x="4360401" y="1491353"/>
                      <a:pt x="4340674" y="1511080"/>
                      <a:pt x="4340674" y="1535493"/>
                    </a:cubicBezTo>
                    <a:cubicBezTo>
                      <a:pt x="4340674" y="1559899"/>
                      <a:pt x="4360401" y="1579629"/>
                      <a:pt x="4384813" y="1579629"/>
                    </a:cubicBezTo>
                    <a:cubicBezTo>
                      <a:pt x="4408975" y="1579629"/>
                      <a:pt x="4428950" y="1559899"/>
                      <a:pt x="4428950" y="1535493"/>
                    </a:cubicBezTo>
                    <a:close/>
                    <a:moveTo>
                      <a:pt x="4429196" y="1654569"/>
                    </a:moveTo>
                    <a:cubicBezTo>
                      <a:pt x="4429196" y="1628928"/>
                      <a:pt x="4408484" y="1608215"/>
                      <a:pt x="4382839" y="1608215"/>
                    </a:cubicBezTo>
                    <a:cubicBezTo>
                      <a:pt x="4357196" y="1608215"/>
                      <a:pt x="4336483" y="1629174"/>
                      <a:pt x="4336483" y="1654569"/>
                    </a:cubicBezTo>
                    <a:cubicBezTo>
                      <a:pt x="4336483" y="1680215"/>
                      <a:pt x="4357442" y="1700929"/>
                      <a:pt x="4382839" y="1700929"/>
                    </a:cubicBezTo>
                    <a:cubicBezTo>
                      <a:pt x="4408484" y="1700929"/>
                      <a:pt x="4429196" y="1680215"/>
                      <a:pt x="4429196" y="1654569"/>
                    </a:cubicBezTo>
                    <a:close/>
                    <a:moveTo>
                      <a:pt x="4430183" y="4201084"/>
                    </a:moveTo>
                    <a:cubicBezTo>
                      <a:pt x="4430183" y="4184317"/>
                      <a:pt x="4416374" y="4170509"/>
                      <a:pt x="4399608" y="4170509"/>
                    </a:cubicBezTo>
                    <a:cubicBezTo>
                      <a:pt x="4382840" y="4170509"/>
                      <a:pt x="4369031" y="4184317"/>
                      <a:pt x="4369031" y="4201084"/>
                    </a:cubicBezTo>
                    <a:cubicBezTo>
                      <a:pt x="4369031" y="4218097"/>
                      <a:pt x="4382840" y="4231659"/>
                      <a:pt x="4399608" y="4231659"/>
                    </a:cubicBezTo>
                    <a:cubicBezTo>
                      <a:pt x="4416374" y="4231659"/>
                      <a:pt x="4429937" y="4217851"/>
                      <a:pt x="4430183" y="4201084"/>
                    </a:cubicBezTo>
                    <a:close/>
                    <a:moveTo>
                      <a:pt x="4434622" y="3332416"/>
                    </a:moveTo>
                    <a:cubicBezTo>
                      <a:pt x="4434622" y="3326995"/>
                      <a:pt x="4430183" y="3322556"/>
                      <a:pt x="4424759" y="3322556"/>
                    </a:cubicBezTo>
                    <a:cubicBezTo>
                      <a:pt x="4419333" y="3322556"/>
                      <a:pt x="4414896" y="3326995"/>
                      <a:pt x="4414896" y="3332416"/>
                    </a:cubicBezTo>
                    <a:cubicBezTo>
                      <a:pt x="4414896" y="3337845"/>
                      <a:pt x="4419333" y="3342280"/>
                      <a:pt x="4424759" y="3342280"/>
                    </a:cubicBezTo>
                    <a:cubicBezTo>
                      <a:pt x="4430183" y="3342280"/>
                      <a:pt x="4434622" y="3337845"/>
                      <a:pt x="4434622" y="3332416"/>
                    </a:cubicBezTo>
                    <a:close/>
                    <a:moveTo>
                      <a:pt x="4436595" y="2798594"/>
                    </a:moveTo>
                    <a:cubicBezTo>
                      <a:pt x="4436595" y="2796621"/>
                      <a:pt x="4435114" y="2795143"/>
                      <a:pt x="4433388" y="2795143"/>
                    </a:cubicBezTo>
                    <a:cubicBezTo>
                      <a:pt x="4431415" y="2795143"/>
                      <a:pt x="4429936" y="2796621"/>
                      <a:pt x="4429936" y="2798594"/>
                    </a:cubicBezTo>
                    <a:cubicBezTo>
                      <a:pt x="4429936" y="2800321"/>
                      <a:pt x="4431415" y="2801801"/>
                      <a:pt x="4433388" y="2801801"/>
                    </a:cubicBezTo>
                    <a:cubicBezTo>
                      <a:pt x="4435114" y="2801801"/>
                      <a:pt x="4436595" y="2800321"/>
                      <a:pt x="4436595" y="2798594"/>
                    </a:cubicBezTo>
                    <a:close/>
                    <a:moveTo>
                      <a:pt x="4441770" y="4343359"/>
                    </a:moveTo>
                    <a:cubicBezTo>
                      <a:pt x="4441770" y="4331277"/>
                      <a:pt x="4431910" y="4321413"/>
                      <a:pt x="4419826" y="4321413"/>
                    </a:cubicBezTo>
                    <a:cubicBezTo>
                      <a:pt x="4407743" y="4321413"/>
                      <a:pt x="4397880" y="4331277"/>
                      <a:pt x="4397880" y="4343359"/>
                    </a:cubicBezTo>
                    <a:cubicBezTo>
                      <a:pt x="4397880" y="4355440"/>
                      <a:pt x="4407743" y="4365303"/>
                      <a:pt x="4419826" y="4365303"/>
                    </a:cubicBezTo>
                    <a:cubicBezTo>
                      <a:pt x="4431910" y="4365303"/>
                      <a:pt x="4441770" y="4355440"/>
                      <a:pt x="4441770" y="4343359"/>
                    </a:cubicBezTo>
                    <a:close/>
                    <a:moveTo>
                      <a:pt x="4442509" y="49596"/>
                    </a:moveTo>
                    <a:cubicBezTo>
                      <a:pt x="4442509" y="29378"/>
                      <a:pt x="4425988" y="12611"/>
                      <a:pt x="4405525" y="12611"/>
                    </a:cubicBezTo>
                    <a:cubicBezTo>
                      <a:pt x="4385058" y="12611"/>
                      <a:pt x="4368536" y="29131"/>
                      <a:pt x="4368536" y="49596"/>
                    </a:cubicBezTo>
                    <a:cubicBezTo>
                      <a:pt x="4368536" y="70060"/>
                      <a:pt x="4385058" y="86580"/>
                      <a:pt x="4405525" y="86580"/>
                    </a:cubicBezTo>
                    <a:cubicBezTo>
                      <a:pt x="4425742" y="86580"/>
                      <a:pt x="4442509" y="70060"/>
                      <a:pt x="4442509" y="49596"/>
                    </a:cubicBezTo>
                    <a:close/>
                    <a:moveTo>
                      <a:pt x="4443004" y="162008"/>
                    </a:moveTo>
                    <a:cubicBezTo>
                      <a:pt x="4443004" y="141296"/>
                      <a:pt x="4426238" y="124531"/>
                      <a:pt x="4405525" y="124531"/>
                    </a:cubicBezTo>
                    <a:cubicBezTo>
                      <a:pt x="4384813" y="124531"/>
                      <a:pt x="4368045" y="141296"/>
                      <a:pt x="4368045" y="162008"/>
                    </a:cubicBezTo>
                    <a:cubicBezTo>
                      <a:pt x="4368045" y="182719"/>
                      <a:pt x="4384813" y="199486"/>
                      <a:pt x="4405525" y="199486"/>
                    </a:cubicBezTo>
                    <a:cubicBezTo>
                      <a:pt x="4426238" y="199486"/>
                      <a:pt x="4443004" y="182474"/>
                      <a:pt x="4443004" y="162008"/>
                    </a:cubicBezTo>
                    <a:close/>
                    <a:moveTo>
                      <a:pt x="4443004" y="500729"/>
                    </a:moveTo>
                    <a:cubicBezTo>
                      <a:pt x="4443004" y="480019"/>
                      <a:pt x="4425991" y="463005"/>
                      <a:pt x="4405279" y="463005"/>
                    </a:cubicBezTo>
                    <a:cubicBezTo>
                      <a:pt x="4384566" y="463005"/>
                      <a:pt x="4367552" y="479772"/>
                      <a:pt x="4367552" y="500729"/>
                    </a:cubicBezTo>
                    <a:cubicBezTo>
                      <a:pt x="4367552" y="521441"/>
                      <a:pt x="4384320" y="538457"/>
                      <a:pt x="4405279" y="538457"/>
                    </a:cubicBezTo>
                    <a:cubicBezTo>
                      <a:pt x="4426238" y="538457"/>
                      <a:pt x="4443004" y="521441"/>
                      <a:pt x="4443004" y="500729"/>
                    </a:cubicBezTo>
                    <a:close/>
                    <a:moveTo>
                      <a:pt x="4443251" y="387329"/>
                    </a:moveTo>
                    <a:cubicBezTo>
                      <a:pt x="4443251" y="366371"/>
                      <a:pt x="4426238" y="349605"/>
                      <a:pt x="4405525" y="349605"/>
                    </a:cubicBezTo>
                    <a:cubicBezTo>
                      <a:pt x="4384813" y="349605"/>
                      <a:pt x="4367800" y="366617"/>
                      <a:pt x="4367800" y="387329"/>
                    </a:cubicBezTo>
                    <a:cubicBezTo>
                      <a:pt x="4367800" y="408288"/>
                      <a:pt x="4384813" y="425056"/>
                      <a:pt x="4405525" y="425056"/>
                    </a:cubicBezTo>
                    <a:cubicBezTo>
                      <a:pt x="4426238" y="425056"/>
                      <a:pt x="4443005" y="408288"/>
                      <a:pt x="4443251" y="387329"/>
                    </a:cubicBezTo>
                    <a:close/>
                    <a:moveTo>
                      <a:pt x="4444485" y="3679825"/>
                    </a:moveTo>
                    <a:cubicBezTo>
                      <a:pt x="4444485" y="3663057"/>
                      <a:pt x="4430923" y="3649495"/>
                      <a:pt x="4414155" y="3649495"/>
                    </a:cubicBezTo>
                    <a:cubicBezTo>
                      <a:pt x="4397388" y="3649495"/>
                      <a:pt x="4383826" y="3663057"/>
                      <a:pt x="4383826" y="3679825"/>
                    </a:cubicBezTo>
                    <a:cubicBezTo>
                      <a:pt x="4383826" y="3696591"/>
                      <a:pt x="4397388" y="3710151"/>
                      <a:pt x="4414155" y="3710151"/>
                    </a:cubicBezTo>
                    <a:cubicBezTo>
                      <a:pt x="4430923" y="3710151"/>
                      <a:pt x="4444485" y="3696591"/>
                      <a:pt x="4444485" y="3679825"/>
                    </a:cubicBezTo>
                    <a:close/>
                    <a:moveTo>
                      <a:pt x="4445716" y="274668"/>
                    </a:moveTo>
                    <a:cubicBezTo>
                      <a:pt x="4445716" y="252725"/>
                      <a:pt x="4427718" y="234726"/>
                      <a:pt x="4405770" y="234726"/>
                    </a:cubicBezTo>
                    <a:cubicBezTo>
                      <a:pt x="4383826" y="234726"/>
                      <a:pt x="4365826" y="252725"/>
                      <a:pt x="4365826" y="274668"/>
                    </a:cubicBezTo>
                    <a:cubicBezTo>
                      <a:pt x="4365826" y="296614"/>
                      <a:pt x="4383579" y="314613"/>
                      <a:pt x="4405770" y="314613"/>
                    </a:cubicBezTo>
                    <a:cubicBezTo>
                      <a:pt x="4427963" y="314613"/>
                      <a:pt x="4445716" y="296614"/>
                      <a:pt x="4445716" y="274668"/>
                    </a:cubicBezTo>
                    <a:close/>
                    <a:moveTo>
                      <a:pt x="4453361" y="3448311"/>
                    </a:moveTo>
                    <a:cubicBezTo>
                      <a:pt x="4453361" y="3438447"/>
                      <a:pt x="4445223" y="3430313"/>
                      <a:pt x="4435359" y="3430313"/>
                    </a:cubicBezTo>
                    <a:cubicBezTo>
                      <a:pt x="4425496" y="3430313"/>
                      <a:pt x="4417360" y="3438447"/>
                      <a:pt x="4417360" y="3448311"/>
                    </a:cubicBezTo>
                    <a:cubicBezTo>
                      <a:pt x="4417360" y="3458175"/>
                      <a:pt x="4425496" y="3466289"/>
                      <a:pt x="4435359" y="3466289"/>
                    </a:cubicBezTo>
                    <a:cubicBezTo>
                      <a:pt x="4445469" y="3466289"/>
                      <a:pt x="4453361" y="3458421"/>
                      <a:pt x="4453361" y="3448311"/>
                    </a:cubicBezTo>
                    <a:close/>
                    <a:moveTo>
                      <a:pt x="4457798" y="3564673"/>
                    </a:moveTo>
                    <a:cubicBezTo>
                      <a:pt x="4457798" y="3550373"/>
                      <a:pt x="4446212" y="3538783"/>
                      <a:pt x="4431909" y="3538783"/>
                    </a:cubicBezTo>
                    <a:cubicBezTo>
                      <a:pt x="4417609" y="3538783"/>
                      <a:pt x="4406019" y="3550373"/>
                      <a:pt x="4406019" y="3564673"/>
                    </a:cubicBezTo>
                    <a:cubicBezTo>
                      <a:pt x="4406019" y="3578976"/>
                      <a:pt x="4417609" y="3590566"/>
                      <a:pt x="4431909" y="3590566"/>
                    </a:cubicBezTo>
                    <a:cubicBezTo>
                      <a:pt x="4446212" y="3590566"/>
                      <a:pt x="4457798" y="3578976"/>
                      <a:pt x="4457798" y="3564673"/>
                    </a:cubicBezTo>
                    <a:close/>
                    <a:moveTo>
                      <a:pt x="4461990" y="2345662"/>
                    </a:moveTo>
                    <a:cubicBezTo>
                      <a:pt x="4461990" y="2341715"/>
                      <a:pt x="4458785" y="2338259"/>
                      <a:pt x="4454594" y="2338259"/>
                    </a:cubicBezTo>
                    <a:cubicBezTo>
                      <a:pt x="4450646" y="2338259"/>
                      <a:pt x="4447195" y="2341466"/>
                      <a:pt x="4447195" y="2345662"/>
                    </a:cubicBezTo>
                    <a:cubicBezTo>
                      <a:pt x="4447195" y="2349607"/>
                      <a:pt x="4450401" y="2353055"/>
                      <a:pt x="4454594" y="2353055"/>
                    </a:cubicBezTo>
                    <a:cubicBezTo>
                      <a:pt x="4458785" y="2353055"/>
                      <a:pt x="4461990" y="2349607"/>
                      <a:pt x="4461990" y="2345662"/>
                    </a:cubicBezTo>
                    <a:close/>
                    <a:moveTo>
                      <a:pt x="4464700" y="4480949"/>
                    </a:moveTo>
                    <a:cubicBezTo>
                      <a:pt x="4464700" y="4464922"/>
                      <a:pt x="4451632" y="4452100"/>
                      <a:pt x="4435851" y="4452100"/>
                    </a:cubicBezTo>
                    <a:cubicBezTo>
                      <a:pt x="4419825" y="4452100"/>
                      <a:pt x="4407003" y="4465168"/>
                      <a:pt x="4407003" y="4480949"/>
                    </a:cubicBezTo>
                    <a:cubicBezTo>
                      <a:pt x="4407003" y="4496975"/>
                      <a:pt x="4420070" y="4509797"/>
                      <a:pt x="4435851" y="4509797"/>
                    </a:cubicBezTo>
                    <a:cubicBezTo>
                      <a:pt x="4451632" y="4509797"/>
                      <a:pt x="4464454" y="4496730"/>
                      <a:pt x="4464700" y="4480949"/>
                    </a:cubicBezTo>
                    <a:close/>
                    <a:moveTo>
                      <a:pt x="4465443" y="3952783"/>
                    </a:moveTo>
                    <a:cubicBezTo>
                      <a:pt x="4465443" y="3933797"/>
                      <a:pt x="4449908" y="3918262"/>
                      <a:pt x="4430922" y="3918262"/>
                    </a:cubicBezTo>
                    <a:cubicBezTo>
                      <a:pt x="4411936" y="3918262"/>
                      <a:pt x="4396401" y="3933797"/>
                      <a:pt x="4396401" y="3952783"/>
                    </a:cubicBezTo>
                    <a:cubicBezTo>
                      <a:pt x="4396401" y="3971769"/>
                      <a:pt x="4411936" y="3987303"/>
                      <a:pt x="4430922" y="3987303"/>
                    </a:cubicBezTo>
                    <a:cubicBezTo>
                      <a:pt x="4449908" y="3987303"/>
                      <a:pt x="4465443" y="3972017"/>
                      <a:pt x="4465443" y="3952783"/>
                    </a:cubicBezTo>
                    <a:close/>
                    <a:moveTo>
                      <a:pt x="4465689" y="2652625"/>
                    </a:moveTo>
                    <a:cubicBezTo>
                      <a:pt x="4465689" y="2647449"/>
                      <a:pt x="4461498" y="2643258"/>
                      <a:pt x="4456318" y="2643258"/>
                    </a:cubicBezTo>
                    <a:cubicBezTo>
                      <a:pt x="4451141" y="2643258"/>
                      <a:pt x="4446950" y="2647449"/>
                      <a:pt x="4446950" y="2652625"/>
                    </a:cubicBezTo>
                    <a:cubicBezTo>
                      <a:pt x="4446950" y="2657806"/>
                      <a:pt x="4451141" y="2661997"/>
                      <a:pt x="4456318" y="2661997"/>
                    </a:cubicBezTo>
                    <a:cubicBezTo>
                      <a:pt x="4461498" y="2661997"/>
                      <a:pt x="4465689" y="2657806"/>
                      <a:pt x="4465689" y="2652625"/>
                    </a:cubicBezTo>
                    <a:close/>
                    <a:moveTo>
                      <a:pt x="4467412" y="3053795"/>
                    </a:moveTo>
                    <a:cubicBezTo>
                      <a:pt x="4467412" y="3047140"/>
                      <a:pt x="4461990" y="3041713"/>
                      <a:pt x="4455331" y="3041713"/>
                    </a:cubicBezTo>
                    <a:cubicBezTo>
                      <a:pt x="4448676" y="3041713"/>
                      <a:pt x="4443250" y="3047140"/>
                      <a:pt x="4443250" y="3053795"/>
                    </a:cubicBezTo>
                    <a:cubicBezTo>
                      <a:pt x="4443250" y="3060453"/>
                      <a:pt x="4448676" y="3065879"/>
                      <a:pt x="4455331" y="3065879"/>
                    </a:cubicBezTo>
                    <a:cubicBezTo>
                      <a:pt x="4461990" y="3065879"/>
                      <a:pt x="4467412" y="3060453"/>
                      <a:pt x="4467412" y="3053795"/>
                    </a:cubicBezTo>
                    <a:close/>
                    <a:moveTo>
                      <a:pt x="4472099" y="2213503"/>
                    </a:moveTo>
                    <a:cubicBezTo>
                      <a:pt x="4472099" y="2209063"/>
                      <a:pt x="4468403" y="2205366"/>
                      <a:pt x="4463963" y="2205366"/>
                    </a:cubicBezTo>
                    <a:cubicBezTo>
                      <a:pt x="4459526" y="2205366"/>
                      <a:pt x="4455826" y="2209063"/>
                      <a:pt x="4455826" y="2213503"/>
                    </a:cubicBezTo>
                    <a:cubicBezTo>
                      <a:pt x="4455826" y="2217939"/>
                      <a:pt x="4459526" y="2221642"/>
                      <a:pt x="4463963" y="2221642"/>
                    </a:cubicBezTo>
                    <a:cubicBezTo>
                      <a:pt x="4468403" y="2221642"/>
                      <a:pt x="4472099" y="2217939"/>
                      <a:pt x="4472099" y="2213503"/>
                    </a:cubicBezTo>
                    <a:close/>
                    <a:moveTo>
                      <a:pt x="4475798" y="2511837"/>
                    </a:moveTo>
                    <a:cubicBezTo>
                      <a:pt x="4475798" y="2511099"/>
                      <a:pt x="4475058" y="2510358"/>
                      <a:pt x="4474320" y="2510358"/>
                    </a:cubicBezTo>
                    <a:cubicBezTo>
                      <a:pt x="4473580" y="2510358"/>
                      <a:pt x="4472839" y="2511099"/>
                      <a:pt x="4472839" y="2511837"/>
                    </a:cubicBezTo>
                    <a:cubicBezTo>
                      <a:pt x="4472839" y="2512577"/>
                      <a:pt x="4473580" y="2513318"/>
                      <a:pt x="4474320" y="2513318"/>
                    </a:cubicBezTo>
                    <a:cubicBezTo>
                      <a:pt x="4475058" y="2513318"/>
                      <a:pt x="4475553" y="2512577"/>
                      <a:pt x="4475798" y="2511837"/>
                    </a:cubicBezTo>
                    <a:close/>
                    <a:moveTo>
                      <a:pt x="4489115" y="1956836"/>
                    </a:moveTo>
                    <a:cubicBezTo>
                      <a:pt x="4489115" y="1949934"/>
                      <a:pt x="4483443" y="1944264"/>
                      <a:pt x="4476538" y="1944264"/>
                    </a:cubicBezTo>
                    <a:cubicBezTo>
                      <a:pt x="4469634" y="1944264"/>
                      <a:pt x="4463962" y="1949934"/>
                      <a:pt x="4463962" y="1956836"/>
                    </a:cubicBezTo>
                    <a:cubicBezTo>
                      <a:pt x="4463962" y="1963739"/>
                      <a:pt x="4469634" y="1969405"/>
                      <a:pt x="4476538" y="1969405"/>
                    </a:cubicBezTo>
                    <a:cubicBezTo>
                      <a:pt x="4483443" y="1969405"/>
                      <a:pt x="4489115" y="1963739"/>
                      <a:pt x="4489115" y="1956836"/>
                    </a:cubicBezTo>
                    <a:close/>
                    <a:moveTo>
                      <a:pt x="4489606" y="2084052"/>
                    </a:moveTo>
                    <a:cubicBezTo>
                      <a:pt x="4489606" y="2073695"/>
                      <a:pt x="4481223" y="2065310"/>
                      <a:pt x="4470866" y="2065310"/>
                    </a:cubicBezTo>
                    <a:cubicBezTo>
                      <a:pt x="4460509" y="2065310"/>
                      <a:pt x="4452126" y="2073695"/>
                      <a:pt x="4452126" y="2084052"/>
                    </a:cubicBezTo>
                    <a:cubicBezTo>
                      <a:pt x="4452126" y="2094410"/>
                      <a:pt x="4460509" y="2102793"/>
                      <a:pt x="4470866" y="2102793"/>
                    </a:cubicBezTo>
                    <a:cubicBezTo>
                      <a:pt x="4481223" y="2102793"/>
                      <a:pt x="4489606" y="2094410"/>
                      <a:pt x="4489606" y="2084052"/>
                    </a:cubicBezTo>
                    <a:close/>
                    <a:moveTo>
                      <a:pt x="4490841" y="1208823"/>
                    </a:moveTo>
                    <a:cubicBezTo>
                      <a:pt x="4490841" y="1186387"/>
                      <a:pt x="4472593" y="1168137"/>
                      <a:pt x="4450156" y="1168137"/>
                    </a:cubicBezTo>
                    <a:cubicBezTo>
                      <a:pt x="4427472" y="1168137"/>
                      <a:pt x="4409223" y="1186387"/>
                      <a:pt x="4409223" y="1208823"/>
                    </a:cubicBezTo>
                    <a:cubicBezTo>
                      <a:pt x="4409223" y="1231264"/>
                      <a:pt x="4427718" y="1249508"/>
                      <a:pt x="4450156" y="1249508"/>
                    </a:cubicBezTo>
                    <a:cubicBezTo>
                      <a:pt x="4472593" y="1249508"/>
                      <a:pt x="4490841" y="1231264"/>
                      <a:pt x="4490841" y="1208823"/>
                    </a:cubicBezTo>
                    <a:close/>
                    <a:moveTo>
                      <a:pt x="4491825" y="4106894"/>
                    </a:moveTo>
                    <a:cubicBezTo>
                      <a:pt x="4491825" y="4093332"/>
                      <a:pt x="4480729" y="4082236"/>
                      <a:pt x="4467167" y="4082236"/>
                    </a:cubicBezTo>
                    <a:cubicBezTo>
                      <a:pt x="4453605" y="4082236"/>
                      <a:pt x="4442509" y="4093332"/>
                      <a:pt x="4442509" y="4106894"/>
                    </a:cubicBezTo>
                    <a:cubicBezTo>
                      <a:pt x="4442509" y="4120456"/>
                      <a:pt x="4453605" y="4131551"/>
                      <a:pt x="4467167" y="4131551"/>
                    </a:cubicBezTo>
                    <a:cubicBezTo>
                      <a:pt x="4480729" y="4131551"/>
                      <a:pt x="4491579" y="4120703"/>
                      <a:pt x="4491825" y="4106894"/>
                    </a:cubicBezTo>
                    <a:close/>
                    <a:moveTo>
                      <a:pt x="4492566" y="1444764"/>
                    </a:moveTo>
                    <a:cubicBezTo>
                      <a:pt x="4492566" y="1419369"/>
                      <a:pt x="4472099" y="1398901"/>
                      <a:pt x="4446704" y="1398901"/>
                    </a:cubicBezTo>
                    <a:cubicBezTo>
                      <a:pt x="4421306" y="1398901"/>
                      <a:pt x="4400839" y="1419369"/>
                      <a:pt x="4400839" y="1444764"/>
                    </a:cubicBezTo>
                    <a:cubicBezTo>
                      <a:pt x="4400839" y="1470160"/>
                      <a:pt x="4421306" y="1490627"/>
                      <a:pt x="4446704" y="1490627"/>
                    </a:cubicBezTo>
                    <a:cubicBezTo>
                      <a:pt x="4471854" y="1490627"/>
                      <a:pt x="4492566" y="1470160"/>
                      <a:pt x="4492566" y="1444764"/>
                    </a:cubicBezTo>
                    <a:close/>
                    <a:moveTo>
                      <a:pt x="4493554" y="976089"/>
                    </a:moveTo>
                    <a:cubicBezTo>
                      <a:pt x="4493554" y="953898"/>
                      <a:pt x="4475553" y="935894"/>
                      <a:pt x="4453361" y="935894"/>
                    </a:cubicBezTo>
                    <a:cubicBezTo>
                      <a:pt x="4431168" y="935894"/>
                      <a:pt x="4413168" y="953898"/>
                      <a:pt x="4413168" y="976089"/>
                    </a:cubicBezTo>
                    <a:cubicBezTo>
                      <a:pt x="4413168" y="998277"/>
                      <a:pt x="4431168" y="1016285"/>
                      <a:pt x="4453361" y="1016285"/>
                    </a:cubicBezTo>
                    <a:cubicBezTo>
                      <a:pt x="4475553" y="1016285"/>
                      <a:pt x="4493554" y="998277"/>
                      <a:pt x="4493554" y="976089"/>
                    </a:cubicBezTo>
                    <a:close/>
                    <a:moveTo>
                      <a:pt x="4493797" y="1326170"/>
                    </a:moveTo>
                    <a:cubicBezTo>
                      <a:pt x="4493797" y="1301271"/>
                      <a:pt x="4473579" y="1280803"/>
                      <a:pt x="4448428" y="1280803"/>
                    </a:cubicBezTo>
                    <a:cubicBezTo>
                      <a:pt x="4423523" y="1280803"/>
                      <a:pt x="4403058" y="1301271"/>
                      <a:pt x="4403058" y="1326170"/>
                    </a:cubicBezTo>
                    <a:cubicBezTo>
                      <a:pt x="4403058" y="1351077"/>
                      <a:pt x="4423523" y="1371546"/>
                      <a:pt x="4448428" y="1371546"/>
                    </a:cubicBezTo>
                    <a:cubicBezTo>
                      <a:pt x="4473579" y="1371546"/>
                      <a:pt x="4493797" y="1351326"/>
                      <a:pt x="4493797" y="1326170"/>
                    </a:cubicBezTo>
                    <a:close/>
                    <a:moveTo>
                      <a:pt x="4494787" y="1091964"/>
                    </a:moveTo>
                    <a:cubicBezTo>
                      <a:pt x="4494787" y="1068041"/>
                      <a:pt x="4475306" y="1048809"/>
                      <a:pt x="4451635" y="1048809"/>
                    </a:cubicBezTo>
                    <a:cubicBezTo>
                      <a:pt x="4427716" y="1048809"/>
                      <a:pt x="4408484" y="1068041"/>
                      <a:pt x="4408484" y="1091964"/>
                    </a:cubicBezTo>
                    <a:cubicBezTo>
                      <a:pt x="4408484" y="1115879"/>
                      <a:pt x="4427964" y="1135113"/>
                      <a:pt x="4451635" y="1135113"/>
                    </a:cubicBezTo>
                    <a:cubicBezTo>
                      <a:pt x="4475306" y="1135113"/>
                      <a:pt x="4494787" y="1115879"/>
                      <a:pt x="4494787" y="1091964"/>
                    </a:cubicBezTo>
                    <a:close/>
                    <a:moveTo>
                      <a:pt x="4497745" y="5241881"/>
                    </a:moveTo>
                    <a:cubicBezTo>
                      <a:pt x="4497745" y="5239168"/>
                      <a:pt x="4495773" y="5236949"/>
                      <a:pt x="4493060" y="5236949"/>
                    </a:cubicBezTo>
                    <a:cubicBezTo>
                      <a:pt x="4490346" y="5236949"/>
                      <a:pt x="4488128" y="5239168"/>
                      <a:pt x="4488128" y="5241881"/>
                    </a:cubicBezTo>
                    <a:cubicBezTo>
                      <a:pt x="4488128" y="5244594"/>
                      <a:pt x="4490346" y="5246812"/>
                      <a:pt x="4493060" y="5246812"/>
                    </a:cubicBezTo>
                    <a:cubicBezTo>
                      <a:pt x="4495773" y="5246812"/>
                      <a:pt x="4497991" y="5244594"/>
                      <a:pt x="4497745" y="5241881"/>
                    </a:cubicBezTo>
                    <a:close/>
                    <a:moveTo>
                      <a:pt x="4497991" y="745333"/>
                    </a:moveTo>
                    <a:cubicBezTo>
                      <a:pt x="4497991" y="721410"/>
                      <a:pt x="4478511" y="701935"/>
                      <a:pt x="4454594" y="701935"/>
                    </a:cubicBezTo>
                    <a:cubicBezTo>
                      <a:pt x="4430677" y="701935"/>
                      <a:pt x="4411197" y="721410"/>
                      <a:pt x="4411197" y="745333"/>
                    </a:cubicBezTo>
                    <a:cubicBezTo>
                      <a:pt x="4411197" y="769247"/>
                      <a:pt x="4430677" y="788729"/>
                      <a:pt x="4454594" y="788729"/>
                    </a:cubicBezTo>
                    <a:cubicBezTo>
                      <a:pt x="4478511" y="788729"/>
                      <a:pt x="4497991" y="769247"/>
                      <a:pt x="4497991" y="745333"/>
                    </a:cubicBezTo>
                    <a:close/>
                    <a:moveTo>
                      <a:pt x="4498237" y="2895746"/>
                    </a:moveTo>
                    <a:cubicBezTo>
                      <a:pt x="4498237" y="2894759"/>
                      <a:pt x="4497496" y="2893774"/>
                      <a:pt x="4496263" y="2893774"/>
                    </a:cubicBezTo>
                    <a:cubicBezTo>
                      <a:pt x="4495278" y="2893774"/>
                      <a:pt x="4494291" y="2894514"/>
                      <a:pt x="4494291" y="2895746"/>
                    </a:cubicBezTo>
                    <a:cubicBezTo>
                      <a:pt x="4494291" y="2896733"/>
                      <a:pt x="4495032" y="2897719"/>
                      <a:pt x="4496263" y="2897719"/>
                    </a:cubicBezTo>
                    <a:cubicBezTo>
                      <a:pt x="4497496" y="2897719"/>
                      <a:pt x="4498482" y="2896733"/>
                      <a:pt x="4498237" y="2895746"/>
                    </a:cubicBezTo>
                    <a:close/>
                    <a:moveTo>
                      <a:pt x="4498238" y="630657"/>
                    </a:moveTo>
                    <a:cubicBezTo>
                      <a:pt x="4498238" y="606984"/>
                      <a:pt x="4479003" y="587753"/>
                      <a:pt x="4455335" y="587753"/>
                    </a:cubicBezTo>
                    <a:cubicBezTo>
                      <a:pt x="4431661" y="587753"/>
                      <a:pt x="4412429" y="606984"/>
                      <a:pt x="4412429" y="630657"/>
                    </a:cubicBezTo>
                    <a:cubicBezTo>
                      <a:pt x="4412429" y="654373"/>
                      <a:pt x="4431661" y="673593"/>
                      <a:pt x="4455335" y="673593"/>
                    </a:cubicBezTo>
                    <a:cubicBezTo>
                      <a:pt x="4479003" y="673593"/>
                      <a:pt x="4498238" y="654373"/>
                      <a:pt x="4498238" y="630657"/>
                    </a:cubicBezTo>
                    <a:close/>
                    <a:moveTo>
                      <a:pt x="4498483" y="860461"/>
                    </a:moveTo>
                    <a:cubicBezTo>
                      <a:pt x="4498483" y="836055"/>
                      <a:pt x="4478511" y="816080"/>
                      <a:pt x="4454099" y="816080"/>
                    </a:cubicBezTo>
                    <a:cubicBezTo>
                      <a:pt x="4429688" y="816080"/>
                      <a:pt x="4409716" y="836055"/>
                      <a:pt x="4409716" y="860461"/>
                    </a:cubicBezTo>
                    <a:cubicBezTo>
                      <a:pt x="4409716" y="884873"/>
                      <a:pt x="4429688" y="904835"/>
                      <a:pt x="4454099" y="904835"/>
                    </a:cubicBezTo>
                    <a:cubicBezTo>
                      <a:pt x="4478511" y="904835"/>
                      <a:pt x="4498483" y="884873"/>
                      <a:pt x="4498483" y="860461"/>
                    </a:cubicBezTo>
                    <a:close/>
                    <a:moveTo>
                      <a:pt x="4498486" y="5363689"/>
                    </a:moveTo>
                    <a:cubicBezTo>
                      <a:pt x="4498486" y="5362949"/>
                      <a:pt x="4497991" y="5362457"/>
                      <a:pt x="4497251" y="5362457"/>
                    </a:cubicBezTo>
                    <a:cubicBezTo>
                      <a:pt x="4496267" y="5362457"/>
                      <a:pt x="4495772" y="5362949"/>
                      <a:pt x="4495772" y="5363689"/>
                    </a:cubicBezTo>
                    <a:cubicBezTo>
                      <a:pt x="4495772" y="5364430"/>
                      <a:pt x="4496513" y="5364922"/>
                      <a:pt x="4497251" y="5364922"/>
                    </a:cubicBezTo>
                    <a:cubicBezTo>
                      <a:pt x="4497991" y="5364922"/>
                      <a:pt x="4498486" y="5364430"/>
                      <a:pt x="4498486" y="5363689"/>
                    </a:cubicBezTo>
                    <a:close/>
                    <a:moveTo>
                      <a:pt x="4504401" y="4994072"/>
                    </a:moveTo>
                    <a:cubicBezTo>
                      <a:pt x="4504401" y="4982237"/>
                      <a:pt x="4494787" y="4972619"/>
                      <a:pt x="4482951" y="4972619"/>
                    </a:cubicBezTo>
                    <a:cubicBezTo>
                      <a:pt x="4471116" y="4972619"/>
                      <a:pt x="4461498" y="4982237"/>
                      <a:pt x="4461498" y="4994072"/>
                    </a:cubicBezTo>
                    <a:cubicBezTo>
                      <a:pt x="4461498" y="5005908"/>
                      <a:pt x="4471116" y="5015525"/>
                      <a:pt x="4482951" y="5015525"/>
                    </a:cubicBezTo>
                    <a:cubicBezTo>
                      <a:pt x="4494787" y="5015525"/>
                      <a:pt x="4504401" y="5005908"/>
                      <a:pt x="4504401" y="4994072"/>
                    </a:cubicBezTo>
                    <a:close/>
                    <a:moveTo>
                      <a:pt x="4506373" y="4606458"/>
                    </a:moveTo>
                    <a:cubicBezTo>
                      <a:pt x="4506373" y="4580073"/>
                      <a:pt x="4484923" y="4558374"/>
                      <a:pt x="4458293" y="4558374"/>
                    </a:cubicBezTo>
                    <a:cubicBezTo>
                      <a:pt x="4431909" y="4558374"/>
                      <a:pt x="4410210" y="4579827"/>
                      <a:pt x="4410210" y="4606458"/>
                    </a:cubicBezTo>
                    <a:cubicBezTo>
                      <a:pt x="4410210" y="4632839"/>
                      <a:pt x="4431663" y="4654538"/>
                      <a:pt x="4458293" y="4654538"/>
                    </a:cubicBezTo>
                    <a:cubicBezTo>
                      <a:pt x="4484678" y="4654538"/>
                      <a:pt x="4506373" y="4633088"/>
                      <a:pt x="4506373" y="4606458"/>
                    </a:cubicBezTo>
                    <a:close/>
                    <a:moveTo>
                      <a:pt x="4509577" y="3162289"/>
                    </a:moveTo>
                    <a:cubicBezTo>
                      <a:pt x="4509577" y="3155139"/>
                      <a:pt x="4503414" y="3149221"/>
                      <a:pt x="4496265" y="3149221"/>
                    </a:cubicBezTo>
                    <a:cubicBezTo>
                      <a:pt x="4488866" y="3149221"/>
                      <a:pt x="4482948" y="3155139"/>
                      <a:pt x="4482948" y="3162289"/>
                    </a:cubicBezTo>
                    <a:cubicBezTo>
                      <a:pt x="4482948" y="3169687"/>
                      <a:pt x="4488866" y="3175605"/>
                      <a:pt x="4496265" y="3175605"/>
                    </a:cubicBezTo>
                    <a:cubicBezTo>
                      <a:pt x="4503414" y="3175605"/>
                      <a:pt x="4509332" y="3169687"/>
                      <a:pt x="4509577" y="3162289"/>
                    </a:cubicBezTo>
                    <a:close/>
                    <a:moveTo>
                      <a:pt x="4509581" y="3846509"/>
                    </a:moveTo>
                    <a:cubicBezTo>
                      <a:pt x="4509581" y="3829005"/>
                      <a:pt x="4495278" y="3814702"/>
                      <a:pt x="4477771" y="3814702"/>
                    </a:cubicBezTo>
                    <a:cubicBezTo>
                      <a:pt x="4460266" y="3814702"/>
                      <a:pt x="4445963" y="3829005"/>
                      <a:pt x="4445963" y="3846509"/>
                    </a:cubicBezTo>
                    <a:cubicBezTo>
                      <a:pt x="4445963" y="3864017"/>
                      <a:pt x="4460266" y="3878320"/>
                      <a:pt x="4477771" y="3878320"/>
                    </a:cubicBezTo>
                    <a:cubicBezTo>
                      <a:pt x="4495278" y="3878320"/>
                      <a:pt x="4509581" y="3864017"/>
                      <a:pt x="4509581" y="3846509"/>
                    </a:cubicBezTo>
                    <a:close/>
                    <a:moveTo>
                      <a:pt x="4509581" y="5118841"/>
                    </a:moveTo>
                    <a:cubicBezTo>
                      <a:pt x="4509581" y="5107497"/>
                      <a:pt x="4500210" y="5098128"/>
                      <a:pt x="4488868" y="5098128"/>
                    </a:cubicBezTo>
                    <a:cubicBezTo>
                      <a:pt x="4477525" y="5098128"/>
                      <a:pt x="4468155" y="5107497"/>
                      <a:pt x="4468155" y="5118841"/>
                    </a:cubicBezTo>
                    <a:cubicBezTo>
                      <a:pt x="4468155" y="5130184"/>
                      <a:pt x="4477280" y="5139553"/>
                      <a:pt x="4488868" y="5139553"/>
                    </a:cubicBezTo>
                    <a:cubicBezTo>
                      <a:pt x="4500458" y="5139553"/>
                      <a:pt x="4509581" y="5130184"/>
                      <a:pt x="4509581" y="5118841"/>
                    </a:cubicBezTo>
                    <a:close/>
                    <a:moveTo>
                      <a:pt x="4512785" y="5480566"/>
                    </a:moveTo>
                    <a:cubicBezTo>
                      <a:pt x="4512785" y="5477607"/>
                      <a:pt x="4510568" y="5475388"/>
                      <a:pt x="4507854" y="5475388"/>
                    </a:cubicBezTo>
                    <a:cubicBezTo>
                      <a:pt x="4504896" y="5475388"/>
                      <a:pt x="4502677" y="5477852"/>
                      <a:pt x="4502677" y="5480566"/>
                    </a:cubicBezTo>
                    <a:cubicBezTo>
                      <a:pt x="4502677" y="5483279"/>
                      <a:pt x="4505144" y="5485497"/>
                      <a:pt x="4507854" y="5485497"/>
                    </a:cubicBezTo>
                    <a:cubicBezTo>
                      <a:pt x="4510568" y="5485497"/>
                      <a:pt x="4512785" y="5483279"/>
                      <a:pt x="4512785" y="5480566"/>
                    </a:cubicBezTo>
                    <a:close/>
                    <a:moveTo>
                      <a:pt x="4513032" y="5600156"/>
                    </a:moveTo>
                    <a:cubicBezTo>
                      <a:pt x="4513032" y="5598675"/>
                      <a:pt x="4511796" y="5597443"/>
                      <a:pt x="4510319" y="5597443"/>
                    </a:cubicBezTo>
                    <a:cubicBezTo>
                      <a:pt x="4508838" y="5597443"/>
                      <a:pt x="4507606" y="5598675"/>
                      <a:pt x="4507606" y="5600156"/>
                    </a:cubicBezTo>
                    <a:cubicBezTo>
                      <a:pt x="4507606" y="5601634"/>
                      <a:pt x="4508838" y="5602869"/>
                      <a:pt x="4510319" y="5602869"/>
                    </a:cubicBezTo>
                    <a:cubicBezTo>
                      <a:pt x="4511551" y="5602869"/>
                      <a:pt x="4512783" y="5601634"/>
                      <a:pt x="4513032" y="5600156"/>
                    </a:cubicBezTo>
                    <a:close/>
                    <a:moveTo>
                      <a:pt x="4515004" y="5837607"/>
                    </a:moveTo>
                    <a:cubicBezTo>
                      <a:pt x="4515004" y="5836375"/>
                      <a:pt x="4514016" y="5835389"/>
                      <a:pt x="4512783" y="5835389"/>
                    </a:cubicBezTo>
                    <a:cubicBezTo>
                      <a:pt x="4511551" y="5835389"/>
                      <a:pt x="4510565" y="5836375"/>
                      <a:pt x="4510565" y="5837607"/>
                    </a:cubicBezTo>
                    <a:cubicBezTo>
                      <a:pt x="4510565" y="5838840"/>
                      <a:pt x="4511551" y="5839825"/>
                      <a:pt x="4512783" y="5839825"/>
                    </a:cubicBezTo>
                    <a:cubicBezTo>
                      <a:pt x="4514263" y="5839825"/>
                      <a:pt x="4515249" y="5838840"/>
                      <a:pt x="4515004" y="5837607"/>
                    </a:cubicBezTo>
                    <a:close/>
                    <a:moveTo>
                      <a:pt x="4515005" y="4738620"/>
                    </a:moveTo>
                    <a:cubicBezTo>
                      <a:pt x="4515005" y="4712730"/>
                      <a:pt x="4494044" y="4691523"/>
                      <a:pt x="4467908" y="4691523"/>
                    </a:cubicBezTo>
                    <a:cubicBezTo>
                      <a:pt x="4442019" y="4691523"/>
                      <a:pt x="4420811" y="4712482"/>
                      <a:pt x="4420811" y="4738620"/>
                    </a:cubicBezTo>
                    <a:cubicBezTo>
                      <a:pt x="4420811" y="4764510"/>
                      <a:pt x="4441770" y="4785717"/>
                      <a:pt x="4467908" y="4785717"/>
                    </a:cubicBezTo>
                    <a:cubicBezTo>
                      <a:pt x="4494044" y="4785717"/>
                      <a:pt x="4515005" y="4764510"/>
                      <a:pt x="4515005" y="4738620"/>
                    </a:cubicBezTo>
                    <a:close/>
                    <a:moveTo>
                      <a:pt x="4515251" y="4255086"/>
                    </a:moveTo>
                    <a:cubicBezTo>
                      <a:pt x="4515251" y="4243742"/>
                      <a:pt x="4506128" y="4234373"/>
                      <a:pt x="4494785" y="4234373"/>
                    </a:cubicBezTo>
                    <a:cubicBezTo>
                      <a:pt x="4483443" y="4234373"/>
                      <a:pt x="4474071" y="4243742"/>
                      <a:pt x="4474071" y="4255086"/>
                    </a:cubicBezTo>
                    <a:cubicBezTo>
                      <a:pt x="4474071" y="4266675"/>
                      <a:pt x="4483443" y="4275798"/>
                      <a:pt x="4494785" y="4275798"/>
                    </a:cubicBezTo>
                    <a:cubicBezTo>
                      <a:pt x="4506128" y="4275798"/>
                      <a:pt x="4515497" y="4266675"/>
                      <a:pt x="4515251" y="4255086"/>
                    </a:cubicBezTo>
                    <a:close/>
                    <a:moveTo>
                      <a:pt x="4515745" y="5955226"/>
                    </a:moveTo>
                    <a:cubicBezTo>
                      <a:pt x="4515745" y="5953726"/>
                      <a:pt x="4514528" y="5952513"/>
                      <a:pt x="4513032" y="5952513"/>
                    </a:cubicBezTo>
                    <a:cubicBezTo>
                      <a:pt x="4511533" y="5952513"/>
                      <a:pt x="4510319" y="5953726"/>
                      <a:pt x="4510319" y="5955226"/>
                    </a:cubicBezTo>
                    <a:cubicBezTo>
                      <a:pt x="4510319" y="5956722"/>
                      <a:pt x="4511533" y="5957936"/>
                      <a:pt x="4513032" y="5957936"/>
                    </a:cubicBezTo>
                    <a:cubicBezTo>
                      <a:pt x="4514528" y="5957936"/>
                      <a:pt x="4515745" y="5956722"/>
                      <a:pt x="4515745" y="5955226"/>
                    </a:cubicBezTo>
                    <a:close/>
                    <a:moveTo>
                      <a:pt x="4516977" y="6071858"/>
                    </a:moveTo>
                    <a:cubicBezTo>
                      <a:pt x="4516977" y="6070623"/>
                      <a:pt x="4515990" y="6069390"/>
                      <a:pt x="4514512" y="6069390"/>
                    </a:cubicBezTo>
                    <a:cubicBezTo>
                      <a:pt x="4513031" y="6069390"/>
                      <a:pt x="4511798" y="6070377"/>
                      <a:pt x="4511798" y="6071858"/>
                    </a:cubicBezTo>
                    <a:cubicBezTo>
                      <a:pt x="4511798" y="6073091"/>
                      <a:pt x="4513031" y="6074323"/>
                      <a:pt x="4514512" y="6074323"/>
                    </a:cubicBezTo>
                    <a:cubicBezTo>
                      <a:pt x="4515990" y="6074323"/>
                      <a:pt x="4517225" y="6073091"/>
                      <a:pt x="4516977" y="6071858"/>
                    </a:cubicBezTo>
                    <a:close/>
                    <a:moveTo>
                      <a:pt x="4516977" y="6187498"/>
                    </a:moveTo>
                    <a:cubicBezTo>
                      <a:pt x="4516977" y="6187004"/>
                      <a:pt x="4516482" y="6186512"/>
                      <a:pt x="4515991" y="6186512"/>
                    </a:cubicBezTo>
                    <a:cubicBezTo>
                      <a:pt x="4515498" y="6186512"/>
                      <a:pt x="4515004" y="6187004"/>
                      <a:pt x="4515004" y="6187498"/>
                    </a:cubicBezTo>
                    <a:cubicBezTo>
                      <a:pt x="4515004" y="6187990"/>
                      <a:pt x="4515498" y="6188485"/>
                      <a:pt x="4515991" y="6188485"/>
                    </a:cubicBezTo>
                    <a:cubicBezTo>
                      <a:pt x="4516731" y="6188485"/>
                      <a:pt x="4516977" y="6187990"/>
                      <a:pt x="4516977" y="6187498"/>
                    </a:cubicBezTo>
                    <a:close/>
                    <a:moveTo>
                      <a:pt x="4518701" y="4867334"/>
                    </a:moveTo>
                    <a:cubicBezTo>
                      <a:pt x="4518701" y="4843776"/>
                      <a:pt x="4499604" y="4824676"/>
                      <a:pt x="4476044" y="4824676"/>
                    </a:cubicBezTo>
                    <a:cubicBezTo>
                      <a:pt x="4452486" y="4824676"/>
                      <a:pt x="4433386" y="4843776"/>
                      <a:pt x="4433386" y="4867334"/>
                    </a:cubicBezTo>
                    <a:cubicBezTo>
                      <a:pt x="4433386" y="4890893"/>
                      <a:pt x="4452484" y="4909990"/>
                      <a:pt x="4476044" y="4909990"/>
                    </a:cubicBezTo>
                    <a:cubicBezTo>
                      <a:pt x="4499604" y="4909990"/>
                      <a:pt x="4518701" y="4890893"/>
                      <a:pt x="4518701" y="4867334"/>
                    </a:cubicBezTo>
                    <a:close/>
                    <a:moveTo>
                      <a:pt x="4518703" y="6302646"/>
                    </a:moveTo>
                    <a:cubicBezTo>
                      <a:pt x="4518703" y="6301910"/>
                      <a:pt x="4517963" y="6301169"/>
                      <a:pt x="4516977" y="6301169"/>
                    </a:cubicBezTo>
                    <a:cubicBezTo>
                      <a:pt x="4516240" y="6301169"/>
                      <a:pt x="4515498" y="6301661"/>
                      <a:pt x="4515498" y="6302646"/>
                    </a:cubicBezTo>
                    <a:cubicBezTo>
                      <a:pt x="4515498" y="6303636"/>
                      <a:pt x="4515991" y="6304374"/>
                      <a:pt x="4516977" y="6304374"/>
                    </a:cubicBezTo>
                    <a:cubicBezTo>
                      <a:pt x="4517963" y="6304374"/>
                      <a:pt x="4518703" y="6303636"/>
                      <a:pt x="4518703" y="6302646"/>
                    </a:cubicBezTo>
                    <a:close/>
                    <a:moveTo>
                      <a:pt x="4521169" y="5719500"/>
                    </a:moveTo>
                    <a:cubicBezTo>
                      <a:pt x="4521169" y="5714322"/>
                      <a:pt x="4516483" y="5709882"/>
                      <a:pt x="4511306" y="5709882"/>
                    </a:cubicBezTo>
                    <a:cubicBezTo>
                      <a:pt x="4506128" y="5709882"/>
                      <a:pt x="4501688" y="5714074"/>
                      <a:pt x="4501688" y="5719500"/>
                    </a:cubicBezTo>
                    <a:cubicBezTo>
                      <a:pt x="4501688" y="5724923"/>
                      <a:pt x="4505879" y="5729363"/>
                      <a:pt x="4511306" y="5729363"/>
                    </a:cubicBezTo>
                    <a:cubicBezTo>
                      <a:pt x="4516729" y="5729363"/>
                      <a:pt x="4521169" y="5724923"/>
                      <a:pt x="4521169" y="5719500"/>
                    </a:cubicBezTo>
                    <a:close/>
                    <a:moveTo>
                      <a:pt x="4525853" y="6415335"/>
                    </a:moveTo>
                    <a:cubicBezTo>
                      <a:pt x="4525853" y="6414597"/>
                      <a:pt x="4525113" y="6413856"/>
                      <a:pt x="4524376" y="6413856"/>
                    </a:cubicBezTo>
                    <a:cubicBezTo>
                      <a:pt x="4523635" y="6413856"/>
                      <a:pt x="4522894" y="6414597"/>
                      <a:pt x="4522894" y="6415335"/>
                    </a:cubicBezTo>
                    <a:cubicBezTo>
                      <a:pt x="4522894" y="6416075"/>
                      <a:pt x="4523635" y="6416816"/>
                      <a:pt x="4524376" y="6416816"/>
                    </a:cubicBezTo>
                    <a:cubicBezTo>
                      <a:pt x="4525113" y="6416816"/>
                      <a:pt x="4525853" y="6416075"/>
                      <a:pt x="4525853" y="6415335"/>
                    </a:cubicBezTo>
                    <a:close/>
                    <a:moveTo>
                      <a:pt x="4526346" y="6529993"/>
                    </a:moveTo>
                    <a:cubicBezTo>
                      <a:pt x="4526346" y="6529255"/>
                      <a:pt x="4525605" y="6528514"/>
                      <a:pt x="4524865" y="6528514"/>
                    </a:cubicBezTo>
                    <a:cubicBezTo>
                      <a:pt x="4524128" y="6528514"/>
                      <a:pt x="4523386" y="6529255"/>
                      <a:pt x="4523386" y="6529993"/>
                    </a:cubicBezTo>
                    <a:cubicBezTo>
                      <a:pt x="4523386" y="6530733"/>
                      <a:pt x="4524128" y="6531474"/>
                      <a:pt x="4524865" y="6531474"/>
                    </a:cubicBezTo>
                    <a:cubicBezTo>
                      <a:pt x="4525605" y="6531474"/>
                      <a:pt x="4526346" y="6530733"/>
                      <a:pt x="4526346" y="6529993"/>
                    </a:cubicBezTo>
                    <a:close/>
                    <a:moveTo>
                      <a:pt x="4526592" y="1831874"/>
                    </a:moveTo>
                    <a:cubicBezTo>
                      <a:pt x="4526592" y="1806721"/>
                      <a:pt x="4506128" y="1786232"/>
                      <a:pt x="4480976" y="1786232"/>
                    </a:cubicBezTo>
                    <a:cubicBezTo>
                      <a:pt x="4455826" y="1786232"/>
                      <a:pt x="4435359" y="1806721"/>
                      <a:pt x="4435359" y="1831874"/>
                    </a:cubicBezTo>
                    <a:cubicBezTo>
                      <a:pt x="4435359" y="1857019"/>
                      <a:pt x="4455826" y="1877479"/>
                      <a:pt x="4480976" y="1877479"/>
                    </a:cubicBezTo>
                    <a:cubicBezTo>
                      <a:pt x="4506128" y="1877479"/>
                      <a:pt x="4526592" y="1857019"/>
                      <a:pt x="4526592" y="1831874"/>
                    </a:cubicBezTo>
                    <a:close/>
                    <a:moveTo>
                      <a:pt x="4527581" y="6644402"/>
                    </a:moveTo>
                    <a:cubicBezTo>
                      <a:pt x="4527581" y="6642924"/>
                      <a:pt x="4526348" y="6641443"/>
                      <a:pt x="4524622" y="6641443"/>
                    </a:cubicBezTo>
                    <a:cubicBezTo>
                      <a:pt x="4523141" y="6641443"/>
                      <a:pt x="4521663" y="6642676"/>
                      <a:pt x="4521663" y="6644402"/>
                    </a:cubicBezTo>
                    <a:cubicBezTo>
                      <a:pt x="4521663" y="6645883"/>
                      <a:pt x="4522894" y="6647361"/>
                      <a:pt x="4524622" y="6647361"/>
                    </a:cubicBezTo>
                    <a:cubicBezTo>
                      <a:pt x="4526348" y="6647361"/>
                      <a:pt x="4527826" y="6645883"/>
                      <a:pt x="4527581" y="6644402"/>
                    </a:cubicBezTo>
                    <a:close/>
                    <a:moveTo>
                      <a:pt x="4529308" y="6757827"/>
                    </a:moveTo>
                    <a:cubicBezTo>
                      <a:pt x="4529308" y="6755854"/>
                      <a:pt x="4527829" y="6754376"/>
                      <a:pt x="4525854" y="6754376"/>
                    </a:cubicBezTo>
                    <a:cubicBezTo>
                      <a:pt x="4523881" y="6754376"/>
                      <a:pt x="4522403" y="6755854"/>
                      <a:pt x="4522403" y="6757827"/>
                    </a:cubicBezTo>
                    <a:cubicBezTo>
                      <a:pt x="4522403" y="6759803"/>
                      <a:pt x="4523881" y="6761281"/>
                      <a:pt x="4525854" y="6761281"/>
                    </a:cubicBezTo>
                    <a:cubicBezTo>
                      <a:pt x="4527829" y="6761281"/>
                      <a:pt x="4529308" y="6759803"/>
                      <a:pt x="4529308" y="6757827"/>
                    </a:cubicBezTo>
                    <a:close/>
                    <a:moveTo>
                      <a:pt x="4529798" y="6871252"/>
                    </a:moveTo>
                    <a:cubicBezTo>
                      <a:pt x="4529798" y="6869279"/>
                      <a:pt x="4528321" y="6867801"/>
                      <a:pt x="4526346" y="6867801"/>
                    </a:cubicBezTo>
                    <a:cubicBezTo>
                      <a:pt x="4524376" y="6867801"/>
                      <a:pt x="4522894" y="6869279"/>
                      <a:pt x="4522894" y="6871252"/>
                    </a:cubicBezTo>
                    <a:cubicBezTo>
                      <a:pt x="4522894" y="6873228"/>
                      <a:pt x="4524376" y="6874706"/>
                      <a:pt x="4526346" y="6874706"/>
                    </a:cubicBezTo>
                    <a:cubicBezTo>
                      <a:pt x="4528321" y="6874706"/>
                      <a:pt x="4529798" y="6873228"/>
                      <a:pt x="4529798" y="6871252"/>
                    </a:cubicBezTo>
                    <a:close/>
                    <a:moveTo>
                      <a:pt x="4530539" y="1587020"/>
                    </a:moveTo>
                    <a:cubicBezTo>
                      <a:pt x="4530539" y="1563842"/>
                      <a:pt x="4511551" y="1544859"/>
                      <a:pt x="4488375" y="1544859"/>
                    </a:cubicBezTo>
                    <a:cubicBezTo>
                      <a:pt x="4465195" y="1544859"/>
                      <a:pt x="4446209" y="1563842"/>
                      <a:pt x="4446209" y="1587020"/>
                    </a:cubicBezTo>
                    <a:cubicBezTo>
                      <a:pt x="4446209" y="1610202"/>
                      <a:pt x="4465195" y="1629187"/>
                      <a:pt x="4488375" y="1629187"/>
                    </a:cubicBezTo>
                    <a:cubicBezTo>
                      <a:pt x="4511800" y="1629187"/>
                      <a:pt x="4530539" y="1610202"/>
                      <a:pt x="4530539" y="1587020"/>
                    </a:cubicBezTo>
                    <a:close/>
                    <a:moveTo>
                      <a:pt x="4531278" y="6984185"/>
                    </a:moveTo>
                    <a:cubicBezTo>
                      <a:pt x="4531278" y="6981719"/>
                      <a:pt x="4529305" y="6979746"/>
                      <a:pt x="4526841" y="6979746"/>
                    </a:cubicBezTo>
                    <a:cubicBezTo>
                      <a:pt x="4524128" y="6979746"/>
                      <a:pt x="4522154" y="6981719"/>
                      <a:pt x="4522154" y="6984185"/>
                    </a:cubicBezTo>
                    <a:cubicBezTo>
                      <a:pt x="4522154" y="6986895"/>
                      <a:pt x="4524373" y="6988868"/>
                      <a:pt x="4526841" y="6988868"/>
                    </a:cubicBezTo>
                    <a:cubicBezTo>
                      <a:pt x="4529553" y="6988868"/>
                      <a:pt x="4531526" y="6986895"/>
                      <a:pt x="4531278" y="6984185"/>
                    </a:cubicBezTo>
                    <a:close/>
                    <a:moveTo>
                      <a:pt x="4531371" y="0"/>
                    </a:moveTo>
                    <a:lnTo>
                      <a:pt x="4502634" y="0"/>
                    </a:lnTo>
                    <a:lnTo>
                      <a:pt x="4516978" y="5976"/>
                    </a:lnTo>
                    <a:close/>
                    <a:moveTo>
                      <a:pt x="4531772" y="1708807"/>
                    </a:moveTo>
                    <a:cubicBezTo>
                      <a:pt x="4531772" y="1683174"/>
                      <a:pt x="4511059" y="1662462"/>
                      <a:pt x="4485416" y="1662462"/>
                    </a:cubicBezTo>
                    <a:cubicBezTo>
                      <a:pt x="4459772" y="1662462"/>
                      <a:pt x="4439058" y="1683174"/>
                      <a:pt x="4439058" y="1708807"/>
                    </a:cubicBezTo>
                    <a:cubicBezTo>
                      <a:pt x="4439058" y="1734459"/>
                      <a:pt x="4459772" y="1755186"/>
                      <a:pt x="4485416" y="1755186"/>
                    </a:cubicBezTo>
                    <a:cubicBezTo>
                      <a:pt x="4511059" y="1755186"/>
                      <a:pt x="4531772" y="1734459"/>
                      <a:pt x="4531772" y="1708807"/>
                    </a:cubicBezTo>
                    <a:close/>
                    <a:moveTo>
                      <a:pt x="4533498" y="7097119"/>
                    </a:moveTo>
                    <a:cubicBezTo>
                      <a:pt x="4533498" y="7093914"/>
                      <a:pt x="4530785" y="7091200"/>
                      <a:pt x="4527581" y="7091200"/>
                    </a:cubicBezTo>
                    <a:cubicBezTo>
                      <a:pt x="4524376" y="7091200"/>
                      <a:pt x="4521663" y="7093914"/>
                      <a:pt x="4521663" y="7097119"/>
                    </a:cubicBezTo>
                    <a:cubicBezTo>
                      <a:pt x="4521663" y="7100324"/>
                      <a:pt x="4524376" y="7103037"/>
                      <a:pt x="4527581" y="7103037"/>
                    </a:cubicBezTo>
                    <a:cubicBezTo>
                      <a:pt x="4530785" y="7103037"/>
                      <a:pt x="4533498" y="7100324"/>
                      <a:pt x="4533498" y="7097119"/>
                    </a:cubicBezTo>
                    <a:close/>
                    <a:moveTo>
                      <a:pt x="4537194" y="7320760"/>
                    </a:moveTo>
                    <a:cubicBezTo>
                      <a:pt x="4537194" y="7318542"/>
                      <a:pt x="4535221" y="7316569"/>
                      <a:pt x="4533003" y="7316569"/>
                    </a:cubicBezTo>
                    <a:cubicBezTo>
                      <a:pt x="4530785" y="7316569"/>
                      <a:pt x="4528812" y="7318542"/>
                      <a:pt x="4528812" y="7320760"/>
                    </a:cubicBezTo>
                    <a:cubicBezTo>
                      <a:pt x="4528812" y="7322981"/>
                      <a:pt x="4530539" y="7324951"/>
                      <a:pt x="4533003" y="7324951"/>
                    </a:cubicBezTo>
                    <a:cubicBezTo>
                      <a:pt x="4535221" y="7324951"/>
                      <a:pt x="4537194" y="7322981"/>
                      <a:pt x="4537194" y="7320760"/>
                    </a:cubicBezTo>
                    <a:close/>
                    <a:moveTo>
                      <a:pt x="4538676" y="7432954"/>
                    </a:moveTo>
                    <a:cubicBezTo>
                      <a:pt x="4538676" y="7429995"/>
                      <a:pt x="4536209" y="7427527"/>
                      <a:pt x="4533253" y="7427527"/>
                    </a:cubicBezTo>
                    <a:cubicBezTo>
                      <a:pt x="4530291" y="7427527"/>
                      <a:pt x="4527826" y="7429995"/>
                      <a:pt x="4527826" y="7432954"/>
                    </a:cubicBezTo>
                    <a:cubicBezTo>
                      <a:pt x="4527826" y="7435910"/>
                      <a:pt x="4530291" y="7438377"/>
                      <a:pt x="4533253" y="7438377"/>
                    </a:cubicBezTo>
                    <a:cubicBezTo>
                      <a:pt x="4536209" y="7438377"/>
                      <a:pt x="4538676" y="7435910"/>
                      <a:pt x="4538676" y="7432954"/>
                    </a:cubicBezTo>
                    <a:close/>
                    <a:moveTo>
                      <a:pt x="4538921" y="2743859"/>
                    </a:moveTo>
                    <a:cubicBezTo>
                      <a:pt x="4538921" y="2737450"/>
                      <a:pt x="4533744" y="2732519"/>
                      <a:pt x="4527577" y="2732519"/>
                    </a:cubicBezTo>
                    <a:cubicBezTo>
                      <a:pt x="4521414" y="2732519"/>
                      <a:pt x="4516237" y="2737695"/>
                      <a:pt x="4516237" y="2743859"/>
                    </a:cubicBezTo>
                    <a:cubicBezTo>
                      <a:pt x="4516237" y="2750272"/>
                      <a:pt x="4521414" y="2755203"/>
                      <a:pt x="4527577" y="2755203"/>
                    </a:cubicBezTo>
                    <a:cubicBezTo>
                      <a:pt x="4533744" y="2755203"/>
                      <a:pt x="4538676" y="2750026"/>
                      <a:pt x="4538921" y="2743859"/>
                    </a:cubicBezTo>
                    <a:close/>
                    <a:moveTo>
                      <a:pt x="4539662" y="7208322"/>
                    </a:moveTo>
                    <a:cubicBezTo>
                      <a:pt x="4539662" y="7204377"/>
                      <a:pt x="4536456" y="7201418"/>
                      <a:pt x="4532757" y="7201418"/>
                    </a:cubicBezTo>
                    <a:cubicBezTo>
                      <a:pt x="4528812" y="7201418"/>
                      <a:pt x="4525853" y="7204624"/>
                      <a:pt x="4525853" y="7208322"/>
                    </a:cubicBezTo>
                    <a:cubicBezTo>
                      <a:pt x="4525853" y="7212268"/>
                      <a:pt x="4529059" y="7215227"/>
                      <a:pt x="4532757" y="7215227"/>
                    </a:cubicBezTo>
                    <a:cubicBezTo>
                      <a:pt x="4536456" y="7215227"/>
                      <a:pt x="4539662" y="7212021"/>
                      <a:pt x="4539662" y="7208322"/>
                    </a:cubicBezTo>
                    <a:close/>
                    <a:moveTo>
                      <a:pt x="4540153" y="3274973"/>
                    </a:moveTo>
                    <a:cubicBezTo>
                      <a:pt x="4540153" y="3266591"/>
                      <a:pt x="4533250" y="3259687"/>
                      <a:pt x="4524864" y="3259687"/>
                    </a:cubicBezTo>
                    <a:cubicBezTo>
                      <a:pt x="4516482" y="3259687"/>
                      <a:pt x="4509577" y="3266591"/>
                      <a:pt x="4509577" y="3274973"/>
                    </a:cubicBezTo>
                    <a:cubicBezTo>
                      <a:pt x="4509577" y="3283357"/>
                      <a:pt x="4516482" y="3290263"/>
                      <a:pt x="4524864" y="3290263"/>
                    </a:cubicBezTo>
                    <a:cubicBezTo>
                      <a:pt x="4533250" y="3290263"/>
                      <a:pt x="4540153" y="3283357"/>
                      <a:pt x="4540153" y="3274973"/>
                    </a:cubicBezTo>
                    <a:close/>
                    <a:moveTo>
                      <a:pt x="4540894" y="3735799"/>
                    </a:moveTo>
                    <a:cubicBezTo>
                      <a:pt x="4540894" y="3720017"/>
                      <a:pt x="4528072" y="3707195"/>
                      <a:pt x="4512291" y="3707195"/>
                    </a:cubicBezTo>
                    <a:cubicBezTo>
                      <a:pt x="4496510" y="3707195"/>
                      <a:pt x="4483688" y="3720017"/>
                      <a:pt x="4483688" y="3735799"/>
                    </a:cubicBezTo>
                    <a:cubicBezTo>
                      <a:pt x="4483688" y="3751579"/>
                      <a:pt x="4496510" y="3764401"/>
                      <a:pt x="4512291" y="3764401"/>
                    </a:cubicBezTo>
                    <a:cubicBezTo>
                      <a:pt x="4528072" y="3764401"/>
                      <a:pt x="4540894" y="3751579"/>
                      <a:pt x="4540894" y="3735799"/>
                    </a:cubicBezTo>
                    <a:close/>
                    <a:moveTo>
                      <a:pt x="4544102" y="4398346"/>
                    </a:moveTo>
                    <a:cubicBezTo>
                      <a:pt x="4544102" y="4383059"/>
                      <a:pt x="4531771" y="4370728"/>
                      <a:pt x="4516485" y="4370728"/>
                    </a:cubicBezTo>
                    <a:cubicBezTo>
                      <a:pt x="4501199" y="4370728"/>
                      <a:pt x="4488868" y="4383059"/>
                      <a:pt x="4488868" y="4398346"/>
                    </a:cubicBezTo>
                    <a:cubicBezTo>
                      <a:pt x="4488868" y="4413631"/>
                      <a:pt x="4501199" y="4425962"/>
                      <a:pt x="4516485" y="4425962"/>
                    </a:cubicBezTo>
                    <a:cubicBezTo>
                      <a:pt x="4531771" y="4425962"/>
                      <a:pt x="4544102" y="4413631"/>
                      <a:pt x="4544102" y="4398346"/>
                    </a:cubicBezTo>
                    <a:close/>
                    <a:moveTo>
                      <a:pt x="4545579" y="2424802"/>
                    </a:moveTo>
                    <a:cubicBezTo>
                      <a:pt x="4545579" y="2422091"/>
                      <a:pt x="4543359" y="2419628"/>
                      <a:pt x="4540400" y="2419628"/>
                    </a:cubicBezTo>
                    <a:cubicBezTo>
                      <a:pt x="4537690" y="2419628"/>
                      <a:pt x="4535221" y="2421845"/>
                      <a:pt x="4535221" y="2424802"/>
                    </a:cubicBezTo>
                    <a:cubicBezTo>
                      <a:pt x="4535221" y="2427516"/>
                      <a:pt x="4537441" y="2429983"/>
                      <a:pt x="4540400" y="2429983"/>
                    </a:cubicBezTo>
                    <a:cubicBezTo>
                      <a:pt x="4543359" y="2429983"/>
                      <a:pt x="4545579" y="2427516"/>
                      <a:pt x="4545579" y="2424802"/>
                    </a:cubicBezTo>
                    <a:close/>
                    <a:moveTo>
                      <a:pt x="4545826" y="4006783"/>
                    </a:moveTo>
                    <a:cubicBezTo>
                      <a:pt x="4545826" y="3995442"/>
                      <a:pt x="4536457" y="3986070"/>
                      <a:pt x="4525114" y="3986070"/>
                    </a:cubicBezTo>
                    <a:cubicBezTo>
                      <a:pt x="4513773" y="3986070"/>
                      <a:pt x="4504401" y="3995442"/>
                      <a:pt x="4504401" y="4006783"/>
                    </a:cubicBezTo>
                    <a:cubicBezTo>
                      <a:pt x="4504401" y="4018126"/>
                      <a:pt x="4513773" y="4027495"/>
                      <a:pt x="4525114" y="4027495"/>
                    </a:cubicBezTo>
                    <a:cubicBezTo>
                      <a:pt x="4536457" y="4027495"/>
                      <a:pt x="4545826" y="4018126"/>
                      <a:pt x="4545826" y="4006783"/>
                    </a:cubicBezTo>
                    <a:close/>
                    <a:moveTo>
                      <a:pt x="4551747" y="2998817"/>
                    </a:moveTo>
                    <a:cubicBezTo>
                      <a:pt x="4551747" y="2997336"/>
                      <a:pt x="4550760" y="2996350"/>
                      <a:pt x="4549525" y="2996350"/>
                    </a:cubicBezTo>
                    <a:cubicBezTo>
                      <a:pt x="4548047" y="2996350"/>
                      <a:pt x="4547060" y="2997582"/>
                      <a:pt x="4547060" y="2998817"/>
                    </a:cubicBezTo>
                    <a:cubicBezTo>
                      <a:pt x="4547060" y="3000049"/>
                      <a:pt x="4548293" y="3001035"/>
                      <a:pt x="4549525" y="3001035"/>
                    </a:cubicBezTo>
                    <a:cubicBezTo>
                      <a:pt x="4550760" y="3001035"/>
                      <a:pt x="4551747" y="2999801"/>
                      <a:pt x="4551747" y="2998817"/>
                    </a:cubicBezTo>
                    <a:close/>
                    <a:moveTo>
                      <a:pt x="4552976" y="2597403"/>
                    </a:moveTo>
                    <a:cubicBezTo>
                      <a:pt x="4552976" y="2596663"/>
                      <a:pt x="4552235" y="2595923"/>
                      <a:pt x="4551495" y="2595923"/>
                    </a:cubicBezTo>
                    <a:cubicBezTo>
                      <a:pt x="4550758" y="2595923"/>
                      <a:pt x="4550016" y="2596663"/>
                      <a:pt x="4550016" y="2597403"/>
                    </a:cubicBezTo>
                    <a:cubicBezTo>
                      <a:pt x="4550016" y="2598140"/>
                      <a:pt x="4550758" y="2598881"/>
                      <a:pt x="4551495" y="2598881"/>
                    </a:cubicBezTo>
                    <a:cubicBezTo>
                      <a:pt x="4552484" y="2598881"/>
                      <a:pt x="4552976" y="2598390"/>
                      <a:pt x="4552976" y="2597403"/>
                    </a:cubicBezTo>
                    <a:close/>
                    <a:moveTo>
                      <a:pt x="4554701" y="536977"/>
                    </a:moveTo>
                    <a:cubicBezTo>
                      <a:pt x="4554701" y="515773"/>
                      <a:pt x="4537443" y="498266"/>
                      <a:pt x="4515990" y="498266"/>
                    </a:cubicBezTo>
                    <a:cubicBezTo>
                      <a:pt x="4494786" y="498266"/>
                      <a:pt x="4477278" y="515527"/>
                      <a:pt x="4477278" y="536977"/>
                    </a:cubicBezTo>
                    <a:cubicBezTo>
                      <a:pt x="4477278" y="558182"/>
                      <a:pt x="4494536" y="575686"/>
                      <a:pt x="4515990" y="575686"/>
                    </a:cubicBezTo>
                    <a:cubicBezTo>
                      <a:pt x="4537443" y="575686"/>
                      <a:pt x="4554701" y="558429"/>
                      <a:pt x="4554701" y="536977"/>
                    </a:cubicBezTo>
                    <a:close/>
                    <a:moveTo>
                      <a:pt x="4554702" y="422342"/>
                    </a:moveTo>
                    <a:cubicBezTo>
                      <a:pt x="4554702" y="401138"/>
                      <a:pt x="4537441" y="383877"/>
                      <a:pt x="4516237" y="383877"/>
                    </a:cubicBezTo>
                    <a:cubicBezTo>
                      <a:pt x="4495029" y="383877"/>
                      <a:pt x="4477771" y="400890"/>
                      <a:pt x="4477771" y="422342"/>
                    </a:cubicBezTo>
                    <a:cubicBezTo>
                      <a:pt x="4477771" y="443794"/>
                      <a:pt x="4495029" y="461052"/>
                      <a:pt x="4516237" y="461052"/>
                    </a:cubicBezTo>
                    <a:cubicBezTo>
                      <a:pt x="4537690" y="461052"/>
                      <a:pt x="4554702" y="443548"/>
                      <a:pt x="4554702" y="422342"/>
                    </a:cubicBezTo>
                    <a:close/>
                    <a:moveTo>
                      <a:pt x="4554949" y="81403"/>
                    </a:moveTo>
                    <a:cubicBezTo>
                      <a:pt x="4554949" y="60445"/>
                      <a:pt x="4537935" y="43433"/>
                      <a:pt x="4516978" y="43433"/>
                    </a:cubicBezTo>
                    <a:cubicBezTo>
                      <a:pt x="4496016" y="43433"/>
                      <a:pt x="4479003" y="60445"/>
                      <a:pt x="4479003" y="81403"/>
                    </a:cubicBezTo>
                    <a:cubicBezTo>
                      <a:pt x="4479003" y="102362"/>
                      <a:pt x="4496016" y="119375"/>
                      <a:pt x="4516978" y="119375"/>
                    </a:cubicBezTo>
                    <a:cubicBezTo>
                      <a:pt x="4537935" y="119375"/>
                      <a:pt x="4554949" y="102362"/>
                      <a:pt x="4554949" y="81403"/>
                    </a:cubicBezTo>
                    <a:close/>
                    <a:moveTo>
                      <a:pt x="4555196" y="194555"/>
                    </a:moveTo>
                    <a:cubicBezTo>
                      <a:pt x="4555196" y="173349"/>
                      <a:pt x="4537935" y="156091"/>
                      <a:pt x="4516731" y="156091"/>
                    </a:cubicBezTo>
                    <a:cubicBezTo>
                      <a:pt x="4495524" y="156091"/>
                      <a:pt x="4478264" y="173349"/>
                      <a:pt x="4478264" y="194555"/>
                    </a:cubicBezTo>
                    <a:cubicBezTo>
                      <a:pt x="4478264" y="215758"/>
                      <a:pt x="4495524" y="233019"/>
                      <a:pt x="4516731" y="233019"/>
                    </a:cubicBezTo>
                    <a:cubicBezTo>
                      <a:pt x="4537935" y="233019"/>
                      <a:pt x="4555196" y="216007"/>
                      <a:pt x="4555196" y="194555"/>
                    </a:cubicBezTo>
                    <a:close/>
                    <a:moveTo>
                      <a:pt x="4557910" y="308447"/>
                    </a:moveTo>
                    <a:cubicBezTo>
                      <a:pt x="4557910" y="285766"/>
                      <a:pt x="4539416" y="267518"/>
                      <a:pt x="4516978" y="267518"/>
                    </a:cubicBezTo>
                    <a:cubicBezTo>
                      <a:pt x="4494541" y="267518"/>
                      <a:pt x="4476293" y="286011"/>
                      <a:pt x="4476293" y="308447"/>
                    </a:cubicBezTo>
                    <a:cubicBezTo>
                      <a:pt x="4476293" y="331133"/>
                      <a:pt x="4494541" y="349377"/>
                      <a:pt x="4516978" y="349377"/>
                    </a:cubicBezTo>
                    <a:cubicBezTo>
                      <a:pt x="4539416" y="349377"/>
                      <a:pt x="4557910" y="331133"/>
                      <a:pt x="4557910" y="308447"/>
                    </a:cubicBezTo>
                    <a:close/>
                    <a:moveTo>
                      <a:pt x="4558897" y="3389880"/>
                    </a:moveTo>
                    <a:cubicBezTo>
                      <a:pt x="4558897" y="3379767"/>
                      <a:pt x="4550760" y="3371626"/>
                      <a:pt x="4540648" y="3371626"/>
                    </a:cubicBezTo>
                    <a:cubicBezTo>
                      <a:pt x="4530539" y="3371626"/>
                      <a:pt x="4522403" y="3379767"/>
                      <a:pt x="4522403" y="3389880"/>
                    </a:cubicBezTo>
                    <a:cubicBezTo>
                      <a:pt x="4522403" y="3399987"/>
                      <a:pt x="4530539" y="3408126"/>
                      <a:pt x="4540648" y="3408126"/>
                    </a:cubicBezTo>
                    <a:cubicBezTo>
                      <a:pt x="4550760" y="3408126"/>
                      <a:pt x="4558897" y="3399987"/>
                      <a:pt x="4558897" y="3389880"/>
                    </a:cubicBezTo>
                    <a:close/>
                    <a:moveTo>
                      <a:pt x="4559388" y="3621879"/>
                    </a:moveTo>
                    <a:cubicBezTo>
                      <a:pt x="4559388" y="3608071"/>
                      <a:pt x="4548289" y="3596975"/>
                      <a:pt x="4534482" y="3596975"/>
                    </a:cubicBezTo>
                    <a:cubicBezTo>
                      <a:pt x="4520673" y="3596975"/>
                      <a:pt x="4509577" y="3608071"/>
                      <a:pt x="4509577" y="3621879"/>
                    </a:cubicBezTo>
                    <a:cubicBezTo>
                      <a:pt x="4509577" y="3635687"/>
                      <a:pt x="4520673" y="3646785"/>
                      <a:pt x="4534482" y="3646785"/>
                    </a:cubicBezTo>
                    <a:cubicBezTo>
                      <a:pt x="4548289" y="3646785"/>
                      <a:pt x="4559388" y="3635441"/>
                      <a:pt x="4559388" y="3621879"/>
                    </a:cubicBezTo>
                    <a:close/>
                    <a:moveTo>
                      <a:pt x="4560128" y="2287969"/>
                    </a:moveTo>
                    <a:cubicBezTo>
                      <a:pt x="4560128" y="2284268"/>
                      <a:pt x="4557166" y="2281308"/>
                      <a:pt x="4553471" y="2281308"/>
                    </a:cubicBezTo>
                    <a:cubicBezTo>
                      <a:pt x="4549771" y="2281308"/>
                      <a:pt x="4546812" y="2284268"/>
                      <a:pt x="4546812" y="2287969"/>
                    </a:cubicBezTo>
                    <a:cubicBezTo>
                      <a:pt x="4546812" y="2291664"/>
                      <a:pt x="4549771" y="2294626"/>
                      <a:pt x="4553471" y="2294626"/>
                    </a:cubicBezTo>
                    <a:cubicBezTo>
                      <a:pt x="4557166" y="2294626"/>
                      <a:pt x="4559879" y="2291664"/>
                      <a:pt x="4560128" y="2287969"/>
                    </a:cubicBezTo>
                    <a:close/>
                    <a:moveTo>
                      <a:pt x="4565059" y="3505989"/>
                    </a:moveTo>
                    <a:cubicBezTo>
                      <a:pt x="4565059" y="3494400"/>
                      <a:pt x="4555443" y="3484782"/>
                      <a:pt x="4543856" y="3484782"/>
                    </a:cubicBezTo>
                    <a:cubicBezTo>
                      <a:pt x="4532266" y="3484782"/>
                      <a:pt x="4522649" y="3494153"/>
                      <a:pt x="4522649" y="3505989"/>
                    </a:cubicBezTo>
                    <a:cubicBezTo>
                      <a:pt x="4522649" y="3517576"/>
                      <a:pt x="4532266" y="3527193"/>
                      <a:pt x="4543856" y="3527193"/>
                    </a:cubicBezTo>
                    <a:cubicBezTo>
                      <a:pt x="4555688" y="3527193"/>
                      <a:pt x="4565059" y="3517576"/>
                      <a:pt x="4565059" y="3505989"/>
                    </a:cubicBezTo>
                    <a:close/>
                    <a:moveTo>
                      <a:pt x="4581578" y="4160892"/>
                    </a:moveTo>
                    <a:cubicBezTo>
                      <a:pt x="4581578" y="4149797"/>
                      <a:pt x="4572701" y="4140920"/>
                      <a:pt x="4561606" y="4140920"/>
                    </a:cubicBezTo>
                    <a:cubicBezTo>
                      <a:pt x="4550511" y="4140920"/>
                      <a:pt x="4541634" y="4149797"/>
                      <a:pt x="4541634" y="4160892"/>
                    </a:cubicBezTo>
                    <a:cubicBezTo>
                      <a:pt x="4541634" y="4171991"/>
                      <a:pt x="4550511" y="4180867"/>
                      <a:pt x="4561606" y="4180867"/>
                    </a:cubicBezTo>
                    <a:cubicBezTo>
                      <a:pt x="4572456" y="4180867"/>
                      <a:pt x="4581578" y="4171742"/>
                      <a:pt x="4581578" y="4160892"/>
                    </a:cubicBezTo>
                    <a:close/>
                    <a:moveTo>
                      <a:pt x="4583553" y="2154331"/>
                    </a:moveTo>
                    <a:cubicBezTo>
                      <a:pt x="4583553" y="2143483"/>
                      <a:pt x="4574677" y="2134357"/>
                      <a:pt x="4563581" y="2134357"/>
                    </a:cubicBezTo>
                    <a:cubicBezTo>
                      <a:pt x="4552484" y="2134357"/>
                      <a:pt x="4543361" y="2143237"/>
                      <a:pt x="4543361" y="2154331"/>
                    </a:cubicBezTo>
                    <a:cubicBezTo>
                      <a:pt x="4543361" y="2165428"/>
                      <a:pt x="4552484" y="2174307"/>
                      <a:pt x="4563581" y="2174307"/>
                    </a:cubicBezTo>
                    <a:cubicBezTo>
                      <a:pt x="4574677" y="2174307"/>
                      <a:pt x="4583799" y="2165428"/>
                      <a:pt x="4583553" y="2154331"/>
                    </a:cubicBezTo>
                    <a:close/>
                    <a:moveTo>
                      <a:pt x="4586509" y="2023397"/>
                    </a:moveTo>
                    <a:cubicBezTo>
                      <a:pt x="4586509" y="2015257"/>
                      <a:pt x="4579854" y="2008849"/>
                      <a:pt x="4571964" y="2008849"/>
                    </a:cubicBezTo>
                    <a:cubicBezTo>
                      <a:pt x="4564073" y="2008849"/>
                      <a:pt x="4557661" y="2015506"/>
                      <a:pt x="4557661" y="2023397"/>
                    </a:cubicBezTo>
                    <a:cubicBezTo>
                      <a:pt x="4557661" y="2031288"/>
                      <a:pt x="4564073" y="2037699"/>
                      <a:pt x="4571964" y="2037699"/>
                    </a:cubicBezTo>
                    <a:cubicBezTo>
                      <a:pt x="4579854" y="2037699"/>
                      <a:pt x="4586509" y="2031288"/>
                      <a:pt x="4586509" y="2023397"/>
                    </a:cubicBezTo>
                    <a:close/>
                    <a:moveTo>
                      <a:pt x="4589963" y="3901249"/>
                    </a:moveTo>
                    <a:cubicBezTo>
                      <a:pt x="4589963" y="3891880"/>
                      <a:pt x="4582322" y="3884235"/>
                      <a:pt x="4572951" y="3884235"/>
                    </a:cubicBezTo>
                    <a:cubicBezTo>
                      <a:pt x="4563581" y="3884235"/>
                      <a:pt x="4555937" y="3891880"/>
                      <a:pt x="4555937" y="3901249"/>
                    </a:cubicBezTo>
                    <a:cubicBezTo>
                      <a:pt x="4555937" y="3910621"/>
                      <a:pt x="4563581" y="3918265"/>
                      <a:pt x="4572951" y="3918265"/>
                    </a:cubicBezTo>
                    <a:cubicBezTo>
                      <a:pt x="4582322" y="3918265"/>
                      <a:pt x="4589963" y="3910621"/>
                      <a:pt x="4589963" y="3901249"/>
                    </a:cubicBezTo>
                    <a:close/>
                    <a:moveTo>
                      <a:pt x="4590703" y="4526811"/>
                    </a:moveTo>
                    <a:cubicBezTo>
                      <a:pt x="4590703" y="4501167"/>
                      <a:pt x="4569745" y="4480208"/>
                      <a:pt x="4543853" y="4480208"/>
                    </a:cubicBezTo>
                    <a:cubicBezTo>
                      <a:pt x="4518209" y="4480208"/>
                      <a:pt x="4497251" y="4501167"/>
                      <a:pt x="4497251" y="4526811"/>
                    </a:cubicBezTo>
                    <a:cubicBezTo>
                      <a:pt x="4497251" y="4552700"/>
                      <a:pt x="4518209" y="4573661"/>
                      <a:pt x="4543853" y="4573661"/>
                    </a:cubicBezTo>
                    <a:cubicBezTo>
                      <a:pt x="4569496" y="4573661"/>
                      <a:pt x="4590455" y="4552700"/>
                      <a:pt x="4590703" y="4526811"/>
                    </a:cubicBezTo>
                    <a:close/>
                    <a:moveTo>
                      <a:pt x="4593909" y="3106323"/>
                    </a:moveTo>
                    <a:cubicBezTo>
                      <a:pt x="4593909" y="3105336"/>
                      <a:pt x="4592922" y="3104350"/>
                      <a:pt x="4591937" y="3104350"/>
                    </a:cubicBezTo>
                    <a:cubicBezTo>
                      <a:pt x="4590949" y="3104350"/>
                      <a:pt x="4589963" y="3105336"/>
                      <a:pt x="4589963" y="3106323"/>
                    </a:cubicBezTo>
                    <a:cubicBezTo>
                      <a:pt x="4589963" y="3107309"/>
                      <a:pt x="4590949" y="3108295"/>
                      <a:pt x="4591937" y="3108295"/>
                    </a:cubicBezTo>
                    <a:cubicBezTo>
                      <a:pt x="4592922" y="3108295"/>
                      <a:pt x="4593909" y="3107309"/>
                      <a:pt x="4593909" y="3106323"/>
                    </a:cubicBezTo>
                    <a:close/>
                    <a:moveTo>
                      <a:pt x="4596866" y="1497282"/>
                    </a:moveTo>
                    <a:cubicBezTo>
                      <a:pt x="4596866" y="1471886"/>
                      <a:pt x="4576155" y="1451171"/>
                      <a:pt x="4550759" y="1451171"/>
                    </a:cubicBezTo>
                    <a:cubicBezTo>
                      <a:pt x="4525362" y="1451171"/>
                      <a:pt x="4504648" y="1471886"/>
                      <a:pt x="4504648" y="1497282"/>
                    </a:cubicBezTo>
                    <a:cubicBezTo>
                      <a:pt x="4504648" y="1522685"/>
                      <a:pt x="4525362" y="1543393"/>
                      <a:pt x="4550759" y="1543393"/>
                    </a:cubicBezTo>
                    <a:cubicBezTo>
                      <a:pt x="4576155" y="1543393"/>
                      <a:pt x="4596866" y="1522685"/>
                      <a:pt x="4596866" y="1497282"/>
                    </a:cubicBezTo>
                    <a:close/>
                    <a:moveTo>
                      <a:pt x="4598099" y="1256654"/>
                    </a:moveTo>
                    <a:cubicBezTo>
                      <a:pt x="4598099" y="1233481"/>
                      <a:pt x="4579114" y="1214741"/>
                      <a:pt x="4555937" y="1214741"/>
                    </a:cubicBezTo>
                    <a:cubicBezTo>
                      <a:pt x="4532757" y="1214741"/>
                      <a:pt x="4514018" y="1233481"/>
                      <a:pt x="4514018" y="1256654"/>
                    </a:cubicBezTo>
                    <a:cubicBezTo>
                      <a:pt x="4514018" y="1279833"/>
                      <a:pt x="4532757" y="1298822"/>
                      <a:pt x="4555937" y="1298822"/>
                    </a:cubicBezTo>
                    <a:cubicBezTo>
                      <a:pt x="4579359" y="1298822"/>
                      <a:pt x="4598099" y="1279833"/>
                      <a:pt x="4598099" y="1256654"/>
                    </a:cubicBezTo>
                    <a:close/>
                    <a:moveTo>
                      <a:pt x="4599088" y="1376478"/>
                    </a:moveTo>
                    <a:cubicBezTo>
                      <a:pt x="4599088" y="1351326"/>
                      <a:pt x="4578622" y="1330859"/>
                      <a:pt x="4553471" y="1330859"/>
                    </a:cubicBezTo>
                    <a:cubicBezTo>
                      <a:pt x="4528321" y="1330859"/>
                      <a:pt x="4507854" y="1351326"/>
                      <a:pt x="4507854" y="1376478"/>
                    </a:cubicBezTo>
                    <a:cubicBezTo>
                      <a:pt x="4507854" y="1401629"/>
                      <a:pt x="4528321" y="1422096"/>
                      <a:pt x="4553471" y="1422096"/>
                    </a:cubicBezTo>
                    <a:cubicBezTo>
                      <a:pt x="4578622" y="1422096"/>
                      <a:pt x="4599335" y="1401629"/>
                      <a:pt x="4599088" y="1376478"/>
                    </a:cubicBezTo>
                    <a:close/>
                    <a:moveTo>
                      <a:pt x="4600073" y="5306239"/>
                    </a:moveTo>
                    <a:cubicBezTo>
                      <a:pt x="4600073" y="5304758"/>
                      <a:pt x="4598838" y="5303771"/>
                      <a:pt x="4597606" y="5303771"/>
                    </a:cubicBezTo>
                    <a:cubicBezTo>
                      <a:pt x="4596373" y="5303771"/>
                      <a:pt x="4595387" y="5305004"/>
                      <a:pt x="4595387" y="5306239"/>
                    </a:cubicBezTo>
                    <a:cubicBezTo>
                      <a:pt x="4595387" y="5307471"/>
                      <a:pt x="4596373" y="5308458"/>
                      <a:pt x="4597606" y="5308458"/>
                    </a:cubicBezTo>
                    <a:cubicBezTo>
                      <a:pt x="4599086" y="5308458"/>
                      <a:pt x="4600073" y="5307471"/>
                      <a:pt x="4600073" y="5306239"/>
                    </a:cubicBezTo>
                    <a:close/>
                    <a:moveTo>
                      <a:pt x="4601799" y="1020231"/>
                    </a:moveTo>
                    <a:cubicBezTo>
                      <a:pt x="4601799" y="997484"/>
                      <a:pt x="4583362" y="979045"/>
                      <a:pt x="4560620" y="979045"/>
                    </a:cubicBezTo>
                    <a:cubicBezTo>
                      <a:pt x="4537878" y="979045"/>
                      <a:pt x="4519441" y="997484"/>
                      <a:pt x="4519441" y="1020231"/>
                    </a:cubicBezTo>
                    <a:cubicBezTo>
                      <a:pt x="4519441" y="1042965"/>
                      <a:pt x="4537878" y="1061401"/>
                      <a:pt x="4560620" y="1061401"/>
                    </a:cubicBezTo>
                    <a:cubicBezTo>
                      <a:pt x="4583362" y="1061401"/>
                      <a:pt x="4601799" y="1042965"/>
                      <a:pt x="4601799" y="1020231"/>
                    </a:cubicBezTo>
                    <a:close/>
                    <a:moveTo>
                      <a:pt x="4602044" y="1138069"/>
                    </a:moveTo>
                    <a:cubicBezTo>
                      <a:pt x="4602044" y="1113903"/>
                      <a:pt x="4582567" y="1094428"/>
                      <a:pt x="4558401" y="1094428"/>
                    </a:cubicBezTo>
                    <a:cubicBezTo>
                      <a:pt x="4534238" y="1094428"/>
                      <a:pt x="4514758" y="1113903"/>
                      <a:pt x="4514758" y="1138069"/>
                    </a:cubicBezTo>
                    <a:cubicBezTo>
                      <a:pt x="4514758" y="1161989"/>
                      <a:pt x="4534238" y="1181716"/>
                      <a:pt x="4558401" y="1181716"/>
                    </a:cubicBezTo>
                    <a:cubicBezTo>
                      <a:pt x="4582567" y="1181716"/>
                      <a:pt x="4602044" y="1161989"/>
                      <a:pt x="4602044" y="1138069"/>
                    </a:cubicBezTo>
                    <a:close/>
                    <a:moveTo>
                      <a:pt x="4603524" y="2841261"/>
                    </a:moveTo>
                    <a:cubicBezTo>
                      <a:pt x="4603524" y="2833862"/>
                      <a:pt x="4597359" y="2827697"/>
                      <a:pt x="4589963" y="2827697"/>
                    </a:cubicBezTo>
                    <a:cubicBezTo>
                      <a:pt x="4582564" y="2827697"/>
                      <a:pt x="4576400" y="2833615"/>
                      <a:pt x="4576400" y="2841261"/>
                    </a:cubicBezTo>
                    <a:cubicBezTo>
                      <a:pt x="4576400" y="2848656"/>
                      <a:pt x="4582318" y="2854819"/>
                      <a:pt x="4589963" y="2854819"/>
                    </a:cubicBezTo>
                    <a:cubicBezTo>
                      <a:pt x="4597607" y="2854819"/>
                      <a:pt x="4603771" y="2848656"/>
                      <a:pt x="4603524" y="2841261"/>
                    </a:cubicBezTo>
                    <a:close/>
                    <a:moveTo>
                      <a:pt x="4603525" y="5181718"/>
                    </a:moveTo>
                    <a:cubicBezTo>
                      <a:pt x="4603525" y="5175306"/>
                      <a:pt x="4598346" y="5170129"/>
                      <a:pt x="4591936" y="5170129"/>
                    </a:cubicBezTo>
                    <a:cubicBezTo>
                      <a:pt x="4585524" y="5170129"/>
                      <a:pt x="4580346" y="5175306"/>
                      <a:pt x="4580346" y="5181718"/>
                    </a:cubicBezTo>
                    <a:cubicBezTo>
                      <a:pt x="4580346" y="5188128"/>
                      <a:pt x="4585524" y="5193308"/>
                      <a:pt x="4591936" y="5193308"/>
                    </a:cubicBezTo>
                    <a:cubicBezTo>
                      <a:pt x="4598346" y="5193308"/>
                      <a:pt x="4603771" y="5188128"/>
                      <a:pt x="4603525" y="5181718"/>
                    </a:cubicBezTo>
                    <a:close/>
                    <a:moveTo>
                      <a:pt x="4604263" y="4927253"/>
                    </a:moveTo>
                    <a:cubicBezTo>
                      <a:pt x="4604263" y="4912703"/>
                      <a:pt x="4592431" y="4900868"/>
                      <a:pt x="4577883" y="4900868"/>
                    </a:cubicBezTo>
                    <a:cubicBezTo>
                      <a:pt x="4563333" y="4900868"/>
                      <a:pt x="4551497" y="4912703"/>
                      <a:pt x="4551497" y="4927253"/>
                    </a:cubicBezTo>
                    <a:cubicBezTo>
                      <a:pt x="4551497" y="4941798"/>
                      <a:pt x="4563333" y="4953634"/>
                      <a:pt x="4577883" y="4953634"/>
                    </a:cubicBezTo>
                    <a:cubicBezTo>
                      <a:pt x="4592431" y="4953634"/>
                      <a:pt x="4604263" y="4941798"/>
                      <a:pt x="4604263" y="4927253"/>
                    </a:cubicBezTo>
                    <a:close/>
                    <a:moveTo>
                      <a:pt x="4606484" y="4663660"/>
                    </a:moveTo>
                    <a:cubicBezTo>
                      <a:pt x="4606484" y="4636538"/>
                      <a:pt x="4584295" y="4614345"/>
                      <a:pt x="4557169" y="4614345"/>
                    </a:cubicBezTo>
                    <a:cubicBezTo>
                      <a:pt x="4530047" y="4614345"/>
                      <a:pt x="4507854" y="4636538"/>
                      <a:pt x="4507854" y="4663660"/>
                    </a:cubicBezTo>
                    <a:cubicBezTo>
                      <a:pt x="4507854" y="4690785"/>
                      <a:pt x="4530047" y="4712975"/>
                      <a:pt x="4557169" y="4712975"/>
                    </a:cubicBezTo>
                    <a:cubicBezTo>
                      <a:pt x="4584539" y="4712975"/>
                      <a:pt x="4606484" y="4691031"/>
                      <a:pt x="4606484" y="4663660"/>
                    </a:cubicBezTo>
                    <a:close/>
                    <a:moveTo>
                      <a:pt x="4606730" y="903118"/>
                    </a:moveTo>
                    <a:cubicBezTo>
                      <a:pt x="4606730" y="878458"/>
                      <a:pt x="4586758" y="858487"/>
                      <a:pt x="4562100" y="858487"/>
                    </a:cubicBezTo>
                    <a:cubicBezTo>
                      <a:pt x="4537443" y="858487"/>
                      <a:pt x="4517471" y="878458"/>
                      <a:pt x="4517471" y="903118"/>
                    </a:cubicBezTo>
                    <a:cubicBezTo>
                      <a:pt x="4517471" y="927779"/>
                      <a:pt x="4537443" y="947752"/>
                      <a:pt x="4562100" y="947752"/>
                    </a:cubicBezTo>
                    <a:cubicBezTo>
                      <a:pt x="4586758" y="947752"/>
                      <a:pt x="4606730" y="927533"/>
                      <a:pt x="4606730" y="903118"/>
                    </a:cubicBezTo>
                    <a:close/>
                    <a:moveTo>
                      <a:pt x="4606731" y="786019"/>
                    </a:moveTo>
                    <a:cubicBezTo>
                      <a:pt x="4606731" y="761852"/>
                      <a:pt x="4587251" y="742131"/>
                      <a:pt x="4563084" y="742131"/>
                    </a:cubicBezTo>
                    <a:cubicBezTo>
                      <a:pt x="4538921" y="742131"/>
                      <a:pt x="4519195" y="761852"/>
                      <a:pt x="4519195" y="786019"/>
                    </a:cubicBezTo>
                    <a:cubicBezTo>
                      <a:pt x="4519195" y="810182"/>
                      <a:pt x="4538921" y="829910"/>
                      <a:pt x="4563084" y="829910"/>
                    </a:cubicBezTo>
                    <a:cubicBezTo>
                      <a:pt x="4587251" y="829910"/>
                      <a:pt x="4606977" y="810427"/>
                      <a:pt x="4606731" y="786019"/>
                    </a:cubicBezTo>
                    <a:close/>
                    <a:moveTo>
                      <a:pt x="4607717" y="670149"/>
                    </a:moveTo>
                    <a:cubicBezTo>
                      <a:pt x="4607717" y="646220"/>
                      <a:pt x="4588237" y="626709"/>
                      <a:pt x="4564320" y="626709"/>
                    </a:cubicBezTo>
                    <a:cubicBezTo>
                      <a:pt x="4540403" y="626709"/>
                      <a:pt x="4520922" y="646220"/>
                      <a:pt x="4520922" y="670149"/>
                    </a:cubicBezTo>
                    <a:cubicBezTo>
                      <a:pt x="4520922" y="694067"/>
                      <a:pt x="4540403" y="713543"/>
                      <a:pt x="4564320" y="713543"/>
                    </a:cubicBezTo>
                    <a:cubicBezTo>
                      <a:pt x="4588237" y="713543"/>
                      <a:pt x="4607717" y="694067"/>
                      <a:pt x="4607717" y="670149"/>
                    </a:cubicBezTo>
                    <a:close/>
                    <a:moveTo>
                      <a:pt x="4609689" y="5055223"/>
                    </a:moveTo>
                    <a:cubicBezTo>
                      <a:pt x="4609689" y="5042155"/>
                      <a:pt x="4599086" y="5031552"/>
                      <a:pt x="4586019" y="5031552"/>
                    </a:cubicBezTo>
                    <a:cubicBezTo>
                      <a:pt x="4572951" y="5031552"/>
                      <a:pt x="4562347" y="5042155"/>
                      <a:pt x="4562347" y="5055223"/>
                    </a:cubicBezTo>
                    <a:cubicBezTo>
                      <a:pt x="4562347" y="5068291"/>
                      <a:pt x="4572951" y="5078894"/>
                      <a:pt x="4586019" y="5078894"/>
                    </a:cubicBezTo>
                    <a:cubicBezTo>
                      <a:pt x="4599086" y="5078894"/>
                      <a:pt x="4609689" y="5068291"/>
                      <a:pt x="4609689" y="5055223"/>
                    </a:cubicBezTo>
                    <a:close/>
                    <a:moveTo>
                      <a:pt x="4613140" y="4797057"/>
                    </a:moveTo>
                    <a:cubicBezTo>
                      <a:pt x="4613140" y="4772400"/>
                      <a:pt x="4593168" y="4752428"/>
                      <a:pt x="4568510" y="4752428"/>
                    </a:cubicBezTo>
                    <a:cubicBezTo>
                      <a:pt x="4543853" y="4752428"/>
                      <a:pt x="4523881" y="4772400"/>
                      <a:pt x="4523881" y="4797057"/>
                    </a:cubicBezTo>
                    <a:cubicBezTo>
                      <a:pt x="4523881" y="4821715"/>
                      <a:pt x="4543853" y="4841687"/>
                      <a:pt x="4568510" y="4841687"/>
                    </a:cubicBezTo>
                    <a:cubicBezTo>
                      <a:pt x="4593168" y="4841687"/>
                      <a:pt x="4613140" y="4821715"/>
                      <a:pt x="4613140" y="4797057"/>
                    </a:cubicBezTo>
                    <a:close/>
                    <a:moveTo>
                      <a:pt x="4615853" y="5424841"/>
                    </a:moveTo>
                    <a:cubicBezTo>
                      <a:pt x="4615853" y="5421636"/>
                      <a:pt x="4613389" y="5419169"/>
                      <a:pt x="4610184" y="5419169"/>
                    </a:cubicBezTo>
                    <a:cubicBezTo>
                      <a:pt x="4606976" y="5419169"/>
                      <a:pt x="4604512" y="5421636"/>
                      <a:pt x="4604512" y="5424841"/>
                    </a:cubicBezTo>
                    <a:cubicBezTo>
                      <a:pt x="4604512" y="5428045"/>
                      <a:pt x="4607225" y="5430513"/>
                      <a:pt x="4610184" y="5430513"/>
                    </a:cubicBezTo>
                    <a:cubicBezTo>
                      <a:pt x="4613389" y="5430513"/>
                      <a:pt x="4615853" y="5427800"/>
                      <a:pt x="4615853" y="5424841"/>
                    </a:cubicBezTo>
                    <a:close/>
                    <a:moveTo>
                      <a:pt x="4616101" y="5546897"/>
                    </a:moveTo>
                    <a:cubicBezTo>
                      <a:pt x="4616101" y="5545664"/>
                      <a:pt x="4615113" y="5544678"/>
                      <a:pt x="4613881" y="5544678"/>
                    </a:cubicBezTo>
                    <a:cubicBezTo>
                      <a:pt x="4612649" y="5544678"/>
                      <a:pt x="4611662" y="5545664"/>
                      <a:pt x="4611662" y="5546897"/>
                    </a:cubicBezTo>
                    <a:cubicBezTo>
                      <a:pt x="4611662" y="5548378"/>
                      <a:pt x="4612649" y="5549364"/>
                      <a:pt x="4613881" y="5549364"/>
                    </a:cubicBezTo>
                    <a:cubicBezTo>
                      <a:pt x="4615113" y="5549364"/>
                      <a:pt x="4616101" y="5548378"/>
                      <a:pt x="4616101" y="5546897"/>
                    </a:cubicBezTo>
                    <a:close/>
                    <a:moveTo>
                      <a:pt x="4616593" y="4309332"/>
                    </a:moveTo>
                    <a:cubicBezTo>
                      <a:pt x="4616593" y="4294537"/>
                      <a:pt x="4604757" y="4282702"/>
                      <a:pt x="4589963" y="4282702"/>
                    </a:cubicBezTo>
                    <a:cubicBezTo>
                      <a:pt x="4575414" y="4282702"/>
                      <a:pt x="4563333" y="4294537"/>
                      <a:pt x="4563333" y="4309332"/>
                    </a:cubicBezTo>
                    <a:cubicBezTo>
                      <a:pt x="4563333" y="4324127"/>
                      <a:pt x="4575414" y="4335962"/>
                      <a:pt x="4589963" y="4335962"/>
                    </a:cubicBezTo>
                    <a:cubicBezTo>
                      <a:pt x="4604757" y="4335962"/>
                      <a:pt x="4616593" y="4324127"/>
                      <a:pt x="4616593" y="4309332"/>
                    </a:cubicBezTo>
                    <a:close/>
                    <a:moveTo>
                      <a:pt x="4620785" y="5788786"/>
                    </a:moveTo>
                    <a:cubicBezTo>
                      <a:pt x="4620785" y="5787424"/>
                      <a:pt x="4619679" y="5786321"/>
                      <a:pt x="4618318" y="5786321"/>
                    </a:cubicBezTo>
                    <a:cubicBezTo>
                      <a:pt x="4616956" y="5786321"/>
                      <a:pt x="4615853" y="5787424"/>
                      <a:pt x="4615853" y="5788786"/>
                    </a:cubicBezTo>
                    <a:cubicBezTo>
                      <a:pt x="4615853" y="5790150"/>
                      <a:pt x="4616956" y="5791252"/>
                      <a:pt x="4618318" y="5791252"/>
                    </a:cubicBezTo>
                    <a:cubicBezTo>
                      <a:pt x="4619682" y="5791252"/>
                      <a:pt x="4620785" y="5790150"/>
                      <a:pt x="4620785" y="5788786"/>
                    </a:cubicBezTo>
                    <a:close/>
                    <a:moveTo>
                      <a:pt x="4622019" y="5908623"/>
                    </a:moveTo>
                    <a:cubicBezTo>
                      <a:pt x="4622019" y="5907142"/>
                      <a:pt x="4620784" y="5905910"/>
                      <a:pt x="4619306" y="5905910"/>
                    </a:cubicBezTo>
                    <a:cubicBezTo>
                      <a:pt x="4617825" y="5905910"/>
                      <a:pt x="4616593" y="5907142"/>
                      <a:pt x="4616593" y="5908623"/>
                    </a:cubicBezTo>
                    <a:cubicBezTo>
                      <a:pt x="4616593" y="5910101"/>
                      <a:pt x="4617825" y="5911336"/>
                      <a:pt x="4619306" y="5911336"/>
                    </a:cubicBezTo>
                    <a:cubicBezTo>
                      <a:pt x="4620784" y="5911336"/>
                      <a:pt x="4622019" y="5910101"/>
                      <a:pt x="4622019" y="5908623"/>
                    </a:cubicBezTo>
                    <a:close/>
                    <a:moveTo>
                      <a:pt x="4623743" y="2510367"/>
                    </a:moveTo>
                    <a:cubicBezTo>
                      <a:pt x="4623743" y="2508147"/>
                      <a:pt x="4622016" y="2506421"/>
                      <a:pt x="4619799" y="2506421"/>
                    </a:cubicBezTo>
                    <a:cubicBezTo>
                      <a:pt x="4617580" y="2506421"/>
                      <a:pt x="4615853" y="2508147"/>
                      <a:pt x="4615853" y="2510367"/>
                    </a:cubicBezTo>
                    <a:cubicBezTo>
                      <a:pt x="4615853" y="2512586"/>
                      <a:pt x="4617580" y="2514313"/>
                      <a:pt x="4619799" y="2514313"/>
                    </a:cubicBezTo>
                    <a:cubicBezTo>
                      <a:pt x="4622016" y="2514313"/>
                      <a:pt x="4623743" y="2512339"/>
                      <a:pt x="4623743" y="2510367"/>
                    </a:cubicBezTo>
                    <a:close/>
                    <a:moveTo>
                      <a:pt x="4623744" y="3791523"/>
                    </a:moveTo>
                    <a:cubicBezTo>
                      <a:pt x="4623744" y="3783633"/>
                      <a:pt x="4617581" y="3777221"/>
                      <a:pt x="4609689" y="3777221"/>
                    </a:cubicBezTo>
                    <a:cubicBezTo>
                      <a:pt x="4601799" y="3777221"/>
                      <a:pt x="4595387" y="3783633"/>
                      <a:pt x="4595387" y="3791523"/>
                    </a:cubicBezTo>
                    <a:cubicBezTo>
                      <a:pt x="4595387" y="3799165"/>
                      <a:pt x="4601799" y="3805578"/>
                      <a:pt x="4609689" y="3805578"/>
                    </a:cubicBezTo>
                    <a:cubicBezTo>
                      <a:pt x="4617581" y="3805578"/>
                      <a:pt x="4623989" y="3799165"/>
                      <a:pt x="4623744" y="3791523"/>
                    </a:cubicBezTo>
                    <a:close/>
                    <a:moveTo>
                      <a:pt x="4623746" y="6026732"/>
                    </a:moveTo>
                    <a:cubicBezTo>
                      <a:pt x="4623746" y="6025499"/>
                      <a:pt x="4622757" y="6024513"/>
                      <a:pt x="4621526" y="6024513"/>
                    </a:cubicBezTo>
                    <a:cubicBezTo>
                      <a:pt x="4620293" y="6024513"/>
                      <a:pt x="4619306" y="6025499"/>
                      <a:pt x="4619306" y="6026732"/>
                    </a:cubicBezTo>
                    <a:cubicBezTo>
                      <a:pt x="4619306" y="6027966"/>
                      <a:pt x="4620293" y="6028949"/>
                      <a:pt x="4621526" y="6028949"/>
                    </a:cubicBezTo>
                    <a:cubicBezTo>
                      <a:pt x="4622757" y="6028949"/>
                      <a:pt x="4623746" y="6027966"/>
                      <a:pt x="4623746" y="6026732"/>
                    </a:cubicBezTo>
                    <a:close/>
                    <a:moveTo>
                      <a:pt x="4624235" y="6144104"/>
                    </a:moveTo>
                    <a:cubicBezTo>
                      <a:pt x="4624235" y="6143609"/>
                      <a:pt x="4623989" y="6143363"/>
                      <a:pt x="4623498" y="6143363"/>
                    </a:cubicBezTo>
                    <a:cubicBezTo>
                      <a:pt x="4623004" y="6143363"/>
                      <a:pt x="4622757" y="6143609"/>
                      <a:pt x="4622757" y="6144104"/>
                    </a:cubicBezTo>
                    <a:cubicBezTo>
                      <a:pt x="4622757" y="6144595"/>
                      <a:pt x="4623252" y="6144841"/>
                      <a:pt x="4623498" y="6144841"/>
                    </a:cubicBezTo>
                    <a:cubicBezTo>
                      <a:pt x="4623989" y="6144841"/>
                      <a:pt x="4624235" y="6144595"/>
                      <a:pt x="4624235" y="6144104"/>
                    </a:cubicBezTo>
                    <a:close/>
                    <a:moveTo>
                      <a:pt x="4624238" y="2689130"/>
                    </a:moveTo>
                    <a:cubicBezTo>
                      <a:pt x="4624238" y="2687650"/>
                      <a:pt x="4623004" y="2686417"/>
                      <a:pt x="4621526" y="2686417"/>
                    </a:cubicBezTo>
                    <a:cubicBezTo>
                      <a:pt x="4620044" y="2686417"/>
                      <a:pt x="4618812" y="2687650"/>
                      <a:pt x="4618812" y="2689130"/>
                    </a:cubicBezTo>
                    <a:cubicBezTo>
                      <a:pt x="4618812" y="2690607"/>
                      <a:pt x="4620044" y="2691840"/>
                      <a:pt x="4621526" y="2691840"/>
                    </a:cubicBezTo>
                    <a:cubicBezTo>
                      <a:pt x="4623004" y="2691840"/>
                      <a:pt x="4624238" y="2690607"/>
                      <a:pt x="4624238" y="2689130"/>
                    </a:cubicBezTo>
                    <a:close/>
                    <a:moveTo>
                      <a:pt x="4626207" y="6260979"/>
                    </a:moveTo>
                    <a:cubicBezTo>
                      <a:pt x="4626207" y="6260239"/>
                      <a:pt x="4625716" y="6259747"/>
                      <a:pt x="4624975" y="6259747"/>
                    </a:cubicBezTo>
                    <a:cubicBezTo>
                      <a:pt x="4624235" y="6259747"/>
                      <a:pt x="4623743" y="6260239"/>
                      <a:pt x="4623743" y="6260979"/>
                    </a:cubicBezTo>
                    <a:cubicBezTo>
                      <a:pt x="4623743" y="6261720"/>
                      <a:pt x="4624235" y="6262215"/>
                      <a:pt x="4624975" y="6262215"/>
                    </a:cubicBezTo>
                    <a:cubicBezTo>
                      <a:pt x="4625716" y="6262215"/>
                      <a:pt x="4626207" y="6261720"/>
                      <a:pt x="4626207" y="6260979"/>
                    </a:cubicBezTo>
                    <a:close/>
                    <a:moveTo>
                      <a:pt x="4626211" y="1894729"/>
                    </a:moveTo>
                    <a:cubicBezTo>
                      <a:pt x="4626211" y="1868356"/>
                      <a:pt x="4604757" y="1846910"/>
                      <a:pt x="4578374" y="1846910"/>
                    </a:cubicBezTo>
                    <a:cubicBezTo>
                      <a:pt x="4551991" y="1846910"/>
                      <a:pt x="4530539" y="1868356"/>
                      <a:pt x="4530539" y="1894729"/>
                    </a:cubicBezTo>
                    <a:cubicBezTo>
                      <a:pt x="4530539" y="1921105"/>
                      <a:pt x="4551991" y="1942549"/>
                      <a:pt x="4578374" y="1942549"/>
                    </a:cubicBezTo>
                    <a:cubicBezTo>
                      <a:pt x="4604757" y="1942549"/>
                      <a:pt x="4626211" y="1921105"/>
                      <a:pt x="4626211" y="1894729"/>
                    </a:cubicBezTo>
                    <a:close/>
                    <a:moveTo>
                      <a:pt x="4626211" y="5668704"/>
                    </a:moveTo>
                    <a:cubicBezTo>
                      <a:pt x="4626211" y="5663034"/>
                      <a:pt x="4621773" y="5658349"/>
                      <a:pt x="4615853" y="5658349"/>
                    </a:cubicBezTo>
                    <a:cubicBezTo>
                      <a:pt x="4610183" y="5658349"/>
                      <a:pt x="4605497" y="5663034"/>
                      <a:pt x="4605497" y="5668704"/>
                    </a:cubicBezTo>
                    <a:cubicBezTo>
                      <a:pt x="4605497" y="5674376"/>
                      <a:pt x="4610183" y="5679062"/>
                      <a:pt x="4615853" y="5679062"/>
                    </a:cubicBezTo>
                    <a:cubicBezTo>
                      <a:pt x="4621773" y="5679062"/>
                      <a:pt x="4626211" y="5674376"/>
                      <a:pt x="4626211" y="5668704"/>
                    </a:cubicBezTo>
                    <a:close/>
                    <a:moveTo>
                      <a:pt x="4627197" y="3217777"/>
                    </a:moveTo>
                    <a:cubicBezTo>
                      <a:pt x="4627197" y="3215805"/>
                      <a:pt x="4625471" y="3214078"/>
                      <a:pt x="4623498" y="3214078"/>
                    </a:cubicBezTo>
                    <a:cubicBezTo>
                      <a:pt x="4621526" y="3214078"/>
                      <a:pt x="4619799" y="3215805"/>
                      <a:pt x="4619799" y="3217777"/>
                    </a:cubicBezTo>
                    <a:cubicBezTo>
                      <a:pt x="4619799" y="3219749"/>
                      <a:pt x="4621526" y="3221477"/>
                      <a:pt x="4623498" y="3221477"/>
                    </a:cubicBezTo>
                    <a:cubicBezTo>
                      <a:pt x="4625471" y="3221477"/>
                      <a:pt x="4627197" y="3219749"/>
                      <a:pt x="4627197" y="3217777"/>
                    </a:cubicBezTo>
                    <a:close/>
                    <a:moveTo>
                      <a:pt x="4628429" y="1643740"/>
                    </a:moveTo>
                    <a:cubicBezTo>
                      <a:pt x="4628429" y="1622036"/>
                      <a:pt x="4610921" y="1604531"/>
                      <a:pt x="4589223" y="1604531"/>
                    </a:cubicBezTo>
                    <a:cubicBezTo>
                      <a:pt x="4567524" y="1604531"/>
                      <a:pt x="4550016" y="1622036"/>
                      <a:pt x="4550016" y="1643740"/>
                    </a:cubicBezTo>
                    <a:cubicBezTo>
                      <a:pt x="4550016" y="1665435"/>
                      <a:pt x="4567524" y="1682945"/>
                      <a:pt x="4589223" y="1682945"/>
                    </a:cubicBezTo>
                    <a:cubicBezTo>
                      <a:pt x="4610675" y="1682945"/>
                      <a:pt x="4628429" y="1665435"/>
                      <a:pt x="4628429" y="1643740"/>
                    </a:cubicBezTo>
                    <a:close/>
                    <a:moveTo>
                      <a:pt x="4631139" y="1768505"/>
                    </a:moveTo>
                    <a:cubicBezTo>
                      <a:pt x="4631139" y="1742847"/>
                      <a:pt x="4610182" y="1721874"/>
                      <a:pt x="4584537" y="1721874"/>
                    </a:cubicBezTo>
                    <a:cubicBezTo>
                      <a:pt x="4558894" y="1721874"/>
                      <a:pt x="4537935" y="1742847"/>
                      <a:pt x="4537935" y="1768505"/>
                    </a:cubicBezTo>
                    <a:cubicBezTo>
                      <a:pt x="4537935" y="1794159"/>
                      <a:pt x="4558894" y="1815125"/>
                      <a:pt x="4584537" y="1815125"/>
                    </a:cubicBezTo>
                    <a:cubicBezTo>
                      <a:pt x="4610182" y="1815125"/>
                      <a:pt x="4631139" y="1794408"/>
                      <a:pt x="4631139" y="1768505"/>
                    </a:cubicBezTo>
                    <a:close/>
                    <a:moveTo>
                      <a:pt x="4636814" y="6374650"/>
                    </a:moveTo>
                    <a:cubicBezTo>
                      <a:pt x="4636814" y="6372675"/>
                      <a:pt x="4635336" y="6371197"/>
                      <a:pt x="4633361" y="6371197"/>
                    </a:cubicBezTo>
                    <a:cubicBezTo>
                      <a:pt x="4631387" y="6371197"/>
                      <a:pt x="4629909" y="6372675"/>
                      <a:pt x="4629909" y="6374650"/>
                    </a:cubicBezTo>
                    <a:cubicBezTo>
                      <a:pt x="4629909" y="6376623"/>
                      <a:pt x="4631387" y="6378101"/>
                      <a:pt x="4633361" y="6378101"/>
                    </a:cubicBezTo>
                    <a:cubicBezTo>
                      <a:pt x="4635336" y="6378101"/>
                      <a:pt x="4636814" y="6376375"/>
                      <a:pt x="4636814" y="6374650"/>
                    </a:cubicBezTo>
                    <a:close/>
                    <a:moveTo>
                      <a:pt x="4637306" y="6606186"/>
                    </a:moveTo>
                    <a:cubicBezTo>
                      <a:pt x="4637306" y="6604705"/>
                      <a:pt x="4636074" y="6603473"/>
                      <a:pt x="4634596" y="6603473"/>
                    </a:cubicBezTo>
                    <a:cubicBezTo>
                      <a:pt x="4633114" y="6603473"/>
                      <a:pt x="4631883" y="6604705"/>
                      <a:pt x="4631883" y="6606186"/>
                    </a:cubicBezTo>
                    <a:cubicBezTo>
                      <a:pt x="4631883" y="6607664"/>
                      <a:pt x="4633114" y="6608899"/>
                      <a:pt x="4634596" y="6608899"/>
                    </a:cubicBezTo>
                    <a:cubicBezTo>
                      <a:pt x="4636074" y="6608899"/>
                      <a:pt x="4637306" y="6607664"/>
                      <a:pt x="4637306" y="6606186"/>
                    </a:cubicBezTo>
                    <a:close/>
                    <a:moveTo>
                      <a:pt x="4637797" y="6490540"/>
                    </a:moveTo>
                    <a:cubicBezTo>
                      <a:pt x="4637797" y="6488567"/>
                      <a:pt x="4636319" y="6487089"/>
                      <a:pt x="4634344" y="6487089"/>
                    </a:cubicBezTo>
                    <a:cubicBezTo>
                      <a:pt x="4632370" y="6487089"/>
                      <a:pt x="4630892" y="6488567"/>
                      <a:pt x="4630892" y="6490540"/>
                    </a:cubicBezTo>
                    <a:cubicBezTo>
                      <a:pt x="4630892" y="6492515"/>
                      <a:pt x="4632370" y="6493993"/>
                      <a:pt x="4634344" y="6493993"/>
                    </a:cubicBezTo>
                    <a:cubicBezTo>
                      <a:pt x="4636070" y="6493993"/>
                      <a:pt x="4637552" y="6492266"/>
                      <a:pt x="4637797" y="6490540"/>
                    </a:cubicBezTo>
                    <a:close/>
                    <a:moveTo>
                      <a:pt x="4639030" y="6720843"/>
                    </a:moveTo>
                    <a:cubicBezTo>
                      <a:pt x="4639030" y="6719117"/>
                      <a:pt x="4637552" y="6717638"/>
                      <a:pt x="4635825" y="6717638"/>
                    </a:cubicBezTo>
                    <a:cubicBezTo>
                      <a:pt x="4634098" y="6717638"/>
                      <a:pt x="4632620" y="6719117"/>
                      <a:pt x="4632620" y="6720843"/>
                    </a:cubicBezTo>
                    <a:cubicBezTo>
                      <a:pt x="4632620" y="6722570"/>
                      <a:pt x="4634098" y="6724048"/>
                      <a:pt x="4635825" y="6724048"/>
                    </a:cubicBezTo>
                    <a:cubicBezTo>
                      <a:pt x="4637552" y="6724048"/>
                      <a:pt x="4639030" y="6722815"/>
                      <a:pt x="4639030" y="6720843"/>
                    </a:cubicBezTo>
                    <a:close/>
                    <a:moveTo>
                      <a:pt x="4639524" y="4060785"/>
                    </a:moveTo>
                    <a:cubicBezTo>
                      <a:pt x="4639524" y="4049689"/>
                      <a:pt x="4630401" y="4040565"/>
                      <a:pt x="4619304" y="4040565"/>
                    </a:cubicBezTo>
                    <a:cubicBezTo>
                      <a:pt x="4608209" y="4040565"/>
                      <a:pt x="4599086" y="4049689"/>
                      <a:pt x="4599086" y="4060785"/>
                    </a:cubicBezTo>
                    <a:cubicBezTo>
                      <a:pt x="4599086" y="4071882"/>
                      <a:pt x="4608209" y="4081005"/>
                      <a:pt x="4619304" y="4081005"/>
                    </a:cubicBezTo>
                    <a:cubicBezTo>
                      <a:pt x="4630649" y="4081005"/>
                      <a:pt x="4639524" y="4071882"/>
                      <a:pt x="4639524" y="4060785"/>
                    </a:cubicBezTo>
                    <a:close/>
                    <a:moveTo>
                      <a:pt x="4640019" y="6835502"/>
                    </a:moveTo>
                    <a:cubicBezTo>
                      <a:pt x="4640019" y="6833526"/>
                      <a:pt x="4638293" y="6832048"/>
                      <a:pt x="4636566" y="6832048"/>
                    </a:cubicBezTo>
                    <a:cubicBezTo>
                      <a:pt x="4634842" y="6832048"/>
                      <a:pt x="4633114" y="6833526"/>
                      <a:pt x="4633114" y="6835502"/>
                    </a:cubicBezTo>
                    <a:cubicBezTo>
                      <a:pt x="4633114" y="6837475"/>
                      <a:pt x="4634596" y="6838953"/>
                      <a:pt x="4636566" y="6838953"/>
                    </a:cubicBezTo>
                    <a:cubicBezTo>
                      <a:pt x="4638541" y="6838953"/>
                      <a:pt x="4640266" y="6837475"/>
                      <a:pt x="4640019" y="6835502"/>
                    </a:cubicBezTo>
                    <a:close/>
                    <a:moveTo>
                      <a:pt x="4642238" y="6949663"/>
                    </a:moveTo>
                    <a:cubicBezTo>
                      <a:pt x="4642238" y="6947198"/>
                      <a:pt x="4640265" y="6944979"/>
                      <a:pt x="4637553" y="6944979"/>
                    </a:cubicBezTo>
                    <a:cubicBezTo>
                      <a:pt x="4635085" y="6944979"/>
                      <a:pt x="4632866" y="6946952"/>
                      <a:pt x="4632866" y="6949663"/>
                    </a:cubicBezTo>
                    <a:cubicBezTo>
                      <a:pt x="4632866" y="6952130"/>
                      <a:pt x="4634839" y="6954348"/>
                      <a:pt x="4637553" y="6954348"/>
                    </a:cubicBezTo>
                    <a:cubicBezTo>
                      <a:pt x="4640265" y="6954348"/>
                      <a:pt x="4642238" y="6952130"/>
                      <a:pt x="4642238" y="6949663"/>
                    </a:cubicBezTo>
                    <a:close/>
                    <a:moveTo>
                      <a:pt x="4643225" y="2368599"/>
                    </a:moveTo>
                    <a:cubicBezTo>
                      <a:pt x="4643225" y="2365395"/>
                      <a:pt x="4640512" y="2362678"/>
                      <a:pt x="4637307" y="2362678"/>
                    </a:cubicBezTo>
                    <a:cubicBezTo>
                      <a:pt x="4634101" y="2362678"/>
                      <a:pt x="4631388" y="2365395"/>
                      <a:pt x="4631388" y="2368599"/>
                    </a:cubicBezTo>
                    <a:cubicBezTo>
                      <a:pt x="4631388" y="2371801"/>
                      <a:pt x="4634101" y="2374513"/>
                      <a:pt x="4637307" y="2374513"/>
                    </a:cubicBezTo>
                    <a:cubicBezTo>
                      <a:pt x="4640760" y="2374513"/>
                      <a:pt x="4643225" y="2372048"/>
                      <a:pt x="4643225" y="2368599"/>
                    </a:cubicBezTo>
                    <a:close/>
                    <a:moveTo>
                      <a:pt x="4644705" y="7063582"/>
                    </a:moveTo>
                    <a:cubicBezTo>
                      <a:pt x="4644705" y="7060130"/>
                      <a:pt x="4641991" y="7057418"/>
                      <a:pt x="4638538" y="7057418"/>
                    </a:cubicBezTo>
                    <a:cubicBezTo>
                      <a:pt x="4635087" y="7057418"/>
                      <a:pt x="4632374" y="7060130"/>
                      <a:pt x="4632374" y="7063582"/>
                    </a:cubicBezTo>
                    <a:cubicBezTo>
                      <a:pt x="4632374" y="7067035"/>
                      <a:pt x="4635087" y="7069748"/>
                      <a:pt x="4638538" y="7069748"/>
                    </a:cubicBezTo>
                    <a:cubicBezTo>
                      <a:pt x="4641991" y="7069748"/>
                      <a:pt x="4644705" y="7066787"/>
                      <a:pt x="4644705" y="7063582"/>
                    </a:cubicBezTo>
                    <a:close/>
                    <a:moveTo>
                      <a:pt x="4646923" y="3678347"/>
                    </a:moveTo>
                    <a:cubicBezTo>
                      <a:pt x="4646923" y="3671935"/>
                      <a:pt x="4641743" y="3666757"/>
                      <a:pt x="4635333" y="3666757"/>
                    </a:cubicBezTo>
                    <a:cubicBezTo>
                      <a:pt x="4628921" y="3666757"/>
                      <a:pt x="4623743" y="3671935"/>
                      <a:pt x="4623743" y="3678347"/>
                    </a:cubicBezTo>
                    <a:cubicBezTo>
                      <a:pt x="4623743" y="3684756"/>
                      <a:pt x="4628921" y="3689937"/>
                      <a:pt x="4635333" y="3689937"/>
                    </a:cubicBezTo>
                    <a:cubicBezTo>
                      <a:pt x="4641743" y="3689937"/>
                      <a:pt x="4646923" y="3684756"/>
                      <a:pt x="4646923" y="3678347"/>
                    </a:cubicBezTo>
                    <a:close/>
                    <a:moveTo>
                      <a:pt x="4648893" y="7288707"/>
                    </a:moveTo>
                    <a:cubicBezTo>
                      <a:pt x="4648893" y="7286489"/>
                      <a:pt x="4647169" y="7284516"/>
                      <a:pt x="4644702" y="7284516"/>
                    </a:cubicBezTo>
                    <a:cubicBezTo>
                      <a:pt x="4642484" y="7284516"/>
                      <a:pt x="4640511" y="7286242"/>
                      <a:pt x="4640511" y="7288707"/>
                    </a:cubicBezTo>
                    <a:cubicBezTo>
                      <a:pt x="4640511" y="7290928"/>
                      <a:pt x="4642237" y="7292898"/>
                      <a:pt x="4644702" y="7292898"/>
                    </a:cubicBezTo>
                    <a:cubicBezTo>
                      <a:pt x="4647169" y="7292898"/>
                      <a:pt x="4648893" y="7291174"/>
                      <a:pt x="4648893" y="7288707"/>
                    </a:cubicBezTo>
                    <a:close/>
                    <a:moveTo>
                      <a:pt x="4649387" y="3331935"/>
                    </a:moveTo>
                    <a:cubicBezTo>
                      <a:pt x="4649387" y="3328733"/>
                      <a:pt x="4646677" y="3326266"/>
                      <a:pt x="4643718" y="3326266"/>
                    </a:cubicBezTo>
                    <a:cubicBezTo>
                      <a:pt x="4640511" y="3326266"/>
                      <a:pt x="4638046" y="3328733"/>
                      <a:pt x="4638046" y="3331935"/>
                    </a:cubicBezTo>
                    <a:cubicBezTo>
                      <a:pt x="4638046" y="3335143"/>
                      <a:pt x="4640759" y="3337609"/>
                      <a:pt x="4643718" y="3337609"/>
                    </a:cubicBezTo>
                    <a:cubicBezTo>
                      <a:pt x="4646677" y="3337609"/>
                      <a:pt x="4649141" y="3334896"/>
                      <a:pt x="4649387" y="3331935"/>
                    </a:cubicBezTo>
                    <a:close/>
                    <a:moveTo>
                      <a:pt x="4650865" y="7401638"/>
                    </a:moveTo>
                    <a:cubicBezTo>
                      <a:pt x="4650865" y="7398433"/>
                      <a:pt x="4648400" y="7395965"/>
                      <a:pt x="4645196" y="7395965"/>
                    </a:cubicBezTo>
                    <a:cubicBezTo>
                      <a:pt x="4641988" y="7395965"/>
                      <a:pt x="4639524" y="7398433"/>
                      <a:pt x="4639524" y="7401638"/>
                    </a:cubicBezTo>
                    <a:cubicBezTo>
                      <a:pt x="4639524" y="7404842"/>
                      <a:pt x="4641988" y="7407310"/>
                      <a:pt x="4645196" y="7407310"/>
                    </a:cubicBezTo>
                    <a:cubicBezTo>
                      <a:pt x="4648400" y="7407310"/>
                      <a:pt x="4650865" y="7404842"/>
                      <a:pt x="4650865" y="7401638"/>
                    </a:cubicBezTo>
                    <a:close/>
                    <a:moveTo>
                      <a:pt x="4651609" y="7175282"/>
                    </a:moveTo>
                    <a:cubicBezTo>
                      <a:pt x="4651609" y="7171337"/>
                      <a:pt x="4648401" y="7168132"/>
                      <a:pt x="4644456" y="7168132"/>
                    </a:cubicBezTo>
                    <a:cubicBezTo>
                      <a:pt x="4640512" y="7168132"/>
                      <a:pt x="4637306" y="7171337"/>
                      <a:pt x="4637306" y="7175282"/>
                    </a:cubicBezTo>
                    <a:cubicBezTo>
                      <a:pt x="4637306" y="7179227"/>
                      <a:pt x="4640512" y="7182432"/>
                      <a:pt x="4644456" y="7182432"/>
                    </a:cubicBezTo>
                    <a:cubicBezTo>
                      <a:pt x="4648401" y="7182432"/>
                      <a:pt x="4651609" y="7179227"/>
                      <a:pt x="4651609" y="7175282"/>
                    </a:cubicBezTo>
                    <a:close/>
                    <a:moveTo>
                      <a:pt x="4659253" y="3563195"/>
                    </a:moveTo>
                    <a:cubicBezTo>
                      <a:pt x="4659253" y="3557769"/>
                      <a:pt x="4654814" y="3553578"/>
                      <a:pt x="4649636" y="3553578"/>
                    </a:cubicBezTo>
                    <a:cubicBezTo>
                      <a:pt x="4644209" y="3553578"/>
                      <a:pt x="4640018" y="3558015"/>
                      <a:pt x="4640018" y="3563195"/>
                    </a:cubicBezTo>
                    <a:cubicBezTo>
                      <a:pt x="4640018" y="3568619"/>
                      <a:pt x="4644458" y="3572810"/>
                      <a:pt x="4649636" y="3572810"/>
                    </a:cubicBezTo>
                    <a:cubicBezTo>
                      <a:pt x="4654814" y="3572810"/>
                      <a:pt x="4659253" y="3568619"/>
                      <a:pt x="4659253" y="3563195"/>
                    </a:cubicBezTo>
                    <a:close/>
                    <a:moveTo>
                      <a:pt x="4659746" y="2943591"/>
                    </a:moveTo>
                    <a:cubicBezTo>
                      <a:pt x="4659746" y="2934466"/>
                      <a:pt x="4652347" y="2927315"/>
                      <a:pt x="4643470" y="2927315"/>
                    </a:cubicBezTo>
                    <a:cubicBezTo>
                      <a:pt x="4634347" y="2927315"/>
                      <a:pt x="4627197" y="2934715"/>
                      <a:pt x="4627197" y="2943591"/>
                    </a:cubicBezTo>
                    <a:cubicBezTo>
                      <a:pt x="4627197" y="2952713"/>
                      <a:pt x="4634596" y="2959864"/>
                      <a:pt x="4643470" y="2959864"/>
                    </a:cubicBezTo>
                    <a:cubicBezTo>
                      <a:pt x="4652596" y="2959864"/>
                      <a:pt x="4659746" y="2952713"/>
                      <a:pt x="4659746" y="2943591"/>
                    </a:cubicBezTo>
                    <a:close/>
                    <a:moveTo>
                      <a:pt x="4659991" y="3447336"/>
                    </a:moveTo>
                    <a:cubicBezTo>
                      <a:pt x="4659991" y="3443141"/>
                      <a:pt x="4656538" y="3439692"/>
                      <a:pt x="4652347" y="3439692"/>
                    </a:cubicBezTo>
                    <a:cubicBezTo>
                      <a:pt x="4648152" y="3439692"/>
                      <a:pt x="4644702" y="3443141"/>
                      <a:pt x="4644702" y="3447336"/>
                    </a:cubicBezTo>
                    <a:cubicBezTo>
                      <a:pt x="4644702" y="3451527"/>
                      <a:pt x="4648152" y="3454981"/>
                      <a:pt x="4652347" y="3454981"/>
                    </a:cubicBezTo>
                    <a:cubicBezTo>
                      <a:pt x="4656538" y="3454981"/>
                      <a:pt x="4659991" y="3451774"/>
                      <a:pt x="4659991" y="3447336"/>
                    </a:cubicBezTo>
                    <a:close/>
                    <a:moveTo>
                      <a:pt x="4665171" y="577659"/>
                    </a:moveTo>
                    <a:cubicBezTo>
                      <a:pt x="4665171" y="555714"/>
                      <a:pt x="4647171" y="537962"/>
                      <a:pt x="4625224" y="537962"/>
                    </a:cubicBezTo>
                    <a:cubicBezTo>
                      <a:pt x="4603280" y="537962"/>
                      <a:pt x="4585526" y="555714"/>
                      <a:pt x="4585526" y="577659"/>
                    </a:cubicBezTo>
                    <a:cubicBezTo>
                      <a:pt x="4585526" y="599605"/>
                      <a:pt x="4603280" y="617357"/>
                      <a:pt x="4625224" y="617357"/>
                    </a:cubicBezTo>
                    <a:cubicBezTo>
                      <a:pt x="4647171" y="617357"/>
                      <a:pt x="4664924" y="599356"/>
                      <a:pt x="4665171" y="577659"/>
                    </a:cubicBezTo>
                    <a:close/>
                    <a:moveTo>
                      <a:pt x="4665414" y="461792"/>
                    </a:moveTo>
                    <a:cubicBezTo>
                      <a:pt x="4665414" y="440095"/>
                      <a:pt x="4647660" y="422342"/>
                      <a:pt x="4625962" y="422342"/>
                    </a:cubicBezTo>
                    <a:cubicBezTo>
                      <a:pt x="4604018" y="422342"/>
                      <a:pt x="4586264" y="440095"/>
                      <a:pt x="4586264" y="461792"/>
                    </a:cubicBezTo>
                    <a:cubicBezTo>
                      <a:pt x="4586264" y="483490"/>
                      <a:pt x="4604018" y="501243"/>
                      <a:pt x="4625962" y="501243"/>
                    </a:cubicBezTo>
                    <a:cubicBezTo>
                      <a:pt x="4647660" y="501243"/>
                      <a:pt x="4665414" y="483490"/>
                      <a:pt x="4665414" y="461792"/>
                    </a:cubicBezTo>
                    <a:close/>
                    <a:moveTo>
                      <a:pt x="4666400" y="2525"/>
                    </a:moveTo>
                    <a:lnTo>
                      <a:pt x="4665350" y="0"/>
                    </a:lnTo>
                    <a:lnTo>
                      <a:pt x="4590027" y="0"/>
                    </a:lnTo>
                    <a:lnTo>
                      <a:pt x="4588976" y="2525"/>
                    </a:lnTo>
                    <a:cubicBezTo>
                      <a:pt x="4588976" y="23977"/>
                      <a:pt x="4606484" y="41235"/>
                      <a:pt x="4627688" y="41235"/>
                    </a:cubicBezTo>
                    <a:cubicBezTo>
                      <a:pt x="4649141" y="41235"/>
                      <a:pt x="4666400" y="23977"/>
                      <a:pt x="4666400" y="2525"/>
                    </a:cubicBezTo>
                    <a:close/>
                    <a:moveTo>
                      <a:pt x="4666400" y="116908"/>
                    </a:moveTo>
                    <a:cubicBezTo>
                      <a:pt x="4666400" y="95705"/>
                      <a:pt x="4649141" y="78197"/>
                      <a:pt x="4627688" y="78197"/>
                    </a:cubicBezTo>
                    <a:cubicBezTo>
                      <a:pt x="4606484" y="78197"/>
                      <a:pt x="4588976" y="95459"/>
                      <a:pt x="4588976" y="116908"/>
                    </a:cubicBezTo>
                    <a:cubicBezTo>
                      <a:pt x="4588976" y="138113"/>
                      <a:pt x="4606235" y="155621"/>
                      <a:pt x="4627688" y="155621"/>
                    </a:cubicBezTo>
                    <a:cubicBezTo>
                      <a:pt x="4648896" y="155621"/>
                      <a:pt x="4666400" y="138113"/>
                      <a:pt x="4666400" y="116908"/>
                    </a:cubicBezTo>
                    <a:close/>
                    <a:moveTo>
                      <a:pt x="4666403" y="231293"/>
                    </a:moveTo>
                    <a:cubicBezTo>
                      <a:pt x="4666403" y="209841"/>
                      <a:pt x="4648896" y="192088"/>
                      <a:pt x="4627197" y="192088"/>
                    </a:cubicBezTo>
                    <a:cubicBezTo>
                      <a:pt x="4605497" y="192088"/>
                      <a:pt x="4587990" y="209596"/>
                      <a:pt x="4587990" y="231293"/>
                    </a:cubicBezTo>
                    <a:cubicBezTo>
                      <a:pt x="4587990" y="252991"/>
                      <a:pt x="4605497" y="270498"/>
                      <a:pt x="4627197" y="270498"/>
                    </a:cubicBezTo>
                    <a:cubicBezTo>
                      <a:pt x="4648896" y="270498"/>
                      <a:pt x="4666403" y="252991"/>
                      <a:pt x="4666403" y="231293"/>
                    </a:cubicBezTo>
                    <a:close/>
                    <a:moveTo>
                      <a:pt x="4668374" y="346419"/>
                    </a:moveTo>
                    <a:cubicBezTo>
                      <a:pt x="4668374" y="323489"/>
                      <a:pt x="4649881" y="304997"/>
                      <a:pt x="4626951" y="304997"/>
                    </a:cubicBezTo>
                    <a:cubicBezTo>
                      <a:pt x="4604019" y="304997"/>
                      <a:pt x="4585526" y="323489"/>
                      <a:pt x="4585526" y="346419"/>
                    </a:cubicBezTo>
                    <a:cubicBezTo>
                      <a:pt x="4585526" y="369348"/>
                      <a:pt x="4604019" y="387841"/>
                      <a:pt x="4626951" y="387841"/>
                    </a:cubicBezTo>
                    <a:cubicBezTo>
                      <a:pt x="4649635" y="387841"/>
                      <a:pt x="4668374" y="369348"/>
                      <a:pt x="4668374" y="346419"/>
                    </a:cubicBezTo>
                    <a:close/>
                    <a:moveTo>
                      <a:pt x="4668376" y="4441003"/>
                    </a:moveTo>
                    <a:cubicBezTo>
                      <a:pt x="4668376" y="4415853"/>
                      <a:pt x="4647909" y="4395632"/>
                      <a:pt x="4623005" y="4395632"/>
                    </a:cubicBezTo>
                    <a:cubicBezTo>
                      <a:pt x="4598099" y="4395632"/>
                      <a:pt x="4577881" y="4416099"/>
                      <a:pt x="4577881" y="4441003"/>
                    </a:cubicBezTo>
                    <a:cubicBezTo>
                      <a:pt x="4577881" y="4466155"/>
                      <a:pt x="4598099" y="4486372"/>
                      <a:pt x="4623005" y="4486372"/>
                    </a:cubicBezTo>
                    <a:cubicBezTo>
                      <a:pt x="4647909" y="4486372"/>
                      <a:pt x="4668127" y="4466155"/>
                      <a:pt x="4668376" y="4441003"/>
                    </a:cubicBezTo>
                    <a:close/>
                    <a:moveTo>
                      <a:pt x="4672812" y="2230774"/>
                    </a:moveTo>
                    <a:cubicBezTo>
                      <a:pt x="4672812" y="2218939"/>
                      <a:pt x="4663197" y="2209317"/>
                      <a:pt x="4651363" y="2209317"/>
                    </a:cubicBezTo>
                    <a:cubicBezTo>
                      <a:pt x="4639526" y="2209317"/>
                      <a:pt x="4629909" y="2218939"/>
                      <a:pt x="4629909" y="2230774"/>
                    </a:cubicBezTo>
                    <a:cubicBezTo>
                      <a:pt x="4629909" y="2242612"/>
                      <a:pt x="4639526" y="2252225"/>
                      <a:pt x="4651363" y="2252225"/>
                    </a:cubicBezTo>
                    <a:cubicBezTo>
                      <a:pt x="4663197" y="2252225"/>
                      <a:pt x="4672812" y="2242612"/>
                      <a:pt x="4672812" y="2230774"/>
                    </a:cubicBezTo>
                    <a:close/>
                    <a:moveTo>
                      <a:pt x="4678484" y="2095898"/>
                    </a:moveTo>
                    <a:cubicBezTo>
                      <a:pt x="4678484" y="2087266"/>
                      <a:pt x="4671334" y="2080115"/>
                      <a:pt x="4662703" y="2080115"/>
                    </a:cubicBezTo>
                    <a:cubicBezTo>
                      <a:pt x="4654072" y="2080115"/>
                      <a:pt x="4646923" y="2087266"/>
                      <a:pt x="4646923" y="2095898"/>
                    </a:cubicBezTo>
                    <a:cubicBezTo>
                      <a:pt x="4646923" y="2104530"/>
                      <a:pt x="4654072" y="2111681"/>
                      <a:pt x="4662703" y="2111681"/>
                    </a:cubicBezTo>
                    <a:cubicBezTo>
                      <a:pt x="4671580" y="2111681"/>
                      <a:pt x="4678484" y="2104530"/>
                      <a:pt x="4678484" y="2095898"/>
                    </a:cubicBezTo>
                    <a:close/>
                    <a:moveTo>
                      <a:pt x="4681444" y="4214401"/>
                    </a:moveTo>
                    <a:cubicBezTo>
                      <a:pt x="4681444" y="4200101"/>
                      <a:pt x="4669854" y="4188757"/>
                      <a:pt x="4655800" y="4188757"/>
                    </a:cubicBezTo>
                    <a:cubicBezTo>
                      <a:pt x="4641500" y="4188757"/>
                      <a:pt x="4630156" y="4200347"/>
                      <a:pt x="4630156" y="4214401"/>
                    </a:cubicBezTo>
                    <a:cubicBezTo>
                      <a:pt x="4630156" y="4228456"/>
                      <a:pt x="4641746" y="4240045"/>
                      <a:pt x="4655800" y="4240045"/>
                    </a:cubicBezTo>
                    <a:cubicBezTo>
                      <a:pt x="4669854" y="4240045"/>
                      <a:pt x="4681444" y="4228456"/>
                      <a:pt x="4681444" y="4214401"/>
                    </a:cubicBezTo>
                    <a:close/>
                    <a:moveTo>
                      <a:pt x="4688349" y="2786527"/>
                    </a:moveTo>
                    <a:cubicBezTo>
                      <a:pt x="4688349" y="2783814"/>
                      <a:pt x="4686128" y="2781842"/>
                      <a:pt x="4683663" y="2781842"/>
                    </a:cubicBezTo>
                    <a:cubicBezTo>
                      <a:pt x="4680950" y="2781842"/>
                      <a:pt x="4678977" y="2784061"/>
                      <a:pt x="4678977" y="2786527"/>
                    </a:cubicBezTo>
                    <a:cubicBezTo>
                      <a:pt x="4678977" y="2789241"/>
                      <a:pt x="4681196" y="2791214"/>
                      <a:pt x="4683663" y="2791214"/>
                    </a:cubicBezTo>
                    <a:cubicBezTo>
                      <a:pt x="4686375" y="2791214"/>
                      <a:pt x="4688349" y="2788992"/>
                      <a:pt x="4688349" y="2786527"/>
                    </a:cubicBezTo>
                    <a:close/>
                    <a:moveTo>
                      <a:pt x="4688839" y="3955741"/>
                    </a:moveTo>
                    <a:cubicBezTo>
                      <a:pt x="4688839" y="3944153"/>
                      <a:pt x="4679471" y="3934783"/>
                      <a:pt x="4667881" y="3934783"/>
                    </a:cubicBezTo>
                    <a:cubicBezTo>
                      <a:pt x="4656291" y="3934783"/>
                      <a:pt x="4646923" y="3944153"/>
                      <a:pt x="4646923" y="3955741"/>
                    </a:cubicBezTo>
                    <a:cubicBezTo>
                      <a:pt x="4646923" y="3967331"/>
                      <a:pt x="4656291" y="3976699"/>
                      <a:pt x="4667881" y="3976699"/>
                    </a:cubicBezTo>
                    <a:cubicBezTo>
                      <a:pt x="4679471" y="3976699"/>
                      <a:pt x="4688839" y="3967331"/>
                      <a:pt x="4688839" y="3955741"/>
                    </a:cubicBezTo>
                    <a:close/>
                    <a:moveTo>
                      <a:pt x="4689085" y="4582784"/>
                    </a:moveTo>
                    <a:cubicBezTo>
                      <a:pt x="4689085" y="4556154"/>
                      <a:pt x="4667636" y="4534701"/>
                      <a:pt x="4641006" y="4534701"/>
                    </a:cubicBezTo>
                    <a:cubicBezTo>
                      <a:pt x="4614375" y="4534701"/>
                      <a:pt x="4592922" y="4556399"/>
                      <a:pt x="4592922" y="4582784"/>
                    </a:cubicBezTo>
                    <a:cubicBezTo>
                      <a:pt x="4592922" y="4609414"/>
                      <a:pt x="4614621" y="4630867"/>
                      <a:pt x="4641006" y="4630867"/>
                    </a:cubicBezTo>
                    <a:cubicBezTo>
                      <a:pt x="4667387" y="4630867"/>
                      <a:pt x="4689085" y="4609168"/>
                      <a:pt x="4689085" y="4582784"/>
                    </a:cubicBezTo>
                    <a:close/>
                    <a:moveTo>
                      <a:pt x="4695743" y="2601599"/>
                    </a:moveTo>
                    <a:cubicBezTo>
                      <a:pt x="4695743" y="2599627"/>
                      <a:pt x="4694265" y="2598148"/>
                      <a:pt x="4692290" y="2598148"/>
                    </a:cubicBezTo>
                    <a:cubicBezTo>
                      <a:pt x="4690317" y="2598148"/>
                      <a:pt x="4688839" y="2599875"/>
                      <a:pt x="4688839" y="2601599"/>
                    </a:cubicBezTo>
                    <a:cubicBezTo>
                      <a:pt x="4688839" y="2603576"/>
                      <a:pt x="4690317" y="2605053"/>
                      <a:pt x="4692290" y="2605053"/>
                    </a:cubicBezTo>
                    <a:cubicBezTo>
                      <a:pt x="4694265" y="2605053"/>
                      <a:pt x="4695743" y="2603576"/>
                      <a:pt x="4695743" y="2601599"/>
                    </a:cubicBezTo>
                    <a:close/>
                    <a:moveTo>
                      <a:pt x="4696978" y="5243608"/>
                    </a:moveTo>
                    <a:cubicBezTo>
                      <a:pt x="4696978" y="5242621"/>
                      <a:pt x="4695992" y="5241634"/>
                      <a:pt x="4695006" y="5241634"/>
                    </a:cubicBezTo>
                    <a:cubicBezTo>
                      <a:pt x="4694020" y="5241634"/>
                      <a:pt x="4693034" y="5242621"/>
                      <a:pt x="4693034" y="5243608"/>
                    </a:cubicBezTo>
                    <a:cubicBezTo>
                      <a:pt x="4693034" y="5244593"/>
                      <a:pt x="4694020" y="5245580"/>
                      <a:pt x="4695006" y="5245580"/>
                    </a:cubicBezTo>
                    <a:cubicBezTo>
                      <a:pt x="4695992" y="5245580"/>
                      <a:pt x="4696978" y="5244593"/>
                      <a:pt x="4696978" y="5243608"/>
                    </a:cubicBezTo>
                    <a:close/>
                    <a:moveTo>
                      <a:pt x="4698456" y="1555226"/>
                    </a:moveTo>
                    <a:cubicBezTo>
                      <a:pt x="4698456" y="1529585"/>
                      <a:pt x="4677744" y="1508871"/>
                      <a:pt x="4652100" y="1508871"/>
                    </a:cubicBezTo>
                    <a:cubicBezTo>
                      <a:pt x="4626457" y="1508871"/>
                      <a:pt x="4605744" y="1529585"/>
                      <a:pt x="4605744" y="1555226"/>
                    </a:cubicBezTo>
                    <a:cubicBezTo>
                      <a:pt x="4605744" y="1580866"/>
                      <a:pt x="4626457" y="1601583"/>
                      <a:pt x="4652100" y="1601583"/>
                    </a:cubicBezTo>
                    <a:cubicBezTo>
                      <a:pt x="4677499" y="1601583"/>
                      <a:pt x="4698456" y="1580621"/>
                      <a:pt x="4698456" y="1555226"/>
                    </a:cubicBezTo>
                    <a:close/>
                    <a:moveTo>
                      <a:pt x="4701171" y="4854509"/>
                    </a:moveTo>
                    <a:cubicBezTo>
                      <a:pt x="4701171" y="4836510"/>
                      <a:pt x="4686373" y="4821715"/>
                      <a:pt x="4668374" y="4821715"/>
                    </a:cubicBezTo>
                    <a:cubicBezTo>
                      <a:pt x="4650374" y="4821715"/>
                      <a:pt x="4635579" y="4836510"/>
                      <a:pt x="4635579" y="4854509"/>
                    </a:cubicBezTo>
                    <a:cubicBezTo>
                      <a:pt x="4635579" y="4872508"/>
                      <a:pt x="4650374" y="4887306"/>
                      <a:pt x="4668374" y="4887306"/>
                    </a:cubicBezTo>
                    <a:cubicBezTo>
                      <a:pt x="4686622" y="4887306"/>
                      <a:pt x="4701171" y="4872508"/>
                      <a:pt x="4701171" y="4854509"/>
                    </a:cubicBezTo>
                    <a:close/>
                    <a:moveTo>
                      <a:pt x="4702153" y="1431708"/>
                    </a:moveTo>
                    <a:cubicBezTo>
                      <a:pt x="4702153" y="1406311"/>
                      <a:pt x="4681441" y="1385599"/>
                      <a:pt x="4656046" y="1385599"/>
                    </a:cubicBezTo>
                    <a:cubicBezTo>
                      <a:pt x="4630649" y="1385599"/>
                      <a:pt x="4609935" y="1406311"/>
                      <a:pt x="4609935" y="1431708"/>
                    </a:cubicBezTo>
                    <a:cubicBezTo>
                      <a:pt x="4609935" y="1456856"/>
                      <a:pt x="4630649" y="1477569"/>
                      <a:pt x="4656046" y="1477569"/>
                    </a:cubicBezTo>
                    <a:cubicBezTo>
                      <a:pt x="4681441" y="1477569"/>
                      <a:pt x="4702153" y="1457105"/>
                      <a:pt x="4702153" y="1431708"/>
                    </a:cubicBezTo>
                    <a:close/>
                    <a:moveTo>
                      <a:pt x="4702156" y="4720129"/>
                    </a:moveTo>
                    <a:cubicBezTo>
                      <a:pt x="4702156" y="4694977"/>
                      <a:pt x="4681444" y="4674264"/>
                      <a:pt x="4656048" y="4674264"/>
                    </a:cubicBezTo>
                    <a:cubicBezTo>
                      <a:pt x="4630897" y="4674264"/>
                      <a:pt x="4610184" y="4694730"/>
                      <a:pt x="4610184" y="4720129"/>
                    </a:cubicBezTo>
                    <a:cubicBezTo>
                      <a:pt x="4610184" y="4745524"/>
                      <a:pt x="4630650" y="4766236"/>
                      <a:pt x="4656048" y="4766236"/>
                    </a:cubicBezTo>
                    <a:cubicBezTo>
                      <a:pt x="4681444" y="4766236"/>
                      <a:pt x="4701911" y="4745524"/>
                      <a:pt x="4702156" y="4720129"/>
                    </a:cubicBezTo>
                    <a:close/>
                    <a:moveTo>
                      <a:pt x="4702896" y="1309671"/>
                    </a:moveTo>
                    <a:cubicBezTo>
                      <a:pt x="4702896" y="1285989"/>
                      <a:pt x="4683415" y="1266513"/>
                      <a:pt x="4659745" y="1266513"/>
                    </a:cubicBezTo>
                    <a:cubicBezTo>
                      <a:pt x="4636074" y="1266513"/>
                      <a:pt x="4616593" y="1285741"/>
                      <a:pt x="4616593" y="1309671"/>
                    </a:cubicBezTo>
                    <a:cubicBezTo>
                      <a:pt x="4616593" y="1333346"/>
                      <a:pt x="4635825" y="1352821"/>
                      <a:pt x="4659745" y="1352821"/>
                    </a:cubicBezTo>
                    <a:cubicBezTo>
                      <a:pt x="4683415" y="1352821"/>
                      <a:pt x="4702896" y="1333591"/>
                      <a:pt x="4702896" y="1309671"/>
                    </a:cubicBezTo>
                    <a:close/>
                    <a:moveTo>
                      <a:pt x="4706100" y="3050605"/>
                    </a:moveTo>
                    <a:cubicBezTo>
                      <a:pt x="4706100" y="3040247"/>
                      <a:pt x="4697718" y="3031865"/>
                      <a:pt x="4687361" y="3031865"/>
                    </a:cubicBezTo>
                    <a:cubicBezTo>
                      <a:pt x="4677003" y="3031865"/>
                      <a:pt x="4668621" y="3040247"/>
                      <a:pt x="4668621" y="3050605"/>
                    </a:cubicBezTo>
                    <a:cubicBezTo>
                      <a:pt x="4668621" y="3060960"/>
                      <a:pt x="4677003" y="3069345"/>
                      <a:pt x="4687361" y="3069345"/>
                    </a:cubicBezTo>
                    <a:cubicBezTo>
                      <a:pt x="4697718" y="3069345"/>
                      <a:pt x="4706100" y="3060960"/>
                      <a:pt x="4706100" y="3050605"/>
                    </a:cubicBezTo>
                    <a:close/>
                    <a:moveTo>
                      <a:pt x="4706101" y="4985936"/>
                    </a:moveTo>
                    <a:cubicBezTo>
                      <a:pt x="4706101" y="4971141"/>
                      <a:pt x="4694018" y="4959059"/>
                      <a:pt x="4679222" y="4959059"/>
                    </a:cubicBezTo>
                    <a:cubicBezTo>
                      <a:pt x="4664428" y="4959059"/>
                      <a:pt x="4652346" y="4971141"/>
                      <a:pt x="4652346" y="4985936"/>
                    </a:cubicBezTo>
                    <a:cubicBezTo>
                      <a:pt x="4652346" y="5000731"/>
                      <a:pt x="4664428" y="5012812"/>
                      <a:pt x="4679222" y="5012812"/>
                    </a:cubicBezTo>
                    <a:cubicBezTo>
                      <a:pt x="4694018" y="5012812"/>
                      <a:pt x="4705853" y="5000976"/>
                      <a:pt x="4706101" y="4985936"/>
                    </a:cubicBezTo>
                    <a:close/>
                    <a:moveTo>
                      <a:pt x="4706347" y="5116128"/>
                    </a:moveTo>
                    <a:cubicBezTo>
                      <a:pt x="4706347" y="5105773"/>
                      <a:pt x="4697965" y="5097142"/>
                      <a:pt x="4687362" y="5097142"/>
                    </a:cubicBezTo>
                    <a:cubicBezTo>
                      <a:pt x="4677006" y="5097142"/>
                      <a:pt x="4668376" y="5105527"/>
                      <a:pt x="4668376" y="5116128"/>
                    </a:cubicBezTo>
                    <a:cubicBezTo>
                      <a:pt x="4668376" y="5126486"/>
                      <a:pt x="4676757" y="5135117"/>
                      <a:pt x="4687362" y="5135117"/>
                    </a:cubicBezTo>
                    <a:cubicBezTo>
                      <a:pt x="4697965" y="5135117"/>
                      <a:pt x="4706596" y="5126486"/>
                      <a:pt x="4706347" y="5116128"/>
                    </a:cubicBezTo>
                    <a:close/>
                    <a:moveTo>
                      <a:pt x="4707334" y="1188866"/>
                    </a:moveTo>
                    <a:cubicBezTo>
                      <a:pt x="4707334" y="1164455"/>
                      <a:pt x="4687362" y="1144477"/>
                      <a:pt x="4662950" y="1144477"/>
                    </a:cubicBezTo>
                    <a:cubicBezTo>
                      <a:pt x="4638538" y="1144477"/>
                      <a:pt x="4618566" y="1164455"/>
                      <a:pt x="4618566" y="1188866"/>
                    </a:cubicBezTo>
                    <a:cubicBezTo>
                      <a:pt x="4618566" y="1213279"/>
                      <a:pt x="4638538" y="1233252"/>
                      <a:pt x="4662950" y="1233252"/>
                    </a:cubicBezTo>
                    <a:cubicBezTo>
                      <a:pt x="4687362" y="1233252"/>
                      <a:pt x="4707334" y="1213279"/>
                      <a:pt x="4707334" y="1188866"/>
                    </a:cubicBezTo>
                    <a:close/>
                    <a:moveTo>
                      <a:pt x="4708320" y="1069047"/>
                    </a:moveTo>
                    <a:cubicBezTo>
                      <a:pt x="4708320" y="1045621"/>
                      <a:pt x="4689334" y="1026636"/>
                      <a:pt x="4665909" y="1026636"/>
                    </a:cubicBezTo>
                    <a:cubicBezTo>
                      <a:pt x="4642484" y="1026636"/>
                      <a:pt x="4623497" y="1045621"/>
                      <a:pt x="4623497" y="1069047"/>
                    </a:cubicBezTo>
                    <a:cubicBezTo>
                      <a:pt x="4623497" y="1092475"/>
                      <a:pt x="4642484" y="1111456"/>
                      <a:pt x="4665909" y="1111456"/>
                    </a:cubicBezTo>
                    <a:cubicBezTo>
                      <a:pt x="4689334" y="1111456"/>
                      <a:pt x="4708320" y="1092475"/>
                      <a:pt x="4708320" y="1069047"/>
                    </a:cubicBezTo>
                    <a:close/>
                    <a:moveTo>
                      <a:pt x="4713251" y="949970"/>
                    </a:moveTo>
                    <a:cubicBezTo>
                      <a:pt x="4713251" y="925067"/>
                      <a:pt x="4693034" y="904835"/>
                      <a:pt x="4668129" y="904835"/>
                    </a:cubicBezTo>
                    <a:cubicBezTo>
                      <a:pt x="4643224" y="904835"/>
                      <a:pt x="4623005" y="925067"/>
                      <a:pt x="4623005" y="949970"/>
                    </a:cubicBezTo>
                    <a:cubicBezTo>
                      <a:pt x="4623005" y="974874"/>
                      <a:pt x="4643224" y="995095"/>
                      <a:pt x="4668129" y="995095"/>
                    </a:cubicBezTo>
                    <a:cubicBezTo>
                      <a:pt x="4693034" y="995095"/>
                      <a:pt x="4713251" y="974874"/>
                      <a:pt x="4713251" y="949970"/>
                    </a:cubicBezTo>
                    <a:close/>
                    <a:moveTo>
                      <a:pt x="4713745" y="831388"/>
                    </a:moveTo>
                    <a:cubicBezTo>
                      <a:pt x="4713745" y="806973"/>
                      <a:pt x="4694020" y="787001"/>
                      <a:pt x="4669608" y="787001"/>
                    </a:cubicBezTo>
                    <a:cubicBezTo>
                      <a:pt x="4645196" y="787001"/>
                      <a:pt x="4625224" y="806973"/>
                      <a:pt x="4625224" y="831388"/>
                    </a:cubicBezTo>
                    <a:cubicBezTo>
                      <a:pt x="4625224" y="855545"/>
                      <a:pt x="4645196" y="875515"/>
                      <a:pt x="4669608" y="875515"/>
                    </a:cubicBezTo>
                    <a:cubicBezTo>
                      <a:pt x="4694020" y="875515"/>
                      <a:pt x="4713991" y="855792"/>
                      <a:pt x="4713745" y="831388"/>
                    </a:cubicBezTo>
                    <a:close/>
                    <a:moveTo>
                      <a:pt x="4715224" y="1963503"/>
                    </a:moveTo>
                    <a:cubicBezTo>
                      <a:pt x="4715224" y="1939839"/>
                      <a:pt x="4695990" y="1920367"/>
                      <a:pt x="4672072" y="1920367"/>
                    </a:cubicBezTo>
                    <a:cubicBezTo>
                      <a:pt x="4648401" y="1920367"/>
                      <a:pt x="4628921" y="1939591"/>
                      <a:pt x="4628921" y="1963503"/>
                    </a:cubicBezTo>
                    <a:cubicBezTo>
                      <a:pt x="4628921" y="1987167"/>
                      <a:pt x="4648152" y="2006640"/>
                      <a:pt x="4672072" y="2006640"/>
                    </a:cubicBezTo>
                    <a:cubicBezTo>
                      <a:pt x="4695743" y="2006640"/>
                      <a:pt x="4715224" y="1987167"/>
                      <a:pt x="4715224" y="1963503"/>
                    </a:cubicBezTo>
                    <a:close/>
                    <a:moveTo>
                      <a:pt x="4715470" y="713788"/>
                    </a:moveTo>
                    <a:cubicBezTo>
                      <a:pt x="4715470" y="689628"/>
                      <a:pt x="4695744" y="669902"/>
                      <a:pt x="4671581" y="669902"/>
                    </a:cubicBezTo>
                    <a:cubicBezTo>
                      <a:pt x="4647415" y="669902"/>
                      <a:pt x="4627688" y="689628"/>
                      <a:pt x="4627688" y="713788"/>
                    </a:cubicBezTo>
                    <a:cubicBezTo>
                      <a:pt x="4627688" y="737955"/>
                      <a:pt x="4647415" y="757681"/>
                      <a:pt x="4671581" y="757681"/>
                    </a:cubicBezTo>
                    <a:cubicBezTo>
                      <a:pt x="4695744" y="757681"/>
                      <a:pt x="4715470" y="737955"/>
                      <a:pt x="4715470" y="713788"/>
                    </a:cubicBezTo>
                    <a:close/>
                    <a:moveTo>
                      <a:pt x="4715718" y="5363936"/>
                    </a:moveTo>
                    <a:cubicBezTo>
                      <a:pt x="4715718" y="5360485"/>
                      <a:pt x="4713005" y="5357772"/>
                      <a:pt x="4709552" y="5357772"/>
                    </a:cubicBezTo>
                    <a:cubicBezTo>
                      <a:pt x="4706100" y="5357772"/>
                      <a:pt x="4703387" y="5360485"/>
                      <a:pt x="4703387" y="5363936"/>
                    </a:cubicBezTo>
                    <a:cubicBezTo>
                      <a:pt x="4703387" y="5367389"/>
                      <a:pt x="4706100" y="5370102"/>
                      <a:pt x="4709552" y="5370102"/>
                    </a:cubicBezTo>
                    <a:cubicBezTo>
                      <a:pt x="4713005" y="5370102"/>
                      <a:pt x="4715718" y="5367389"/>
                      <a:pt x="4715718" y="5363936"/>
                    </a:cubicBezTo>
                    <a:close/>
                    <a:moveTo>
                      <a:pt x="4716456" y="5488951"/>
                    </a:moveTo>
                    <a:cubicBezTo>
                      <a:pt x="4716456" y="5487964"/>
                      <a:pt x="4715470" y="5486978"/>
                      <a:pt x="4714482" y="5486978"/>
                    </a:cubicBezTo>
                    <a:cubicBezTo>
                      <a:pt x="4713497" y="5486978"/>
                      <a:pt x="4712511" y="5487964"/>
                      <a:pt x="4712511" y="5488951"/>
                    </a:cubicBezTo>
                    <a:cubicBezTo>
                      <a:pt x="4712511" y="5489937"/>
                      <a:pt x="4713497" y="5490923"/>
                      <a:pt x="4714482" y="5490923"/>
                    </a:cubicBezTo>
                    <a:cubicBezTo>
                      <a:pt x="4715715" y="5490923"/>
                      <a:pt x="4716702" y="5489937"/>
                      <a:pt x="4716456" y="5488951"/>
                    </a:cubicBezTo>
                    <a:close/>
                    <a:moveTo>
                      <a:pt x="4721143" y="2455143"/>
                    </a:moveTo>
                    <a:cubicBezTo>
                      <a:pt x="4721143" y="2451938"/>
                      <a:pt x="4718429" y="2449226"/>
                      <a:pt x="4715224" y="2449226"/>
                    </a:cubicBezTo>
                    <a:cubicBezTo>
                      <a:pt x="4712019" y="2449226"/>
                      <a:pt x="4709306" y="2451938"/>
                      <a:pt x="4709306" y="2455143"/>
                    </a:cubicBezTo>
                    <a:cubicBezTo>
                      <a:pt x="4709306" y="2458347"/>
                      <a:pt x="4712019" y="2461061"/>
                      <a:pt x="4715224" y="2461061"/>
                    </a:cubicBezTo>
                    <a:cubicBezTo>
                      <a:pt x="4718429" y="2461061"/>
                      <a:pt x="4721143" y="2458595"/>
                      <a:pt x="4721143" y="2455143"/>
                    </a:cubicBezTo>
                    <a:close/>
                    <a:moveTo>
                      <a:pt x="4723855" y="5735526"/>
                    </a:moveTo>
                    <a:cubicBezTo>
                      <a:pt x="4723855" y="5734291"/>
                      <a:pt x="4722868" y="5733059"/>
                      <a:pt x="4721387" y="5733059"/>
                    </a:cubicBezTo>
                    <a:cubicBezTo>
                      <a:pt x="4720155" y="5733059"/>
                      <a:pt x="4718923" y="5734046"/>
                      <a:pt x="4718923" y="5735526"/>
                    </a:cubicBezTo>
                    <a:cubicBezTo>
                      <a:pt x="4718923" y="5736758"/>
                      <a:pt x="4719909" y="5737990"/>
                      <a:pt x="4721387" y="5737990"/>
                    </a:cubicBezTo>
                    <a:cubicBezTo>
                      <a:pt x="4722868" y="5737990"/>
                      <a:pt x="4724100" y="5736758"/>
                      <a:pt x="4723855" y="5735526"/>
                    </a:cubicBezTo>
                    <a:close/>
                    <a:moveTo>
                      <a:pt x="4725087" y="1706119"/>
                    </a:moveTo>
                    <a:cubicBezTo>
                      <a:pt x="4725087" y="1684913"/>
                      <a:pt x="4707825" y="1667651"/>
                      <a:pt x="4686620" y="1667651"/>
                    </a:cubicBezTo>
                    <a:cubicBezTo>
                      <a:pt x="4665417" y="1667651"/>
                      <a:pt x="4648155" y="1684913"/>
                      <a:pt x="4648155" y="1706119"/>
                    </a:cubicBezTo>
                    <a:cubicBezTo>
                      <a:pt x="4648155" y="1727313"/>
                      <a:pt x="4665417" y="1744589"/>
                      <a:pt x="4686620" y="1744589"/>
                    </a:cubicBezTo>
                    <a:cubicBezTo>
                      <a:pt x="4708074" y="1744589"/>
                      <a:pt x="4725332" y="1727313"/>
                      <a:pt x="4725087" y="1706119"/>
                    </a:cubicBezTo>
                    <a:close/>
                    <a:moveTo>
                      <a:pt x="4726072" y="5857336"/>
                    </a:moveTo>
                    <a:cubicBezTo>
                      <a:pt x="4726072" y="5855855"/>
                      <a:pt x="4724838" y="5854623"/>
                      <a:pt x="4723359" y="5854623"/>
                    </a:cubicBezTo>
                    <a:cubicBezTo>
                      <a:pt x="4721633" y="5854623"/>
                      <a:pt x="4720401" y="5855855"/>
                      <a:pt x="4720401" y="5857336"/>
                    </a:cubicBezTo>
                    <a:cubicBezTo>
                      <a:pt x="4720401" y="5858814"/>
                      <a:pt x="4721878" y="5860049"/>
                      <a:pt x="4723359" y="5860049"/>
                    </a:cubicBezTo>
                    <a:cubicBezTo>
                      <a:pt x="4725086" y="5860049"/>
                      <a:pt x="4726318" y="5858814"/>
                      <a:pt x="4726072" y="5857336"/>
                    </a:cubicBezTo>
                    <a:close/>
                    <a:moveTo>
                      <a:pt x="4726810" y="1834107"/>
                    </a:moveTo>
                    <a:cubicBezTo>
                      <a:pt x="4726810" y="1808456"/>
                      <a:pt x="4705852" y="1787480"/>
                      <a:pt x="4680208" y="1787480"/>
                    </a:cubicBezTo>
                    <a:cubicBezTo>
                      <a:pt x="4654564" y="1787480"/>
                      <a:pt x="4633606" y="1808456"/>
                      <a:pt x="4633606" y="1834107"/>
                    </a:cubicBezTo>
                    <a:cubicBezTo>
                      <a:pt x="4633606" y="1859743"/>
                      <a:pt x="4654564" y="1880694"/>
                      <a:pt x="4680208" y="1880694"/>
                    </a:cubicBezTo>
                    <a:cubicBezTo>
                      <a:pt x="4706100" y="1880694"/>
                      <a:pt x="4727058" y="1859743"/>
                      <a:pt x="4726810" y="1834107"/>
                    </a:cubicBezTo>
                    <a:close/>
                    <a:moveTo>
                      <a:pt x="4728292" y="5977171"/>
                    </a:moveTo>
                    <a:cubicBezTo>
                      <a:pt x="4728292" y="5976184"/>
                      <a:pt x="4727305" y="5975198"/>
                      <a:pt x="4726318" y="5975198"/>
                    </a:cubicBezTo>
                    <a:cubicBezTo>
                      <a:pt x="4725332" y="5975198"/>
                      <a:pt x="4724346" y="5976184"/>
                      <a:pt x="4724346" y="5977171"/>
                    </a:cubicBezTo>
                    <a:cubicBezTo>
                      <a:pt x="4724346" y="5978157"/>
                      <a:pt x="4725332" y="5979143"/>
                      <a:pt x="4726318" y="5979143"/>
                    </a:cubicBezTo>
                    <a:cubicBezTo>
                      <a:pt x="4727550" y="5979143"/>
                      <a:pt x="4728292" y="5978403"/>
                      <a:pt x="4728292" y="5977171"/>
                    </a:cubicBezTo>
                    <a:close/>
                    <a:moveTo>
                      <a:pt x="4728785" y="3846507"/>
                    </a:moveTo>
                    <a:cubicBezTo>
                      <a:pt x="4728785" y="3834179"/>
                      <a:pt x="4718677" y="3824317"/>
                      <a:pt x="4706595" y="3824317"/>
                    </a:cubicBezTo>
                    <a:cubicBezTo>
                      <a:pt x="4694265" y="3824317"/>
                      <a:pt x="4684402" y="3834425"/>
                      <a:pt x="4684402" y="3846507"/>
                    </a:cubicBezTo>
                    <a:cubicBezTo>
                      <a:pt x="4684402" y="3858837"/>
                      <a:pt x="4694265" y="3868701"/>
                      <a:pt x="4706595" y="3868701"/>
                    </a:cubicBezTo>
                    <a:cubicBezTo>
                      <a:pt x="4718677" y="3868701"/>
                      <a:pt x="4728541" y="3858837"/>
                      <a:pt x="4728785" y="3846507"/>
                    </a:cubicBezTo>
                    <a:close/>
                    <a:moveTo>
                      <a:pt x="4729030" y="5612976"/>
                    </a:moveTo>
                    <a:cubicBezTo>
                      <a:pt x="4729030" y="5606813"/>
                      <a:pt x="4724098" y="5601881"/>
                      <a:pt x="4717934" y="5601881"/>
                    </a:cubicBezTo>
                    <a:cubicBezTo>
                      <a:pt x="4711771" y="5601881"/>
                      <a:pt x="4706838" y="5606813"/>
                      <a:pt x="4706838" y="5612976"/>
                    </a:cubicBezTo>
                    <a:cubicBezTo>
                      <a:pt x="4706838" y="5619140"/>
                      <a:pt x="4711771" y="5624075"/>
                      <a:pt x="4717934" y="5624075"/>
                    </a:cubicBezTo>
                    <a:cubicBezTo>
                      <a:pt x="4724098" y="5624075"/>
                      <a:pt x="4729030" y="5619140"/>
                      <a:pt x="4729030" y="5612976"/>
                    </a:cubicBezTo>
                    <a:close/>
                    <a:moveTo>
                      <a:pt x="4730018" y="6096513"/>
                    </a:moveTo>
                    <a:cubicBezTo>
                      <a:pt x="4730018" y="6096017"/>
                      <a:pt x="4729772" y="6095772"/>
                      <a:pt x="4729280" y="6095772"/>
                    </a:cubicBezTo>
                    <a:cubicBezTo>
                      <a:pt x="4728785" y="6095772"/>
                      <a:pt x="4728541" y="6096017"/>
                      <a:pt x="4728541" y="6096513"/>
                    </a:cubicBezTo>
                    <a:cubicBezTo>
                      <a:pt x="4728541" y="6097004"/>
                      <a:pt x="4729032" y="6097250"/>
                      <a:pt x="4729280" y="6097250"/>
                    </a:cubicBezTo>
                    <a:cubicBezTo>
                      <a:pt x="4729527" y="6097250"/>
                      <a:pt x="4729772" y="6096758"/>
                      <a:pt x="4730018" y="6096513"/>
                    </a:cubicBezTo>
                    <a:close/>
                    <a:moveTo>
                      <a:pt x="4732236" y="6214869"/>
                    </a:moveTo>
                    <a:cubicBezTo>
                      <a:pt x="4732236" y="6214377"/>
                      <a:pt x="4731742" y="6213882"/>
                      <a:pt x="4731250" y="6213882"/>
                    </a:cubicBezTo>
                    <a:cubicBezTo>
                      <a:pt x="4730758" y="6213882"/>
                      <a:pt x="4730263" y="6214377"/>
                      <a:pt x="4730263" y="6214869"/>
                    </a:cubicBezTo>
                    <a:cubicBezTo>
                      <a:pt x="4730263" y="6215360"/>
                      <a:pt x="4730758" y="6215855"/>
                      <a:pt x="4731250" y="6215855"/>
                    </a:cubicBezTo>
                    <a:cubicBezTo>
                      <a:pt x="4731742" y="6215855"/>
                      <a:pt x="4732236" y="6215609"/>
                      <a:pt x="4732236" y="6214869"/>
                    </a:cubicBezTo>
                    <a:close/>
                    <a:moveTo>
                      <a:pt x="4738154" y="4114538"/>
                    </a:moveTo>
                    <a:cubicBezTo>
                      <a:pt x="4738154" y="4100976"/>
                      <a:pt x="4727058" y="4089881"/>
                      <a:pt x="4713496" y="4089881"/>
                    </a:cubicBezTo>
                    <a:cubicBezTo>
                      <a:pt x="4699934" y="4089881"/>
                      <a:pt x="4688839" y="4100976"/>
                      <a:pt x="4688839" y="4114538"/>
                    </a:cubicBezTo>
                    <a:cubicBezTo>
                      <a:pt x="4688839" y="4128100"/>
                      <a:pt x="4699934" y="4139196"/>
                      <a:pt x="4713496" y="4139196"/>
                    </a:cubicBezTo>
                    <a:cubicBezTo>
                      <a:pt x="4727058" y="4139196"/>
                      <a:pt x="4738154" y="4128100"/>
                      <a:pt x="4738154" y="4114538"/>
                    </a:cubicBezTo>
                    <a:close/>
                    <a:moveTo>
                      <a:pt x="4738895" y="4349276"/>
                    </a:moveTo>
                    <a:cubicBezTo>
                      <a:pt x="4738895" y="4325113"/>
                      <a:pt x="4719168" y="4305387"/>
                      <a:pt x="4695004" y="4305387"/>
                    </a:cubicBezTo>
                    <a:cubicBezTo>
                      <a:pt x="4670840" y="4305387"/>
                      <a:pt x="4651114" y="4325113"/>
                      <a:pt x="4651114" y="4349276"/>
                    </a:cubicBezTo>
                    <a:cubicBezTo>
                      <a:pt x="4651114" y="4373442"/>
                      <a:pt x="4670840" y="4393168"/>
                      <a:pt x="4695004" y="4393168"/>
                    </a:cubicBezTo>
                    <a:cubicBezTo>
                      <a:pt x="4719168" y="4393168"/>
                      <a:pt x="4738895" y="4373687"/>
                      <a:pt x="4738895" y="4349276"/>
                    </a:cubicBezTo>
                    <a:close/>
                    <a:moveTo>
                      <a:pt x="4742345" y="3161071"/>
                    </a:moveTo>
                    <a:cubicBezTo>
                      <a:pt x="4742345" y="3149485"/>
                      <a:pt x="4732976" y="3140113"/>
                      <a:pt x="4721387" y="3140113"/>
                    </a:cubicBezTo>
                    <a:cubicBezTo>
                      <a:pt x="4709797" y="3140113"/>
                      <a:pt x="4700429" y="3149485"/>
                      <a:pt x="4700429" y="3161071"/>
                    </a:cubicBezTo>
                    <a:cubicBezTo>
                      <a:pt x="4700429" y="3172661"/>
                      <a:pt x="4709797" y="3182030"/>
                      <a:pt x="4721387" y="3182030"/>
                    </a:cubicBezTo>
                    <a:cubicBezTo>
                      <a:pt x="4732976" y="3182030"/>
                      <a:pt x="4742345" y="3172661"/>
                      <a:pt x="4742345" y="3161071"/>
                    </a:cubicBezTo>
                    <a:close/>
                    <a:moveTo>
                      <a:pt x="4743827" y="6329773"/>
                    </a:moveTo>
                    <a:cubicBezTo>
                      <a:pt x="4743827" y="6328046"/>
                      <a:pt x="4742349" y="6326568"/>
                      <a:pt x="4740622" y="6326568"/>
                    </a:cubicBezTo>
                    <a:cubicBezTo>
                      <a:pt x="4738895" y="6326568"/>
                      <a:pt x="4737417" y="6328046"/>
                      <a:pt x="4737417" y="6329773"/>
                    </a:cubicBezTo>
                    <a:cubicBezTo>
                      <a:pt x="4737417" y="6331500"/>
                      <a:pt x="4738895" y="6332981"/>
                      <a:pt x="4740622" y="6332981"/>
                    </a:cubicBezTo>
                    <a:cubicBezTo>
                      <a:pt x="4742595" y="6332981"/>
                      <a:pt x="4743827" y="6331500"/>
                      <a:pt x="4743827" y="6329773"/>
                    </a:cubicBezTo>
                    <a:close/>
                    <a:moveTo>
                      <a:pt x="4744321" y="2888611"/>
                    </a:moveTo>
                    <a:cubicBezTo>
                      <a:pt x="4744321" y="2884913"/>
                      <a:pt x="4741116" y="2881708"/>
                      <a:pt x="4737417" y="2881708"/>
                    </a:cubicBezTo>
                    <a:cubicBezTo>
                      <a:pt x="4733471" y="2881708"/>
                      <a:pt x="4730513" y="2884913"/>
                      <a:pt x="4730513" y="2888611"/>
                    </a:cubicBezTo>
                    <a:cubicBezTo>
                      <a:pt x="4730513" y="2892311"/>
                      <a:pt x="4733717" y="2895515"/>
                      <a:pt x="4737417" y="2895515"/>
                    </a:cubicBezTo>
                    <a:cubicBezTo>
                      <a:pt x="4741362" y="2895515"/>
                      <a:pt x="4744321" y="2892557"/>
                      <a:pt x="4744321" y="2888611"/>
                    </a:cubicBezTo>
                    <a:close/>
                    <a:moveTo>
                      <a:pt x="4745305" y="6447143"/>
                    </a:moveTo>
                    <a:cubicBezTo>
                      <a:pt x="4745305" y="6445416"/>
                      <a:pt x="4743827" y="6443937"/>
                      <a:pt x="4742100" y="6443937"/>
                    </a:cubicBezTo>
                    <a:cubicBezTo>
                      <a:pt x="4740373" y="6443937"/>
                      <a:pt x="4738895" y="6445416"/>
                      <a:pt x="4738895" y="6447143"/>
                    </a:cubicBezTo>
                    <a:cubicBezTo>
                      <a:pt x="4738895" y="6448869"/>
                      <a:pt x="4740373" y="6450347"/>
                      <a:pt x="4742100" y="6450347"/>
                    </a:cubicBezTo>
                    <a:cubicBezTo>
                      <a:pt x="4743827" y="6450347"/>
                      <a:pt x="4745305" y="6448869"/>
                      <a:pt x="4745305" y="6447143"/>
                    </a:cubicBezTo>
                    <a:close/>
                    <a:moveTo>
                      <a:pt x="4745308" y="6564270"/>
                    </a:moveTo>
                    <a:cubicBezTo>
                      <a:pt x="4745308" y="6563034"/>
                      <a:pt x="4744321" y="6561802"/>
                      <a:pt x="4742843" y="6561802"/>
                    </a:cubicBezTo>
                    <a:cubicBezTo>
                      <a:pt x="4741607" y="6561802"/>
                      <a:pt x="4740376" y="6562789"/>
                      <a:pt x="4740376" y="6564270"/>
                    </a:cubicBezTo>
                    <a:cubicBezTo>
                      <a:pt x="4740376" y="6565502"/>
                      <a:pt x="4741607" y="6566734"/>
                      <a:pt x="4742843" y="6566734"/>
                    </a:cubicBezTo>
                    <a:cubicBezTo>
                      <a:pt x="4744321" y="6566734"/>
                      <a:pt x="4745308" y="6565747"/>
                      <a:pt x="4745308" y="6564270"/>
                    </a:cubicBezTo>
                    <a:close/>
                    <a:moveTo>
                      <a:pt x="4747771" y="6680405"/>
                    </a:moveTo>
                    <a:cubicBezTo>
                      <a:pt x="4747771" y="6678677"/>
                      <a:pt x="4746539" y="6677445"/>
                      <a:pt x="4744812" y="6677445"/>
                    </a:cubicBezTo>
                    <a:cubicBezTo>
                      <a:pt x="4743086" y="6677445"/>
                      <a:pt x="4741854" y="6678677"/>
                      <a:pt x="4741854" y="6680405"/>
                    </a:cubicBezTo>
                    <a:cubicBezTo>
                      <a:pt x="4741854" y="6682131"/>
                      <a:pt x="4743086" y="6683364"/>
                      <a:pt x="4744812" y="6683364"/>
                    </a:cubicBezTo>
                    <a:cubicBezTo>
                      <a:pt x="4746293" y="6683364"/>
                      <a:pt x="4747771" y="6681883"/>
                      <a:pt x="4747771" y="6680405"/>
                    </a:cubicBezTo>
                    <a:close/>
                    <a:moveTo>
                      <a:pt x="4749249" y="6796050"/>
                    </a:moveTo>
                    <a:cubicBezTo>
                      <a:pt x="4749249" y="6794075"/>
                      <a:pt x="4747771" y="6792597"/>
                      <a:pt x="4745799" y="6792597"/>
                    </a:cubicBezTo>
                    <a:cubicBezTo>
                      <a:pt x="4743826" y="6792597"/>
                      <a:pt x="4742099" y="6794075"/>
                      <a:pt x="4742099" y="6796050"/>
                    </a:cubicBezTo>
                    <a:cubicBezTo>
                      <a:pt x="4742099" y="6798269"/>
                      <a:pt x="4743826" y="6799747"/>
                      <a:pt x="4745799" y="6799747"/>
                    </a:cubicBezTo>
                    <a:cubicBezTo>
                      <a:pt x="4747771" y="6799747"/>
                      <a:pt x="4749249" y="6798023"/>
                      <a:pt x="4749249" y="6796050"/>
                    </a:cubicBezTo>
                    <a:close/>
                    <a:moveTo>
                      <a:pt x="4751962" y="6911445"/>
                    </a:moveTo>
                    <a:cubicBezTo>
                      <a:pt x="4751962" y="6908734"/>
                      <a:pt x="4749743" y="6906513"/>
                      <a:pt x="4747031" y="6906513"/>
                    </a:cubicBezTo>
                    <a:cubicBezTo>
                      <a:pt x="4744318" y="6906513"/>
                      <a:pt x="4742099" y="6908734"/>
                      <a:pt x="4742099" y="6911445"/>
                    </a:cubicBezTo>
                    <a:cubicBezTo>
                      <a:pt x="4742099" y="6914158"/>
                      <a:pt x="4744318" y="6916376"/>
                      <a:pt x="4747031" y="6916376"/>
                    </a:cubicBezTo>
                    <a:cubicBezTo>
                      <a:pt x="4749743" y="6916376"/>
                      <a:pt x="4751962" y="6914158"/>
                      <a:pt x="4751962" y="6911445"/>
                    </a:cubicBezTo>
                    <a:close/>
                    <a:moveTo>
                      <a:pt x="4754921" y="7026350"/>
                    </a:moveTo>
                    <a:cubicBezTo>
                      <a:pt x="4754921" y="7022650"/>
                      <a:pt x="4751962" y="7019692"/>
                      <a:pt x="4748265" y="7019692"/>
                    </a:cubicBezTo>
                    <a:cubicBezTo>
                      <a:pt x="4744567" y="7019692"/>
                      <a:pt x="4741607" y="7022650"/>
                      <a:pt x="4741607" y="7026350"/>
                    </a:cubicBezTo>
                    <a:cubicBezTo>
                      <a:pt x="4741607" y="7029800"/>
                      <a:pt x="4744567" y="7032759"/>
                      <a:pt x="4748265" y="7032759"/>
                    </a:cubicBezTo>
                    <a:cubicBezTo>
                      <a:pt x="4751962" y="7032759"/>
                      <a:pt x="4754675" y="7029800"/>
                      <a:pt x="4754921" y="7026350"/>
                    </a:cubicBezTo>
                    <a:close/>
                    <a:moveTo>
                      <a:pt x="4756651" y="2312629"/>
                    </a:moveTo>
                    <a:cubicBezTo>
                      <a:pt x="4756651" y="2300057"/>
                      <a:pt x="4746293" y="2289695"/>
                      <a:pt x="4733717" y="2289695"/>
                    </a:cubicBezTo>
                    <a:cubicBezTo>
                      <a:pt x="4721142" y="2289695"/>
                      <a:pt x="4710786" y="2300057"/>
                      <a:pt x="4710786" y="2312629"/>
                    </a:cubicBezTo>
                    <a:cubicBezTo>
                      <a:pt x="4710786" y="2325200"/>
                      <a:pt x="4721142" y="2335565"/>
                      <a:pt x="4733717" y="2335565"/>
                    </a:cubicBezTo>
                    <a:cubicBezTo>
                      <a:pt x="4746539" y="2335565"/>
                      <a:pt x="4756651" y="2325447"/>
                      <a:pt x="4756651" y="2312629"/>
                    </a:cubicBezTo>
                    <a:close/>
                    <a:moveTo>
                      <a:pt x="4758622" y="3734317"/>
                    </a:moveTo>
                    <a:cubicBezTo>
                      <a:pt x="4758622" y="3721247"/>
                      <a:pt x="4748018" y="3710891"/>
                      <a:pt x="4735195" y="3710891"/>
                    </a:cubicBezTo>
                    <a:cubicBezTo>
                      <a:pt x="4722374" y="3710891"/>
                      <a:pt x="4711771" y="3721495"/>
                      <a:pt x="4711771" y="3734317"/>
                    </a:cubicBezTo>
                    <a:cubicBezTo>
                      <a:pt x="4711771" y="3747385"/>
                      <a:pt x="4722374" y="3757743"/>
                      <a:pt x="4735195" y="3757743"/>
                    </a:cubicBezTo>
                    <a:cubicBezTo>
                      <a:pt x="4748018" y="3757743"/>
                      <a:pt x="4758373" y="3747385"/>
                      <a:pt x="4758622" y="3734317"/>
                    </a:cubicBezTo>
                    <a:close/>
                    <a:moveTo>
                      <a:pt x="4759853" y="7253199"/>
                    </a:moveTo>
                    <a:cubicBezTo>
                      <a:pt x="4759853" y="7250733"/>
                      <a:pt x="4757881" y="7248760"/>
                      <a:pt x="4755417" y="7248760"/>
                    </a:cubicBezTo>
                    <a:cubicBezTo>
                      <a:pt x="4752949" y="7248760"/>
                      <a:pt x="4750977" y="7250733"/>
                      <a:pt x="4750977" y="7253199"/>
                    </a:cubicBezTo>
                    <a:cubicBezTo>
                      <a:pt x="4750977" y="7255664"/>
                      <a:pt x="4752949" y="7257636"/>
                      <a:pt x="4755417" y="7257636"/>
                    </a:cubicBezTo>
                    <a:cubicBezTo>
                      <a:pt x="4757881" y="7257636"/>
                      <a:pt x="4759853" y="7255664"/>
                      <a:pt x="4759853" y="7253199"/>
                    </a:cubicBezTo>
                    <a:close/>
                    <a:moveTo>
                      <a:pt x="4761580" y="2698505"/>
                    </a:moveTo>
                    <a:cubicBezTo>
                      <a:pt x="4761580" y="2696286"/>
                      <a:pt x="4759608" y="2694313"/>
                      <a:pt x="4757389" y="2694313"/>
                    </a:cubicBezTo>
                    <a:cubicBezTo>
                      <a:pt x="4755169" y="2694313"/>
                      <a:pt x="4753197" y="2696286"/>
                      <a:pt x="4753197" y="2698505"/>
                    </a:cubicBezTo>
                    <a:cubicBezTo>
                      <a:pt x="4753197" y="2700723"/>
                      <a:pt x="4755169" y="2702696"/>
                      <a:pt x="4757389" y="2702696"/>
                    </a:cubicBezTo>
                    <a:cubicBezTo>
                      <a:pt x="4759608" y="2702696"/>
                      <a:pt x="4761580" y="2700972"/>
                      <a:pt x="4761580" y="2698505"/>
                    </a:cubicBezTo>
                    <a:close/>
                    <a:moveTo>
                      <a:pt x="4762071" y="7367117"/>
                    </a:moveTo>
                    <a:cubicBezTo>
                      <a:pt x="4762071" y="7363850"/>
                      <a:pt x="4759423" y="7361199"/>
                      <a:pt x="4756154" y="7361199"/>
                    </a:cubicBezTo>
                    <a:cubicBezTo>
                      <a:pt x="4752884" y="7361199"/>
                      <a:pt x="4750235" y="7363850"/>
                      <a:pt x="4750235" y="7367117"/>
                    </a:cubicBezTo>
                    <a:cubicBezTo>
                      <a:pt x="4750235" y="7370387"/>
                      <a:pt x="4752884" y="7373035"/>
                      <a:pt x="4756154" y="7373035"/>
                    </a:cubicBezTo>
                    <a:cubicBezTo>
                      <a:pt x="4759423" y="7373035"/>
                      <a:pt x="4762071" y="7370387"/>
                      <a:pt x="4762071" y="7367117"/>
                    </a:cubicBezTo>
                    <a:close/>
                    <a:moveTo>
                      <a:pt x="4762564" y="7138790"/>
                    </a:moveTo>
                    <a:cubicBezTo>
                      <a:pt x="4762564" y="7134596"/>
                      <a:pt x="4759112" y="7131144"/>
                      <a:pt x="4754921" y="7131144"/>
                    </a:cubicBezTo>
                    <a:cubicBezTo>
                      <a:pt x="4750728" y="7131144"/>
                      <a:pt x="4747277" y="7134596"/>
                      <a:pt x="4747277" y="7138790"/>
                    </a:cubicBezTo>
                    <a:cubicBezTo>
                      <a:pt x="4747277" y="7142981"/>
                      <a:pt x="4750728" y="7146431"/>
                      <a:pt x="4754921" y="7146431"/>
                    </a:cubicBezTo>
                    <a:cubicBezTo>
                      <a:pt x="4759112" y="7146431"/>
                      <a:pt x="4762564" y="7142981"/>
                      <a:pt x="4762564" y="7138790"/>
                    </a:cubicBezTo>
                    <a:close/>
                    <a:moveTo>
                      <a:pt x="4764045" y="4495989"/>
                    </a:moveTo>
                    <a:cubicBezTo>
                      <a:pt x="4764045" y="4471086"/>
                      <a:pt x="4743827" y="4450619"/>
                      <a:pt x="4718675" y="4450619"/>
                    </a:cubicBezTo>
                    <a:cubicBezTo>
                      <a:pt x="4693771" y="4450619"/>
                      <a:pt x="4673305" y="4470840"/>
                      <a:pt x="4673305" y="4495989"/>
                    </a:cubicBezTo>
                    <a:cubicBezTo>
                      <a:pt x="4673305" y="4520893"/>
                      <a:pt x="4693525" y="4541359"/>
                      <a:pt x="4718675" y="4541359"/>
                    </a:cubicBezTo>
                    <a:cubicBezTo>
                      <a:pt x="4743578" y="4541359"/>
                      <a:pt x="4764045" y="4520893"/>
                      <a:pt x="4764045" y="4495989"/>
                    </a:cubicBezTo>
                    <a:close/>
                    <a:moveTo>
                      <a:pt x="4766017" y="2173579"/>
                    </a:moveTo>
                    <a:cubicBezTo>
                      <a:pt x="4766017" y="2163957"/>
                      <a:pt x="4758372" y="2156314"/>
                      <a:pt x="4748755" y="2156314"/>
                    </a:cubicBezTo>
                    <a:cubicBezTo>
                      <a:pt x="4739140" y="2156314"/>
                      <a:pt x="4731496" y="2163957"/>
                      <a:pt x="4731496" y="2173579"/>
                    </a:cubicBezTo>
                    <a:cubicBezTo>
                      <a:pt x="4731496" y="2183193"/>
                      <a:pt x="4739140" y="2190835"/>
                      <a:pt x="4748755" y="2190835"/>
                    </a:cubicBezTo>
                    <a:cubicBezTo>
                      <a:pt x="4758372" y="2190835"/>
                      <a:pt x="4766017" y="2183193"/>
                      <a:pt x="4766017" y="2173579"/>
                    </a:cubicBezTo>
                    <a:close/>
                    <a:moveTo>
                      <a:pt x="4768238" y="3274251"/>
                    </a:moveTo>
                    <a:cubicBezTo>
                      <a:pt x="4768238" y="3261424"/>
                      <a:pt x="4757883" y="3251070"/>
                      <a:pt x="4745061" y="3251070"/>
                    </a:cubicBezTo>
                    <a:cubicBezTo>
                      <a:pt x="4732237" y="3251070"/>
                      <a:pt x="4721882" y="3261424"/>
                      <a:pt x="4721882" y="3274251"/>
                    </a:cubicBezTo>
                    <a:cubicBezTo>
                      <a:pt x="4721882" y="3287067"/>
                      <a:pt x="4732237" y="3297427"/>
                      <a:pt x="4745061" y="3297427"/>
                    </a:cubicBezTo>
                    <a:cubicBezTo>
                      <a:pt x="4757635" y="3297427"/>
                      <a:pt x="4768238" y="3287067"/>
                      <a:pt x="4768238" y="3274251"/>
                    </a:cubicBezTo>
                    <a:close/>
                    <a:moveTo>
                      <a:pt x="4773416" y="622287"/>
                    </a:moveTo>
                    <a:cubicBezTo>
                      <a:pt x="4773416" y="599851"/>
                      <a:pt x="4754922" y="581604"/>
                      <a:pt x="4732483" y="581604"/>
                    </a:cubicBezTo>
                    <a:cubicBezTo>
                      <a:pt x="4710047" y="581604"/>
                      <a:pt x="4691799" y="599851"/>
                      <a:pt x="4691799" y="622287"/>
                    </a:cubicBezTo>
                    <a:cubicBezTo>
                      <a:pt x="4691799" y="644757"/>
                      <a:pt x="4710047" y="663014"/>
                      <a:pt x="4732483" y="663014"/>
                    </a:cubicBezTo>
                    <a:cubicBezTo>
                      <a:pt x="4755167" y="663014"/>
                      <a:pt x="4773416" y="644513"/>
                      <a:pt x="4773416" y="622287"/>
                    </a:cubicBezTo>
                    <a:close/>
                    <a:moveTo>
                      <a:pt x="4774402" y="504693"/>
                    </a:moveTo>
                    <a:cubicBezTo>
                      <a:pt x="4774402" y="482501"/>
                      <a:pt x="4756403" y="464256"/>
                      <a:pt x="4733964" y="464256"/>
                    </a:cubicBezTo>
                    <a:cubicBezTo>
                      <a:pt x="4711771" y="464256"/>
                      <a:pt x="4693525" y="482255"/>
                      <a:pt x="4693525" y="504693"/>
                    </a:cubicBezTo>
                    <a:cubicBezTo>
                      <a:pt x="4693525" y="526883"/>
                      <a:pt x="4711525" y="545131"/>
                      <a:pt x="4733964" y="545131"/>
                    </a:cubicBezTo>
                    <a:cubicBezTo>
                      <a:pt x="4756403" y="545131"/>
                      <a:pt x="4774647" y="527132"/>
                      <a:pt x="4774402" y="504693"/>
                    </a:cubicBezTo>
                    <a:close/>
                    <a:moveTo>
                      <a:pt x="4776125" y="271730"/>
                    </a:moveTo>
                    <a:cubicBezTo>
                      <a:pt x="4776125" y="249537"/>
                      <a:pt x="4758127" y="231539"/>
                      <a:pt x="4735936" y="231539"/>
                    </a:cubicBezTo>
                    <a:cubicBezTo>
                      <a:pt x="4713742" y="231539"/>
                      <a:pt x="4695743" y="249537"/>
                      <a:pt x="4695743" y="271730"/>
                    </a:cubicBezTo>
                    <a:cubicBezTo>
                      <a:pt x="4695743" y="293918"/>
                      <a:pt x="4713742" y="311920"/>
                      <a:pt x="4735936" y="311920"/>
                    </a:cubicBezTo>
                    <a:cubicBezTo>
                      <a:pt x="4758127" y="311920"/>
                      <a:pt x="4776125" y="293918"/>
                      <a:pt x="4776125" y="271730"/>
                    </a:cubicBezTo>
                    <a:close/>
                    <a:moveTo>
                      <a:pt x="4776623" y="155863"/>
                    </a:moveTo>
                    <a:cubicBezTo>
                      <a:pt x="4776623" y="133920"/>
                      <a:pt x="4758869" y="116168"/>
                      <a:pt x="4736923" y="116168"/>
                    </a:cubicBezTo>
                    <a:cubicBezTo>
                      <a:pt x="4714977" y="116168"/>
                      <a:pt x="4697224" y="133920"/>
                      <a:pt x="4697224" y="155863"/>
                    </a:cubicBezTo>
                    <a:cubicBezTo>
                      <a:pt x="4697224" y="177810"/>
                      <a:pt x="4714977" y="195563"/>
                      <a:pt x="4736923" y="195563"/>
                    </a:cubicBezTo>
                    <a:cubicBezTo>
                      <a:pt x="4758621" y="195563"/>
                      <a:pt x="4776623" y="177810"/>
                      <a:pt x="4776623" y="155863"/>
                    </a:cubicBezTo>
                    <a:close/>
                    <a:moveTo>
                      <a:pt x="4776867" y="40498"/>
                    </a:moveTo>
                    <a:cubicBezTo>
                      <a:pt x="4776867" y="18800"/>
                      <a:pt x="4759112" y="1047"/>
                      <a:pt x="4737414" y="1047"/>
                    </a:cubicBezTo>
                    <a:cubicBezTo>
                      <a:pt x="4715715" y="1047"/>
                      <a:pt x="4697962" y="18800"/>
                      <a:pt x="4697962" y="40498"/>
                    </a:cubicBezTo>
                    <a:cubicBezTo>
                      <a:pt x="4697962" y="62194"/>
                      <a:pt x="4715715" y="79947"/>
                      <a:pt x="4737414" y="79947"/>
                    </a:cubicBezTo>
                    <a:cubicBezTo>
                      <a:pt x="4759112" y="79947"/>
                      <a:pt x="4776867" y="62194"/>
                      <a:pt x="4776867" y="40498"/>
                    </a:cubicBezTo>
                    <a:close/>
                    <a:moveTo>
                      <a:pt x="4777607" y="388087"/>
                    </a:moveTo>
                    <a:cubicBezTo>
                      <a:pt x="4777607" y="364909"/>
                      <a:pt x="4758621" y="345924"/>
                      <a:pt x="4735444" y="345924"/>
                    </a:cubicBezTo>
                    <a:cubicBezTo>
                      <a:pt x="4712264" y="345924"/>
                      <a:pt x="4693279" y="364909"/>
                      <a:pt x="4693279" y="388087"/>
                    </a:cubicBezTo>
                    <a:cubicBezTo>
                      <a:pt x="4693279" y="411264"/>
                      <a:pt x="4712264" y="430251"/>
                      <a:pt x="4735444" y="430251"/>
                    </a:cubicBezTo>
                    <a:cubicBezTo>
                      <a:pt x="4758869" y="430251"/>
                      <a:pt x="4777607" y="411264"/>
                      <a:pt x="4777607" y="388087"/>
                    </a:cubicBezTo>
                    <a:close/>
                    <a:moveTo>
                      <a:pt x="4777610" y="3620398"/>
                    </a:moveTo>
                    <a:cubicBezTo>
                      <a:pt x="4777610" y="3606836"/>
                      <a:pt x="4766760" y="3595741"/>
                      <a:pt x="4753197" y="3595741"/>
                    </a:cubicBezTo>
                    <a:cubicBezTo>
                      <a:pt x="4739636" y="3595741"/>
                      <a:pt x="4728541" y="3606836"/>
                      <a:pt x="4728541" y="3620398"/>
                    </a:cubicBezTo>
                    <a:cubicBezTo>
                      <a:pt x="4728541" y="3633715"/>
                      <a:pt x="4739636" y="3644810"/>
                      <a:pt x="4753197" y="3644810"/>
                    </a:cubicBezTo>
                    <a:cubicBezTo>
                      <a:pt x="4766760" y="3644810"/>
                      <a:pt x="4777855" y="3633715"/>
                      <a:pt x="4777610" y="3620398"/>
                    </a:cubicBezTo>
                    <a:close/>
                    <a:moveTo>
                      <a:pt x="4783524" y="3389403"/>
                    </a:moveTo>
                    <a:cubicBezTo>
                      <a:pt x="4783524" y="3375343"/>
                      <a:pt x="4772183" y="3364003"/>
                      <a:pt x="4758129" y="3364003"/>
                    </a:cubicBezTo>
                    <a:cubicBezTo>
                      <a:pt x="4744321" y="3364003"/>
                      <a:pt x="4732977" y="3375343"/>
                      <a:pt x="4732977" y="3389403"/>
                    </a:cubicBezTo>
                    <a:cubicBezTo>
                      <a:pt x="4732977" y="3403210"/>
                      <a:pt x="4744321" y="3414551"/>
                      <a:pt x="4758129" y="3414551"/>
                    </a:cubicBezTo>
                    <a:cubicBezTo>
                      <a:pt x="4772183" y="3414551"/>
                      <a:pt x="4783524" y="3403210"/>
                      <a:pt x="4783524" y="3389403"/>
                    </a:cubicBezTo>
                    <a:close/>
                    <a:moveTo>
                      <a:pt x="4784265" y="4637771"/>
                    </a:moveTo>
                    <a:cubicBezTo>
                      <a:pt x="4784265" y="4612374"/>
                      <a:pt x="4763305" y="4591661"/>
                      <a:pt x="4737909" y="4591661"/>
                    </a:cubicBezTo>
                    <a:cubicBezTo>
                      <a:pt x="4712511" y="4591661"/>
                      <a:pt x="4691799" y="4612374"/>
                      <a:pt x="4691799" y="4637771"/>
                    </a:cubicBezTo>
                    <a:cubicBezTo>
                      <a:pt x="4691799" y="4663169"/>
                      <a:pt x="4712511" y="4683882"/>
                      <a:pt x="4737909" y="4683882"/>
                    </a:cubicBezTo>
                    <a:cubicBezTo>
                      <a:pt x="4763552" y="4683882"/>
                      <a:pt x="4784265" y="4663169"/>
                      <a:pt x="4784265" y="4637771"/>
                    </a:cubicBezTo>
                    <a:close/>
                    <a:moveTo>
                      <a:pt x="4786730" y="3505001"/>
                    </a:moveTo>
                    <a:cubicBezTo>
                      <a:pt x="4786730" y="3490947"/>
                      <a:pt x="4775143" y="3479357"/>
                      <a:pt x="4760840" y="3479357"/>
                    </a:cubicBezTo>
                    <a:cubicBezTo>
                      <a:pt x="4746785" y="3479357"/>
                      <a:pt x="4735195" y="3490701"/>
                      <a:pt x="4735195" y="3505001"/>
                    </a:cubicBezTo>
                    <a:cubicBezTo>
                      <a:pt x="4735195" y="3519055"/>
                      <a:pt x="4746540" y="3530645"/>
                      <a:pt x="4760840" y="3530645"/>
                    </a:cubicBezTo>
                    <a:cubicBezTo>
                      <a:pt x="4775143" y="3530645"/>
                      <a:pt x="4786730" y="3519055"/>
                      <a:pt x="4786730" y="3505001"/>
                    </a:cubicBezTo>
                    <a:close/>
                    <a:moveTo>
                      <a:pt x="4786732" y="4009987"/>
                    </a:moveTo>
                    <a:cubicBezTo>
                      <a:pt x="4786732" y="3996919"/>
                      <a:pt x="4776129" y="3986070"/>
                      <a:pt x="4762812" y="3986070"/>
                    </a:cubicBezTo>
                    <a:cubicBezTo>
                      <a:pt x="4749498" y="3986070"/>
                      <a:pt x="4738895" y="3996673"/>
                      <a:pt x="4738895" y="4009987"/>
                    </a:cubicBezTo>
                    <a:cubicBezTo>
                      <a:pt x="4738895" y="4023057"/>
                      <a:pt x="4749744" y="4033907"/>
                      <a:pt x="4762812" y="4033907"/>
                    </a:cubicBezTo>
                    <a:cubicBezTo>
                      <a:pt x="4775882" y="4033907"/>
                      <a:pt x="4786732" y="4023057"/>
                      <a:pt x="4786732" y="4009987"/>
                    </a:cubicBezTo>
                    <a:close/>
                    <a:moveTo>
                      <a:pt x="4792156" y="2995134"/>
                    </a:moveTo>
                    <a:cubicBezTo>
                      <a:pt x="4792156" y="2989956"/>
                      <a:pt x="4787962" y="2985517"/>
                      <a:pt x="4782538" y="2985517"/>
                    </a:cubicBezTo>
                    <a:cubicBezTo>
                      <a:pt x="4777360" y="2985517"/>
                      <a:pt x="4772921" y="2989708"/>
                      <a:pt x="4772921" y="2995134"/>
                    </a:cubicBezTo>
                    <a:cubicBezTo>
                      <a:pt x="4772921" y="3000312"/>
                      <a:pt x="4777112" y="3004749"/>
                      <a:pt x="4782538" y="3004749"/>
                    </a:cubicBezTo>
                    <a:cubicBezTo>
                      <a:pt x="4787962" y="3004749"/>
                      <a:pt x="4792156" y="3000312"/>
                      <a:pt x="4792156" y="2995134"/>
                    </a:cubicBezTo>
                    <a:close/>
                    <a:moveTo>
                      <a:pt x="4792404" y="5175552"/>
                    </a:moveTo>
                    <a:cubicBezTo>
                      <a:pt x="4792404" y="5173579"/>
                      <a:pt x="4790677" y="5171852"/>
                      <a:pt x="4788704" y="5171852"/>
                    </a:cubicBezTo>
                    <a:cubicBezTo>
                      <a:pt x="4786732" y="5171852"/>
                      <a:pt x="4785005" y="5173579"/>
                      <a:pt x="4785005" y="5175552"/>
                    </a:cubicBezTo>
                    <a:cubicBezTo>
                      <a:pt x="4785005" y="5177524"/>
                      <a:pt x="4786732" y="5179251"/>
                      <a:pt x="4788704" y="5179251"/>
                    </a:cubicBezTo>
                    <a:cubicBezTo>
                      <a:pt x="4790677" y="5179251"/>
                      <a:pt x="4792404" y="5177770"/>
                      <a:pt x="4792404" y="5175552"/>
                    </a:cubicBezTo>
                    <a:close/>
                    <a:moveTo>
                      <a:pt x="4792647" y="2547365"/>
                    </a:moveTo>
                    <a:cubicBezTo>
                      <a:pt x="4792647" y="2544159"/>
                      <a:pt x="4789934" y="2541447"/>
                      <a:pt x="4786729" y="2541447"/>
                    </a:cubicBezTo>
                    <a:cubicBezTo>
                      <a:pt x="4783524" y="2541447"/>
                      <a:pt x="4780811" y="2544159"/>
                      <a:pt x="4780811" y="2547365"/>
                    </a:cubicBezTo>
                    <a:cubicBezTo>
                      <a:pt x="4780811" y="2550569"/>
                      <a:pt x="4783524" y="2553281"/>
                      <a:pt x="4786729" y="2553281"/>
                    </a:cubicBezTo>
                    <a:cubicBezTo>
                      <a:pt x="4789934" y="2553281"/>
                      <a:pt x="4792647" y="2550569"/>
                      <a:pt x="4792647" y="2547365"/>
                    </a:cubicBezTo>
                    <a:close/>
                    <a:moveTo>
                      <a:pt x="4794620" y="4776348"/>
                    </a:moveTo>
                    <a:cubicBezTo>
                      <a:pt x="4794620" y="4754157"/>
                      <a:pt x="4776621" y="4735909"/>
                      <a:pt x="4754181" y="4735909"/>
                    </a:cubicBezTo>
                    <a:cubicBezTo>
                      <a:pt x="4731991" y="4735909"/>
                      <a:pt x="4713742" y="4753909"/>
                      <a:pt x="4713742" y="4776348"/>
                    </a:cubicBezTo>
                    <a:cubicBezTo>
                      <a:pt x="4713742" y="4798538"/>
                      <a:pt x="4731991" y="4816786"/>
                      <a:pt x="4754181" y="4816786"/>
                    </a:cubicBezTo>
                    <a:cubicBezTo>
                      <a:pt x="4776621" y="4816786"/>
                      <a:pt x="4794620" y="4798538"/>
                      <a:pt x="4794620" y="4776348"/>
                    </a:cubicBezTo>
                    <a:close/>
                    <a:moveTo>
                      <a:pt x="4794868" y="2037458"/>
                    </a:moveTo>
                    <a:cubicBezTo>
                      <a:pt x="4794868" y="2018964"/>
                      <a:pt x="4779825" y="2003679"/>
                      <a:pt x="4761086" y="2003679"/>
                    </a:cubicBezTo>
                    <a:cubicBezTo>
                      <a:pt x="4742592" y="2003679"/>
                      <a:pt x="4727305" y="2018715"/>
                      <a:pt x="4727305" y="2037458"/>
                    </a:cubicBezTo>
                    <a:cubicBezTo>
                      <a:pt x="4727305" y="2055955"/>
                      <a:pt x="4742346" y="2071246"/>
                      <a:pt x="4761086" y="2071246"/>
                    </a:cubicBezTo>
                    <a:cubicBezTo>
                      <a:pt x="4779825" y="2071246"/>
                      <a:pt x="4794868" y="2056201"/>
                      <a:pt x="4794868" y="2037458"/>
                    </a:cubicBezTo>
                    <a:close/>
                    <a:moveTo>
                      <a:pt x="4796592" y="1618105"/>
                    </a:moveTo>
                    <a:cubicBezTo>
                      <a:pt x="4796592" y="1592461"/>
                      <a:pt x="4775633" y="1571502"/>
                      <a:pt x="4749990" y="1571502"/>
                    </a:cubicBezTo>
                    <a:cubicBezTo>
                      <a:pt x="4724346" y="1571502"/>
                      <a:pt x="4703387" y="1592461"/>
                      <a:pt x="4703387" y="1618105"/>
                    </a:cubicBezTo>
                    <a:cubicBezTo>
                      <a:pt x="4703387" y="1643751"/>
                      <a:pt x="4724346" y="1664706"/>
                      <a:pt x="4749990" y="1664706"/>
                    </a:cubicBezTo>
                    <a:cubicBezTo>
                      <a:pt x="4775633" y="1664706"/>
                      <a:pt x="4796592" y="1643751"/>
                      <a:pt x="4796592" y="1618105"/>
                    </a:cubicBezTo>
                    <a:close/>
                    <a:moveTo>
                      <a:pt x="4798072" y="4911472"/>
                    </a:moveTo>
                    <a:cubicBezTo>
                      <a:pt x="4798072" y="4894951"/>
                      <a:pt x="4784511" y="4881388"/>
                      <a:pt x="4767992" y="4881388"/>
                    </a:cubicBezTo>
                    <a:cubicBezTo>
                      <a:pt x="4751470" y="4881388"/>
                      <a:pt x="4737908" y="4894951"/>
                      <a:pt x="4737908" y="4911472"/>
                    </a:cubicBezTo>
                    <a:cubicBezTo>
                      <a:pt x="4737908" y="4927991"/>
                      <a:pt x="4751470" y="4941553"/>
                      <a:pt x="4767992" y="4941553"/>
                    </a:cubicBezTo>
                    <a:cubicBezTo>
                      <a:pt x="4784511" y="4941553"/>
                      <a:pt x="4798072" y="4927991"/>
                      <a:pt x="4798072" y="4911472"/>
                    </a:cubicBezTo>
                    <a:close/>
                    <a:moveTo>
                      <a:pt x="4801524" y="4252372"/>
                    </a:moveTo>
                    <a:cubicBezTo>
                      <a:pt x="4801524" y="4229687"/>
                      <a:pt x="4782784" y="4210947"/>
                      <a:pt x="4759853" y="4210947"/>
                    </a:cubicBezTo>
                    <a:cubicBezTo>
                      <a:pt x="4736923" y="4210947"/>
                      <a:pt x="4718183" y="4229441"/>
                      <a:pt x="4718183" y="4252372"/>
                    </a:cubicBezTo>
                    <a:cubicBezTo>
                      <a:pt x="4718183" y="4275056"/>
                      <a:pt x="4736923" y="4293796"/>
                      <a:pt x="4759853" y="4293796"/>
                    </a:cubicBezTo>
                    <a:cubicBezTo>
                      <a:pt x="4782784" y="4293796"/>
                      <a:pt x="4801524" y="4275303"/>
                      <a:pt x="4801524" y="4252372"/>
                    </a:cubicBezTo>
                    <a:close/>
                    <a:moveTo>
                      <a:pt x="4802019" y="1491873"/>
                    </a:moveTo>
                    <a:cubicBezTo>
                      <a:pt x="4802019" y="1466231"/>
                      <a:pt x="4781306" y="1445516"/>
                      <a:pt x="4755662" y="1445516"/>
                    </a:cubicBezTo>
                    <a:cubicBezTo>
                      <a:pt x="4730019" y="1445516"/>
                      <a:pt x="4709306" y="1466231"/>
                      <a:pt x="4709306" y="1491873"/>
                    </a:cubicBezTo>
                    <a:cubicBezTo>
                      <a:pt x="4709306" y="1517518"/>
                      <a:pt x="4730019" y="1538229"/>
                      <a:pt x="4755662" y="1538229"/>
                    </a:cubicBezTo>
                    <a:cubicBezTo>
                      <a:pt x="4781306" y="1538229"/>
                      <a:pt x="4802019" y="1517518"/>
                      <a:pt x="4802019" y="1491873"/>
                    </a:cubicBezTo>
                    <a:close/>
                    <a:moveTo>
                      <a:pt x="4804732" y="5044864"/>
                    </a:moveTo>
                    <a:cubicBezTo>
                      <a:pt x="4804732" y="5030565"/>
                      <a:pt x="4793142" y="5018975"/>
                      <a:pt x="4778838" y="5018975"/>
                    </a:cubicBezTo>
                    <a:cubicBezTo>
                      <a:pt x="4764539" y="5018975"/>
                      <a:pt x="4752949" y="5030565"/>
                      <a:pt x="4752949" y="5044864"/>
                    </a:cubicBezTo>
                    <a:cubicBezTo>
                      <a:pt x="4752949" y="5059168"/>
                      <a:pt x="4764539" y="5070758"/>
                      <a:pt x="4778838" y="5070758"/>
                    </a:cubicBezTo>
                    <a:cubicBezTo>
                      <a:pt x="4793142" y="5070758"/>
                      <a:pt x="4804732" y="5059168"/>
                      <a:pt x="4804732" y="5044864"/>
                    </a:cubicBezTo>
                    <a:close/>
                    <a:moveTo>
                      <a:pt x="4804977" y="1367613"/>
                    </a:moveTo>
                    <a:cubicBezTo>
                      <a:pt x="4804977" y="1343206"/>
                      <a:pt x="4785250" y="1323233"/>
                      <a:pt x="4760593" y="1323233"/>
                    </a:cubicBezTo>
                    <a:cubicBezTo>
                      <a:pt x="4736182" y="1323233"/>
                      <a:pt x="4716210" y="1343206"/>
                      <a:pt x="4716210" y="1367613"/>
                    </a:cubicBezTo>
                    <a:cubicBezTo>
                      <a:pt x="4716210" y="1392027"/>
                      <a:pt x="4736182" y="1412000"/>
                      <a:pt x="4760593" y="1412000"/>
                    </a:cubicBezTo>
                    <a:cubicBezTo>
                      <a:pt x="4785250" y="1412000"/>
                      <a:pt x="4804977" y="1392027"/>
                      <a:pt x="4804977" y="1367613"/>
                    </a:cubicBezTo>
                    <a:close/>
                    <a:moveTo>
                      <a:pt x="4808182" y="1904601"/>
                    </a:moveTo>
                    <a:cubicBezTo>
                      <a:pt x="4808182" y="1884637"/>
                      <a:pt x="4791906" y="1868617"/>
                      <a:pt x="4772180" y="1868617"/>
                    </a:cubicBezTo>
                    <a:cubicBezTo>
                      <a:pt x="4752208" y="1868617"/>
                      <a:pt x="4736182" y="1884637"/>
                      <a:pt x="4736182" y="1904601"/>
                    </a:cubicBezTo>
                    <a:cubicBezTo>
                      <a:pt x="4736182" y="1924568"/>
                      <a:pt x="4752208" y="1940589"/>
                      <a:pt x="4772180" y="1940589"/>
                    </a:cubicBezTo>
                    <a:cubicBezTo>
                      <a:pt x="4791906" y="1940589"/>
                      <a:pt x="4808182" y="1924568"/>
                      <a:pt x="4808182" y="1904601"/>
                    </a:cubicBezTo>
                    <a:close/>
                    <a:moveTo>
                      <a:pt x="4810158" y="1244102"/>
                    </a:moveTo>
                    <a:cubicBezTo>
                      <a:pt x="4810158" y="1219196"/>
                      <a:pt x="4789937" y="1198975"/>
                      <a:pt x="4765033" y="1198975"/>
                    </a:cubicBezTo>
                    <a:cubicBezTo>
                      <a:pt x="4740130" y="1198975"/>
                      <a:pt x="4719909" y="1219196"/>
                      <a:pt x="4719909" y="1244102"/>
                    </a:cubicBezTo>
                    <a:cubicBezTo>
                      <a:pt x="4719909" y="1268998"/>
                      <a:pt x="4740130" y="1289220"/>
                      <a:pt x="4765033" y="1289220"/>
                    </a:cubicBezTo>
                    <a:cubicBezTo>
                      <a:pt x="4789937" y="1289220"/>
                      <a:pt x="4810158" y="1268998"/>
                      <a:pt x="4810158" y="1244102"/>
                    </a:cubicBezTo>
                    <a:close/>
                    <a:moveTo>
                      <a:pt x="4812373" y="5298102"/>
                    </a:moveTo>
                    <a:cubicBezTo>
                      <a:pt x="4812373" y="5294402"/>
                      <a:pt x="4809413" y="5291444"/>
                      <a:pt x="4805717" y="5291444"/>
                    </a:cubicBezTo>
                    <a:cubicBezTo>
                      <a:pt x="4802018" y="5291444"/>
                      <a:pt x="4799059" y="5294402"/>
                      <a:pt x="4799059" y="5298102"/>
                    </a:cubicBezTo>
                    <a:cubicBezTo>
                      <a:pt x="4799059" y="5301798"/>
                      <a:pt x="4802018" y="5304757"/>
                      <a:pt x="4805717" y="5304757"/>
                    </a:cubicBezTo>
                    <a:cubicBezTo>
                      <a:pt x="4809413" y="5304757"/>
                      <a:pt x="4812373" y="5301798"/>
                      <a:pt x="4812373" y="5298102"/>
                    </a:cubicBezTo>
                    <a:close/>
                    <a:moveTo>
                      <a:pt x="4812623" y="1122558"/>
                    </a:moveTo>
                    <a:cubicBezTo>
                      <a:pt x="4812623" y="1098639"/>
                      <a:pt x="4793142" y="1079160"/>
                      <a:pt x="4769224" y="1079160"/>
                    </a:cubicBezTo>
                    <a:cubicBezTo>
                      <a:pt x="4745308" y="1079160"/>
                      <a:pt x="4725827" y="1098639"/>
                      <a:pt x="4725827" y="1122558"/>
                    </a:cubicBezTo>
                    <a:cubicBezTo>
                      <a:pt x="4725827" y="1146475"/>
                      <a:pt x="4745308" y="1165952"/>
                      <a:pt x="4769224" y="1165952"/>
                    </a:cubicBezTo>
                    <a:cubicBezTo>
                      <a:pt x="4793142" y="1165952"/>
                      <a:pt x="4812623" y="1146475"/>
                      <a:pt x="4812623" y="1122558"/>
                    </a:cubicBezTo>
                    <a:close/>
                    <a:moveTo>
                      <a:pt x="4814100" y="5425827"/>
                    </a:moveTo>
                    <a:cubicBezTo>
                      <a:pt x="4814100" y="5424841"/>
                      <a:pt x="4813362" y="5424100"/>
                      <a:pt x="4812375" y="5424100"/>
                    </a:cubicBezTo>
                    <a:cubicBezTo>
                      <a:pt x="4811390" y="5424100"/>
                      <a:pt x="4810649" y="5424841"/>
                      <a:pt x="4810649" y="5425827"/>
                    </a:cubicBezTo>
                    <a:cubicBezTo>
                      <a:pt x="4810649" y="5426813"/>
                      <a:pt x="4811390" y="5427551"/>
                      <a:pt x="4812375" y="5427551"/>
                    </a:cubicBezTo>
                    <a:cubicBezTo>
                      <a:pt x="4813362" y="5427551"/>
                      <a:pt x="4814100" y="5426813"/>
                      <a:pt x="4814100" y="5425827"/>
                    </a:cubicBezTo>
                    <a:close/>
                    <a:moveTo>
                      <a:pt x="4817554" y="1001256"/>
                    </a:moveTo>
                    <a:cubicBezTo>
                      <a:pt x="4817554" y="976355"/>
                      <a:pt x="4797336" y="955893"/>
                      <a:pt x="4772184" y="955893"/>
                    </a:cubicBezTo>
                    <a:cubicBezTo>
                      <a:pt x="4747280" y="955893"/>
                      <a:pt x="4726814" y="976106"/>
                      <a:pt x="4726814" y="1001256"/>
                    </a:cubicBezTo>
                    <a:cubicBezTo>
                      <a:pt x="4726814" y="1026163"/>
                      <a:pt x="4747280" y="1046629"/>
                      <a:pt x="4772184" y="1046629"/>
                    </a:cubicBezTo>
                    <a:cubicBezTo>
                      <a:pt x="4797336" y="1046629"/>
                      <a:pt x="4817554" y="1026411"/>
                      <a:pt x="4817554" y="1001256"/>
                    </a:cubicBezTo>
                    <a:close/>
                    <a:moveTo>
                      <a:pt x="4819280" y="880942"/>
                    </a:moveTo>
                    <a:cubicBezTo>
                      <a:pt x="4819280" y="856283"/>
                      <a:pt x="4799308" y="836321"/>
                      <a:pt x="4774651" y="836321"/>
                    </a:cubicBezTo>
                    <a:cubicBezTo>
                      <a:pt x="4749744" y="836321"/>
                      <a:pt x="4729772" y="856283"/>
                      <a:pt x="4729772" y="880942"/>
                    </a:cubicBezTo>
                    <a:cubicBezTo>
                      <a:pt x="4729772" y="905598"/>
                      <a:pt x="4749993" y="925582"/>
                      <a:pt x="4774651" y="925582"/>
                    </a:cubicBezTo>
                    <a:cubicBezTo>
                      <a:pt x="4799059" y="925582"/>
                      <a:pt x="4819280" y="905598"/>
                      <a:pt x="4819280" y="880942"/>
                    </a:cubicBezTo>
                    <a:close/>
                    <a:moveTo>
                      <a:pt x="4821007" y="2800343"/>
                    </a:moveTo>
                    <a:cubicBezTo>
                      <a:pt x="4821007" y="2796894"/>
                      <a:pt x="4818294" y="2794181"/>
                      <a:pt x="4814840" y="2794181"/>
                    </a:cubicBezTo>
                    <a:cubicBezTo>
                      <a:pt x="4811389" y="2794181"/>
                      <a:pt x="4808676" y="2796894"/>
                      <a:pt x="4808676" y="2800343"/>
                    </a:cubicBezTo>
                    <a:cubicBezTo>
                      <a:pt x="4808676" y="2803797"/>
                      <a:pt x="4811389" y="2806511"/>
                      <a:pt x="4814840" y="2806511"/>
                    </a:cubicBezTo>
                    <a:cubicBezTo>
                      <a:pt x="4818294" y="2806511"/>
                      <a:pt x="4821007" y="2803797"/>
                      <a:pt x="4821007" y="2800343"/>
                    </a:cubicBezTo>
                    <a:close/>
                    <a:moveTo>
                      <a:pt x="4821499" y="761380"/>
                    </a:moveTo>
                    <a:cubicBezTo>
                      <a:pt x="4821499" y="736966"/>
                      <a:pt x="4801527" y="716993"/>
                      <a:pt x="4777115" y="716993"/>
                    </a:cubicBezTo>
                    <a:cubicBezTo>
                      <a:pt x="4752703" y="716993"/>
                      <a:pt x="4732732" y="736966"/>
                      <a:pt x="4732732" y="761380"/>
                    </a:cubicBezTo>
                    <a:cubicBezTo>
                      <a:pt x="4732732" y="785791"/>
                      <a:pt x="4752703" y="805763"/>
                      <a:pt x="4777115" y="805763"/>
                    </a:cubicBezTo>
                    <a:cubicBezTo>
                      <a:pt x="4801527" y="805763"/>
                      <a:pt x="4821499" y="785791"/>
                      <a:pt x="4821499" y="761380"/>
                    </a:cubicBezTo>
                    <a:close/>
                    <a:moveTo>
                      <a:pt x="4823468" y="1773704"/>
                    </a:moveTo>
                    <a:cubicBezTo>
                      <a:pt x="4823468" y="1750265"/>
                      <a:pt x="4804237" y="1731019"/>
                      <a:pt x="4780812" y="1731019"/>
                    </a:cubicBezTo>
                    <a:cubicBezTo>
                      <a:pt x="4757387" y="1731019"/>
                      <a:pt x="4738155" y="1750265"/>
                      <a:pt x="4738155" y="1773704"/>
                    </a:cubicBezTo>
                    <a:cubicBezTo>
                      <a:pt x="4738155" y="1797149"/>
                      <a:pt x="4757387" y="1816374"/>
                      <a:pt x="4780812" y="1816374"/>
                    </a:cubicBezTo>
                    <a:cubicBezTo>
                      <a:pt x="4804237" y="1816374"/>
                      <a:pt x="4823468" y="1797149"/>
                      <a:pt x="4823468" y="1773704"/>
                    </a:cubicBezTo>
                    <a:close/>
                    <a:moveTo>
                      <a:pt x="4824703" y="5677334"/>
                    </a:moveTo>
                    <a:cubicBezTo>
                      <a:pt x="4824703" y="5675853"/>
                      <a:pt x="4823468" y="5674621"/>
                      <a:pt x="4821990" y="5674621"/>
                    </a:cubicBezTo>
                    <a:cubicBezTo>
                      <a:pt x="4820509" y="5674621"/>
                      <a:pt x="4819278" y="5675853"/>
                      <a:pt x="4819278" y="5677334"/>
                    </a:cubicBezTo>
                    <a:cubicBezTo>
                      <a:pt x="4819278" y="5678812"/>
                      <a:pt x="4820509" y="5680047"/>
                      <a:pt x="4821990" y="5680047"/>
                    </a:cubicBezTo>
                    <a:cubicBezTo>
                      <a:pt x="4823717" y="5680047"/>
                      <a:pt x="4824948" y="5678812"/>
                      <a:pt x="4824703" y="5677334"/>
                    </a:cubicBezTo>
                    <a:close/>
                    <a:moveTo>
                      <a:pt x="4826184" y="3901743"/>
                    </a:moveTo>
                    <a:cubicBezTo>
                      <a:pt x="4826184" y="3888919"/>
                      <a:pt x="4815827" y="3878563"/>
                      <a:pt x="4803005" y="3878563"/>
                    </a:cubicBezTo>
                    <a:cubicBezTo>
                      <a:pt x="4790182" y="3878563"/>
                      <a:pt x="4779827" y="3888919"/>
                      <a:pt x="4779827" y="3901743"/>
                    </a:cubicBezTo>
                    <a:cubicBezTo>
                      <a:pt x="4779827" y="3914565"/>
                      <a:pt x="4790182" y="3924919"/>
                      <a:pt x="4803005" y="3924919"/>
                    </a:cubicBezTo>
                    <a:cubicBezTo>
                      <a:pt x="4815580" y="3924919"/>
                      <a:pt x="4826184" y="3914565"/>
                      <a:pt x="4826184" y="3901743"/>
                    </a:cubicBezTo>
                    <a:close/>
                    <a:moveTo>
                      <a:pt x="4827911" y="5801608"/>
                    </a:moveTo>
                    <a:cubicBezTo>
                      <a:pt x="4827911" y="5800127"/>
                      <a:pt x="4826675" y="5798895"/>
                      <a:pt x="4825198" y="5798895"/>
                    </a:cubicBezTo>
                    <a:cubicBezTo>
                      <a:pt x="4823717" y="5798895"/>
                      <a:pt x="4822485" y="5800127"/>
                      <a:pt x="4822485" y="5801608"/>
                    </a:cubicBezTo>
                    <a:cubicBezTo>
                      <a:pt x="4822485" y="5803086"/>
                      <a:pt x="4823717" y="5804321"/>
                      <a:pt x="4825198" y="5804321"/>
                    </a:cubicBezTo>
                    <a:cubicBezTo>
                      <a:pt x="4826675" y="5804321"/>
                      <a:pt x="4827911" y="5803086"/>
                      <a:pt x="4827911" y="5801608"/>
                    </a:cubicBezTo>
                    <a:close/>
                    <a:moveTo>
                      <a:pt x="4829140" y="5552569"/>
                    </a:moveTo>
                    <a:cubicBezTo>
                      <a:pt x="4829140" y="5546159"/>
                      <a:pt x="4823963" y="5540732"/>
                      <a:pt x="4817305" y="5540732"/>
                    </a:cubicBezTo>
                    <a:cubicBezTo>
                      <a:pt x="4810895" y="5540732"/>
                      <a:pt x="4805469" y="5546159"/>
                      <a:pt x="4805469" y="5552569"/>
                    </a:cubicBezTo>
                    <a:cubicBezTo>
                      <a:pt x="4805469" y="5558981"/>
                      <a:pt x="4810647" y="5564404"/>
                      <a:pt x="4817305" y="5564404"/>
                    </a:cubicBezTo>
                    <a:cubicBezTo>
                      <a:pt x="4823963" y="5564404"/>
                      <a:pt x="4829140" y="5558981"/>
                      <a:pt x="4829140" y="5552569"/>
                    </a:cubicBezTo>
                    <a:close/>
                    <a:moveTo>
                      <a:pt x="4830621" y="3104860"/>
                    </a:moveTo>
                    <a:cubicBezTo>
                      <a:pt x="4830621" y="3098202"/>
                      <a:pt x="4825196" y="3092531"/>
                      <a:pt x="4818294" y="3092531"/>
                    </a:cubicBezTo>
                    <a:cubicBezTo>
                      <a:pt x="4811636" y="3092531"/>
                      <a:pt x="4805963" y="3097956"/>
                      <a:pt x="4805963" y="3104860"/>
                    </a:cubicBezTo>
                    <a:cubicBezTo>
                      <a:pt x="4805963" y="3111516"/>
                      <a:pt x="4811390" y="3117188"/>
                      <a:pt x="4818294" y="3117188"/>
                    </a:cubicBezTo>
                    <a:cubicBezTo>
                      <a:pt x="4825196" y="3117188"/>
                      <a:pt x="4830866" y="3111516"/>
                      <a:pt x="4830621" y="3104860"/>
                    </a:cubicBezTo>
                    <a:close/>
                    <a:moveTo>
                      <a:pt x="4830866" y="5923418"/>
                    </a:moveTo>
                    <a:cubicBezTo>
                      <a:pt x="4830866" y="5922432"/>
                      <a:pt x="4830129" y="5921691"/>
                      <a:pt x="4829144" y="5921691"/>
                    </a:cubicBezTo>
                    <a:cubicBezTo>
                      <a:pt x="4828402" y="5921691"/>
                      <a:pt x="4827662" y="5922432"/>
                      <a:pt x="4827662" y="5923418"/>
                    </a:cubicBezTo>
                    <a:cubicBezTo>
                      <a:pt x="4827662" y="5924404"/>
                      <a:pt x="4828157" y="5925142"/>
                      <a:pt x="4829144" y="5925142"/>
                    </a:cubicBezTo>
                    <a:cubicBezTo>
                      <a:pt x="4830129" y="5925142"/>
                      <a:pt x="4830866" y="5924404"/>
                      <a:pt x="4830866" y="5923418"/>
                    </a:cubicBezTo>
                    <a:close/>
                    <a:moveTo>
                      <a:pt x="4832595" y="4403525"/>
                    </a:moveTo>
                    <a:cubicBezTo>
                      <a:pt x="4832595" y="4379852"/>
                      <a:pt x="4813362" y="4360619"/>
                      <a:pt x="4789692" y="4360619"/>
                    </a:cubicBezTo>
                    <a:cubicBezTo>
                      <a:pt x="4766018" y="4360619"/>
                      <a:pt x="4746785" y="4379852"/>
                      <a:pt x="4746785" y="4403525"/>
                    </a:cubicBezTo>
                    <a:cubicBezTo>
                      <a:pt x="4746785" y="4427194"/>
                      <a:pt x="4766018" y="4446428"/>
                      <a:pt x="4789692" y="4446428"/>
                    </a:cubicBezTo>
                    <a:cubicBezTo>
                      <a:pt x="4813362" y="4446428"/>
                      <a:pt x="4832595" y="4427194"/>
                      <a:pt x="4832595" y="4403525"/>
                    </a:cubicBezTo>
                    <a:close/>
                    <a:moveTo>
                      <a:pt x="4833335" y="6044731"/>
                    </a:moveTo>
                    <a:cubicBezTo>
                      <a:pt x="4833335" y="6044485"/>
                      <a:pt x="4833089" y="6044239"/>
                      <a:pt x="4832842" y="6044239"/>
                    </a:cubicBezTo>
                    <a:cubicBezTo>
                      <a:pt x="4832594" y="6044239"/>
                      <a:pt x="4832347" y="6044485"/>
                      <a:pt x="4832347" y="6044731"/>
                    </a:cubicBezTo>
                    <a:cubicBezTo>
                      <a:pt x="4832347" y="6044980"/>
                      <a:pt x="4832594" y="6045226"/>
                      <a:pt x="4832842" y="6045226"/>
                    </a:cubicBezTo>
                    <a:cubicBezTo>
                      <a:pt x="4833089" y="6045226"/>
                      <a:pt x="4833335" y="6044980"/>
                      <a:pt x="4833335" y="6044731"/>
                    </a:cubicBezTo>
                    <a:close/>
                    <a:moveTo>
                      <a:pt x="4834812" y="2400169"/>
                    </a:moveTo>
                    <a:cubicBezTo>
                      <a:pt x="4834812" y="2386609"/>
                      <a:pt x="4823717" y="2375756"/>
                      <a:pt x="4810404" y="2375756"/>
                    </a:cubicBezTo>
                    <a:cubicBezTo>
                      <a:pt x="4796842" y="2375756"/>
                      <a:pt x="4785992" y="2386853"/>
                      <a:pt x="4785992" y="2400169"/>
                    </a:cubicBezTo>
                    <a:cubicBezTo>
                      <a:pt x="4785992" y="2413732"/>
                      <a:pt x="4797087" y="2424575"/>
                      <a:pt x="4810404" y="2424575"/>
                    </a:cubicBezTo>
                    <a:cubicBezTo>
                      <a:pt x="4823717" y="2424575"/>
                      <a:pt x="4834812" y="2413732"/>
                      <a:pt x="4834812" y="2400169"/>
                    </a:cubicBezTo>
                    <a:close/>
                    <a:moveTo>
                      <a:pt x="4836785" y="6165062"/>
                    </a:moveTo>
                    <a:cubicBezTo>
                      <a:pt x="4836785" y="6164567"/>
                      <a:pt x="4836290" y="6164075"/>
                      <a:pt x="4835799" y="6164075"/>
                    </a:cubicBezTo>
                    <a:cubicBezTo>
                      <a:pt x="4835307" y="6164075"/>
                      <a:pt x="4834812" y="6164567"/>
                      <a:pt x="4834812" y="6165062"/>
                    </a:cubicBezTo>
                    <a:cubicBezTo>
                      <a:pt x="4834812" y="6165554"/>
                      <a:pt x="4835307" y="6166048"/>
                      <a:pt x="4835799" y="6166048"/>
                    </a:cubicBezTo>
                    <a:cubicBezTo>
                      <a:pt x="4836290" y="6166048"/>
                      <a:pt x="4836785" y="6165554"/>
                      <a:pt x="4836785" y="6165062"/>
                    </a:cubicBezTo>
                    <a:close/>
                    <a:moveTo>
                      <a:pt x="4849115" y="2256921"/>
                    </a:moveTo>
                    <a:cubicBezTo>
                      <a:pt x="4849115" y="2246325"/>
                      <a:pt x="4840484" y="2237687"/>
                      <a:pt x="4829881" y="2237687"/>
                    </a:cubicBezTo>
                    <a:cubicBezTo>
                      <a:pt x="4819280" y="2237687"/>
                      <a:pt x="4810649" y="2246325"/>
                      <a:pt x="4810649" y="2256921"/>
                    </a:cubicBezTo>
                    <a:cubicBezTo>
                      <a:pt x="4810649" y="2267518"/>
                      <a:pt x="4819280" y="2276148"/>
                      <a:pt x="4829881" y="2276148"/>
                    </a:cubicBezTo>
                    <a:cubicBezTo>
                      <a:pt x="4840484" y="2276148"/>
                      <a:pt x="4849115" y="2267518"/>
                      <a:pt x="4849115" y="2256921"/>
                    </a:cubicBezTo>
                    <a:close/>
                    <a:moveTo>
                      <a:pt x="4849361" y="6280952"/>
                    </a:moveTo>
                    <a:cubicBezTo>
                      <a:pt x="4849361" y="6279225"/>
                      <a:pt x="4848128" y="6277993"/>
                      <a:pt x="4846402" y="6277993"/>
                    </a:cubicBezTo>
                    <a:cubicBezTo>
                      <a:pt x="4844676" y="6277993"/>
                      <a:pt x="4843443" y="6279225"/>
                      <a:pt x="4843443" y="6280952"/>
                    </a:cubicBezTo>
                    <a:cubicBezTo>
                      <a:pt x="4843443" y="6282679"/>
                      <a:pt x="4844676" y="6283911"/>
                      <a:pt x="4846402" y="6283911"/>
                    </a:cubicBezTo>
                    <a:cubicBezTo>
                      <a:pt x="4847883" y="6283911"/>
                      <a:pt x="4849361" y="6282430"/>
                      <a:pt x="4849361" y="6280952"/>
                    </a:cubicBezTo>
                    <a:close/>
                    <a:moveTo>
                      <a:pt x="4851333" y="6400049"/>
                    </a:moveTo>
                    <a:cubicBezTo>
                      <a:pt x="4851333" y="6398568"/>
                      <a:pt x="4850101" y="6397089"/>
                      <a:pt x="4848374" y="6397089"/>
                    </a:cubicBezTo>
                    <a:cubicBezTo>
                      <a:pt x="4846648" y="6397089"/>
                      <a:pt x="4845415" y="6398321"/>
                      <a:pt x="4845415" y="6400049"/>
                    </a:cubicBezTo>
                    <a:cubicBezTo>
                      <a:pt x="4845415" y="6401527"/>
                      <a:pt x="4846648" y="6403007"/>
                      <a:pt x="4848374" y="6403007"/>
                    </a:cubicBezTo>
                    <a:cubicBezTo>
                      <a:pt x="4850101" y="6403007"/>
                      <a:pt x="4851333" y="6401527"/>
                      <a:pt x="4851333" y="6400049"/>
                    </a:cubicBezTo>
                    <a:close/>
                    <a:moveTo>
                      <a:pt x="4851827" y="6518650"/>
                    </a:moveTo>
                    <a:cubicBezTo>
                      <a:pt x="4851827" y="6517418"/>
                      <a:pt x="4850838" y="6516432"/>
                      <a:pt x="4849606" y="6516432"/>
                    </a:cubicBezTo>
                    <a:cubicBezTo>
                      <a:pt x="4848374" y="6516432"/>
                      <a:pt x="4847388" y="6517418"/>
                      <a:pt x="4847388" y="6518650"/>
                    </a:cubicBezTo>
                    <a:cubicBezTo>
                      <a:pt x="4847388" y="6519883"/>
                      <a:pt x="4848374" y="6520868"/>
                      <a:pt x="4849606" y="6520868"/>
                    </a:cubicBezTo>
                    <a:cubicBezTo>
                      <a:pt x="4850838" y="6520868"/>
                      <a:pt x="4851827" y="6519883"/>
                      <a:pt x="4851827" y="6518650"/>
                    </a:cubicBezTo>
                    <a:close/>
                    <a:moveTo>
                      <a:pt x="4854787" y="6636020"/>
                    </a:moveTo>
                    <a:cubicBezTo>
                      <a:pt x="4854787" y="6634539"/>
                      <a:pt x="4853552" y="6633307"/>
                      <a:pt x="4852074" y="6633307"/>
                    </a:cubicBezTo>
                    <a:cubicBezTo>
                      <a:pt x="4850593" y="6633307"/>
                      <a:pt x="4849361" y="6634539"/>
                      <a:pt x="4849361" y="6636020"/>
                    </a:cubicBezTo>
                    <a:cubicBezTo>
                      <a:pt x="4849361" y="6637498"/>
                      <a:pt x="4850593" y="6638733"/>
                      <a:pt x="4852074" y="6638733"/>
                    </a:cubicBezTo>
                    <a:cubicBezTo>
                      <a:pt x="4853552" y="6638733"/>
                      <a:pt x="4854787" y="6637498"/>
                      <a:pt x="4854787" y="6636020"/>
                    </a:cubicBezTo>
                    <a:close/>
                    <a:moveTo>
                      <a:pt x="4856018" y="4150538"/>
                    </a:moveTo>
                    <a:cubicBezTo>
                      <a:pt x="4856018" y="4129085"/>
                      <a:pt x="4838511" y="4111577"/>
                      <a:pt x="4817058" y="4111577"/>
                    </a:cubicBezTo>
                    <a:cubicBezTo>
                      <a:pt x="4795854" y="4111577"/>
                      <a:pt x="4778346" y="4129085"/>
                      <a:pt x="4778346" y="4150538"/>
                    </a:cubicBezTo>
                    <a:cubicBezTo>
                      <a:pt x="4778346" y="4171742"/>
                      <a:pt x="4795608" y="4189250"/>
                      <a:pt x="4817058" y="4189250"/>
                    </a:cubicBezTo>
                    <a:cubicBezTo>
                      <a:pt x="4838265" y="4189250"/>
                      <a:pt x="4855770" y="4171988"/>
                      <a:pt x="4856018" y="4150538"/>
                    </a:cubicBezTo>
                    <a:close/>
                    <a:moveTo>
                      <a:pt x="4856264" y="3790290"/>
                    </a:moveTo>
                    <a:cubicBezTo>
                      <a:pt x="4856264" y="3777961"/>
                      <a:pt x="4846155" y="3767851"/>
                      <a:pt x="4833828" y="3767851"/>
                    </a:cubicBezTo>
                    <a:cubicBezTo>
                      <a:pt x="4821498" y="3767851"/>
                      <a:pt x="4811389" y="3777961"/>
                      <a:pt x="4811389" y="3790290"/>
                    </a:cubicBezTo>
                    <a:cubicBezTo>
                      <a:pt x="4811389" y="3802618"/>
                      <a:pt x="4821498" y="3812727"/>
                      <a:pt x="4833828" y="3812727"/>
                    </a:cubicBezTo>
                    <a:cubicBezTo>
                      <a:pt x="4846155" y="3812727"/>
                      <a:pt x="4856264" y="3802863"/>
                      <a:pt x="4856264" y="3790290"/>
                    </a:cubicBezTo>
                    <a:close/>
                    <a:moveTo>
                      <a:pt x="4857005" y="2644515"/>
                    </a:moveTo>
                    <a:cubicBezTo>
                      <a:pt x="4857005" y="2641555"/>
                      <a:pt x="4854538" y="2638843"/>
                      <a:pt x="4851333" y="2638843"/>
                    </a:cubicBezTo>
                    <a:cubicBezTo>
                      <a:pt x="4848128" y="2638843"/>
                      <a:pt x="4845415" y="2641311"/>
                      <a:pt x="4845415" y="2644515"/>
                    </a:cubicBezTo>
                    <a:cubicBezTo>
                      <a:pt x="4845415" y="2647720"/>
                      <a:pt x="4848128" y="2650187"/>
                      <a:pt x="4851333" y="2650187"/>
                    </a:cubicBezTo>
                    <a:cubicBezTo>
                      <a:pt x="4854538" y="2650187"/>
                      <a:pt x="4857005" y="2647473"/>
                      <a:pt x="4857005" y="2644515"/>
                    </a:cubicBezTo>
                    <a:close/>
                    <a:moveTo>
                      <a:pt x="4857005" y="6753391"/>
                    </a:moveTo>
                    <a:cubicBezTo>
                      <a:pt x="4857005" y="6751417"/>
                      <a:pt x="4855527" y="6749691"/>
                      <a:pt x="4853555" y="6749691"/>
                    </a:cubicBezTo>
                    <a:cubicBezTo>
                      <a:pt x="4851582" y="6749691"/>
                      <a:pt x="4849855" y="6751417"/>
                      <a:pt x="4849855" y="6753391"/>
                    </a:cubicBezTo>
                    <a:cubicBezTo>
                      <a:pt x="4849855" y="6755363"/>
                      <a:pt x="4851582" y="6756841"/>
                      <a:pt x="4853555" y="6756841"/>
                    </a:cubicBezTo>
                    <a:cubicBezTo>
                      <a:pt x="4855527" y="6756841"/>
                      <a:pt x="4857254" y="6755117"/>
                      <a:pt x="4857005" y="6753391"/>
                    </a:cubicBezTo>
                    <a:close/>
                    <a:moveTo>
                      <a:pt x="4859717" y="3217054"/>
                    </a:moveTo>
                    <a:cubicBezTo>
                      <a:pt x="4859717" y="3208918"/>
                      <a:pt x="4853058" y="3202260"/>
                      <a:pt x="4844921" y="3202260"/>
                    </a:cubicBezTo>
                    <a:cubicBezTo>
                      <a:pt x="4836786" y="3202260"/>
                      <a:pt x="4830126" y="3208918"/>
                      <a:pt x="4830126" y="3217054"/>
                    </a:cubicBezTo>
                    <a:cubicBezTo>
                      <a:pt x="4830126" y="3225191"/>
                      <a:pt x="4836786" y="3231849"/>
                      <a:pt x="4844921" y="3231849"/>
                    </a:cubicBezTo>
                    <a:cubicBezTo>
                      <a:pt x="4853058" y="3231849"/>
                      <a:pt x="4859717" y="3225191"/>
                      <a:pt x="4859717" y="3217054"/>
                    </a:cubicBezTo>
                    <a:close/>
                    <a:moveTo>
                      <a:pt x="4859719" y="4549990"/>
                    </a:moveTo>
                    <a:cubicBezTo>
                      <a:pt x="4859719" y="4524840"/>
                      <a:pt x="4839252" y="4504619"/>
                      <a:pt x="4814348" y="4504619"/>
                    </a:cubicBezTo>
                    <a:cubicBezTo>
                      <a:pt x="4789196" y="4504619"/>
                      <a:pt x="4768979" y="4525086"/>
                      <a:pt x="4768979" y="4549990"/>
                    </a:cubicBezTo>
                    <a:cubicBezTo>
                      <a:pt x="4768979" y="4575142"/>
                      <a:pt x="4789445" y="4595360"/>
                      <a:pt x="4814348" y="4595360"/>
                    </a:cubicBezTo>
                    <a:cubicBezTo>
                      <a:pt x="4839252" y="4595360"/>
                      <a:pt x="4859719" y="4574893"/>
                      <a:pt x="4859719" y="4549990"/>
                    </a:cubicBezTo>
                    <a:close/>
                    <a:moveTo>
                      <a:pt x="4859977" y="0"/>
                    </a:moveTo>
                    <a:lnTo>
                      <a:pt x="4833424" y="0"/>
                    </a:lnTo>
                    <a:lnTo>
                      <a:pt x="4846648" y="5506"/>
                    </a:lnTo>
                    <a:close/>
                    <a:moveTo>
                      <a:pt x="4860210" y="6869775"/>
                    </a:moveTo>
                    <a:cubicBezTo>
                      <a:pt x="4860210" y="6867061"/>
                      <a:pt x="4857991" y="6864842"/>
                      <a:pt x="4855278" y="6864842"/>
                    </a:cubicBezTo>
                    <a:cubicBezTo>
                      <a:pt x="4852566" y="6864842"/>
                      <a:pt x="4850346" y="6867061"/>
                      <a:pt x="4850346" y="6869775"/>
                    </a:cubicBezTo>
                    <a:cubicBezTo>
                      <a:pt x="4850346" y="6872487"/>
                      <a:pt x="4852566" y="6874706"/>
                      <a:pt x="4855278" y="6874706"/>
                    </a:cubicBezTo>
                    <a:cubicBezTo>
                      <a:pt x="4857991" y="6874706"/>
                      <a:pt x="4860210" y="6872487"/>
                      <a:pt x="4860210" y="6869775"/>
                    </a:cubicBezTo>
                    <a:close/>
                    <a:moveTo>
                      <a:pt x="4863664" y="6985666"/>
                    </a:moveTo>
                    <a:cubicBezTo>
                      <a:pt x="4863664" y="6981721"/>
                      <a:pt x="4860459" y="6978762"/>
                      <a:pt x="4856760" y="6978762"/>
                    </a:cubicBezTo>
                    <a:cubicBezTo>
                      <a:pt x="4852814" y="6978762"/>
                      <a:pt x="4849855" y="6981967"/>
                      <a:pt x="4849855" y="6985666"/>
                    </a:cubicBezTo>
                    <a:cubicBezTo>
                      <a:pt x="4849855" y="6989612"/>
                      <a:pt x="4853060" y="6992571"/>
                      <a:pt x="4856760" y="6992571"/>
                    </a:cubicBezTo>
                    <a:cubicBezTo>
                      <a:pt x="4860459" y="6992571"/>
                      <a:pt x="4863664" y="6989612"/>
                      <a:pt x="4863664" y="6985666"/>
                    </a:cubicBezTo>
                    <a:close/>
                    <a:moveTo>
                      <a:pt x="4869333" y="2116869"/>
                    </a:moveTo>
                    <a:cubicBezTo>
                      <a:pt x="4869333" y="2103799"/>
                      <a:pt x="4858728" y="2093194"/>
                      <a:pt x="4845661" y="2093194"/>
                    </a:cubicBezTo>
                    <a:cubicBezTo>
                      <a:pt x="4832594" y="2093194"/>
                      <a:pt x="4821990" y="2103799"/>
                      <a:pt x="4821990" y="2116869"/>
                    </a:cubicBezTo>
                    <a:cubicBezTo>
                      <a:pt x="4821990" y="2129939"/>
                      <a:pt x="4832594" y="2140541"/>
                      <a:pt x="4845661" y="2140541"/>
                    </a:cubicBezTo>
                    <a:cubicBezTo>
                      <a:pt x="4858728" y="2140541"/>
                      <a:pt x="4869333" y="2129939"/>
                      <a:pt x="4869333" y="2116869"/>
                    </a:cubicBezTo>
                    <a:close/>
                    <a:moveTo>
                      <a:pt x="4869581" y="7214731"/>
                    </a:moveTo>
                    <a:cubicBezTo>
                      <a:pt x="4869581" y="7212268"/>
                      <a:pt x="4867608" y="7210295"/>
                      <a:pt x="4865141" y="7210295"/>
                    </a:cubicBezTo>
                    <a:cubicBezTo>
                      <a:pt x="4862676" y="7210295"/>
                      <a:pt x="4860704" y="7212268"/>
                      <a:pt x="4860704" y="7214731"/>
                    </a:cubicBezTo>
                    <a:cubicBezTo>
                      <a:pt x="4860704" y="7217199"/>
                      <a:pt x="4862676" y="7219171"/>
                      <a:pt x="4865141" y="7219171"/>
                    </a:cubicBezTo>
                    <a:cubicBezTo>
                      <a:pt x="4867608" y="7219171"/>
                      <a:pt x="4869581" y="7217199"/>
                      <a:pt x="4869581" y="7214731"/>
                    </a:cubicBezTo>
                    <a:close/>
                    <a:moveTo>
                      <a:pt x="4872292" y="2906126"/>
                    </a:moveTo>
                    <a:cubicBezTo>
                      <a:pt x="4872292" y="2901443"/>
                      <a:pt x="4868593" y="2897744"/>
                      <a:pt x="4863907" y="2897744"/>
                    </a:cubicBezTo>
                    <a:cubicBezTo>
                      <a:pt x="4859224" y="2897744"/>
                      <a:pt x="4855524" y="2901443"/>
                      <a:pt x="4855524" y="2906126"/>
                    </a:cubicBezTo>
                    <a:cubicBezTo>
                      <a:pt x="4855524" y="2910812"/>
                      <a:pt x="4859224" y="2914511"/>
                      <a:pt x="4863907" y="2914511"/>
                    </a:cubicBezTo>
                    <a:cubicBezTo>
                      <a:pt x="4868593" y="2914511"/>
                      <a:pt x="4872292" y="2910812"/>
                      <a:pt x="4872292" y="2906126"/>
                    </a:cubicBezTo>
                    <a:close/>
                    <a:moveTo>
                      <a:pt x="4872292" y="7099091"/>
                    </a:moveTo>
                    <a:cubicBezTo>
                      <a:pt x="4872292" y="7094900"/>
                      <a:pt x="4868595" y="7091200"/>
                      <a:pt x="4864155" y="7091200"/>
                    </a:cubicBezTo>
                    <a:cubicBezTo>
                      <a:pt x="4859965" y="7091200"/>
                      <a:pt x="4856265" y="7094652"/>
                      <a:pt x="4856265" y="7099091"/>
                    </a:cubicBezTo>
                    <a:cubicBezTo>
                      <a:pt x="4856265" y="7103530"/>
                      <a:pt x="4859717" y="7107227"/>
                      <a:pt x="4864155" y="7107227"/>
                    </a:cubicBezTo>
                    <a:cubicBezTo>
                      <a:pt x="4868595" y="7107227"/>
                      <a:pt x="4872292" y="7103530"/>
                      <a:pt x="4872292" y="7099091"/>
                    </a:cubicBezTo>
                    <a:close/>
                    <a:moveTo>
                      <a:pt x="4872295" y="7329637"/>
                    </a:moveTo>
                    <a:cubicBezTo>
                      <a:pt x="4872295" y="7326186"/>
                      <a:pt x="4869582" y="7323473"/>
                      <a:pt x="4866128" y="7323473"/>
                    </a:cubicBezTo>
                    <a:cubicBezTo>
                      <a:pt x="4862677" y="7323473"/>
                      <a:pt x="4859964" y="7326186"/>
                      <a:pt x="4859964" y="7329637"/>
                    </a:cubicBezTo>
                    <a:cubicBezTo>
                      <a:pt x="4859964" y="7333091"/>
                      <a:pt x="4862677" y="7335804"/>
                      <a:pt x="4866128" y="7335804"/>
                    </a:cubicBezTo>
                    <a:cubicBezTo>
                      <a:pt x="4869582" y="7335804"/>
                      <a:pt x="4872295" y="7333091"/>
                      <a:pt x="4872295" y="7329637"/>
                    </a:cubicBezTo>
                    <a:close/>
                    <a:moveTo>
                      <a:pt x="4874018" y="1980521"/>
                    </a:moveTo>
                    <a:cubicBezTo>
                      <a:pt x="4874018" y="1972633"/>
                      <a:pt x="4867608" y="1966225"/>
                      <a:pt x="4859719" y="1966225"/>
                    </a:cubicBezTo>
                    <a:cubicBezTo>
                      <a:pt x="4851827" y="1966225"/>
                      <a:pt x="4845415" y="1972633"/>
                      <a:pt x="4845415" y="1980521"/>
                    </a:cubicBezTo>
                    <a:cubicBezTo>
                      <a:pt x="4845415" y="1988409"/>
                      <a:pt x="4851827" y="1994816"/>
                      <a:pt x="4859719" y="1994816"/>
                    </a:cubicBezTo>
                    <a:cubicBezTo>
                      <a:pt x="4867608" y="1994816"/>
                      <a:pt x="4874018" y="1988409"/>
                      <a:pt x="4874018" y="1980521"/>
                    </a:cubicBezTo>
                    <a:close/>
                    <a:moveTo>
                      <a:pt x="4876978" y="3676866"/>
                    </a:moveTo>
                    <a:cubicBezTo>
                      <a:pt x="4876978" y="3664785"/>
                      <a:pt x="4867115" y="3655167"/>
                      <a:pt x="4855279" y="3655167"/>
                    </a:cubicBezTo>
                    <a:cubicBezTo>
                      <a:pt x="4843198" y="3655167"/>
                      <a:pt x="4833580" y="3665031"/>
                      <a:pt x="4833580" y="3676866"/>
                    </a:cubicBezTo>
                    <a:cubicBezTo>
                      <a:pt x="4833580" y="3688948"/>
                      <a:pt x="4843443" y="3698565"/>
                      <a:pt x="4855279" y="3698565"/>
                    </a:cubicBezTo>
                    <a:cubicBezTo>
                      <a:pt x="4867115" y="3698565"/>
                      <a:pt x="4876978" y="3688948"/>
                      <a:pt x="4876978" y="3676866"/>
                    </a:cubicBezTo>
                    <a:close/>
                    <a:moveTo>
                      <a:pt x="4879198" y="3331211"/>
                    </a:moveTo>
                    <a:cubicBezTo>
                      <a:pt x="4879198" y="3321600"/>
                      <a:pt x="4871307" y="3313959"/>
                      <a:pt x="4861936" y="3313959"/>
                    </a:cubicBezTo>
                    <a:cubicBezTo>
                      <a:pt x="4852567" y="3313959"/>
                      <a:pt x="4844923" y="3321600"/>
                      <a:pt x="4844923" y="3331211"/>
                    </a:cubicBezTo>
                    <a:cubicBezTo>
                      <a:pt x="4844923" y="3340833"/>
                      <a:pt x="4852567" y="3348475"/>
                      <a:pt x="4861936" y="3348475"/>
                    </a:cubicBezTo>
                    <a:cubicBezTo>
                      <a:pt x="4871307" y="3348475"/>
                      <a:pt x="4879198" y="3340833"/>
                      <a:pt x="4879198" y="3331211"/>
                    </a:cubicBezTo>
                    <a:close/>
                    <a:moveTo>
                      <a:pt x="4880182" y="670660"/>
                    </a:moveTo>
                    <a:cubicBezTo>
                      <a:pt x="4880182" y="647473"/>
                      <a:pt x="4861193" y="628698"/>
                      <a:pt x="4838263" y="628698"/>
                    </a:cubicBezTo>
                    <a:cubicBezTo>
                      <a:pt x="4815332" y="628698"/>
                      <a:pt x="4796592" y="647720"/>
                      <a:pt x="4796592" y="670660"/>
                    </a:cubicBezTo>
                    <a:cubicBezTo>
                      <a:pt x="4796592" y="693842"/>
                      <a:pt x="4815332" y="712573"/>
                      <a:pt x="4838263" y="712573"/>
                    </a:cubicBezTo>
                    <a:cubicBezTo>
                      <a:pt x="4861442" y="712573"/>
                      <a:pt x="4880182" y="693842"/>
                      <a:pt x="4880182" y="670660"/>
                    </a:cubicBezTo>
                    <a:close/>
                    <a:moveTo>
                      <a:pt x="4880921" y="4692758"/>
                    </a:moveTo>
                    <a:cubicBezTo>
                      <a:pt x="4880921" y="4667361"/>
                      <a:pt x="4860210" y="4646648"/>
                      <a:pt x="4834814" y="4646648"/>
                    </a:cubicBezTo>
                    <a:cubicBezTo>
                      <a:pt x="4809416" y="4646648"/>
                      <a:pt x="4788704" y="4667361"/>
                      <a:pt x="4788704" y="4692758"/>
                    </a:cubicBezTo>
                    <a:cubicBezTo>
                      <a:pt x="4788704" y="4718154"/>
                      <a:pt x="4809416" y="4738866"/>
                      <a:pt x="4834814" y="4738866"/>
                    </a:cubicBezTo>
                    <a:cubicBezTo>
                      <a:pt x="4860210" y="4738866"/>
                      <a:pt x="4880921" y="4718154"/>
                      <a:pt x="4880921" y="4692758"/>
                    </a:cubicBezTo>
                    <a:close/>
                    <a:moveTo>
                      <a:pt x="4881908" y="551787"/>
                    </a:moveTo>
                    <a:cubicBezTo>
                      <a:pt x="4881908" y="528857"/>
                      <a:pt x="4863415" y="510364"/>
                      <a:pt x="4840484" y="510364"/>
                    </a:cubicBezTo>
                    <a:cubicBezTo>
                      <a:pt x="4817554" y="510364"/>
                      <a:pt x="4799059" y="528857"/>
                      <a:pt x="4799059" y="551787"/>
                    </a:cubicBezTo>
                    <a:cubicBezTo>
                      <a:pt x="4799059" y="574717"/>
                      <a:pt x="4817554" y="593210"/>
                      <a:pt x="4840484" y="593210"/>
                    </a:cubicBezTo>
                    <a:cubicBezTo>
                      <a:pt x="4863415" y="593210"/>
                      <a:pt x="4881908" y="574471"/>
                      <a:pt x="4881908" y="551787"/>
                    </a:cubicBezTo>
                    <a:close/>
                    <a:moveTo>
                      <a:pt x="4884376" y="315616"/>
                    </a:moveTo>
                    <a:cubicBezTo>
                      <a:pt x="4884376" y="293182"/>
                      <a:pt x="4866131" y="274688"/>
                      <a:pt x="4843443" y="274688"/>
                    </a:cubicBezTo>
                    <a:cubicBezTo>
                      <a:pt x="4821007" y="274688"/>
                      <a:pt x="4802513" y="292935"/>
                      <a:pt x="4802513" y="315616"/>
                    </a:cubicBezTo>
                    <a:cubicBezTo>
                      <a:pt x="4802513" y="338055"/>
                      <a:pt x="4821007" y="356548"/>
                      <a:pt x="4843443" y="356548"/>
                    </a:cubicBezTo>
                    <a:cubicBezTo>
                      <a:pt x="4866131" y="356548"/>
                      <a:pt x="4884376" y="338303"/>
                      <a:pt x="4884376" y="315616"/>
                    </a:cubicBezTo>
                    <a:close/>
                    <a:moveTo>
                      <a:pt x="4884867" y="5102566"/>
                    </a:moveTo>
                    <a:cubicBezTo>
                      <a:pt x="4884867" y="5099115"/>
                      <a:pt x="4881908" y="5096156"/>
                      <a:pt x="4878457" y="5096156"/>
                    </a:cubicBezTo>
                    <a:cubicBezTo>
                      <a:pt x="4875004" y="5096156"/>
                      <a:pt x="4872045" y="5099115"/>
                      <a:pt x="4872045" y="5102566"/>
                    </a:cubicBezTo>
                    <a:cubicBezTo>
                      <a:pt x="4872045" y="5106019"/>
                      <a:pt x="4875004" y="5108978"/>
                      <a:pt x="4878457" y="5108978"/>
                    </a:cubicBezTo>
                    <a:cubicBezTo>
                      <a:pt x="4881908" y="5108978"/>
                      <a:pt x="4884867" y="5106265"/>
                      <a:pt x="4884867" y="5102566"/>
                    </a:cubicBezTo>
                    <a:close/>
                    <a:moveTo>
                      <a:pt x="4885360" y="433455"/>
                    </a:moveTo>
                    <a:cubicBezTo>
                      <a:pt x="4885360" y="410033"/>
                      <a:pt x="4866128" y="390800"/>
                      <a:pt x="4842457" y="390800"/>
                    </a:cubicBezTo>
                    <a:cubicBezTo>
                      <a:pt x="4818783" y="390800"/>
                      <a:pt x="4799550" y="409785"/>
                      <a:pt x="4799550" y="433455"/>
                    </a:cubicBezTo>
                    <a:cubicBezTo>
                      <a:pt x="4799550" y="457126"/>
                      <a:pt x="4818783" y="476359"/>
                      <a:pt x="4842457" y="476359"/>
                    </a:cubicBezTo>
                    <a:cubicBezTo>
                      <a:pt x="4866128" y="476359"/>
                      <a:pt x="4885360" y="457126"/>
                      <a:pt x="4885360" y="433455"/>
                    </a:cubicBezTo>
                    <a:close/>
                    <a:moveTo>
                      <a:pt x="4885363" y="198767"/>
                    </a:moveTo>
                    <a:cubicBezTo>
                      <a:pt x="4885363" y="176577"/>
                      <a:pt x="4867363" y="158331"/>
                      <a:pt x="4844923" y="158331"/>
                    </a:cubicBezTo>
                    <a:cubicBezTo>
                      <a:pt x="4822730" y="158331"/>
                      <a:pt x="4804485" y="176329"/>
                      <a:pt x="4804485" y="198767"/>
                    </a:cubicBezTo>
                    <a:cubicBezTo>
                      <a:pt x="4804485" y="220959"/>
                      <a:pt x="4822485" y="239204"/>
                      <a:pt x="4844923" y="239204"/>
                    </a:cubicBezTo>
                    <a:cubicBezTo>
                      <a:pt x="4867114" y="239204"/>
                      <a:pt x="4885363" y="220959"/>
                      <a:pt x="4885363" y="198767"/>
                    </a:cubicBezTo>
                    <a:close/>
                    <a:moveTo>
                      <a:pt x="4885363" y="4831826"/>
                    </a:moveTo>
                    <a:cubicBezTo>
                      <a:pt x="4885363" y="4813332"/>
                      <a:pt x="4870567" y="4798538"/>
                      <a:pt x="4852074" y="4798538"/>
                    </a:cubicBezTo>
                    <a:cubicBezTo>
                      <a:pt x="4833580" y="4798538"/>
                      <a:pt x="4818786" y="4813579"/>
                      <a:pt x="4818786" y="4831826"/>
                    </a:cubicBezTo>
                    <a:cubicBezTo>
                      <a:pt x="4818786" y="4850321"/>
                      <a:pt x="4833827" y="4865115"/>
                      <a:pt x="4852074" y="4865115"/>
                    </a:cubicBezTo>
                    <a:cubicBezTo>
                      <a:pt x="4870567" y="4865115"/>
                      <a:pt x="4885363" y="4850072"/>
                      <a:pt x="4885363" y="4831826"/>
                    </a:cubicBezTo>
                    <a:close/>
                    <a:moveTo>
                      <a:pt x="4886103" y="81920"/>
                    </a:moveTo>
                    <a:cubicBezTo>
                      <a:pt x="4886103" y="59728"/>
                      <a:pt x="4868101" y="41729"/>
                      <a:pt x="4845910" y="41729"/>
                    </a:cubicBezTo>
                    <a:cubicBezTo>
                      <a:pt x="4823717" y="41729"/>
                      <a:pt x="4805717" y="59728"/>
                      <a:pt x="4805717" y="81920"/>
                    </a:cubicBezTo>
                    <a:cubicBezTo>
                      <a:pt x="4805717" y="104108"/>
                      <a:pt x="4823717" y="122110"/>
                      <a:pt x="4845910" y="122110"/>
                    </a:cubicBezTo>
                    <a:cubicBezTo>
                      <a:pt x="4868101" y="122110"/>
                      <a:pt x="4886103" y="104108"/>
                      <a:pt x="4886103" y="81920"/>
                    </a:cubicBezTo>
                    <a:close/>
                    <a:moveTo>
                      <a:pt x="4888075" y="3561960"/>
                    </a:moveTo>
                    <a:cubicBezTo>
                      <a:pt x="4888075" y="3550372"/>
                      <a:pt x="4878703" y="3541001"/>
                      <a:pt x="4867114" y="3541001"/>
                    </a:cubicBezTo>
                    <a:cubicBezTo>
                      <a:pt x="4855527" y="3541001"/>
                      <a:pt x="4846155" y="3550372"/>
                      <a:pt x="4846155" y="3561960"/>
                    </a:cubicBezTo>
                    <a:cubicBezTo>
                      <a:pt x="4846155" y="3573549"/>
                      <a:pt x="4855527" y="3582921"/>
                      <a:pt x="4867114" y="3582921"/>
                    </a:cubicBezTo>
                    <a:cubicBezTo>
                      <a:pt x="4878457" y="3582921"/>
                      <a:pt x="4888075" y="3573549"/>
                      <a:pt x="4888075" y="3561960"/>
                    </a:cubicBezTo>
                    <a:close/>
                    <a:moveTo>
                      <a:pt x="4889058" y="3446611"/>
                    </a:moveTo>
                    <a:cubicBezTo>
                      <a:pt x="4889058" y="3435766"/>
                      <a:pt x="4880182" y="3426887"/>
                      <a:pt x="4869333" y="3426887"/>
                    </a:cubicBezTo>
                    <a:cubicBezTo>
                      <a:pt x="4858483" y="3426887"/>
                      <a:pt x="4849606" y="3435766"/>
                      <a:pt x="4849606" y="3446611"/>
                    </a:cubicBezTo>
                    <a:cubicBezTo>
                      <a:pt x="4849606" y="3457463"/>
                      <a:pt x="4858483" y="3466289"/>
                      <a:pt x="4869333" y="3466289"/>
                    </a:cubicBezTo>
                    <a:cubicBezTo>
                      <a:pt x="4880182" y="3466289"/>
                      <a:pt x="4889058" y="3457463"/>
                      <a:pt x="4889058" y="3446611"/>
                    </a:cubicBezTo>
                    <a:close/>
                    <a:moveTo>
                      <a:pt x="4890787" y="1686163"/>
                    </a:moveTo>
                    <a:cubicBezTo>
                      <a:pt x="4890787" y="1660759"/>
                      <a:pt x="4870075" y="1640052"/>
                      <a:pt x="4844679" y="1640052"/>
                    </a:cubicBezTo>
                    <a:cubicBezTo>
                      <a:pt x="4819527" y="1640052"/>
                      <a:pt x="4798814" y="1660759"/>
                      <a:pt x="4798814" y="1686163"/>
                    </a:cubicBezTo>
                    <a:cubicBezTo>
                      <a:pt x="4798814" y="1711286"/>
                      <a:pt x="4819280" y="1732017"/>
                      <a:pt x="4844679" y="1732017"/>
                    </a:cubicBezTo>
                    <a:cubicBezTo>
                      <a:pt x="4870075" y="1732017"/>
                      <a:pt x="4890787" y="1711535"/>
                      <a:pt x="4890787" y="1686163"/>
                    </a:cubicBezTo>
                    <a:close/>
                    <a:moveTo>
                      <a:pt x="4893004" y="4306376"/>
                    </a:moveTo>
                    <a:cubicBezTo>
                      <a:pt x="4893004" y="4284923"/>
                      <a:pt x="4875496" y="4267415"/>
                      <a:pt x="4854046" y="4267415"/>
                    </a:cubicBezTo>
                    <a:cubicBezTo>
                      <a:pt x="4832594" y="4267415"/>
                      <a:pt x="4815086" y="4284923"/>
                      <a:pt x="4815086" y="4306376"/>
                    </a:cubicBezTo>
                    <a:cubicBezTo>
                      <a:pt x="4815086" y="4327825"/>
                      <a:pt x="4832594" y="4345333"/>
                      <a:pt x="4854046" y="4345333"/>
                    </a:cubicBezTo>
                    <a:cubicBezTo>
                      <a:pt x="4875496" y="4345333"/>
                      <a:pt x="4893004" y="4327825"/>
                      <a:pt x="4893004" y="4306376"/>
                    </a:cubicBezTo>
                    <a:close/>
                    <a:moveTo>
                      <a:pt x="4897442" y="4968677"/>
                    </a:moveTo>
                    <a:cubicBezTo>
                      <a:pt x="4897442" y="4951415"/>
                      <a:pt x="4883387" y="4937361"/>
                      <a:pt x="4866128" y="4937361"/>
                    </a:cubicBezTo>
                    <a:cubicBezTo>
                      <a:pt x="4848867" y="4937361"/>
                      <a:pt x="4834812" y="4951415"/>
                      <a:pt x="4834812" y="4968677"/>
                    </a:cubicBezTo>
                    <a:cubicBezTo>
                      <a:pt x="4834812" y="4985936"/>
                      <a:pt x="4848867" y="4999989"/>
                      <a:pt x="4866128" y="4999989"/>
                    </a:cubicBezTo>
                    <a:cubicBezTo>
                      <a:pt x="4883387" y="4999989"/>
                      <a:pt x="4897442" y="4985936"/>
                      <a:pt x="4897442" y="4968677"/>
                    </a:cubicBezTo>
                    <a:close/>
                    <a:moveTo>
                      <a:pt x="4898922" y="1557213"/>
                    </a:moveTo>
                    <a:cubicBezTo>
                      <a:pt x="4898922" y="1531573"/>
                      <a:pt x="4877963" y="1510614"/>
                      <a:pt x="4852320" y="1510614"/>
                    </a:cubicBezTo>
                    <a:cubicBezTo>
                      <a:pt x="4826675" y="1510614"/>
                      <a:pt x="4805717" y="1531573"/>
                      <a:pt x="4805717" y="1557213"/>
                    </a:cubicBezTo>
                    <a:cubicBezTo>
                      <a:pt x="4805717" y="1582853"/>
                      <a:pt x="4826675" y="1603820"/>
                      <a:pt x="4852320" y="1603820"/>
                    </a:cubicBezTo>
                    <a:cubicBezTo>
                      <a:pt x="4877963" y="1603820"/>
                      <a:pt x="4898922" y="1582853"/>
                      <a:pt x="4898922" y="1557213"/>
                    </a:cubicBezTo>
                    <a:close/>
                    <a:moveTo>
                      <a:pt x="4898922" y="1846202"/>
                    </a:moveTo>
                    <a:cubicBezTo>
                      <a:pt x="4898922" y="1830917"/>
                      <a:pt x="4886348" y="1818337"/>
                      <a:pt x="4871060" y="1818337"/>
                    </a:cubicBezTo>
                    <a:cubicBezTo>
                      <a:pt x="4855773" y="1818337"/>
                      <a:pt x="4843197" y="1830917"/>
                      <a:pt x="4843197" y="1846202"/>
                    </a:cubicBezTo>
                    <a:cubicBezTo>
                      <a:pt x="4843197" y="1861484"/>
                      <a:pt x="4855773" y="1874055"/>
                      <a:pt x="4871060" y="1874055"/>
                    </a:cubicBezTo>
                    <a:cubicBezTo>
                      <a:pt x="4886348" y="1874055"/>
                      <a:pt x="4898922" y="1861484"/>
                      <a:pt x="4898922" y="1846202"/>
                    </a:cubicBezTo>
                    <a:close/>
                    <a:moveTo>
                      <a:pt x="4901880" y="4044508"/>
                    </a:moveTo>
                    <a:cubicBezTo>
                      <a:pt x="4901880" y="4024785"/>
                      <a:pt x="4885853" y="4008509"/>
                      <a:pt x="4865879" y="4008509"/>
                    </a:cubicBezTo>
                    <a:cubicBezTo>
                      <a:pt x="4846153" y="4008509"/>
                      <a:pt x="4829880" y="4024536"/>
                      <a:pt x="4829880" y="4044508"/>
                    </a:cubicBezTo>
                    <a:cubicBezTo>
                      <a:pt x="4829880" y="4064235"/>
                      <a:pt x="4845906" y="4080510"/>
                      <a:pt x="4865879" y="4080510"/>
                    </a:cubicBezTo>
                    <a:cubicBezTo>
                      <a:pt x="4885853" y="4080510"/>
                      <a:pt x="4901880" y="4064235"/>
                      <a:pt x="4901880" y="4044508"/>
                    </a:cubicBezTo>
                    <a:close/>
                    <a:moveTo>
                      <a:pt x="4904346" y="1429999"/>
                    </a:moveTo>
                    <a:cubicBezTo>
                      <a:pt x="4904346" y="1404848"/>
                      <a:pt x="4883882" y="1384382"/>
                      <a:pt x="4858730" y="1384382"/>
                    </a:cubicBezTo>
                    <a:cubicBezTo>
                      <a:pt x="4833580" y="1384382"/>
                      <a:pt x="4813114" y="1404848"/>
                      <a:pt x="4813114" y="1429999"/>
                    </a:cubicBezTo>
                    <a:cubicBezTo>
                      <a:pt x="4813114" y="1455149"/>
                      <a:pt x="4833580" y="1475615"/>
                      <a:pt x="4858730" y="1475615"/>
                    </a:cubicBezTo>
                    <a:cubicBezTo>
                      <a:pt x="4883882" y="1475615"/>
                      <a:pt x="4904346" y="1455149"/>
                      <a:pt x="4904346" y="1429999"/>
                    </a:cubicBezTo>
                    <a:close/>
                    <a:moveTo>
                      <a:pt x="4905829" y="5227089"/>
                    </a:moveTo>
                    <a:cubicBezTo>
                      <a:pt x="4905829" y="5222895"/>
                      <a:pt x="4902375" y="5219443"/>
                      <a:pt x="4898184" y="5219443"/>
                    </a:cubicBezTo>
                    <a:cubicBezTo>
                      <a:pt x="4893990" y="5219443"/>
                      <a:pt x="4890539" y="5222895"/>
                      <a:pt x="4890539" y="5227089"/>
                    </a:cubicBezTo>
                    <a:cubicBezTo>
                      <a:pt x="4890539" y="5231280"/>
                      <a:pt x="4893990" y="5234730"/>
                      <a:pt x="4898184" y="5234730"/>
                    </a:cubicBezTo>
                    <a:cubicBezTo>
                      <a:pt x="4902375" y="5234730"/>
                      <a:pt x="4905829" y="5231280"/>
                      <a:pt x="4905829" y="5227089"/>
                    </a:cubicBezTo>
                    <a:close/>
                    <a:moveTo>
                      <a:pt x="4906567" y="2492877"/>
                    </a:moveTo>
                    <a:cubicBezTo>
                      <a:pt x="4906567" y="2478824"/>
                      <a:pt x="4895223" y="2467232"/>
                      <a:pt x="4880923" y="2467232"/>
                    </a:cubicBezTo>
                    <a:cubicBezTo>
                      <a:pt x="4866869" y="2467232"/>
                      <a:pt x="4855279" y="2478574"/>
                      <a:pt x="4855279" y="2492877"/>
                    </a:cubicBezTo>
                    <a:cubicBezTo>
                      <a:pt x="4855279" y="2506929"/>
                      <a:pt x="4866620" y="2518520"/>
                      <a:pt x="4880923" y="2518520"/>
                    </a:cubicBezTo>
                    <a:cubicBezTo>
                      <a:pt x="4894978" y="2518520"/>
                      <a:pt x="4906567" y="2506929"/>
                      <a:pt x="4906567" y="2492877"/>
                    </a:cubicBezTo>
                    <a:close/>
                    <a:moveTo>
                      <a:pt x="4908540" y="5358017"/>
                    </a:moveTo>
                    <a:cubicBezTo>
                      <a:pt x="4908540" y="5357034"/>
                      <a:pt x="4907799" y="5356539"/>
                      <a:pt x="4907059" y="5356539"/>
                    </a:cubicBezTo>
                    <a:cubicBezTo>
                      <a:pt x="4906321" y="5356539"/>
                      <a:pt x="4905580" y="5357280"/>
                      <a:pt x="4905580" y="5358017"/>
                    </a:cubicBezTo>
                    <a:cubicBezTo>
                      <a:pt x="4905580" y="5358758"/>
                      <a:pt x="4906321" y="5359253"/>
                      <a:pt x="4907059" y="5359253"/>
                    </a:cubicBezTo>
                    <a:cubicBezTo>
                      <a:pt x="4907799" y="5359253"/>
                      <a:pt x="4908294" y="5358758"/>
                      <a:pt x="4908540" y="5358017"/>
                    </a:cubicBezTo>
                    <a:close/>
                    <a:moveTo>
                      <a:pt x="4910020" y="1304508"/>
                    </a:moveTo>
                    <a:cubicBezTo>
                      <a:pt x="4910020" y="1279113"/>
                      <a:pt x="4889554" y="1258641"/>
                      <a:pt x="4864402" y="1258641"/>
                    </a:cubicBezTo>
                    <a:cubicBezTo>
                      <a:pt x="4839252" y="1258641"/>
                      <a:pt x="4818786" y="1279359"/>
                      <a:pt x="4818786" y="1304508"/>
                    </a:cubicBezTo>
                    <a:cubicBezTo>
                      <a:pt x="4818786" y="1329659"/>
                      <a:pt x="4839252" y="1350126"/>
                      <a:pt x="4864402" y="1350126"/>
                    </a:cubicBezTo>
                    <a:cubicBezTo>
                      <a:pt x="4889799" y="1350126"/>
                      <a:pt x="4910266" y="1329412"/>
                      <a:pt x="4910020" y="1304508"/>
                    </a:cubicBezTo>
                    <a:close/>
                    <a:moveTo>
                      <a:pt x="4914210" y="2745859"/>
                    </a:moveTo>
                    <a:cubicBezTo>
                      <a:pt x="4914210" y="2742654"/>
                      <a:pt x="4911744" y="2740187"/>
                      <a:pt x="4908539" y="2740187"/>
                    </a:cubicBezTo>
                    <a:cubicBezTo>
                      <a:pt x="4905335" y="2740187"/>
                      <a:pt x="4902867" y="2742654"/>
                      <a:pt x="4902867" y="2745859"/>
                    </a:cubicBezTo>
                    <a:cubicBezTo>
                      <a:pt x="4902867" y="2748819"/>
                      <a:pt x="4905335" y="2751533"/>
                      <a:pt x="4908539" y="2751533"/>
                    </a:cubicBezTo>
                    <a:cubicBezTo>
                      <a:pt x="4911744" y="2751533"/>
                      <a:pt x="4914457" y="2748819"/>
                      <a:pt x="4914210" y="2745859"/>
                    </a:cubicBezTo>
                    <a:close/>
                    <a:moveTo>
                      <a:pt x="4914211" y="1180250"/>
                    </a:moveTo>
                    <a:cubicBezTo>
                      <a:pt x="4914211" y="1155596"/>
                      <a:pt x="4894485" y="1135621"/>
                      <a:pt x="4869827" y="1135621"/>
                    </a:cubicBezTo>
                    <a:cubicBezTo>
                      <a:pt x="4845170" y="1135621"/>
                      <a:pt x="4825198" y="1155596"/>
                      <a:pt x="4825198" y="1180250"/>
                    </a:cubicBezTo>
                    <a:cubicBezTo>
                      <a:pt x="4825198" y="1204665"/>
                      <a:pt x="4845170" y="1224639"/>
                      <a:pt x="4869827" y="1224639"/>
                    </a:cubicBezTo>
                    <a:cubicBezTo>
                      <a:pt x="4894485" y="1224639"/>
                      <a:pt x="4914457" y="1204665"/>
                      <a:pt x="4914211" y="1180250"/>
                    </a:cubicBezTo>
                    <a:close/>
                    <a:moveTo>
                      <a:pt x="4914949" y="3015609"/>
                    </a:moveTo>
                    <a:cubicBezTo>
                      <a:pt x="4914949" y="3009692"/>
                      <a:pt x="4910266" y="3005005"/>
                      <a:pt x="4904594" y="3005005"/>
                    </a:cubicBezTo>
                    <a:cubicBezTo>
                      <a:pt x="4898676" y="3005005"/>
                      <a:pt x="4893990" y="3009692"/>
                      <a:pt x="4893990" y="3015609"/>
                    </a:cubicBezTo>
                    <a:cubicBezTo>
                      <a:pt x="4893990" y="3021527"/>
                      <a:pt x="4898676" y="3026213"/>
                      <a:pt x="4904594" y="3026213"/>
                    </a:cubicBezTo>
                    <a:cubicBezTo>
                      <a:pt x="4910511" y="3026213"/>
                      <a:pt x="4915197" y="3021279"/>
                      <a:pt x="4914949" y="3015609"/>
                    </a:cubicBezTo>
                    <a:close/>
                    <a:moveTo>
                      <a:pt x="4919880" y="1056723"/>
                    </a:moveTo>
                    <a:cubicBezTo>
                      <a:pt x="4919880" y="1031585"/>
                      <a:pt x="4899168" y="1011123"/>
                      <a:pt x="4874018" y="1011123"/>
                    </a:cubicBezTo>
                    <a:cubicBezTo>
                      <a:pt x="4848620" y="1011123"/>
                      <a:pt x="4828154" y="1031585"/>
                      <a:pt x="4828154" y="1056723"/>
                    </a:cubicBezTo>
                    <a:cubicBezTo>
                      <a:pt x="4828154" y="1082135"/>
                      <a:pt x="4848867" y="1102600"/>
                      <a:pt x="4874018" y="1102600"/>
                    </a:cubicBezTo>
                    <a:cubicBezTo>
                      <a:pt x="4899168" y="1102600"/>
                      <a:pt x="4919880" y="1082135"/>
                      <a:pt x="4919880" y="1056723"/>
                    </a:cubicBezTo>
                    <a:close/>
                    <a:moveTo>
                      <a:pt x="4922350" y="934452"/>
                    </a:moveTo>
                    <a:cubicBezTo>
                      <a:pt x="4922350" y="909546"/>
                      <a:pt x="4902129" y="889331"/>
                      <a:pt x="4877226" y="889331"/>
                    </a:cubicBezTo>
                    <a:cubicBezTo>
                      <a:pt x="4852320" y="889331"/>
                      <a:pt x="4832102" y="909546"/>
                      <a:pt x="4832102" y="934452"/>
                    </a:cubicBezTo>
                    <a:cubicBezTo>
                      <a:pt x="4832102" y="959361"/>
                      <a:pt x="4852320" y="979577"/>
                      <a:pt x="4877226" y="979577"/>
                    </a:cubicBezTo>
                    <a:cubicBezTo>
                      <a:pt x="4902129" y="979577"/>
                      <a:pt x="4922596" y="959361"/>
                      <a:pt x="4922350" y="934452"/>
                    </a:cubicBezTo>
                    <a:close/>
                    <a:moveTo>
                      <a:pt x="4923579" y="5614706"/>
                    </a:moveTo>
                    <a:cubicBezTo>
                      <a:pt x="4923579" y="5612484"/>
                      <a:pt x="4921856" y="5611006"/>
                      <a:pt x="4919882" y="5611006"/>
                    </a:cubicBezTo>
                    <a:cubicBezTo>
                      <a:pt x="4917910" y="5611006"/>
                      <a:pt x="4916183" y="5612733"/>
                      <a:pt x="4916183" y="5614706"/>
                    </a:cubicBezTo>
                    <a:cubicBezTo>
                      <a:pt x="4916183" y="5616678"/>
                      <a:pt x="4917910" y="5618402"/>
                      <a:pt x="4919882" y="5618402"/>
                    </a:cubicBezTo>
                    <a:cubicBezTo>
                      <a:pt x="4921856" y="5618402"/>
                      <a:pt x="4923579" y="5616678"/>
                      <a:pt x="4923579" y="5614706"/>
                    </a:cubicBezTo>
                    <a:close/>
                    <a:moveTo>
                      <a:pt x="4925552" y="813158"/>
                    </a:moveTo>
                    <a:cubicBezTo>
                      <a:pt x="4925552" y="788501"/>
                      <a:pt x="4905333" y="768281"/>
                      <a:pt x="4880676" y="768281"/>
                    </a:cubicBezTo>
                    <a:cubicBezTo>
                      <a:pt x="4856018" y="768281"/>
                      <a:pt x="4835798" y="788501"/>
                      <a:pt x="4835798" y="813158"/>
                    </a:cubicBezTo>
                    <a:cubicBezTo>
                      <a:pt x="4835798" y="838068"/>
                      <a:pt x="4856018" y="858032"/>
                      <a:pt x="4880676" y="858032"/>
                    </a:cubicBezTo>
                    <a:cubicBezTo>
                      <a:pt x="4905333" y="858032"/>
                      <a:pt x="4925552" y="838068"/>
                      <a:pt x="4925552" y="813158"/>
                    </a:cubicBezTo>
                    <a:close/>
                    <a:moveTo>
                      <a:pt x="4926292" y="5487472"/>
                    </a:moveTo>
                    <a:cubicBezTo>
                      <a:pt x="4926292" y="5480568"/>
                      <a:pt x="4920623" y="5474896"/>
                      <a:pt x="4913719" y="5474896"/>
                    </a:cubicBezTo>
                    <a:cubicBezTo>
                      <a:pt x="4906815" y="5474896"/>
                      <a:pt x="4901142" y="5480568"/>
                      <a:pt x="4901142" y="5487472"/>
                    </a:cubicBezTo>
                    <a:cubicBezTo>
                      <a:pt x="4901142" y="5494376"/>
                      <a:pt x="4906815" y="5500048"/>
                      <a:pt x="4913719" y="5500048"/>
                    </a:cubicBezTo>
                    <a:cubicBezTo>
                      <a:pt x="4920623" y="5500048"/>
                      <a:pt x="4926292" y="5494376"/>
                      <a:pt x="4926292" y="5487472"/>
                    </a:cubicBezTo>
                    <a:close/>
                    <a:moveTo>
                      <a:pt x="4926788" y="2345200"/>
                    </a:moveTo>
                    <a:cubicBezTo>
                      <a:pt x="4926788" y="2333356"/>
                      <a:pt x="4917170" y="2323732"/>
                      <a:pt x="4905335" y="2323732"/>
                    </a:cubicBezTo>
                    <a:cubicBezTo>
                      <a:pt x="4893500" y="2323732"/>
                      <a:pt x="4883882" y="2333356"/>
                      <a:pt x="4883882" y="2345200"/>
                    </a:cubicBezTo>
                    <a:cubicBezTo>
                      <a:pt x="4883882" y="2357034"/>
                      <a:pt x="4893500" y="2366650"/>
                      <a:pt x="4905335" y="2366650"/>
                    </a:cubicBezTo>
                    <a:cubicBezTo>
                      <a:pt x="4917170" y="2366650"/>
                      <a:pt x="4926788" y="2357034"/>
                      <a:pt x="4926788" y="2345200"/>
                    </a:cubicBezTo>
                    <a:close/>
                    <a:moveTo>
                      <a:pt x="4927528" y="5741443"/>
                    </a:moveTo>
                    <a:cubicBezTo>
                      <a:pt x="4927528" y="5739717"/>
                      <a:pt x="4926047" y="5738484"/>
                      <a:pt x="4924569" y="5738484"/>
                    </a:cubicBezTo>
                    <a:cubicBezTo>
                      <a:pt x="4923088" y="5738484"/>
                      <a:pt x="4921856" y="5739962"/>
                      <a:pt x="4921856" y="5741443"/>
                    </a:cubicBezTo>
                    <a:cubicBezTo>
                      <a:pt x="4921856" y="5742924"/>
                      <a:pt x="4923088" y="5744156"/>
                      <a:pt x="4924569" y="5744156"/>
                    </a:cubicBezTo>
                    <a:cubicBezTo>
                      <a:pt x="4926047" y="5744156"/>
                      <a:pt x="4927281" y="5742924"/>
                      <a:pt x="4927528" y="5741443"/>
                    </a:cubicBezTo>
                    <a:close/>
                    <a:moveTo>
                      <a:pt x="4928019" y="4457278"/>
                    </a:moveTo>
                    <a:cubicBezTo>
                      <a:pt x="4928019" y="4433361"/>
                      <a:pt x="4908539" y="4413880"/>
                      <a:pt x="4884622" y="4413880"/>
                    </a:cubicBezTo>
                    <a:cubicBezTo>
                      <a:pt x="4860704" y="4413880"/>
                      <a:pt x="4841224" y="4433361"/>
                      <a:pt x="4841224" y="4457278"/>
                    </a:cubicBezTo>
                    <a:cubicBezTo>
                      <a:pt x="4841224" y="4481195"/>
                      <a:pt x="4860704" y="4500675"/>
                      <a:pt x="4884622" y="4500675"/>
                    </a:cubicBezTo>
                    <a:cubicBezTo>
                      <a:pt x="4908539" y="4500675"/>
                      <a:pt x="4928019" y="4481195"/>
                      <a:pt x="4928019" y="4457278"/>
                    </a:cubicBezTo>
                    <a:close/>
                    <a:moveTo>
                      <a:pt x="4930731" y="5865718"/>
                    </a:moveTo>
                    <a:cubicBezTo>
                      <a:pt x="4930731" y="5864978"/>
                      <a:pt x="4930236" y="5864486"/>
                      <a:pt x="4929497" y="5864486"/>
                    </a:cubicBezTo>
                    <a:cubicBezTo>
                      <a:pt x="4928759" y="5864486"/>
                      <a:pt x="4928265" y="5864978"/>
                      <a:pt x="4928265" y="5865718"/>
                    </a:cubicBezTo>
                    <a:cubicBezTo>
                      <a:pt x="4928265" y="5866459"/>
                      <a:pt x="4928759" y="5866953"/>
                      <a:pt x="4929497" y="5866953"/>
                    </a:cubicBezTo>
                    <a:cubicBezTo>
                      <a:pt x="4930236" y="5866953"/>
                      <a:pt x="4930978" y="5866459"/>
                      <a:pt x="4930731" y="5865718"/>
                    </a:cubicBezTo>
                    <a:close/>
                    <a:moveTo>
                      <a:pt x="4934675" y="5988761"/>
                    </a:moveTo>
                    <a:cubicBezTo>
                      <a:pt x="4934675" y="5988512"/>
                      <a:pt x="4934429" y="5988265"/>
                      <a:pt x="4934182" y="5988265"/>
                    </a:cubicBezTo>
                    <a:cubicBezTo>
                      <a:pt x="4933934" y="5988265"/>
                      <a:pt x="4933688" y="5988512"/>
                      <a:pt x="4933688" y="5988761"/>
                    </a:cubicBezTo>
                    <a:cubicBezTo>
                      <a:pt x="4933688" y="5989006"/>
                      <a:pt x="4933934" y="5989252"/>
                      <a:pt x="4934182" y="5989252"/>
                    </a:cubicBezTo>
                    <a:cubicBezTo>
                      <a:pt x="4934675" y="5989252"/>
                      <a:pt x="4934920" y="5989006"/>
                      <a:pt x="4934675" y="5988761"/>
                    </a:cubicBezTo>
                    <a:close/>
                    <a:moveTo>
                      <a:pt x="4939114" y="6111061"/>
                    </a:moveTo>
                    <a:cubicBezTo>
                      <a:pt x="4939114" y="6110567"/>
                      <a:pt x="4938620" y="6110075"/>
                      <a:pt x="4938129" y="6110075"/>
                    </a:cubicBezTo>
                    <a:cubicBezTo>
                      <a:pt x="4937636" y="6110075"/>
                      <a:pt x="4937142" y="6110567"/>
                      <a:pt x="4937142" y="6111061"/>
                    </a:cubicBezTo>
                    <a:cubicBezTo>
                      <a:pt x="4937142" y="6111553"/>
                      <a:pt x="4937636" y="6112047"/>
                      <a:pt x="4938129" y="6112047"/>
                    </a:cubicBezTo>
                    <a:cubicBezTo>
                      <a:pt x="4938620" y="6112047"/>
                      <a:pt x="4939114" y="6111801"/>
                      <a:pt x="4939114" y="6111061"/>
                    </a:cubicBezTo>
                    <a:close/>
                    <a:moveTo>
                      <a:pt x="4939360" y="3934785"/>
                    </a:moveTo>
                    <a:cubicBezTo>
                      <a:pt x="4939360" y="3916537"/>
                      <a:pt x="4924569" y="3901497"/>
                      <a:pt x="4906075" y="3901497"/>
                    </a:cubicBezTo>
                    <a:cubicBezTo>
                      <a:pt x="4887827" y="3901497"/>
                      <a:pt x="4872787" y="3916291"/>
                      <a:pt x="4872787" y="3934785"/>
                    </a:cubicBezTo>
                    <a:cubicBezTo>
                      <a:pt x="4872787" y="3953030"/>
                      <a:pt x="4887581" y="3968070"/>
                      <a:pt x="4906075" y="3968070"/>
                    </a:cubicBezTo>
                    <a:cubicBezTo>
                      <a:pt x="4924569" y="3968070"/>
                      <a:pt x="4939609" y="3953276"/>
                      <a:pt x="4939360" y="3934785"/>
                    </a:cubicBezTo>
                    <a:close/>
                    <a:moveTo>
                      <a:pt x="4941824" y="2201203"/>
                    </a:moveTo>
                    <a:cubicBezTo>
                      <a:pt x="4941824" y="2192081"/>
                      <a:pt x="4934429" y="2184681"/>
                      <a:pt x="4925306" y="2184681"/>
                    </a:cubicBezTo>
                    <a:cubicBezTo>
                      <a:pt x="4916183" y="2184681"/>
                      <a:pt x="4908785" y="2192081"/>
                      <a:pt x="4908785" y="2201203"/>
                    </a:cubicBezTo>
                    <a:cubicBezTo>
                      <a:pt x="4908785" y="2210325"/>
                      <a:pt x="4916183" y="2217723"/>
                      <a:pt x="4925306" y="2217723"/>
                    </a:cubicBezTo>
                    <a:cubicBezTo>
                      <a:pt x="4934429" y="2217723"/>
                      <a:pt x="4942073" y="2210325"/>
                      <a:pt x="4941824" y="2201203"/>
                    </a:cubicBezTo>
                    <a:close/>
                    <a:moveTo>
                      <a:pt x="4946019" y="4204536"/>
                    </a:moveTo>
                    <a:cubicBezTo>
                      <a:pt x="4946019" y="4185304"/>
                      <a:pt x="4930237" y="4169523"/>
                      <a:pt x="4911004" y="4169523"/>
                    </a:cubicBezTo>
                    <a:cubicBezTo>
                      <a:pt x="4891526" y="4169523"/>
                      <a:pt x="4875991" y="4185304"/>
                      <a:pt x="4875991" y="4204536"/>
                    </a:cubicBezTo>
                    <a:cubicBezTo>
                      <a:pt x="4875991" y="4224016"/>
                      <a:pt x="4891772" y="4239551"/>
                      <a:pt x="4911004" y="4239551"/>
                    </a:cubicBezTo>
                    <a:cubicBezTo>
                      <a:pt x="4930237" y="4239551"/>
                      <a:pt x="4946019" y="4224016"/>
                      <a:pt x="4946019" y="4204536"/>
                    </a:cubicBezTo>
                    <a:close/>
                    <a:moveTo>
                      <a:pt x="4947497" y="2061146"/>
                    </a:moveTo>
                    <a:cubicBezTo>
                      <a:pt x="4947497" y="2058557"/>
                      <a:pt x="4945400" y="2056459"/>
                      <a:pt x="4942813" y="2056459"/>
                    </a:cubicBezTo>
                    <a:cubicBezTo>
                      <a:pt x="4940224" y="2056459"/>
                      <a:pt x="4938128" y="2058557"/>
                      <a:pt x="4938128" y="2061146"/>
                    </a:cubicBezTo>
                    <a:cubicBezTo>
                      <a:pt x="4938128" y="2063732"/>
                      <a:pt x="4940224" y="2065832"/>
                      <a:pt x="4942813" y="2065832"/>
                    </a:cubicBezTo>
                    <a:cubicBezTo>
                      <a:pt x="4945400" y="2065832"/>
                      <a:pt x="4947497" y="2063732"/>
                      <a:pt x="4947497" y="2061146"/>
                    </a:cubicBezTo>
                    <a:close/>
                    <a:moveTo>
                      <a:pt x="4949717" y="3127801"/>
                    </a:moveTo>
                    <a:cubicBezTo>
                      <a:pt x="4949717" y="3120651"/>
                      <a:pt x="4943800" y="3114734"/>
                      <a:pt x="4936647" y="3114734"/>
                    </a:cubicBezTo>
                    <a:cubicBezTo>
                      <a:pt x="4929497" y="3114734"/>
                      <a:pt x="4923579" y="3120651"/>
                      <a:pt x="4923579" y="3127801"/>
                    </a:cubicBezTo>
                    <a:cubicBezTo>
                      <a:pt x="4923579" y="3134951"/>
                      <a:pt x="4929497" y="3140870"/>
                      <a:pt x="4936647" y="3140870"/>
                    </a:cubicBezTo>
                    <a:cubicBezTo>
                      <a:pt x="4943800" y="3140870"/>
                      <a:pt x="4949717" y="3135200"/>
                      <a:pt x="4949717" y="3127801"/>
                    </a:cubicBezTo>
                    <a:close/>
                    <a:moveTo>
                      <a:pt x="4952923" y="6228185"/>
                    </a:moveTo>
                    <a:cubicBezTo>
                      <a:pt x="4952923" y="6226459"/>
                      <a:pt x="4951442" y="6225227"/>
                      <a:pt x="4949964" y="6225227"/>
                    </a:cubicBezTo>
                    <a:cubicBezTo>
                      <a:pt x="4948483" y="6225227"/>
                      <a:pt x="4947251" y="6226704"/>
                      <a:pt x="4947251" y="6228185"/>
                    </a:cubicBezTo>
                    <a:cubicBezTo>
                      <a:pt x="4947251" y="6229663"/>
                      <a:pt x="4948238" y="6230899"/>
                      <a:pt x="4949964" y="6230899"/>
                    </a:cubicBezTo>
                    <a:cubicBezTo>
                      <a:pt x="4951688" y="6230899"/>
                      <a:pt x="4952923" y="6229663"/>
                      <a:pt x="4952923" y="6228185"/>
                    </a:cubicBezTo>
                    <a:close/>
                    <a:moveTo>
                      <a:pt x="4955636" y="6349006"/>
                    </a:moveTo>
                    <a:cubicBezTo>
                      <a:pt x="4955636" y="6347525"/>
                      <a:pt x="4954401" y="6346293"/>
                      <a:pt x="4952923" y="6346293"/>
                    </a:cubicBezTo>
                    <a:cubicBezTo>
                      <a:pt x="4951442" y="6346293"/>
                      <a:pt x="4950210" y="6347525"/>
                      <a:pt x="4950210" y="6349006"/>
                    </a:cubicBezTo>
                    <a:cubicBezTo>
                      <a:pt x="4950210" y="6350484"/>
                      <a:pt x="4951442" y="6351716"/>
                      <a:pt x="4952923" y="6351716"/>
                    </a:cubicBezTo>
                    <a:cubicBezTo>
                      <a:pt x="4954401" y="6351716"/>
                      <a:pt x="4955636" y="6350484"/>
                      <a:pt x="4955636" y="6349006"/>
                    </a:cubicBezTo>
                    <a:close/>
                    <a:moveTo>
                      <a:pt x="4956868" y="6469090"/>
                    </a:moveTo>
                    <a:cubicBezTo>
                      <a:pt x="4956868" y="6468103"/>
                      <a:pt x="4955882" y="6467117"/>
                      <a:pt x="4954896" y="6467117"/>
                    </a:cubicBezTo>
                    <a:cubicBezTo>
                      <a:pt x="4953910" y="6467117"/>
                      <a:pt x="4952923" y="6468103"/>
                      <a:pt x="4952923" y="6469090"/>
                    </a:cubicBezTo>
                    <a:cubicBezTo>
                      <a:pt x="4952923" y="6470076"/>
                      <a:pt x="4953910" y="6471062"/>
                      <a:pt x="4954896" y="6471062"/>
                    </a:cubicBezTo>
                    <a:cubicBezTo>
                      <a:pt x="4955882" y="6471062"/>
                      <a:pt x="4956868" y="6470322"/>
                      <a:pt x="4956868" y="6469090"/>
                    </a:cubicBezTo>
                    <a:close/>
                    <a:moveTo>
                      <a:pt x="4957113" y="4603989"/>
                    </a:moveTo>
                    <a:cubicBezTo>
                      <a:pt x="4957113" y="4578099"/>
                      <a:pt x="4935909" y="4557140"/>
                      <a:pt x="4910019" y="4557140"/>
                    </a:cubicBezTo>
                    <a:cubicBezTo>
                      <a:pt x="4884127" y="4557140"/>
                      <a:pt x="4863169" y="4578099"/>
                      <a:pt x="4863169" y="4603989"/>
                    </a:cubicBezTo>
                    <a:cubicBezTo>
                      <a:pt x="4863169" y="4629880"/>
                      <a:pt x="4884127" y="4651085"/>
                      <a:pt x="4910019" y="4651085"/>
                    </a:cubicBezTo>
                    <a:cubicBezTo>
                      <a:pt x="4935909" y="4651085"/>
                      <a:pt x="4956867" y="4630127"/>
                      <a:pt x="4957113" y="4603989"/>
                    </a:cubicBezTo>
                    <a:close/>
                    <a:moveTo>
                      <a:pt x="4960322" y="6588186"/>
                    </a:moveTo>
                    <a:cubicBezTo>
                      <a:pt x="4960322" y="6586705"/>
                      <a:pt x="4959335" y="6585718"/>
                      <a:pt x="4957854" y="6585718"/>
                    </a:cubicBezTo>
                    <a:cubicBezTo>
                      <a:pt x="4956376" y="6585718"/>
                      <a:pt x="4955390" y="6586705"/>
                      <a:pt x="4955390" y="6588186"/>
                    </a:cubicBezTo>
                    <a:cubicBezTo>
                      <a:pt x="4955390" y="6589664"/>
                      <a:pt x="4956376" y="6590651"/>
                      <a:pt x="4957854" y="6590651"/>
                    </a:cubicBezTo>
                    <a:cubicBezTo>
                      <a:pt x="4959089" y="6590651"/>
                      <a:pt x="4960322" y="6589418"/>
                      <a:pt x="4960322" y="6588186"/>
                    </a:cubicBezTo>
                    <a:close/>
                    <a:moveTo>
                      <a:pt x="4963526" y="6706542"/>
                    </a:moveTo>
                    <a:cubicBezTo>
                      <a:pt x="4963526" y="6704569"/>
                      <a:pt x="4961800" y="6702842"/>
                      <a:pt x="4959826" y="6702842"/>
                    </a:cubicBezTo>
                    <a:cubicBezTo>
                      <a:pt x="4957854" y="6702842"/>
                      <a:pt x="4956127" y="6704569"/>
                      <a:pt x="4956127" y="6706542"/>
                    </a:cubicBezTo>
                    <a:cubicBezTo>
                      <a:pt x="4956127" y="6708514"/>
                      <a:pt x="4957854" y="6710238"/>
                      <a:pt x="4959826" y="6710238"/>
                    </a:cubicBezTo>
                    <a:cubicBezTo>
                      <a:pt x="4961800" y="6710238"/>
                      <a:pt x="4963526" y="6708760"/>
                      <a:pt x="4963526" y="6706542"/>
                    </a:cubicBezTo>
                    <a:close/>
                    <a:moveTo>
                      <a:pt x="4964758" y="2851147"/>
                    </a:moveTo>
                    <a:cubicBezTo>
                      <a:pt x="4964758" y="2847696"/>
                      <a:pt x="4961800" y="2844737"/>
                      <a:pt x="4958346" y="2844737"/>
                    </a:cubicBezTo>
                    <a:cubicBezTo>
                      <a:pt x="4954895" y="2844737"/>
                      <a:pt x="4951936" y="2847696"/>
                      <a:pt x="4951936" y="2851147"/>
                    </a:cubicBezTo>
                    <a:cubicBezTo>
                      <a:pt x="4951936" y="2854599"/>
                      <a:pt x="4954895" y="2857558"/>
                      <a:pt x="4958346" y="2857558"/>
                    </a:cubicBezTo>
                    <a:cubicBezTo>
                      <a:pt x="4961800" y="2857558"/>
                      <a:pt x="4964758" y="2854599"/>
                      <a:pt x="4964758" y="2851147"/>
                    </a:cubicBezTo>
                    <a:close/>
                    <a:moveTo>
                      <a:pt x="4967222" y="6824650"/>
                    </a:moveTo>
                    <a:cubicBezTo>
                      <a:pt x="4967222" y="6821693"/>
                      <a:pt x="4965004" y="6819472"/>
                      <a:pt x="4962045" y="6819472"/>
                    </a:cubicBezTo>
                    <a:cubicBezTo>
                      <a:pt x="4959086" y="6819472"/>
                      <a:pt x="4956867" y="6821693"/>
                      <a:pt x="4956867" y="6824650"/>
                    </a:cubicBezTo>
                    <a:cubicBezTo>
                      <a:pt x="4956867" y="6827609"/>
                      <a:pt x="4959086" y="6829830"/>
                      <a:pt x="4962045" y="6829830"/>
                    </a:cubicBezTo>
                    <a:cubicBezTo>
                      <a:pt x="4965004" y="6829830"/>
                      <a:pt x="4967222" y="6827362"/>
                      <a:pt x="4967222" y="6824650"/>
                    </a:cubicBezTo>
                    <a:close/>
                    <a:moveTo>
                      <a:pt x="4967963" y="3822347"/>
                    </a:moveTo>
                    <a:cubicBezTo>
                      <a:pt x="4967963" y="3805579"/>
                      <a:pt x="4954403" y="3792017"/>
                      <a:pt x="4937636" y="3792017"/>
                    </a:cubicBezTo>
                    <a:cubicBezTo>
                      <a:pt x="4920869" y="3792017"/>
                      <a:pt x="4907307" y="3805579"/>
                      <a:pt x="4907307" y="3822347"/>
                    </a:cubicBezTo>
                    <a:cubicBezTo>
                      <a:pt x="4907307" y="3838865"/>
                      <a:pt x="4920869" y="3852427"/>
                      <a:pt x="4937636" y="3852427"/>
                    </a:cubicBezTo>
                    <a:cubicBezTo>
                      <a:pt x="4954403" y="3852427"/>
                      <a:pt x="4967963" y="3839114"/>
                      <a:pt x="4967963" y="3822347"/>
                    </a:cubicBezTo>
                    <a:close/>
                    <a:moveTo>
                      <a:pt x="4968704" y="1923101"/>
                    </a:moveTo>
                    <a:cubicBezTo>
                      <a:pt x="4968704" y="1916940"/>
                      <a:pt x="4963523" y="1911765"/>
                      <a:pt x="4957360" y="1911765"/>
                    </a:cubicBezTo>
                    <a:cubicBezTo>
                      <a:pt x="4951196" y="1911765"/>
                      <a:pt x="4946264" y="1916940"/>
                      <a:pt x="4946264" y="1923101"/>
                    </a:cubicBezTo>
                    <a:cubicBezTo>
                      <a:pt x="4946264" y="1929265"/>
                      <a:pt x="4951196" y="1934441"/>
                      <a:pt x="4957360" y="1934441"/>
                    </a:cubicBezTo>
                    <a:cubicBezTo>
                      <a:pt x="4963523" y="1934441"/>
                      <a:pt x="4968455" y="1929511"/>
                      <a:pt x="4968704" y="1923101"/>
                    </a:cubicBezTo>
                    <a:close/>
                    <a:moveTo>
                      <a:pt x="4968704" y="4747005"/>
                    </a:moveTo>
                    <a:cubicBezTo>
                      <a:pt x="4968704" y="4726539"/>
                      <a:pt x="4951936" y="4709771"/>
                      <a:pt x="4931473" y="4709771"/>
                    </a:cubicBezTo>
                    <a:cubicBezTo>
                      <a:pt x="4911007" y="4709771"/>
                      <a:pt x="4894239" y="4726539"/>
                      <a:pt x="4894239" y="4747005"/>
                    </a:cubicBezTo>
                    <a:cubicBezTo>
                      <a:pt x="4894239" y="4767470"/>
                      <a:pt x="4911007" y="4784236"/>
                      <a:pt x="4931473" y="4784236"/>
                    </a:cubicBezTo>
                    <a:cubicBezTo>
                      <a:pt x="4951936" y="4784236"/>
                      <a:pt x="4968704" y="4767717"/>
                      <a:pt x="4968704" y="4747005"/>
                    </a:cubicBezTo>
                    <a:close/>
                    <a:moveTo>
                      <a:pt x="4971170" y="6941774"/>
                    </a:moveTo>
                    <a:cubicBezTo>
                      <a:pt x="4971170" y="6937829"/>
                      <a:pt x="4967963" y="6934624"/>
                      <a:pt x="4964017" y="6934624"/>
                    </a:cubicBezTo>
                    <a:cubicBezTo>
                      <a:pt x="4960072" y="6934624"/>
                      <a:pt x="4956867" y="6937829"/>
                      <a:pt x="4956867" y="6941774"/>
                    </a:cubicBezTo>
                    <a:cubicBezTo>
                      <a:pt x="4956867" y="6945719"/>
                      <a:pt x="4960072" y="6948924"/>
                      <a:pt x="4964017" y="6948924"/>
                    </a:cubicBezTo>
                    <a:cubicBezTo>
                      <a:pt x="4967963" y="6948924"/>
                      <a:pt x="4971170" y="6945965"/>
                      <a:pt x="4971170" y="6941774"/>
                    </a:cubicBezTo>
                    <a:close/>
                    <a:moveTo>
                      <a:pt x="4971663" y="2589784"/>
                    </a:moveTo>
                    <a:cubicBezTo>
                      <a:pt x="4971663" y="2574990"/>
                      <a:pt x="4959827" y="2563153"/>
                      <a:pt x="4945033" y="2563153"/>
                    </a:cubicBezTo>
                    <a:cubicBezTo>
                      <a:pt x="4930484" y="2563153"/>
                      <a:pt x="4918402" y="2574990"/>
                      <a:pt x="4918402" y="2589784"/>
                    </a:cubicBezTo>
                    <a:cubicBezTo>
                      <a:pt x="4918402" y="2604334"/>
                      <a:pt x="4930237" y="2616416"/>
                      <a:pt x="4945033" y="2616416"/>
                    </a:cubicBezTo>
                    <a:cubicBezTo>
                      <a:pt x="4959582" y="2616416"/>
                      <a:pt x="4971663" y="2604579"/>
                      <a:pt x="4971663" y="2589784"/>
                    </a:cubicBezTo>
                    <a:close/>
                    <a:moveTo>
                      <a:pt x="4973635" y="5025390"/>
                    </a:moveTo>
                    <a:cubicBezTo>
                      <a:pt x="4973635" y="5020211"/>
                      <a:pt x="4969444" y="5016019"/>
                      <a:pt x="4964266" y="5016019"/>
                    </a:cubicBezTo>
                    <a:cubicBezTo>
                      <a:pt x="4959086" y="5016019"/>
                      <a:pt x="4954895" y="5020211"/>
                      <a:pt x="4954895" y="5025390"/>
                    </a:cubicBezTo>
                    <a:cubicBezTo>
                      <a:pt x="4954895" y="5030568"/>
                      <a:pt x="4959086" y="5034759"/>
                      <a:pt x="4964266" y="5034759"/>
                    </a:cubicBezTo>
                    <a:cubicBezTo>
                      <a:pt x="4969690" y="5034759"/>
                      <a:pt x="4973881" y="5030568"/>
                      <a:pt x="4973635" y="5025390"/>
                    </a:cubicBezTo>
                    <a:close/>
                    <a:moveTo>
                      <a:pt x="4975116" y="3242213"/>
                    </a:moveTo>
                    <a:cubicBezTo>
                      <a:pt x="4975116" y="3233583"/>
                      <a:pt x="4968212" y="3226433"/>
                      <a:pt x="4959580" y="3226433"/>
                    </a:cubicBezTo>
                    <a:cubicBezTo>
                      <a:pt x="4950950" y="3226433"/>
                      <a:pt x="4943800" y="3233583"/>
                      <a:pt x="4943800" y="3242213"/>
                    </a:cubicBezTo>
                    <a:cubicBezTo>
                      <a:pt x="4943800" y="3250843"/>
                      <a:pt x="4950950" y="3257992"/>
                      <a:pt x="4959580" y="3257992"/>
                    </a:cubicBezTo>
                    <a:cubicBezTo>
                      <a:pt x="4968212" y="3257992"/>
                      <a:pt x="4975116" y="3251090"/>
                      <a:pt x="4975116" y="3242213"/>
                    </a:cubicBezTo>
                    <a:close/>
                    <a:moveTo>
                      <a:pt x="4978318" y="7172569"/>
                    </a:moveTo>
                    <a:cubicBezTo>
                      <a:pt x="4978318" y="7169856"/>
                      <a:pt x="4976099" y="7167883"/>
                      <a:pt x="4973635" y="7167883"/>
                    </a:cubicBezTo>
                    <a:cubicBezTo>
                      <a:pt x="4970923" y="7167883"/>
                      <a:pt x="4968950" y="7170102"/>
                      <a:pt x="4968950" y="7172569"/>
                    </a:cubicBezTo>
                    <a:cubicBezTo>
                      <a:pt x="4968950" y="7175282"/>
                      <a:pt x="4971168" y="7177255"/>
                      <a:pt x="4973635" y="7177255"/>
                    </a:cubicBezTo>
                    <a:cubicBezTo>
                      <a:pt x="4976099" y="7177255"/>
                      <a:pt x="4978318" y="7175282"/>
                      <a:pt x="4978318" y="7172569"/>
                    </a:cubicBezTo>
                    <a:close/>
                    <a:moveTo>
                      <a:pt x="4979553" y="1758915"/>
                    </a:moveTo>
                    <a:cubicBezTo>
                      <a:pt x="4979553" y="1734979"/>
                      <a:pt x="4960072" y="1715235"/>
                      <a:pt x="4935907" y="1715235"/>
                    </a:cubicBezTo>
                    <a:cubicBezTo>
                      <a:pt x="4911744" y="1715235"/>
                      <a:pt x="4892017" y="1734733"/>
                      <a:pt x="4892017" y="1758915"/>
                    </a:cubicBezTo>
                    <a:cubicBezTo>
                      <a:pt x="4892017" y="1783089"/>
                      <a:pt x="4911744" y="1802835"/>
                      <a:pt x="4935907" y="1802835"/>
                    </a:cubicBezTo>
                    <a:cubicBezTo>
                      <a:pt x="4960072" y="1802835"/>
                      <a:pt x="4979553" y="1783089"/>
                      <a:pt x="4979553" y="1758915"/>
                    </a:cubicBezTo>
                    <a:close/>
                    <a:moveTo>
                      <a:pt x="4980785" y="7056182"/>
                    </a:moveTo>
                    <a:cubicBezTo>
                      <a:pt x="4980785" y="7051500"/>
                      <a:pt x="4977086" y="7047800"/>
                      <a:pt x="4972403" y="7047800"/>
                    </a:cubicBezTo>
                    <a:cubicBezTo>
                      <a:pt x="4967717" y="7047800"/>
                      <a:pt x="4964017" y="7051500"/>
                      <a:pt x="4964017" y="7056182"/>
                    </a:cubicBezTo>
                    <a:cubicBezTo>
                      <a:pt x="4964017" y="7060868"/>
                      <a:pt x="4967717" y="7064568"/>
                      <a:pt x="4972403" y="7064568"/>
                    </a:cubicBezTo>
                    <a:cubicBezTo>
                      <a:pt x="4977086" y="7064568"/>
                      <a:pt x="4980785" y="7060622"/>
                      <a:pt x="4980785" y="7056182"/>
                    </a:cubicBezTo>
                    <a:close/>
                    <a:moveTo>
                      <a:pt x="4981526" y="7288952"/>
                    </a:moveTo>
                    <a:cubicBezTo>
                      <a:pt x="4981526" y="7285499"/>
                      <a:pt x="4978567" y="7282540"/>
                      <a:pt x="4975116" y="7282540"/>
                    </a:cubicBezTo>
                    <a:cubicBezTo>
                      <a:pt x="4971663" y="7282540"/>
                      <a:pt x="4968704" y="7285499"/>
                      <a:pt x="4968704" y="7288952"/>
                    </a:cubicBezTo>
                    <a:cubicBezTo>
                      <a:pt x="4968704" y="7292404"/>
                      <a:pt x="4971663" y="7295117"/>
                      <a:pt x="4975116" y="7295117"/>
                    </a:cubicBezTo>
                    <a:cubicBezTo>
                      <a:pt x="4978567" y="7295117"/>
                      <a:pt x="4981280" y="7292404"/>
                      <a:pt x="4981526" y="7288952"/>
                    </a:cubicBezTo>
                    <a:close/>
                    <a:moveTo>
                      <a:pt x="4985225" y="723182"/>
                    </a:moveTo>
                    <a:cubicBezTo>
                      <a:pt x="4985225" y="699511"/>
                      <a:pt x="4965991" y="680272"/>
                      <a:pt x="4942322" y="680272"/>
                    </a:cubicBezTo>
                    <a:cubicBezTo>
                      <a:pt x="4918648" y="680272"/>
                      <a:pt x="4899416" y="699511"/>
                      <a:pt x="4899416" y="723182"/>
                    </a:cubicBezTo>
                    <a:cubicBezTo>
                      <a:pt x="4899416" y="746850"/>
                      <a:pt x="4918648" y="766087"/>
                      <a:pt x="4942322" y="766087"/>
                    </a:cubicBezTo>
                    <a:cubicBezTo>
                      <a:pt x="4965991" y="766087"/>
                      <a:pt x="4985225" y="746850"/>
                      <a:pt x="4985225" y="723182"/>
                    </a:cubicBezTo>
                    <a:close/>
                    <a:moveTo>
                      <a:pt x="4985716" y="4887798"/>
                    </a:moveTo>
                    <a:cubicBezTo>
                      <a:pt x="4985716" y="4867580"/>
                      <a:pt x="4969197" y="4851058"/>
                      <a:pt x="4948978" y="4851058"/>
                    </a:cubicBezTo>
                    <a:cubicBezTo>
                      <a:pt x="4928759" y="4851058"/>
                      <a:pt x="4912238" y="4867580"/>
                      <a:pt x="4912238" y="4887798"/>
                    </a:cubicBezTo>
                    <a:cubicBezTo>
                      <a:pt x="4912238" y="4908018"/>
                      <a:pt x="4928759" y="4924536"/>
                      <a:pt x="4948978" y="4924536"/>
                    </a:cubicBezTo>
                    <a:cubicBezTo>
                      <a:pt x="4969197" y="4924536"/>
                      <a:pt x="4985716" y="4908018"/>
                      <a:pt x="4985716" y="4887798"/>
                    </a:cubicBezTo>
                    <a:close/>
                    <a:moveTo>
                      <a:pt x="4987444" y="602582"/>
                    </a:moveTo>
                    <a:cubicBezTo>
                      <a:pt x="4987444" y="579158"/>
                      <a:pt x="4968458" y="560173"/>
                      <a:pt x="4945033" y="560173"/>
                    </a:cubicBezTo>
                    <a:cubicBezTo>
                      <a:pt x="4921607" y="560173"/>
                      <a:pt x="4902621" y="579158"/>
                      <a:pt x="4902621" y="602582"/>
                    </a:cubicBezTo>
                    <a:cubicBezTo>
                      <a:pt x="4902621" y="626006"/>
                      <a:pt x="4921607" y="645025"/>
                      <a:pt x="4945033" y="645025"/>
                    </a:cubicBezTo>
                    <a:cubicBezTo>
                      <a:pt x="4968458" y="645025"/>
                      <a:pt x="4987444" y="626006"/>
                      <a:pt x="4987444" y="602582"/>
                    </a:cubicBezTo>
                    <a:close/>
                    <a:moveTo>
                      <a:pt x="4987444" y="3707688"/>
                    </a:moveTo>
                    <a:cubicBezTo>
                      <a:pt x="4987444" y="3692645"/>
                      <a:pt x="4975116" y="3680563"/>
                      <a:pt x="4960322" y="3680563"/>
                    </a:cubicBezTo>
                    <a:cubicBezTo>
                      <a:pt x="4945279" y="3680563"/>
                      <a:pt x="4933197" y="3692645"/>
                      <a:pt x="4933197" y="3707688"/>
                    </a:cubicBezTo>
                    <a:cubicBezTo>
                      <a:pt x="4933197" y="3722728"/>
                      <a:pt x="4945279" y="3734810"/>
                      <a:pt x="4960322" y="3734810"/>
                    </a:cubicBezTo>
                    <a:cubicBezTo>
                      <a:pt x="4975116" y="3734810"/>
                      <a:pt x="4987444" y="3722728"/>
                      <a:pt x="4987444" y="3707688"/>
                    </a:cubicBezTo>
                    <a:close/>
                    <a:moveTo>
                      <a:pt x="4988184" y="4359880"/>
                    </a:moveTo>
                    <a:cubicBezTo>
                      <a:pt x="4988184" y="4337935"/>
                      <a:pt x="4970185" y="4319935"/>
                      <a:pt x="4948238" y="4319935"/>
                    </a:cubicBezTo>
                    <a:cubicBezTo>
                      <a:pt x="4926293" y="4319935"/>
                      <a:pt x="4908294" y="4337935"/>
                      <a:pt x="4908294" y="4359880"/>
                    </a:cubicBezTo>
                    <a:cubicBezTo>
                      <a:pt x="4908294" y="4381827"/>
                      <a:pt x="4926293" y="4399827"/>
                      <a:pt x="4948238" y="4399827"/>
                    </a:cubicBezTo>
                    <a:cubicBezTo>
                      <a:pt x="4970430" y="4399827"/>
                      <a:pt x="4988184" y="4382072"/>
                      <a:pt x="4988184" y="4359880"/>
                    </a:cubicBezTo>
                    <a:close/>
                    <a:moveTo>
                      <a:pt x="4990895" y="4099251"/>
                    </a:moveTo>
                    <a:cubicBezTo>
                      <a:pt x="4990895" y="4082483"/>
                      <a:pt x="4977086" y="4068674"/>
                      <a:pt x="4960319" y="4068674"/>
                    </a:cubicBezTo>
                    <a:cubicBezTo>
                      <a:pt x="4943552" y="4068674"/>
                      <a:pt x="4929743" y="4082483"/>
                      <a:pt x="4929743" y="4099251"/>
                    </a:cubicBezTo>
                    <a:cubicBezTo>
                      <a:pt x="4929743" y="4116017"/>
                      <a:pt x="4943552" y="4129825"/>
                      <a:pt x="4960319" y="4129825"/>
                    </a:cubicBezTo>
                    <a:cubicBezTo>
                      <a:pt x="4977332" y="4129825"/>
                      <a:pt x="4991140" y="4116017"/>
                      <a:pt x="4990895" y="4099251"/>
                    </a:cubicBezTo>
                    <a:close/>
                    <a:moveTo>
                      <a:pt x="4991142" y="482768"/>
                    </a:moveTo>
                    <a:cubicBezTo>
                      <a:pt x="4991142" y="458852"/>
                      <a:pt x="4971663" y="439373"/>
                      <a:pt x="4947745" y="439373"/>
                    </a:cubicBezTo>
                    <a:cubicBezTo>
                      <a:pt x="4923828" y="439373"/>
                      <a:pt x="4904348" y="458852"/>
                      <a:pt x="4904348" y="482768"/>
                    </a:cubicBezTo>
                    <a:cubicBezTo>
                      <a:pt x="4904348" y="506685"/>
                      <a:pt x="4923828" y="526163"/>
                      <a:pt x="4947745" y="526163"/>
                    </a:cubicBezTo>
                    <a:cubicBezTo>
                      <a:pt x="4971911" y="526163"/>
                      <a:pt x="4991388" y="506685"/>
                      <a:pt x="4991142" y="482768"/>
                    </a:cubicBezTo>
                    <a:close/>
                    <a:moveTo>
                      <a:pt x="4991142" y="1626999"/>
                    </a:moveTo>
                    <a:cubicBezTo>
                      <a:pt x="4991142" y="1601601"/>
                      <a:pt x="4970676" y="1581129"/>
                      <a:pt x="4945281" y="1581129"/>
                    </a:cubicBezTo>
                    <a:cubicBezTo>
                      <a:pt x="4919882" y="1581129"/>
                      <a:pt x="4899416" y="1601601"/>
                      <a:pt x="4899416" y="1626999"/>
                    </a:cubicBezTo>
                    <a:cubicBezTo>
                      <a:pt x="4899416" y="1652393"/>
                      <a:pt x="4920129" y="1672857"/>
                      <a:pt x="4945281" y="1672857"/>
                    </a:cubicBezTo>
                    <a:cubicBezTo>
                      <a:pt x="4970676" y="1672857"/>
                      <a:pt x="4991142" y="1652393"/>
                      <a:pt x="4991142" y="1626999"/>
                    </a:cubicBezTo>
                    <a:close/>
                    <a:moveTo>
                      <a:pt x="4991389" y="363204"/>
                    </a:moveTo>
                    <a:cubicBezTo>
                      <a:pt x="4991389" y="340027"/>
                      <a:pt x="4972649" y="321288"/>
                      <a:pt x="4949470" y="321288"/>
                    </a:cubicBezTo>
                    <a:cubicBezTo>
                      <a:pt x="4926292" y="321288"/>
                      <a:pt x="4907553" y="340027"/>
                      <a:pt x="4907553" y="363204"/>
                    </a:cubicBezTo>
                    <a:cubicBezTo>
                      <a:pt x="4907553" y="386381"/>
                      <a:pt x="4926292" y="405120"/>
                      <a:pt x="4949470" y="405120"/>
                    </a:cubicBezTo>
                    <a:cubicBezTo>
                      <a:pt x="4972403" y="405120"/>
                      <a:pt x="4991142" y="386381"/>
                      <a:pt x="4991389" y="363204"/>
                    </a:cubicBezTo>
                    <a:close/>
                    <a:moveTo>
                      <a:pt x="4991635" y="3358349"/>
                    </a:moveTo>
                    <a:cubicBezTo>
                      <a:pt x="4991635" y="3348237"/>
                      <a:pt x="4983498" y="3340101"/>
                      <a:pt x="4973386" y="3340101"/>
                    </a:cubicBezTo>
                    <a:cubicBezTo>
                      <a:pt x="4963277" y="3340101"/>
                      <a:pt x="4955141" y="3348237"/>
                      <a:pt x="4955141" y="3358349"/>
                    </a:cubicBezTo>
                    <a:cubicBezTo>
                      <a:pt x="4955141" y="3368446"/>
                      <a:pt x="4963277" y="3376597"/>
                      <a:pt x="4973386" y="3376597"/>
                    </a:cubicBezTo>
                    <a:cubicBezTo>
                      <a:pt x="4983498" y="3376597"/>
                      <a:pt x="4991635" y="3368446"/>
                      <a:pt x="4991635" y="3358349"/>
                    </a:cubicBezTo>
                    <a:close/>
                    <a:moveTo>
                      <a:pt x="4992869" y="244629"/>
                    </a:moveTo>
                    <a:cubicBezTo>
                      <a:pt x="4992869" y="221699"/>
                      <a:pt x="4974129" y="203206"/>
                      <a:pt x="4951445" y="203206"/>
                    </a:cubicBezTo>
                    <a:cubicBezTo>
                      <a:pt x="4928514" y="203206"/>
                      <a:pt x="4910020" y="221946"/>
                      <a:pt x="4910020" y="244629"/>
                    </a:cubicBezTo>
                    <a:cubicBezTo>
                      <a:pt x="4910020" y="267559"/>
                      <a:pt x="4928760" y="286052"/>
                      <a:pt x="4951445" y="286052"/>
                    </a:cubicBezTo>
                    <a:cubicBezTo>
                      <a:pt x="4974129" y="286052"/>
                      <a:pt x="4992623" y="267559"/>
                      <a:pt x="4992869" y="244629"/>
                    </a:cubicBezTo>
                    <a:close/>
                    <a:moveTo>
                      <a:pt x="4993853" y="126546"/>
                    </a:moveTo>
                    <a:cubicBezTo>
                      <a:pt x="4993853" y="103862"/>
                      <a:pt x="4975607" y="85370"/>
                      <a:pt x="4952923" y="85370"/>
                    </a:cubicBezTo>
                    <a:cubicBezTo>
                      <a:pt x="4930237" y="85370"/>
                      <a:pt x="4911744" y="103862"/>
                      <a:pt x="4911744" y="126546"/>
                    </a:cubicBezTo>
                    <a:cubicBezTo>
                      <a:pt x="4911744" y="149230"/>
                      <a:pt x="4930237" y="167722"/>
                      <a:pt x="4952923" y="167722"/>
                    </a:cubicBezTo>
                    <a:cubicBezTo>
                      <a:pt x="4975362" y="167722"/>
                      <a:pt x="4993853" y="149476"/>
                      <a:pt x="4993853" y="126546"/>
                    </a:cubicBezTo>
                    <a:close/>
                    <a:moveTo>
                      <a:pt x="4994839" y="9203"/>
                    </a:moveTo>
                    <a:lnTo>
                      <a:pt x="4991022" y="0"/>
                    </a:lnTo>
                    <a:lnTo>
                      <a:pt x="4917288" y="0"/>
                    </a:lnTo>
                    <a:lnTo>
                      <a:pt x="4913470" y="9203"/>
                    </a:lnTo>
                    <a:cubicBezTo>
                      <a:pt x="4913470" y="31640"/>
                      <a:pt x="4931716" y="49888"/>
                      <a:pt x="4954155" y="49888"/>
                    </a:cubicBezTo>
                    <a:cubicBezTo>
                      <a:pt x="4976594" y="49888"/>
                      <a:pt x="4994839" y="31640"/>
                      <a:pt x="4994839" y="9203"/>
                    </a:cubicBezTo>
                    <a:close/>
                    <a:moveTo>
                      <a:pt x="4996074" y="5151634"/>
                    </a:moveTo>
                    <a:cubicBezTo>
                      <a:pt x="4996074" y="5146703"/>
                      <a:pt x="4992128" y="5142758"/>
                      <a:pt x="4987197" y="5142758"/>
                    </a:cubicBezTo>
                    <a:cubicBezTo>
                      <a:pt x="4982265" y="5142758"/>
                      <a:pt x="4978320" y="5146703"/>
                      <a:pt x="4978320" y="5151634"/>
                    </a:cubicBezTo>
                    <a:cubicBezTo>
                      <a:pt x="4978320" y="5156567"/>
                      <a:pt x="4982265" y="5160511"/>
                      <a:pt x="4987197" y="5160511"/>
                    </a:cubicBezTo>
                    <a:cubicBezTo>
                      <a:pt x="4992128" y="5160511"/>
                      <a:pt x="4996074" y="5156567"/>
                      <a:pt x="4996074" y="5151634"/>
                    </a:cubicBezTo>
                    <a:close/>
                    <a:moveTo>
                      <a:pt x="4997551" y="3591549"/>
                    </a:moveTo>
                    <a:cubicBezTo>
                      <a:pt x="4997551" y="3578482"/>
                      <a:pt x="4986705" y="3567632"/>
                      <a:pt x="4973635" y="3567632"/>
                    </a:cubicBezTo>
                    <a:cubicBezTo>
                      <a:pt x="4960321" y="3567632"/>
                      <a:pt x="4949717" y="3578482"/>
                      <a:pt x="4949717" y="3591549"/>
                    </a:cubicBezTo>
                    <a:cubicBezTo>
                      <a:pt x="4949717" y="3604866"/>
                      <a:pt x="4960321" y="3615469"/>
                      <a:pt x="4973635" y="3615469"/>
                    </a:cubicBezTo>
                    <a:cubicBezTo>
                      <a:pt x="4986951" y="3615469"/>
                      <a:pt x="4997551" y="3604866"/>
                      <a:pt x="4997551" y="3591549"/>
                    </a:cubicBezTo>
                    <a:close/>
                    <a:moveTo>
                      <a:pt x="4998785" y="3474919"/>
                    </a:moveTo>
                    <a:cubicBezTo>
                      <a:pt x="4998785" y="3463636"/>
                      <a:pt x="4989663" y="3454267"/>
                      <a:pt x="4978073" y="3454267"/>
                    </a:cubicBezTo>
                    <a:cubicBezTo>
                      <a:pt x="4966485" y="3454267"/>
                      <a:pt x="4957114" y="3463391"/>
                      <a:pt x="4957114" y="3474919"/>
                    </a:cubicBezTo>
                    <a:cubicBezTo>
                      <a:pt x="4957114" y="3486260"/>
                      <a:pt x="4966485" y="3495632"/>
                      <a:pt x="4978073" y="3495632"/>
                    </a:cubicBezTo>
                    <a:cubicBezTo>
                      <a:pt x="4989663" y="3495632"/>
                      <a:pt x="4998785" y="3486509"/>
                      <a:pt x="4998785" y="3474919"/>
                    </a:cubicBezTo>
                    <a:close/>
                    <a:moveTo>
                      <a:pt x="4999032" y="5285526"/>
                    </a:moveTo>
                    <a:cubicBezTo>
                      <a:pt x="4999032" y="5285034"/>
                      <a:pt x="4998538" y="5284539"/>
                      <a:pt x="4998047" y="5284539"/>
                    </a:cubicBezTo>
                    <a:cubicBezTo>
                      <a:pt x="4997552" y="5284539"/>
                      <a:pt x="4997060" y="5285034"/>
                      <a:pt x="4997060" y="5285526"/>
                    </a:cubicBezTo>
                    <a:cubicBezTo>
                      <a:pt x="4997060" y="5286017"/>
                      <a:pt x="4997306" y="5286511"/>
                      <a:pt x="4998047" y="5286511"/>
                    </a:cubicBezTo>
                    <a:cubicBezTo>
                      <a:pt x="4998787" y="5286511"/>
                      <a:pt x="4999278" y="5286017"/>
                      <a:pt x="4999032" y="5285526"/>
                    </a:cubicBezTo>
                    <a:close/>
                    <a:moveTo>
                      <a:pt x="4999033" y="2438150"/>
                    </a:moveTo>
                    <a:cubicBezTo>
                      <a:pt x="4999033" y="2425075"/>
                      <a:pt x="4988430" y="2414231"/>
                      <a:pt x="4975114" y="2414231"/>
                    </a:cubicBezTo>
                    <a:cubicBezTo>
                      <a:pt x="4962046" y="2414231"/>
                      <a:pt x="4951196" y="2424829"/>
                      <a:pt x="4951196" y="2438150"/>
                    </a:cubicBezTo>
                    <a:cubicBezTo>
                      <a:pt x="4951196" y="2451215"/>
                      <a:pt x="4961800" y="2462065"/>
                      <a:pt x="4975114" y="2462065"/>
                    </a:cubicBezTo>
                    <a:cubicBezTo>
                      <a:pt x="4988184" y="2462065"/>
                      <a:pt x="4999033" y="2451215"/>
                      <a:pt x="4999033" y="2438150"/>
                    </a:cubicBezTo>
                    <a:close/>
                    <a:moveTo>
                      <a:pt x="5000511" y="1497065"/>
                    </a:moveTo>
                    <a:cubicBezTo>
                      <a:pt x="5000511" y="1471423"/>
                      <a:pt x="4979553" y="1450463"/>
                      <a:pt x="4953660" y="1450463"/>
                    </a:cubicBezTo>
                    <a:cubicBezTo>
                      <a:pt x="4928017" y="1450463"/>
                      <a:pt x="4907058" y="1471423"/>
                      <a:pt x="4907058" y="1497065"/>
                    </a:cubicBezTo>
                    <a:cubicBezTo>
                      <a:pt x="4907058" y="1522714"/>
                      <a:pt x="4928017" y="1543670"/>
                      <a:pt x="4953660" y="1543670"/>
                    </a:cubicBezTo>
                    <a:cubicBezTo>
                      <a:pt x="4979553" y="1543670"/>
                      <a:pt x="5000511" y="1522714"/>
                      <a:pt x="5000511" y="1497065"/>
                    </a:cubicBezTo>
                    <a:close/>
                    <a:moveTo>
                      <a:pt x="5007418" y="2959888"/>
                    </a:moveTo>
                    <a:cubicBezTo>
                      <a:pt x="5007418" y="2955942"/>
                      <a:pt x="5004210" y="2952738"/>
                      <a:pt x="5000265" y="2952738"/>
                    </a:cubicBezTo>
                    <a:cubicBezTo>
                      <a:pt x="4996319" y="2952738"/>
                      <a:pt x="4993115" y="2955942"/>
                      <a:pt x="4993115" y="2959888"/>
                    </a:cubicBezTo>
                    <a:cubicBezTo>
                      <a:pt x="4993115" y="2963833"/>
                      <a:pt x="4996319" y="2967040"/>
                      <a:pt x="5000265" y="2967040"/>
                    </a:cubicBezTo>
                    <a:cubicBezTo>
                      <a:pt x="5004210" y="2967040"/>
                      <a:pt x="5007418" y="2963587"/>
                      <a:pt x="5007418" y="2959888"/>
                    </a:cubicBezTo>
                    <a:close/>
                    <a:moveTo>
                      <a:pt x="5007664" y="1368862"/>
                    </a:moveTo>
                    <a:cubicBezTo>
                      <a:pt x="5007664" y="1343221"/>
                      <a:pt x="4986951" y="1322504"/>
                      <a:pt x="4961307" y="1322504"/>
                    </a:cubicBezTo>
                    <a:cubicBezTo>
                      <a:pt x="4935664" y="1322504"/>
                      <a:pt x="4914951" y="1343221"/>
                      <a:pt x="4914951" y="1368862"/>
                    </a:cubicBezTo>
                    <a:cubicBezTo>
                      <a:pt x="4914951" y="1394507"/>
                      <a:pt x="4935664" y="1415223"/>
                      <a:pt x="4961307" y="1415223"/>
                    </a:cubicBezTo>
                    <a:cubicBezTo>
                      <a:pt x="4986706" y="1415223"/>
                      <a:pt x="5007664" y="1394264"/>
                      <a:pt x="5007664" y="1368862"/>
                    </a:cubicBezTo>
                    <a:close/>
                    <a:moveTo>
                      <a:pt x="5013579" y="1242148"/>
                    </a:moveTo>
                    <a:cubicBezTo>
                      <a:pt x="5013579" y="1216996"/>
                      <a:pt x="4993115" y="1196530"/>
                      <a:pt x="4967963" y="1196530"/>
                    </a:cubicBezTo>
                    <a:cubicBezTo>
                      <a:pt x="4942813" y="1196530"/>
                      <a:pt x="4922347" y="1216996"/>
                      <a:pt x="4922347" y="1242148"/>
                    </a:cubicBezTo>
                    <a:cubicBezTo>
                      <a:pt x="4922347" y="1267286"/>
                      <a:pt x="4942813" y="1287743"/>
                      <a:pt x="4967963" y="1287743"/>
                    </a:cubicBezTo>
                    <a:cubicBezTo>
                      <a:pt x="4993115" y="1287743"/>
                      <a:pt x="5013579" y="1267286"/>
                      <a:pt x="5013579" y="1242148"/>
                    </a:cubicBezTo>
                    <a:close/>
                    <a:moveTo>
                      <a:pt x="5014322" y="2289966"/>
                    </a:moveTo>
                    <a:cubicBezTo>
                      <a:pt x="5014322" y="2281831"/>
                      <a:pt x="5007663" y="2275417"/>
                      <a:pt x="4999773" y="2275417"/>
                    </a:cubicBezTo>
                    <a:cubicBezTo>
                      <a:pt x="4991637" y="2275417"/>
                      <a:pt x="4985225" y="2282079"/>
                      <a:pt x="4985225" y="2289966"/>
                    </a:cubicBezTo>
                    <a:cubicBezTo>
                      <a:pt x="4985225" y="2298109"/>
                      <a:pt x="4991883" y="2304519"/>
                      <a:pt x="4999773" y="2304519"/>
                    </a:cubicBezTo>
                    <a:cubicBezTo>
                      <a:pt x="5007910" y="2304519"/>
                      <a:pt x="5014322" y="2298109"/>
                      <a:pt x="5014322" y="2289966"/>
                    </a:cubicBezTo>
                    <a:close/>
                    <a:moveTo>
                      <a:pt x="5019497" y="1116652"/>
                    </a:moveTo>
                    <a:cubicBezTo>
                      <a:pt x="5019497" y="1091261"/>
                      <a:pt x="4998785" y="1070548"/>
                      <a:pt x="4973389" y="1070548"/>
                    </a:cubicBezTo>
                    <a:cubicBezTo>
                      <a:pt x="4947991" y="1070548"/>
                      <a:pt x="4927279" y="1091261"/>
                      <a:pt x="4927279" y="1116652"/>
                    </a:cubicBezTo>
                    <a:cubicBezTo>
                      <a:pt x="4927279" y="1142057"/>
                      <a:pt x="4947991" y="1162767"/>
                      <a:pt x="4973389" y="1162767"/>
                    </a:cubicBezTo>
                    <a:cubicBezTo>
                      <a:pt x="4998785" y="1162767"/>
                      <a:pt x="5019497" y="1142057"/>
                      <a:pt x="5019497" y="1116652"/>
                    </a:cubicBezTo>
                    <a:close/>
                    <a:moveTo>
                      <a:pt x="5019500" y="5547879"/>
                    </a:moveTo>
                    <a:cubicBezTo>
                      <a:pt x="5019500" y="5545416"/>
                      <a:pt x="5017527" y="5543443"/>
                      <a:pt x="5015060" y="5543443"/>
                    </a:cubicBezTo>
                    <a:cubicBezTo>
                      <a:pt x="5012595" y="5543443"/>
                      <a:pt x="5010622" y="5545416"/>
                      <a:pt x="5010622" y="5547879"/>
                    </a:cubicBezTo>
                    <a:cubicBezTo>
                      <a:pt x="5010622" y="5550347"/>
                      <a:pt x="5012595" y="5552319"/>
                      <a:pt x="5015060" y="5552319"/>
                    </a:cubicBezTo>
                    <a:cubicBezTo>
                      <a:pt x="5017281" y="5552319"/>
                      <a:pt x="5019500" y="5550347"/>
                      <a:pt x="5019500" y="5547879"/>
                    </a:cubicBezTo>
                    <a:close/>
                    <a:moveTo>
                      <a:pt x="5020237" y="5417936"/>
                    </a:moveTo>
                    <a:cubicBezTo>
                      <a:pt x="5020237" y="5410538"/>
                      <a:pt x="5014318" y="5404620"/>
                      <a:pt x="5006920" y="5404620"/>
                    </a:cubicBezTo>
                    <a:cubicBezTo>
                      <a:pt x="4999525" y="5404620"/>
                      <a:pt x="4993607" y="5410538"/>
                      <a:pt x="4993607" y="5417936"/>
                    </a:cubicBezTo>
                    <a:cubicBezTo>
                      <a:pt x="4993607" y="5425332"/>
                      <a:pt x="4999525" y="5431250"/>
                      <a:pt x="5006920" y="5431250"/>
                    </a:cubicBezTo>
                    <a:cubicBezTo>
                      <a:pt x="5014318" y="5431250"/>
                      <a:pt x="5020237" y="5425086"/>
                      <a:pt x="5020237" y="5417936"/>
                    </a:cubicBezTo>
                    <a:close/>
                    <a:moveTo>
                      <a:pt x="5023442" y="992151"/>
                    </a:moveTo>
                    <a:cubicBezTo>
                      <a:pt x="5023442" y="967002"/>
                      <a:pt x="5002978" y="946536"/>
                      <a:pt x="4977826" y="946536"/>
                    </a:cubicBezTo>
                    <a:cubicBezTo>
                      <a:pt x="4952676" y="946536"/>
                      <a:pt x="4932210" y="967002"/>
                      <a:pt x="4932210" y="992151"/>
                    </a:cubicBezTo>
                    <a:cubicBezTo>
                      <a:pt x="4932210" y="1017309"/>
                      <a:pt x="4952676" y="1037760"/>
                      <a:pt x="4977826" y="1037760"/>
                    </a:cubicBezTo>
                    <a:cubicBezTo>
                      <a:pt x="5002978" y="1037760"/>
                      <a:pt x="5023442" y="1017309"/>
                      <a:pt x="5023442" y="992151"/>
                    </a:cubicBezTo>
                    <a:close/>
                    <a:moveTo>
                      <a:pt x="5023937" y="5677088"/>
                    </a:moveTo>
                    <a:cubicBezTo>
                      <a:pt x="5023937" y="5675362"/>
                      <a:pt x="5022459" y="5674129"/>
                      <a:pt x="5020978" y="5674129"/>
                    </a:cubicBezTo>
                    <a:cubicBezTo>
                      <a:pt x="5019251" y="5674129"/>
                      <a:pt x="5018019" y="5675607"/>
                      <a:pt x="5018019" y="5677088"/>
                    </a:cubicBezTo>
                    <a:cubicBezTo>
                      <a:pt x="5018019" y="5678566"/>
                      <a:pt x="5019497" y="5679802"/>
                      <a:pt x="5020978" y="5679802"/>
                    </a:cubicBezTo>
                    <a:cubicBezTo>
                      <a:pt x="5022704" y="5679802"/>
                      <a:pt x="5023937" y="5678815"/>
                      <a:pt x="5023937" y="5677088"/>
                    </a:cubicBezTo>
                    <a:close/>
                    <a:moveTo>
                      <a:pt x="5024920" y="4510784"/>
                    </a:moveTo>
                    <a:cubicBezTo>
                      <a:pt x="5024920" y="4485634"/>
                      <a:pt x="5004456" y="4465168"/>
                      <a:pt x="4979304" y="4465168"/>
                    </a:cubicBezTo>
                    <a:cubicBezTo>
                      <a:pt x="4954154" y="4465168"/>
                      <a:pt x="4933688" y="4485634"/>
                      <a:pt x="4933688" y="4510784"/>
                    </a:cubicBezTo>
                    <a:cubicBezTo>
                      <a:pt x="4933688" y="4535937"/>
                      <a:pt x="4954154" y="4556400"/>
                      <a:pt x="4979304" y="4556400"/>
                    </a:cubicBezTo>
                    <a:cubicBezTo>
                      <a:pt x="5004456" y="4556400"/>
                      <a:pt x="5024920" y="4536183"/>
                      <a:pt x="5024920" y="4510784"/>
                    </a:cubicBezTo>
                    <a:close/>
                    <a:moveTo>
                      <a:pt x="5026647" y="2146225"/>
                    </a:moveTo>
                    <a:cubicBezTo>
                      <a:pt x="5026647" y="2143513"/>
                      <a:pt x="5024429" y="2141045"/>
                      <a:pt x="5021470" y="2141045"/>
                    </a:cubicBezTo>
                    <a:cubicBezTo>
                      <a:pt x="5018511" y="2141045"/>
                      <a:pt x="5016292" y="2143265"/>
                      <a:pt x="5016292" y="2146225"/>
                    </a:cubicBezTo>
                    <a:cubicBezTo>
                      <a:pt x="5016292" y="2149181"/>
                      <a:pt x="5018511" y="2151402"/>
                      <a:pt x="5021470" y="2151402"/>
                    </a:cubicBezTo>
                    <a:cubicBezTo>
                      <a:pt x="5024182" y="2151402"/>
                      <a:pt x="5026647" y="2149181"/>
                      <a:pt x="5026647" y="2146225"/>
                    </a:cubicBezTo>
                    <a:close/>
                    <a:moveTo>
                      <a:pt x="5027635" y="868879"/>
                    </a:moveTo>
                    <a:cubicBezTo>
                      <a:pt x="5027635" y="843739"/>
                      <a:pt x="5007169" y="823519"/>
                      <a:pt x="4982265" y="823519"/>
                    </a:cubicBezTo>
                    <a:cubicBezTo>
                      <a:pt x="4957113" y="823519"/>
                      <a:pt x="4936895" y="843987"/>
                      <a:pt x="4936895" y="868879"/>
                    </a:cubicBezTo>
                    <a:cubicBezTo>
                      <a:pt x="4936895" y="894031"/>
                      <a:pt x="4957361" y="914249"/>
                      <a:pt x="4982265" y="914249"/>
                    </a:cubicBezTo>
                    <a:cubicBezTo>
                      <a:pt x="5007169" y="914249"/>
                      <a:pt x="5027389" y="894031"/>
                      <a:pt x="5027635" y="868879"/>
                    </a:cubicBezTo>
                    <a:close/>
                    <a:moveTo>
                      <a:pt x="5028128" y="3990015"/>
                    </a:moveTo>
                    <a:cubicBezTo>
                      <a:pt x="5028128" y="3975715"/>
                      <a:pt x="5016292" y="3964125"/>
                      <a:pt x="5001989" y="3964125"/>
                    </a:cubicBezTo>
                    <a:cubicBezTo>
                      <a:pt x="4987689" y="3964125"/>
                      <a:pt x="4976099" y="3975715"/>
                      <a:pt x="4976099" y="3990015"/>
                    </a:cubicBezTo>
                    <a:cubicBezTo>
                      <a:pt x="4976099" y="4004564"/>
                      <a:pt x="4987689" y="4016154"/>
                      <a:pt x="5001989" y="4016154"/>
                    </a:cubicBezTo>
                    <a:cubicBezTo>
                      <a:pt x="5016538" y="4016154"/>
                      <a:pt x="5028128" y="4004564"/>
                      <a:pt x="5028128" y="3990015"/>
                    </a:cubicBezTo>
                    <a:close/>
                    <a:moveTo>
                      <a:pt x="5028622" y="5803581"/>
                    </a:moveTo>
                    <a:cubicBezTo>
                      <a:pt x="5028622" y="5803087"/>
                      <a:pt x="5028128" y="5802595"/>
                      <a:pt x="5027636" y="5802595"/>
                    </a:cubicBezTo>
                    <a:cubicBezTo>
                      <a:pt x="5027144" y="5802595"/>
                      <a:pt x="5026650" y="5803087"/>
                      <a:pt x="5026650" y="5803581"/>
                    </a:cubicBezTo>
                    <a:cubicBezTo>
                      <a:pt x="5026650" y="5804072"/>
                      <a:pt x="5027144" y="5804567"/>
                      <a:pt x="5027636" y="5804567"/>
                    </a:cubicBezTo>
                    <a:cubicBezTo>
                      <a:pt x="5028128" y="5804567"/>
                      <a:pt x="5028622" y="5804072"/>
                      <a:pt x="5028622" y="5803581"/>
                    </a:cubicBezTo>
                    <a:close/>
                    <a:moveTo>
                      <a:pt x="5029363" y="2690881"/>
                    </a:moveTo>
                    <a:cubicBezTo>
                      <a:pt x="5029363" y="2676087"/>
                      <a:pt x="5017032" y="2664005"/>
                      <a:pt x="5002238" y="2664005"/>
                    </a:cubicBezTo>
                    <a:cubicBezTo>
                      <a:pt x="4987198" y="2664005"/>
                      <a:pt x="4975116" y="2676087"/>
                      <a:pt x="4975116" y="2690881"/>
                    </a:cubicBezTo>
                    <a:cubicBezTo>
                      <a:pt x="4975116" y="2705923"/>
                      <a:pt x="4987446" y="2718007"/>
                      <a:pt x="5002238" y="2718007"/>
                    </a:cubicBezTo>
                    <a:cubicBezTo>
                      <a:pt x="5017281" y="2718007"/>
                      <a:pt x="5029363" y="2705923"/>
                      <a:pt x="5029363" y="2690881"/>
                    </a:cubicBezTo>
                    <a:close/>
                    <a:moveTo>
                      <a:pt x="5034045" y="5928842"/>
                    </a:moveTo>
                    <a:cubicBezTo>
                      <a:pt x="5034045" y="5928596"/>
                      <a:pt x="5033800" y="5928349"/>
                      <a:pt x="5033553" y="5928349"/>
                    </a:cubicBezTo>
                    <a:cubicBezTo>
                      <a:pt x="5033304" y="5928349"/>
                      <a:pt x="5033059" y="5928596"/>
                      <a:pt x="5033059" y="5928842"/>
                    </a:cubicBezTo>
                    <a:cubicBezTo>
                      <a:pt x="5033059" y="5929090"/>
                      <a:pt x="5033304" y="5929336"/>
                      <a:pt x="5033553" y="5929336"/>
                    </a:cubicBezTo>
                    <a:cubicBezTo>
                      <a:pt x="5033800" y="5929336"/>
                      <a:pt x="5034045" y="5929090"/>
                      <a:pt x="5034045" y="5928842"/>
                    </a:cubicBezTo>
                    <a:close/>
                    <a:moveTo>
                      <a:pt x="5039471" y="6053361"/>
                    </a:moveTo>
                    <a:cubicBezTo>
                      <a:pt x="5039471" y="6052867"/>
                      <a:pt x="5038976" y="6052375"/>
                      <a:pt x="5038485" y="6052375"/>
                    </a:cubicBezTo>
                    <a:cubicBezTo>
                      <a:pt x="5037991" y="6052375"/>
                      <a:pt x="5037499" y="6052867"/>
                      <a:pt x="5037499" y="6053361"/>
                    </a:cubicBezTo>
                    <a:cubicBezTo>
                      <a:pt x="5037499" y="6053854"/>
                      <a:pt x="5037744" y="6054348"/>
                      <a:pt x="5038485" y="6054348"/>
                    </a:cubicBezTo>
                    <a:cubicBezTo>
                      <a:pt x="5038976" y="6054348"/>
                      <a:pt x="5039471" y="6053854"/>
                      <a:pt x="5039471" y="6053361"/>
                    </a:cubicBezTo>
                    <a:close/>
                    <a:moveTo>
                      <a:pt x="5039964" y="4258535"/>
                    </a:moveTo>
                    <a:cubicBezTo>
                      <a:pt x="5039964" y="4239304"/>
                      <a:pt x="5024431" y="4223769"/>
                      <a:pt x="5005197" y="4223769"/>
                    </a:cubicBezTo>
                    <a:cubicBezTo>
                      <a:pt x="4985966" y="4223769"/>
                      <a:pt x="4970430" y="4239304"/>
                      <a:pt x="4970430" y="4258535"/>
                    </a:cubicBezTo>
                    <a:cubicBezTo>
                      <a:pt x="4970430" y="4277770"/>
                      <a:pt x="4985966" y="4293305"/>
                      <a:pt x="5005197" y="4293305"/>
                    </a:cubicBezTo>
                    <a:cubicBezTo>
                      <a:pt x="5024431" y="4293305"/>
                      <a:pt x="5040212" y="4277770"/>
                      <a:pt x="5039964" y="4258535"/>
                    </a:cubicBezTo>
                    <a:close/>
                    <a:moveTo>
                      <a:pt x="5040950" y="2004933"/>
                    </a:moveTo>
                    <a:cubicBezTo>
                      <a:pt x="5040950" y="2003947"/>
                      <a:pt x="5040212" y="2003207"/>
                      <a:pt x="5039225" y="2003207"/>
                    </a:cubicBezTo>
                    <a:cubicBezTo>
                      <a:pt x="5038240" y="2003207"/>
                      <a:pt x="5037499" y="2003947"/>
                      <a:pt x="5037499" y="2004933"/>
                    </a:cubicBezTo>
                    <a:cubicBezTo>
                      <a:pt x="5037499" y="2005920"/>
                      <a:pt x="5038240" y="2006656"/>
                      <a:pt x="5039225" y="2006656"/>
                    </a:cubicBezTo>
                    <a:cubicBezTo>
                      <a:pt x="5040212" y="2006656"/>
                      <a:pt x="5040950" y="2005920"/>
                      <a:pt x="5040950" y="2004933"/>
                    </a:cubicBezTo>
                    <a:close/>
                    <a:moveTo>
                      <a:pt x="5041935" y="3071346"/>
                    </a:moveTo>
                    <a:cubicBezTo>
                      <a:pt x="5041935" y="3066908"/>
                      <a:pt x="5038485" y="3063209"/>
                      <a:pt x="5034045" y="3063209"/>
                    </a:cubicBezTo>
                    <a:cubicBezTo>
                      <a:pt x="5029609" y="3063209"/>
                      <a:pt x="5025908" y="3067155"/>
                      <a:pt x="5025908" y="3071346"/>
                    </a:cubicBezTo>
                    <a:cubicBezTo>
                      <a:pt x="5025908" y="3075539"/>
                      <a:pt x="5029609" y="3079236"/>
                      <a:pt x="5034045" y="3079236"/>
                    </a:cubicBezTo>
                    <a:cubicBezTo>
                      <a:pt x="5038485" y="3079236"/>
                      <a:pt x="5041935" y="3075785"/>
                      <a:pt x="5041935" y="3071346"/>
                    </a:cubicBezTo>
                    <a:close/>
                    <a:moveTo>
                      <a:pt x="5047854" y="4657743"/>
                    </a:moveTo>
                    <a:cubicBezTo>
                      <a:pt x="5047854" y="4634318"/>
                      <a:pt x="5028869" y="4615331"/>
                      <a:pt x="5005443" y="4615331"/>
                    </a:cubicBezTo>
                    <a:cubicBezTo>
                      <a:pt x="4982017" y="4615331"/>
                      <a:pt x="4963032" y="4634318"/>
                      <a:pt x="4963032" y="4657743"/>
                    </a:cubicBezTo>
                    <a:cubicBezTo>
                      <a:pt x="4963032" y="4681168"/>
                      <a:pt x="4982017" y="4700154"/>
                      <a:pt x="5005443" y="4700154"/>
                    </a:cubicBezTo>
                    <a:cubicBezTo>
                      <a:pt x="5028869" y="4700154"/>
                      <a:pt x="5047854" y="4681414"/>
                      <a:pt x="5047854" y="4657743"/>
                    </a:cubicBezTo>
                    <a:close/>
                    <a:moveTo>
                      <a:pt x="5054515" y="6171226"/>
                    </a:moveTo>
                    <a:cubicBezTo>
                      <a:pt x="5054515" y="6169745"/>
                      <a:pt x="5053279" y="6168513"/>
                      <a:pt x="5051802" y="6168513"/>
                    </a:cubicBezTo>
                    <a:cubicBezTo>
                      <a:pt x="5050321" y="6168513"/>
                      <a:pt x="5049088" y="6169745"/>
                      <a:pt x="5049088" y="6171226"/>
                    </a:cubicBezTo>
                    <a:cubicBezTo>
                      <a:pt x="5049088" y="6172704"/>
                      <a:pt x="5050321" y="6173939"/>
                      <a:pt x="5051802" y="6173939"/>
                    </a:cubicBezTo>
                    <a:cubicBezTo>
                      <a:pt x="5053034" y="6173939"/>
                      <a:pt x="5054266" y="6172704"/>
                      <a:pt x="5054515" y="6171226"/>
                    </a:cubicBezTo>
                    <a:close/>
                    <a:moveTo>
                      <a:pt x="5057225" y="3878563"/>
                    </a:moveTo>
                    <a:cubicBezTo>
                      <a:pt x="5057225" y="3866483"/>
                      <a:pt x="5047362" y="3856865"/>
                      <a:pt x="5035526" y="3856865"/>
                    </a:cubicBezTo>
                    <a:cubicBezTo>
                      <a:pt x="5023691" y="3856865"/>
                      <a:pt x="5013828" y="3866483"/>
                      <a:pt x="5013828" y="3878563"/>
                    </a:cubicBezTo>
                    <a:cubicBezTo>
                      <a:pt x="5013828" y="3890645"/>
                      <a:pt x="5023691" y="3900262"/>
                      <a:pt x="5035526" y="3900262"/>
                    </a:cubicBezTo>
                    <a:cubicBezTo>
                      <a:pt x="5047362" y="3900262"/>
                      <a:pt x="5057225" y="3890399"/>
                      <a:pt x="5057225" y="3878563"/>
                    </a:cubicBezTo>
                    <a:close/>
                    <a:moveTo>
                      <a:pt x="5058208" y="6294019"/>
                    </a:moveTo>
                    <a:cubicBezTo>
                      <a:pt x="5058208" y="6292787"/>
                      <a:pt x="5056976" y="6291555"/>
                      <a:pt x="5055498" y="6291555"/>
                    </a:cubicBezTo>
                    <a:cubicBezTo>
                      <a:pt x="5054263" y="6291555"/>
                      <a:pt x="5053031" y="6292541"/>
                      <a:pt x="5053031" y="6294019"/>
                    </a:cubicBezTo>
                    <a:cubicBezTo>
                      <a:pt x="5053031" y="6295500"/>
                      <a:pt x="5054017" y="6296732"/>
                      <a:pt x="5055498" y="6296732"/>
                    </a:cubicBezTo>
                    <a:cubicBezTo>
                      <a:pt x="5056731" y="6296732"/>
                      <a:pt x="5057963" y="6295500"/>
                      <a:pt x="5058208" y="6294019"/>
                    </a:cubicBezTo>
                    <a:close/>
                    <a:moveTo>
                      <a:pt x="5058457" y="4943034"/>
                    </a:moveTo>
                    <a:cubicBezTo>
                      <a:pt x="5058457" y="4936129"/>
                      <a:pt x="5052788" y="4930457"/>
                      <a:pt x="5045884" y="4930457"/>
                    </a:cubicBezTo>
                    <a:cubicBezTo>
                      <a:pt x="5038979" y="4930457"/>
                      <a:pt x="5033307" y="4936129"/>
                      <a:pt x="5033307" y="4943034"/>
                    </a:cubicBezTo>
                    <a:cubicBezTo>
                      <a:pt x="5033307" y="4949938"/>
                      <a:pt x="5038979" y="4955610"/>
                      <a:pt x="5045884" y="4955610"/>
                    </a:cubicBezTo>
                    <a:cubicBezTo>
                      <a:pt x="5052788" y="4955610"/>
                      <a:pt x="5058457" y="4950184"/>
                      <a:pt x="5058457" y="4943034"/>
                    </a:cubicBezTo>
                    <a:close/>
                    <a:moveTo>
                      <a:pt x="5059938" y="6416075"/>
                    </a:moveTo>
                    <a:cubicBezTo>
                      <a:pt x="5059938" y="6415089"/>
                      <a:pt x="5059197" y="6414348"/>
                      <a:pt x="5058211" y="6414348"/>
                    </a:cubicBezTo>
                    <a:cubicBezTo>
                      <a:pt x="5057225" y="6414348"/>
                      <a:pt x="5056484" y="6415089"/>
                      <a:pt x="5056484" y="6416075"/>
                    </a:cubicBezTo>
                    <a:cubicBezTo>
                      <a:pt x="5056484" y="6417061"/>
                      <a:pt x="5057225" y="6417802"/>
                      <a:pt x="5058211" y="6417802"/>
                    </a:cubicBezTo>
                    <a:cubicBezTo>
                      <a:pt x="5059197" y="6417802"/>
                      <a:pt x="5059938" y="6417061"/>
                      <a:pt x="5059938" y="6416075"/>
                    </a:cubicBezTo>
                    <a:close/>
                    <a:moveTo>
                      <a:pt x="5062157" y="1836356"/>
                    </a:moveTo>
                    <a:cubicBezTo>
                      <a:pt x="5062157" y="1814663"/>
                      <a:pt x="5044650" y="1797164"/>
                      <a:pt x="5022950" y="1797164"/>
                    </a:cubicBezTo>
                    <a:cubicBezTo>
                      <a:pt x="5001251" y="1797164"/>
                      <a:pt x="4983744" y="1814663"/>
                      <a:pt x="4983744" y="1836356"/>
                    </a:cubicBezTo>
                    <a:cubicBezTo>
                      <a:pt x="4983744" y="1858051"/>
                      <a:pt x="5001251" y="1875551"/>
                      <a:pt x="5022950" y="1875551"/>
                    </a:cubicBezTo>
                    <a:cubicBezTo>
                      <a:pt x="5044650" y="1875551"/>
                      <a:pt x="5062157" y="1857803"/>
                      <a:pt x="5062157" y="1836356"/>
                    </a:cubicBezTo>
                    <a:close/>
                    <a:moveTo>
                      <a:pt x="5064129" y="6536650"/>
                    </a:moveTo>
                    <a:cubicBezTo>
                      <a:pt x="5064129" y="6535418"/>
                      <a:pt x="5063141" y="6534431"/>
                      <a:pt x="5061908" y="6534431"/>
                    </a:cubicBezTo>
                    <a:cubicBezTo>
                      <a:pt x="5060676" y="6534431"/>
                      <a:pt x="5059689" y="6535418"/>
                      <a:pt x="5059689" y="6536650"/>
                    </a:cubicBezTo>
                    <a:cubicBezTo>
                      <a:pt x="5059689" y="6537885"/>
                      <a:pt x="5060676" y="6538871"/>
                      <a:pt x="5061908" y="6538871"/>
                    </a:cubicBezTo>
                    <a:cubicBezTo>
                      <a:pt x="5063141" y="6538871"/>
                      <a:pt x="5064129" y="6537885"/>
                      <a:pt x="5064129" y="6536650"/>
                    </a:cubicBezTo>
                    <a:close/>
                    <a:moveTo>
                      <a:pt x="5067826" y="2535052"/>
                    </a:moveTo>
                    <a:cubicBezTo>
                      <a:pt x="5067826" y="2518777"/>
                      <a:pt x="5054758" y="2505707"/>
                      <a:pt x="5038732" y="2505707"/>
                    </a:cubicBezTo>
                    <a:cubicBezTo>
                      <a:pt x="5022456" y="2505707"/>
                      <a:pt x="5009388" y="2519027"/>
                      <a:pt x="5009388" y="2535052"/>
                    </a:cubicBezTo>
                    <a:cubicBezTo>
                      <a:pt x="5009388" y="2551325"/>
                      <a:pt x="5022702" y="2564394"/>
                      <a:pt x="5038732" y="2564394"/>
                    </a:cubicBezTo>
                    <a:cubicBezTo>
                      <a:pt x="5054758" y="2564394"/>
                      <a:pt x="5067826" y="2551325"/>
                      <a:pt x="5067826" y="2535052"/>
                    </a:cubicBezTo>
                    <a:close/>
                    <a:moveTo>
                      <a:pt x="5067829" y="4802485"/>
                    </a:moveTo>
                    <a:cubicBezTo>
                      <a:pt x="5067829" y="4780045"/>
                      <a:pt x="5049581" y="4761800"/>
                      <a:pt x="5027142" y="4761800"/>
                    </a:cubicBezTo>
                    <a:cubicBezTo>
                      <a:pt x="5004706" y="4761800"/>
                      <a:pt x="4986457" y="4780045"/>
                      <a:pt x="4986457" y="4802485"/>
                    </a:cubicBezTo>
                    <a:cubicBezTo>
                      <a:pt x="4986457" y="4824923"/>
                      <a:pt x="5004706" y="4843169"/>
                      <a:pt x="5027142" y="4843169"/>
                    </a:cubicBezTo>
                    <a:cubicBezTo>
                      <a:pt x="5049581" y="4843169"/>
                      <a:pt x="5067829" y="4824677"/>
                      <a:pt x="5067829" y="4802485"/>
                    </a:cubicBezTo>
                    <a:close/>
                    <a:moveTo>
                      <a:pt x="5068322" y="6656733"/>
                    </a:moveTo>
                    <a:cubicBezTo>
                      <a:pt x="5068322" y="6654760"/>
                      <a:pt x="5066596" y="6653033"/>
                      <a:pt x="5064623" y="6653033"/>
                    </a:cubicBezTo>
                    <a:cubicBezTo>
                      <a:pt x="5062650" y="6653033"/>
                      <a:pt x="5060924" y="6654760"/>
                      <a:pt x="5060924" y="6656733"/>
                    </a:cubicBezTo>
                    <a:cubicBezTo>
                      <a:pt x="5060924" y="6658705"/>
                      <a:pt x="5062650" y="6660432"/>
                      <a:pt x="5064623" y="6660432"/>
                    </a:cubicBezTo>
                    <a:cubicBezTo>
                      <a:pt x="5066596" y="6660432"/>
                      <a:pt x="5068322" y="6658705"/>
                      <a:pt x="5068322" y="6656733"/>
                    </a:cubicBezTo>
                    <a:close/>
                    <a:moveTo>
                      <a:pt x="5068566" y="3185017"/>
                    </a:moveTo>
                    <a:cubicBezTo>
                      <a:pt x="5068566" y="3180087"/>
                      <a:pt x="5064621" y="3176141"/>
                      <a:pt x="5059689" y="3176141"/>
                    </a:cubicBezTo>
                    <a:cubicBezTo>
                      <a:pt x="5054758" y="3176141"/>
                      <a:pt x="5050813" y="3180087"/>
                      <a:pt x="5050813" y="3185017"/>
                    </a:cubicBezTo>
                    <a:cubicBezTo>
                      <a:pt x="5050813" y="3189949"/>
                      <a:pt x="5054758" y="3193895"/>
                      <a:pt x="5059689" y="3193895"/>
                    </a:cubicBezTo>
                    <a:cubicBezTo>
                      <a:pt x="5064375" y="3193895"/>
                      <a:pt x="5068320" y="3189704"/>
                      <a:pt x="5068566" y="3185017"/>
                    </a:cubicBezTo>
                    <a:close/>
                    <a:moveTo>
                      <a:pt x="5072757" y="6776325"/>
                    </a:moveTo>
                    <a:cubicBezTo>
                      <a:pt x="5072757" y="6773366"/>
                      <a:pt x="5070293" y="6770898"/>
                      <a:pt x="5067334" y="6770898"/>
                    </a:cubicBezTo>
                    <a:cubicBezTo>
                      <a:pt x="5064375" y="6770898"/>
                      <a:pt x="5061907" y="6773366"/>
                      <a:pt x="5061907" y="6776325"/>
                    </a:cubicBezTo>
                    <a:cubicBezTo>
                      <a:pt x="5061907" y="6779035"/>
                      <a:pt x="5064375" y="6781502"/>
                      <a:pt x="5067334" y="6781502"/>
                    </a:cubicBezTo>
                    <a:cubicBezTo>
                      <a:pt x="5070293" y="6781502"/>
                      <a:pt x="5072757" y="6779035"/>
                      <a:pt x="5072757" y="6776325"/>
                    </a:cubicBezTo>
                    <a:close/>
                    <a:moveTo>
                      <a:pt x="5077197" y="6894926"/>
                    </a:moveTo>
                    <a:cubicBezTo>
                      <a:pt x="5077197" y="6890733"/>
                      <a:pt x="5073992" y="6887528"/>
                      <a:pt x="5069801" y="6887528"/>
                    </a:cubicBezTo>
                    <a:cubicBezTo>
                      <a:pt x="5065607" y="6887528"/>
                      <a:pt x="5062403" y="6890733"/>
                      <a:pt x="5062403" y="6894926"/>
                    </a:cubicBezTo>
                    <a:cubicBezTo>
                      <a:pt x="5062403" y="6899117"/>
                      <a:pt x="5065854" y="6902322"/>
                      <a:pt x="5069801" y="6902322"/>
                    </a:cubicBezTo>
                    <a:cubicBezTo>
                      <a:pt x="5073992" y="6902322"/>
                      <a:pt x="5077197" y="6898869"/>
                      <a:pt x="5077197" y="6894926"/>
                    </a:cubicBezTo>
                    <a:close/>
                    <a:moveTo>
                      <a:pt x="5078675" y="3764647"/>
                    </a:moveTo>
                    <a:cubicBezTo>
                      <a:pt x="5078675" y="3754784"/>
                      <a:pt x="5070538" y="3746647"/>
                      <a:pt x="5060675" y="3746647"/>
                    </a:cubicBezTo>
                    <a:cubicBezTo>
                      <a:pt x="5051059" y="3746647"/>
                      <a:pt x="5042922" y="3754784"/>
                      <a:pt x="5042922" y="3764647"/>
                    </a:cubicBezTo>
                    <a:cubicBezTo>
                      <a:pt x="5042922" y="3774509"/>
                      <a:pt x="5050813" y="3782646"/>
                      <a:pt x="5060675" y="3782646"/>
                    </a:cubicBezTo>
                    <a:cubicBezTo>
                      <a:pt x="5070538" y="3782646"/>
                      <a:pt x="5078429" y="3774509"/>
                      <a:pt x="5078675" y="3764647"/>
                    </a:cubicBezTo>
                    <a:close/>
                    <a:moveTo>
                      <a:pt x="5078678" y="1701218"/>
                    </a:moveTo>
                    <a:cubicBezTo>
                      <a:pt x="5078678" y="1677296"/>
                      <a:pt x="5059197" y="1657570"/>
                      <a:pt x="5035031" y="1657570"/>
                    </a:cubicBezTo>
                    <a:cubicBezTo>
                      <a:pt x="5011114" y="1657570"/>
                      <a:pt x="4991388" y="1677051"/>
                      <a:pt x="4991388" y="1701218"/>
                    </a:cubicBezTo>
                    <a:cubicBezTo>
                      <a:pt x="4991388" y="1725370"/>
                      <a:pt x="5010869" y="1744866"/>
                      <a:pt x="5035031" y="1744866"/>
                    </a:cubicBezTo>
                    <a:cubicBezTo>
                      <a:pt x="5059197" y="1744866"/>
                      <a:pt x="5078678" y="1725370"/>
                      <a:pt x="5078678" y="1701218"/>
                    </a:cubicBezTo>
                    <a:close/>
                    <a:moveTo>
                      <a:pt x="5079910" y="2795676"/>
                    </a:moveTo>
                    <a:cubicBezTo>
                      <a:pt x="5079910" y="2780637"/>
                      <a:pt x="5067579" y="2768305"/>
                      <a:pt x="5052539" y="2768305"/>
                    </a:cubicBezTo>
                    <a:cubicBezTo>
                      <a:pt x="5037499" y="2768305"/>
                      <a:pt x="5025169" y="2780637"/>
                      <a:pt x="5025169" y="2795676"/>
                    </a:cubicBezTo>
                    <a:cubicBezTo>
                      <a:pt x="5025169" y="2810717"/>
                      <a:pt x="5037499" y="2823047"/>
                      <a:pt x="5052539" y="2823047"/>
                    </a:cubicBezTo>
                    <a:cubicBezTo>
                      <a:pt x="5067579" y="2823047"/>
                      <a:pt x="5079910" y="2810717"/>
                      <a:pt x="5079910" y="2795676"/>
                    </a:cubicBezTo>
                    <a:close/>
                    <a:moveTo>
                      <a:pt x="5082128" y="5071744"/>
                    </a:moveTo>
                    <a:cubicBezTo>
                      <a:pt x="5082128" y="5066075"/>
                      <a:pt x="5077688" y="5061635"/>
                      <a:pt x="5072016" y="5061635"/>
                    </a:cubicBezTo>
                    <a:cubicBezTo>
                      <a:pt x="5066347" y="5061635"/>
                      <a:pt x="5061907" y="5066075"/>
                      <a:pt x="5061907" y="5071744"/>
                    </a:cubicBezTo>
                    <a:cubicBezTo>
                      <a:pt x="5061907" y="5077416"/>
                      <a:pt x="5066347" y="5081856"/>
                      <a:pt x="5072016" y="5081856"/>
                    </a:cubicBezTo>
                    <a:cubicBezTo>
                      <a:pt x="5077688" y="5081856"/>
                      <a:pt x="5082128" y="5077416"/>
                      <a:pt x="5082128" y="5071744"/>
                    </a:cubicBezTo>
                    <a:close/>
                    <a:moveTo>
                      <a:pt x="5084350" y="4413386"/>
                    </a:moveTo>
                    <a:cubicBezTo>
                      <a:pt x="5084350" y="4390455"/>
                      <a:pt x="5065610" y="4371715"/>
                      <a:pt x="5042676" y="4371715"/>
                    </a:cubicBezTo>
                    <a:cubicBezTo>
                      <a:pt x="5019745" y="4371715"/>
                      <a:pt x="5001006" y="4390455"/>
                      <a:pt x="5001006" y="4413386"/>
                    </a:cubicBezTo>
                    <a:cubicBezTo>
                      <a:pt x="5001006" y="4436316"/>
                      <a:pt x="5019745" y="4455059"/>
                      <a:pt x="5042676" y="4455059"/>
                    </a:cubicBezTo>
                    <a:cubicBezTo>
                      <a:pt x="5065610" y="4455059"/>
                      <a:pt x="5084101" y="4436565"/>
                      <a:pt x="5084350" y="4413386"/>
                    </a:cubicBezTo>
                    <a:close/>
                    <a:moveTo>
                      <a:pt x="5084596" y="4153251"/>
                    </a:moveTo>
                    <a:cubicBezTo>
                      <a:pt x="5084596" y="4136975"/>
                      <a:pt x="5071525" y="4123907"/>
                      <a:pt x="5055252" y="4123907"/>
                    </a:cubicBezTo>
                    <a:cubicBezTo>
                      <a:pt x="5038976" y="4123907"/>
                      <a:pt x="5025908" y="4136975"/>
                      <a:pt x="5025908" y="4153251"/>
                    </a:cubicBezTo>
                    <a:cubicBezTo>
                      <a:pt x="5025908" y="4169523"/>
                      <a:pt x="5038976" y="4182594"/>
                      <a:pt x="5055252" y="4182594"/>
                    </a:cubicBezTo>
                    <a:cubicBezTo>
                      <a:pt x="5071279" y="4182594"/>
                      <a:pt x="5084596" y="4169523"/>
                      <a:pt x="5084596" y="4153251"/>
                    </a:cubicBezTo>
                    <a:close/>
                    <a:moveTo>
                      <a:pt x="5085582" y="7127691"/>
                    </a:moveTo>
                    <a:cubicBezTo>
                      <a:pt x="5085582" y="7124981"/>
                      <a:pt x="5083360" y="7123007"/>
                      <a:pt x="5080896" y="7123007"/>
                    </a:cubicBezTo>
                    <a:cubicBezTo>
                      <a:pt x="5078429" y="7123007"/>
                      <a:pt x="5076210" y="7125227"/>
                      <a:pt x="5076210" y="7127691"/>
                    </a:cubicBezTo>
                    <a:cubicBezTo>
                      <a:pt x="5076210" y="7130159"/>
                      <a:pt x="5078183" y="7132377"/>
                      <a:pt x="5080896" y="7132377"/>
                    </a:cubicBezTo>
                    <a:cubicBezTo>
                      <a:pt x="5083360" y="7132377"/>
                      <a:pt x="5085582" y="7130404"/>
                      <a:pt x="5085582" y="7127691"/>
                    </a:cubicBezTo>
                    <a:close/>
                    <a:moveTo>
                      <a:pt x="5086074" y="2383423"/>
                    </a:moveTo>
                    <a:cubicBezTo>
                      <a:pt x="5086074" y="2373804"/>
                      <a:pt x="5078183" y="2366164"/>
                      <a:pt x="5068812" y="2366164"/>
                    </a:cubicBezTo>
                    <a:cubicBezTo>
                      <a:pt x="5059443" y="2366164"/>
                      <a:pt x="5051798" y="2374050"/>
                      <a:pt x="5051798" y="2383423"/>
                    </a:cubicBezTo>
                    <a:cubicBezTo>
                      <a:pt x="5051798" y="2392789"/>
                      <a:pt x="5059443" y="2400436"/>
                      <a:pt x="5068812" y="2400436"/>
                    </a:cubicBezTo>
                    <a:cubicBezTo>
                      <a:pt x="5078429" y="2400436"/>
                      <a:pt x="5086074" y="2392544"/>
                      <a:pt x="5086074" y="2383423"/>
                    </a:cubicBezTo>
                    <a:close/>
                    <a:moveTo>
                      <a:pt x="5086319" y="5208595"/>
                    </a:moveTo>
                    <a:cubicBezTo>
                      <a:pt x="5086319" y="5208099"/>
                      <a:pt x="5086074" y="5207854"/>
                      <a:pt x="5085581" y="5207854"/>
                    </a:cubicBezTo>
                    <a:cubicBezTo>
                      <a:pt x="5085087" y="5207854"/>
                      <a:pt x="5084841" y="5208099"/>
                      <a:pt x="5084841" y="5208595"/>
                    </a:cubicBezTo>
                    <a:cubicBezTo>
                      <a:pt x="5084841" y="5209086"/>
                      <a:pt x="5085087" y="5209332"/>
                      <a:pt x="5085581" y="5209332"/>
                    </a:cubicBezTo>
                    <a:cubicBezTo>
                      <a:pt x="5086074" y="5209332"/>
                      <a:pt x="5086319" y="5209086"/>
                      <a:pt x="5086319" y="5208595"/>
                    </a:cubicBezTo>
                    <a:close/>
                    <a:moveTo>
                      <a:pt x="5086320" y="3300168"/>
                    </a:moveTo>
                    <a:cubicBezTo>
                      <a:pt x="5086320" y="3294742"/>
                      <a:pt x="5082129" y="3290552"/>
                      <a:pt x="5076706" y="3290552"/>
                    </a:cubicBezTo>
                    <a:cubicBezTo>
                      <a:pt x="5071279" y="3290552"/>
                      <a:pt x="5067088" y="3294742"/>
                      <a:pt x="5067088" y="3300168"/>
                    </a:cubicBezTo>
                    <a:cubicBezTo>
                      <a:pt x="5067088" y="3305345"/>
                      <a:pt x="5071279" y="3309785"/>
                      <a:pt x="5076706" y="3309785"/>
                    </a:cubicBezTo>
                    <a:cubicBezTo>
                      <a:pt x="5082129" y="3309785"/>
                      <a:pt x="5086320" y="3305591"/>
                      <a:pt x="5086320" y="3300168"/>
                    </a:cubicBezTo>
                    <a:close/>
                    <a:moveTo>
                      <a:pt x="5088046" y="779645"/>
                    </a:moveTo>
                    <a:cubicBezTo>
                      <a:pt x="5088046" y="755480"/>
                      <a:pt x="5068319" y="735752"/>
                      <a:pt x="5044154" y="735752"/>
                    </a:cubicBezTo>
                    <a:cubicBezTo>
                      <a:pt x="5019991" y="735752"/>
                      <a:pt x="5000265" y="755480"/>
                      <a:pt x="5000265" y="779645"/>
                    </a:cubicBezTo>
                    <a:cubicBezTo>
                      <a:pt x="5000265" y="803812"/>
                      <a:pt x="5019991" y="823539"/>
                      <a:pt x="5044154" y="823539"/>
                    </a:cubicBezTo>
                    <a:cubicBezTo>
                      <a:pt x="5068319" y="823539"/>
                      <a:pt x="5088046" y="803812"/>
                      <a:pt x="5088046" y="779645"/>
                    </a:cubicBezTo>
                    <a:close/>
                    <a:moveTo>
                      <a:pt x="5088046" y="7009828"/>
                    </a:moveTo>
                    <a:cubicBezTo>
                      <a:pt x="5088046" y="7004897"/>
                      <a:pt x="5084100" y="7000952"/>
                      <a:pt x="5079169" y="7000952"/>
                    </a:cubicBezTo>
                    <a:cubicBezTo>
                      <a:pt x="5074238" y="7000952"/>
                      <a:pt x="5070293" y="7004897"/>
                      <a:pt x="5070293" y="7009828"/>
                    </a:cubicBezTo>
                    <a:cubicBezTo>
                      <a:pt x="5070293" y="7014760"/>
                      <a:pt x="5074238" y="7018705"/>
                      <a:pt x="5079169" y="7018705"/>
                    </a:cubicBezTo>
                    <a:cubicBezTo>
                      <a:pt x="5084100" y="7018705"/>
                      <a:pt x="5088046" y="7014760"/>
                      <a:pt x="5088046" y="7009828"/>
                    </a:cubicBezTo>
                    <a:close/>
                    <a:moveTo>
                      <a:pt x="5089278" y="7244815"/>
                    </a:moveTo>
                    <a:cubicBezTo>
                      <a:pt x="5089278" y="7241115"/>
                      <a:pt x="5086319" y="7238157"/>
                      <a:pt x="5082622" y="7238157"/>
                    </a:cubicBezTo>
                    <a:cubicBezTo>
                      <a:pt x="5078923" y="7238157"/>
                      <a:pt x="5075965" y="7241115"/>
                      <a:pt x="5075965" y="7244815"/>
                    </a:cubicBezTo>
                    <a:cubicBezTo>
                      <a:pt x="5075965" y="7248514"/>
                      <a:pt x="5078923" y="7251473"/>
                      <a:pt x="5082622" y="7251473"/>
                    </a:cubicBezTo>
                    <a:cubicBezTo>
                      <a:pt x="5086319" y="7251473"/>
                      <a:pt x="5089278" y="7248760"/>
                      <a:pt x="5089278" y="7244815"/>
                    </a:cubicBezTo>
                    <a:close/>
                    <a:moveTo>
                      <a:pt x="5091251" y="657121"/>
                    </a:moveTo>
                    <a:cubicBezTo>
                      <a:pt x="5091251" y="633156"/>
                      <a:pt x="5071770" y="613677"/>
                      <a:pt x="5047853" y="613677"/>
                    </a:cubicBezTo>
                    <a:cubicBezTo>
                      <a:pt x="5023937" y="613677"/>
                      <a:pt x="5004456" y="633156"/>
                      <a:pt x="5004456" y="657121"/>
                    </a:cubicBezTo>
                    <a:cubicBezTo>
                      <a:pt x="5004456" y="681034"/>
                      <a:pt x="5023937" y="700520"/>
                      <a:pt x="5047853" y="700520"/>
                    </a:cubicBezTo>
                    <a:cubicBezTo>
                      <a:pt x="5071770" y="700520"/>
                      <a:pt x="5091251" y="681034"/>
                      <a:pt x="5091251" y="657121"/>
                    </a:cubicBezTo>
                    <a:close/>
                    <a:moveTo>
                      <a:pt x="5091251" y="3649250"/>
                    </a:moveTo>
                    <a:cubicBezTo>
                      <a:pt x="5091251" y="3641605"/>
                      <a:pt x="5085088" y="3635195"/>
                      <a:pt x="5077197" y="3635195"/>
                    </a:cubicBezTo>
                    <a:cubicBezTo>
                      <a:pt x="5069555" y="3635195"/>
                      <a:pt x="5063143" y="3641605"/>
                      <a:pt x="5063143" y="3649250"/>
                    </a:cubicBezTo>
                    <a:cubicBezTo>
                      <a:pt x="5063143" y="3656894"/>
                      <a:pt x="5069307" y="3663304"/>
                      <a:pt x="5077197" y="3663304"/>
                    </a:cubicBezTo>
                    <a:cubicBezTo>
                      <a:pt x="5085088" y="3663304"/>
                      <a:pt x="5091251" y="3656894"/>
                      <a:pt x="5091251" y="3649250"/>
                    </a:cubicBezTo>
                    <a:close/>
                    <a:moveTo>
                      <a:pt x="5092484" y="1568331"/>
                    </a:moveTo>
                    <a:cubicBezTo>
                      <a:pt x="5092484" y="1542438"/>
                      <a:pt x="5071525" y="1521481"/>
                      <a:pt x="5045635" y="1521481"/>
                    </a:cubicBezTo>
                    <a:cubicBezTo>
                      <a:pt x="5019743" y="1521481"/>
                      <a:pt x="4998785" y="1542438"/>
                      <a:pt x="4998785" y="1568331"/>
                    </a:cubicBezTo>
                    <a:cubicBezTo>
                      <a:pt x="4998785" y="1594221"/>
                      <a:pt x="5019743" y="1615178"/>
                      <a:pt x="5045635" y="1615178"/>
                    </a:cubicBezTo>
                    <a:cubicBezTo>
                      <a:pt x="5071525" y="1615178"/>
                      <a:pt x="5092484" y="1594221"/>
                      <a:pt x="5092484" y="1568331"/>
                    </a:cubicBezTo>
                    <a:close/>
                    <a:moveTo>
                      <a:pt x="5095441" y="3416553"/>
                    </a:moveTo>
                    <a:cubicBezTo>
                      <a:pt x="5095441" y="3410884"/>
                      <a:pt x="5091005" y="3406447"/>
                      <a:pt x="5085333" y="3406447"/>
                    </a:cubicBezTo>
                    <a:cubicBezTo>
                      <a:pt x="5079660" y="3406447"/>
                      <a:pt x="5075224" y="3411131"/>
                      <a:pt x="5075224" y="3416553"/>
                    </a:cubicBezTo>
                    <a:cubicBezTo>
                      <a:pt x="5075224" y="3422222"/>
                      <a:pt x="5079660" y="3426661"/>
                      <a:pt x="5085333" y="3426661"/>
                    </a:cubicBezTo>
                    <a:cubicBezTo>
                      <a:pt x="5091005" y="3426661"/>
                      <a:pt x="5095441" y="3421977"/>
                      <a:pt x="5095441" y="3416553"/>
                    </a:cubicBezTo>
                    <a:close/>
                    <a:moveTo>
                      <a:pt x="5095444" y="535534"/>
                    </a:moveTo>
                    <a:cubicBezTo>
                      <a:pt x="5095444" y="511124"/>
                      <a:pt x="5075718" y="491399"/>
                      <a:pt x="5051306" y="491399"/>
                    </a:cubicBezTo>
                    <a:cubicBezTo>
                      <a:pt x="5026895" y="491399"/>
                      <a:pt x="5007169" y="511124"/>
                      <a:pt x="5007169" y="535534"/>
                    </a:cubicBezTo>
                    <a:cubicBezTo>
                      <a:pt x="5007169" y="559942"/>
                      <a:pt x="5026895" y="579667"/>
                      <a:pt x="5051306" y="579667"/>
                    </a:cubicBezTo>
                    <a:cubicBezTo>
                      <a:pt x="5075718" y="579667"/>
                      <a:pt x="5095444" y="559942"/>
                      <a:pt x="5095444" y="535534"/>
                    </a:cubicBezTo>
                    <a:close/>
                    <a:moveTo>
                      <a:pt x="5096431" y="414491"/>
                    </a:moveTo>
                    <a:cubicBezTo>
                      <a:pt x="5096431" y="391066"/>
                      <a:pt x="5077443" y="371835"/>
                      <a:pt x="5053772" y="371835"/>
                    </a:cubicBezTo>
                    <a:cubicBezTo>
                      <a:pt x="5030347" y="371835"/>
                      <a:pt x="5011114" y="391066"/>
                      <a:pt x="5011114" y="414491"/>
                    </a:cubicBezTo>
                    <a:cubicBezTo>
                      <a:pt x="5011114" y="437915"/>
                      <a:pt x="5030100" y="457146"/>
                      <a:pt x="5053772" y="457146"/>
                    </a:cubicBezTo>
                    <a:cubicBezTo>
                      <a:pt x="5077197" y="457146"/>
                      <a:pt x="5096431" y="437915"/>
                      <a:pt x="5096431" y="414491"/>
                    </a:cubicBezTo>
                    <a:close/>
                    <a:moveTo>
                      <a:pt x="5096922" y="3532866"/>
                    </a:moveTo>
                    <a:cubicBezTo>
                      <a:pt x="5096922" y="3526454"/>
                      <a:pt x="5091991" y="3521276"/>
                      <a:pt x="5085581" y="3521276"/>
                    </a:cubicBezTo>
                    <a:cubicBezTo>
                      <a:pt x="5079169" y="3521276"/>
                      <a:pt x="5073991" y="3526454"/>
                      <a:pt x="5073991" y="3532866"/>
                    </a:cubicBezTo>
                    <a:cubicBezTo>
                      <a:pt x="5073991" y="3539275"/>
                      <a:pt x="5079169" y="3544453"/>
                      <a:pt x="5085581" y="3544453"/>
                    </a:cubicBezTo>
                    <a:cubicBezTo>
                      <a:pt x="5091991" y="3544453"/>
                      <a:pt x="5096922" y="3539275"/>
                      <a:pt x="5096922" y="3532866"/>
                    </a:cubicBezTo>
                    <a:close/>
                    <a:moveTo>
                      <a:pt x="5098401" y="294433"/>
                    </a:moveTo>
                    <a:cubicBezTo>
                      <a:pt x="5098401" y="271256"/>
                      <a:pt x="5079415" y="252270"/>
                      <a:pt x="5056238" y="252270"/>
                    </a:cubicBezTo>
                    <a:cubicBezTo>
                      <a:pt x="5033059" y="252270"/>
                      <a:pt x="5014073" y="271256"/>
                      <a:pt x="5014073" y="294433"/>
                    </a:cubicBezTo>
                    <a:cubicBezTo>
                      <a:pt x="5014073" y="317610"/>
                      <a:pt x="5033059" y="336597"/>
                      <a:pt x="5056238" y="336597"/>
                    </a:cubicBezTo>
                    <a:cubicBezTo>
                      <a:pt x="5079415" y="336597"/>
                      <a:pt x="5098401" y="317855"/>
                      <a:pt x="5098401" y="294433"/>
                    </a:cubicBezTo>
                    <a:close/>
                    <a:moveTo>
                      <a:pt x="5100129" y="174872"/>
                    </a:moveTo>
                    <a:cubicBezTo>
                      <a:pt x="5100129" y="151694"/>
                      <a:pt x="5081389" y="132955"/>
                      <a:pt x="5058210" y="132955"/>
                    </a:cubicBezTo>
                    <a:cubicBezTo>
                      <a:pt x="5035031" y="132955"/>
                      <a:pt x="5016292" y="151694"/>
                      <a:pt x="5016292" y="174872"/>
                    </a:cubicBezTo>
                    <a:cubicBezTo>
                      <a:pt x="5016292" y="198048"/>
                      <a:pt x="5035031" y="216786"/>
                      <a:pt x="5058210" y="216786"/>
                    </a:cubicBezTo>
                    <a:cubicBezTo>
                      <a:pt x="5081389" y="216786"/>
                      <a:pt x="5100129" y="198048"/>
                      <a:pt x="5100129" y="174872"/>
                    </a:cubicBezTo>
                    <a:close/>
                    <a:moveTo>
                      <a:pt x="5101363" y="1437412"/>
                    </a:moveTo>
                    <a:cubicBezTo>
                      <a:pt x="5101363" y="1411769"/>
                      <a:pt x="5080650" y="1391055"/>
                      <a:pt x="5055006" y="1391055"/>
                    </a:cubicBezTo>
                    <a:cubicBezTo>
                      <a:pt x="5029363" y="1391055"/>
                      <a:pt x="5008650" y="1411769"/>
                      <a:pt x="5008650" y="1437412"/>
                    </a:cubicBezTo>
                    <a:cubicBezTo>
                      <a:pt x="5008650" y="1463059"/>
                      <a:pt x="5029363" y="1483769"/>
                      <a:pt x="5055006" y="1483769"/>
                    </a:cubicBezTo>
                    <a:cubicBezTo>
                      <a:pt x="5080404" y="1483769"/>
                      <a:pt x="5101363" y="1463059"/>
                      <a:pt x="5101363" y="1437412"/>
                    </a:cubicBezTo>
                    <a:close/>
                    <a:moveTo>
                      <a:pt x="5101607" y="56299"/>
                    </a:moveTo>
                    <a:cubicBezTo>
                      <a:pt x="5101607" y="33370"/>
                      <a:pt x="5083115" y="14877"/>
                      <a:pt x="5060184" y="14877"/>
                    </a:cubicBezTo>
                    <a:cubicBezTo>
                      <a:pt x="5037252" y="14877"/>
                      <a:pt x="5018759" y="33370"/>
                      <a:pt x="5018759" y="56299"/>
                    </a:cubicBezTo>
                    <a:cubicBezTo>
                      <a:pt x="5018759" y="79229"/>
                      <a:pt x="5037252" y="97722"/>
                      <a:pt x="5060184" y="97722"/>
                    </a:cubicBezTo>
                    <a:cubicBezTo>
                      <a:pt x="5082868" y="97722"/>
                      <a:pt x="5101607" y="78983"/>
                      <a:pt x="5101607" y="56299"/>
                    </a:cubicBezTo>
                    <a:close/>
                    <a:moveTo>
                      <a:pt x="5102346" y="2235487"/>
                    </a:moveTo>
                    <a:cubicBezTo>
                      <a:pt x="5102346" y="2231299"/>
                      <a:pt x="5099142" y="2227849"/>
                      <a:pt x="5094951" y="2227849"/>
                    </a:cubicBezTo>
                    <a:cubicBezTo>
                      <a:pt x="5090759" y="2227849"/>
                      <a:pt x="5087306" y="2231299"/>
                      <a:pt x="5087306" y="2235487"/>
                    </a:cubicBezTo>
                    <a:cubicBezTo>
                      <a:pt x="5087306" y="2239681"/>
                      <a:pt x="5090759" y="2243140"/>
                      <a:pt x="5094951" y="2243140"/>
                    </a:cubicBezTo>
                    <a:cubicBezTo>
                      <a:pt x="5099142" y="2243140"/>
                      <a:pt x="5102346" y="2239928"/>
                      <a:pt x="5102346" y="2235487"/>
                    </a:cubicBezTo>
                    <a:close/>
                    <a:moveTo>
                      <a:pt x="5110240" y="1308470"/>
                    </a:moveTo>
                    <a:cubicBezTo>
                      <a:pt x="5110240" y="1282830"/>
                      <a:pt x="5089032" y="1261862"/>
                      <a:pt x="5063388" y="1261862"/>
                    </a:cubicBezTo>
                    <a:cubicBezTo>
                      <a:pt x="5037745" y="1261862"/>
                      <a:pt x="5016787" y="1282830"/>
                      <a:pt x="5016787" y="1308470"/>
                    </a:cubicBezTo>
                    <a:cubicBezTo>
                      <a:pt x="5016787" y="1334115"/>
                      <a:pt x="5037745" y="1355073"/>
                      <a:pt x="5063388" y="1355073"/>
                    </a:cubicBezTo>
                    <a:cubicBezTo>
                      <a:pt x="5089032" y="1355073"/>
                      <a:pt x="5109991" y="1334115"/>
                      <a:pt x="5110240" y="1308470"/>
                    </a:cubicBezTo>
                    <a:close/>
                    <a:moveTo>
                      <a:pt x="5110731" y="5343964"/>
                    </a:moveTo>
                    <a:cubicBezTo>
                      <a:pt x="5110731" y="5336320"/>
                      <a:pt x="5104321" y="5329910"/>
                      <a:pt x="5096677" y="5329910"/>
                    </a:cubicBezTo>
                    <a:cubicBezTo>
                      <a:pt x="5088787" y="5329910"/>
                      <a:pt x="5082622" y="5336320"/>
                      <a:pt x="5082622" y="5343964"/>
                    </a:cubicBezTo>
                    <a:cubicBezTo>
                      <a:pt x="5082622" y="5351855"/>
                      <a:pt x="5089032" y="5358018"/>
                      <a:pt x="5096677" y="5358018"/>
                    </a:cubicBezTo>
                    <a:cubicBezTo>
                      <a:pt x="5104321" y="5358018"/>
                      <a:pt x="5110731" y="5351855"/>
                      <a:pt x="5110731" y="5343964"/>
                    </a:cubicBezTo>
                    <a:close/>
                    <a:moveTo>
                      <a:pt x="5111963" y="5476866"/>
                    </a:moveTo>
                    <a:cubicBezTo>
                      <a:pt x="5111963" y="5474156"/>
                      <a:pt x="5109745" y="5471688"/>
                      <a:pt x="5106787" y="5471688"/>
                    </a:cubicBezTo>
                    <a:cubicBezTo>
                      <a:pt x="5103828" y="5471688"/>
                      <a:pt x="5101608" y="5473907"/>
                      <a:pt x="5101608" y="5476866"/>
                    </a:cubicBezTo>
                    <a:cubicBezTo>
                      <a:pt x="5101608" y="5479578"/>
                      <a:pt x="5103828" y="5482042"/>
                      <a:pt x="5106787" y="5482042"/>
                    </a:cubicBezTo>
                    <a:cubicBezTo>
                      <a:pt x="5109745" y="5482042"/>
                      <a:pt x="5112212" y="5479825"/>
                      <a:pt x="5111963" y="5476866"/>
                    </a:cubicBezTo>
                    <a:close/>
                    <a:moveTo>
                      <a:pt x="5116895" y="1180518"/>
                    </a:moveTo>
                    <a:cubicBezTo>
                      <a:pt x="5116895" y="1155124"/>
                      <a:pt x="5095937" y="1134163"/>
                      <a:pt x="5070293" y="1134163"/>
                    </a:cubicBezTo>
                    <a:cubicBezTo>
                      <a:pt x="5044650" y="1134163"/>
                      <a:pt x="5023937" y="1154878"/>
                      <a:pt x="5023937" y="1180518"/>
                    </a:cubicBezTo>
                    <a:cubicBezTo>
                      <a:pt x="5023937" y="1206165"/>
                      <a:pt x="5044650" y="1227125"/>
                      <a:pt x="5070293" y="1227125"/>
                    </a:cubicBezTo>
                    <a:cubicBezTo>
                      <a:pt x="5095937" y="1227125"/>
                      <a:pt x="5116650" y="1206165"/>
                      <a:pt x="5116895" y="1180518"/>
                    </a:cubicBezTo>
                    <a:close/>
                    <a:moveTo>
                      <a:pt x="5117390" y="5608293"/>
                    </a:moveTo>
                    <a:cubicBezTo>
                      <a:pt x="5117390" y="5606566"/>
                      <a:pt x="5116157" y="5605334"/>
                      <a:pt x="5114676" y="5605334"/>
                    </a:cubicBezTo>
                    <a:cubicBezTo>
                      <a:pt x="5112950" y="5605334"/>
                      <a:pt x="5111718" y="5606812"/>
                      <a:pt x="5111718" y="5608293"/>
                    </a:cubicBezTo>
                    <a:cubicBezTo>
                      <a:pt x="5111718" y="5610019"/>
                      <a:pt x="5112950" y="5611252"/>
                      <a:pt x="5114676" y="5611252"/>
                    </a:cubicBezTo>
                    <a:cubicBezTo>
                      <a:pt x="5116403" y="5611252"/>
                      <a:pt x="5117635" y="5610019"/>
                      <a:pt x="5117390" y="5608293"/>
                    </a:cubicBezTo>
                    <a:close/>
                    <a:moveTo>
                      <a:pt x="5119608" y="2090751"/>
                    </a:moveTo>
                    <a:cubicBezTo>
                      <a:pt x="5119608" y="2089023"/>
                      <a:pt x="5118375" y="2087791"/>
                      <a:pt x="5116649" y="2087791"/>
                    </a:cubicBezTo>
                    <a:cubicBezTo>
                      <a:pt x="5114922" y="2087791"/>
                      <a:pt x="5113690" y="2089023"/>
                      <a:pt x="5113690" y="2090751"/>
                    </a:cubicBezTo>
                    <a:cubicBezTo>
                      <a:pt x="5113690" y="2092478"/>
                      <a:pt x="5114922" y="2093710"/>
                      <a:pt x="5116649" y="2093710"/>
                    </a:cubicBezTo>
                    <a:cubicBezTo>
                      <a:pt x="5118375" y="2093710"/>
                      <a:pt x="5119608" y="2092478"/>
                      <a:pt x="5119608" y="2090751"/>
                    </a:cubicBezTo>
                    <a:close/>
                    <a:moveTo>
                      <a:pt x="5121085" y="4564290"/>
                    </a:moveTo>
                    <a:cubicBezTo>
                      <a:pt x="5121085" y="4538400"/>
                      <a:pt x="5100127" y="4517442"/>
                      <a:pt x="5074235" y="4517442"/>
                    </a:cubicBezTo>
                    <a:cubicBezTo>
                      <a:pt x="5048345" y="4517442"/>
                      <a:pt x="5027386" y="4538400"/>
                      <a:pt x="5027386" y="4564290"/>
                    </a:cubicBezTo>
                    <a:cubicBezTo>
                      <a:pt x="5027386" y="4590183"/>
                      <a:pt x="5048345" y="4611141"/>
                      <a:pt x="5074235" y="4611141"/>
                    </a:cubicBezTo>
                    <a:cubicBezTo>
                      <a:pt x="5099881" y="4611141"/>
                      <a:pt x="5121085" y="4590183"/>
                      <a:pt x="5121085" y="4564290"/>
                    </a:cubicBezTo>
                    <a:close/>
                    <a:moveTo>
                      <a:pt x="5121581" y="4045003"/>
                    </a:moveTo>
                    <a:cubicBezTo>
                      <a:pt x="5121581" y="4031935"/>
                      <a:pt x="5110978" y="4021331"/>
                      <a:pt x="5097910" y="4021331"/>
                    </a:cubicBezTo>
                    <a:cubicBezTo>
                      <a:pt x="5084841" y="4021331"/>
                      <a:pt x="5074238" y="4031935"/>
                      <a:pt x="5074238" y="4045003"/>
                    </a:cubicBezTo>
                    <a:cubicBezTo>
                      <a:pt x="5074238" y="4058071"/>
                      <a:pt x="5084841" y="4068674"/>
                      <a:pt x="5097910" y="4068674"/>
                    </a:cubicBezTo>
                    <a:cubicBezTo>
                      <a:pt x="5110978" y="4068674"/>
                      <a:pt x="5121581" y="4058071"/>
                      <a:pt x="5121581" y="4045003"/>
                    </a:cubicBezTo>
                    <a:close/>
                    <a:moveTo>
                      <a:pt x="5122072" y="1053800"/>
                    </a:moveTo>
                    <a:cubicBezTo>
                      <a:pt x="5122072" y="1028399"/>
                      <a:pt x="5101360" y="1007687"/>
                      <a:pt x="5075965" y="1007687"/>
                    </a:cubicBezTo>
                    <a:cubicBezTo>
                      <a:pt x="5050566" y="1007687"/>
                      <a:pt x="5029854" y="1028399"/>
                      <a:pt x="5029854" y="1053800"/>
                    </a:cubicBezTo>
                    <a:cubicBezTo>
                      <a:pt x="5029854" y="1079196"/>
                      <a:pt x="5050566" y="1099906"/>
                      <a:pt x="5075965" y="1099906"/>
                    </a:cubicBezTo>
                    <a:cubicBezTo>
                      <a:pt x="5101360" y="1099906"/>
                      <a:pt x="5122072" y="1079196"/>
                      <a:pt x="5122072" y="1053800"/>
                    </a:cubicBezTo>
                    <a:close/>
                    <a:moveTo>
                      <a:pt x="5123550" y="5737499"/>
                    </a:moveTo>
                    <a:cubicBezTo>
                      <a:pt x="5123550" y="5737003"/>
                      <a:pt x="5123304" y="5736758"/>
                      <a:pt x="5122812" y="5736758"/>
                    </a:cubicBezTo>
                    <a:cubicBezTo>
                      <a:pt x="5122318" y="5736758"/>
                      <a:pt x="5122072" y="5737003"/>
                      <a:pt x="5122072" y="5737499"/>
                    </a:cubicBezTo>
                    <a:cubicBezTo>
                      <a:pt x="5122072" y="5737990"/>
                      <a:pt x="5122318" y="5738236"/>
                      <a:pt x="5122812" y="5738236"/>
                    </a:cubicBezTo>
                    <a:cubicBezTo>
                      <a:pt x="5123304" y="5738236"/>
                      <a:pt x="5123550" y="5737990"/>
                      <a:pt x="5123550" y="5737499"/>
                    </a:cubicBezTo>
                    <a:close/>
                    <a:moveTo>
                      <a:pt x="5123799" y="2903926"/>
                    </a:moveTo>
                    <a:cubicBezTo>
                      <a:pt x="5123799" y="2888145"/>
                      <a:pt x="5111222" y="2875570"/>
                      <a:pt x="5095688" y="2875570"/>
                    </a:cubicBezTo>
                    <a:cubicBezTo>
                      <a:pt x="5080156" y="2875570"/>
                      <a:pt x="5067579" y="2888392"/>
                      <a:pt x="5067579" y="2903926"/>
                    </a:cubicBezTo>
                    <a:cubicBezTo>
                      <a:pt x="5067579" y="2919459"/>
                      <a:pt x="5080156" y="2932035"/>
                      <a:pt x="5095688" y="2932035"/>
                    </a:cubicBezTo>
                    <a:cubicBezTo>
                      <a:pt x="5111222" y="2932035"/>
                      <a:pt x="5123799" y="2919459"/>
                      <a:pt x="5123799" y="2903926"/>
                    </a:cubicBezTo>
                    <a:close/>
                    <a:moveTo>
                      <a:pt x="5127498" y="928555"/>
                    </a:moveTo>
                    <a:cubicBezTo>
                      <a:pt x="5127498" y="903158"/>
                      <a:pt x="5106787" y="882683"/>
                      <a:pt x="5081636" y="882683"/>
                    </a:cubicBezTo>
                    <a:cubicBezTo>
                      <a:pt x="5056238" y="882683"/>
                      <a:pt x="5035772" y="903402"/>
                      <a:pt x="5035772" y="928555"/>
                    </a:cubicBezTo>
                    <a:cubicBezTo>
                      <a:pt x="5035772" y="953955"/>
                      <a:pt x="5056485" y="974417"/>
                      <a:pt x="5081636" y="974417"/>
                    </a:cubicBezTo>
                    <a:cubicBezTo>
                      <a:pt x="5106787" y="974417"/>
                      <a:pt x="5127253" y="953955"/>
                      <a:pt x="5127498" y="928555"/>
                    </a:cubicBezTo>
                    <a:close/>
                    <a:moveTo>
                      <a:pt x="5130702" y="5864978"/>
                    </a:moveTo>
                    <a:cubicBezTo>
                      <a:pt x="5130702" y="5864732"/>
                      <a:pt x="5130457" y="5864486"/>
                      <a:pt x="5130211" y="5864486"/>
                    </a:cubicBezTo>
                    <a:cubicBezTo>
                      <a:pt x="5129962" y="5864486"/>
                      <a:pt x="5129716" y="5864732"/>
                      <a:pt x="5129716" y="5864978"/>
                    </a:cubicBezTo>
                    <a:cubicBezTo>
                      <a:pt x="5129716" y="5865227"/>
                      <a:pt x="5129962" y="5865472"/>
                      <a:pt x="5130211" y="5865472"/>
                    </a:cubicBezTo>
                    <a:cubicBezTo>
                      <a:pt x="5130457" y="5865472"/>
                      <a:pt x="5130702" y="5865227"/>
                      <a:pt x="5130702" y="5864978"/>
                    </a:cubicBezTo>
                    <a:close/>
                    <a:moveTo>
                      <a:pt x="5132678" y="2636149"/>
                    </a:moveTo>
                    <a:cubicBezTo>
                      <a:pt x="5132678" y="2615932"/>
                      <a:pt x="5116157" y="2599408"/>
                      <a:pt x="5095937" y="2599408"/>
                    </a:cubicBezTo>
                    <a:cubicBezTo>
                      <a:pt x="5075719" y="2599408"/>
                      <a:pt x="5059197" y="2615932"/>
                      <a:pt x="5059197" y="2636149"/>
                    </a:cubicBezTo>
                    <a:cubicBezTo>
                      <a:pt x="5059197" y="2656370"/>
                      <a:pt x="5075719" y="2672890"/>
                      <a:pt x="5095937" y="2672890"/>
                    </a:cubicBezTo>
                    <a:cubicBezTo>
                      <a:pt x="5116403" y="2672890"/>
                      <a:pt x="5132923" y="2656370"/>
                      <a:pt x="5132678" y="2636149"/>
                    </a:cubicBezTo>
                    <a:close/>
                    <a:moveTo>
                      <a:pt x="5135883" y="4312291"/>
                    </a:moveTo>
                    <a:cubicBezTo>
                      <a:pt x="5135883" y="4292073"/>
                      <a:pt x="5119612" y="4275797"/>
                      <a:pt x="5099391" y="4275797"/>
                    </a:cubicBezTo>
                    <a:cubicBezTo>
                      <a:pt x="5079419" y="4275797"/>
                      <a:pt x="5062897" y="4292073"/>
                      <a:pt x="5062897" y="4312291"/>
                    </a:cubicBezTo>
                    <a:cubicBezTo>
                      <a:pt x="5062897" y="4332512"/>
                      <a:pt x="5079172" y="4348784"/>
                      <a:pt x="5099391" y="4348784"/>
                    </a:cubicBezTo>
                    <a:cubicBezTo>
                      <a:pt x="5119612" y="4348784"/>
                      <a:pt x="5136129" y="4332512"/>
                      <a:pt x="5135883" y="4312291"/>
                    </a:cubicBezTo>
                    <a:close/>
                    <a:moveTo>
                      <a:pt x="5137525" y="0"/>
                    </a:moveTo>
                    <a:lnTo>
                      <a:pt x="5106131" y="0"/>
                    </a:lnTo>
                    <a:lnTo>
                      <a:pt x="5121828" y="6518"/>
                    </a:lnTo>
                    <a:close/>
                    <a:moveTo>
                      <a:pt x="5137610" y="5991470"/>
                    </a:moveTo>
                    <a:cubicBezTo>
                      <a:pt x="5137610" y="5990729"/>
                      <a:pt x="5137116" y="5990238"/>
                      <a:pt x="5136375" y="5990238"/>
                    </a:cubicBezTo>
                    <a:cubicBezTo>
                      <a:pt x="5135637" y="5990238"/>
                      <a:pt x="5135143" y="5990729"/>
                      <a:pt x="5135143" y="5991470"/>
                    </a:cubicBezTo>
                    <a:cubicBezTo>
                      <a:pt x="5135143" y="5992211"/>
                      <a:pt x="5135637" y="5992702"/>
                      <a:pt x="5136375" y="5992702"/>
                    </a:cubicBezTo>
                    <a:cubicBezTo>
                      <a:pt x="5137116" y="5992702"/>
                      <a:pt x="5137610" y="5992211"/>
                      <a:pt x="5137610" y="5991470"/>
                    </a:cubicBezTo>
                    <a:close/>
                    <a:moveTo>
                      <a:pt x="5138594" y="1917939"/>
                    </a:moveTo>
                    <a:cubicBezTo>
                      <a:pt x="5138594" y="1899948"/>
                      <a:pt x="5124045" y="1885407"/>
                      <a:pt x="5106046" y="1885407"/>
                    </a:cubicBezTo>
                    <a:cubicBezTo>
                      <a:pt x="5088046" y="1885407"/>
                      <a:pt x="5073497" y="1899948"/>
                      <a:pt x="5073497" y="1917939"/>
                    </a:cubicBezTo>
                    <a:cubicBezTo>
                      <a:pt x="5073497" y="1935931"/>
                      <a:pt x="5088046" y="1950473"/>
                      <a:pt x="5106046" y="1950473"/>
                    </a:cubicBezTo>
                    <a:cubicBezTo>
                      <a:pt x="5124045" y="1950473"/>
                      <a:pt x="5138594" y="1935931"/>
                      <a:pt x="5138594" y="1917939"/>
                    </a:cubicBezTo>
                    <a:close/>
                    <a:moveTo>
                      <a:pt x="5138594" y="4856979"/>
                    </a:moveTo>
                    <a:cubicBezTo>
                      <a:pt x="5138594" y="4848348"/>
                      <a:pt x="5131690" y="4841444"/>
                      <a:pt x="5123062" y="4841444"/>
                    </a:cubicBezTo>
                    <a:cubicBezTo>
                      <a:pt x="5114431" y="4841444"/>
                      <a:pt x="5107526" y="4848348"/>
                      <a:pt x="5107526" y="4856979"/>
                    </a:cubicBezTo>
                    <a:cubicBezTo>
                      <a:pt x="5107526" y="4865607"/>
                      <a:pt x="5114431" y="4872511"/>
                      <a:pt x="5123062" y="4872511"/>
                    </a:cubicBezTo>
                    <a:cubicBezTo>
                      <a:pt x="5131690" y="4872511"/>
                      <a:pt x="5138594" y="4865607"/>
                      <a:pt x="5138594" y="4856979"/>
                    </a:cubicBezTo>
                    <a:close/>
                    <a:moveTo>
                      <a:pt x="5140074" y="4712485"/>
                    </a:moveTo>
                    <a:cubicBezTo>
                      <a:pt x="5140074" y="4690539"/>
                      <a:pt x="5122320" y="4672786"/>
                      <a:pt x="5100373" y="4672786"/>
                    </a:cubicBezTo>
                    <a:cubicBezTo>
                      <a:pt x="5078428" y="4672786"/>
                      <a:pt x="5060675" y="4690539"/>
                      <a:pt x="5060675" y="4712485"/>
                    </a:cubicBezTo>
                    <a:cubicBezTo>
                      <a:pt x="5060675" y="4734432"/>
                      <a:pt x="5078428" y="4752185"/>
                      <a:pt x="5100373" y="4752185"/>
                    </a:cubicBezTo>
                    <a:cubicBezTo>
                      <a:pt x="5122320" y="4752185"/>
                      <a:pt x="5140074" y="4734432"/>
                      <a:pt x="5140074" y="4712485"/>
                    </a:cubicBezTo>
                    <a:close/>
                    <a:moveTo>
                      <a:pt x="5150675" y="3934291"/>
                    </a:moveTo>
                    <a:cubicBezTo>
                      <a:pt x="5150675" y="3924429"/>
                      <a:pt x="5142785" y="3916537"/>
                      <a:pt x="5132922" y="3916537"/>
                    </a:cubicBezTo>
                    <a:cubicBezTo>
                      <a:pt x="5123059" y="3916537"/>
                      <a:pt x="5115168" y="3924429"/>
                      <a:pt x="5115168" y="3934291"/>
                    </a:cubicBezTo>
                    <a:cubicBezTo>
                      <a:pt x="5115168" y="3944153"/>
                      <a:pt x="5123059" y="3952045"/>
                      <a:pt x="5132922" y="3952045"/>
                    </a:cubicBezTo>
                    <a:cubicBezTo>
                      <a:pt x="5142538" y="3952045"/>
                      <a:pt x="5150675" y="3944153"/>
                      <a:pt x="5150675" y="3934291"/>
                    </a:cubicBezTo>
                    <a:close/>
                    <a:moveTo>
                      <a:pt x="5153635" y="6111061"/>
                    </a:moveTo>
                    <a:cubicBezTo>
                      <a:pt x="5153635" y="6109580"/>
                      <a:pt x="5152648" y="6108594"/>
                      <a:pt x="5151170" y="6108594"/>
                    </a:cubicBezTo>
                    <a:cubicBezTo>
                      <a:pt x="5149689" y="6108594"/>
                      <a:pt x="5148703" y="6109580"/>
                      <a:pt x="5148703" y="6111061"/>
                    </a:cubicBezTo>
                    <a:cubicBezTo>
                      <a:pt x="5148703" y="6112539"/>
                      <a:pt x="5149935" y="6113525"/>
                      <a:pt x="5151170" y="6113525"/>
                    </a:cubicBezTo>
                    <a:cubicBezTo>
                      <a:pt x="5152648" y="6113525"/>
                      <a:pt x="5153635" y="6112293"/>
                      <a:pt x="5153635" y="6111061"/>
                    </a:cubicBezTo>
                    <a:close/>
                    <a:moveTo>
                      <a:pt x="5154869" y="2480568"/>
                    </a:moveTo>
                    <a:cubicBezTo>
                      <a:pt x="5154869" y="2467995"/>
                      <a:pt x="5144759" y="2457883"/>
                      <a:pt x="5132184" y="2457883"/>
                    </a:cubicBezTo>
                    <a:cubicBezTo>
                      <a:pt x="5119608" y="2457883"/>
                      <a:pt x="5109499" y="2467995"/>
                      <a:pt x="5109499" y="2480568"/>
                    </a:cubicBezTo>
                    <a:cubicBezTo>
                      <a:pt x="5109499" y="2493148"/>
                      <a:pt x="5119608" y="2503255"/>
                      <a:pt x="5132184" y="2503255"/>
                    </a:cubicBezTo>
                    <a:cubicBezTo>
                      <a:pt x="5144759" y="2503255"/>
                      <a:pt x="5155115" y="2492897"/>
                      <a:pt x="5154869" y="2480568"/>
                    </a:cubicBezTo>
                    <a:close/>
                    <a:moveTo>
                      <a:pt x="5158320" y="6235582"/>
                    </a:moveTo>
                    <a:cubicBezTo>
                      <a:pt x="5158320" y="6234101"/>
                      <a:pt x="5157088" y="6233114"/>
                      <a:pt x="5155856" y="6233114"/>
                    </a:cubicBezTo>
                    <a:cubicBezTo>
                      <a:pt x="5154375" y="6233114"/>
                      <a:pt x="5153388" y="6234347"/>
                      <a:pt x="5153388" y="6235582"/>
                    </a:cubicBezTo>
                    <a:cubicBezTo>
                      <a:pt x="5153388" y="6237060"/>
                      <a:pt x="5154620" y="6238045"/>
                      <a:pt x="5155856" y="6238045"/>
                    </a:cubicBezTo>
                    <a:cubicBezTo>
                      <a:pt x="5157334" y="6238045"/>
                      <a:pt x="5158320" y="6236813"/>
                      <a:pt x="5158320" y="6235582"/>
                    </a:cubicBezTo>
                    <a:close/>
                    <a:moveTo>
                      <a:pt x="5160541" y="1779663"/>
                    </a:moveTo>
                    <a:cubicBezTo>
                      <a:pt x="5160541" y="1757699"/>
                      <a:pt x="5142787" y="1739931"/>
                      <a:pt x="5120841" y="1739931"/>
                    </a:cubicBezTo>
                    <a:cubicBezTo>
                      <a:pt x="5098895" y="1739931"/>
                      <a:pt x="5081142" y="1757699"/>
                      <a:pt x="5081142" y="1779663"/>
                    </a:cubicBezTo>
                    <a:cubicBezTo>
                      <a:pt x="5081142" y="1801627"/>
                      <a:pt x="5098895" y="1819364"/>
                      <a:pt x="5120841" y="1819364"/>
                    </a:cubicBezTo>
                    <a:cubicBezTo>
                      <a:pt x="5142787" y="1819364"/>
                      <a:pt x="5160541" y="1801627"/>
                      <a:pt x="5160541" y="1779663"/>
                    </a:cubicBezTo>
                    <a:close/>
                    <a:moveTo>
                      <a:pt x="5160787" y="3014641"/>
                    </a:moveTo>
                    <a:cubicBezTo>
                      <a:pt x="5160787" y="2998365"/>
                      <a:pt x="5147474" y="2985051"/>
                      <a:pt x="5131198" y="2985051"/>
                    </a:cubicBezTo>
                    <a:cubicBezTo>
                      <a:pt x="5114925" y="2985051"/>
                      <a:pt x="5101608" y="2998365"/>
                      <a:pt x="5101608" y="3014641"/>
                    </a:cubicBezTo>
                    <a:cubicBezTo>
                      <a:pt x="5101608" y="3030915"/>
                      <a:pt x="5114925" y="3044231"/>
                      <a:pt x="5131198" y="3044231"/>
                    </a:cubicBezTo>
                    <a:cubicBezTo>
                      <a:pt x="5147474" y="3044231"/>
                      <a:pt x="5160787" y="3030915"/>
                      <a:pt x="5160787" y="3014641"/>
                    </a:cubicBezTo>
                    <a:close/>
                    <a:moveTo>
                      <a:pt x="5161525" y="6359362"/>
                    </a:moveTo>
                    <a:cubicBezTo>
                      <a:pt x="5161525" y="6358375"/>
                      <a:pt x="5160538" y="6357388"/>
                      <a:pt x="5159553" y="6357388"/>
                    </a:cubicBezTo>
                    <a:cubicBezTo>
                      <a:pt x="5158320" y="6357388"/>
                      <a:pt x="5157579" y="6358375"/>
                      <a:pt x="5157579" y="6359362"/>
                    </a:cubicBezTo>
                    <a:cubicBezTo>
                      <a:pt x="5157579" y="6360347"/>
                      <a:pt x="5158566" y="6361334"/>
                      <a:pt x="5159553" y="6361334"/>
                    </a:cubicBezTo>
                    <a:cubicBezTo>
                      <a:pt x="5160785" y="6361334"/>
                      <a:pt x="5161525" y="6360347"/>
                      <a:pt x="5161525" y="6359362"/>
                    </a:cubicBezTo>
                    <a:close/>
                    <a:moveTo>
                      <a:pt x="5163991" y="4987662"/>
                    </a:moveTo>
                    <a:cubicBezTo>
                      <a:pt x="5163991" y="4981250"/>
                      <a:pt x="5159059" y="4976072"/>
                      <a:pt x="5152650" y="4976072"/>
                    </a:cubicBezTo>
                    <a:cubicBezTo>
                      <a:pt x="5146484" y="4976072"/>
                      <a:pt x="5141306" y="4981250"/>
                      <a:pt x="5141306" y="4987662"/>
                    </a:cubicBezTo>
                    <a:cubicBezTo>
                      <a:pt x="5141306" y="4993826"/>
                      <a:pt x="5146238" y="4999003"/>
                      <a:pt x="5152650" y="4999003"/>
                    </a:cubicBezTo>
                    <a:cubicBezTo>
                      <a:pt x="5158814" y="4999003"/>
                      <a:pt x="5163991" y="4993826"/>
                      <a:pt x="5163991" y="4987662"/>
                    </a:cubicBezTo>
                    <a:close/>
                    <a:moveTo>
                      <a:pt x="5165965" y="6481912"/>
                    </a:moveTo>
                    <a:cubicBezTo>
                      <a:pt x="5165965" y="6480925"/>
                      <a:pt x="5164978" y="6479939"/>
                      <a:pt x="5163991" y="6479939"/>
                    </a:cubicBezTo>
                    <a:cubicBezTo>
                      <a:pt x="5163006" y="6479939"/>
                      <a:pt x="5162019" y="6480925"/>
                      <a:pt x="5162019" y="6481912"/>
                    </a:cubicBezTo>
                    <a:cubicBezTo>
                      <a:pt x="5162019" y="6482898"/>
                      <a:pt x="5162759" y="6483884"/>
                      <a:pt x="5163991" y="6483884"/>
                    </a:cubicBezTo>
                    <a:cubicBezTo>
                      <a:pt x="5165224" y="6483884"/>
                      <a:pt x="5165965" y="6482898"/>
                      <a:pt x="5165965" y="6481912"/>
                    </a:cubicBezTo>
                    <a:close/>
                    <a:moveTo>
                      <a:pt x="5169663" y="5127718"/>
                    </a:moveTo>
                    <a:cubicBezTo>
                      <a:pt x="5169663" y="5127469"/>
                      <a:pt x="5169418" y="5127223"/>
                      <a:pt x="5169171" y="5127223"/>
                    </a:cubicBezTo>
                    <a:cubicBezTo>
                      <a:pt x="5168922" y="5127223"/>
                      <a:pt x="5168677" y="5127469"/>
                      <a:pt x="5168677" y="5127718"/>
                    </a:cubicBezTo>
                    <a:cubicBezTo>
                      <a:pt x="5168677" y="5127964"/>
                      <a:pt x="5168922" y="5128209"/>
                      <a:pt x="5169171" y="5128209"/>
                    </a:cubicBezTo>
                    <a:cubicBezTo>
                      <a:pt x="5169418" y="5128209"/>
                      <a:pt x="5169663" y="5127964"/>
                      <a:pt x="5169663" y="5127718"/>
                    </a:cubicBezTo>
                    <a:close/>
                    <a:moveTo>
                      <a:pt x="5171390" y="6603473"/>
                    </a:moveTo>
                    <a:cubicBezTo>
                      <a:pt x="5171390" y="6601499"/>
                      <a:pt x="5169663" y="6599773"/>
                      <a:pt x="5167690" y="6599773"/>
                    </a:cubicBezTo>
                    <a:cubicBezTo>
                      <a:pt x="5165718" y="6599773"/>
                      <a:pt x="5163991" y="6601499"/>
                      <a:pt x="5163991" y="6603473"/>
                    </a:cubicBezTo>
                    <a:cubicBezTo>
                      <a:pt x="5163991" y="6605445"/>
                      <a:pt x="5165718" y="6607168"/>
                      <a:pt x="5167690" y="6607168"/>
                    </a:cubicBezTo>
                    <a:cubicBezTo>
                      <a:pt x="5169663" y="6607168"/>
                      <a:pt x="5171390" y="6605445"/>
                      <a:pt x="5171390" y="6603473"/>
                    </a:cubicBezTo>
                    <a:close/>
                    <a:moveTo>
                      <a:pt x="5171882" y="3821112"/>
                    </a:moveTo>
                    <a:cubicBezTo>
                      <a:pt x="5171882" y="3814457"/>
                      <a:pt x="5166705" y="3809030"/>
                      <a:pt x="5160046" y="3809030"/>
                    </a:cubicBezTo>
                    <a:cubicBezTo>
                      <a:pt x="5153637" y="3809030"/>
                      <a:pt x="5148210" y="3814457"/>
                      <a:pt x="5148210" y="3821112"/>
                    </a:cubicBezTo>
                    <a:cubicBezTo>
                      <a:pt x="5148210" y="3827524"/>
                      <a:pt x="5153388" y="3832947"/>
                      <a:pt x="5160046" y="3832947"/>
                    </a:cubicBezTo>
                    <a:cubicBezTo>
                      <a:pt x="5166705" y="3832947"/>
                      <a:pt x="5172128" y="3827524"/>
                      <a:pt x="5171882" y="3821112"/>
                    </a:cubicBezTo>
                    <a:close/>
                    <a:moveTo>
                      <a:pt x="5175086" y="2329178"/>
                    </a:moveTo>
                    <a:cubicBezTo>
                      <a:pt x="5175086" y="2322517"/>
                      <a:pt x="5169909" y="2317347"/>
                      <a:pt x="5163250" y="2317347"/>
                    </a:cubicBezTo>
                    <a:cubicBezTo>
                      <a:pt x="5156593" y="2317347"/>
                      <a:pt x="5151415" y="2322766"/>
                      <a:pt x="5151415" y="2329178"/>
                    </a:cubicBezTo>
                    <a:cubicBezTo>
                      <a:pt x="5151415" y="2335844"/>
                      <a:pt x="5156841" y="2341027"/>
                      <a:pt x="5163250" y="2341027"/>
                    </a:cubicBezTo>
                    <a:cubicBezTo>
                      <a:pt x="5169909" y="2341027"/>
                      <a:pt x="5175086" y="2335597"/>
                      <a:pt x="5175086" y="2329178"/>
                    </a:cubicBezTo>
                    <a:close/>
                    <a:moveTo>
                      <a:pt x="5176568" y="6724296"/>
                    </a:moveTo>
                    <a:cubicBezTo>
                      <a:pt x="5176568" y="6721338"/>
                      <a:pt x="5174101" y="6718870"/>
                      <a:pt x="5171144" y="6718870"/>
                    </a:cubicBezTo>
                    <a:cubicBezTo>
                      <a:pt x="5168186" y="6718870"/>
                      <a:pt x="5165718" y="6721338"/>
                      <a:pt x="5165718" y="6724296"/>
                    </a:cubicBezTo>
                    <a:cubicBezTo>
                      <a:pt x="5165718" y="6727253"/>
                      <a:pt x="5168186" y="6729720"/>
                      <a:pt x="5171144" y="6729720"/>
                    </a:cubicBezTo>
                    <a:cubicBezTo>
                      <a:pt x="5174101" y="6729720"/>
                      <a:pt x="5176568" y="6727253"/>
                      <a:pt x="5176568" y="6724296"/>
                    </a:cubicBezTo>
                    <a:close/>
                    <a:moveTo>
                      <a:pt x="5180021" y="1644031"/>
                    </a:moveTo>
                    <a:cubicBezTo>
                      <a:pt x="5180021" y="1618630"/>
                      <a:pt x="5159308" y="1597920"/>
                      <a:pt x="5133911" y="1597920"/>
                    </a:cubicBezTo>
                    <a:cubicBezTo>
                      <a:pt x="5108512" y="1597920"/>
                      <a:pt x="5087800" y="1618630"/>
                      <a:pt x="5087800" y="1644031"/>
                    </a:cubicBezTo>
                    <a:cubicBezTo>
                      <a:pt x="5087800" y="1669426"/>
                      <a:pt x="5108512" y="1690139"/>
                      <a:pt x="5133911" y="1690139"/>
                    </a:cubicBezTo>
                    <a:cubicBezTo>
                      <a:pt x="5159308" y="1690139"/>
                      <a:pt x="5180021" y="1669426"/>
                      <a:pt x="5180021" y="1644031"/>
                    </a:cubicBezTo>
                    <a:close/>
                    <a:moveTo>
                      <a:pt x="5181253" y="4207497"/>
                    </a:moveTo>
                    <a:cubicBezTo>
                      <a:pt x="5181253" y="4190235"/>
                      <a:pt x="5167196" y="4176181"/>
                      <a:pt x="5149937" y="4176181"/>
                    </a:cubicBezTo>
                    <a:cubicBezTo>
                      <a:pt x="5132430" y="4176181"/>
                      <a:pt x="5118375" y="4190235"/>
                      <a:pt x="5118375" y="4207497"/>
                    </a:cubicBezTo>
                    <a:cubicBezTo>
                      <a:pt x="5118375" y="4225001"/>
                      <a:pt x="5132678" y="4239059"/>
                      <a:pt x="5149937" y="4239059"/>
                    </a:cubicBezTo>
                    <a:cubicBezTo>
                      <a:pt x="5167196" y="4239059"/>
                      <a:pt x="5181253" y="4225001"/>
                      <a:pt x="5181253" y="4207497"/>
                    </a:cubicBezTo>
                    <a:close/>
                    <a:moveTo>
                      <a:pt x="5181742" y="6844377"/>
                    </a:moveTo>
                    <a:cubicBezTo>
                      <a:pt x="5181742" y="6840185"/>
                      <a:pt x="5178292" y="6836732"/>
                      <a:pt x="5174101" y="6836732"/>
                    </a:cubicBezTo>
                    <a:cubicBezTo>
                      <a:pt x="5169907" y="6836732"/>
                      <a:pt x="5166456" y="6840185"/>
                      <a:pt x="5166456" y="6844377"/>
                    </a:cubicBezTo>
                    <a:cubicBezTo>
                      <a:pt x="5166456" y="6848568"/>
                      <a:pt x="5169907" y="6852018"/>
                      <a:pt x="5174101" y="6852018"/>
                    </a:cubicBezTo>
                    <a:cubicBezTo>
                      <a:pt x="5178538" y="6852018"/>
                      <a:pt x="5181991" y="6848568"/>
                      <a:pt x="5181742" y="6844377"/>
                    </a:cubicBezTo>
                    <a:close/>
                    <a:moveTo>
                      <a:pt x="5183472" y="4466896"/>
                    </a:moveTo>
                    <a:cubicBezTo>
                      <a:pt x="5183472" y="4441252"/>
                      <a:pt x="5162759" y="4420539"/>
                      <a:pt x="5137115" y="4420539"/>
                    </a:cubicBezTo>
                    <a:cubicBezTo>
                      <a:pt x="5111472" y="4420539"/>
                      <a:pt x="5090759" y="4441252"/>
                      <a:pt x="5090759" y="4466896"/>
                    </a:cubicBezTo>
                    <a:cubicBezTo>
                      <a:pt x="5090759" y="4492540"/>
                      <a:pt x="5111472" y="4513497"/>
                      <a:pt x="5137115" y="4513497"/>
                    </a:cubicBezTo>
                    <a:cubicBezTo>
                      <a:pt x="5162513" y="4513497"/>
                      <a:pt x="5183472" y="4492540"/>
                      <a:pt x="5183472" y="4466896"/>
                    </a:cubicBezTo>
                    <a:close/>
                    <a:moveTo>
                      <a:pt x="5186922" y="3706455"/>
                    </a:moveTo>
                    <a:cubicBezTo>
                      <a:pt x="5186922" y="3702507"/>
                      <a:pt x="5183718" y="3699056"/>
                      <a:pt x="5179527" y="3699056"/>
                    </a:cubicBezTo>
                    <a:cubicBezTo>
                      <a:pt x="5175579" y="3699056"/>
                      <a:pt x="5172128" y="3702261"/>
                      <a:pt x="5172128" y="3706455"/>
                    </a:cubicBezTo>
                    <a:cubicBezTo>
                      <a:pt x="5172128" y="3710400"/>
                      <a:pt x="5175332" y="3713850"/>
                      <a:pt x="5179527" y="3713850"/>
                    </a:cubicBezTo>
                    <a:cubicBezTo>
                      <a:pt x="5183718" y="3713850"/>
                      <a:pt x="5187168" y="3710400"/>
                      <a:pt x="5186922" y="3706455"/>
                    </a:cubicBezTo>
                    <a:close/>
                    <a:moveTo>
                      <a:pt x="5188649" y="1510400"/>
                    </a:moveTo>
                    <a:cubicBezTo>
                      <a:pt x="5188649" y="1486729"/>
                      <a:pt x="5169415" y="1467250"/>
                      <a:pt x="5145497" y="1467250"/>
                    </a:cubicBezTo>
                    <a:cubicBezTo>
                      <a:pt x="5121826" y="1467250"/>
                      <a:pt x="5102346" y="1486480"/>
                      <a:pt x="5102346" y="1510400"/>
                    </a:cubicBezTo>
                    <a:cubicBezTo>
                      <a:pt x="5102346" y="1534073"/>
                      <a:pt x="5121580" y="1553553"/>
                      <a:pt x="5145497" y="1553553"/>
                    </a:cubicBezTo>
                    <a:cubicBezTo>
                      <a:pt x="5169168" y="1553553"/>
                      <a:pt x="5188649" y="1534073"/>
                      <a:pt x="5188649" y="1510400"/>
                    </a:cubicBezTo>
                    <a:close/>
                    <a:moveTo>
                      <a:pt x="5188650" y="839816"/>
                    </a:moveTo>
                    <a:cubicBezTo>
                      <a:pt x="5188650" y="815156"/>
                      <a:pt x="5168431" y="794932"/>
                      <a:pt x="5143774" y="794932"/>
                    </a:cubicBezTo>
                    <a:cubicBezTo>
                      <a:pt x="5119116" y="794932"/>
                      <a:pt x="5098895" y="815156"/>
                      <a:pt x="5098895" y="839816"/>
                    </a:cubicBezTo>
                    <a:cubicBezTo>
                      <a:pt x="5098895" y="864466"/>
                      <a:pt x="5119116" y="884685"/>
                      <a:pt x="5143774" y="884685"/>
                    </a:cubicBezTo>
                    <a:cubicBezTo>
                      <a:pt x="5168678" y="884685"/>
                      <a:pt x="5188650" y="864466"/>
                      <a:pt x="5188650" y="839816"/>
                    </a:cubicBezTo>
                    <a:close/>
                    <a:moveTo>
                      <a:pt x="5189639" y="3127576"/>
                    </a:moveTo>
                    <a:cubicBezTo>
                      <a:pt x="5189639" y="3110563"/>
                      <a:pt x="5175830" y="3096754"/>
                      <a:pt x="5158815" y="3096754"/>
                    </a:cubicBezTo>
                    <a:cubicBezTo>
                      <a:pt x="5141801" y="3096754"/>
                      <a:pt x="5127993" y="3110563"/>
                      <a:pt x="5127993" y="3127576"/>
                    </a:cubicBezTo>
                    <a:cubicBezTo>
                      <a:pt x="5127993" y="3144590"/>
                      <a:pt x="5141801" y="3158401"/>
                      <a:pt x="5158815" y="3158401"/>
                    </a:cubicBezTo>
                    <a:cubicBezTo>
                      <a:pt x="5175830" y="3158401"/>
                      <a:pt x="5189639" y="3144590"/>
                      <a:pt x="5189639" y="3127576"/>
                    </a:cubicBezTo>
                    <a:close/>
                    <a:moveTo>
                      <a:pt x="5190373" y="2740453"/>
                    </a:moveTo>
                    <a:cubicBezTo>
                      <a:pt x="5190373" y="2716290"/>
                      <a:pt x="5170896" y="2696810"/>
                      <a:pt x="5146731" y="2696810"/>
                    </a:cubicBezTo>
                    <a:cubicBezTo>
                      <a:pt x="5122567" y="2696810"/>
                      <a:pt x="5103086" y="2716290"/>
                      <a:pt x="5103086" y="2740453"/>
                    </a:cubicBezTo>
                    <a:cubicBezTo>
                      <a:pt x="5103086" y="2764622"/>
                      <a:pt x="5122813" y="2784098"/>
                      <a:pt x="5146731" y="2784098"/>
                    </a:cubicBezTo>
                    <a:cubicBezTo>
                      <a:pt x="5170896" y="2784098"/>
                      <a:pt x="5190373" y="2764622"/>
                      <a:pt x="5190373" y="2740453"/>
                    </a:cubicBezTo>
                    <a:close/>
                    <a:moveTo>
                      <a:pt x="5191362" y="7079364"/>
                    </a:moveTo>
                    <a:cubicBezTo>
                      <a:pt x="5191362" y="7076897"/>
                      <a:pt x="5189389" y="7074679"/>
                      <a:pt x="5186676" y="7074679"/>
                    </a:cubicBezTo>
                    <a:cubicBezTo>
                      <a:pt x="5183963" y="7074679"/>
                      <a:pt x="5181744" y="7076652"/>
                      <a:pt x="5181744" y="7079364"/>
                    </a:cubicBezTo>
                    <a:cubicBezTo>
                      <a:pt x="5181744" y="7082077"/>
                      <a:pt x="5183963" y="7084296"/>
                      <a:pt x="5186676" y="7084296"/>
                    </a:cubicBezTo>
                    <a:cubicBezTo>
                      <a:pt x="5189389" y="7084296"/>
                      <a:pt x="5191362" y="7082323"/>
                      <a:pt x="5191362" y="7079364"/>
                    </a:cubicBezTo>
                    <a:close/>
                    <a:moveTo>
                      <a:pt x="5192841" y="715311"/>
                    </a:moveTo>
                    <a:cubicBezTo>
                      <a:pt x="5192841" y="690902"/>
                      <a:pt x="5172869" y="670931"/>
                      <a:pt x="5148457" y="670931"/>
                    </a:cubicBezTo>
                    <a:cubicBezTo>
                      <a:pt x="5124045" y="670931"/>
                      <a:pt x="5104073" y="690902"/>
                      <a:pt x="5104073" y="715311"/>
                    </a:cubicBezTo>
                    <a:cubicBezTo>
                      <a:pt x="5104073" y="739726"/>
                      <a:pt x="5124045" y="759693"/>
                      <a:pt x="5148457" y="759693"/>
                    </a:cubicBezTo>
                    <a:cubicBezTo>
                      <a:pt x="5173115" y="759693"/>
                      <a:pt x="5192841" y="739726"/>
                      <a:pt x="5192841" y="715311"/>
                    </a:cubicBezTo>
                    <a:close/>
                    <a:moveTo>
                      <a:pt x="5193581" y="6960514"/>
                    </a:moveTo>
                    <a:cubicBezTo>
                      <a:pt x="5193581" y="6955582"/>
                      <a:pt x="5189635" y="6951391"/>
                      <a:pt x="5184456" y="6951391"/>
                    </a:cubicBezTo>
                    <a:cubicBezTo>
                      <a:pt x="5179524" y="6951391"/>
                      <a:pt x="5175332" y="6955337"/>
                      <a:pt x="5175332" y="6960514"/>
                    </a:cubicBezTo>
                    <a:cubicBezTo>
                      <a:pt x="5175332" y="6965446"/>
                      <a:pt x="5179277" y="6969640"/>
                      <a:pt x="5184456" y="6969640"/>
                    </a:cubicBezTo>
                    <a:cubicBezTo>
                      <a:pt x="5189387" y="6969640"/>
                      <a:pt x="5193581" y="6965446"/>
                      <a:pt x="5193581" y="6960514"/>
                    </a:cubicBezTo>
                    <a:close/>
                    <a:moveTo>
                      <a:pt x="5195553" y="3590317"/>
                    </a:moveTo>
                    <a:cubicBezTo>
                      <a:pt x="5195553" y="3588099"/>
                      <a:pt x="5193580" y="3586126"/>
                      <a:pt x="5191359" y="3586126"/>
                    </a:cubicBezTo>
                    <a:cubicBezTo>
                      <a:pt x="5189140" y="3586126"/>
                      <a:pt x="5187168" y="3588099"/>
                      <a:pt x="5187168" y="3590317"/>
                    </a:cubicBezTo>
                    <a:cubicBezTo>
                      <a:pt x="5187168" y="3592538"/>
                      <a:pt x="5189140" y="3594509"/>
                      <a:pt x="5191359" y="3594509"/>
                    </a:cubicBezTo>
                    <a:cubicBezTo>
                      <a:pt x="5193580" y="3594509"/>
                      <a:pt x="5195304" y="3592785"/>
                      <a:pt x="5195553" y="3590317"/>
                    </a:cubicBezTo>
                    <a:close/>
                    <a:moveTo>
                      <a:pt x="5195553" y="7197968"/>
                    </a:moveTo>
                    <a:cubicBezTo>
                      <a:pt x="5195553" y="7194268"/>
                      <a:pt x="5192594" y="7191309"/>
                      <a:pt x="5188895" y="7191309"/>
                    </a:cubicBezTo>
                    <a:cubicBezTo>
                      <a:pt x="5184950" y="7191309"/>
                      <a:pt x="5181991" y="7194268"/>
                      <a:pt x="5181991" y="7197968"/>
                    </a:cubicBezTo>
                    <a:cubicBezTo>
                      <a:pt x="5181991" y="7201913"/>
                      <a:pt x="5185196" y="7204872"/>
                      <a:pt x="5188895" y="7204872"/>
                    </a:cubicBezTo>
                    <a:cubicBezTo>
                      <a:pt x="5192594" y="7204872"/>
                      <a:pt x="5195799" y="7201913"/>
                      <a:pt x="5195553" y="7197968"/>
                    </a:cubicBezTo>
                    <a:close/>
                    <a:moveTo>
                      <a:pt x="5196540" y="3473933"/>
                    </a:moveTo>
                    <a:cubicBezTo>
                      <a:pt x="5196540" y="3472948"/>
                      <a:pt x="5195802" y="3472207"/>
                      <a:pt x="5194815" y="3472207"/>
                    </a:cubicBezTo>
                    <a:cubicBezTo>
                      <a:pt x="5193830" y="3472207"/>
                      <a:pt x="5193089" y="3472948"/>
                      <a:pt x="5193089" y="3473933"/>
                    </a:cubicBezTo>
                    <a:cubicBezTo>
                      <a:pt x="5193089" y="3474920"/>
                      <a:pt x="5193830" y="3475658"/>
                      <a:pt x="5194815" y="3475658"/>
                    </a:cubicBezTo>
                    <a:cubicBezTo>
                      <a:pt x="5195802" y="3475658"/>
                      <a:pt x="5196540" y="3474920"/>
                      <a:pt x="5196540" y="3473933"/>
                    </a:cubicBezTo>
                    <a:close/>
                    <a:moveTo>
                      <a:pt x="5197524" y="592243"/>
                    </a:moveTo>
                    <a:cubicBezTo>
                      <a:pt x="5197524" y="567587"/>
                      <a:pt x="5177552" y="547615"/>
                      <a:pt x="5152894" y="547615"/>
                    </a:cubicBezTo>
                    <a:cubicBezTo>
                      <a:pt x="5128236" y="547615"/>
                      <a:pt x="5108264" y="567587"/>
                      <a:pt x="5108264" y="592243"/>
                    </a:cubicBezTo>
                    <a:cubicBezTo>
                      <a:pt x="5108264" y="616899"/>
                      <a:pt x="5128236" y="636873"/>
                      <a:pt x="5152894" y="636873"/>
                    </a:cubicBezTo>
                    <a:cubicBezTo>
                      <a:pt x="5177800" y="636873"/>
                      <a:pt x="5197772" y="616654"/>
                      <a:pt x="5197524" y="592243"/>
                    </a:cubicBezTo>
                    <a:close/>
                    <a:moveTo>
                      <a:pt x="5197772" y="5266046"/>
                    </a:moveTo>
                    <a:cubicBezTo>
                      <a:pt x="5197772" y="5257909"/>
                      <a:pt x="5191113" y="5251251"/>
                      <a:pt x="5182977" y="5251251"/>
                    </a:cubicBezTo>
                    <a:cubicBezTo>
                      <a:pt x="5174841" y="5251251"/>
                      <a:pt x="5168182" y="5257909"/>
                      <a:pt x="5168182" y="5266046"/>
                    </a:cubicBezTo>
                    <a:cubicBezTo>
                      <a:pt x="5168182" y="5274182"/>
                      <a:pt x="5174841" y="5280840"/>
                      <a:pt x="5182977" y="5280840"/>
                    </a:cubicBezTo>
                    <a:cubicBezTo>
                      <a:pt x="5191113" y="5280840"/>
                      <a:pt x="5197772" y="5274182"/>
                      <a:pt x="5197772" y="5266046"/>
                    </a:cubicBezTo>
                    <a:close/>
                    <a:moveTo>
                      <a:pt x="5199747" y="469226"/>
                    </a:moveTo>
                    <a:cubicBezTo>
                      <a:pt x="5199747" y="445064"/>
                      <a:pt x="5180267" y="425585"/>
                      <a:pt x="5156101" y="425585"/>
                    </a:cubicBezTo>
                    <a:cubicBezTo>
                      <a:pt x="5131938" y="425585"/>
                      <a:pt x="5112458" y="445064"/>
                      <a:pt x="5112458" y="469226"/>
                    </a:cubicBezTo>
                    <a:cubicBezTo>
                      <a:pt x="5112458" y="493391"/>
                      <a:pt x="5132184" y="512871"/>
                      <a:pt x="5156101" y="512871"/>
                    </a:cubicBezTo>
                    <a:cubicBezTo>
                      <a:pt x="5180267" y="512871"/>
                      <a:pt x="5199747" y="493391"/>
                      <a:pt x="5199747" y="469226"/>
                    </a:cubicBezTo>
                    <a:close/>
                    <a:moveTo>
                      <a:pt x="5201472" y="5401661"/>
                    </a:moveTo>
                    <a:cubicBezTo>
                      <a:pt x="5201472" y="5398210"/>
                      <a:pt x="5198759" y="5395497"/>
                      <a:pt x="5195305" y="5395497"/>
                    </a:cubicBezTo>
                    <a:cubicBezTo>
                      <a:pt x="5191854" y="5395497"/>
                      <a:pt x="5189141" y="5398210"/>
                      <a:pt x="5189141" y="5401661"/>
                    </a:cubicBezTo>
                    <a:cubicBezTo>
                      <a:pt x="5189141" y="5405114"/>
                      <a:pt x="5191854" y="5407828"/>
                      <a:pt x="5195305" y="5407828"/>
                    </a:cubicBezTo>
                    <a:cubicBezTo>
                      <a:pt x="5198759" y="5407828"/>
                      <a:pt x="5201472" y="5405114"/>
                      <a:pt x="5201472" y="5401661"/>
                    </a:cubicBezTo>
                    <a:close/>
                    <a:moveTo>
                      <a:pt x="5202706" y="347445"/>
                    </a:moveTo>
                    <a:cubicBezTo>
                      <a:pt x="5202706" y="323526"/>
                      <a:pt x="5183472" y="304296"/>
                      <a:pt x="5159555" y="304296"/>
                    </a:cubicBezTo>
                    <a:cubicBezTo>
                      <a:pt x="5135635" y="304296"/>
                      <a:pt x="5116403" y="323775"/>
                      <a:pt x="5116403" y="347445"/>
                    </a:cubicBezTo>
                    <a:cubicBezTo>
                      <a:pt x="5116403" y="371361"/>
                      <a:pt x="5135883" y="390594"/>
                      <a:pt x="5159555" y="390594"/>
                    </a:cubicBezTo>
                    <a:cubicBezTo>
                      <a:pt x="5183225" y="390594"/>
                      <a:pt x="5202457" y="371361"/>
                      <a:pt x="5202706" y="347445"/>
                    </a:cubicBezTo>
                    <a:close/>
                    <a:moveTo>
                      <a:pt x="5202950" y="1378749"/>
                    </a:moveTo>
                    <a:cubicBezTo>
                      <a:pt x="5202950" y="1352856"/>
                      <a:pt x="5181746" y="1331645"/>
                      <a:pt x="5155856" y="1331645"/>
                    </a:cubicBezTo>
                    <a:cubicBezTo>
                      <a:pt x="5129966" y="1331645"/>
                      <a:pt x="5108759" y="1352856"/>
                      <a:pt x="5108759" y="1378749"/>
                    </a:cubicBezTo>
                    <a:cubicBezTo>
                      <a:pt x="5108759" y="1404883"/>
                      <a:pt x="5129966" y="1425846"/>
                      <a:pt x="5155856" y="1425846"/>
                    </a:cubicBezTo>
                    <a:cubicBezTo>
                      <a:pt x="5181746" y="1425846"/>
                      <a:pt x="5202704" y="1404637"/>
                      <a:pt x="5202950" y="1378749"/>
                    </a:cubicBezTo>
                    <a:close/>
                    <a:moveTo>
                      <a:pt x="5203444" y="4618786"/>
                    </a:moveTo>
                    <a:cubicBezTo>
                      <a:pt x="5203444" y="4599305"/>
                      <a:pt x="5187663" y="4583524"/>
                      <a:pt x="5168184" y="4583524"/>
                    </a:cubicBezTo>
                    <a:cubicBezTo>
                      <a:pt x="5148703" y="4583524"/>
                      <a:pt x="5132922" y="4599305"/>
                      <a:pt x="5132922" y="4618786"/>
                    </a:cubicBezTo>
                    <a:cubicBezTo>
                      <a:pt x="5132922" y="4638266"/>
                      <a:pt x="5148703" y="4654046"/>
                      <a:pt x="5168184" y="4654046"/>
                    </a:cubicBezTo>
                    <a:cubicBezTo>
                      <a:pt x="5187663" y="4654046"/>
                      <a:pt x="5203690" y="4638266"/>
                      <a:pt x="5203444" y="4618786"/>
                    </a:cubicBezTo>
                    <a:close/>
                    <a:moveTo>
                      <a:pt x="5203935" y="2180762"/>
                    </a:moveTo>
                    <a:cubicBezTo>
                      <a:pt x="5203935" y="2172869"/>
                      <a:pt x="5197278" y="2166455"/>
                      <a:pt x="5189390" y="2166455"/>
                    </a:cubicBezTo>
                    <a:cubicBezTo>
                      <a:pt x="5181497" y="2166455"/>
                      <a:pt x="5175087" y="2172869"/>
                      <a:pt x="5175087" y="2180762"/>
                    </a:cubicBezTo>
                    <a:cubicBezTo>
                      <a:pt x="5175087" y="2188895"/>
                      <a:pt x="5181497" y="2195305"/>
                      <a:pt x="5189390" y="2195305"/>
                    </a:cubicBezTo>
                    <a:cubicBezTo>
                      <a:pt x="5197525" y="2195305"/>
                      <a:pt x="5203935" y="2188648"/>
                      <a:pt x="5203935" y="2180762"/>
                    </a:cubicBezTo>
                    <a:close/>
                    <a:moveTo>
                      <a:pt x="5204921" y="226650"/>
                    </a:moveTo>
                    <a:cubicBezTo>
                      <a:pt x="5204921" y="203229"/>
                      <a:pt x="5185936" y="183995"/>
                      <a:pt x="5162265" y="183995"/>
                    </a:cubicBezTo>
                    <a:cubicBezTo>
                      <a:pt x="5138840" y="183995"/>
                      <a:pt x="5119608" y="202980"/>
                      <a:pt x="5119608" y="226650"/>
                    </a:cubicBezTo>
                    <a:cubicBezTo>
                      <a:pt x="5119608" y="250074"/>
                      <a:pt x="5138593" y="269305"/>
                      <a:pt x="5162265" y="269305"/>
                    </a:cubicBezTo>
                    <a:cubicBezTo>
                      <a:pt x="5185690" y="269305"/>
                      <a:pt x="5204921" y="250074"/>
                      <a:pt x="5204921" y="226650"/>
                    </a:cubicBezTo>
                    <a:close/>
                    <a:moveTo>
                      <a:pt x="5206897" y="106350"/>
                    </a:moveTo>
                    <a:cubicBezTo>
                      <a:pt x="5206897" y="82927"/>
                      <a:pt x="5188158" y="63941"/>
                      <a:pt x="5164732" y="63941"/>
                    </a:cubicBezTo>
                    <a:cubicBezTo>
                      <a:pt x="5141306" y="63941"/>
                      <a:pt x="5122321" y="82927"/>
                      <a:pt x="5122321" y="106350"/>
                    </a:cubicBezTo>
                    <a:cubicBezTo>
                      <a:pt x="5122321" y="129526"/>
                      <a:pt x="5141306" y="148513"/>
                      <a:pt x="5164732" y="148513"/>
                    </a:cubicBezTo>
                    <a:cubicBezTo>
                      <a:pt x="5187909" y="148513"/>
                      <a:pt x="5206897" y="129526"/>
                      <a:pt x="5206897" y="106350"/>
                    </a:cubicBezTo>
                    <a:close/>
                    <a:moveTo>
                      <a:pt x="5208376" y="5535801"/>
                    </a:moveTo>
                    <a:cubicBezTo>
                      <a:pt x="5208376" y="5534320"/>
                      <a:pt x="5206895" y="5533088"/>
                      <a:pt x="5205416" y="5533088"/>
                    </a:cubicBezTo>
                    <a:cubicBezTo>
                      <a:pt x="5203690" y="5533088"/>
                      <a:pt x="5202457" y="5534320"/>
                      <a:pt x="5202457" y="5535801"/>
                    </a:cubicBezTo>
                    <a:cubicBezTo>
                      <a:pt x="5202457" y="5537525"/>
                      <a:pt x="5203935" y="5538760"/>
                      <a:pt x="5205416" y="5538760"/>
                    </a:cubicBezTo>
                    <a:cubicBezTo>
                      <a:pt x="5207144" y="5538760"/>
                      <a:pt x="5208376" y="5537525"/>
                      <a:pt x="5208376" y="5535801"/>
                    </a:cubicBezTo>
                    <a:close/>
                    <a:moveTo>
                      <a:pt x="5208623" y="3242235"/>
                    </a:moveTo>
                    <a:cubicBezTo>
                      <a:pt x="5208623" y="3225716"/>
                      <a:pt x="5195061" y="3212399"/>
                      <a:pt x="5178786" y="3212399"/>
                    </a:cubicBezTo>
                    <a:cubicBezTo>
                      <a:pt x="5162267" y="3212399"/>
                      <a:pt x="5148950" y="3225716"/>
                      <a:pt x="5148950" y="3242235"/>
                    </a:cubicBezTo>
                    <a:cubicBezTo>
                      <a:pt x="5148950" y="3258753"/>
                      <a:pt x="5162267" y="3272073"/>
                      <a:pt x="5178786" y="3272073"/>
                    </a:cubicBezTo>
                    <a:cubicBezTo>
                      <a:pt x="5195061" y="3272073"/>
                      <a:pt x="5208375" y="3258508"/>
                      <a:pt x="5208623" y="3242235"/>
                    </a:cubicBezTo>
                    <a:close/>
                    <a:moveTo>
                      <a:pt x="5209853" y="2003708"/>
                    </a:moveTo>
                    <a:cubicBezTo>
                      <a:pt x="5209853" y="1989907"/>
                      <a:pt x="5198757" y="1978816"/>
                      <a:pt x="5184950" y="1978816"/>
                    </a:cubicBezTo>
                    <a:cubicBezTo>
                      <a:pt x="5171141" y="1978816"/>
                      <a:pt x="5160046" y="1990152"/>
                      <a:pt x="5160046" y="2003708"/>
                    </a:cubicBezTo>
                    <a:cubicBezTo>
                      <a:pt x="5160046" y="2017511"/>
                      <a:pt x="5171387" y="2028609"/>
                      <a:pt x="5184950" y="2028609"/>
                    </a:cubicBezTo>
                    <a:cubicBezTo>
                      <a:pt x="5198512" y="2028609"/>
                      <a:pt x="5209607" y="2017511"/>
                      <a:pt x="5209853" y="2003708"/>
                    </a:cubicBezTo>
                    <a:close/>
                    <a:moveTo>
                      <a:pt x="5210593" y="1248574"/>
                    </a:moveTo>
                    <a:cubicBezTo>
                      <a:pt x="5210593" y="1223178"/>
                      <a:pt x="5189881" y="1202465"/>
                      <a:pt x="5164486" y="1202465"/>
                    </a:cubicBezTo>
                    <a:cubicBezTo>
                      <a:pt x="5139087" y="1202465"/>
                      <a:pt x="5118375" y="1223178"/>
                      <a:pt x="5118375" y="1248574"/>
                    </a:cubicBezTo>
                    <a:cubicBezTo>
                      <a:pt x="5118375" y="1273725"/>
                      <a:pt x="5139087" y="1294428"/>
                      <a:pt x="5164486" y="1294428"/>
                    </a:cubicBezTo>
                    <a:cubicBezTo>
                      <a:pt x="5189635" y="1294428"/>
                      <a:pt x="5210347" y="1273725"/>
                      <a:pt x="5210593" y="1248574"/>
                    </a:cubicBezTo>
                    <a:close/>
                    <a:moveTo>
                      <a:pt x="5214047" y="4766482"/>
                    </a:moveTo>
                    <a:cubicBezTo>
                      <a:pt x="5214047" y="4756124"/>
                      <a:pt x="5205663" y="4747742"/>
                      <a:pt x="5195308" y="4747742"/>
                    </a:cubicBezTo>
                    <a:cubicBezTo>
                      <a:pt x="5184950" y="4747742"/>
                      <a:pt x="5176568" y="4756124"/>
                      <a:pt x="5176568" y="4766482"/>
                    </a:cubicBezTo>
                    <a:cubicBezTo>
                      <a:pt x="5176568" y="4776839"/>
                      <a:pt x="5184950" y="4785222"/>
                      <a:pt x="5195308" y="4785222"/>
                    </a:cubicBezTo>
                    <a:cubicBezTo>
                      <a:pt x="5205663" y="4785222"/>
                      <a:pt x="5214047" y="4776839"/>
                      <a:pt x="5214047" y="4766482"/>
                    </a:cubicBezTo>
                    <a:close/>
                    <a:moveTo>
                      <a:pt x="5214539" y="4099744"/>
                    </a:moveTo>
                    <a:cubicBezTo>
                      <a:pt x="5214539" y="4087908"/>
                      <a:pt x="5204922" y="4078537"/>
                      <a:pt x="5193334" y="4078537"/>
                    </a:cubicBezTo>
                    <a:cubicBezTo>
                      <a:pt x="5181746" y="4078537"/>
                      <a:pt x="5172128" y="4088154"/>
                      <a:pt x="5172128" y="4099744"/>
                    </a:cubicBezTo>
                    <a:cubicBezTo>
                      <a:pt x="5172128" y="4111576"/>
                      <a:pt x="5181746" y="4120947"/>
                      <a:pt x="5193334" y="4120947"/>
                    </a:cubicBezTo>
                    <a:cubicBezTo>
                      <a:pt x="5204922" y="4120947"/>
                      <a:pt x="5214539" y="4111576"/>
                      <a:pt x="5214539" y="4099744"/>
                    </a:cubicBezTo>
                    <a:close/>
                    <a:moveTo>
                      <a:pt x="5215527" y="5667472"/>
                    </a:moveTo>
                    <a:cubicBezTo>
                      <a:pt x="5215527" y="5667223"/>
                      <a:pt x="5215527" y="5666976"/>
                      <a:pt x="5215279" y="5666976"/>
                    </a:cubicBezTo>
                    <a:cubicBezTo>
                      <a:pt x="5215033" y="5666976"/>
                      <a:pt x="5214787" y="5667223"/>
                      <a:pt x="5214787" y="5667472"/>
                    </a:cubicBezTo>
                    <a:cubicBezTo>
                      <a:pt x="5214787" y="5667717"/>
                      <a:pt x="5215033" y="5667963"/>
                      <a:pt x="5215279" y="5667963"/>
                    </a:cubicBezTo>
                    <a:cubicBezTo>
                      <a:pt x="5215527" y="5667963"/>
                      <a:pt x="5215773" y="5667717"/>
                      <a:pt x="5215527" y="5667472"/>
                    </a:cubicBezTo>
                    <a:close/>
                    <a:moveTo>
                      <a:pt x="5216265" y="3357877"/>
                    </a:moveTo>
                    <a:cubicBezTo>
                      <a:pt x="5216265" y="3343820"/>
                      <a:pt x="5204924" y="3332464"/>
                      <a:pt x="5190870" y="3332464"/>
                    </a:cubicBezTo>
                    <a:cubicBezTo>
                      <a:pt x="5176813" y="3332464"/>
                      <a:pt x="5165472" y="3343820"/>
                      <a:pt x="5165472" y="3357877"/>
                    </a:cubicBezTo>
                    <a:cubicBezTo>
                      <a:pt x="5165472" y="3371919"/>
                      <a:pt x="5176813" y="3383271"/>
                      <a:pt x="5190870" y="3383271"/>
                    </a:cubicBezTo>
                    <a:cubicBezTo>
                      <a:pt x="5204924" y="3383271"/>
                      <a:pt x="5216265" y="3371919"/>
                      <a:pt x="5216265" y="3357877"/>
                    </a:cubicBezTo>
                    <a:close/>
                    <a:moveTo>
                      <a:pt x="5217993" y="2581175"/>
                    </a:moveTo>
                    <a:cubicBezTo>
                      <a:pt x="5217993" y="2565639"/>
                      <a:pt x="5205171" y="2552817"/>
                      <a:pt x="5189635" y="2552817"/>
                    </a:cubicBezTo>
                    <a:cubicBezTo>
                      <a:pt x="5174100" y="2552817"/>
                      <a:pt x="5161278" y="2565639"/>
                      <a:pt x="5161278" y="2581175"/>
                    </a:cubicBezTo>
                    <a:cubicBezTo>
                      <a:pt x="5161278" y="2596709"/>
                      <a:pt x="5174100" y="2609533"/>
                      <a:pt x="5189635" y="2609533"/>
                    </a:cubicBezTo>
                    <a:cubicBezTo>
                      <a:pt x="5205171" y="2609533"/>
                      <a:pt x="5217993" y="2596709"/>
                      <a:pt x="5217993" y="2581175"/>
                    </a:cubicBezTo>
                    <a:close/>
                    <a:moveTo>
                      <a:pt x="5218238" y="1119382"/>
                    </a:moveTo>
                    <a:cubicBezTo>
                      <a:pt x="5218238" y="1093743"/>
                      <a:pt x="5197280" y="1072784"/>
                      <a:pt x="5171637" y="1072784"/>
                    </a:cubicBezTo>
                    <a:cubicBezTo>
                      <a:pt x="5145993" y="1072784"/>
                      <a:pt x="5125033" y="1093743"/>
                      <a:pt x="5125033" y="1119382"/>
                    </a:cubicBezTo>
                    <a:cubicBezTo>
                      <a:pt x="5125033" y="1145026"/>
                      <a:pt x="5145993" y="1165989"/>
                      <a:pt x="5171637" y="1165989"/>
                    </a:cubicBezTo>
                    <a:cubicBezTo>
                      <a:pt x="5197280" y="1165989"/>
                      <a:pt x="5218238" y="1145026"/>
                      <a:pt x="5218238" y="1119382"/>
                    </a:cubicBezTo>
                    <a:close/>
                    <a:moveTo>
                      <a:pt x="5224650" y="5797418"/>
                    </a:moveTo>
                    <a:cubicBezTo>
                      <a:pt x="5224650" y="5797169"/>
                      <a:pt x="5224404" y="5796922"/>
                      <a:pt x="5224156" y="5796922"/>
                    </a:cubicBezTo>
                    <a:cubicBezTo>
                      <a:pt x="5223909" y="5796922"/>
                      <a:pt x="5223664" y="5797169"/>
                      <a:pt x="5223664" y="5797418"/>
                    </a:cubicBezTo>
                    <a:cubicBezTo>
                      <a:pt x="5223664" y="5797663"/>
                      <a:pt x="5223909" y="5797909"/>
                      <a:pt x="5224156" y="5797909"/>
                    </a:cubicBezTo>
                    <a:cubicBezTo>
                      <a:pt x="5224404" y="5797909"/>
                      <a:pt x="5224650" y="5797663"/>
                      <a:pt x="5224650" y="5797418"/>
                    </a:cubicBezTo>
                    <a:close/>
                    <a:moveTo>
                      <a:pt x="5224897" y="991925"/>
                    </a:moveTo>
                    <a:cubicBezTo>
                      <a:pt x="5224897" y="966279"/>
                      <a:pt x="5204184" y="945569"/>
                      <a:pt x="5178540" y="945569"/>
                    </a:cubicBezTo>
                    <a:cubicBezTo>
                      <a:pt x="5152897" y="945569"/>
                      <a:pt x="5132184" y="966279"/>
                      <a:pt x="5132184" y="991925"/>
                    </a:cubicBezTo>
                    <a:cubicBezTo>
                      <a:pt x="5132184" y="1017574"/>
                      <a:pt x="5152897" y="1038274"/>
                      <a:pt x="5178540" y="1038274"/>
                    </a:cubicBezTo>
                    <a:cubicBezTo>
                      <a:pt x="5203938" y="1038274"/>
                      <a:pt x="5224897" y="1017574"/>
                      <a:pt x="5224897" y="991925"/>
                    </a:cubicBezTo>
                    <a:close/>
                    <a:moveTo>
                      <a:pt x="5233033" y="4365798"/>
                    </a:moveTo>
                    <a:cubicBezTo>
                      <a:pt x="5233033" y="4344099"/>
                      <a:pt x="5215528" y="4326591"/>
                      <a:pt x="5193829" y="4326591"/>
                    </a:cubicBezTo>
                    <a:cubicBezTo>
                      <a:pt x="5172130" y="4326591"/>
                      <a:pt x="5154623" y="4344099"/>
                      <a:pt x="5154623" y="4365798"/>
                    </a:cubicBezTo>
                    <a:cubicBezTo>
                      <a:pt x="5154623" y="4387497"/>
                      <a:pt x="5172130" y="4405004"/>
                      <a:pt x="5193829" y="4405004"/>
                    </a:cubicBezTo>
                    <a:cubicBezTo>
                      <a:pt x="5215528" y="4405004"/>
                      <a:pt x="5233033" y="4387497"/>
                      <a:pt x="5233033" y="4365798"/>
                    </a:cubicBezTo>
                    <a:close/>
                    <a:moveTo>
                      <a:pt x="5233033" y="5926128"/>
                    </a:moveTo>
                    <a:cubicBezTo>
                      <a:pt x="5233033" y="5925391"/>
                      <a:pt x="5232541" y="5924896"/>
                      <a:pt x="5231800" y="5924896"/>
                    </a:cubicBezTo>
                    <a:cubicBezTo>
                      <a:pt x="5231060" y="5924896"/>
                      <a:pt x="5230568" y="5925391"/>
                      <a:pt x="5230568" y="5926128"/>
                    </a:cubicBezTo>
                    <a:cubicBezTo>
                      <a:pt x="5230568" y="5926869"/>
                      <a:pt x="5231060" y="5927364"/>
                      <a:pt x="5231800" y="5927364"/>
                    </a:cubicBezTo>
                    <a:cubicBezTo>
                      <a:pt x="5232541" y="5927364"/>
                      <a:pt x="5233033" y="5926869"/>
                      <a:pt x="5233033" y="5926128"/>
                    </a:cubicBezTo>
                    <a:close/>
                    <a:moveTo>
                      <a:pt x="5237224" y="2848209"/>
                    </a:moveTo>
                    <a:cubicBezTo>
                      <a:pt x="5237224" y="2822563"/>
                      <a:pt x="5216265" y="2801605"/>
                      <a:pt x="5190622" y="2801605"/>
                    </a:cubicBezTo>
                    <a:cubicBezTo>
                      <a:pt x="5164978" y="2801605"/>
                      <a:pt x="5144019" y="2822563"/>
                      <a:pt x="5144019" y="2848209"/>
                    </a:cubicBezTo>
                    <a:cubicBezTo>
                      <a:pt x="5144019" y="2873853"/>
                      <a:pt x="5164978" y="2894812"/>
                      <a:pt x="5190622" y="2894812"/>
                    </a:cubicBezTo>
                    <a:cubicBezTo>
                      <a:pt x="5216265" y="2894812"/>
                      <a:pt x="5237224" y="2873853"/>
                      <a:pt x="5237224" y="2848209"/>
                    </a:cubicBezTo>
                    <a:close/>
                    <a:moveTo>
                      <a:pt x="5237472" y="1862503"/>
                    </a:moveTo>
                    <a:cubicBezTo>
                      <a:pt x="5237472" y="1843526"/>
                      <a:pt x="5221937" y="1828000"/>
                      <a:pt x="5202952" y="1828000"/>
                    </a:cubicBezTo>
                    <a:cubicBezTo>
                      <a:pt x="5183966" y="1828000"/>
                      <a:pt x="5168431" y="1843526"/>
                      <a:pt x="5168431" y="1862503"/>
                    </a:cubicBezTo>
                    <a:cubicBezTo>
                      <a:pt x="5168431" y="1881481"/>
                      <a:pt x="5183966" y="1897007"/>
                      <a:pt x="5202952" y="1897007"/>
                    </a:cubicBezTo>
                    <a:cubicBezTo>
                      <a:pt x="5221937" y="1897007"/>
                      <a:pt x="5237472" y="1881481"/>
                      <a:pt x="5237472" y="1862503"/>
                    </a:cubicBezTo>
                    <a:close/>
                    <a:moveTo>
                      <a:pt x="5241664" y="4899387"/>
                    </a:moveTo>
                    <a:cubicBezTo>
                      <a:pt x="5241664" y="4892237"/>
                      <a:pt x="5235992" y="4886565"/>
                      <a:pt x="5228842" y="4886565"/>
                    </a:cubicBezTo>
                    <a:cubicBezTo>
                      <a:pt x="5221691" y="4886565"/>
                      <a:pt x="5216020" y="4892237"/>
                      <a:pt x="5216020" y="4899387"/>
                    </a:cubicBezTo>
                    <a:cubicBezTo>
                      <a:pt x="5216020" y="4906537"/>
                      <a:pt x="5221691" y="4912209"/>
                      <a:pt x="5228842" y="4912209"/>
                    </a:cubicBezTo>
                    <a:cubicBezTo>
                      <a:pt x="5235746" y="4912209"/>
                      <a:pt x="5241418" y="4906537"/>
                      <a:pt x="5241664" y="4899387"/>
                    </a:cubicBezTo>
                    <a:close/>
                    <a:moveTo>
                      <a:pt x="5243882" y="2426333"/>
                    </a:moveTo>
                    <a:cubicBezTo>
                      <a:pt x="5243882" y="2416719"/>
                      <a:pt x="5235995" y="2408827"/>
                      <a:pt x="5226377" y="2408827"/>
                    </a:cubicBezTo>
                    <a:cubicBezTo>
                      <a:pt x="5216760" y="2408827"/>
                      <a:pt x="5208870" y="2416719"/>
                      <a:pt x="5208870" y="2426333"/>
                    </a:cubicBezTo>
                    <a:cubicBezTo>
                      <a:pt x="5208870" y="2435955"/>
                      <a:pt x="5216760" y="2443845"/>
                      <a:pt x="5226377" y="2443845"/>
                    </a:cubicBezTo>
                    <a:cubicBezTo>
                      <a:pt x="5235995" y="2443845"/>
                      <a:pt x="5243637" y="2435955"/>
                      <a:pt x="5243882" y="2426333"/>
                    </a:cubicBezTo>
                    <a:close/>
                    <a:moveTo>
                      <a:pt x="5249063" y="5042649"/>
                    </a:moveTo>
                    <a:lnTo>
                      <a:pt x="5248815" y="5042649"/>
                    </a:lnTo>
                    <a:lnTo>
                      <a:pt x="5248568" y="5042649"/>
                    </a:lnTo>
                    <a:lnTo>
                      <a:pt x="5248815" y="5042895"/>
                    </a:lnTo>
                    <a:close/>
                    <a:moveTo>
                      <a:pt x="5250540" y="6046952"/>
                    </a:moveTo>
                    <a:cubicBezTo>
                      <a:pt x="5250540" y="6045720"/>
                      <a:pt x="5249552" y="6044733"/>
                      <a:pt x="5248319" y="6044733"/>
                    </a:cubicBezTo>
                    <a:cubicBezTo>
                      <a:pt x="5247087" y="6044733"/>
                      <a:pt x="5246100" y="6045720"/>
                      <a:pt x="5246100" y="6046952"/>
                    </a:cubicBezTo>
                    <a:cubicBezTo>
                      <a:pt x="5246100" y="6048185"/>
                      <a:pt x="5247087" y="6049170"/>
                      <a:pt x="5248319" y="6049170"/>
                    </a:cubicBezTo>
                    <a:cubicBezTo>
                      <a:pt x="5249552" y="6049170"/>
                      <a:pt x="5250540" y="6048185"/>
                      <a:pt x="5250540" y="6046952"/>
                    </a:cubicBezTo>
                    <a:close/>
                    <a:moveTo>
                      <a:pt x="5251031" y="3989524"/>
                    </a:moveTo>
                    <a:cubicBezTo>
                      <a:pt x="5251031" y="3977935"/>
                      <a:pt x="5241415" y="3968317"/>
                      <a:pt x="5229827" y="3968317"/>
                    </a:cubicBezTo>
                    <a:cubicBezTo>
                      <a:pt x="5217990" y="3968317"/>
                      <a:pt x="5208621" y="3977935"/>
                      <a:pt x="5208621" y="3989524"/>
                    </a:cubicBezTo>
                    <a:cubicBezTo>
                      <a:pt x="5208621" y="4001111"/>
                      <a:pt x="5218238" y="4010727"/>
                      <a:pt x="5229827" y="4010727"/>
                    </a:cubicBezTo>
                    <a:cubicBezTo>
                      <a:pt x="5241415" y="4010727"/>
                      <a:pt x="5251031" y="4001111"/>
                      <a:pt x="5251031" y="3989524"/>
                    </a:cubicBezTo>
                    <a:close/>
                    <a:moveTo>
                      <a:pt x="5253250" y="4521387"/>
                    </a:moveTo>
                    <a:cubicBezTo>
                      <a:pt x="5253250" y="4509057"/>
                      <a:pt x="5243141" y="4498948"/>
                      <a:pt x="5230812" y="4498948"/>
                    </a:cubicBezTo>
                    <a:cubicBezTo>
                      <a:pt x="5218730" y="4498948"/>
                      <a:pt x="5208621" y="4509057"/>
                      <a:pt x="5208621" y="4521387"/>
                    </a:cubicBezTo>
                    <a:cubicBezTo>
                      <a:pt x="5208621" y="4533468"/>
                      <a:pt x="5218484" y="4543577"/>
                      <a:pt x="5230812" y="4543577"/>
                    </a:cubicBezTo>
                    <a:cubicBezTo>
                      <a:pt x="5243141" y="4543577"/>
                      <a:pt x="5253250" y="4533468"/>
                      <a:pt x="5253250" y="4521387"/>
                    </a:cubicBezTo>
                    <a:close/>
                    <a:moveTo>
                      <a:pt x="5256455" y="6173445"/>
                    </a:moveTo>
                    <a:cubicBezTo>
                      <a:pt x="5256455" y="6172213"/>
                      <a:pt x="5255469" y="6171226"/>
                      <a:pt x="5254237" y="6171226"/>
                    </a:cubicBezTo>
                    <a:cubicBezTo>
                      <a:pt x="5253004" y="6171226"/>
                      <a:pt x="5252018" y="6172213"/>
                      <a:pt x="5252018" y="6173445"/>
                    </a:cubicBezTo>
                    <a:cubicBezTo>
                      <a:pt x="5252018" y="6174677"/>
                      <a:pt x="5253004" y="6175663"/>
                      <a:pt x="5254237" y="6175663"/>
                    </a:cubicBezTo>
                    <a:cubicBezTo>
                      <a:pt x="5255469" y="6175663"/>
                      <a:pt x="5256455" y="6174677"/>
                      <a:pt x="5256455" y="6173445"/>
                    </a:cubicBezTo>
                    <a:close/>
                    <a:moveTo>
                      <a:pt x="5261140" y="6299442"/>
                    </a:moveTo>
                    <a:cubicBezTo>
                      <a:pt x="5261140" y="6298210"/>
                      <a:pt x="5260154" y="6297224"/>
                      <a:pt x="5258922" y="6297224"/>
                    </a:cubicBezTo>
                    <a:cubicBezTo>
                      <a:pt x="5257690" y="6297224"/>
                      <a:pt x="5256704" y="6298210"/>
                      <a:pt x="5256704" y="6299442"/>
                    </a:cubicBezTo>
                    <a:cubicBezTo>
                      <a:pt x="5256704" y="6300677"/>
                      <a:pt x="5257690" y="6301660"/>
                      <a:pt x="5258922" y="6301660"/>
                    </a:cubicBezTo>
                    <a:cubicBezTo>
                      <a:pt x="5260402" y="6301660"/>
                      <a:pt x="5261389" y="6300677"/>
                      <a:pt x="5261140" y="6299442"/>
                    </a:cubicBezTo>
                    <a:close/>
                    <a:moveTo>
                      <a:pt x="5263855" y="1723659"/>
                    </a:moveTo>
                    <a:cubicBezTo>
                      <a:pt x="5263855" y="1698768"/>
                      <a:pt x="5243637" y="1678546"/>
                      <a:pt x="5218731" y="1678546"/>
                    </a:cubicBezTo>
                    <a:cubicBezTo>
                      <a:pt x="5194072" y="1678546"/>
                      <a:pt x="5173855" y="1698768"/>
                      <a:pt x="5173855" y="1723659"/>
                    </a:cubicBezTo>
                    <a:cubicBezTo>
                      <a:pt x="5173855" y="1748341"/>
                      <a:pt x="5193827" y="1768577"/>
                      <a:pt x="5218731" y="1768577"/>
                    </a:cubicBezTo>
                    <a:cubicBezTo>
                      <a:pt x="5243388" y="1768577"/>
                      <a:pt x="5263609" y="1748587"/>
                      <a:pt x="5263855" y="1723659"/>
                    </a:cubicBezTo>
                    <a:close/>
                    <a:moveTo>
                      <a:pt x="5266567" y="4261250"/>
                    </a:moveTo>
                    <a:cubicBezTo>
                      <a:pt x="5266567" y="4249167"/>
                      <a:pt x="5256704" y="4239304"/>
                      <a:pt x="5244622" y="4239304"/>
                    </a:cubicBezTo>
                    <a:cubicBezTo>
                      <a:pt x="5232787" y="4239304"/>
                      <a:pt x="5222924" y="4249167"/>
                      <a:pt x="5222924" y="4261250"/>
                    </a:cubicBezTo>
                    <a:cubicBezTo>
                      <a:pt x="5222924" y="4273334"/>
                      <a:pt x="5232541" y="4283194"/>
                      <a:pt x="5244622" y="4283194"/>
                    </a:cubicBezTo>
                    <a:cubicBezTo>
                      <a:pt x="5256704" y="4283194"/>
                      <a:pt x="5266321" y="4273579"/>
                      <a:pt x="5266567" y="4261250"/>
                    </a:cubicBezTo>
                    <a:close/>
                    <a:moveTo>
                      <a:pt x="5267062" y="6423225"/>
                    </a:moveTo>
                    <a:cubicBezTo>
                      <a:pt x="5267062" y="6421744"/>
                      <a:pt x="5265827" y="6420512"/>
                      <a:pt x="5264349" y="6420512"/>
                    </a:cubicBezTo>
                    <a:cubicBezTo>
                      <a:pt x="5262868" y="6420512"/>
                      <a:pt x="5261636" y="6421744"/>
                      <a:pt x="5261636" y="6423225"/>
                    </a:cubicBezTo>
                    <a:cubicBezTo>
                      <a:pt x="5261636" y="6424703"/>
                      <a:pt x="5262868" y="6425938"/>
                      <a:pt x="5264349" y="6425938"/>
                    </a:cubicBezTo>
                    <a:cubicBezTo>
                      <a:pt x="5265827" y="6425938"/>
                      <a:pt x="5267062" y="6424703"/>
                      <a:pt x="5267062" y="6423225"/>
                    </a:cubicBezTo>
                    <a:close/>
                    <a:moveTo>
                      <a:pt x="5268540" y="16131"/>
                    </a:moveTo>
                    <a:lnTo>
                      <a:pt x="5261866" y="0"/>
                    </a:lnTo>
                    <a:lnTo>
                      <a:pt x="5191377" y="0"/>
                    </a:lnTo>
                    <a:lnTo>
                      <a:pt x="5184703" y="16131"/>
                    </a:lnTo>
                    <a:cubicBezTo>
                      <a:pt x="5184703" y="39308"/>
                      <a:pt x="5203443" y="58047"/>
                      <a:pt x="5226621" y="58047"/>
                    </a:cubicBezTo>
                    <a:cubicBezTo>
                      <a:pt x="5249800" y="58047"/>
                      <a:pt x="5268540" y="39308"/>
                      <a:pt x="5268540" y="16131"/>
                    </a:cubicBezTo>
                    <a:close/>
                    <a:moveTo>
                      <a:pt x="5270512" y="1587079"/>
                    </a:moveTo>
                    <a:cubicBezTo>
                      <a:pt x="5270512" y="1566121"/>
                      <a:pt x="5253499" y="1549107"/>
                      <a:pt x="5232540" y="1549107"/>
                    </a:cubicBezTo>
                    <a:cubicBezTo>
                      <a:pt x="5211580" y="1549107"/>
                      <a:pt x="5194566" y="1566121"/>
                      <a:pt x="5194566" y="1587079"/>
                    </a:cubicBezTo>
                    <a:cubicBezTo>
                      <a:pt x="5194566" y="1608044"/>
                      <a:pt x="5211580" y="1625055"/>
                      <a:pt x="5232540" y="1625055"/>
                    </a:cubicBezTo>
                    <a:cubicBezTo>
                      <a:pt x="5253499" y="1625055"/>
                      <a:pt x="5270512" y="1608044"/>
                      <a:pt x="5270512" y="1587079"/>
                    </a:cubicBezTo>
                    <a:close/>
                    <a:moveTo>
                      <a:pt x="5272236" y="2958185"/>
                    </a:moveTo>
                    <a:cubicBezTo>
                      <a:pt x="5272236" y="2933527"/>
                      <a:pt x="5252264" y="2913555"/>
                      <a:pt x="5227606" y="2913555"/>
                    </a:cubicBezTo>
                    <a:cubicBezTo>
                      <a:pt x="5202948" y="2913555"/>
                      <a:pt x="5182977" y="2933527"/>
                      <a:pt x="5182977" y="2958185"/>
                    </a:cubicBezTo>
                    <a:cubicBezTo>
                      <a:pt x="5182977" y="2982843"/>
                      <a:pt x="5202948" y="3002816"/>
                      <a:pt x="5227606" y="3002816"/>
                    </a:cubicBezTo>
                    <a:cubicBezTo>
                      <a:pt x="5252264" y="3002816"/>
                      <a:pt x="5272236" y="2982843"/>
                      <a:pt x="5272236" y="2958185"/>
                    </a:cubicBezTo>
                    <a:close/>
                    <a:moveTo>
                      <a:pt x="5272484" y="6546762"/>
                    </a:moveTo>
                    <a:cubicBezTo>
                      <a:pt x="5272484" y="6544789"/>
                      <a:pt x="5270758" y="6543062"/>
                      <a:pt x="5268785" y="6543062"/>
                    </a:cubicBezTo>
                    <a:cubicBezTo>
                      <a:pt x="5266812" y="6543062"/>
                      <a:pt x="5265086" y="6544789"/>
                      <a:pt x="5265086" y="6546762"/>
                    </a:cubicBezTo>
                    <a:cubicBezTo>
                      <a:pt x="5265086" y="6548734"/>
                      <a:pt x="5266564" y="6550461"/>
                      <a:pt x="5268785" y="6550461"/>
                    </a:cubicBezTo>
                    <a:cubicBezTo>
                      <a:pt x="5271003" y="6550461"/>
                      <a:pt x="5272484" y="6548734"/>
                      <a:pt x="5272484" y="6546762"/>
                    </a:cubicBezTo>
                    <a:close/>
                    <a:moveTo>
                      <a:pt x="5274212" y="2685230"/>
                    </a:moveTo>
                    <a:cubicBezTo>
                      <a:pt x="5274212" y="2666737"/>
                      <a:pt x="5259171" y="2651694"/>
                      <a:pt x="5240678" y="2651694"/>
                    </a:cubicBezTo>
                    <a:cubicBezTo>
                      <a:pt x="5222184" y="2651694"/>
                      <a:pt x="5207143" y="2666737"/>
                      <a:pt x="5207143" y="2685230"/>
                    </a:cubicBezTo>
                    <a:cubicBezTo>
                      <a:pt x="5207143" y="2703725"/>
                      <a:pt x="5222184" y="2718765"/>
                      <a:pt x="5240678" y="2718765"/>
                    </a:cubicBezTo>
                    <a:cubicBezTo>
                      <a:pt x="5259171" y="2718765"/>
                      <a:pt x="5274212" y="2703725"/>
                      <a:pt x="5274212" y="2685230"/>
                    </a:cubicBezTo>
                    <a:close/>
                    <a:moveTo>
                      <a:pt x="5276676" y="2093967"/>
                    </a:moveTo>
                    <a:cubicBezTo>
                      <a:pt x="5276676" y="2084347"/>
                      <a:pt x="5268786" y="2076455"/>
                      <a:pt x="5259168" y="2076455"/>
                    </a:cubicBezTo>
                    <a:cubicBezTo>
                      <a:pt x="5249800" y="2076455"/>
                      <a:pt x="5241909" y="2084347"/>
                      <a:pt x="5241909" y="2093967"/>
                    </a:cubicBezTo>
                    <a:cubicBezTo>
                      <a:pt x="5241909" y="2103337"/>
                      <a:pt x="5249554" y="2111229"/>
                      <a:pt x="5259168" y="2111229"/>
                    </a:cubicBezTo>
                    <a:cubicBezTo>
                      <a:pt x="5268786" y="2111229"/>
                      <a:pt x="5276430" y="2103337"/>
                      <a:pt x="5276676" y="2093967"/>
                    </a:cubicBezTo>
                    <a:close/>
                    <a:moveTo>
                      <a:pt x="5278652" y="6669063"/>
                    </a:moveTo>
                    <a:cubicBezTo>
                      <a:pt x="5278652" y="6665858"/>
                      <a:pt x="5275939" y="6663391"/>
                      <a:pt x="5272980" y="6663391"/>
                    </a:cubicBezTo>
                    <a:cubicBezTo>
                      <a:pt x="5269775" y="6663391"/>
                      <a:pt x="5267308" y="6665858"/>
                      <a:pt x="5267308" y="6669063"/>
                    </a:cubicBezTo>
                    <a:cubicBezTo>
                      <a:pt x="5267308" y="6672267"/>
                      <a:pt x="5269775" y="6674732"/>
                      <a:pt x="5272980" y="6674732"/>
                    </a:cubicBezTo>
                    <a:cubicBezTo>
                      <a:pt x="5276184" y="6674732"/>
                      <a:pt x="5278652" y="6672267"/>
                      <a:pt x="5278652" y="6669063"/>
                    </a:cubicBezTo>
                    <a:close/>
                    <a:moveTo>
                      <a:pt x="5281112" y="3762919"/>
                    </a:moveTo>
                    <a:lnTo>
                      <a:pt x="5280867" y="3762919"/>
                    </a:lnTo>
                    <a:lnTo>
                      <a:pt x="5280867" y="3763165"/>
                    </a:lnTo>
                    <a:close/>
                    <a:moveTo>
                      <a:pt x="5281113" y="5184183"/>
                    </a:moveTo>
                    <a:cubicBezTo>
                      <a:pt x="5281113" y="5175552"/>
                      <a:pt x="5274209" y="5168648"/>
                      <a:pt x="5265581" y="5168648"/>
                    </a:cubicBezTo>
                    <a:cubicBezTo>
                      <a:pt x="5256950" y="5168648"/>
                      <a:pt x="5250046" y="5175552"/>
                      <a:pt x="5250046" y="5184183"/>
                    </a:cubicBezTo>
                    <a:cubicBezTo>
                      <a:pt x="5250046" y="5192811"/>
                      <a:pt x="5256950" y="5199715"/>
                      <a:pt x="5265581" y="5199715"/>
                    </a:cubicBezTo>
                    <a:cubicBezTo>
                      <a:pt x="5273963" y="5199715"/>
                      <a:pt x="5281113" y="5192811"/>
                      <a:pt x="5281113" y="5184183"/>
                    </a:cubicBezTo>
                    <a:close/>
                    <a:moveTo>
                      <a:pt x="5284568" y="4672539"/>
                    </a:moveTo>
                    <a:cubicBezTo>
                      <a:pt x="5284568" y="4660702"/>
                      <a:pt x="5274950" y="4650839"/>
                      <a:pt x="5262868" y="4650839"/>
                    </a:cubicBezTo>
                    <a:cubicBezTo>
                      <a:pt x="5250787" y="4650839"/>
                      <a:pt x="5241169" y="4660456"/>
                      <a:pt x="5241169" y="4672539"/>
                    </a:cubicBezTo>
                    <a:cubicBezTo>
                      <a:pt x="5241169" y="4684374"/>
                      <a:pt x="5250787" y="4694237"/>
                      <a:pt x="5262868" y="4694237"/>
                    </a:cubicBezTo>
                    <a:cubicBezTo>
                      <a:pt x="5274704" y="4694237"/>
                      <a:pt x="5284568" y="4684374"/>
                      <a:pt x="5284568" y="4672539"/>
                    </a:cubicBezTo>
                    <a:close/>
                    <a:moveTo>
                      <a:pt x="5285061" y="6790870"/>
                    </a:moveTo>
                    <a:cubicBezTo>
                      <a:pt x="5285061" y="6786433"/>
                      <a:pt x="5281364" y="6782734"/>
                      <a:pt x="5276924" y="6782734"/>
                    </a:cubicBezTo>
                    <a:cubicBezTo>
                      <a:pt x="5272485" y="6782734"/>
                      <a:pt x="5269034" y="6786433"/>
                      <a:pt x="5269034" y="6790870"/>
                    </a:cubicBezTo>
                    <a:cubicBezTo>
                      <a:pt x="5269034" y="6795063"/>
                      <a:pt x="5272485" y="6798760"/>
                      <a:pt x="5276924" y="6798760"/>
                    </a:cubicBezTo>
                    <a:cubicBezTo>
                      <a:pt x="5281364" y="6798760"/>
                      <a:pt x="5285061" y="6795310"/>
                      <a:pt x="5285061" y="6790870"/>
                    </a:cubicBezTo>
                    <a:close/>
                    <a:moveTo>
                      <a:pt x="5287034" y="903668"/>
                    </a:moveTo>
                    <a:cubicBezTo>
                      <a:pt x="5287034" y="878275"/>
                      <a:pt x="5266568" y="857805"/>
                      <a:pt x="5241172" y="857805"/>
                    </a:cubicBezTo>
                    <a:cubicBezTo>
                      <a:pt x="5215774" y="857805"/>
                      <a:pt x="5195308" y="878275"/>
                      <a:pt x="5195308" y="903668"/>
                    </a:cubicBezTo>
                    <a:cubicBezTo>
                      <a:pt x="5195308" y="929068"/>
                      <a:pt x="5215774" y="949533"/>
                      <a:pt x="5241172" y="949533"/>
                    </a:cubicBezTo>
                    <a:cubicBezTo>
                      <a:pt x="5266568" y="949533"/>
                      <a:pt x="5287034" y="928821"/>
                      <a:pt x="5287034" y="903668"/>
                    </a:cubicBezTo>
                    <a:close/>
                    <a:moveTo>
                      <a:pt x="5288265" y="5322512"/>
                    </a:moveTo>
                    <a:cubicBezTo>
                      <a:pt x="5288265" y="5318318"/>
                      <a:pt x="5284814" y="5314866"/>
                      <a:pt x="5280623" y="5314866"/>
                    </a:cubicBezTo>
                    <a:cubicBezTo>
                      <a:pt x="5276430" y="5314866"/>
                      <a:pt x="5272979" y="5318318"/>
                      <a:pt x="5272979" y="5322512"/>
                    </a:cubicBezTo>
                    <a:cubicBezTo>
                      <a:pt x="5272979" y="5326703"/>
                      <a:pt x="5276430" y="5330153"/>
                      <a:pt x="5280623" y="5330153"/>
                    </a:cubicBezTo>
                    <a:cubicBezTo>
                      <a:pt x="5284814" y="5330153"/>
                      <a:pt x="5288265" y="5326949"/>
                      <a:pt x="5288265" y="5322512"/>
                    </a:cubicBezTo>
                    <a:close/>
                    <a:moveTo>
                      <a:pt x="5288512" y="2274701"/>
                    </a:moveTo>
                    <a:cubicBezTo>
                      <a:pt x="5288512" y="2257448"/>
                      <a:pt x="5274457" y="2243397"/>
                      <a:pt x="5257198" y="2243397"/>
                    </a:cubicBezTo>
                    <a:cubicBezTo>
                      <a:pt x="5239937" y="2243397"/>
                      <a:pt x="5225882" y="2257448"/>
                      <a:pt x="5225882" y="2274701"/>
                    </a:cubicBezTo>
                    <a:cubicBezTo>
                      <a:pt x="5225882" y="2291967"/>
                      <a:pt x="5239937" y="2306018"/>
                      <a:pt x="5257198" y="2306018"/>
                    </a:cubicBezTo>
                    <a:cubicBezTo>
                      <a:pt x="5274703" y="2306018"/>
                      <a:pt x="5288759" y="2291967"/>
                      <a:pt x="5288512" y="2274701"/>
                    </a:cubicBezTo>
                    <a:close/>
                    <a:moveTo>
                      <a:pt x="5292456" y="777201"/>
                    </a:moveTo>
                    <a:cubicBezTo>
                      <a:pt x="5292456" y="752298"/>
                      <a:pt x="5271990" y="731825"/>
                      <a:pt x="5247086" y="731825"/>
                    </a:cubicBezTo>
                    <a:cubicBezTo>
                      <a:pt x="5221934" y="731825"/>
                      <a:pt x="5201717" y="752298"/>
                      <a:pt x="5201717" y="777201"/>
                    </a:cubicBezTo>
                    <a:cubicBezTo>
                      <a:pt x="5201717" y="802356"/>
                      <a:pt x="5222183" y="822575"/>
                      <a:pt x="5247086" y="822575"/>
                    </a:cubicBezTo>
                    <a:cubicBezTo>
                      <a:pt x="5271990" y="822575"/>
                      <a:pt x="5292456" y="802107"/>
                      <a:pt x="5292456" y="777201"/>
                    </a:cubicBezTo>
                    <a:close/>
                    <a:moveTo>
                      <a:pt x="5292457" y="1452965"/>
                    </a:moveTo>
                    <a:cubicBezTo>
                      <a:pt x="5292457" y="1426832"/>
                      <a:pt x="5271250" y="1405623"/>
                      <a:pt x="5245115" y="1405623"/>
                    </a:cubicBezTo>
                    <a:cubicBezTo>
                      <a:pt x="5218979" y="1405623"/>
                      <a:pt x="5197772" y="1426832"/>
                      <a:pt x="5197772" y="1452965"/>
                    </a:cubicBezTo>
                    <a:cubicBezTo>
                      <a:pt x="5197772" y="1479098"/>
                      <a:pt x="5218979" y="1500309"/>
                      <a:pt x="5245115" y="1500309"/>
                    </a:cubicBezTo>
                    <a:cubicBezTo>
                      <a:pt x="5271004" y="1500309"/>
                      <a:pt x="5292457" y="1479098"/>
                      <a:pt x="5292457" y="1452965"/>
                    </a:cubicBezTo>
                    <a:close/>
                    <a:moveTo>
                      <a:pt x="5293934" y="4154235"/>
                    </a:moveTo>
                    <a:cubicBezTo>
                      <a:pt x="5293934" y="4151276"/>
                      <a:pt x="5291716" y="4149057"/>
                      <a:pt x="5288758" y="4149057"/>
                    </a:cubicBezTo>
                    <a:cubicBezTo>
                      <a:pt x="5285799" y="4149057"/>
                      <a:pt x="5283580" y="4151276"/>
                      <a:pt x="5283580" y="4154235"/>
                    </a:cubicBezTo>
                    <a:cubicBezTo>
                      <a:pt x="5283580" y="4157193"/>
                      <a:pt x="5285799" y="4159411"/>
                      <a:pt x="5288758" y="4159411"/>
                    </a:cubicBezTo>
                    <a:cubicBezTo>
                      <a:pt x="5291716" y="4159411"/>
                      <a:pt x="5293934" y="4157193"/>
                      <a:pt x="5293934" y="4154235"/>
                    </a:cubicBezTo>
                    <a:close/>
                    <a:moveTo>
                      <a:pt x="5295911" y="7028324"/>
                    </a:moveTo>
                    <a:cubicBezTo>
                      <a:pt x="5295911" y="7025610"/>
                      <a:pt x="5293692" y="7023391"/>
                      <a:pt x="5290979" y="7023391"/>
                    </a:cubicBezTo>
                    <a:cubicBezTo>
                      <a:pt x="5288266" y="7023391"/>
                      <a:pt x="5286047" y="7025610"/>
                      <a:pt x="5286047" y="7028324"/>
                    </a:cubicBezTo>
                    <a:cubicBezTo>
                      <a:pt x="5286047" y="7031036"/>
                      <a:pt x="5288266" y="7033255"/>
                      <a:pt x="5290979" y="7033255"/>
                    </a:cubicBezTo>
                    <a:cubicBezTo>
                      <a:pt x="5293692" y="7033255"/>
                      <a:pt x="5295911" y="7031036"/>
                      <a:pt x="5295911" y="7028324"/>
                    </a:cubicBezTo>
                    <a:close/>
                    <a:moveTo>
                      <a:pt x="5296153" y="5459854"/>
                    </a:moveTo>
                    <a:cubicBezTo>
                      <a:pt x="5296153" y="5458127"/>
                      <a:pt x="5294675" y="5456648"/>
                      <a:pt x="5292949" y="5456648"/>
                    </a:cubicBezTo>
                    <a:cubicBezTo>
                      <a:pt x="5291221" y="5456648"/>
                      <a:pt x="5289743" y="5458127"/>
                      <a:pt x="5289743" y="5459854"/>
                    </a:cubicBezTo>
                    <a:cubicBezTo>
                      <a:pt x="5289743" y="5461580"/>
                      <a:pt x="5291221" y="5463061"/>
                      <a:pt x="5292949" y="5463061"/>
                    </a:cubicBezTo>
                    <a:cubicBezTo>
                      <a:pt x="5294675" y="5463061"/>
                      <a:pt x="5296153" y="5461580"/>
                      <a:pt x="5296153" y="5459854"/>
                    </a:cubicBezTo>
                    <a:close/>
                    <a:moveTo>
                      <a:pt x="5296647" y="3647769"/>
                    </a:moveTo>
                    <a:cubicBezTo>
                      <a:pt x="5296647" y="3647031"/>
                      <a:pt x="5296156" y="3646537"/>
                      <a:pt x="5295415" y="3646537"/>
                    </a:cubicBezTo>
                    <a:cubicBezTo>
                      <a:pt x="5294924" y="3646537"/>
                      <a:pt x="5294183" y="3647031"/>
                      <a:pt x="5294183" y="3647769"/>
                    </a:cubicBezTo>
                    <a:cubicBezTo>
                      <a:pt x="5294183" y="3648510"/>
                      <a:pt x="5294675" y="3649004"/>
                      <a:pt x="5295415" y="3649004"/>
                    </a:cubicBezTo>
                    <a:cubicBezTo>
                      <a:pt x="5296156" y="3649004"/>
                      <a:pt x="5296647" y="3648510"/>
                      <a:pt x="5296647" y="3647769"/>
                    </a:cubicBezTo>
                    <a:close/>
                    <a:moveTo>
                      <a:pt x="5296651" y="3070627"/>
                    </a:moveTo>
                    <a:cubicBezTo>
                      <a:pt x="5296651" y="3048927"/>
                      <a:pt x="5278896" y="3031175"/>
                      <a:pt x="5257198" y="3031175"/>
                    </a:cubicBezTo>
                    <a:cubicBezTo>
                      <a:pt x="5235499" y="3031175"/>
                      <a:pt x="5217746" y="3048927"/>
                      <a:pt x="5217746" y="3070627"/>
                    </a:cubicBezTo>
                    <a:cubicBezTo>
                      <a:pt x="5217746" y="3092326"/>
                      <a:pt x="5235499" y="3110080"/>
                      <a:pt x="5257198" y="3110080"/>
                    </a:cubicBezTo>
                    <a:cubicBezTo>
                      <a:pt x="5279143" y="3110080"/>
                      <a:pt x="5296651" y="3092326"/>
                      <a:pt x="5296651" y="3070627"/>
                    </a:cubicBezTo>
                    <a:close/>
                    <a:moveTo>
                      <a:pt x="5297881" y="6907748"/>
                    </a:moveTo>
                    <a:cubicBezTo>
                      <a:pt x="5297881" y="6902322"/>
                      <a:pt x="5293444" y="6898131"/>
                      <a:pt x="5288266" y="6898131"/>
                    </a:cubicBezTo>
                    <a:cubicBezTo>
                      <a:pt x="5282840" y="6898131"/>
                      <a:pt x="5278649" y="6902571"/>
                      <a:pt x="5278649" y="6907748"/>
                    </a:cubicBezTo>
                    <a:cubicBezTo>
                      <a:pt x="5278649" y="6913172"/>
                      <a:pt x="5283087" y="6917363"/>
                      <a:pt x="5288266" y="6917363"/>
                    </a:cubicBezTo>
                    <a:cubicBezTo>
                      <a:pt x="5293444" y="6917363"/>
                      <a:pt x="5297881" y="6912926"/>
                      <a:pt x="5297881" y="6907748"/>
                    </a:cubicBezTo>
                    <a:close/>
                    <a:moveTo>
                      <a:pt x="5297883" y="652213"/>
                    </a:moveTo>
                    <a:cubicBezTo>
                      <a:pt x="5297883" y="627257"/>
                      <a:pt x="5277417" y="606791"/>
                      <a:pt x="5252513" y="606791"/>
                    </a:cubicBezTo>
                    <a:cubicBezTo>
                      <a:pt x="5227609" y="606791"/>
                      <a:pt x="5207143" y="627257"/>
                      <a:pt x="5207143" y="652213"/>
                    </a:cubicBezTo>
                    <a:cubicBezTo>
                      <a:pt x="5207143" y="677110"/>
                      <a:pt x="5227609" y="697587"/>
                      <a:pt x="5252513" y="697587"/>
                    </a:cubicBezTo>
                    <a:cubicBezTo>
                      <a:pt x="5277665" y="697587"/>
                      <a:pt x="5297883" y="677110"/>
                      <a:pt x="5297883" y="652213"/>
                    </a:cubicBezTo>
                    <a:close/>
                    <a:moveTo>
                      <a:pt x="5298375" y="1320078"/>
                    </a:moveTo>
                    <a:cubicBezTo>
                      <a:pt x="5298375" y="1296404"/>
                      <a:pt x="5279143" y="1277176"/>
                      <a:pt x="5255472" y="1277176"/>
                    </a:cubicBezTo>
                    <a:cubicBezTo>
                      <a:pt x="5231798" y="1277176"/>
                      <a:pt x="5212566" y="1296404"/>
                      <a:pt x="5212566" y="1320078"/>
                    </a:cubicBezTo>
                    <a:cubicBezTo>
                      <a:pt x="5212566" y="1343753"/>
                      <a:pt x="5231798" y="1362977"/>
                      <a:pt x="5255472" y="1362977"/>
                    </a:cubicBezTo>
                    <a:cubicBezTo>
                      <a:pt x="5279143" y="1362977"/>
                      <a:pt x="5298621" y="1343753"/>
                      <a:pt x="5298375" y="1320078"/>
                    </a:cubicBezTo>
                    <a:close/>
                    <a:moveTo>
                      <a:pt x="5301087" y="7148158"/>
                    </a:moveTo>
                    <a:cubicBezTo>
                      <a:pt x="5301087" y="7144459"/>
                      <a:pt x="5297883" y="7141253"/>
                      <a:pt x="5293937" y="7141253"/>
                    </a:cubicBezTo>
                    <a:cubicBezTo>
                      <a:pt x="5290238" y="7141253"/>
                      <a:pt x="5287033" y="7144212"/>
                      <a:pt x="5287033" y="7148158"/>
                    </a:cubicBezTo>
                    <a:cubicBezTo>
                      <a:pt x="5287033" y="7152103"/>
                      <a:pt x="5289992" y="7155308"/>
                      <a:pt x="5293937" y="7155308"/>
                    </a:cubicBezTo>
                    <a:cubicBezTo>
                      <a:pt x="5297636" y="7155308"/>
                      <a:pt x="5300842" y="7152103"/>
                      <a:pt x="5301087" y="7148158"/>
                    </a:cubicBezTo>
                    <a:close/>
                    <a:moveTo>
                      <a:pt x="5301088" y="527415"/>
                    </a:moveTo>
                    <a:cubicBezTo>
                      <a:pt x="5301088" y="503004"/>
                      <a:pt x="5281116" y="483033"/>
                      <a:pt x="5256705" y="483033"/>
                    </a:cubicBezTo>
                    <a:cubicBezTo>
                      <a:pt x="5232293" y="483033"/>
                      <a:pt x="5212321" y="503004"/>
                      <a:pt x="5212321" y="527415"/>
                    </a:cubicBezTo>
                    <a:cubicBezTo>
                      <a:pt x="5212321" y="551826"/>
                      <a:pt x="5232293" y="571797"/>
                      <a:pt x="5256705" y="571797"/>
                    </a:cubicBezTo>
                    <a:cubicBezTo>
                      <a:pt x="5281116" y="571797"/>
                      <a:pt x="5301088" y="551826"/>
                      <a:pt x="5301088" y="527415"/>
                    </a:cubicBezTo>
                    <a:close/>
                    <a:moveTo>
                      <a:pt x="5304787" y="404153"/>
                    </a:moveTo>
                    <a:cubicBezTo>
                      <a:pt x="5304787" y="379992"/>
                      <a:pt x="5285061" y="360267"/>
                      <a:pt x="5260896" y="360267"/>
                    </a:cubicBezTo>
                    <a:cubicBezTo>
                      <a:pt x="5236733" y="360267"/>
                      <a:pt x="5217006" y="379992"/>
                      <a:pt x="5217006" y="404153"/>
                    </a:cubicBezTo>
                    <a:cubicBezTo>
                      <a:pt x="5217006" y="428319"/>
                      <a:pt x="5236733" y="448043"/>
                      <a:pt x="5260896" y="448043"/>
                    </a:cubicBezTo>
                    <a:cubicBezTo>
                      <a:pt x="5285061" y="448043"/>
                      <a:pt x="5304787" y="428319"/>
                      <a:pt x="5304787" y="404153"/>
                    </a:cubicBezTo>
                    <a:close/>
                    <a:moveTo>
                      <a:pt x="5305033" y="5593990"/>
                    </a:moveTo>
                    <a:lnTo>
                      <a:pt x="5304787" y="5593744"/>
                    </a:lnTo>
                    <a:lnTo>
                      <a:pt x="5304787" y="5593990"/>
                    </a:lnTo>
                    <a:close/>
                    <a:moveTo>
                      <a:pt x="5305771" y="3531631"/>
                    </a:moveTo>
                    <a:cubicBezTo>
                      <a:pt x="5305771" y="3529904"/>
                      <a:pt x="5304293" y="3528426"/>
                      <a:pt x="5302566" y="3528426"/>
                    </a:cubicBezTo>
                    <a:cubicBezTo>
                      <a:pt x="5300839" y="3528426"/>
                      <a:pt x="5299361" y="3529904"/>
                      <a:pt x="5299361" y="3531631"/>
                    </a:cubicBezTo>
                    <a:cubicBezTo>
                      <a:pt x="5299361" y="3533358"/>
                      <a:pt x="5300839" y="3534836"/>
                      <a:pt x="5302566" y="3534836"/>
                    </a:cubicBezTo>
                    <a:cubicBezTo>
                      <a:pt x="5304293" y="3534836"/>
                      <a:pt x="5305771" y="3533358"/>
                      <a:pt x="5305771" y="3531631"/>
                    </a:cubicBezTo>
                    <a:close/>
                    <a:moveTo>
                      <a:pt x="5307746" y="2527183"/>
                    </a:moveTo>
                    <a:cubicBezTo>
                      <a:pt x="5307746" y="2513865"/>
                      <a:pt x="5296896" y="2503017"/>
                      <a:pt x="5283580" y="2503017"/>
                    </a:cubicBezTo>
                    <a:cubicBezTo>
                      <a:pt x="5270266" y="2503017"/>
                      <a:pt x="5259417" y="2513865"/>
                      <a:pt x="5259417" y="2527183"/>
                    </a:cubicBezTo>
                    <a:cubicBezTo>
                      <a:pt x="5259417" y="2540495"/>
                      <a:pt x="5270266" y="2551348"/>
                      <a:pt x="5283580" y="2551348"/>
                    </a:cubicBezTo>
                    <a:cubicBezTo>
                      <a:pt x="5296896" y="2551348"/>
                      <a:pt x="5307746" y="2540495"/>
                      <a:pt x="5307746" y="2527183"/>
                    </a:cubicBezTo>
                    <a:close/>
                    <a:moveTo>
                      <a:pt x="5307992" y="281385"/>
                    </a:moveTo>
                    <a:cubicBezTo>
                      <a:pt x="5307992" y="257224"/>
                      <a:pt x="5288265" y="237744"/>
                      <a:pt x="5264348" y="237744"/>
                    </a:cubicBezTo>
                    <a:cubicBezTo>
                      <a:pt x="5240431" y="237744"/>
                      <a:pt x="5220951" y="257469"/>
                      <a:pt x="5220951" y="281385"/>
                    </a:cubicBezTo>
                    <a:cubicBezTo>
                      <a:pt x="5220951" y="305550"/>
                      <a:pt x="5240431" y="325029"/>
                      <a:pt x="5264348" y="325029"/>
                    </a:cubicBezTo>
                    <a:cubicBezTo>
                      <a:pt x="5288512" y="325029"/>
                      <a:pt x="5307992" y="305304"/>
                      <a:pt x="5307992" y="281385"/>
                    </a:cubicBezTo>
                    <a:close/>
                    <a:moveTo>
                      <a:pt x="5309224" y="1949009"/>
                    </a:moveTo>
                    <a:cubicBezTo>
                      <a:pt x="5309224" y="1933221"/>
                      <a:pt x="5296417" y="1920421"/>
                      <a:pt x="5280621" y="1920421"/>
                    </a:cubicBezTo>
                    <a:cubicBezTo>
                      <a:pt x="5264825" y="1920421"/>
                      <a:pt x="5252018" y="1933221"/>
                      <a:pt x="5252018" y="1949009"/>
                    </a:cubicBezTo>
                    <a:cubicBezTo>
                      <a:pt x="5252018" y="1964797"/>
                      <a:pt x="5264825" y="1977597"/>
                      <a:pt x="5280621" y="1977597"/>
                    </a:cubicBezTo>
                    <a:cubicBezTo>
                      <a:pt x="5296417" y="1977597"/>
                      <a:pt x="5309224" y="1964797"/>
                      <a:pt x="5309224" y="1949009"/>
                    </a:cubicBezTo>
                    <a:close/>
                    <a:moveTo>
                      <a:pt x="5310456" y="1188428"/>
                    </a:moveTo>
                    <a:cubicBezTo>
                      <a:pt x="5310456" y="1163032"/>
                      <a:pt x="5289744" y="1142568"/>
                      <a:pt x="5264594" y="1142568"/>
                    </a:cubicBezTo>
                    <a:cubicBezTo>
                      <a:pt x="5239196" y="1142568"/>
                      <a:pt x="5218730" y="1163279"/>
                      <a:pt x="5218730" y="1188428"/>
                    </a:cubicBezTo>
                    <a:cubicBezTo>
                      <a:pt x="5218730" y="1213829"/>
                      <a:pt x="5239443" y="1234295"/>
                      <a:pt x="5264594" y="1234295"/>
                    </a:cubicBezTo>
                    <a:cubicBezTo>
                      <a:pt x="5289744" y="1234295"/>
                      <a:pt x="5310211" y="1213829"/>
                      <a:pt x="5310456" y="1188428"/>
                    </a:cubicBezTo>
                    <a:close/>
                    <a:moveTo>
                      <a:pt x="5310459" y="3184547"/>
                    </a:moveTo>
                    <a:cubicBezTo>
                      <a:pt x="5310459" y="3167533"/>
                      <a:pt x="5296651" y="3153724"/>
                      <a:pt x="5279635" y="3153724"/>
                    </a:cubicBezTo>
                    <a:cubicBezTo>
                      <a:pt x="5262622" y="3153724"/>
                      <a:pt x="5248814" y="3167533"/>
                      <a:pt x="5248814" y="3184547"/>
                    </a:cubicBezTo>
                    <a:cubicBezTo>
                      <a:pt x="5248814" y="3201563"/>
                      <a:pt x="5262622" y="3215371"/>
                      <a:pt x="5279635" y="3215371"/>
                    </a:cubicBezTo>
                    <a:cubicBezTo>
                      <a:pt x="5296651" y="3215371"/>
                      <a:pt x="5310459" y="3201563"/>
                      <a:pt x="5310459" y="3184547"/>
                    </a:cubicBezTo>
                    <a:close/>
                    <a:moveTo>
                      <a:pt x="5310705" y="159607"/>
                    </a:moveTo>
                    <a:cubicBezTo>
                      <a:pt x="5310705" y="135692"/>
                      <a:pt x="5291224" y="116458"/>
                      <a:pt x="5267553" y="116458"/>
                    </a:cubicBezTo>
                    <a:cubicBezTo>
                      <a:pt x="5243634" y="116458"/>
                      <a:pt x="5224402" y="135937"/>
                      <a:pt x="5224402" y="159607"/>
                    </a:cubicBezTo>
                    <a:cubicBezTo>
                      <a:pt x="5224402" y="183523"/>
                      <a:pt x="5243882" y="202757"/>
                      <a:pt x="5267553" y="202757"/>
                    </a:cubicBezTo>
                    <a:cubicBezTo>
                      <a:pt x="5291224" y="202757"/>
                      <a:pt x="5310705" y="183277"/>
                      <a:pt x="5310705" y="159607"/>
                    </a:cubicBezTo>
                    <a:close/>
                    <a:moveTo>
                      <a:pt x="5313171" y="3415590"/>
                    </a:moveTo>
                    <a:cubicBezTo>
                      <a:pt x="5313171" y="3409671"/>
                      <a:pt x="5308239" y="3404741"/>
                      <a:pt x="5302322" y="3404741"/>
                    </a:cubicBezTo>
                    <a:cubicBezTo>
                      <a:pt x="5296404" y="3404741"/>
                      <a:pt x="5291718" y="3409671"/>
                      <a:pt x="5291718" y="3415590"/>
                    </a:cubicBezTo>
                    <a:cubicBezTo>
                      <a:pt x="5291718" y="3421751"/>
                      <a:pt x="5296404" y="3426442"/>
                      <a:pt x="5302322" y="3426442"/>
                    </a:cubicBezTo>
                    <a:cubicBezTo>
                      <a:pt x="5308239" y="3426442"/>
                      <a:pt x="5312925" y="3421505"/>
                      <a:pt x="5313171" y="3415590"/>
                    </a:cubicBezTo>
                    <a:close/>
                    <a:moveTo>
                      <a:pt x="5315388" y="3299699"/>
                    </a:moveTo>
                    <a:cubicBezTo>
                      <a:pt x="5315388" y="3288351"/>
                      <a:pt x="5306019" y="3278982"/>
                      <a:pt x="5294675" y="3278982"/>
                    </a:cubicBezTo>
                    <a:cubicBezTo>
                      <a:pt x="5283334" y="3278982"/>
                      <a:pt x="5273963" y="3288105"/>
                      <a:pt x="5273963" y="3299699"/>
                    </a:cubicBezTo>
                    <a:cubicBezTo>
                      <a:pt x="5273963" y="3311041"/>
                      <a:pt x="5283334" y="3320407"/>
                      <a:pt x="5294675" y="3320407"/>
                    </a:cubicBezTo>
                    <a:cubicBezTo>
                      <a:pt x="5306265" y="3320407"/>
                      <a:pt x="5315388" y="3311041"/>
                      <a:pt x="5315388" y="3299699"/>
                    </a:cubicBezTo>
                    <a:close/>
                    <a:moveTo>
                      <a:pt x="5315390" y="4807416"/>
                    </a:moveTo>
                    <a:cubicBezTo>
                      <a:pt x="5315390" y="4799279"/>
                      <a:pt x="5308732" y="4792375"/>
                      <a:pt x="5300349" y="4792375"/>
                    </a:cubicBezTo>
                    <a:cubicBezTo>
                      <a:pt x="5291965" y="4792375"/>
                      <a:pt x="5285061" y="4799033"/>
                      <a:pt x="5285061" y="4807416"/>
                    </a:cubicBezTo>
                    <a:cubicBezTo>
                      <a:pt x="5285061" y="4815554"/>
                      <a:pt x="5291965" y="4822459"/>
                      <a:pt x="5300349" y="4822459"/>
                    </a:cubicBezTo>
                    <a:cubicBezTo>
                      <a:pt x="5308732" y="4822459"/>
                      <a:pt x="5315390" y="4815800"/>
                      <a:pt x="5315390" y="4807416"/>
                    </a:cubicBezTo>
                    <a:close/>
                    <a:moveTo>
                      <a:pt x="5315883" y="5726156"/>
                    </a:moveTo>
                    <a:cubicBezTo>
                      <a:pt x="5315883" y="5726156"/>
                      <a:pt x="5315883" y="5725909"/>
                      <a:pt x="5315634" y="5725909"/>
                    </a:cubicBezTo>
                    <a:cubicBezTo>
                      <a:pt x="5315634" y="5725909"/>
                      <a:pt x="5315387" y="5725909"/>
                      <a:pt x="5315387" y="5726156"/>
                    </a:cubicBezTo>
                    <a:cubicBezTo>
                      <a:pt x="5315387" y="5726156"/>
                      <a:pt x="5315387" y="5726401"/>
                      <a:pt x="5315634" y="5726401"/>
                    </a:cubicBezTo>
                    <a:cubicBezTo>
                      <a:pt x="5315634" y="5726401"/>
                      <a:pt x="5315883" y="5726401"/>
                      <a:pt x="5315883" y="5726156"/>
                    </a:cubicBezTo>
                    <a:close/>
                    <a:moveTo>
                      <a:pt x="5316374" y="4420290"/>
                    </a:moveTo>
                    <a:cubicBezTo>
                      <a:pt x="5316374" y="4404509"/>
                      <a:pt x="5303551" y="4391687"/>
                      <a:pt x="5287771" y="4391687"/>
                    </a:cubicBezTo>
                    <a:cubicBezTo>
                      <a:pt x="5271990" y="4391687"/>
                      <a:pt x="5259168" y="4404509"/>
                      <a:pt x="5259168" y="4420290"/>
                    </a:cubicBezTo>
                    <a:cubicBezTo>
                      <a:pt x="5259168" y="4436071"/>
                      <a:pt x="5271990" y="4448893"/>
                      <a:pt x="5287771" y="4448893"/>
                    </a:cubicBezTo>
                    <a:cubicBezTo>
                      <a:pt x="5303551" y="4448893"/>
                      <a:pt x="5316374" y="4436071"/>
                      <a:pt x="5316374" y="4420290"/>
                    </a:cubicBezTo>
                    <a:close/>
                    <a:moveTo>
                      <a:pt x="5319333" y="1058990"/>
                    </a:moveTo>
                    <a:cubicBezTo>
                      <a:pt x="5319333" y="1033345"/>
                      <a:pt x="5298621" y="1012395"/>
                      <a:pt x="5272977" y="1012395"/>
                    </a:cubicBezTo>
                    <a:cubicBezTo>
                      <a:pt x="5247332" y="1012395"/>
                      <a:pt x="5226374" y="1033345"/>
                      <a:pt x="5226374" y="1058990"/>
                    </a:cubicBezTo>
                    <a:cubicBezTo>
                      <a:pt x="5226374" y="1084642"/>
                      <a:pt x="5247332" y="1105597"/>
                      <a:pt x="5272977" y="1105597"/>
                    </a:cubicBezTo>
                    <a:cubicBezTo>
                      <a:pt x="5298621" y="1105597"/>
                      <a:pt x="5319333" y="1084642"/>
                      <a:pt x="5319333" y="1058990"/>
                    </a:cubicBezTo>
                    <a:close/>
                    <a:moveTo>
                      <a:pt x="5324514" y="4953883"/>
                    </a:moveTo>
                    <a:cubicBezTo>
                      <a:pt x="5324514" y="4953635"/>
                      <a:pt x="5324268" y="4953388"/>
                      <a:pt x="5324021" y="4953388"/>
                    </a:cubicBezTo>
                    <a:cubicBezTo>
                      <a:pt x="5323773" y="4953388"/>
                      <a:pt x="5323527" y="4953635"/>
                      <a:pt x="5323527" y="4953883"/>
                    </a:cubicBezTo>
                    <a:cubicBezTo>
                      <a:pt x="5323527" y="4954129"/>
                      <a:pt x="5323773" y="4954375"/>
                      <a:pt x="5324021" y="4954375"/>
                    </a:cubicBezTo>
                    <a:cubicBezTo>
                      <a:pt x="5324514" y="4954375"/>
                      <a:pt x="5324514" y="4954129"/>
                      <a:pt x="5324514" y="4953883"/>
                    </a:cubicBezTo>
                    <a:close/>
                    <a:moveTo>
                      <a:pt x="5325994" y="5857087"/>
                    </a:moveTo>
                    <a:cubicBezTo>
                      <a:pt x="5325994" y="5856347"/>
                      <a:pt x="5325499" y="5855855"/>
                      <a:pt x="5324759" y="5855855"/>
                    </a:cubicBezTo>
                    <a:cubicBezTo>
                      <a:pt x="5324021" y="5855855"/>
                      <a:pt x="5323527" y="5856347"/>
                      <a:pt x="5323527" y="5857087"/>
                    </a:cubicBezTo>
                    <a:cubicBezTo>
                      <a:pt x="5323527" y="5857828"/>
                      <a:pt x="5324021" y="5858322"/>
                      <a:pt x="5324759" y="5858322"/>
                    </a:cubicBezTo>
                    <a:cubicBezTo>
                      <a:pt x="5325499" y="5858322"/>
                      <a:pt x="5326240" y="5857828"/>
                      <a:pt x="5325994" y="5857087"/>
                    </a:cubicBezTo>
                    <a:close/>
                    <a:moveTo>
                      <a:pt x="5326237" y="2792247"/>
                    </a:moveTo>
                    <a:cubicBezTo>
                      <a:pt x="5326237" y="2769807"/>
                      <a:pt x="5307992" y="2751562"/>
                      <a:pt x="5285553" y="2751562"/>
                    </a:cubicBezTo>
                    <a:cubicBezTo>
                      <a:pt x="5263114" y="2751562"/>
                      <a:pt x="5244868" y="2769807"/>
                      <a:pt x="5244868" y="2792247"/>
                    </a:cubicBezTo>
                    <a:cubicBezTo>
                      <a:pt x="5244868" y="2814688"/>
                      <a:pt x="5263114" y="2832933"/>
                      <a:pt x="5285553" y="2832933"/>
                    </a:cubicBezTo>
                    <a:cubicBezTo>
                      <a:pt x="5307992" y="2832933"/>
                      <a:pt x="5326237" y="2814688"/>
                      <a:pt x="5326237" y="2792247"/>
                    </a:cubicBezTo>
                    <a:close/>
                    <a:moveTo>
                      <a:pt x="5329936" y="4044508"/>
                    </a:moveTo>
                    <a:cubicBezTo>
                      <a:pt x="5329936" y="4042538"/>
                      <a:pt x="5328457" y="4041057"/>
                      <a:pt x="5326483" y="4041057"/>
                    </a:cubicBezTo>
                    <a:cubicBezTo>
                      <a:pt x="5324509" y="4041057"/>
                      <a:pt x="5323032" y="4042538"/>
                      <a:pt x="5323032" y="4044508"/>
                    </a:cubicBezTo>
                    <a:cubicBezTo>
                      <a:pt x="5323032" y="4046483"/>
                      <a:pt x="5324509" y="4047961"/>
                      <a:pt x="5326483" y="4047961"/>
                    </a:cubicBezTo>
                    <a:cubicBezTo>
                      <a:pt x="5328457" y="4047961"/>
                      <a:pt x="5329936" y="4046483"/>
                      <a:pt x="5329936" y="4044508"/>
                    </a:cubicBezTo>
                    <a:close/>
                    <a:moveTo>
                      <a:pt x="5339308" y="2187181"/>
                    </a:moveTo>
                    <a:cubicBezTo>
                      <a:pt x="5339308" y="2181267"/>
                      <a:pt x="5334622" y="2176580"/>
                      <a:pt x="5328704" y="2176580"/>
                    </a:cubicBezTo>
                    <a:cubicBezTo>
                      <a:pt x="5322786" y="2176580"/>
                      <a:pt x="5318101" y="2181517"/>
                      <a:pt x="5318101" y="2187181"/>
                    </a:cubicBezTo>
                    <a:cubicBezTo>
                      <a:pt x="5318101" y="2193100"/>
                      <a:pt x="5322786" y="2197788"/>
                      <a:pt x="5328704" y="2197788"/>
                    </a:cubicBezTo>
                    <a:cubicBezTo>
                      <a:pt x="5334622" y="2197788"/>
                      <a:pt x="5339308" y="2193100"/>
                      <a:pt x="5339308" y="2187181"/>
                    </a:cubicBezTo>
                    <a:close/>
                    <a:moveTo>
                      <a:pt x="5343250" y="1807051"/>
                    </a:moveTo>
                    <a:cubicBezTo>
                      <a:pt x="5343250" y="1782877"/>
                      <a:pt x="5323523" y="1763391"/>
                      <a:pt x="5299607" y="1763391"/>
                    </a:cubicBezTo>
                    <a:cubicBezTo>
                      <a:pt x="5275444" y="1763391"/>
                      <a:pt x="5255964" y="1783121"/>
                      <a:pt x="5255964" y="1807051"/>
                    </a:cubicBezTo>
                    <a:cubicBezTo>
                      <a:pt x="5255964" y="1831218"/>
                      <a:pt x="5275690" y="1850693"/>
                      <a:pt x="5299607" y="1850693"/>
                    </a:cubicBezTo>
                    <a:cubicBezTo>
                      <a:pt x="5323523" y="1850693"/>
                      <a:pt x="5343005" y="1831218"/>
                      <a:pt x="5343250" y="1807051"/>
                    </a:cubicBezTo>
                    <a:close/>
                    <a:moveTo>
                      <a:pt x="5344979" y="5979389"/>
                    </a:moveTo>
                    <a:cubicBezTo>
                      <a:pt x="5344979" y="5978402"/>
                      <a:pt x="5344240" y="5977416"/>
                      <a:pt x="5343008" y="5977416"/>
                    </a:cubicBezTo>
                    <a:cubicBezTo>
                      <a:pt x="5342021" y="5977416"/>
                      <a:pt x="5341034" y="5978157"/>
                      <a:pt x="5341034" y="5979389"/>
                    </a:cubicBezTo>
                    <a:cubicBezTo>
                      <a:pt x="5341034" y="5980374"/>
                      <a:pt x="5341775" y="5981361"/>
                      <a:pt x="5343008" y="5981361"/>
                    </a:cubicBezTo>
                    <a:cubicBezTo>
                      <a:pt x="5344240" y="5981361"/>
                      <a:pt x="5344979" y="5980374"/>
                      <a:pt x="5344979" y="5979389"/>
                    </a:cubicBezTo>
                    <a:close/>
                    <a:moveTo>
                      <a:pt x="5347690" y="1667715"/>
                    </a:moveTo>
                    <a:cubicBezTo>
                      <a:pt x="5347690" y="1650208"/>
                      <a:pt x="5333636" y="1636157"/>
                      <a:pt x="5316128" y="1636157"/>
                    </a:cubicBezTo>
                    <a:cubicBezTo>
                      <a:pt x="5298869" y="1636157"/>
                      <a:pt x="5284566" y="1650208"/>
                      <a:pt x="5284566" y="1667715"/>
                    </a:cubicBezTo>
                    <a:cubicBezTo>
                      <a:pt x="5284566" y="1685226"/>
                      <a:pt x="5298621" y="1699279"/>
                      <a:pt x="5316128" y="1699279"/>
                    </a:cubicBezTo>
                    <a:cubicBezTo>
                      <a:pt x="5333636" y="1699279"/>
                      <a:pt x="5347690" y="1685226"/>
                      <a:pt x="5347690" y="1667715"/>
                    </a:cubicBezTo>
                    <a:close/>
                    <a:moveTo>
                      <a:pt x="5351142" y="4574894"/>
                    </a:moveTo>
                    <a:cubicBezTo>
                      <a:pt x="5351142" y="4560348"/>
                      <a:pt x="5339307" y="4548758"/>
                      <a:pt x="5325007" y="4548758"/>
                    </a:cubicBezTo>
                    <a:cubicBezTo>
                      <a:pt x="5310458" y="4548758"/>
                      <a:pt x="5298868" y="4560594"/>
                      <a:pt x="5298868" y="4574894"/>
                    </a:cubicBezTo>
                    <a:cubicBezTo>
                      <a:pt x="5298868" y="4589443"/>
                      <a:pt x="5310704" y="4601033"/>
                      <a:pt x="5325007" y="4601033"/>
                    </a:cubicBezTo>
                    <a:cubicBezTo>
                      <a:pt x="5339307" y="4601033"/>
                      <a:pt x="5351142" y="4589197"/>
                      <a:pt x="5351142" y="4574894"/>
                    </a:cubicBezTo>
                    <a:close/>
                    <a:moveTo>
                      <a:pt x="5352130" y="6107857"/>
                    </a:moveTo>
                    <a:cubicBezTo>
                      <a:pt x="5352130" y="6106870"/>
                      <a:pt x="5351143" y="6105884"/>
                      <a:pt x="5350157" y="6105884"/>
                    </a:cubicBezTo>
                    <a:cubicBezTo>
                      <a:pt x="5349171" y="6105884"/>
                      <a:pt x="5348184" y="6106870"/>
                      <a:pt x="5348184" y="6107857"/>
                    </a:cubicBezTo>
                    <a:cubicBezTo>
                      <a:pt x="5348184" y="6108843"/>
                      <a:pt x="5349171" y="6109829"/>
                      <a:pt x="5350157" y="6109829"/>
                    </a:cubicBezTo>
                    <a:cubicBezTo>
                      <a:pt x="5351389" y="6109829"/>
                      <a:pt x="5352376" y="6109088"/>
                      <a:pt x="5352130" y="6107857"/>
                    </a:cubicBezTo>
                    <a:close/>
                    <a:moveTo>
                      <a:pt x="5359034" y="6235582"/>
                    </a:moveTo>
                    <a:cubicBezTo>
                      <a:pt x="5359034" y="6234101"/>
                      <a:pt x="5357799" y="6232869"/>
                      <a:pt x="5356321" y="6232869"/>
                    </a:cubicBezTo>
                    <a:cubicBezTo>
                      <a:pt x="5354840" y="6232869"/>
                      <a:pt x="5353607" y="6234101"/>
                      <a:pt x="5353607" y="6235582"/>
                    </a:cubicBezTo>
                    <a:cubicBezTo>
                      <a:pt x="5353607" y="6237060"/>
                      <a:pt x="5354840" y="6238295"/>
                      <a:pt x="5356321" y="6238295"/>
                    </a:cubicBezTo>
                    <a:cubicBezTo>
                      <a:pt x="5357799" y="6238295"/>
                      <a:pt x="5359034" y="6237060"/>
                      <a:pt x="5359034" y="6235582"/>
                    </a:cubicBezTo>
                    <a:close/>
                    <a:moveTo>
                      <a:pt x="5360020" y="3932811"/>
                    </a:moveTo>
                    <a:cubicBezTo>
                      <a:pt x="5360020" y="3931329"/>
                      <a:pt x="5358788" y="3930097"/>
                      <a:pt x="5357307" y="3930097"/>
                    </a:cubicBezTo>
                    <a:cubicBezTo>
                      <a:pt x="5355580" y="3930097"/>
                      <a:pt x="5354347" y="3931329"/>
                      <a:pt x="5354347" y="3932811"/>
                    </a:cubicBezTo>
                    <a:cubicBezTo>
                      <a:pt x="5354347" y="3934289"/>
                      <a:pt x="5355829" y="3935523"/>
                      <a:pt x="5357307" y="3935523"/>
                    </a:cubicBezTo>
                    <a:cubicBezTo>
                      <a:pt x="5359033" y="3935523"/>
                      <a:pt x="5360265" y="3934289"/>
                      <a:pt x="5360020" y="3932811"/>
                    </a:cubicBezTo>
                    <a:close/>
                    <a:moveTo>
                      <a:pt x="5360512" y="5098375"/>
                    </a:moveTo>
                    <a:cubicBezTo>
                      <a:pt x="5360512" y="5089249"/>
                      <a:pt x="5353362" y="5082099"/>
                      <a:pt x="5344239" y="5082099"/>
                    </a:cubicBezTo>
                    <a:cubicBezTo>
                      <a:pt x="5335114" y="5082099"/>
                      <a:pt x="5327964" y="5089497"/>
                      <a:pt x="5327964" y="5098375"/>
                    </a:cubicBezTo>
                    <a:cubicBezTo>
                      <a:pt x="5327964" y="5107497"/>
                      <a:pt x="5335362" y="5114647"/>
                      <a:pt x="5344239" y="5114647"/>
                    </a:cubicBezTo>
                    <a:cubicBezTo>
                      <a:pt x="5353115" y="5114647"/>
                      <a:pt x="5360265" y="5107252"/>
                      <a:pt x="5360512" y="5098375"/>
                    </a:cubicBezTo>
                    <a:close/>
                    <a:moveTo>
                      <a:pt x="5364703" y="2371606"/>
                    </a:moveTo>
                    <a:cubicBezTo>
                      <a:pt x="5364703" y="2346963"/>
                      <a:pt x="5344485" y="2326968"/>
                      <a:pt x="5319827" y="2326968"/>
                    </a:cubicBezTo>
                    <a:cubicBezTo>
                      <a:pt x="5294921" y="2326968"/>
                      <a:pt x="5274949" y="2346963"/>
                      <a:pt x="5274949" y="2371606"/>
                    </a:cubicBezTo>
                    <a:cubicBezTo>
                      <a:pt x="5274949" y="2396509"/>
                      <a:pt x="5295170" y="2416483"/>
                      <a:pt x="5319827" y="2416483"/>
                    </a:cubicBezTo>
                    <a:cubicBezTo>
                      <a:pt x="5344731" y="2416483"/>
                      <a:pt x="5364703" y="2396509"/>
                      <a:pt x="5364703" y="2371606"/>
                    </a:cubicBezTo>
                    <a:close/>
                    <a:moveTo>
                      <a:pt x="5365935" y="6361582"/>
                    </a:moveTo>
                    <a:cubicBezTo>
                      <a:pt x="5365935" y="6359856"/>
                      <a:pt x="5364458" y="6358377"/>
                      <a:pt x="5362731" y="6358377"/>
                    </a:cubicBezTo>
                    <a:cubicBezTo>
                      <a:pt x="5361003" y="6358377"/>
                      <a:pt x="5359525" y="6359856"/>
                      <a:pt x="5359525" y="6361582"/>
                    </a:cubicBezTo>
                    <a:cubicBezTo>
                      <a:pt x="5359525" y="6363309"/>
                      <a:pt x="5361003" y="6364790"/>
                      <a:pt x="5362731" y="6364790"/>
                    </a:cubicBezTo>
                    <a:cubicBezTo>
                      <a:pt x="5364458" y="6364790"/>
                      <a:pt x="5365935" y="6363309"/>
                      <a:pt x="5365935" y="6361582"/>
                    </a:cubicBezTo>
                    <a:close/>
                    <a:moveTo>
                      <a:pt x="5365938" y="2630747"/>
                    </a:moveTo>
                    <a:cubicBezTo>
                      <a:pt x="5365938" y="2613733"/>
                      <a:pt x="5352129" y="2599924"/>
                      <a:pt x="5335114" y="2599924"/>
                    </a:cubicBezTo>
                    <a:cubicBezTo>
                      <a:pt x="5318101" y="2599924"/>
                      <a:pt x="5304292" y="2613733"/>
                      <a:pt x="5304292" y="2630747"/>
                    </a:cubicBezTo>
                    <a:cubicBezTo>
                      <a:pt x="5304292" y="2647764"/>
                      <a:pt x="5318101" y="2661573"/>
                      <a:pt x="5335114" y="2661573"/>
                    </a:cubicBezTo>
                    <a:cubicBezTo>
                      <a:pt x="5352129" y="2661573"/>
                      <a:pt x="5365689" y="2647764"/>
                      <a:pt x="5365938" y="2630747"/>
                    </a:cubicBezTo>
                    <a:close/>
                    <a:moveTo>
                      <a:pt x="5371361" y="5239910"/>
                    </a:moveTo>
                    <a:cubicBezTo>
                      <a:pt x="5371361" y="5234730"/>
                      <a:pt x="5367170" y="5230539"/>
                      <a:pt x="5361992" y="5230539"/>
                    </a:cubicBezTo>
                    <a:cubicBezTo>
                      <a:pt x="5356812" y="5230539"/>
                      <a:pt x="5352621" y="5234730"/>
                      <a:pt x="5352621" y="5239910"/>
                    </a:cubicBezTo>
                    <a:cubicBezTo>
                      <a:pt x="5352621" y="5245088"/>
                      <a:pt x="5356812" y="5249279"/>
                      <a:pt x="5361992" y="5249279"/>
                    </a:cubicBezTo>
                    <a:cubicBezTo>
                      <a:pt x="5367170" y="5249279"/>
                      <a:pt x="5371361" y="5245088"/>
                      <a:pt x="5371361" y="5239910"/>
                    </a:cubicBezTo>
                    <a:close/>
                    <a:moveTo>
                      <a:pt x="5372351" y="6486843"/>
                    </a:moveTo>
                    <a:cubicBezTo>
                      <a:pt x="5372351" y="6484529"/>
                      <a:pt x="5370473" y="6482652"/>
                      <a:pt x="5368156" y="6482652"/>
                    </a:cubicBezTo>
                    <a:cubicBezTo>
                      <a:pt x="5365843" y="6482652"/>
                      <a:pt x="5363965" y="6484529"/>
                      <a:pt x="5363965" y="6486843"/>
                    </a:cubicBezTo>
                    <a:cubicBezTo>
                      <a:pt x="5363965" y="6489160"/>
                      <a:pt x="5365843" y="6491037"/>
                      <a:pt x="5368156" y="6491037"/>
                    </a:cubicBezTo>
                    <a:cubicBezTo>
                      <a:pt x="5370473" y="6491037"/>
                      <a:pt x="5372351" y="6489160"/>
                      <a:pt x="5372351" y="6486843"/>
                    </a:cubicBezTo>
                    <a:close/>
                    <a:moveTo>
                      <a:pt x="5372596" y="69882"/>
                    </a:moveTo>
                    <a:cubicBezTo>
                      <a:pt x="5372596" y="46215"/>
                      <a:pt x="5353362" y="26981"/>
                      <a:pt x="5329690" y="26981"/>
                    </a:cubicBezTo>
                    <a:cubicBezTo>
                      <a:pt x="5306019" y="26981"/>
                      <a:pt x="5286787" y="46215"/>
                      <a:pt x="5286787" y="69882"/>
                    </a:cubicBezTo>
                    <a:cubicBezTo>
                      <a:pt x="5286787" y="93555"/>
                      <a:pt x="5306019" y="112785"/>
                      <a:pt x="5329690" y="112785"/>
                    </a:cubicBezTo>
                    <a:cubicBezTo>
                      <a:pt x="5353362" y="112785"/>
                      <a:pt x="5372596" y="93555"/>
                      <a:pt x="5372596" y="69882"/>
                    </a:cubicBezTo>
                    <a:close/>
                    <a:moveTo>
                      <a:pt x="5375060" y="2901730"/>
                    </a:moveTo>
                    <a:cubicBezTo>
                      <a:pt x="5375060" y="2873373"/>
                      <a:pt x="5352129" y="2850441"/>
                      <a:pt x="5323773" y="2850441"/>
                    </a:cubicBezTo>
                    <a:cubicBezTo>
                      <a:pt x="5295415" y="2850441"/>
                      <a:pt x="5272484" y="2873373"/>
                      <a:pt x="5272484" y="2901730"/>
                    </a:cubicBezTo>
                    <a:cubicBezTo>
                      <a:pt x="5272484" y="2930088"/>
                      <a:pt x="5295415" y="2953019"/>
                      <a:pt x="5323773" y="2953019"/>
                    </a:cubicBezTo>
                    <a:cubicBezTo>
                      <a:pt x="5351883" y="2953019"/>
                      <a:pt x="5375060" y="2930088"/>
                      <a:pt x="5375060" y="2901730"/>
                    </a:cubicBezTo>
                    <a:close/>
                    <a:moveTo>
                      <a:pt x="5376293" y="2039227"/>
                    </a:moveTo>
                    <a:cubicBezTo>
                      <a:pt x="5376293" y="2026896"/>
                      <a:pt x="5366430" y="2017029"/>
                      <a:pt x="5354100" y="2017029"/>
                    </a:cubicBezTo>
                    <a:cubicBezTo>
                      <a:pt x="5341772" y="2017029"/>
                      <a:pt x="5331909" y="2026896"/>
                      <a:pt x="5331909" y="2039227"/>
                    </a:cubicBezTo>
                    <a:cubicBezTo>
                      <a:pt x="5331909" y="2051557"/>
                      <a:pt x="5341772" y="2061423"/>
                      <a:pt x="5354100" y="2061423"/>
                    </a:cubicBezTo>
                    <a:cubicBezTo>
                      <a:pt x="5366430" y="2061423"/>
                      <a:pt x="5376293" y="2051557"/>
                      <a:pt x="5376293" y="2039227"/>
                    </a:cubicBezTo>
                    <a:close/>
                    <a:moveTo>
                      <a:pt x="5378265" y="4316237"/>
                    </a:moveTo>
                    <a:cubicBezTo>
                      <a:pt x="5378265" y="4294292"/>
                      <a:pt x="5360512" y="4276538"/>
                      <a:pt x="5338814" y="4276538"/>
                    </a:cubicBezTo>
                    <a:cubicBezTo>
                      <a:pt x="5316868" y="4276538"/>
                      <a:pt x="5299115" y="4294292"/>
                      <a:pt x="5299115" y="4316237"/>
                    </a:cubicBezTo>
                    <a:cubicBezTo>
                      <a:pt x="5299115" y="4337935"/>
                      <a:pt x="5316868" y="4355688"/>
                      <a:pt x="5338814" y="4355688"/>
                    </a:cubicBezTo>
                    <a:cubicBezTo>
                      <a:pt x="5360512" y="4355688"/>
                      <a:pt x="5378265" y="4337935"/>
                      <a:pt x="5378265" y="4316237"/>
                    </a:cubicBezTo>
                    <a:close/>
                    <a:moveTo>
                      <a:pt x="5378760" y="1530887"/>
                    </a:moveTo>
                    <a:cubicBezTo>
                      <a:pt x="5378760" y="1504499"/>
                      <a:pt x="5357307" y="1483293"/>
                      <a:pt x="5331168" y="1483293"/>
                    </a:cubicBezTo>
                    <a:cubicBezTo>
                      <a:pt x="5304787" y="1483293"/>
                      <a:pt x="5283580" y="1504747"/>
                      <a:pt x="5283580" y="1530887"/>
                    </a:cubicBezTo>
                    <a:cubicBezTo>
                      <a:pt x="5283580" y="1557265"/>
                      <a:pt x="5305033" y="1578473"/>
                      <a:pt x="5331168" y="1578473"/>
                    </a:cubicBezTo>
                    <a:cubicBezTo>
                      <a:pt x="5357307" y="1578473"/>
                      <a:pt x="5378510" y="1557020"/>
                      <a:pt x="5378760" y="1530887"/>
                    </a:cubicBezTo>
                    <a:close/>
                    <a:moveTo>
                      <a:pt x="5379005" y="6610871"/>
                    </a:moveTo>
                    <a:cubicBezTo>
                      <a:pt x="5379005" y="6607664"/>
                      <a:pt x="5376541" y="6605199"/>
                      <a:pt x="5373336" y="6605199"/>
                    </a:cubicBezTo>
                    <a:cubicBezTo>
                      <a:pt x="5370128" y="6605199"/>
                      <a:pt x="5367664" y="6607664"/>
                      <a:pt x="5367664" y="6610871"/>
                    </a:cubicBezTo>
                    <a:cubicBezTo>
                      <a:pt x="5367664" y="6614076"/>
                      <a:pt x="5370128" y="6616540"/>
                      <a:pt x="5373336" y="6616540"/>
                    </a:cubicBezTo>
                    <a:cubicBezTo>
                      <a:pt x="5376541" y="6616540"/>
                      <a:pt x="5379005" y="6614076"/>
                      <a:pt x="5379005" y="6610871"/>
                    </a:cubicBezTo>
                    <a:close/>
                    <a:moveTo>
                      <a:pt x="5379254" y="5379717"/>
                    </a:moveTo>
                    <a:cubicBezTo>
                      <a:pt x="5379254" y="5378485"/>
                      <a:pt x="5378265" y="5377498"/>
                      <a:pt x="5377033" y="5377498"/>
                    </a:cubicBezTo>
                    <a:cubicBezTo>
                      <a:pt x="5375801" y="5377498"/>
                      <a:pt x="5374814" y="5378485"/>
                      <a:pt x="5374814" y="5379717"/>
                    </a:cubicBezTo>
                    <a:cubicBezTo>
                      <a:pt x="5374814" y="5380949"/>
                      <a:pt x="5375801" y="5381935"/>
                      <a:pt x="5377033" y="5381935"/>
                    </a:cubicBezTo>
                    <a:cubicBezTo>
                      <a:pt x="5378265" y="5381935"/>
                      <a:pt x="5379254" y="5380949"/>
                      <a:pt x="5379254" y="5379717"/>
                    </a:cubicBezTo>
                    <a:close/>
                    <a:moveTo>
                      <a:pt x="5380486" y="1395531"/>
                    </a:moveTo>
                    <a:cubicBezTo>
                      <a:pt x="5380486" y="1375317"/>
                      <a:pt x="5363964" y="1358789"/>
                      <a:pt x="5343745" y="1358789"/>
                    </a:cubicBezTo>
                    <a:cubicBezTo>
                      <a:pt x="5323526" y="1358789"/>
                      <a:pt x="5307005" y="1375317"/>
                      <a:pt x="5307005" y="1395531"/>
                    </a:cubicBezTo>
                    <a:cubicBezTo>
                      <a:pt x="5307005" y="1415753"/>
                      <a:pt x="5323526" y="1432268"/>
                      <a:pt x="5343745" y="1432268"/>
                    </a:cubicBezTo>
                    <a:cubicBezTo>
                      <a:pt x="5363964" y="1432268"/>
                      <a:pt x="5380486" y="1415753"/>
                      <a:pt x="5380486" y="1395531"/>
                    </a:cubicBezTo>
                    <a:close/>
                    <a:moveTo>
                      <a:pt x="5382951" y="970987"/>
                    </a:moveTo>
                    <a:cubicBezTo>
                      <a:pt x="5382951" y="945342"/>
                      <a:pt x="5361743" y="924388"/>
                      <a:pt x="5336099" y="924388"/>
                    </a:cubicBezTo>
                    <a:cubicBezTo>
                      <a:pt x="5310456" y="924388"/>
                      <a:pt x="5289498" y="945342"/>
                      <a:pt x="5289498" y="970987"/>
                    </a:cubicBezTo>
                    <a:cubicBezTo>
                      <a:pt x="5289498" y="996875"/>
                      <a:pt x="5310456" y="1017844"/>
                      <a:pt x="5336099" y="1017844"/>
                    </a:cubicBezTo>
                    <a:cubicBezTo>
                      <a:pt x="5361992" y="1017844"/>
                      <a:pt x="5382951" y="996875"/>
                      <a:pt x="5382951" y="970987"/>
                    </a:cubicBezTo>
                    <a:close/>
                    <a:moveTo>
                      <a:pt x="5386404" y="4711744"/>
                    </a:moveTo>
                    <a:cubicBezTo>
                      <a:pt x="5386404" y="4700894"/>
                      <a:pt x="5377527" y="4692263"/>
                      <a:pt x="5366923" y="4692263"/>
                    </a:cubicBezTo>
                    <a:cubicBezTo>
                      <a:pt x="5356074" y="4692263"/>
                      <a:pt x="5347443" y="4700894"/>
                      <a:pt x="5347443" y="4711744"/>
                    </a:cubicBezTo>
                    <a:cubicBezTo>
                      <a:pt x="5347443" y="4722592"/>
                      <a:pt x="5356320" y="4731223"/>
                      <a:pt x="5366923" y="4731223"/>
                    </a:cubicBezTo>
                    <a:cubicBezTo>
                      <a:pt x="5377773" y="4731223"/>
                      <a:pt x="5386404" y="4722347"/>
                      <a:pt x="5386404" y="4711744"/>
                    </a:cubicBezTo>
                    <a:close/>
                    <a:moveTo>
                      <a:pt x="5386404" y="6733910"/>
                    </a:moveTo>
                    <a:cubicBezTo>
                      <a:pt x="5386404" y="6729227"/>
                      <a:pt x="5382704" y="6725528"/>
                      <a:pt x="5378019" y="6725528"/>
                    </a:cubicBezTo>
                    <a:cubicBezTo>
                      <a:pt x="5373336" y="6725528"/>
                      <a:pt x="5369636" y="6729473"/>
                      <a:pt x="5369636" y="6733910"/>
                    </a:cubicBezTo>
                    <a:cubicBezTo>
                      <a:pt x="5369636" y="6738596"/>
                      <a:pt x="5373582" y="6742295"/>
                      <a:pt x="5378019" y="6742295"/>
                    </a:cubicBezTo>
                    <a:cubicBezTo>
                      <a:pt x="5382458" y="6742295"/>
                      <a:pt x="5386157" y="6738596"/>
                      <a:pt x="5386404" y="6733910"/>
                    </a:cubicBezTo>
                    <a:close/>
                    <a:moveTo>
                      <a:pt x="5387142" y="3819140"/>
                    </a:moveTo>
                    <a:cubicBezTo>
                      <a:pt x="5387142" y="3815935"/>
                      <a:pt x="5384432" y="3813467"/>
                      <a:pt x="5381473" y="3813467"/>
                    </a:cubicBezTo>
                    <a:cubicBezTo>
                      <a:pt x="5378265" y="3813467"/>
                      <a:pt x="5375801" y="3815935"/>
                      <a:pt x="5375801" y="3819140"/>
                    </a:cubicBezTo>
                    <a:cubicBezTo>
                      <a:pt x="5375801" y="3822345"/>
                      <a:pt x="5378265" y="3824812"/>
                      <a:pt x="5381473" y="3824812"/>
                    </a:cubicBezTo>
                    <a:cubicBezTo>
                      <a:pt x="5384432" y="3824812"/>
                      <a:pt x="5386896" y="3822345"/>
                      <a:pt x="5387142" y="3819140"/>
                    </a:cubicBezTo>
                    <a:close/>
                    <a:moveTo>
                      <a:pt x="5389608" y="842550"/>
                    </a:moveTo>
                    <a:cubicBezTo>
                      <a:pt x="5389608" y="816902"/>
                      <a:pt x="5368896" y="796190"/>
                      <a:pt x="5343252" y="796190"/>
                    </a:cubicBezTo>
                    <a:cubicBezTo>
                      <a:pt x="5317608" y="796190"/>
                      <a:pt x="5296896" y="816902"/>
                      <a:pt x="5296896" y="842550"/>
                    </a:cubicBezTo>
                    <a:cubicBezTo>
                      <a:pt x="5296896" y="868184"/>
                      <a:pt x="5317608" y="888897"/>
                      <a:pt x="5343252" y="888897"/>
                    </a:cubicBezTo>
                    <a:cubicBezTo>
                      <a:pt x="5368896" y="888897"/>
                      <a:pt x="5389608" y="867939"/>
                      <a:pt x="5389608" y="842550"/>
                    </a:cubicBezTo>
                    <a:close/>
                    <a:moveTo>
                      <a:pt x="5392073" y="5516567"/>
                    </a:moveTo>
                    <a:cubicBezTo>
                      <a:pt x="5392073" y="5516072"/>
                      <a:pt x="5391827" y="5515826"/>
                      <a:pt x="5391335" y="5515826"/>
                    </a:cubicBezTo>
                    <a:cubicBezTo>
                      <a:pt x="5390841" y="5515826"/>
                      <a:pt x="5390595" y="5516072"/>
                      <a:pt x="5390595" y="5516567"/>
                    </a:cubicBezTo>
                    <a:cubicBezTo>
                      <a:pt x="5390595" y="5517058"/>
                      <a:pt x="5390841" y="5517304"/>
                      <a:pt x="5391335" y="5517304"/>
                    </a:cubicBezTo>
                    <a:cubicBezTo>
                      <a:pt x="5391582" y="5517304"/>
                      <a:pt x="5392073" y="5517058"/>
                      <a:pt x="5392073" y="5516567"/>
                    </a:cubicBezTo>
                    <a:close/>
                    <a:moveTo>
                      <a:pt x="5396018" y="715333"/>
                    </a:moveTo>
                    <a:cubicBezTo>
                      <a:pt x="5396018" y="689937"/>
                      <a:pt x="5375306" y="669224"/>
                      <a:pt x="5349911" y="669224"/>
                    </a:cubicBezTo>
                    <a:cubicBezTo>
                      <a:pt x="5324513" y="669224"/>
                      <a:pt x="5303801" y="689937"/>
                      <a:pt x="5303801" y="715333"/>
                    </a:cubicBezTo>
                    <a:cubicBezTo>
                      <a:pt x="5303801" y="740735"/>
                      <a:pt x="5324513" y="761441"/>
                      <a:pt x="5349911" y="761441"/>
                    </a:cubicBezTo>
                    <a:cubicBezTo>
                      <a:pt x="5375306" y="761441"/>
                      <a:pt x="5396018" y="740735"/>
                      <a:pt x="5396018" y="715333"/>
                    </a:cubicBezTo>
                    <a:close/>
                    <a:moveTo>
                      <a:pt x="5396018" y="1261406"/>
                    </a:moveTo>
                    <a:cubicBezTo>
                      <a:pt x="5396018" y="1238489"/>
                      <a:pt x="5377525" y="1219993"/>
                      <a:pt x="5354594" y="1219993"/>
                    </a:cubicBezTo>
                    <a:cubicBezTo>
                      <a:pt x="5331664" y="1219993"/>
                      <a:pt x="5313169" y="1238489"/>
                      <a:pt x="5313169" y="1261406"/>
                    </a:cubicBezTo>
                    <a:cubicBezTo>
                      <a:pt x="5313169" y="1284341"/>
                      <a:pt x="5331909" y="1302837"/>
                      <a:pt x="5354594" y="1302837"/>
                    </a:cubicBezTo>
                    <a:cubicBezTo>
                      <a:pt x="5377525" y="1302837"/>
                      <a:pt x="5396018" y="1284341"/>
                      <a:pt x="5396018" y="1261406"/>
                    </a:cubicBezTo>
                    <a:close/>
                    <a:moveTo>
                      <a:pt x="5397250" y="4861416"/>
                    </a:moveTo>
                    <a:cubicBezTo>
                      <a:pt x="5397250" y="4860184"/>
                      <a:pt x="5396265" y="4859197"/>
                      <a:pt x="5395033" y="4859197"/>
                    </a:cubicBezTo>
                    <a:cubicBezTo>
                      <a:pt x="5393801" y="4859197"/>
                      <a:pt x="5392814" y="4860184"/>
                      <a:pt x="5392814" y="4861416"/>
                    </a:cubicBezTo>
                    <a:cubicBezTo>
                      <a:pt x="5392814" y="4862648"/>
                      <a:pt x="5393801" y="4863634"/>
                      <a:pt x="5395033" y="4863634"/>
                    </a:cubicBezTo>
                    <a:cubicBezTo>
                      <a:pt x="5396265" y="4863634"/>
                      <a:pt x="5397250" y="4862648"/>
                      <a:pt x="5397250" y="4861416"/>
                    </a:cubicBezTo>
                    <a:close/>
                    <a:moveTo>
                      <a:pt x="5398732" y="6974076"/>
                    </a:moveTo>
                    <a:cubicBezTo>
                      <a:pt x="5398732" y="6971363"/>
                      <a:pt x="5396513" y="6969144"/>
                      <a:pt x="5393801" y="6969144"/>
                    </a:cubicBezTo>
                    <a:cubicBezTo>
                      <a:pt x="5391087" y="6969144"/>
                      <a:pt x="5388868" y="6971363"/>
                      <a:pt x="5388868" y="6974076"/>
                    </a:cubicBezTo>
                    <a:cubicBezTo>
                      <a:pt x="5388868" y="6976789"/>
                      <a:pt x="5391087" y="6979008"/>
                      <a:pt x="5393801" y="6979008"/>
                    </a:cubicBezTo>
                    <a:cubicBezTo>
                      <a:pt x="5396513" y="6979008"/>
                      <a:pt x="5398977" y="6976789"/>
                      <a:pt x="5398732" y="6974076"/>
                    </a:cubicBezTo>
                    <a:close/>
                    <a:moveTo>
                      <a:pt x="5399227" y="2284331"/>
                    </a:moveTo>
                    <a:cubicBezTo>
                      <a:pt x="5399227" y="2281126"/>
                      <a:pt x="5396514" y="2278409"/>
                      <a:pt x="5393308" y="2278409"/>
                    </a:cubicBezTo>
                    <a:cubicBezTo>
                      <a:pt x="5390104" y="2278409"/>
                      <a:pt x="5387391" y="2281126"/>
                      <a:pt x="5387391" y="2284331"/>
                    </a:cubicBezTo>
                    <a:cubicBezTo>
                      <a:pt x="5387391" y="2287538"/>
                      <a:pt x="5390104" y="2290246"/>
                      <a:pt x="5393308" y="2290246"/>
                    </a:cubicBezTo>
                    <a:cubicBezTo>
                      <a:pt x="5396514" y="2290246"/>
                      <a:pt x="5399227" y="2287538"/>
                      <a:pt x="5399227" y="2284331"/>
                    </a:cubicBezTo>
                    <a:close/>
                    <a:moveTo>
                      <a:pt x="5400458" y="588812"/>
                    </a:moveTo>
                    <a:cubicBezTo>
                      <a:pt x="5400458" y="563661"/>
                      <a:pt x="5379992" y="543444"/>
                      <a:pt x="5355089" y="543444"/>
                    </a:cubicBezTo>
                    <a:cubicBezTo>
                      <a:pt x="5329939" y="543444"/>
                      <a:pt x="5309718" y="563910"/>
                      <a:pt x="5309718" y="588812"/>
                    </a:cubicBezTo>
                    <a:cubicBezTo>
                      <a:pt x="5309718" y="613963"/>
                      <a:pt x="5330185" y="634181"/>
                      <a:pt x="5355089" y="634181"/>
                    </a:cubicBezTo>
                    <a:cubicBezTo>
                      <a:pt x="5380241" y="634181"/>
                      <a:pt x="5400458" y="613963"/>
                      <a:pt x="5400458" y="588812"/>
                    </a:cubicBezTo>
                    <a:close/>
                    <a:moveTo>
                      <a:pt x="5400458" y="6852020"/>
                    </a:moveTo>
                    <a:cubicBezTo>
                      <a:pt x="5400458" y="6846351"/>
                      <a:pt x="5395773" y="6841912"/>
                      <a:pt x="5390349" y="6841912"/>
                    </a:cubicBezTo>
                    <a:cubicBezTo>
                      <a:pt x="5384923" y="6841912"/>
                      <a:pt x="5380486" y="6846597"/>
                      <a:pt x="5380486" y="6852020"/>
                    </a:cubicBezTo>
                    <a:cubicBezTo>
                      <a:pt x="5380486" y="6857447"/>
                      <a:pt x="5384923" y="6861884"/>
                      <a:pt x="5390349" y="6861884"/>
                    </a:cubicBezTo>
                    <a:cubicBezTo>
                      <a:pt x="5395773" y="6861884"/>
                      <a:pt x="5400213" y="6857447"/>
                      <a:pt x="5400458" y="6852020"/>
                    </a:cubicBezTo>
                    <a:close/>
                    <a:moveTo>
                      <a:pt x="5401687" y="3013431"/>
                    </a:moveTo>
                    <a:cubicBezTo>
                      <a:pt x="5401687" y="2987787"/>
                      <a:pt x="5380729" y="2966828"/>
                      <a:pt x="5355086" y="2966828"/>
                    </a:cubicBezTo>
                    <a:cubicBezTo>
                      <a:pt x="5329442" y="2966828"/>
                      <a:pt x="5308483" y="2987787"/>
                      <a:pt x="5308483" y="3013431"/>
                    </a:cubicBezTo>
                    <a:cubicBezTo>
                      <a:pt x="5308483" y="3039077"/>
                      <a:pt x="5329442" y="3060035"/>
                      <a:pt x="5355086" y="3060035"/>
                    </a:cubicBezTo>
                    <a:cubicBezTo>
                      <a:pt x="5380729" y="3060035"/>
                      <a:pt x="5401687" y="3039077"/>
                      <a:pt x="5401687" y="3013431"/>
                    </a:cubicBezTo>
                    <a:close/>
                    <a:moveTo>
                      <a:pt x="5404158" y="5651197"/>
                    </a:moveTo>
                    <a:cubicBezTo>
                      <a:pt x="5404158" y="5651197"/>
                      <a:pt x="5404158" y="5650950"/>
                      <a:pt x="5403909" y="5650950"/>
                    </a:cubicBezTo>
                    <a:cubicBezTo>
                      <a:pt x="5403663" y="5650950"/>
                      <a:pt x="5403663" y="5650950"/>
                      <a:pt x="5403663" y="5651197"/>
                    </a:cubicBezTo>
                    <a:cubicBezTo>
                      <a:pt x="5403663" y="5651445"/>
                      <a:pt x="5403663" y="5651445"/>
                      <a:pt x="5403909" y="5651445"/>
                    </a:cubicBezTo>
                    <a:cubicBezTo>
                      <a:pt x="5404158" y="5651445"/>
                      <a:pt x="5404404" y="5651445"/>
                      <a:pt x="5404158" y="5651197"/>
                    </a:cubicBezTo>
                    <a:close/>
                    <a:moveTo>
                      <a:pt x="5404401" y="7095392"/>
                    </a:moveTo>
                    <a:cubicBezTo>
                      <a:pt x="5404401" y="7091447"/>
                      <a:pt x="5401196" y="7088242"/>
                      <a:pt x="5397250" y="7088242"/>
                    </a:cubicBezTo>
                    <a:cubicBezTo>
                      <a:pt x="5393305" y="7088242"/>
                      <a:pt x="5390101" y="7091447"/>
                      <a:pt x="5390101" y="7095392"/>
                    </a:cubicBezTo>
                    <a:cubicBezTo>
                      <a:pt x="5390101" y="7099337"/>
                      <a:pt x="5393305" y="7102542"/>
                      <a:pt x="5397250" y="7102542"/>
                    </a:cubicBezTo>
                    <a:cubicBezTo>
                      <a:pt x="5401196" y="7102542"/>
                      <a:pt x="5404649" y="7099337"/>
                      <a:pt x="5404401" y="7095392"/>
                    </a:cubicBezTo>
                    <a:close/>
                    <a:moveTo>
                      <a:pt x="5405390" y="463576"/>
                    </a:moveTo>
                    <a:cubicBezTo>
                      <a:pt x="5405390" y="438673"/>
                      <a:pt x="5385170" y="418702"/>
                      <a:pt x="5360512" y="418702"/>
                    </a:cubicBezTo>
                    <a:cubicBezTo>
                      <a:pt x="5335608" y="418702"/>
                      <a:pt x="5315636" y="438919"/>
                      <a:pt x="5315636" y="463576"/>
                    </a:cubicBezTo>
                    <a:cubicBezTo>
                      <a:pt x="5315636" y="488233"/>
                      <a:pt x="5335854" y="508452"/>
                      <a:pt x="5360512" y="508452"/>
                    </a:cubicBezTo>
                    <a:cubicBezTo>
                      <a:pt x="5385170" y="508452"/>
                      <a:pt x="5405144" y="488480"/>
                      <a:pt x="5405390" y="463576"/>
                    </a:cubicBezTo>
                    <a:close/>
                    <a:moveTo>
                      <a:pt x="5408100" y="3704237"/>
                    </a:moveTo>
                    <a:cubicBezTo>
                      <a:pt x="5408100" y="3698811"/>
                      <a:pt x="5403664" y="3694619"/>
                      <a:pt x="5398486" y="3694619"/>
                    </a:cubicBezTo>
                    <a:cubicBezTo>
                      <a:pt x="5393060" y="3694619"/>
                      <a:pt x="5388868" y="3699057"/>
                      <a:pt x="5388868" y="3704237"/>
                    </a:cubicBezTo>
                    <a:cubicBezTo>
                      <a:pt x="5388868" y="3709660"/>
                      <a:pt x="5393306" y="3713851"/>
                      <a:pt x="5398486" y="3713851"/>
                    </a:cubicBezTo>
                    <a:cubicBezTo>
                      <a:pt x="5403664" y="3713851"/>
                      <a:pt x="5408100" y="3709660"/>
                      <a:pt x="5408100" y="3704237"/>
                    </a:cubicBezTo>
                    <a:close/>
                    <a:moveTo>
                      <a:pt x="5409089" y="339329"/>
                    </a:moveTo>
                    <a:cubicBezTo>
                      <a:pt x="5409089" y="314918"/>
                      <a:pt x="5389117" y="294947"/>
                      <a:pt x="5364705" y="294947"/>
                    </a:cubicBezTo>
                    <a:cubicBezTo>
                      <a:pt x="5340293" y="294947"/>
                      <a:pt x="5320321" y="314918"/>
                      <a:pt x="5320321" y="339329"/>
                    </a:cubicBezTo>
                    <a:cubicBezTo>
                      <a:pt x="5320321" y="363739"/>
                      <a:pt x="5340293" y="383710"/>
                      <a:pt x="5364705" y="383710"/>
                    </a:cubicBezTo>
                    <a:cubicBezTo>
                      <a:pt x="5389363" y="383710"/>
                      <a:pt x="5409089" y="363985"/>
                      <a:pt x="5409089" y="339329"/>
                    </a:cubicBezTo>
                    <a:close/>
                    <a:moveTo>
                      <a:pt x="5410319" y="1129519"/>
                    </a:moveTo>
                    <a:cubicBezTo>
                      <a:pt x="5410319" y="1104324"/>
                      <a:pt x="5389897" y="1083902"/>
                      <a:pt x="5364703" y="1083902"/>
                    </a:cubicBezTo>
                    <a:cubicBezTo>
                      <a:pt x="5339510" y="1083902"/>
                      <a:pt x="5319087" y="1104324"/>
                      <a:pt x="5319087" y="1129519"/>
                    </a:cubicBezTo>
                    <a:cubicBezTo>
                      <a:pt x="5319087" y="1154713"/>
                      <a:pt x="5339510" y="1175132"/>
                      <a:pt x="5364703" y="1175132"/>
                    </a:cubicBezTo>
                    <a:cubicBezTo>
                      <a:pt x="5389897" y="1175132"/>
                      <a:pt x="5410319" y="1154713"/>
                      <a:pt x="5410319" y="1129519"/>
                    </a:cubicBezTo>
                    <a:close/>
                    <a:moveTo>
                      <a:pt x="5412786" y="216070"/>
                    </a:moveTo>
                    <a:cubicBezTo>
                      <a:pt x="5412786" y="191908"/>
                      <a:pt x="5393060" y="172182"/>
                      <a:pt x="5368894" y="172182"/>
                    </a:cubicBezTo>
                    <a:cubicBezTo>
                      <a:pt x="5344731" y="172182"/>
                      <a:pt x="5325005" y="191908"/>
                      <a:pt x="5325005" y="216070"/>
                    </a:cubicBezTo>
                    <a:cubicBezTo>
                      <a:pt x="5325005" y="240234"/>
                      <a:pt x="5344731" y="259959"/>
                      <a:pt x="5368894" y="259959"/>
                    </a:cubicBezTo>
                    <a:cubicBezTo>
                      <a:pt x="5393060" y="259959"/>
                      <a:pt x="5412786" y="240234"/>
                      <a:pt x="5412786" y="216070"/>
                    </a:cubicBezTo>
                    <a:close/>
                    <a:moveTo>
                      <a:pt x="5416485" y="5784346"/>
                    </a:moveTo>
                    <a:cubicBezTo>
                      <a:pt x="5416485" y="5783608"/>
                      <a:pt x="5415744" y="5783114"/>
                      <a:pt x="5415004" y="5783114"/>
                    </a:cubicBezTo>
                    <a:cubicBezTo>
                      <a:pt x="5414266" y="5783114"/>
                      <a:pt x="5413772" y="5783608"/>
                      <a:pt x="5413772" y="5784346"/>
                    </a:cubicBezTo>
                    <a:cubicBezTo>
                      <a:pt x="5413772" y="5785335"/>
                      <a:pt x="5414266" y="5785827"/>
                      <a:pt x="5415004" y="5785827"/>
                    </a:cubicBezTo>
                    <a:cubicBezTo>
                      <a:pt x="5415744" y="5785827"/>
                      <a:pt x="5416485" y="5785335"/>
                      <a:pt x="5416485" y="5784346"/>
                    </a:cubicBezTo>
                    <a:close/>
                    <a:moveTo>
                      <a:pt x="5416730" y="4474045"/>
                    </a:moveTo>
                    <a:cubicBezTo>
                      <a:pt x="5416730" y="4454814"/>
                      <a:pt x="5401198" y="4439278"/>
                      <a:pt x="5381964" y="4439278"/>
                    </a:cubicBezTo>
                    <a:cubicBezTo>
                      <a:pt x="5362733" y="4439278"/>
                      <a:pt x="5347198" y="4454814"/>
                      <a:pt x="5347198" y="4474045"/>
                    </a:cubicBezTo>
                    <a:cubicBezTo>
                      <a:pt x="5347198" y="4493279"/>
                      <a:pt x="5362733" y="4508811"/>
                      <a:pt x="5381964" y="4508811"/>
                    </a:cubicBezTo>
                    <a:cubicBezTo>
                      <a:pt x="5401198" y="4508811"/>
                      <a:pt x="5416730" y="4493279"/>
                      <a:pt x="5416730" y="4474045"/>
                    </a:cubicBezTo>
                    <a:close/>
                    <a:moveTo>
                      <a:pt x="5416977" y="2737271"/>
                    </a:moveTo>
                    <a:cubicBezTo>
                      <a:pt x="5416977" y="2717052"/>
                      <a:pt x="5400456" y="2700777"/>
                      <a:pt x="5380484" y="2700777"/>
                    </a:cubicBezTo>
                    <a:cubicBezTo>
                      <a:pt x="5360265" y="2700777"/>
                      <a:pt x="5343990" y="2717297"/>
                      <a:pt x="5343990" y="2737271"/>
                    </a:cubicBezTo>
                    <a:cubicBezTo>
                      <a:pt x="5343990" y="2757492"/>
                      <a:pt x="5360512" y="2773765"/>
                      <a:pt x="5380484" y="2773765"/>
                    </a:cubicBezTo>
                    <a:cubicBezTo>
                      <a:pt x="5400456" y="2773765"/>
                      <a:pt x="5416977" y="2757492"/>
                      <a:pt x="5416977" y="2737271"/>
                    </a:cubicBezTo>
                    <a:close/>
                    <a:moveTo>
                      <a:pt x="5418703" y="1894314"/>
                    </a:moveTo>
                    <a:cubicBezTo>
                      <a:pt x="5418703" y="1871148"/>
                      <a:pt x="5399718" y="1852173"/>
                      <a:pt x="5376541" y="1852173"/>
                    </a:cubicBezTo>
                    <a:cubicBezTo>
                      <a:pt x="5353361" y="1852173"/>
                      <a:pt x="5334376" y="1871148"/>
                      <a:pt x="5334376" y="1894314"/>
                    </a:cubicBezTo>
                    <a:cubicBezTo>
                      <a:pt x="5334376" y="1917479"/>
                      <a:pt x="5353361" y="1936455"/>
                      <a:pt x="5376541" y="1936455"/>
                    </a:cubicBezTo>
                    <a:cubicBezTo>
                      <a:pt x="5399718" y="1936455"/>
                      <a:pt x="5418458" y="1917725"/>
                      <a:pt x="5418703" y="1894314"/>
                    </a:cubicBezTo>
                    <a:close/>
                    <a:moveTo>
                      <a:pt x="5420431" y="3126613"/>
                    </a:moveTo>
                    <a:cubicBezTo>
                      <a:pt x="5420431" y="3104173"/>
                      <a:pt x="5402183" y="3085928"/>
                      <a:pt x="5379744" y="3085928"/>
                    </a:cubicBezTo>
                    <a:cubicBezTo>
                      <a:pt x="5357308" y="3085928"/>
                      <a:pt x="5339059" y="3104173"/>
                      <a:pt x="5339059" y="3126613"/>
                    </a:cubicBezTo>
                    <a:cubicBezTo>
                      <a:pt x="5339059" y="3149298"/>
                      <a:pt x="5357308" y="3167547"/>
                      <a:pt x="5379744" y="3167547"/>
                    </a:cubicBezTo>
                    <a:cubicBezTo>
                      <a:pt x="5402183" y="3167547"/>
                      <a:pt x="5420431" y="3149298"/>
                      <a:pt x="5420431" y="3126613"/>
                    </a:cubicBezTo>
                    <a:close/>
                    <a:moveTo>
                      <a:pt x="5421911" y="1752060"/>
                    </a:moveTo>
                    <a:cubicBezTo>
                      <a:pt x="5421911" y="1737743"/>
                      <a:pt x="5410321" y="1726141"/>
                      <a:pt x="5396018" y="1726141"/>
                    </a:cubicBezTo>
                    <a:cubicBezTo>
                      <a:pt x="5381718" y="1726141"/>
                      <a:pt x="5370128" y="1737743"/>
                      <a:pt x="5370128" y="1752060"/>
                    </a:cubicBezTo>
                    <a:cubicBezTo>
                      <a:pt x="5370128" y="1766373"/>
                      <a:pt x="5381718" y="1777975"/>
                      <a:pt x="5396018" y="1777975"/>
                    </a:cubicBezTo>
                    <a:cubicBezTo>
                      <a:pt x="5410321" y="1777975"/>
                      <a:pt x="5421911" y="1766373"/>
                      <a:pt x="5421911" y="1752060"/>
                    </a:cubicBezTo>
                    <a:close/>
                    <a:moveTo>
                      <a:pt x="5423143" y="3588839"/>
                    </a:moveTo>
                    <a:cubicBezTo>
                      <a:pt x="5423143" y="3580949"/>
                      <a:pt x="5416731" y="3574290"/>
                      <a:pt x="5408595" y="3574290"/>
                    </a:cubicBezTo>
                    <a:cubicBezTo>
                      <a:pt x="5400705" y="3574290"/>
                      <a:pt x="5394046" y="3580700"/>
                      <a:pt x="5394046" y="3588839"/>
                    </a:cubicBezTo>
                    <a:cubicBezTo>
                      <a:pt x="5394046" y="3596729"/>
                      <a:pt x="5400458" y="3603384"/>
                      <a:pt x="5408595" y="3603384"/>
                    </a:cubicBezTo>
                    <a:cubicBezTo>
                      <a:pt x="5416731" y="3603384"/>
                      <a:pt x="5423143" y="3596975"/>
                      <a:pt x="5423143" y="3588839"/>
                    </a:cubicBezTo>
                    <a:close/>
                    <a:moveTo>
                      <a:pt x="5425609" y="2472212"/>
                    </a:moveTo>
                    <a:cubicBezTo>
                      <a:pt x="5425609" y="2445579"/>
                      <a:pt x="5403910" y="2423875"/>
                      <a:pt x="5377280" y="2423875"/>
                    </a:cubicBezTo>
                    <a:cubicBezTo>
                      <a:pt x="5350649" y="2423875"/>
                      <a:pt x="5328950" y="2445579"/>
                      <a:pt x="5328950" y="2472212"/>
                    </a:cubicBezTo>
                    <a:cubicBezTo>
                      <a:pt x="5328950" y="2498839"/>
                      <a:pt x="5350649" y="2520538"/>
                      <a:pt x="5377280" y="2520538"/>
                    </a:cubicBezTo>
                    <a:cubicBezTo>
                      <a:pt x="5403910" y="2520538"/>
                      <a:pt x="5425609" y="2498839"/>
                      <a:pt x="5425609" y="2472212"/>
                    </a:cubicBezTo>
                    <a:close/>
                    <a:moveTo>
                      <a:pt x="5431526" y="3241523"/>
                    </a:moveTo>
                    <a:cubicBezTo>
                      <a:pt x="5431526" y="3222783"/>
                      <a:pt x="5416239" y="3207246"/>
                      <a:pt x="5397253" y="3207246"/>
                    </a:cubicBezTo>
                    <a:cubicBezTo>
                      <a:pt x="5378265" y="3207246"/>
                      <a:pt x="5362979" y="3222533"/>
                      <a:pt x="5362979" y="3241523"/>
                    </a:cubicBezTo>
                    <a:cubicBezTo>
                      <a:pt x="5362979" y="3260503"/>
                      <a:pt x="5378265" y="3275791"/>
                      <a:pt x="5397253" y="3275791"/>
                    </a:cubicBezTo>
                    <a:cubicBezTo>
                      <a:pt x="5416239" y="3275791"/>
                      <a:pt x="5431773" y="3260258"/>
                      <a:pt x="5431526" y="3241523"/>
                    </a:cubicBezTo>
                    <a:close/>
                    <a:moveTo>
                      <a:pt x="5432267" y="4209467"/>
                    </a:moveTo>
                    <a:cubicBezTo>
                      <a:pt x="5432267" y="4182591"/>
                      <a:pt x="5410319" y="4160892"/>
                      <a:pt x="5383689" y="4160892"/>
                    </a:cubicBezTo>
                    <a:cubicBezTo>
                      <a:pt x="5356812" y="4160892"/>
                      <a:pt x="5335114" y="4182591"/>
                      <a:pt x="5335114" y="4209467"/>
                    </a:cubicBezTo>
                    <a:cubicBezTo>
                      <a:pt x="5335114" y="4236347"/>
                      <a:pt x="5356812" y="4258045"/>
                      <a:pt x="5383689" y="4258045"/>
                    </a:cubicBezTo>
                    <a:cubicBezTo>
                      <a:pt x="5410565" y="4258045"/>
                      <a:pt x="5432267" y="4236347"/>
                      <a:pt x="5432267" y="4209467"/>
                    </a:cubicBezTo>
                    <a:close/>
                    <a:moveTo>
                      <a:pt x="5432757" y="3472701"/>
                    </a:moveTo>
                    <a:cubicBezTo>
                      <a:pt x="5432757" y="3461227"/>
                      <a:pt x="5423388" y="3451844"/>
                      <a:pt x="5411799" y="3451844"/>
                    </a:cubicBezTo>
                    <a:cubicBezTo>
                      <a:pt x="5400209" y="3451844"/>
                      <a:pt x="5390841" y="3461227"/>
                      <a:pt x="5390841" y="3472701"/>
                    </a:cubicBezTo>
                    <a:cubicBezTo>
                      <a:pt x="5390841" y="3484290"/>
                      <a:pt x="5400209" y="3493659"/>
                      <a:pt x="5411799" y="3493659"/>
                    </a:cubicBezTo>
                    <a:cubicBezTo>
                      <a:pt x="5423388" y="3493659"/>
                      <a:pt x="5432757" y="3484290"/>
                      <a:pt x="5432757" y="3472701"/>
                    </a:cubicBezTo>
                    <a:close/>
                    <a:moveTo>
                      <a:pt x="5435717" y="5009113"/>
                    </a:moveTo>
                    <a:cubicBezTo>
                      <a:pt x="5435717" y="4999991"/>
                      <a:pt x="5428072" y="4992346"/>
                      <a:pt x="5418703" y="4992346"/>
                    </a:cubicBezTo>
                    <a:cubicBezTo>
                      <a:pt x="5409580" y="4992346"/>
                      <a:pt x="5401936" y="4999744"/>
                      <a:pt x="5401936" y="5009113"/>
                    </a:cubicBezTo>
                    <a:cubicBezTo>
                      <a:pt x="5401936" y="5018482"/>
                      <a:pt x="5409335" y="5026126"/>
                      <a:pt x="5418703" y="5026126"/>
                    </a:cubicBezTo>
                    <a:cubicBezTo>
                      <a:pt x="5428072" y="5026126"/>
                      <a:pt x="5435717" y="5018482"/>
                      <a:pt x="5435717" y="5009113"/>
                    </a:cubicBezTo>
                    <a:close/>
                    <a:moveTo>
                      <a:pt x="5435720" y="3356917"/>
                    </a:moveTo>
                    <a:cubicBezTo>
                      <a:pt x="5435720" y="3341626"/>
                      <a:pt x="5423389" y="3329299"/>
                      <a:pt x="5408102" y="3329299"/>
                    </a:cubicBezTo>
                    <a:cubicBezTo>
                      <a:pt x="5392816" y="3329299"/>
                      <a:pt x="5380486" y="3341626"/>
                      <a:pt x="5380486" y="3356917"/>
                    </a:cubicBezTo>
                    <a:cubicBezTo>
                      <a:pt x="5380486" y="3372183"/>
                      <a:pt x="5392816" y="3384523"/>
                      <a:pt x="5408102" y="3384523"/>
                    </a:cubicBezTo>
                    <a:cubicBezTo>
                      <a:pt x="5423389" y="3384523"/>
                      <a:pt x="5435720" y="3372183"/>
                      <a:pt x="5435720" y="3356917"/>
                    </a:cubicBezTo>
                    <a:close/>
                    <a:moveTo>
                      <a:pt x="5436949" y="5908375"/>
                    </a:moveTo>
                    <a:cubicBezTo>
                      <a:pt x="5436949" y="5907143"/>
                      <a:pt x="5436211" y="5906402"/>
                      <a:pt x="5435224" y="5906402"/>
                    </a:cubicBezTo>
                    <a:cubicBezTo>
                      <a:pt x="5434239" y="5906402"/>
                      <a:pt x="5433498" y="5907389"/>
                      <a:pt x="5433498" y="5908375"/>
                    </a:cubicBezTo>
                    <a:cubicBezTo>
                      <a:pt x="5433498" y="5909361"/>
                      <a:pt x="5434239" y="5910102"/>
                      <a:pt x="5435224" y="5910102"/>
                    </a:cubicBezTo>
                    <a:cubicBezTo>
                      <a:pt x="5436211" y="5910102"/>
                      <a:pt x="5436949" y="5909361"/>
                      <a:pt x="5436949" y="5908375"/>
                    </a:cubicBezTo>
                    <a:close/>
                    <a:moveTo>
                      <a:pt x="5439417" y="2133187"/>
                    </a:moveTo>
                    <a:cubicBezTo>
                      <a:pt x="5439417" y="2124315"/>
                      <a:pt x="5432021" y="2116915"/>
                      <a:pt x="5423143" y="2116915"/>
                    </a:cubicBezTo>
                    <a:cubicBezTo>
                      <a:pt x="5414267" y="2116915"/>
                      <a:pt x="5406868" y="2124067"/>
                      <a:pt x="5406868" y="2133187"/>
                    </a:cubicBezTo>
                    <a:cubicBezTo>
                      <a:pt x="5406868" y="2142067"/>
                      <a:pt x="5414018" y="2149465"/>
                      <a:pt x="5423143" y="2149465"/>
                    </a:cubicBezTo>
                    <a:cubicBezTo>
                      <a:pt x="5432021" y="2149465"/>
                      <a:pt x="5439417" y="2142067"/>
                      <a:pt x="5439417" y="2133187"/>
                    </a:cubicBezTo>
                    <a:close/>
                    <a:moveTo>
                      <a:pt x="5445580" y="6039062"/>
                    </a:moveTo>
                    <a:cubicBezTo>
                      <a:pt x="5445580" y="6038076"/>
                      <a:pt x="5444842" y="6037335"/>
                      <a:pt x="5443855" y="6037335"/>
                    </a:cubicBezTo>
                    <a:cubicBezTo>
                      <a:pt x="5442870" y="6037335"/>
                      <a:pt x="5442129" y="6038076"/>
                      <a:pt x="5442129" y="6039062"/>
                    </a:cubicBezTo>
                    <a:cubicBezTo>
                      <a:pt x="5442129" y="6040048"/>
                      <a:pt x="5442870" y="6040789"/>
                      <a:pt x="5443855" y="6040789"/>
                    </a:cubicBezTo>
                    <a:cubicBezTo>
                      <a:pt x="5444842" y="6040789"/>
                      <a:pt x="5445580" y="6040048"/>
                      <a:pt x="5445580" y="6039062"/>
                    </a:cubicBezTo>
                    <a:close/>
                    <a:moveTo>
                      <a:pt x="5451500" y="5153608"/>
                    </a:moveTo>
                    <a:cubicBezTo>
                      <a:pt x="5451500" y="5147196"/>
                      <a:pt x="5446319" y="5142018"/>
                      <a:pt x="5439910" y="5142018"/>
                    </a:cubicBezTo>
                    <a:cubicBezTo>
                      <a:pt x="5433498" y="5142018"/>
                      <a:pt x="5428320" y="5147196"/>
                      <a:pt x="5428320" y="5153608"/>
                    </a:cubicBezTo>
                    <a:cubicBezTo>
                      <a:pt x="5428320" y="5160018"/>
                      <a:pt x="5433498" y="5165197"/>
                      <a:pt x="5439910" y="5165197"/>
                    </a:cubicBezTo>
                    <a:cubicBezTo>
                      <a:pt x="5446319" y="5165197"/>
                      <a:pt x="5451500" y="5160018"/>
                      <a:pt x="5451500" y="5153608"/>
                    </a:cubicBezTo>
                    <a:close/>
                    <a:moveTo>
                      <a:pt x="5454210" y="4612867"/>
                    </a:moveTo>
                    <a:cubicBezTo>
                      <a:pt x="5454210" y="4598813"/>
                      <a:pt x="5442621" y="4587223"/>
                      <a:pt x="5428567" y="4587223"/>
                    </a:cubicBezTo>
                    <a:cubicBezTo>
                      <a:pt x="5414267" y="4587223"/>
                      <a:pt x="5402923" y="4598564"/>
                      <a:pt x="5402923" y="4612867"/>
                    </a:cubicBezTo>
                    <a:cubicBezTo>
                      <a:pt x="5402923" y="4626921"/>
                      <a:pt x="5414512" y="4638511"/>
                      <a:pt x="5428567" y="4638511"/>
                    </a:cubicBezTo>
                    <a:cubicBezTo>
                      <a:pt x="5442870" y="4638511"/>
                      <a:pt x="5454210" y="4626921"/>
                      <a:pt x="5454210" y="4612867"/>
                    </a:cubicBezTo>
                    <a:close/>
                    <a:moveTo>
                      <a:pt x="5454210" y="6168760"/>
                    </a:moveTo>
                    <a:cubicBezTo>
                      <a:pt x="5454210" y="6167279"/>
                      <a:pt x="5452979" y="6165800"/>
                      <a:pt x="5451251" y="6165800"/>
                    </a:cubicBezTo>
                    <a:cubicBezTo>
                      <a:pt x="5449524" y="6165800"/>
                      <a:pt x="5448292" y="6167032"/>
                      <a:pt x="5448292" y="6168760"/>
                    </a:cubicBezTo>
                    <a:cubicBezTo>
                      <a:pt x="5448292" y="6170486"/>
                      <a:pt x="5449524" y="6171718"/>
                      <a:pt x="5451251" y="6171718"/>
                    </a:cubicBezTo>
                    <a:cubicBezTo>
                      <a:pt x="5452979" y="6171718"/>
                      <a:pt x="5454210" y="6170486"/>
                      <a:pt x="5454210" y="6168760"/>
                    </a:cubicBezTo>
                    <a:close/>
                    <a:moveTo>
                      <a:pt x="5455937" y="2384442"/>
                    </a:moveTo>
                    <a:cubicBezTo>
                      <a:pt x="5455937" y="2382711"/>
                      <a:pt x="5454457" y="2381231"/>
                      <a:pt x="5452730" y="2381231"/>
                    </a:cubicBezTo>
                    <a:cubicBezTo>
                      <a:pt x="5451002" y="2381231"/>
                      <a:pt x="5449524" y="2382711"/>
                      <a:pt x="5449524" y="2384442"/>
                    </a:cubicBezTo>
                    <a:cubicBezTo>
                      <a:pt x="5449524" y="2386172"/>
                      <a:pt x="5451002" y="2387649"/>
                      <a:pt x="5452730" y="2387649"/>
                    </a:cubicBezTo>
                    <a:cubicBezTo>
                      <a:pt x="5454457" y="2387649"/>
                      <a:pt x="5455937" y="2386172"/>
                      <a:pt x="5455937" y="2384442"/>
                    </a:cubicBezTo>
                    <a:close/>
                    <a:moveTo>
                      <a:pt x="5457170" y="1474438"/>
                    </a:moveTo>
                    <a:cubicBezTo>
                      <a:pt x="5457170" y="1458901"/>
                      <a:pt x="5444348" y="1446084"/>
                      <a:pt x="5428815" y="1446084"/>
                    </a:cubicBezTo>
                    <a:cubicBezTo>
                      <a:pt x="5413280" y="1446084"/>
                      <a:pt x="5400458" y="1458654"/>
                      <a:pt x="5400458" y="1474438"/>
                    </a:cubicBezTo>
                    <a:cubicBezTo>
                      <a:pt x="5400458" y="1489970"/>
                      <a:pt x="5413035" y="1502794"/>
                      <a:pt x="5428815" y="1502794"/>
                    </a:cubicBezTo>
                    <a:cubicBezTo>
                      <a:pt x="5444348" y="1502794"/>
                      <a:pt x="5457170" y="1489970"/>
                      <a:pt x="5457170" y="1474438"/>
                    </a:cubicBezTo>
                    <a:close/>
                    <a:moveTo>
                      <a:pt x="5460129" y="1612502"/>
                    </a:moveTo>
                    <a:cubicBezTo>
                      <a:pt x="5460129" y="1586847"/>
                      <a:pt x="5439417" y="1565893"/>
                      <a:pt x="5413773" y="1565893"/>
                    </a:cubicBezTo>
                    <a:cubicBezTo>
                      <a:pt x="5388128" y="1565893"/>
                      <a:pt x="5367170" y="1586847"/>
                      <a:pt x="5367170" y="1612502"/>
                    </a:cubicBezTo>
                    <a:cubicBezTo>
                      <a:pt x="5367170" y="1638146"/>
                      <a:pt x="5388128" y="1659098"/>
                      <a:pt x="5413773" y="1659098"/>
                    </a:cubicBezTo>
                    <a:cubicBezTo>
                      <a:pt x="5439417" y="1659098"/>
                      <a:pt x="5460129" y="1638146"/>
                      <a:pt x="5460129" y="1612502"/>
                    </a:cubicBezTo>
                    <a:close/>
                    <a:moveTo>
                      <a:pt x="5460624" y="6296487"/>
                    </a:moveTo>
                    <a:cubicBezTo>
                      <a:pt x="5460624" y="6295500"/>
                      <a:pt x="5459883" y="6294759"/>
                      <a:pt x="5458896" y="6294759"/>
                    </a:cubicBezTo>
                    <a:cubicBezTo>
                      <a:pt x="5457911" y="6294759"/>
                      <a:pt x="5457170" y="6295500"/>
                      <a:pt x="5457170" y="6296487"/>
                    </a:cubicBezTo>
                    <a:cubicBezTo>
                      <a:pt x="5457170" y="6297472"/>
                      <a:pt x="5457911" y="6298213"/>
                      <a:pt x="5458896" y="6298213"/>
                    </a:cubicBezTo>
                    <a:cubicBezTo>
                      <a:pt x="5459883" y="6298213"/>
                      <a:pt x="5460624" y="6297472"/>
                      <a:pt x="5460624" y="6296487"/>
                    </a:cubicBezTo>
                    <a:close/>
                    <a:moveTo>
                      <a:pt x="5460869" y="5296374"/>
                    </a:moveTo>
                    <a:cubicBezTo>
                      <a:pt x="5460869" y="5294649"/>
                      <a:pt x="5459391" y="5293168"/>
                      <a:pt x="5457664" y="5293168"/>
                    </a:cubicBezTo>
                    <a:cubicBezTo>
                      <a:pt x="5455936" y="5293168"/>
                      <a:pt x="5454459" y="5294649"/>
                      <a:pt x="5454459" y="5296374"/>
                    </a:cubicBezTo>
                    <a:cubicBezTo>
                      <a:pt x="5454459" y="5298100"/>
                      <a:pt x="5455936" y="5299581"/>
                      <a:pt x="5457664" y="5299581"/>
                    </a:cubicBezTo>
                    <a:cubicBezTo>
                      <a:pt x="5459391" y="5299581"/>
                      <a:pt x="5460869" y="5298100"/>
                      <a:pt x="5460869" y="5296374"/>
                    </a:cubicBezTo>
                    <a:close/>
                    <a:moveTo>
                      <a:pt x="5461852" y="2846262"/>
                    </a:moveTo>
                    <a:cubicBezTo>
                      <a:pt x="5461852" y="2823082"/>
                      <a:pt x="5442867" y="2804096"/>
                      <a:pt x="5419689" y="2804096"/>
                    </a:cubicBezTo>
                    <a:cubicBezTo>
                      <a:pt x="5396264" y="2804096"/>
                      <a:pt x="5377524" y="2823082"/>
                      <a:pt x="5377524" y="2846262"/>
                    </a:cubicBezTo>
                    <a:cubicBezTo>
                      <a:pt x="5377524" y="2869439"/>
                      <a:pt x="5396510" y="2888427"/>
                      <a:pt x="5419689" y="2888427"/>
                    </a:cubicBezTo>
                    <a:cubicBezTo>
                      <a:pt x="5442867" y="2888427"/>
                      <a:pt x="5461852" y="2869439"/>
                      <a:pt x="5461852" y="2846262"/>
                    </a:cubicBezTo>
                    <a:close/>
                    <a:moveTo>
                      <a:pt x="5469745" y="4765744"/>
                    </a:moveTo>
                    <a:cubicBezTo>
                      <a:pt x="5469745" y="4761059"/>
                      <a:pt x="5466048" y="4757113"/>
                      <a:pt x="5461117" y="4757113"/>
                    </a:cubicBezTo>
                    <a:cubicBezTo>
                      <a:pt x="5456432" y="4757113"/>
                      <a:pt x="5452486" y="4761059"/>
                      <a:pt x="5452486" y="4765744"/>
                    </a:cubicBezTo>
                    <a:cubicBezTo>
                      <a:pt x="5452486" y="4770427"/>
                      <a:pt x="5456432" y="4774372"/>
                      <a:pt x="5461117" y="4774372"/>
                    </a:cubicBezTo>
                    <a:cubicBezTo>
                      <a:pt x="5466048" y="4774372"/>
                      <a:pt x="5469994" y="4770675"/>
                      <a:pt x="5469745" y="4765744"/>
                    </a:cubicBezTo>
                    <a:close/>
                    <a:moveTo>
                      <a:pt x="5470240" y="6423474"/>
                    </a:moveTo>
                    <a:cubicBezTo>
                      <a:pt x="5470240" y="6421009"/>
                      <a:pt x="5468267" y="6418787"/>
                      <a:pt x="5465554" y="6418787"/>
                    </a:cubicBezTo>
                    <a:cubicBezTo>
                      <a:pt x="5462842" y="6418787"/>
                      <a:pt x="5460869" y="6421009"/>
                      <a:pt x="5460869" y="6423474"/>
                    </a:cubicBezTo>
                    <a:cubicBezTo>
                      <a:pt x="5460869" y="6426186"/>
                      <a:pt x="5463087" y="6428159"/>
                      <a:pt x="5465554" y="6428159"/>
                    </a:cubicBezTo>
                    <a:cubicBezTo>
                      <a:pt x="5468019" y="6428159"/>
                      <a:pt x="5469992" y="6426186"/>
                      <a:pt x="5470240" y="6423474"/>
                    </a:cubicBezTo>
                    <a:close/>
                    <a:moveTo>
                      <a:pt x="5472210" y="4100485"/>
                    </a:moveTo>
                    <a:cubicBezTo>
                      <a:pt x="5472210" y="4073114"/>
                      <a:pt x="5450017" y="4050675"/>
                      <a:pt x="5422402" y="4050675"/>
                    </a:cubicBezTo>
                    <a:cubicBezTo>
                      <a:pt x="5395033" y="4050675"/>
                      <a:pt x="5372593" y="4073114"/>
                      <a:pt x="5372593" y="4100485"/>
                    </a:cubicBezTo>
                    <a:cubicBezTo>
                      <a:pt x="5372593" y="4127853"/>
                      <a:pt x="5395033" y="4150291"/>
                      <a:pt x="5422402" y="4150291"/>
                    </a:cubicBezTo>
                    <a:cubicBezTo>
                      <a:pt x="5450017" y="4150291"/>
                      <a:pt x="5472455" y="4127853"/>
                      <a:pt x="5472210" y="4100485"/>
                    </a:cubicBezTo>
                    <a:close/>
                    <a:moveTo>
                      <a:pt x="5474926" y="127084"/>
                    </a:moveTo>
                    <a:cubicBezTo>
                      <a:pt x="5474926" y="103169"/>
                      <a:pt x="5455445" y="83443"/>
                      <a:pt x="5431280" y="83443"/>
                    </a:cubicBezTo>
                    <a:cubicBezTo>
                      <a:pt x="5407117" y="83443"/>
                      <a:pt x="5387391" y="102923"/>
                      <a:pt x="5387391" y="127084"/>
                    </a:cubicBezTo>
                    <a:cubicBezTo>
                      <a:pt x="5387391" y="151001"/>
                      <a:pt x="5407117" y="170725"/>
                      <a:pt x="5431280" y="170725"/>
                    </a:cubicBezTo>
                    <a:cubicBezTo>
                      <a:pt x="5455445" y="170725"/>
                      <a:pt x="5474926" y="151001"/>
                      <a:pt x="5474926" y="127084"/>
                    </a:cubicBezTo>
                    <a:close/>
                    <a:moveTo>
                      <a:pt x="5475417" y="1041998"/>
                    </a:moveTo>
                    <a:cubicBezTo>
                      <a:pt x="5475417" y="1016116"/>
                      <a:pt x="5454460" y="995156"/>
                      <a:pt x="5428569" y="995156"/>
                    </a:cubicBezTo>
                    <a:cubicBezTo>
                      <a:pt x="5402680" y="995156"/>
                      <a:pt x="5381473" y="1016116"/>
                      <a:pt x="5381473" y="1041998"/>
                    </a:cubicBezTo>
                    <a:cubicBezTo>
                      <a:pt x="5381473" y="1067891"/>
                      <a:pt x="5402680" y="1088857"/>
                      <a:pt x="5428569" y="1088857"/>
                    </a:cubicBezTo>
                    <a:cubicBezTo>
                      <a:pt x="5454460" y="1088857"/>
                      <a:pt x="5475417" y="1067646"/>
                      <a:pt x="5475417" y="1041998"/>
                    </a:cubicBezTo>
                    <a:close/>
                    <a:moveTo>
                      <a:pt x="5475661" y="2575770"/>
                    </a:moveTo>
                    <a:cubicBezTo>
                      <a:pt x="5475661" y="2550126"/>
                      <a:pt x="5454702" y="2529166"/>
                      <a:pt x="5429059" y="2529166"/>
                    </a:cubicBezTo>
                    <a:cubicBezTo>
                      <a:pt x="5403415" y="2529166"/>
                      <a:pt x="5382456" y="2550126"/>
                      <a:pt x="5382456" y="2575770"/>
                    </a:cubicBezTo>
                    <a:cubicBezTo>
                      <a:pt x="5382456" y="2601414"/>
                      <a:pt x="5403415" y="2622373"/>
                      <a:pt x="5429059" y="2622373"/>
                    </a:cubicBezTo>
                    <a:cubicBezTo>
                      <a:pt x="5454702" y="2622373"/>
                      <a:pt x="5475661" y="2601414"/>
                      <a:pt x="5475661" y="2575770"/>
                    </a:cubicBezTo>
                    <a:close/>
                    <a:moveTo>
                      <a:pt x="5476155" y="5435691"/>
                    </a:moveTo>
                    <a:cubicBezTo>
                      <a:pt x="5476155" y="5434704"/>
                      <a:pt x="5475417" y="5433963"/>
                      <a:pt x="5474431" y="5433963"/>
                    </a:cubicBezTo>
                    <a:cubicBezTo>
                      <a:pt x="5473445" y="5433963"/>
                      <a:pt x="5472704" y="5434704"/>
                      <a:pt x="5472704" y="5435691"/>
                    </a:cubicBezTo>
                    <a:cubicBezTo>
                      <a:pt x="5472704" y="5436676"/>
                      <a:pt x="5473445" y="5437414"/>
                      <a:pt x="5474431" y="5437414"/>
                    </a:cubicBezTo>
                    <a:cubicBezTo>
                      <a:pt x="5475417" y="5437414"/>
                      <a:pt x="5476155" y="5436676"/>
                      <a:pt x="5476155" y="5435691"/>
                    </a:cubicBezTo>
                    <a:close/>
                    <a:moveTo>
                      <a:pt x="5476649" y="1337848"/>
                    </a:moveTo>
                    <a:cubicBezTo>
                      <a:pt x="5476649" y="1318613"/>
                      <a:pt x="5460869" y="1302834"/>
                      <a:pt x="5441634" y="1302834"/>
                    </a:cubicBezTo>
                    <a:cubicBezTo>
                      <a:pt x="5422402" y="1302834"/>
                      <a:pt x="5406622" y="1318613"/>
                      <a:pt x="5406622" y="1337848"/>
                    </a:cubicBezTo>
                    <a:cubicBezTo>
                      <a:pt x="5406622" y="1357080"/>
                      <a:pt x="5422402" y="1372867"/>
                      <a:pt x="5441634" y="1372867"/>
                    </a:cubicBezTo>
                    <a:cubicBezTo>
                      <a:pt x="5461114" y="1372867"/>
                      <a:pt x="5476649" y="1357080"/>
                      <a:pt x="5476649" y="1337848"/>
                    </a:cubicBezTo>
                    <a:close/>
                    <a:moveTo>
                      <a:pt x="5477389" y="4370237"/>
                    </a:moveTo>
                    <a:cubicBezTo>
                      <a:pt x="5477389" y="4345825"/>
                      <a:pt x="5457661" y="4326099"/>
                      <a:pt x="5433251" y="4326099"/>
                    </a:cubicBezTo>
                    <a:cubicBezTo>
                      <a:pt x="5408840" y="4326099"/>
                      <a:pt x="5389114" y="4345825"/>
                      <a:pt x="5389114" y="4370237"/>
                    </a:cubicBezTo>
                    <a:cubicBezTo>
                      <a:pt x="5389114" y="4394646"/>
                      <a:pt x="5408840" y="4414371"/>
                      <a:pt x="5433251" y="4414371"/>
                    </a:cubicBezTo>
                    <a:cubicBezTo>
                      <a:pt x="5457661" y="4414371"/>
                      <a:pt x="5477389" y="4394646"/>
                      <a:pt x="5477389" y="4370237"/>
                    </a:cubicBezTo>
                    <a:close/>
                    <a:moveTo>
                      <a:pt x="5477882" y="6549474"/>
                    </a:moveTo>
                    <a:cubicBezTo>
                      <a:pt x="5477882" y="6545775"/>
                      <a:pt x="5474922" y="6543062"/>
                      <a:pt x="5471470" y="6543062"/>
                    </a:cubicBezTo>
                    <a:cubicBezTo>
                      <a:pt x="5468019" y="6543062"/>
                      <a:pt x="5465060" y="6546021"/>
                      <a:pt x="5465060" y="6549474"/>
                    </a:cubicBezTo>
                    <a:cubicBezTo>
                      <a:pt x="5465060" y="6552925"/>
                      <a:pt x="5468019" y="6555639"/>
                      <a:pt x="5471470" y="6555639"/>
                    </a:cubicBezTo>
                    <a:cubicBezTo>
                      <a:pt x="5475169" y="6555639"/>
                      <a:pt x="5477882" y="6552925"/>
                      <a:pt x="5477882" y="6549474"/>
                    </a:cubicBezTo>
                    <a:close/>
                    <a:moveTo>
                      <a:pt x="5478377" y="4323"/>
                    </a:moveTo>
                    <a:lnTo>
                      <a:pt x="5476583" y="0"/>
                    </a:lnTo>
                    <a:lnTo>
                      <a:pt x="5393376" y="0"/>
                    </a:lnTo>
                    <a:lnTo>
                      <a:pt x="5391582" y="4323"/>
                    </a:lnTo>
                    <a:cubicBezTo>
                      <a:pt x="5391582" y="28238"/>
                      <a:pt x="5411062" y="47717"/>
                      <a:pt x="5434979" y="47717"/>
                    </a:cubicBezTo>
                    <a:cubicBezTo>
                      <a:pt x="5458896" y="47717"/>
                      <a:pt x="5478377" y="28238"/>
                      <a:pt x="5478377" y="4323"/>
                    </a:cubicBezTo>
                    <a:close/>
                    <a:moveTo>
                      <a:pt x="5484048" y="911092"/>
                    </a:moveTo>
                    <a:cubicBezTo>
                      <a:pt x="5484048" y="885199"/>
                      <a:pt x="5463089" y="864239"/>
                      <a:pt x="5437198" y="864239"/>
                    </a:cubicBezTo>
                    <a:cubicBezTo>
                      <a:pt x="5411308" y="864239"/>
                      <a:pt x="5390349" y="885199"/>
                      <a:pt x="5390349" y="911092"/>
                    </a:cubicBezTo>
                    <a:cubicBezTo>
                      <a:pt x="5390349" y="936979"/>
                      <a:pt x="5411308" y="957945"/>
                      <a:pt x="5437198" y="957945"/>
                    </a:cubicBezTo>
                    <a:cubicBezTo>
                      <a:pt x="5463089" y="957945"/>
                      <a:pt x="5484048" y="936979"/>
                      <a:pt x="5484048" y="911092"/>
                    </a:cubicBezTo>
                    <a:close/>
                    <a:moveTo>
                      <a:pt x="5486020" y="6674239"/>
                    </a:moveTo>
                    <a:cubicBezTo>
                      <a:pt x="5486020" y="6669308"/>
                      <a:pt x="5482075" y="6665363"/>
                      <a:pt x="5477144" y="6665363"/>
                    </a:cubicBezTo>
                    <a:cubicBezTo>
                      <a:pt x="5472213" y="6665363"/>
                      <a:pt x="5468267" y="6669308"/>
                      <a:pt x="5468267" y="6674239"/>
                    </a:cubicBezTo>
                    <a:cubicBezTo>
                      <a:pt x="5468267" y="6679172"/>
                      <a:pt x="5472213" y="6683116"/>
                      <a:pt x="5477144" y="6683116"/>
                    </a:cubicBezTo>
                    <a:cubicBezTo>
                      <a:pt x="5482075" y="6683116"/>
                      <a:pt x="5486020" y="6679172"/>
                      <a:pt x="5486020" y="6674239"/>
                    </a:cubicBezTo>
                    <a:close/>
                    <a:moveTo>
                      <a:pt x="5488731" y="2957468"/>
                    </a:moveTo>
                    <a:cubicBezTo>
                      <a:pt x="5488731" y="2937496"/>
                      <a:pt x="5472458" y="2921469"/>
                      <a:pt x="5452732" y="2921469"/>
                    </a:cubicBezTo>
                    <a:cubicBezTo>
                      <a:pt x="5433006" y="2921469"/>
                      <a:pt x="5416730" y="2937496"/>
                      <a:pt x="5416730" y="2957468"/>
                    </a:cubicBezTo>
                    <a:cubicBezTo>
                      <a:pt x="5416730" y="2977443"/>
                      <a:pt x="5433006" y="2993471"/>
                      <a:pt x="5452732" y="2993471"/>
                    </a:cubicBezTo>
                    <a:cubicBezTo>
                      <a:pt x="5472458" y="2993471"/>
                      <a:pt x="5488731" y="2977195"/>
                      <a:pt x="5488731" y="2957468"/>
                    </a:cubicBezTo>
                    <a:close/>
                    <a:moveTo>
                      <a:pt x="5489964" y="1985001"/>
                    </a:moveTo>
                    <a:cubicBezTo>
                      <a:pt x="5489964" y="1962575"/>
                      <a:pt x="5471718" y="1944339"/>
                      <a:pt x="5449280" y="1944339"/>
                    </a:cubicBezTo>
                    <a:cubicBezTo>
                      <a:pt x="5426840" y="1944339"/>
                      <a:pt x="5408595" y="1962575"/>
                      <a:pt x="5408595" y="1985001"/>
                    </a:cubicBezTo>
                    <a:cubicBezTo>
                      <a:pt x="5408595" y="2007428"/>
                      <a:pt x="5426840" y="2025675"/>
                      <a:pt x="5449280" y="2025675"/>
                    </a:cubicBezTo>
                    <a:cubicBezTo>
                      <a:pt x="5471718" y="2025675"/>
                      <a:pt x="5489964" y="2007428"/>
                      <a:pt x="5489964" y="1985001"/>
                    </a:cubicBezTo>
                    <a:close/>
                    <a:moveTo>
                      <a:pt x="5491939" y="782153"/>
                    </a:moveTo>
                    <a:cubicBezTo>
                      <a:pt x="5491939" y="756509"/>
                      <a:pt x="5470980" y="735545"/>
                      <a:pt x="5445334" y="735545"/>
                    </a:cubicBezTo>
                    <a:cubicBezTo>
                      <a:pt x="5419445" y="735545"/>
                      <a:pt x="5398486" y="756509"/>
                      <a:pt x="5398486" y="782153"/>
                    </a:cubicBezTo>
                    <a:cubicBezTo>
                      <a:pt x="5398486" y="807798"/>
                      <a:pt x="5419693" y="828760"/>
                      <a:pt x="5445334" y="828760"/>
                    </a:cubicBezTo>
                    <a:cubicBezTo>
                      <a:pt x="5470980" y="828760"/>
                      <a:pt x="5491939" y="807798"/>
                      <a:pt x="5491939" y="782153"/>
                    </a:cubicBezTo>
                    <a:close/>
                    <a:moveTo>
                      <a:pt x="5492431" y="1839865"/>
                    </a:moveTo>
                    <a:cubicBezTo>
                      <a:pt x="5492431" y="1828774"/>
                      <a:pt x="5483308" y="1819653"/>
                      <a:pt x="5472210" y="1819653"/>
                    </a:cubicBezTo>
                    <a:cubicBezTo>
                      <a:pt x="5461115" y="1819653"/>
                      <a:pt x="5451992" y="1828774"/>
                      <a:pt x="5451992" y="1839865"/>
                    </a:cubicBezTo>
                    <a:cubicBezTo>
                      <a:pt x="5451992" y="1850963"/>
                      <a:pt x="5461115" y="1860080"/>
                      <a:pt x="5472210" y="1860080"/>
                    </a:cubicBezTo>
                    <a:cubicBezTo>
                      <a:pt x="5483308" y="1860080"/>
                      <a:pt x="5492185" y="1850963"/>
                      <a:pt x="5492431" y="1839865"/>
                    </a:cubicBezTo>
                    <a:close/>
                    <a:moveTo>
                      <a:pt x="5495882" y="3989030"/>
                    </a:moveTo>
                    <a:cubicBezTo>
                      <a:pt x="5495882" y="3966593"/>
                      <a:pt x="5477387" y="3948099"/>
                      <a:pt x="5454950" y="3948099"/>
                    </a:cubicBezTo>
                    <a:cubicBezTo>
                      <a:pt x="5432267" y="3948099"/>
                      <a:pt x="5414018" y="3966593"/>
                      <a:pt x="5414018" y="3989030"/>
                    </a:cubicBezTo>
                    <a:cubicBezTo>
                      <a:pt x="5414018" y="4011717"/>
                      <a:pt x="5432512" y="4029963"/>
                      <a:pt x="5454950" y="4029963"/>
                    </a:cubicBezTo>
                    <a:cubicBezTo>
                      <a:pt x="5477387" y="4029963"/>
                      <a:pt x="5495882" y="4011717"/>
                      <a:pt x="5495882" y="3989030"/>
                    </a:cubicBezTo>
                    <a:close/>
                    <a:moveTo>
                      <a:pt x="5496621" y="1203489"/>
                    </a:moveTo>
                    <a:cubicBezTo>
                      <a:pt x="5496621" y="1179811"/>
                      <a:pt x="5477387" y="1160584"/>
                      <a:pt x="5453716" y="1160584"/>
                    </a:cubicBezTo>
                    <a:cubicBezTo>
                      <a:pt x="5430045" y="1160584"/>
                      <a:pt x="5410813" y="1179811"/>
                      <a:pt x="5410813" y="1203489"/>
                    </a:cubicBezTo>
                    <a:cubicBezTo>
                      <a:pt x="5410813" y="1227162"/>
                      <a:pt x="5430045" y="1246395"/>
                      <a:pt x="5453716" y="1246395"/>
                    </a:cubicBezTo>
                    <a:cubicBezTo>
                      <a:pt x="5477387" y="1246395"/>
                      <a:pt x="5496621" y="1227162"/>
                      <a:pt x="5496621" y="1203489"/>
                    </a:cubicBezTo>
                    <a:close/>
                    <a:moveTo>
                      <a:pt x="5497857" y="653717"/>
                    </a:moveTo>
                    <a:cubicBezTo>
                      <a:pt x="5497857" y="628260"/>
                      <a:pt x="5477144" y="607549"/>
                      <a:pt x="5451746" y="607549"/>
                    </a:cubicBezTo>
                    <a:cubicBezTo>
                      <a:pt x="5426347" y="607549"/>
                      <a:pt x="5405636" y="628260"/>
                      <a:pt x="5405636" y="653717"/>
                    </a:cubicBezTo>
                    <a:cubicBezTo>
                      <a:pt x="5405636" y="679101"/>
                      <a:pt x="5426347" y="699825"/>
                      <a:pt x="5451746" y="699825"/>
                    </a:cubicBezTo>
                    <a:cubicBezTo>
                      <a:pt x="5477144" y="699825"/>
                      <a:pt x="5497857" y="679101"/>
                      <a:pt x="5497857" y="653717"/>
                    </a:cubicBezTo>
                    <a:close/>
                    <a:moveTo>
                      <a:pt x="5498103" y="2230103"/>
                    </a:moveTo>
                    <a:cubicBezTo>
                      <a:pt x="5498103" y="2224180"/>
                      <a:pt x="5493171" y="2219258"/>
                      <a:pt x="5487254" y="2219258"/>
                    </a:cubicBezTo>
                    <a:cubicBezTo>
                      <a:pt x="5481336" y="2219258"/>
                      <a:pt x="5476404" y="2224180"/>
                      <a:pt x="5476404" y="2230103"/>
                    </a:cubicBezTo>
                    <a:cubicBezTo>
                      <a:pt x="5476404" y="2236016"/>
                      <a:pt x="5481336" y="2240951"/>
                      <a:pt x="5487254" y="2240951"/>
                    </a:cubicBezTo>
                    <a:cubicBezTo>
                      <a:pt x="5493171" y="2240951"/>
                      <a:pt x="5498103" y="2236263"/>
                      <a:pt x="5498103" y="2230103"/>
                    </a:cubicBezTo>
                    <a:close/>
                    <a:moveTo>
                      <a:pt x="5500317" y="6916871"/>
                    </a:moveTo>
                    <a:cubicBezTo>
                      <a:pt x="5500317" y="6913912"/>
                      <a:pt x="5497853" y="6911693"/>
                      <a:pt x="5495141" y="6911693"/>
                    </a:cubicBezTo>
                    <a:cubicBezTo>
                      <a:pt x="5492181" y="6911693"/>
                      <a:pt x="5489963" y="6914160"/>
                      <a:pt x="5489963" y="6916871"/>
                    </a:cubicBezTo>
                    <a:cubicBezTo>
                      <a:pt x="5489963" y="6919829"/>
                      <a:pt x="5492181" y="6922047"/>
                      <a:pt x="5495141" y="6922047"/>
                    </a:cubicBezTo>
                    <a:cubicBezTo>
                      <a:pt x="5497853" y="6922047"/>
                      <a:pt x="5500072" y="6919583"/>
                      <a:pt x="5500317" y="6916871"/>
                    </a:cubicBezTo>
                    <a:close/>
                    <a:moveTo>
                      <a:pt x="5501060" y="6793335"/>
                    </a:moveTo>
                    <a:cubicBezTo>
                      <a:pt x="5501060" y="6787665"/>
                      <a:pt x="5496375" y="6782979"/>
                      <a:pt x="5490703" y="6782979"/>
                    </a:cubicBezTo>
                    <a:cubicBezTo>
                      <a:pt x="5485034" y="6782979"/>
                      <a:pt x="5480348" y="6787665"/>
                      <a:pt x="5480348" y="6793335"/>
                    </a:cubicBezTo>
                    <a:cubicBezTo>
                      <a:pt x="5480348" y="6799007"/>
                      <a:pt x="5485034" y="6803692"/>
                      <a:pt x="5490703" y="6803692"/>
                    </a:cubicBezTo>
                    <a:cubicBezTo>
                      <a:pt x="5496375" y="6803692"/>
                      <a:pt x="5501060" y="6799007"/>
                      <a:pt x="5501060" y="6793335"/>
                    </a:cubicBezTo>
                    <a:close/>
                    <a:moveTo>
                      <a:pt x="5503280" y="3876099"/>
                    </a:moveTo>
                    <a:cubicBezTo>
                      <a:pt x="5503280" y="3863768"/>
                      <a:pt x="5493168" y="3853659"/>
                      <a:pt x="5480841" y="3853659"/>
                    </a:cubicBezTo>
                    <a:cubicBezTo>
                      <a:pt x="5468511" y="3853659"/>
                      <a:pt x="5458402" y="3863768"/>
                      <a:pt x="5458402" y="3876099"/>
                    </a:cubicBezTo>
                    <a:cubicBezTo>
                      <a:pt x="5458402" y="3888425"/>
                      <a:pt x="5468511" y="3898535"/>
                      <a:pt x="5480841" y="3898535"/>
                    </a:cubicBezTo>
                    <a:cubicBezTo>
                      <a:pt x="5493414" y="3898535"/>
                      <a:pt x="5503526" y="3888425"/>
                      <a:pt x="5503280" y="3876099"/>
                    </a:cubicBezTo>
                    <a:close/>
                    <a:moveTo>
                      <a:pt x="5503526" y="526696"/>
                    </a:moveTo>
                    <a:cubicBezTo>
                      <a:pt x="5503526" y="501547"/>
                      <a:pt x="5483062" y="481081"/>
                      <a:pt x="5457910" y="481081"/>
                    </a:cubicBezTo>
                    <a:cubicBezTo>
                      <a:pt x="5432760" y="481081"/>
                      <a:pt x="5412294" y="501547"/>
                      <a:pt x="5412294" y="526696"/>
                    </a:cubicBezTo>
                    <a:cubicBezTo>
                      <a:pt x="5412294" y="551846"/>
                      <a:pt x="5432760" y="572313"/>
                      <a:pt x="5457910" y="572313"/>
                    </a:cubicBezTo>
                    <a:cubicBezTo>
                      <a:pt x="5483062" y="572313"/>
                      <a:pt x="5503526" y="551846"/>
                      <a:pt x="5503526" y="526696"/>
                    </a:cubicBezTo>
                    <a:close/>
                    <a:moveTo>
                      <a:pt x="5504020" y="5708647"/>
                    </a:moveTo>
                    <a:cubicBezTo>
                      <a:pt x="5504020" y="5707832"/>
                      <a:pt x="5503358" y="5707169"/>
                      <a:pt x="5502542" y="5707169"/>
                    </a:cubicBezTo>
                    <a:cubicBezTo>
                      <a:pt x="5501724" y="5707169"/>
                      <a:pt x="5501061" y="5707832"/>
                      <a:pt x="5501061" y="5708647"/>
                    </a:cubicBezTo>
                    <a:cubicBezTo>
                      <a:pt x="5501061" y="5709466"/>
                      <a:pt x="5501724" y="5710128"/>
                      <a:pt x="5502542" y="5710128"/>
                    </a:cubicBezTo>
                    <a:cubicBezTo>
                      <a:pt x="5503358" y="5710128"/>
                      <a:pt x="5504020" y="5709466"/>
                      <a:pt x="5504020" y="5708647"/>
                    </a:cubicBezTo>
                    <a:close/>
                    <a:moveTo>
                      <a:pt x="5505252" y="3761934"/>
                    </a:moveTo>
                    <a:cubicBezTo>
                      <a:pt x="5505252" y="3759221"/>
                      <a:pt x="5503030" y="3757002"/>
                      <a:pt x="5500320" y="3757002"/>
                    </a:cubicBezTo>
                    <a:cubicBezTo>
                      <a:pt x="5497853" y="3757002"/>
                      <a:pt x="5495635" y="3759221"/>
                      <a:pt x="5495635" y="3761934"/>
                    </a:cubicBezTo>
                    <a:cubicBezTo>
                      <a:pt x="5495635" y="3764397"/>
                      <a:pt x="5497607" y="3766619"/>
                      <a:pt x="5500320" y="3766619"/>
                    </a:cubicBezTo>
                    <a:cubicBezTo>
                      <a:pt x="5503030" y="3766619"/>
                      <a:pt x="5505252" y="3764397"/>
                      <a:pt x="5505252" y="3761934"/>
                    </a:cubicBezTo>
                    <a:close/>
                    <a:moveTo>
                      <a:pt x="5506485" y="4916650"/>
                    </a:moveTo>
                    <a:cubicBezTo>
                      <a:pt x="5506485" y="4907032"/>
                      <a:pt x="5498597" y="4899141"/>
                      <a:pt x="5488979" y="4899141"/>
                    </a:cubicBezTo>
                    <a:cubicBezTo>
                      <a:pt x="5479363" y="4899141"/>
                      <a:pt x="5471472" y="4907032"/>
                      <a:pt x="5471472" y="4916650"/>
                    </a:cubicBezTo>
                    <a:cubicBezTo>
                      <a:pt x="5471472" y="4926266"/>
                      <a:pt x="5479363" y="4934154"/>
                      <a:pt x="5488979" y="4934154"/>
                    </a:cubicBezTo>
                    <a:cubicBezTo>
                      <a:pt x="5498597" y="4934154"/>
                      <a:pt x="5506485" y="4926266"/>
                      <a:pt x="5506485" y="4916650"/>
                    </a:cubicBezTo>
                    <a:close/>
                    <a:moveTo>
                      <a:pt x="5506730" y="3070157"/>
                    </a:moveTo>
                    <a:cubicBezTo>
                      <a:pt x="5506730" y="3054871"/>
                      <a:pt x="5494402" y="3042540"/>
                      <a:pt x="5479113" y="3042540"/>
                    </a:cubicBezTo>
                    <a:cubicBezTo>
                      <a:pt x="5463827" y="3042540"/>
                      <a:pt x="5451498" y="3054871"/>
                      <a:pt x="5451498" y="3070157"/>
                    </a:cubicBezTo>
                    <a:cubicBezTo>
                      <a:pt x="5451498" y="3085447"/>
                      <a:pt x="5463827" y="3097775"/>
                      <a:pt x="5479113" y="3097775"/>
                    </a:cubicBezTo>
                    <a:cubicBezTo>
                      <a:pt x="5494402" y="3097775"/>
                      <a:pt x="5506730" y="3085447"/>
                      <a:pt x="5506730" y="3070157"/>
                    </a:cubicBezTo>
                    <a:close/>
                    <a:moveTo>
                      <a:pt x="5506730" y="7039667"/>
                    </a:moveTo>
                    <a:cubicBezTo>
                      <a:pt x="5506730" y="7035721"/>
                      <a:pt x="5503526" y="7032268"/>
                      <a:pt x="5499335" y="7032268"/>
                    </a:cubicBezTo>
                    <a:cubicBezTo>
                      <a:pt x="5495387" y="7032268"/>
                      <a:pt x="5491936" y="7035473"/>
                      <a:pt x="5491936" y="7039667"/>
                    </a:cubicBezTo>
                    <a:cubicBezTo>
                      <a:pt x="5491936" y="7043612"/>
                      <a:pt x="5495141" y="7047062"/>
                      <a:pt x="5499335" y="7047062"/>
                    </a:cubicBezTo>
                    <a:cubicBezTo>
                      <a:pt x="5503280" y="7047062"/>
                      <a:pt x="5506730" y="7043612"/>
                      <a:pt x="5506730" y="7039667"/>
                    </a:cubicBezTo>
                    <a:close/>
                    <a:moveTo>
                      <a:pt x="5508457" y="400725"/>
                    </a:moveTo>
                    <a:cubicBezTo>
                      <a:pt x="5508457" y="375823"/>
                      <a:pt x="5488239" y="355603"/>
                      <a:pt x="5463335" y="355603"/>
                    </a:cubicBezTo>
                    <a:cubicBezTo>
                      <a:pt x="5438429" y="355603"/>
                      <a:pt x="5418211" y="375823"/>
                      <a:pt x="5418211" y="400725"/>
                    </a:cubicBezTo>
                    <a:cubicBezTo>
                      <a:pt x="5418211" y="425627"/>
                      <a:pt x="5438429" y="445846"/>
                      <a:pt x="5463335" y="445846"/>
                    </a:cubicBezTo>
                    <a:cubicBezTo>
                      <a:pt x="5488239" y="445846"/>
                      <a:pt x="5508457" y="425627"/>
                      <a:pt x="5508457" y="400725"/>
                    </a:cubicBezTo>
                    <a:close/>
                    <a:moveTo>
                      <a:pt x="5511665" y="2487756"/>
                    </a:moveTo>
                    <a:cubicBezTo>
                      <a:pt x="5511665" y="2485286"/>
                      <a:pt x="5509692" y="2483072"/>
                      <a:pt x="5506980" y="2483072"/>
                    </a:cubicBezTo>
                    <a:cubicBezTo>
                      <a:pt x="5504512" y="2483072"/>
                      <a:pt x="5502294" y="2485043"/>
                      <a:pt x="5502294" y="2487756"/>
                    </a:cubicBezTo>
                    <a:cubicBezTo>
                      <a:pt x="5502294" y="2490218"/>
                      <a:pt x="5504267" y="2492439"/>
                      <a:pt x="5506980" y="2492439"/>
                    </a:cubicBezTo>
                    <a:cubicBezTo>
                      <a:pt x="5509692" y="2492439"/>
                      <a:pt x="5511911" y="2490218"/>
                      <a:pt x="5511665" y="2487756"/>
                    </a:cubicBezTo>
                    <a:close/>
                    <a:moveTo>
                      <a:pt x="5512894" y="275738"/>
                    </a:moveTo>
                    <a:cubicBezTo>
                      <a:pt x="5512894" y="251082"/>
                      <a:pt x="5492922" y="231111"/>
                      <a:pt x="5468264" y="231111"/>
                    </a:cubicBezTo>
                    <a:cubicBezTo>
                      <a:pt x="5443606" y="231111"/>
                      <a:pt x="5423635" y="251082"/>
                      <a:pt x="5423635" y="275738"/>
                    </a:cubicBezTo>
                    <a:cubicBezTo>
                      <a:pt x="5423635" y="300395"/>
                      <a:pt x="5443606" y="320368"/>
                      <a:pt x="5468264" y="320368"/>
                    </a:cubicBezTo>
                    <a:cubicBezTo>
                      <a:pt x="5492922" y="320368"/>
                      <a:pt x="5512894" y="300148"/>
                      <a:pt x="5512894" y="275738"/>
                    </a:cubicBezTo>
                    <a:close/>
                    <a:moveTo>
                      <a:pt x="5513388" y="3646782"/>
                    </a:moveTo>
                    <a:lnTo>
                      <a:pt x="5513142" y="3646537"/>
                    </a:lnTo>
                    <a:lnTo>
                      <a:pt x="5513142" y="3646782"/>
                    </a:lnTo>
                    <a:close/>
                    <a:moveTo>
                      <a:pt x="5516842" y="4510783"/>
                    </a:moveTo>
                    <a:cubicBezTo>
                      <a:pt x="5516842" y="4493279"/>
                      <a:pt x="5502539" y="4478976"/>
                      <a:pt x="5485032" y="4478976"/>
                    </a:cubicBezTo>
                    <a:cubicBezTo>
                      <a:pt x="5467527" y="4478976"/>
                      <a:pt x="5453224" y="4493279"/>
                      <a:pt x="5453224" y="4510783"/>
                    </a:cubicBezTo>
                    <a:cubicBezTo>
                      <a:pt x="5453224" y="4528291"/>
                      <a:pt x="5467527" y="4542594"/>
                      <a:pt x="5485032" y="4542594"/>
                    </a:cubicBezTo>
                    <a:cubicBezTo>
                      <a:pt x="5502539" y="4542594"/>
                      <a:pt x="5516842" y="4528291"/>
                      <a:pt x="5516842" y="4510783"/>
                    </a:cubicBezTo>
                    <a:close/>
                    <a:moveTo>
                      <a:pt x="5517582" y="2681803"/>
                    </a:moveTo>
                    <a:cubicBezTo>
                      <a:pt x="5517582" y="2658376"/>
                      <a:pt x="5498597" y="2639391"/>
                      <a:pt x="5475172" y="2639391"/>
                    </a:cubicBezTo>
                    <a:cubicBezTo>
                      <a:pt x="5451745" y="2639391"/>
                      <a:pt x="5432760" y="2658376"/>
                      <a:pt x="5432760" y="2681803"/>
                    </a:cubicBezTo>
                    <a:cubicBezTo>
                      <a:pt x="5432760" y="2705229"/>
                      <a:pt x="5451745" y="2724216"/>
                      <a:pt x="5475172" y="2724216"/>
                    </a:cubicBezTo>
                    <a:cubicBezTo>
                      <a:pt x="5498597" y="2724216"/>
                      <a:pt x="5517582" y="2705229"/>
                      <a:pt x="5517582" y="2681803"/>
                    </a:cubicBezTo>
                    <a:close/>
                    <a:moveTo>
                      <a:pt x="5517583" y="3184325"/>
                    </a:moveTo>
                    <a:cubicBezTo>
                      <a:pt x="5517583" y="3174217"/>
                      <a:pt x="5509444" y="3165831"/>
                      <a:pt x="5499089" y="3165831"/>
                    </a:cubicBezTo>
                    <a:cubicBezTo>
                      <a:pt x="5488977" y="3165831"/>
                      <a:pt x="5480595" y="3174217"/>
                      <a:pt x="5480595" y="3184325"/>
                    </a:cubicBezTo>
                    <a:cubicBezTo>
                      <a:pt x="5480595" y="3194434"/>
                      <a:pt x="5488977" y="3202819"/>
                      <a:pt x="5499089" y="3202819"/>
                    </a:cubicBezTo>
                    <a:cubicBezTo>
                      <a:pt x="5509198" y="3202819"/>
                      <a:pt x="5517583" y="3194434"/>
                      <a:pt x="5517583" y="3184325"/>
                    </a:cubicBezTo>
                    <a:close/>
                    <a:moveTo>
                      <a:pt x="5520785" y="3530893"/>
                    </a:moveTo>
                    <a:cubicBezTo>
                      <a:pt x="5520785" y="3530153"/>
                      <a:pt x="5520293" y="3529660"/>
                      <a:pt x="5519552" y="3529660"/>
                    </a:cubicBezTo>
                    <a:cubicBezTo>
                      <a:pt x="5518812" y="3529660"/>
                      <a:pt x="5518320" y="3530153"/>
                      <a:pt x="5518320" y="3530893"/>
                    </a:cubicBezTo>
                    <a:cubicBezTo>
                      <a:pt x="5518320" y="3531633"/>
                      <a:pt x="5518812" y="3532125"/>
                      <a:pt x="5519552" y="3532125"/>
                    </a:cubicBezTo>
                    <a:cubicBezTo>
                      <a:pt x="5520293" y="3532125"/>
                      <a:pt x="5520785" y="3531633"/>
                      <a:pt x="5520785" y="3530893"/>
                    </a:cubicBezTo>
                    <a:close/>
                    <a:moveTo>
                      <a:pt x="5522266" y="3299479"/>
                    </a:moveTo>
                    <a:cubicBezTo>
                      <a:pt x="5522266" y="3294026"/>
                      <a:pt x="5517849" y="3289607"/>
                      <a:pt x="5512402" y="3289607"/>
                    </a:cubicBezTo>
                    <a:cubicBezTo>
                      <a:pt x="5506956" y="3289607"/>
                      <a:pt x="5502539" y="3294026"/>
                      <a:pt x="5502539" y="3299479"/>
                    </a:cubicBezTo>
                    <a:cubicBezTo>
                      <a:pt x="5502539" y="3304918"/>
                      <a:pt x="5506956" y="3309339"/>
                      <a:pt x="5512402" y="3309339"/>
                    </a:cubicBezTo>
                    <a:cubicBezTo>
                      <a:pt x="5517849" y="3309339"/>
                      <a:pt x="5522266" y="3304918"/>
                      <a:pt x="5522266" y="3299479"/>
                    </a:cubicBezTo>
                    <a:close/>
                    <a:moveTo>
                      <a:pt x="5522266" y="3415122"/>
                    </a:moveTo>
                    <a:cubicBezTo>
                      <a:pt x="5522266" y="3413395"/>
                      <a:pt x="5521033" y="3411916"/>
                      <a:pt x="5519306" y="3411916"/>
                    </a:cubicBezTo>
                    <a:cubicBezTo>
                      <a:pt x="5517579" y="3411916"/>
                      <a:pt x="5516101" y="3413395"/>
                      <a:pt x="5516101" y="3415122"/>
                    </a:cubicBezTo>
                    <a:cubicBezTo>
                      <a:pt x="5516101" y="3416847"/>
                      <a:pt x="5517579" y="3418323"/>
                      <a:pt x="5519306" y="3418323"/>
                    </a:cubicBezTo>
                    <a:cubicBezTo>
                      <a:pt x="5521033" y="3418323"/>
                      <a:pt x="5522511" y="3416847"/>
                      <a:pt x="5522266" y="3415122"/>
                    </a:cubicBezTo>
                    <a:close/>
                    <a:moveTo>
                      <a:pt x="5526457" y="5833665"/>
                    </a:moveTo>
                    <a:cubicBezTo>
                      <a:pt x="5526457" y="5832678"/>
                      <a:pt x="5525719" y="5831937"/>
                      <a:pt x="5524732" y="5831937"/>
                    </a:cubicBezTo>
                    <a:cubicBezTo>
                      <a:pt x="5523747" y="5831937"/>
                      <a:pt x="5523006" y="5832678"/>
                      <a:pt x="5523006" y="5833665"/>
                    </a:cubicBezTo>
                    <a:cubicBezTo>
                      <a:pt x="5523006" y="5834651"/>
                      <a:pt x="5523747" y="5835392"/>
                      <a:pt x="5524732" y="5835392"/>
                    </a:cubicBezTo>
                    <a:cubicBezTo>
                      <a:pt x="5525470" y="5835392"/>
                      <a:pt x="5526211" y="5834651"/>
                      <a:pt x="5526457" y="5833665"/>
                    </a:cubicBezTo>
                    <a:close/>
                    <a:moveTo>
                      <a:pt x="5528182" y="5063608"/>
                    </a:moveTo>
                    <a:cubicBezTo>
                      <a:pt x="5528182" y="5055469"/>
                      <a:pt x="5521527" y="5049059"/>
                      <a:pt x="5513637" y="5049059"/>
                    </a:cubicBezTo>
                    <a:cubicBezTo>
                      <a:pt x="5505498" y="5049059"/>
                      <a:pt x="5499088" y="5055718"/>
                      <a:pt x="5499088" y="5063608"/>
                    </a:cubicBezTo>
                    <a:cubicBezTo>
                      <a:pt x="5499088" y="5071744"/>
                      <a:pt x="5505747" y="5078156"/>
                      <a:pt x="5513637" y="5078156"/>
                    </a:cubicBezTo>
                    <a:cubicBezTo>
                      <a:pt x="5521527" y="5078156"/>
                      <a:pt x="5528182" y="5071744"/>
                      <a:pt x="5528182" y="5063608"/>
                    </a:cubicBezTo>
                    <a:close/>
                    <a:moveTo>
                      <a:pt x="5530156" y="4263963"/>
                    </a:moveTo>
                    <a:cubicBezTo>
                      <a:pt x="5530156" y="4235606"/>
                      <a:pt x="5507225" y="4212675"/>
                      <a:pt x="5478868" y="4212675"/>
                    </a:cubicBezTo>
                    <a:cubicBezTo>
                      <a:pt x="5450511" y="4212675"/>
                      <a:pt x="5427580" y="4235606"/>
                      <a:pt x="5427580" y="4263963"/>
                    </a:cubicBezTo>
                    <a:cubicBezTo>
                      <a:pt x="5427580" y="4292319"/>
                      <a:pt x="5450511" y="4315250"/>
                      <a:pt x="5478868" y="4315250"/>
                    </a:cubicBezTo>
                    <a:cubicBezTo>
                      <a:pt x="5507225" y="4315250"/>
                      <a:pt x="5530156" y="4292319"/>
                      <a:pt x="5530156" y="4263963"/>
                    </a:cubicBezTo>
                    <a:close/>
                    <a:moveTo>
                      <a:pt x="5530896" y="1556789"/>
                    </a:moveTo>
                    <a:cubicBezTo>
                      <a:pt x="5530896" y="1545447"/>
                      <a:pt x="5521771" y="1536328"/>
                      <a:pt x="5510429" y="1536328"/>
                    </a:cubicBezTo>
                    <a:cubicBezTo>
                      <a:pt x="5499086" y="1536328"/>
                      <a:pt x="5489963" y="1545447"/>
                      <a:pt x="5489963" y="1556789"/>
                    </a:cubicBezTo>
                    <a:cubicBezTo>
                      <a:pt x="5489963" y="1568134"/>
                      <a:pt x="5499086" y="1577256"/>
                      <a:pt x="5510429" y="1577256"/>
                    </a:cubicBezTo>
                    <a:cubicBezTo>
                      <a:pt x="5521525" y="1577256"/>
                      <a:pt x="5530648" y="1567885"/>
                      <a:pt x="5530896" y="1556789"/>
                    </a:cubicBezTo>
                    <a:close/>
                    <a:moveTo>
                      <a:pt x="5536569" y="5966814"/>
                    </a:moveTo>
                    <a:cubicBezTo>
                      <a:pt x="5536569" y="5965829"/>
                      <a:pt x="5536076" y="5965088"/>
                      <a:pt x="5535088" y="5965088"/>
                    </a:cubicBezTo>
                    <a:cubicBezTo>
                      <a:pt x="5534350" y="5965088"/>
                      <a:pt x="5533609" y="5965829"/>
                      <a:pt x="5533609" y="5966814"/>
                    </a:cubicBezTo>
                    <a:cubicBezTo>
                      <a:pt x="5533609" y="5967554"/>
                      <a:pt x="5534103" y="5968292"/>
                      <a:pt x="5535088" y="5968292"/>
                    </a:cubicBezTo>
                    <a:cubicBezTo>
                      <a:pt x="5535828" y="5968292"/>
                      <a:pt x="5536569" y="5967554"/>
                      <a:pt x="5536569" y="5966814"/>
                    </a:cubicBezTo>
                    <a:close/>
                    <a:moveTo>
                      <a:pt x="5538292" y="1697320"/>
                    </a:moveTo>
                    <a:cubicBezTo>
                      <a:pt x="5538292" y="1672163"/>
                      <a:pt x="5517828" y="1651702"/>
                      <a:pt x="5492676" y="1651702"/>
                    </a:cubicBezTo>
                    <a:cubicBezTo>
                      <a:pt x="5467526" y="1651702"/>
                      <a:pt x="5447060" y="1672163"/>
                      <a:pt x="5447060" y="1697320"/>
                    </a:cubicBezTo>
                    <a:cubicBezTo>
                      <a:pt x="5447060" y="1722452"/>
                      <a:pt x="5467526" y="1742945"/>
                      <a:pt x="5492676" y="1742945"/>
                    </a:cubicBezTo>
                    <a:cubicBezTo>
                      <a:pt x="5517828" y="1742945"/>
                      <a:pt x="5538292" y="1722452"/>
                      <a:pt x="5538292" y="1697320"/>
                    </a:cubicBezTo>
                    <a:close/>
                    <a:moveTo>
                      <a:pt x="5539773" y="5209336"/>
                    </a:moveTo>
                    <a:cubicBezTo>
                      <a:pt x="5539773" y="5206622"/>
                      <a:pt x="5537554" y="5204404"/>
                      <a:pt x="5534841" y="5204404"/>
                    </a:cubicBezTo>
                    <a:cubicBezTo>
                      <a:pt x="5532129" y="5204404"/>
                      <a:pt x="5529910" y="5206622"/>
                      <a:pt x="5529910" y="5209336"/>
                    </a:cubicBezTo>
                    <a:cubicBezTo>
                      <a:pt x="5529910" y="5212048"/>
                      <a:pt x="5532129" y="5214267"/>
                      <a:pt x="5534841" y="5214267"/>
                    </a:cubicBezTo>
                    <a:cubicBezTo>
                      <a:pt x="5537554" y="5214267"/>
                      <a:pt x="5539773" y="5212048"/>
                      <a:pt x="5539773" y="5209336"/>
                    </a:cubicBezTo>
                    <a:close/>
                    <a:moveTo>
                      <a:pt x="5540513" y="4666866"/>
                    </a:moveTo>
                    <a:cubicBezTo>
                      <a:pt x="5540513" y="4657003"/>
                      <a:pt x="5532623" y="4649112"/>
                      <a:pt x="5522760" y="4649112"/>
                    </a:cubicBezTo>
                    <a:cubicBezTo>
                      <a:pt x="5512897" y="4649112"/>
                      <a:pt x="5505006" y="4657003"/>
                      <a:pt x="5505006" y="4666866"/>
                    </a:cubicBezTo>
                    <a:cubicBezTo>
                      <a:pt x="5505006" y="4676730"/>
                      <a:pt x="5512897" y="4684620"/>
                      <a:pt x="5522760" y="4684620"/>
                    </a:cubicBezTo>
                    <a:cubicBezTo>
                      <a:pt x="5532376" y="4684620"/>
                      <a:pt x="5540513" y="4676730"/>
                      <a:pt x="5540513" y="4666866"/>
                    </a:cubicBezTo>
                    <a:close/>
                    <a:moveTo>
                      <a:pt x="5547417" y="6098486"/>
                    </a:moveTo>
                    <a:cubicBezTo>
                      <a:pt x="5547417" y="6096513"/>
                      <a:pt x="5545938" y="6095035"/>
                      <a:pt x="5543964" y="6095035"/>
                    </a:cubicBezTo>
                    <a:cubicBezTo>
                      <a:pt x="5541991" y="6095035"/>
                      <a:pt x="5540513" y="6096513"/>
                      <a:pt x="5540513" y="6098486"/>
                    </a:cubicBezTo>
                    <a:cubicBezTo>
                      <a:pt x="5540513" y="6100461"/>
                      <a:pt x="5541991" y="6101939"/>
                      <a:pt x="5543964" y="6101939"/>
                    </a:cubicBezTo>
                    <a:cubicBezTo>
                      <a:pt x="5545691" y="6101939"/>
                      <a:pt x="5547171" y="6100461"/>
                      <a:pt x="5547417" y="6098486"/>
                    </a:cubicBezTo>
                    <a:close/>
                    <a:moveTo>
                      <a:pt x="5551855" y="2790299"/>
                    </a:moveTo>
                    <a:cubicBezTo>
                      <a:pt x="5551855" y="2770081"/>
                      <a:pt x="5535583" y="2753805"/>
                      <a:pt x="5515362" y="2753805"/>
                    </a:cubicBezTo>
                    <a:cubicBezTo>
                      <a:pt x="5495390" y="2753805"/>
                      <a:pt x="5478868" y="2770081"/>
                      <a:pt x="5478868" y="2790299"/>
                    </a:cubicBezTo>
                    <a:cubicBezTo>
                      <a:pt x="5478868" y="2810520"/>
                      <a:pt x="5495144" y="2826792"/>
                      <a:pt x="5515362" y="2826792"/>
                    </a:cubicBezTo>
                    <a:cubicBezTo>
                      <a:pt x="5535583" y="2826792"/>
                      <a:pt x="5551855" y="2810520"/>
                      <a:pt x="5551855" y="2790299"/>
                    </a:cubicBezTo>
                    <a:close/>
                    <a:moveTo>
                      <a:pt x="5553335" y="1417499"/>
                    </a:moveTo>
                    <a:cubicBezTo>
                      <a:pt x="5553335" y="1402209"/>
                      <a:pt x="5541007" y="1389877"/>
                      <a:pt x="5525719" y="1389877"/>
                    </a:cubicBezTo>
                    <a:cubicBezTo>
                      <a:pt x="5510432" y="1389877"/>
                      <a:pt x="5498102" y="1402209"/>
                      <a:pt x="5498102" y="1417499"/>
                    </a:cubicBezTo>
                    <a:cubicBezTo>
                      <a:pt x="5498102" y="1432782"/>
                      <a:pt x="5510432" y="1445110"/>
                      <a:pt x="5525719" y="1445110"/>
                    </a:cubicBezTo>
                    <a:cubicBezTo>
                      <a:pt x="5541007" y="1445110"/>
                      <a:pt x="5553335" y="1432782"/>
                      <a:pt x="5553335" y="1417499"/>
                    </a:cubicBezTo>
                    <a:close/>
                    <a:moveTo>
                      <a:pt x="5555059" y="6228429"/>
                    </a:moveTo>
                    <a:cubicBezTo>
                      <a:pt x="5555059" y="6227197"/>
                      <a:pt x="5554071" y="6226210"/>
                      <a:pt x="5552841" y="6226210"/>
                    </a:cubicBezTo>
                    <a:cubicBezTo>
                      <a:pt x="5551608" y="6226210"/>
                      <a:pt x="5550622" y="6227197"/>
                      <a:pt x="5550622" y="6228429"/>
                    </a:cubicBezTo>
                    <a:cubicBezTo>
                      <a:pt x="5550622" y="6229663"/>
                      <a:pt x="5551608" y="6230650"/>
                      <a:pt x="5552841" y="6230650"/>
                    </a:cubicBezTo>
                    <a:cubicBezTo>
                      <a:pt x="5554321" y="6230650"/>
                      <a:pt x="5555307" y="6229663"/>
                      <a:pt x="5555059" y="6228429"/>
                    </a:cubicBezTo>
                    <a:close/>
                    <a:moveTo>
                      <a:pt x="5555553" y="2330450"/>
                    </a:moveTo>
                    <a:cubicBezTo>
                      <a:pt x="5555553" y="2325512"/>
                      <a:pt x="5551607" y="2321568"/>
                      <a:pt x="5546676" y="2321568"/>
                    </a:cubicBezTo>
                    <a:cubicBezTo>
                      <a:pt x="5541745" y="2321568"/>
                      <a:pt x="5537800" y="2325512"/>
                      <a:pt x="5537800" y="2330450"/>
                    </a:cubicBezTo>
                    <a:cubicBezTo>
                      <a:pt x="5537800" y="2335388"/>
                      <a:pt x="5541745" y="2339339"/>
                      <a:pt x="5546676" y="2339339"/>
                    </a:cubicBezTo>
                    <a:cubicBezTo>
                      <a:pt x="5551607" y="2339339"/>
                      <a:pt x="5555553" y="2335388"/>
                      <a:pt x="5555553" y="2330450"/>
                    </a:cubicBezTo>
                    <a:close/>
                    <a:moveTo>
                      <a:pt x="5556789" y="2079194"/>
                    </a:moveTo>
                    <a:cubicBezTo>
                      <a:pt x="5556789" y="2057488"/>
                      <a:pt x="5539282" y="2039977"/>
                      <a:pt x="5517582" y="2039977"/>
                    </a:cubicBezTo>
                    <a:cubicBezTo>
                      <a:pt x="5495884" y="2039977"/>
                      <a:pt x="5478376" y="2057488"/>
                      <a:pt x="5478376" y="2079194"/>
                    </a:cubicBezTo>
                    <a:cubicBezTo>
                      <a:pt x="5478376" y="2100898"/>
                      <a:pt x="5495884" y="2118410"/>
                      <a:pt x="5517582" y="2118410"/>
                    </a:cubicBezTo>
                    <a:cubicBezTo>
                      <a:pt x="5539282" y="2118410"/>
                      <a:pt x="5556789" y="2100649"/>
                      <a:pt x="5556789" y="2079194"/>
                    </a:cubicBezTo>
                    <a:close/>
                    <a:moveTo>
                      <a:pt x="5556789" y="5351608"/>
                    </a:moveTo>
                    <a:cubicBezTo>
                      <a:pt x="5556789" y="5350127"/>
                      <a:pt x="5555553" y="5348895"/>
                      <a:pt x="5554076" y="5348895"/>
                    </a:cubicBezTo>
                    <a:cubicBezTo>
                      <a:pt x="5552595" y="5348895"/>
                      <a:pt x="5551363" y="5350127"/>
                      <a:pt x="5551363" y="5351608"/>
                    </a:cubicBezTo>
                    <a:cubicBezTo>
                      <a:pt x="5551363" y="5353086"/>
                      <a:pt x="5552595" y="5354322"/>
                      <a:pt x="5554076" y="5354322"/>
                    </a:cubicBezTo>
                    <a:cubicBezTo>
                      <a:pt x="5555553" y="5354322"/>
                      <a:pt x="5556789" y="5353086"/>
                      <a:pt x="5556789" y="5351608"/>
                    </a:cubicBezTo>
                    <a:close/>
                    <a:moveTo>
                      <a:pt x="5558017" y="1931049"/>
                    </a:moveTo>
                    <a:cubicBezTo>
                      <a:pt x="5558017" y="1923409"/>
                      <a:pt x="5551854" y="1917249"/>
                      <a:pt x="5544210" y="1917249"/>
                    </a:cubicBezTo>
                    <a:cubicBezTo>
                      <a:pt x="5536319" y="1917249"/>
                      <a:pt x="5530156" y="1923409"/>
                      <a:pt x="5530156" y="1931049"/>
                    </a:cubicBezTo>
                    <a:cubicBezTo>
                      <a:pt x="5530156" y="1938934"/>
                      <a:pt x="5536566" y="1945095"/>
                      <a:pt x="5544210" y="1945095"/>
                    </a:cubicBezTo>
                    <a:cubicBezTo>
                      <a:pt x="5551854" y="1945095"/>
                      <a:pt x="5558017" y="1938689"/>
                      <a:pt x="5558017" y="1931049"/>
                    </a:cubicBezTo>
                    <a:close/>
                    <a:moveTo>
                      <a:pt x="5565417" y="1116220"/>
                    </a:moveTo>
                    <a:cubicBezTo>
                      <a:pt x="5565417" y="1090338"/>
                      <a:pt x="5544210" y="1069128"/>
                      <a:pt x="5518320" y="1069128"/>
                    </a:cubicBezTo>
                    <a:cubicBezTo>
                      <a:pt x="5492430" y="1069128"/>
                      <a:pt x="5471223" y="1090338"/>
                      <a:pt x="5471223" y="1116220"/>
                    </a:cubicBezTo>
                    <a:cubicBezTo>
                      <a:pt x="5471223" y="1142118"/>
                      <a:pt x="5492181" y="1163320"/>
                      <a:pt x="5518320" y="1163320"/>
                    </a:cubicBezTo>
                    <a:cubicBezTo>
                      <a:pt x="5544210" y="1163320"/>
                      <a:pt x="5565417" y="1142118"/>
                      <a:pt x="5565417" y="1116220"/>
                    </a:cubicBezTo>
                    <a:close/>
                    <a:moveTo>
                      <a:pt x="5565663" y="6357143"/>
                    </a:moveTo>
                    <a:cubicBezTo>
                      <a:pt x="5565663" y="6354184"/>
                      <a:pt x="5563691" y="6351965"/>
                      <a:pt x="5560732" y="6351965"/>
                    </a:cubicBezTo>
                    <a:cubicBezTo>
                      <a:pt x="5557773" y="6351965"/>
                      <a:pt x="5555553" y="6354433"/>
                      <a:pt x="5555553" y="6357143"/>
                    </a:cubicBezTo>
                    <a:cubicBezTo>
                      <a:pt x="5555553" y="6360102"/>
                      <a:pt x="5558022" y="6362322"/>
                      <a:pt x="5560732" y="6362322"/>
                    </a:cubicBezTo>
                    <a:cubicBezTo>
                      <a:pt x="5563444" y="6362322"/>
                      <a:pt x="5565663" y="6360102"/>
                      <a:pt x="5565663" y="6357143"/>
                    </a:cubicBezTo>
                    <a:close/>
                    <a:moveTo>
                      <a:pt x="5567635" y="2593289"/>
                    </a:moveTo>
                    <a:cubicBezTo>
                      <a:pt x="5567635" y="2586881"/>
                      <a:pt x="5562457" y="2581453"/>
                      <a:pt x="5555799" y="2581453"/>
                    </a:cubicBezTo>
                    <a:cubicBezTo>
                      <a:pt x="5549144" y="2581453"/>
                      <a:pt x="5543718" y="2586632"/>
                      <a:pt x="5543718" y="2593289"/>
                    </a:cubicBezTo>
                    <a:cubicBezTo>
                      <a:pt x="5543718" y="2599947"/>
                      <a:pt x="5549144" y="2605371"/>
                      <a:pt x="5555799" y="2605371"/>
                    </a:cubicBezTo>
                    <a:cubicBezTo>
                      <a:pt x="5562457" y="2605371"/>
                      <a:pt x="5567881" y="2600194"/>
                      <a:pt x="5567635" y="2593289"/>
                    </a:cubicBezTo>
                    <a:close/>
                    <a:moveTo>
                      <a:pt x="5570348" y="4155223"/>
                    </a:moveTo>
                    <a:cubicBezTo>
                      <a:pt x="5570348" y="4126620"/>
                      <a:pt x="5547169" y="4103441"/>
                      <a:pt x="5518566" y="4103441"/>
                    </a:cubicBezTo>
                    <a:cubicBezTo>
                      <a:pt x="5489963" y="4103441"/>
                      <a:pt x="5466786" y="4126620"/>
                      <a:pt x="5466786" y="4155223"/>
                    </a:cubicBezTo>
                    <a:cubicBezTo>
                      <a:pt x="5466786" y="4183826"/>
                      <a:pt x="5489963" y="4207003"/>
                      <a:pt x="5518566" y="4207003"/>
                    </a:cubicBezTo>
                    <a:cubicBezTo>
                      <a:pt x="5547169" y="4207003"/>
                      <a:pt x="5570348" y="4183826"/>
                      <a:pt x="5570348" y="4155223"/>
                    </a:cubicBezTo>
                    <a:close/>
                    <a:moveTo>
                      <a:pt x="5572566" y="5491169"/>
                    </a:moveTo>
                    <a:cubicBezTo>
                      <a:pt x="5572566" y="5490676"/>
                      <a:pt x="5572072" y="5490182"/>
                      <a:pt x="5571580" y="5490182"/>
                    </a:cubicBezTo>
                    <a:cubicBezTo>
                      <a:pt x="5571088" y="5490182"/>
                      <a:pt x="5570593" y="5490676"/>
                      <a:pt x="5570593" y="5491169"/>
                    </a:cubicBezTo>
                    <a:cubicBezTo>
                      <a:pt x="5570593" y="5491660"/>
                      <a:pt x="5571088" y="5492154"/>
                      <a:pt x="5571580" y="5492154"/>
                    </a:cubicBezTo>
                    <a:cubicBezTo>
                      <a:pt x="5572072" y="5492154"/>
                      <a:pt x="5572566" y="5491909"/>
                      <a:pt x="5572566" y="5491169"/>
                    </a:cubicBezTo>
                    <a:close/>
                    <a:moveTo>
                      <a:pt x="5573305" y="4820485"/>
                    </a:moveTo>
                    <a:cubicBezTo>
                      <a:pt x="5573305" y="4810271"/>
                      <a:pt x="5565027" y="4801991"/>
                      <a:pt x="5554813" y="4801991"/>
                    </a:cubicBezTo>
                    <a:cubicBezTo>
                      <a:pt x="5544599" y="4801991"/>
                      <a:pt x="5536320" y="4810271"/>
                      <a:pt x="5536320" y="4820485"/>
                    </a:cubicBezTo>
                    <a:cubicBezTo>
                      <a:pt x="5536320" y="4830698"/>
                      <a:pt x="5544599" y="4838976"/>
                      <a:pt x="5554813" y="4838976"/>
                    </a:cubicBezTo>
                    <a:cubicBezTo>
                      <a:pt x="5565027" y="4838976"/>
                      <a:pt x="5573305" y="4830698"/>
                      <a:pt x="5573305" y="4820485"/>
                    </a:cubicBezTo>
                    <a:close/>
                    <a:moveTo>
                      <a:pt x="5574045" y="4405990"/>
                    </a:moveTo>
                    <a:cubicBezTo>
                      <a:pt x="5574045" y="4385277"/>
                      <a:pt x="5557032" y="4368264"/>
                      <a:pt x="5536320" y="4368264"/>
                    </a:cubicBezTo>
                    <a:cubicBezTo>
                      <a:pt x="5515361" y="4368264"/>
                      <a:pt x="5498594" y="4385277"/>
                      <a:pt x="5498594" y="4405990"/>
                    </a:cubicBezTo>
                    <a:cubicBezTo>
                      <a:pt x="5498594" y="4426702"/>
                      <a:pt x="5515607" y="4443715"/>
                      <a:pt x="5536320" y="4443715"/>
                    </a:cubicBezTo>
                    <a:cubicBezTo>
                      <a:pt x="5557032" y="4443715"/>
                      <a:pt x="5573799" y="4426702"/>
                      <a:pt x="5574045" y="4405990"/>
                    </a:cubicBezTo>
                    <a:close/>
                    <a:moveTo>
                      <a:pt x="5574784" y="6484870"/>
                    </a:moveTo>
                    <a:cubicBezTo>
                      <a:pt x="5574784" y="6480925"/>
                      <a:pt x="5571826" y="6477720"/>
                      <a:pt x="5567881" y="6477720"/>
                    </a:cubicBezTo>
                    <a:cubicBezTo>
                      <a:pt x="5563935" y="6477720"/>
                      <a:pt x="5560731" y="6480925"/>
                      <a:pt x="5560731" y="6484870"/>
                    </a:cubicBezTo>
                    <a:cubicBezTo>
                      <a:pt x="5560731" y="6488815"/>
                      <a:pt x="5563935" y="6492020"/>
                      <a:pt x="5567881" y="6492020"/>
                    </a:cubicBezTo>
                    <a:cubicBezTo>
                      <a:pt x="5571826" y="6492020"/>
                      <a:pt x="5574784" y="6488815"/>
                      <a:pt x="5574784" y="6484870"/>
                    </a:cubicBezTo>
                    <a:close/>
                    <a:moveTo>
                      <a:pt x="5575525" y="186999"/>
                    </a:moveTo>
                    <a:cubicBezTo>
                      <a:pt x="5575525" y="162344"/>
                      <a:pt x="5555553" y="142373"/>
                      <a:pt x="5530895" y="142373"/>
                    </a:cubicBezTo>
                    <a:cubicBezTo>
                      <a:pt x="5506238" y="142373"/>
                      <a:pt x="5486266" y="162344"/>
                      <a:pt x="5486266" y="186999"/>
                    </a:cubicBezTo>
                    <a:cubicBezTo>
                      <a:pt x="5486266" y="211656"/>
                      <a:pt x="5506238" y="231627"/>
                      <a:pt x="5530895" y="231627"/>
                    </a:cubicBezTo>
                    <a:cubicBezTo>
                      <a:pt x="5555553" y="231627"/>
                      <a:pt x="5575525" y="211656"/>
                      <a:pt x="5575525" y="186999"/>
                    </a:cubicBezTo>
                    <a:close/>
                    <a:moveTo>
                      <a:pt x="5575526" y="983337"/>
                    </a:moveTo>
                    <a:cubicBezTo>
                      <a:pt x="5575526" y="957453"/>
                      <a:pt x="5554322" y="936241"/>
                      <a:pt x="5528432" y="936241"/>
                    </a:cubicBezTo>
                    <a:cubicBezTo>
                      <a:pt x="5502542" y="936241"/>
                      <a:pt x="5481335" y="957453"/>
                      <a:pt x="5481335" y="983337"/>
                    </a:cubicBezTo>
                    <a:cubicBezTo>
                      <a:pt x="5481335" y="1008984"/>
                      <a:pt x="5502542" y="1030185"/>
                      <a:pt x="5528432" y="1030185"/>
                    </a:cubicBezTo>
                    <a:cubicBezTo>
                      <a:pt x="5554322" y="1030185"/>
                      <a:pt x="5575526" y="1009230"/>
                      <a:pt x="5575526" y="983337"/>
                    </a:cubicBezTo>
                    <a:close/>
                    <a:moveTo>
                      <a:pt x="5578238" y="1281155"/>
                    </a:moveTo>
                    <a:cubicBezTo>
                      <a:pt x="5578238" y="1260192"/>
                      <a:pt x="5561225" y="1242947"/>
                      <a:pt x="5540020" y="1242947"/>
                    </a:cubicBezTo>
                    <a:cubicBezTo>
                      <a:pt x="5519060" y="1242947"/>
                      <a:pt x="5501801" y="1259945"/>
                      <a:pt x="5501801" y="1281155"/>
                    </a:cubicBezTo>
                    <a:cubicBezTo>
                      <a:pt x="5501801" y="1302117"/>
                      <a:pt x="5518814" y="1319371"/>
                      <a:pt x="5540020" y="1319371"/>
                    </a:cubicBezTo>
                    <a:cubicBezTo>
                      <a:pt x="5560979" y="1319371"/>
                      <a:pt x="5578238" y="1302117"/>
                      <a:pt x="5578238" y="1281155"/>
                    </a:cubicBezTo>
                    <a:close/>
                    <a:moveTo>
                      <a:pt x="5578730" y="2900766"/>
                    </a:moveTo>
                    <a:cubicBezTo>
                      <a:pt x="5578730" y="2884739"/>
                      <a:pt x="5565663" y="2871671"/>
                      <a:pt x="5549633" y="2871671"/>
                    </a:cubicBezTo>
                    <a:cubicBezTo>
                      <a:pt x="5533607" y="2871671"/>
                      <a:pt x="5520539" y="2884739"/>
                      <a:pt x="5520539" y="2900766"/>
                    </a:cubicBezTo>
                    <a:cubicBezTo>
                      <a:pt x="5520539" y="2916795"/>
                      <a:pt x="5533607" y="2929863"/>
                      <a:pt x="5549633" y="2929863"/>
                    </a:cubicBezTo>
                    <a:cubicBezTo>
                      <a:pt x="5565663" y="2929863"/>
                      <a:pt x="5578730" y="2916795"/>
                      <a:pt x="5578730" y="2900766"/>
                    </a:cubicBezTo>
                    <a:close/>
                    <a:moveTo>
                      <a:pt x="5579716" y="62756"/>
                    </a:moveTo>
                    <a:cubicBezTo>
                      <a:pt x="5579716" y="38346"/>
                      <a:pt x="5559991" y="18622"/>
                      <a:pt x="5535581" y="18622"/>
                    </a:cubicBezTo>
                    <a:cubicBezTo>
                      <a:pt x="5511170" y="18622"/>
                      <a:pt x="5491444" y="38346"/>
                      <a:pt x="5491444" y="62756"/>
                    </a:cubicBezTo>
                    <a:cubicBezTo>
                      <a:pt x="5491444" y="87167"/>
                      <a:pt x="5511170" y="106891"/>
                      <a:pt x="5535581" y="106891"/>
                    </a:cubicBezTo>
                    <a:cubicBezTo>
                      <a:pt x="5559991" y="106891"/>
                      <a:pt x="5579716" y="87167"/>
                      <a:pt x="5579716" y="62756"/>
                    </a:cubicBezTo>
                    <a:close/>
                    <a:moveTo>
                      <a:pt x="5584157" y="6611611"/>
                    </a:moveTo>
                    <a:cubicBezTo>
                      <a:pt x="5584157" y="6606431"/>
                      <a:pt x="5579966" y="6601994"/>
                      <a:pt x="5574542" y="6601994"/>
                    </a:cubicBezTo>
                    <a:cubicBezTo>
                      <a:pt x="5569116" y="6601994"/>
                      <a:pt x="5564925" y="6606185"/>
                      <a:pt x="5564925" y="6611611"/>
                    </a:cubicBezTo>
                    <a:cubicBezTo>
                      <a:pt x="5564925" y="6616789"/>
                      <a:pt x="5569116" y="6621225"/>
                      <a:pt x="5574542" y="6621225"/>
                    </a:cubicBezTo>
                    <a:cubicBezTo>
                      <a:pt x="5579966" y="6621225"/>
                      <a:pt x="5584157" y="6616789"/>
                      <a:pt x="5584157" y="6611611"/>
                    </a:cubicBezTo>
                    <a:close/>
                    <a:moveTo>
                      <a:pt x="5584648" y="851932"/>
                    </a:moveTo>
                    <a:cubicBezTo>
                      <a:pt x="5584648" y="826294"/>
                      <a:pt x="5563690" y="805333"/>
                      <a:pt x="5538046" y="805333"/>
                    </a:cubicBezTo>
                    <a:cubicBezTo>
                      <a:pt x="5512402" y="805333"/>
                      <a:pt x="5491444" y="826294"/>
                      <a:pt x="5491444" y="851932"/>
                    </a:cubicBezTo>
                    <a:cubicBezTo>
                      <a:pt x="5491444" y="877575"/>
                      <a:pt x="5512402" y="898537"/>
                      <a:pt x="5538046" y="898537"/>
                    </a:cubicBezTo>
                    <a:cubicBezTo>
                      <a:pt x="5563690" y="898537"/>
                      <a:pt x="5584403" y="877824"/>
                      <a:pt x="5584648" y="851932"/>
                    </a:cubicBezTo>
                    <a:close/>
                    <a:moveTo>
                      <a:pt x="5588348" y="5629500"/>
                    </a:moveTo>
                    <a:cubicBezTo>
                      <a:pt x="5588348" y="5628760"/>
                      <a:pt x="5587607" y="5628019"/>
                      <a:pt x="5586867" y="5628019"/>
                    </a:cubicBezTo>
                    <a:cubicBezTo>
                      <a:pt x="5586129" y="5628019"/>
                      <a:pt x="5585388" y="5628760"/>
                      <a:pt x="5585388" y="5629500"/>
                    </a:cubicBezTo>
                    <a:cubicBezTo>
                      <a:pt x="5585388" y="5630238"/>
                      <a:pt x="5586129" y="5630977"/>
                      <a:pt x="5586867" y="5630977"/>
                    </a:cubicBezTo>
                    <a:cubicBezTo>
                      <a:pt x="5587853" y="5630977"/>
                      <a:pt x="5588348" y="5630238"/>
                      <a:pt x="5588348" y="5629500"/>
                    </a:cubicBezTo>
                    <a:close/>
                    <a:moveTo>
                      <a:pt x="5592539" y="721515"/>
                    </a:moveTo>
                    <a:cubicBezTo>
                      <a:pt x="5592539" y="695637"/>
                      <a:pt x="5571580" y="674666"/>
                      <a:pt x="5545691" y="674666"/>
                    </a:cubicBezTo>
                    <a:cubicBezTo>
                      <a:pt x="5519799" y="674666"/>
                      <a:pt x="5498840" y="695637"/>
                      <a:pt x="5498840" y="721515"/>
                    </a:cubicBezTo>
                    <a:cubicBezTo>
                      <a:pt x="5498840" y="747411"/>
                      <a:pt x="5520048" y="768369"/>
                      <a:pt x="5545691" y="768369"/>
                    </a:cubicBezTo>
                    <a:cubicBezTo>
                      <a:pt x="5571580" y="768369"/>
                      <a:pt x="5592539" y="747411"/>
                      <a:pt x="5592539" y="721515"/>
                    </a:cubicBezTo>
                    <a:close/>
                    <a:moveTo>
                      <a:pt x="5594511" y="4044512"/>
                    </a:moveTo>
                    <a:cubicBezTo>
                      <a:pt x="5594511" y="4021333"/>
                      <a:pt x="5575775" y="4002346"/>
                      <a:pt x="5552348" y="4002346"/>
                    </a:cubicBezTo>
                    <a:cubicBezTo>
                      <a:pt x="5529169" y="4002346"/>
                      <a:pt x="5510183" y="4021086"/>
                      <a:pt x="5510183" y="4044512"/>
                    </a:cubicBezTo>
                    <a:cubicBezTo>
                      <a:pt x="5510183" y="4067689"/>
                      <a:pt x="5529169" y="4086674"/>
                      <a:pt x="5552348" y="4086674"/>
                    </a:cubicBezTo>
                    <a:cubicBezTo>
                      <a:pt x="5575775" y="4086674"/>
                      <a:pt x="5594511" y="4067689"/>
                      <a:pt x="5594511" y="4044512"/>
                    </a:cubicBezTo>
                    <a:close/>
                    <a:moveTo>
                      <a:pt x="5598456" y="3013211"/>
                    </a:moveTo>
                    <a:cubicBezTo>
                      <a:pt x="5598456" y="3001869"/>
                      <a:pt x="5589088" y="2992498"/>
                      <a:pt x="5577745" y="2992498"/>
                    </a:cubicBezTo>
                    <a:cubicBezTo>
                      <a:pt x="5566403" y="2992498"/>
                      <a:pt x="5557032" y="3001869"/>
                      <a:pt x="5557032" y="3013211"/>
                    </a:cubicBezTo>
                    <a:cubicBezTo>
                      <a:pt x="5557032" y="3024555"/>
                      <a:pt x="5566403" y="3033924"/>
                      <a:pt x="5577745" y="3033924"/>
                    </a:cubicBezTo>
                    <a:cubicBezTo>
                      <a:pt x="5589335" y="3033924"/>
                      <a:pt x="5598456" y="3024555"/>
                      <a:pt x="5598456" y="3013211"/>
                    </a:cubicBezTo>
                    <a:close/>
                    <a:moveTo>
                      <a:pt x="5599938" y="592774"/>
                    </a:moveTo>
                    <a:cubicBezTo>
                      <a:pt x="5599938" y="567132"/>
                      <a:pt x="5578979" y="546174"/>
                      <a:pt x="5553336" y="546174"/>
                    </a:cubicBezTo>
                    <a:cubicBezTo>
                      <a:pt x="5527692" y="546174"/>
                      <a:pt x="5506733" y="567132"/>
                      <a:pt x="5506733" y="592774"/>
                    </a:cubicBezTo>
                    <a:cubicBezTo>
                      <a:pt x="5506733" y="618417"/>
                      <a:pt x="5527692" y="639375"/>
                      <a:pt x="5553336" y="639375"/>
                    </a:cubicBezTo>
                    <a:cubicBezTo>
                      <a:pt x="5578979" y="639375"/>
                      <a:pt x="5599938" y="618417"/>
                      <a:pt x="5599938" y="592774"/>
                    </a:cubicBezTo>
                    <a:close/>
                    <a:moveTo>
                      <a:pt x="5600183" y="6856707"/>
                    </a:moveTo>
                    <a:cubicBezTo>
                      <a:pt x="5600183" y="6853748"/>
                      <a:pt x="5597470" y="6851280"/>
                      <a:pt x="5594514" y="6851280"/>
                    </a:cubicBezTo>
                    <a:cubicBezTo>
                      <a:pt x="5591556" y="6851280"/>
                      <a:pt x="5589088" y="6853748"/>
                      <a:pt x="5589088" y="6856707"/>
                    </a:cubicBezTo>
                    <a:cubicBezTo>
                      <a:pt x="5589088" y="6859664"/>
                      <a:pt x="5591556" y="6862130"/>
                      <a:pt x="5594514" y="6862130"/>
                    </a:cubicBezTo>
                    <a:cubicBezTo>
                      <a:pt x="5597470" y="6862130"/>
                      <a:pt x="5600183" y="6859664"/>
                      <a:pt x="5600183" y="6856707"/>
                    </a:cubicBezTo>
                    <a:close/>
                    <a:moveTo>
                      <a:pt x="5600432" y="6731443"/>
                    </a:moveTo>
                    <a:cubicBezTo>
                      <a:pt x="5600432" y="6725280"/>
                      <a:pt x="5595498" y="6720348"/>
                      <a:pt x="5589334" y="6720348"/>
                    </a:cubicBezTo>
                    <a:cubicBezTo>
                      <a:pt x="5583170" y="6720348"/>
                      <a:pt x="5578238" y="6725280"/>
                      <a:pt x="5578238" y="6731443"/>
                    </a:cubicBezTo>
                    <a:cubicBezTo>
                      <a:pt x="5578238" y="6737610"/>
                      <a:pt x="5583170" y="6742539"/>
                      <a:pt x="5589334" y="6742539"/>
                    </a:cubicBezTo>
                    <a:cubicBezTo>
                      <a:pt x="5595498" y="6742539"/>
                      <a:pt x="5600432" y="6737610"/>
                      <a:pt x="5600432" y="6731443"/>
                    </a:cubicBezTo>
                    <a:close/>
                    <a:moveTo>
                      <a:pt x="5601170" y="4970896"/>
                    </a:moveTo>
                    <a:cubicBezTo>
                      <a:pt x="5601170" y="4961032"/>
                      <a:pt x="5593280" y="4953141"/>
                      <a:pt x="5583417" y="4953141"/>
                    </a:cubicBezTo>
                    <a:cubicBezTo>
                      <a:pt x="5573799" y="4953141"/>
                      <a:pt x="5565663" y="4961032"/>
                      <a:pt x="5565663" y="4970896"/>
                    </a:cubicBezTo>
                    <a:cubicBezTo>
                      <a:pt x="5565663" y="4980512"/>
                      <a:pt x="5573553" y="4988649"/>
                      <a:pt x="5583417" y="4988649"/>
                    </a:cubicBezTo>
                    <a:cubicBezTo>
                      <a:pt x="5593280" y="4988649"/>
                      <a:pt x="5601170" y="4980759"/>
                      <a:pt x="5601170" y="4970896"/>
                    </a:cubicBezTo>
                    <a:close/>
                    <a:moveTo>
                      <a:pt x="5602648" y="1642360"/>
                    </a:moveTo>
                    <a:cubicBezTo>
                      <a:pt x="5602648" y="1634467"/>
                      <a:pt x="5596238" y="1628301"/>
                      <a:pt x="5588594" y="1628301"/>
                    </a:cubicBezTo>
                    <a:cubicBezTo>
                      <a:pt x="5580704" y="1628301"/>
                      <a:pt x="5574539" y="1634715"/>
                      <a:pt x="5574539" y="1642360"/>
                    </a:cubicBezTo>
                    <a:cubicBezTo>
                      <a:pt x="5574539" y="1649999"/>
                      <a:pt x="5580949" y="1656405"/>
                      <a:pt x="5588594" y="1656405"/>
                    </a:cubicBezTo>
                    <a:cubicBezTo>
                      <a:pt x="5596238" y="1656405"/>
                      <a:pt x="5602648" y="1649999"/>
                      <a:pt x="5602648" y="1642360"/>
                    </a:cubicBezTo>
                    <a:close/>
                    <a:moveTo>
                      <a:pt x="5606104" y="464831"/>
                    </a:moveTo>
                    <a:cubicBezTo>
                      <a:pt x="5606104" y="439434"/>
                      <a:pt x="5585391" y="418723"/>
                      <a:pt x="5559994" y="418723"/>
                    </a:cubicBezTo>
                    <a:cubicBezTo>
                      <a:pt x="5534595" y="418723"/>
                      <a:pt x="5513883" y="439434"/>
                      <a:pt x="5513883" y="464831"/>
                    </a:cubicBezTo>
                    <a:cubicBezTo>
                      <a:pt x="5513883" y="490228"/>
                      <a:pt x="5534595" y="510939"/>
                      <a:pt x="5559994" y="510939"/>
                    </a:cubicBezTo>
                    <a:cubicBezTo>
                      <a:pt x="5585144" y="510939"/>
                      <a:pt x="5606104" y="490228"/>
                      <a:pt x="5606104" y="464831"/>
                    </a:cubicBezTo>
                    <a:close/>
                    <a:moveTo>
                      <a:pt x="5607088" y="4564786"/>
                    </a:moveTo>
                    <a:cubicBezTo>
                      <a:pt x="5607088" y="4549499"/>
                      <a:pt x="5594514" y="4537168"/>
                      <a:pt x="5579225" y="4537168"/>
                    </a:cubicBezTo>
                    <a:cubicBezTo>
                      <a:pt x="5563939" y="4537168"/>
                      <a:pt x="5551608" y="4549499"/>
                      <a:pt x="5551608" y="4564786"/>
                    </a:cubicBezTo>
                    <a:cubicBezTo>
                      <a:pt x="5551608" y="4580320"/>
                      <a:pt x="5563939" y="4592647"/>
                      <a:pt x="5579225" y="4592647"/>
                    </a:cubicBezTo>
                    <a:cubicBezTo>
                      <a:pt x="5594514" y="4592647"/>
                      <a:pt x="5606842" y="4580320"/>
                      <a:pt x="5607088" y="4564786"/>
                    </a:cubicBezTo>
                    <a:close/>
                    <a:moveTo>
                      <a:pt x="5607088" y="6980981"/>
                    </a:moveTo>
                    <a:cubicBezTo>
                      <a:pt x="5607088" y="6976787"/>
                      <a:pt x="5603638" y="6973336"/>
                      <a:pt x="5599447" y="6973336"/>
                    </a:cubicBezTo>
                    <a:cubicBezTo>
                      <a:pt x="5595252" y="6973336"/>
                      <a:pt x="5591801" y="6976787"/>
                      <a:pt x="5591801" y="6980981"/>
                    </a:cubicBezTo>
                    <a:cubicBezTo>
                      <a:pt x="5591801" y="6985172"/>
                      <a:pt x="5595252" y="6988622"/>
                      <a:pt x="5599447" y="6988622"/>
                    </a:cubicBezTo>
                    <a:cubicBezTo>
                      <a:pt x="5603883" y="6988622"/>
                      <a:pt x="5607336" y="6985172"/>
                      <a:pt x="5607088" y="6980981"/>
                    </a:cubicBezTo>
                    <a:close/>
                    <a:moveTo>
                      <a:pt x="5608814" y="3932071"/>
                    </a:moveTo>
                    <a:cubicBezTo>
                      <a:pt x="5608814" y="3916044"/>
                      <a:pt x="5595992" y="3902975"/>
                      <a:pt x="5579965" y="3902975"/>
                    </a:cubicBezTo>
                    <a:cubicBezTo>
                      <a:pt x="5564184" y="3902975"/>
                      <a:pt x="5551116" y="3916044"/>
                      <a:pt x="5551116" y="3932071"/>
                    </a:cubicBezTo>
                    <a:cubicBezTo>
                      <a:pt x="5551116" y="3947851"/>
                      <a:pt x="5563938" y="3960922"/>
                      <a:pt x="5579965" y="3960922"/>
                    </a:cubicBezTo>
                    <a:cubicBezTo>
                      <a:pt x="5595992" y="3960922"/>
                      <a:pt x="5609062" y="3948100"/>
                      <a:pt x="5608814" y="3932071"/>
                    </a:cubicBezTo>
                    <a:close/>
                    <a:moveTo>
                      <a:pt x="5611525" y="338119"/>
                    </a:moveTo>
                    <a:cubicBezTo>
                      <a:pt x="5611525" y="312970"/>
                      <a:pt x="5591060" y="292505"/>
                      <a:pt x="5565908" y="292505"/>
                    </a:cubicBezTo>
                    <a:cubicBezTo>
                      <a:pt x="5540759" y="292505"/>
                      <a:pt x="5520292" y="312970"/>
                      <a:pt x="5520292" y="338119"/>
                    </a:cubicBezTo>
                    <a:cubicBezTo>
                      <a:pt x="5520292" y="363270"/>
                      <a:pt x="5540759" y="383735"/>
                      <a:pt x="5565908" y="383735"/>
                    </a:cubicBezTo>
                    <a:cubicBezTo>
                      <a:pt x="5591060" y="383735"/>
                      <a:pt x="5611279" y="363270"/>
                      <a:pt x="5611525" y="338119"/>
                    </a:cubicBezTo>
                    <a:close/>
                    <a:moveTo>
                      <a:pt x="5612265" y="1785857"/>
                    </a:moveTo>
                    <a:cubicBezTo>
                      <a:pt x="5612265" y="1761455"/>
                      <a:pt x="5592539" y="1741463"/>
                      <a:pt x="5567881" y="1741463"/>
                    </a:cubicBezTo>
                    <a:cubicBezTo>
                      <a:pt x="5543470" y="1741463"/>
                      <a:pt x="5523497" y="1761455"/>
                      <a:pt x="5523497" y="1785857"/>
                    </a:cubicBezTo>
                    <a:cubicBezTo>
                      <a:pt x="5523497" y="1810307"/>
                      <a:pt x="5543470" y="1830275"/>
                      <a:pt x="5567881" y="1830275"/>
                    </a:cubicBezTo>
                    <a:cubicBezTo>
                      <a:pt x="5592539" y="1830275"/>
                      <a:pt x="5612511" y="1810307"/>
                      <a:pt x="5612265" y="1785857"/>
                    </a:cubicBezTo>
                    <a:close/>
                    <a:moveTo>
                      <a:pt x="5612511" y="3126885"/>
                    </a:moveTo>
                    <a:cubicBezTo>
                      <a:pt x="5612511" y="3119981"/>
                      <a:pt x="5606842" y="3114309"/>
                      <a:pt x="5599938" y="3114309"/>
                    </a:cubicBezTo>
                    <a:cubicBezTo>
                      <a:pt x="5593033" y="3114309"/>
                      <a:pt x="5587361" y="3119981"/>
                      <a:pt x="5587361" y="3126885"/>
                    </a:cubicBezTo>
                    <a:cubicBezTo>
                      <a:pt x="5587361" y="3133789"/>
                      <a:pt x="5593033" y="3139461"/>
                      <a:pt x="5599938" y="3139461"/>
                    </a:cubicBezTo>
                    <a:cubicBezTo>
                      <a:pt x="5606842" y="3139461"/>
                      <a:pt x="5612511" y="3133789"/>
                      <a:pt x="5612511" y="3126885"/>
                    </a:cubicBezTo>
                    <a:close/>
                    <a:moveTo>
                      <a:pt x="5612759" y="5755991"/>
                    </a:moveTo>
                    <a:cubicBezTo>
                      <a:pt x="5612759" y="5755253"/>
                      <a:pt x="5612019" y="5754512"/>
                      <a:pt x="5611278" y="5754512"/>
                    </a:cubicBezTo>
                    <a:cubicBezTo>
                      <a:pt x="5610541" y="5754512"/>
                      <a:pt x="5609800" y="5755253"/>
                      <a:pt x="5609800" y="5755991"/>
                    </a:cubicBezTo>
                    <a:cubicBezTo>
                      <a:pt x="5609800" y="5756731"/>
                      <a:pt x="5610541" y="5757472"/>
                      <a:pt x="5611278" y="5757472"/>
                    </a:cubicBezTo>
                    <a:cubicBezTo>
                      <a:pt x="5612019" y="5757472"/>
                      <a:pt x="5612759" y="5756731"/>
                      <a:pt x="5612759" y="5755991"/>
                    </a:cubicBezTo>
                    <a:close/>
                    <a:moveTo>
                      <a:pt x="5615227" y="5119335"/>
                    </a:moveTo>
                    <a:cubicBezTo>
                      <a:pt x="5615227" y="5115142"/>
                      <a:pt x="5611773" y="5111936"/>
                      <a:pt x="5607829" y="5111936"/>
                    </a:cubicBezTo>
                    <a:cubicBezTo>
                      <a:pt x="5603638" y="5111936"/>
                      <a:pt x="5600432" y="5115387"/>
                      <a:pt x="5600432" y="5119335"/>
                    </a:cubicBezTo>
                    <a:cubicBezTo>
                      <a:pt x="5600432" y="5123525"/>
                      <a:pt x="5603638" y="5126731"/>
                      <a:pt x="5607829" y="5126731"/>
                    </a:cubicBezTo>
                    <a:cubicBezTo>
                      <a:pt x="5612022" y="5126731"/>
                      <a:pt x="5615227" y="5123278"/>
                      <a:pt x="5615227" y="5119335"/>
                    </a:cubicBezTo>
                    <a:close/>
                    <a:moveTo>
                      <a:pt x="5616459" y="3818399"/>
                    </a:moveTo>
                    <a:cubicBezTo>
                      <a:pt x="5616459" y="3810263"/>
                      <a:pt x="5609800" y="3803605"/>
                      <a:pt x="5601663" y="3803605"/>
                    </a:cubicBezTo>
                    <a:cubicBezTo>
                      <a:pt x="5593528" y="3803605"/>
                      <a:pt x="5586869" y="3810263"/>
                      <a:pt x="5586869" y="3818399"/>
                    </a:cubicBezTo>
                    <a:cubicBezTo>
                      <a:pt x="5586869" y="3826535"/>
                      <a:pt x="5593528" y="3833194"/>
                      <a:pt x="5601663" y="3833194"/>
                    </a:cubicBezTo>
                    <a:cubicBezTo>
                      <a:pt x="5609800" y="3833194"/>
                      <a:pt x="5616459" y="3826535"/>
                      <a:pt x="5616459" y="3818399"/>
                    </a:cubicBezTo>
                    <a:close/>
                    <a:moveTo>
                      <a:pt x="5619168" y="2176361"/>
                    </a:moveTo>
                    <a:cubicBezTo>
                      <a:pt x="5619168" y="2155644"/>
                      <a:pt x="5602156" y="2138628"/>
                      <a:pt x="5581444" y="2138628"/>
                    </a:cubicBezTo>
                    <a:cubicBezTo>
                      <a:pt x="5560731" y="2138628"/>
                      <a:pt x="5543718" y="2155644"/>
                      <a:pt x="5543718" y="2176361"/>
                    </a:cubicBezTo>
                    <a:cubicBezTo>
                      <a:pt x="5543718" y="2197074"/>
                      <a:pt x="5560731" y="2214095"/>
                      <a:pt x="5581444" y="2214095"/>
                    </a:cubicBezTo>
                    <a:cubicBezTo>
                      <a:pt x="5602404" y="2214095"/>
                      <a:pt x="5619168" y="2197074"/>
                      <a:pt x="5619168" y="2176361"/>
                    </a:cubicBezTo>
                    <a:close/>
                    <a:moveTo>
                      <a:pt x="5619172" y="2025438"/>
                    </a:moveTo>
                    <a:cubicBezTo>
                      <a:pt x="5619172" y="2021491"/>
                      <a:pt x="5615964" y="2018283"/>
                      <a:pt x="5612019" y="2018283"/>
                    </a:cubicBezTo>
                    <a:cubicBezTo>
                      <a:pt x="5608073" y="2018283"/>
                      <a:pt x="5604869" y="2021491"/>
                      <a:pt x="5604869" y="2025438"/>
                    </a:cubicBezTo>
                    <a:cubicBezTo>
                      <a:pt x="5604869" y="2029384"/>
                      <a:pt x="5608073" y="2032591"/>
                      <a:pt x="5612019" y="2032591"/>
                    </a:cubicBezTo>
                    <a:cubicBezTo>
                      <a:pt x="5616213" y="2032591"/>
                      <a:pt x="5619418" y="2029139"/>
                      <a:pt x="5619172" y="2025438"/>
                    </a:cubicBezTo>
                    <a:close/>
                    <a:moveTo>
                      <a:pt x="5620404" y="3703493"/>
                    </a:moveTo>
                    <a:cubicBezTo>
                      <a:pt x="5620404" y="3701521"/>
                      <a:pt x="5618925" y="3700043"/>
                      <a:pt x="5616951" y="3700043"/>
                    </a:cubicBezTo>
                    <a:cubicBezTo>
                      <a:pt x="5614978" y="3700043"/>
                      <a:pt x="5613500" y="3701521"/>
                      <a:pt x="5613500" y="3703493"/>
                    </a:cubicBezTo>
                    <a:cubicBezTo>
                      <a:pt x="5613500" y="3705715"/>
                      <a:pt x="5614978" y="3707193"/>
                      <a:pt x="5616951" y="3707193"/>
                    </a:cubicBezTo>
                    <a:cubicBezTo>
                      <a:pt x="5618678" y="3707193"/>
                      <a:pt x="5620404" y="3705466"/>
                      <a:pt x="5620404" y="3703493"/>
                    </a:cubicBezTo>
                    <a:close/>
                    <a:moveTo>
                      <a:pt x="5620651" y="2701787"/>
                    </a:moveTo>
                    <a:cubicBezTo>
                      <a:pt x="5620651" y="2689705"/>
                      <a:pt x="5611033" y="2679840"/>
                      <a:pt x="5598951" y="2679840"/>
                    </a:cubicBezTo>
                    <a:cubicBezTo>
                      <a:pt x="5587116" y="2679840"/>
                      <a:pt x="5577253" y="2689705"/>
                      <a:pt x="5577253" y="2701787"/>
                    </a:cubicBezTo>
                    <a:cubicBezTo>
                      <a:pt x="5577253" y="2713622"/>
                      <a:pt x="5586870" y="2723486"/>
                      <a:pt x="5598951" y="2723486"/>
                    </a:cubicBezTo>
                    <a:cubicBezTo>
                      <a:pt x="5611033" y="2723486"/>
                      <a:pt x="5620896" y="2713872"/>
                      <a:pt x="5620651" y="2701787"/>
                    </a:cubicBezTo>
                    <a:close/>
                    <a:moveTo>
                      <a:pt x="5621388" y="3241301"/>
                    </a:moveTo>
                    <a:cubicBezTo>
                      <a:pt x="5621388" y="3238095"/>
                      <a:pt x="5618923" y="3235629"/>
                      <a:pt x="5615719" y="3235629"/>
                    </a:cubicBezTo>
                    <a:cubicBezTo>
                      <a:pt x="5612511" y="3235629"/>
                      <a:pt x="5610047" y="3238095"/>
                      <a:pt x="5610047" y="3241301"/>
                    </a:cubicBezTo>
                    <a:cubicBezTo>
                      <a:pt x="5610047" y="3244505"/>
                      <a:pt x="5612511" y="3246972"/>
                      <a:pt x="5615719" y="3246972"/>
                    </a:cubicBezTo>
                    <a:cubicBezTo>
                      <a:pt x="5618923" y="3246972"/>
                      <a:pt x="5621388" y="3244505"/>
                      <a:pt x="5621388" y="3241301"/>
                    </a:cubicBezTo>
                    <a:close/>
                    <a:moveTo>
                      <a:pt x="5623113" y="2433276"/>
                    </a:moveTo>
                    <a:cubicBezTo>
                      <a:pt x="5623113" y="2421192"/>
                      <a:pt x="5613250" y="2411331"/>
                      <a:pt x="5601169" y="2411331"/>
                    </a:cubicBezTo>
                    <a:cubicBezTo>
                      <a:pt x="5589334" y="2411331"/>
                      <a:pt x="5579470" y="2421192"/>
                      <a:pt x="5579470" y="2433276"/>
                    </a:cubicBezTo>
                    <a:cubicBezTo>
                      <a:pt x="5579470" y="2445115"/>
                      <a:pt x="5589088" y="2454969"/>
                      <a:pt x="5601169" y="2454969"/>
                    </a:cubicBezTo>
                    <a:cubicBezTo>
                      <a:pt x="5613004" y="2454969"/>
                      <a:pt x="5622868" y="2445360"/>
                      <a:pt x="5623113" y="2433276"/>
                    </a:cubicBezTo>
                    <a:close/>
                    <a:moveTo>
                      <a:pt x="5623609" y="4298480"/>
                    </a:moveTo>
                    <a:cubicBezTo>
                      <a:pt x="5623609" y="4275303"/>
                      <a:pt x="5604869" y="4256563"/>
                      <a:pt x="5581689" y="4256563"/>
                    </a:cubicBezTo>
                    <a:cubicBezTo>
                      <a:pt x="5558758" y="4256563"/>
                      <a:pt x="5540019" y="4275550"/>
                      <a:pt x="5540019" y="4298480"/>
                    </a:cubicBezTo>
                    <a:cubicBezTo>
                      <a:pt x="5540019" y="4321660"/>
                      <a:pt x="5558758" y="4340400"/>
                      <a:pt x="5581689" y="4340400"/>
                    </a:cubicBezTo>
                    <a:cubicBezTo>
                      <a:pt x="5604869" y="4340400"/>
                      <a:pt x="5623609" y="4321660"/>
                      <a:pt x="5623609" y="4298480"/>
                    </a:cubicBezTo>
                    <a:close/>
                    <a:moveTo>
                      <a:pt x="5624842" y="5891361"/>
                    </a:moveTo>
                    <a:cubicBezTo>
                      <a:pt x="5624842" y="5890624"/>
                      <a:pt x="5624101" y="5889883"/>
                      <a:pt x="5623361" y="5889883"/>
                    </a:cubicBezTo>
                    <a:cubicBezTo>
                      <a:pt x="5622623" y="5889883"/>
                      <a:pt x="5621882" y="5890624"/>
                      <a:pt x="5621882" y="5891361"/>
                    </a:cubicBezTo>
                    <a:cubicBezTo>
                      <a:pt x="5621882" y="5892102"/>
                      <a:pt x="5622623" y="5892596"/>
                      <a:pt x="5623361" y="5892596"/>
                    </a:cubicBezTo>
                    <a:cubicBezTo>
                      <a:pt x="5624350" y="5892596"/>
                      <a:pt x="5624842" y="5892102"/>
                      <a:pt x="5624842" y="5891361"/>
                    </a:cubicBezTo>
                    <a:close/>
                    <a:moveTo>
                      <a:pt x="5626322" y="3588099"/>
                    </a:moveTo>
                    <a:cubicBezTo>
                      <a:pt x="5626322" y="3587849"/>
                      <a:pt x="5626075" y="3587604"/>
                      <a:pt x="5625827" y="3587604"/>
                    </a:cubicBezTo>
                    <a:cubicBezTo>
                      <a:pt x="5625827" y="3587604"/>
                      <a:pt x="5625581" y="3587849"/>
                      <a:pt x="5625581" y="3588099"/>
                    </a:cubicBezTo>
                    <a:cubicBezTo>
                      <a:pt x="5625581" y="3588345"/>
                      <a:pt x="5625581" y="3588591"/>
                      <a:pt x="5625827" y="3588591"/>
                    </a:cubicBezTo>
                    <a:cubicBezTo>
                      <a:pt x="5626075" y="3588591"/>
                      <a:pt x="5626322" y="3588345"/>
                      <a:pt x="5626322" y="3588099"/>
                    </a:cubicBezTo>
                    <a:close/>
                    <a:moveTo>
                      <a:pt x="5627551" y="1500839"/>
                    </a:moveTo>
                    <a:cubicBezTo>
                      <a:pt x="5627551" y="1489251"/>
                      <a:pt x="5618182" y="1479875"/>
                      <a:pt x="5606593" y="1479875"/>
                    </a:cubicBezTo>
                    <a:cubicBezTo>
                      <a:pt x="5595006" y="1479875"/>
                      <a:pt x="5585635" y="1489251"/>
                      <a:pt x="5585635" y="1500839"/>
                    </a:cubicBezTo>
                    <a:cubicBezTo>
                      <a:pt x="5585635" y="1512428"/>
                      <a:pt x="5595006" y="1521802"/>
                      <a:pt x="5606593" y="1521802"/>
                    </a:cubicBezTo>
                    <a:cubicBezTo>
                      <a:pt x="5618182" y="1521802"/>
                      <a:pt x="5627551" y="1512428"/>
                      <a:pt x="5627551" y="1500839"/>
                    </a:cubicBezTo>
                    <a:close/>
                    <a:moveTo>
                      <a:pt x="5628541" y="3356942"/>
                    </a:moveTo>
                    <a:cubicBezTo>
                      <a:pt x="5628541" y="3355213"/>
                      <a:pt x="5627060" y="3353729"/>
                      <a:pt x="5625333" y="3353729"/>
                    </a:cubicBezTo>
                    <a:cubicBezTo>
                      <a:pt x="5623606" y="3353729"/>
                      <a:pt x="5622128" y="3355213"/>
                      <a:pt x="5622128" y="3356942"/>
                    </a:cubicBezTo>
                    <a:cubicBezTo>
                      <a:pt x="5622128" y="3358663"/>
                      <a:pt x="5623606" y="3360142"/>
                      <a:pt x="5625333" y="3360142"/>
                    </a:cubicBezTo>
                    <a:cubicBezTo>
                      <a:pt x="5627060" y="3360142"/>
                      <a:pt x="5628541" y="3358663"/>
                      <a:pt x="5628541" y="3356942"/>
                    </a:cubicBezTo>
                    <a:close/>
                    <a:moveTo>
                      <a:pt x="5629035" y="3472209"/>
                    </a:moveTo>
                    <a:cubicBezTo>
                      <a:pt x="5629035" y="3471960"/>
                      <a:pt x="5628789" y="3471715"/>
                      <a:pt x="5628543" y="3471715"/>
                    </a:cubicBezTo>
                    <a:cubicBezTo>
                      <a:pt x="5628294" y="3471715"/>
                      <a:pt x="5628048" y="3471960"/>
                      <a:pt x="5628048" y="3472209"/>
                    </a:cubicBezTo>
                    <a:cubicBezTo>
                      <a:pt x="5628048" y="3472455"/>
                      <a:pt x="5628294" y="3472701"/>
                      <a:pt x="5628543" y="3472701"/>
                    </a:cubicBezTo>
                    <a:cubicBezTo>
                      <a:pt x="5629035" y="3472701"/>
                      <a:pt x="5629281" y="3472701"/>
                      <a:pt x="5629035" y="3472209"/>
                    </a:cubicBezTo>
                    <a:close/>
                    <a:moveTo>
                      <a:pt x="5633717" y="5264076"/>
                    </a:moveTo>
                    <a:cubicBezTo>
                      <a:pt x="5633717" y="5262168"/>
                      <a:pt x="5632171" y="5260623"/>
                      <a:pt x="5630264" y="5260623"/>
                    </a:cubicBezTo>
                    <a:cubicBezTo>
                      <a:pt x="5628358" y="5260623"/>
                      <a:pt x="5626813" y="5262168"/>
                      <a:pt x="5626813" y="5264076"/>
                    </a:cubicBezTo>
                    <a:cubicBezTo>
                      <a:pt x="5626813" y="5265982"/>
                      <a:pt x="5628358" y="5267527"/>
                      <a:pt x="5630264" y="5267527"/>
                    </a:cubicBezTo>
                    <a:cubicBezTo>
                      <a:pt x="5632171" y="5267527"/>
                      <a:pt x="5633717" y="5265982"/>
                      <a:pt x="5633717" y="5264076"/>
                    </a:cubicBezTo>
                    <a:close/>
                    <a:moveTo>
                      <a:pt x="5635444" y="6025250"/>
                    </a:moveTo>
                    <a:cubicBezTo>
                      <a:pt x="5635444" y="6024513"/>
                      <a:pt x="5634953" y="6023772"/>
                      <a:pt x="5633966" y="6023772"/>
                    </a:cubicBezTo>
                    <a:cubicBezTo>
                      <a:pt x="5632981" y="6023772"/>
                      <a:pt x="5632240" y="6024264"/>
                      <a:pt x="5632240" y="6025250"/>
                    </a:cubicBezTo>
                    <a:cubicBezTo>
                      <a:pt x="5632240" y="6026238"/>
                      <a:pt x="5632981" y="6026976"/>
                      <a:pt x="5633966" y="6026976"/>
                    </a:cubicBezTo>
                    <a:cubicBezTo>
                      <a:pt x="5634953" y="6026976"/>
                      <a:pt x="5635691" y="6026238"/>
                      <a:pt x="5635444" y="6025250"/>
                    </a:cubicBezTo>
                    <a:close/>
                    <a:moveTo>
                      <a:pt x="5635693" y="4721607"/>
                    </a:moveTo>
                    <a:cubicBezTo>
                      <a:pt x="5635693" y="4710757"/>
                      <a:pt x="5626816" y="4702126"/>
                      <a:pt x="5616212" y="4702126"/>
                    </a:cubicBezTo>
                    <a:cubicBezTo>
                      <a:pt x="5605609" y="4702126"/>
                      <a:pt x="5596732" y="4710757"/>
                      <a:pt x="5596732" y="4721607"/>
                    </a:cubicBezTo>
                    <a:cubicBezTo>
                      <a:pt x="5596732" y="4732456"/>
                      <a:pt x="5605363" y="4741083"/>
                      <a:pt x="5616212" y="4741083"/>
                    </a:cubicBezTo>
                    <a:cubicBezTo>
                      <a:pt x="5626816" y="4741083"/>
                      <a:pt x="5635693" y="4732456"/>
                      <a:pt x="5635693" y="4721607"/>
                    </a:cubicBezTo>
                    <a:close/>
                    <a:moveTo>
                      <a:pt x="5647526" y="6156924"/>
                    </a:moveTo>
                    <a:cubicBezTo>
                      <a:pt x="5647526" y="6155197"/>
                      <a:pt x="5646045" y="6153964"/>
                      <a:pt x="5644566" y="6153964"/>
                    </a:cubicBezTo>
                    <a:cubicBezTo>
                      <a:pt x="5642839" y="6153964"/>
                      <a:pt x="5641607" y="6155197"/>
                      <a:pt x="5641607" y="6156924"/>
                    </a:cubicBezTo>
                    <a:cubicBezTo>
                      <a:pt x="5641607" y="6158651"/>
                      <a:pt x="5642839" y="6159883"/>
                      <a:pt x="5644566" y="6159883"/>
                    </a:cubicBezTo>
                    <a:cubicBezTo>
                      <a:pt x="5646045" y="6159883"/>
                      <a:pt x="5647526" y="6158651"/>
                      <a:pt x="5647526" y="6156924"/>
                    </a:cubicBezTo>
                    <a:close/>
                    <a:moveTo>
                      <a:pt x="5652457" y="1193645"/>
                    </a:moveTo>
                    <a:cubicBezTo>
                      <a:pt x="5652457" y="1167511"/>
                      <a:pt x="5631253" y="1146306"/>
                      <a:pt x="5605115" y="1146306"/>
                    </a:cubicBezTo>
                    <a:cubicBezTo>
                      <a:pt x="5578979" y="1146306"/>
                      <a:pt x="5557772" y="1167511"/>
                      <a:pt x="5557772" y="1193645"/>
                    </a:cubicBezTo>
                    <a:cubicBezTo>
                      <a:pt x="5557772" y="1219788"/>
                      <a:pt x="5578979" y="1240995"/>
                      <a:pt x="5605115" y="1240995"/>
                    </a:cubicBezTo>
                    <a:cubicBezTo>
                      <a:pt x="5631253" y="1240995"/>
                      <a:pt x="5652457" y="1219788"/>
                      <a:pt x="5652457" y="1193645"/>
                    </a:cubicBezTo>
                    <a:close/>
                    <a:moveTo>
                      <a:pt x="5652457" y="5406593"/>
                    </a:moveTo>
                    <a:cubicBezTo>
                      <a:pt x="5652457" y="5405607"/>
                      <a:pt x="5651471" y="5404620"/>
                      <a:pt x="5650484" y="5404620"/>
                    </a:cubicBezTo>
                    <a:cubicBezTo>
                      <a:pt x="5649498" y="5404620"/>
                      <a:pt x="5648512" y="5405607"/>
                      <a:pt x="5648512" y="5406593"/>
                    </a:cubicBezTo>
                    <a:cubicBezTo>
                      <a:pt x="5648512" y="5407579"/>
                      <a:pt x="5649253" y="5408565"/>
                      <a:pt x="5650484" y="5408565"/>
                    </a:cubicBezTo>
                    <a:cubicBezTo>
                      <a:pt x="5651717" y="5408565"/>
                      <a:pt x="5652457" y="5407579"/>
                      <a:pt x="5652457" y="5406593"/>
                    </a:cubicBezTo>
                    <a:close/>
                    <a:moveTo>
                      <a:pt x="5656651" y="1361548"/>
                    </a:moveTo>
                    <a:cubicBezTo>
                      <a:pt x="5656651" y="1343051"/>
                      <a:pt x="5641610" y="1328005"/>
                      <a:pt x="5623117" y="1328005"/>
                    </a:cubicBezTo>
                    <a:cubicBezTo>
                      <a:pt x="5604623" y="1328005"/>
                      <a:pt x="5589582" y="1343051"/>
                      <a:pt x="5589582" y="1361548"/>
                    </a:cubicBezTo>
                    <a:cubicBezTo>
                      <a:pt x="5589582" y="1380036"/>
                      <a:pt x="5604623" y="1395079"/>
                      <a:pt x="5623117" y="1395079"/>
                    </a:cubicBezTo>
                    <a:cubicBezTo>
                      <a:pt x="5641610" y="1395079"/>
                      <a:pt x="5656651" y="1380036"/>
                      <a:pt x="5656651" y="1361548"/>
                    </a:cubicBezTo>
                    <a:close/>
                    <a:moveTo>
                      <a:pt x="5659116" y="6288104"/>
                    </a:moveTo>
                    <a:cubicBezTo>
                      <a:pt x="5659116" y="6285146"/>
                      <a:pt x="5656651" y="6282678"/>
                      <a:pt x="5653693" y="6282678"/>
                    </a:cubicBezTo>
                    <a:cubicBezTo>
                      <a:pt x="5650734" y="6282678"/>
                      <a:pt x="5648266" y="6285146"/>
                      <a:pt x="5648266" y="6288104"/>
                    </a:cubicBezTo>
                    <a:cubicBezTo>
                      <a:pt x="5648266" y="6291061"/>
                      <a:pt x="5650734" y="6293528"/>
                      <a:pt x="5653693" y="6293528"/>
                    </a:cubicBezTo>
                    <a:cubicBezTo>
                      <a:pt x="5656651" y="6293528"/>
                      <a:pt x="5659116" y="6291061"/>
                      <a:pt x="5659116" y="6288104"/>
                    </a:cubicBezTo>
                    <a:close/>
                    <a:moveTo>
                      <a:pt x="5663801" y="4077551"/>
                    </a:moveTo>
                    <a:cubicBezTo>
                      <a:pt x="5663801" y="4073114"/>
                      <a:pt x="5660103" y="4069414"/>
                      <a:pt x="5655663" y="4069414"/>
                    </a:cubicBezTo>
                    <a:cubicBezTo>
                      <a:pt x="5651226" y="4069414"/>
                      <a:pt x="5647526" y="4073114"/>
                      <a:pt x="5647526" y="4077551"/>
                    </a:cubicBezTo>
                    <a:cubicBezTo>
                      <a:pt x="5647526" y="4081991"/>
                      <a:pt x="5651226" y="4085691"/>
                      <a:pt x="5655663" y="4085691"/>
                    </a:cubicBezTo>
                    <a:cubicBezTo>
                      <a:pt x="5660348" y="4085691"/>
                      <a:pt x="5664047" y="4081991"/>
                      <a:pt x="5663801" y="4077551"/>
                    </a:cubicBezTo>
                    <a:close/>
                    <a:moveTo>
                      <a:pt x="5664294" y="1058534"/>
                    </a:moveTo>
                    <a:cubicBezTo>
                      <a:pt x="5664294" y="1032649"/>
                      <a:pt x="5643332" y="1011449"/>
                      <a:pt x="5617196" y="1011449"/>
                    </a:cubicBezTo>
                    <a:cubicBezTo>
                      <a:pt x="5591061" y="1011449"/>
                      <a:pt x="5569854" y="1032401"/>
                      <a:pt x="5569854" y="1058534"/>
                    </a:cubicBezTo>
                    <a:cubicBezTo>
                      <a:pt x="5569854" y="1084437"/>
                      <a:pt x="5591061" y="1105637"/>
                      <a:pt x="5617196" y="1105637"/>
                    </a:cubicBezTo>
                    <a:cubicBezTo>
                      <a:pt x="5643086" y="1105637"/>
                      <a:pt x="5664294" y="1084683"/>
                      <a:pt x="5664294" y="1058534"/>
                    </a:cubicBezTo>
                    <a:close/>
                    <a:moveTo>
                      <a:pt x="5665279" y="4189004"/>
                    </a:moveTo>
                    <a:cubicBezTo>
                      <a:pt x="5665279" y="4164841"/>
                      <a:pt x="5645556" y="4145360"/>
                      <a:pt x="5621636" y="4145360"/>
                    </a:cubicBezTo>
                    <a:cubicBezTo>
                      <a:pt x="5597473" y="4145360"/>
                      <a:pt x="5577993" y="4165086"/>
                      <a:pt x="5577993" y="4189004"/>
                    </a:cubicBezTo>
                    <a:cubicBezTo>
                      <a:pt x="5577993" y="4213169"/>
                      <a:pt x="5597718" y="4232647"/>
                      <a:pt x="5621636" y="4232647"/>
                    </a:cubicBezTo>
                    <a:cubicBezTo>
                      <a:pt x="5645802" y="4232647"/>
                      <a:pt x="5665279" y="4213169"/>
                      <a:pt x="5665279" y="4189004"/>
                    </a:cubicBezTo>
                    <a:close/>
                    <a:moveTo>
                      <a:pt x="5666020" y="2812010"/>
                    </a:moveTo>
                    <a:cubicBezTo>
                      <a:pt x="5666020" y="2795737"/>
                      <a:pt x="5652706" y="2782420"/>
                      <a:pt x="5636431" y="2782420"/>
                    </a:cubicBezTo>
                    <a:cubicBezTo>
                      <a:pt x="5620155" y="2782420"/>
                      <a:pt x="5606841" y="2795737"/>
                      <a:pt x="5606841" y="2812010"/>
                    </a:cubicBezTo>
                    <a:cubicBezTo>
                      <a:pt x="5606841" y="2828287"/>
                      <a:pt x="5620155" y="2841601"/>
                      <a:pt x="5636431" y="2841601"/>
                    </a:cubicBezTo>
                    <a:cubicBezTo>
                      <a:pt x="5652706" y="2841601"/>
                      <a:pt x="5666020" y="2828532"/>
                      <a:pt x="5666020" y="2812010"/>
                    </a:cubicBezTo>
                    <a:close/>
                    <a:moveTo>
                      <a:pt x="5668241" y="4460483"/>
                    </a:moveTo>
                    <a:cubicBezTo>
                      <a:pt x="5668241" y="4439770"/>
                      <a:pt x="5651225" y="4422756"/>
                      <a:pt x="5630513" y="4422756"/>
                    </a:cubicBezTo>
                    <a:cubicBezTo>
                      <a:pt x="5609800" y="4422756"/>
                      <a:pt x="5592787" y="4439770"/>
                      <a:pt x="5592787" y="4460483"/>
                    </a:cubicBezTo>
                    <a:cubicBezTo>
                      <a:pt x="5592787" y="4481441"/>
                      <a:pt x="5609800" y="4498207"/>
                      <a:pt x="5630513" y="4498207"/>
                    </a:cubicBezTo>
                    <a:cubicBezTo>
                      <a:pt x="5651225" y="4498207"/>
                      <a:pt x="5668241" y="4481195"/>
                      <a:pt x="5668241" y="4460483"/>
                    </a:cubicBezTo>
                    <a:close/>
                    <a:moveTo>
                      <a:pt x="5669964" y="6417307"/>
                    </a:moveTo>
                    <a:cubicBezTo>
                      <a:pt x="5669964" y="6412868"/>
                      <a:pt x="5666265" y="6409416"/>
                      <a:pt x="5662074" y="6409416"/>
                    </a:cubicBezTo>
                    <a:cubicBezTo>
                      <a:pt x="5657635" y="6409416"/>
                      <a:pt x="5654184" y="6412868"/>
                      <a:pt x="5654184" y="6417307"/>
                    </a:cubicBezTo>
                    <a:cubicBezTo>
                      <a:pt x="5654184" y="6421746"/>
                      <a:pt x="5657883" y="6425197"/>
                      <a:pt x="5662074" y="6425197"/>
                    </a:cubicBezTo>
                    <a:cubicBezTo>
                      <a:pt x="5666514" y="6425197"/>
                      <a:pt x="5669964" y="6421746"/>
                      <a:pt x="5669964" y="6417307"/>
                    </a:cubicBezTo>
                    <a:close/>
                    <a:moveTo>
                      <a:pt x="5669966" y="5547140"/>
                    </a:moveTo>
                    <a:cubicBezTo>
                      <a:pt x="5669966" y="5546402"/>
                      <a:pt x="5669225" y="5545661"/>
                      <a:pt x="5668485" y="5545661"/>
                    </a:cubicBezTo>
                    <a:cubicBezTo>
                      <a:pt x="5667747" y="5545661"/>
                      <a:pt x="5667006" y="5546402"/>
                      <a:pt x="5667006" y="5547140"/>
                    </a:cubicBezTo>
                    <a:cubicBezTo>
                      <a:pt x="5667006" y="5547880"/>
                      <a:pt x="5667500" y="5548621"/>
                      <a:pt x="5668485" y="5548621"/>
                    </a:cubicBezTo>
                    <a:cubicBezTo>
                      <a:pt x="5669225" y="5548621"/>
                      <a:pt x="5669966" y="5547880"/>
                      <a:pt x="5669966" y="5547140"/>
                    </a:cubicBezTo>
                    <a:close/>
                    <a:moveTo>
                      <a:pt x="5670705" y="4874975"/>
                    </a:moveTo>
                    <a:cubicBezTo>
                      <a:pt x="5670705" y="4863140"/>
                      <a:pt x="5660841" y="4853276"/>
                      <a:pt x="5648760" y="4853276"/>
                    </a:cubicBezTo>
                    <a:cubicBezTo>
                      <a:pt x="5636925" y="4853276"/>
                      <a:pt x="5627062" y="4862894"/>
                      <a:pt x="5627062" y="4874975"/>
                    </a:cubicBezTo>
                    <a:cubicBezTo>
                      <a:pt x="5627062" y="4886810"/>
                      <a:pt x="5636679" y="4896674"/>
                      <a:pt x="5648760" y="4896674"/>
                    </a:cubicBezTo>
                    <a:cubicBezTo>
                      <a:pt x="5660841" y="4896674"/>
                      <a:pt x="5670705" y="4886810"/>
                      <a:pt x="5670705" y="4874975"/>
                    </a:cubicBezTo>
                    <a:close/>
                    <a:moveTo>
                      <a:pt x="5674156" y="250119"/>
                    </a:moveTo>
                    <a:cubicBezTo>
                      <a:pt x="5674156" y="225217"/>
                      <a:pt x="5653938" y="204751"/>
                      <a:pt x="5628786" y="204751"/>
                    </a:cubicBezTo>
                    <a:cubicBezTo>
                      <a:pt x="5603882" y="204751"/>
                      <a:pt x="5583416" y="224968"/>
                      <a:pt x="5583416" y="250119"/>
                    </a:cubicBezTo>
                    <a:cubicBezTo>
                      <a:pt x="5583416" y="275021"/>
                      <a:pt x="5603634" y="295486"/>
                      <a:pt x="5628786" y="295486"/>
                    </a:cubicBezTo>
                    <a:cubicBezTo>
                      <a:pt x="5653938" y="295486"/>
                      <a:pt x="5674401" y="275021"/>
                      <a:pt x="5674156" y="250119"/>
                    </a:cubicBezTo>
                    <a:close/>
                    <a:moveTo>
                      <a:pt x="5674159" y="1731111"/>
                    </a:moveTo>
                    <a:cubicBezTo>
                      <a:pt x="5674159" y="1724939"/>
                      <a:pt x="5669225" y="1720001"/>
                      <a:pt x="5663060" y="1720001"/>
                    </a:cubicBezTo>
                    <a:cubicBezTo>
                      <a:pt x="5656897" y="1720001"/>
                      <a:pt x="5651965" y="1724939"/>
                      <a:pt x="5651965" y="1731111"/>
                    </a:cubicBezTo>
                    <a:cubicBezTo>
                      <a:pt x="5651965" y="1737283"/>
                      <a:pt x="5656897" y="1742225"/>
                      <a:pt x="5663060" y="1742225"/>
                    </a:cubicBezTo>
                    <a:cubicBezTo>
                      <a:pt x="5669225" y="1742225"/>
                      <a:pt x="5674159" y="1737283"/>
                      <a:pt x="5674159" y="1731111"/>
                    </a:cubicBezTo>
                    <a:close/>
                    <a:moveTo>
                      <a:pt x="5674651" y="925169"/>
                    </a:moveTo>
                    <a:cubicBezTo>
                      <a:pt x="5674651" y="899516"/>
                      <a:pt x="5653938" y="878798"/>
                      <a:pt x="5628294" y="878798"/>
                    </a:cubicBezTo>
                    <a:cubicBezTo>
                      <a:pt x="5602651" y="878798"/>
                      <a:pt x="5581938" y="899516"/>
                      <a:pt x="5581938" y="925169"/>
                    </a:cubicBezTo>
                    <a:cubicBezTo>
                      <a:pt x="5581938" y="950809"/>
                      <a:pt x="5602651" y="971521"/>
                      <a:pt x="5628294" y="971521"/>
                    </a:cubicBezTo>
                    <a:cubicBezTo>
                      <a:pt x="5653938" y="971521"/>
                      <a:pt x="5674651" y="950809"/>
                      <a:pt x="5674651" y="925169"/>
                    </a:cubicBezTo>
                    <a:close/>
                    <a:moveTo>
                      <a:pt x="5676870" y="2276463"/>
                    </a:moveTo>
                    <a:cubicBezTo>
                      <a:pt x="5676870" y="2256501"/>
                      <a:pt x="5660594" y="2240227"/>
                      <a:pt x="5640622" y="2240227"/>
                    </a:cubicBezTo>
                    <a:cubicBezTo>
                      <a:pt x="5620650" y="2240227"/>
                      <a:pt x="5604375" y="2256501"/>
                      <a:pt x="5604375" y="2276463"/>
                    </a:cubicBezTo>
                    <a:cubicBezTo>
                      <a:pt x="5604375" y="2296440"/>
                      <a:pt x="5620650" y="2312713"/>
                      <a:pt x="5640622" y="2312713"/>
                    </a:cubicBezTo>
                    <a:cubicBezTo>
                      <a:pt x="5660840" y="2312713"/>
                      <a:pt x="5676870" y="2296440"/>
                      <a:pt x="5676870" y="2276463"/>
                    </a:cubicBezTo>
                    <a:close/>
                    <a:moveTo>
                      <a:pt x="5677609" y="2122370"/>
                    </a:moveTo>
                    <a:cubicBezTo>
                      <a:pt x="5677609" y="2121383"/>
                      <a:pt x="5676622" y="2120397"/>
                      <a:pt x="5675637" y="2120397"/>
                    </a:cubicBezTo>
                    <a:cubicBezTo>
                      <a:pt x="5674650" y="2120397"/>
                      <a:pt x="5673664" y="2121383"/>
                      <a:pt x="5673664" y="2122370"/>
                    </a:cubicBezTo>
                    <a:cubicBezTo>
                      <a:pt x="5673664" y="2123357"/>
                      <a:pt x="5674650" y="2124342"/>
                      <a:pt x="5675637" y="2124342"/>
                    </a:cubicBezTo>
                    <a:cubicBezTo>
                      <a:pt x="5676869" y="2124342"/>
                      <a:pt x="5677609" y="2123602"/>
                      <a:pt x="5677609" y="2122370"/>
                    </a:cubicBezTo>
                    <a:close/>
                    <a:moveTo>
                      <a:pt x="5679334" y="124153"/>
                    </a:moveTo>
                    <a:cubicBezTo>
                      <a:pt x="5679334" y="99496"/>
                      <a:pt x="5659362" y="79277"/>
                      <a:pt x="5634457" y="79277"/>
                    </a:cubicBezTo>
                    <a:cubicBezTo>
                      <a:pt x="5609554" y="79277"/>
                      <a:pt x="5589334" y="99248"/>
                      <a:pt x="5589334" y="124153"/>
                    </a:cubicBezTo>
                    <a:cubicBezTo>
                      <a:pt x="5589334" y="149055"/>
                      <a:pt x="5609554" y="169271"/>
                      <a:pt x="5634457" y="169271"/>
                    </a:cubicBezTo>
                    <a:cubicBezTo>
                      <a:pt x="5659362" y="169271"/>
                      <a:pt x="5679581" y="149055"/>
                      <a:pt x="5679334" y="124153"/>
                    </a:cubicBezTo>
                    <a:close/>
                    <a:moveTo>
                      <a:pt x="5680566" y="6545775"/>
                    </a:moveTo>
                    <a:cubicBezTo>
                      <a:pt x="5680566" y="6539857"/>
                      <a:pt x="5675637" y="6535171"/>
                      <a:pt x="5669964" y="6535171"/>
                    </a:cubicBezTo>
                    <a:cubicBezTo>
                      <a:pt x="5664047" y="6535171"/>
                      <a:pt x="5659362" y="6540103"/>
                      <a:pt x="5659362" y="6545775"/>
                    </a:cubicBezTo>
                    <a:cubicBezTo>
                      <a:pt x="5659362" y="6551448"/>
                      <a:pt x="5664047" y="6556130"/>
                      <a:pt x="5669964" y="6556130"/>
                    </a:cubicBezTo>
                    <a:cubicBezTo>
                      <a:pt x="5675637" y="6556130"/>
                      <a:pt x="5680320" y="6551448"/>
                      <a:pt x="5680566" y="6545775"/>
                    </a:cubicBezTo>
                    <a:close/>
                    <a:moveTo>
                      <a:pt x="5682541" y="1877347"/>
                    </a:moveTo>
                    <a:cubicBezTo>
                      <a:pt x="5682541" y="1853691"/>
                      <a:pt x="5663307" y="1834215"/>
                      <a:pt x="5639390" y="1834215"/>
                    </a:cubicBezTo>
                    <a:cubicBezTo>
                      <a:pt x="5615719" y="1834215"/>
                      <a:pt x="5596238" y="1853443"/>
                      <a:pt x="5596238" y="1877347"/>
                    </a:cubicBezTo>
                    <a:cubicBezTo>
                      <a:pt x="5596238" y="1901002"/>
                      <a:pt x="5615470" y="1920470"/>
                      <a:pt x="5639390" y="1920470"/>
                    </a:cubicBezTo>
                    <a:cubicBezTo>
                      <a:pt x="5663307" y="1920470"/>
                      <a:pt x="5682541" y="1901002"/>
                      <a:pt x="5682541" y="1877347"/>
                    </a:cubicBezTo>
                    <a:close/>
                    <a:moveTo>
                      <a:pt x="5683317" y="0"/>
                    </a:moveTo>
                    <a:lnTo>
                      <a:pt x="5594958" y="0"/>
                    </a:lnTo>
                    <a:lnTo>
                      <a:pt x="5607579" y="30481"/>
                    </a:lnTo>
                    <a:cubicBezTo>
                      <a:pt x="5615655" y="38557"/>
                      <a:pt x="5626812" y="43550"/>
                      <a:pt x="5639141" y="43550"/>
                    </a:cubicBezTo>
                    <a:cubicBezTo>
                      <a:pt x="5651347" y="43550"/>
                      <a:pt x="5662443" y="38557"/>
                      <a:pt x="5670518" y="30481"/>
                    </a:cubicBezTo>
                    <a:close/>
                    <a:moveTo>
                      <a:pt x="5684510" y="792778"/>
                    </a:moveTo>
                    <a:cubicBezTo>
                      <a:pt x="5684510" y="766891"/>
                      <a:pt x="5663552" y="745934"/>
                      <a:pt x="5637663" y="745934"/>
                    </a:cubicBezTo>
                    <a:cubicBezTo>
                      <a:pt x="5611525" y="745934"/>
                      <a:pt x="5590566" y="766891"/>
                      <a:pt x="5590566" y="792778"/>
                    </a:cubicBezTo>
                    <a:cubicBezTo>
                      <a:pt x="5590566" y="818673"/>
                      <a:pt x="5611773" y="839637"/>
                      <a:pt x="5637663" y="839637"/>
                    </a:cubicBezTo>
                    <a:cubicBezTo>
                      <a:pt x="5663552" y="839637"/>
                      <a:pt x="5684510" y="818673"/>
                      <a:pt x="5684510" y="792778"/>
                    </a:cubicBezTo>
                    <a:close/>
                    <a:moveTo>
                      <a:pt x="5686487" y="2538810"/>
                    </a:moveTo>
                    <a:cubicBezTo>
                      <a:pt x="5686487" y="2518836"/>
                      <a:pt x="5670210" y="2502560"/>
                      <a:pt x="5650238" y="2502560"/>
                    </a:cubicBezTo>
                    <a:cubicBezTo>
                      <a:pt x="5630266" y="2502560"/>
                      <a:pt x="5613991" y="2518836"/>
                      <a:pt x="5613991" y="2538810"/>
                    </a:cubicBezTo>
                    <a:cubicBezTo>
                      <a:pt x="5613991" y="2558780"/>
                      <a:pt x="5630266" y="2575056"/>
                      <a:pt x="5650238" y="2575056"/>
                    </a:cubicBezTo>
                    <a:cubicBezTo>
                      <a:pt x="5670210" y="2575056"/>
                      <a:pt x="5686487" y="2558780"/>
                      <a:pt x="5686487" y="2538810"/>
                    </a:cubicBezTo>
                    <a:close/>
                    <a:moveTo>
                      <a:pt x="5686978" y="5026128"/>
                    </a:moveTo>
                    <a:cubicBezTo>
                      <a:pt x="5686978" y="5020705"/>
                      <a:pt x="5682541" y="5016265"/>
                      <a:pt x="5677115" y="5016265"/>
                    </a:cubicBezTo>
                    <a:cubicBezTo>
                      <a:pt x="5671691" y="5016265"/>
                      <a:pt x="5667251" y="5020705"/>
                      <a:pt x="5667251" y="5026128"/>
                    </a:cubicBezTo>
                    <a:cubicBezTo>
                      <a:pt x="5667251" y="5031555"/>
                      <a:pt x="5671691" y="5035991"/>
                      <a:pt x="5677115" y="5035991"/>
                    </a:cubicBezTo>
                    <a:cubicBezTo>
                      <a:pt x="5682541" y="5035991"/>
                      <a:pt x="5686978" y="5031555"/>
                      <a:pt x="5686978" y="5026128"/>
                    </a:cubicBezTo>
                    <a:close/>
                    <a:moveTo>
                      <a:pt x="5686979" y="3964371"/>
                    </a:moveTo>
                    <a:cubicBezTo>
                      <a:pt x="5686979" y="3962645"/>
                      <a:pt x="5685747" y="3961413"/>
                      <a:pt x="5684019" y="3961413"/>
                    </a:cubicBezTo>
                    <a:cubicBezTo>
                      <a:pt x="5682292" y="3961413"/>
                      <a:pt x="5681060" y="3962645"/>
                      <a:pt x="5681060" y="3964371"/>
                    </a:cubicBezTo>
                    <a:cubicBezTo>
                      <a:pt x="5681060" y="3966098"/>
                      <a:pt x="5682292" y="3967330"/>
                      <a:pt x="5684019" y="3967330"/>
                    </a:cubicBezTo>
                    <a:cubicBezTo>
                      <a:pt x="5685747" y="3967330"/>
                      <a:pt x="5686979" y="3966098"/>
                      <a:pt x="5686979" y="3964371"/>
                    </a:cubicBezTo>
                    <a:close/>
                    <a:moveTo>
                      <a:pt x="5693141" y="662114"/>
                    </a:moveTo>
                    <a:cubicBezTo>
                      <a:pt x="5693141" y="636415"/>
                      <a:pt x="5672183" y="615458"/>
                      <a:pt x="5646540" y="615458"/>
                    </a:cubicBezTo>
                    <a:cubicBezTo>
                      <a:pt x="5620895" y="615458"/>
                      <a:pt x="5599937" y="636415"/>
                      <a:pt x="5599937" y="662114"/>
                    </a:cubicBezTo>
                    <a:cubicBezTo>
                      <a:pt x="5599937" y="687761"/>
                      <a:pt x="5620895" y="708715"/>
                      <a:pt x="5646540" y="708715"/>
                    </a:cubicBezTo>
                    <a:cubicBezTo>
                      <a:pt x="5672183" y="708715"/>
                      <a:pt x="5693141" y="687761"/>
                      <a:pt x="5693141" y="662114"/>
                    </a:cubicBezTo>
                    <a:close/>
                    <a:moveTo>
                      <a:pt x="5694131" y="4620017"/>
                    </a:moveTo>
                    <a:cubicBezTo>
                      <a:pt x="5694131" y="4608182"/>
                      <a:pt x="5684513" y="4598564"/>
                      <a:pt x="5672678" y="4598564"/>
                    </a:cubicBezTo>
                    <a:cubicBezTo>
                      <a:pt x="5660843" y="4598564"/>
                      <a:pt x="5651225" y="4608182"/>
                      <a:pt x="5651225" y="4620017"/>
                    </a:cubicBezTo>
                    <a:cubicBezTo>
                      <a:pt x="5651225" y="4631853"/>
                      <a:pt x="5660843" y="4641470"/>
                      <a:pt x="5672678" y="4641470"/>
                    </a:cubicBezTo>
                    <a:cubicBezTo>
                      <a:pt x="5684513" y="4641470"/>
                      <a:pt x="5694131" y="4631853"/>
                      <a:pt x="5694131" y="4620017"/>
                    </a:cubicBezTo>
                    <a:close/>
                    <a:moveTo>
                      <a:pt x="5696103" y="5675113"/>
                    </a:moveTo>
                    <a:cubicBezTo>
                      <a:pt x="5696103" y="5674375"/>
                      <a:pt x="5695609" y="5673881"/>
                      <a:pt x="5694868" y="5673881"/>
                    </a:cubicBezTo>
                    <a:cubicBezTo>
                      <a:pt x="5694130" y="5673881"/>
                      <a:pt x="5693636" y="5674375"/>
                      <a:pt x="5693636" y="5675113"/>
                    </a:cubicBezTo>
                    <a:cubicBezTo>
                      <a:pt x="5693636" y="5675854"/>
                      <a:pt x="5694130" y="5676348"/>
                      <a:pt x="5694868" y="5676348"/>
                    </a:cubicBezTo>
                    <a:cubicBezTo>
                      <a:pt x="5695609" y="5676348"/>
                      <a:pt x="5696103" y="5675854"/>
                      <a:pt x="5696103" y="5675113"/>
                    </a:cubicBezTo>
                    <a:close/>
                    <a:moveTo>
                      <a:pt x="5698075" y="6793583"/>
                    </a:moveTo>
                    <a:cubicBezTo>
                      <a:pt x="5698075" y="6790378"/>
                      <a:pt x="5695362" y="6787665"/>
                      <a:pt x="5692158" y="6787665"/>
                    </a:cubicBezTo>
                    <a:cubicBezTo>
                      <a:pt x="5688953" y="6787665"/>
                      <a:pt x="5686240" y="6790378"/>
                      <a:pt x="5686240" y="6793583"/>
                    </a:cubicBezTo>
                    <a:cubicBezTo>
                      <a:pt x="5686240" y="6796788"/>
                      <a:pt x="5688953" y="6799501"/>
                      <a:pt x="5692158" y="6799501"/>
                    </a:cubicBezTo>
                    <a:cubicBezTo>
                      <a:pt x="5695610" y="6799501"/>
                      <a:pt x="5698075" y="6797037"/>
                      <a:pt x="5698075" y="6793583"/>
                    </a:cubicBezTo>
                    <a:close/>
                    <a:moveTo>
                      <a:pt x="5698076" y="6666842"/>
                    </a:moveTo>
                    <a:cubicBezTo>
                      <a:pt x="5698076" y="6660186"/>
                      <a:pt x="5692650" y="6654760"/>
                      <a:pt x="5685992" y="6654760"/>
                    </a:cubicBezTo>
                    <a:cubicBezTo>
                      <a:pt x="5679337" y="6654760"/>
                      <a:pt x="5673910" y="6660186"/>
                      <a:pt x="5673910" y="6666842"/>
                    </a:cubicBezTo>
                    <a:cubicBezTo>
                      <a:pt x="5673910" y="6673500"/>
                      <a:pt x="5679337" y="6678926"/>
                      <a:pt x="5685992" y="6678926"/>
                    </a:cubicBezTo>
                    <a:cubicBezTo>
                      <a:pt x="5692650" y="6678926"/>
                      <a:pt x="5698076" y="6673500"/>
                      <a:pt x="5698076" y="6666842"/>
                    </a:cubicBezTo>
                    <a:close/>
                    <a:moveTo>
                      <a:pt x="5701035" y="532388"/>
                    </a:moveTo>
                    <a:cubicBezTo>
                      <a:pt x="5701035" y="506745"/>
                      <a:pt x="5680322" y="485788"/>
                      <a:pt x="5654430" y="485788"/>
                    </a:cubicBezTo>
                    <a:cubicBezTo>
                      <a:pt x="5628786" y="485788"/>
                      <a:pt x="5607828" y="506745"/>
                      <a:pt x="5607828" y="532388"/>
                    </a:cubicBezTo>
                    <a:cubicBezTo>
                      <a:pt x="5607828" y="558030"/>
                      <a:pt x="5628786" y="578988"/>
                      <a:pt x="5654430" y="578988"/>
                    </a:cubicBezTo>
                    <a:cubicBezTo>
                      <a:pt x="5680074" y="578988"/>
                      <a:pt x="5701035" y="558030"/>
                      <a:pt x="5701035" y="532388"/>
                    </a:cubicBezTo>
                    <a:close/>
                    <a:moveTo>
                      <a:pt x="5701035" y="1586884"/>
                    </a:moveTo>
                    <a:cubicBezTo>
                      <a:pt x="5701035" y="1577522"/>
                      <a:pt x="5693390" y="1569880"/>
                      <a:pt x="5684019" y="1569880"/>
                    </a:cubicBezTo>
                    <a:cubicBezTo>
                      <a:pt x="5674650" y="1569880"/>
                      <a:pt x="5667006" y="1577522"/>
                      <a:pt x="5667006" y="1586884"/>
                    </a:cubicBezTo>
                    <a:cubicBezTo>
                      <a:pt x="5667006" y="1596267"/>
                      <a:pt x="5674650" y="1603907"/>
                      <a:pt x="5684019" y="1603907"/>
                    </a:cubicBezTo>
                    <a:cubicBezTo>
                      <a:pt x="5693390" y="1603907"/>
                      <a:pt x="5701035" y="1596267"/>
                      <a:pt x="5701035" y="1586884"/>
                    </a:cubicBezTo>
                    <a:close/>
                    <a:moveTo>
                      <a:pt x="5704732" y="2924453"/>
                    </a:moveTo>
                    <a:cubicBezTo>
                      <a:pt x="5704732" y="2904480"/>
                      <a:pt x="5688460" y="2887959"/>
                      <a:pt x="5668239" y="2887959"/>
                    </a:cubicBezTo>
                    <a:cubicBezTo>
                      <a:pt x="5648267" y="2887959"/>
                      <a:pt x="5631745" y="2904232"/>
                      <a:pt x="5631745" y="2924453"/>
                    </a:cubicBezTo>
                    <a:cubicBezTo>
                      <a:pt x="5631745" y="2944671"/>
                      <a:pt x="5648020" y="2960947"/>
                      <a:pt x="5668239" y="2960947"/>
                    </a:cubicBezTo>
                    <a:cubicBezTo>
                      <a:pt x="5688460" y="2960947"/>
                      <a:pt x="5704732" y="2944426"/>
                      <a:pt x="5704732" y="2924453"/>
                    </a:cubicBezTo>
                    <a:close/>
                    <a:moveTo>
                      <a:pt x="5706459" y="6919335"/>
                    </a:moveTo>
                    <a:cubicBezTo>
                      <a:pt x="5706459" y="6914653"/>
                      <a:pt x="5702762" y="6910953"/>
                      <a:pt x="5698076" y="6910953"/>
                    </a:cubicBezTo>
                    <a:cubicBezTo>
                      <a:pt x="5693391" y="6910953"/>
                      <a:pt x="5689691" y="6914653"/>
                      <a:pt x="5689691" y="6919335"/>
                    </a:cubicBezTo>
                    <a:cubicBezTo>
                      <a:pt x="5689691" y="6924021"/>
                      <a:pt x="5693391" y="6927720"/>
                      <a:pt x="5698076" y="6927720"/>
                    </a:cubicBezTo>
                    <a:cubicBezTo>
                      <a:pt x="5702762" y="6927720"/>
                      <a:pt x="5706459" y="6924021"/>
                      <a:pt x="5706459" y="6919335"/>
                    </a:cubicBezTo>
                    <a:close/>
                    <a:moveTo>
                      <a:pt x="5706704" y="3849715"/>
                    </a:moveTo>
                    <a:cubicBezTo>
                      <a:pt x="5706704" y="3849715"/>
                      <a:pt x="5706458" y="3849469"/>
                      <a:pt x="5706210" y="3849469"/>
                    </a:cubicBezTo>
                    <a:cubicBezTo>
                      <a:pt x="5705963" y="3849469"/>
                      <a:pt x="5705718" y="3849469"/>
                      <a:pt x="5705718" y="3849715"/>
                    </a:cubicBezTo>
                    <a:cubicBezTo>
                      <a:pt x="5705718" y="3849961"/>
                      <a:pt x="5705963" y="3850209"/>
                      <a:pt x="5706210" y="3850209"/>
                    </a:cubicBezTo>
                    <a:cubicBezTo>
                      <a:pt x="5706458" y="3850209"/>
                      <a:pt x="5706704" y="3850209"/>
                      <a:pt x="5706704" y="3849715"/>
                    </a:cubicBezTo>
                    <a:close/>
                    <a:moveTo>
                      <a:pt x="5707691" y="403705"/>
                    </a:moveTo>
                    <a:cubicBezTo>
                      <a:pt x="5707691" y="378063"/>
                      <a:pt x="5686978" y="357351"/>
                      <a:pt x="5661334" y="357351"/>
                    </a:cubicBezTo>
                    <a:cubicBezTo>
                      <a:pt x="5635691" y="357351"/>
                      <a:pt x="5614978" y="378063"/>
                      <a:pt x="5614978" y="403705"/>
                    </a:cubicBezTo>
                    <a:cubicBezTo>
                      <a:pt x="5614978" y="429348"/>
                      <a:pt x="5635691" y="450059"/>
                      <a:pt x="5661334" y="450059"/>
                    </a:cubicBezTo>
                    <a:cubicBezTo>
                      <a:pt x="5686978" y="450059"/>
                      <a:pt x="5707691" y="429348"/>
                      <a:pt x="5707691" y="403705"/>
                    </a:cubicBezTo>
                    <a:close/>
                    <a:moveTo>
                      <a:pt x="5709417" y="5173580"/>
                    </a:moveTo>
                    <a:cubicBezTo>
                      <a:pt x="5709417" y="5170129"/>
                      <a:pt x="5706459" y="5167170"/>
                      <a:pt x="5703005" y="5167170"/>
                    </a:cubicBezTo>
                    <a:cubicBezTo>
                      <a:pt x="5699554" y="5167170"/>
                      <a:pt x="5696595" y="5170129"/>
                      <a:pt x="5696595" y="5173580"/>
                    </a:cubicBezTo>
                    <a:cubicBezTo>
                      <a:pt x="5696595" y="5177033"/>
                      <a:pt x="5699554" y="5179992"/>
                      <a:pt x="5703005" y="5179992"/>
                    </a:cubicBezTo>
                    <a:cubicBezTo>
                      <a:pt x="5706459" y="5179992"/>
                      <a:pt x="5709417" y="5177033"/>
                      <a:pt x="5709417" y="5173580"/>
                    </a:cubicBezTo>
                    <a:close/>
                    <a:moveTo>
                      <a:pt x="5710406" y="5812458"/>
                    </a:moveTo>
                    <a:cubicBezTo>
                      <a:pt x="5710406" y="5811718"/>
                      <a:pt x="5709912" y="5811225"/>
                      <a:pt x="5709171" y="5811225"/>
                    </a:cubicBezTo>
                    <a:cubicBezTo>
                      <a:pt x="5708431" y="5811225"/>
                      <a:pt x="5707939" y="5811718"/>
                      <a:pt x="5707939" y="5812458"/>
                    </a:cubicBezTo>
                    <a:cubicBezTo>
                      <a:pt x="5707939" y="5813199"/>
                      <a:pt x="5708431" y="5813693"/>
                      <a:pt x="5709171" y="5813693"/>
                    </a:cubicBezTo>
                    <a:cubicBezTo>
                      <a:pt x="5709912" y="5813693"/>
                      <a:pt x="5710406" y="5813199"/>
                      <a:pt x="5710406" y="5812458"/>
                    </a:cubicBezTo>
                    <a:close/>
                    <a:moveTo>
                      <a:pt x="5721993" y="4353470"/>
                    </a:moveTo>
                    <a:cubicBezTo>
                      <a:pt x="5721993" y="4328320"/>
                      <a:pt x="5701775" y="4307853"/>
                      <a:pt x="5676623" y="4307853"/>
                    </a:cubicBezTo>
                    <a:cubicBezTo>
                      <a:pt x="5651719" y="4307853"/>
                      <a:pt x="5631253" y="4328566"/>
                      <a:pt x="5631253" y="4353470"/>
                    </a:cubicBezTo>
                    <a:cubicBezTo>
                      <a:pt x="5631253" y="4378376"/>
                      <a:pt x="5651471" y="4398839"/>
                      <a:pt x="5676623" y="4398839"/>
                    </a:cubicBezTo>
                    <a:cubicBezTo>
                      <a:pt x="5701775" y="4398839"/>
                      <a:pt x="5721993" y="4378621"/>
                      <a:pt x="5721993" y="4353470"/>
                    </a:cubicBezTo>
                    <a:close/>
                    <a:moveTo>
                      <a:pt x="5722734" y="3734317"/>
                    </a:moveTo>
                    <a:cubicBezTo>
                      <a:pt x="5722734" y="3734071"/>
                      <a:pt x="5722734" y="3734071"/>
                      <a:pt x="5722487" y="3734071"/>
                    </a:cubicBezTo>
                    <a:cubicBezTo>
                      <a:pt x="5722238" y="3734071"/>
                      <a:pt x="5722238" y="3734071"/>
                      <a:pt x="5722487" y="3734567"/>
                    </a:cubicBezTo>
                    <a:cubicBezTo>
                      <a:pt x="5722734" y="3734567"/>
                      <a:pt x="5722734" y="3734567"/>
                      <a:pt x="5722734" y="3734317"/>
                    </a:cubicBezTo>
                    <a:close/>
                    <a:moveTo>
                      <a:pt x="5723472" y="5948814"/>
                    </a:moveTo>
                    <a:cubicBezTo>
                      <a:pt x="5723472" y="5947827"/>
                      <a:pt x="5722485" y="5946840"/>
                      <a:pt x="5721500" y="5946840"/>
                    </a:cubicBezTo>
                    <a:cubicBezTo>
                      <a:pt x="5720513" y="5946840"/>
                      <a:pt x="5719526" y="5947827"/>
                      <a:pt x="5719526" y="5948814"/>
                    </a:cubicBezTo>
                    <a:cubicBezTo>
                      <a:pt x="5719526" y="5949799"/>
                      <a:pt x="5720513" y="5950786"/>
                      <a:pt x="5721500" y="5950786"/>
                    </a:cubicBezTo>
                    <a:cubicBezTo>
                      <a:pt x="5722732" y="5950786"/>
                      <a:pt x="5723472" y="5950046"/>
                      <a:pt x="5723472" y="5948814"/>
                    </a:cubicBezTo>
                    <a:close/>
                    <a:moveTo>
                      <a:pt x="5727911" y="5318567"/>
                    </a:moveTo>
                    <a:cubicBezTo>
                      <a:pt x="5727911" y="5317580"/>
                      <a:pt x="5726924" y="5316593"/>
                      <a:pt x="5725938" y="5316593"/>
                    </a:cubicBezTo>
                    <a:cubicBezTo>
                      <a:pt x="5724952" y="5316593"/>
                      <a:pt x="5723965" y="5317580"/>
                      <a:pt x="5723965" y="5318567"/>
                    </a:cubicBezTo>
                    <a:cubicBezTo>
                      <a:pt x="5723965" y="5319552"/>
                      <a:pt x="5724952" y="5320539"/>
                      <a:pt x="5725938" y="5320539"/>
                    </a:cubicBezTo>
                    <a:cubicBezTo>
                      <a:pt x="5727171" y="5320539"/>
                      <a:pt x="5727911" y="5319552"/>
                      <a:pt x="5727911" y="5318567"/>
                    </a:cubicBezTo>
                    <a:close/>
                    <a:moveTo>
                      <a:pt x="5729881" y="2379040"/>
                    </a:moveTo>
                    <a:cubicBezTo>
                      <a:pt x="5729881" y="2359816"/>
                      <a:pt x="5714348" y="2344292"/>
                      <a:pt x="5695113" y="2344292"/>
                    </a:cubicBezTo>
                    <a:cubicBezTo>
                      <a:pt x="5675882" y="2344292"/>
                      <a:pt x="5660347" y="2359816"/>
                      <a:pt x="5660347" y="2379040"/>
                    </a:cubicBezTo>
                    <a:cubicBezTo>
                      <a:pt x="5660347" y="2398276"/>
                      <a:pt x="5675882" y="2413813"/>
                      <a:pt x="5695113" y="2413813"/>
                    </a:cubicBezTo>
                    <a:cubicBezTo>
                      <a:pt x="5714348" y="2413813"/>
                      <a:pt x="5730128" y="2398276"/>
                      <a:pt x="5729881" y="2379040"/>
                    </a:cubicBezTo>
                    <a:close/>
                    <a:moveTo>
                      <a:pt x="5731853" y="1445376"/>
                    </a:moveTo>
                    <a:cubicBezTo>
                      <a:pt x="5731853" y="1429353"/>
                      <a:pt x="5718785" y="1416533"/>
                      <a:pt x="5703004" y="1416533"/>
                    </a:cubicBezTo>
                    <a:cubicBezTo>
                      <a:pt x="5686978" y="1416533"/>
                      <a:pt x="5674156" y="1429600"/>
                      <a:pt x="5674156" y="1445376"/>
                    </a:cubicBezTo>
                    <a:cubicBezTo>
                      <a:pt x="5674156" y="1461406"/>
                      <a:pt x="5687223" y="1474228"/>
                      <a:pt x="5703004" y="1474228"/>
                    </a:cubicBezTo>
                    <a:cubicBezTo>
                      <a:pt x="5718785" y="1474228"/>
                      <a:pt x="5731853" y="1461159"/>
                      <a:pt x="5731853" y="1445376"/>
                    </a:cubicBezTo>
                    <a:close/>
                    <a:moveTo>
                      <a:pt x="5735061" y="3618179"/>
                    </a:moveTo>
                    <a:cubicBezTo>
                      <a:pt x="5735061" y="3617193"/>
                      <a:pt x="5734074" y="3616207"/>
                      <a:pt x="5732840" y="3616207"/>
                    </a:cubicBezTo>
                    <a:cubicBezTo>
                      <a:pt x="5731607" y="3616207"/>
                      <a:pt x="5730621" y="3616948"/>
                      <a:pt x="5730621" y="3618179"/>
                    </a:cubicBezTo>
                    <a:cubicBezTo>
                      <a:pt x="5730621" y="3619411"/>
                      <a:pt x="5731607" y="3620398"/>
                      <a:pt x="5732840" y="3620398"/>
                    </a:cubicBezTo>
                    <a:cubicBezTo>
                      <a:pt x="5733825" y="3620398"/>
                      <a:pt x="5734812" y="3619411"/>
                      <a:pt x="5735061" y="3618179"/>
                    </a:cubicBezTo>
                    <a:close/>
                    <a:moveTo>
                      <a:pt x="5735553" y="2222478"/>
                    </a:moveTo>
                    <a:cubicBezTo>
                      <a:pt x="5735553" y="2221989"/>
                      <a:pt x="5735307" y="2221746"/>
                      <a:pt x="5734815" y="2221746"/>
                    </a:cubicBezTo>
                    <a:cubicBezTo>
                      <a:pt x="5734321" y="2221746"/>
                      <a:pt x="5734075" y="2221989"/>
                      <a:pt x="5734075" y="2222478"/>
                    </a:cubicBezTo>
                    <a:cubicBezTo>
                      <a:pt x="5734075" y="2222971"/>
                      <a:pt x="5734321" y="2223225"/>
                      <a:pt x="5734815" y="2223225"/>
                    </a:cubicBezTo>
                    <a:cubicBezTo>
                      <a:pt x="5735307" y="2223225"/>
                      <a:pt x="5735553" y="2222971"/>
                      <a:pt x="5735553" y="2222478"/>
                    </a:cubicBezTo>
                    <a:close/>
                    <a:moveTo>
                      <a:pt x="5735556" y="4776099"/>
                    </a:moveTo>
                    <a:cubicBezTo>
                      <a:pt x="5735556" y="4762045"/>
                      <a:pt x="5724212" y="4750455"/>
                      <a:pt x="5709912" y="4750455"/>
                    </a:cubicBezTo>
                    <a:cubicBezTo>
                      <a:pt x="5695854" y="4750455"/>
                      <a:pt x="5684268" y="4761800"/>
                      <a:pt x="5684268" y="4776099"/>
                    </a:cubicBezTo>
                    <a:cubicBezTo>
                      <a:pt x="5684268" y="4790154"/>
                      <a:pt x="5695609" y="4801744"/>
                      <a:pt x="5709912" y="4801744"/>
                    </a:cubicBezTo>
                    <a:cubicBezTo>
                      <a:pt x="5724212" y="4801744"/>
                      <a:pt x="5735802" y="4790154"/>
                      <a:pt x="5735556" y="4776099"/>
                    </a:cubicBezTo>
                    <a:close/>
                    <a:moveTo>
                      <a:pt x="5736541" y="1274275"/>
                    </a:moveTo>
                    <a:cubicBezTo>
                      <a:pt x="5736541" y="1248140"/>
                      <a:pt x="5715334" y="1226689"/>
                      <a:pt x="5688950" y="1226689"/>
                    </a:cubicBezTo>
                    <a:cubicBezTo>
                      <a:pt x="5662815" y="1226689"/>
                      <a:pt x="5641362" y="1247893"/>
                      <a:pt x="5641362" y="1274275"/>
                    </a:cubicBezTo>
                    <a:cubicBezTo>
                      <a:pt x="5641362" y="1300414"/>
                      <a:pt x="5662815" y="1321863"/>
                      <a:pt x="5688950" y="1321863"/>
                    </a:cubicBezTo>
                    <a:cubicBezTo>
                      <a:pt x="5715334" y="1321863"/>
                      <a:pt x="5736541" y="1300659"/>
                      <a:pt x="5736541" y="1274275"/>
                    </a:cubicBezTo>
                    <a:close/>
                    <a:moveTo>
                      <a:pt x="5737034" y="3037882"/>
                    </a:moveTo>
                    <a:cubicBezTo>
                      <a:pt x="5737034" y="3013961"/>
                      <a:pt x="5717553" y="2994729"/>
                      <a:pt x="5693882" y="2994729"/>
                    </a:cubicBezTo>
                    <a:cubicBezTo>
                      <a:pt x="5669963" y="2994729"/>
                      <a:pt x="5650731" y="3014209"/>
                      <a:pt x="5650731" y="3037882"/>
                    </a:cubicBezTo>
                    <a:cubicBezTo>
                      <a:pt x="5650731" y="3061799"/>
                      <a:pt x="5670211" y="3081035"/>
                      <a:pt x="5693882" y="3081035"/>
                    </a:cubicBezTo>
                    <a:cubicBezTo>
                      <a:pt x="5717799" y="3081035"/>
                      <a:pt x="5737034" y="3061799"/>
                      <a:pt x="5737034" y="3037882"/>
                    </a:cubicBezTo>
                    <a:close/>
                    <a:moveTo>
                      <a:pt x="5737279" y="6082951"/>
                    </a:moveTo>
                    <a:cubicBezTo>
                      <a:pt x="5737279" y="6080978"/>
                      <a:pt x="5735800" y="6079500"/>
                      <a:pt x="5733826" y="6079500"/>
                    </a:cubicBezTo>
                    <a:cubicBezTo>
                      <a:pt x="5731853" y="6079500"/>
                      <a:pt x="5730375" y="6080978"/>
                      <a:pt x="5730375" y="6082951"/>
                    </a:cubicBezTo>
                    <a:cubicBezTo>
                      <a:pt x="5730375" y="6084926"/>
                      <a:pt x="5731853" y="6086404"/>
                      <a:pt x="5733826" y="6086404"/>
                    </a:cubicBezTo>
                    <a:cubicBezTo>
                      <a:pt x="5735553" y="6086404"/>
                      <a:pt x="5737279" y="6084677"/>
                      <a:pt x="5737279" y="6082951"/>
                    </a:cubicBezTo>
                    <a:close/>
                    <a:moveTo>
                      <a:pt x="5738019" y="2646562"/>
                    </a:moveTo>
                    <a:cubicBezTo>
                      <a:pt x="5738019" y="2622396"/>
                      <a:pt x="5718293" y="2602671"/>
                      <a:pt x="5694130" y="2602671"/>
                    </a:cubicBezTo>
                    <a:cubicBezTo>
                      <a:pt x="5669964" y="2602671"/>
                      <a:pt x="5650238" y="2622396"/>
                      <a:pt x="5650238" y="2646562"/>
                    </a:cubicBezTo>
                    <a:cubicBezTo>
                      <a:pt x="5650238" y="2670728"/>
                      <a:pt x="5669964" y="2690455"/>
                      <a:pt x="5694130" y="2690455"/>
                    </a:cubicBezTo>
                    <a:cubicBezTo>
                      <a:pt x="5718293" y="2690455"/>
                      <a:pt x="5738019" y="2670728"/>
                      <a:pt x="5738019" y="2646562"/>
                    </a:cubicBezTo>
                    <a:close/>
                    <a:moveTo>
                      <a:pt x="5746155" y="1823157"/>
                    </a:moveTo>
                    <a:cubicBezTo>
                      <a:pt x="5746155" y="1816499"/>
                      <a:pt x="5740733" y="1811078"/>
                      <a:pt x="5734075" y="1811078"/>
                    </a:cubicBezTo>
                    <a:cubicBezTo>
                      <a:pt x="5727419" y="1811078"/>
                      <a:pt x="5721993" y="1816499"/>
                      <a:pt x="5721993" y="1823157"/>
                    </a:cubicBezTo>
                    <a:cubicBezTo>
                      <a:pt x="5721993" y="1829804"/>
                      <a:pt x="5727419" y="1835233"/>
                      <a:pt x="5734075" y="1835233"/>
                    </a:cubicBezTo>
                    <a:cubicBezTo>
                      <a:pt x="5740733" y="1835233"/>
                      <a:pt x="5746155" y="1829804"/>
                      <a:pt x="5746155" y="1823157"/>
                    </a:cubicBezTo>
                    <a:close/>
                    <a:moveTo>
                      <a:pt x="5747883" y="4515716"/>
                    </a:moveTo>
                    <a:cubicBezTo>
                      <a:pt x="5747883" y="4502894"/>
                      <a:pt x="5737281" y="4492290"/>
                      <a:pt x="5724459" y="4492290"/>
                    </a:cubicBezTo>
                    <a:cubicBezTo>
                      <a:pt x="5711637" y="4492290"/>
                      <a:pt x="5701034" y="4502894"/>
                      <a:pt x="5701034" y="4515716"/>
                    </a:cubicBezTo>
                    <a:cubicBezTo>
                      <a:pt x="5701034" y="4528537"/>
                      <a:pt x="5711637" y="4539141"/>
                      <a:pt x="5724459" y="4539141"/>
                    </a:cubicBezTo>
                    <a:cubicBezTo>
                      <a:pt x="5737281" y="4539141"/>
                      <a:pt x="5747637" y="4528784"/>
                      <a:pt x="5747883" y="4515716"/>
                    </a:cubicBezTo>
                    <a:close/>
                    <a:moveTo>
                      <a:pt x="5748375" y="5461580"/>
                    </a:moveTo>
                    <a:cubicBezTo>
                      <a:pt x="5748375" y="5460594"/>
                      <a:pt x="5747635" y="5459607"/>
                      <a:pt x="5746403" y="5459607"/>
                    </a:cubicBezTo>
                    <a:cubicBezTo>
                      <a:pt x="5745170" y="5459607"/>
                      <a:pt x="5744429" y="5460594"/>
                      <a:pt x="5744429" y="5461580"/>
                    </a:cubicBezTo>
                    <a:cubicBezTo>
                      <a:pt x="5744429" y="5462566"/>
                      <a:pt x="5745416" y="5463552"/>
                      <a:pt x="5746403" y="5463552"/>
                    </a:cubicBezTo>
                    <a:cubicBezTo>
                      <a:pt x="5747635" y="5463552"/>
                      <a:pt x="5748375" y="5462566"/>
                      <a:pt x="5748375" y="5461580"/>
                    </a:cubicBezTo>
                    <a:close/>
                    <a:moveTo>
                      <a:pt x="5748624" y="1971722"/>
                    </a:moveTo>
                    <a:cubicBezTo>
                      <a:pt x="5748624" y="1948559"/>
                      <a:pt x="5729884" y="1929831"/>
                      <a:pt x="5706704" y="1929831"/>
                    </a:cubicBezTo>
                    <a:cubicBezTo>
                      <a:pt x="5683527" y="1929831"/>
                      <a:pt x="5664786" y="1948559"/>
                      <a:pt x="5664786" y="1971722"/>
                    </a:cubicBezTo>
                    <a:cubicBezTo>
                      <a:pt x="5664786" y="1994885"/>
                      <a:pt x="5683527" y="2013612"/>
                      <a:pt x="5706704" y="2013612"/>
                    </a:cubicBezTo>
                    <a:cubicBezTo>
                      <a:pt x="5729884" y="2013612"/>
                      <a:pt x="5748624" y="1994885"/>
                      <a:pt x="5748624" y="1971722"/>
                    </a:cubicBezTo>
                    <a:close/>
                    <a:moveTo>
                      <a:pt x="5748868" y="3501550"/>
                    </a:moveTo>
                    <a:cubicBezTo>
                      <a:pt x="5748868" y="3495141"/>
                      <a:pt x="5743691" y="3489714"/>
                      <a:pt x="5737033" y="3489714"/>
                    </a:cubicBezTo>
                    <a:cubicBezTo>
                      <a:pt x="5730624" y="3489714"/>
                      <a:pt x="5725197" y="3494892"/>
                      <a:pt x="5725197" y="3501550"/>
                    </a:cubicBezTo>
                    <a:cubicBezTo>
                      <a:pt x="5725197" y="3507962"/>
                      <a:pt x="5730375" y="3513385"/>
                      <a:pt x="5737033" y="3513385"/>
                    </a:cubicBezTo>
                    <a:cubicBezTo>
                      <a:pt x="5743445" y="3513385"/>
                      <a:pt x="5748868" y="3508208"/>
                      <a:pt x="5748868" y="3501550"/>
                    </a:cubicBezTo>
                    <a:close/>
                    <a:moveTo>
                      <a:pt x="5750347" y="1136952"/>
                    </a:moveTo>
                    <a:cubicBezTo>
                      <a:pt x="5750347" y="1110816"/>
                      <a:pt x="5729141" y="1089617"/>
                      <a:pt x="5703004" y="1089617"/>
                    </a:cubicBezTo>
                    <a:cubicBezTo>
                      <a:pt x="5676869" y="1089617"/>
                      <a:pt x="5655662" y="1110816"/>
                      <a:pt x="5655662" y="1136952"/>
                    </a:cubicBezTo>
                    <a:cubicBezTo>
                      <a:pt x="5655662" y="1163091"/>
                      <a:pt x="5676869" y="1184297"/>
                      <a:pt x="5703004" y="1184297"/>
                    </a:cubicBezTo>
                    <a:cubicBezTo>
                      <a:pt x="5729141" y="1184297"/>
                      <a:pt x="5750347" y="1163091"/>
                      <a:pt x="5750347" y="1136952"/>
                    </a:cubicBezTo>
                    <a:close/>
                    <a:moveTo>
                      <a:pt x="5750347" y="6215610"/>
                    </a:moveTo>
                    <a:cubicBezTo>
                      <a:pt x="5750347" y="6212404"/>
                      <a:pt x="5747634" y="6209691"/>
                      <a:pt x="5744429" y="6209691"/>
                    </a:cubicBezTo>
                    <a:cubicBezTo>
                      <a:pt x="5741225" y="6209691"/>
                      <a:pt x="5738512" y="6212404"/>
                      <a:pt x="5738512" y="6215610"/>
                    </a:cubicBezTo>
                    <a:cubicBezTo>
                      <a:pt x="5738512" y="6218814"/>
                      <a:pt x="5741225" y="6221528"/>
                      <a:pt x="5744429" y="6221528"/>
                    </a:cubicBezTo>
                    <a:cubicBezTo>
                      <a:pt x="5747634" y="6221528"/>
                      <a:pt x="5750347" y="6218814"/>
                      <a:pt x="5750347" y="6215610"/>
                    </a:cubicBezTo>
                    <a:close/>
                    <a:moveTo>
                      <a:pt x="5756020" y="4929963"/>
                    </a:moveTo>
                    <a:cubicBezTo>
                      <a:pt x="5756020" y="4922319"/>
                      <a:pt x="5749856" y="4916154"/>
                      <a:pt x="5742212" y="4916154"/>
                    </a:cubicBezTo>
                    <a:cubicBezTo>
                      <a:pt x="5734567" y="4916154"/>
                      <a:pt x="5728403" y="4922319"/>
                      <a:pt x="5728403" y="4929963"/>
                    </a:cubicBezTo>
                    <a:cubicBezTo>
                      <a:pt x="5728403" y="4937607"/>
                      <a:pt x="5734567" y="4943772"/>
                      <a:pt x="5742212" y="4943772"/>
                    </a:cubicBezTo>
                    <a:cubicBezTo>
                      <a:pt x="5749856" y="4943772"/>
                      <a:pt x="5756020" y="4937607"/>
                      <a:pt x="5756020" y="4929963"/>
                    </a:cubicBezTo>
                    <a:close/>
                    <a:moveTo>
                      <a:pt x="5756514" y="3153038"/>
                    </a:moveTo>
                    <a:cubicBezTo>
                      <a:pt x="5756514" y="3129363"/>
                      <a:pt x="5737281" y="3110131"/>
                      <a:pt x="5713608" y="3110131"/>
                    </a:cubicBezTo>
                    <a:cubicBezTo>
                      <a:pt x="5689937" y="3110131"/>
                      <a:pt x="5670705" y="3129363"/>
                      <a:pt x="5670705" y="3153038"/>
                    </a:cubicBezTo>
                    <a:cubicBezTo>
                      <a:pt x="5670705" y="3176708"/>
                      <a:pt x="5689937" y="3195942"/>
                      <a:pt x="5713608" y="3195942"/>
                    </a:cubicBezTo>
                    <a:cubicBezTo>
                      <a:pt x="5737281" y="3195942"/>
                      <a:pt x="5756759" y="3176708"/>
                      <a:pt x="5756514" y="3153038"/>
                    </a:cubicBezTo>
                    <a:close/>
                    <a:moveTo>
                      <a:pt x="5759964" y="3385055"/>
                    </a:moveTo>
                    <a:cubicBezTo>
                      <a:pt x="5759964" y="3371482"/>
                      <a:pt x="5748868" y="3360407"/>
                      <a:pt x="5735306" y="3360407"/>
                    </a:cubicBezTo>
                    <a:cubicBezTo>
                      <a:pt x="5721744" y="3360407"/>
                      <a:pt x="5710649" y="3371482"/>
                      <a:pt x="5710649" y="3385055"/>
                    </a:cubicBezTo>
                    <a:cubicBezTo>
                      <a:pt x="5710649" y="3398624"/>
                      <a:pt x="5721744" y="3409721"/>
                      <a:pt x="5735306" y="3409721"/>
                    </a:cubicBezTo>
                    <a:cubicBezTo>
                      <a:pt x="5748868" y="3409721"/>
                      <a:pt x="5759964" y="3398624"/>
                      <a:pt x="5759964" y="3385055"/>
                    </a:cubicBezTo>
                    <a:close/>
                    <a:moveTo>
                      <a:pt x="5762431" y="1001602"/>
                    </a:moveTo>
                    <a:cubicBezTo>
                      <a:pt x="5762431" y="976209"/>
                      <a:pt x="5741471" y="955502"/>
                      <a:pt x="5716075" y="955502"/>
                    </a:cubicBezTo>
                    <a:cubicBezTo>
                      <a:pt x="5690677" y="955502"/>
                      <a:pt x="5669964" y="976209"/>
                      <a:pt x="5669964" y="1001602"/>
                    </a:cubicBezTo>
                    <a:cubicBezTo>
                      <a:pt x="5669964" y="1027004"/>
                      <a:pt x="5690677" y="1047712"/>
                      <a:pt x="5716075" y="1047712"/>
                    </a:cubicBezTo>
                    <a:cubicBezTo>
                      <a:pt x="5741471" y="1047712"/>
                      <a:pt x="5762183" y="1027004"/>
                      <a:pt x="5762431" y="1001602"/>
                    </a:cubicBezTo>
                    <a:close/>
                    <a:moveTo>
                      <a:pt x="5762922" y="6346787"/>
                    </a:moveTo>
                    <a:cubicBezTo>
                      <a:pt x="5762922" y="6342102"/>
                      <a:pt x="5758980" y="6338156"/>
                      <a:pt x="5754295" y="6338156"/>
                    </a:cubicBezTo>
                    <a:cubicBezTo>
                      <a:pt x="5749609" y="6338156"/>
                      <a:pt x="5745664" y="6342102"/>
                      <a:pt x="5745664" y="6346787"/>
                    </a:cubicBezTo>
                    <a:cubicBezTo>
                      <a:pt x="5745664" y="6351473"/>
                      <a:pt x="5749609" y="6355418"/>
                      <a:pt x="5754295" y="6355418"/>
                    </a:cubicBezTo>
                    <a:cubicBezTo>
                      <a:pt x="5758980" y="6355418"/>
                      <a:pt x="5762677" y="6351718"/>
                      <a:pt x="5762922" y="6346787"/>
                    </a:cubicBezTo>
                    <a:close/>
                    <a:moveTo>
                      <a:pt x="5763664" y="3268678"/>
                    </a:moveTo>
                    <a:cubicBezTo>
                      <a:pt x="5763664" y="3248710"/>
                      <a:pt x="5747391" y="3232437"/>
                      <a:pt x="5727419" y="3232437"/>
                    </a:cubicBezTo>
                    <a:cubicBezTo>
                      <a:pt x="5707445" y="3232437"/>
                      <a:pt x="5691172" y="3248710"/>
                      <a:pt x="5691172" y="3268678"/>
                    </a:cubicBezTo>
                    <a:cubicBezTo>
                      <a:pt x="5691172" y="3288646"/>
                      <a:pt x="5707445" y="3304922"/>
                      <a:pt x="5727419" y="3304922"/>
                    </a:cubicBezTo>
                    <a:cubicBezTo>
                      <a:pt x="5747391" y="3304922"/>
                      <a:pt x="5763664" y="3288646"/>
                      <a:pt x="5763664" y="3268678"/>
                    </a:cubicBezTo>
                    <a:close/>
                    <a:moveTo>
                      <a:pt x="5767609" y="4244236"/>
                    </a:moveTo>
                    <a:cubicBezTo>
                      <a:pt x="5767609" y="4216374"/>
                      <a:pt x="5745170" y="4193688"/>
                      <a:pt x="5717307" y="4193688"/>
                    </a:cubicBezTo>
                    <a:cubicBezTo>
                      <a:pt x="5689691" y="4193688"/>
                      <a:pt x="5667006" y="4216374"/>
                      <a:pt x="5667006" y="4244236"/>
                    </a:cubicBezTo>
                    <a:cubicBezTo>
                      <a:pt x="5667006" y="4272101"/>
                      <a:pt x="5689445" y="4294786"/>
                      <a:pt x="5717307" y="4294786"/>
                    </a:cubicBezTo>
                    <a:cubicBezTo>
                      <a:pt x="5745170" y="4294786"/>
                      <a:pt x="5767854" y="4272346"/>
                      <a:pt x="5767609" y="4244236"/>
                    </a:cubicBezTo>
                    <a:close/>
                    <a:moveTo>
                      <a:pt x="5771059" y="315703"/>
                    </a:moveTo>
                    <a:cubicBezTo>
                      <a:pt x="5771059" y="290061"/>
                      <a:pt x="5750347" y="269350"/>
                      <a:pt x="5724703" y="269350"/>
                    </a:cubicBezTo>
                    <a:cubicBezTo>
                      <a:pt x="5699059" y="269350"/>
                      <a:pt x="5678347" y="290061"/>
                      <a:pt x="5678347" y="315703"/>
                    </a:cubicBezTo>
                    <a:cubicBezTo>
                      <a:pt x="5678347" y="341345"/>
                      <a:pt x="5699059" y="362057"/>
                      <a:pt x="5724703" y="362057"/>
                    </a:cubicBezTo>
                    <a:cubicBezTo>
                      <a:pt x="5750347" y="362057"/>
                      <a:pt x="5771059" y="341345"/>
                      <a:pt x="5771059" y="315703"/>
                    </a:cubicBezTo>
                    <a:close/>
                    <a:moveTo>
                      <a:pt x="5773277" y="2756545"/>
                    </a:moveTo>
                    <a:cubicBezTo>
                      <a:pt x="5773277" y="2734104"/>
                      <a:pt x="5755033" y="2715854"/>
                      <a:pt x="5732594" y="2715854"/>
                    </a:cubicBezTo>
                    <a:cubicBezTo>
                      <a:pt x="5710154" y="2715854"/>
                      <a:pt x="5691909" y="2734104"/>
                      <a:pt x="5691909" y="2756545"/>
                    </a:cubicBezTo>
                    <a:cubicBezTo>
                      <a:pt x="5691909" y="2778982"/>
                      <a:pt x="5710154" y="2797232"/>
                      <a:pt x="5732594" y="2797232"/>
                    </a:cubicBezTo>
                    <a:cubicBezTo>
                      <a:pt x="5755033" y="2797232"/>
                      <a:pt x="5773277" y="2778982"/>
                      <a:pt x="5773277" y="2756545"/>
                    </a:cubicBezTo>
                    <a:close/>
                    <a:moveTo>
                      <a:pt x="5774017" y="1676148"/>
                    </a:moveTo>
                    <a:cubicBezTo>
                      <a:pt x="5774017" y="1667274"/>
                      <a:pt x="5766868" y="1660122"/>
                      <a:pt x="5757991" y="1660122"/>
                    </a:cubicBezTo>
                    <a:cubicBezTo>
                      <a:pt x="5749114" y="1660122"/>
                      <a:pt x="5741965" y="1667274"/>
                      <a:pt x="5741965" y="1676148"/>
                    </a:cubicBezTo>
                    <a:cubicBezTo>
                      <a:pt x="5741965" y="1685033"/>
                      <a:pt x="5749114" y="1692181"/>
                      <a:pt x="5757991" y="1692181"/>
                    </a:cubicBezTo>
                    <a:cubicBezTo>
                      <a:pt x="5766868" y="1692181"/>
                      <a:pt x="5774017" y="1685033"/>
                      <a:pt x="5774017" y="1676148"/>
                    </a:cubicBezTo>
                    <a:close/>
                    <a:moveTo>
                      <a:pt x="5774021" y="867001"/>
                    </a:moveTo>
                    <a:cubicBezTo>
                      <a:pt x="5774021" y="841118"/>
                      <a:pt x="5752815" y="819905"/>
                      <a:pt x="5726925" y="819905"/>
                    </a:cubicBezTo>
                    <a:cubicBezTo>
                      <a:pt x="5701035" y="819905"/>
                      <a:pt x="5679828" y="841118"/>
                      <a:pt x="5679828" y="867001"/>
                    </a:cubicBezTo>
                    <a:cubicBezTo>
                      <a:pt x="5679828" y="892890"/>
                      <a:pt x="5700787" y="914088"/>
                      <a:pt x="5726925" y="914088"/>
                    </a:cubicBezTo>
                    <a:cubicBezTo>
                      <a:pt x="5753060" y="914088"/>
                      <a:pt x="5774267" y="892890"/>
                      <a:pt x="5774021" y="867001"/>
                    </a:cubicBezTo>
                    <a:close/>
                    <a:moveTo>
                      <a:pt x="5774513" y="6476977"/>
                    </a:moveTo>
                    <a:cubicBezTo>
                      <a:pt x="5774513" y="6470813"/>
                      <a:pt x="5769336" y="6465636"/>
                      <a:pt x="5763169" y="6465636"/>
                    </a:cubicBezTo>
                    <a:cubicBezTo>
                      <a:pt x="5757006" y="6465636"/>
                      <a:pt x="5751828" y="6470813"/>
                      <a:pt x="5751828" y="6476977"/>
                    </a:cubicBezTo>
                    <a:cubicBezTo>
                      <a:pt x="5751828" y="6483143"/>
                      <a:pt x="5757006" y="6488321"/>
                      <a:pt x="5763169" y="6488321"/>
                    </a:cubicBezTo>
                    <a:cubicBezTo>
                      <a:pt x="5769581" y="6488321"/>
                      <a:pt x="5774513" y="6483143"/>
                      <a:pt x="5774513" y="6476977"/>
                    </a:cubicBezTo>
                    <a:close/>
                    <a:moveTo>
                      <a:pt x="5776486" y="5591280"/>
                    </a:moveTo>
                    <a:cubicBezTo>
                      <a:pt x="5776486" y="5590787"/>
                      <a:pt x="5775991" y="5590293"/>
                      <a:pt x="5775500" y="5590293"/>
                    </a:cubicBezTo>
                    <a:cubicBezTo>
                      <a:pt x="5775008" y="5590293"/>
                      <a:pt x="5774513" y="5590787"/>
                      <a:pt x="5774513" y="5591280"/>
                    </a:cubicBezTo>
                    <a:cubicBezTo>
                      <a:pt x="5774513" y="5591771"/>
                      <a:pt x="5775008" y="5592265"/>
                      <a:pt x="5775500" y="5592265"/>
                    </a:cubicBezTo>
                    <a:cubicBezTo>
                      <a:pt x="5776240" y="5592265"/>
                      <a:pt x="5776486" y="5591771"/>
                      <a:pt x="5776486" y="5591280"/>
                    </a:cubicBezTo>
                    <a:close/>
                    <a:moveTo>
                      <a:pt x="5777227" y="188258"/>
                    </a:moveTo>
                    <a:cubicBezTo>
                      <a:pt x="5777227" y="162861"/>
                      <a:pt x="5756760" y="142396"/>
                      <a:pt x="5731362" y="142396"/>
                    </a:cubicBezTo>
                    <a:cubicBezTo>
                      <a:pt x="5705966" y="142396"/>
                      <a:pt x="5685500" y="163107"/>
                      <a:pt x="5685500" y="188258"/>
                    </a:cubicBezTo>
                    <a:cubicBezTo>
                      <a:pt x="5685500" y="213652"/>
                      <a:pt x="5705966" y="234118"/>
                      <a:pt x="5731362" y="234118"/>
                    </a:cubicBezTo>
                    <a:cubicBezTo>
                      <a:pt x="5756760" y="234118"/>
                      <a:pt x="5777227" y="213652"/>
                      <a:pt x="5777227" y="188258"/>
                    </a:cubicBezTo>
                    <a:close/>
                    <a:moveTo>
                      <a:pt x="5777966" y="2484331"/>
                    </a:moveTo>
                    <a:cubicBezTo>
                      <a:pt x="5777966" y="2466079"/>
                      <a:pt x="5763172" y="2451038"/>
                      <a:pt x="5744678" y="2451038"/>
                    </a:cubicBezTo>
                    <a:cubicBezTo>
                      <a:pt x="5726431" y="2451038"/>
                      <a:pt x="5711390" y="2465835"/>
                      <a:pt x="5711390" y="2484331"/>
                    </a:cubicBezTo>
                    <a:cubicBezTo>
                      <a:pt x="5711390" y="2502573"/>
                      <a:pt x="5726184" y="2517615"/>
                      <a:pt x="5744678" y="2517615"/>
                    </a:cubicBezTo>
                    <a:cubicBezTo>
                      <a:pt x="5763172" y="2517615"/>
                      <a:pt x="5778212" y="2502573"/>
                      <a:pt x="5777966" y="2484331"/>
                    </a:cubicBezTo>
                    <a:close/>
                    <a:moveTo>
                      <a:pt x="5781418" y="5080130"/>
                    </a:moveTo>
                    <a:cubicBezTo>
                      <a:pt x="5781418" y="5074952"/>
                      <a:pt x="5776978" y="5070512"/>
                      <a:pt x="5771554" y="5070512"/>
                    </a:cubicBezTo>
                    <a:cubicBezTo>
                      <a:pt x="5766128" y="5070512"/>
                      <a:pt x="5761691" y="5074703"/>
                      <a:pt x="5761691" y="5080130"/>
                    </a:cubicBezTo>
                    <a:cubicBezTo>
                      <a:pt x="5761691" y="5085553"/>
                      <a:pt x="5766128" y="5089993"/>
                      <a:pt x="5771554" y="5089993"/>
                    </a:cubicBezTo>
                    <a:cubicBezTo>
                      <a:pt x="5776978" y="5089993"/>
                      <a:pt x="5781418" y="5085553"/>
                      <a:pt x="5781418" y="5080130"/>
                    </a:cubicBezTo>
                    <a:close/>
                    <a:moveTo>
                      <a:pt x="5782403" y="61549"/>
                    </a:moveTo>
                    <a:cubicBezTo>
                      <a:pt x="5782403" y="36647"/>
                      <a:pt x="5761937" y="16182"/>
                      <a:pt x="5737033" y="16182"/>
                    </a:cubicBezTo>
                    <a:cubicBezTo>
                      <a:pt x="5712130" y="16182"/>
                      <a:pt x="5691663" y="36647"/>
                      <a:pt x="5691663" y="61549"/>
                    </a:cubicBezTo>
                    <a:cubicBezTo>
                      <a:pt x="5691663" y="86451"/>
                      <a:pt x="5711884" y="106916"/>
                      <a:pt x="5737033" y="106916"/>
                    </a:cubicBezTo>
                    <a:cubicBezTo>
                      <a:pt x="5761937" y="106916"/>
                      <a:pt x="5782403" y="86700"/>
                      <a:pt x="5782403" y="61549"/>
                    </a:cubicBezTo>
                    <a:close/>
                    <a:moveTo>
                      <a:pt x="5783881" y="734109"/>
                    </a:moveTo>
                    <a:cubicBezTo>
                      <a:pt x="5783881" y="708470"/>
                      <a:pt x="5762922" y="687518"/>
                      <a:pt x="5737279" y="687518"/>
                    </a:cubicBezTo>
                    <a:cubicBezTo>
                      <a:pt x="5711635" y="687518"/>
                      <a:pt x="5690677" y="708470"/>
                      <a:pt x="5690677" y="734109"/>
                    </a:cubicBezTo>
                    <a:cubicBezTo>
                      <a:pt x="5690677" y="759760"/>
                      <a:pt x="5711635" y="780725"/>
                      <a:pt x="5737279" y="780725"/>
                    </a:cubicBezTo>
                    <a:cubicBezTo>
                      <a:pt x="5763171" y="780725"/>
                      <a:pt x="5783881" y="759760"/>
                      <a:pt x="5783881" y="734109"/>
                    </a:cubicBezTo>
                    <a:close/>
                    <a:moveTo>
                      <a:pt x="5793007" y="5731087"/>
                    </a:moveTo>
                    <a:cubicBezTo>
                      <a:pt x="5793007" y="5730594"/>
                      <a:pt x="5792513" y="5730100"/>
                      <a:pt x="5792021" y="5730100"/>
                    </a:cubicBezTo>
                    <a:cubicBezTo>
                      <a:pt x="5791526" y="5730100"/>
                      <a:pt x="5791034" y="5730594"/>
                      <a:pt x="5791034" y="5731087"/>
                    </a:cubicBezTo>
                    <a:cubicBezTo>
                      <a:pt x="5791034" y="5731578"/>
                      <a:pt x="5791526" y="5732072"/>
                      <a:pt x="5792021" y="5732072"/>
                    </a:cubicBezTo>
                    <a:cubicBezTo>
                      <a:pt x="5792513" y="5732072"/>
                      <a:pt x="5793007" y="5731578"/>
                      <a:pt x="5793007" y="5731087"/>
                    </a:cubicBezTo>
                    <a:close/>
                    <a:moveTo>
                      <a:pt x="5793250" y="602412"/>
                    </a:moveTo>
                    <a:cubicBezTo>
                      <a:pt x="5793250" y="576770"/>
                      <a:pt x="5772291" y="555812"/>
                      <a:pt x="5746648" y="555812"/>
                    </a:cubicBezTo>
                    <a:cubicBezTo>
                      <a:pt x="5721004" y="555812"/>
                      <a:pt x="5700046" y="576770"/>
                      <a:pt x="5700046" y="602412"/>
                    </a:cubicBezTo>
                    <a:cubicBezTo>
                      <a:pt x="5700046" y="628055"/>
                      <a:pt x="5721004" y="649068"/>
                      <a:pt x="5746648" y="649068"/>
                    </a:cubicBezTo>
                    <a:cubicBezTo>
                      <a:pt x="5772291" y="649068"/>
                      <a:pt x="5793250" y="628301"/>
                      <a:pt x="5793250" y="602412"/>
                    </a:cubicBezTo>
                    <a:close/>
                    <a:moveTo>
                      <a:pt x="5793744" y="6599278"/>
                    </a:moveTo>
                    <a:cubicBezTo>
                      <a:pt x="5793744" y="6592128"/>
                      <a:pt x="5787830" y="6586211"/>
                      <a:pt x="5780677" y="6586211"/>
                    </a:cubicBezTo>
                    <a:cubicBezTo>
                      <a:pt x="5773527" y="6586211"/>
                      <a:pt x="5767609" y="6592128"/>
                      <a:pt x="5767609" y="6599278"/>
                    </a:cubicBezTo>
                    <a:cubicBezTo>
                      <a:pt x="5767609" y="6606431"/>
                      <a:pt x="5773527" y="6612346"/>
                      <a:pt x="5780677" y="6612346"/>
                    </a:cubicBezTo>
                    <a:cubicBezTo>
                      <a:pt x="5787830" y="6612346"/>
                      <a:pt x="5793744" y="6606431"/>
                      <a:pt x="5793744" y="6599278"/>
                    </a:cubicBezTo>
                    <a:close/>
                    <a:moveTo>
                      <a:pt x="5794485" y="6727747"/>
                    </a:moveTo>
                    <a:cubicBezTo>
                      <a:pt x="5794485" y="6724295"/>
                      <a:pt x="5791526" y="6721337"/>
                      <a:pt x="5788075" y="6721337"/>
                    </a:cubicBezTo>
                    <a:cubicBezTo>
                      <a:pt x="5784622" y="6721337"/>
                      <a:pt x="5781663" y="6724295"/>
                      <a:pt x="5781663" y="6727747"/>
                    </a:cubicBezTo>
                    <a:cubicBezTo>
                      <a:pt x="5781663" y="6731200"/>
                      <a:pt x="5784622" y="6734159"/>
                      <a:pt x="5788075" y="6734159"/>
                    </a:cubicBezTo>
                    <a:cubicBezTo>
                      <a:pt x="5791526" y="6734159"/>
                      <a:pt x="5794485" y="6731200"/>
                      <a:pt x="5794485" y="6727747"/>
                    </a:cubicBezTo>
                    <a:close/>
                    <a:moveTo>
                      <a:pt x="5796213" y="4674264"/>
                    </a:moveTo>
                    <a:cubicBezTo>
                      <a:pt x="5796213" y="4657989"/>
                      <a:pt x="5782899" y="4644675"/>
                      <a:pt x="5766623" y="4644675"/>
                    </a:cubicBezTo>
                    <a:cubicBezTo>
                      <a:pt x="5750350" y="4644675"/>
                      <a:pt x="5737034" y="4657989"/>
                      <a:pt x="5737034" y="4674264"/>
                    </a:cubicBezTo>
                    <a:cubicBezTo>
                      <a:pt x="5737034" y="4690785"/>
                      <a:pt x="5750350" y="4704098"/>
                      <a:pt x="5766623" y="4704098"/>
                    </a:cubicBezTo>
                    <a:cubicBezTo>
                      <a:pt x="5782899" y="4704098"/>
                      <a:pt x="5796213" y="4690785"/>
                      <a:pt x="5796213" y="4674264"/>
                    </a:cubicBezTo>
                    <a:close/>
                    <a:moveTo>
                      <a:pt x="5801392" y="2867999"/>
                    </a:moveTo>
                    <a:cubicBezTo>
                      <a:pt x="5801392" y="2848024"/>
                      <a:pt x="5785362" y="2831997"/>
                      <a:pt x="5765635" y="2831997"/>
                    </a:cubicBezTo>
                    <a:cubicBezTo>
                      <a:pt x="5745664" y="2831997"/>
                      <a:pt x="5729637" y="2848273"/>
                      <a:pt x="5729637" y="2867999"/>
                    </a:cubicBezTo>
                    <a:cubicBezTo>
                      <a:pt x="5729637" y="2887972"/>
                      <a:pt x="5745912" y="2904000"/>
                      <a:pt x="5765635" y="2904000"/>
                    </a:cubicBezTo>
                    <a:cubicBezTo>
                      <a:pt x="5785362" y="2904000"/>
                      <a:pt x="5801392" y="2887972"/>
                      <a:pt x="5801392" y="2867999"/>
                    </a:cubicBezTo>
                    <a:close/>
                    <a:moveTo>
                      <a:pt x="5801884" y="472248"/>
                    </a:moveTo>
                    <a:cubicBezTo>
                      <a:pt x="5801884" y="446605"/>
                      <a:pt x="5780925" y="425648"/>
                      <a:pt x="5755033" y="425648"/>
                    </a:cubicBezTo>
                    <a:cubicBezTo>
                      <a:pt x="5729389" y="425648"/>
                      <a:pt x="5708431" y="446605"/>
                      <a:pt x="5708431" y="472248"/>
                    </a:cubicBezTo>
                    <a:cubicBezTo>
                      <a:pt x="5708431" y="497890"/>
                      <a:pt x="5729389" y="518851"/>
                      <a:pt x="5755033" y="518851"/>
                    </a:cubicBezTo>
                    <a:cubicBezTo>
                      <a:pt x="5780677" y="518851"/>
                      <a:pt x="5801635" y="497890"/>
                      <a:pt x="5801884" y="472248"/>
                    </a:cubicBezTo>
                    <a:close/>
                    <a:moveTo>
                      <a:pt x="5803116" y="5227580"/>
                    </a:moveTo>
                    <a:cubicBezTo>
                      <a:pt x="5803116" y="5224621"/>
                      <a:pt x="5800897" y="5222402"/>
                      <a:pt x="5797938" y="5222402"/>
                    </a:cubicBezTo>
                    <a:cubicBezTo>
                      <a:pt x="5795228" y="5222402"/>
                      <a:pt x="5792760" y="5224621"/>
                      <a:pt x="5792760" y="5227580"/>
                    </a:cubicBezTo>
                    <a:cubicBezTo>
                      <a:pt x="5792760" y="5230539"/>
                      <a:pt x="5794980" y="5233006"/>
                      <a:pt x="5797938" y="5233006"/>
                    </a:cubicBezTo>
                    <a:cubicBezTo>
                      <a:pt x="5800897" y="5233006"/>
                      <a:pt x="5803365" y="5230539"/>
                      <a:pt x="5803116" y="5227580"/>
                    </a:cubicBezTo>
                    <a:close/>
                    <a:moveTo>
                      <a:pt x="5803611" y="1531927"/>
                    </a:moveTo>
                    <a:cubicBezTo>
                      <a:pt x="5803611" y="1518614"/>
                      <a:pt x="5793006" y="1507762"/>
                      <a:pt x="5779693" y="1507762"/>
                    </a:cubicBezTo>
                    <a:cubicBezTo>
                      <a:pt x="5766377" y="1507762"/>
                      <a:pt x="5755527" y="1518614"/>
                      <a:pt x="5755527" y="1531927"/>
                    </a:cubicBezTo>
                    <a:cubicBezTo>
                      <a:pt x="5755527" y="1545241"/>
                      <a:pt x="5766377" y="1556087"/>
                      <a:pt x="5779693" y="1556087"/>
                    </a:cubicBezTo>
                    <a:cubicBezTo>
                      <a:pt x="5793006" y="1556087"/>
                      <a:pt x="5803856" y="1545487"/>
                      <a:pt x="5803611" y="1531927"/>
                    </a:cubicBezTo>
                    <a:close/>
                    <a:moveTo>
                      <a:pt x="5804102" y="6855226"/>
                    </a:moveTo>
                    <a:cubicBezTo>
                      <a:pt x="5804102" y="6850294"/>
                      <a:pt x="5800156" y="6846103"/>
                      <a:pt x="5794980" y="6846103"/>
                    </a:cubicBezTo>
                    <a:cubicBezTo>
                      <a:pt x="5790048" y="6846103"/>
                      <a:pt x="5785856" y="6850048"/>
                      <a:pt x="5785856" y="6855226"/>
                    </a:cubicBezTo>
                    <a:cubicBezTo>
                      <a:pt x="5785856" y="6860157"/>
                      <a:pt x="5790048" y="6864348"/>
                      <a:pt x="5794980" y="6864348"/>
                    </a:cubicBezTo>
                    <a:cubicBezTo>
                      <a:pt x="5799911" y="6864348"/>
                      <a:pt x="5804102" y="6860157"/>
                      <a:pt x="5804102" y="6855226"/>
                    </a:cubicBezTo>
                    <a:close/>
                    <a:moveTo>
                      <a:pt x="5804348" y="4133522"/>
                    </a:moveTo>
                    <a:cubicBezTo>
                      <a:pt x="5804348" y="4104922"/>
                      <a:pt x="5781171" y="4081742"/>
                      <a:pt x="5752568" y="4081742"/>
                    </a:cubicBezTo>
                    <a:cubicBezTo>
                      <a:pt x="5723719" y="4081742"/>
                      <a:pt x="5700540" y="4104922"/>
                      <a:pt x="5700540" y="4133522"/>
                    </a:cubicBezTo>
                    <a:cubicBezTo>
                      <a:pt x="5700540" y="4162125"/>
                      <a:pt x="5723965" y="4185304"/>
                      <a:pt x="5752568" y="4185304"/>
                    </a:cubicBezTo>
                    <a:cubicBezTo>
                      <a:pt x="5781171" y="4185304"/>
                      <a:pt x="5804596" y="4161879"/>
                      <a:pt x="5804348" y="4133522"/>
                    </a:cubicBezTo>
                    <a:close/>
                    <a:moveTo>
                      <a:pt x="5805334" y="4409197"/>
                    </a:moveTo>
                    <a:cubicBezTo>
                      <a:pt x="5805334" y="4390209"/>
                      <a:pt x="5790048" y="4374922"/>
                      <a:pt x="5771062" y="4374922"/>
                    </a:cubicBezTo>
                    <a:cubicBezTo>
                      <a:pt x="5752077" y="4374922"/>
                      <a:pt x="5736787" y="4390209"/>
                      <a:pt x="5736787" y="4409197"/>
                    </a:cubicBezTo>
                    <a:cubicBezTo>
                      <a:pt x="5736787" y="4428183"/>
                      <a:pt x="5752077" y="4443469"/>
                      <a:pt x="5771062" y="4443469"/>
                    </a:cubicBezTo>
                    <a:cubicBezTo>
                      <a:pt x="5790048" y="4443469"/>
                      <a:pt x="5805334" y="4428183"/>
                      <a:pt x="5805334" y="4409197"/>
                    </a:cubicBezTo>
                    <a:close/>
                    <a:moveTo>
                      <a:pt x="5808539" y="5869415"/>
                    </a:moveTo>
                    <a:cubicBezTo>
                      <a:pt x="5808539" y="5868183"/>
                      <a:pt x="5807555" y="5867196"/>
                      <a:pt x="5806321" y="5867196"/>
                    </a:cubicBezTo>
                    <a:cubicBezTo>
                      <a:pt x="5805088" y="5867196"/>
                      <a:pt x="5804102" y="5868183"/>
                      <a:pt x="5804102" y="5869415"/>
                    </a:cubicBezTo>
                    <a:cubicBezTo>
                      <a:pt x="5804102" y="5870895"/>
                      <a:pt x="5805088" y="5871882"/>
                      <a:pt x="5806321" y="5871882"/>
                    </a:cubicBezTo>
                    <a:cubicBezTo>
                      <a:pt x="5807801" y="5871882"/>
                      <a:pt x="5808787" y="5870895"/>
                      <a:pt x="5808539" y="5869415"/>
                    </a:cubicBezTo>
                    <a:close/>
                    <a:moveTo>
                      <a:pt x="5810757" y="2068859"/>
                    </a:moveTo>
                    <a:cubicBezTo>
                      <a:pt x="5810757" y="2046413"/>
                      <a:pt x="5792512" y="2028165"/>
                      <a:pt x="5770073" y="2028165"/>
                    </a:cubicBezTo>
                    <a:cubicBezTo>
                      <a:pt x="5747634" y="2028165"/>
                      <a:pt x="5729388" y="2046413"/>
                      <a:pt x="5729388" y="2068859"/>
                    </a:cubicBezTo>
                    <a:cubicBezTo>
                      <a:pt x="5729388" y="2091305"/>
                      <a:pt x="5747634" y="2109557"/>
                      <a:pt x="5770073" y="2109557"/>
                    </a:cubicBezTo>
                    <a:cubicBezTo>
                      <a:pt x="5792512" y="2109557"/>
                      <a:pt x="5810757" y="2091305"/>
                      <a:pt x="5810757" y="2068859"/>
                    </a:cubicBezTo>
                    <a:close/>
                    <a:moveTo>
                      <a:pt x="5817664" y="1358110"/>
                    </a:moveTo>
                    <a:cubicBezTo>
                      <a:pt x="5817664" y="1331720"/>
                      <a:pt x="5796212" y="1310274"/>
                      <a:pt x="5769828" y="1310274"/>
                    </a:cubicBezTo>
                    <a:cubicBezTo>
                      <a:pt x="5743446" y="1310274"/>
                      <a:pt x="5721993" y="1331720"/>
                      <a:pt x="5721993" y="1358110"/>
                    </a:cubicBezTo>
                    <a:cubicBezTo>
                      <a:pt x="5721993" y="1384495"/>
                      <a:pt x="5743446" y="1405946"/>
                      <a:pt x="5769828" y="1405946"/>
                    </a:cubicBezTo>
                    <a:cubicBezTo>
                      <a:pt x="5796212" y="1405946"/>
                      <a:pt x="5817664" y="1384495"/>
                      <a:pt x="5817664" y="1358110"/>
                    </a:cubicBezTo>
                    <a:close/>
                    <a:moveTo>
                      <a:pt x="5819883" y="2325040"/>
                    </a:moveTo>
                    <a:cubicBezTo>
                      <a:pt x="5819883" y="2308287"/>
                      <a:pt x="5806075" y="2294485"/>
                      <a:pt x="5789308" y="2294485"/>
                    </a:cubicBezTo>
                    <a:cubicBezTo>
                      <a:pt x="5772541" y="2294485"/>
                      <a:pt x="5758732" y="2308287"/>
                      <a:pt x="5758732" y="2325040"/>
                    </a:cubicBezTo>
                    <a:cubicBezTo>
                      <a:pt x="5758732" y="2341836"/>
                      <a:pt x="5772541" y="2355649"/>
                      <a:pt x="5789308" y="2355649"/>
                    </a:cubicBezTo>
                    <a:cubicBezTo>
                      <a:pt x="5806321" y="2355649"/>
                      <a:pt x="5819883" y="2341836"/>
                      <a:pt x="5819883" y="2325040"/>
                    </a:cubicBezTo>
                    <a:close/>
                    <a:moveTo>
                      <a:pt x="5820624" y="1917531"/>
                    </a:moveTo>
                    <a:cubicBezTo>
                      <a:pt x="5820624" y="1906689"/>
                      <a:pt x="5811993" y="1898065"/>
                      <a:pt x="5801143" y="1898065"/>
                    </a:cubicBezTo>
                    <a:cubicBezTo>
                      <a:pt x="5790539" y="1898065"/>
                      <a:pt x="5781663" y="1906689"/>
                      <a:pt x="5781663" y="1917531"/>
                    </a:cubicBezTo>
                    <a:cubicBezTo>
                      <a:pt x="5781663" y="1928124"/>
                      <a:pt x="5790294" y="1936994"/>
                      <a:pt x="5801143" y="1936994"/>
                    </a:cubicBezTo>
                    <a:cubicBezTo>
                      <a:pt x="5811747" y="1936994"/>
                      <a:pt x="5820624" y="1928372"/>
                      <a:pt x="5820624" y="1917531"/>
                    </a:cubicBezTo>
                    <a:close/>
                    <a:moveTo>
                      <a:pt x="5821115" y="4831086"/>
                    </a:moveTo>
                    <a:cubicBezTo>
                      <a:pt x="5821115" y="4821223"/>
                      <a:pt x="5812978" y="4813332"/>
                      <a:pt x="5803362" y="4813332"/>
                    </a:cubicBezTo>
                    <a:cubicBezTo>
                      <a:pt x="5793499" y="4813332"/>
                      <a:pt x="5785608" y="4821469"/>
                      <a:pt x="5785608" y="4831086"/>
                    </a:cubicBezTo>
                    <a:cubicBezTo>
                      <a:pt x="5785608" y="4840950"/>
                      <a:pt x="5793499" y="4848840"/>
                      <a:pt x="5803362" y="4848840"/>
                    </a:cubicBezTo>
                    <a:cubicBezTo>
                      <a:pt x="5812978" y="4848840"/>
                      <a:pt x="5820869" y="4840950"/>
                      <a:pt x="5821115" y="4831086"/>
                    </a:cubicBezTo>
                    <a:close/>
                    <a:moveTo>
                      <a:pt x="5821118" y="2591837"/>
                    </a:moveTo>
                    <a:cubicBezTo>
                      <a:pt x="5821118" y="2574329"/>
                      <a:pt x="5806815" y="2560025"/>
                      <a:pt x="5789308" y="2560025"/>
                    </a:cubicBezTo>
                    <a:cubicBezTo>
                      <a:pt x="5771803" y="2560025"/>
                      <a:pt x="5757500" y="2574329"/>
                      <a:pt x="5757500" y="2591837"/>
                    </a:cubicBezTo>
                    <a:cubicBezTo>
                      <a:pt x="5757500" y="2609345"/>
                      <a:pt x="5771803" y="2623645"/>
                      <a:pt x="5789308" y="2623645"/>
                    </a:cubicBezTo>
                    <a:cubicBezTo>
                      <a:pt x="5806815" y="2623645"/>
                      <a:pt x="5821118" y="2609345"/>
                      <a:pt x="5821118" y="2591837"/>
                    </a:cubicBezTo>
                    <a:close/>
                    <a:moveTo>
                      <a:pt x="5822843" y="2981426"/>
                    </a:moveTo>
                    <a:cubicBezTo>
                      <a:pt x="5822843" y="2964905"/>
                      <a:pt x="5809526" y="2951590"/>
                      <a:pt x="5793004" y="2951590"/>
                    </a:cubicBezTo>
                    <a:cubicBezTo>
                      <a:pt x="5776732" y="2951590"/>
                      <a:pt x="5763169" y="2964905"/>
                      <a:pt x="5763169" y="2981426"/>
                    </a:cubicBezTo>
                    <a:cubicBezTo>
                      <a:pt x="5763169" y="2997948"/>
                      <a:pt x="5776486" y="3011263"/>
                      <a:pt x="5793004" y="3011263"/>
                    </a:cubicBezTo>
                    <a:cubicBezTo>
                      <a:pt x="5809526" y="3011263"/>
                      <a:pt x="5822843" y="2997948"/>
                      <a:pt x="5822843" y="2981426"/>
                    </a:cubicBezTo>
                    <a:close/>
                    <a:moveTo>
                      <a:pt x="5824076" y="5373307"/>
                    </a:moveTo>
                    <a:cubicBezTo>
                      <a:pt x="5824076" y="5371826"/>
                      <a:pt x="5822842" y="5370594"/>
                      <a:pt x="5821364" y="5370594"/>
                    </a:cubicBezTo>
                    <a:cubicBezTo>
                      <a:pt x="5819883" y="5370594"/>
                      <a:pt x="5818650" y="5371826"/>
                      <a:pt x="5818650" y="5373307"/>
                    </a:cubicBezTo>
                    <a:cubicBezTo>
                      <a:pt x="5818650" y="5374785"/>
                      <a:pt x="5819883" y="5376017"/>
                      <a:pt x="5821364" y="5376017"/>
                    </a:cubicBezTo>
                    <a:cubicBezTo>
                      <a:pt x="5822842" y="5376017"/>
                      <a:pt x="5824076" y="5374785"/>
                      <a:pt x="5824076" y="5373307"/>
                    </a:cubicBezTo>
                    <a:close/>
                    <a:moveTo>
                      <a:pt x="5824566" y="6005524"/>
                    </a:moveTo>
                    <a:cubicBezTo>
                      <a:pt x="5824566" y="6003306"/>
                      <a:pt x="5822596" y="6001333"/>
                      <a:pt x="5820375" y="6001333"/>
                    </a:cubicBezTo>
                    <a:cubicBezTo>
                      <a:pt x="5818156" y="6001333"/>
                      <a:pt x="5816184" y="6003306"/>
                      <a:pt x="5816184" y="6005524"/>
                    </a:cubicBezTo>
                    <a:cubicBezTo>
                      <a:pt x="5816184" y="6007745"/>
                      <a:pt x="5818156" y="6009715"/>
                      <a:pt x="5820375" y="6009715"/>
                    </a:cubicBezTo>
                    <a:cubicBezTo>
                      <a:pt x="5822596" y="6009715"/>
                      <a:pt x="5824566" y="6007745"/>
                      <a:pt x="5824566" y="6005524"/>
                    </a:cubicBezTo>
                    <a:close/>
                    <a:moveTo>
                      <a:pt x="5827033" y="4020837"/>
                    </a:moveTo>
                    <a:cubicBezTo>
                      <a:pt x="5827033" y="3996179"/>
                      <a:pt x="5807061" y="3976207"/>
                      <a:pt x="5782403" y="3976207"/>
                    </a:cubicBezTo>
                    <a:cubicBezTo>
                      <a:pt x="5757746" y="3976207"/>
                      <a:pt x="5737774" y="3996179"/>
                      <a:pt x="5737774" y="4020837"/>
                    </a:cubicBezTo>
                    <a:cubicBezTo>
                      <a:pt x="5737774" y="4045495"/>
                      <a:pt x="5757746" y="4065467"/>
                      <a:pt x="5782403" y="4065467"/>
                    </a:cubicBezTo>
                    <a:cubicBezTo>
                      <a:pt x="5807061" y="4065467"/>
                      <a:pt x="5827033" y="4045495"/>
                      <a:pt x="5827033" y="4020837"/>
                    </a:cubicBezTo>
                    <a:close/>
                    <a:moveTo>
                      <a:pt x="5833691" y="1218329"/>
                    </a:moveTo>
                    <a:cubicBezTo>
                      <a:pt x="5833691" y="1191941"/>
                      <a:pt x="5812238" y="1170737"/>
                      <a:pt x="5786100" y="1170737"/>
                    </a:cubicBezTo>
                    <a:cubicBezTo>
                      <a:pt x="5759965" y="1170737"/>
                      <a:pt x="5738512" y="1192190"/>
                      <a:pt x="5738512" y="1218329"/>
                    </a:cubicBezTo>
                    <a:cubicBezTo>
                      <a:pt x="5738512" y="1244468"/>
                      <a:pt x="5759719" y="1265899"/>
                      <a:pt x="5786100" y="1265899"/>
                    </a:cubicBezTo>
                    <a:cubicBezTo>
                      <a:pt x="5812238" y="1265899"/>
                      <a:pt x="5833691" y="1244713"/>
                      <a:pt x="5833691" y="1218329"/>
                    </a:cubicBezTo>
                    <a:close/>
                    <a:moveTo>
                      <a:pt x="5838869" y="3095597"/>
                    </a:moveTo>
                    <a:cubicBezTo>
                      <a:pt x="5838869" y="3082282"/>
                      <a:pt x="5828019" y="3071432"/>
                      <a:pt x="5814703" y="3071432"/>
                    </a:cubicBezTo>
                    <a:cubicBezTo>
                      <a:pt x="5801390" y="3071432"/>
                      <a:pt x="5790539" y="3082282"/>
                      <a:pt x="5790539" y="3095597"/>
                    </a:cubicBezTo>
                    <a:cubicBezTo>
                      <a:pt x="5790539" y="3108914"/>
                      <a:pt x="5801390" y="3119764"/>
                      <a:pt x="5814703" y="3119764"/>
                    </a:cubicBezTo>
                    <a:cubicBezTo>
                      <a:pt x="5827774" y="3119764"/>
                      <a:pt x="5838869" y="3108914"/>
                      <a:pt x="5838869" y="3095597"/>
                    </a:cubicBezTo>
                    <a:close/>
                    <a:moveTo>
                      <a:pt x="5839114" y="6140404"/>
                    </a:moveTo>
                    <a:cubicBezTo>
                      <a:pt x="5839114" y="6136951"/>
                      <a:pt x="5836156" y="6133992"/>
                      <a:pt x="5832705" y="6133992"/>
                    </a:cubicBezTo>
                    <a:cubicBezTo>
                      <a:pt x="5829252" y="6133992"/>
                      <a:pt x="5826293" y="6136951"/>
                      <a:pt x="5826293" y="6140404"/>
                    </a:cubicBezTo>
                    <a:cubicBezTo>
                      <a:pt x="5826293" y="6143855"/>
                      <a:pt x="5829252" y="6146569"/>
                      <a:pt x="5832705" y="6146569"/>
                    </a:cubicBezTo>
                    <a:cubicBezTo>
                      <a:pt x="5836156" y="6146569"/>
                      <a:pt x="5838869" y="6143855"/>
                      <a:pt x="5839114" y="6140404"/>
                    </a:cubicBezTo>
                    <a:close/>
                    <a:moveTo>
                      <a:pt x="5839609" y="3906920"/>
                    </a:moveTo>
                    <a:cubicBezTo>
                      <a:pt x="5839609" y="3888673"/>
                      <a:pt x="5824566" y="3873631"/>
                      <a:pt x="5806321" y="3873631"/>
                    </a:cubicBezTo>
                    <a:cubicBezTo>
                      <a:pt x="5788073" y="3873631"/>
                      <a:pt x="5773032" y="3888425"/>
                      <a:pt x="5773032" y="3906920"/>
                    </a:cubicBezTo>
                    <a:cubicBezTo>
                      <a:pt x="5773032" y="3925165"/>
                      <a:pt x="5787827" y="3940205"/>
                      <a:pt x="5806321" y="3940205"/>
                    </a:cubicBezTo>
                    <a:cubicBezTo>
                      <a:pt x="5824814" y="3940205"/>
                      <a:pt x="5839609" y="3925165"/>
                      <a:pt x="5839609" y="3906920"/>
                    </a:cubicBezTo>
                    <a:close/>
                    <a:moveTo>
                      <a:pt x="5846513" y="1080757"/>
                    </a:moveTo>
                    <a:cubicBezTo>
                      <a:pt x="5846513" y="1055830"/>
                      <a:pt x="5826293" y="1035378"/>
                      <a:pt x="5801143" y="1035378"/>
                    </a:cubicBezTo>
                    <a:cubicBezTo>
                      <a:pt x="5776240" y="1035378"/>
                      <a:pt x="5755774" y="1055583"/>
                      <a:pt x="5755774" y="1080757"/>
                    </a:cubicBezTo>
                    <a:cubicBezTo>
                      <a:pt x="5755774" y="1105660"/>
                      <a:pt x="5775991" y="1126130"/>
                      <a:pt x="5801143" y="1126130"/>
                    </a:cubicBezTo>
                    <a:cubicBezTo>
                      <a:pt x="5826047" y="1126130"/>
                      <a:pt x="5846513" y="1105660"/>
                      <a:pt x="5846513" y="1080757"/>
                    </a:cubicBezTo>
                    <a:close/>
                    <a:moveTo>
                      <a:pt x="5847008" y="1768405"/>
                    </a:moveTo>
                    <a:cubicBezTo>
                      <a:pt x="5847008" y="1758045"/>
                      <a:pt x="5838622" y="1749648"/>
                      <a:pt x="5828268" y="1749648"/>
                    </a:cubicBezTo>
                    <a:cubicBezTo>
                      <a:pt x="5817911" y="1749648"/>
                      <a:pt x="5809528" y="1758045"/>
                      <a:pt x="5809528" y="1768405"/>
                    </a:cubicBezTo>
                    <a:cubicBezTo>
                      <a:pt x="5809528" y="1778783"/>
                      <a:pt x="5817911" y="1787112"/>
                      <a:pt x="5828268" y="1787112"/>
                    </a:cubicBezTo>
                    <a:cubicBezTo>
                      <a:pt x="5838622" y="1787112"/>
                      <a:pt x="5847008" y="1778535"/>
                      <a:pt x="5847008" y="1768405"/>
                    </a:cubicBezTo>
                    <a:close/>
                    <a:moveTo>
                      <a:pt x="5848731" y="3210998"/>
                    </a:moveTo>
                    <a:cubicBezTo>
                      <a:pt x="5848731" y="3200890"/>
                      <a:pt x="5840595" y="3192753"/>
                      <a:pt x="5830486" y="3192753"/>
                    </a:cubicBezTo>
                    <a:cubicBezTo>
                      <a:pt x="5820375" y="3192753"/>
                      <a:pt x="5812238" y="3200890"/>
                      <a:pt x="5812238" y="3210998"/>
                    </a:cubicBezTo>
                    <a:cubicBezTo>
                      <a:pt x="5812238" y="3221110"/>
                      <a:pt x="5820375" y="3229247"/>
                      <a:pt x="5830486" y="3229247"/>
                    </a:cubicBezTo>
                    <a:cubicBezTo>
                      <a:pt x="5840595" y="3229247"/>
                      <a:pt x="5848731" y="3221110"/>
                      <a:pt x="5848731" y="3210998"/>
                    </a:cubicBezTo>
                    <a:close/>
                    <a:moveTo>
                      <a:pt x="5849964" y="4983963"/>
                    </a:moveTo>
                    <a:cubicBezTo>
                      <a:pt x="5849964" y="4976565"/>
                      <a:pt x="5843800" y="4970400"/>
                      <a:pt x="5836404" y="4970400"/>
                    </a:cubicBezTo>
                    <a:cubicBezTo>
                      <a:pt x="5829006" y="4970400"/>
                      <a:pt x="5822842" y="4976565"/>
                      <a:pt x="5822842" y="4983963"/>
                    </a:cubicBezTo>
                    <a:cubicBezTo>
                      <a:pt x="5822842" y="4991359"/>
                      <a:pt x="5829006" y="4997525"/>
                      <a:pt x="5836404" y="4997525"/>
                    </a:cubicBezTo>
                    <a:cubicBezTo>
                      <a:pt x="5844046" y="4997525"/>
                      <a:pt x="5849964" y="4991359"/>
                      <a:pt x="5849964" y="4983963"/>
                    </a:cubicBezTo>
                    <a:close/>
                    <a:moveTo>
                      <a:pt x="5849965" y="3791768"/>
                    </a:moveTo>
                    <a:cubicBezTo>
                      <a:pt x="5849965" y="3777715"/>
                      <a:pt x="5838622" y="3766371"/>
                      <a:pt x="5824569" y="3766371"/>
                    </a:cubicBezTo>
                    <a:cubicBezTo>
                      <a:pt x="5810515" y="3766371"/>
                      <a:pt x="5799171" y="3777715"/>
                      <a:pt x="5799171" y="3791768"/>
                    </a:cubicBezTo>
                    <a:cubicBezTo>
                      <a:pt x="5799171" y="3805823"/>
                      <a:pt x="5810515" y="3817167"/>
                      <a:pt x="5824569" y="3817167"/>
                    </a:cubicBezTo>
                    <a:cubicBezTo>
                      <a:pt x="5838622" y="3817167"/>
                      <a:pt x="5850212" y="3805823"/>
                      <a:pt x="5849965" y="3791768"/>
                    </a:cubicBezTo>
                    <a:close/>
                    <a:moveTo>
                      <a:pt x="5852431" y="4570453"/>
                    </a:moveTo>
                    <a:cubicBezTo>
                      <a:pt x="5852431" y="4551714"/>
                      <a:pt x="5837142" y="4536427"/>
                      <a:pt x="5818402" y="4536427"/>
                    </a:cubicBezTo>
                    <a:cubicBezTo>
                      <a:pt x="5799662" y="4536427"/>
                      <a:pt x="5784375" y="4551714"/>
                      <a:pt x="5784375" y="4570453"/>
                    </a:cubicBezTo>
                    <a:cubicBezTo>
                      <a:pt x="5784375" y="4589193"/>
                      <a:pt x="5799662" y="4604483"/>
                      <a:pt x="5818402" y="4604483"/>
                    </a:cubicBezTo>
                    <a:cubicBezTo>
                      <a:pt x="5837142" y="4604483"/>
                      <a:pt x="5852431" y="4589193"/>
                      <a:pt x="5852431" y="4570453"/>
                    </a:cubicBezTo>
                    <a:close/>
                    <a:moveTo>
                      <a:pt x="5853417" y="6273556"/>
                    </a:moveTo>
                    <a:cubicBezTo>
                      <a:pt x="5853417" y="6268375"/>
                      <a:pt x="5849226" y="6264184"/>
                      <a:pt x="5844047" y="6264184"/>
                    </a:cubicBezTo>
                    <a:cubicBezTo>
                      <a:pt x="5838868" y="6264184"/>
                      <a:pt x="5834677" y="6268375"/>
                      <a:pt x="5834677" y="6273556"/>
                    </a:cubicBezTo>
                    <a:cubicBezTo>
                      <a:pt x="5834677" y="6278733"/>
                      <a:pt x="5838868" y="6282924"/>
                      <a:pt x="5844047" y="6282924"/>
                    </a:cubicBezTo>
                    <a:cubicBezTo>
                      <a:pt x="5849226" y="6282924"/>
                      <a:pt x="5853417" y="6278733"/>
                      <a:pt x="5853417" y="6273556"/>
                    </a:cubicBezTo>
                    <a:close/>
                    <a:moveTo>
                      <a:pt x="5853663" y="5504239"/>
                    </a:moveTo>
                    <a:cubicBezTo>
                      <a:pt x="5853663" y="5503991"/>
                      <a:pt x="5853417" y="5503499"/>
                      <a:pt x="5852925" y="5503499"/>
                    </a:cubicBezTo>
                    <a:cubicBezTo>
                      <a:pt x="5852677" y="5503499"/>
                      <a:pt x="5852184" y="5503744"/>
                      <a:pt x="5852184" y="5504239"/>
                    </a:cubicBezTo>
                    <a:cubicBezTo>
                      <a:pt x="5852184" y="5504731"/>
                      <a:pt x="5852430" y="5504976"/>
                      <a:pt x="5852925" y="5504976"/>
                    </a:cubicBezTo>
                    <a:cubicBezTo>
                      <a:pt x="5853417" y="5504976"/>
                      <a:pt x="5853911" y="5504731"/>
                      <a:pt x="5853663" y="5504239"/>
                    </a:cubicBezTo>
                    <a:close/>
                    <a:moveTo>
                      <a:pt x="5855144" y="3327130"/>
                    </a:moveTo>
                    <a:cubicBezTo>
                      <a:pt x="5855144" y="3319243"/>
                      <a:pt x="5848732" y="3312836"/>
                      <a:pt x="5840841" y="3312836"/>
                    </a:cubicBezTo>
                    <a:cubicBezTo>
                      <a:pt x="5832953" y="3312836"/>
                      <a:pt x="5826541" y="3319243"/>
                      <a:pt x="5826541" y="3327130"/>
                    </a:cubicBezTo>
                    <a:cubicBezTo>
                      <a:pt x="5826541" y="3335008"/>
                      <a:pt x="5832953" y="3341432"/>
                      <a:pt x="5840841" y="3341432"/>
                    </a:cubicBezTo>
                    <a:cubicBezTo>
                      <a:pt x="5848732" y="3341432"/>
                      <a:pt x="5855144" y="3335008"/>
                      <a:pt x="5855144" y="3327130"/>
                    </a:cubicBezTo>
                    <a:close/>
                    <a:moveTo>
                      <a:pt x="5855881" y="3676125"/>
                    </a:moveTo>
                    <a:cubicBezTo>
                      <a:pt x="5855881" y="3665767"/>
                      <a:pt x="5847499" y="3657385"/>
                      <a:pt x="5837142" y="3657385"/>
                    </a:cubicBezTo>
                    <a:cubicBezTo>
                      <a:pt x="5826787" y="3657385"/>
                      <a:pt x="5818402" y="3665767"/>
                      <a:pt x="5818402" y="3676125"/>
                    </a:cubicBezTo>
                    <a:cubicBezTo>
                      <a:pt x="5818402" y="3686483"/>
                      <a:pt x="5826787" y="3694865"/>
                      <a:pt x="5837142" y="3694865"/>
                    </a:cubicBezTo>
                    <a:cubicBezTo>
                      <a:pt x="5847745" y="3694865"/>
                      <a:pt x="5855881" y="3686483"/>
                      <a:pt x="5855881" y="3676125"/>
                    </a:cubicBezTo>
                    <a:close/>
                    <a:moveTo>
                      <a:pt x="5857363" y="3443261"/>
                    </a:moveTo>
                    <a:cubicBezTo>
                      <a:pt x="5857363" y="3436619"/>
                      <a:pt x="5851937" y="3431201"/>
                      <a:pt x="5845279" y="3431201"/>
                    </a:cubicBezTo>
                    <a:cubicBezTo>
                      <a:pt x="5838623" y="3431201"/>
                      <a:pt x="5833197" y="3436619"/>
                      <a:pt x="5833197" y="3443261"/>
                    </a:cubicBezTo>
                    <a:cubicBezTo>
                      <a:pt x="5833197" y="3449925"/>
                      <a:pt x="5838623" y="3455349"/>
                      <a:pt x="5845279" y="3455349"/>
                    </a:cubicBezTo>
                    <a:cubicBezTo>
                      <a:pt x="5851937" y="3455349"/>
                      <a:pt x="5857363" y="3449925"/>
                      <a:pt x="5857363" y="3443261"/>
                    </a:cubicBezTo>
                    <a:close/>
                    <a:moveTo>
                      <a:pt x="5857611" y="3559495"/>
                    </a:moveTo>
                    <a:cubicBezTo>
                      <a:pt x="5857611" y="3551851"/>
                      <a:pt x="5851445" y="3545933"/>
                      <a:pt x="5844047" y="3545933"/>
                    </a:cubicBezTo>
                    <a:cubicBezTo>
                      <a:pt x="5836650" y="3545933"/>
                      <a:pt x="5830486" y="3552098"/>
                      <a:pt x="5830486" y="3559495"/>
                    </a:cubicBezTo>
                    <a:cubicBezTo>
                      <a:pt x="5830486" y="3566892"/>
                      <a:pt x="5836650" y="3573055"/>
                      <a:pt x="5844047" y="3573055"/>
                    </a:cubicBezTo>
                    <a:cubicBezTo>
                      <a:pt x="5851690" y="3573055"/>
                      <a:pt x="5857611" y="3567137"/>
                      <a:pt x="5857611" y="3559495"/>
                    </a:cubicBezTo>
                    <a:close/>
                    <a:moveTo>
                      <a:pt x="5858841" y="2701322"/>
                    </a:moveTo>
                    <a:cubicBezTo>
                      <a:pt x="5858841" y="2684555"/>
                      <a:pt x="5845281" y="2670991"/>
                      <a:pt x="5828514" y="2670991"/>
                    </a:cubicBezTo>
                    <a:cubicBezTo>
                      <a:pt x="5811746" y="2670991"/>
                      <a:pt x="5798184" y="2684555"/>
                      <a:pt x="5798184" y="2701322"/>
                    </a:cubicBezTo>
                    <a:cubicBezTo>
                      <a:pt x="5798184" y="2718089"/>
                      <a:pt x="5811746" y="2731649"/>
                      <a:pt x="5828514" y="2731649"/>
                    </a:cubicBezTo>
                    <a:cubicBezTo>
                      <a:pt x="5845281" y="2731649"/>
                      <a:pt x="5859089" y="2718089"/>
                      <a:pt x="5858841" y="2701322"/>
                    </a:cubicBezTo>
                    <a:close/>
                    <a:moveTo>
                      <a:pt x="5861308" y="943929"/>
                    </a:moveTo>
                    <a:cubicBezTo>
                      <a:pt x="5861308" y="917785"/>
                      <a:pt x="5840100" y="896585"/>
                      <a:pt x="5813965" y="896585"/>
                    </a:cubicBezTo>
                    <a:cubicBezTo>
                      <a:pt x="5787827" y="896585"/>
                      <a:pt x="5766622" y="917785"/>
                      <a:pt x="5766622" y="943929"/>
                    </a:cubicBezTo>
                    <a:cubicBezTo>
                      <a:pt x="5766622" y="970068"/>
                      <a:pt x="5787827" y="991271"/>
                      <a:pt x="5813965" y="991271"/>
                    </a:cubicBezTo>
                    <a:cubicBezTo>
                      <a:pt x="5840100" y="991271"/>
                      <a:pt x="5861308" y="970068"/>
                      <a:pt x="5861308" y="943929"/>
                    </a:cubicBezTo>
                    <a:close/>
                    <a:moveTo>
                      <a:pt x="5862048" y="4300455"/>
                    </a:moveTo>
                    <a:cubicBezTo>
                      <a:pt x="5862048" y="4273333"/>
                      <a:pt x="5839858" y="4251140"/>
                      <a:pt x="5812733" y="4251140"/>
                    </a:cubicBezTo>
                    <a:cubicBezTo>
                      <a:pt x="5785609" y="4251140"/>
                      <a:pt x="5763418" y="4273333"/>
                      <a:pt x="5763418" y="4300455"/>
                    </a:cubicBezTo>
                    <a:cubicBezTo>
                      <a:pt x="5763418" y="4327580"/>
                      <a:pt x="5785609" y="4349770"/>
                      <a:pt x="5812733" y="4349770"/>
                    </a:cubicBezTo>
                    <a:cubicBezTo>
                      <a:pt x="5839858" y="4349770"/>
                      <a:pt x="5862048" y="4327580"/>
                      <a:pt x="5862048" y="4300455"/>
                    </a:cubicBezTo>
                    <a:close/>
                    <a:moveTo>
                      <a:pt x="5865499" y="384496"/>
                    </a:moveTo>
                    <a:cubicBezTo>
                      <a:pt x="5865499" y="358606"/>
                      <a:pt x="5844540" y="337649"/>
                      <a:pt x="5818648" y="337649"/>
                    </a:cubicBezTo>
                    <a:cubicBezTo>
                      <a:pt x="5792759" y="337649"/>
                      <a:pt x="5771800" y="358606"/>
                      <a:pt x="5771800" y="384496"/>
                    </a:cubicBezTo>
                    <a:cubicBezTo>
                      <a:pt x="5771800" y="410385"/>
                      <a:pt x="5792759" y="431343"/>
                      <a:pt x="5818648" y="431343"/>
                    </a:cubicBezTo>
                    <a:cubicBezTo>
                      <a:pt x="5844540" y="431343"/>
                      <a:pt x="5865744" y="410385"/>
                      <a:pt x="5865499" y="384496"/>
                    </a:cubicBezTo>
                    <a:close/>
                    <a:moveTo>
                      <a:pt x="5866489" y="6405472"/>
                    </a:moveTo>
                    <a:cubicBezTo>
                      <a:pt x="5866489" y="6398816"/>
                      <a:pt x="5861062" y="6393390"/>
                      <a:pt x="5854404" y="6393390"/>
                    </a:cubicBezTo>
                    <a:cubicBezTo>
                      <a:pt x="5847749" y="6393390"/>
                      <a:pt x="5842322" y="6398816"/>
                      <a:pt x="5842322" y="6405472"/>
                    </a:cubicBezTo>
                    <a:cubicBezTo>
                      <a:pt x="5842322" y="6412130"/>
                      <a:pt x="5847749" y="6417556"/>
                      <a:pt x="5854404" y="6417556"/>
                    </a:cubicBezTo>
                    <a:cubicBezTo>
                      <a:pt x="5861062" y="6417556"/>
                      <a:pt x="5866489" y="6412130"/>
                      <a:pt x="5866489" y="6405472"/>
                    </a:cubicBezTo>
                    <a:close/>
                    <a:moveTo>
                      <a:pt x="5868211" y="2168745"/>
                    </a:moveTo>
                    <a:cubicBezTo>
                      <a:pt x="5868211" y="2147293"/>
                      <a:pt x="5850704" y="2129535"/>
                      <a:pt x="5829005" y="2129535"/>
                    </a:cubicBezTo>
                    <a:cubicBezTo>
                      <a:pt x="5807306" y="2129535"/>
                      <a:pt x="5789553" y="2147046"/>
                      <a:pt x="5789553" y="2168745"/>
                    </a:cubicBezTo>
                    <a:cubicBezTo>
                      <a:pt x="5789553" y="2190445"/>
                      <a:pt x="5807306" y="2208198"/>
                      <a:pt x="5829005" y="2208198"/>
                    </a:cubicBezTo>
                    <a:cubicBezTo>
                      <a:pt x="5850704" y="2208198"/>
                      <a:pt x="5868457" y="2190692"/>
                      <a:pt x="5868211" y="2168745"/>
                    </a:cubicBezTo>
                    <a:close/>
                    <a:moveTo>
                      <a:pt x="5872403" y="809325"/>
                    </a:moveTo>
                    <a:cubicBezTo>
                      <a:pt x="5872403" y="783681"/>
                      <a:pt x="5851445" y="762717"/>
                      <a:pt x="5825800" y="762717"/>
                    </a:cubicBezTo>
                    <a:cubicBezTo>
                      <a:pt x="5800157" y="762717"/>
                      <a:pt x="5779199" y="783681"/>
                      <a:pt x="5779199" y="809325"/>
                    </a:cubicBezTo>
                    <a:cubicBezTo>
                      <a:pt x="5779199" y="834974"/>
                      <a:pt x="5800157" y="855918"/>
                      <a:pt x="5825800" y="855918"/>
                    </a:cubicBezTo>
                    <a:cubicBezTo>
                      <a:pt x="5851693" y="855918"/>
                      <a:pt x="5872651" y="834974"/>
                      <a:pt x="5872403" y="809325"/>
                    </a:cubicBezTo>
                    <a:close/>
                    <a:moveTo>
                      <a:pt x="5872649" y="5646513"/>
                    </a:moveTo>
                    <a:cubicBezTo>
                      <a:pt x="5872649" y="5646018"/>
                      <a:pt x="5872403" y="5645772"/>
                      <a:pt x="5871911" y="5645772"/>
                    </a:cubicBezTo>
                    <a:cubicBezTo>
                      <a:pt x="5871417" y="5645772"/>
                      <a:pt x="5871171" y="5646018"/>
                      <a:pt x="5871171" y="5646513"/>
                    </a:cubicBezTo>
                    <a:cubicBezTo>
                      <a:pt x="5871171" y="5647004"/>
                      <a:pt x="5871417" y="5647250"/>
                      <a:pt x="5871911" y="5647250"/>
                    </a:cubicBezTo>
                    <a:cubicBezTo>
                      <a:pt x="5872403" y="5647250"/>
                      <a:pt x="5872649" y="5647004"/>
                      <a:pt x="5872649" y="5646513"/>
                    </a:cubicBezTo>
                    <a:close/>
                    <a:moveTo>
                      <a:pt x="5873141" y="255320"/>
                    </a:moveTo>
                    <a:cubicBezTo>
                      <a:pt x="5873141" y="229678"/>
                      <a:pt x="5852182" y="208720"/>
                      <a:pt x="5826539" y="208720"/>
                    </a:cubicBezTo>
                    <a:cubicBezTo>
                      <a:pt x="5800895" y="208720"/>
                      <a:pt x="5779937" y="229678"/>
                      <a:pt x="5779937" y="255320"/>
                    </a:cubicBezTo>
                    <a:cubicBezTo>
                      <a:pt x="5779937" y="280962"/>
                      <a:pt x="5800895" y="301921"/>
                      <a:pt x="5826539" y="301921"/>
                    </a:cubicBezTo>
                    <a:cubicBezTo>
                      <a:pt x="5852182" y="301921"/>
                      <a:pt x="5873141" y="280962"/>
                      <a:pt x="5873141" y="255320"/>
                    </a:cubicBezTo>
                    <a:close/>
                    <a:moveTo>
                      <a:pt x="5874129" y="1621675"/>
                    </a:moveTo>
                    <a:cubicBezTo>
                      <a:pt x="5874129" y="1610092"/>
                      <a:pt x="5864760" y="1600719"/>
                      <a:pt x="5853171" y="1600719"/>
                    </a:cubicBezTo>
                    <a:cubicBezTo>
                      <a:pt x="5841581" y="1600719"/>
                      <a:pt x="5832212" y="1610092"/>
                      <a:pt x="5832212" y="1621675"/>
                    </a:cubicBezTo>
                    <a:cubicBezTo>
                      <a:pt x="5832212" y="1633270"/>
                      <a:pt x="5841581" y="1642644"/>
                      <a:pt x="5853171" y="1642644"/>
                    </a:cubicBezTo>
                    <a:cubicBezTo>
                      <a:pt x="5864514" y="1642644"/>
                      <a:pt x="5874129" y="1633270"/>
                      <a:pt x="5874129" y="1621675"/>
                    </a:cubicBezTo>
                    <a:close/>
                    <a:moveTo>
                      <a:pt x="5875610" y="5134127"/>
                    </a:moveTo>
                    <a:cubicBezTo>
                      <a:pt x="5875610" y="5128949"/>
                      <a:pt x="5871419" y="5124758"/>
                      <a:pt x="5866239" y="5124758"/>
                    </a:cubicBezTo>
                    <a:cubicBezTo>
                      <a:pt x="5861061" y="5124758"/>
                      <a:pt x="5856870" y="5128949"/>
                      <a:pt x="5856870" y="5134127"/>
                    </a:cubicBezTo>
                    <a:cubicBezTo>
                      <a:pt x="5856870" y="5139307"/>
                      <a:pt x="5861061" y="5143498"/>
                      <a:pt x="5866239" y="5143498"/>
                    </a:cubicBezTo>
                    <a:cubicBezTo>
                      <a:pt x="5871419" y="5143498"/>
                      <a:pt x="5875610" y="5139307"/>
                      <a:pt x="5875610" y="5134127"/>
                    </a:cubicBezTo>
                    <a:close/>
                    <a:moveTo>
                      <a:pt x="5879306" y="126886"/>
                    </a:moveTo>
                    <a:cubicBezTo>
                      <a:pt x="5879306" y="101490"/>
                      <a:pt x="5858594" y="80779"/>
                      <a:pt x="5833199" y="80779"/>
                    </a:cubicBezTo>
                    <a:cubicBezTo>
                      <a:pt x="5807801" y="80779"/>
                      <a:pt x="5787089" y="101490"/>
                      <a:pt x="5787089" y="126886"/>
                    </a:cubicBezTo>
                    <a:cubicBezTo>
                      <a:pt x="5787089" y="152281"/>
                      <a:pt x="5807801" y="172992"/>
                      <a:pt x="5833199" y="172992"/>
                    </a:cubicBezTo>
                    <a:cubicBezTo>
                      <a:pt x="5858594" y="172992"/>
                      <a:pt x="5879306" y="152281"/>
                      <a:pt x="5879306" y="126886"/>
                    </a:cubicBezTo>
                    <a:close/>
                    <a:moveTo>
                      <a:pt x="5881280" y="4729992"/>
                    </a:moveTo>
                    <a:cubicBezTo>
                      <a:pt x="5881280" y="4718157"/>
                      <a:pt x="5871665" y="4708539"/>
                      <a:pt x="5859830" y="4708539"/>
                    </a:cubicBezTo>
                    <a:cubicBezTo>
                      <a:pt x="5847994" y="4708539"/>
                      <a:pt x="5838377" y="4718157"/>
                      <a:pt x="5838377" y="4729992"/>
                    </a:cubicBezTo>
                    <a:cubicBezTo>
                      <a:pt x="5838377" y="4741828"/>
                      <a:pt x="5847994" y="4751445"/>
                      <a:pt x="5859830" y="4751445"/>
                    </a:cubicBezTo>
                    <a:cubicBezTo>
                      <a:pt x="5871911" y="4751445"/>
                      <a:pt x="5881528" y="4741828"/>
                      <a:pt x="5881280" y="4729992"/>
                    </a:cubicBezTo>
                    <a:close/>
                    <a:moveTo>
                      <a:pt x="5882515" y="2430098"/>
                    </a:moveTo>
                    <a:cubicBezTo>
                      <a:pt x="5882515" y="2406443"/>
                      <a:pt x="5863034" y="2386951"/>
                      <a:pt x="5839363" y="2386951"/>
                    </a:cubicBezTo>
                    <a:cubicBezTo>
                      <a:pt x="5815693" y="2386951"/>
                      <a:pt x="5796212" y="2406192"/>
                      <a:pt x="5796212" y="2430098"/>
                    </a:cubicBezTo>
                    <a:cubicBezTo>
                      <a:pt x="5796212" y="2453767"/>
                      <a:pt x="5815444" y="2473251"/>
                      <a:pt x="5839363" y="2473251"/>
                    </a:cubicBezTo>
                    <a:cubicBezTo>
                      <a:pt x="5863034" y="2473251"/>
                      <a:pt x="5882515" y="2453767"/>
                      <a:pt x="5882515" y="2430098"/>
                    </a:cubicBezTo>
                    <a:close/>
                    <a:moveTo>
                      <a:pt x="5883252" y="675701"/>
                    </a:moveTo>
                    <a:cubicBezTo>
                      <a:pt x="5883252" y="650056"/>
                      <a:pt x="5862293" y="629041"/>
                      <a:pt x="5836650" y="629041"/>
                    </a:cubicBezTo>
                    <a:cubicBezTo>
                      <a:pt x="5811006" y="629041"/>
                      <a:pt x="5790048" y="650056"/>
                      <a:pt x="5790048" y="675701"/>
                    </a:cubicBezTo>
                    <a:cubicBezTo>
                      <a:pt x="5790048" y="701351"/>
                      <a:pt x="5811006" y="722308"/>
                      <a:pt x="5836650" y="722308"/>
                    </a:cubicBezTo>
                    <a:cubicBezTo>
                      <a:pt x="5862293" y="722308"/>
                      <a:pt x="5883252" y="701351"/>
                      <a:pt x="5883252" y="675701"/>
                    </a:cubicBezTo>
                    <a:close/>
                    <a:moveTo>
                      <a:pt x="5887197" y="6529006"/>
                    </a:moveTo>
                    <a:cubicBezTo>
                      <a:pt x="5887197" y="6521362"/>
                      <a:pt x="5881034" y="6515197"/>
                      <a:pt x="5873390" y="6515197"/>
                    </a:cubicBezTo>
                    <a:cubicBezTo>
                      <a:pt x="5865744" y="6515197"/>
                      <a:pt x="5859581" y="6521362"/>
                      <a:pt x="5859581" y="6529006"/>
                    </a:cubicBezTo>
                    <a:cubicBezTo>
                      <a:pt x="5859581" y="6536650"/>
                      <a:pt x="5865744" y="6542815"/>
                      <a:pt x="5873390" y="6542815"/>
                    </a:cubicBezTo>
                    <a:cubicBezTo>
                      <a:pt x="5881034" y="6542815"/>
                      <a:pt x="5887443" y="6536650"/>
                      <a:pt x="5887197" y="6529006"/>
                    </a:cubicBezTo>
                    <a:close/>
                    <a:moveTo>
                      <a:pt x="5888678" y="6659198"/>
                    </a:moveTo>
                    <a:cubicBezTo>
                      <a:pt x="5888678" y="6655499"/>
                      <a:pt x="5885719" y="6652293"/>
                      <a:pt x="5881774" y="6652293"/>
                    </a:cubicBezTo>
                    <a:cubicBezTo>
                      <a:pt x="5877829" y="6652293"/>
                      <a:pt x="5874870" y="6655499"/>
                      <a:pt x="5874870" y="6659198"/>
                    </a:cubicBezTo>
                    <a:cubicBezTo>
                      <a:pt x="5874870" y="6663143"/>
                      <a:pt x="5878074" y="6666102"/>
                      <a:pt x="5881774" y="6666102"/>
                    </a:cubicBezTo>
                    <a:cubicBezTo>
                      <a:pt x="5885719" y="6666102"/>
                      <a:pt x="5888678" y="6662896"/>
                      <a:pt x="5888678" y="6659198"/>
                    </a:cubicBezTo>
                    <a:close/>
                    <a:moveTo>
                      <a:pt x="5891146" y="5787308"/>
                    </a:moveTo>
                    <a:cubicBezTo>
                      <a:pt x="5891146" y="5785827"/>
                      <a:pt x="5889910" y="5784595"/>
                      <a:pt x="5888433" y="5784595"/>
                    </a:cubicBezTo>
                    <a:cubicBezTo>
                      <a:pt x="5886952" y="5784595"/>
                      <a:pt x="5885719" y="5785827"/>
                      <a:pt x="5885719" y="5787308"/>
                    </a:cubicBezTo>
                    <a:cubicBezTo>
                      <a:pt x="5885719" y="5788786"/>
                      <a:pt x="5886952" y="5790021"/>
                      <a:pt x="5888433" y="5790021"/>
                    </a:cubicBezTo>
                    <a:cubicBezTo>
                      <a:pt x="5889910" y="5790021"/>
                      <a:pt x="5891146" y="5788786"/>
                      <a:pt x="5891146" y="5787308"/>
                    </a:cubicBezTo>
                    <a:close/>
                    <a:moveTo>
                      <a:pt x="5892130" y="2812534"/>
                    </a:moveTo>
                    <a:cubicBezTo>
                      <a:pt x="5892130" y="2796257"/>
                      <a:pt x="5878816" y="2783188"/>
                      <a:pt x="5862787" y="2783188"/>
                    </a:cubicBezTo>
                    <a:cubicBezTo>
                      <a:pt x="5846759" y="2783188"/>
                      <a:pt x="5833691" y="2796505"/>
                      <a:pt x="5833691" y="2812534"/>
                    </a:cubicBezTo>
                    <a:cubicBezTo>
                      <a:pt x="5833691" y="2828560"/>
                      <a:pt x="5846759" y="2841629"/>
                      <a:pt x="5862787" y="2841629"/>
                    </a:cubicBezTo>
                    <a:cubicBezTo>
                      <a:pt x="5878816" y="2841629"/>
                      <a:pt x="5891884" y="2828560"/>
                      <a:pt x="5892130" y="2812534"/>
                    </a:cubicBezTo>
                    <a:close/>
                    <a:moveTo>
                      <a:pt x="5893115" y="543257"/>
                    </a:moveTo>
                    <a:cubicBezTo>
                      <a:pt x="5893115" y="517369"/>
                      <a:pt x="5872157" y="496412"/>
                      <a:pt x="5846265" y="496412"/>
                    </a:cubicBezTo>
                    <a:cubicBezTo>
                      <a:pt x="5820375" y="496412"/>
                      <a:pt x="5799416" y="517369"/>
                      <a:pt x="5799416" y="543257"/>
                    </a:cubicBezTo>
                    <a:cubicBezTo>
                      <a:pt x="5799416" y="569148"/>
                      <a:pt x="5820375" y="590105"/>
                      <a:pt x="5846265" y="590105"/>
                    </a:cubicBezTo>
                    <a:cubicBezTo>
                      <a:pt x="5872157" y="590105"/>
                      <a:pt x="5893115" y="569148"/>
                      <a:pt x="5893115" y="543257"/>
                    </a:cubicBezTo>
                    <a:close/>
                    <a:moveTo>
                      <a:pt x="5893859" y="2014857"/>
                    </a:moveTo>
                    <a:cubicBezTo>
                      <a:pt x="5893859" y="1998350"/>
                      <a:pt x="5880543" y="1985044"/>
                      <a:pt x="5864021" y="1985044"/>
                    </a:cubicBezTo>
                    <a:cubicBezTo>
                      <a:pt x="5847502" y="1985044"/>
                      <a:pt x="5834186" y="1998350"/>
                      <a:pt x="5834186" y="2014857"/>
                    </a:cubicBezTo>
                    <a:cubicBezTo>
                      <a:pt x="5834186" y="2031383"/>
                      <a:pt x="5847502" y="2044699"/>
                      <a:pt x="5864021" y="2044699"/>
                    </a:cubicBezTo>
                    <a:cubicBezTo>
                      <a:pt x="5880543" y="2044699"/>
                      <a:pt x="5893859" y="2031383"/>
                      <a:pt x="5893859" y="2014857"/>
                    </a:cubicBezTo>
                    <a:close/>
                    <a:moveTo>
                      <a:pt x="5895090" y="1444903"/>
                    </a:moveTo>
                    <a:cubicBezTo>
                      <a:pt x="5895090" y="1418772"/>
                      <a:pt x="5873883" y="1397320"/>
                      <a:pt x="5847499" y="1397320"/>
                    </a:cubicBezTo>
                    <a:cubicBezTo>
                      <a:pt x="5821364" y="1397320"/>
                      <a:pt x="5799911" y="1418527"/>
                      <a:pt x="5799911" y="1444903"/>
                    </a:cubicBezTo>
                    <a:cubicBezTo>
                      <a:pt x="5799911" y="1471043"/>
                      <a:pt x="5821118" y="1492495"/>
                      <a:pt x="5847499" y="1492495"/>
                    </a:cubicBezTo>
                    <a:cubicBezTo>
                      <a:pt x="5873883" y="1492495"/>
                      <a:pt x="5895090" y="1471043"/>
                      <a:pt x="5895090" y="1444903"/>
                    </a:cubicBezTo>
                    <a:close/>
                    <a:moveTo>
                      <a:pt x="5895333" y="5282073"/>
                    </a:moveTo>
                    <a:cubicBezTo>
                      <a:pt x="5895333" y="5280711"/>
                      <a:pt x="5894230" y="5279608"/>
                      <a:pt x="5892868" y="5279608"/>
                    </a:cubicBezTo>
                    <a:cubicBezTo>
                      <a:pt x="5891505" y="5279608"/>
                      <a:pt x="5890401" y="5280711"/>
                      <a:pt x="5890401" y="5282073"/>
                    </a:cubicBezTo>
                    <a:cubicBezTo>
                      <a:pt x="5890401" y="5283437"/>
                      <a:pt x="5891505" y="5284540"/>
                      <a:pt x="5892868" y="5284540"/>
                    </a:cubicBezTo>
                    <a:cubicBezTo>
                      <a:pt x="5894230" y="5284540"/>
                      <a:pt x="5895333" y="5283434"/>
                      <a:pt x="5895333" y="5282073"/>
                    </a:cubicBezTo>
                    <a:close/>
                    <a:moveTo>
                      <a:pt x="5899774" y="4189990"/>
                    </a:moveTo>
                    <a:cubicBezTo>
                      <a:pt x="5899774" y="4161881"/>
                      <a:pt x="5877089" y="4139196"/>
                      <a:pt x="5848977" y="4139196"/>
                    </a:cubicBezTo>
                    <a:cubicBezTo>
                      <a:pt x="5820869" y="4139196"/>
                      <a:pt x="5798184" y="4161881"/>
                      <a:pt x="5798184" y="4189990"/>
                    </a:cubicBezTo>
                    <a:cubicBezTo>
                      <a:pt x="5798184" y="4218100"/>
                      <a:pt x="5821115" y="4240785"/>
                      <a:pt x="5848977" y="4240785"/>
                    </a:cubicBezTo>
                    <a:cubicBezTo>
                      <a:pt x="5877089" y="4240785"/>
                      <a:pt x="5899774" y="4217855"/>
                      <a:pt x="5899774" y="4189990"/>
                    </a:cubicBezTo>
                    <a:close/>
                    <a:moveTo>
                      <a:pt x="5900023" y="6787910"/>
                    </a:moveTo>
                    <a:cubicBezTo>
                      <a:pt x="5900023" y="6782239"/>
                      <a:pt x="5895337" y="6777801"/>
                      <a:pt x="5889910" y="6777801"/>
                    </a:cubicBezTo>
                    <a:cubicBezTo>
                      <a:pt x="5884239" y="6777801"/>
                      <a:pt x="5879802" y="6782485"/>
                      <a:pt x="5879802" y="6787910"/>
                    </a:cubicBezTo>
                    <a:cubicBezTo>
                      <a:pt x="5879802" y="6793582"/>
                      <a:pt x="5884487" y="6798019"/>
                      <a:pt x="5889910" y="6798019"/>
                    </a:cubicBezTo>
                    <a:cubicBezTo>
                      <a:pt x="5895337" y="6798019"/>
                      <a:pt x="5899774" y="6793582"/>
                      <a:pt x="5900023" y="6787910"/>
                    </a:cubicBezTo>
                    <a:close/>
                    <a:moveTo>
                      <a:pt x="5907910" y="4464431"/>
                    </a:moveTo>
                    <a:cubicBezTo>
                      <a:pt x="5907910" y="4441252"/>
                      <a:pt x="5888925" y="4422265"/>
                      <a:pt x="5865748" y="4422265"/>
                    </a:cubicBezTo>
                    <a:cubicBezTo>
                      <a:pt x="5842568" y="4422265"/>
                      <a:pt x="5823583" y="4441252"/>
                      <a:pt x="5823583" y="4464431"/>
                    </a:cubicBezTo>
                    <a:cubicBezTo>
                      <a:pt x="5823583" y="4487608"/>
                      <a:pt x="5842568" y="4506593"/>
                      <a:pt x="5865748" y="4506593"/>
                    </a:cubicBezTo>
                    <a:cubicBezTo>
                      <a:pt x="5888925" y="4506593"/>
                      <a:pt x="5907910" y="4487608"/>
                      <a:pt x="5907910" y="4464431"/>
                    </a:cubicBezTo>
                    <a:close/>
                    <a:moveTo>
                      <a:pt x="5909145" y="5925392"/>
                    </a:moveTo>
                    <a:cubicBezTo>
                      <a:pt x="5909145" y="5922924"/>
                      <a:pt x="5907169" y="5920705"/>
                      <a:pt x="5904458" y="5920705"/>
                    </a:cubicBezTo>
                    <a:cubicBezTo>
                      <a:pt x="5901992" y="5920705"/>
                      <a:pt x="5899773" y="5922924"/>
                      <a:pt x="5899773" y="5925392"/>
                    </a:cubicBezTo>
                    <a:cubicBezTo>
                      <a:pt x="5899773" y="5928102"/>
                      <a:pt x="5901746" y="5930077"/>
                      <a:pt x="5904458" y="5930077"/>
                    </a:cubicBezTo>
                    <a:cubicBezTo>
                      <a:pt x="5906923" y="5930077"/>
                      <a:pt x="5909145" y="5927856"/>
                      <a:pt x="5909145" y="5925392"/>
                    </a:cubicBezTo>
                    <a:close/>
                    <a:moveTo>
                      <a:pt x="5913828" y="1302895"/>
                    </a:moveTo>
                    <a:cubicBezTo>
                      <a:pt x="5913828" y="1276514"/>
                      <a:pt x="5892620" y="1255059"/>
                      <a:pt x="5866239" y="1255059"/>
                    </a:cubicBezTo>
                    <a:cubicBezTo>
                      <a:pt x="5839855" y="1255059"/>
                      <a:pt x="5818402" y="1276514"/>
                      <a:pt x="5818402" y="1302895"/>
                    </a:cubicBezTo>
                    <a:cubicBezTo>
                      <a:pt x="5818402" y="1329034"/>
                      <a:pt x="5839855" y="1350488"/>
                      <a:pt x="5866239" y="1350488"/>
                    </a:cubicBezTo>
                    <a:cubicBezTo>
                      <a:pt x="5892620" y="1350488"/>
                      <a:pt x="5913828" y="1329034"/>
                      <a:pt x="5913828" y="1302895"/>
                    </a:cubicBezTo>
                    <a:close/>
                    <a:moveTo>
                      <a:pt x="5914322" y="4885332"/>
                    </a:moveTo>
                    <a:cubicBezTo>
                      <a:pt x="5914322" y="4875964"/>
                      <a:pt x="5906677" y="4868319"/>
                      <a:pt x="5897306" y="4868319"/>
                    </a:cubicBezTo>
                    <a:cubicBezTo>
                      <a:pt x="5887937" y="4868319"/>
                      <a:pt x="5880293" y="4875964"/>
                      <a:pt x="5880293" y="4885332"/>
                    </a:cubicBezTo>
                    <a:cubicBezTo>
                      <a:pt x="5880293" y="4894704"/>
                      <a:pt x="5887937" y="4902349"/>
                      <a:pt x="5897306" y="4902349"/>
                    </a:cubicBezTo>
                    <a:cubicBezTo>
                      <a:pt x="5906677" y="4902349"/>
                      <a:pt x="5914322" y="4894704"/>
                      <a:pt x="5914322" y="4885332"/>
                    </a:cubicBezTo>
                    <a:close/>
                    <a:moveTo>
                      <a:pt x="5916787" y="1863098"/>
                    </a:moveTo>
                    <a:cubicBezTo>
                      <a:pt x="5916787" y="1851025"/>
                      <a:pt x="5906927" y="1841168"/>
                      <a:pt x="5894843" y="1841168"/>
                    </a:cubicBezTo>
                    <a:cubicBezTo>
                      <a:pt x="5882761" y="1841168"/>
                      <a:pt x="5872898" y="1851025"/>
                      <a:pt x="5872898" y="1863098"/>
                    </a:cubicBezTo>
                    <a:cubicBezTo>
                      <a:pt x="5872898" y="1875173"/>
                      <a:pt x="5882761" y="1885025"/>
                      <a:pt x="5894843" y="1885025"/>
                    </a:cubicBezTo>
                    <a:cubicBezTo>
                      <a:pt x="5906927" y="1885025"/>
                      <a:pt x="5916787" y="1875173"/>
                      <a:pt x="5916787" y="1863098"/>
                    </a:cubicBezTo>
                    <a:close/>
                    <a:moveTo>
                      <a:pt x="5919254" y="2924975"/>
                    </a:moveTo>
                    <a:cubicBezTo>
                      <a:pt x="5919254" y="2909688"/>
                      <a:pt x="5906923" y="2897112"/>
                      <a:pt x="5891391" y="2897112"/>
                    </a:cubicBezTo>
                    <a:cubicBezTo>
                      <a:pt x="5875856" y="2897112"/>
                      <a:pt x="5863280" y="2909441"/>
                      <a:pt x="5863280" y="2924975"/>
                    </a:cubicBezTo>
                    <a:cubicBezTo>
                      <a:pt x="5863280" y="2940510"/>
                      <a:pt x="5875856" y="2953086"/>
                      <a:pt x="5891391" y="2953086"/>
                    </a:cubicBezTo>
                    <a:cubicBezTo>
                      <a:pt x="5906923" y="2953086"/>
                      <a:pt x="5919499" y="2940510"/>
                      <a:pt x="5919254" y="2924975"/>
                    </a:cubicBezTo>
                    <a:close/>
                    <a:moveTo>
                      <a:pt x="5921718" y="2271311"/>
                    </a:moveTo>
                    <a:cubicBezTo>
                      <a:pt x="5921718" y="2250383"/>
                      <a:pt x="5904705" y="2233341"/>
                      <a:pt x="5883746" y="2233341"/>
                    </a:cubicBezTo>
                    <a:cubicBezTo>
                      <a:pt x="5862785" y="2233341"/>
                      <a:pt x="5845772" y="2250383"/>
                      <a:pt x="5845772" y="2271311"/>
                    </a:cubicBezTo>
                    <a:cubicBezTo>
                      <a:pt x="5845772" y="2292283"/>
                      <a:pt x="5862785" y="2309291"/>
                      <a:pt x="5883746" y="2309291"/>
                    </a:cubicBezTo>
                    <a:cubicBezTo>
                      <a:pt x="5904705" y="2309291"/>
                      <a:pt x="5921718" y="2292283"/>
                      <a:pt x="5921718" y="2271311"/>
                    </a:cubicBezTo>
                    <a:close/>
                    <a:moveTo>
                      <a:pt x="5921718" y="4077797"/>
                    </a:moveTo>
                    <a:cubicBezTo>
                      <a:pt x="5921718" y="4054620"/>
                      <a:pt x="5902978" y="4036126"/>
                      <a:pt x="5880047" y="4036126"/>
                    </a:cubicBezTo>
                    <a:cubicBezTo>
                      <a:pt x="5857117" y="4036126"/>
                      <a:pt x="5838377" y="4054866"/>
                      <a:pt x="5838377" y="4077797"/>
                    </a:cubicBezTo>
                    <a:cubicBezTo>
                      <a:pt x="5838377" y="4100731"/>
                      <a:pt x="5857117" y="4119470"/>
                      <a:pt x="5880047" y="4119470"/>
                    </a:cubicBezTo>
                    <a:cubicBezTo>
                      <a:pt x="5902978" y="4119470"/>
                      <a:pt x="5921718" y="4100731"/>
                      <a:pt x="5921718" y="4077797"/>
                    </a:cubicBezTo>
                    <a:close/>
                    <a:moveTo>
                      <a:pt x="5924431" y="2537110"/>
                    </a:moveTo>
                    <a:cubicBezTo>
                      <a:pt x="5924431" y="2514915"/>
                      <a:pt x="5906429" y="2496918"/>
                      <a:pt x="5884239" y="2496918"/>
                    </a:cubicBezTo>
                    <a:cubicBezTo>
                      <a:pt x="5862046" y="2496918"/>
                      <a:pt x="5844046" y="2514915"/>
                      <a:pt x="5844046" y="2537110"/>
                    </a:cubicBezTo>
                    <a:cubicBezTo>
                      <a:pt x="5844046" y="2559299"/>
                      <a:pt x="5862046" y="2577303"/>
                      <a:pt x="5884239" y="2577303"/>
                    </a:cubicBezTo>
                    <a:cubicBezTo>
                      <a:pt x="5906429" y="2577303"/>
                      <a:pt x="5924431" y="2559054"/>
                      <a:pt x="5924431" y="2537110"/>
                    </a:cubicBezTo>
                    <a:close/>
                    <a:moveTo>
                      <a:pt x="5925418" y="6062241"/>
                    </a:moveTo>
                    <a:cubicBezTo>
                      <a:pt x="5925418" y="6058541"/>
                      <a:pt x="5922213" y="6055582"/>
                      <a:pt x="5918514" y="6055582"/>
                    </a:cubicBezTo>
                    <a:cubicBezTo>
                      <a:pt x="5914568" y="6055582"/>
                      <a:pt x="5911609" y="6058541"/>
                      <a:pt x="5911609" y="6062241"/>
                    </a:cubicBezTo>
                    <a:cubicBezTo>
                      <a:pt x="5911609" y="6065937"/>
                      <a:pt x="5914814" y="6068898"/>
                      <a:pt x="5918514" y="6068898"/>
                    </a:cubicBezTo>
                    <a:cubicBezTo>
                      <a:pt x="5922213" y="6068898"/>
                      <a:pt x="5925172" y="6065937"/>
                      <a:pt x="5925418" y="6062241"/>
                    </a:cubicBezTo>
                    <a:close/>
                    <a:moveTo>
                      <a:pt x="5927390" y="1162867"/>
                    </a:moveTo>
                    <a:cubicBezTo>
                      <a:pt x="5927390" y="1138454"/>
                      <a:pt x="5907664" y="1118723"/>
                      <a:pt x="5883255" y="1118723"/>
                    </a:cubicBezTo>
                    <a:cubicBezTo>
                      <a:pt x="5859089" y="1118723"/>
                      <a:pt x="5839117" y="1138454"/>
                      <a:pt x="5839117" y="1162867"/>
                    </a:cubicBezTo>
                    <a:cubicBezTo>
                      <a:pt x="5839117" y="1187033"/>
                      <a:pt x="5858843" y="1207005"/>
                      <a:pt x="5883255" y="1207005"/>
                    </a:cubicBezTo>
                    <a:cubicBezTo>
                      <a:pt x="5907664" y="1207005"/>
                      <a:pt x="5927637" y="1187277"/>
                      <a:pt x="5927390" y="1162867"/>
                    </a:cubicBezTo>
                    <a:close/>
                    <a:moveTo>
                      <a:pt x="5927881" y="5414486"/>
                    </a:moveTo>
                    <a:cubicBezTo>
                      <a:pt x="5927881" y="5413991"/>
                      <a:pt x="5927390" y="5413745"/>
                      <a:pt x="5927144" y="5413745"/>
                    </a:cubicBezTo>
                    <a:cubicBezTo>
                      <a:pt x="5926649" y="5413745"/>
                      <a:pt x="5926404" y="5414238"/>
                      <a:pt x="5926404" y="5414486"/>
                    </a:cubicBezTo>
                    <a:cubicBezTo>
                      <a:pt x="5926404" y="5414978"/>
                      <a:pt x="5926898" y="5415223"/>
                      <a:pt x="5927144" y="5415223"/>
                    </a:cubicBezTo>
                    <a:cubicBezTo>
                      <a:pt x="5927636" y="5415223"/>
                      <a:pt x="5927881" y="5414978"/>
                      <a:pt x="5927881" y="5414486"/>
                    </a:cubicBezTo>
                    <a:close/>
                    <a:moveTo>
                      <a:pt x="5935034" y="3964127"/>
                    </a:moveTo>
                    <a:cubicBezTo>
                      <a:pt x="5935034" y="3947851"/>
                      <a:pt x="5921718" y="3934783"/>
                      <a:pt x="5905691" y="3934783"/>
                    </a:cubicBezTo>
                    <a:cubicBezTo>
                      <a:pt x="5889415" y="3934783"/>
                      <a:pt x="5876348" y="3948099"/>
                      <a:pt x="5876348" y="3964127"/>
                    </a:cubicBezTo>
                    <a:cubicBezTo>
                      <a:pt x="5876348" y="3980399"/>
                      <a:pt x="5889664" y="3993469"/>
                      <a:pt x="5905691" y="3993469"/>
                    </a:cubicBezTo>
                    <a:cubicBezTo>
                      <a:pt x="5921718" y="3993469"/>
                      <a:pt x="5935034" y="3980399"/>
                      <a:pt x="5935034" y="3964127"/>
                    </a:cubicBezTo>
                    <a:close/>
                    <a:moveTo>
                      <a:pt x="5937498" y="4626185"/>
                    </a:moveTo>
                    <a:cubicBezTo>
                      <a:pt x="5937498" y="4612127"/>
                      <a:pt x="5926157" y="4600786"/>
                      <a:pt x="5912102" y="4600786"/>
                    </a:cubicBezTo>
                    <a:cubicBezTo>
                      <a:pt x="5898046" y="4600786"/>
                      <a:pt x="5886705" y="4612127"/>
                      <a:pt x="5886705" y="4626185"/>
                    </a:cubicBezTo>
                    <a:cubicBezTo>
                      <a:pt x="5886705" y="4640238"/>
                      <a:pt x="5898046" y="4651579"/>
                      <a:pt x="5912102" y="4651579"/>
                    </a:cubicBezTo>
                    <a:cubicBezTo>
                      <a:pt x="5926157" y="4651579"/>
                      <a:pt x="5937498" y="4639992"/>
                      <a:pt x="5937498" y="4626185"/>
                    </a:cubicBezTo>
                    <a:close/>
                    <a:moveTo>
                      <a:pt x="5941690" y="3038899"/>
                    </a:moveTo>
                    <a:cubicBezTo>
                      <a:pt x="5941690" y="3024103"/>
                      <a:pt x="5929609" y="3012021"/>
                      <a:pt x="5914813" y="3012021"/>
                    </a:cubicBezTo>
                    <a:cubicBezTo>
                      <a:pt x="5900019" y="3012021"/>
                      <a:pt x="5887937" y="3024103"/>
                      <a:pt x="5887937" y="3038899"/>
                    </a:cubicBezTo>
                    <a:cubicBezTo>
                      <a:pt x="5887937" y="3053695"/>
                      <a:pt x="5900019" y="3065777"/>
                      <a:pt x="5914813" y="3065777"/>
                    </a:cubicBezTo>
                    <a:cubicBezTo>
                      <a:pt x="5929609" y="3065777"/>
                      <a:pt x="5941690" y="3053695"/>
                      <a:pt x="5941690" y="3038899"/>
                    </a:cubicBezTo>
                    <a:close/>
                    <a:moveTo>
                      <a:pt x="5941690" y="6197362"/>
                    </a:moveTo>
                    <a:cubicBezTo>
                      <a:pt x="5941690" y="6191690"/>
                      <a:pt x="5937253" y="6187253"/>
                      <a:pt x="5931581" y="6187253"/>
                    </a:cubicBezTo>
                    <a:cubicBezTo>
                      <a:pt x="5925909" y="6187253"/>
                      <a:pt x="5921472" y="6191690"/>
                      <a:pt x="5921472" y="6197362"/>
                    </a:cubicBezTo>
                    <a:cubicBezTo>
                      <a:pt x="5921472" y="6203034"/>
                      <a:pt x="5925909" y="6207473"/>
                      <a:pt x="5931581" y="6207473"/>
                    </a:cubicBezTo>
                    <a:cubicBezTo>
                      <a:pt x="5937008" y="6207473"/>
                      <a:pt x="5941444" y="6203034"/>
                      <a:pt x="5941690" y="6197362"/>
                    </a:cubicBezTo>
                    <a:close/>
                    <a:moveTo>
                      <a:pt x="5942676" y="1714108"/>
                    </a:moveTo>
                    <a:cubicBezTo>
                      <a:pt x="5942676" y="1703302"/>
                      <a:pt x="5933799" y="1694425"/>
                      <a:pt x="5922950" y="1694425"/>
                    </a:cubicBezTo>
                    <a:cubicBezTo>
                      <a:pt x="5912100" y="1694425"/>
                      <a:pt x="5903224" y="1703302"/>
                      <a:pt x="5903224" y="1714108"/>
                    </a:cubicBezTo>
                    <a:cubicBezTo>
                      <a:pt x="5903224" y="1724975"/>
                      <a:pt x="5912100" y="1733866"/>
                      <a:pt x="5922950" y="1733866"/>
                    </a:cubicBezTo>
                    <a:cubicBezTo>
                      <a:pt x="5933799" y="1733866"/>
                      <a:pt x="5942676" y="1724975"/>
                      <a:pt x="5942676" y="1714108"/>
                    </a:cubicBezTo>
                    <a:close/>
                    <a:moveTo>
                      <a:pt x="5945143" y="5037718"/>
                    </a:moveTo>
                    <a:cubicBezTo>
                      <a:pt x="5945143" y="5029825"/>
                      <a:pt x="5938731" y="5023415"/>
                      <a:pt x="5930843" y="5023415"/>
                    </a:cubicBezTo>
                    <a:cubicBezTo>
                      <a:pt x="5922952" y="5023415"/>
                      <a:pt x="5916540" y="5029825"/>
                      <a:pt x="5916540" y="5037718"/>
                    </a:cubicBezTo>
                    <a:cubicBezTo>
                      <a:pt x="5916540" y="5045606"/>
                      <a:pt x="5922952" y="5052018"/>
                      <a:pt x="5930843" y="5052018"/>
                    </a:cubicBezTo>
                    <a:cubicBezTo>
                      <a:pt x="5938731" y="5052018"/>
                      <a:pt x="5945143" y="5045606"/>
                      <a:pt x="5945143" y="5037718"/>
                    </a:cubicBezTo>
                    <a:close/>
                    <a:moveTo>
                      <a:pt x="5945635" y="1023823"/>
                    </a:moveTo>
                    <a:cubicBezTo>
                      <a:pt x="5945635" y="997682"/>
                      <a:pt x="5924185" y="976230"/>
                      <a:pt x="5898046" y="976230"/>
                    </a:cubicBezTo>
                    <a:cubicBezTo>
                      <a:pt x="5871911" y="976230"/>
                      <a:pt x="5850458" y="997682"/>
                      <a:pt x="5850458" y="1023823"/>
                    </a:cubicBezTo>
                    <a:cubicBezTo>
                      <a:pt x="5850458" y="1049955"/>
                      <a:pt x="5871911" y="1071415"/>
                      <a:pt x="5898046" y="1071415"/>
                    </a:cubicBezTo>
                    <a:cubicBezTo>
                      <a:pt x="5924430" y="1071415"/>
                      <a:pt x="5945635" y="1050203"/>
                      <a:pt x="5945635" y="1023823"/>
                    </a:cubicBezTo>
                    <a:close/>
                    <a:moveTo>
                      <a:pt x="5949089" y="5559228"/>
                    </a:moveTo>
                    <a:cubicBezTo>
                      <a:pt x="5949089" y="5558979"/>
                      <a:pt x="5948843" y="5558732"/>
                      <a:pt x="5948594" y="5558732"/>
                    </a:cubicBezTo>
                    <a:cubicBezTo>
                      <a:pt x="5948348" y="5558732"/>
                      <a:pt x="5948102" y="5558979"/>
                      <a:pt x="5948102" y="5559228"/>
                    </a:cubicBezTo>
                    <a:cubicBezTo>
                      <a:pt x="5948102" y="5559473"/>
                      <a:pt x="5948348" y="5559719"/>
                      <a:pt x="5948594" y="5559719"/>
                    </a:cubicBezTo>
                    <a:cubicBezTo>
                      <a:pt x="5949089" y="5559719"/>
                      <a:pt x="5949334" y="5559473"/>
                      <a:pt x="5949089" y="5559228"/>
                    </a:cubicBezTo>
                    <a:close/>
                    <a:moveTo>
                      <a:pt x="5949583" y="3849715"/>
                    </a:moveTo>
                    <a:cubicBezTo>
                      <a:pt x="5949583" y="3836646"/>
                      <a:pt x="5938979" y="3826043"/>
                      <a:pt x="5925911" y="3826043"/>
                    </a:cubicBezTo>
                    <a:cubicBezTo>
                      <a:pt x="5912844" y="3826043"/>
                      <a:pt x="5902240" y="3836646"/>
                      <a:pt x="5902240" y="3849715"/>
                    </a:cubicBezTo>
                    <a:cubicBezTo>
                      <a:pt x="5902240" y="3862783"/>
                      <a:pt x="5912844" y="3873386"/>
                      <a:pt x="5925911" y="3873386"/>
                    </a:cubicBezTo>
                    <a:cubicBezTo>
                      <a:pt x="5938979" y="3873386"/>
                      <a:pt x="5949583" y="3862783"/>
                      <a:pt x="5949583" y="3849715"/>
                    </a:cubicBezTo>
                    <a:close/>
                    <a:moveTo>
                      <a:pt x="5956239" y="6331499"/>
                    </a:moveTo>
                    <a:cubicBezTo>
                      <a:pt x="5956239" y="6324349"/>
                      <a:pt x="5950567" y="6318677"/>
                      <a:pt x="5943417" y="6318677"/>
                    </a:cubicBezTo>
                    <a:cubicBezTo>
                      <a:pt x="5936267" y="6318677"/>
                      <a:pt x="5930595" y="6324349"/>
                      <a:pt x="5930595" y="6331499"/>
                    </a:cubicBezTo>
                    <a:cubicBezTo>
                      <a:pt x="5930595" y="6338649"/>
                      <a:pt x="5936267" y="6344321"/>
                      <a:pt x="5943417" y="6344321"/>
                    </a:cubicBezTo>
                    <a:cubicBezTo>
                      <a:pt x="5950567" y="6344321"/>
                      <a:pt x="5956239" y="6338403"/>
                      <a:pt x="5956239" y="6331499"/>
                    </a:cubicBezTo>
                    <a:close/>
                    <a:moveTo>
                      <a:pt x="5957965" y="455999"/>
                    </a:moveTo>
                    <a:cubicBezTo>
                      <a:pt x="5957965" y="429865"/>
                      <a:pt x="5936761" y="408659"/>
                      <a:pt x="5910623" y="408659"/>
                    </a:cubicBezTo>
                    <a:cubicBezTo>
                      <a:pt x="5884487" y="408659"/>
                      <a:pt x="5863280" y="429865"/>
                      <a:pt x="5863280" y="455999"/>
                    </a:cubicBezTo>
                    <a:cubicBezTo>
                      <a:pt x="5863280" y="482133"/>
                      <a:pt x="5884487" y="503340"/>
                      <a:pt x="5910623" y="503340"/>
                    </a:cubicBezTo>
                    <a:cubicBezTo>
                      <a:pt x="5936761" y="503340"/>
                      <a:pt x="5957965" y="482133"/>
                      <a:pt x="5957965" y="455999"/>
                    </a:cubicBezTo>
                    <a:close/>
                    <a:moveTo>
                      <a:pt x="5957965" y="2645854"/>
                    </a:moveTo>
                    <a:cubicBezTo>
                      <a:pt x="5957965" y="2627359"/>
                      <a:pt x="5942924" y="2612319"/>
                      <a:pt x="5924431" y="2612319"/>
                    </a:cubicBezTo>
                    <a:cubicBezTo>
                      <a:pt x="5905937" y="2612319"/>
                      <a:pt x="5890896" y="2627359"/>
                      <a:pt x="5890896" y="2645854"/>
                    </a:cubicBezTo>
                    <a:cubicBezTo>
                      <a:pt x="5890896" y="2664349"/>
                      <a:pt x="5905937" y="2679389"/>
                      <a:pt x="5924431" y="2679389"/>
                    </a:cubicBezTo>
                    <a:cubicBezTo>
                      <a:pt x="5942924" y="2679389"/>
                      <a:pt x="5957965" y="2664595"/>
                      <a:pt x="5957965" y="2645854"/>
                    </a:cubicBezTo>
                    <a:close/>
                    <a:moveTo>
                      <a:pt x="5958458" y="886991"/>
                    </a:moveTo>
                    <a:cubicBezTo>
                      <a:pt x="5958458" y="861345"/>
                      <a:pt x="5937499" y="840401"/>
                      <a:pt x="5911856" y="840401"/>
                    </a:cubicBezTo>
                    <a:cubicBezTo>
                      <a:pt x="5886212" y="840401"/>
                      <a:pt x="5865253" y="861345"/>
                      <a:pt x="5865253" y="886991"/>
                    </a:cubicBezTo>
                    <a:cubicBezTo>
                      <a:pt x="5865253" y="912636"/>
                      <a:pt x="5886212" y="933595"/>
                      <a:pt x="5911856" y="933595"/>
                    </a:cubicBezTo>
                    <a:cubicBezTo>
                      <a:pt x="5937748" y="933595"/>
                      <a:pt x="5958458" y="912636"/>
                      <a:pt x="5958458" y="886991"/>
                    </a:cubicBezTo>
                    <a:close/>
                    <a:moveTo>
                      <a:pt x="5958458" y="3153807"/>
                    </a:moveTo>
                    <a:cubicBezTo>
                      <a:pt x="5958458" y="3139752"/>
                      <a:pt x="5946868" y="3128162"/>
                      <a:pt x="5932814" y="3128162"/>
                    </a:cubicBezTo>
                    <a:cubicBezTo>
                      <a:pt x="5918514" y="3128162"/>
                      <a:pt x="5907169" y="3139752"/>
                      <a:pt x="5907169" y="3153807"/>
                    </a:cubicBezTo>
                    <a:cubicBezTo>
                      <a:pt x="5907169" y="3167863"/>
                      <a:pt x="5918759" y="3179453"/>
                      <a:pt x="5932814" y="3179453"/>
                    </a:cubicBezTo>
                    <a:cubicBezTo>
                      <a:pt x="5946868" y="3179453"/>
                      <a:pt x="5958212" y="3168110"/>
                      <a:pt x="5958458" y="3153807"/>
                    </a:cubicBezTo>
                    <a:close/>
                    <a:moveTo>
                      <a:pt x="5958706" y="4355935"/>
                    </a:moveTo>
                    <a:cubicBezTo>
                      <a:pt x="5958706" y="4327826"/>
                      <a:pt x="5936021" y="4305141"/>
                      <a:pt x="5907910" y="4305141"/>
                    </a:cubicBezTo>
                    <a:cubicBezTo>
                      <a:pt x="5879802" y="4305141"/>
                      <a:pt x="5857117" y="4327826"/>
                      <a:pt x="5857117" y="4355935"/>
                    </a:cubicBezTo>
                    <a:cubicBezTo>
                      <a:pt x="5857117" y="4384046"/>
                      <a:pt x="5879802" y="4406731"/>
                      <a:pt x="5907910" y="4406731"/>
                    </a:cubicBezTo>
                    <a:cubicBezTo>
                      <a:pt x="5936021" y="4406731"/>
                      <a:pt x="5958706" y="4384046"/>
                      <a:pt x="5958706" y="4355935"/>
                    </a:cubicBezTo>
                    <a:close/>
                    <a:moveTo>
                      <a:pt x="5960430" y="2114753"/>
                    </a:moveTo>
                    <a:cubicBezTo>
                      <a:pt x="5960430" y="2094034"/>
                      <a:pt x="5943662" y="2077261"/>
                      <a:pt x="5922950" y="2077261"/>
                    </a:cubicBezTo>
                    <a:cubicBezTo>
                      <a:pt x="5902238" y="2077261"/>
                      <a:pt x="5885471" y="2094034"/>
                      <a:pt x="5885471" y="2114753"/>
                    </a:cubicBezTo>
                    <a:cubicBezTo>
                      <a:pt x="5885471" y="2135469"/>
                      <a:pt x="5902238" y="2152233"/>
                      <a:pt x="5922950" y="2152233"/>
                    </a:cubicBezTo>
                    <a:cubicBezTo>
                      <a:pt x="5943662" y="2152233"/>
                      <a:pt x="5960430" y="2135469"/>
                      <a:pt x="5960430" y="2114753"/>
                    </a:cubicBezTo>
                    <a:close/>
                    <a:moveTo>
                      <a:pt x="5964623" y="3734317"/>
                    </a:moveTo>
                    <a:cubicBezTo>
                      <a:pt x="5964623" y="3721003"/>
                      <a:pt x="5953773" y="3710400"/>
                      <a:pt x="5940703" y="3710400"/>
                    </a:cubicBezTo>
                    <a:cubicBezTo>
                      <a:pt x="5927389" y="3710400"/>
                      <a:pt x="5916786" y="3721250"/>
                      <a:pt x="5916786" y="3734317"/>
                    </a:cubicBezTo>
                    <a:cubicBezTo>
                      <a:pt x="5916786" y="3747634"/>
                      <a:pt x="5927636" y="3758234"/>
                      <a:pt x="5940703" y="3758234"/>
                    </a:cubicBezTo>
                    <a:cubicBezTo>
                      <a:pt x="5953773" y="3758234"/>
                      <a:pt x="5964623" y="3747387"/>
                      <a:pt x="5964623" y="3734317"/>
                    </a:cubicBezTo>
                    <a:close/>
                    <a:moveTo>
                      <a:pt x="5965855" y="5188128"/>
                    </a:moveTo>
                    <a:cubicBezTo>
                      <a:pt x="5965855" y="5185169"/>
                      <a:pt x="5963637" y="5182951"/>
                      <a:pt x="5960679" y="5182951"/>
                    </a:cubicBezTo>
                    <a:cubicBezTo>
                      <a:pt x="5957720" y="5182951"/>
                      <a:pt x="5955500" y="5185169"/>
                      <a:pt x="5955500" y="5188128"/>
                    </a:cubicBezTo>
                    <a:cubicBezTo>
                      <a:pt x="5955500" y="5191087"/>
                      <a:pt x="5957720" y="5193305"/>
                      <a:pt x="5960679" y="5193305"/>
                    </a:cubicBezTo>
                    <a:cubicBezTo>
                      <a:pt x="5963391" y="5193305"/>
                      <a:pt x="5965855" y="5191087"/>
                      <a:pt x="5965855" y="5188128"/>
                    </a:cubicBezTo>
                    <a:close/>
                    <a:moveTo>
                      <a:pt x="5966597" y="325097"/>
                    </a:moveTo>
                    <a:cubicBezTo>
                      <a:pt x="5966597" y="299208"/>
                      <a:pt x="5945390" y="278003"/>
                      <a:pt x="5919500" y="278003"/>
                    </a:cubicBezTo>
                    <a:cubicBezTo>
                      <a:pt x="5893611" y="278003"/>
                      <a:pt x="5872403" y="299208"/>
                      <a:pt x="5872403" y="325097"/>
                    </a:cubicBezTo>
                    <a:cubicBezTo>
                      <a:pt x="5872403" y="350986"/>
                      <a:pt x="5893611" y="372189"/>
                      <a:pt x="5919500" y="372189"/>
                    </a:cubicBezTo>
                    <a:cubicBezTo>
                      <a:pt x="5945636" y="372189"/>
                      <a:pt x="5966597" y="350986"/>
                      <a:pt x="5966597" y="325097"/>
                    </a:cubicBezTo>
                    <a:close/>
                    <a:moveTo>
                      <a:pt x="5969064" y="1533922"/>
                    </a:moveTo>
                    <a:cubicBezTo>
                      <a:pt x="5969064" y="1508031"/>
                      <a:pt x="5948102" y="1486825"/>
                      <a:pt x="5921967" y="1486825"/>
                    </a:cubicBezTo>
                    <a:cubicBezTo>
                      <a:pt x="5896077" y="1486825"/>
                      <a:pt x="5874870" y="1507783"/>
                      <a:pt x="5874870" y="1533922"/>
                    </a:cubicBezTo>
                    <a:cubicBezTo>
                      <a:pt x="5874870" y="1560054"/>
                      <a:pt x="5895828" y="1581251"/>
                      <a:pt x="5921967" y="1581251"/>
                    </a:cubicBezTo>
                    <a:cubicBezTo>
                      <a:pt x="5947857" y="1581251"/>
                      <a:pt x="5969064" y="1560300"/>
                      <a:pt x="5969064" y="1533922"/>
                    </a:cubicBezTo>
                    <a:close/>
                    <a:moveTo>
                      <a:pt x="5969555" y="2376110"/>
                    </a:moveTo>
                    <a:cubicBezTo>
                      <a:pt x="5969555" y="2356150"/>
                      <a:pt x="5953529" y="2340123"/>
                      <a:pt x="5933802" y="2340123"/>
                    </a:cubicBezTo>
                    <a:cubicBezTo>
                      <a:pt x="5913827" y="2340123"/>
                      <a:pt x="5897801" y="2356399"/>
                      <a:pt x="5897801" y="2376110"/>
                    </a:cubicBezTo>
                    <a:cubicBezTo>
                      <a:pt x="5897801" y="2395831"/>
                      <a:pt x="5914076" y="2411865"/>
                      <a:pt x="5933802" y="2411865"/>
                    </a:cubicBezTo>
                    <a:cubicBezTo>
                      <a:pt x="5953774" y="2411865"/>
                      <a:pt x="5969801" y="2395831"/>
                      <a:pt x="5969555" y="2376110"/>
                    </a:cubicBezTo>
                    <a:close/>
                    <a:moveTo>
                      <a:pt x="5970046" y="3269453"/>
                    </a:moveTo>
                    <a:cubicBezTo>
                      <a:pt x="5970046" y="3255887"/>
                      <a:pt x="5958951" y="3244799"/>
                      <a:pt x="5945389" y="3244799"/>
                    </a:cubicBezTo>
                    <a:cubicBezTo>
                      <a:pt x="5931827" y="3244799"/>
                      <a:pt x="5920731" y="3255887"/>
                      <a:pt x="5920731" y="3269453"/>
                    </a:cubicBezTo>
                    <a:cubicBezTo>
                      <a:pt x="5920731" y="3283245"/>
                      <a:pt x="5931827" y="3294353"/>
                      <a:pt x="5945389" y="3294353"/>
                    </a:cubicBezTo>
                    <a:cubicBezTo>
                      <a:pt x="5958951" y="3294353"/>
                      <a:pt x="5970046" y="3283245"/>
                      <a:pt x="5970046" y="3269453"/>
                    </a:cubicBezTo>
                    <a:close/>
                    <a:moveTo>
                      <a:pt x="5970542" y="5702237"/>
                    </a:moveTo>
                    <a:cubicBezTo>
                      <a:pt x="5970542" y="5700510"/>
                      <a:pt x="5969309" y="5699278"/>
                      <a:pt x="5967582" y="5699278"/>
                    </a:cubicBezTo>
                    <a:cubicBezTo>
                      <a:pt x="5966102" y="5699278"/>
                      <a:pt x="5964623" y="5700510"/>
                      <a:pt x="5964623" y="5702237"/>
                    </a:cubicBezTo>
                    <a:cubicBezTo>
                      <a:pt x="5964623" y="5703715"/>
                      <a:pt x="5965855" y="5705196"/>
                      <a:pt x="5967582" y="5705196"/>
                    </a:cubicBezTo>
                    <a:cubicBezTo>
                      <a:pt x="5969309" y="5705196"/>
                      <a:pt x="5970787" y="5703964"/>
                      <a:pt x="5970542" y="5702237"/>
                    </a:cubicBezTo>
                    <a:close/>
                    <a:moveTo>
                      <a:pt x="5971033" y="751404"/>
                    </a:moveTo>
                    <a:cubicBezTo>
                      <a:pt x="5971033" y="725742"/>
                      <a:pt x="5950074" y="704799"/>
                      <a:pt x="5924431" y="704799"/>
                    </a:cubicBezTo>
                    <a:cubicBezTo>
                      <a:pt x="5898787" y="704799"/>
                      <a:pt x="5877829" y="725742"/>
                      <a:pt x="5877829" y="751404"/>
                    </a:cubicBezTo>
                    <a:cubicBezTo>
                      <a:pt x="5877829" y="777043"/>
                      <a:pt x="5898787" y="798007"/>
                      <a:pt x="5924431" y="798007"/>
                    </a:cubicBezTo>
                    <a:cubicBezTo>
                      <a:pt x="5950074" y="798007"/>
                      <a:pt x="5970787" y="777290"/>
                      <a:pt x="5971033" y="751404"/>
                    </a:cubicBezTo>
                    <a:close/>
                    <a:moveTo>
                      <a:pt x="5974241" y="194940"/>
                    </a:moveTo>
                    <a:cubicBezTo>
                      <a:pt x="5974241" y="169049"/>
                      <a:pt x="5953282" y="148093"/>
                      <a:pt x="5927390" y="148093"/>
                    </a:cubicBezTo>
                    <a:cubicBezTo>
                      <a:pt x="5901500" y="148093"/>
                      <a:pt x="5880542" y="169049"/>
                      <a:pt x="5880542" y="194940"/>
                    </a:cubicBezTo>
                    <a:cubicBezTo>
                      <a:pt x="5880542" y="220828"/>
                      <a:pt x="5901500" y="241785"/>
                      <a:pt x="5927390" y="241785"/>
                    </a:cubicBezTo>
                    <a:cubicBezTo>
                      <a:pt x="5953036" y="241785"/>
                      <a:pt x="5974241" y="220828"/>
                      <a:pt x="5974241" y="194940"/>
                    </a:cubicBezTo>
                    <a:close/>
                    <a:moveTo>
                      <a:pt x="5974241" y="3618179"/>
                    </a:moveTo>
                    <a:cubicBezTo>
                      <a:pt x="5974241" y="3604866"/>
                      <a:pt x="5963391" y="3594016"/>
                      <a:pt x="5950077" y="3594016"/>
                    </a:cubicBezTo>
                    <a:cubicBezTo>
                      <a:pt x="5936761" y="3594016"/>
                      <a:pt x="5925911" y="3604866"/>
                      <a:pt x="5925911" y="3618179"/>
                    </a:cubicBezTo>
                    <a:cubicBezTo>
                      <a:pt x="5925911" y="3631495"/>
                      <a:pt x="5936761" y="3642345"/>
                      <a:pt x="5950077" y="3642345"/>
                    </a:cubicBezTo>
                    <a:cubicBezTo>
                      <a:pt x="5963145" y="3642345"/>
                      <a:pt x="5973994" y="3631495"/>
                      <a:pt x="5974241" y="3618179"/>
                    </a:cubicBezTo>
                    <a:close/>
                    <a:moveTo>
                      <a:pt x="5974242" y="4783990"/>
                    </a:moveTo>
                    <a:cubicBezTo>
                      <a:pt x="5974242" y="4772895"/>
                      <a:pt x="5965118" y="4763772"/>
                      <a:pt x="5954020" y="4763772"/>
                    </a:cubicBezTo>
                    <a:cubicBezTo>
                      <a:pt x="5942925" y="4763772"/>
                      <a:pt x="5933802" y="4772895"/>
                      <a:pt x="5933802" y="4783990"/>
                    </a:cubicBezTo>
                    <a:cubicBezTo>
                      <a:pt x="5933802" y="4795088"/>
                      <a:pt x="5942925" y="4804211"/>
                      <a:pt x="5954020" y="4804211"/>
                    </a:cubicBezTo>
                    <a:cubicBezTo>
                      <a:pt x="5965118" y="4804211"/>
                      <a:pt x="5974242" y="4795088"/>
                      <a:pt x="5974242" y="4783990"/>
                    </a:cubicBezTo>
                    <a:close/>
                    <a:moveTo>
                      <a:pt x="5976951" y="3385579"/>
                    </a:moveTo>
                    <a:cubicBezTo>
                      <a:pt x="5976951" y="3371988"/>
                      <a:pt x="5965855" y="3360933"/>
                      <a:pt x="5952293" y="3360933"/>
                    </a:cubicBezTo>
                    <a:cubicBezTo>
                      <a:pt x="5938731" y="3360933"/>
                      <a:pt x="5927636" y="3371988"/>
                      <a:pt x="5927636" y="3385579"/>
                    </a:cubicBezTo>
                    <a:cubicBezTo>
                      <a:pt x="5927636" y="3399147"/>
                      <a:pt x="5938731" y="3410249"/>
                      <a:pt x="5952293" y="3410249"/>
                    </a:cubicBezTo>
                    <a:cubicBezTo>
                      <a:pt x="5965855" y="3410249"/>
                      <a:pt x="5976951" y="3399392"/>
                      <a:pt x="5976951" y="3385579"/>
                    </a:cubicBezTo>
                    <a:close/>
                    <a:moveTo>
                      <a:pt x="5978186" y="3501796"/>
                    </a:moveTo>
                    <a:cubicBezTo>
                      <a:pt x="5978186" y="3488234"/>
                      <a:pt x="5967088" y="3477385"/>
                      <a:pt x="5953774" y="3477385"/>
                    </a:cubicBezTo>
                    <a:cubicBezTo>
                      <a:pt x="5940212" y="3477385"/>
                      <a:pt x="5929362" y="3488480"/>
                      <a:pt x="5929362" y="3501796"/>
                    </a:cubicBezTo>
                    <a:cubicBezTo>
                      <a:pt x="5929362" y="3515358"/>
                      <a:pt x="5940458" y="3526208"/>
                      <a:pt x="5953774" y="3526208"/>
                    </a:cubicBezTo>
                    <a:cubicBezTo>
                      <a:pt x="5967336" y="3526208"/>
                      <a:pt x="5978186" y="3515358"/>
                      <a:pt x="5978186" y="3501796"/>
                    </a:cubicBezTo>
                    <a:close/>
                    <a:moveTo>
                      <a:pt x="5978923" y="6455774"/>
                    </a:moveTo>
                    <a:cubicBezTo>
                      <a:pt x="5978923" y="6447636"/>
                      <a:pt x="5972265" y="6440978"/>
                      <a:pt x="5964129" y="6440978"/>
                    </a:cubicBezTo>
                    <a:cubicBezTo>
                      <a:pt x="5955993" y="6440978"/>
                      <a:pt x="5949334" y="6447636"/>
                      <a:pt x="5949334" y="6455774"/>
                    </a:cubicBezTo>
                    <a:cubicBezTo>
                      <a:pt x="5949334" y="6463909"/>
                      <a:pt x="5955993" y="6470568"/>
                      <a:pt x="5964129" y="6470568"/>
                    </a:cubicBezTo>
                    <a:cubicBezTo>
                      <a:pt x="5972265" y="6470568"/>
                      <a:pt x="5978923" y="6463909"/>
                      <a:pt x="5978923" y="6455774"/>
                    </a:cubicBezTo>
                    <a:close/>
                    <a:moveTo>
                      <a:pt x="5981142" y="6587692"/>
                    </a:moveTo>
                    <a:cubicBezTo>
                      <a:pt x="5981142" y="6583746"/>
                      <a:pt x="5977692" y="6580542"/>
                      <a:pt x="5973746" y="6580542"/>
                    </a:cubicBezTo>
                    <a:cubicBezTo>
                      <a:pt x="5969552" y="6580542"/>
                      <a:pt x="5966348" y="6583501"/>
                      <a:pt x="5966348" y="6587692"/>
                    </a:cubicBezTo>
                    <a:cubicBezTo>
                      <a:pt x="5966348" y="6591883"/>
                      <a:pt x="5969801" y="6595090"/>
                      <a:pt x="5973746" y="6595090"/>
                    </a:cubicBezTo>
                    <a:cubicBezTo>
                      <a:pt x="5977692" y="6595090"/>
                      <a:pt x="5981142" y="6591637"/>
                      <a:pt x="5981142" y="6587692"/>
                    </a:cubicBezTo>
                    <a:close/>
                    <a:moveTo>
                      <a:pt x="5982377" y="617475"/>
                    </a:moveTo>
                    <a:cubicBezTo>
                      <a:pt x="5982377" y="591585"/>
                      <a:pt x="5961419" y="570627"/>
                      <a:pt x="5935527" y="570627"/>
                    </a:cubicBezTo>
                    <a:cubicBezTo>
                      <a:pt x="5909637" y="570627"/>
                      <a:pt x="5888678" y="591585"/>
                      <a:pt x="5888678" y="617475"/>
                    </a:cubicBezTo>
                    <a:cubicBezTo>
                      <a:pt x="5888678" y="643417"/>
                      <a:pt x="5909637" y="664383"/>
                      <a:pt x="5935527" y="664383"/>
                    </a:cubicBezTo>
                    <a:cubicBezTo>
                      <a:pt x="5961419" y="664383"/>
                      <a:pt x="5982377" y="643167"/>
                      <a:pt x="5982377" y="617475"/>
                    </a:cubicBezTo>
                    <a:close/>
                    <a:moveTo>
                      <a:pt x="5982868" y="1960422"/>
                    </a:moveTo>
                    <a:cubicBezTo>
                      <a:pt x="5982868" y="1946621"/>
                      <a:pt x="5971527" y="1935289"/>
                      <a:pt x="5957719" y="1935289"/>
                    </a:cubicBezTo>
                    <a:cubicBezTo>
                      <a:pt x="5943911" y="1935289"/>
                      <a:pt x="5932567" y="1946621"/>
                      <a:pt x="5932567" y="1960422"/>
                    </a:cubicBezTo>
                    <a:cubicBezTo>
                      <a:pt x="5932567" y="1974220"/>
                      <a:pt x="5943911" y="1985552"/>
                      <a:pt x="5957719" y="1985552"/>
                    </a:cubicBezTo>
                    <a:cubicBezTo>
                      <a:pt x="5971527" y="1985552"/>
                      <a:pt x="5982868" y="1974220"/>
                      <a:pt x="5982868" y="1960422"/>
                    </a:cubicBezTo>
                    <a:close/>
                    <a:moveTo>
                      <a:pt x="5982868" y="2756575"/>
                    </a:moveTo>
                    <a:cubicBezTo>
                      <a:pt x="5982868" y="2743750"/>
                      <a:pt x="5972514" y="2733392"/>
                      <a:pt x="5959692" y="2733392"/>
                    </a:cubicBezTo>
                    <a:cubicBezTo>
                      <a:pt x="5946624" y="2733392"/>
                      <a:pt x="5936267" y="2743750"/>
                      <a:pt x="5936267" y="2756575"/>
                    </a:cubicBezTo>
                    <a:cubicBezTo>
                      <a:pt x="5936267" y="2769641"/>
                      <a:pt x="5946870" y="2779996"/>
                      <a:pt x="5959692" y="2779996"/>
                    </a:cubicBezTo>
                    <a:cubicBezTo>
                      <a:pt x="5972514" y="2779996"/>
                      <a:pt x="5982868" y="2769641"/>
                      <a:pt x="5982868" y="2756575"/>
                    </a:cubicBezTo>
                    <a:close/>
                    <a:moveTo>
                      <a:pt x="5989036" y="4520156"/>
                    </a:moveTo>
                    <a:cubicBezTo>
                      <a:pt x="5989036" y="4503880"/>
                      <a:pt x="5975965" y="4490812"/>
                      <a:pt x="5959692" y="4490812"/>
                    </a:cubicBezTo>
                    <a:cubicBezTo>
                      <a:pt x="5943417" y="4490812"/>
                      <a:pt x="5930349" y="4503880"/>
                      <a:pt x="5930349" y="4520156"/>
                    </a:cubicBezTo>
                    <a:cubicBezTo>
                      <a:pt x="5930349" y="4536428"/>
                      <a:pt x="5943665" y="4549499"/>
                      <a:pt x="5959692" y="4549499"/>
                    </a:cubicBezTo>
                    <a:cubicBezTo>
                      <a:pt x="5975965" y="4549499"/>
                      <a:pt x="5989036" y="4536428"/>
                      <a:pt x="5989036" y="4520156"/>
                    </a:cubicBezTo>
                    <a:close/>
                    <a:moveTo>
                      <a:pt x="5990759" y="1389690"/>
                    </a:moveTo>
                    <a:cubicBezTo>
                      <a:pt x="5990759" y="1363303"/>
                      <a:pt x="5969309" y="1342109"/>
                      <a:pt x="5943171" y="1342109"/>
                    </a:cubicBezTo>
                    <a:cubicBezTo>
                      <a:pt x="5917033" y="1342109"/>
                      <a:pt x="5895828" y="1363550"/>
                      <a:pt x="5895828" y="1389690"/>
                    </a:cubicBezTo>
                    <a:cubicBezTo>
                      <a:pt x="5895828" y="1416080"/>
                      <a:pt x="5917033" y="1437281"/>
                      <a:pt x="5943171" y="1437281"/>
                    </a:cubicBezTo>
                    <a:cubicBezTo>
                      <a:pt x="5969309" y="1437281"/>
                      <a:pt x="5990759" y="1416080"/>
                      <a:pt x="5990759" y="1389690"/>
                    </a:cubicBezTo>
                    <a:close/>
                    <a:moveTo>
                      <a:pt x="5991008" y="5842293"/>
                    </a:moveTo>
                    <a:cubicBezTo>
                      <a:pt x="5991008" y="5839583"/>
                      <a:pt x="5988541" y="5837115"/>
                      <a:pt x="5985582" y="5837115"/>
                    </a:cubicBezTo>
                    <a:cubicBezTo>
                      <a:pt x="5982871" y="5837115"/>
                      <a:pt x="5980403" y="5839334"/>
                      <a:pt x="5980403" y="5842293"/>
                    </a:cubicBezTo>
                    <a:cubicBezTo>
                      <a:pt x="5980403" y="5845252"/>
                      <a:pt x="5982623" y="5847719"/>
                      <a:pt x="5985582" y="5847719"/>
                    </a:cubicBezTo>
                    <a:cubicBezTo>
                      <a:pt x="5988541" y="5847719"/>
                      <a:pt x="5991008" y="5845498"/>
                      <a:pt x="5991008" y="5842293"/>
                    </a:cubicBezTo>
                    <a:close/>
                    <a:moveTo>
                      <a:pt x="5993718" y="6718379"/>
                    </a:moveTo>
                    <a:cubicBezTo>
                      <a:pt x="5993718" y="6712461"/>
                      <a:pt x="5988787" y="6707529"/>
                      <a:pt x="5982869" y="6707529"/>
                    </a:cubicBezTo>
                    <a:cubicBezTo>
                      <a:pt x="5976952" y="6707529"/>
                      <a:pt x="5972020" y="6712461"/>
                      <a:pt x="5972020" y="6718379"/>
                    </a:cubicBezTo>
                    <a:cubicBezTo>
                      <a:pt x="5972020" y="6724296"/>
                      <a:pt x="5976952" y="6729227"/>
                      <a:pt x="5982869" y="6729227"/>
                    </a:cubicBezTo>
                    <a:cubicBezTo>
                      <a:pt x="5988787" y="6729227"/>
                      <a:pt x="5993718" y="6724296"/>
                      <a:pt x="5993718" y="6718379"/>
                    </a:cubicBezTo>
                    <a:close/>
                    <a:moveTo>
                      <a:pt x="5996677" y="4245960"/>
                    </a:moveTo>
                    <a:cubicBezTo>
                      <a:pt x="5996677" y="4217606"/>
                      <a:pt x="5973500" y="4194426"/>
                      <a:pt x="5945143" y="4194426"/>
                    </a:cubicBezTo>
                    <a:cubicBezTo>
                      <a:pt x="5916789" y="4194426"/>
                      <a:pt x="5893609" y="4217606"/>
                      <a:pt x="5893609" y="4245960"/>
                    </a:cubicBezTo>
                    <a:cubicBezTo>
                      <a:pt x="5893609" y="4274317"/>
                      <a:pt x="5916789" y="4297497"/>
                      <a:pt x="5945143" y="4297497"/>
                    </a:cubicBezTo>
                    <a:cubicBezTo>
                      <a:pt x="5973746" y="4297497"/>
                      <a:pt x="5996677" y="4274317"/>
                      <a:pt x="5996677" y="4245960"/>
                    </a:cubicBezTo>
                    <a:close/>
                    <a:moveTo>
                      <a:pt x="5998650" y="5322019"/>
                    </a:moveTo>
                    <a:cubicBezTo>
                      <a:pt x="5998650" y="5321770"/>
                      <a:pt x="5998405" y="5321524"/>
                      <a:pt x="5998156" y="5321524"/>
                    </a:cubicBezTo>
                    <a:cubicBezTo>
                      <a:pt x="5997909" y="5321524"/>
                      <a:pt x="5997663" y="5321770"/>
                      <a:pt x="5997663" y="5322019"/>
                    </a:cubicBezTo>
                    <a:cubicBezTo>
                      <a:pt x="5997663" y="5322265"/>
                      <a:pt x="5997909" y="5322511"/>
                      <a:pt x="5998156" y="5322511"/>
                    </a:cubicBezTo>
                    <a:cubicBezTo>
                      <a:pt x="5998405" y="5322511"/>
                      <a:pt x="5998405" y="5322511"/>
                      <a:pt x="5998650" y="5322019"/>
                    </a:cubicBezTo>
                    <a:close/>
                    <a:moveTo>
                      <a:pt x="6003089" y="2869016"/>
                    </a:moveTo>
                    <a:cubicBezTo>
                      <a:pt x="6003089" y="2861618"/>
                      <a:pt x="5996926" y="2855454"/>
                      <a:pt x="5989527" y="2855454"/>
                    </a:cubicBezTo>
                    <a:cubicBezTo>
                      <a:pt x="5982131" y="2855454"/>
                      <a:pt x="5976213" y="2861618"/>
                      <a:pt x="5976213" y="2869016"/>
                    </a:cubicBezTo>
                    <a:cubicBezTo>
                      <a:pt x="5976213" y="2876413"/>
                      <a:pt x="5982131" y="2882579"/>
                      <a:pt x="5989527" y="2882579"/>
                    </a:cubicBezTo>
                    <a:cubicBezTo>
                      <a:pt x="5997171" y="2882579"/>
                      <a:pt x="6003089" y="2876413"/>
                      <a:pt x="6003089" y="2869016"/>
                    </a:cubicBezTo>
                    <a:close/>
                    <a:moveTo>
                      <a:pt x="6005802" y="1247443"/>
                    </a:moveTo>
                    <a:cubicBezTo>
                      <a:pt x="6005802" y="1223528"/>
                      <a:pt x="5986322" y="1204291"/>
                      <a:pt x="5962651" y="1204291"/>
                    </a:cubicBezTo>
                    <a:cubicBezTo>
                      <a:pt x="5938731" y="1204291"/>
                      <a:pt x="5919499" y="1223773"/>
                      <a:pt x="5919499" y="1247443"/>
                    </a:cubicBezTo>
                    <a:cubicBezTo>
                      <a:pt x="5919499" y="1271353"/>
                      <a:pt x="5938980" y="1290591"/>
                      <a:pt x="5962651" y="1290591"/>
                    </a:cubicBezTo>
                    <a:cubicBezTo>
                      <a:pt x="5986322" y="1290591"/>
                      <a:pt x="6005802" y="1271353"/>
                      <a:pt x="6005802" y="1247443"/>
                    </a:cubicBezTo>
                    <a:close/>
                    <a:moveTo>
                      <a:pt x="6009254" y="5981362"/>
                    </a:moveTo>
                    <a:cubicBezTo>
                      <a:pt x="6009254" y="5977170"/>
                      <a:pt x="6005803" y="5973717"/>
                      <a:pt x="6001612" y="5973717"/>
                    </a:cubicBezTo>
                    <a:cubicBezTo>
                      <a:pt x="5997418" y="5973717"/>
                      <a:pt x="5993967" y="5977170"/>
                      <a:pt x="5993967" y="5981362"/>
                    </a:cubicBezTo>
                    <a:cubicBezTo>
                      <a:pt x="5993967" y="5985553"/>
                      <a:pt x="5997418" y="5989003"/>
                      <a:pt x="6001612" y="5989003"/>
                    </a:cubicBezTo>
                    <a:cubicBezTo>
                      <a:pt x="6006049" y="5989003"/>
                      <a:pt x="6009502" y="5985553"/>
                      <a:pt x="6009254" y="5981362"/>
                    </a:cubicBezTo>
                    <a:close/>
                    <a:moveTo>
                      <a:pt x="6010734" y="4939088"/>
                    </a:moveTo>
                    <a:cubicBezTo>
                      <a:pt x="6010734" y="4928484"/>
                      <a:pt x="6002104" y="4919853"/>
                      <a:pt x="5991500" y="4919853"/>
                    </a:cubicBezTo>
                    <a:cubicBezTo>
                      <a:pt x="5980899" y="4919853"/>
                      <a:pt x="5972268" y="4928484"/>
                      <a:pt x="5972268" y="4939088"/>
                    </a:cubicBezTo>
                    <a:cubicBezTo>
                      <a:pt x="5972268" y="4949688"/>
                      <a:pt x="5980899" y="4958319"/>
                      <a:pt x="5991500" y="4958319"/>
                    </a:cubicBezTo>
                    <a:cubicBezTo>
                      <a:pt x="6002104" y="4958319"/>
                      <a:pt x="6010734" y="4949688"/>
                      <a:pt x="6010734" y="4939088"/>
                    </a:cubicBezTo>
                    <a:close/>
                    <a:moveTo>
                      <a:pt x="6013199" y="2482882"/>
                    </a:moveTo>
                    <a:cubicBezTo>
                      <a:pt x="6013199" y="2464383"/>
                      <a:pt x="5998156" y="2449100"/>
                      <a:pt x="5979416" y="2449100"/>
                    </a:cubicBezTo>
                    <a:cubicBezTo>
                      <a:pt x="5960922" y="2449100"/>
                      <a:pt x="5945636" y="2464137"/>
                      <a:pt x="5945636" y="2482882"/>
                    </a:cubicBezTo>
                    <a:cubicBezTo>
                      <a:pt x="5945636" y="2501370"/>
                      <a:pt x="5960677" y="2516661"/>
                      <a:pt x="5979416" y="2516661"/>
                    </a:cubicBezTo>
                    <a:cubicBezTo>
                      <a:pt x="5998156" y="2516661"/>
                      <a:pt x="6013199" y="2501370"/>
                      <a:pt x="6013199" y="2482882"/>
                    </a:cubicBezTo>
                    <a:close/>
                    <a:moveTo>
                      <a:pt x="6016649" y="2216861"/>
                    </a:moveTo>
                    <a:cubicBezTo>
                      <a:pt x="6016649" y="2195393"/>
                      <a:pt x="5999141" y="2177891"/>
                      <a:pt x="5977692" y="2177891"/>
                    </a:cubicBezTo>
                    <a:cubicBezTo>
                      <a:pt x="5956239" y="2177891"/>
                      <a:pt x="5938731" y="2195393"/>
                      <a:pt x="5938731" y="2216861"/>
                    </a:cubicBezTo>
                    <a:cubicBezTo>
                      <a:pt x="5938731" y="2238299"/>
                      <a:pt x="5956239" y="2255810"/>
                      <a:pt x="5977692" y="2255810"/>
                    </a:cubicBezTo>
                    <a:cubicBezTo>
                      <a:pt x="5999141" y="2255810"/>
                      <a:pt x="6016649" y="2238299"/>
                      <a:pt x="6016649" y="2216861"/>
                    </a:cubicBezTo>
                    <a:close/>
                    <a:moveTo>
                      <a:pt x="6016898" y="1809134"/>
                    </a:moveTo>
                    <a:cubicBezTo>
                      <a:pt x="6016898" y="1793849"/>
                      <a:pt x="6004567" y="1781517"/>
                      <a:pt x="5989280" y="1781517"/>
                    </a:cubicBezTo>
                    <a:cubicBezTo>
                      <a:pt x="5973994" y="1781517"/>
                      <a:pt x="5961664" y="1793849"/>
                      <a:pt x="5961664" y="1809134"/>
                    </a:cubicBezTo>
                    <a:cubicBezTo>
                      <a:pt x="5961664" y="1824428"/>
                      <a:pt x="5973994" y="1836753"/>
                      <a:pt x="5989280" y="1836753"/>
                    </a:cubicBezTo>
                    <a:cubicBezTo>
                      <a:pt x="6004321" y="1836753"/>
                      <a:pt x="6016898" y="1824183"/>
                      <a:pt x="6016898" y="1809134"/>
                    </a:cubicBezTo>
                    <a:close/>
                    <a:moveTo>
                      <a:pt x="6021826" y="2982445"/>
                    </a:moveTo>
                    <a:cubicBezTo>
                      <a:pt x="6021826" y="2978499"/>
                      <a:pt x="6018621" y="2975293"/>
                      <a:pt x="6014676" y="2975293"/>
                    </a:cubicBezTo>
                    <a:cubicBezTo>
                      <a:pt x="6010730" y="2975293"/>
                      <a:pt x="6007526" y="2978499"/>
                      <a:pt x="6007526" y="2982445"/>
                    </a:cubicBezTo>
                    <a:cubicBezTo>
                      <a:pt x="6007526" y="2986389"/>
                      <a:pt x="6010730" y="2989597"/>
                      <a:pt x="6014676" y="2989597"/>
                    </a:cubicBezTo>
                    <a:cubicBezTo>
                      <a:pt x="6018376" y="2989597"/>
                      <a:pt x="6021580" y="2986389"/>
                      <a:pt x="6021826" y="2982445"/>
                    </a:cubicBezTo>
                    <a:close/>
                    <a:moveTo>
                      <a:pt x="6022566" y="5468979"/>
                    </a:moveTo>
                    <a:cubicBezTo>
                      <a:pt x="6022566" y="5468979"/>
                      <a:pt x="6022566" y="5468732"/>
                      <a:pt x="6022321" y="5468732"/>
                    </a:cubicBezTo>
                    <a:cubicBezTo>
                      <a:pt x="6022321" y="5468732"/>
                      <a:pt x="6022075" y="5468732"/>
                      <a:pt x="6022075" y="5468979"/>
                    </a:cubicBezTo>
                    <a:cubicBezTo>
                      <a:pt x="6022075" y="5469227"/>
                      <a:pt x="6022075" y="5469473"/>
                      <a:pt x="6022321" y="5469473"/>
                    </a:cubicBezTo>
                    <a:cubicBezTo>
                      <a:pt x="6022566" y="5469473"/>
                      <a:pt x="6022566" y="5469227"/>
                      <a:pt x="6022566" y="5468979"/>
                    </a:cubicBezTo>
                    <a:close/>
                    <a:moveTo>
                      <a:pt x="6026021" y="4134263"/>
                    </a:moveTo>
                    <a:cubicBezTo>
                      <a:pt x="6026021" y="4107386"/>
                      <a:pt x="6004319" y="4085688"/>
                      <a:pt x="5977443" y="4085688"/>
                    </a:cubicBezTo>
                    <a:cubicBezTo>
                      <a:pt x="5950567" y="4085688"/>
                      <a:pt x="5928868" y="4107386"/>
                      <a:pt x="5928868" y="4134263"/>
                    </a:cubicBezTo>
                    <a:cubicBezTo>
                      <a:pt x="5928868" y="4161139"/>
                      <a:pt x="5950813" y="4182838"/>
                      <a:pt x="5977443" y="4182838"/>
                    </a:cubicBezTo>
                    <a:cubicBezTo>
                      <a:pt x="6004319" y="4182838"/>
                      <a:pt x="6026021" y="4160893"/>
                      <a:pt x="6026021" y="4134263"/>
                    </a:cubicBezTo>
                    <a:close/>
                    <a:moveTo>
                      <a:pt x="6027253" y="6118706"/>
                    </a:moveTo>
                    <a:cubicBezTo>
                      <a:pt x="6027253" y="6112788"/>
                      <a:pt x="6022321" y="6107856"/>
                      <a:pt x="6016403" y="6107856"/>
                    </a:cubicBezTo>
                    <a:cubicBezTo>
                      <a:pt x="6010486" y="6107856"/>
                      <a:pt x="6005554" y="6112788"/>
                      <a:pt x="6005554" y="6118706"/>
                    </a:cubicBezTo>
                    <a:cubicBezTo>
                      <a:pt x="6005554" y="6124623"/>
                      <a:pt x="6010486" y="6129555"/>
                      <a:pt x="6016403" y="6129555"/>
                    </a:cubicBezTo>
                    <a:cubicBezTo>
                      <a:pt x="6022566" y="6129555"/>
                      <a:pt x="6027253" y="6124623"/>
                      <a:pt x="6027253" y="6118706"/>
                    </a:cubicBezTo>
                    <a:close/>
                    <a:moveTo>
                      <a:pt x="6027498" y="1106425"/>
                    </a:moveTo>
                    <a:cubicBezTo>
                      <a:pt x="6027498" y="1080043"/>
                      <a:pt x="6006045" y="1058578"/>
                      <a:pt x="5979664" y="1058578"/>
                    </a:cubicBezTo>
                    <a:cubicBezTo>
                      <a:pt x="5953280" y="1058578"/>
                      <a:pt x="5931827" y="1080043"/>
                      <a:pt x="5931827" y="1106425"/>
                    </a:cubicBezTo>
                    <a:cubicBezTo>
                      <a:pt x="5931827" y="1132807"/>
                      <a:pt x="5953280" y="1154265"/>
                      <a:pt x="5979664" y="1154265"/>
                    </a:cubicBezTo>
                    <a:cubicBezTo>
                      <a:pt x="6006045" y="1154265"/>
                      <a:pt x="6027252" y="1133054"/>
                      <a:pt x="6027498" y="1106425"/>
                    </a:cubicBezTo>
                    <a:close/>
                    <a:moveTo>
                      <a:pt x="6029717" y="4680432"/>
                    </a:moveTo>
                    <a:cubicBezTo>
                      <a:pt x="6029717" y="4667610"/>
                      <a:pt x="6019362" y="4657005"/>
                      <a:pt x="6006294" y="4657005"/>
                    </a:cubicBezTo>
                    <a:cubicBezTo>
                      <a:pt x="5993226" y="4657005"/>
                      <a:pt x="5982868" y="4667610"/>
                      <a:pt x="5982868" y="4680432"/>
                    </a:cubicBezTo>
                    <a:cubicBezTo>
                      <a:pt x="5982868" y="4693253"/>
                      <a:pt x="5993472" y="4703854"/>
                      <a:pt x="6006294" y="4703854"/>
                    </a:cubicBezTo>
                    <a:cubicBezTo>
                      <a:pt x="6019362" y="4703854"/>
                      <a:pt x="6029717" y="4693253"/>
                      <a:pt x="6029717" y="4680432"/>
                    </a:cubicBezTo>
                    <a:close/>
                    <a:moveTo>
                      <a:pt x="6033664" y="5091964"/>
                    </a:moveTo>
                    <a:cubicBezTo>
                      <a:pt x="6033664" y="5087033"/>
                      <a:pt x="6029719" y="5083087"/>
                      <a:pt x="6024788" y="5083087"/>
                    </a:cubicBezTo>
                    <a:cubicBezTo>
                      <a:pt x="6019857" y="5083087"/>
                      <a:pt x="6015911" y="5087033"/>
                      <a:pt x="6015911" y="5091964"/>
                    </a:cubicBezTo>
                    <a:cubicBezTo>
                      <a:pt x="6015911" y="5096896"/>
                      <a:pt x="6019857" y="5100841"/>
                      <a:pt x="6024788" y="5100841"/>
                    </a:cubicBezTo>
                    <a:cubicBezTo>
                      <a:pt x="6029719" y="5100841"/>
                      <a:pt x="6033910" y="5096896"/>
                      <a:pt x="6033664" y="5091964"/>
                    </a:cubicBezTo>
                    <a:close/>
                    <a:moveTo>
                      <a:pt x="6039829" y="1626135"/>
                    </a:moveTo>
                    <a:cubicBezTo>
                      <a:pt x="6039829" y="1600493"/>
                      <a:pt x="6018870" y="1579540"/>
                      <a:pt x="5992978" y="1579540"/>
                    </a:cubicBezTo>
                    <a:cubicBezTo>
                      <a:pt x="5967088" y="1579540"/>
                      <a:pt x="5946130" y="1600249"/>
                      <a:pt x="5946130" y="1626135"/>
                    </a:cubicBezTo>
                    <a:cubicBezTo>
                      <a:pt x="5946130" y="1652027"/>
                      <a:pt x="5967334" y="1672980"/>
                      <a:pt x="5992978" y="1672980"/>
                    </a:cubicBezTo>
                    <a:cubicBezTo>
                      <a:pt x="6018624" y="1672980"/>
                      <a:pt x="6039829" y="1651780"/>
                      <a:pt x="6039829" y="1626135"/>
                    </a:cubicBezTo>
                    <a:close/>
                    <a:moveTo>
                      <a:pt x="6040074" y="3097109"/>
                    </a:moveTo>
                    <a:cubicBezTo>
                      <a:pt x="6040074" y="3093901"/>
                      <a:pt x="6037361" y="3091437"/>
                      <a:pt x="6034405" y="3091437"/>
                    </a:cubicBezTo>
                    <a:cubicBezTo>
                      <a:pt x="6031446" y="3091437"/>
                      <a:pt x="6028978" y="3094150"/>
                      <a:pt x="6028978" y="3097109"/>
                    </a:cubicBezTo>
                    <a:cubicBezTo>
                      <a:pt x="6028978" y="3100069"/>
                      <a:pt x="6031446" y="3102533"/>
                      <a:pt x="6034405" y="3102533"/>
                    </a:cubicBezTo>
                    <a:cubicBezTo>
                      <a:pt x="6037361" y="3102533"/>
                      <a:pt x="6039829" y="3100069"/>
                      <a:pt x="6040074" y="3097109"/>
                    </a:cubicBezTo>
                    <a:close/>
                    <a:moveTo>
                      <a:pt x="6042046" y="967623"/>
                    </a:moveTo>
                    <a:cubicBezTo>
                      <a:pt x="6042046" y="941981"/>
                      <a:pt x="6021088" y="921017"/>
                      <a:pt x="5995445" y="921017"/>
                    </a:cubicBezTo>
                    <a:cubicBezTo>
                      <a:pt x="5969801" y="921017"/>
                      <a:pt x="5948842" y="941981"/>
                      <a:pt x="5948842" y="967623"/>
                    </a:cubicBezTo>
                    <a:cubicBezTo>
                      <a:pt x="5948842" y="993268"/>
                      <a:pt x="5969801" y="1014230"/>
                      <a:pt x="5995445" y="1014230"/>
                    </a:cubicBezTo>
                    <a:cubicBezTo>
                      <a:pt x="6021088" y="1014230"/>
                      <a:pt x="6042046" y="993268"/>
                      <a:pt x="6042046" y="967623"/>
                    </a:cubicBezTo>
                    <a:close/>
                    <a:moveTo>
                      <a:pt x="6043774" y="6254322"/>
                    </a:moveTo>
                    <a:cubicBezTo>
                      <a:pt x="6043774" y="6246677"/>
                      <a:pt x="6037610" y="6240513"/>
                      <a:pt x="6029965" y="6240513"/>
                    </a:cubicBezTo>
                    <a:cubicBezTo>
                      <a:pt x="6022321" y="6240513"/>
                      <a:pt x="6016157" y="6246677"/>
                      <a:pt x="6016157" y="6254322"/>
                    </a:cubicBezTo>
                    <a:cubicBezTo>
                      <a:pt x="6016157" y="6261966"/>
                      <a:pt x="6022321" y="6268130"/>
                      <a:pt x="6029965" y="6268130"/>
                    </a:cubicBezTo>
                    <a:cubicBezTo>
                      <a:pt x="6037610" y="6268130"/>
                      <a:pt x="6043774" y="6261966"/>
                      <a:pt x="6043774" y="6254322"/>
                    </a:cubicBezTo>
                    <a:close/>
                    <a:moveTo>
                      <a:pt x="6044760" y="4412402"/>
                    </a:moveTo>
                    <a:cubicBezTo>
                      <a:pt x="6044760" y="4389222"/>
                      <a:pt x="6025774" y="4370483"/>
                      <a:pt x="6002595" y="4370483"/>
                    </a:cubicBezTo>
                    <a:cubicBezTo>
                      <a:pt x="5979418" y="4370483"/>
                      <a:pt x="5960679" y="4389222"/>
                      <a:pt x="5960679" y="4412402"/>
                    </a:cubicBezTo>
                    <a:cubicBezTo>
                      <a:pt x="5960679" y="4435578"/>
                      <a:pt x="5979418" y="4454318"/>
                      <a:pt x="6002595" y="4454318"/>
                    </a:cubicBezTo>
                    <a:cubicBezTo>
                      <a:pt x="6026020" y="4454318"/>
                      <a:pt x="6044760" y="4435578"/>
                      <a:pt x="6044760" y="4412402"/>
                    </a:cubicBezTo>
                    <a:close/>
                    <a:moveTo>
                      <a:pt x="6045006" y="2060255"/>
                    </a:moveTo>
                    <a:cubicBezTo>
                      <a:pt x="6045006" y="2044715"/>
                      <a:pt x="6032433" y="2031890"/>
                      <a:pt x="6016652" y="2031890"/>
                    </a:cubicBezTo>
                    <a:cubicBezTo>
                      <a:pt x="6001117" y="2031890"/>
                      <a:pt x="5988295" y="2044469"/>
                      <a:pt x="5988295" y="2060255"/>
                    </a:cubicBezTo>
                    <a:cubicBezTo>
                      <a:pt x="5988295" y="2075795"/>
                      <a:pt x="6000871" y="2088621"/>
                      <a:pt x="6016652" y="2088621"/>
                    </a:cubicBezTo>
                    <a:cubicBezTo>
                      <a:pt x="6032184" y="2088621"/>
                      <a:pt x="6045006" y="2075795"/>
                      <a:pt x="6045006" y="2060255"/>
                    </a:cubicBezTo>
                    <a:close/>
                    <a:moveTo>
                      <a:pt x="6047224" y="5614457"/>
                    </a:moveTo>
                    <a:cubicBezTo>
                      <a:pt x="6047224" y="5612484"/>
                      <a:pt x="6045745" y="5611006"/>
                      <a:pt x="6043773" y="5611006"/>
                    </a:cubicBezTo>
                    <a:cubicBezTo>
                      <a:pt x="6041801" y="5611006"/>
                      <a:pt x="6040320" y="5612484"/>
                      <a:pt x="6040320" y="5614457"/>
                    </a:cubicBezTo>
                    <a:cubicBezTo>
                      <a:pt x="6040320" y="5616429"/>
                      <a:pt x="6041801" y="5617910"/>
                      <a:pt x="6043773" y="5617910"/>
                    </a:cubicBezTo>
                    <a:cubicBezTo>
                      <a:pt x="6045745" y="5617910"/>
                      <a:pt x="6047224" y="5616429"/>
                      <a:pt x="6047224" y="5614457"/>
                    </a:cubicBezTo>
                    <a:close/>
                    <a:moveTo>
                      <a:pt x="6047967" y="530213"/>
                    </a:moveTo>
                    <a:cubicBezTo>
                      <a:pt x="6047967" y="504079"/>
                      <a:pt x="6026760" y="482628"/>
                      <a:pt x="6000376" y="482628"/>
                    </a:cubicBezTo>
                    <a:cubicBezTo>
                      <a:pt x="5974241" y="482628"/>
                      <a:pt x="5952788" y="503833"/>
                      <a:pt x="5952788" y="530213"/>
                    </a:cubicBezTo>
                    <a:cubicBezTo>
                      <a:pt x="5952788" y="556349"/>
                      <a:pt x="5973995" y="577801"/>
                      <a:pt x="6000376" y="577801"/>
                    </a:cubicBezTo>
                    <a:cubicBezTo>
                      <a:pt x="6026514" y="577801"/>
                      <a:pt x="6047967" y="556349"/>
                      <a:pt x="6047967" y="530213"/>
                    </a:cubicBezTo>
                    <a:close/>
                    <a:moveTo>
                      <a:pt x="6048705" y="4021331"/>
                    </a:moveTo>
                    <a:cubicBezTo>
                      <a:pt x="6048705" y="3997165"/>
                      <a:pt x="6028977" y="3977193"/>
                      <a:pt x="6004568" y="3977193"/>
                    </a:cubicBezTo>
                    <a:cubicBezTo>
                      <a:pt x="5980402" y="3977193"/>
                      <a:pt x="5960430" y="3996919"/>
                      <a:pt x="5960430" y="4021331"/>
                    </a:cubicBezTo>
                    <a:cubicBezTo>
                      <a:pt x="5960430" y="4045741"/>
                      <a:pt x="5980156" y="4065469"/>
                      <a:pt x="6004568" y="4065469"/>
                    </a:cubicBezTo>
                    <a:cubicBezTo>
                      <a:pt x="6028977" y="4065469"/>
                      <a:pt x="6048951" y="4045493"/>
                      <a:pt x="6048705" y="4021331"/>
                    </a:cubicBezTo>
                    <a:close/>
                    <a:moveTo>
                      <a:pt x="6051172" y="2591621"/>
                    </a:moveTo>
                    <a:cubicBezTo>
                      <a:pt x="6051172" y="2574358"/>
                      <a:pt x="6037363" y="2560551"/>
                      <a:pt x="6020348" y="2560551"/>
                    </a:cubicBezTo>
                    <a:cubicBezTo>
                      <a:pt x="6003089" y="2560551"/>
                      <a:pt x="5989280" y="2574604"/>
                      <a:pt x="5989280" y="2591621"/>
                    </a:cubicBezTo>
                    <a:cubicBezTo>
                      <a:pt x="5989280" y="2608634"/>
                      <a:pt x="6003335" y="2622442"/>
                      <a:pt x="6020348" y="2622442"/>
                    </a:cubicBezTo>
                    <a:cubicBezTo>
                      <a:pt x="6037363" y="2622442"/>
                      <a:pt x="6051172" y="2608385"/>
                      <a:pt x="6051172" y="2591621"/>
                    </a:cubicBezTo>
                    <a:close/>
                    <a:moveTo>
                      <a:pt x="6055855" y="830311"/>
                    </a:moveTo>
                    <a:cubicBezTo>
                      <a:pt x="6055855" y="804664"/>
                      <a:pt x="6035143" y="783704"/>
                      <a:pt x="6009499" y="783704"/>
                    </a:cubicBezTo>
                    <a:cubicBezTo>
                      <a:pt x="5983855" y="783704"/>
                      <a:pt x="5963143" y="804664"/>
                      <a:pt x="5963143" y="830311"/>
                    </a:cubicBezTo>
                    <a:cubicBezTo>
                      <a:pt x="5963143" y="855697"/>
                      <a:pt x="5983855" y="876655"/>
                      <a:pt x="6009499" y="876655"/>
                    </a:cubicBezTo>
                    <a:cubicBezTo>
                      <a:pt x="6035143" y="876655"/>
                      <a:pt x="6056101" y="855943"/>
                      <a:pt x="6055855" y="830311"/>
                    </a:cubicBezTo>
                    <a:close/>
                    <a:moveTo>
                      <a:pt x="6055855" y="3212511"/>
                    </a:moveTo>
                    <a:cubicBezTo>
                      <a:pt x="6055855" y="3208567"/>
                      <a:pt x="6052651" y="3205361"/>
                      <a:pt x="6048705" y="3205361"/>
                    </a:cubicBezTo>
                    <a:cubicBezTo>
                      <a:pt x="6044760" y="3205361"/>
                      <a:pt x="6041555" y="3208567"/>
                      <a:pt x="6041555" y="3212511"/>
                    </a:cubicBezTo>
                    <a:cubicBezTo>
                      <a:pt x="6041555" y="3216457"/>
                      <a:pt x="6044760" y="3219665"/>
                      <a:pt x="6048705" y="3219665"/>
                    </a:cubicBezTo>
                    <a:cubicBezTo>
                      <a:pt x="6052896" y="3219665"/>
                      <a:pt x="6056103" y="3216211"/>
                      <a:pt x="6055855" y="3212511"/>
                    </a:cubicBezTo>
                    <a:close/>
                    <a:moveTo>
                      <a:pt x="6058073" y="397339"/>
                    </a:moveTo>
                    <a:cubicBezTo>
                      <a:pt x="6058073" y="370959"/>
                      <a:pt x="6036623" y="349753"/>
                      <a:pt x="6010485" y="349753"/>
                    </a:cubicBezTo>
                    <a:cubicBezTo>
                      <a:pt x="5984349" y="349753"/>
                      <a:pt x="5962896" y="370959"/>
                      <a:pt x="5962896" y="397339"/>
                    </a:cubicBezTo>
                    <a:cubicBezTo>
                      <a:pt x="5962896" y="423722"/>
                      <a:pt x="5984349" y="444927"/>
                      <a:pt x="6010485" y="444927"/>
                    </a:cubicBezTo>
                    <a:cubicBezTo>
                      <a:pt x="6036869" y="444927"/>
                      <a:pt x="6058073" y="423722"/>
                      <a:pt x="6058073" y="397339"/>
                    </a:cubicBezTo>
                    <a:close/>
                    <a:moveTo>
                      <a:pt x="6064486" y="1479690"/>
                    </a:moveTo>
                    <a:cubicBezTo>
                      <a:pt x="6064486" y="1453557"/>
                      <a:pt x="6043282" y="1432351"/>
                      <a:pt x="6017143" y="1432351"/>
                    </a:cubicBezTo>
                    <a:cubicBezTo>
                      <a:pt x="5991005" y="1432351"/>
                      <a:pt x="5969801" y="1453557"/>
                      <a:pt x="5969801" y="1479690"/>
                    </a:cubicBezTo>
                    <a:cubicBezTo>
                      <a:pt x="5969801" y="1505835"/>
                      <a:pt x="5991005" y="1527044"/>
                      <a:pt x="6017143" y="1527044"/>
                    </a:cubicBezTo>
                    <a:cubicBezTo>
                      <a:pt x="6043033" y="1527044"/>
                      <a:pt x="6064239" y="1505835"/>
                      <a:pt x="6064486" y="1479690"/>
                    </a:cubicBezTo>
                    <a:close/>
                    <a:moveTo>
                      <a:pt x="6065226" y="3907169"/>
                    </a:moveTo>
                    <a:cubicBezTo>
                      <a:pt x="6065226" y="3885715"/>
                      <a:pt x="6047964" y="3868208"/>
                      <a:pt x="6026512" y="3868208"/>
                    </a:cubicBezTo>
                    <a:cubicBezTo>
                      <a:pt x="6005061" y="3868208"/>
                      <a:pt x="5987554" y="3885715"/>
                      <a:pt x="5987554" y="3907169"/>
                    </a:cubicBezTo>
                    <a:cubicBezTo>
                      <a:pt x="5987554" y="3928373"/>
                      <a:pt x="6005061" y="3945880"/>
                      <a:pt x="6026512" y="3945880"/>
                    </a:cubicBezTo>
                    <a:cubicBezTo>
                      <a:pt x="6047964" y="3945880"/>
                      <a:pt x="6065472" y="3928373"/>
                      <a:pt x="6065226" y="3907169"/>
                    </a:cubicBezTo>
                    <a:close/>
                    <a:moveTo>
                      <a:pt x="6065721" y="5227086"/>
                    </a:moveTo>
                    <a:cubicBezTo>
                      <a:pt x="6065721" y="5227086"/>
                      <a:pt x="6065721" y="5226839"/>
                      <a:pt x="6065475" y="5226839"/>
                    </a:cubicBezTo>
                    <a:cubicBezTo>
                      <a:pt x="6065475" y="5226839"/>
                      <a:pt x="6065226" y="5227086"/>
                      <a:pt x="6065475" y="5227331"/>
                    </a:cubicBezTo>
                    <a:cubicBezTo>
                      <a:pt x="6065475" y="5227331"/>
                      <a:pt x="6065721" y="5227331"/>
                      <a:pt x="6065721" y="5227086"/>
                    </a:cubicBezTo>
                    <a:close/>
                    <a:moveTo>
                      <a:pt x="6066954" y="265701"/>
                    </a:moveTo>
                    <a:cubicBezTo>
                      <a:pt x="6066954" y="239566"/>
                      <a:pt x="6045746" y="218360"/>
                      <a:pt x="6019611" y="218360"/>
                    </a:cubicBezTo>
                    <a:cubicBezTo>
                      <a:pt x="5993721" y="218360"/>
                      <a:pt x="5972514" y="239566"/>
                      <a:pt x="5972514" y="265701"/>
                    </a:cubicBezTo>
                    <a:cubicBezTo>
                      <a:pt x="5972514" y="291837"/>
                      <a:pt x="5993721" y="313040"/>
                      <a:pt x="6019611" y="313040"/>
                    </a:cubicBezTo>
                    <a:cubicBezTo>
                      <a:pt x="6045500" y="313040"/>
                      <a:pt x="6066707" y="291837"/>
                      <a:pt x="6066954" y="265701"/>
                    </a:cubicBezTo>
                    <a:close/>
                    <a:moveTo>
                      <a:pt x="6068182" y="3328149"/>
                    </a:moveTo>
                    <a:cubicBezTo>
                      <a:pt x="6068182" y="3322487"/>
                      <a:pt x="6063745" y="3318049"/>
                      <a:pt x="6058073" y="3318049"/>
                    </a:cubicBezTo>
                    <a:cubicBezTo>
                      <a:pt x="6052401" y="3318049"/>
                      <a:pt x="6047964" y="3322487"/>
                      <a:pt x="6047964" y="3328149"/>
                    </a:cubicBezTo>
                    <a:cubicBezTo>
                      <a:pt x="6047964" y="3333815"/>
                      <a:pt x="6052401" y="3338263"/>
                      <a:pt x="6058073" y="3338263"/>
                    </a:cubicBezTo>
                    <a:cubicBezTo>
                      <a:pt x="6063745" y="3338263"/>
                      <a:pt x="6068182" y="3333815"/>
                      <a:pt x="6068182" y="3328149"/>
                    </a:cubicBezTo>
                    <a:close/>
                    <a:moveTo>
                      <a:pt x="6068185" y="6380074"/>
                    </a:moveTo>
                    <a:cubicBezTo>
                      <a:pt x="6068185" y="6371443"/>
                      <a:pt x="6061035" y="6364293"/>
                      <a:pt x="6052404" y="6364293"/>
                    </a:cubicBezTo>
                    <a:cubicBezTo>
                      <a:pt x="6043773" y="6364293"/>
                      <a:pt x="6036623" y="6371443"/>
                      <a:pt x="6036623" y="6380074"/>
                    </a:cubicBezTo>
                    <a:cubicBezTo>
                      <a:pt x="6036623" y="6388704"/>
                      <a:pt x="6043773" y="6395854"/>
                      <a:pt x="6052404" y="6395854"/>
                    </a:cubicBezTo>
                    <a:cubicBezTo>
                      <a:pt x="6061035" y="6395854"/>
                      <a:pt x="6068185" y="6388704"/>
                      <a:pt x="6068185" y="6380074"/>
                    </a:cubicBezTo>
                    <a:close/>
                    <a:moveTo>
                      <a:pt x="6069172" y="694230"/>
                    </a:moveTo>
                    <a:cubicBezTo>
                      <a:pt x="6069172" y="668329"/>
                      <a:pt x="6048213" y="647361"/>
                      <a:pt x="6022321" y="647361"/>
                    </a:cubicBezTo>
                    <a:cubicBezTo>
                      <a:pt x="5996431" y="647361"/>
                      <a:pt x="5975473" y="668329"/>
                      <a:pt x="5975473" y="694230"/>
                    </a:cubicBezTo>
                    <a:cubicBezTo>
                      <a:pt x="5975473" y="720097"/>
                      <a:pt x="5996431" y="741077"/>
                      <a:pt x="6022321" y="741077"/>
                    </a:cubicBezTo>
                    <a:cubicBezTo>
                      <a:pt x="6048213" y="741077"/>
                      <a:pt x="6069417" y="720097"/>
                      <a:pt x="6069172" y="694230"/>
                    </a:cubicBezTo>
                    <a:close/>
                    <a:moveTo>
                      <a:pt x="6069417" y="2321378"/>
                    </a:moveTo>
                    <a:cubicBezTo>
                      <a:pt x="6069417" y="2298708"/>
                      <a:pt x="6050926" y="2280207"/>
                      <a:pt x="6028241" y="2280207"/>
                    </a:cubicBezTo>
                    <a:cubicBezTo>
                      <a:pt x="6005557" y="2280207"/>
                      <a:pt x="5987063" y="2298708"/>
                      <a:pt x="5987063" y="2321378"/>
                    </a:cubicBezTo>
                    <a:cubicBezTo>
                      <a:pt x="5987063" y="2344095"/>
                      <a:pt x="6005557" y="2362565"/>
                      <a:pt x="6028241" y="2362565"/>
                    </a:cubicBezTo>
                    <a:cubicBezTo>
                      <a:pt x="6050926" y="2362565"/>
                      <a:pt x="6069417" y="2344095"/>
                      <a:pt x="6069417" y="2321378"/>
                    </a:cubicBezTo>
                    <a:close/>
                    <a:moveTo>
                      <a:pt x="6070157" y="5756730"/>
                    </a:moveTo>
                    <a:cubicBezTo>
                      <a:pt x="6070157" y="5753525"/>
                      <a:pt x="6067444" y="5750812"/>
                      <a:pt x="6064239" y="5750812"/>
                    </a:cubicBezTo>
                    <a:cubicBezTo>
                      <a:pt x="6061035" y="5750812"/>
                      <a:pt x="6058322" y="5753525"/>
                      <a:pt x="6058322" y="5756730"/>
                    </a:cubicBezTo>
                    <a:cubicBezTo>
                      <a:pt x="6058322" y="5759935"/>
                      <a:pt x="6061035" y="5762647"/>
                      <a:pt x="6064239" y="5762647"/>
                    </a:cubicBezTo>
                    <a:cubicBezTo>
                      <a:pt x="6067444" y="5762647"/>
                      <a:pt x="6070157" y="5760183"/>
                      <a:pt x="6070157" y="5756730"/>
                    </a:cubicBezTo>
                    <a:close/>
                    <a:moveTo>
                      <a:pt x="6071390" y="6513968"/>
                    </a:moveTo>
                    <a:cubicBezTo>
                      <a:pt x="6071390" y="6509774"/>
                      <a:pt x="6067691" y="6506323"/>
                      <a:pt x="6063500" y="6506323"/>
                    </a:cubicBezTo>
                    <a:cubicBezTo>
                      <a:pt x="6059308" y="6506323"/>
                      <a:pt x="6055855" y="6509774"/>
                      <a:pt x="6055855" y="6513968"/>
                    </a:cubicBezTo>
                    <a:cubicBezTo>
                      <a:pt x="6055855" y="6518159"/>
                      <a:pt x="6059308" y="6521609"/>
                      <a:pt x="6063500" y="6521609"/>
                    </a:cubicBezTo>
                    <a:cubicBezTo>
                      <a:pt x="6067691" y="6521609"/>
                      <a:pt x="6071141" y="6518159"/>
                      <a:pt x="6071390" y="6513968"/>
                    </a:cubicBezTo>
                    <a:close/>
                    <a:moveTo>
                      <a:pt x="6072130" y="4837990"/>
                    </a:moveTo>
                    <a:cubicBezTo>
                      <a:pt x="6072130" y="4824676"/>
                      <a:pt x="6061281" y="4813826"/>
                      <a:pt x="6047967" y="4813826"/>
                    </a:cubicBezTo>
                    <a:cubicBezTo>
                      <a:pt x="6034651" y="4813826"/>
                      <a:pt x="6023801" y="4824676"/>
                      <a:pt x="6023801" y="4837990"/>
                    </a:cubicBezTo>
                    <a:cubicBezTo>
                      <a:pt x="6023801" y="4851306"/>
                      <a:pt x="6034651" y="4862156"/>
                      <a:pt x="6047967" y="4862156"/>
                    </a:cubicBezTo>
                    <a:cubicBezTo>
                      <a:pt x="6061526" y="4862156"/>
                      <a:pt x="6072376" y="4851060"/>
                      <a:pt x="6072130" y="4837990"/>
                    </a:cubicBezTo>
                    <a:close/>
                    <a:moveTo>
                      <a:pt x="6075830" y="3792015"/>
                    </a:moveTo>
                    <a:cubicBezTo>
                      <a:pt x="6075830" y="3774015"/>
                      <a:pt x="6061282" y="3759467"/>
                      <a:pt x="6043282" y="3759467"/>
                    </a:cubicBezTo>
                    <a:cubicBezTo>
                      <a:pt x="6025282" y="3759467"/>
                      <a:pt x="6010733" y="3774015"/>
                      <a:pt x="6010733" y="3792015"/>
                    </a:cubicBezTo>
                    <a:cubicBezTo>
                      <a:pt x="6010733" y="3810015"/>
                      <a:pt x="6025282" y="3824563"/>
                      <a:pt x="6043282" y="3824563"/>
                    </a:cubicBezTo>
                    <a:cubicBezTo>
                      <a:pt x="6061282" y="3824563"/>
                      <a:pt x="6075830" y="3810015"/>
                      <a:pt x="6075830" y="3792015"/>
                    </a:cubicBezTo>
                    <a:close/>
                    <a:moveTo>
                      <a:pt x="6076813" y="3444275"/>
                    </a:moveTo>
                    <a:cubicBezTo>
                      <a:pt x="6076813" y="3436156"/>
                      <a:pt x="6070404" y="3429746"/>
                      <a:pt x="6062267" y="3429746"/>
                    </a:cubicBezTo>
                    <a:cubicBezTo>
                      <a:pt x="6054131" y="3429746"/>
                      <a:pt x="6047719" y="3436156"/>
                      <a:pt x="6047719" y="3444275"/>
                    </a:cubicBezTo>
                    <a:cubicBezTo>
                      <a:pt x="6047719" y="3452420"/>
                      <a:pt x="6054131" y="3458845"/>
                      <a:pt x="6062267" y="3458845"/>
                    </a:cubicBezTo>
                    <a:cubicBezTo>
                      <a:pt x="6070157" y="3458845"/>
                      <a:pt x="6076813" y="3452175"/>
                      <a:pt x="6076813" y="3444275"/>
                    </a:cubicBezTo>
                    <a:close/>
                    <a:moveTo>
                      <a:pt x="6080761" y="1335221"/>
                    </a:moveTo>
                    <a:cubicBezTo>
                      <a:pt x="6080761" y="1312293"/>
                      <a:pt x="6062019" y="1293542"/>
                      <a:pt x="6039088" y="1293542"/>
                    </a:cubicBezTo>
                    <a:cubicBezTo>
                      <a:pt x="6016157" y="1293542"/>
                      <a:pt x="5997417" y="1312293"/>
                      <a:pt x="5997417" y="1335221"/>
                    </a:cubicBezTo>
                    <a:cubicBezTo>
                      <a:pt x="5997417" y="1358154"/>
                      <a:pt x="6016157" y="1376894"/>
                      <a:pt x="6039088" y="1376894"/>
                    </a:cubicBezTo>
                    <a:cubicBezTo>
                      <a:pt x="6062019" y="1376894"/>
                      <a:pt x="6080761" y="1358154"/>
                      <a:pt x="6080761" y="1335221"/>
                    </a:cubicBezTo>
                    <a:close/>
                    <a:moveTo>
                      <a:pt x="6081007" y="3676371"/>
                    </a:moveTo>
                    <a:cubicBezTo>
                      <a:pt x="6081007" y="3661822"/>
                      <a:pt x="6069417" y="3649987"/>
                      <a:pt x="6054872" y="3649987"/>
                    </a:cubicBezTo>
                    <a:cubicBezTo>
                      <a:pt x="6040569" y="3649987"/>
                      <a:pt x="6028733" y="3661822"/>
                      <a:pt x="6028733" y="3676371"/>
                    </a:cubicBezTo>
                    <a:cubicBezTo>
                      <a:pt x="6028733" y="3690671"/>
                      <a:pt x="6040323" y="3702507"/>
                      <a:pt x="6054872" y="3702507"/>
                    </a:cubicBezTo>
                    <a:cubicBezTo>
                      <a:pt x="6069172" y="3702507"/>
                      <a:pt x="6081007" y="3690921"/>
                      <a:pt x="6081007" y="3676371"/>
                    </a:cubicBezTo>
                    <a:close/>
                    <a:moveTo>
                      <a:pt x="6081502" y="3560237"/>
                    </a:moveTo>
                    <a:cubicBezTo>
                      <a:pt x="6081502" y="3548893"/>
                      <a:pt x="6072377" y="3539770"/>
                      <a:pt x="6061035" y="3539770"/>
                    </a:cubicBezTo>
                    <a:cubicBezTo>
                      <a:pt x="6049692" y="3539770"/>
                      <a:pt x="6040569" y="3548893"/>
                      <a:pt x="6040569" y="3560237"/>
                    </a:cubicBezTo>
                    <a:cubicBezTo>
                      <a:pt x="6040569" y="3571579"/>
                      <a:pt x="6049940" y="3580701"/>
                      <a:pt x="6061035" y="3580701"/>
                    </a:cubicBezTo>
                    <a:cubicBezTo>
                      <a:pt x="6072377" y="3580701"/>
                      <a:pt x="6081502" y="3571579"/>
                      <a:pt x="6081502" y="3560237"/>
                    </a:cubicBezTo>
                    <a:close/>
                    <a:moveTo>
                      <a:pt x="6082485" y="4574645"/>
                    </a:moveTo>
                    <a:cubicBezTo>
                      <a:pt x="6082485" y="4559112"/>
                      <a:pt x="6069909" y="4546536"/>
                      <a:pt x="6054374" y="4546536"/>
                    </a:cubicBezTo>
                    <a:cubicBezTo>
                      <a:pt x="6038842" y="4546536"/>
                      <a:pt x="6026266" y="4559112"/>
                      <a:pt x="6026266" y="4574645"/>
                    </a:cubicBezTo>
                    <a:cubicBezTo>
                      <a:pt x="6026266" y="4590179"/>
                      <a:pt x="6038842" y="4602755"/>
                      <a:pt x="6054374" y="4602755"/>
                    </a:cubicBezTo>
                    <a:cubicBezTo>
                      <a:pt x="6069909" y="4602755"/>
                      <a:pt x="6082485" y="4590179"/>
                      <a:pt x="6082485" y="4574645"/>
                    </a:cubicBezTo>
                    <a:close/>
                    <a:moveTo>
                      <a:pt x="6084213" y="2701846"/>
                    </a:moveTo>
                    <a:cubicBezTo>
                      <a:pt x="6084213" y="2686558"/>
                      <a:pt x="6071639" y="2673980"/>
                      <a:pt x="6056351" y="2673980"/>
                    </a:cubicBezTo>
                    <a:cubicBezTo>
                      <a:pt x="6041064" y="2673980"/>
                      <a:pt x="6028488" y="2686558"/>
                      <a:pt x="6028488" y="2701846"/>
                    </a:cubicBezTo>
                    <a:cubicBezTo>
                      <a:pt x="6028488" y="2717133"/>
                      <a:pt x="6041064" y="2729714"/>
                      <a:pt x="6056351" y="2729714"/>
                    </a:cubicBezTo>
                    <a:cubicBezTo>
                      <a:pt x="6071639" y="2729714"/>
                      <a:pt x="6084213" y="2717133"/>
                      <a:pt x="6084213" y="2701846"/>
                    </a:cubicBezTo>
                    <a:close/>
                    <a:moveTo>
                      <a:pt x="6085447" y="6646129"/>
                    </a:moveTo>
                    <a:cubicBezTo>
                      <a:pt x="6085447" y="6639717"/>
                      <a:pt x="6080266" y="6634539"/>
                      <a:pt x="6073857" y="6634539"/>
                    </a:cubicBezTo>
                    <a:cubicBezTo>
                      <a:pt x="6067445" y="6634539"/>
                      <a:pt x="6062267" y="6639717"/>
                      <a:pt x="6062267" y="6646129"/>
                    </a:cubicBezTo>
                    <a:cubicBezTo>
                      <a:pt x="6062267" y="6652539"/>
                      <a:pt x="6067445" y="6657719"/>
                      <a:pt x="6073857" y="6657719"/>
                    </a:cubicBezTo>
                    <a:cubicBezTo>
                      <a:pt x="6080266" y="6657719"/>
                      <a:pt x="6085447" y="6652539"/>
                      <a:pt x="6085447" y="6646129"/>
                    </a:cubicBezTo>
                    <a:close/>
                    <a:moveTo>
                      <a:pt x="6090870" y="5898020"/>
                    </a:moveTo>
                    <a:cubicBezTo>
                      <a:pt x="6090870" y="5893334"/>
                      <a:pt x="6086925" y="5889389"/>
                      <a:pt x="6082239" y="5889389"/>
                    </a:cubicBezTo>
                    <a:cubicBezTo>
                      <a:pt x="6077554" y="5889389"/>
                      <a:pt x="6073608" y="5893334"/>
                      <a:pt x="6073608" y="5898020"/>
                    </a:cubicBezTo>
                    <a:cubicBezTo>
                      <a:pt x="6073608" y="5902705"/>
                      <a:pt x="6077308" y="5906651"/>
                      <a:pt x="6082239" y="5906651"/>
                    </a:cubicBezTo>
                    <a:cubicBezTo>
                      <a:pt x="6087170" y="5906651"/>
                      <a:pt x="6090870" y="5902705"/>
                      <a:pt x="6090870" y="5898020"/>
                    </a:cubicBezTo>
                    <a:close/>
                    <a:moveTo>
                      <a:pt x="6092839" y="5376512"/>
                    </a:moveTo>
                    <a:lnTo>
                      <a:pt x="6092594" y="5376266"/>
                    </a:lnTo>
                    <a:lnTo>
                      <a:pt x="6092594" y="5376512"/>
                    </a:lnTo>
                    <a:lnTo>
                      <a:pt x="6092594" y="5376761"/>
                    </a:lnTo>
                    <a:close/>
                    <a:moveTo>
                      <a:pt x="6093089" y="4302674"/>
                    </a:moveTo>
                    <a:cubicBezTo>
                      <a:pt x="6093089" y="4274071"/>
                      <a:pt x="6069664" y="4250646"/>
                      <a:pt x="6041061" y="4250646"/>
                    </a:cubicBezTo>
                    <a:cubicBezTo>
                      <a:pt x="6012458" y="4250646"/>
                      <a:pt x="5989033" y="4273825"/>
                      <a:pt x="5989033" y="4302674"/>
                    </a:cubicBezTo>
                    <a:cubicBezTo>
                      <a:pt x="5989033" y="4331277"/>
                      <a:pt x="6012458" y="4354702"/>
                      <a:pt x="6041061" y="4354702"/>
                    </a:cubicBezTo>
                    <a:cubicBezTo>
                      <a:pt x="6069664" y="4354702"/>
                      <a:pt x="6093089" y="4331277"/>
                      <a:pt x="6093089" y="4302674"/>
                    </a:cubicBezTo>
                    <a:close/>
                    <a:moveTo>
                      <a:pt x="6099007" y="4993089"/>
                    </a:moveTo>
                    <a:cubicBezTo>
                      <a:pt x="6099007" y="4985690"/>
                      <a:pt x="6092840" y="4979526"/>
                      <a:pt x="6085444" y="4979526"/>
                    </a:cubicBezTo>
                    <a:cubicBezTo>
                      <a:pt x="6078046" y="4979526"/>
                      <a:pt x="6071882" y="4985690"/>
                      <a:pt x="6071882" y="4993089"/>
                    </a:cubicBezTo>
                    <a:cubicBezTo>
                      <a:pt x="6071882" y="5000484"/>
                      <a:pt x="6078046" y="5006647"/>
                      <a:pt x="6085444" y="5006647"/>
                    </a:cubicBezTo>
                    <a:cubicBezTo>
                      <a:pt x="6092840" y="5006647"/>
                      <a:pt x="6099007" y="5000484"/>
                      <a:pt x="6099007" y="4993089"/>
                    </a:cubicBezTo>
                    <a:close/>
                    <a:moveTo>
                      <a:pt x="6101966" y="1906481"/>
                    </a:moveTo>
                    <a:cubicBezTo>
                      <a:pt x="6101966" y="1878887"/>
                      <a:pt x="6079527" y="1856221"/>
                      <a:pt x="6051664" y="1856221"/>
                    </a:cubicBezTo>
                    <a:cubicBezTo>
                      <a:pt x="6024048" y="1856221"/>
                      <a:pt x="6001363" y="1878641"/>
                      <a:pt x="6001363" y="1906481"/>
                    </a:cubicBezTo>
                    <a:cubicBezTo>
                      <a:pt x="6001363" y="1934075"/>
                      <a:pt x="6023802" y="1956741"/>
                      <a:pt x="6051664" y="1956741"/>
                    </a:cubicBezTo>
                    <a:cubicBezTo>
                      <a:pt x="6079527" y="1956741"/>
                      <a:pt x="6102211" y="1934075"/>
                      <a:pt x="6101966" y="1906481"/>
                    </a:cubicBezTo>
                    <a:close/>
                    <a:moveTo>
                      <a:pt x="6103690" y="2162113"/>
                    </a:moveTo>
                    <a:cubicBezTo>
                      <a:pt x="6103690" y="2144364"/>
                      <a:pt x="6089144" y="2129811"/>
                      <a:pt x="6071390" y="2129811"/>
                    </a:cubicBezTo>
                    <a:cubicBezTo>
                      <a:pt x="6053636" y="2129811"/>
                      <a:pt x="6039088" y="2144364"/>
                      <a:pt x="6039088" y="2162113"/>
                    </a:cubicBezTo>
                    <a:cubicBezTo>
                      <a:pt x="6039088" y="2179877"/>
                      <a:pt x="6053636" y="2194424"/>
                      <a:pt x="6071390" y="2194424"/>
                    </a:cubicBezTo>
                    <a:cubicBezTo>
                      <a:pt x="6089389" y="2194424"/>
                      <a:pt x="6103938" y="2179877"/>
                      <a:pt x="6103690" y="2162113"/>
                    </a:cubicBezTo>
                    <a:close/>
                    <a:moveTo>
                      <a:pt x="6106405" y="1191986"/>
                    </a:moveTo>
                    <a:cubicBezTo>
                      <a:pt x="6106405" y="1165355"/>
                      <a:pt x="6084707" y="1143899"/>
                      <a:pt x="6058322" y="1143899"/>
                    </a:cubicBezTo>
                    <a:cubicBezTo>
                      <a:pt x="6031692" y="1143899"/>
                      <a:pt x="6010239" y="1165601"/>
                      <a:pt x="6010239" y="1191986"/>
                    </a:cubicBezTo>
                    <a:cubicBezTo>
                      <a:pt x="6010239" y="1218619"/>
                      <a:pt x="6031938" y="1240075"/>
                      <a:pt x="6058322" y="1240075"/>
                    </a:cubicBezTo>
                    <a:cubicBezTo>
                      <a:pt x="6084707" y="1240075"/>
                      <a:pt x="6106157" y="1218373"/>
                      <a:pt x="6106405" y="1191986"/>
                    </a:cubicBezTo>
                    <a:close/>
                    <a:moveTo>
                      <a:pt x="6106897" y="1720793"/>
                    </a:moveTo>
                    <a:cubicBezTo>
                      <a:pt x="6106897" y="1695179"/>
                      <a:pt x="6085939" y="1674460"/>
                      <a:pt x="6060541" y="1674460"/>
                    </a:cubicBezTo>
                    <a:cubicBezTo>
                      <a:pt x="6034897" y="1674460"/>
                      <a:pt x="6014185" y="1695423"/>
                      <a:pt x="6014185" y="1720793"/>
                    </a:cubicBezTo>
                    <a:cubicBezTo>
                      <a:pt x="6014185" y="1746481"/>
                      <a:pt x="6035143" y="1767220"/>
                      <a:pt x="6060541" y="1767220"/>
                    </a:cubicBezTo>
                    <a:cubicBezTo>
                      <a:pt x="6086185" y="1767220"/>
                      <a:pt x="6106897" y="1746481"/>
                      <a:pt x="6106897" y="1720793"/>
                    </a:cubicBezTo>
                    <a:close/>
                    <a:moveTo>
                      <a:pt x="6110594" y="6037089"/>
                    </a:moveTo>
                    <a:cubicBezTo>
                      <a:pt x="6110594" y="6030677"/>
                      <a:pt x="6105413" y="6025499"/>
                      <a:pt x="6099004" y="6025499"/>
                    </a:cubicBezTo>
                    <a:cubicBezTo>
                      <a:pt x="6092592" y="6025499"/>
                      <a:pt x="6087414" y="6030677"/>
                      <a:pt x="6087414" y="6037089"/>
                    </a:cubicBezTo>
                    <a:cubicBezTo>
                      <a:pt x="6087414" y="6043499"/>
                      <a:pt x="6092592" y="6048679"/>
                      <a:pt x="6099004" y="6048679"/>
                    </a:cubicBezTo>
                    <a:cubicBezTo>
                      <a:pt x="6105413" y="6048679"/>
                      <a:pt x="6110594" y="6043499"/>
                      <a:pt x="6110594" y="6037089"/>
                    </a:cubicBezTo>
                    <a:close/>
                    <a:moveTo>
                      <a:pt x="6112074" y="2813549"/>
                    </a:moveTo>
                    <a:cubicBezTo>
                      <a:pt x="6112074" y="2800232"/>
                      <a:pt x="6101226" y="2789135"/>
                      <a:pt x="6087666" y="2789135"/>
                    </a:cubicBezTo>
                    <a:cubicBezTo>
                      <a:pt x="6074349" y="2789135"/>
                      <a:pt x="6063254" y="2799986"/>
                      <a:pt x="6063254" y="2813549"/>
                    </a:cubicBezTo>
                    <a:cubicBezTo>
                      <a:pt x="6063254" y="2826864"/>
                      <a:pt x="6074103" y="2837960"/>
                      <a:pt x="6087666" y="2837960"/>
                    </a:cubicBezTo>
                    <a:cubicBezTo>
                      <a:pt x="6100979" y="2837960"/>
                      <a:pt x="6112074" y="2827111"/>
                      <a:pt x="6112074" y="2813549"/>
                    </a:cubicBezTo>
                    <a:close/>
                    <a:moveTo>
                      <a:pt x="6114788" y="2427657"/>
                    </a:moveTo>
                    <a:cubicBezTo>
                      <a:pt x="6114788" y="2405231"/>
                      <a:pt x="6096539" y="2386982"/>
                      <a:pt x="6074101" y="2386982"/>
                    </a:cubicBezTo>
                    <a:cubicBezTo>
                      <a:pt x="6051664" y="2386982"/>
                      <a:pt x="6033416" y="2405231"/>
                      <a:pt x="6033416" y="2427657"/>
                    </a:cubicBezTo>
                    <a:cubicBezTo>
                      <a:pt x="6033416" y="2450097"/>
                      <a:pt x="6051664" y="2468349"/>
                      <a:pt x="6074101" y="2468349"/>
                    </a:cubicBezTo>
                    <a:cubicBezTo>
                      <a:pt x="6096539" y="2468349"/>
                      <a:pt x="6114788" y="2450343"/>
                      <a:pt x="6114788" y="2427657"/>
                    </a:cubicBezTo>
                    <a:close/>
                    <a:moveTo>
                      <a:pt x="6120703" y="5524212"/>
                    </a:moveTo>
                    <a:cubicBezTo>
                      <a:pt x="6120703" y="5522238"/>
                      <a:pt x="6118977" y="5520512"/>
                      <a:pt x="6117004" y="5520512"/>
                    </a:cubicBezTo>
                    <a:cubicBezTo>
                      <a:pt x="6114785" y="5520512"/>
                      <a:pt x="6113058" y="5522238"/>
                      <a:pt x="6113058" y="5524212"/>
                    </a:cubicBezTo>
                    <a:cubicBezTo>
                      <a:pt x="6113058" y="5526184"/>
                      <a:pt x="6114785" y="5527910"/>
                      <a:pt x="6117004" y="5527910"/>
                    </a:cubicBezTo>
                    <a:cubicBezTo>
                      <a:pt x="6118977" y="5527910"/>
                      <a:pt x="6120703" y="5526184"/>
                      <a:pt x="6120703" y="5524212"/>
                    </a:cubicBezTo>
                    <a:close/>
                    <a:moveTo>
                      <a:pt x="6122678" y="1050963"/>
                    </a:moveTo>
                    <a:cubicBezTo>
                      <a:pt x="6122678" y="1025326"/>
                      <a:pt x="6101719" y="1004363"/>
                      <a:pt x="6076076" y="1004363"/>
                    </a:cubicBezTo>
                    <a:cubicBezTo>
                      <a:pt x="6050432" y="1004363"/>
                      <a:pt x="6029473" y="1025326"/>
                      <a:pt x="6029473" y="1050963"/>
                    </a:cubicBezTo>
                    <a:cubicBezTo>
                      <a:pt x="6029473" y="1076610"/>
                      <a:pt x="6050432" y="1097571"/>
                      <a:pt x="6076076" y="1097571"/>
                    </a:cubicBezTo>
                    <a:cubicBezTo>
                      <a:pt x="6101966" y="1097571"/>
                      <a:pt x="6122678" y="1076610"/>
                      <a:pt x="6122678" y="1050963"/>
                    </a:cubicBezTo>
                    <a:close/>
                    <a:moveTo>
                      <a:pt x="6122678" y="4191468"/>
                    </a:moveTo>
                    <a:cubicBezTo>
                      <a:pt x="6122678" y="4164838"/>
                      <a:pt x="6100979" y="4143139"/>
                      <a:pt x="6074349" y="4143139"/>
                    </a:cubicBezTo>
                    <a:cubicBezTo>
                      <a:pt x="6047719" y="4143139"/>
                      <a:pt x="6026020" y="4164838"/>
                      <a:pt x="6026020" y="4191468"/>
                    </a:cubicBezTo>
                    <a:cubicBezTo>
                      <a:pt x="6026020" y="4218098"/>
                      <a:pt x="6047719" y="4239797"/>
                      <a:pt x="6074349" y="4239797"/>
                    </a:cubicBezTo>
                    <a:cubicBezTo>
                      <a:pt x="6100979" y="4239797"/>
                      <a:pt x="6122678" y="4218098"/>
                      <a:pt x="6122678" y="4191468"/>
                    </a:cubicBezTo>
                    <a:close/>
                    <a:moveTo>
                      <a:pt x="6128842" y="6174925"/>
                    </a:moveTo>
                    <a:cubicBezTo>
                      <a:pt x="6128842" y="6167035"/>
                      <a:pt x="6122183" y="6160376"/>
                      <a:pt x="6114293" y="6160376"/>
                    </a:cubicBezTo>
                    <a:cubicBezTo>
                      <a:pt x="6106157" y="6160376"/>
                      <a:pt x="6099744" y="6167035"/>
                      <a:pt x="6099744" y="6174925"/>
                    </a:cubicBezTo>
                    <a:cubicBezTo>
                      <a:pt x="6099744" y="6182815"/>
                      <a:pt x="6106157" y="6189471"/>
                      <a:pt x="6114293" y="6189471"/>
                    </a:cubicBezTo>
                    <a:cubicBezTo>
                      <a:pt x="6122430" y="6189471"/>
                      <a:pt x="6128842" y="6182815"/>
                      <a:pt x="6128842" y="6174925"/>
                    </a:cubicBezTo>
                    <a:close/>
                    <a:moveTo>
                      <a:pt x="6129330" y="5129690"/>
                    </a:moveTo>
                    <a:lnTo>
                      <a:pt x="6129085" y="5129690"/>
                    </a:lnTo>
                    <a:lnTo>
                      <a:pt x="6129085" y="5129936"/>
                    </a:lnTo>
                    <a:close/>
                    <a:moveTo>
                      <a:pt x="6129334" y="2926487"/>
                    </a:moveTo>
                    <a:cubicBezTo>
                      <a:pt x="6129334" y="2917855"/>
                      <a:pt x="6122430" y="2910951"/>
                      <a:pt x="6113799" y="2910951"/>
                    </a:cubicBezTo>
                    <a:cubicBezTo>
                      <a:pt x="6105168" y="2910951"/>
                      <a:pt x="6098264" y="2917855"/>
                      <a:pt x="6098264" y="2926487"/>
                    </a:cubicBezTo>
                    <a:cubicBezTo>
                      <a:pt x="6098264" y="2935116"/>
                      <a:pt x="6105168" y="2942023"/>
                      <a:pt x="6113799" y="2942023"/>
                    </a:cubicBezTo>
                    <a:cubicBezTo>
                      <a:pt x="6122430" y="2942023"/>
                      <a:pt x="6129334" y="2935116"/>
                      <a:pt x="6129334" y="2926487"/>
                    </a:cubicBezTo>
                    <a:close/>
                    <a:moveTo>
                      <a:pt x="6130322" y="4734428"/>
                    </a:moveTo>
                    <a:cubicBezTo>
                      <a:pt x="6130322" y="4718399"/>
                      <a:pt x="6117009" y="4705085"/>
                      <a:pt x="6100733" y="4705085"/>
                    </a:cubicBezTo>
                    <a:cubicBezTo>
                      <a:pt x="6084460" y="4705085"/>
                      <a:pt x="6071144" y="4718153"/>
                      <a:pt x="6071144" y="4734428"/>
                    </a:cubicBezTo>
                    <a:cubicBezTo>
                      <a:pt x="6071144" y="4750701"/>
                      <a:pt x="6084460" y="4764017"/>
                      <a:pt x="6100733" y="4764017"/>
                    </a:cubicBezTo>
                    <a:cubicBezTo>
                      <a:pt x="6116760" y="4764017"/>
                      <a:pt x="6130076" y="4750701"/>
                      <a:pt x="6130322" y="4734428"/>
                    </a:cubicBezTo>
                    <a:close/>
                    <a:moveTo>
                      <a:pt x="6134763" y="1572158"/>
                    </a:moveTo>
                    <a:cubicBezTo>
                      <a:pt x="6134763" y="1546272"/>
                      <a:pt x="6113555" y="1525070"/>
                      <a:pt x="6087666" y="1525070"/>
                    </a:cubicBezTo>
                    <a:cubicBezTo>
                      <a:pt x="6061776" y="1525070"/>
                      <a:pt x="6040569" y="1546272"/>
                      <a:pt x="6040569" y="1572158"/>
                    </a:cubicBezTo>
                    <a:cubicBezTo>
                      <a:pt x="6040569" y="1598055"/>
                      <a:pt x="6061776" y="1619255"/>
                      <a:pt x="6087666" y="1619255"/>
                    </a:cubicBezTo>
                    <a:cubicBezTo>
                      <a:pt x="6113555" y="1619255"/>
                      <a:pt x="6134763" y="1598055"/>
                      <a:pt x="6134763" y="1572158"/>
                    </a:cubicBezTo>
                    <a:close/>
                    <a:moveTo>
                      <a:pt x="6135748" y="606895"/>
                    </a:moveTo>
                    <a:cubicBezTo>
                      <a:pt x="6135748" y="580266"/>
                      <a:pt x="6114050" y="558814"/>
                      <a:pt x="6087665" y="558814"/>
                    </a:cubicBezTo>
                    <a:cubicBezTo>
                      <a:pt x="6061281" y="558814"/>
                      <a:pt x="6039582" y="580266"/>
                      <a:pt x="6039582" y="606895"/>
                    </a:cubicBezTo>
                    <a:cubicBezTo>
                      <a:pt x="6039582" y="633523"/>
                      <a:pt x="6061035" y="655051"/>
                      <a:pt x="6087665" y="655051"/>
                    </a:cubicBezTo>
                    <a:cubicBezTo>
                      <a:pt x="6114295" y="655051"/>
                      <a:pt x="6135748" y="633523"/>
                      <a:pt x="6135748" y="606895"/>
                    </a:cubicBezTo>
                    <a:close/>
                    <a:moveTo>
                      <a:pt x="6137226" y="4467141"/>
                    </a:moveTo>
                    <a:cubicBezTo>
                      <a:pt x="6137226" y="4445443"/>
                      <a:pt x="6119473" y="4427689"/>
                      <a:pt x="6097775" y="4427689"/>
                    </a:cubicBezTo>
                    <a:cubicBezTo>
                      <a:pt x="6076076" y="4427689"/>
                      <a:pt x="6058322" y="4445443"/>
                      <a:pt x="6058322" y="4467141"/>
                    </a:cubicBezTo>
                    <a:cubicBezTo>
                      <a:pt x="6058322" y="4488840"/>
                      <a:pt x="6076076" y="4506593"/>
                      <a:pt x="6097775" y="4506593"/>
                    </a:cubicBezTo>
                    <a:cubicBezTo>
                      <a:pt x="6119473" y="4506593"/>
                      <a:pt x="6137226" y="4489086"/>
                      <a:pt x="6137226" y="4467141"/>
                    </a:cubicBezTo>
                    <a:close/>
                    <a:moveTo>
                      <a:pt x="6138704" y="911429"/>
                    </a:moveTo>
                    <a:cubicBezTo>
                      <a:pt x="6138704" y="886029"/>
                      <a:pt x="6117992" y="865071"/>
                      <a:pt x="6092348" y="865071"/>
                    </a:cubicBezTo>
                    <a:cubicBezTo>
                      <a:pt x="6066704" y="865071"/>
                      <a:pt x="6045992" y="885783"/>
                      <a:pt x="6045992" y="911429"/>
                    </a:cubicBezTo>
                    <a:cubicBezTo>
                      <a:pt x="6045992" y="937070"/>
                      <a:pt x="6066704" y="957793"/>
                      <a:pt x="6092348" y="957793"/>
                    </a:cubicBezTo>
                    <a:cubicBezTo>
                      <a:pt x="6117746" y="957793"/>
                      <a:pt x="6138704" y="937070"/>
                      <a:pt x="6138704" y="911429"/>
                    </a:cubicBezTo>
                    <a:close/>
                    <a:moveTo>
                      <a:pt x="6138948" y="3040905"/>
                    </a:moveTo>
                    <a:cubicBezTo>
                      <a:pt x="6138948" y="3038932"/>
                      <a:pt x="6137224" y="3037205"/>
                      <a:pt x="6135251" y="3037205"/>
                    </a:cubicBezTo>
                    <a:cubicBezTo>
                      <a:pt x="6133279" y="3037205"/>
                      <a:pt x="6131552" y="3038932"/>
                      <a:pt x="6131552" y="3040905"/>
                    </a:cubicBezTo>
                    <a:cubicBezTo>
                      <a:pt x="6131552" y="3042877"/>
                      <a:pt x="6133279" y="3044355"/>
                      <a:pt x="6135251" y="3044355"/>
                    </a:cubicBezTo>
                    <a:cubicBezTo>
                      <a:pt x="6137224" y="3044355"/>
                      <a:pt x="6138948" y="3042632"/>
                      <a:pt x="6138948" y="3040905"/>
                    </a:cubicBezTo>
                    <a:close/>
                    <a:moveTo>
                      <a:pt x="6146101" y="5668706"/>
                    </a:moveTo>
                    <a:cubicBezTo>
                      <a:pt x="6146101" y="5665252"/>
                      <a:pt x="6143142" y="5662293"/>
                      <a:pt x="6139689" y="5662293"/>
                    </a:cubicBezTo>
                    <a:cubicBezTo>
                      <a:pt x="6136238" y="5662293"/>
                      <a:pt x="6133279" y="5665006"/>
                      <a:pt x="6133279" y="5668706"/>
                    </a:cubicBezTo>
                    <a:cubicBezTo>
                      <a:pt x="6133279" y="5672156"/>
                      <a:pt x="6135992" y="5675115"/>
                      <a:pt x="6139689" y="5675115"/>
                    </a:cubicBezTo>
                    <a:cubicBezTo>
                      <a:pt x="6143387" y="5675115"/>
                      <a:pt x="6146101" y="5672156"/>
                      <a:pt x="6146101" y="5668706"/>
                    </a:cubicBezTo>
                    <a:close/>
                    <a:moveTo>
                      <a:pt x="6146348" y="4079029"/>
                    </a:moveTo>
                    <a:cubicBezTo>
                      <a:pt x="6146348" y="4055112"/>
                      <a:pt x="6126869" y="4035631"/>
                      <a:pt x="6102951" y="4035631"/>
                    </a:cubicBezTo>
                    <a:cubicBezTo>
                      <a:pt x="6079034" y="4035631"/>
                      <a:pt x="6059554" y="4055112"/>
                      <a:pt x="6059554" y="4079029"/>
                    </a:cubicBezTo>
                    <a:cubicBezTo>
                      <a:pt x="6059554" y="4102946"/>
                      <a:pt x="6079034" y="4122426"/>
                      <a:pt x="6102951" y="4122426"/>
                    </a:cubicBezTo>
                    <a:cubicBezTo>
                      <a:pt x="6126869" y="4122426"/>
                      <a:pt x="6146348" y="4102701"/>
                      <a:pt x="6146348" y="4079029"/>
                    </a:cubicBezTo>
                    <a:close/>
                    <a:moveTo>
                      <a:pt x="6147582" y="472296"/>
                    </a:moveTo>
                    <a:cubicBezTo>
                      <a:pt x="6147582" y="445913"/>
                      <a:pt x="6125883" y="424461"/>
                      <a:pt x="6099501" y="424461"/>
                    </a:cubicBezTo>
                    <a:cubicBezTo>
                      <a:pt x="6072871" y="424461"/>
                      <a:pt x="6051418" y="445913"/>
                      <a:pt x="6051418" y="472296"/>
                    </a:cubicBezTo>
                    <a:cubicBezTo>
                      <a:pt x="6051418" y="498924"/>
                      <a:pt x="6073117" y="520373"/>
                      <a:pt x="6099501" y="520373"/>
                    </a:cubicBezTo>
                    <a:cubicBezTo>
                      <a:pt x="6125883" y="520373"/>
                      <a:pt x="6147336" y="498924"/>
                      <a:pt x="6147582" y="472296"/>
                    </a:cubicBezTo>
                    <a:close/>
                    <a:moveTo>
                      <a:pt x="6152261" y="3155567"/>
                    </a:moveTo>
                    <a:cubicBezTo>
                      <a:pt x="6152261" y="3155073"/>
                      <a:pt x="6151770" y="3154827"/>
                      <a:pt x="6151523" y="3154827"/>
                    </a:cubicBezTo>
                    <a:cubicBezTo>
                      <a:pt x="6151029" y="3154827"/>
                      <a:pt x="6150783" y="3155073"/>
                      <a:pt x="6150783" y="3155567"/>
                    </a:cubicBezTo>
                    <a:cubicBezTo>
                      <a:pt x="6150783" y="3156059"/>
                      <a:pt x="6151029" y="3156305"/>
                      <a:pt x="6151523" y="3156305"/>
                    </a:cubicBezTo>
                    <a:cubicBezTo>
                      <a:pt x="6152015" y="3156305"/>
                      <a:pt x="6152261" y="3156059"/>
                      <a:pt x="6152261" y="3155567"/>
                    </a:cubicBezTo>
                    <a:close/>
                    <a:moveTo>
                      <a:pt x="6152516" y="1425476"/>
                    </a:moveTo>
                    <a:cubicBezTo>
                      <a:pt x="6152516" y="1403279"/>
                      <a:pt x="6134514" y="1385276"/>
                      <a:pt x="6112323" y="1385276"/>
                    </a:cubicBezTo>
                    <a:cubicBezTo>
                      <a:pt x="6090130" y="1385276"/>
                      <a:pt x="6072130" y="1403279"/>
                      <a:pt x="6072130" y="1425476"/>
                    </a:cubicBezTo>
                    <a:cubicBezTo>
                      <a:pt x="6072130" y="1447653"/>
                      <a:pt x="6090130" y="1465667"/>
                      <a:pt x="6112323" y="1465667"/>
                    </a:cubicBezTo>
                    <a:cubicBezTo>
                      <a:pt x="6134514" y="1465667"/>
                      <a:pt x="6152516" y="1447406"/>
                      <a:pt x="6152516" y="1425476"/>
                    </a:cubicBezTo>
                    <a:close/>
                    <a:moveTo>
                      <a:pt x="6153742" y="2535907"/>
                    </a:moveTo>
                    <a:cubicBezTo>
                      <a:pt x="6153742" y="2514699"/>
                      <a:pt x="6136729" y="2497688"/>
                      <a:pt x="6115771" y="2497688"/>
                    </a:cubicBezTo>
                    <a:cubicBezTo>
                      <a:pt x="6094564" y="2497688"/>
                      <a:pt x="6077551" y="2514945"/>
                      <a:pt x="6077551" y="2535907"/>
                    </a:cubicBezTo>
                    <a:cubicBezTo>
                      <a:pt x="6077551" y="2557111"/>
                      <a:pt x="6094813" y="2574124"/>
                      <a:pt x="6115771" y="2574124"/>
                    </a:cubicBezTo>
                    <a:cubicBezTo>
                      <a:pt x="6136729" y="2574124"/>
                      <a:pt x="6153742" y="2557111"/>
                      <a:pt x="6153742" y="2535907"/>
                    </a:cubicBezTo>
                    <a:close/>
                    <a:moveTo>
                      <a:pt x="6153993" y="773617"/>
                    </a:moveTo>
                    <a:cubicBezTo>
                      <a:pt x="6153993" y="747725"/>
                      <a:pt x="6132789" y="726756"/>
                      <a:pt x="6106897" y="726756"/>
                    </a:cubicBezTo>
                    <a:cubicBezTo>
                      <a:pt x="6081007" y="726756"/>
                      <a:pt x="6060048" y="747725"/>
                      <a:pt x="6060048" y="773617"/>
                    </a:cubicBezTo>
                    <a:cubicBezTo>
                      <a:pt x="6060048" y="799511"/>
                      <a:pt x="6081007" y="820469"/>
                      <a:pt x="6106897" y="820469"/>
                    </a:cubicBezTo>
                    <a:cubicBezTo>
                      <a:pt x="6132789" y="820469"/>
                      <a:pt x="6153993" y="799262"/>
                      <a:pt x="6153993" y="773617"/>
                    </a:cubicBezTo>
                    <a:close/>
                    <a:moveTo>
                      <a:pt x="6155224" y="6301664"/>
                    </a:moveTo>
                    <a:cubicBezTo>
                      <a:pt x="6155224" y="6292296"/>
                      <a:pt x="6147825" y="6284897"/>
                      <a:pt x="6138456" y="6284897"/>
                    </a:cubicBezTo>
                    <a:cubicBezTo>
                      <a:pt x="6129086" y="6284897"/>
                      <a:pt x="6121689" y="6292541"/>
                      <a:pt x="6121689" y="6301664"/>
                    </a:cubicBezTo>
                    <a:cubicBezTo>
                      <a:pt x="6121689" y="6311032"/>
                      <a:pt x="6129333" y="6318430"/>
                      <a:pt x="6138456" y="6318430"/>
                    </a:cubicBezTo>
                    <a:cubicBezTo>
                      <a:pt x="6147579" y="6318430"/>
                      <a:pt x="6155224" y="6311032"/>
                      <a:pt x="6155224" y="6301664"/>
                    </a:cubicBezTo>
                    <a:close/>
                    <a:moveTo>
                      <a:pt x="6157444" y="338928"/>
                    </a:moveTo>
                    <a:cubicBezTo>
                      <a:pt x="6157444" y="312794"/>
                      <a:pt x="6136240" y="291343"/>
                      <a:pt x="6109856" y="291343"/>
                    </a:cubicBezTo>
                    <a:cubicBezTo>
                      <a:pt x="6083720" y="291343"/>
                      <a:pt x="6062267" y="312794"/>
                      <a:pt x="6062267" y="338928"/>
                    </a:cubicBezTo>
                    <a:cubicBezTo>
                      <a:pt x="6062267" y="365065"/>
                      <a:pt x="6083472" y="386513"/>
                      <a:pt x="6109856" y="386513"/>
                    </a:cubicBezTo>
                    <a:cubicBezTo>
                      <a:pt x="6135994" y="386513"/>
                      <a:pt x="6157444" y="365311"/>
                      <a:pt x="6157444" y="338928"/>
                    </a:cubicBezTo>
                    <a:close/>
                    <a:moveTo>
                      <a:pt x="6159168" y="2266413"/>
                    </a:moveTo>
                    <a:cubicBezTo>
                      <a:pt x="6159168" y="2245969"/>
                      <a:pt x="6142648" y="2229445"/>
                      <a:pt x="6122183" y="2229445"/>
                    </a:cubicBezTo>
                    <a:cubicBezTo>
                      <a:pt x="6101717" y="2229445"/>
                      <a:pt x="6085196" y="2246223"/>
                      <a:pt x="6085196" y="2266413"/>
                    </a:cubicBezTo>
                    <a:cubicBezTo>
                      <a:pt x="6085196" y="2286643"/>
                      <a:pt x="6101717" y="2303404"/>
                      <a:pt x="6122183" y="2303404"/>
                    </a:cubicBezTo>
                    <a:cubicBezTo>
                      <a:pt x="6142648" y="2303404"/>
                      <a:pt x="6159168" y="2286889"/>
                      <a:pt x="6159168" y="2266413"/>
                    </a:cubicBezTo>
                    <a:close/>
                    <a:moveTo>
                      <a:pt x="6159170" y="6437279"/>
                    </a:moveTo>
                    <a:cubicBezTo>
                      <a:pt x="6159170" y="6432843"/>
                      <a:pt x="6155470" y="6429143"/>
                      <a:pt x="6151030" y="6429143"/>
                    </a:cubicBezTo>
                    <a:cubicBezTo>
                      <a:pt x="6146593" y="6429143"/>
                      <a:pt x="6142893" y="6432843"/>
                      <a:pt x="6142893" y="6437279"/>
                    </a:cubicBezTo>
                    <a:cubicBezTo>
                      <a:pt x="6142893" y="6441719"/>
                      <a:pt x="6146593" y="6445419"/>
                      <a:pt x="6151030" y="6445419"/>
                    </a:cubicBezTo>
                    <a:cubicBezTo>
                      <a:pt x="6155470" y="6445419"/>
                      <a:pt x="6159170" y="6441966"/>
                      <a:pt x="6159170" y="6437279"/>
                    </a:cubicBezTo>
                    <a:close/>
                    <a:moveTo>
                      <a:pt x="6160155" y="5281578"/>
                    </a:moveTo>
                    <a:cubicBezTo>
                      <a:pt x="6160155" y="5281578"/>
                      <a:pt x="6159906" y="5281332"/>
                      <a:pt x="6159660" y="5281332"/>
                    </a:cubicBezTo>
                    <a:cubicBezTo>
                      <a:pt x="6159660" y="5281332"/>
                      <a:pt x="6159414" y="5281332"/>
                      <a:pt x="6159414" y="5281578"/>
                    </a:cubicBezTo>
                    <a:cubicBezTo>
                      <a:pt x="6159414" y="5281578"/>
                      <a:pt x="6159414" y="5281827"/>
                      <a:pt x="6159660" y="5281827"/>
                    </a:cubicBezTo>
                    <a:cubicBezTo>
                      <a:pt x="6159906" y="5281827"/>
                      <a:pt x="6159906" y="5281578"/>
                      <a:pt x="6160155" y="5281578"/>
                    </a:cubicBezTo>
                    <a:close/>
                    <a:moveTo>
                      <a:pt x="6160404" y="4892237"/>
                    </a:moveTo>
                    <a:cubicBezTo>
                      <a:pt x="6160404" y="4882125"/>
                      <a:pt x="6152264" y="4873743"/>
                      <a:pt x="6141909" y="4873743"/>
                    </a:cubicBezTo>
                    <a:cubicBezTo>
                      <a:pt x="6131798" y="4873743"/>
                      <a:pt x="6123416" y="4881879"/>
                      <a:pt x="6123416" y="4892237"/>
                    </a:cubicBezTo>
                    <a:cubicBezTo>
                      <a:pt x="6123416" y="4902346"/>
                      <a:pt x="6131552" y="4910731"/>
                      <a:pt x="6141909" y="4910731"/>
                    </a:cubicBezTo>
                    <a:cubicBezTo>
                      <a:pt x="6152264" y="4910731"/>
                      <a:pt x="6160649" y="4902346"/>
                      <a:pt x="6160404" y="4892237"/>
                    </a:cubicBezTo>
                    <a:close/>
                    <a:moveTo>
                      <a:pt x="6161146" y="2006013"/>
                    </a:moveTo>
                    <a:cubicBezTo>
                      <a:pt x="6161146" y="1978175"/>
                      <a:pt x="6138458" y="1955508"/>
                      <a:pt x="6110596" y="1955508"/>
                    </a:cubicBezTo>
                    <a:cubicBezTo>
                      <a:pt x="6082734" y="1955508"/>
                      <a:pt x="6060048" y="1978175"/>
                      <a:pt x="6060048" y="2006013"/>
                    </a:cubicBezTo>
                    <a:cubicBezTo>
                      <a:pt x="6060048" y="2033875"/>
                      <a:pt x="6082734" y="2056569"/>
                      <a:pt x="6110596" y="2056569"/>
                    </a:cubicBezTo>
                    <a:cubicBezTo>
                      <a:pt x="6138458" y="2056569"/>
                      <a:pt x="6161146" y="2033875"/>
                      <a:pt x="6161146" y="2006013"/>
                    </a:cubicBezTo>
                    <a:close/>
                    <a:moveTo>
                      <a:pt x="6163606" y="3965115"/>
                    </a:moveTo>
                    <a:cubicBezTo>
                      <a:pt x="6163606" y="3944895"/>
                      <a:pt x="6146839" y="3928127"/>
                      <a:pt x="6126375" y="3928127"/>
                    </a:cubicBezTo>
                    <a:cubicBezTo>
                      <a:pt x="6105909" y="3928127"/>
                      <a:pt x="6089387" y="3944649"/>
                      <a:pt x="6089387" y="3965115"/>
                    </a:cubicBezTo>
                    <a:cubicBezTo>
                      <a:pt x="6089387" y="3985579"/>
                      <a:pt x="6105909" y="4002099"/>
                      <a:pt x="6126375" y="4002099"/>
                    </a:cubicBezTo>
                    <a:cubicBezTo>
                      <a:pt x="6146839" y="4002099"/>
                      <a:pt x="6163606" y="3985579"/>
                      <a:pt x="6163606" y="3965115"/>
                    </a:cubicBezTo>
                    <a:close/>
                    <a:moveTo>
                      <a:pt x="6165086" y="3271217"/>
                    </a:moveTo>
                    <a:cubicBezTo>
                      <a:pt x="6165086" y="3269983"/>
                      <a:pt x="6164099" y="3268990"/>
                      <a:pt x="6162865" y="3268990"/>
                    </a:cubicBezTo>
                    <a:cubicBezTo>
                      <a:pt x="6161633" y="3268990"/>
                      <a:pt x="6160646" y="3269983"/>
                      <a:pt x="6160646" y="3271217"/>
                    </a:cubicBezTo>
                    <a:cubicBezTo>
                      <a:pt x="6160646" y="3272444"/>
                      <a:pt x="6161633" y="3273429"/>
                      <a:pt x="6162865" y="3273429"/>
                    </a:cubicBezTo>
                    <a:cubicBezTo>
                      <a:pt x="6164099" y="3273429"/>
                      <a:pt x="6165332" y="3272444"/>
                      <a:pt x="6165086" y="3271217"/>
                    </a:cubicBezTo>
                    <a:close/>
                    <a:moveTo>
                      <a:pt x="6169770" y="5811966"/>
                    </a:moveTo>
                    <a:cubicBezTo>
                      <a:pt x="6169770" y="5806789"/>
                      <a:pt x="6165578" y="5802349"/>
                      <a:pt x="6160155" y="5802349"/>
                    </a:cubicBezTo>
                    <a:cubicBezTo>
                      <a:pt x="6154977" y="5802349"/>
                      <a:pt x="6150538" y="5806540"/>
                      <a:pt x="6150538" y="5811966"/>
                    </a:cubicBezTo>
                    <a:cubicBezTo>
                      <a:pt x="6150538" y="5817144"/>
                      <a:pt x="6154729" y="5821581"/>
                      <a:pt x="6160155" y="5821581"/>
                    </a:cubicBezTo>
                    <a:cubicBezTo>
                      <a:pt x="6165578" y="5821581"/>
                      <a:pt x="6169770" y="5817144"/>
                      <a:pt x="6169770" y="5811966"/>
                    </a:cubicBezTo>
                    <a:close/>
                    <a:moveTo>
                      <a:pt x="6170513" y="1818279"/>
                    </a:moveTo>
                    <a:cubicBezTo>
                      <a:pt x="6170513" y="1792873"/>
                      <a:pt x="6149800" y="1772404"/>
                      <a:pt x="6124648" y="1772404"/>
                    </a:cubicBezTo>
                    <a:cubicBezTo>
                      <a:pt x="6099252" y="1772404"/>
                      <a:pt x="6078786" y="1793123"/>
                      <a:pt x="6078786" y="1818279"/>
                    </a:cubicBezTo>
                    <a:cubicBezTo>
                      <a:pt x="6078786" y="1843679"/>
                      <a:pt x="6099498" y="1864129"/>
                      <a:pt x="6124648" y="1864129"/>
                    </a:cubicBezTo>
                    <a:cubicBezTo>
                      <a:pt x="6149800" y="1864129"/>
                      <a:pt x="6170266" y="1843679"/>
                      <a:pt x="6170513" y="1818279"/>
                    </a:cubicBezTo>
                    <a:close/>
                    <a:moveTo>
                      <a:pt x="6172486" y="3387345"/>
                    </a:moveTo>
                    <a:cubicBezTo>
                      <a:pt x="6172486" y="3385610"/>
                      <a:pt x="6171005" y="3384132"/>
                      <a:pt x="6169278" y="3384132"/>
                    </a:cubicBezTo>
                    <a:cubicBezTo>
                      <a:pt x="6167551" y="3384132"/>
                      <a:pt x="6166073" y="3385610"/>
                      <a:pt x="6166073" y="3387345"/>
                    </a:cubicBezTo>
                    <a:cubicBezTo>
                      <a:pt x="6166073" y="3389077"/>
                      <a:pt x="6167551" y="3390563"/>
                      <a:pt x="6169278" y="3390563"/>
                    </a:cubicBezTo>
                    <a:cubicBezTo>
                      <a:pt x="6171005" y="3390563"/>
                      <a:pt x="6172486" y="3389077"/>
                      <a:pt x="6172486" y="3387345"/>
                    </a:cubicBezTo>
                    <a:close/>
                    <a:moveTo>
                      <a:pt x="6174456" y="3850456"/>
                    </a:moveTo>
                    <a:cubicBezTo>
                      <a:pt x="6174456" y="3834181"/>
                      <a:pt x="6161142" y="3820867"/>
                      <a:pt x="6144867" y="3820867"/>
                    </a:cubicBezTo>
                    <a:cubicBezTo>
                      <a:pt x="6128593" y="3820867"/>
                      <a:pt x="6115277" y="3834181"/>
                      <a:pt x="6115277" y="3850456"/>
                    </a:cubicBezTo>
                    <a:cubicBezTo>
                      <a:pt x="6115277" y="3866731"/>
                      <a:pt x="6128593" y="3880045"/>
                      <a:pt x="6144867" y="3880045"/>
                    </a:cubicBezTo>
                    <a:cubicBezTo>
                      <a:pt x="6161142" y="3880045"/>
                      <a:pt x="6174456" y="3866731"/>
                      <a:pt x="6174456" y="3850456"/>
                    </a:cubicBezTo>
                    <a:close/>
                    <a:moveTo>
                      <a:pt x="6175195" y="6571417"/>
                    </a:moveTo>
                    <a:cubicBezTo>
                      <a:pt x="6175195" y="6564608"/>
                      <a:pt x="6169676" y="6559089"/>
                      <a:pt x="6162865" y="6559089"/>
                    </a:cubicBezTo>
                    <a:cubicBezTo>
                      <a:pt x="6156057" y="6559089"/>
                      <a:pt x="6150538" y="6564608"/>
                      <a:pt x="6150538" y="6571417"/>
                    </a:cubicBezTo>
                    <a:cubicBezTo>
                      <a:pt x="6150538" y="6578227"/>
                      <a:pt x="6156057" y="6583746"/>
                      <a:pt x="6162865" y="6583746"/>
                    </a:cubicBezTo>
                    <a:cubicBezTo>
                      <a:pt x="6169676" y="6583746"/>
                      <a:pt x="6175195" y="6578227"/>
                      <a:pt x="6175195" y="6571417"/>
                    </a:cubicBezTo>
                    <a:close/>
                    <a:moveTo>
                      <a:pt x="6178648" y="3503276"/>
                    </a:moveTo>
                    <a:cubicBezTo>
                      <a:pt x="6178648" y="3498837"/>
                      <a:pt x="6175197" y="3495386"/>
                      <a:pt x="6170758" y="3495386"/>
                    </a:cubicBezTo>
                    <a:cubicBezTo>
                      <a:pt x="6166320" y="3495386"/>
                      <a:pt x="6162867" y="3498837"/>
                      <a:pt x="6162867" y="3503276"/>
                    </a:cubicBezTo>
                    <a:cubicBezTo>
                      <a:pt x="6162867" y="3507716"/>
                      <a:pt x="6166320" y="3511167"/>
                      <a:pt x="6170758" y="3511167"/>
                    </a:cubicBezTo>
                    <a:cubicBezTo>
                      <a:pt x="6174949" y="3511167"/>
                      <a:pt x="6178648" y="3507467"/>
                      <a:pt x="6178648" y="3503276"/>
                    </a:cubicBezTo>
                    <a:close/>
                    <a:moveTo>
                      <a:pt x="6180373" y="3735059"/>
                    </a:moveTo>
                    <a:cubicBezTo>
                      <a:pt x="6180373" y="3722977"/>
                      <a:pt x="6170510" y="3713113"/>
                      <a:pt x="6158429" y="3713113"/>
                    </a:cubicBezTo>
                    <a:cubicBezTo>
                      <a:pt x="6146346" y="3713113"/>
                      <a:pt x="6136483" y="3722977"/>
                      <a:pt x="6136483" y="3735059"/>
                    </a:cubicBezTo>
                    <a:cubicBezTo>
                      <a:pt x="6136483" y="3747139"/>
                      <a:pt x="6146346" y="3757003"/>
                      <a:pt x="6158429" y="3757003"/>
                    </a:cubicBezTo>
                    <a:cubicBezTo>
                      <a:pt x="6170758" y="3757003"/>
                      <a:pt x="6180373" y="3747139"/>
                      <a:pt x="6180373" y="3735059"/>
                    </a:cubicBezTo>
                    <a:close/>
                    <a:moveTo>
                      <a:pt x="6181359" y="1280009"/>
                    </a:moveTo>
                    <a:cubicBezTo>
                      <a:pt x="6181359" y="1253872"/>
                      <a:pt x="6160155" y="1232675"/>
                      <a:pt x="6134017" y="1232675"/>
                    </a:cubicBezTo>
                    <a:cubicBezTo>
                      <a:pt x="6107881" y="1232675"/>
                      <a:pt x="6086674" y="1253872"/>
                      <a:pt x="6086674" y="1280009"/>
                    </a:cubicBezTo>
                    <a:cubicBezTo>
                      <a:pt x="6086674" y="1306144"/>
                      <a:pt x="6107881" y="1327343"/>
                      <a:pt x="6134017" y="1327343"/>
                    </a:cubicBezTo>
                    <a:cubicBezTo>
                      <a:pt x="6160155" y="1327343"/>
                      <a:pt x="6181359" y="1305895"/>
                      <a:pt x="6181359" y="1280009"/>
                    </a:cubicBezTo>
                    <a:close/>
                    <a:moveTo>
                      <a:pt x="6181361" y="3619166"/>
                    </a:moveTo>
                    <a:cubicBezTo>
                      <a:pt x="6181361" y="3611276"/>
                      <a:pt x="6174949" y="3604866"/>
                      <a:pt x="6167058" y="3604866"/>
                    </a:cubicBezTo>
                    <a:cubicBezTo>
                      <a:pt x="6159168" y="3604866"/>
                      <a:pt x="6152758" y="3611276"/>
                      <a:pt x="6152758" y="3619166"/>
                    </a:cubicBezTo>
                    <a:cubicBezTo>
                      <a:pt x="6152758" y="3627057"/>
                      <a:pt x="6159168" y="3633469"/>
                      <a:pt x="6167058" y="3633469"/>
                    </a:cubicBezTo>
                    <a:cubicBezTo>
                      <a:pt x="6174949" y="3633469"/>
                      <a:pt x="6181361" y="3627057"/>
                      <a:pt x="6181361" y="3619166"/>
                    </a:cubicBezTo>
                    <a:close/>
                    <a:moveTo>
                      <a:pt x="6185798" y="4629143"/>
                    </a:moveTo>
                    <a:cubicBezTo>
                      <a:pt x="6185798" y="4608677"/>
                      <a:pt x="6169276" y="4592155"/>
                      <a:pt x="6149059" y="4592155"/>
                    </a:cubicBezTo>
                    <a:cubicBezTo>
                      <a:pt x="6128592" y="4592155"/>
                      <a:pt x="6112071" y="4608677"/>
                      <a:pt x="6112071" y="4629143"/>
                    </a:cubicBezTo>
                    <a:cubicBezTo>
                      <a:pt x="6112071" y="4649607"/>
                      <a:pt x="6128592" y="4666128"/>
                      <a:pt x="6149059" y="4666128"/>
                    </a:cubicBezTo>
                    <a:cubicBezTo>
                      <a:pt x="6169276" y="4666128"/>
                      <a:pt x="6185798" y="4649361"/>
                      <a:pt x="6185798" y="4629143"/>
                    </a:cubicBezTo>
                    <a:close/>
                    <a:moveTo>
                      <a:pt x="6186786" y="2646132"/>
                    </a:moveTo>
                    <a:cubicBezTo>
                      <a:pt x="6186786" y="2627388"/>
                      <a:pt x="6171496" y="2612104"/>
                      <a:pt x="6152759" y="2612104"/>
                    </a:cubicBezTo>
                    <a:cubicBezTo>
                      <a:pt x="6134017" y="2612104"/>
                      <a:pt x="6118730" y="2627388"/>
                      <a:pt x="6118730" y="2646132"/>
                    </a:cubicBezTo>
                    <a:cubicBezTo>
                      <a:pt x="6118730" y="2664873"/>
                      <a:pt x="6134017" y="2680160"/>
                      <a:pt x="6152759" y="2680160"/>
                    </a:cubicBezTo>
                    <a:cubicBezTo>
                      <a:pt x="6171496" y="2680160"/>
                      <a:pt x="6186786" y="2664873"/>
                      <a:pt x="6186786" y="2646132"/>
                    </a:cubicBezTo>
                    <a:close/>
                    <a:moveTo>
                      <a:pt x="6187031" y="4357909"/>
                    </a:moveTo>
                    <a:cubicBezTo>
                      <a:pt x="6187031" y="4330293"/>
                      <a:pt x="6164595" y="4307853"/>
                      <a:pt x="6136979" y="4307853"/>
                    </a:cubicBezTo>
                    <a:cubicBezTo>
                      <a:pt x="6109362" y="4307853"/>
                      <a:pt x="6086923" y="4330293"/>
                      <a:pt x="6086923" y="4357909"/>
                    </a:cubicBezTo>
                    <a:cubicBezTo>
                      <a:pt x="6086923" y="4385526"/>
                      <a:pt x="6109362" y="4407962"/>
                      <a:pt x="6136979" y="4407962"/>
                    </a:cubicBezTo>
                    <a:cubicBezTo>
                      <a:pt x="6164595" y="4407962"/>
                      <a:pt x="6187031" y="4385526"/>
                      <a:pt x="6187031" y="4357909"/>
                    </a:cubicBezTo>
                    <a:close/>
                    <a:moveTo>
                      <a:pt x="6190731" y="5030071"/>
                    </a:moveTo>
                    <a:cubicBezTo>
                      <a:pt x="6190731" y="5029334"/>
                      <a:pt x="6189990" y="5028593"/>
                      <a:pt x="6189250" y="5028593"/>
                    </a:cubicBezTo>
                    <a:cubicBezTo>
                      <a:pt x="6188512" y="5028593"/>
                      <a:pt x="6187771" y="5029334"/>
                      <a:pt x="6187771" y="5030071"/>
                    </a:cubicBezTo>
                    <a:cubicBezTo>
                      <a:pt x="6187771" y="5030812"/>
                      <a:pt x="6188512" y="5031552"/>
                      <a:pt x="6189250" y="5031552"/>
                    </a:cubicBezTo>
                    <a:cubicBezTo>
                      <a:pt x="6189990" y="5031552"/>
                      <a:pt x="6190731" y="5030812"/>
                      <a:pt x="6190731" y="5030071"/>
                    </a:cubicBezTo>
                    <a:close/>
                    <a:moveTo>
                      <a:pt x="6190976" y="5431250"/>
                    </a:moveTo>
                    <a:cubicBezTo>
                      <a:pt x="6190976" y="5428785"/>
                      <a:pt x="6189004" y="5427059"/>
                      <a:pt x="6186785" y="5427059"/>
                    </a:cubicBezTo>
                    <a:cubicBezTo>
                      <a:pt x="6184566" y="5427059"/>
                      <a:pt x="6182594" y="5429032"/>
                      <a:pt x="6182594" y="5431250"/>
                    </a:cubicBezTo>
                    <a:cubicBezTo>
                      <a:pt x="6182594" y="5433469"/>
                      <a:pt x="6184566" y="5435441"/>
                      <a:pt x="6186785" y="5435441"/>
                    </a:cubicBezTo>
                    <a:cubicBezTo>
                      <a:pt x="6189252" y="5435441"/>
                      <a:pt x="6190976" y="5433469"/>
                      <a:pt x="6190976" y="5431250"/>
                    </a:cubicBezTo>
                    <a:close/>
                    <a:moveTo>
                      <a:pt x="6191224" y="5953253"/>
                    </a:moveTo>
                    <a:cubicBezTo>
                      <a:pt x="6191224" y="5946595"/>
                      <a:pt x="6185799" y="5940923"/>
                      <a:pt x="6178897" y="5940923"/>
                    </a:cubicBezTo>
                    <a:cubicBezTo>
                      <a:pt x="6172239" y="5940923"/>
                      <a:pt x="6166567" y="5946349"/>
                      <a:pt x="6166567" y="5953253"/>
                    </a:cubicBezTo>
                    <a:cubicBezTo>
                      <a:pt x="6166567" y="5960155"/>
                      <a:pt x="6171994" y="5965580"/>
                      <a:pt x="6178897" y="5965580"/>
                    </a:cubicBezTo>
                    <a:cubicBezTo>
                      <a:pt x="6185799" y="5965580"/>
                      <a:pt x="6191224" y="5959908"/>
                      <a:pt x="6191224" y="5953253"/>
                    </a:cubicBezTo>
                    <a:close/>
                    <a:moveTo>
                      <a:pt x="6200839" y="1136773"/>
                    </a:moveTo>
                    <a:cubicBezTo>
                      <a:pt x="6200839" y="1111127"/>
                      <a:pt x="6179880" y="1090179"/>
                      <a:pt x="6154237" y="1090179"/>
                    </a:cubicBezTo>
                    <a:cubicBezTo>
                      <a:pt x="6128593" y="1090179"/>
                      <a:pt x="6107635" y="1111127"/>
                      <a:pt x="6107635" y="1136773"/>
                    </a:cubicBezTo>
                    <a:cubicBezTo>
                      <a:pt x="6107635" y="1162420"/>
                      <a:pt x="6128593" y="1183380"/>
                      <a:pt x="6154237" y="1183380"/>
                    </a:cubicBezTo>
                    <a:cubicBezTo>
                      <a:pt x="6179880" y="1183380"/>
                      <a:pt x="6200839" y="1162420"/>
                      <a:pt x="6200839" y="1136773"/>
                    </a:cubicBezTo>
                    <a:close/>
                    <a:moveTo>
                      <a:pt x="6201826" y="1666842"/>
                    </a:moveTo>
                    <a:cubicBezTo>
                      <a:pt x="6201826" y="1640959"/>
                      <a:pt x="6180867" y="1619993"/>
                      <a:pt x="6154977" y="1619993"/>
                    </a:cubicBezTo>
                    <a:cubicBezTo>
                      <a:pt x="6129086" y="1619993"/>
                      <a:pt x="6108127" y="1640959"/>
                      <a:pt x="6108127" y="1666842"/>
                    </a:cubicBezTo>
                    <a:cubicBezTo>
                      <a:pt x="6108127" y="1692738"/>
                      <a:pt x="6129086" y="1713647"/>
                      <a:pt x="6154977" y="1713647"/>
                    </a:cubicBezTo>
                    <a:cubicBezTo>
                      <a:pt x="6180621" y="1713647"/>
                      <a:pt x="6201826" y="1692738"/>
                      <a:pt x="6201826" y="1666842"/>
                    </a:cubicBezTo>
                    <a:close/>
                    <a:moveTo>
                      <a:pt x="6210456" y="2372453"/>
                    </a:moveTo>
                    <a:cubicBezTo>
                      <a:pt x="6210456" y="2349291"/>
                      <a:pt x="6191715" y="2330518"/>
                      <a:pt x="6168539" y="2330518"/>
                    </a:cubicBezTo>
                    <a:cubicBezTo>
                      <a:pt x="6145360" y="2330518"/>
                      <a:pt x="6126620" y="2349291"/>
                      <a:pt x="6126620" y="2372453"/>
                    </a:cubicBezTo>
                    <a:cubicBezTo>
                      <a:pt x="6126620" y="2395617"/>
                      <a:pt x="6145360" y="2414365"/>
                      <a:pt x="6168539" y="2414365"/>
                    </a:cubicBezTo>
                    <a:cubicBezTo>
                      <a:pt x="6191715" y="2414365"/>
                      <a:pt x="6210456" y="2395617"/>
                      <a:pt x="6210456" y="2372453"/>
                    </a:cubicBezTo>
                    <a:close/>
                    <a:moveTo>
                      <a:pt x="6211443" y="6092814"/>
                    </a:moveTo>
                    <a:cubicBezTo>
                      <a:pt x="6211443" y="6084432"/>
                      <a:pt x="6204539" y="6077527"/>
                      <a:pt x="6196154" y="6077527"/>
                    </a:cubicBezTo>
                    <a:cubicBezTo>
                      <a:pt x="6187771" y="6077527"/>
                      <a:pt x="6180867" y="6084432"/>
                      <a:pt x="6180867" y="6092814"/>
                    </a:cubicBezTo>
                    <a:cubicBezTo>
                      <a:pt x="6180867" y="6101199"/>
                      <a:pt x="6187771" y="6108103"/>
                      <a:pt x="6196154" y="6108103"/>
                    </a:cubicBezTo>
                    <a:cubicBezTo>
                      <a:pt x="6204539" y="6108103"/>
                      <a:pt x="6211443" y="6101199"/>
                      <a:pt x="6211443" y="6092814"/>
                    </a:cubicBezTo>
                    <a:close/>
                    <a:moveTo>
                      <a:pt x="6213907" y="2757590"/>
                    </a:moveTo>
                    <a:cubicBezTo>
                      <a:pt x="6213907" y="2741561"/>
                      <a:pt x="6200839" y="2728738"/>
                      <a:pt x="6185058" y="2728738"/>
                    </a:cubicBezTo>
                    <a:cubicBezTo>
                      <a:pt x="6169032" y="2728738"/>
                      <a:pt x="6156210" y="2741806"/>
                      <a:pt x="6156210" y="2757590"/>
                    </a:cubicBezTo>
                    <a:cubicBezTo>
                      <a:pt x="6156210" y="2773371"/>
                      <a:pt x="6169277" y="2786193"/>
                      <a:pt x="6185058" y="2786193"/>
                    </a:cubicBezTo>
                    <a:cubicBezTo>
                      <a:pt x="6200839" y="2786193"/>
                      <a:pt x="6213661" y="2773371"/>
                      <a:pt x="6213907" y="2757590"/>
                    </a:cubicBezTo>
                    <a:close/>
                    <a:moveTo>
                      <a:pt x="6214895" y="2108124"/>
                    </a:moveTo>
                    <a:cubicBezTo>
                      <a:pt x="6214895" y="2080991"/>
                      <a:pt x="6192951" y="2058789"/>
                      <a:pt x="6165581" y="2058789"/>
                    </a:cubicBezTo>
                    <a:cubicBezTo>
                      <a:pt x="6138456" y="2058789"/>
                      <a:pt x="6116266" y="2080991"/>
                      <a:pt x="6116266" y="2108124"/>
                    </a:cubicBezTo>
                    <a:cubicBezTo>
                      <a:pt x="6116266" y="2135250"/>
                      <a:pt x="6138456" y="2157448"/>
                      <a:pt x="6165581" y="2157448"/>
                    </a:cubicBezTo>
                    <a:cubicBezTo>
                      <a:pt x="6192706" y="2157448"/>
                      <a:pt x="6214895" y="2135250"/>
                      <a:pt x="6214895" y="2108124"/>
                    </a:cubicBezTo>
                    <a:close/>
                    <a:moveTo>
                      <a:pt x="6218593" y="4247195"/>
                    </a:moveTo>
                    <a:cubicBezTo>
                      <a:pt x="6218593" y="4221060"/>
                      <a:pt x="6197389" y="4199853"/>
                      <a:pt x="6171251" y="4199853"/>
                    </a:cubicBezTo>
                    <a:cubicBezTo>
                      <a:pt x="6145112" y="4199853"/>
                      <a:pt x="6123907" y="4221060"/>
                      <a:pt x="6123907" y="4247195"/>
                    </a:cubicBezTo>
                    <a:cubicBezTo>
                      <a:pt x="6123907" y="4273334"/>
                      <a:pt x="6145112" y="4294538"/>
                      <a:pt x="6171251" y="4294538"/>
                    </a:cubicBezTo>
                    <a:cubicBezTo>
                      <a:pt x="6197389" y="4294538"/>
                      <a:pt x="6218593" y="4273334"/>
                      <a:pt x="6218593" y="4247195"/>
                    </a:cubicBezTo>
                    <a:close/>
                    <a:moveTo>
                      <a:pt x="6218838" y="995268"/>
                    </a:moveTo>
                    <a:cubicBezTo>
                      <a:pt x="6218838" y="969621"/>
                      <a:pt x="6198126" y="948910"/>
                      <a:pt x="6172482" y="948910"/>
                    </a:cubicBezTo>
                    <a:cubicBezTo>
                      <a:pt x="6146838" y="948910"/>
                      <a:pt x="6126126" y="969621"/>
                      <a:pt x="6126126" y="995268"/>
                    </a:cubicBezTo>
                    <a:cubicBezTo>
                      <a:pt x="6126126" y="1020918"/>
                      <a:pt x="6146838" y="1041613"/>
                      <a:pt x="6172482" y="1041613"/>
                    </a:cubicBezTo>
                    <a:cubicBezTo>
                      <a:pt x="6197880" y="1041613"/>
                      <a:pt x="6218838" y="1020918"/>
                      <a:pt x="6218838" y="995268"/>
                    </a:cubicBezTo>
                    <a:close/>
                    <a:moveTo>
                      <a:pt x="6219332" y="5577963"/>
                    </a:moveTo>
                    <a:cubicBezTo>
                      <a:pt x="6219332" y="5574019"/>
                      <a:pt x="6216128" y="5570813"/>
                      <a:pt x="6212182" y="5570813"/>
                    </a:cubicBezTo>
                    <a:cubicBezTo>
                      <a:pt x="6208237" y="5570813"/>
                      <a:pt x="6205032" y="5574019"/>
                      <a:pt x="6205032" y="5577963"/>
                    </a:cubicBezTo>
                    <a:cubicBezTo>
                      <a:pt x="6205032" y="5581909"/>
                      <a:pt x="6208237" y="5585116"/>
                      <a:pt x="6212182" y="5585116"/>
                    </a:cubicBezTo>
                    <a:cubicBezTo>
                      <a:pt x="6216128" y="5585116"/>
                      <a:pt x="6219332" y="5581909"/>
                      <a:pt x="6219332" y="5577963"/>
                    </a:cubicBezTo>
                    <a:close/>
                    <a:moveTo>
                      <a:pt x="6220070" y="4788921"/>
                    </a:moveTo>
                    <a:cubicBezTo>
                      <a:pt x="6220070" y="4774867"/>
                      <a:pt x="6208729" y="4763523"/>
                      <a:pt x="6194675" y="4763523"/>
                    </a:cubicBezTo>
                    <a:cubicBezTo>
                      <a:pt x="6180618" y="4763523"/>
                      <a:pt x="6169277" y="4774867"/>
                      <a:pt x="6169277" y="4788921"/>
                    </a:cubicBezTo>
                    <a:cubicBezTo>
                      <a:pt x="6169277" y="4802975"/>
                      <a:pt x="6180618" y="4814316"/>
                      <a:pt x="6194675" y="4814316"/>
                    </a:cubicBezTo>
                    <a:cubicBezTo>
                      <a:pt x="6208729" y="4814316"/>
                      <a:pt x="6220070" y="4802975"/>
                      <a:pt x="6220070" y="4788921"/>
                    </a:cubicBezTo>
                    <a:close/>
                    <a:moveTo>
                      <a:pt x="6221060" y="686607"/>
                    </a:moveTo>
                    <a:cubicBezTo>
                      <a:pt x="6221060" y="659973"/>
                      <a:pt x="6199361" y="638209"/>
                      <a:pt x="6172732" y="638209"/>
                    </a:cubicBezTo>
                    <a:cubicBezTo>
                      <a:pt x="6146101" y="638209"/>
                      <a:pt x="6124402" y="659973"/>
                      <a:pt x="6124402" y="686607"/>
                    </a:cubicBezTo>
                    <a:cubicBezTo>
                      <a:pt x="6124402" y="713233"/>
                      <a:pt x="6146101" y="734924"/>
                      <a:pt x="6172732" y="734924"/>
                    </a:cubicBezTo>
                    <a:cubicBezTo>
                      <a:pt x="6199361" y="734924"/>
                      <a:pt x="6221060" y="713233"/>
                      <a:pt x="6221060" y="686607"/>
                    </a:cubicBezTo>
                    <a:close/>
                    <a:moveTo>
                      <a:pt x="6221060" y="1517937"/>
                    </a:moveTo>
                    <a:cubicBezTo>
                      <a:pt x="6221060" y="1496486"/>
                      <a:pt x="6203552" y="1479217"/>
                      <a:pt x="6182345" y="1479217"/>
                    </a:cubicBezTo>
                    <a:cubicBezTo>
                      <a:pt x="6160895" y="1479217"/>
                      <a:pt x="6143633" y="1496730"/>
                      <a:pt x="6143633" y="1517937"/>
                    </a:cubicBezTo>
                    <a:cubicBezTo>
                      <a:pt x="6143633" y="1539387"/>
                      <a:pt x="6161141" y="1556642"/>
                      <a:pt x="6182345" y="1556642"/>
                    </a:cubicBezTo>
                    <a:cubicBezTo>
                      <a:pt x="6203798" y="1556642"/>
                      <a:pt x="6221060" y="1539387"/>
                      <a:pt x="6221060" y="1517937"/>
                    </a:cubicBezTo>
                    <a:close/>
                    <a:moveTo>
                      <a:pt x="6225742" y="5184183"/>
                    </a:moveTo>
                    <a:cubicBezTo>
                      <a:pt x="6225742" y="5182702"/>
                      <a:pt x="6224757" y="5181470"/>
                      <a:pt x="6223278" y="5181470"/>
                    </a:cubicBezTo>
                    <a:cubicBezTo>
                      <a:pt x="6222043" y="5181470"/>
                      <a:pt x="6220811" y="5182702"/>
                      <a:pt x="6220811" y="5184183"/>
                    </a:cubicBezTo>
                    <a:cubicBezTo>
                      <a:pt x="6220811" y="5185415"/>
                      <a:pt x="6221797" y="5186647"/>
                      <a:pt x="6223278" y="5186647"/>
                    </a:cubicBezTo>
                    <a:cubicBezTo>
                      <a:pt x="6224510" y="5186647"/>
                      <a:pt x="6225742" y="5185415"/>
                      <a:pt x="6225742" y="5184183"/>
                    </a:cubicBezTo>
                    <a:close/>
                    <a:moveTo>
                      <a:pt x="6230429" y="1917589"/>
                    </a:moveTo>
                    <a:cubicBezTo>
                      <a:pt x="6230429" y="1892461"/>
                      <a:pt x="6209962" y="1872261"/>
                      <a:pt x="6185059" y="1872261"/>
                    </a:cubicBezTo>
                    <a:cubicBezTo>
                      <a:pt x="6159909" y="1872261"/>
                      <a:pt x="6139689" y="1892708"/>
                      <a:pt x="6139689" y="1917589"/>
                    </a:cubicBezTo>
                    <a:cubicBezTo>
                      <a:pt x="6139689" y="1942719"/>
                      <a:pt x="6160155" y="1962919"/>
                      <a:pt x="6185059" y="1962919"/>
                    </a:cubicBezTo>
                    <a:cubicBezTo>
                      <a:pt x="6209962" y="1962919"/>
                      <a:pt x="6230183" y="1942719"/>
                      <a:pt x="6230429" y="1917589"/>
                    </a:cubicBezTo>
                    <a:close/>
                    <a:moveTo>
                      <a:pt x="6234373" y="550206"/>
                    </a:moveTo>
                    <a:cubicBezTo>
                      <a:pt x="6234373" y="523578"/>
                      <a:pt x="6212675" y="501880"/>
                      <a:pt x="6186045" y="501880"/>
                    </a:cubicBezTo>
                    <a:cubicBezTo>
                      <a:pt x="6159414" y="501880"/>
                      <a:pt x="6137716" y="523578"/>
                      <a:pt x="6137716" y="550206"/>
                    </a:cubicBezTo>
                    <a:cubicBezTo>
                      <a:pt x="6137716" y="576834"/>
                      <a:pt x="6159414" y="598532"/>
                      <a:pt x="6186045" y="598532"/>
                    </a:cubicBezTo>
                    <a:cubicBezTo>
                      <a:pt x="6212675" y="598532"/>
                      <a:pt x="6234373" y="576834"/>
                      <a:pt x="6234373" y="550206"/>
                    </a:cubicBezTo>
                    <a:close/>
                    <a:moveTo>
                      <a:pt x="6236098" y="2870035"/>
                    </a:moveTo>
                    <a:cubicBezTo>
                      <a:pt x="6236098" y="2856964"/>
                      <a:pt x="6225497" y="2846608"/>
                      <a:pt x="6212675" y="2846608"/>
                    </a:cubicBezTo>
                    <a:cubicBezTo>
                      <a:pt x="6199607" y="2846608"/>
                      <a:pt x="6189249" y="2857213"/>
                      <a:pt x="6189249" y="2870035"/>
                    </a:cubicBezTo>
                    <a:cubicBezTo>
                      <a:pt x="6189249" y="2882858"/>
                      <a:pt x="6199852" y="2893463"/>
                      <a:pt x="6212675" y="2893463"/>
                    </a:cubicBezTo>
                    <a:cubicBezTo>
                      <a:pt x="6225497" y="2893463"/>
                      <a:pt x="6235852" y="2882858"/>
                      <a:pt x="6236098" y="2870035"/>
                    </a:cubicBezTo>
                    <a:close/>
                    <a:moveTo>
                      <a:pt x="6236101" y="855230"/>
                    </a:moveTo>
                    <a:cubicBezTo>
                      <a:pt x="6236101" y="829353"/>
                      <a:pt x="6214896" y="808142"/>
                      <a:pt x="6189004" y="808142"/>
                    </a:cubicBezTo>
                    <a:cubicBezTo>
                      <a:pt x="6163114" y="808142"/>
                      <a:pt x="6141909" y="829353"/>
                      <a:pt x="6141909" y="855230"/>
                    </a:cubicBezTo>
                    <a:cubicBezTo>
                      <a:pt x="6141909" y="881119"/>
                      <a:pt x="6163114" y="902320"/>
                      <a:pt x="6189004" y="902320"/>
                    </a:cubicBezTo>
                    <a:cubicBezTo>
                      <a:pt x="6214896" y="902320"/>
                      <a:pt x="6235855" y="881119"/>
                      <a:pt x="6236101" y="855230"/>
                    </a:cubicBezTo>
                    <a:close/>
                    <a:moveTo>
                      <a:pt x="6239059" y="4522128"/>
                    </a:moveTo>
                    <a:cubicBezTo>
                      <a:pt x="6239059" y="4496976"/>
                      <a:pt x="6218347" y="4476263"/>
                      <a:pt x="6192948" y="4476263"/>
                    </a:cubicBezTo>
                    <a:cubicBezTo>
                      <a:pt x="6167799" y="4476263"/>
                      <a:pt x="6147086" y="4496730"/>
                      <a:pt x="6147086" y="4522128"/>
                    </a:cubicBezTo>
                    <a:cubicBezTo>
                      <a:pt x="6147086" y="4547278"/>
                      <a:pt x="6167553" y="4567990"/>
                      <a:pt x="6192948" y="4567990"/>
                    </a:cubicBezTo>
                    <a:cubicBezTo>
                      <a:pt x="6218347" y="4567990"/>
                      <a:pt x="6239059" y="4547278"/>
                      <a:pt x="6239059" y="4522128"/>
                    </a:cubicBezTo>
                    <a:close/>
                    <a:moveTo>
                      <a:pt x="6239800" y="6220787"/>
                    </a:moveTo>
                    <a:cubicBezTo>
                      <a:pt x="6239800" y="6211170"/>
                      <a:pt x="6231663" y="6203279"/>
                      <a:pt x="6222046" y="6203279"/>
                    </a:cubicBezTo>
                    <a:cubicBezTo>
                      <a:pt x="6212183" y="6203279"/>
                      <a:pt x="6204292" y="6211170"/>
                      <a:pt x="6204292" y="6220787"/>
                    </a:cubicBezTo>
                    <a:cubicBezTo>
                      <a:pt x="6204292" y="6230650"/>
                      <a:pt x="6212429" y="6238541"/>
                      <a:pt x="6222046" y="6238541"/>
                    </a:cubicBezTo>
                    <a:cubicBezTo>
                      <a:pt x="6231663" y="6238541"/>
                      <a:pt x="6239800" y="6230650"/>
                      <a:pt x="6239800" y="6220787"/>
                    </a:cubicBezTo>
                    <a:close/>
                    <a:moveTo>
                      <a:pt x="6240292" y="4135003"/>
                    </a:moveTo>
                    <a:cubicBezTo>
                      <a:pt x="6240292" y="4113304"/>
                      <a:pt x="6222539" y="4095550"/>
                      <a:pt x="6200840" y="4095550"/>
                    </a:cubicBezTo>
                    <a:cubicBezTo>
                      <a:pt x="6179142" y="4095550"/>
                      <a:pt x="6161387" y="4113304"/>
                      <a:pt x="6161387" y="4135003"/>
                    </a:cubicBezTo>
                    <a:cubicBezTo>
                      <a:pt x="6161387" y="4156701"/>
                      <a:pt x="6179142" y="4174454"/>
                      <a:pt x="6200840" y="4174454"/>
                    </a:cubicBezTo>
                    <a:cubicBezTo>
                      <a:pt x="6222784" y="4174454"/>
                      <a:pt x="6240292" y="4156701"/>
                      <a:pt x="6240292" y="4135003"/>
                    </a:cubicBezTo>
                    <a:close/>
                    <a:moveTo>
                      <a:pt x="6244977" y="6358377"/>
                    </a:moveTo>
                    <a:cubicBezTo>
                      <a:pt x="6244977" y="6353692"/>
                      <a:pt x="6241032" y="6349746"/>
                      <a:pt x="6236346" y="6349746"/>
                    </a:cubicBezTo>
                    <a:cubicBezTo>
                      <a:pt x="6231661" y="6349746"/>
                      <a:pt x="6227715" y="6353692"/>
                      <a:pt x="6227715" y="6358377"/>
                    </a:cubicBezTo>
                    <a:cubicBezTo>
                      <a:pt x="6227715" y="6363062"/>
                      <a:pt x="6231415" y="6367008"/>
                      <a:pt x="6236346" y="6367008"/>
                    </a:cubicBezTo>
                    <a:cubicBezTo>
                      <a:pt x="6241032" y="6367008"/>
                      <a:pt x="6244977" y="6363062"/>
                      <a:pt x="6244977" y="6358377"/>
                    </a:cubicBezTo>
                    <a:close/>
                    <a:moveTo>
                      <a:pt x="6245717" y="5723444"/>
                    </a:moveTo>
                    <a:cubicBezTo>
                      <a:pt x="6245717" y="5717527"/>
                      <a:pt x="6241031" y="5712595"/>
                      <a:pt x="6235113" y="5712595"/>
                    </a:cubicBezTo>
                    <a:cubicBezTo>
                      <a:pt x="6229442" y="5712595"/>
                      <a:pt x="6224510" y="5717527"/>
                      <a:pt x="6224510" y="5723444"/>
                    </a:cubicBezTo>
                    <a:cubicBezTo>
                      <a:pt x="6224510" y="5729115"/>
                      <a:pt x="6229195" y="5734048"/>
                      <a:pt x="6235113" y="5734048"/>
                    </a:cubicBezTo>
                    <a:cubicBezTo>
                      <a:pt x="6241031" y="5734048"/>
                      <a:pt x="6245963" y="5729362"/>
                      <a:pt x="6245717" y="5723444"/>
                    </a:cubicBezTo>
                    <a:close/>
                    <a:moveTo>
                      <a:pt x="6245964" y="414623"/>
                    </a:moveTo>
                    <a:cubicBezTo>
                      <a:pt x="6245964" y="387994"/>
                      <a:pt x="6224510" y="366542"/>
                      <a:pt x="6197880" y="366542"/>
                    </a:cubicBezTo>
                    <a:cubicBezTo>
                      <a:pt x="6171251" y="366542"/>
                      <a:pt x="6149798" y="388240"/>
                      <a:pt x="6149798" y="414623"/>
                    </a:cubicBezTo>
                    <a:cubicBezTo>
                      <a:pt x="6149798" y="441251"/>
                      <a:pt x="6171496" y="462699"/>
                      <a:pt x="6197880" y="462699"/>
                    </a:cubicBezTo>
                    <a:cubicBezTo>
                      <a:pt x="6224265" y="462699"/>
                      <a:pt x="6245964" y="441251"/>
                      <a:pt x="6245964" y="414623"/>
                    </a:cubicBezTo>
                    <a:close/>
                    <a:moveTo>
                      <a:pt x="6251636" y="4928236"/>
                    </a:moveTo>
                    <a:cubicBezTo>
                      <a:pt x="6251636" y="4925031"/>
                      <a:pt x="6248922" y="4922318"/>
                      <a:pt x="6245717" y="4922318"/>
                    </a:cubicBezTo>
                    <a:cubicBezTo>
                      <a:pt x="6242512" y="4922318"/>
                      <a:pt x="6239800" y="4925031"/>
                      <a:pt x="6239800" y="4928236"/>
                    </a:cubicBezTo>
                    <a:cubicBezTo>
                      <a:pt x="6239800" y="4931441"/>
                      <a:pt x="6242512" y="4934154"/>
                      <a:pt x="6245717" y="4934154"/>
                    </a:cubicBezTo>
                    <a:cubicBezTo>
                      <a:pt x="6248922" y="4934154"/>
                      <a:pt x="6251636" y="4931441"/>
                      <a:pt x="6251636" y="4928236"/>
                    </a:cubicBezTo>
                    <a:close/>
                    <a:moveTo>
                      <a:pt x="6253114" y="1370258"/>
                    </a:moveTo>
                    <a:cubicBezTo>
                      <a:pt x="6253114" y="1344621"/>
                      <a:pt x="6232401" y="1323904"/>
                      <a:pt x="6206757" y="1323904"/>
                    </a:cubicBezTo>
                    <a:cubicBezTo>
                      <a:pt x="6181114" y="1323904"/>
                      <a:pt x="6160401" y="1344621"/>
                      <a:pt x="6160401" y="1370258"/>
                    </a:cubicBezTo>
                    <a:cubicBezTo>
                      <a:pt x="6160401" y="1395905"/>
                      <a:pt x="6181359" y="1416620"/>
                      <a:pt x="6206757" y="1416620"/>
                    </a:cubicBezTo>
                    <a:cubicBezTo>
                      <a:pt x="6232401" y="1416620"/>
                      <a:pt x="6253114" y="1395905"/>
                      <a:pt x="6253114" y="1370258"/>
                    </a:cubicBezTo>
                    <a:close/>
                    <a:moveTo>
                      <a:pt x="6253359" y="2983711"/>
                    </a:moveTo>
                    <a:cubicBezTo>
                      <a:pt x="6253359" y="2973846"/>
                      <a:pt x="6245222" y="2965710"/>
                      <a:pt x="6235360" y="2965710"/>
                    </a:cubicBezTo>
                    <a:cubicBezTo>
                      <a:pt x="6225497" y="2965710"/>
                      <a:pt x="6217360" y="2973846"/>
                      <a:pt x="6217360" y="2983711"/>
                    </a:cubicBezTo>
                    <a:cubicBezTo>
                      <a:pt x="6217360" y="2993573"/>
                      <a:pt x="6225497" y="3001713"/>
                      <a:pt x="6235360" y="3001713"/>
                    </a:cubicBezTo>
                    <a:cubicBezTo>
                      <a:pt x="6245469" y="3001713"/>
                      <a:pt x="6253359" y="2993573"/>
                      <a:pt x="6253359" y="2983711"/>
                    </a:cubicBezTo>
                    <a:close/>
                    <a:moveTo>
                      <a:pt x="6256813" y="4021578"/>
                    </a:moveTo>
                    <a:cubicBezTo>
                      <a:pt x="6256813" y="4004811"/>
                      <a:pt x="6243004" y="3991002"/>
                      <a:pt x="6225989" y="3991002"/>
                    </a:cubicBezTo>
                    <a:cubicBezTo>
                      <a:pt x="6208976" y="3991002"/>
                      <a:pt x="6195167" y="4004565"/>
                      <a:pt x="6195167" y="4021578"/>
                    </a:cubicBezTo>
                    <a:cubicBezTo>
                      <a:pt x="6195167" y="4038591"/>
                      <a:pt x="6208976" y="4052399"/>
                      <a:pt x="6225989" y="4052399"/>
                    </a:cubicBezTo>
                    <a:cubicBezTo>
                      <a:pt x="6243004" y="4052399"/>
                      <a:pt x="6256564" y="4038591"/>
                      <a:pt x="6256813" y="4021578"/>
                    </a:cubicBezTo>
                    <a:close/>
                    <a:moveTo>
                      <a:pt x="6257058" y="2480440"/>
                    </a:moveTo>
                    <a:cubicBezTo>
                      <a:pt x="6257058" y="2455046"/>
                      <a:pt x="6236346" y="2434336"/>
                      <a:pt x="6210951" y="2434336"/>
                    </a:cubicBezTo>
                    <a:cubicBezTo>
                      <a:pt x="6185553" y="2434336"/>
                      <a:pt x="6164841" y="2455046"/>
                      <a:pt x="6164841" y="2480440"/>
                    </a:cubicBezTo>
                    <a:cubicBezTo>
                      <a:pt x="6164841" y="2505835"/>
                      <a:pt x="6185553" y="2526552"/>
                      <a:pt x="6210951" y="2526552"/>
                    </a:cubicBezTo>
                    <a:cubicBezTo>
                      <a:pt x="6236346" y="2526552"/>
                      <a:pt x="6257058" y="2505835"/>
                      <a:pt x="6257058" y="2480440"/>
                    </a:cubicBezTo>
                    <a:close/>
                    <a:moveTo>
                      <a:pt x="6258044" y="5336073"/>
                    </a:moveTo>
                    <a:cubicBezTo>
                      <a:pt x="6258044" y="5333610"/>
                      <a:pt x="6256072" y="5331636"/>
                      <a:pt x="6253607" y="5331636"/>
                    </a:cubicBezTo>
                    <a:cubicBezTo>
                      <a:pt x="6251140" y="5331636"/>
                      <a:pt x="6249167" y="5333610"/>
                      <a:pt x="6249167" y="5336073"/>
                    </a:cubicBezTo>
                    <a:cubicBezTo>
                      <a:pt x="6249167" y="5338541"/>
                      <a:pt x="6251140" y="5340513"/>
                      <a:pt x="6253607" y="5340513"/>
                    </a:cubicBezTo>
                    <a:cubicBezTo>
                      <a:pt x="6256072" y="5340513"/>
                      <a:pt x="6258044" y="5338541"/>
                      <a:pt x="6258044" y="5336073"/>
                    </a:cubicBezTo>
                    <a:close/>
                    <a:moveTo>
                      <a:pt x="6262729" y="2211948"/>
                    </a:moveTo>
                    <a:cubicBezTo>
                      <a:pt x="6262729" y="2186545"/>
                      <a:pt x="6242017" y="2165581"/>
                      <a:pt x="6216373" y="2165581"/>
                    </a:cubicBezTo>
                    <a:cubicBezTo>
                      <a:pt x="6190976" y="2165581"/>
                      <a:pt x="6170017" y="2186297"/>
                      <a:pt x="6170017" y="2211948"/>
                    </a:cubicBezTo>
                    <a:cubicBezTo>
                      <a:pt x="6170017" y="2237343"/>
                      <a:pt x="6190729" y="2258312"/>
                      <a:pt x="6216373" y="2258312"/>
                    </a:cubicBezTo>
                    <a:cubicBezTo>
                      <a:pt x="6242017" y="2258312"/>
                      <a:pt x="6262975" y="2237590"/>
                      <a:pt x="6262729" y="2211948"/>
                    </a:cubicBezTo>
                    <a:close/>
                    <a:moveTo>
                      <a:pt x="6262729" y="6494242"/>
                    </a:moveTo>
                    <a:cubicBezTo>
                      <a:pt x="6262729" y="6487089"/>
                      <a:pt x="6256812" y="6481171"/>
                      <a:pt x="6249662" y="6481171"/>
                    </a:cubicBezTo>
                    <a:cubicBezTo>
                      <a:pt x="6242512" y="6481171"/>
                      <a:pt x="6236594" y="6487089"/>
                      <a:pt x="6236594" y="6494242"/>
                    </a:cubicBezTo>
                    <a:cubicBezTo>
                      <a:pt x="6236594" y="6501392"/>
                      <a:pt x="6242512" y="6507309"/>
                      <a:pt x="6249662" y="6507309"/>
                    </a:cubicBezTo>
                    <a:cubicBezTo>
                      <a:pt x="6256812" y="6507309"/>
                      <a:pt x="6262729" y="6501392"/>
                      <a:pt x="6262729" y="6494242"/>
                    </a:cubicBezTo>
                    <a:close/>
                    <a:moveTo>
                      <a:pt x="6265195" y="1764283"/>
                    </a:moveTo>
                    <a:cubicBezTo>
                      <a:pt x="6265195" y="1738597"/>
                      <a:pt x="6244236" y="1717600"/>
                      <a:pt x="6218593" y="1717600"/>
                    </a:cubicBezTo>
                    <a:cubicBezTo>
                      <a:pt x="6192949" y="1717600"/>
                      <a:pt x="6171991" y="1738597"/>
                      <a:pt x="6171991" y="1764283"/>
                    </a:cubicBezTo>
                    <a:cubicBezTo>
                      <a:pt x="6171991" y="1789914"/>
                      <a:pt x="6192704" y="1810935"/>
                      <a:pt x="6218593" y="1810935"/>
                    </a:cubicBezTo>
                    <a:cubicBezTo>
                      <a:pt x="6244483" y="1810935"/>
                      <a:pt x="6265195" y="1789914"/>
                      <a:pt x="6265195" y="1764283"/>
                    </a:cubicBezTo>
                    <a:close/>
                    <a:moveTo>
                      <a:pt x="6266182" y="3098378"/>
                    </a:moveTo>
                    <a:cubicBezTo>
                      <a:pt x="6266182" y="3091474"/>
                      <a:pt x="6260512" y="3085801"/>
                      <a:pt x="6253608" y="3085801"/>
                    </a:cubicBezTo>
                    <a:cubicBezTo>
                      <a:pt x="6246704" y="3085801"/>
                      <a:pt x="6241032" y="3091474"/>
                      <a:pt x="6241032" y="3098378"/>
                    </a:cubicBezTo>
                    <a:cubicBezTo>
                      <a:pt x="6241032" y="3105282"/>
                      <a:pt x="6246704" y="3110955"/>
                      <a:pt x="6253608" y="3110955"/>
                    </a:cubicBezTo>
                    <a:cubicBezTo>
                      <a:pt x="6260512" y="3110955"/>
                      <a:pt x="6266182" y="3105282"/>
                      <a:pt x="6266182" y="3098378"/>
                    </a:cubicBezTo>
                    <a:close/>
                    <a:moveTo>
                      <a:pt x="6267659" y="3907415"/>
                    </a:moveTo>
                    <a:cubicBezTo>
                      <a:pt x="6267659" y="3895579"/>
                      <a:pt x="6258045" y="3885962"/>
                      <a:pt x="6246210" y="3885962"/>
                    </a:cubicBezTo>
                    <a:cubicBezTo>
                      <a:pt x="6234374" y="3885962"/>
                      <a:pt x="6224757" y="3895579"/>
                      <a:pt x="6224757" y="3907415"/>
                    </a:cubicBezTo>
                    <a:cubicBezTo>
                      <a:pt x="6224757" y="3919251"/>
                      <a:pt x="6234374" y="3928868"/>
                      <a:pt x="6246210" y="3928868"/>
                    </a:cubicBezTo>
                    <a:cubicBezTo>
                      <a:pt x="6258045" y="3928868"/>
                      <a:pt x="6267659" y="3919251"/>
                      <a:pt x="6267659" y="3907415"/>
                    </a:cubicBezTo>
                    <a:close/>
                    <a:moveTo>
                      <a:pt x="6269139" y="5866704"/>
                    </a:moveTo>
                    <a:cubicBezTo>
                      <a:pt x="6269139" y="5859554"/>
                      <a:pt x="6263225" y="5853636"/>
                      <a:pt x="6256072" y="5853636"/>
                    </a:cubicBezTo>
                    <a:cubicBezTo>
                      <a:pt x="6248922" y="5853636"/>
                      <a:pt x="6243004" y="5859554"/>
                      <a:pt x="6243004" y="5866704"/>
                    </a:cubicBezTo>
                    <a:cubicBezTo>
                      <a:pt x="6243004" y="5873857"/>
                      <a:pt x="6248922" y="5879771"/>
                      <a:pt x="6256072" y="5879771"/>
                    </a:cubicBezTo>
                    <a:cubicBezTo>
                      <a:pt x="6263225" y="5879771"/>
                      <a:pt x="6269139" y="5873857"/>
                      <a:pt x="6269139" y="5866704"/>
                    </a:cubicBezTo>
                    <a:close/>
                    <a:moveTo>
                      <a:pt x="6275060" y="3792509"/>
                    </a:moveTo>
                    <a:cubicBezTo>
                      <a:pt x="6275060" y="3785111"/>
                      <a:pt x="6268894" y="3778947"/>
                      <a:pt x="6261497" y="3778947"/>
                    </a:cubicBezTo>
                    <a:cubicBezTo>
                      <a:pt x="6253853" y="3778947"/>
                      <a:pt x="6247935" y="3785111"/>
                      <a:pt x="6247935" y="3792509"/>
                    </a:cubicBezTo>
                    <a:cubicBezTo>
                      <a:pt x="6247935" y="3799905"/>
                      <a:pt x="6254100" y="3806069"/>
                      <a:pt x="6261497" y="3806069"/>
                    </a:cubicBezTo>
                    <a:cubicBezTo>
                      <a:pt x="6269139" y="3806069"/>
                      <a:pt x="6275060" y="3799905"/>
                      <a:pt x="6275060" y="3792509"/>
                    </a:cubicBezTo>
                    <a:close/>
                    <a:moveTo>
                      <a:pt x="6275061" y="3213534"/>
                    </a:moveTo>
                    <a:cubicBezTo>
                      <a:pt x="6275061" y="3209097"/>
                      <a:pt x="6271361" y="3205398"/>
                      <a:pt x="6266922" y="3205398"/>
                    </a:cubicBezTo>
                    <a:cubicBezTo>
                      <a:pt x="6262485" y="3205398"/>
                      <a:pt x="6258785" y="3209097"/>
                      <a:pt x="6258785" y="3213534"/>
                    </a:cubicBezTo>
                    <a:cubicBezTo>
                      <a:pt x="6258785" y="3217975"/>
                      <a:pt x="6262485" y="3221673"/>
                      <a:pt x="6266922" y="3221673"/>
                    </a:cubicBezTo>
                    <a:cubicBezTo>
                      <a:pt x="6271361" y="3221673"/>
                      <a:pt x="6275061" y="3218220"/>
                      <a:pt x="6275061" y="3213534"/>
                    </a:cubicBezTo>
                    <a:close/>
                    <a:moveTo>
                      <a:pt x="6276045" y="1225052"/>
                    </a:moveTo>
                    <a:cubicBezTo>
                      <a:pt x="6276045" y="1199407"/>
                      <a:pt x="6255086" y="1178443"/>
                      <a:pt x="6229442" y="1178443"/>
                    </a:cubicBezTo>
                    <a:cubicBezTo>
                      <a:pt x="6204045" y="1178443"/>
                      <a:pt x="6183086" y="1199407"/>
                      <a:pt x="6183086" y="1225052"/>
                    </a:cubicBezTo>
                    <a:cubicBezTo>
                      <a:pt x="6183086" y="1250691"/>
                      <a:pt x="6203799" y="1271645"/>
                      <a:pt x="6229442" y="1271645"/>
                    </a:cubicBezTo>
                    <a:cubicBezTo>
                      <a:pt x="6255086" y="1271645"/>
                      <a:pt x="6275799" y="1250691"/>
                      <a:pt x="6276045" y="1225052"/>
                    </a:cubicBezTo>
                    <a:close/>
                    <a:moveTo>
                      <a:pt x="6278266" y="4683633"/>
                    </a:moveTo>
                    <a:cubicBezTo>
                      <a:pt x="6278266" y="4664401"/>
                      <a:pt x="6262730" y="4648866"/>
                      <a:pt x="6243498" y="4648866"/>
                    </a:cubicBezTo>
                    <a:cubicBezTo>
                      <a:pt x="6224264" y="4648866"/>
                      <a:pt x="6208483" y="4664401"/>
                      <a:pt x="6208483" y="4683633"/>
                    </a:cubicBezTo>
                    <a:cubicBezTo>
                      <a:pt x="6208483" y="4702867"/>
                      <a:pt x="6224264" y="4718648"/>
                      <a:pt x="6243498" y="4718648"/>
                    </a:cubicBezTo>
                    <a:cubicBezTo>
                      <a:pt x="6262730" y="4718648"/>
                      <a:pt x="6278266" y="4702867"/>
                      <a:pt x="6278266" y="4683633"/>
                    </a:cubicBezTo>
                    <a:close/>
                    <a:moveTo>
                      <a:pt x="6279498" y="2589923"/>
                    </a:moveTo>
                    <a:cubicBezTo>
                      <a:pt x="6279498" y="2572908"/>
                      <a:pt x="6265689" y="2559099"/>
                      <a:pt x="6248674" y="2559099"/>
                    </a:cubicBezTo>
                    <a:cubicBezTo>
                      <a:pt x="6231661" y="2559099"/>
                      <a:pt x="6217852" y="2572908"/>
                      <a:pt x="6217852" y="2589923"/>
                    </a:cubicBezTo>
                    <a:cubicBezTo>
                      <a:pt x="6217852" y="2606943"/>
                      <a:pt x="6231661" y="2620749"/>
                      <a:pt x="6248674" y="2620749"/>
                    </a:cubicBezTo>
                    <a:cubicBezTo>
                      <a:pt x="6265689" y="2620749"/>
                      <a:pt x="6279498" y="2606943"/>
                      <a:pt x="6279498" y="2589923"/>
                    </a:cubicBezTo>
                    <a:close/>
                    <a:moveTo>
                      <a:pt x="6280238" y="3676865"/>
                    </a:moveTo>
                    <a:cubicBezTo>
                      <a:pt x="6280238" y="3672427"/>
                      <a:pt x="6276787" y="3668975"/>
                      <a:pt x="6272347" y="3668975"/>
                    </a:cubicBezTo>
                    <a:cubicBezTo>
                      <a:pt x="6267908" y="3668975"/>
                      <a:pt x="6264457" y="3672427"/>
                      <a:pt x="6264457" y="3676865"/>
                    </a:cubicBezTo>
                    <a:cubicBezTo>
                      <a:pt x="6264457" y="3681305"/>
                      <a:pt x="6267908" y="3684756"/>
                      <a:pt x="6272347" y="3684756"/>
                    </a:cubicBezTo>
                    <a:cubicBezTo>
                      <a:pt x="6276538" y="3684756"/>
                      <a:pt x="6280238" y="3681305"/>
                      <a:pt x="6280238" y="3676865"/>
                    </a:cubicBezTo>
                    <a:close/>
                    <a:moveTo>
                      <a:pt x="6280484" y="3329417"/>
                    </a:moveTo>
                    <a:cubicBezTo>
                      <a:pt x="6280484" y="3326455"/>
                      <a:pt x="6278016" y="3324246"/>
                      <a:pt x="6275304" y="3324246"/>
                    </a:cubicBezTo>
                    <a:cubicBezTo>
                      <a:pt x="6272345" y="3324246"/>
                      <a:pt x="6270126" y="3326699"/>
                      <a:pt x="6270126" y="3329417"/>
                    </a:cubicBezTo>
                    <a:cubicBezTo>
                      <a:pt x="6270126" y="3332332"/>
                      <a:pt x="6272345" y="3334569"/>
                      <a:pt x="6275304" y="3334569"/>
                    </a:cubicBezTo>
                    <a:cubicBezTo>
                      <a:pt x="6278263" y="3334569"/>
                      <a:pt x="6280484" y="3332092"/>
                      <a:pt x="6280484" y="3329417"/>
                    </a:cubicBezTo>
                    <a:close/>
                    <a:moveTo>
                      <a:pt x="6282948" y="3560975"/>
                    </a:moveTo>
                    <a:cubicBezTo>
                      <a:pt x="6282948" y="3558261"/>
                      <a:pt x="6280729" y="3556043"/>
                      <a:pt x="6278017" y="3556043"/>
                    </a:cubicBezTo>
                    <a:cubicBezTo>
                      <a:pt x="6275304" y="3556043"/>
                      <a:pt x="6273085" y="3558261"/>
                      <a:pt x="6273085" y="3560975"/>
                    </a:cubicBezTo>
                    <a:cubicBezTo>
                      <a:pt x="6273085" y="3563687"/>
                      <a:pt x="6275304" y="3565905"/>
                      <a:pt x="6278017" y="3565905"/>
                    </a:cubicBezTo>
                    <a:cubicBezTo>
                      <a:pt x="6280729" y="3565905"/>
                      <a:pt x="6282948" y="3563687"/>
                      <a:pt x="6282948" y="3560975"/>
                    </a:cubicBezTo>
                    <a:close/>
                    <a:moveTo>
                      <a:pt x="6283442" y="3445046"/>
                    </a:moveTo>
                    <a:cubicBezTo>
                      <a:pt x="6283442" y="3442587"/>
                      <a:pt x="6281470" y="3440619"/>
                      <a:pt x="6279006" y="3440619"/>
                    </a:cubicBezTo>
                    <a:cubicBezTo>
                      <a:pt x="6276538" y="3440619"/>
                      <a:pt x="6274566" y="3442587"/>
                      <a:pt x="6274566" y="3445046"/>
                    </a:cubicBezTo>
                    <a:cubicBezTo>
                      <a:pt x="6274566" y="3447520"/>
                      <a:pt x="6276538" y="3449495"/>
                      <a:pt x="6279006" y="3449495"/>
                    </a:cubicBezTo>
                    <a:cubicBezTo>
                      <a:pt x="6281470" y="3449495"/>
                      <a:pt x="6283442" y="3447520"/>
                      <a:pt x="6283442" y="3445046"/>
                    </a:cubicBezTo>
                    <a:close/>
                    <a:moveTo>
                      <a:pt x="6284678" y="4412894"/>
                    </a:moveTo>
                    <a:cubicBezTo>
                      <a:pt x="6284678" y="4384291"/>
                      <a:pt x="6261253" y="4360866"/>
                      <a:pt x="6232650" y="4360866"/>
                    </a:cubicBezTo>
                    <a:cubicBezTo>
                      <a:pt x="6204047" y="4360866"/>
                      <a:pt x="6180621" y="4384291"/>
                      <a:pt x="6180621" y="4412894"/>
                    </a:cubicBezTo>
                    <a:cubicBezTo>
                      <a:pt x="6180621" y="4441497"/>
                      <a:pt x="6204047" y="4464922"/>
                      <a:pt x="6232650" y="4464922"/>
                    </a:cubicBezTo>
                    <a:cubicBezTo>
                      <a:pt x="6261498" y="4464922"/>
                      <a:pt x="6284678" y="4441742"/>
                      <a:pt x="6284678" y="4412894"/>
                    </a:cubicBezTo>
                    <a:close/>
                    <a:moveTo>
                      <a:pt x="6286153" y="2019334"/>
                    </a:moveTo>
                    <a:cubicBezTo>
                      <a:pt x="6286153" y="1994698"/>
                      <a:pt x="6266181" y="1974743"/>
                      <a:pt x="6241523" y="1974743"/>
                    </a:cubicBezTo>
                    <a:cubicBezTo>
                      <a:pt x="6216865" y="1974743"/>
                      <a:pt x="6196894" y="1994698"/>
                      <a:pt x="6196894" y="2019334"/>
                    </a:cubicBezTo>
                    <a:cubicBezTo>
                      <a:pt x="6196894" y="2044003"/>
                      <a:pt x="6216865" y="2063986"/>
                      <a:pt x="6241523" y="2063986"/>
                    </a:cubicBezTo>
                    <a:cubicBezTo>
                      <a:pt x="6266181" y="2063986"/>
                      <a:pt x="6286153" y="2044003"/>
                      <a:pt x="6286153" y="2019334"/>
                    </a:cubicBezTo>
                    <a:close/>
                    <a:moveTo>
                      <a:pt x="6286402" y="1612871"/>
                    </a:moveTo>
                    <a:cubicBezTo>
                      <a:pt x="6286402" y="1592402"/>
                      <a:pt x="6269883" y="1575876"/>
                      <a:pt x="6249417" y="1575876"/>
                    </a:cubicBezTo>
                    <a:cubicBezTo>
                      <a:pt x="6228951" y="1575876"/>
                      <a:pt x="6212183" y="1592402"/>
                      <a:pt x="6212183" y="1612871"/>
                    </a:cubicBezTo>
                    <a:cubicBezTo>
                      <a:pt x="6212183" y="1633335"/>
                      <a:pt x="6228951" y="1650098"/>
                      <a:pt x="6249417" y="1650098"/>
                    </a:cubicBezTo>
                    <a:cubicBezTo>
                      <a:pt x="6269883" y="1650098"/>
                      <a:pt x="6286402" y="1633581"/>
                      <a:pt x="6286402" y="1612871"/>
                    </a:cubicBezTo>
                    <a:close/>
                    <a:moveTo>
                      <a:pt x="6289114" y="5084321"/>
                    </a:moveTo>
                    <a:cubicBezTo>
                      <a:pt x="6289114" y="5081115"/>
                      <a:pt x="6286401" y="5078402"/>
                      <a:pt x="6283197" y="5078402"/>
                    </a:cubicBezTo>
                    <a:cubicBezTo>
                      <a:pt x="6279992" y="5078402"/>
                      <a:pt x="6277279" y="5081115"/>
                      <a:pt x="6277279" y="5084321"/>
                    </a:cubicBezTo>
                    <a:cubicBezTo>
                      <a:pt x="6277279" y="5087525"/>
                      <a:pt x="6279992" y="5090238"/>
                      <a:pt x="6283197" y="5090238"/>
                    </a:cubicBezTo>
                    <a:cubicBezTo>
                      <a:pt x="6286401" y="5090238"/>
                      <a:pt x="6289114" y="5087525"/>
                      <a:pt x="6289114" y="5084321"/>
                    </a:cubicBezTo>
                    <a:close/>
                    <a:moveTo>
                      <a:pt x="6289358" y="5485005"/>
                    </a:moveTo>
                    <a:cubicBezTo>
                      <a:pt x="6289358" y="5480811"/>
                      <a:pt x="6285907" y="5477360"/>
                      <a:pt x="6281716" y="5477360"/>
                    </a:cubicBezTo>
                    <a:cubicBezTo>
                      <a:pt x="6277525" y="5477360"/>
                      <a:pt x="6274072" y="5480811"/>
                      <a:pt x="6274072" y="5485005"/>
                    </a:cubicBezTo>
                    <a:cubicBezTo>
                      <a:pt x="6274072" y="5489197"/>
                      <a:pt x="6277525" y="5492650"/>
                      <a:pt x="6281716" y="5492650"/>
                    </a:cubicBezTo>
                    <a:cubicBezTo>
                      <a:pt x="6286153" y="5492650"/>
                      <a:pt x="6289358" y="5489197"/>
                      <a:pt x="6289358" y="5485005"/>
                    </a:cubicBezTo>
                    <a:close/>
                    <a:moveTo>
                      <a:pt x="6291332" y="6008240"/>
                    </a:moveTo>
                    <a:cubicBezTo>
                      <a:pt x="6291332" y="5999114"/>
                      <a:pt x="6284180" y="5991964"/>
                      <a:pt x="6275303" y="5991964"/>
                    </a:cubicBezTo>
                    <a:cubicBezTo>
                      <a:pt x="6266181" y="5991964"/>
                      <a:pt x="6259031" y="5999363"/>
                      <a:pt x="6259031" y="6008240"/>
                    </a:cubicBezTo>
                    <a:cubicBezTo>
                      <a:pt x="6259031" y="6017117"/>
                      <a:pt x="6266426" y="6024513"/>
                      <a:pt x="6275303" y="6024513"/>
                    </a:cubicBezTo>
                    <a:cubicBezTo>
                      <a:pt x="6284428" y="6024513"/>
                      <a:pt x="6291578" y="6017117"/>
                      <a:pt x="6291332" y="6008240"/>
                    </a:cubicBezTo>
                    <a:close/>
                    <a:moveTo>
                      <a:pt x="6296265" y="1081571"/>
                    </a:moveTo>
                    <a:cubicBezTo>
                      <a:pt x="6296265" y="1055893"/>
                      <a:pt x="6275552" y="1035201"/>
                      <a:pt x="6249908" y="1035201"/>
                    </a:cubicBezTo>
                    <a:cubicBezTo>
                      <a:pt x="6224265" y="1035201"/>
                      <a:pt x="6203552" y="1055893"/>
                      <a:pt x="6203552" y="1081571"/>
                    </a:cubicBezTo>
                    <a:cubicBezTo>
                      <a:pt x="6203552" y="1107209"/>
                      <a:pt x="6224265" y="1127927"/>
                      <a:pt x="6249908" y="1127927"/>
                    </a:cubicBezTo>
                    <a:cubicBezTo>
                      <a:pt x="6275304" y="1127927"/>
                      <a:pt x="6296265" y="1107209"/>
                      <a:pt x="6296265" y="1081571"/>
                    </a:cubicBezTo>
                    <a:close/>
                    <a:moveTo>
                      <a:pt x="6304155" y="768221"/>
                    </a:moveTo>
                    <a:cubicBezTo>
                      <a:pt x="6304155" y="741351"/>
                      <a:pt x="6282210" y="719385"/>
                      <a:pt x="6255332" y="719385"/>
                    </a:cubicBezTo>
                    <a:cubicBezTo>
                      <a:pt x="6228455" y="719385"/>
                      <a:pt x="6206511" y="741351"/>
                      <a:pt x="6206511" y="768221"/>
                    </a:cubicBezTo>
                    <a:cubicBezTo>
                      <a:pt x="6206511" y="795093"/>
                      <a:pt x="6228455" y="817045"/>
                      <a:pt x="6255332" y="817045"/>
                    </a:cubicBezTo>
                    <a:cubicBezTo>
                      <a:pt x="6282457" y="817045"/>
                      <a:pt x="6304155" y="795093"/>
                      <a:pt x="6304155" y="768221"/>
                    </a:cubicBezTo>
                    <a:close/>
                    <a:moveTo>
                      <a:pt x="6304401" y="2700889"/>
                    </a:moveTo>
                    <a:cubicBezTo>
                      <a:pt x="6304401" y="2688807"/>
                      <a:pt x="6294292" y="2678697"/>
                      <a:pt x="6281962" y="2678697"/>
                    </a:cubicBezTo>
                    <a:cubicBezTo>
                      <a:pt x="6269880" y="2678697"/>
                      <a:pt x="6259772" y="2688561"/>
                      <a:pt x="6259772" y="2700889"/>
                    </a:cubicBezTo>
                    <a:cubicBezTo>
                      <a:pt x="6259772" y="2712974"/>
                      <a:pt x="6269635" y="2723081"/>
                      <a:pt x="6281962" y="2723081"/>
                    </a:cubicBezTo>
                    <a:cubicBezTo>
                      <a:pt x="6294292" y="2723081"/>
                      <a:pt x="6304401" y="2713221"/>
                      <a:pt x="6304401" y="2700889"/>
                    </a:cubicBezTo>
                    <a:close/>
                    <a:moveTo>
                      <a:pt x="6306373" y="2317963"/>
                    </a:moveTo>
                    <a:cubicBezTo>
                      <a:pt x="6306373" y="2294058"/>
                      <a:pt x="6287139" y="2274573"/>
                      <a:pt x="6263222" y="2274573"/>
                    </a:cubicBezTo>
                    <a:cubicBezTo>
                      <a:pt x="6239305" y="2274573"/>
                      <a:pt x="6219824" y="2294058"/>
                      <a:pt x="6219824" y="2317963"/>
                    </a:cubicBezTo>
                    <a:cubicBezTo>
                      <a:pt x="6219824" y="2341659"/>
                      <a:pt x="6239305" y="2361120"/>
                      <a:pt x="6263222" y="2361120"/>
                    </a:cubicBezTo>
                    <a:cubicBezTo>
                      <a:pt x="6287139" y="2361120"/>
                      <a:pt x="6306619" y="2341659"/>
                      <a:pt x="6306373" y="2317963"/>
                    </a:cubicBezTo>
                    <a:close/>
                    <a:moveTo>
                      <a:pt x="6314758" y="4824182"/>
                    </a:moveTo>
                    <a:cubicBezTo>
                      <a:pt x="6314758" y="4815059"/>
                      <a:pt x="6307359" y="4807414"/>
                      <a:pt x="6297991" y="4807414"/>
                    </a:cubicBezTo>
                    <a:cubicBezTo>
                      <a:pt x="6288868" y="4807414"/>
                      <a:pt x="6281224" y="4814813"/>
                      <a:pt x="6281224" y="4824182"/>
                    </a:cubicBezTo>
                    <a:cubicBezTo>
                      <a:pt x="6281224" y="4833304"/>
                      <a:pt x="6288619" y="4840949"/>
                      <a:pt x="6297991" y="4840949"/>
                    </a:cubicBezTo>
                    <a:cubicBezTo>
                      <a:pt x="6307359" y="4840949"/>
                      <a:pt x="6315003" y="4833550"/>
                      <a:pt x="6314758" y="4824182"/>
                    </a:cubicBezTo>
                    <a:close/>
                    <a:moveTo>
                      <a:pt x="6315497" y="939555"/>
                    </a:moveTo>
                    <a:cubicBezTo>
                      <a:pt x="6315497" y="913664"/>
                      <a:pt x="6294292" y="892465"/>
                      <a:pt x="6268399" y="892465"/>
                    </a:cubicBezTo>
                    <a:cubicBezTo>
                      <a:pt x="6242510" y="892465"/>
                      <a:pt x="6221305" y="913664"/>
                      <a:pt x="6221305" y="939555"/>
                    </a:cubicBezTo>
                    <a:cubicBezTo>
                      <a:pt x="6221305" y="965457"/>
                      <a:pt x="6242264" y="986663"/>
                      <a:pt x="6268399" y="986663"/>
                    </a:cubicBezTo>
                    <a:cubicBezTo>
                      <a:pt x="6294292" y="986663"/>
                      <a:pt x="6315497" y="965457"/>
                      <a:pt x="6315497" y="939555"/>
                    </a:cubicBezTo>
                    <a:close/>
                    <a:moveTo>
                      <a:pt x="6317714" y="4302675"/>
                    </a:moveTo>
                    <a:cubicBezTo>
                      <a:pt x="6317714" y="4275304"/>
                      <a:pt x="6295524" y="4253113"/>
                      <a:pt x="6268153" y="4253113"/>
                    </a:cubicBezTo>
                    <a:cubicBezTo>
                      <a:pt x="6240783" y="4253113"/>
                      <a:pt x="6218592" y="4275304"/>
                      <a:pt x="6218592" y="4302675"/>
                    </a:cubicBezTo>
                    <a:cubicBezTo>
                      <a:pt x="6218592" y="4330045"/>
                      <a:pt x="6240783" y="4352238"/>
                      <a:pt x="6268153" y="4352238"/>
                    </a:cubicBezTo>
                    <a:cubicBezTo>
                      <a:pt x="6295524" y="4352238"/>
                      <a:pt x="6317714" y="4330045"/>
                      <a:pt x="6317714" y="4302675"/>
                    </a:cubicBezTo>
                    <a:close/>
                    <a:moveTo>
                      <a:pt x="6318951" y="5632212"/>
                    </a:moveTo>
                    <a:cubicBezTo>
                      <a:pt x="6318951" y="5625800"/>
                      <a:pt x="6313524" y="5620622"/>
                      <a:pt x="6307114" y="5620622"/>
                    </a:cubicBezTo>
                    <a:cubicBezTo>
                      <a:pt x="6300702" y="5620622"/>
                      <a:pt x="6295524" y="5625800"/>
                      <a:pt x="6295524" y="5632212"/>
                    </a:cubicBezTo>
                    <a:cubicBezTo>
                      <a:pt x="6295524" y="5638868"/>
                      <a:pt x="6300702" y="5644049"/>
                      <a:pt x="6307114" y="5644049"/>
                    </a:cubicBezTo>
                    <a:cubicBezTo>
                      <a:pt x="6313773" y="5644049"/>
                      <a:pt x="6318951" y="5638868"/>
                      <a:pt x="6318951" y="5632212"/>
                    </a:cubicBezTo>
                    <a:close/>
                    <a:moveTo>
                      <a:pt x="6319195" y="630091"/>
                    </a:moveTo>
                    <a:cubicBezTo>
                      <a:pt x="6319195" y="603217"/>
                      <a:pt x="6297251" y="581274"/>
                      <a:pt x="6270375" y="581274"/>
                    </a:cubicBezTo>
                    <a:cubicBezTo>
                      <a:pt x="6243496" y="581274"/>
                      <a:pt x="6221551" y="603217"/>
                      <a:pt x="6221551" y="630091"/>
                    </a:cubicBezTo>
                    <a:cubicBezTo>
                      <a:pt x="6221551" y="657043"/>
                      <a:pt x="6243496" y="678976"/>
                      <a:pt x="6270375" y="678976"/>
                    </a:cubicBezTo>
                    <a:cubicBezTo>
                      <a:pt x="6297251" y="678976"/>
                      <a:pt x="6319195" y="657043"/>
                      <a:pt x="6319195" y="630091"/>
                    </a:cubicBezTo>
                    <a:close/>
                    <a:moveTo>
                      <a:pt x="6321662" y="1463223"/>
                    </a:moveTo>
                    <a:cubicBezTo>
                      <a:pt x="6321662" y="1438310"/>
                      <a:pt x="6301441" y="1418099"/>
                      <a:pt x="6276538" y="1418099"/>
                    </a:cubicBezTo>
                    <a:cubicBezTo>
                      <a:pt x="6251635" y="1418099"/>
                      <a:pt x="6231414" y="1438310"/>
                      <a:pt x="6231414" y="1463223"/>
                    </a:cubicBezTo>
                    <a:cubicBezTo>
                      <a:pt x="6231414" y="1488121"/>
                      <a:pt x="6251635" y="1508339"/>
                      <a:pt x="6276538" y="1508339"/>
                    </a:cubicBezTo>
                    <a:cubicBezTo>
                      <a:pt x="6301441" y="1508339"/>
                      <a:pt x="6321908" y="1488121"/>
                      <a:pt x="6321662" y="1463223"/>
                    </a:cubicBezTo>
                    <a:close/>
                    <a:moveTo>
                      <a:pt x="6321912" y="6137692"/>
                    </a:moveTo>
                    <a:cubicBezTo>
                      <a:pt x="6321912" y="6127580"/>
                      <a:pt x="6313526" y="6119198"/>
                      <a:pt x="6303417" y="6119198"/>
                    </a:cubicBezTo>
                    <a:cubicBezTo>
                      <a:pt x="6293306" y="6119198"/>
                      <a:pt x="6284923" y="6127335"/>
                      <a:pt x="6284923" y="6137692"/>
                    </a:cubicBezTo>
                    <a:cubicBezTo>
                      <a:pt x="6284923" y="6147801"/>
                      <a:pt x="6293060" y="6156186"/>
                      <a:pt x="6303417" y="6156186"/>
                    </a:cubicBezTo>
                    <a:cubicBezTo>
                      <a:pt x="6313526" y="6156186"/>
                      <a:pt x="6321912" y="6147801"/>
                      <a:pt x="6321912" y="6137692"/>
                    </a:cubicBezTo>
                    <a:close/>
                    <a:moveTo>
                      <a:pt x="6322401" y="5238679"/>
                    </a:moveTo>
                    <a:cubicBezTo>
                      <a:pt x="6322401" y="5235720"/>
                      <a:pt x="6319936" y="5233252"/>
                      <a:pt x="6316977" y="5233252"/>
                    </a:cubicBezTo>
                    <a:cubicBezTo>
                      <a:pt x="6314019" y="5233252"/>
                      <a:pt x="6311551" y="5235720"/>
                      <a:pt x="6311551" y="5238679"/>
                    </a:cubicBezTo>
                    <a:cubicBezTo>
                      <a:pt x="6311551" y="5241635"/>
                      <a:pt x="6314019" y="5244102"/>
                      <a:pt x="6316977" y="5244102"/>
                    </a:cubicBezTo>
                    <a:cubicBezTo>
                      <a:pt x="6319936" y="5244102"/>
                      <a:pt x="6322155" y="5241635"/>
                      <a:pt x="6322401" y="5238679"/>
                    </a:cubicBezTo>
                    <a:close/>
                    <a:moveTo>
                      <a:pt x="6325605" y="1863908"/>
                    </a:moveTo>
                    <a:cubicBezTo>
                      <a:pt x="6325605" y="1838039"/>
                      <a:pt x="6304647" y="1817087"/>
                      <a:pt x="6278757" y="1817087"/>
                    </a:cubicBezTo>
                    <a:cubicBezTo>
                      <a:pt x="6252619" y="1817087"/>
                      <a:pt x="6231660" y="1838039"/>
                      <a:pt x="6231660" y="1863908"/>
                    </a:cubicBezTo>
                    <a:cubicBezTo>
                      <a:pt x="6231660" y="1889775"/>
                      <a:pt x="6252867" y="1910713"/>
                      <a:pt x="6278757" y="1910713"/>
                    </a:cubicBezTo>
                    <a:cubicBezTo>
                      <a:pt x="6304647" y="1910713"/>
                      <a:pt x="6325853" y="1889527"/>
                      <a:pt x="6325605" y="1863908"/>
                    </a:cubicBezTo>
                    <a:close/>
                    <a:moveTo>
                      <a:pt x="6325856" y="2813087"/>
                    </a:moveTo>
                    <a:cubicBezTo>
                      <a:pt x="6325856" y="2804704"/>
                      <a:pt x="6319197" y="2798049"/>
                      <a:pt x="6310813" y="2798049"/>
                    </a:cubicBezTo>
                    <a:cubicBezTo>
                      <a:pt x="6302431" y="2798049"/>
                      <a:pt x="6295772" y="2804704"/>
                      <a:pt x="6295772" y="2813087"/>
                    </a:cubicBezTo>
                    <a:cubicBezTo>
                      <a:pt x="6295772" y="2821474"/>
                      <a:pt x="6302431" y="2828131"/>
                      <a:pt x="6310813" y="2828131"/>
                    </a:cubicBezTo>
                    <a:cubicBezTo>
                      <a:pt x="6319197" y="2828131"/>
                      <a:pt x="6325856" y="2821474"/>
                      <a:pt x="6325856" y="2813087"/>
                    </a:cubicBezTo>
                    <a:close/>
                    <a:moveTo>
                      <a:pt x="6328566" y="6276760"/>
                    </a:moveTo>
                    <a:cubicBezTo>
                      <a:pt x="6328566" y="6271580"/>
                      <a:pt x="6324375" y="6267388"/>
                      <a:pt x="6319197" y="6267388"/>
                    </a:cubicBezTo>
                    <a:cubicBezTo>
                      <a:pt x="6314018" y="6267388"/>
                      <a:pt x="6309826" y="6271580"/>
                      <a:pt x="6309826" y="6276760"/>
                    </a:cubicBezTo>
                    <a:cubicBezTo>
                      <a:pt x="6309826" y="6281937"/>
                      <a:pt x="6314018" y="6286128"/>
                      <a:pt x="6319197" y="6286128"/>
                    </a:cubicBezTo>
                    <a:cubicBezTo>
                      <a:pt x="6324375" y="6286128"/>
                      <a:pt x="6328566" y="6281937"/>
                      <a:pt x="6328566" y="6276760"/>
                    </a:cubicBezTo>
                    <a:close/>
                    <a:moveTo>
                      <a:pt x="6332266" y="493028"/>
                    </a:moveTo>
                    <a:cubicBezTo>
                      <a:pt x="6332266" y="466399"/>
                      <a:pt x="6310567" y="444702"/>
                      <a:pt x="6283938" y="444702"/>
                    </a:cubicBezTo>
                    <a:cubicBezTo>
                      <a:pt x="6257307" y="444702"/>
                      <a:pt x="6235608" y="466399"/>
                      <a:pt x="6235608" y="493028"/>
                    </a:cubicBezTo>
                    <a:cubicBezTo>
                      <a:pt x="6235608" y="519657"/>
                      <a:pt x="6257307" y="541353"/>
                      <a:pt x="6283938" y="541353"/>
                    </a:cubicBezTo>
                    <a:cubicBezTo>
                      <a:pt x="6310567" y="541353"/>
                      <a:pt x="6332266" y="519657"/>
                      <a:pt x="6332266" y="493028"/>
                    </a:cubicBezTo>
                    <a:close/>
                    <a:moveTo>
                      <a:pt x="6332508" y="4577112"/>
                    </a:moveTo>
                    <a:cubicBezTo>
                      <a:pt x="6332508" y="4552454"/>
                      <a:pt x="6312537" y="4532483"/>
                      <a:pt x="6287879" y="4532483"/>
                    </a:cubicBezTo>
                    <a:cubicBezTo>
                      <a:pt x="6263222" y="4532483"/>
                      <a:pt x="6243250" y="4552454"/>
                      <a:pt x="6243250" y="4577112"/>
                    </a:cubicBezTo>
                    <a:cubicBezTo>
                      <a:pt x="6243250" y="4601524"/>
                      <a:pt x="6263222" y="4621496"/>
                      <a:pt x="6287879" y="4621496"/>
                    </a:cubicBezTo>
                    <a:cubicBezTo>
                      <a:pt x="6312537" y="4621496"/>
                      <a:pt x="6332508" y="4601524"/>
                      <a:pt x="6332508" y="4577112"/>
                    </a:cubicBezTo>
                    <a:close/>
                    <a:moveTo>
                      <a:pt x="6338429" y="2122942"/>
                    </a:moveTo>
                    <a:cubicBezTo>
                      <a:pt x="6338429" y="2098520"/>
                      <a:pt x="6318701" y="2078785"/>
                      <a:pt x="6294291" y="2078785"/>
                    </a:cubicBezTo>
                    <a:cubicBezTo>
                      <a:pt x="6269880" y="2078785"/>
                      <a:pt x="6250154" y="2098520"/>
                      <a:pt x="6250154" y="2122942"/>
                    </a:cubicBezTo>
                    <a:cubicBezTo>
                      <a:pt x="6250154" y="2147357"/>
                      <a:pt x="6270126" y="2167087"/>
                      <a:pt x="6294291" y="2167087"/>
                    </a:cubicBezTo>
                    <a:cubicBezTo>
                      <a:pt x="6318454" y="2167087"/>
                      <a:pt x="6338429" y="2147357"/>
                      <a:pt x="6338429" y="2122942"/>
                    </a:cubicBezTo>
                    <a:close/>
                    <a:moveTo>
                      <a:pt x="6344348" y="5777937"/>
                    </a:moveTo>
                    <a:cubicBezTo>
                      <a:pt x="6344348" y="5770293"/>
                      <a:pt x="6338184" y="5764128"/>
                      <a:pt x="6330539" y="5764128"/>
                    </a:cubicBezTo>
                    <a:cubicBezTo>
                      <a:pt x="6322895" y="5764128"/>
                      <a:pt x="6316731" y="5770293"/>
                      <a:pt x="6316731" y="5777937"/>
                    </a:cubicBezTo>
                    <a:cubicBezTo>
                      <a:pt x="6316731" y="5785581"/>
                      <a:pt x="6322895" y="5791746"/>
                      <a:pt x="6330539" y="5791746"/>
                    </a:cubicBezTo>
                    <a:cubicBezTo>
                      <a:pt x="6338184" y="5791746"/>
                      <a:pt x="6344348" y="5785581"/>
                      <a:pt x="6344348" y="5777937"/>
                    </a:cubicBezTo>
                    <a:close/>
                    <a:moveTo>
                      <a:pt x="6344597" y="4190976"/>
                    </a:moveTo>
                    <a:cubicBezTo>
                      <a:pt x="6344597" y="4165826"/>
                      <a:pt x="6324129" y="4145360"/>
                      <a:pt x="6298978" y="4145360"/>
                    </a:cubicBezTo>
                    <a:cubicBezTo>
                      <a:pt x="6273827" y="4145360"/>
                      <a:pt x="6253362" y="4165826"/>
                      <a:pt x="6253362" y="4190976"/>
                    </a:cubicBezTo>
                    <a:cubicBezTo>
                      <a:pt x="6253362" y="4216129"/>
                      <a:pt x="6273827" y="4236592"/>
                      <a:pt x="6298978" y="4236592"/>
                    </a:cubicBezTo>
                    <a:cubicBezTo>
                      <a:pt x="6323882" y="4236592"/>
                      <a:pt x="6344348" y="4216129"/>
                      <a:pt x="6344597" y="4190976"/>
                    </a:cubicBezTo>
                    <a:close/>
                    <a:moveTo>
                      <a:pt x="6345334" y="2425218"/>
                    </a:moveTo>
                    <a:cubicBezTo>
                      <a:pt x="6345334" y="2403535"/>
                      <a:pt x="6327826" y="2385787"/>
                      <a:pt x="6306128" y="2385787"/>
                    </a:cubicBezTo>
                    <a:cubicBezTo>
                      <a:pt x="6284428" y="2385787"/>
                      <a:pt x="6266675" y="2403535"/>
                      <a:pt x="6266675" y="2425218"/>
                    </a:cubicBezTo>
                    <a:cubicBezTo>
                      <a:pt x="6266675" y="2446934"/>
                      <a:pt x="6284428" y="2464678"/>
                      <a:pt x="6306128" y="2464678"/>
                    </a:cubicBezTo>
                    <a:cubicBezTo>
                      <a:pt x="6327826" y="2464678"/>
                      <a:pt x="6345334" y="2447181"/>
                      <a:pt x="6345334" y="2425218"/>
                    </a:cubicBezTo>
                    <a:close/>
                    <a:moveTo>
                      <a:pt x="6346566" y="2926522"/>
                    </a:moveTo>
                    <a:cubicBezTo>
                      <a:pt x="6346566" y="2920355"/>
                      <a:pt x="6341388" y="2915178"/>
                      <a:pt x="6335225" y="2915178"/>
                    </a:cubicBezTo>
                    <a:cubicBezTo>
                      <a:pt x="6329059" y="2915178"/>
                      <a:pt x="6323881" y="2920355"/>
                      <a:pt x="6323881" y="2926522"/>
                    </a:cubicBezTo>
                    <a:cubicBezTo>
                      <a:pt x="6323881" y="2932685"/>
                      <a:pt x="6329059" y="2937863"/>
                      <a:pt x="6335225" y="2937863"/>
                    </a:cubicBezTo>
                    <a:cubicBezTo>
                      <a:pt x="6341388" y="2937863"/>
                      <a:pt x="6346320" y="2932685"/>
                      <a:pt x="6346566" y="2926522"/>
                    </a:cubicBezTo>
                    <a:close/>
                    <a:moveTo>
                      <a:pt x="6348043" y="1315798"/>
                    </a:moveTo>
                    <a:cubicBezTo>
                      <a:pt x="6348043" y="1290149"/>
                      <a:pt x="6327332" y="1269426"/>
                      <a:pt x="6301688" y="1269426"/>
                    </a:cubicBezTo>
                    <a:cubicBezTo>
                      <a:pt x="6276044" y="1269426"/>
                      <a:pt x="6255332" y="1290149"/>
                      <a:pt x="6255332" y="1315798"/>
                    </a:cubicBezTo>
                    <a:cubicBezTo>
                      <a:pt x="6255332" y="1341431"/>
                      <a:pt x="6276044" y="1362145"/>
                      <a:pt x="6301688" y="1362145"/>
                    </a:cubicBezTo>
                    <a:cubicBezTo>
                      <a:pt x="6327332" y="1362145"/>
                      <a:pt x="6348043" y="1341431"/>
                      <a:pt x="6348043" y="1315798"/>
                    </a:cubicBezTo>
                    <a:close/>
                    <a:moveTo>
                      <a:pt x="6348048" y="6414594"/>
                    </a:moveTo>
                    <a:cubicBezTo>
                      <a:pt x="6348048" y="6406704"/>
                      <a:pt x="6341884" y="6400540"/>
                      <a:pt x="6334239" y="6400540"/>
                    </a:cubicBezTo>
                    <a:cubicBezTo>
                      <a:pt x="6326595" y="6400540"/>
                      <a:pt x="6320431" y="6406952"/>
                      <a:pt x="6320431" y="6414594"/>
                    </a:cubicBezTo>
                    <a:cubicBezTo>
                      <a:pt x="6320431" y="6422238"/>
                      <a:pt x="6326595" y="6428402"/>
                      <a:pt x="6334239" y="6428402"/>
                    </a:cubicBezTo>
                    <a:cubicBezTo>
                      <a:pt x="6341884" y="6428402"/>
                      <a:pt x="6348048" y="6422238"/>
                      <a:pt x="6348048" y="6414594"/>
                    </a:cubicBezTo>
                    <a:close/>
                    <a:moveTo>
                      <a:pt x="6348539" y="1710455"/>
                    </a:moveTo>
                    <a:cubicBezTo>
                      <a:pt x="6348539" y="1691033"/>
                      <a:pt x="6332513" y="1674995"/>
                      <a:pt x="6312786" y="1674995"/>
                    </a:cubicBezTo>
                    <a:cubicBezTo>
                      <a:pt x="6293306" y="1674995"/>
                      <a:pt x="6277279" y="1690786"/>
                      <a:pt x="6277279" y="1710455"/>
                    </a:cubicBezTo>
                    <a:cubicBezTo>
                      <a:pt x="6277279" y="1729975"/>
                      <a:pt x="6293060" y="1746033"/>
                      <a:pt x="6312786" y="1746033"/>
                    </a:cubicBezTo>
                    <a:cubicBezTo>
                      <a:pt x="6332513" y="1746033"/>
                      <a:pt x="6348539" y="1729975"/>
                      <a:pt x="6348539" y="1710455"/>
                    </a:cubicBezTo>
                    <a:close/>
                    <a:moveTo>
                      <a:pt x="6353716" y="4982485"/>
                    </a:moveTo>
                    <a:cubicBezTo>
                      <a:pt x="6353716" y="4974592"/>
                      <a:pt x="6347304" y="4968182"/>
                      <a:pt x="6339413" y="4968182"/>
                    </a:cubicBezTo>
                    <a:cubicBezTo>
                      <a:pt x="6331525" y="4968182"/>
                      <a:pt x="6325113" y="4974592"/>
                      <a:pt x="6325113" y="4982485"/>
                    </a:cubicBezTo>
                    <a:cubicBezTo>
                      <a:pt x="6325113" y="4990373"/>
                      <a:pt x="6331525" y="4996785"/>
                      <a:pt x="6339413" y="4996785"/>
                    </a:cubicBezTo>
                    <a:cubicBezTo>
                      <a:pt x="6347304" y="4996785"/>
                      <a:pt x="6353716" y="4990373"/>
                      <a:pt x="6353716" y="4982485"/>
                    </a:cubicBezTo>
                    <a:close/>
                    <a:moveTo>
                      <a:pt x="6356429" y="5389829"/>
                    </a:moveTo>
                    <a:cubicBezTo>
                      <a:pt x="6356429" y="5385143"/>
                      <a:pt x="6352729" y="5381443"/>
                      <a:pt x="6348043" y="5381443"/>
                    </a:cubicBezTo>
                    <a:cubicBezTo>
                      <a:pt x="6343607" y="5381443"/>
                      <a:pt x="6339907" y="5385143"/>
                      <a:pt x="6339907" y="5389829"/>
                    </a:cubicBezTo>
                    <a:cubicBezTo>
                      <a:pt x="6339907" y="5394266"/>
                      <a:pt x="6343607" y="5397965"/>
                      <a:pt x="6348043" y="5397965"/>
                    </a:cubicBezTo>
                    <a:cubicBezTo>
                      <a:pt x="6352729" y="5397965"/>
                      <a:pt x="6356429" y="5394266"/>
                      <a:pt x="6356429" y="5389829"/>
                    </a:cubicBezTo>
                    <a:close/>
                    <a:moveTo>
                      <a:pt x="6365060" y="3040694"/>
                    </a:moveTo>
                    <a:cubicBezTo>
                      <a:pt x="6365060" y="3035022"/>
                      <a:pt x="6360374" y="3030337"/>
                      <a:pt x="6354703" y="3030337"/>
                    </a:cubicBezTo>
                    <a:cubicBezTo>
                      <a:pt x="6349033" y="3030337"/>
                      <a:pt x="6344347" y="3035022"/>
                      <a:pt x="6344347" y="3040694"/>
                    </a:cubicBezTo>
                    <a:cubicBezTo>
                      <a:pt x="6344347" y="3046364"/>
                      <a:pt x="6349033" y="3051049"/>
                      <a:pt x="6354703" y="3051049"/>
                    </a:cubicBezTo>
                    <a:cubicBezTo>
                      <a:pt x="6360622" y="3051049"/>
                      <a:pt x="6365060" y="3046364"/>
                      <a:pt x="6365060" y="3040694"/>
                    </a:cubicBezTo>
                    <a:close/>
                    <a:moveTo>
                      <a:pt x="6366537" y="4078045"/>
                    </a:moveTo>
                    <a:cubicBezTo>
                      <a:pt x="6366537" y="4055360"/>
                      <a:pt x="6348043" y="4036620"/>
                      <a:pt x="6325113" y="4036620"/>
                    </a:cubicBezTo>
                    <a:cubicBezTo>
                      <a:pt x="6302428" y="4036620"/>
                      <a:pt x="6283688" y="4055114"/>
                      <a:pt x="6283688" y="4078045"/>
                    </a:cubicBezTo>
                    <a:cubicBezTo>
                      <a:pt x="6283688" y="4100730"/>
                      <a:pt x="6302182" y="4119469"/>
                      <a:pt x="6325113" y="4119469"/>
                    </a:cubicBezTo>
                    <a:cubicBezTo>
                      <a:pt x="6348043" y="4119469"/>
                      <a:pt x="6366783" y="4100976"/>
                      <a:pt x="6366537" y="4078045"/>
                    </a:cubicBezTo>
                    <a:close/>
                    <a:moveTo>
                      <a:pt x="6369006" y="5921196"/>
                    </a:moveTo>
                    <a:cubicBezTo>
                      <a:pt x="6369006" y="5911828"/>
                      <a:pt x="6361360" y="5904183"/>
                      <a:pt x="6351989" y="5904183"/>
                    </a:cubicBezTo>
                    <a:cubicBezTo>
                      <a:pt x="6342621" y="5904183"/>
                      <a:pt x="6334976" y="5911828"/>
                      <a:pt x="6334976" y="5921196"/>
                    </a:cubicBezTo>
                    <a:cubicBezTo>
                      <a:pt x="6334976" y="5930568"/>
                      <a:pt x="6342621" y="5938213"/>
                      <a:pt x="6351989" y="5938213"/>
                    </a:cubicBezTo>
                    <a:cubicBezTo>
                      <a:pt x="6361360" y="5938213"/>
                      <a:pt x="6369006" y="5930814"/>
                      <a:pt x="6369006" y="5921196"/>
                    </a:cubicBezTo>
                    <a:close/>
                    <a:moveTo>
                      <a:pt x="6370978" y="1170089"/>
                    </a:moveTo>
                    <a:cubicBezTo>
                      <a:pt x="6370978" y="1144437"/>
                      <a:pt x="6350265" y="1123738"/>
                      <a:pt x="6324621" y="1123738"/>
                    </a:cubicBezTo>
                    <a:cubicBezTo>
                      <a:pt x="6298978" y="1123738"/>
                      <a:pt x="6278265" y="1144437"/>
                      <a:pt x="6278265" y="1170089"/>
                    </a:cubicBezTo>
                    <a:cubicBezTo>
                      <a:pt x="6278265" y="1195731"/>
                      <a:pt x="6298978" y="1216449"/>
                      <a:pt x="6324621" y="1216449"/>
                    </a:cubicBezTo>
                    <a:cubicBezTo>
                      <a:pt x="6350019" y="1216449"/>
                      <a:pt x="6370731" y="1195731"/>
                      <a:pt x="6370978" y="1170089"/>
                    </a:cubicBezTo>
                    <a:close/>
                    <a:moveTo>
                      <a:pt x="6376647" y="4718402"/>
                    </a:moveTo>
                    <a:cubicBezTo>
                      <a:pt x="6376647" y="4701881"/>
                      <a:pt x="6363085" y="4688318"/>
                      <a:pt x="6346566" y="4688318"/>
                    </a:cubicBezTo>
                    <a:cubicBezTo>
                      <a:pt x="6330044" y="4688318"/>
                      <a:pt x="6316482" y="4701881"/>
                      <a:pt x="6316482" y="4718402"/>
                    </a:cubicBezTo>
                    <a:cubicBezTo>
                      <a:pt x="6316482" y="4734921"/>
                      <a:pt x="6330044" y="4748483"/>
                      <a:pt x="6346566" y="4748483"/>
                    </a:cubicBezTo>
                    <a:cubicBezTo>
                      <a:pt x="6363330" y="4748483"/>
                      <a:pt x="6376647" y="4734921"/>
                      <a:pt x="6376647" y="4718402"/>
                    </a:cubicBezTo>
                    <a:close/>
                    <a:moveTo>
                      <a:pt x="6379854" y="2534708"/>
                    </a:moveTo>
                    <a:cubicBezTo>
                      <a:pt x="6379854" y="2515226"/>
                      <a:pt x="6364074" y="2499446"/>
                      <a:pt x="6344593" y="2499446"/>
                    </a:cubicBezTo>
                    <a:cubicBezTo>
                      <a:pt x="6325113" y="2499446"/>
                      <a:pt x="6309332" y="2515226"/>
                      <a:pt x="6309332" y="2534708"/>
                    </a:cubicBezTo>
                    <a:cubicBezTo>
                      <a:pt x="6309332" y="2554189"/>
                      <a:pt x="6325113" y="2569964"/>
                      <a:pt x="6344593" y="2569964"/>
                    </a:cubicBezTo>
                    <a:cubicBezTo>
                      <a:pt x="6364074" y="2569964"/>
                      <a:pt x="6379854" y="2553938"/>
                      <a:pt x="6379854" y="2534708"/>
                    </a:cubicBezTo>
                    <a:close/>
                    <a:moveTo>
                      <a:pt x="6380841" y="4468374"/>
                    </a:moveTo>
                    <a:cubicBezTo>
                      <a:pt x="6380841" y="4439524"/>
                      <a:pt x="6357167" y="4415853"/>
                      <a:pt x="6328319" y="4415853"/>
                    </a:cubicBezTo>
                    <a:cubicBezTo>
                      <a:pt x="6299470" y="4415853"/>
                      <a:pt x="6275798" y="4439524"/>
                      <a:pt x="6275798" y="4468374"/>
                    </a:cubicBezTo>
                    <a:cubicBezTo>
                      <a:pt x="6275798" y="4497222"/>
                      <a:pt x="6299223" y="4520893"/>
                      <a:pt x="6328319" y="4520893"/>
                    </a:cubicBezTo>
                    <a:cubicBezTo>
                      <a:pt x="6357416" y="4520893"/>
                      <a:pt x="6380841" y="4497222"/>
                      <a:pt x="6380841" y="4468374"/>
                    </a:cubicBezTo>
                    <a:close/>
                    <a:moveTo>
                      <a:pt x="6381581" y="3155605"/>
                    </a:moveTo>
                    <a:cubicBezTo>
                      <a:pt x="6381581" y="3149192"/>
                      <a:pt x="6376400" y="3144015"/>
                      <a:pt x="6369991" y="3144015"/>
                    </a:cubicBezTo>
                    <a:cubicBezTo>
                      <a:pt x="6363579" y="3144015"/>
                      <a:pt x="6358401" y="3149192"/>
                      <a:pt x="6358401" y="3155605"/>
                    </a:cubicBezTo>
                    <a:cubicBezTo>
                      <a:pt x="6358401" y="3162015"/>
                      <a:pt x="6363579" y="3167195"/>
                      <a:pt x="6369991" y="3167195"/>
                    </a:cubicBezTo>
                    <a:cubicBezTo>
                      <a:pt x="6376400" y="3167195"/>
                      <a:pt x="6381581" y="3162015"/>
                      <a:pt x="6381581" y="3155605"/>
                    </a:cubicBezTo>
                    <a:close/>
                    <a:moveTo>
                      <a:pt x="6382813" y="1965153"/>
                    </a:moveTo>
                    <a:cubicBezTo>
                      <a:pt x="6382813" y="1939043"/>
                      <a:pt x="6361606" y="1917857"/>
                      <a:pt x="6335470" y="1917857"/>
                    </a:cubicBezTo>
                    <a:cubicBezTo>
                      <a:pt x="6309332" y="1917857"/>
                      <a:pt x="6288128" y="1939043"/>
                      <a:pt x="6288128" y="1965153"/>
                    </a:cubicBezTo>
                    <a:cubicBezTo>
                      <a:pt x="6288128" y="1991267"/>
                      <a:pt x="6309332" y="2012450"/>
                      <a:pt x="6335470" y="2012450"/>
                    </a:cubicBezTo>
                    <a:cubicBezTo>
                      <a:pt x="6361606" y="2012450"/>
                      <a:pt x="6382813" y="1991267"/>
                      <a:pt x="6382813" y="1965153"/>
                    </a:cubicBezTo>
                    <a:close/>
                    <a:moveTo>
                      <a:pt x="6383799" y="3964127"/>
                    </a:moveTo>
                    <a:cubicBezTo>
                      <a:pt x="6383799" y="3943661"/>
                      <a:pt x="6367278" y="3927139"/>
                      <a:pt x="6346814" y="3927139"/>
                    </a:cubicBezTo>
                    <a:cubicBezTo>
                      <a:pt x="6326347" y="3927139"/>
                      <a:pt x="6309826" y="3943661"/>
                      <a:pt x="6309826" y="3964127"/>
                    </a:cubicBezTo>
                    <a:cubicBezTo>
                      <a:pt x="6309826" y="3984590"/>
                      <a:pt x="6326347" y="4001111"/>
                      <a:pt x="6346814" y="4001111"/>
                    </a:cubicBezTo>
                    <a:cubicBezTo>
                      <a:pt x="6367278" y="4001111"/>
                      <a:pt x="6383799" y="3984590"/>
                      <a:pt x="6383799" y="3964127"/>
                    </a:cubicBezTo>
                    <a:close/>
                    <a:moveTo>
                      <a:pt x="6384783" y="2228735"/>
                    </a:moveTo>
                    <a:cubicBezTo>
                      <a:pt x="6384783" y="2205802"/>
                      <a:pt x="6366043" y="2187056"/>
                      <a:pt x="6343113" y="2187056"/>
                    </a:cubicBezTo>
                    <a:cubicBezTo>
                      <a:pt x="6320182" y="2187056"/>
                      <a:pt x="6301442" y="2205802"/>
                      <a:pt x="6301442" y="2228735"/>
                    </a:cubicBezTo>
                    <a:cubicBezTo>
                      <a:pt x="6301442" y="2251684"/>
                      <a:pt x="6320182" y="2270388"/>
                      <a:pt x="6343113" y="2270388"/>
                    </a:cubicBezTo>
                    <a:cubicBezTo>
                      <a:pt x="6366043" y="2270388"/>
                      <a:pt x="6384783" y="2251684"/>
                      <a:pt x="6384783" y="2228735"/>
                    </a:cubicBezTo>
                    <a:close/>
                    <a:moveTo>
                      <a:pt x="6384785" y="5139059"/>
                    </a:moveTo>
                    <a:cubicBezTo>
                      <a:pt x="6384785" y="5134868"/>
                      <a:pt x="6381334" y="5131168"/>
                      <a:pt x="6376895" y="5131168"/>
                    </a:cubicBezTo>
                    <a:cubicBezTo>
                      <a:pt x="6372456" y="5131168"/>
                      <a:pt x="6369005" y="5134619"/>
                      <a:pt x="6369005" y="5139059"/>
                    </a:cubicBezTo>
                    <a:cubicBezTo>
                      <a:pt x="6369005" y="5143498"/>
                      <a:pt x="6372456" y="5146949"/>
                      <a:pt x="6376895" y="5146949"/>
                    </a:cubicBezTo>
                    <a:cubicBezTo>
                      <a:pt x="6381086" y="5146949"/>
                      <a:pt x="6384785" y="5143498"/>
                      <a:pt x="6384785" y="5139059"/>
                    </a:cubicBezTo>
                    <a:close/>
                    <a:moveTo>
                      <a:pt x="6385031" y="852545"/>
                    </a:moveTo>
                    <a:cubicBezTo>
                      <a:pt x="6385031" y="825431"/>
                      <a:pt x="6362841" y="803235"/>
                      <a:pt x="6335716" y="803235"/>
                    </a:cubicBezTo>
                    <a:cubicBezTo>
                      <a:pt x="6308592" y="803235"/>
                      <a:pt x="6286401" y="825431"/>
                      <a:pt x="6286401" y="852545"/>
                    </a:cubicBezTo>
                    <a:cubicBezTo>
                      <a:pt x="6286401" y="879668"/>
                      <a:pt x="6308592" y="901849"/>
                      <a:pt x="6335716" y="901849"/>
                    </a:cubicBezTo>
                    <a:cubicBezTo>
                      <a:pt x="6362841" y="901849"/>
                      <a:pt x="6384785" y="879668"/>
                      <a:pt x="6385031" y="852545"/>
                    </a:cubicBezTo>
                    <a:close/>
                    <a:moveTo>
                      <a:pt x="6387250" y="1558391"/>
                    </a:moveTo>
                    <a:cubicBezTo>
                      <a:pt x="6387250" y="1533987"/>
                      <a:pt x="6367525" y="1514262"/>
                      <a:pt x="6343115" y="1514262"/>
                    </a:cubicBezTo>
                    <a:cubicBezTo>
                      <a:pt x="6318704" y="1514262"/>
                      <a:pt x="6298978" y="1533987"/>
                      <a:pt x="6298978" y="1558391"/>
                    </a:cubicBezTo>
                    <a:cubicBezTo>
                      <a:pt x="6298978" y="1582787"/>
                      <a:pt x="6318704" y="1602531"/>
                      <a:pt x="6343115" y="1602531"/>
                    </a:cubicBezTo>
                    <a:cubicBezTo>
                      <a:pt x="6367525" y="1602531"/>
                      <a:pt x="6387250" y="1582539"/>
                      <a:pt x="6387250" y="1558391"/>
                    </a:cubicBezTo>
                    <a:close/>
                    <a:moveTo>
                      <a:pt x="6389223" y="5539006"/>
                    </a:moveTo>
                    <a:cubicBezTo>
                      <a:pt x="6389223" y="5532101"/>
                      <a:pt x="6383551" y="5526429"/>
                      <a:pt x="6376401" y="5526429"/>
                    </a:cubicBezTo>
                    <a:cubicBezTo>
                      <a:pt x="6369251" y="5526429"/>
                      <a:pt x="6363579" y="5532101"/>
                      <a:pt x="6363579" y="5539006"/>
                    </a:cubicBezTo>
                    <a:cubicBezTo>
                      <a:pt x="6363579" y="5546156"/>
                      <a:pt x="6369251" y="5551828"/>
                      <a:pt x="6376401" y="5551828"/>
                    </a:cubicBezTo>
                    <a:cubicBezTo>
                      <a:pt x="6383306" y="5551828"/>
                      <a:pt x="6388978" y="5546156"/>
                      <a:pt x="6389223" y="5539006"/>
                    </a:cubicBezTo>
                    <a:close/>
                    <a:moveTo>
                      <a:pt x="6392428" y="1026361"/>
                    </a:moveTo>
                    <a:cubicBezTo>
                      <a:pt x="6392428" y="1000466"/>
                      <a:pt x="6371223" y="979259"/>
                      <a:pt x="6345334" y="979259"/>
                    </a:cubicBezTo>
                    <a:cubicBezTo>
                      <a:pt x="6319441" y="979259"/>
                      <a:pt x="6298237" y="1000466"/>
                      <a:pt x="6298237" y="1026361"/>
                    </a:cubicBezTo>
                    <a:cubicBezTo>
                      <a:pt x="6298237" y="1052244"/>
                      <a:pt x="6319441" y="1073454"/>
                      <a:pt x="6345334" y="1073454"/>
                    </a:cubicBezTo>
                    <a:cubicBezTo>
                      <a:pt x="6371223" y="1073454"/>
                      <a:pt x="6392428" y="1052244"/>
                      <a:pt x="6392428" y="1026361"/>
                    </a:cubicBezTo>
                    <a:close/>
                    <a:moveTo>
                      <a:pt x="6393662" y="3271007"/>
                    </a:moveTo>
                    <a:cubicBezTo>
                      <a:pt x="6393662" y="3263598"/>
                      <a:pt x="6387744" y="3257681"/>
                      <a:pt x="6380349" y="3257681"/>
                    </a:cubicBezTo>
                    <a:cubicBezTo>
                      <a:pt x="6372950" y="3257681"/>
                      <a:pt x="6367032" y="3263598"/>
                      <a:pt x="6367032" y="3271007"/>
                    </a:cubicBezTo>
                    <a:cubicBezTo>
                      <a:pt x="6367032" y="3278385"/>
                      <a:pt x="6372950" y="3284297"/>
                      <a:pt x="6380349" y="3284297"/>
                    </a:cubicBezTo>
                    <a:cubicBezTo>
                      <a:pt x="6387744" y="3284297"/>
                      <a:pt x="6393662" y="3278385"/>
                      <a:pt x="6393662" y="3271007"/>
                    </a:cubicBezTo>
                    <a:close/>
                    <a:moveTo>
                      <a:pt x="6396127" y="3849469"/>
                    </a:moveTo>
                    <a:cubicBezTo>
                      <a:pt x="6396127" y="3831715"/>
                      <a:pt x="6381581" y="3817167"/>
                      <a:pt x="6363827" y="3817167"/>
                    </a:cubicBezTo>
                    <a:cubicBezTo>
                      <a:pt x="6346074" y="3817167"/>
                      <a:pt x="6331525" y="3831715"/>
                      <a:pt x="6331525" y="3849469"/>
                    </a:cubicBezTo>
                    <a:cubicBezTo>
                      <a:pt x="6331525" y="3867223"/>
                      <a:pt x="6346074" y="3881768"/>
                      <a:pt x="6363827" y="3881768"/>
                    </a:cubicBezTo>
                    <a:cubicBezTo>
                      <a:pt x="6381827" y="3881768"/>
                      <a:pt x="6396127" y="3867223"/>
                      <a:pt x="6396127" y="3849469"/>
                    </a:cubicBezTo>
                    <a:close/>
                    <a:moveTo>
                      <a:pt x="6401553" y="6051883"/>
                    </a:moveTo>
                    <a:cubicBezTo>
                      <a:pt x="6401553" y="6041034"/>
                      <a:pt x="6392922" y="6032403"/>
                      <a:pt x="6382072" y="6032403"/>
                    </a:cubicBezTo>
                    <a:cubicBezTo>
                      <a:pt x="6371469" y="6032403"/>
                      <a:pt x="6362593" y="6041034"/>
                      <a:pt x="6362593" y="6051883"/>
                    </a:cubicBezTo>
                    <a:cubicBezTo>
                      <a:pt x="6362593" y="6062486"/>
                      <a:pt x="6371223" y="6071360"/>
                      <a:pt x="6382072" y="6071360"/>
                    </a:cubicBezTo>
                    <a:cubicBezTo>
                      <a:pt x="6392676" y="6071360"/>
                      <a:pt x="6401553" y="6062486"/>
                      <a:pt x="6401553" y="6051883"/>
                    </a:cubicBezTo>
                    <a:close/>
                    <a:moveTo>
                      <a:pt x="6401799" y="712513"/>
                    </a:moveTo>
                    <a:cubicBezTo>
                      <a:pt x="6401799" y="685398"/>
                      <a:pt x="6379609" y="663203"/>
                      <a:pt x="6352484" y="663203"/>
                    </a:cubicBezTo>
                    <a:cubicBezTo>
                      <a:pt x="6325362" y="663203"/>
                      <a:pt x="6303169" y="685398"/>
                      <a:pt x="6303169" y="712513"/>
                    </a:cubicBezTo>
                    <a:cubicBezTo>
                      <a:pt x="6303169" y="739647"/>
                      <a:pt x="6325362" y="761834"/>
                      <a:pt x="6352484" y="761834"/>
                    </a:cubicBezTo>
                    <a:cubicBezTo>
                      <a:pt x="6379609" y="761834"/>
                      <a:pt x="6401799" y="739895"/>
                      <a:pt x="6401799" y="712513"/>
                    </a:cubicBezTo>
                    <a:close/>
                    <a:moveTo>
                      <a:pt x="6402045" y="3386886"/>
                    </a:moveTo>
                    <a:cubicBezTo>
                      <a:pt x="6402045" y="3378265"/>
                      <a:pt x="6394895" y="3371089"/>
                      <a:pt x="6386264" y="3371089"/>
                    </a:cubicBezTo>
                    <a:cubicBezTo>
                      <a:pt x="6377633" y="3371089"/>
                      <a:pt x="6370484" y="3378265"/>
                      <a:pt x="6370484" y="3386886"/>
                    </a:cubicBezTo>
                    <a:cubicBezTo>
                      <a:pt x="6370484" y="3395520"/>
                      <a:pt x="6377633" y="3402673"/>
                      <a:pt x="6386264" y="3402673"/>
                    </a:cubicBezTo>
                    <a:cubicBezTo>
                      <a:pt x="6394895" y="3402673"/>
                      <a:pt x="6402045" y="3395520"/>
                      <a:pt x="6402045" y="3386886"/>
                    </a:cubicBezTo>
                    <a:close/>
                    <a:moveTo>
                      <a:pt x="6403774" y="3734317"/>
                    </a:moveTo>
                    <a:cubicBezTo>
                      <a:pt x="6403774" y="3719277"/>
                      <a:pt x="6391443" y="3706947"/>
                      <a:pt x="6376403" y="3706947"/>
                    </a:cubicBezTo>
                    <a:cubicBezTo>
                      <a:pt x="6361362" y="3706947"/>
                      <a:pt x="6349033" y="3719277"/>
                      <a:pt x="6349033" y="3734317"/>
                    </a:cubicBezTo>
                    <a:cubicBezTo>
                      <a:pt x="6349033" y="3749357"/>
                      <a:pt x="6361362" y="3761689"/>
                      <a:pt x="6376403" y="3761689"/>
                    </a:cubicBezTo>
                    <a:cubicBezTo>
                      <a:pt x="6391690" y="3761689"/>
                      <a:pt x="6403774" y="3749357"/>
                      <a:pt x="6403774" y="3734317"/>
                    </a:cubicBezTo>
                    <a:close/>
                    <a:moveTo>
                      <a:pt x="6406976" y="1809964"/>
                    </a:moveTo>
                    <a:cubicBezTo>
                      <a:pt x="6406976" y="1791185"/>
                      <a:pt x="6391688" y="1775911"/>
                      <a:pt x="6372950" y="1775911"/>
                    </a:cubicBezTo>
                    <a:cubicBezTo>
                      <a:pt x="6354208" y="1775911"/>
                      <a:pt x="6338922" y="1791185"/>
                      <a:pt x="6338922" y="1809964"/>
                    </a:cubicBezTo>
                    <a:cubicBezTo>
                      <a:pt x="6338922" y="1828701"/>
                      <a:pt x="6354208" y="1843981"/>
                      <a:pt x="6372950" y="1843981"/>
                    </a:cubicBezTo>
                    <a:cubicBezTo>
                      <a:pt x="6391688" y="1843981"/>
                      <a:pt x="6406976" y="1828701"/>
                      <a:pt x="6406976" y="1809964"/>
                    </a:cubicBezTo>
                    <a:close/>
                    <a:moveTo>
                      <a:pt x="6406979" y="3502535"/>
                    </a:moveTo>
                    <a:cubicBezTo>
                      <a:pt x="6406979" y="3491687"/>
                      <a:pt x="6398102" y="3483055"/>
                      <a:pt x="6387499" y="3483055"/>
                    </a:cubicBezTo>
                    <a:cubicBezTo>
                      <a:pt x="6376650" y="3483055"/>
                      <a:pt x="6368019" y="3491932"/>
                      <a:pt x="6368019" y="3502535"/>
                    </a:cubicBezTo>
                    <a:cubicBezTo>
                      <a:pt x="6368019" y="3513385"/>
                      <a:pt x="6376896" y="3522016"/>
                      <a:pt x="6387499" y="3522016"/>
                    </a:cubicBezTo>
                    <a:cubicBezTo>
                      <a:pt x="6398349" y="3522016"/>
                      <a:pt x="6406979" y="3513385"/>
                      <a:pt x="6406979" y="3502535"/>
                    </a:cubicBezTo>
                    <a:close/>
                    <a:moveTo>
                      <a:pt x="6407717" y="3618428"/>
                    </a:moveTo>
                    <a:cubicBezTo>
                      <a:pt x="6407717" y="3605606"/>
                      <a:pt x="6397113" y="3595003"/>
                      <a:pt x="6384291" y="3595003"/>
                    </a:cubicBezTo>
                    <a:cubicBezTo>
                      <a:pt x="6371223" y="3595003"/>
                      <a:pt x="6360866" y="3605606"/>
                      <a:pt x="6360866" y="3618428"/>
                    </a:cubicBezTo>
                    <a:cubicBezTo>
                      <a:pt x="6360866" y="3631497"/>
                      <a:pt x="6371469" y="3641854"/>
                      <a:pt x="6384291" y="3641854"/>
                    </a:cubicBezTo>
                    <a:cubicBezTo>
                      <a:pt x="6397113" y="3641854"/>
                      <a:pt x="6407717" y="3631497"/>
                      <a:pt x="6407717" y="3618428"/>
                    </a:cubicBezTo>
                    <a:close/>
                    <a:moveTo>
                      <a:pt x="6410182" y="6192925"/>
                    </a:moveTo>
                    <a:cubicBezTo>
                      <a:pt x="6410182" y="6187253"/>
                      <a:pt x="6405495" y="6182567"/>
                      <a:pt x="6399826" y="6182567"/>
                    </a:cubicBezTo>
                    <a:cubicBezTo>
                      <a:pt x="6394154" y="6182567"/>
                      <a:pt x="6389468" y="6187253"/>
                      <a:pt x="6389468" y="6192925"/>
                    </a:cubicBezTo>
                    <a:cubicBezTo>
                      <a:pt x="6389468" y="6198595"/>
                      <a:pt x="6394154" y="6203280"/>
                      <a:pt x="6399826" y="6203280"/>
                    </a:cubicBezTo>
                    <a:cubicBezTo>
                      <a:pt x="6405495" y="6203280"/>
                      <a:pt x="6410182" y="6198595"/>
                      <a:pt x="6410182" y="6192925"/>
                    </a:cubicBezTo>
                    <a:close/>
                    <a:moveTo>
                      <a:pt x="6411665" y="2645177"/>
                    </a:moveTo>
                    <a:cubicBezTo>
                      <a:pt x="6411665" y="2627175"/>
                      <a:pt x="6396868" y="2612383"/>
                      <a:pt x="6378868" y="2612383"/>
                    </a:cubicBezTo>
                    <a:cubicBezTo>
                      <a:pt x="6360622" y="2612383"/>
                      <a:pt x="6346074" y="2627175"/>
                      <a:pt x="6346074" y="2645177"/>
                    </a:cubicBezTo>
                    <a:cubicBezTo>
                      <a:pt x="6346074" y="2663179"/>
                      <a:pt x="6360868" y="2677976"/>
                      <a:pt x="6378868" y="2677976"/>
                    </a:cubicBezTo>
                    <a:cubicBezTo>
                      <a:pt x="6396868" y="2677976"/>
                      <a:pt x="6411665" y="2663179"/>
                      <a:pt x="6411665" y="2645177"/>
                    </a:cubicBezTo>
                    <a:close/>
                    <a:moveTo>
                      <a:pt x="6413880" y="4358401"/>
                    </a:moveTo>
                    <a:cubicBezTo>
                      <a:pt x="6413880" y="4331277"/>
                      <a:pt x="6391687" y="4309086"/>
                      <a:pt x="6364565" y="4309086"/>
                    </a:cubicBezTo>
                    <a:cubicBezTo>
                      <a:pt x="6337441" y="4309086"/>
                      <a:pt x="6315250" y="4331277"/>
                      <a:pt x="6315250" y="4358401"/>
                    </a:cubicBezTo>
                    <a:cubicBezTo>
                      <a:pt x="6315250" y="4385523"/>
                      <a:pt x="6337441" y="4407716"/>
                      <a:pt x="6364565" y="4407716"/>
                    </a:cubicBezTo>
                    <a:cubicBezTo>
                      <a:pt x="6391687" y="4407716"/>
                      <a:pt x="6413880" y="4385523"/>
                      <a:pt x="6413880" y="4358401"/>
                    </a:cubicBezTo>
                    <a:close/>
                    <a:moveTo>
                      <a:pt x="6416347" y="573651"/>
                    </a:moveTo>
                    <a:cubicBezTo>
                      <a:pt x="6416347" y="546776"/>
                      <a:pt x="6394402" y="524832"/>
                      <a:pt x="6367527" y="524832"/>
                    </a:cubicBezTo>
                    <a:cubicBezTo>
                      <a:pt x="6340647" y="524832"/>
                      <a:pt x="6318703" y="546776"/>
                      <a:pt x="6318703" y="573651"/>
                    </a:cubicBezTo>
                    <a:cubicBezTo>
                      <a:pt x="6318703" y="600527"/>
                      <a:pt x="6340647" y="622471"/>
                      <a:pt x="6367527" y="622471"/>
                    </a:cubicBezTo>
                    <a:cubicBezTo>
                      <a:pt x="6394402" y="622471"/>
                      <a:pt x="6416347" y="600527"/>
                      <a:pt x="6416347" y="573651"/>
                    </a:cubicBezTo>
                    <a:close/>
                    <a:moveTo>
                      <a:pt x="6416594" y="4878678"/>
                    </a:moveTo>
                    <a:cubicBezTo>
                      <a:pt x="6416594" y="4865116"/>
                      <a:pt x="6405498" y="4854266"/>
                      <a:pt x="6392182" y="4854266"/>
                    </a:cubicBezTo>
                    <a:cubicBezTo>
                      <a:pt x="6378620" y="4854266"/>
                      <a:pt x="6367770" y="4865361"/>
                      <a:pt x="6367770" y="4878678"/>
                    </a:cubicBezTo>
                    <a:cubicBezTo>
                      <a:pt x="6367770" y="4892238"/>
                      <a:pt x="6378866" y="4903087"/>
                      <a:pt x="6392182" y="4903087"/>
                    </a:cubicBezTo>
                    <a:cubicBezTo>
                      <a:pt x="6405498" y="4903087"/>
                      <a:pt x="6416594" y="4892238"/>
                      <a:pt x="6416594" y="4878678"/>
                    </a:cubicBezTo>
                    <a:close/>
                    <a:moveTo>
                      <a:pt x="6416839" y="5686705"/>
                    </a:moveTo>
                    <a:cubicBezTo>
                      <a:pt x="6416839" y="5678815"/>
                      <a:pt x="6410430" y="5672156"/>
                      <a:pt x="6402293" y="5672156"/>
                    </a:cubicBezTo>
                    <a:cubicBezTo>
                      <a:pt x="6394403" y="5672156"/>
                      <a:pt x="6387744" y="5678568"/>
                      <a:pt x="6387744" y="5686705"/>
                    </a:cubicBezTo>
                    <a:cubicBezTo>
                      <a:pt x="6387744" y="5694841"/>
                      <a:pt x="6394154" y="5701254"/>
                      <a:pt x="6402293" y="5701254"/>
                    </a:cubicBezTo>
                    <a:cubicBezTo>
                      <a:pt x="6410181" y="5701254"/>
                      <a:pt x="6416839" y="5694595"/>
                      <a:pt x="6416839" y="5686705"/>
                    </a:cubicBezTo>
                    <a:close/>
                    <a:moveTo>
                      <a:pt x="6416840" y="1408747"/>
                    </a:moveTo>
                    <a:cubicBezTo>
                      <a:pt x="6416840" y="1383357"/>
                      <a:pt x="6396373" y="1362872"/>
                      <a:pt x="6370975" y="1362872"/>
                    </a:cubicBezTo>
                    <a:cubicBezTo>
                      <a:pt x="6345579" y="1362872"/>
                      <a:pt x="6325113" y="1383357"/>
                      <a:pt x="6325113" y="1408747"/>
                    </a:cubicBezTo>
                    <a:cubicBezTo>
                      <a:pt x="6325113" y="1434141"/>
                      <a:pt x="6345826" y="1454606"/>
                      <a:pt x="6370975" y="1454606"/>
                    </a:cubicBezTo>
                    <a:cubicBezTo>
                      <a:pt x="6396373" y="1454606"/>
                      <a:pt x="6416840" y="1434141"/>
                      <a:pt x="6416840" y="1408747"/>
                    </a:cubicBezTo>
                    <a:close/>
                    <a:moveTo>
                      <a:pt x="6420046" y="5292181"/>
                    </a:moveTo>
                    <a:cubicBezTo>
                      <a:pt x="6420046" y="5287250"/>
                      <a:pt x="6416101" y="5283305"/>
                      <a:pt x="6411170" y="5283305"/>
                    </a:cubicBezTo>
                    <a:cubicBezTo>
                      <a:pt x="6406238" y="5283305"/>
                      <a:pt x="6402293" y="5287250"/>
                      <a:pt x="6402293" y="5292181"/>
                    </a:cubicBezTo>
                    <a:cubicBezTo>
                      <a:pt x="6402293" y="5297114"/>
                      <a:pt x="6406238" y="5301058"/>
                      <a:pt x="6411170" y="5301058"/>
                    </a:cubicBezTo>
                    <a:cubicBezTo>
                      <a:pt x="6416101" y="5301058"/>
                      <a:pt x="6420046" y="5297114"/>
                      <a:pt x="6420046" y="5292181"/>
                    </a:cubicBezTo>
                    <a:close/>
                    <a:moveTo>
                      <a:pt x="6427195" y="2336241"/>
                    </a:moveTo>
                    <a:cubicBezTo>
                      <a:pt x="6427195" y="2314537"/>
                      <a:pt x="6409691" y="2297036"/>
                      <a:pt x="6387991" y="2297036"/>
                    </a:cubicBezTo>
                    <a:cubicBezTo>
                      <a:pt x="6366292" y="2297036"/>
                      <a:pt x="6348785" y="2314537"/>
                      <a:pt x="6348785" y="2336241"/>
                    </a:cubicBezTo>
                    <a:cubicBezTo>
                      <a:pt x="6348785" y="2357948"/>
                      <a:pt x="6366292" y="2375439"/>
                      <a:pt x="6387991" y="2375439"/>
                    </a:cubicBezTo>
                    <a:cubicBezTo>
                      <a:pt x="6409442" y="2375439"/>
                      <a:pt x="6426949" y="2357948"/>
                      <a:pt x="6427195" y="2336241"/>
                    </a:cubicBezTo>
                    <a:close/>
                    <a:moveTo>
                      <a:pt x="6431388" y="6332485"/>
                    </a:moveTo>
                    <a:cubicBezTo>
                      <a:pt x="6431388" y="6324349"/>
                      <a:pt x="6424731" y="6317690"/>
                      <a:pt x="6416594" y="6317690"/>
                    </a:cubicBezTo>
                    <a:cubicBezTo>
                      <a:pt x="6408457" y="6317690"/>
                      <a:pt x="6401799" y="6324349"/>
                      <a:pt x="6401799" y="6332485"/>
                    </a:cubicBezTo>
                    <a:cubicBezTo>
                      <a:pt x="6401799" y="6340621"/>
                      <a:pt x="6408457" y="6347279"/>
                      <a:pt x="6416594" y="6347279"/>
                    </a:cubicBezTo>
                    <a:cubicBezTo>
                      <a:pt x="6424731" y="6347279"/>
                      <a:pt x="6431143" y="6340621"/>
                      <a:pt x="6431388" y="6332485"/>
                    </a:cubicBezTo>
                    <a:close/>
                    <a:moveTo>
                      <a:pt x="6433609" y="4610895"/>
                    </a:moveTo>
                    <a:cubicBezTo>
                      <a:pt x="6433609" y="4587470"/>
                      <a:pt x="6414623" y="4568483"/>
                      <a:pt x="6391198" y="4568483"/>
                    </a:cubicBezTo>
                    <a:cubicBezTo>
                      <a:pt x="6368018" y="4568483"/>
                      <a:pt x="6349033" y="4587470"/>
                      <a:pt x="6349033" y="4610895"/>
                    </a:cubicBezTo>
                    <a:cubicBezTo>
                      <a:pt x="6349033" y="4634320"/>
                      <a:pt x="6368018" y="4653305"/>
                      <a:pt x="6391198" y="4653305"/>
                    </a:cubicBezTo>
                    <a:cubicBezTo>
                      <a:pt x="6414375" y="4653305"/>
                      <a:pt x="6433360" y="4634320"/>
                      <a:pt x="6433609" y="4610895"/>
                    </a:cubicBezTo>
                    <a:close/>
                    <a:moveTo>
                      <a:pt x="6435579" y="2068442"/>
                    </a:moveTo>
                    <a:cubicBezTo>
                      <a:pt x="6435579" y="2042537"/>
                      <a:pt x="6414375" y="2021325"/>
                      <a:pt x="6388237" y="2021325"/>
                    </a:cubicBezTo>
                    <a:cubicBezTo>
                      <a:pt x="6362101" y="2021325"/>
                      <a:pt x="6340894" y="2042291"/>
                      <a:pt x="6340894" y="2068442"/>
                    </a:cubicBezTo>
                    <a:cubicBezTo>
                      <a:pt x="6340894" y="2094589"/>
                      <a:pt x="6362101" y="2115806"/>
                      <a:pt x="6388237" y="2115806"/>
                    </a:cubicBezTo>
                    <a:cubicBezTo>
                      <a:pt x="6414375" y="2115806"/>
                      <a:pt x="6435579" y="2094835"/>
                      <a:pt x="6435579" y="2068442"/>
                    </a:cubicBezTo>
                    <a:close/>
                    <a:moveTo>
                      <a:pt x="6438541" y="4246950"/>
                    </a:moveTo>
                    <a:cubicBezTo>
                      <a:pt x="6438541" y="4223770"/>
                      <a:pt x="6419553" y="4204784"/>
                      <a:pt x="6396375" y="4204784"/>
                    </a:cubicBezTo>
                    <a:cubicBezTo>
                      <a:pt x="6373196" y="4204784"/>
                      <a:pt x="6354210" y="4223770"/>
                      <a:pt x="6354210" y="4246950"/>
                    </a:cubicBezTo>
                    <a:cubicBezTo>
                      <a:pt x="6354210" y="4270126"/>
                      <a:pt x="6373196" y="4289115"/>
                      <a:pt x="6396375" y="4289115"/>
                    </a:cubicBezTo>
                    <a:cubicBezTo>
                      <a:pt x="6419553" y="4289115"/>
                      <a:pt x="6438541" y="4270126"/>
                      <a:pt x="6438541" y="4246950"/>
                    </a:cubicBezTo>
                    <a:close/>
                    <a:moveTo>
                      <a:pt x="6439033" y="2757133"/>
                    </a:moveTo>
                    <a:cubicBezTo>
                      <a:pt x="6439033" y="2740611"/>
                      <a:pt x="6425471" y="2727047"/>
                      <a:pt x="6408952" y="2727047"/>
                    </a:cubicBezTo>
                    <a:cubicBezTo>
                      <a:pt x="6392430" y="2727047"/>
                      <a:pt x="6378868" y="2740611"/>
                      <a:pt x="6378868" y="2757133"/>
                    </a:cubicBezTo>
                    <a:cubicBezTo>
                      <a:pt x="6378868" y="2773658"/>
                      <a:pt x="6392430" y="2787216"/>
                      <a:pt x="6408952" y="2787216"/>
                    </a:cubicBezTo>
                    <a:cubicBezTo>
                      <a:pt x="6425471" y="2787216"/>
                      <a:pt x="6439033" y="2773658"/>
                      <a:pt x="6439033" y="2757133"/>
                    </a:cubicBezTo>
                    <a:close/>
                    <a:moveTo>
                      <a:pt x="6442732" y="1261059"/>
                    </a:moveTo>
                    <a:cubicBezTo>
                      <a:pt x="6442732" y="1235437"/>
                      <a:pt x="6422019" y="1214722"/>
                      <a:pt x="6396375" y="1214722"/>
                    </a:cubicBezTo>
                    <a:cubicBezTo>
                      <a:pt x="6370732" y="1214722"/>
                      <a:pt x="6350019" y="1235683"/>
                      <a:pt x="6350019" y="1261059"/>
                    </a:cubicBezTo>
                    <a:cubicBezTo>
                      <a:pt x="6350019" y="1286687"/>
                      <a:pt x="6370978" y="1307424"/>
                      <a:pt x="6396375" y="1307424"/>
                    </a:cubicBezTo>
                    <a:cubicBezTo>
                      <a:pt x="6421771" y="1307424"/>
                      <a:pt x="6442732" y="1286687"/>
                      <a:pt x="6442732" y="1261059"/>
                    </a:cubicBezTo>
                    <a:close/>
                    <a:moveTo>
                      <a:pt x="6443718" y="5832184"/>
                    </a:moveTo>
                    <a:cubicBezTo>
                      <a:pt x="6443718" y="5822321"/>
                      <a:pt x="6435828" y="5814430"/>
                      <a:pt x="6425965" y="5814430"/>
                    </a:cubicBezTo>
                    <a:cubicBezTo>
                      <a:pt x="6416102" y="5814430"/>
                      <a:pt x="6408211" y="5822321"/>
                      <a:pt x="6408211" y="5832184"/>
                    </a:cubicBezTo>
                    <a:cubicBezTo>
                      <a:pt x="6408211" y="5842047"/>
                      <a:pt x="6416102" y="5849937"/>
                      <a:pt x="6425965" y="5849937"/>
                    </a:cubicBezTo>
                    <a:cubicBezTo>
                      <a:pt x="6435828" y="5849937"/>
                      <a:pt x="6443964" y="5841801"/>
                      <a:pt x="6443718" y="5832184"/>
                    </a:cubicBezTo>
                    <a:close/>
                    <a:moveTo>
                      <a:pt x="6445937" y="5037469"/>
                    </a:moveTo>
                    <a:cubicBezTo>
                      <a:pt x="6445937" y="5030565"/>
                      <a:pt x="6440265" y="5024647"/>
                      <a:pt x="6433115" y="5024647"/>
                    </a:cubicBezTo>
                    <a:cubicBezTo>
                      <a:pt x="6425965" y="5024647"/>
                      <a:pt x="6420047" y="5030319"/>
                      <a:pt x="6420047" y="5037469"/>
                    </a:cubicBezTo>
                    <a:cubicBezTo>
                      <a:pt x="6420047" y="5044374"/>
                      <a:pt x="6425965" y="5050291"/>
                      <a:pt x="6433115" y="5050291"/>
                    </a:cubicBezTo>
                    <a:cubicBezTo>
                      <a:pt x="6440265" y="5050291"/>
                      <a:pt x="6445937" y="5044374"/>
                      <a:pt x="6445937" y="5037469"/>
                    </a:cubicBezTo>
                    <a:close/>
                    <a:moveTo>
                      <a:pt x="6448404" y="2869823"/>
                    </a:moveTo>
                    <a:cubicBezTo>
                      <a:pt x="6448404" y="2861933"/>
                      <a:pt x="6441991" y="2855768"/>
                      <a:pt x="6434347" y="2855768"/>
                    </a:cubicBezTo>
                    <a:cubicBezTo>
                      <a:pt x="6426457" y="2855768"/>
                      <a:pt x="6420293" y="2862177"/>
                      <a:pt x="6420293" y="2869823"/>
                    </a:cubicBezTo>
                    <a:cubicBezTo>
                      <a:pt x="6420293" y="2877713"/>
                      <a:pt x="6426705" y="2883878"/>
                      <a:pt x="6434347" y="2883878"/>
                    </a:cubicBezTo>
                    <a:cubicBezTo>
                      <a:pt x="6441991" y="2883878"/>
                      <a:pt x="6448404" y="2877713"/>
                      <a:pt x="6448404" y="2869823"/>
                    </a:cubicBezTo>
                    <a:close/>
                    <a:moveTo>
                      <a:pt x="6449637" y="1655540"/>
                    </a:moveTo>
                    <a:cubicBezTo>
                      <a:pt x="6449637" y="1631630"/>
                      <a:pt x="6430156" y="1612401"/>
                      <a:pt x="6406485" y="1612401"/>
                    </a:cubicBezTo>
                    <a:cubicBezTo>
                      <a:pt x="6382566" y="1612401"/>
                      <a:pt x="6363333" y="1631630"/>
                      <a:pt x="6363333" y="1655540"/>
                    </a:cubicBezTo>
                    <a:cubicBezTo>
                      <a:pt x="6363333" y="1679461"/>
                      <a:pt x="6382814" y="1698699"/>
                      <a:pt x="6406485" y="1698699"/>
                    </a:cubicBezTo>
                    <a:cubicBezTo>
                      <a:pt x="6430156" y="1698699"/>
                      <a:pt x="6449637" y="1679461"/>
                      <a:pt x="6449637" y="1655540"/>
                    </a:cubicBezTo>
                    <a:close/>
                    <a:moveTo>
                      <a:pt x="6456046" y="5443580"/>
                    </a:moveTo>
                    <a:cubicBezTo>
                      <a:pt x="6456046" y="5435936"/>
                      <a:pt x="6450128" y="5429772"/>
                      <a:pt x="6442484" y="5429772"/>
                    </a:cubicBezTo>
                    <a:cubicBezTo>
                      <a:pt x="6434838" y="5429772"/>
                      <a:pt x="6428675" y="5435936"/>
                      <a:pt x="6428675" y="5443580"/>
                    </a:cubicBezTo>
                    <a:cubicBezTo>
                      <a:pt x="6428675" y="5451225"/>
                      <a:pt x="6434838" y="5457389"/>
                      <a:pt x="6442484" y="5457389"/>
                    </a:cubicBezTo>
                    <a:cubicBezTo>
                      <a:pt x="6449881" y="5457389"/>
                      <a:pt x="6456046" y="5451225"/>
                      <a:pt x="6456046" y="5443580"/>
                    </a:cubicBezTo>
                    <a:close/>
                    <a:moveTo>
                      <a:pt x="6457278" y="4134511"/>
                    </a:moveTo>
                    <a:cubicBezTo>
                      <a:pt x="6457278" y="4116017"/>
                      <a:pt x="6442237" y="4100976"/>
                      <a:pt x="6423744" y="4100976"/>
                    </a:cubicBezTo>
                    <a:cubicBezTo>
                      <a:pt x="6405250" y="4100976"/>
                      <a:pt x="6390209" y="4116017"/>
                      <a:pt x="6390209" y="4134511"/>
                    </a:cubicBezTo>
                    <a:cubicBezTo>
                      <a:pt x="6390209" y="4153005"/>
                      <a:pt x="6405250" y="4168045"/>
                      <a:pt x="6423744" y="4168045"/>
                    </a:cubicBezTo>
                    <a:cubicBezTo>
                      <a:pt x="6442237" y="4168045"/>
                      <a:pt x="6457278" y="4153005"/>
                      <a:pt x="6457278" y="4134511"/>
                    </a:cubicBezTo>
                    <a:close/>
                    <a:moveTo>
                      <a:pt x="6458756" y="2983749"/>
                    </a:moveTo>
                    <a:cubicBezTo>
                      <a:pt x="6458756" y="2982023"/>
                      <a:pt x="6457278" y="2980545"/>
                      <a:pt x="6455551" y="2980545"/>
                    </a:cubicBezTo>
                    <a:cubicBezTo>
                      <a:pt x="6453824" y="2980545"/>
                      <a:pt x="6452346" y="2982023"/>
                      <a:pt x="6452346" y="2983749"/>
                    </a:cubicBezTo>
                    <a:cubicBezTo>
                      <a:pt x="6452346" y="2985477"/>
                      <a:pt x="6453824" y="2986955"/>
                      <a:pt x="6455551" y="2986955"/>
                    </a:cubicBezTo>
                    <a:cubicBezTo>
                      <a:pt x="6457278" y="2986955"/>
                      <a:pt x="6458756" y="2985723"/>
                      <a:pt x="6458756" y="2983749"/>
                    </a:cubicBezTo>
                    <a:close/>
                    <a:moveTo>
                      <a:pt x="6462456" y="1911229"/>
                    </a:moveTo>
                    <a:cubicBezTo>
                      <a:pt x="6462456" y="1893000"/>
                      <a:pt x="6447661" y="1878220"/>
                      <a:pt x="6429413" y="1878220"/>
                    </a:cubicBezTo>
                    <a:cubicBezTo>
                      <a:pt x="6411168" y="1878220"/>
                      <a:pt x="6396373" y="1893000"/>
                      <a:pt x="6396373" y="1911229"/>
                    </a:cubicBezTo>
                    <a:cubicBezTo>
                      <a:pt x="6396373" y="1929455"/>
                      <a:pt x="6411168" y="1944235"/>
                      <a:pt x="6429413" y="1944235"/>
                    </a:cubicBezTo>
                    <a:cubicBezTo>
                      <a:pt x="6447661" y="1944235"/>
                      <a:pt x="6462456" y="1929455"/>
                      <a:pt x="6462456" y="1911229"/>
                    </a:cubicBezTo>
                    <a:close/>
                    <a:moveTo>
                      <a:pt x="6462950" y="939334"/>
                    </a:moveTo>
                    <a:cubicBezTo>
                      <a:pt x="6462950" y="911971"/>
                      <a:pt x="6440760" y="889781"/>
                      <a:pt x="6413389" y="889781"/>
                    </a:cubicBezTo>
                    <a:cubicBezTo>
                      <a:pt x="6386019" y="889781"/>
                      <a:pt x="6363828" y="911971"/>
                      <a:pt x="6363828" y="939334"/>
                    </a:cubicBezTo>
                    <a:cubicBezTo>
                      <a:pt x="6363828" y="966712"/>
                      <a:pt x="6386019" y="988895"/>
                      <a:pt x="6413389" y="988895"/>
                    </a:cubicBezTo>
                    <a:cubicBezTo>
                      <a:pt x="6440760" y="988895"/>
                      <a:pt x="6462950" y="966712"/>
                      <a:pt x="6462950" y="939334"/>
                    </a:cubicBezTo>
                    <a:close/>
                    <a:moveTo>
                      <a:pt x="6463690" y="2445223"/>
                    </a:moveTo>
                    <a:cubicBezTo>
                      <a:pt x="6463690" y="2425973"/>
                      <a:pt x="6447909" y="2410203"/>
                      <a:pt x="6428675" y="2410203"/>
                    </a:cubicBezTo>
                    <a:cubicBezTo>
                      <a:pt x="6409443" y="2410203"/>
                      <a:pt x="6393662" y="2425973"/>
                      <a:pt x="6393662" y="2445223"/>
                    </a:cubicBezTo>
                    <a:cubicBezTo>
                      <a:pt x="6393662" y="2464446"/>
                      <a:pt x="6409443" y="2480226"/>
                      <a:pt x="6428675" y="2480226"/>
                    </a:cubicBezTo>
                    <a:cubicBezTo>
                      <a:pt x="6447909" y="2480226"/>
                      <a:pt x="6463690" y="2464446"/>
                      <a:pt x="6463690" y="2445223"/>
                    </a:cubicBezTo>
                    <a:close/>
                    <a:moveTo>
                      <a:pt x="6466895" y="1115120"/>
                    </a:moveTo>
                    <a:cubicBezTo>
                      <a:pt x="6466895" y="1089245"/>
                      <a:pt x="6445688" y="1068026"/>
                      <a:pt x="6419553" y="1068026"/>
                    </a:cubicBezTo>
                    <a:cubicBezTo>
                      <a:pt x="6393663" y="1068026"/>
                      <a:pt x="6372456" y="1088995"/>
                      <a:pt x="6372456" y="1115120"/>
                    </a:cubicBezTo>
                    <a:cubicBezTo>
                      <a:pt x="6372456" y="1141262"/>
                      <a:pt x="6393414" y="1162469"/>
                      <a:pt x="6419553" y="1162469"/>
                    </a:cubicBezTo>
                    <a:cubicBezTo>
                      <a:pt x="6445443" y="1162469"/>
                      <a:pt x="6466648" y="1141262"/>
                      <a:pt x="6466895" y="1115120"/>
                    </a:cubicBezTo>
                    <a:close/>
                    <a:moveTo>
                      <a:pt x="6471090" y="4020837"/>
                    </a:moveTo>
                    <a:cubicBezTo>
                      <a:pt x="6471090" y="4007524"/>
                      <a:pt x="6460240" y="3996674"/>
                      <a:pt x="6446923" y="3996674"/>
                    </a:cubicBezTo>
                    <a:cubicBezTo>
                      <a:pt x="6433856" y="3996674"/>
                      <a:pt x="6423005" y="4007524"/>
                      <a:pt x="6423005" y="4020837"/>
                    </a:cubicBezTo>
                    <a:cubicBezTo>
                      <a:pt x="6423005" y="4034153"/>
                      <a:pt x="6433609" y="4045003"/>
                      <a:pt x="6446923" y="4045003"/>
                    </a:cubicBezTo>
                    <a:cubicBezTo>
                      <a:pt x="6460240" y="4045003"/>
                      <a:pt x="6471090" y="4034153"/>
                      <a:pt x="6471090" y="4020837"/>
                    </a:cubicBezTo>
                    <a:close/>
                    <a:moveTo>
                      <a:pt x="6473059" y="3098415"/>
                    </a:moveTo>
                    <a:cubicBezTo>
                      <a:pt x="6473059" y="3097921"/>
                      <a:pt x="6472813" y="3097675"/>
                      <a:pt x="6472321" y="3097675"/>
                    </a:cubicBezTo>
                    <a:cubicBezTo>
                      <a:pt x="6471827" y="3097675"/>
                      <a:pt x="6471581" y="3097921"/>
                      <a:pt x="6471581" y="3098415"/>
                    </a:cubicBezTo>
                    <a:cubicBezTo>
                      <a:pt x="6471581" y="3098907"/>
                      <a:pt x="6472073" y="3099153"/>
                      <a:pt x="6472321" y="3099153"/>
                    </a:cubicBezTo>
                    <a:cubicBezTo>
                      <a:pt x="6472813" y="3099153"/>
                      <a:pt x="6472813" y="3098907"/>
                      <a:pt x="6473059" y="3098415"/>
                    </a:cubicBezTo>
                    <a:close/>
                    <a:moveTo>
                      <a:pt x="6475525" y="4773141"/>
                    </a:moveTo>
                    <a:cubicBezTo>
                      <a:pt x="6475525" y="4754155"/>
                      <a:pt x="6459990" y="4738620"/>
                      <a:pt x="6441005" y="4738620"/>
                    </a:cubicBezTo>
                    <a:cubicBezTo>
                      <a:pt x="6422019" y="4738620"/>
                      <a:pt x="6406484" y="4754155"/>
                      <a:pt x="6406484" y="4773141"/>
                    </a:cubicBezTo>
                    <a:cubicBezTo>
                      <a:pt x="6406484" y="4792127"/>
                      <a:pt x="6422019" y="4807661"/>
                      <a:pt x="6441005" y="4807661"/>
                    </a:cubicBezTo>
                    <a:cubicBezTo>
                      <a:pt x="6459990" y="4807661"/>
                      <a:pt x="6475525" y="4792127"/>
                      <a:pt x="6475525" y="4773141"/>
                    </a:cubicBezTo>
                    <a:close/>
                    <a:moveTo>
                      <a:pt x="6478485" y="5963857"/>
                    </a:moveTo>
                    <a:cubicBezTo>
                      <a:pt x="6478485" y="5952513"/>
                      <a:pt x="6469360" y="5943389"/>
                      <a:pt x="6458018" y="5943389"/>
                    </a:cubicBezTo>
                    <a:cubicBezTo>
                      <a:pt x="6446675" y="5943389"/>
                      <a:pt x="6437552" y="5952513"/>
                      <a:pt x="6437552" y="5963857"/>
                    </a:cubicBezTo>
                    <a:cubicBezTo>
                      <a:pt x="6437552" y="5975198"/>
                      <a:pt x="6446675" y="5984323"/>
                      <a:pt x="6458018" y="5984323"/>
                    </a:cubicBezTo>
                    <a:cubicBezTo>
                      <a:pt x="6469360" y="5984323"/>
                      <a:pt x="6478485" y="5975198"/>
                      <a:pt x="6478485" y="5963857"/>
                    </a:cubicBezTo>
                    <a:close/>
                    <a:moveTo>
                      <a:pt x="6480706" y="3906427"/>
                    </a:moveTo>
                    <a:cubicBezTo>
                      <a:pt x="6480706" y="3898044"/>
                      <a:pt x="6473802" y="3891385"/>
                      <a:pt x="6465663" y="3891385"/>
                    </a:cubicBezTo>
                    <a:cubicBezTo>
                      <a:pt x="6457281" y="3891385"/>
                      <a:pt x="6450622" y="3898290"/>
                      <a:pt x="6450622" y="3906427"/>
                    </a:cubicBezTo>
                    <a:cubicBezTo>
                      <a:pt x="6450622" y="3914811"/>
                      <a:pt x="6457527" y="3921469"/>
                      <a:pt x="6465663" y="3921469"/>
                    </a:cubicBezTo>
                    <a:cubicBezTo>
                      <a:pt x="6473802" y="3921469"/>
                      <a:pt x="6480458" y="3914811"/>
                      <a:pt x="6480706" y="3906427"/>
                    </a:cubicBezTo>
                    <a:close/>
                    <a:moveTo>
                      <a:pt x="6481690" y="797348"/>
                    </a:moveTo>
                    <a:cubicBezTo>
                      <a:pt x="6481690" y="769721"/>
                      <a:pt x="6459497" y="747531"/>
                      <a:pt x="6432126" y="747531"/>
                    </a:cubicBezTo>
                    <a:cubicBezTo>
                      <a:pt x="6404755" y="747531"/>
                      <a:pt x="6382319" y="769970"/>
                      <a:pt x="6382319" y="797348"/>
                    </a:cubicBezTo>
                    <a:cubicBezTo>
                      <a:pt x="6382319" y="824961"/>
                      <a:pt x="6404755" y="847154"/>
                      <a:pt x="6432126" y="847154"/>
                    </a:cubicBezTo>
                    <a:cubicBezTo>
                      <a:pt x="6459497" y="847154"/>
                      <a:pt x="6481690" y="824715"/>
                      <a:pt x="6481690" y="797348"/>
                    </a:cubicBezTo>
                    <a:close/>
                    <a:moveTo>
                      <a:pt x="6482675" y="1504174"/>
                    </a:moveTo>
                    <a:cubicBezTo>
                      <a:pt x="6482675" y="1479264"/>
                      <a:pt x="6462209" y="1458801"/>
                      <a:pt x="6437305" y="1458801"/>
                    </a:cubicBezTo>
                    <a:cubicBezTo>
                      <a:pt x="6412156" y="1458801"/>
                      <a:pt x="6391935" y="1479264"/>
                      <a:pt x="6391935" y="1504174"/>
                    </a:cubicBezTo>
                    <a:cubicBezTo>
                      <a:pt x="6391935" y="1529330"/>
                      <a:pt x="6412402" y="1549537"/>
                      <a:pt x="6437305" y="1549537"/>
                    </a:cubicBezTo>
                    <a:cubicBezTo>
                      <a:pt x="6462458" y="1549537"/>
                      <a:pt x="6482675" y="1529085"/>
                      <a:pt x="6482675" y="1504174"/>
                    </a:cubicBezTo>
                    <a:close/>
                    <a:moveTo>
                      <a:pt x="6482675" y="5192568"/>
                    </a:moveTo>
                    <a:cubicBezTo>
                      <a:pt x="6482675" y="5186402"/>
                      <a:pt x="6477498" y="5181224"/>
                      <a:pt x="6471086" y="5181224"/>
                    </a:cubicBezTo>
                    <a:cubicBezTo>
                      <a:pt x="6464922" y="5181224"/>
                      <a:pt x="6459745" y="5186156"/>
                      <a:pt x="6459745" y="5192568"/>
                    </a:cubicBezTo>
                    <a:cubicBezTo>
                      <a:pt x="6459745" y="5198731"/>
                      <a:pt x="6464922" y="5203909"/>
                      <a:pt x="6471086" y="5203909"/>
                    </a:cubicBezTo>
                    <a:cubicBezTo>
                      <a:pt x="6477252" y="5203909"/>
                      <a:pt x="6482430" y="5198977"/>
                      <a:pt x="6482675" y="5192568"/>
                    </a:cubicBezTo>
                    <a:close/>
                    <a:moveTo>
                      <a:pt x="6482921" y="4501662"/>
                    </a:moveTo>
                    <a:cubicBezTo>
                      <a:pt x="6482921" y="4473305"/>
                      <a:pt x="6459990" y="4450374"/>
                      <a:pt x="6431634" y="4450374"/>
                    </a:cubicBezTo>
                    <a:cubicBezTo>
                      <a:pt x="6403277" y="4450374"/>
                      <a:pt x="6380346" y="4473305"/>
                      <a:pt x="6380346" y="4501662"/>
                    </a:cubicBezTo>
                    <a:cubicBezTo>
                      <a:pt x="6380346" y="4530018"/>
                      <a:pt x="6403277" y="4552949"/>
                      <a:pt x="6431634" y="4552949"/>
                    </a:cubicBezTo>
                    <a:cubicBezTo>
                      <a:pt x="6459745" y="4552949"/>
                      <a:pt x="6482921" y="4530018"/>
                      <a:pt x="6482921" y="4501662"/>
                    </a:cubicBezTo>
                    <a:close/>
                    <a:moveTo>
                      <a:pt x="6483662" y="2174257"/>
                    </a:moveTo>
                    <a:cubicBezTo>
                      <a:pt x="6483662" y="2148853"/>
                      <a:pt x="6462950" y="2128137"/>
                      <a:pt x="6437555" y="2128137"/>
                    </a:cubicBezTo>
                    <a:cubicBezTo>
                      <a:pt x="6412156" y="2128137"/>
                      <a:pt x="6391444" y="2148853"/>
                      <a:pt x="6391444" y="2174257"/>
                    </a:cubicBezTo>
                    <a:cubicBezTo>
                      <a:pt x="6391444" y="2199650"/>
                      <a:pt x="6412156" y="2220381"/>
                      <a:pt x="6437555" y="2220381"/>
                    </a:cubicBezTo>
                    <a:cubicBezTo>
                      <a:pt x="6462950" y="2220381"/>
                      <a:pt x="6483662" y="2199650"/>
                      <a:pt x="6483662" y="2174257"/>
                    </a:cubicBezTo>
                    <a:close/>
                    <a:moveTo>
                      <a:pt x="6485141" y="3213575"/>
                    </a:moveTo>
                    <a:cubicBezTo>
                      <a:pt x="6485141" y="3213325"/>
                      <a:pt x="6484895" y="3213080"/>
                      <a:pt x="6484649" y="3213080"/>
                    </a:cubicBezTo>
                    <a:cubicBezTo>
                      <a:pt x="6484400" y="3213080"/>
                      <a:pt x="6484154" y="3213325"/>
                      <a:pt x="6484154" y="3213575"/>
                    </a:cubicBezTo>
                    <a:cubicBezTo>
                      <a:pt x="6484154" y="3213820"/>
                      <a:pt x="6484400" y="3214066"/>
                      <a:pt x="6484649" y="3214066"/>
                    </a:cubicBezTo>
                    <a:cubicBezTo>
                      <a:pt x="6484895" y="3214066"/>
                      <a:pt x="6485141" y="3213820"/>
                      <a:pt x="6485141" y="3213575"/>
                    </a:cubicBezTo>
                    <a:close/>
                    <a:moveTo>
                      <a:pt x="6486375" y="5593253"/>
                    </a:moveTo>
                    <a:cubicBezTo>
                      <a:pt x="6486375" y="5584868"/>
                      <a:pt x="6479471" y="5577963"/>
                      <a:pt x="6471087" y="5577963"/>
                    </a:cubicBezTo>
                    <a:cubicBezTo>
                      <a:pt x="6462704" y="5577963"/>
                      <a:pt x="6455800" y="5584868"/>
                      <a:pt x="6455800" y="5593253"/>
                    </a:cubicBezTo>
                    <a:cubicBezTo>
                      <a:pt x="6455800" y="5601635"/>
                      <a:pt x="6462704" y="5608538"/>
                      <a:pt x="6471087" y="5608538"/>
                    </a:cubicBezTo>
                    <a:cubicBezTo>
                      <a:pt x="6479471" y="5608538"/>
                      <a:pt x="6486375" y="5601635"/>
                      <a:pt x="6486375" y="5593253"/>
                    </a:cubicBezTo>
                    <a:close/>
                    <a:moveTo>
                      <a:pt x="6487361" y="3791768"/>
                    </a:moveTo>
                    <a:cubicBezTo>
                      <a:pt x="6487361" y="3787577"/>
                      <a:pt x="6483908" y="3784373"/>
                      <a:pt x="6479962" y="3784373"/>
                    </a:cubicBezTo>
                    <a:cubicBezTo>
                      <a:pt x="6476017" y="3784373"/>
                      <a:pt x="6472812" y="3787823"/>
                      <a:pt x="6472812" y="3791768"/>
                    </a:cubicBezTo>
                    <a:cubicBezTo>
                      <a:pt x="6472812" y="3795713"/>
                      <a:pt x="6476017" y="3798921"/>
                      <a:pt x="6479962" y="3798921"/>
                    </a:cubicBezTo>
                    <a:cubicBezTo>
                      <a:pt x="6483908" y="3798921"/>
                      <a:pt x="6487114" y="3795713"/>
                      <a:pt x="6487361" y="3791768"/>
                    </a:cubicBezTo>
                    <a:close/>
                    <a:moveTo>
                      <a:pt x="6489085" y="6107114"/>
                    </a:moveTo>
                    <a:cubicBezTo>
                      <a:pt x="6489085" y="6100951"/>
                      <a:pt x="6484154" y="6096018"/>
                      <a:pt x="6477990" y="6096018"/>
                    </a:cubicBezTo>
                    <a:cubicBezTo>
                      <a:pt x="6471827" y="6096018"/>
                      <a:pt x="6466894" y="6100951"/>
                      <a:pt x="6466894" y="6107114"/>
                    </a:cubicBezTo>
                    <a:cubicBezTo>
                      <a:pt x="6466894" y="6113280"/>
                      <a:pt x="6471827" y="6118212"/>
                      <a:pt x="6477990" y="6118212"/>
                    </a:cubicBezTo>
                    <a:cubicBezTo>
                      <a:pt x="6484154" y="6118212"/>
                      <a:pt x="6489085" y="6113031"/>
                      <a:pt x="6489085" y="6107114"/>
                    </a:cubicBezTo>
                    <a:close/>
                    <a:moveTo>
                      <a:pt x="6491304" y="3676371"/>
                    </a:moveTo>
                    <a:cubicBezTo>
                      <a:pt x="6491304" y="3675139"/>
                      <a:pt x="6490566" y="3674399"/>
                      <a:pt x="6489580" y="3674399"/>
                    </a:cubicBezTo>
                    <a:cubicBezTo>
                      <a:pt x="6488594" y="3674399"/>
                      <a:pt x="6487853" y="3675385"/>
                      <a:pt x="6487853" y="3676371"/>
                    </a:cubicBezTo>
                    <a:cubicBezTo>
                      <a:pt x="6487853" y="3677357"/>
                      <a:pt x="6488594" y="3678099"/>
                      <a:pt x="6489580" y="3678099"/>
                    </a:cubicBezTo>
                    <a:cubicBezTo>
                      <a:pt x="6490566" y="3678099"/>
                      <a:pt x="6491304" y="3677604"/>
                      <a:pt x="6491304" y="3676371"/>
                    </a:cubicBezTo>
                    <a:close/>
                    <a:moveTo>
                      <a:pt x="6492788" y="3329205"/>
                    </a:moveTo>
                    <a:cubicBezTo>
                      <a:pt x="6492788" y="3328955"/>
                      <a:pt x="6492788" y="3328955"/>
                      <a:pt x="6492542" y="3328955"/>
                    </a:cubicBezTo>
                    <a:cubicBezTo>
                      <a:pt x="6492542" y="3328955"/>
                      <a:pt x="6492293" y="3328955"/>
                      <a:pt x="6492542" y="3329457"/>
                    </a:cubicBezTo>
                    <a:cubicBezTo>
                      <a:pt x="6492542" y="3329457"/>
                      <a:pt x="6492788" y="3329457"/>
                      <a:pt x="6492788" y="3329205"/>
                    </a:cubicBezTo>
                    <a:close/>
                    <a:moveTo>
                      <a:pt x="6494512" y="2555681"/>
                    </a:moveTo>
                    <a:cubicBezTo>
                      <a:pt x="6494512" y="2539411"/>
                      <a:pt x="6481443" y="2526096"/>
                      <a:pt x="6465168" y="2526096"/>
                    </a:cubicBezTo>
                    <a:cubicBezTo>
                      <a:pt x="6448896" y="2526096"/>
                      <a:pt x="6435579" y="2539411"/>
                      <a:pt x="6435579" y="2555681"/>
                    </a:cubicBezTo>
                    <a:cubicBezTo>
                      <a:pt x="6435579" y="2571958"/>
                      <a:pt x="6448896" y="2585273"/>
                      <a:pt x="6465168" y="2585273"/>
                    </a:cubicBezTo>
                    <a:cubicBezTo>
                      <a:pt x="6481443" y="2585273"/>
                      <a:pt x="6494757" y="2571958"/>
                      <a:pt x="6494512" y="2555681"/>
                    </a:cubicBezTo>
                    <a:close/>
                    <a:moveTo>
                      <a:pt x="6495993" y="3560482"/>
                    </a:moveTo>
                    <a:cubicBezTo>
                      <a:pt x="6495993" y="3559990"/>
                      <a:pt x="6495498" y="3559495"/>
                      <a:pt x="6495006" y="3559495"/>
                    </a:cubicBezTo>
                    <a:cubicBezTo>
                      <a:pt x="6494512" y="3559495"/>
                      <a:pt x="6494020" y="3559990"/>
                      <a:pt x="6494020" y="3560482"/>
                    </a:cubicBezTo>
                    <a:cubicBezTo>
                      <a:pt x="6494020" y="3560973"/>
                      <a:pt x="6494512" y="3561467"/>
                      <a:pt x="6495006" y="3561467"/>
                    </a:cubicBezTo>
                    <a:cubicBezTo>
                      <a:pt x="6495498" y="3561467"/>
                      <a:pt x="6495993" y="3560973"/>
                      <a:pt x="6495993" y="3560482"/>
                    </a:cubicBezTo>
                    <a:close/>
                    <a:moveTo>
                      <a:pt x="6498211" y="656578"/>
                    </a:moveTo>
                    <a:cubicBezTo>
                      <a:pt x="6498211" y="629377"/>
                      <a:pt x="6476021" y="607185"/>
                      <a:pt x="6448896" y="607185"/>
                    </a:cubicBezTo>
                    <a:cubicBezTo>
                      <a:pt x="6421525" y="607185"/>
                      <a:pt x="6399581" y="629377"/>
                      <a:pt x="6399581" y="656578"/>
                    </a:cubicBezTo>
                    <a:cubicBezTo>
                      <a:pt x="6399581" y="683696"/>
                      <a:pt x="6421772" y="705886"/>
                      <a:pt x="6448896" y="705886"/>
                    </a:cubicBezTo>
                    <a:cubicBezTo>
                      <a:pt x="6476021" y="705886"/>
                      <a:pt x="6498211" y="683696"/>
                      <a:pt x="6498211" y="656578"/>
                    </a:cubicBezTo>
                    <a:close/>
                    <a:moveTo>
                      <a:pt x="6505853" y="4933907"/>
                    </a:moveTo>
                    <a:cubicBezTo>
                      <a:pt x="6505853" y="4922812"/>
                      <a:pt x="6496978" y="4913935"/>
                      <a:pt x="6485881" y="4913935"/>
                    </a:cubicBezTo>
                    <a:cubicBezTo>
                      <a:pt x="6474785" y="4913935"/>
                      <a:pt x="6465909" y="4922812"/>
                      <a:pt x="6465909" y="4933907"/>
                    </a:cubicBezTo>
                    <a:cubicBezTo>
                      <a:pt x="6465909" y="4944757"/>
                      <a:pt x="6474785" y="4953879"/>
                      <a:pt x="6485881" y="4953879"/>
                    </a:cubicBezTo>
                    <a:cubicBezTo>
                      <a:pt x="6496978" y="4953879"/>
                      <a:pt x="6505853" y="4944757"/>
                      <a:pt x="6505853" y="4933907"/>
                    </a:cubicBezTo>
                    <a:close/>
                    <a:moveTo>
                      <a:pt x="6508320" y="1754947"/>
                    </a:moveTo>
                    <a:cubicBezTo>
                      <a:pt x="6508320" y="1731752"/>
                      <a:pt x="6489552" y="1712944"/>
                      <a:pt x="6466401" y="1712944"/>
                    </a:cubicBezTo>
                    <a:cubicBezTo>
                      <a:pt x="6443250" y="1712944"/>
                      <a:pt x="6424484" y="1731752"/>
                      <a:pt x="6424484" y="1754947"/>
                    </a:cubicBezTo>
                    <a:cubicBezTo>
                      <a:pt x="6424484" y="1778139"/>
                      <a:pt x="6443252" y="1796941"/>
                      <a:pt x="6466401" y="1796941"/>
                    </a:cubicBezTo>
                    <a:cubicBezTo>
                      <a:pt x="6489552" y="1796941"/>
                      <a:pt x="6508320" y="1778139"/>
                      <a:pt x="6508320" y="1754947"/>
                    </a:cubicBezTo>
                    <a:close/>
                    <a:moveTo>
                      <a:pt x="6511524" y="1354275"/>
                    </a:moveTo>
                    <a:cubicBezTo>
                      <a:pt x="6511524" y="1328882"/>
                      <a:pt x="6490811" y="1308165"/>
                      <a:pt x="6465417" y="1308165"/>
                    </a:cubicBezTo>
                    <a:cubicBezTo>
                      <a:pt x="6440018" y="1308165"/>
                      <a:pt x="6419306" y="1328882"/>
                      <a:pt x="6419306" y="1354275"/>
                    </a:cubicBezTo>
                    <a:cubicBezTo>
                      <a:pt x="6419306" y="1379675"/>
                      <a:pt x="6440018" y="1400390"/>
                      <a:pt x="6465417" y="1400390"/>
                    </a:cubicBezTo>
                    <a:cubicBezTo>
                      <a:pt x="6490811" y="1400390"/>
                      <a:pt x="6511524" y="1379675"/>
                      <a:pt x="6511524" y="1354275"/>
                    </a:cubicBezTo>
                    <a:close/>
                    <a:moveTo>
                      <a:pt x="6512016" y="6248157"/>
                    </a:moveTo>
                    <a:cubicBezTo>
                      <a:pt x="6512016" y="6239526"/>
                      <a:pt x="6505112" y="6232622"/>
                      <a:pt x="6496484" y="6232622"/>
                    </a:cubicBezTo>
                    <a:cubicBezTo>
                      <a:pt x="6487853" y="6232622"/>
                      <a:pt x="6480949" y="6239526"/>
                      <a:pt x="6480949" y="6248157"/>
                    </a:cubicBezTo>
                    <a:cubicBezTo>
                      <a:pt x="6480949" y="6256788"/>
                      <a:pt x="6487853" y="6263693"/>
                      <a:pt x="6496484" y="6263693"/>
                    </a:cubicBezTo>
                    <a:cubicBezTo>
                      <a:pt x="6505112" y="6263693"/>
                      <a:pt x="6512016" y="6256788"/>
                      <a:pt x="6512016" y="6248157"/>
                    </a:cubicBezTo>
                    <a:close/>
                    <a:moveTo>
                      <a:pt x="6513993" y="2281016"/>
                    </a:moveTo>
                    <a:cubicBezTo>
                      <a:pt x="6513993" y="2263756"/>
                      <a:pt x="6499935" y="2249732"/>
                      <a:pt x="6482676" y="2249732"/>
                    </a:cubicBezTo>
                    <a:cubicBezTo>
                      <a:pt x="6465415" y="2249732"/>
                      <a:pt x="6451360" y="2263756"/>
                      <a:pt x="6451360" y="2281016"/>
                    </a:cubicBezTo>
                    <a:cubicBezTo>
                      <a:pt x="6451360" y="2298281"/>
                      <a:pt x="6465415" y="2312333"/>
                      <a:pt x="6482676" y="2312333"/>
                    </a:cubicBezTo>
                    <a:cubicBezTo>
                      <a:pt x="6499935" y="2312333"/>
                      <a:pt x="6513993" y="2298530"/>
                      <a:pt x="6513993" y="2281016"/>
                    </a:cubicBezTo>
                    <a:close/>
                    <a:moveTo>
                      <a:pt x="6515719" y="5740703"/>
                    </a:moveTo>
                    <a:cubicBezTo>
                      <a:pt x="6515719" y="5730346"/>
                      <a:pt x="6507579" y="5721963"/>
                      <a:pt x="6497225" y="5721963"/>
                    </a:cubicBezTo>
                    <a:cubicBezTo>
                      <a:pt x="6487116" y="5721963"/>
                      <a:pt x="6478731" y="5730346"/>
                      <a:pt x="6478731" y="5740703"/>
                    </a:cubicBezTo>
                    <a:cubicBezTo>
                      <a:pt x="6478731" y="5750812"/>
                      <a:pt x="6486868" y="5759197"/>
                      <a:pt x="6497225" y="5759197"/>
                    </a:cubicBezTo>
                    <a:cubicBezTo>
                      <a:pt x="6507579" y="5759197"/>
                      <a:pt x="6515719" y="5751059"/>
                      <a:pt x="6515719" y="5740703"/>
                    </a:cubicBezTo>
                    <a:close/>
                    <a:moveTo>
                      <a:pt x="6518183" y="4390949"/>
                    </a:moveTo>
                    <a:cubicBezTo>
                      <a:pt x="6518183" y="4363087"/>
                      <a:pt x="6495497" y="4340647"/>
                      <a:pt x="6467881" y="4340647"/>
                    </a:cubicBezTo>
                    <a:cubicBezTo>
                      <a:pt x="6440019" y="4340647"/>
                      <a:pt x="6417580" y="4363333"/>
                      <a:pt x="6417580" y="4390949"/>
                    </a:cubicBezTo>
                    <a:cubicBezTo>
                      <a:pt x="6417580" y="4418812"/>
                      <a:pt x="6440265" y="4441250"/>
                      <a:pt x="6467881" y="4441250"/>
                    </a:cubicBezTo>
                    <a:cubicBezTo>
                      <a:pt x="6495497" y="4441250"/>
                      <a:pt x="6518183" y="4418812"/>
                      <a:pt x="6518183" y="4390949"/>
                    </a:cubicBezTo>
                    <a:close/>
                    <a:moveTo>
                      <a:pt x="6520156" y="5346183"/>
                    </a:moveTo>
                    <a:cubicBezTo>
                      <a:pt x="6520156" y="5338046"/>
                      <a:pt x="6513498" y="5331388"/>
                      <a:pt x="6505362" y="5331388"/>
                    </a:cubicBezTo>
                    <a:cubicBezTo>
                      <a:pt x="6497225" y="5331388"/>
                      <a:pt x="6490566" y="5338046"/>
                      <a:pt x="6490566" y="5346183"/>
                    </a:cubicBezTo>
                    <a:cubicBezTo>
                      <a:pt x="6490566" y="5354318"/>
                      <a:pt x="6497225" y="5360977"/>
                      <a:pt x="6505362" y="5360977"/>
                    </a:cubicBezTo>
                    <a:cubicBezTo>
                      <a:pt x="6513498" y="5360977"/>
                      <a:pt x="6519910" y="5354318"/>
                      <a:pt x="6520156" y="5346183"/>
                    </a:cubicBezTo>
                    <a:close/>
                    <a:moveTo>
                      <a:pt x="6520647" y="2667637"/>
                    </a:moveTo>
                    <a:cubicBezTo>
                      <a:pt x="6520647" y="2655061"/>
                      <a:pt x="6510293" y="2644702"/>
                      <a:pt x="6497716" y="2644702"/>
                    </a:cubicBezTo>
                    <a:cubicBezTo>
                      <a:pt x="6485141" y="2644702"/>
                      <a:pt x="6474785" y="2655061"/>
                      <a:pt x="6474785" y="2667637"/>
                    </a:cubicBezTo>
                    <a:cubicBezTo>
                      <a:pt x="6474785" y="2680210"/>
                      <a:pt x="6485141" y="2690569"/>
                      <a:pt x="6497716" y="2690569"/>
                    </a:cubicBezTo>
                    <a:cubicBezTo>
                      <a:pt x="6510293" y="2690569"/>
                      <a:pt x="6520647" y="2680210"/>
                      <a:pt x="6520647" y="2667637"/>
                    </a:cubicBezTo>
                    <a:close/>
                    <a:moveTo>
                      <a:pt x="6522866" y="2014437"/>
                    </a:moveTo>
                    <a:cubicBezTo>
                      <a:pt x="6522866" y="1992265"/>
                      <a:pt x="6504867" y="1974285"/>
                      <a:pt x="6482676" y="1974285"/>
                    </a:cubicBezTo>
                    <a:cubicBezTo>
                      <a:pt x="6460483" y="1974285"/>
                      <a:pt x="6442484" y="1992265"/>
                      <a:pt x="6442484" y="2014437"/>
                    </a:cubicBezTo>
                    <a:cubicBezTo>
                      <a:pt x="6442484" y="2036631"/>
                      <a:pt x="6460483" y="2054643"/>
                      <a:pt x="6482676" y="2054643"/>
                    </a:cubicBezTo>
                    <a:cubicBezTo>
                      <a:pt x="6504867" y="2054643"/>
                      <a:pt x="6522866" y="2036631"/>
                      <a:pt x="6522866" y="2014437"/>
                    </a:cubicBezTo>
                    <a:close/>
                    <a:moveTo>
                      <a:pt x="6529525" y="4666129"/>
                    </a:moveTo>
                    <a:cubicBezTo>
                      <a:pt x="6529525" y="4642211"/>
                      <a:pt x="6509798" y="4622730"/>
                      <a:pt x="6485881" y="4622730"/>
                    </a:cubicBezTo>
                    <a:cubicBezTo>
                      <a:pt x="6461964" y="4622730"/>
                      <a:pt x="6442484" y="4642211"/>
                      <a:pt x="6442484" y="4666129"/>
                    </a:cubicBezTo>
                    <a:cubicBezTo>
                      <a:pt x="6442484" y="4690045"/>
                      <a:pt x="6461964" y="4709526"/>
                      <a:pt x="6485881" y="4709526"/>
                    </a:cubicBezTo>
                    <a:cubicBezTo>
                      <a:pt x="6510045" y="4709526"/>
                      <a:pt x="6529525" y="4690045"/>
                      <a:pt x="6529525" y="4666129"/>
                    </a:cubicBezTo>
                    <a:close/>
                    <a:moveTo>
                      <a:pt x="6538401" y="1028110"/>
                    </a:moveTo>
                    <a:cubicBezTo>
                      <a:pt x="6538401" y="1000492"/>
                      <a:pt x="6515965" y="978054"/>
                      <a:pt x="6488348" y="978054"/>
                    </a:cubicBezTo>
                    <a:cubicBezTo>
                      <a:pt x="6460732" y="978054"/>
                      <a:pt x="6438293" y="1000492"/>
                      <a:pt x="6438293" y="1028110"/>
                    </a:cubicBezTo>
                    <a:cubicBezTo>
                      <a:pt x="6438293" y="1055702"/>
                      <a:pt x="6460732" y="1078167"/>
                      <a:pt x="6488348" y="1078167"/>
                    </a:cubicBezTo>
                    <a:cubicBezTo>
                      <a:pt x="6515965" y="1078167"/>
                      <a:pt x="6538401" y="1055702"/>
                      <a:pt x="6538401" y="1028110"/>
                    </a:cubicBezTo>
                    <a:close/>
                    <a:moveTo>
                      <a:pt x="6538403" y="1206363"/>
                    </a:moveTo>
                    <a:cubicBezTo>
                      <a:pt x="6538403" y="1180219"/>
                      <a:pt x="6517199" y="1159016"/>
                      <a:pt x="6491060" y="1159016"/>
                    </a:cubicBezTo>
                    <a:cubicBezTo>
                      <a:pt x="6464922" y="1159016"/>
                      <a:pt x="6443718" y="1180219"/>
                      <a:pt x="6443718" y="1206363"/>
                    </a:cubicBezTo>
                    <a:cubicBezTo>
                      <a:pt x="6443718" y="1232505"/>
                      <a:pt x="6464922" y="1253697"/>
                      <a:pt x="6491060" y="1253697"/>
                    </a:cubicBezTo>
                    <a:cubicBezTo>
                      <a:pt x="6516950" y="1253697"/>
                      <a:pt x="6538156" y="1232505"/>
                      <a:pt x="6538403" y="1206363"/>
                    </a:cubicBezTo>
                    <a:close/>
                    <a:moveTo>
                      <a:pt x="6542346" y="2780576"/>
                    </a:moveTo>
                    <a:cubicBezTo>
                      <a:pt x="6542346" y="2771452"/>
                      <a:pt x="6534950" y="2764056"/>
                      <a:pt x="6525827" y="2764056"/>
                    </a:cubicBezTo>
                    <a:cubicBezTo>
                      <a:pt x="6516702" y="2764056"/>
                      <a:pt x="6509306" y="2771452"/>
                      <a:pt x="6509306" y="2780576"/>
                    </a:cubicBezTo>
                    <a:cubicBezTo>
                      <a:pt x="6509306" y="2789701"/>
                      <a:pt x="6516702" y="2797099"/>
                      <a:pt x="6525827" y="2797099"/>
                    </a:cubicBezTo>
                    <a:cubicBezTo>
                      <a:pt x="6534950" y="2797099"/>
                      <a:pt x="6542346" y="2789701"/>
                      <a:pt x="6542346" y="2780576"/>
                    </a:cubicBezTo>
                    <a:close/>
                    <a:moveTo>
                      <a:pt x="6544567" y="5090975"/>
                    </a:moveTo>
                    <a:cubicBezTo>
                      <a:pt x="6544567" y="5081361"/>
                      <a:pt x="6536676" y="5073717"/>
                      <a:pt x="6527305" y="5073717"/>
                    </a:cubicBezTo>
                    <a:cubicBezTo>
                      <a:pt x="6517690" y="5073717"/>
                      <a:pt x="6510046" y="5081608"/>
                      <a:pt x="6510046" y="5090975"/>
                    </a:cubicBezTo>
                    <a:cubicBezTo>
                      <a:pt x="6510046" y="5100593"/>
                      <a:pt x="6517937" y="5108237"/>
                      <a:pt x="6527305" y="5108237"/>
                    </a:cubicBezTo>
                    <a:cubicBezTo>
                      <a:pt x="6536922" y="5108237"/>
                      <a:pt x="6544567" y="5100593"/>
                      <a:pt x="6544567" y="5090975"/>
                    </a:cubicBezTo>
                    <a:close/>
                    <a:moveTo>
                      <a:pt x="6545308" y="1601571"/>
                    </a:moveTo>
                    <a:cubicBezTo>
                      <a:pt x="6545308" y="1576781"/>
                      <a:pt x="6525216" y="1556689"/>
                      <a:pt x="6500430" y="1556689"/>
                    </a:cubicBezTo>
                    <a:cubicBezTo>
                      <a:pt x="6475645" y="1556689"/>
                      <a:pt x="6455553" y="1576781"/>
                      <a:pt x="6455553" y="1601571"/>
                    </a:cubicBezTo>
                    <a:cubicBezTo>
                      <a:pt x="6455553" y="1626354"/>
                      <a:pt x="6475645" y="1646451"/>
                      <a:pt x="6500430" y="1646451"/>
                    </a:cubicBezTo>
                    <a:cubicBezTo>
                      <a:pt x="6525216" y="1646451"/>
                      <a:pt x="6545308" y="1626354"/>
                      <a:pt x="6545308" y="1601571"/>
                    </a:cubicBezTo>
                    <a:close/>
                    <a:moveTo>
                      <a:pt x="6545553" y="4279003"/>
                    </a:moveTo>
                    <a:cubicBezTo>
                      <a:pt x="6545553" y="4253853"/>
                      <a:pt x="6524841" y="4233387"/>
                      <a:pt x="6499937" y="4233387"/>
                    </a:cubicBezTo>
                    <a:cubicBezTo>
                      <a:pt x="6475034" y="4233387"/>
                      <a:pt x="6454568" y="4253853"/>
                      <a:pt x="6454568" y="4279003"/>
                    </a:cubicBezTo>
                    <a:cubicBezTo>
                      <a:pt x="6454568" y="4304156"/>
                      <a:pt x="6474788" y="4324619"/>
                      <a:pt x="6499937" y="4324619"/>
                    </a:cubicBezTo>
                    <a:cubicBezTo>
                      <a:pt x="6525087" y="4324619"/>
                      <a:pt x="6545553" y="4304156"/>
                      <a:pt x="6545553" y="4279003"/>
                    </a:cubicBezTo>
                    <a:close/>
                    <a:moveTo>
                      <a:pt x="6552701" y="5497582"/>
                    </a:moveTo>
                    <a:cubicBezTo>
                      <a:pt x="6552701" y="5488704"/>
                      <a:pt x="6545551" y="5481554"/>
                      <a:pt x="6536675" y="5481554"/>
                    </a:cubicBezTo>
                    <a:cubicBezTo>
                      <a:pt x="6527797" y="5481554"/>
                      <a:pt x="6520647" y="5488704"/>
                      <a:pt x="6520647" y="5497582"/>
                    </a:cubicBezTo>
                    <a:cubicBezTo>
                      <a:pt x="6520647" y="5506704"/>
                      <a:pt x="6527797" y="5513857"/>
                      <a:pt x="6536675" y="5513857"/>
                    </a:cubicBezTo>
                    <a:cubicBezTo>
                      <a:pt x="6545551" y="5513857"/>
                      <a:pt x="6552949" y="5506458"/>
                      <a:pt x="6552701" y="5497582"/>
                    </a:cubicBezTo>
                    <a:close/>
                    <a:moveTo>
                      <a:pt x="6552949" y="5873608"/>
                    </a:moveTo>
                    <a:cubicBezTo>
                      <a:pt x="6552949" y="5861773"/>
                      <a:pt x="6543334" y="5852155"/>
                      <a:pt x="6531499" y="5852155"/>
                    </a:cubicBezTo>
                    <a:cubicBezTo>
                      <a:pt x="6519664" y="5852155"/>
                      <a:pt x="6510046" y="5861773"/>
                      <a:pt x="6510046" y="5873608"/>
                    </a:cubicBezTo>
                    <a:cubicBezTo>
                      <a:pt x="6510046" y="5885443"/>
                      <a:pt x="6519664" y="5895058"/>
                      <a:pt x="6531499" y="5895058"/>
                    </a:cubicBezTo>
                    <a:cubicBezTo>
                      <a:pt x="6543334" y="5895058"/>
                      <a:pt x="6552949" y="5885443"/>
                      <a:pt x="6552949" y="5873608"/>
                    </a:cubicBezTo>
                    <a:close/>
                    <a:moveTo>
                      <a:pt x="6559113" y="884375"/>
                    </a:moveTo>
                    <a:cubicBezTo>
                      <a:pt x="6559113" y="856756"/>
                      <a:pt x="6536677" y="834335"/>
                      <a:pt x="6509060" y="834335"/>
                    </a:cubicBezTo>
                    <a:cubicBezTo>
                      <a:pt x="6481444" y="834335"/>
                      <a:pt x="6459005" y="856756"/>
                      <a:pt x="6459005" y="884375"/>
                    </a:cubicBezTo>
                    <a:cubicBezTo>
                      <a:pt x="6459005" y="911997"/>
                      <a:pt x="6481444" y="934432"/>
                      <a:pt x="6509060" y="934432"/>
                    </a:cubicBezTo>
                    <a:cubicBezTo>
                      <a:pt x="6536677" y="934432"/>
                      <a:pt x="6559361" y="911997"/>
                      <a:pt x="6559113" y="884375"/>
                    </a:cubicBezTo>
                    <a:close/>
                    <a:moveTo>
                      <a:pt x="6560840" y="2894256"/>
                    </a:moveTo>
                    <a:cubicBezTo>
                      <a:pt x="6560840" y="2888091"/>
                      <a:pt x="6555907" y="2883159"/>
                      <a:pt x="6549741" y="2883159"/>
                    </a:cubicBezTo>
                    <a:cubicBezTo>
                      <a:pt x="6543332" y="2883159"/>
                      <a:pt x="6538400" y="2888091"/>
                      <a:pt x="6538400" y="2894256"/>
                    </a:cubicBezTo>
                    <a:cubicBezTo>
                      <a:pt x="6538400" y="2900668"/>
                      <a:pt x="6543578" y="2905600"/>
                      <a:pt x="6549741" y="2905600"/>
                    </a:cubicBezTo>
                    <a:cubicBezTo>
                      <a:pt x="6555907" y="2905600"/>
                      <a:pt x="6561086" y="2900668"/>
                      <a:pt x="6560840" y="2894256"/>
                    </a:cubicBezTo>
                    <a:close/>
                    <a:moveTo>
                      <a:pt x="6563799" y="4828373"/>
                    </a:moveTo>
                    <a:cubicBezTo>
                      <a:pt x="6563799" y="4812592"/>
                      <a:pt x="6550977" y="4799770"/>
                      <a:pt x="6535196" y="4799770"/>
                    </a:cubicBezTo>
                    <a:cubicBezTo>
                      <a:pt x="6519415" y="4799770"/>
                      <a:pt x="6506593" y="4812592"/>
                      <a:pt x="6506593" y="4828373"/>
                    </a:cubicBezTo>
                    <a:cubicBezTo>
                      <a:pt x="6506593" y="4844154"/>
                      <a:pt x="6519415" y="4856976"/>
                      <a:pt x="6535196" y="4856976"/>
                    </a:cubicBezTo>
                    <a:cubicBezTo>
                      <a:pt x="6550977" y="4856976"/>
                      <a:pt x="6563553" y="4844154"/>
                      <a:pt x="6563799" y="4828373"/>
                    </a:cubicBezTo>
                    <a:close/>
                    <a:moveTo>
                      <a:pt x="6564047" y="1856324"/>
                    </a:moveTo>
                    <a:cubicBezTo>
                      <a:pt x="6564047" y="1833650"/>
                      <a:pt x="6545800" y="1815413"/>
                      <a:pt x="6523117" y="1815413"/>
                    </a:cubicBezTo>
                    <a:cubicBezTo>
                      <a:pt x="6500678" y="1815413"/>
                      <a:pt x="6482184" y="1833650"/>
                      <a:pt x="6482184" y="1856324"/>
                    </a:cubicBezTo>
                    <a:cubicBezTo>
                      <a:pt x="6482184" y="1878738"/>
                      <a:pt x="6500430" y="1897211"/>
                      <a:pt x="6523117" y="1897211"/>
                    </a:cubicBezTo>
                    <a:cubicBezTo>
                      <a:pt x="6545800" y="1897211"/>
                      <a:pt x="6564047" y="1878983"/>
                      <a:pt x="6564047" y="1856324"/>
                    </a:cubicBezTo>
                    <a:close/>
                    <a:moveTo>
                      <a:pt x="6565277" y="2119771"/>
                    </a:moveTo>
                    <a:cubicBezTo>
                      <a:pt x="6565277" y="2101514"/>
                      <a:pt x="6550237" y="2086466"/>
                      <a:pt x="6531991" y="2086466"/>
                    </a:cubicBezTo>
                    <a:cubicBezTo>
                      <a:pt x="6513497" y="2086466"/>
                      <a:pt x="6498703" y="2101514"/>
                      <a:pt x="6498703" y="2119771"/>
                    </a:cubicBezTo>
                    <a:cubicBezTo>
                      <a:pt x="6498703" y="2138260"/>
                      <a:pt x="6513744" y="2153065"/>
                      <a:pt x="6531991" y="2153065"/>
                    </a:cubicBezTo>
                    <a:cubicBezTo>
                      <a:pt x="6550237" y="2153065"/>
                      <a:pt x="6565277" y="2138011"/>
                      <a:pt x="6565277" y="2119771"/>
                    </a:cubicBezTo>
                    <a:close/>
                    <a:moveTo>
                      <a:pt x="6565774" y="2390019"/>
                    </a:moveTo>
                    <a:cubicBezTo>
                      <a:pt x="6565774" y="2367081"/>
                      <a:pt x="6547031" y="2348364"/>
                      <a:pt x="6524100" y="2348364"/>
                    </a:cubicBezTo>
                    <a:cubicBezTo>
                      <a:pt x="6501169" y="2348364"/>
                      <a:pt x="6482430" y="2367081"/>
                      <a:pt x="6482430" y="2390019"/>
                    </a:cubicBezTo>
                    <a:cubicBezTo>
                      <a:pt x="6482430" y="2412933"/>
                      <a:pt x="6501169" y="2431681"/>
                      <a:pt x="6524100" y="2431681"/>
                    </a:cubicBezTo>
                    <a:cubicBezTo>
                      <a:pt x="6547031" y="2431681"/>
                      <a:pt x="6565774" y="2412933"/>
                      <a:pt x="6565774" y="2390019"/>
                    </a:cubicBezTo>
                    <a:close/>
                    <a:moveTo>
                      <a:pt x="6565774" y="6018595"/>
                    </a:moveTo>
                    <a:cubicBezTo>
                      <a:pt x="6565774" y="6011939"/>
                      <a:pt x="6560348" y="6006513"/>
                      <a:pt x="6553690" y="6006513"/>
                    </a:cubicBezTo>
                    <a:cubicBezTo>
                      <a:pt x="6547034" y="6006513"/>
                      <a:pt x="6541608" y="6011939"/>
                      <a:pt x="6541608" y="6018595"/>
                    </a:cubicBezTo>
                    <a:cubicBezTo>
                      <a:pt x="6541608" y="6025253"/>
                      <a:pt x="6547034" y="6030679"/>
                      <a:pt x="6553690" y="6030679"/>
                    </a:cubicBezTo>
                    <a:cubicBezTo>
                      <a:pt x="6560348" y="6030679"/>
                      <a:pt x="6565774" y="6025253"/>
                      <a:pt x="6565774" y="6018595"/>
                    </a:cubicBezTo>
                    <a:close/>
                    <a:moveTo>
                      <a:pt x="6568733" y="4166072"/>
                    </a:moveTo>
                    <a:cubicBezTo>
                      <a:pt x="6568733" y="4143388"/>
                      <a:pt x="6550239" y="4125139"/>
                      <a:pt x="6527799" y="4125139"/>
                    </a:cubicBezTo>
                    <a:cubicBezTo>
                      <a:pt x="6505361" y="4125139"/>
                      <a:pt x="6487115" y="4143633"/>
                      <a:pt x="6487115" y="4166072"/>
                    </a:cubicBezTo>
                    <a:cubicBezTo>
                      <a:pt x="6487115" y="4188508"/>
                      <a:pt x="6505361" y="4206757"/>
                      <a:pt x="6527799" y="4206757"/>
                    </a:cubicBezTo>
                    <a:cubicBezTo>
                      <a:pt x="6550484" y="4206757"/>
                      <a:pt x="6568733" y="4188757"/>
                      <a:pt x="6568733" y="4166072"/>
                    </a:cubicBezTo>
                    <a:close/>
                    <a:moveTo>
                      <a:pt x="6571197" y="2499974"/>
                    </a:moveTo>
                    <a:cubicBezTo>
                      <a:pt x="6571197" y="2494553"/>
                      <a:pt x="6566758" y="2490113"/>
                      <a:pt x="6561334" y="2490113"/>
                    </a:cubicBezTo>
                    <a:cubicBezTo>
                      <a:pt x="6555907" y="2490113"/>
                      <a:pt x="6551471" y="2494553"/>
                      <a:pt x="6551471" y="2499974"/>
                    </a:cubicBezTo>
                    <a:cubicBezTo>
                      <a:pt x="6551471" y="2505394"/>
                      <a:pt x="6555907" y="2509831"/>
                      <a:pt x="6561334" y="2509831"/>
                    </a:cubicBezTo>
                    <a:cubicBezTo>
                      <a:pt x="6566758" y="2509831"/>
                      <a:pt x="6571197" y="2505394"/>
                      <a:pt x="6571197" y="2499974"/>
                    </a:cubicBezTo>
                    <a:close/>
                    <a:moveTo>
                      <a:pt x="6576866" y="1449696"/>
                    </a:moveTo>
                    <a:cubicBezTo>
                      <a:pt x="6576866" y="1424561"/>
                      <a:pt x="6556402" y="1404085"/>
                      <a:pt x="6531250" y="1404085"/>
                    </a:cubicBezTo>
                    <a:cubicBezTo>
                      <a:pt x="6506101" y="1404085"/>
                      <a:pt x="6485634" y="1424561"/>
                      <a:pt x="6485634" y="1449696"/>
                    </a:cubicBezTo>
                    <a:cubicBezTo>
                      <a:pt x="6485634" y="1474853"/>
                      <a:pt x="6506101" y="1495322"/>
                      <a:pt x="6531250" y="1495322"/>
                    </a:cubicBezTo>
                    <a:cubicBezTo>
                      <a:pt x="6556402" y="1495322"/>
                      <a:pt x="6576866" y="1474853"/>
                      <a:pt x="6576866" y="1449696"/>
                    </a:cubicBezTo>
                    <a:close/>
                    <a:moveTo>
                      <a:pt x="6577112" y="3009169"/>
                    </a:moveTo>
                    <a:cubicBezTo>
                      <a:pt x="6577112" y="3004976"/>
                      <a:pt x="6573661" y="3001525"/>
                      <a:pt x="6569470" y="3001525"/>
                    </a:cubicBezTo>
                    <a:cubicBezTo>
                      <a:pt x="6565277" y="3001525"/>
                      <a:pt x="6561826" y="3004976"/>
                      <a:pt x="6561826" y="3009169"/>
                    </a:cubicBezTo>
                    <a:cubicBezTo>
                      <a:pt x="6561826" y="3013361"/>
                      <a:pt x="6565277" y="3016814"/>
                      <a:pt x="6569470" y="3016814"/>
                    </a:cubicBezTo>
                    <a:cubicBezTo>
                      <a:pt x="6573661" y="3016814"/>
                      <a:pt x="6577112" y="3013361"/>
                      <a:pt x="6577112" y="3009169"/>
                    </a:cubicBezTo>
                    <a:close/>
                    <a:moveTo>
                      <a:pt x="6577606" y="741898"/>
                    </a:moveTo>
                    <a:cubicBezTo>
                      <a:pt x="6577606" y="714515"/>
                      <a:pt x="6555417" y="692333"/>
                      <a:pt x="6528046" y="692333"/>
                    </a:cubicBezTo>
                    <a:cubicBezTo>
                      <a:pt x="6500675" y="692333"/>
                      <a:pt x="6478484" y="714515"/>
                      <a:pt x="6478484" y="741898"/>
                    </a:cubicBezTo>
                    <a:cubicBezTo>
                      <a:pt x="6478484" y="769258"/>
                      <a:pt x="6500675" y="791449"/>
                      <a:pt x="6528046" y="791449"/>
                    </a:cubicBezTo>
                    <a:cubicBezTo>
                      <a:pt x="6555170" y="791449"/>
                      <a:pt x="6577606" y="769258"/>
                      <a:pt x="6577606" y="741898"/>
                    </a:cubicBezTo>
                    <a:close/>
                    <a:moveTo>
                      <a:pt x="6577856" y="4557140"/>
                    </a:moveTo>
                    <a:cubicBezTo>
                      <a:pt x="6577856" y="4529278"/>
                      <a:pt x="6554925" y="4506593"/>
                      <a:pt x="6527060" y="4506593"/>
                    </a:cubicBezTo>
                    <a:cubicBezTo>
                      <a:pt x="6498952" y="4506593"/>
                      <a:pt x="6476266" y="4529278"/>
                      <a:pt x="6476266" y="4557140"/>
                    </a:cubicBezTo>
                    <a:cubicBezTo>
                      <a:pt x="6476266" y="4585005"/>
                      <a:pt x="6499197" y="4607690"/>
                      <a:pt x="6527060" y="4607690"/>
                    </a:cubicBezTo>
                    <a:cubicBezTo>
                      <a:pt x="6554925" y="4607690"/>
                      <a:pt x="6577609" y="4585005"/>
                      <a:pt x="6577856" y="4557140"/>
                    </a:cubicBezTo>
                    <a:close/>
                    <a:moveTo>
                      <a:pt x="6581306" y="5246814"/>
                    </a:moveTo>
                    <a:cubicBezTo>
                      <a:pt x="6581306" y="5237689"/>
                      <a:pt x="6573908" y="5230539"/>
                      <a:pt x="6565030" y="5230539"/>
                    </a:cubicBezTo>
                    <a:cubicBezTo>
                      <a:pt x="6556153" y="5230539"/>
                      <a:pt x="6549003" y="5237938"/>
                      <a:pt x="6549003" y="5246814"/>
                    </a:cubicBezTo>
                    <a:cubicBezTo>
                      <a:pt x="6549003" y="5255691"/>
                      <a:pt x="6556153" y="5262842"/>
                      <a:pt x="6565030" y="5262842"/>
                    </a:cubicBezTo>
                    <a:cubicBezTo>
                      <a:pt x="6573908" y="5262842"/>
                      <a:pt x="6581060" y="5255691"/>
                      <a:pt x="6581306" y="5246814"/>
                    </a:cubicBezTo>
                    <a:close/>
                    <a:moveTo>
                      <a:pt x="6585005" y="5647008"/>
                    </a:moveTo>
                    <a:cubicBezTo>
                      <a:pt x="6585005" y="5636158"/>
                      <a:pt x="6576129" y="5627527"/>
                      <a:pt x="6565524" y="5627527"/>
                    </a:cubicBezTo>
                    <a:cubicBezTo>
                      <a:pt x="6554676" y="5627527"/>
                      <a:pt x="6546045" y="5636158"/>
                      <a:pt x="6546045" y="5647008"/>
                    </a:cubicBezTo>
                    <a:cubicBezTo>
                      <a:pt x="6546045" y="5657856"/>
                      <a:pt x="6554921" y="5666487"/>
                      <a:pt x="6565524" y="5666487"/>
                    </a:cubicBezTo>
                    <a:cubicBezTo>
                      <a:pt x="6576374" y="5666487"/>
                      <a:pt x="6585005" y="5657856"/>
                      <a:pt x="6585005" y="5647008"/>
                    </a:cubicBezTo>
                    <a:close/>
                    <a:moveTo>
                      <a:pt x="6586977" y="4052154"/>
                    </a:moveTo>
                    <a:cubicBezTo>
                      <a:pt x="6586977" y="4032673"/>
                      <a:pt x="6571196" y="4016646"/>
                      <a:pt x="6551471" y="4016646"/>
                    </a:cubicBezTo>
                    <a:cubicBezTo>
                      <a:pt x="6531990" y="4016646"/>
                      <a:pt x="6515964" y="4032427"/>
                      <a:pt x="6515964" y="4052154"/>
                    </a:cubicBezTo>
                    <a:cubicBezTo>
                      <a:pt x="6515964" y="4071633"/>
                      <a:pt x="6531745" y="4087661"/>
                      <a:pt x="6551471" y="4087661"/>
                    </a:cubicBezTo>
                    <a:cubicBezTo>
                      <a:pt x="6571196" y="4087661"/>
                      <a:pt x="6586977" y="4071633"/>
                      <a:pt x="6586977" y="4052154"/>
                    </a:cubicBezTo>
                    <a:close/>
                    <a:moveTo>
                      <a:pt x="6590429" y="6161610"/>
                    </a:moveTo>
                    <a:cubicBezTo>
                      <a:pt x="6590429" y="6152732"/>
                      <a:pt x="6583031" y="6145333"/>
                      <a:pt x="6574156" y="6145333"/>
                    </a:cubicBezTo>
                    <a:cubicBezTo>
                      <a:pt x="6565278" y="6145333"/>
                      <a:pt x="6557881" y="6152732"/>
                      <a:pt x="6557881" y="6161610"/>
                    </a:cubicBezTo>
                    <a:cubicBezTo>
                      <a:pt x="6557881" y="6170486"/>
                      <a:pt x="6565278" y="6177882"/>
                      <a:pt x="6574156" y="6177882"/>
                    </a:cubicBezTo>
                    <a:cubicBezTo>
                      <a:pt x="6583031" y="6177882"/>
                      <a:pt x="6590429" y="6170732"/>
                      <a:pt x="6590429" y="6161610"/>
                    </a:cubicBezTo>
                    <a:close/>
                    <a:moveTo>
                      <a:pt x="6590924" y="3124573"/>
                    </a:moveTo>
                    <a:cubicBezTo>
                      <a:pt x="6590924" y="3121122"/>
                      <a:pt x="6588211" y="3118409"/>
                      <a:pt x="6584757" y="3118409"/>
                    </a:cubicBezTo>
                    <a:cubicBezTo>
                      <a:pt x="6581306" y="3118409"/>
                      <a:pt x="6578593" y="3121122"/>
                      <a:pt x="6578593" y="3124573"/>
                    </a:cubicBezTo>
                    <a:cubicBezTo>
                      <a:pt x="6578593" y="3128027"/>
                      <a:pt x="6581306" y="3130740"/>
                      <a:pt x="6584757" y="3130740"/>
                    </a:cubicBezTo>
                    <a:cubicBezTo>
                      <a:pt x="6587964" y="3130740"/>
                      <a:pt x="6590675" y="3128027"/>
                      <a:pt x="6590924" y="3124573"/>
                    </a:cubicBezTo>
                    <a:close/>
                    <a:moveTo>
                      <a:pt x="6600538" y="3937247"/>
                    </a:moveTo>
                    <a:cubicBezTo>
                      <a:pt x="6600538" y="3920729"/>
                      <a:pt x="6587224" y="3907412"/>
                      <a:pt x="6570703" y="3907412"/>
                    </a:cubicBezTo>
                    <a:cubicBezTo>
                      <a:pt x="6554184" y="3907412"/>
                      <a:pt x="6540868" y="3920729"/>
                      <a:pt x="6540868" y="3937247"/>
                    </a:cubicBezTo>
                    <a:cubicBezTo>
                      <a:pt x="6540868" y="3953769"/>
                      <a:pt x="6554184" y="3967083"/>
                      <a:pt x="6570703" y="3967083"/>
                    </a:cubicBezTo>
                    <a:cubicBezTo>
                      <a:pt x="6587224" y="3967083"/>
                      <a:pt x="6600538" y="3953523"/>
                      <a:pt x="6600538" y="3937247"/>
                    </a:cubicBezTo>
                    <a:close/>
                    <a:moveTo>
                      <a:pt x="6601773" y="2611680"/>
                    </a:moveTo>
                    <a:cubicBezTo>
                      <a:pt x="6601773" y="2607732"/>
                      <a:pt x="6598565" y="2604531"/>
                      <a:pt x="6594620" y="2604531"/>
                    </a:cubicBezTo>
                    <a:cubicBezTo>
                      <a:pt x="6590674" y="2604531"/>
                      <a:pt x="6587470" y="2607732"/>
                      <a:pt x="6587470" y="2611680"/>
                    </a:cubicBezTo>
                    <a:cubicBezTo>
                      <a:pt x="6587470" y="2615381"/>
                      <a:pt x="6590674" y="2618583"/>
                      <a:pt x="6594620" y="2618583"/>
                    </a:cubicBezTo>
                    <a:cubicBezTo>
                      <a:pt x="6598565" y="2618583"/>
                      <a:pt x="6601773" y="2615381"/>
                      <a:pt x="6601773" y="2611680"/>
                    </a:cubicBezTo>
                    <a:close/>
                    <a:moveTo>
                      <a:pt x="6602018" y="3240720"/>
                    </a:moveTo>
                    <a:cubicBezTo>
                      <a:pt x="6602018" y="3237268"/>
                      <a:pt x="6599305" y="3234308"/>
                      <a:pt x="6595608" y="3234308"/>
                    </a:cubicBezTo>
                    <a:cubicBezTo>
                      <a:pt x="6592155" y="3234308"/>
                      <a:pt x="6589196" y="3237021"/>
                      <a:pt x="6589196" y="3240720"/>
                    </a:cubicBezTo>
                    <a:cubicBezTo>
                      <a:pt x="6589196" y="3244172"/>
                      <a:pt x="6592155" y="3247128"/>
                      <a:pt x="6595608" y="3247128"/>
                    </a:cubicBezTo>
                    <a:cubicBezTo>
                      <a:pt x="6599305" y="3247128"/>
                      <a:pt x="6602018" y="3244172"/>
                      <a:pt x="6602018" y="3240720"/>
                    </a:cubicBezTo>
                    <a:close/>
                    <a:moveTo>
                      <a:pt x="6604731" y="1700698"/>
                    </a:moveTo>
                    <a:cubicBezTo>
                      <a:pt x="6604731" y="1676274"/>
                      <a:pt x="6584759" y="1656303"/>
                      <a:pt x="6560348" y="1656303"/>
                    </a:cubicBezTo>
                    <a:cubicBezTo>
                      <a:pt x="6535936" y="1656303"/>
                      <a:pt x="6515964" y="1676274"/>
                      <a:pt x="6515964" y="1700698"/>
                    </a:cubicBezTo>
                    <a:cubicBezTo>
                      <a:pt x="6515964" y="1725075"/>
                      <a:pt x="6535936" y="1745092"/>
                      <a:pt x="6560348" y="1745092"/>
                    </a:cubicBezTo>
                    <a:cubicBezTo>
                      <a:pt x="6584759" y="1745092"/>
                      <a:pt x="6604731" y="1725322"/>
                      <a:pt x="6604731" y="1700698"/>
                    </a:cubicBezTo>
                    <a:close/>
                    <a:moveTo>
                      <a:pt x="6606209" y="4987662"/>
                    </a:moveTo>
                    <a:cubicBezTo>
                      <a:pt x="6606209" y="4973362"/>
                      <a:pt x="6594620" y="4961772"/>
                      <a:pt x="6580320" y="4961772"/>
                    </a:cubicBezTo>
                    <a:cubicBezTo>
                      <a:pt x="6566265" y="4961772"/>
                      <a:pt x="6554676" y="4973362"/>
                      <a:pt x="6554676" y="4987662"/>
                    </a:cubicBezTo>
                    <a:cubicBezTo>
                      <a:pt x="6554676" y="5001716"/>
                      <a:pt x="6566017" y="5013306"/>
                      <a:pt x="6580320" y="5013306"/>
                    </a:cubicBezTo>
                    <a:cubicBezTo>
                      <a:pt x="6594620" y="5013306"/>
                      <a:pt x="6606209" y="5001716"/>
                      <a:pt x="6606209" y="4987662"/>
                    </a:cubicBezTo>
                    <a:close/>
                    <a:moveTo>
                      <a:pt x="6606455" y="1300065"/>
                    </a:moveTo>
                    <a:cubicBezTo>
                      <a:pt x="6606455" y="1274172"/>
                      <a:pt x="6585497" y="1252957"/>
                      <a:pt x="6559608" y="1252957"/>
                    </a:cubicBezTo>
                    <a:cubicBezTo>
                      <a:pt x="6533469" y="1252957"/>
                      <a:pt x="6512511" y="1274172"/>
                      <a:pt x="6512511" y="1300065"/>
                    </a:cubicBezTo>
                    <a:cubicBezTo>
                      <a:pt x="6512511" y="1325935"/>
                      <a:pt x="6533715" y="1346913"/>
                      <a:pt x="6559608" y="1346913"/>
                    </a:cubicBezTo>
                    <a:cubicBezTo>
                      <a:pt x="6585497" y="1346913"/>
                      <a:pt x="6606455" y="1325686"/>
                      <a:pt x="6606455" y="1300065"/>
                    </a:cubicBezTo>
                    <a:close/>
                    <a:moveTo>
                      <a:pt x="6609909" y="3821603"/>
                    </a:moveTo>
                    <a:cubicBezTo>
                      <a:pt x="6609909" y="3808290"/>
                      <a:pt x="6599059" y="3797440"/>
                      <a:pt x="6585743" y="3797440"/>
                    </a:cubicBezTo>
                    <a:cubicBezTo>
                      <a:pt x="6572675" y="3797440"/>
                      <a:pt x="6561826" y="3808290"/>
                      <a:pt x="6561826" y="3821603"/>
                    </a:cubicBezTo>
                    <a:cubicBezTo>
                      <a:pt x="6561826" y="3834919"/>
                      <a:pt x="6572429" y="3845769"/>
                      <a:pt x="6585743" y="3845769"/>
                    </a:cubicBezTo>
                    <a:cubicBezTo>
                      <a:pt x="6599059" y="3845769"/>
                      <a:pt x="6609663" y="3834919"/>
                      <a:pt x="6609909" y="3821603"/>
                    </a:cubicBezTo>
                    <a:close/>
                    <a:moveTo>
                      <a:pt x="6610155" y="3356855"/>
                    </a:moveTo>
                    <a:cubicBezTo>
                      <a:pt x="6610155" y="3352399"/>
                      <a:pt x="6606704" y="3348957"/>
                      <a:pt x="6602265" y="3348957"/>
                    </a:cubicBezTo>
                    <a:cubicBezTo>
                      <a:pt x="6597827" y="3348957"/>
                      <a:pt x="6594374" y="3352399"/>
                      <a:pt x="6594374" y="3356855"/>
                    </a:cubicBezTo>
                    <a:cubicBezTo>
                      <a:pt x="6594374" y="3361285"/>
                      <a:pt x="6597827" y="3364732"/>
                      <a:pt x="6602265" y="3364732"/>
                    </a:cubicBezTo>
                    <a:cubicBezTo>
                      <a:pt x="6606704" y="3364732"/>
                      <a:pt x="6610155" y="3361285"/>
                      <a:pt x="6610155" y="3356855"/>
                    </a:cubicBezTo>
                    <a:close/>
                    <a:moveTo>
                      <a:pt x="6611140" y="1119336"/>
                    </a:moveTo>
                    <a:cubicBezTo>
                      <a:pt x="6611140" y="1091732"/>
                      <a:pt x="6588455" y="1069041"/>
                      <a:pt x="6560593" y="1069041"/>
                    </a:cubicBezTo>
                    <a:cubicBezTo>
                      <a:pt x="6532977" y="1069041"/>
                      <a:pt x="6510291" y="1091486"/>
                      <a:pt x="6510291" y="1119336"/>
                    </a:cubicBezTo>
                    <a:cubicBezTo>
                      <a:pt x="6510291" y="1146965"/>
                      <a:pt x="6532728" y="1169645"/>
                      <a:pt x="6560593" y="1169645"/>
                    </a:cubicBezTo>
                    <a:cubicBezTo>
                      <a:pt x="6588455" y="1169645"/>
                      <a:pt x="6611140" y="1147209"/>
                      <a:pt x="6611140" y="1119336"/>
                    </a:cubicBezTo>
                    <a:close/>
                    <a:moveTo>
                      <a:pt x="6612868" y="1959525"/>
                    </a:moveTo>
                    <a:cubicBezTo>
                      <a:pt x="6612868" y="1939330"/>
                      <a:pt x="6596595" y="1923073"/>
                      <a:pt x="6576374" y="1923073"/>
                    </a:cubicBezTo>
                    <a:cubicBezTo>
                      <a:pt x="6556156" y="1923073"/>
                      <a:pt x="6539881" y="1939330"/>
                      <a:pt x="6539881" y="1959525"/>
                    </a:cubicBezTo>
                    <a:cubicBezTo>
                      <a:pt x="6539881" y="1979723"/>
                      <a:pt x="6556156" y="1995978"/>
                      <a:pt x="6576374" y="1995978"/>
                    </a:cubicBezTo>
                    <a:cubicBezTo>
                      <a:pt x="6596346" y="1995978"/>
                      <a:pt x="6612621" y="1979475"/>
                      <a:pt x="6612868" y="1959525"/>
                    </a:cubicBezTo>
                    <a:close/>
                    <a:moveTo>
                      <a:pt x="6615089" y="3472947"/>
                    </a:moveTo>
                    <a:cubicBezTo>
                      <a:pt x="6615089" y="3467029"/>
                      <a:pt x="6610402" y="3462645"/>
                      <a:pt x="6604485" y="3462645"/>
                    </a:cubicBezTo>
                    <a:cubicBezTo>
                      <a:pt x="6598567" y="3462645"/>
                      <a:pt x="6593882" y="3467029"/>
                      <a:pt x="6593882" y="3472947"/>
                    </a:cubicBezTo>
                    <a:cubicBezTo>
                      <a:pt x="6593882" y="3478865"/>
                      <a:pt x="6598567" y="3483551"/>
                      <a:pt x="6604485" y="3483551"/>
                    </a:cubicBezTo>
                    <a:cubicBezTo>
                      <a:pt x="6610402" y="3483551"/>
                      <a:pt x="6615335" y="3478865"/>
                      <a:pt x="6615089" y="3472947"/>
                    </a:cubicBezTo>
                    <a:close/>
                    <a:moveTo>
                      <a:pt x="6615332" y="4446921"/>
                    </a:moveTo>
                    <a:cubicBezTo>
                      <a:pt x="6615332" y="4418563"/>
                      <a:pt x="6592401" y="4395632"/>
                      <a:pt x="6564044" y="4395632"/>
                    </a:cubicBezTo>
                    <a:cubicBezTo>
                      <a:pt x="6535687" y="4395632"/>
                      <a:pt x="6512756" y="4418563"/>
                      <a:pt x="6512756" y="4446921"/>
                    </a:cubicBezTo>
                    <a:cubicBezTo>
                      <a:pt x="6512756" y="4475277"/>
                      <a:pt x="6535687" y="4498207"/>
                      <a:pt x="6564044" y="4498207"/>
                    </a:cubicBezTo>
                    <a:cubicBezTo>
                      <a:pt x="6592401" y="4498207"/>
                      <a:pt x="6615332" y="4475031"/>
                      <a:pt x="6615332" y="4446921"/>
                    </a:cubicBezTo>
                    <a:close/>
                    <a:moveTo>
                      <a:pt x="6615581" y="3705715"/>
                    </a:moveTo>
                    <a:cubicBezTo>
                      <a:pt x="6615581" y="3695113"/>
                      <a:pt x="6606950" y="3686483"/>
                      <a:pt x="6596347" y="3686483"/>
                    </a:cubicBezTo>
                    <a:cubicBezTo>
                      <a:pt x="6585746" y="3686483"/>
                      <a:pt x="6577115" y="3695113"/>
                      <a:pt x="6577115" y="3705715"/>
                    </a:cubicBezTo>
                    <a:cubicBezTo>
                      <a:pt x="6577115" y="3716318"/>
                      <a:pt x="6585746" y="3724949"/>
                      <a:pt x="6596347" y="3724949"/>
                    </a:cubicBezTo>
                    <a:cubicBezTo>
                      <a:pt x="6606950" y="3724949"/>
                      <a:pt x="6615581" y="3716318"/>
                      <a:pt x="6615581" y="3705715"/>
                    </a:cubicBezTo>
                    <a:close/>
                    <a:moveTo>
                      <a:pt x="6616319" y="5400183"/>
                    </a:moveTo>
                    <a:cubicBezTo>
                      <a:pt x="6616319" y="5391060"/>
                      <a:pt x="6608675" y="5383416"/>
                      <a:pt x="6599306" y="5383416"/>
                    </a:cubicBezTo>
                    <a:cubicBezTo>
                      <a:pt x="6590183" y="5383416"/>
                      <a:pt x="6582539" y="5390814"/>
                      <a:pt x="6582539" y="5400183"/>
                    </a:cubicBezTo>
                    <a:cubicBezTo>
                      <a:pt x="6582539" y="5409305"/>
                      <a:pt x="6589935" y="5416950"/>
                      <a:pt x="6599306" y="5416950"/>
                    </a:cubicBezTo>
                    <a:cubicBezTo>
                      <a:pt x="6608675" y="5416950"/>
                      <a:pt x="6616319" y="5409305"/>
                      <a:pt x="6616319" y="5400183"/>
                    </a:cubicBezTo>
                    <a:close/>
                    <a:moveTo>
                      <a:pt x="6617058" y="3589331"/>
                    </a:moveTo>
                    <a:cubicBezTo>
                      <a:pt x="6617058" y="3581192"/>
                      <a:pt x="6610402" y="3574782"/>
                      <a:pt x="6602513" y="3574782"/>
                    </a:cubicBezTo>
                    <a:cubicBezTo>
                      <a:pt x="6594374" y="3574782"/>
                      <a:pt x="6587964" y="3581192"/>
                      <a:pt x="6587964" y="3589331"/>
                    </a:cubicBezTo>
                    <a:cubicBezTo>
                      <a:pt x="6587964" y="3597467"/>
                      <a:pt x="6594374" y="3603877"/>
                      <a:pt x="6602513" y="3603877"/>
                    </a:cubicBezTo>
                    <a:cubicBezTo>
                      <a:pt x="6610649" y="3603877"/>
                      <a:pt x="6617058" y="3597467"/>
                      <a:pt x="6617058" y="3589331"/>
                    </a:cubicBezTo>
                    <a:close/>
                    <a:moveTo>
                      <a:pt x="6617799" y="4721607"/>
                    </a:moveTo>
                    <a:cubicBezTo>
                      <a:pt x="6617799" y="4701140"/>
                      <a:pt x="6601032" y="4684373"/>
                      <a:pt x="6580568" y="4684373"/>
                    </a:cubicBezTo>
                    <a:cubicBezTo>
                      <a:pt x="6560102" y="4684373"/>
                      <a:pt x="6543334" y="4701140"/>
                      <a:pt x="6543334" y="4721607"/>
                    </a:cubicBezTo>
                    <a:cubicBezTo>
                      <a:pt x="6543334" y="4742071"/>
                      <a:pt x="6560102" y="4758838"/>
                      <a:pt x="6580568" y="4758838"/>
                    </a:cubicBezTo>
                    <a:cubicBezTo>
                      <a:pt x="6601032" y="4758838"/>
                      <a:pt x="6617799" y="4742071"/>
                      <a:pt x="6617799" y="4721607"/>
                    </a:cubicBezTo>
                    <a:close/>
                    <a:moveTo>
                      <a:pt x="6624455" y="5781143"/>
                    </a:moveTo>
                    <a:cubicBezTo>
                      <a:pt x="6624455" y="5768812"/>
                      <a:pt x="6614592" y="5758703"/>
                      <a:pt x="6602265" y="5758703"/>
                    </a:cubicBezTo>
                    <a:cubicBezTo>
                      <a:pt x="6589934" y="5758703"/>
                      <a:pt x="6579825" y="5768812"/>
                      <a:pt x="6579825" y="5781143"/>
                    </a:cubicBezTo>
                    <a:cubicBezTo>
                      <a:pt x="6579825" y="5793469"/>
                      <a:pt x="6589934" y="5803581"/>
                      <a:pt x="6602265" y="5803581"/>
                    </a:cubicBezTo>
                    <a:cubicBezTo>
                      <a:pt x="6614592" y="5803581"/>
                      <a:pt x="6624455" y="5793469"/>
                      <a:pt x="6624455" y="5781143"/>
                    </a:cubicBezTo>
                    <a:close/>
                    <a:moveTo>
                      <a:pt x="6626184" y="2226802"/>
                    </a:moveTo>
                    <a:cubicBezTo>
                      <a:pt x="6626184" y="2200161"/>
                      <a:pt x="6604237" y="2178475"/>
                      <a:pt x="6577606" y="2178475"/>
                    </a:cubicBezTo>
                    <a:cubicBezTo>
                      <a:pt x="6550730" y="2178475"/>
                      <a:pt x="6529031" y="2200161"/>
                      <a:pt x="6529031" y="2226802"/>
                    </a:cubicBezTo>
                    <a:cubicBezTo>
                      <a:pt x="6529031" y="2253432"/>
                      <a:pt x="6550977" y="2275115"/>
                      <a:pt x="6577606" y="2275115"/>
                    </a:cubicBezTo>
                    <a:cubicBezTo>
                      <a:pt x="6604237" y="2275115"/>
                      <a:pt x="6625936" y="2253185"/>
                      <a:pt x="6626184" y="2226802"/>
                    </a:cubicBezTo>
                    <a:close/>
                    <a:moveTo>
                      <a:pt x="6630376" y="2724124"/>
                    </a:moveTo>
                    <a:cubicBezTo>
                      <a:pt x="6630376" y="2720674"/>
                      <a:pt x="6627663" y="2717711"/>
                      <a:pt x="6623967" y="2717711"/>
                    </a:cubicBezTo>
                    <a:cubicBezTo>
                      <a:pt x="6620267" y="2717711"/>
                      <a:pt x="6617308" y="2720429"/>
                      <a:pt x="6617308" y="2724124"/>
                    </a:cubicBezTo>
                    <a:cubicBezTo>
                      <a:pt x="6617308" y="2727575"/>
                      <a:pt x="6620267" y="2730537"/>
                      <a:pt x="6623967" y="2730537"/>
                    </a:cubicBezTo>
                    <a:cubicBezTo>
                      <a:pt x="6627663" y="2730537"/>
                      <a:pt x="6630622" y="2727575"/>
                      <a:pt x="6630376" y="2724124"/>
                    </a:cubicBezTo>
                    <a:close/>
                    <a:moveTo>
                      <a:pt x="6634321" y="973641"/>
                    </a:moveTo>
                    <a:cubicBezTo>
                      <a:pt x="6634321" y="945779"/>
                      <a:pt x="6611633" y="923096"/>
                      <a:pt x="6583771" y="923096"/>
                    </a:cubicBezTo>
                    <a:cubicBezTo>
                      <a:pt x="6555909" y="923096"/>
                      <a:pt x="6533224" y="945779"/>
                      <a:pt x="6533224" y="973641"/>
                    </a:cubicBezTo>
                    <a:cubicBezTo>
                      <a:pt x="6533224" y="1001503"/>
                      <a:pt x="6555909" y="1024194"/>
                      <a:pt x="6583771" y="1024194"/>
                    </a:cubicBezTo>
                    <a:cubicBezTo>
                      <a:pt x="6611633" y="1024194"/>
                      <a:pt x="6634321" y="1001503"/>
                      <a:pt x="6634321" y="973641"/>
                    </a:cubicBezTo>
                    <a:close/>
                    <a:moveTo>
                      <a:pt x="6639501" y="1547097"/>
                    </a:moveTo>
                    <a:cubicBezTo>
                      <a:pt x="6639501" y="1522201"/>
                      <a:pt x="6619280" y="1501979"/>
                      <a:pt x="6594376" y="1501979"/>
                    </a:cubicBezTo>
                    <a:cubicBezTo>
                      <a:pt x="6569473" y="1501979"/>
                      <a:pt x="6549252" y="1522201"/>
                      <a:pt x="6549252" y="1547097"/>
                    </a:cubicBezTo>
                    <a:cubicBezTo>
                      <a:pt x="6549252" y="1572000"/>
                      <a:pt x="6569473" y="1592223"/>
                      <a:pt x="6594376" y="1592223"/>
                    </a:cubicBezTo>
                    <a:cubicBezTo>
                      <a:pt x="6619034" y="1592223"/>
                      <a:pt x="6639252" y="1572000"/>
                      <a:pt x="6639501" y="1547097"/>
                    </a:cubicBezTo>
                    <a:close/>
                    <a:moveTo>
                      <a:pt x="6639746" y="5928101"/>
                    </a:moveTo>
                    <a:cubicBezTo>
                      <a:pt x="6639746" y="5920951"/>
                      <a:pt x="6633829" y="5915033"/>
                      <a:pt x="6626676" y="5915033"/>
                    </a:cubicBezTo>
                    <a:cubicBezTo>
                      <a:pt x="6619525" y="5915033"/>
                      <a:pt x="6613608" y="5920951"/>
                      <a:pt x="6613608" y="5928101"/>
                    </a:cubicBezTo>
                    <a:cubicBezTo>
                      <a:pt x="6613608" y="5935254"/>
                      <a:pt x="6619525" y="5941168"/>
                      <a:pt x="6626676" y="5941168"/>
                    </a:cubicBezTo>
                    <a:cubicBezTo>
                      <a:pt x="6633829" y="5941168"/>
                      <a:pt x="6639746" y="5935254"/>
                      <a:pt x="6639746" y="5928101"/>
                    </a:cubicBezTo>
                    <a:close/>
                    <a:moveTo>
                      <a:pt x="6640239" y="5145223"/>
                    </a:moveTo>
                    <a:cubicBezTo>
                      <a:pt x="6640239" y="5134868"/>
                      <a:pt x="6631853" y="5126237"/>
                      <a:pt x="6621250" y="5126237"/>
                    </a:cubicBezTo>
                    <a:cubicBezTo>
                      <a:pt x="6610646" y="5126237"/>
                      <a:pt x="6602264" y="5134868"/>
                      <a:pt x="6602264" y="5145223"/>
                    </a:cubicBezTo>
                    <a:cubicBezTo>
                      <a:pt x="6602264" y="5155581"/>
                      <a:pt x="6610894" y="5164209"/>
                      <a:pt x="6621250" y="5164209"/>
                    </a:cubicBezTo>
                    <a:cubicBezTo>
                      <a:pt x="6631853" y="5164209"/>
                      <a:pt x="6640239" y="5155581"/>
                      <a:pt x="6640239" y="5145223"/>
                    </a:cubicBezTo>
                    <a:close/>
                    <a:moveTo>
                      <a:pt x="6644184" y="4335222"/>
                    </a:moveTo>
                    <a:cubicBezTo>
                      <a:pt x="6644184" y="4309084"/>
                      <a:pt x="6622977" y="4288125"/>
                      <a:pt x="6597087" y="4288125"/>
                    </a:cubicBezTo>
                    <a:cubicBezTo>
                      <a:pt x="6571194" y="4288125"/>
                      <a:pt x="6549990" y="4309332"/>
                      <a:pt x="6549990" y="4335222"/>
                    </a:cubicBezTo>
                    <a:cubicBezTo>
                      <a:pt x="6549990" y="4361112"/>
                      <a:pt x="6571194" y="4382319"/>
                      <a:pt x="6597087" y="4382319"/>
                    </a:cubicBezTo>
                    <a:cubicBezTo>
                      <a:pt x="6622977" y="4382319"/>
                      <a:pt x="6644184" y="4361112"/>
                      <a:pt x="6644184" y="4335222"/>
                    </a:cubicBezTo>
                    <a:close/>
                    <a:moveTo>
                      <a:pt x="6651334" y="5551582"/>
                    </a:moveTo>
                    <a:cubicBezTo>
                      <a:pt x="6651334" y="5540485"/>
                      <a:pt x="6642211" y="5531361"/>
                      <a:pt x="6631116" y="5531361"/>
                    </a:cubicBezTo>
                    <a:cubicBezTo>
                      <a:pt x="6620018" y="5531361"/>
                      <a:pt x="6610894" y="5540485"/>
                      <a:pt x="6610894" y="5551582"/>
                    </a:cubicBezTo>
                    <a:cubicBezTo>
                      <a:pt x="6610894" y="5562678"/>
                      <a:pt x="6620018" y="5571801"/>
                      <a:pt x="6631116" y="5571801"/>
                    </a:cubicBezTo>
                    <a:cubicBezTo>
                      <a:pt x="6642211" y="5571801"/>
                      <a:pt x="6651334" y="5562678"/>
                      <a:pt x="6651334" y="5551582"/>
                    </a:cubicBezTo>
                    <a:close/>
                    <a:moveTo>
                      <a:pt x="6654046" y="2064279"/>
                    </a:moveTo>
                    <a:cubicBezTo>
                      <a:pt x="6654046" y="2048738"/>
                      <a:pt x="6641470" y="2036157"/>
                      <a:pt x="6625936" y="2036157"/>
                    </a:cubicBezTo>
                    <a:cubicBezTo>
                      <a:pt x="6610404" y="2036157"/>
                      <a:pt x="6597827" y="2048738"/>
                      <a:pt x="6597827" y="2064279"/>
                    </a:cubicBezTo>
                    <a:cubicBezTo>
                      <a:pt x="6597827" y="2079822"/>
                      <a:pt x="6610404" y="2092404"/>
                      <a:pt x="6625936" y="2092404"/>
                    </a:cubicBezTo>
                    <a:cubicBezTo>
                      <a:pt x="6641470" y="2092404"/>
                      <a:pt x="6654046" y="2079822"/>
                      <a:pt x="6654046" y="2064279"/>
                    </a:cubicBezTo>
                    <a:close/>
                    <a:moveTo>
                      <a:pt x="6654539" y="829184"/>
                    </a:moveTo>
                    <a:cubicBezTo>
                      <a:pt x="6654539" y="801559"/>
                      <a:pt x="6632102" y="779124"/>
                      <a:pt x="6604486" y="779124"/>
                    </a:cubicBezTo>
                    <a:cubicBezTo>
                      <a:pt x="6576869" y="779124"/>
                      <a:pt x="6554430" y="801559"/>
                      <a:pt x="6554430" y="829184"/>
                    </a:cubicBezTo>
                    <a:cubicBezTo>
                      <a:pt x="6554430" y="856784"/>
                      <a:pt x="6576869" y="879219"/>
                      <a:pt x="6604486" y="879219"/>
                    </a:cubicBezTo>
                    <a:cubicBezTo>
                      <a:pt x="6632102" y="879219"/>
                      <a:pt x="6654539" y="856784"/>
                      <a:pt x="6654539" y="829184"/>
                    </a:cubicBezTo>
                    <a:close/>
                    <a:moveTo>
                      <a:pt x="6656510" y="2837557"/>
                    </a:moveTo>
                    <a:cubicBezTo>
                      <a:pt x="6656510" y="2833610"/>
                      <a:pt x="6653306" y="2830159"/>
                      <a:pt x="6649112" y="2830159"/>
                    </a:cubicBezTo>
                    <a:cubicBezTo>
                      <a:pt x="6644921" y="2830159"/>
                      <a:pt x="6641717" y="2833363"/>
                      <a:pt x="6641717" y="2837557"/>
                    </a:cubicBezTo>
                    <a:cubicBezTo>
                      <a:pt x="6641717" y="2841504"/>
                      <a:pt x="6644921" y="2844955"/>
                      <a:pt x="6649112" y="2844955"/>
                    </a:cubicBezTo>
                    <a:cubicBezTo>
                      <a:pt x="6653306" y="2844955"/>
                      <a:pt x="6656510" y="2841751"/>
                      <a:pt x="6656510" y="2837557"/>
                    </a:cubicBezTo>
                    <a:close/>
                    <a:moveTo>
                      <a:pt x="6659471" y="2334794"/>
                    </a:moveTo>
                    <a:cubicBezTo>
                      <a:pt x="6659471" y="2312839"/>
                      <a:pt x="6641471" y="2294849"/>
                      <a:pt x="6619524" y="2294849"/>
                    </a:cubicBezTo>
                    <a:cubicBezTo>
                      <a:pt x="6597333" y="2294849"/>
                      <a:pt x="6579580" y="2312839"/>
                      <a:pt x="6579580" y="2334794"/>
                    </a:cubicBezTo>
                    <a:cubicBezTo>
                      <a:pt x="6579580" y="2356759"/>
                      <a:pt x="6597579" y="2374738"/>
                      <a:pt x="6619524" y="2374738"/>
                    </a:cubicBezTo>
                    <a:cubicBezTo>
                      <a:pt x="6641471" y="2374738"/>
                      <a:pt x="6659224" y="2357007"/>
                      <a:pt x="6659471" y="2334794"/>
                    </a:cubicBezTo>
                    <a:close/>
                    <a:moveTo>
                      <a:pt x="6660951" y="1802152"/>
                    </a:moveTo>
                    <a:cubicBezTo>
                      <a:pt x="6660951" y="1777946"/>
                      <a:pt x="6641224" y="1758185"/>
                      <a:pt x="6617059" y="1758185"/>
                    </a:cubicBezTo>
                    <a:cubicBezTo>
                      <a:pt x="6592896" y="1758185"/>
                      <a:pt x="6573170" y="1777946"/>
                      <a:pt x="6573170" y="1802152"/>
                    </a:cubicBezTo>
                    <a:cubicBezTo>
                      <a:pt x="6573170" y="1826286"/>
                      <a:pt x="6592896" y="1846007"/>
                      <a:pt x="6617059" y="1846007"/>
                    </a:cubicBezTo>
                    <a:cubicBezTo>
                      <a:pt x="6641224" y="1846007"/>
                      <a:pt x="6660951" y="1826286"/>
                      <a:pt x="6660951" y="1802152"/>
                    </a:cubicBezTo>
                    <a:close/>
                    <a:moveTo>
                      <a:pt x="6664896" y="4882623"/>
                    </a:moveTo>
                    <a:cubicBezTo>
                      <a:pt x="6664896" y="4863143"/>
                      <a:pt x="6649115" y="4847362"/>
                      <a:pt x="6629636" y="4847362"/>
                    </a:cubicBezTo>
                    <a:cubicBezTo>
                      <a:pt x="6610155" y="4847362"/>
                      <a:pt x="6594374" y="4863143"/>
                      <a:pt x="6594374" y="4882623"/>
                    </a:cubicBezTo>
                    <a:cubicBezTo>
                      <a:pt x="6594374" y="4902103"/>
                      <a:pt x="6610155" y="4917884"/>
                      <a:pt x="6629636" y="4917884"/>
                    </a:cubicBezTo>
                    <a:cubicBezTo>
                      <a:pt x="6649115" y="4917884"/>
                      <a:pt x="6665142" y="4901854"/>
                      <a:pt x="6664896" y="4882623"/>
                    </a:cubicBezTo>
                    <a:close/>
                    <a:moveTo>
                      <a:pt x="6666377" y="6073088"/>
                    </a:moveTo>
                    <a:cubicBezTo>
                      <a:pt x="6666377" y="6063719"/>
                      <a:pt x="6658732" y="6056074"/>
                      <a:pt x="6649361" y="6056074"/>
                    </a:cubicBezTo>
                    <a:cubicBezTo>
                      <a:pt x="6639992" y="6056074"/>
                      <a:pt x="6632348" y="6063719"/>
                      <a:pt x="6632348" y="6073088"/>
                    </a:cubicBezTo>
                    <a:cubicBezTo>
                      <a:pt x="6632348" y="6082460"/>
                      <a:pt x="6639992" y="6090104"/>
                      <a:pt x="6649361" y="6090104"/>
                    </a:cubicBezTo>
                    <a:cubicBezTo>
                      <a:pt x="6658732" y="6090104"/>
                      <a:pt x="6666377" y="6082460"/>
                      <a:pt x="6666377" y="6073088"/>
                    </a:cubicBezTo>
                    <a:close/>
                    <a:moveTo>
                      <a:pt x="6667606" y="4612621"/>
                    </a:moveTo>
                    <a:cubicBezTo>
                      <a:pt x="6667606" y="4587717"/>
                      <a:pt x="6647140" y="4567251"/>
                      <a:pt x="6622236" y="4567251"/>
                    </a:cubicBezTo>
                    <a:cubicBezTo>
                      <a:pt x="6597087" y="4567251"/>
                      <a:pt x="6576866" y="4587717"/>
                      <a:pt x="6576866" y="4612621"/>
                    </a:cubicBezTo>
                    <a:cubicBezTo>
                      <a:pt x="6576866" y="4637773"/>
                      <a:pt x="6597333" y="4657991"/>
                      <a:pt x="6622236" y="4657991"/>
                    </a:cubicBezTo>
                    <a:cubicBezTo>
                      <a:pt x="6647140" y="4657991"/>
                      <a:pt x="6667606" y="4637773"/>
                      <a:pt x="6667606" y="4612621"/>
                    </a:cubicBezTo>
                    <a:close/>
                    <a:moveTo>
                      <a:pt x="6669087" y="4222537"/>
                    </a:moveTo>
                    <a:cubicBezTo>
                      <a:pt x="6669087" y="4198866"/>
                      <a:pt x="6649853" y="4179634"/>
                      <a:pt x="6626181" y="4179634"/>
                    </a:cubicBezTo>
                    <a:cubicBezTo>
                      <a:pt x="6602511" y="4179634"/>
                      <a:pt x="6583278" y="4198866"/>
                      <a:pt x="6583278" y="4222537"/>
                    </a:cubicBezTo>
                    <a:cubicBezTo>
                      <a:pt x="6583278" y="4246209"/>
                      <a:pt x="6602511" y="4265443"/>
                      <a:pt x="6626181" y="4265443"/>
                    </a:cubicBezTo>
                    <a:cubicBezTo>
                      <a:pt x="6649607" y="4265443"/>
                      <a:pt x="6668841" y="4246209"/>
                      <a:pt x="6669087" y="4222537"/>
                    </a:cubicBezTo>
                    <a:close/>
                    <a:moveTo>
                      <a:pt x="6671797" y="1395234"/>
                    </a:moveTo>
                    <a:cubicBezTo>
                      <a:pt x="6671797" y="1369589"/>
                      <a:pt x="6650839" y="1348635"/>
                      <a:pt x="6625195" y="1348635"/>
                    </a:cubicBezTo>
                    <a:cubicBezTo>
                      <a:pt x="6599552" y="1348635"/>
                      <a:pt x="6578593" y="1369589"/>
                      <a:pt x="6578593" y="1395234"/>
                    </a:cubicBezTo>
                    <a:cubicBezTo>
                      <a:pt x="6578593" y="1420886"/>
                      <a:pt x="6599552" y="1441839"/>
                      <a:pt x="6625195" y="1441839"/>
                    </a:cubicBezTo>
                    <a:cubicBezTo>
                      <a:pt x="6651087" y="1441839"/>
                      <a:pt x="6672045" y="1421132"/>
                      <a:pt x="6671797" y="1395234"/>
                    </a:cubicBezTo>
                    <a:close/>
                    <a:moveTo>
                      <a:pt x="6676733" y="5300567"/>
                    </a:moveTo>
                    <a:cubicBezTo>
                      <a:pt x="6676733" y="5290949"/>
                      <a:pt x="6668596" y="5283058"/>
                      <a:pt x="6658978" y="5283058"/>
                    </a:cubicBezTo>
                    <a:cubicBezTo>
                      <a:pt x="6649362" y="5283058"/>
                      <a:pt x="6641471" y="5290949"/>
                      <a:pt x="6641471" y="5300567"/>
                    </a:cubicBezTo>
                    <a:cubicBezTo>
                      <a:pt x="6641471" y="5310181"/>
                      <a:pt x="6649362" y="5318071"/>
                      <a:pt x="6658978" y="5318071"/>
                    </a:cubicBezTo>
                    <a:cubicBezTo>
                      <a:pt x="6668842" y="5318071"/>
                      <a:pt x="6676733" y="5310181"/>
                      <a:pt x="6676733" y="5300567"/>
                    </a:cubicBezTo>
                    <a:close/>
                    <a:moveTo>
                      <a:pt x="6678211" y="2951977"/>
                    </a:moveTo>
                    <a:cubicBezTo>
                      <a:pt x="6678211" y="2947539"/>
                      <a:pt x="6674511" y="2943839"/>
                      <a:pt x="6670071" y="2943839"/>
                    </a:cubicBezTo>
                    <a:cubicBezTo>
                      <a:pt x="6665388" y="2943839"/>
                      <a:pt x="6661689" y="2947539"/>
                      <a:pt x="6661689" y="2951977"/>
                    </a:cubicBezTo>
                    <a:cubicBezTo>
                      <a:pt x="6661689" y="2956417"/>
                      <a:pt x="6665388" y="2960116"/>
                      <a:pt x="6670071" y="2960116"/>
                    </a:cubicBezTo>
                    <a:cubicBezTo>
                      <a:pt x="6674756" y="2960116"/>
                      <a:pt x="6678211" y="2956663"/>
                      <a:pt x="6678211" y="2951977"/>
                    </a:cubicBezTo>
                    <a:close/>
                    <a:moveTo>
                      <a:pt x="6681169" y="1212550"/>
                    </a:moveTo>
                    <a:cubicBezTo>
                      <a:pt x="6681169" y="1184442"/>
                      <a:pt x="6658484" y="1161755"/>
                      <a:pt x="6630373" y="1161755"/>
                    </a:cubicBezTo>
                    <a:cubicBezTo>
                      <a:pt x="6602265" y="1161755"/>
                      <a:pt x="6579580" y="1184442"/>
                      <a:pt x="6579580" y="1212550"/>
                    </a:cubicBezTo>
                    <a:cubicBezTo>
                      <a:pt x="6579580" y="1240666"/>
                      <a:pt x="6602511" y="1263323"/>
                      <a:pt x="6630373" y="1263323"/>
                    </a:cubicBezTo>
                    <a:cubicBezTo>
                      <a:pt x="6658239" y="1263323"/>
                      <a:pt x="6681169" y="1240666"/>
                      <a:pt x="6681169" y="1212550"/>
                    </a:cubicBezTo>
                    <a:close/>
                    <a:moveTo>
                      <a:pt x="6683390" y="2444767"/>
                    </a:moveTo>
                    <a:cubicBezTo>
                      <a:pt x="6683390" y="2430464"/>
                      <a:pt x="6671801" y="2418874"/>
                      <a:pt x="6657498" y="2418874"/>
                    </a:cubicBezTo>
                    <a:cubicBezTo>
                      <a:pt x="6643198" y="2418874"/>
                      <a:pt x="6631607" y="2430464"/>
                      <a:pt x="6631607" y="2444767"/>
                    </a:cubicBezTo>
                    <a:cubicBezTo>
                      <a:pt x="6631607" y="2459062"/>
                      <a:pt x="6643198" y="2470661"/>
                      <a:pt x="6657498" y="2470661"/>
                    </a:cubicBezTo>
                    <a:cubicBezTo>
                      <a:pt x="6671801" y="2470661"/>
                      <a:pt x="6683390" y="2459062"/>
                      <a:pt x="6683390" y="2444767"/>
                    </a:cubicBezTo>
                    <a:close/>
                    <a:moveTo>
                      <a:pt x="6689552" y="4108867"/>
                    </a:moveTo>
                    <a:cubicBezTo>
                      <a:pt x="6689552" y="4087661"/>
                      <a:pt x="6672047" y="4070401"/>
                      <a:pt x="6650840" y="4070401"/>
                    </a:cubicBezTo>
                    <a:cubicBezTo>
                      <a:pt x="6629636" y="4070401"/>
                      <a:pt x="6612374" y="4087661"/>
                      <a:pt x="6612374" y="4108867"/>
                    </a:cubicBezTo>
                    <a:cubicBezTo>
                      <a:pt x="6612374" y="4130320"/>
                      <a:pt x="6629636" y="4147579"/>
                      <a:pt x="6650840" y="4147579"/>
                    </a:cubicBezTo>
                    <a:cubicBezTo>
                      <a:pt x="6672293" y="4147579"/>
                      <a:pt x="6689552" y="4130320"/>
                      <a:pt x="6689552" y="4108867"/>
                    </a:cubicBezTo>
                    <a:close/>
                    <a:moveTo>
                      <a:pt x="6692018" y="2170843"/>
                    </a:moveTo>
                    <a:cubicBezTo>
                      <a:pt x="6692018" y="2159741"/>
                      <a:pt x="6682896" y="2150862"/>
                      <a:pt x="6672046" y="2150862"/>
                    </a:cubicBezTo>
                    <a:cubicBezTo>
                      <a:pt x="6660951" y="2150862"/>
                      <a:pt x="6652074" y="2159983"/>
                      <a:pt x="6652074" y="2170843"/>
                    </a:cubicBezTo>
                    <a:cubicBezTo>
                      <a:pt x="6652074" y="2181951"/>
                      <a:pt x="6661197" y="2190813"/>
                      <a:pt x="6672046" y="2190813"/>
                    </a:cubicBezTo>
                    <a:cubicBezTo>
                      <a:pt x="6682896" y="2190813"/>
                      <a:pt x="6691773" y="2181951"/>
                      <a:pt x="6692018" y="2170843"/>
                    </a:cubicBezTo>
                    <a:close/>
                    <a:moveTo>
                      <a:pt x="6693498" y="5686705"/>
                    </a:moveTo>
                    <a:cubicBezTo>
                      <a:pt x="6693498" y="5673881"/>
                      <a:pt x="6683141" y="5663525"/>
                      <a:pt x="6670322" y="5663525"/>
                    </a:cubicBezTo>
                    <a:cubicBezTo>
                      <a:pt x="6657498" y="5663525"/>
                      <a:pt x="6647142" y="5673881"/>
                      <a:pt x="6647142" y="5686705"/>
                    </a:cubicBezTo>
                    <a:cubicBezTo>
                      <a:pt x="6647142" y="5699527"/>
                      <a:pt x="6657498" y="5709882"/>
                      <a:pt x="6670322" y="5709882"/>
                    </a:cubicBezTo>
                    <a:cubicBezTo>
                      <a:pt x="6683141" y="5709882"/>
                      <a:pt x="6693498" y="5699527"/>
                      <a:pt x="6693498" y="5686705"/>
                    </a:cubicBezTo>
                    <a:close/>
                    <a:moveTo>
                      <a:pt x="6695717" y="3067137"/>
                    </a:moveTo>
                    <a:cubicBezTo>
                      <a:pt x="6695717" y="3062205"/>
                      <a:pt x="6691772" y="3058260"/>
                      <a:pt x="6686840" y="3058260"/>
                    </a:cubicBezTo>
                    <a:cubicBezTo>
                      <a:pt x="6681909" y="3058260"/>
                      <a:pt x="6677964" y="3062205"/>
                      <a:pt x="6677964" y="3067137"/>
                    </a:cubicBezTo>
                    <a:cubicBezTo>
                      <a:pt x="6677964" y="3072068"/>
                      <a:pt x="6681909" y="3076015"/>
                      <a:pt x="6686840" y="3076015"/>
                    </a:cubicBezTo>
                    <a:cubicBezTo>
                      <a:pt x="6691772" y="3076015"/>
                      <a:pt x="6695963" y="3072068"/>
                      <a:pt x="6695717" y="3067137"/>
                    </a:cubicBezTo>
                    <a:close/>
                    <a:moveTo>
                      <a:pt x="6698430" y="5041909"/>
                    </a:moveTo>
                    <a:cubicBezTo>
                      <a:pt x="6698430" y="5028841"/>
                      <a:pt x="6687827" y="5017992"/>
                      <a:pt x="6674511" y="5017992"/>
                    </a:cubicBezTo>
                    <a:cubicBezTo>
                      <a:pt x="6661443" y="5017992"/>
                      <a:pt x="6650593" y="5028841"/>
                      <a:pt x="6650593" y="5041909"/>
                    </a:cubicBezTo>
                    <a:cubicBezTo>
                      <a:pt x="6650593" y="5054979"/>
                      <a:pt x="6661196" y="5065829"/>
                      <a:pt x="6674511" y="5065829"/>
                    </a:cubicBezTo>
                    <a:cubicBezTo>
                      <a:pt x="6687580" y="5065829"/>
                      <a:pt x="6698430" y="5054979"/>
                      <a:pt x="6698430" y="5041909"/>
                    </a:cubicBezTo>
                    <a:close/>
                    <a:moveTo>
                      <a:pt x="6698676" y="1646228"/>
                    </a:moveTo>
                    <a:cubicBezTo>
                      <a:pt x="6698676" y="1621560"/>
                      <a:pt x="6678704" y="1601594"/>
                      <a:pt x="6654046" y="1601594"/>
                    </a:cubicBezTo>
                    <a:cubicBezTo>
                      <a:pt x="6629389" y="1601594"/>
                      <a:pt x="6609417" y="1621560"/>
                      <a:pt x="6609417" y="1646228"/>
                    </a:cubicBezTo>
                    <a:cubicBezTo>
                      <a:pt x="6609417" y="1670861"/>
                      <a:pt x="6629389" y="1690857"/>
                      <a:pt x="6654046" y="1690857"/>
                    </a:cubicBezTo>
                    <a:cubicBezTo>
                      <a:pt x="6678704" y="1690857"/>
                      <a:pt x="6698676" y="1670861"/>
                      <a:pt x="6698676" y="1646228"/>
                    </a:cubicBezTo>
                    <a:close/>
                    <a:moveTo>
                      <a:pt x="6704839" y="2555968"/>
                    </a:moveTo>
                    <a:cubicBezTo>
                      <a:pt x="6704839" y="2548819"/>
                      <a:pt x="6698925" y="2542899"/>
                      <a:pt x="6691772" y="2542899"/>
                    </a:cubicBezTo>
                    <a:cubicBezTo>
                      <a:pt x="6684622" y="2542899"/>
                      <a:pt x="6678704" y="2548819"/>
                      <a:pt x="6678704" y="2555968"/>
                    </a:cubicBezTo>
                    <a:cubicBezTo>
                      <a:pt x="6678704" y="2563117"/>
                      <a:pt x="6684622" y="2569031"/>
                      <a:pt x="6691772" y="2569031"/>
                    </a:cubicBezTo>
                    <a:cubicBezTo>
                      <a:pt x="6698925" y="2569031"/>
                      <a:pt x="6704839" y="2563117"/>
                      <a:pt x="6704839" y="2555968"/>
                    </a:cubicBezTo>
                    <a:close/>
                    <a:moveTo>
                      <a:pt x="6705826" y="3994455"/>
                    </a:moveTo>
                    <a:cubicBezTo>
                      <a:pt x="6705826" y="3975470"/>
                      <a:pt x="6690539" y="3960180"/>
                      <a:pt x="6671554" y="3960180"/>
                    </a:cubicBezTo>
                    <a:cubicBezTo>
                      <a:pt x="6652814" y="3960180"/>
                      <a:pt x="6637279" y="3975470"/>
                      <a:pt x="6637279" y="3994455"/>
                    </a:cubicBezTo>
                    <a:cubicBezTo>
                      <a:pt x="6637279" y="4013441"/>
                      <a:pt x="6652565" y="4028727"/>
                      <a:pt x="6671554" y="4028727"/>
                    </a:cubicBezTo>
                    <a:cubicBezTo>
                      <a:pt x="6690539" y="4028727"/>
                      <a:pt x="6706073" y="4013441"/>
                      <a:pt x="6705826" y="3994455"/>
                    </a:cubicBezTo>
                    <a:close/>
                    <a:moveTo>
                      <a:pt x="6706812" y="1064878"/>
                    </a:moveTo>
                    <a:cubicBezTo>
                      <a:pt x="6706812" y="1036752"/>
                      <a:pt x="6683882" y="1013840"/>
                      <a:pt x="6655773" y="1013840"/>
                    </a:cubicBezTo>
                    <a:cubicBezTo>
                      <a:pt x="6627662" y="1013840"/>
                      <a:pt x="6604731" y="1036752"/>
                      <a:pt x="6604731" y="1064878"/>
                    </a:cubicBezTo>
                    <a:cubicBezTo>
                      <a:pt x="6604731" y="1092988"/>
                      <a:pt x="6627662" y="1115910"/>
                      <a:pt x="6655773" y="1115910"/>
                    </a:cubicBezTo>
                    <a:cubicBezTo>
                      <a:pt x="6683882" y="1115910"/>
                      <a:pt x="6706567" y="1093237"/>
                      <a:pt x="6706812" y="1064878"/>
                    </a:cubicBezTo>
                    <a:close/>
                    <a:moveTo>
                      <a:pt x="6709277" y="3182793"/>
                    </a:moveTo>
                    <a:cubicBezTo>
                      <a:pt x="6709277" y="3177367"/>
                      <a:pt x="6704840" y="3173176"/>
                      <a:pt x="6699662" y="3173176"/>
                    </a:cubicBezTo>
                    <a:cubicBezTo>
                      <a:pt x="6694236" y="3173176"/>
                      <a:pt x="6690045" y="3177614"/>
                      <a:pt x="6690045" y="3182793"/>
                    </a:cubicBezTo>
                    <a:cubicBezTo>
                      <a:pt x="6690045" y="3187971"/>
                      <a:pt x="6694483" y="3192409"/>
                      <a:pt x="6699662" y="3192409"/>
                    </a:cubicBezTo>
                    <a:cubicBezTo>
                      <a:pt x="6704840" y="3192409"/>
                      <a:pt x="6709277" y="3188218"/>
                      <a:pt x="6709277" y="3182793"/>
                    </a:cubicBezTo>
                    <a:close/>
                    <a:moveTo>
                      <a:pt x="6710758" y="5835634"/>
                    </a:moveTo>
                    <a:cubicBezTo>
                      <a:pt x="6710758" y="5827744"/>
                      <a:pt x="6704594" y="5821580"/>
                      <a:pt x="6696949" y="5821580"/>
                    </a:cubicBezTo>
                    <a:cubicBezTo>
                      <a:pt x="6689059" y="5821580"/>
                      <a:pt x="6682895" y="5827992"/>
                      <a:pt x="6682895" y="5835634"/>
                    </a:cubicBezTo>
                    <a:cubicBezTo>
                      <a:pt x="6682895" y="5843279"/>
                      <a:pt x="6689305" y="5849442"/>
                      <a:pt x="6696949" y="5849442"/>
                    </a:cubicBezTo>
                    <a:cubicBezTo>
                      <a:pt x="6704594" y="5849442"/>
                      <a:pt x="6711004" y="5843033"/>
                      <a:pt x="6710758" y="5835634"/>
                    </a:cubicBezTo>
                    <a:close/>
                    <a:moveTo>
                      <a:pt x="6711992" y="4502896"/>
                    </a:moveTo>
                    <a:cubicBezTo>
                      <a:pt x="6711992" y="4474293"/>
                      <a:pt x="6688813" y="4450868"/>
                      <a:pt x="6659964" y="4450868"/>
                    </a:cubicBezTo>
                    <a:cubicBezTo>
                      <a:pt x="6631361" y="4450868"/>
                      <a:pt x="6607936" y="4474048"/>
                      <a:pt x="6607936" y="4502896"/>
                    </a:cubicBezTo>
                    <a:cubicBezTo>
                      <a:pt x="6607936" y="4531499"/>
                      <a:pt x="6631116" y="4554924"/>
                      <a:pt x="6659964" y="4554924"/>
                    </a:cubicBezTo>
                    <a:cubicBezTo>
                      <a:pt x="6688813" y="4554924"/>
                      <a:pt x="6712238" y="4531499"/>
                      <a:pt x="6711992" y="4502896"/>
                    </a:cubicBezTo>
                    <a:close/>
                    <a:moveTo>
                      <a:pt x="6713717" y="1905117"/>
                    </a:moveTo>
                    <a:cubicBezTo>
                      <a:pt x="6713717" y="1881228"/>
                      <a:pt x="6694237" y="1861771"/>
                      <a:pt x="6670320" y="1861771"/>
                    </a:cubicBezTo>
                    <a:cubicBezTo>
                      <a:pt x="6646402" y="1861771"/>
                      <a:pt x="6626922" y="1881228"/>
                      <a:pt x="6626922" y="1905117"/>
                    </a:cubicBezTo>
                    <a:cubicBezTo>
                      <a:pt x="6626922" y="1929006"/>
                      <a:pt x="6646402" y="1948463"/>
                      <a:pt x="6670320" y="1948463"/>
                    </a:cubicBezTo>
                    <a:cubicBezTo>
                      <a:pt x="6694237" y="1948463"/>
                      <a:pt x="6713717" y="1929006"/>
                      <a:pt x="6713717" y="1905117"/>
                    </a:cubicBezTo>
                    <a:close/>
                    <a:moveTo>
                      <a:pt x="6714706" y="5453935"/>
                    </a:moveTo>
                    <a:cubicBezTo>
                      <a:pt x="6714706" y="5442345"/>
                      <a:pt x="6705335" y="5432976"/>
                      <a:pt x="6693745" y="5432976"/>
                    </a:cubicBezTo>
                    <a:cubicBezTo>
                      <a:pt x="6681911" y="5432976"/>
                      <a:pt x="6672540" y="5442345"/>
                      <a:pt x="6672540" y="5453935"/>
                    </a:cubicBezTo>
                    <a:cubicBezTo>
                      <a:pt x="6672540" y="5465525"/>
                      <a:pt x="6682158" y="5474893"/>
                      <a:pt x="6693745" y="5474893"/>
                    </a:cubicBezTo>
                    <a:cubicBezTo>
                      <a:pt x="6705335" y="5474893"/>
                      <a:pt x="6714706" y="5465525"/>
                      <a:pt x="6714706" y="5453935"/>
                    </a:cubicBezTo>
                    <a:close/>
                    <a:moveTo>
                      <a:pt x="6718402" y="3879058"/>
                    </a:moveTo>
                    <a:cubicBezTo>
                      <a:pt x="6718402" y="3862537"/>
                      <a:pt x="6704840" y="3848974"/>
                      <a:pt x="6688076" y="3848974"/>
                    </a:cubicBezTo>
                    <a:cubicBezTo>
                      <a:pt x="6671554" y="3848974"/>
                      <a:pt x="6657992" y="3862537"/>
                      <a:pt x="6657992" y="3879058"/>
                    </a:cubicBezTo>
                    <a:cubicBezTo>
                      <a:pt x="6657992" y="3895823"/>
                      <a:pt x="6671554" y="3909385"/>
                      <a:pt x="6688076" y="3909385"/>
                    </a:cubicBezTo>
                    <a:cubicBezTo>
                      <a:pt x="6704840" y="3909385"/>
                      <a:pt x="6718402" y="3895823"/>
                      <a:pt x="6718402" y="3879058"/>
                    </a:cubicBezTo>
                    <a:close/>
                    <a:moveTo>
                      <a:pt x="6719389" y="4775605"/>
                    </a:moveTo>
                    <a:cubicBezTo>
                      <a:pt x="6719389" y="4751442"/>
                      <a:pt x="6699662" y="4731716"/>
                      <a:pt x="6675497" y="4731716"/>
                    </a:cubicBezTo>
                    <a:cubicBezTo>
                      <a:pt x="6651334" y="4731716"/>
                      <a:pt x="6631607" y="4751442"/>
                      <a:pt x="6631607" y="4775605"/>
                    </a:cubicBezTo>
                    <a:cubicBezTo>
                      <a:pt x="6631607" y="4799770"/>
                      <a:pt x="6651334" y="4819497"/>
                      <a:pt x="6675497" y="4819497"/>
                    </a:cubicBezTo>
                    <a:cubicBezTo>
                      <a:pt x="6699662" y="4819497"/>
                      <a:pt x="6719389" y="4799770"/>
                      <a:pt x="6719389" y="4775605"/>
                    </a:cubicBezTo>
                    <a:close/>
                    <a:moveTo>
                      <a:pt x="6719638" y="3298925"/>
                    </a:moveTo>
                    <a:cubicBezTo>
                      <a:pt x="6719638" y="3292512"/>
                      <a:pt x="6714458" y="3287322"/>
                      <a:pt x="6708048" y="3287322"/>
                    </a:cubicBezTo>
                    <a:cubicBezTo>
                      <a:pt x="6701636" y="3287322"/>
                      <a:pt x="6696458" y="3292512"/>
                      <a:pt x="6696458" y="3298925"/>
                    </a:cubicBezTo>
                    <a:cubicBezTo>
                      <a:pt x="6696458" y="3305327"/>
                      <a:pt x="6701636" y="3310521"/>
                      <a:pt x="6708048" y="3310521"/>
                    </a:cubicBezTo>
                    <a:cubicBezTo>
                      <a:pt x="6714458" y="3310521"/>
                      <a:pt x="6719883" y="3305327"/>
                      <a:pt x="6719638" y="3298925"/>
                    </a:cubicBezTo>
                    <a:close/>
                    <a:moveTo>
                      <a:pt x="6725307" y="2667918"/>
                    </a:moveTo>
                    <a:cubicBezTo>
                      <a:pt x="6725307" y="2665949"/>
                      <a:pt x="6723828" y="2664470"/>
                      <a:pt x="6721855" y="2664470"/>
                    </a:cubicBezTo>
                    <a:cubicBezTo>
                      <a:pt x="6719883" y="2664470"/>
                      <a:pt x="6718402" y="2665949"/>
                      <a:pt x="6718402" y="2667918"/>
                    </a:cubicBezTo>
                    <a:cubicBezTo>
                      <a:pt x="6718402" y="2669893"/>
                      <a:pt x="6719883" y="2671371"/>
                      <a:pt x="6721855" y="2671371"/>
                    </a:cubicBezTo>
                    <a:cubicBezTo>
                      <a:pt x="6723828" y="2671371"/>
                      <a:pt x="6725307" y="2669893"/>
                      <a:pt x="6725307" y="2667918"/>
                    </a:cubicBezTo>
                    <a:close/>
                    <a:moveTo>
                      <a:pt x="6726539" y="3763661"/>
                    </a:moveTo>
                    <a:cubicBezTo>
                      <a:pt x="6726539" y="3749361"/>
                      <a:pt x="6714703" y="3737771"/>
                      <a:pt x="6700400" y="3737771"/>
                    </a:cubicBezTo>
                    <a:cubicBezTo>
                      <a:pt x="6686100" y="3737771"/>
                      <a:pt x="6674511" y="3749361"/>
                      <a:pt x="6674511" y="3763661"/>
                    </a:cubicBezTo>
                    <a:cubicBezTo>
                      <a:pt x="6674511" y="3777963"/>
                      <a:pt x="6686100" y="3789550"/>
                      <a:pt x="6700400" y="3789550"/>
                    </a:cubicBezTo>
                    <a:cubicBezTo>
                      <a:pt x="6714703" y="3789550"/>
                      <a:pt x="6726539" y="3777963"/>
                      <a:pt x="6726539" y="3763661"/>
                    </a:cubicBezTo>
                    <a:close/>
                    <a:moveTo>
                      <a:pt x="6726786" y="2279072"/>
                    </a:moveTo>
                    <a:cubicBezTo>
                      <a:pt x="6726786" y="2272168"/>
                      <a:pt x="6721361" y="2266746"/>
                      <a:pt x="6714459" y="2266746"/>
                    </a:cubicBezTo>
                    <a:cubicBezTo>
                      <a:pt x="6707555" y="2266746"/>
                      <a:pt x="6702129" y="2272411"/>
                      <a:pt x="6702129" y="2279072"/>
                    </a:cubicBezTo>
                    <a:cubicBezTo>
                      <a:pt x="6702129" y="2285993"/>
                      <a:pt x="6707801" y="2291412"/>
                      <a:pt x="6714459" y="2291412"/>
                    </a:cubicBezTo>
                    <a:cubicBezTo>
                      <a:pt x="6721114" y="2291412"/>
                      <a:pt x="6726786" y="2285746"/>
                      <a:pt x="6726786" y="2279072"/>
                    </a:cubicBezTo>
                    <a:close/>
                    <a:moveTo>
                      <a:pt x="6726787" y="3415070"/>
                    </a:moveTo>
                    <a:cubicBezTo>
                      <a:pt x="6726787" y="3407184"/>
                      <a:pt x="6720375" y="3400755"/>
                      <a:pt x="6712484" y="3400755"/>
                    </a:cubicBezTo>
                    <a:cubicBezTo>
                      <a:pt x="6704594" y="3400755"/>
                      <a:pt x="6698185" y="3407184"/>
                      <a:pt x="6698185" y="3415070"/>
                    </a:cubicBezTo>
                    <a:cubicBezTo>
                      <a:pt x="6698185" y="3422949"/>
                      <a:pt x="6704594" y="3429365"/>
                      <a:pt x="6712484" y="3429365"/>
                    </a:cubicBezTo>
                    <a:cubicBezTo>
                      <a:pt x="6720375" y="3429365"/>
                      <a:pt x="6726787" y="3422949"/>
                      <a:pt x="6726787" y="3415070"/>
                    </a:cubicBezTo>
                    <a:close/>
                    <a:moveTo>
                      <a:pt x="6729005" y="918675"/>
                    </a:moveTo>
                    <a:cubicBezTo>
                      <a:pt x="6729005" y="891062"/>
                      <a:pt x="6706567" y="868377"/>
                      <a:pt x="6678704" y="868377"/>
                    </a:cubicBezTo>
                    <a:cubicBezTo>
                      <a:pt x="6651087" y="868377"/>
                      <a:pt x="6628402" y="890819"/>
                      <a:pt x="6628402" y="918675"/>
                    </a:cubicBezTo>
                    <a:cubicBezTo>
                      <a:pt x="6628402" y="946298"/>
                      <a:pt x="6650841" y="968987"/>
                      <a:pt x="6678704" y="968987"/>
                    </a:cubicBezTo>
                    <a:cubicBezTo>
                      <a:pt x="6706320" y="968987"/>
                      <a:pt x="6729005" y="946547"/>
                      <a:pt x="6729005" y="918675"/>
                    </a:cubicBezTo>
                    <a:close/>
                    <a:moveTo>
                      <a:pt x="6730237" y="3531139"/>
                    </a:moveTo>
                    <a:cubicBezTo>
                      <a:pt x="6730237" y="3521276"/>
                      <a:pt x="6722348" y="3513385"/>
                      <a:pt x="6712484" y="3513385"/>
                    </a:cubicBezTo>
                    <a:cubicBezTo>
                      <a:pt x="6702621" y="3513385"/>
                      <a:pt x="6694730" y="3521522"/>
                      <a:pt x="6694730" y="3531139"/>
                    </a:cubicBezTo>
                    <a:cubicBezTo>
                      <a:pt x="6694730" y="3541003"/>
                      <a:pt x="6702867" y="3548892"/>
                      <a:pt x="6712484" y="3548892"/>
                    </a:cubicBezTo>
                    <a:cubicBezTo>
                      <a:pt x="6722348" y="3548892"/>
                      <a:pt x="6730237" y="3541003"/>
                      <a:pt x="6730237" y="3531139"/>
                    </a:cubicBezTo>
                    <a:close/>
                    <a:moveTo>
                      <a:pt x="6730484" y="3647275"/>
                    </a:moveTo>
                    <a:cubicBezTo>
                      <a:pt x="6730484" y="3635193"/>
                      <a:pt x="6720624" y="3625329"/>
                      <a:pt x="6708540" y="3625329"/>
                    </a:cubicBezTo>
                    <a:cubicBezTo>
                      <a:pt x="6696458" y="3625329"/>
                      <a:pt x="6686594" y="3635193"/>
                      <a:pt x="6686594" y="3647275"/>
                    </a:cubicBezTo>
                    <a:cubicBezTo>
                      <a:pt x="6686594" y="3659359"/>
                      <a:pt x="6696458" y="3669222"/>
                      <a:pt x="6708540" y="3669222"/>
                    </a:cubicBezTo>
                    <a:cubicBezTo>
                      <a:pt x="6720624" y="3669222"/>
                      <a:pt x="6730484" y="3659604"/>
                      <a:pt x="6730484" y="3647275"/>
                    </a:cubicBezTo>
                    <a:close/>
                    <a:moveTo>
                      <a:pt x="6733937" y="5198977"/>
                    </a:moveTo>
                    <a:cubicBezTo>
                      <a:pt x="6733937" y="5188620"/>
                      <a:pt x="6725555" y="5180482"/>
                      <a:pt x="6715443" y="5180482"/>
                    </a:cubicBezTo>
                    <a:cubicBezTo>
                      <a:pt x="6705335" y="5180482"/>
                      <a:pt x="6697198" y="5188865"/>
                      <a:pt x="6697198" y="5198977"/>
                    </a:cubicBezTo>
                    <a:cubicBezTo>
                      <a:pt x="6697198" y="5209086"/>
                      <a:pt x="6705335" y="5217471"/>
                      <a:pt x="6715443" y="5217471"/>
                    </a:cubicBezTo>
                    <a:cubicBezTo>
                      <a:pt x="6725555" y="5217471"/>
                      <a:pt x="6733937" y="5209332"/>
                      <a:pt x="6733937" y="5198977"/>
                    </a:cubicBezTo>
                    <a:close/>
                    <a:moveTo>
                      <a:pt x="6734429" y="1492633"/>
                    </a:moveTo>
                    <a:cubicBezTo>
                      <a:pt x="6734429" y="1466995"/>
                      <a:pt x="6713717" y="1446281"/>
                      <a:pt x="6688072" y="1446281"/>
                    </a:cubicBezTo>
                    <a:cubicBezTo>
                      <a:pt x="6662429" y="1446281"/>
                      <a:pt x="6641717" y="1466995"/>
                      <a:pt x="6641717" y="1492633"/>
                    </a:cubicBezTo>
                    <a:cubicBezTo>
                      <a:pt x="6641717" y="1518282"/>
                      <a:pt x="6662429" y="1538991"/>
                      <a:pt x="6688072" y="1538991"/>
                    </a:cubicBezTo>
                    <a:cubicBezTo>
                      <a:pt x="6713717" y="1538991"/>
                      <a:pt x="6734429" y="1518282"/>
                      <a:pt x="6734429" y="1492633"/>
                    </a:cubicBezTo>
                    <a:close/>
                    <a:moveTo>
                      <a:pt x="6739610" y="5982348"/>
                    </a:moveTo>
                    <a:cubicBezTo>
                      <a:pt x="6739610" y="5972485"/>
                      <a:pt x="6731719" y="5964594"/>
                      <a:pt x="6721856" y="5964594"/>
                    </a:cubicBezTo>
                    <a:cubicBezTo>
                      <a:pt x="6711993" y="5964594"/>
                      <a:pt x="6704102" y="5972485"/>
                      <a:pt x="6704102" y="5982348"/>
                    </a:cubicBezTo>
                    <a:cubicBezTo>
                      <a:pt x="6704102" y="5992211"/>
                      <a:pt x="6711993" y="6000101"/>
                      <a:pt x="6721856" y="6000101"/>
                    </a:cubicBezTo>
                    <a:cubicBezTo>
                      <a:pt x="6731719" y="6000101"/>
                      <a:pt x="6739610" y="5991964"/>
                      <a:pt x="6739610" y="5982348"/>
                    </a:cubicBezTo>
                    <a:close/>
                    <a:moveTo>
                      <a:pt x="6742814" y="4391690"/>
                    </a:moveTo>
                    <a:cubicBezTo>
                      <a:pt x="6742814" y="4364566"/>
                      <a:pt x="6720870" y="4342621"/>
                      <a:pt x="6693993" y="4342621"/>
                    </a:cubicBezTo>
                    <a:cubicBezTo>
                      <a:pt x="6667115" y="4342621"/>
                      <a:pt x="6645170" y="4364812"/>
                      <a:pt x="6645170" y="4391690"/>
                    </a:cubicBezTo>
                    <a:cubicBezTo>
                      <a:pt x="6645170" y="4418566"/>
                      <a:pt x="6667115" y="4440511"/>
                      <a:pt x="6693993" y="4440511"/>
                    </a:cubicBezTo>
                    <a:cubicBezTo>
                      <a:pt x="6720870" y="4440511"/>
                      <a:pt x="6742814" y="4418566"/>
                      <a:pt x="6742814" y="4391690"/>
                    </a:cubicBezTo>
                    <a:close/>
                    <a:moveTo>
                      <a:pt x="6748496" y="1307636"/>
                    </a:moveTo>
                    <a:cubicBezTo>
                      <a:pt x="6748446" y="1279451"/>
                      <a:pt x="6725444" y="1256629"/>
                      <a:pt x="6697118" y="1256679"/>
                    </a:cubicBezTo>
                    <a:cubicBezTo>
                      <a:pt x="6668793" y="1256729"/>
                      <a:pt x="6645871" y="1279633"/>
                      <a:pt x="6645921" y="1307817"/>
                    </a:cubicBezTo>
                    <a:cubicBezTo>
                      <a:pt x="6645971" y="1336007"/>
                      <a:pt x="6668974" y="1358819"/>
                      <a:pt x="6697299" y="1358769"/>
                    </a:cubicBezTo>
                    <a:cubicBezTo>
                      <a:pt x="6725626" y="1358719"/>
                      <a:pt x="6748546" y="1335825"/>
                      <a:pt x="6748496" y="1307636"/>
                    </a:cubicBezTo>
                    <a:close/>
                    <a:moveTo>
                      <a:pt x="6748977" y="2781359"/>
                    </a:moveTo>
                    <a:cubicBezTo>
                      <a:pt x="6748977" y="2780863"/>
                      <a:pt x="6748486" y="2780618"/>
                      <a:pt x="6748239" y="2780618"/>
                    </a:cubicBezTo>
                    <a:cubicBezTo>
                      <a:pt x="6747992" y="2780618"/>
                      <a:pt x="6747500" y="2780863"/>
                      <a:pt x="6747500" y="2781359"/>
                    </a:cubicBezTo>
                    <a:cubicBezTo>
                      <a:pt x="6747500" y="2781848"/>
                      <a:pt x="6747745" y="2782093"/>
                      <a:pt x="6748239" y="2782093"/>
                    </a:cubicBezTo>
                    <a:cubicBezTo>
                      <a:pt x="6748486" y="2782093"/>
                      <a:pt x="6748977" y="2781603"/>
                      <a:pt x="6748977" y="2781359"/>
                    </a:cubicBezTo>
                    <a:close/>
                    <a:moveTo>
                      <a:pt x="6753910" y="4937112"/>
                    </a:moveTo>
                    <a:cubicBezTo>
                      <a:pt x="6753910" y="4920594"/>
                      <a:pt x="6740596" y="4907278"/>
                      <a:pt x="6724074" y="4907278"/>
                    </a:cubicBezTo>
                    <a:cubicBezTo>
                      <a:pt x="6707555" y="4907278"/>
                      <a:pt x="6694239" y="4920594"/>
                      <a:pt x="6694239" y="4937112"/>
                    </a:cubicBezTo>
                    <a:cubicBezTo>
                      <a:pt x="6694239" y="4953635"/>
                      <a:pt x="6707555" y="4966948"/>
                      <a:pt x="6724074" y="4966948"/>
                    </a:cubicBezTo>
                    <a:cubicBezTo>
                      <a:pt x="6740596" y="4966948"/>
                      <a:pt x="6753910" y="4953635"/>
                      <a:pt x="6753910" y="4937112"/>
                    </a:cubicBezTo>
                    <a:close/>
                    <a:moveTo>
                      <a:pt x="6754895" y="1747590"/>
                    </a:moveTo>
                    <a:cubicBezTo>
                      <a:pt x="6754895" y="1723121"/>
                      <a:pt x="6735170" y="1703438"/>
                      <a:pt x="6710760" y="1703438"/>
                    </a:cubicBezTo>
                    <a:cubicBezTo>
                      <a:pt x="6686349" y="1703438"/>
                      <a:pt x="6666622" y="1723121"/>
                      <a:pt x="6666622" y="1747590"/>
                    </a:cubicBezTo>
                    <a:cubicBezTo>
                      <a:pt x="6666622" y="1772039"/>
                      <a:pt x="6686349" y="1791763"/>
                      <a:pt x="6710760" y="1791763"/>
                    </a:cubicBezTo>
                    <a:cubicBezTo>
                      <a:pt x="6735170" y="1791763"/>
                      <a:pt x="6754895" y="1771791"/>
                      <a:pt x="6754895" y="1747590"/>
                    </a:cubicBezTo>
                    <a:close/>
                    <a:moveTo>
                      <a:pt x="6758841" y="2388573"/>
                    </a:moveTo>
                    <a:cubicBezTo>
                      <a:pt x="6758841" y="2385361"/>
                      <a:pt x="6756130" y="2382894"/>
                      <a:pt x="6753172" y="2382894"/>
                    </a:cubicBezTo>
                    <a:cubicBezTo>
                      <a:pt x="6749964" y="2382894"/>
                      <a:pt x="6747500" y="2385361"/>
                      <a:pt x="6747500" y="2388573"/>
                    </a:cubicBezTo>
                    <a:cubicBezTo>
                      <a:pt x="6747500" y="2391771"/>
                      <a:pt x="6749964" y="2394221"/>
                      <a:pt x="6753172" y="2394221"/>
                    </a:cubicBezTo>
                    <a:cubicBezTo>
                      <a:pt x="6756130" y="2394221"/>
                      <a:pt x="6758595" y="2391528"/>
                      <a:pt x="6758841" y="2388573"/>
                    </a:cubicBezTo>
                    <a:close/>
                    <a:moveTo>
                      <a:pt x="6759582" y="5590291"/>
                    </a:moveTo>
                    <a:cubicBezTo>
                      <a:pt x="6759582" y="5576978"/>
                      <a:pt x="6748732" y="5566128"/>
                      <a:pt x="6735415" y="5566128"/>
                    </a:cubicBezTo>
                    <a:cubicBezTo>
                      <a:pt x="6722102" y="5566128"/>
                      <a:pt x="6711252" y="5576978"/>
                      <a:pt x="6711252" y="5590291"/>
                    </a:cubicBezTo>
                    <a:cubicBezTo>
                      <a:pt x="6711252" y="5603608"/>
                      <a:pt x="6722102" y="5614457"/>
                      <a:pt x="6735415" y="5614457"/>
                    </a:cubicBezTo>
                    <a:cubicBezTo>
                      <a:pt x="6748732" y="5614457"/>
                      <a:pt x="6759582" y="5603608"/>
                      <a:pt x="6759582" y="5590291"/>
                    </a:cubicBezTo>
                    <a:close/>
                    <a:moveTo>
                      <a:pt x="6763032" y="2009791"/>
                    </a:moveTo>
                    <a:cubicBezTo>
                      <a:pt x="6763032" y="1986147"/>
                      <a:pt x="6743798" y="1966935"/>
                      <a:pt x="6720126" y="1966935"/>
                    </a:cubicBezTo>
                    <a:cubicBezTo>
                      <a:pt x="6696455" y="1966935"/>
                      <a:pt x="6677223" y="1986147"/>
                      <a:pt x="6677223" y="2009791"/>
                    </a:cubicBezTo>
                    <a:cubicBezTo>
                      <a:pt x="6677223" y="2033462"/>
                      <a:pt x="6696455" y="2052703"/>
                      <a:pt x="6720126" y="2052703"/>
                    </a:cubicBezTo>
                    <a:cubicBezTo>
                      <a:pt x="6743798" y="2052703"/>
                      <a:pt x="6763032" y="2033462"/>
                      <a:pt x="6763032" y="2009791"/>
                    </a:cubicBezTo>
                    <a:close/>
                    <a:moveTo>
                      <a:pt x="6767223" y="4667361"/>
                    </a:moveTo>
                    <a:cubicBezTo>
                      <a:pt x="6767223" y="4639992"/>
                      <a:pt x="6745033" y="4617799"/>
                      <a:pt x="6717662" y="4617799"/>
                    </a:cubicBezTo>
                    <a:cubicBezTo>
                      <a:pt x="6690292" y="4617799"/>
                      <a:pt x="6668101" y="4639992"/>
                      <a:pt x="6668101" y="4667361"/>
                    </a:cubicBezTo>
                    <a:cubicBezTo>
                      <a:pt x="6668101" y="4694731"/>
                      <a:pt x="6690292" y="4716924"/>
                      <a:pt x="6717662" y="4716924"/>
                    </a:cubicBezTo>
                    <a:cubicBezTo>
                      <a:pt x="6745033" y="4716924"/>
                      <a:pt x="6767223" y="4694731"/>
                      <a:pt x="6767223" y="4667361"/>
                    </a:cubicBezTo>
                    <a:close/>
                    <a:moveTo>
                      <a:pt x="6767717" y="4279248"/>
                    </a:moveTo>
                    <a:cubicBezTo>
                      <a:pt x="6767717" y="4255085"/>
                      <a:pt x="6747991" y="4235359"/>
                      <a:pt x="6723825" y="4235359"/>
                    </a:cubicBezTo>
                    <a:cubicBezTo>
                      <a:pt x="6699662" y="4235359"/>
                      <a:pt x="6679936" y="4255085"/>
                      <a:pt x="6679936" y="4279248"/>
                    </a:cubicBezTo>
                    <a:cubicBezTo>
                      <a:pt x="6679936" y="4303414"/>
                      <a:pt x="6699662" y="4323140"/>
                      <a:pt x="6723825" y="4323140"/>
                    </a:cubicBezTo>
                    <a:cubicBezTo>
                      <a:pt x="6748236" y="4323140"/>
                      <a:pt x="6767717" y="4303414"/>
                      <a:pt x="6767717" y="4279248"/>
                    </a:cubicBezTo>
                    <a:close/>
                    <a:moveTo>
                      <a:pt x="6775113" y="5354319"/>
                    </a:moveTo>
                    <a:cubicBezTo>
                      <a:pt x="6775113" y="5342237"/>
                      <a:pt x="6765254" y="5332374"/>
                      <a:pt x="6753170" y="5332374"/>
                    </a:cubicBezTo>
                    <a:cubicBezTo>
                      <a:pt x="6741087" y="5332374"/>
                      <a:pt x="6731224" y="5342237"/>
                      <a:pt x="6731224" y="5354319"/>
                    </a:cubicBezTo>
                    <a:cubicBezTo>
                      <a:pt x="6731224" y="5366401"/>
                      <a:pt x="6741087" y="5376264"/>
                      <a:pt x="6753170" y="5376264"/>
                    </a:cubicBezTo>
                    <a:cubicBezTo>
                      <a:pt x="6765254" y="5376264"/>
                      <a:pt x="6775113" y="5366401"/>
                      <a:pt x="6775113" y="5354319"/>
                    </a:cubicBezTo>
                    <a:close/>
                    <a:moveTo>
                      <a:pt x="6776100" y="1158324"/>
                    </a:moveTo>
                    <a:cubicBezTo>
                      <a:pt x="6776100" y="1129975"/>
                      <a:pt x="6753170" y="1106792"/>
                      <a:pt x="6724812" y="1106792"/>
                    </a:cubicBezTo>
                    <a:cubicBezTo>
                      <a:pt x="6696458" y="1106792"/>
                      <a:pt x="6673278" y="1129975"/>
                      <a:pt x="6673278" y="1158324"/>
                    </a:cubicBezTo>
                    <a:cubicBezTo>
                      <a:pt x="6673278" y="1186688"/>
                      <a:pt x="6696458" y="1209869"/>
                      <a:pt x="6724812" y="1209869"/>
                    </a:cubicBezTo>
                    <a:cubicBezTo>
                      <a:pt x="6753170" y="1209869"/>
                      <a:pt x="6776346" y="1186688"/>
                      <a:pt x="6776100" y="1158324"/>
                    </a:cubicBezTo>
                    <a:close/>
                    <a:moveTo>
                      <a:pt x="6779554" y="5740950"/>
                    </a:moveTo>
                    <a:cubicBezTo>
                      <a:pt x="6779554" y="5732813"/>
                      <a:pt x="6772896" y="5726155"/>
                      <a:pt x="6764759" y="5726155"/>
                    </a:cubicBezTo>
                    <a:cubicBezTo>
                      <a:pt x="6756623" y="5726155"/>
                      <a:pt x="6749964" y="5732813"/>
                      <a:pt x="6749964" y="5740950"/>
                    </a:cubicBezTo>
                    <a:cubicBezTo>
                      <a:pt x="6749964" y="5749086"/>
                      <a:pt x="6756623" y="5755744"/>
                      <a:pt x="6764759" y="5755744"/>
                    </a:cubicBezTo>
                    <a:cubicBezTo>
                      <a:pt x="6772896" y="5755744"/>
                      <a:pt x="6779554" y="5749086"/>
                      <a:pt x="6779554" y="5740950"/>
                    </a:cubicBezTo>
                    <a:close/>
                    <a:moveTo>
                      <a:pt x="6788429" y="5096156"/>
                    </a:moveTo>
                    <a:cubicBezTo>
                      <a:pt x="6788429" y="5085306"/>
                      <a:pt x="6779552" y="5076430"/>
                      <a:pt x="6768704" y="5076430"/>
                    </a:cubicBezTo>
                    <a:cubicBezTo>
                      <a:pt x="6757853" y="5076430"/>
                      <a:pt x="6748977" y="5085306"/>
                      <a:pt x="6748977" y="5096156"/>
                    </a:cubicBezTo>
                    <a:cubicBezTo>
                      <a:pt x="6748977" y="5107005"/>
                      <a:pt x="6757853" y="5115881"/>
                      <a:pt x="6768704" y="5115881"/>
                    </a:cubicBezTo>
                    <a:cubicBezTo>
                      <a:pt x="6779552" y="5115881"/>
                      <a:pt x="6788429" y="5107005"/>
                      <a:pt x="6788429" y="5096156"/>
                    </a:cubicBezTo>
                    <a:close/>
                    <a:moveTo>
                      <a:pt x="6788921" y="4165826"/>
                    </a:moveTo>
                    <a:cubicBezTo>
                      <a:pt x="6788921" y="4144373"/>
                      <a:pt x="6771414" y="4126865"/>
                      <a:pt x="6749961" y="4126865"/>
                    </a:cubicBezTo>
                    <a:cubicBezTo>
                      <a:pt x="6728511" y="4126865"/>
                      <a:pt x="6711004" y="4144373"/>
                      <a:pt x="6711004" y="4165826"/>
                    </a:cubicBezTo>
                    <a:cubicBezTo>
                      <a:pt x="6711004" y="4187277"/>
                      <a:pt x="6728511" y="4204785"/>
                      <a:pt x="6749961" y="4204785"/>
                    </a:cubicBezTo>
                    <a:cubicBezTo>
                      <a:pt x="6771414" y="4204785"/>
                      <a:pt x="6788921" y="4187523"/>
                      <a:pt x="6788921" y="4165826"/>
                    </a:cubicBezTo>
                    <a:close/>
                    <a:moveTo>
                      <a:pt x="6793608" y="2499275"/>
                    </a:moveTo>
                    <a:cubicBezTo>
                      <a:pt x="6793608" y="2496315"/>
                      <a:pt x="6791141" y="2493851"/>
                      <a:pt x="6788184" y="2493851"/>
                    </a:cubicBezTo>
                    <a:cubicBezTo>
                      <a:pt x="6785226" y="2493851"/>
                      <a:pt x="6782758" y="2496315"/>
                      <a:pt x="6782758" y="2499275"/>
                    </a:cubicBezTo>
                    <a:cubicBezTo>
                      <a:pt x="6782758" y="2502231"/>
                      <a:pt x="6785226" y="2504692"/>
                      <a:pt x="6788184" y="2504692"/>
                    </a:cubicBezTo>
                    <a:cubicBezTo>
                      <a:pt x="6791141" y="2504692"/>
                      <a:pt x="6793608" y="2502231"/>
                      <a:pt x="6793608" y="2499275"/>
                    </a:cubicBezTo>
                    <a:close/>
                    <a:moveTo>
                      <a:pt x="6793856" y="1591755"/>
                    </a:moveTo>
                    <a:cubicBezTo>
                      <a:pt x="6793856" y="1566352"/>
                      <a:pt x="6773141" y="1545647"/>
                      <a:pt x="6747745" y="1545647"/>
                    </a:cubicBezTo>
                    <a:cubicBezTo>
                      <a:pt x="6722347" y="1545647"/>
                      <a:pt x="6701635" y="1566352"/>
                      <a:pt x="6701635" y="1591755"/>
                    </a:cubicBezTo>
                    <a:cubicBezTo>
                      <a:pt x="6701635" y="1617155"/>
                      <a:pt x="6722347" y="1637871"/>
                      <a:pt x="6747745" y="1637871"/>
                    </a:cubicBezTo>
                    <a:cubicBezTo>
                      <a:pt x="6773141" y="1637871"/>
                      <a:pt x="6793856" y="1617155"/>
                      <a:pt x="6793856" y="1591755"/>
                    </a:cubicBezTo>
                    <a:close/>
                    <a:moveTo>
                      <a:pt x="6801007" y="1010165"/>
                    </a:moveTo>
                    <a:cubicBezTo>
                      <a:pt x="6801007" y="982055"/>
                      <a:pt x="6778321" y="959376"/>
                      <a:pt x="6750211" y="959376"/>
                    </a:cubicBezTo>
                    <a:cubicBezTo>
                      <a:pt x="6722102" y="959376"/>
                      <a:pt x="6699417" y="982055"/>
                      <a:pt x="6699417" y="1010165"/>
                    </a:cubicBezTo>
                    <a:cubicBezTo>
                      <a:pt x="6699417" y="1038258"/>
                      <a:pt x="6722348" y="1060960"/>
                      <a:pt x="6750211" y="1060960"/>
                    </a:cubicBezTo>
                    <a:cubicBezTo>
                      <a:pt x="6778075" y="1060960"/>
                      <a:pt x="6801007" y="1038258"/>
                      <a:pt x="6801007" y="1010165"/>
                    </a:cubicBezTo>
                    <a:close/>
                    <a:moveTo>
                      <a:pt x="6805937" y="4051661"/>
                    </a:moveTo>
                    <a:cubicBezTo>
                      <a:pt x="6805937" y="4032921"/>
                      <a:pt x="6790650" y="4017631"/>
                      <a:pt x="6771910" y="4017631"/>
                    </a:cubicBezTo>
                    <a:cubicBezTo>
                      <a:pt x="6753169" y="4017631"/>
                      <a:pt x="6737882" y="4032921"/>
                      <a:pt x="6737882" y="4051661"/>
                    </a:cubicBezTo>
                    <a:cubicBezTo>
                      <a:pt x="6737882" y="4070398"/>
                      <a:pt x="6753169" y="4085687"/>
                      <a:pt x="6771910" y="4085687"/>
                    </a:cubicBezTo>
                    <a:cubicBezTo>
                      <a:pt x="6790650" y="4085687"/>
                      <a:pt x="6805691" y="4070398"/>
                      <a:pt x="6805937" y="4051661"/>
                    </a:cubicBezTo>
                    <a:close/>
                    <a:moveTo>
                      <a:pt x="6807168" y="4830595"/>
                    </a:moveTo>
                    <a:cubicBezTo>
                      <a:pt x="6807168" y="4810129"/>
                      <a:pt x="6790648" y="4793607"/>
                      <a:pt x="6770184" y="4793607"/>
                    </a:cubicBezTo>
                    <a:cubicBezTo>
                      <a:pt x="6749717" y="4793607"/>
                      <a:pt x="6733197" y="4810129"/>
                      <a:pt x="6733197" y="4830595"/>
                    </a:cubicBezTo>
                    <a:cubicBezTo>
                      <a:pt x="6733197" y="4851058"/>
                      <a:pt x="6749717" y="4867579"/>
                      <a:pt x="6770184" y="4867579"/>
                    </a:cubicBezTo>
                    <a:cubicBezTo>
                      <a:pt x="6790648" y="4867579"/>
                      <a:pt x="6807168" y="4851058"/>
                      <a:pt x="6807168" y="4830595"/>
                    </a:cubicBezTo>
                    <a:close/>
                    <a:moveTo>
                      <a:pt x="6807908" y="1850469"/>
                    </a:moveTo>
                    <a:cubicBezTo>
                      <a:pt x="6807908" y="1826319"/>
                      <a:pt x="6788430" y="1806831"/>
                      <a:pt x="6764265" y="1806831"/>
                    </a:cubicBezTo>
                    <a:cubicBezTo>
                      <a:pt x="6740102" y="1806831"/>
                      <a:pt x="6720621" y="1826566"/>
                      <a:pt x="6720621" y="1850469"/>
                    </a:cubicBezTo>
                    <a:cubicBezTo>
                      <a:pt x="6720621" y="1874605"/>
                      <a:pt x="6740347" y="1894061"/>
                      <a:pt x="6764265" y="1894061"/>
                    </a:cubicBezTo>
                    <a:cubicBezTo>
                      <a:pt x="6788181" y="1894061"/>
                      <a:pt x="6807662" y="1874605"/>
                      <a:pt x="6807908" y="1850469"/>
                    </a:cubicBezTo>
                    <a:close/>
                    <a:moveTo>
                      <a:pt x="6807910" y="4557880"/>
                    </a:moveTo>
                    <a:cubicBezTo>
                      <a:pt x="6807910" y="4529277"/>
                      <a:pt x="6784730" y="4506098"/>
                      <a:pt x="6756127" y="4506098"/>
                    </a:cubicBezTo>
                    <a:cubicBezTo>
                      <a:pt x="6727527" y="4506098"/>
                      <a:pt x="6704348" y="4529277"/>
                      <a:pt x="6704348" y="4557880"/>
                    </a:cubicBezTo>
                    <a:cubicBezTo>
                      <a:pt x="6704348" y="4586483"/>
                      <a:pt x="6727527" y="4609660"/>
                      <a:pt x="6756127" y="4609660"/>
                    </a:cubicBezTo>
                    <a:cubicBezTo>
                      <a:pt x="6784730" y="4609660"/>
                      <a:pt x="6807910" y="4586234"/>
                      <a:pt x="6807910" y="4557880"/>
                    </a:cubicBezTo>
                    <a:close/>
                    <a:moveTo>
                      <a:pt x="6809142" y="2116109"/>
                    </a:moveTo>
                    <a:cubicBezTo>
                      <a:pt x="6809142" y="2092673"/>
                      <a:pt x="6790154" y="2073673"/>
                      <a:pt x="6766732" y="2073673"/>
                    </a:cubicBezTo>
                    <a:cubicBezTo>
                      <a:pt x="6743308" y="2073673"/>
                      <a:pt x="6724320" y="2092673"/>
                      <a:pt x="6724320" y="2116109"/>
                    </a:cubicBezTo>
                    <a:cubicBezTo>
                      <a:pt x="6724320" y="2139534"/>
                      <a:pt x="6743308" y="2158527"/>
                      <a:pt x="6766732" y="2158527"/>
                    </a:cubicBezTo>
                    <a:cubicBezTo>
                      <a:pt x="6790154" y="2158527"/>
                      <a:pt x="6809142" y="2139534"/>
                      <a:pt x="6809142" y="2116109"/>
                    </a:cubicBezTo>
                    <a:close/>
                    <a:moveTo>
                      <a:pt x="6809633" y="3009948"/>
                    </a:moveTo>
                    <a:cubicBezTo>
                      <a:pt x="6809633" y="2998360"/>
                      <a:pt x="6800265" y="2988988"/>
                      <a:pt x="6788675" y="2988988"/>
                    </a:cubicBezTo>
                    <a:cubicBezTo>
                      <a:pt x="6777333" y="2988988"/>
                      <a:pt x="6767963" y="2998360"/>
                      <a:pt x="6767963" y="3009948"/>
                    </a:cubicBezTo>
                    <a:cubicBezTo>
                      <a:pt x="6767963" y="3021539"/>
                      <a:pt x="6777333" y="3030909"/>
                      <a:pt x="6788675" y="3030909"/>
                    </a:cubicBezTo>
                    <a:cubicBezTo>
                      <a:pt x="6800265" y="3030909"/>
                      <a:pt x="6809633" y="3021539"/>
                      <a:pt x="6809633" y="3009948"/>
                    </a:cubicBezTo>
                    <a:close/>
                    <a:moveTo>
                      <a:pt x="6810620" y="5889389"/>
                    </a:moveTo>
                    <a:cubicBezTo>
                      <a:pt x="6810620" y="5879280"/>
                      <a:pt x="6802238" y="5870895"/>
                      <a:pt x="6791880" y="5870895"/>
                    </a:cubicBezTo>
                    <a:cubicBezTo>
                      <a:pt x="6781526" y="5870895"/>
                      <a:pt x="6773141" y="5879031"/>
                      <a:pt x="6773141" y="5889389"/>
                    </a:cubicBezTo>
                    <a:cubicBezTo>
                      <a:pt x="6773141" y="5899743"/>
                      <a:pt x="6781526" y="5908129"/>
                      <a:pt x="6791880" y="5908129"/>
                    </a:cubicBezTo>
                    <a:cubicBezTo>
                      <a:pt x="6801989" y="5908129"/>
                      <a:pt x="6810620" y="5899498"/>
                      <a:pt x="6810620" y="5889389"/>
                    </a:cubicBezTo>
                    <a:close/>
                    <a:moveTo>
                      <a:pt x="6812593" y="1405125"/>
                    </a:moveTo>
                    <a:cubicBezTo>
                      <a:pt x="6812593" y="1376771"/>
                      <a:pt x="6789417" y="1353585"/>
                      <a:pt x="6761059" y="1353585"/>
                    </a:cubicBezTo>
                    <a:cubicBezTo>
                      <a:pt x="6732705" y="1353585"/>
                      <a:pt x="6709526" y="1376771"/>
                      <a:pt x="6709526" y="1405125"/>
                    </a:cubicBezTo>
                    <a:cubicBezTo>
                      <a:pt x="6709526" y="1433478"/>
                      <a:pt x="6732705" y="1456655"/>
                      <a:pt x="6761059" y="1456655"/>
                    </a:cubicBezTo>
                    <a:cubicBezTo>
                      <a:pt x="6789417" y="1456655"/>
                      <a:pt x="6812593" y="1433478"/>
                      <a:pt x="6812593" y="1405125"/>
                    </a:cubicBezTo>
                    <a:close/>
                    <a:moveTo>
                      <a:pt x="6819004" y="3936755"/>
                    </a:moveTo>
                    <a:cubicBezTo>
                      <a:pt x="6819004" y="3920729"/>
                      <a:pt x="6805937" y="3907661"/>
                      <a:pt x="6789910" y="3907661"/>
                    </a:cubicBezTo>
                    <a:cubicBezTo>
                      <a:pt x="6773880" y="3907661"/>
                      <a:pt x="6760813" y="3920729"/>
                      <a:pt x="6760813" y="3936755"/>
                    </a:cubicBezTo>
                    <a:cubicBezTo>
                      <a:pt x="6760813" y="3952785"/>
                      <a:pt x="6773880" y="3965852"/>
                      <a:pt x="6789910" y="3965852"/>
                    </a:cubicBezTo>
                    <a:cubicBezTo>
                      <a:pt x="6805937" y="3965852"/>
                      <a:pt x="6819004" y="3953030"/>
                      <a:pt x="6819004" y="3936755"/>
                    </a:cubicBezTo>
                    <a:close/>
                    <a:moveTo>
                      <a:pt x="6822704" y="5491661"/>
                    </a:moveTo>
                    <a:cubicBezTo>
                      <a:pt x="6822704" y="5477852"/>
                      <a:pt x="6811363" y="5466511"/>
                      <a:pt x="6797554" y="5466511"/>
                    </a:cubicBezTo>
                    <a:cubicBezTo>
                      <a:pt x="6783747" y="5466511"/>
                      <a:pt x="6772403" y="5477852"/>
                      <a:pt x="6772403" y="5491661"/>
                    </a:cubicBezTo>
                    <a:cubicBezTo>
                      <a:pt x="6772403" y="5505469"/>
                      <a:pt x="6783747" y="5516813"/>
                      <a:pt x="6797554" y="5516813"/>
                    </a:cubicBezTo>
                    <a:cubicBezTo>
                      <a:pt x="6811363" y="5516813"/>
                      <a:pt x="6822704" y="5505717"/>
                      <a:pt x="6822704" y="5491661"/>
                    </a:cubicBezTo>
                    <a:close/>
                    <a:moveTo>
                      <a:pt x="6823936" y="3125602"/>
                    </a:moveTo>
                    <a:cubicBezTo>
                      <a:pt x="6823936" y="3114012"/>
                      <a:pt x="6814568" y="3104642"/>
                      <a:pt x="6802979" y="3104642"/>
                    </a:cubicBezTo>
                    <a:cubicBezTo>
                      <a:pt x="6791391" y="3104642"/>
                      <a:pt x="6782020" y="3114012"/>
                      <a:pt x="6782020" y="3125602"/>
                    </a:cubicBezTo>
                    <a:cubicBezTo>
                      <a:pt x="6782020" y="3137193"/>
                      <a:pt x="6791391" y="3146563"/>
                      <a:pt x="6802979" y="3146563"/>
                    </a:cubicBezTo>
                    <a:cubicBezTo>
                      <a:pt x="6814568" y="3146563"/>
                      <a:pt x="6823936" y="3137193"/>
                      <a:pt x="6823936" y="3125602"/>
                    </a:cubicBezTo>
                    <a:close/>
                    <a:moveTo>
                      <a:pt x="6827636" y="2610976"/>
                    </a:moveTo>
                    <a:cubicBezTo>
                      <a:pt x="6827636" y="2606291"/>
                      <a:pt x="6823936" y="2602591"/>
                      <a:pt x="6819254" y="2602591"/>
                    </a:cubicBezTo>
                    <a:cubicBezTo>
                      <a:pt x="6814569" y="2602591"/>
                      <a:pt x="6810868" y="2606291"/>
                      <a:pt x="6810868" y="2610976"/>
                    </a:cubicBezTo>
                    <a:cubicBezTo>
                      <a:pt x="6810868" y="2615909"/>
                      <a:pt x="6814569" y="2619605"/>
                      <a:pt x="6819254" y="2619605"/>
                    </a:cubicBezTo>
                    <a:cubicBezTo>
                      <a:pt x="6823936" y="2619605"/>
                      <a:pt x="6827882" y="2615909"/>
                      <a:pt x="6827636" y="2610976"/>
                    </a:cubicBezTo>
                    <a:close/>
                    <a:moveTo>
                      <a:pt x="6828131" y="3821361"/>
                    </a:moveTo>
                    <a:cubicBezTo>
                      <a:pt x="6828131" y="3807799"/>
                      <a:pt x="6817032" y="3796949"/>
                      <a:pt x="6803719" y="3796949"/>
                    </a:cubicBezTo>
                    <a:cubicBezTo>
                      <a:pt x="6790157" y="3796949"/>
                      <a:pt x="6779307" y="3808045"/>
                      <a:pt x="6779307" y="3821361"/>
                    </a:cubicBezTo>
                    <a:cubicBezTo>
                      <a:pt x="6779307" y="3834921"/>
                      <a:pt x="6790402" y="3845769"/>
                      <a:pt x="6803719" y="3845769"/>
                    </a:cubicBezTo>
                    <a:cubicBezTo>
                      <a:pt x="6817281" y="3845769"/>
                      <a:pt x="6828131" y="3834921"/>
                      <a:pt x="6828131" y="3821361"/>
                    </a:cubicBezTo>
                    <a:close/>
                    <a:moveTo>
                      <a:pt x="6830348" y="3241255"/>
                    </a:moveTo>
                    <a:cubicBezTo>
                      <a:pt x="6830348" y="3231637"/>
                      <a:pt x="6822704" y="3223992"/>
                      <a:pt x="6813089" y="3223992"/>
                    </a:cubicBezTo>
                    <a:cubicBezTo>
                      <a:pt x="6803472" y="3223992"/>
                      <a:pt x="6795828" y="3231637"/>
                      <a:pt x="6795828" y="3241255"/>
                    </a:cubicBezTo>
                    <a:cubicBezTo>
                      <a:pt x="6795828" y="3250863"/>
                      <a:pt x="6803472" y="3258502"/>
                      <a:pt x="6813089" y="3258502"/>
                    </a:cubicBezTo>
                    <a:cubicBezTo>
                      <a:pt x="6822704" y="3258502"/>
                      <a:pt x="6830348" y="3250863"/>
                      <a:pt x="6830348" y="3241255"/>
                    </a:cubicBezTo>
                    <a:close/>
                    <a:moveTo>
                      <a:pt x="6832564" y="5252975"/>
                    </a:moveTo>
                    <a:cubicBezTo>
                      <a:pt x="6832564" y="5240400"/>
                      <a:pt x="6822210" y="5230045"/>
                      <a:pt x="6809633" y="5230045"/>
                    </a:cubicBezTo>
                    <a:cubicBezTo>
                      <a:pt x="6796811" y="5230045"/>
                      <a:pt x="6786703" y="5240400"/>
                      <a:pt x="6786703" y="5252975"/>
                    </a:cubicBezTo>
                    <a:cubicBezTo>
                      <a:pt x="6786703" y="5265552"/>
                      <a:pt x="6797058" y="5275909"/>
                      <a:pt x="6809633" y="5275909"/>
                    </a:cubicBezTo>
                    <a:cubicBezTo>
                      <a:pt x="6822210" y="5275909"/>
                      <a:pt x="6832318" y="5265797"/>
                      <a:pt x="6832564" y="5252975"/>
                    </a:cubicBezTo>
                    <a:close/>
                    <a:moveTo>
                      <a:pt x="6832814" y="3357393"/>
                    </a:moveTo>
                    <a:cubicBezTo>
                      <a:pt x="6832814" y="3349985"/>
                      <a:pt x="6826648" y="3343814"/>
                      <a:pt x="6819251" y="3343814"/>
                    </a:cubicBezTo>
                    <a:cubicBezTo>
                      <a:pt x="6811853" y="3343814"/>
                      <a:pt x="6805689" y="3349985"/>
                      <a:pt x="6805689" y="3357393"/>
                    </a:cubicBezTo>
                    <a:cubicBezTo>
                      <a:pt x="6805689" y="3364775"/>
                      <a:pt x="6811853" y="3370915"/>
                      <a:pt x="6819251" y="3370915"/>
                    </a:cubicBezTo>
                    <a:cubicBezTo>
                      <a:pt x="6826648" y="3370915"/>
                      <a:pt x="6832814" y="3364775"/>
                      <a:pt x="6832814" y="3357393"/>
                    </a:cubicBezTo>
                    <a:close/>
                    <a:moveTo>
                      <a:pt x="6833800" y="3705466"/>
                    </a:moveTo>
                    <a:cubicBezTo>
                      <a:pt x="6833800" y="3694617"/>
                      <a:pt x="6824923" y="3685494"/>
                      <a:pt x="6813828" y="3685494"/>
                    </a:cubicBezTo>
                    <a:cubicBezTo>
                      <a:pt x="6802730" y="3685494"/>
                      <a:pt x="6793607" y="3694371"/>
                      <a:pt x="6793607" y="3705466"/>
                    </a:cubicBezTo>
                    <a:cubicBezTo>
                      <a:pt x="6793607" y="3716563"/>
                      <a:pt x="6802730" y="3725687"/>
                      <a:pt x="6813828" y="3725687"/>
                    </a:cubicBezTo>
                    <a:cubicBezTo>
                      <a:pt x="6824676" y="3725687"/>
                      <a:pt x="6833800" y="3716315"/>
                      <a:pt x="6833800" y="3705466"/>
                    </a:cubicBezTo>
                    <a:close/>
                    <a:moveTo>
                      <a:pt x="6835035" y="3473441"/>
                    </a:moveTo>
                    <a:cubicBezTo>
                      <a:pt x="6835035" y="3466043"/>
                      <a:pt x="6828869" y="3460231"/>
                      <a:pt x="6821472" y="3460231"/>
                    </a:cubicBezTo>
                    <a:cubicBezTo>
                      <a:pt x="6814074" y="3460231"/>
                      <a:pt x="6807910" y="3465797"/>
                      <a:pt x="6807910" y="3473441"/>
                    </a:cubicBezTo>
                    <a:cubicBezTo>
                      <a:pt x="6807910" y="3480838"/>
                      <a:pt x="6814074" y="3487001"/>
                      <a:pt x="6821472" y="3487001"/>
                    </a:cubicBezTo>
                    <a:cubicBezTo>
                      <a:pt x="6828869" y="3487001"/>
                      <a:pt x="6835035" y="3480838"/>
                      <a:pt x="6835035" y="3473441"/>
                    </a:cubicBezTo>
                    <a:close/>
                    <a:moveTo>
                      <a:pt x="6836266" y="3589577"/>
                    </a:moveTo>
                    <a:cubicBezTo>
                      <a:pt x="6836266" y="3580454"/>
                      <a:pt x="6828867" y="3572810"/>
                      <a:pt x="6819500" y="3572810"/>
                    </a:cubicBezTo>
                    <a:cubicBezTo>
                      <a:pt x="6810376" y="3572810"/>
                      <a:pt x="6802732" y="3580209"/>
                      <a:pt x="6802732" y="3589577"/>
                    </a:cubicBezTo>
                    <a:cubicBezTo>
                      <a:pt x="6802732" y="3598699"/>
                      <a:pt x="6810128" y="3606344"/>
                      <a:pt x="6819500" y="3606344"/>
                    </a:cubicBezTo>
                    <a:cubicBezTo>
                      <a:pt x="6828867" y="3606344"/>
                      <a:pt x="6836512" y="3598945"/>
                      <a:pt x="6836266" y="3589577"/>
                    </a:cubicBezTo>
                    <a:close/>
                    <a:moveTo>
                      <a:pt x="6842428" y="4446920"/>
                    </a:moveTo>
                    <a:cubicBezTo>
                      <a:pt x="6842428" y="4418565"/>
                      <a:pt x="6819252" y="4395386"/>
                      <a:pt x="6790895" y="4395386"/>
                    </a:cubicBezTo>
                    <a:cubicBezTo>
                      <a:pt x="6762540" y="4395386"/>
                      <a:pt x="6739361" y="4418565"/>
                      <a:pt x="6739361" y="4446920"/>
                    </a:cubicBezTo>
                    <a:cubicBezTo>
                      <a:pt x="6739361" y="4475277"/>
                      <a:pt x="6762540" y="4498453"/>
                      <a:pt x="6790895" y="4498453"/>
                    </a:cubicBezTo>
                    <a:cubicBezTo>
                      <a:pt x="6819252" y="4498453"/>
                      <a:pt x="6842428" y="4475277"/>
                      <a:pt x="6842428" y="4446920"/>
                    </a:cubicBezTo>
                    <a:close/>
                    <a:moveTo>
                      <a:pt x="6843168" y="1253746"/>
                    </a:moveTo>
                    <a:cubicBezTo>
                      <a:pt x="6843168" y="1225157"/>
                      <a:pt x="6819992" y="1201976"/>
                      <a:pt x="6791389" y="1201976"/>
                    </a:cubicBezTo>
                    <a:cubicBezTo>
                      <a:pt x="6762786" y="1201976"/>
                      <a:pt x="6739361" y="1225157"/>
                      <a:pt x="6739361" y="1253746"/>
                    </a:cubicBezTo>
                    <a:cubicBezTo>
                      <a:pt x="6739361" y="1282353"/>
                      <a:pt x="6762786" y="1305523"/>
                      <a:pt x="6791389" y="1305523"/>
                    </a:cubicBezTo>
                    <a:cubicBezTo>
                      <a:pt x="6819992" y="1305523"/>
                      <a:pt x="6843168" y="1282353"/>
                      <a:pt x="6843168" y="1253746"/>
                    </a:cubicBezTo>
                    <a:close/>
                    <a:moveTo>
                      <a:pt x="6845144" y="4991362"/>
                    </a:moveTo>
                    <a:cubicBezTo>
                      <a:pt x="6845144" y="4976567"/>
                      <a:pt x="6833062" y="4964731"/>
                      <a:pt x="6818513" y="4964731"/>
                    </a:cubicBezTo>
                    <a:cubicBezTo>
                      <a:pt x="6803964" y="4964731"/>
                      <a:pt x="6792129" y="4976813"/>
                      <a:pt x="6792129" y="4991362"/>
                    </a:cubicBezTo>
                    <a:cubicBezTo>
                      <a:pt x="6792129" y="5005911"/>
                      <a:pt x="6803964" y="5017746"/>
                      <a:pt x="6818513" y="5017746"/>
                    </a:cubicBezTo>
                    <a:cubicBezTo>
                      <a:pt x="6833062" y="5017746"/>
                      <a:pt x="6844895" y="5005911"/>
                      <a:pt x="6845144" y="4991362"/>
                    </a:cubicBezTo>
                    <a:close/>
                    <a:moveTo>
                      <a:pt x="6845389" y="5644291"/>
                    </a:moveTo>
                    <a:cubicBezTo>
                      <a:pt x="6845389" y="5635660"/>
                      <a:pt x="6838239" y="5628510"/>
                      <a:pt x="6829608" y="5628510"/>
                    </a:cubicBezTo>
                    <a:cubicBezTo>
                      <a:pt x="6820978" y="5628510"/>
                      <a:pt x="6813828" y="5635660"/>
                      <a:pt x="6813828" y="5644291"/>
                    </a:cubicBezTo>
                    <a:cubicBezTo>
                      <a:pt x="6813828" y="5652922"/>
                      <a:pt x="6820978" y="5660072"/>
                      <a:pt x="6829608" y="5660072"/>
                    </a:cubicBezTo>
                    <a:cubicBezTo>
                      <a:pt x="6838239" y="5660072"/>
                      <a:pt x="6845389" y="5652922"/>
                      <a:pt x="6845389" y="5644291"/>
                    </a:cubicBezTo>
                    <a:close/>
                    <a:moveTo>
                      <a:pt x="6850075" y="1693103"/>
                    </a:moveTo>
                    <a:cubicBezTo>
                      <a:pt x="6850075" y="1667945"/>
                      <a:pt x="6829608" y="1647486"/>
                      <a:pt x="6804457" y="1647486"/>
                    </a:cubicBezTo>
                    <a:cubicBezTo>
                      <a:pt x="6779307" y="1647486"/>
                      <a:pt x="6758841" y="1667945"/>
                      <a:pt x="6758841" y="1693103"/>
                    </a:cubicBezTo>
                    <a:cubicBezTo>
                      <a:pt x="6758841" y="1718199"/>
                      <a:pt x="6779307" y="1738718"/>
                      <a:pt x="6804457" y="1738718"/>
                    </a:cubicBezTo>
                    <a:cubicBezTo>
                      <a:pt x="6829608" y="1738718"/>
                      <a:pt x="6850320" y="1718199"/>
                      <a:pt x="6850075" y="1693103"/>
                    </a:cubicBezTo>
                    <a:close/>
                    <a:moveTo>
                      <a:pt x="6852045" y="2223876"/>
                    </a:moveTo>
                    <a:cubicBezTo>
                      <a:pt x="6852045" y="2200450"/>
                      <a:pt x="6833060" y="2181475"/>
                      <a:pt x="6809634" y="2181475"/>
                    </a:cubicBezTo>
                    <a:cubicBezTo>
                      <a:pt x="6786208" y="2181475"/>
                      <a:pt x="6767223" y="2200450"/>
                      <a:pt x="6767223" y="2223876"/>
                    </a:cubicBezTo>
                    <a:cubicBezTo>
                      <a:pt x="6767223" y="2247333"/>
                      <a:pt x="6786208" y="2266275"/>
                      <a:pt x="6809634" y="2266275"/>
                    </a:cubicBezTo>
                    <a:cubicBezTo>
                      <a:pt x="6832814" y="2266275"/>
                      <a:pt x="6852045" y="2247333"/>
                      <a:pt x="6852045" y="2223876"/>
                    </a:cubicBezTo>
                    <a:close/>
                    <a:moveTo>
                      <a:pt x="6856485" y="4722593"/>
                    </a:moveTo>
                    <a:cubicBezTo>
                      <a:pt x="6856485" y="4698430"/>
                      <a:pt x="6837007" y="4678950"/>
                      <a:pt x="6812842" y="4678950"/>
                    </a:cubicBezTo>
                    <a:cubicBezTo>
                      <a:pt x="6788679" y="4678950"/>
                      <a:pt x="6769198" y="4698430"/>
                      <a:pt x="6769198" y="4722593"/>
                    </a:cubicBezTo>
                    <a:cubicBezTo>
                      <a:pt x="6769198" y="4746759"/>
                      <a:pt x="6788679" y="4766236"/>
                      <a:pt x="6812842" y="4766236"/>
                    </a:cubicBezTo>
                    <a:cubicBezTo>
                      <a:pt x="6837007" y="4766236"/>
                      <a:pt x="6856485" y="4746511"/>
                      <a:pt x="6856485" y="4722593"/>
                    </a:cubicBezTo>
                    <a:close/>
                    <a:moveTo>
                      <a:pt x="6857473" y="1954889"/>
                    </a:moveTo>
                    <a:cubicBezTo>
                      <a:pt x="6857473" y="1931001"/>
                      <a:pt x="6837992" y="1911792"/>
                      <a:pt x="6814322" y="1911792"/>
                    </a:cubicBezTo>
                    <a:cubicBezTo>
                      <a:pt x="6790402" y="1911792"/>
                      <a:pt x="6771170" y="1931247"/>
                      <a:pt x="6771170" y="1954889"/>
                    </a:cubicBezTo>
                    <a:cubicBezTo>
                      <a:pt x="6771170" y="1978777"/>
                      <a:pt x="6790651" y="1997987"/>
                      <a:pt x="6814322" y="1997987"/>
                    </a:cubicBezTo>
                    <a:cubicBezTo>
                      <a:pt x="6837992" y="1997987"/>
                      <a:pt x="6857225" y="1978777"/>
                      <a:pt x="6857473" y="1954889"/>
                    </a:cubicBezTo>
                    <a:close/>
                    <a:moveTo>
                      <a:pt x="6858211" y="2723919"/>
                    </a:moveTo>
                    <a:cubicBezTo>
                      <a:pt x="6858211" y="2717504"/>
                      <a:pt x="6853031" y="2712329"/>
                      <a:pt x="6846622" y="2712329"/>
                    </a:cubicBezTo>
                    <a:cubicBezTo>
                      <a:pt x="6840210" y="2712329"/>
                      <a:pt x="6835032" y="2717504"/>
                      <a:pt x="6835032" y="2723919"/>
                    </a:cubicBezTo>
                    <a:cubicBezTo>
                      <a:pt x="6835032" y="2730329"/>
                      <a:pt x="6840210" y="2735508"/>
                      <a:pt x="6846622" y="2735508"/>
                    </a:cubicBezTo>
                    <a:cubicBezTo>
                      <a:pt x="6853031" y="2735508"/>
                      <a:pt x="6858211" y="2730329"/>
                      <a:pt x="6858211" y="2723919"/>
                    </a:cubicBezTo>
                    <a:close/>
                    <a:moveTo>
                      <a:pt x="6870292" y="1103618"/>
                    </a:moveTo>
                    <a:cubicBezTo>
                      <a:pt x="6870292" y="1075255"/>
                      <a:pt x="6847113" y="1052323"/>
                      <a:pt x="6819004" y="1052323"/>
                    </a:cubicBezTo>
                    <a:cubicBezTo>
                      <a:pt x="6790894" y="1052323"/>
                      <a:pt x="6767963" y="1075255"/>
                      <a:pt x="6767963" y="1103618"/>
                    </a:cubicBezTo>
                    <a:cubicBezTo>
                      <a:pt x="6767963" y="1131972"/>
                      <a:pt x="6790894" y="1154908"/>
                      <a:pt x="6819004" y="1154908"/>
                    </a:cubicBezTo>
                    <a:cubicBezTo>
                      <a:pt x="6847362" y="1154908"/>
                      <a:pt x="6870292" y="1131972"/>
                      <a:pt x="6870292" y="1103618"/>
                    </a:cubicBezTo>
                    <a:close/>
                    <a:moveTo>
                      <a:pt x="6872757" y="4334976"/>
                    </a:moveTo>
                    <a:cubicBezTo>
                      <a:pt x="6872757" y="4306787"/>
                      <a:pt x="6849907" y="4283934"/>
                      <a:pt x="6821718" y="4283934"/>
                    </a:cubicBezTo>
                    <a:cubicBezTo>
                      <a:pt x="6793526" y="4283934"/>
                      <a:pt x="6770676" y="4306787"/>
                      <a:pt x="6770676" y="4334976"/>
                    </a:cubicBezTo>
                    <a:cubicBezTo>
                      <a:pt x="6770676" y="4363165"/>
                      <a:pt x="6793526" y="4386018"/>
                      <a:pt x="6821718" y="4386018"/>
                    </a:cubicBezTo>
                    <a:cubicBezTo>
                      <a:pt x="6849907" y="4386018"/>
                      <a:pt x="6872757" y="4363165"/>
                      <a:pt x="6872757" y="4334976"/>
                    </a:cubicBezTo>
                    <a:close/>
                    <a:moveTo>
                      <a:pt x="6873992" y="1504002"/>
                    </a:moveTo>
                    <a:cubicBezTo>
                      <a:pt x="6873992" y="1475151"/>
                      <a:pt x="6850567" y="1451962"/>
                      <a:pt x="6821964" y="1451962"/>
                    </a:cubicBezTo>
                    <a:cubicBezTo>
                      <a:pt x="6793361" y="1451962"/>
                      <a:pt x="6769936" y="1475396"/>
                      <a:pt x="6769936" y="1504002"/>
                    </a:cubicBezTo>
                    <a:cubicBezTo>
                      <a:pt x="6769936" y="1532606"/>
                      <a:pt x="6793361" y="1556025"/>
                      <a:pt x="6821964" y="1556025"/>
                    </a:cubicBezTo>
                    <a:cubicBezTo>
                      <a:pt x="6850567" y="1556025"/>
                      <a:pt x="6873992" y="1532852"/>
                      <a:pt x="6873992" y="1504002"/>
                    </a:cubicBezTo>
                    <a:close/>
                    <a:moveTo>
                      <a:pt x="6878675" y="5794705"/>
                    </a:moveTo>
                    <a:cubicBezTo>
                      <a:pt x="6878675" y="5783855"/>
                      <a:pt x="6869801" y="5775224"/>
                      <a:pt x="6859197" y="5775224"/>
                    </a:cubicBezTo>
                    <a:cubicBezTo>
                      <a:pt x="6848348" y="5775224"/>
                      <a:pt x="6839717" y="5783855"/>
                      <a:pt x="6839717" y="5794705"/>
                    </a:cubicBezTo>
                    <a:cubicBezTo>
                      <a:pt x="6839717" y="5805553"/>
                      <a:pt x="6848594" y="5814181"/>
                      <a:pt x="6859197" y="5814181"/>
                    </a:cubicBezTo>
                    <a:cubicBezTo>
                      <a:pt x="6869801" y="5814181"/>
                      <a:pt x="6878675" y="5805553"/>
                      <a:pt x="6878675" y="5794705"/>
                    </a:cubicBezTo>
                    <a:close/>
                    <a:moveTo>
                      <a:pt x="6882870" y="5391552"/>
                    </a:moveTo>
                    <a:cubicBezTo>
                      <a:pt x="6882870" y="5377006"/>
                      <a:pt x="6871280" y="5365416"/>
                      <a:pt x="6856731" y="5365416"/>
                    </a:cubicBezTo>
                    <a:cubicBezTo>
                      <a:pt x="6842184" y="5365416"/>
                      <a:pt x="6830595" y="5377252"/>
                      <a:pt x="6830595" y="5391552"/>
                    </a:cubicBezTo>
                    <a:cubicBezTo>
                      <a:pt x="6830595" y="5406101"/>
                      <a:pt x="6842431" y="5417691"/>
                      <a:pt x="6856731" y="5417691"/>
                    </a:cubicBezTo>
                    <a:cubicBezTo>
                      <a:pt x="6871280" y="5417691"/>
                      <a:pt x="6882870" y="5405855"/>
                      <a:pt x="6882870" y="5391552"/>
                    </a:cubicBezTo>
                    <a:close/>
                    <a:moveTo>
                      <a:pt x="6884592" y="2837845"/>
                    </a:moveTo>
                    <a:cubicBezTo>
                      <a:pt x="6884592" y="2829953"/>
                      <a:pt x="6878182" y="2823297"/>
                      <a:pt x="6870047" y="2823297"/>
                    </a:cubicBezTo>
                    <a:cubicBezTo>
                      <a:pt x="6861908" y="2823297"/>
                      <a:pt x="6855498" y="2829705"/>
                      <a:pt x="6855498" y="2837845"/>
                    </a:cubicBezTo>
                    <a:cubicBezTo>
                      <a:pt x="6855498" y="2845983"/>
                      <a:pt x="6861908" y="2852391"/>
                      <a:pt x="6870047" y="2852391"/>
                    </a:cubicBezTo>
                    <a:cubicBezTo>
                      <a:pt x="6878182" y="2852391"/>
                      <a:pt x="6884838" y="2845737"/>
                      <a:pt x="6884592" y="2837845"/>
                    </a:cubicBezTo>
                    <a:close/>
                    <a:moveTo>
                      <a:pt x="6888784" y="5149908"/>
                    </a:moveTo>
                    <a:cubicBezTo>
                      <a:pt x="6888784" y="5135607"/>
                      <a:pt x="6877197" y="5124018"/>
                      <a:pt x="6862894" y="5124018"/>
                    </a:cubicBezTo>
                    <a:cubicBezTo>
                      <a:pt x="6848591" y="5124018"/>
                      <a:pt x="6837004" y="5135359"/>
                      <a:pt x="6837004" y="5149908"/>
                    </a:cubicBezTo>
                    <a:cubicBezTo>
                      <a:pt x="6837004" y="5164456"/>
                      <a:pt x="6848591" y="5176046"/>
                      <a:pt x="6862894" y="5176046"/>
                    </a:cubicBezTo>
                    <a:cubicBezTo>
                      <a:pt x="6877197" y="5176046"/>
                      <a:pt x="6888784" y="5164211"/>
                      <a:pt x="6888784" y="5149908"/>
                    </a:cubicBezTo>
                    <a:close/>
                    <a:moveTo>
                      <a:pt x="6888788" y="2333102"/>
                    </a:moveTo>
                    <a:cubicBezTo>
                      <a:pt x="6888788" y="2311159"/>
                      <a:pt x="6870788" y="2293163"/>
                      <a:pt x="6848841" y="2293163"/>
                    </a:cubicBezTo>
                    <a:cubicBezTo>
                      <a:pt x="6826896" y="2293163"/>
                      <a:pt x="6808897" y="2311159"/>
                      <a:pt x="6808897" y="2333102"/>
                    </a:cubicBezTo>
                    <a:cubicBezTo>
                      <a:pt x="6808897" y="2355089"/>
                      <a:pt x="6826896" y="2373057"/>
                      <a:pt x="6848841" y="2373057"/>
                    </a:cubicBezTo>
                    <a:cubicBezTo>
                      <a:pt x="6870788" y="2373057"/>
                      <a:pt x="6888788" y="2355089"/>
                      <a:pt x="6888788" y="2333102"/>
                    </a:cubicBezTo>
                    <a:close/>
                    <a:moveTo>
                      <a:pt x="6898893" y="4222046"/>
                    </a:moveTo>
                    <a:cubicBezTo>
                      <a:pt x="6898893" y="4194429"/>
                      <a:pt x="6876456" y="4171990"/>
                      <a:pt x="6848841" y="4171990"/>
                    </a:cubicBezTo>
                    <a:cubicBezTo>
                      <a:pt x="6821224" y="4171990"/>
                      <a:pt x="6798785" y="4194429"/>
                      <a:pt x="6798785" y="4222046"/>
                    </a:cubicBezTo>
                    <a:cubicBezTo>
                      <a:pt x="6798785" y="4249662"/>
                      <a:pt x="6821224" y="4272098"/>
                      <a:pt x="6848841" y="4272098"/>
                    </a:cubicBezTo>
                    <a:cubicBezTo>
                      <a:pt x="6876456" y="4272098"/>
                      <a:pt x="6898893" y="4249413"/>
                      <a:pt x="6898893" y="4222046"/>
                    </a:cubicBezTo>
                    <a:close/>
                    <a:moveTo>
                      <a:pt x="6901608" y="4613114"/>
                    </a:moveTo>
                    <a:cubicBezTo>
                      <a:pt x="6901608" y="4585745"/>
                      <a:pt x="6879169" y="4563552"/>
                      <a:pt x="6851798" y="4563552"/>
                    </a:cubicBezTo>
                    <a:cubicBezTo>
                      <a:pt x="6824428" y="4563552"/>
                      <a:pt x="6802238" y="4585745"/>
                      <a:pt x="6802238" y="4613114"/>
                    </a:cubicBezTo>
                    <a:cubicBezTo>
                      <a:pt x="6802238" y="4640730"/>
                      <a:pt x="6824428" y="4662923"/>
                      <a:pt x="6851798" y="4662923"/>
                    </a:cubicBezTo>
                    <a:cubicBezTo>
                      <a:pt x="6879416" y="4662923"/>
                      <a:pt x="6901608" y="4640483"/>
                      <a:pt x="6901608" y="4613114"/>
                    </a:cubicBezTo>
                    <a:close/>
                    <a:moveTo>
                      <a:pt x="6901608" y="4885085"/>
                    </a:moveTo>
                    <a:cubicBezTo>
                      <a:pt x="6901608" y="4864867"/>
                      <a:pt x="6885087" y="4848345"/>
                      <a:pt x="6864867" y="4848345"/>
                    </a:cubicBezTo>
                    <a:cubicBezTo>
                      <a:pt x="6844648" y="4848345"/>
                      <a:pt x="6828128" y="4864867"/>
                      <a:pt x="6828128" y="4885085"/>
                    </a:cubicBezTo>
                    <a:cubicBezTo>
                      <a:pt x="6828128" y="4905304"/>
                      <a:pt x="6844648" y="4921823"/>
                      <a:pt x="6864867" y="4921823"/>
                    </a:cubicBezTo>
                    <a:cubicBezTo>
                      <a:pt x="6885087" y="4921823"/>
                      <a:pt x="6901608" y="4905304"/>
                      <a:pt x="6901608" y="4885085"/>
                    </a:cubicBezTo>
                    <a:close/>
                    <a:moveTo>
                      <a:pt x="6903332" y="1795786"/>
                    </a:moveTo>
                    <a:cubicBezTo>
                      <a:pt x="6903332" y="1770841"/>
                      <a:pt x="6883114" y="1750334"/>
                      <a:pt x="6857962" y="1750334"/>
                    </a:cubicBezTo>
                    <a:cubicBezTo>
                      <a:pt x="6833059" y="1750334"/>
                      <a:pt x="6812592" y="1770841"/>
                      <a:pt x="6812592" y="1795786"/>
                    </a:cubicBezTo>
                    <a:cubicBezTo>
                      <a:pt x="6812592" y="1820680"/>
                      <a:pt x="6832813" y="1841140"/>
                      <a:pt x="6857962" y="1841140"/>
                    </a:cubicBezTo>
                    <a:cubicBezTo>
                      <a:pt x="6883114" y="1841140"/>
                      <a:pt x="6903332" y="1820921"/>
                      <a:pt x="6903332" y="1795786"/>
                    </a:cubicBezTo>
                    <a:close/>
                    <a:moveTo>
                      <a:pt x="6903581" y="2060861"/>
                    </a:moveTo>
                    <a:cubicBezTo>
                      <a:pt x="6903581" y="2037177"/>
                      <a:pt x="6884595" y="2018178"/>
                      <a:pt x="6861170" y="2018178"/>
                    </a:cubicBezTo>
                    <a:cubicBezTo>
                      <a:pt x="6837745" y="2018178"/>
                      <a:pt x="6818513" y="2037423"/>
                      <a:pt x="6818513" y="2060861"/>
                    </a:cubicBezTo>
                    <a:cubicBezTo>
                      <a:pt x="6818513" y="2084547"/>
                      <a:pt x="6837745" y="2103543"/>
                      <a:pt x="6861170" y="2103543"/>
                    </a:cubicBezTo>
                    <a:cubicBezTo>
                      <a:pt x="6884595" y="2103543"/>
                      <a:pt x="6903581" y="2084547"/>
                      <a:pt x="6903581" y="2060861"/>
                    </a:cubicBezTo>
                    <a:close/>
                    <a:moveTo>
                      <a:pt x="6907281" y="1351148"/>
                    </a:moveTo>
                    <a:cubicBezTo>
                      <a:pt x="6907281" y="1322296"/>
                      <a:pt x="6883855" y="1298878"/>
                      <a:pt x="6855007" y="1298878"/>
                    </a:cubicBezTo>
                    <a:cubicBezTo>
                      <a:pt x="6826157" y="1298878"/>
                      <a:pt x="6802732" y="1322296"/>
                      <a:pt x="6802732" y="1351148"/>
                    </a:cubicBezTo>
                    <a:cubicBezTo>
                      <a:pt x="6802732" y="1379994"/>
                      <a:pt x="6826157" y="1403425"/>
                      <a:pt x="6855007" y="1403425"/>
                    </a:cubicBezTo>
                    <a:cubicBezTo>
                      <a:pt x="6883855" y="1403425"/>
                      <a:pt x="6907526" y="1379753"/>
                      <a:pt x="6907281" y="1351148"/>
                    </a:cubicBezTo>
                    <a:close/>
                    <a:moveTo>
                      <a:pt x="6907281" y="2952268"/>
                    </a:moveTo>
                    <a:cubicBezTo>
                      <a:pt x="6907281" y="2942649"/>
                      <a:pt x="6899390" y="2934758"/>
                      <a:pt x="6889772" y="2934758"/>
                    </a:cubicBezTo>
                    <a:cubicBezTo>
                      <a:pt x="6879910" y="2934758"/>
                      <a:pt x="6872019" y="2942649"/>
                      <a:pt x="6872019" y="2952268"/>
                    </a:cubicBezTo>
                    <a:cubicBezTo>
                      <a:pt x="6872019" y="2961883"/>
                      <a:pt x="6879910" y="2969774"/>
                      <a:pt x="6889772" y="2969774"/>
                    </a:cubicBezTo>
                    <a:cubicBezTo>
                      <a:pt x="6899390" y="2969774"/>
                      <a:pt x="6907526" y="2961883"/>
                      <a:pt x="6907281" y="2952268"/>
                    </a:cubicBezTo>
                    <a:close/>
                    <a:moveTo>
                      <a:pt x="6908266" y="5545910"/>
                    </a:moveTo>
                    <a:cubicBezTo>
                      <a:pt x="6908266" y="5536541"/>
                      <a:pt x="6900622" y="5529143"/>
                      <a:pt x="6891499" y="5529143"/>
                    </a:cubicBezTo>
                    <a:cubicBezTo>
                      <a:pt x="6882377" y="5529143"/>
                      <a:pt x="6874978" y="5536787"/>
                      <a:pt x="6874978" y="5545910"/>
                    </a:cubicBezTo>
                    <a:cubicBezTo>
                      <a:pt x="6874978" y="5555032"/>
                      <a:pt x="6882377" y="5562430"/>
                      <a:pt x="6891499" y="5562430"/>
                    </a:cubicBezTo>
                    <a:cubicBezTo>
                      <a:pt x="6900868" y="5562430"/>
                      <a:pt x="6908266" y="5555032"/>
                      <a:pt x="6908266" y="5545910"/>
                    </a:cubicBezTo>
                    <a:close/>
                    <a:moveTo>
                      <a:pt x="6911717" y="2443329"/>
                    </a:moveTo>
                    <a:cubicBezTo>
                      <a:pt x="6911717" y="2428281"/>
                      <a:pt x="6899635" y="2416197"/>
                      <a:pt x="6884595" y="2416197"/>
                    </a:cubicBezTo>
                    <a:cubicBezTo>
                      <a:pt x="6869553" y="2416197"/>
                      <a:pt x="6857470" y="2428281"/>
                      <a:pt x="6857470" y="2443329"/>
                    </a:cubicBezTo>
                    <a:cubicBezTo>
                      <a:pt x="6857470" y="2458357"/>
                      <a:pt x="6869553" y="2470454"/>
                      <a:pt x="6884595" y="2470454"/>
                    </a:cubicBezTo>
                    <a:cubicBezTo>
                      <a:pt x="6899390" y="2470454"/>
                      <a:pt x="6911717" y="2458357"/>
                      <a:pt x="6911717" y="2443329"/>
                    </a:cubicBezTo>
                    <a:close/>
                    <a:moveTo>
                      <a:pt x="6920349" y="4108126"/>
                    </a:moveTo>
                    <a:cubicBezTo>
                      <a:pt x="6920349" y="4081495"/>
                      <a:pt x="6898650" y="4059797"/>
                      <a:pt x="6872020" y="4059797"/>
                    </a:cubicBezTo>
                    <a:cubicBezTo>
                      <a:pt x="6845389" y="4059797"/>
                      <a:pt x="6823691" y="4081495"/>
                      <a:pt x="6823691" y="4108126"/>
                    </a:cubicBezTo>
                    <a:cubicBezTo>
                      <a:pt x="6823691" y="4134757"/>
                      <a:pt x="6845389" y="4156455"/>
                      <a:pt x="6872020" y="4156455"/>
                    </a:cubicBezTo>
                    <a:cubicBezTo>
                      <a:pt x="6898650" y="4156455"/>
                      <a:pt x="6920349" y="4134757"/>
                      <a:pt x="6920349" y="4108126"/>
                    </a:cubicBezTo>
                    <a:close/>
                    <a:moveTo>
                      <a:pt x="6926511" y="3067181"/>
                    </a:moveTo>
                    <a:cubicBezTo>
                      <a:pt x="6926511" y="3055592"/>
                      <a:pt x="6917143" y="3046221"/>
                      <a:pt x="6905554" y="3046221"/>
                    </a:cubicBezTo>
                    <a:cubicBezTo>
                      <a:pt x="6893966" y="3046221"/>
                      <a:pt x="6884595" y="3055592"/>
                      <a:pt x="6884595" y="3067181"/>
                    </a:cubicBezTo>
                    <a:cubicBezTo>
                      <a:pt x="6884595" y="3078772"/>
                      <a:pt x="6893966" y="3088144"/>
                      <a:pt x="6905554" y="3088144"/>
                    </a:cubicBezTo>
                    <a:cubicBezTo>
                      <a:pt x="6916897" y="3088144"/>
                      <a:pt x="6926511" y="3078772"/>
                      <a:pt x="6926511" y="3067181"/>
                    </a:cubicBezTo>
                    <a:close/>
                    <a:moveTo>
                      <a:pt x="6932185" y="1605097"/>
                    </a:moveTo>
                    <a:cubicBezTo>
                      <a:pt x="6932185" y="1576243"/>
                      <a:pt x="6908759" y="1552827"/>
                      <a:pt x="6879910" y="1552827"/>
                    </a:cubicBezTo>
                    <a:cubicBezTo>
                      <a:pt x="6851061" y="1552827"/>
                      <a:pt x="6827636" y="1576243"/>
                      <a:pt x="6827636" y="1605097"/>
                    </a:cubicBezTo>
                    <a:cubicBezTo>
                      <a:pt x="6827636" y="1633950"/>
                      <a:pt x="6851061" y="1657365"/>
                      <a:pt x="6879910" y="1657365"/>
                    </a:cubicBezTo>
                    <a:cubicBezTo>
                      <a:pt x="6908759" y="1657365"/>
                      <a:pt x="6932185" y="1633950"/>
                      <a:pt x="6932185" y="1605097"/>
                    </a:cubicBezTo>
                    <a:close/>
                    <a:moveTo>
                      <a:pt x="6932185" y="2555016"/>
                    </a:moveTo>
                    <a:cubicBezTo>
                      <a:pt x="6932185" y="2546390"/>
                      <a:pt x="6925281" y="2539487"/>
                      <a:pt x="6916650" y="2539487"/>
                    </a:cubicBezTo>
                    <a:cubicBezTo>
                      <a:pt x="6908019" y="2539487"/>
                      <a:pt x="6901114" y="2546390"/>
                      <a:pt x="6901114" y="2555016"/>
                    </a:cubicBezTo>
                    <a:cubicBezTo>
                      <a:pt x="6901114" y="2563647"/>
                      <a:pt x="6908019" y="2570548"/>
                      <a:pt x="6916650" y="2570548"/>
                    </a:cubicBezTo>
                    <a:cubicBezTo>
                      <a:pt x="6925281" y="2570548"/>
                      <a:pt x="6932185" y="2563647"/>
                      <a:pt x="6932185" y="2555016"/>
                    </a:cubicBezTo>
                    <a:close/>
                    <a:moveTo>
                      <a:pt x="6936867" y="1199289"/>
                    </a:moveTo>
                    <a:cubicBezTo>
                      <a:pt x="6936867" y="1170933"/>
                      <a:pt x="6913691" y="1147753"/>
                      <a:pt x="6885333" y="1147753"/>
                    </a:cubicBezTo>
                    <a:cubicBezTo>
                      <a:pt x="6856979" y="1147753"/>
                      <a:pt x="6833800" y="1170933"/>
                      <a:pt x="6833800" y="1199289"/>
                    </a:cubicBezTo>
                    <a:cubicBezTo>
                      <a:pt x="6833800" y="1227649"/>
                      <a:pt x="6856979" y="1250821"/>
                      <a:pt x="6885333" y="1250821"/>
                    </a:cubicBezTo>
                    <a:cubicBezTo>
                      <a:pt x="6913691" y="1250821"/>
                      <a:pt x="6936867" y="1227649"/>
                      <a:pt x="6936867" y="1199289"/>
                    </a:cubicBezTo>
                    <a:close/>
                    <a:moveTo>
                      <a:pt x="6938102" y="3993467"/>
                    </a:moveTo>
                    <a:cubicBezTo>
                      <a:pt x="6938102" y="3967577"/>
                      <a:pt x="6917143" y="3946618"/>
                      <a:pt x="6891251" y="3946618"/>
                    </a:cubicBezTo>
                    <a:cubicBezTo>
                      <a:pt x="6865361" y="3946618"/>
                      <a:pt x="6844403" y="3967577"/>
                      <a:pt x="6844403" y="3993467"/>
                    </a:cubicBezTo>
                    <a:cubicBezTo>
                      <a:pt x="6844403" y="4019359"/>
                      <a:pt x="6865361" y="4040317"/>
                      <a:pt x="6891251" y="4040317"/>
                    </a:cubicBezTo>
                    <a:cubicBezTo>
                      <a:pt x="6917143" y="4040317"/>
                      <a:pt x="6938102" y="4019359"/>
                      <a:pt x="6938102" y="3993467"/>
                    </a:cubicBezTo>
                    <a:close/>
                    <a:moveTo>
                      <a:pt x="6938348" y="4502648"/>
                    </a:moveTo>
                    <a:cubicBezTo>
                      <a:pt x="6938348" y="4474536"/>
                      <a:pt x="6915414" y="4451605"/>
                      <a:pt x="6887306" y="4451605"/>
                    </a:cubicBezTo>
                    <a:cubicBezTo>
                      <a:pt x="6859195" y="4451605"/>
                      <a:pt x="6836264" y="4474536"/>
                      <a:pt x="6836264" y="4502648"/>
                    </a:cubicBezTo>
                    <a:cubicBezTo>
                      <a:pt x="6836264" y="4530755"/>
                      <a:pt x="6859195" y="4553686"/>
                      <a:pt x="6887306" y="4553686"/>
                    </a:cubicBezTo>
                    <a:cubicBezTo>
                      <a:pt x="6915414" y="4553686"/>
                      <a:pt x="6938348" y="4530755"/>
                      <a:pt x="6938348" y="4502648"/>
                    </a:cubicBezTo>
                    <a:close/>
                    <a:moveTo>
                      <a:pt x="6939826" y="5289717"/>
                    </a:moveTo>
                    <a:cubicBezTo>
                      <a:pt x="6939826" y="5274923"/>
                      <a:pt x="6927744" y="5262841"/>
                      <a:pt x="6912950" y="5262841"/>
                    </a:cubicBezTo>
                    <a:cubicBezTo>
                      <a:pt x="6898155" y="5262841"/>
                      <a:pt x="6886073" y="5274923"/>
                      <a:pt x="6886073" y="5289717"/>
                    </a:cubicBezTo>
                    <a:cubicBezTo>
                      <a:pt x="6886073" y="5304512"/>
                      <a:pt x="6898155" y="5316596"/>
                      <a:pt x="6912950" y="5316596"/>
                    </a:cubicBezTo>
                    <a:cubicBezTo>
                      <a:pt x="6927744" y="5316596"/>
                      <a:pt x="6940074" y="5304512"/>
                      <a:pt x="6939826" y="5289717"/>
                    </a:cubicBezTo>
                    <a:close/>
                    <a:moveTo>
                      <a:pt x="6941801" y="3182838"/>
                    </a:moveTo>
                    <a:cubicBezTo>
                      <a:pt x="6941801" y="3169521"/>
                      <a:pt x="6930951" y="3158425"/>
                      <a:pt x="6917390" y="3158425"/>
                    </a:cubicBezTo>
                    <a:cubicBezTo>
                      <a:pt x="6903828" y="3158425"/>
                      <a:pt x="6892732" y="3169274"/>
                      <a:pt x="6892732" y="3182838"/>
                    </a:cubicBezTo>
                    <a:cubicBezTo>
                      <a:pt x="6892732" y="3196401"/>
                      <a:pt x="6903828" y="3207496"/>
                      <a:pt x="6917390" y="3207496"/>
                    </a:cubicBezTo>
                    <a:cubicBezTo>
                      <a:pt x="6930951" y="3207496"/>
                      <a:pt x="6941801" y="3196401"/>
                      <a:pt x="6941801" y="3182838"/>
                    </a:cubicBezTo>
                    <a:close/>
                    <a:moveTo>
                      <a:pt x="6944019" y="5698046"/>
                    </a:moveTo>
                    <a:cubicBezTo>
                      <a:pt x="6944019" y="5686948"/>
                      <a:pt x="6934897" y="5677825"/>
                      <a:pt x="6923802" y="5677825"/>
                    </a:cubicBezTo>
                    <a:cubicBezTo>
                      <a:pt x="6912703" y="5677825"/>
                      <a:pt x="6903581" y="5686948"/>
                      <a:pt x="6903581" y="5698046"/>
                    </a:cubicBezTo>
                    <a:cubicBezTo>
                      <a:pt x="6903581" y="5709141"/>
                      <a:pt x="6912703" y="5718264"/>
                      <a:pt x="6923802" y="5718264"/>
                    </a:cubicBezTo>
                    <a:cubicBezTo>
                      <a:pt x="6934897" y="5718264"/>
                      <a:pt x="6944019" y="5709141"/>
                      <a:pt x="6944019" y="5698046"/>
                    </a:cubicBezTo>
                    <a:close/>
                    <a:moveTo>
                      <a:pt x="6945251" y="5045609"/>
                    </a:moveTo>
                    <a:cubicBezTo>
                      <a:pt x="6945251" y="5027855"/>
                      <a:pt x="6930706" y="5013306"/>
                      <a:pt x="6912952" y="5013306"/>
                    </a:cubicBezTo>
                    <a:cubicBezTo>
                      <a:pt x="6895199" y="5013306"/>
                      <a:pt x="6880650" y="5027855"/>
                      <a:pt x="6880650" y="5045609"/>
                    </a:cubicBezTo>
                    <a:cubicBezTo>
                      <a:pt x="6880650" y="5063362"/>
                      <a:pt x="6895199" y="5077908"/>
                      <a:pt x="6912952" y="5077908"/>
                    </a:cubicBezTo>
                    <a:cubicBezTo>
                      <a:pt x="6930706" y="5077908"/>
                      <a:pt x="6945006" y="5063362"/>
                      <a:pt x="6945251" y="5045609"/>
                    </a:cubicBezTo>
                    <a:close/>
                    <a:moveTo>
                      <a:pt x="6946484" y="2168417"/>
                    </a:moveTo>
                    <a:cubicBezTo>
                      <a:pt x="6946484" y="2145229"/>
                      <a:pt x="6927498" y="2126243"/>
                      <a:pt x="6904321" y="2126243"/>
                    </a:cubicBezTo>
                    <a:cubicBezTo>
                      <a:pt x="6880896" y="2126243"/>
                      <a:pt x="6862155" y="2145229"/>
                      <a:pt x="6862155" y="2168417"/>
                    </a:cubicBezTo>
                    <a:cubicBezTo>
                      <a:pt x="6862155" y="2191596"/>
                      <a:pt x="6881141" y="2210579"/>
                      <a:pt x="6904321" y="2210579"/>
                    </a:cubicBezTo>
                    <a:cubicBezTo>
                      <a:pt x="6927747" y="2210579"/>
                      <a:pt x="6946484" y="2191843"/>
                      <a:pt x="6946484" y="2168417"/>
                    </a:cubicBezTo>
                    <a:close/>
                    <a:moveTo>
                      <a:pt x="6950429" y="3878318"/>
                    </a:moveTo>
                    <a:cubicBezTo>
                      <a:pt x="6950429" y="3854155"/>
                      <a:pt x="6930703" y="3834429"/>
                      <a:pt x="6906538" y="3834429"/>
                    </a:cubicBezTo>
                    <a:cubicBezTo>
                      <a:pt x="6882375" y="3834429"/>
                      <a:pt x="6862648" y="3854155"/>
                      <a:pt x="6862648" y="3878318"/>
                    </a:cubicBezTo>
                    <a:cubicBezTo>
                      <a:pt x="6862648" y="3902483"/>
                      <a:pt x="6882375" y="3922209"/>
                      <a:pt x="6906538" y="3922209"/>
                    </a:cubicBezTo>
                    <a:cubicBezTo>
                      <a:pt x="6930950" y="3922209"/>
                      <a:pt x="6950674" y="3902483"/>
                      <a:pt x="6950429" y="3878318"/>
                    </a:cubicBezTo>
                    <a:close/>
                    <a:moveTo>
                      <a:pt x="6952897" y="4777332"/>
                    </a:moveTo>
                    <a:cubicBezTo>
                      <a:pt x="6952897" y="4752674"/>
                      <a:pt x="6932925" y="4732456"/>
                      <a:pt x="6908019" y="4732456"/>
                    </a:cubicBezTo>
                    <a:cubicBezTo>
                      <a:pt x="6883360" y="4732456"/>
                      <a:pt x="6863143" y="4752674"/>
                      <a:pt x="6863143" y="4777332"/>
                    </a:cubicBezTo>
                    <a:cubicBezTo>
                      <a:pt x="6863143" y="4801989"/>
                      <a:pt x="6883360" y="4822210"/>
                      <a:pt x="6908019" y="4822210"/>
                    </a:cubicBezTo>
                    <a:cubicBezTo>
                      <a:pt x="6932925" y="4822210"/>
                      <a:pt x="6952897" y="4801989"/>
                      <a:pt x="6952897" y="4777332"/>
                    </a:cubicBezTo>
                    <a:close/>
                    <a:moveTo>
                      <a:pt x="6953388" y="1899997"/>
                    </a:moveTo>
                    <a:cubicBezTo>
                      <a:pt x="6953388" y="1875124"/>
                      <a:pt x="6933170" y="1854933"/>
                      <a:pt x="6908266" y="1854933"/>
                    </a:cubicBezTo>
                    <a:cubicBezTo>
                      <a:pt x="6883360" y="1854933"/>
                      <a:pt x="6863143" y="1875124"/>
                      <a:pt x="6863143" y="1899997"/>
                    </a:cubicBezTo>
                    <a:cubicBezTo>
                      <a:pt x="6863143" y="1924868"/>
                      <a:pt x="6883360" y="1945059"/>
                      <a:pt x="6908266" y="1945059"/>
                    </a:cubicBezTo>
                    <a:cubicBezTo>
                      <a:pt x="6933170" y="1945059"/>
                      <a:pt x="6953388" y="1924868"/>
                      <a:pt x="6953388" y="1899997"/>
                    </a:cubicBezTo>
                    <a:close/>
                    <a:moveTo>
                      <a:pt x="6953388" y="3298717"/>
                    </a:moveTo>
                    <a:cubicBezTo>
                      <a:pt x="6953388" y="3283156"/>
                      <a:pt x="6940812" y="3270618"/>
                      <a:pt x="6925279" y="3270618"/>
                    </a:cubicBezTo>
                    <a:cubicBezTo>
                      <a:pt x="6909745" y="3270618"/>
                      <a:pt x="6897169" y="3283156"/>
                      <a:pt x="6897169" y="3298717"/>
                    </a:cubicBezTo>
                    <a:cubicBezTo>
                      <a:pt x="6897169" y="3314250"/>
                      <a:pt x="6909745" y="3326819"/>
                      <a:pt x="6925279" y="3326819"/>
                    </a:cubicBezTo>
                    <a:cubicBezTo>
                      <a:pt x="6940812" y="3326819"/>
                      <a:pt x="6953388" y="3314250"/>
                      <a:pt x="6953388" y="3298717"/>
                    </a:cubicBezTo>
                    <a:close/>
                    <a:moveTo>
                      <a:pt x="6957088" y="2667715"/>
                    </a:moveTo>
                    <a:cubicBezTo>
                      <a:pt x="6957088" y="2661058"/>
                      <a:pt x="6951661" y="2655637"/>
                      <a:pt x="6945004" y="2655637"/>
                    </a:cubicBezTo>
                    <a:cubicBezTo>
                      <a:pt x="6938348" y="2655637"/>
                      <a:pt x="6932921" y="2661058"/>
                      <a:pt x="6932921" y="2667715"/>
                    </a:cubicBezTo>
                    <a:cubicBezTo>
                      <a:pt x="6932921" y="2674370"/>
                      <a:pt x="6938348" y="2679795"/>
                      <a:pt x="6945004" y="2679795"/>
                    </a:cubicBezTo>
                    <a:cubicBezTo>
                      <a:pt x="6951661" y="2679795"/>
                      <a:pt x="6957088" y="2674370"/>
                      <a:pt x="6957088" y="2667715"/>
                    </a:cubicBezTo>
                    <a:close/>
                    <a:moveTo>
                      <a:pt x="6959306" y="3762921"/>
                    </a:moveTo>
                    <a:cubicBezTo>
                      <a:pt x="6959306" y="3740235"/>
                      <a:pt x="6940815" y="3721741"/>
                      <a:pt x="6918130" y="3721741"/>
                    </a:cubicBezTo>
                    <a:cubicBezTo>
                      <a:pt x="6895691" y="3721741"/>
                      <a:pt x="6877197" y="3740235"/>
                      <a:pt x="6877197" y="3762921"/>
                    </a:cubicBezTo>
                    <a:cubicBezTo>
                      <a:pt x="6877197" y="3785359"/>
                      <a:pt x="6895444" y="3803850"/>
                      <a:pt x="6918130" y="3803850"/>
                    </a:cubicBezTo>
                    <a:cubicBezTo>
                      <a:pt x="6940815" y="3803850"/>
                      <a:pt x="6959306" y="3785359"/>
                      <a:pt x="6959306" y="3762921"/>
                    </a:cubicBezTo>
                    <a:close/>
                    <a:moveTo>
                      <a:pt x="6961032" y="3414865"/>
                    </a:moveTo>
                    <a:cubicBezTo>
                      <a:pt x="6961032" y="3397349"/>
                      <a:pt x="6946729" y="3383035"/>
                      <a:pt x="6929222" y="3383035"/>
                    </a:cubicBezTo>
                    <a:cubicBezTo>
                      <a:pt x="6911717" y="3383035"/>
                      <a:pt x="6897414" y="3397349"/>
                      <a:pt x="6897414" y="3414865"/>
                    </a:cubicBezTo>
                    <a:cubicBezTo>
                      <a:pt x="6897414" y="3432392"/>
                      <a:pt x="6911717" y="3446642"/>
                      <a:pt x="6929222" y="3446642"/>
                    </a:cubicBezTo>
                    <a:cubicBezTo>
                      <a:pt x="6946729" y="3446642"/>
                      <a:pt x="6961032" y="3432392"/>
                      <a:pt x="6961032" y="3414865"/>
                    </a:cubicBezTo>
                    <a:close/>
                    <a:moveTo>
                      <a:pt x="6963994" y="3646784"/>
                    </a:moveTo>
                    <a:cubicBezTo>
                      <a:pt x="6963994" y="3625578"/>
                      <a:pt x="6946732" y="3608565"/>
                      <a:pt x="6925774" y="3608565"/>
                    </a:cubicBezTo>
                    <a:cubicBezTo>
                      <a:pt x="6904567" y="3608565"/>
                      <a:pt x="6887554" y="3625823"/>
                      <a:pt x="6887554" y="3646784"/>
                    </a:cubicBezTo>
                    <a:cubicBezTo>
                      <a:pt x="6887554" y="3667989"/>
                      <a:pt x="6904816" y="3685005"/>
                      <a:pt x="6925774" y="3685005"/>
                    </a:cubicBezTo>
                    <a:cubicBezTo>
                      <a:pt x="6946732" y="3685005"/>
                      <a:pt x="6963994" y="3667989"/>
                      <a:pt x="6963994" y="3646784"/>
                    </a:cubicBezTo>
                    <a:close/>
                    <a:moveTo>
                      <a:pt x="6964732" y="3530647"/>
                    </a:moveTo>
                    <a:cubicBezTo>
                      <a:pt x="6964732" y="3511167"/>
                      <a:pt x="6948951" y="3495386"/>
                      <a:pt x="6929471" y="3495386"/>
                    </a:cubicBezTo>
                    <a:cubicBezTo>
                      <a:pt x="6909991" y="3495386"/>
                      <a:pt x="6894210" y="3511167"/>
                      <a:pt x="6894210" y="3530647"/>
                    </a:cubicBezTo>
                    <a:cubicBezTo>
                      <a:pt x="6894210" y="3550128"/>
                      <a:pt x="6909991" y="3565909"/>
                      <a:pt x="6929471" y="3565909"/>
                    </a:cubicBezTo>
                    <a:cubicBezTo>
                      <a:pt x="6948951" y="3565909"/>
                      <a:pt x="6964732" y="3550128"/>
                      <a:pt x="6964732" y="3530647"/>
                    </a:cubicBezTo>
                    <a:close/>
                    <a:moveTo>
                      <a:pt x="6965469" y="4390950"/>
                    </a:moveTo>
                    <a:cubicBezTo>
                      <a:pt x="6965469" y="4365306"/>
                      <a:pt x="6944511" y="4344593"/>
                      <a:pt x="6919113" y="4344593"/>
                    </a:cubicBezTo>
                    <a:cubicBezTo>
                      <a:pt x="6893469" y="4344593"/>
                      <a:pt x="6872757" y="4365552"/>
                      <a:pt x="6872757" y="4390950"/>
                    </a:cubicBezTo>
                    <a:cubicBezTo>
                      <a:pt x="6872757" y="4416593"/>
                      <a:pt x="6893469" y="4437306"/>
                      <a:pt x="6919113" y="4437306"/>
                    </a:cubicBezTo>
                    <a:cubicBezTo>
                      <a:pt x="6944511" y="4437306"/>
                      <a:pt x="6965469" y="4416593"/>
                      <a:pt x="6965469" y="4390950"/>
                    </a:cubicBezTo>
                    <a:close/>
                    <a:moveTo>
                      <a:pt x="6968183" y="5445802"/>
                    </a:moveTo>
                    <a:cubicBezTo>
                      <a:pt x="6968183" y="5436185"/>
                      <a:pt x="6960295" y="5428294"/>
                      <a:pt x="6950678" y="5428294"/>
                    </a:cubicBezTo>
                    <a:cubicBezTo>
                      <a:pt x="6941061" y="5428294"/>
                      <a:pt x="6933170" y="5436185"/>
                      <a:pt x="6933170" y="5445802"/>
                    </a:cubicBezTo>
                    <a:cubicBezTo>
                      <a:pt x="6933170" y="5455417"/>
                      <a:pt x="6941061" y="5463307"/>
                      <a:pt x="6950678" y="5463307"/>
                    </a:cubicBezTo>
                    <a:cubicBezTo>
                      <a:pt x="6960295" y="5463307"/>
                      <a:pt x="6968183" y="5455417"/>
                      <a:pt x="6968183" y="5445802"/>
                    </a:cubicBezTo>
                    <a:close/>
                    <a:moveTo>
                      <a:pt x="6968678" y="1450017"/>
                    </a:moveTo>
                    <a:cubicBezTo>
                      <a:pt x="6968678" y="1420938"/>
                      <a:pt x="6945006" y="1397266"/>
                      <a:pt x="6915909" y="1397266"/>
                    </a:cubicBezTo>
                    <a:cubicBezTo>
                      <a:pt x="6886814" y="1397266"/>
                      <a:pt x="6863143" y="1420938"/>
                      <a:pt x="6863143" y="1450017"/>
                    </a:cubicBezTo>
                    <a:cubicBezTo>
                      <a:pt x="6863143" y="1479115"/>
                      <a:pt x="6886814" y="1502799"/>
                      <a:pt x="6915909" y="1502799"/>
                    </a:cubicBezTo>
                    <a:cubicBezTo>
                      <a:pt x="6945006" y="1502799"/>
                      <a:pt x="6968678" y="1479115"/>
                      <a:pt x="6968678" y="1450017"/>
                    </a:cubicBezTo>
                    <a:close/>
                    <a:moveTo>
                      <a:pt x="6980759" y="2780904"/>
                    </a:moveTo>
                    <a:cubicBezTo>
                      <a:pt x="6980759" y="2774741"/>
                      <a:pt x="6975828" y="2769805"/>
                      <a:pt x="6969663" y="2769805"/>
                    </a:cubicBezTo>
                    <a:cubicBezTo>
                      <a:pt x="6963500" y="2769805"/>
                      <a:pt x="6958568" y="2774741"/>
                      <a:pt x="6958568" y="2780904"/>
                    </a:cubicBezTo>
                    <a:cubicBezTo>
                      <a:pt x="6958568" y="2787067"/>
                      <a:pt x="6963500" y="2791999"/>
                      <a:pt x="6969663" y="2791999"/>
                    </a:cubicBezTo>
                    <a:cubicBezTo>
                      <a:pt x="6975581" y="2791999"/>
                      <a:pt x="6980513" y="2787067"/>
                      <a:pt x="6980759" y="2780904"/>
                    </a:cubicBezTo>
                    <a:close/>
                    <a:moveTo>
                      <a:pt x="6985940" y="2277384"/>
                    </a:moveTo>
                    <a:cubicBezTo>
                      <a:pt x="6985940" y="2254477"/>
                      <a:pt x="6967200" y="2235728"/>
                      <a:pt x="6944265" y="2235728"/>
                    </a:cubicBezTo>
                    <a:cubicBezTo>
                      <a:pt x="6921335" y="2235728"/>
                      <a:pt x="6902595" y="2254477"/>
                      <a:pt x="6902595" y="2277384"/>
                    </a:cubicBezTo>
                    <a:cubicBezTo>
                      <a:pt x="6902595" y="2300341"/>
                      <a:pt x="6921335" y="2319059"/>
                      <a:pt x="6944265" y="2319059"/>
                    </a:cubicBezTo>
                    <a:cubicBezTo>
                      <a:pt x="6967200" y="2319059"/>
                      <a:pt x="6985940" y="2300341"/>
                      <a:pt x="6985940" y="2277384"/>
                    </a:cubicBezTo>
                    <a:close/>
                    <a:moveTo>
                      <a:pt x="6987663" y="1707675"/>
                    </a:moveTo>
                    <a:cubicBezTo>
                      <a:pt x="6987663" y="1678523"/>
                      <a:pt x="6964038" y="1654895"/>
                      <a:pt x="6934894" y="1654895"/>
                    </a:cubicBezTo>
                    <a:cubicBezTo>
                      <a:pt x="6905753" y="1654895"/>
                      <a:pt x="6882128" y="1678523"/>
                      <a:pt x="6882128" y="1707675"/>
                    </a:cubicBezTo>
                    <a:cubicBezTo>
                      <a:pt x="6882128" y="1736809"/>
                      <a:pt x="6905753" y="1760485"/>
                      <a:pt x="6934894" y="1760485"/>
                    </a:cubicBezTo>
                    <a:cubicBezTo>
                      <a:pt x="6964038" y="1760485"/>
                      <a:pt x="6987663" y="1736809"/>
                      <a:pt x="6987663" y="1707675"/>
                    </a:cubicBezTo>
                    <a:close/>
                    <a:moveTo>
                      <a:pt x="6988649" y="4278511"/>
                    </a:moveTo>
                    <a:cubicBezTo>
                      <a:pt x="6988649" y="4255579"/>
                      <a:pt x="6969909" y="4237086"/>
                      <a:pt x="6947224" y="4237086"/>
                    </a:cubicBezTo>
                    <a:cubicBezTo>
                      <a:pt x="6924540" y="4237086"/>
                      <a:pt x="6905800" y="4255579"/>
                      <a:pt x="6905800" y="4278511"/>
                    </a:cubicBezTo>
                    <a:cubicBezTo>
                      <a:pt x="6905800" y="4301441"/>
                      <a:pt x="6924294" y="4319934"/>
                      <a:pt x="6947224" y="4319934"/>
                    </a:cubicBezTo>
                    <a:cubicBezTo>
                      <a:pt x="6970154" y="4319934"/>
                      <a:pt x="6988649" y="4301195"/>
                      <a:pt x="6988649" y="4278511"/>
                    </a:cubicBezTo>
                    <a:close/>
                    <a:moveTo>
                      <a:pt x="6994076" y="5185907"/>
                    </a:moveTo>
                    <a:cubicBezTo>
                      <a:pt x="6994076" y="5170375"/>
                      <a:pt x="6981500" y="5157799"/>
                      <a:pt x="6965964" y="5157799"/>
                    </a:cubicBezTo>
                    <a:cubicBezTo>
                      <a:pt x="6950432" y="5157799"/>
                      <a:pt x="6937855" y="5170375"/>
                      <a:pt x="6937855" y="5185907"/>
                    </a:cubicBezTo>
                    <a:cubicBezTo>
                      <a:pt x="6937855" y="5201442"/>
                      <a:pt x="6950432" y="5214018"/>
                      <a:pt x="6965964" y="5214018"/>
                    </a:cubicBezTo>
                    <a:cubicBezTo>
                      <a:pt x="6981500" y="5214018"/>
                      <a:pt x="6994322" y="5201442"/>
                      <a:pt x="6994076" y="5185907"/>
                    </a:cubicBezTo>
                    <a:close/>
                    <a:moveTo>
                      <a:pt x="6994525" y="1311978"/>
                    </a:moveTo>
                    <a:lnTo>
                      <a:pt x="6994525" y="1280917"/>
                    </a:lnTo>
                    <a:lnTo>
                      <a:pt x="6985691" y="1259692"/>
                    </a:lnTo>
                    <a:cubicBezTo>
                      <a:pt x="6976260" y="1250267"/>
                      <a:pt x="6963253" y="1244418"/>
                      <a:pt x="6948951" y="1244418"/>
                    </a:cubicBezTo>
                    <a:cubicBezTo>
                      <a:pt x="6920348" y="1244418"/>
                      <a:pt x="6896923" y="1267813"/>
                      <a:pt x="6896923" y="1296426"/>
                    </a:cubicBezTo>
                    <a:cubicBezTo>
                      <a:pt x="6896923" y="1325025"/>
                      <a:pt x="6920348" y="1348468"/>
                      <a:pt x="6948951" y="1348468"/>
                    </a:cubicBezTo>
                    <a:cubicBezTo>
                      <a:pt x="6963253" y="1348468"/>
                      <a:pt x="6976260" y="1342668"/>
                      <a:pt x="6985691" y="1333262"/>
                    </a:cubicBezTo>
                    <a:close/>
                    <a:moveTo>
                      <a:pt x="6994525" y="1444776"/>
                    </a:moveTo>
                    <a:lnTo>
                      <a:pt x="6994525" y="1346337"/>
                    </a:lnTo>
                    <a:lnTo>
                      <a:pt x="6989269" y="1347399"/>
                    </a:lnTo>
                    <a:cubicBezTo>
                      <a:pt x="6970510" y="1355338"/>
                      <a:pt x="6957334" y="1373920"/>
                      <a:pt x="6957334" y="1395561"/>
                    </a:cubicBezTo>
                    <a:cubicBezTo>
                      <a:pt x="6957334" y="1417205"/>
                      <a:pt x="6970510" y="1435780"/>
                      <a:pt x="6989269" y="1443715"/>
                    </a:cubicBezTo>
                    <a:close/>
                    <a:moveTo>
                      <a:pt x="6994525" y="1599946"/>
                    </a:moveTo>
                    <a:lnTo>
                      <a:pt x="6994525" y="1501804"/>
                    </a:lnTo>
                    <a:lnTo>
                      <a:pt x="6973854" y="1497613"/>
                    </a:lnTo>
                    <a:cubicBezTo>
                      <a:pt x="6944511" y="1497613"/>
                      <a:pt x="6920594" y="1521540"/>
                      <a:pt x="6920594" y="1550875"/>
                    </a:cubicBezTo>
                    <a:cubicBezTo>
                      <a:pt x="6920594" y="1580219"/>
                      <a:pt x="6944511" y="1604135"/>
                      <a:pt x="6973854" y="1604135"/>
                    </a:cubicBezTo>
                    <a:close/>
                    <a:moveTo>
                      <a:pt x="6994525" y="1693600"/>
                    </a:moveTo>
                    <a:lnTo>
                      <a:pt x="6994525" y="1613218"/>
                    </a:lnTo>
                    <a:lnTo>
                      <a:pt x="6990992" y="1615597"/>
                    </a:lnTo>
                    <a:cubicBezTo>
                      <a:pt x="6981314" y="1625273"/>
                      <a:pt x="6975335" y="1638648"/>
                      <a:pt x="6975335" y="1653443"/>
                    </a:cubicBezTo>
                    <a:cubicBezTo>
                      <a:pt x="6975335" y="1668118"/>
                      <a:pt x="6981314" y="1681497"/>
                      <a:pt x="6990992" y="1691208"/>
                    </a:cubicBezTo>
                    <a:close/>
                    <a:moveTo>
                      <a:pt x="6994525" y="1863236"/>
                    </a:moveTo>
                    <a:lnTo>
                      <a:pt x="6994525" y="1760351"/>
                    </a:lnTo>
                    <a:lnTo>
                      <a:pt x="6986676" y="1758760"/>
                    </a:lnTo>
                    <a:cubicBezTo>
                      <a:pt x="6957579" y="1758760"/>
                      <a:pt x="6933662" y="1782457"/>
                      <a:pt x="6933662" y="1811839"/>
                    </a:cubicBezTo>
                    <a:cubicBezTo>
                      <a:pt x="6933662" y="1840922"/>
                      <a:pt x="6957333" y="1864813"/>
                      <a:pt x="6986676" y="1864813"/>
                    </a:cubicBezTo>
                    <a:close/>
                    <a:moveTo>
                      <a:pt x="6994525" y="1951035"/>
                    </a:moveTo>
                    <a:lnTo>
                      <a:pt x="6994525" y="1883974"/>
                    </a:lnTo>
                    <a:lnTo>
                      <a:pt x="6985944" y="1896690"/>
                    </a:lnTo>
                    <a:cubicBezTo>
                      <a:pt x="6983240" y="1903084"/>
                      <a:pt x="6981745" y="1910117"/>
                      <a:pt x="6981745" y="1917504"/>
                    </a:cubicBezTo>
                    <a:cubicBezTo>
                      <a:pt x="6981745" y="1924891"/>
                      <a:pt x="6983240" y="1931924"/>
                      <a:pt x="6985944" y="1938318"/>
                    </a:cubicBezTo>
                    <a:close/>
                    <a:moveTo>
                      <a:pt x="6994525" y="2020100"/>
                    </a:moveTo>
                    <a:lnTo>
                      <a:pt x="6994525" y="1991585"/>
                    </a:lnTo>
                    <a:lnTo>
                      <a:pt x="6987294" y="1974240"/>
                    </a:lnTo>
                    <a:cubicBezTo>
                      <a:pt x="6979156" y="1966114"/>
                      <a:pt x="6967938" y="1961067"/>
                      <a:pt x="6955609" y="1961067"/>
                    </a:cubicBezTo>
                    <a:cubicBezTo>
                      <a:pt x="6930951" y="1961067"/>
                      <a:pt x="6910730" y="1981257"/>
                      <a:pt x="6910730" y="2005883"/>
                    </a:cubicBezTo>
                    <a:cubicBezTo>
                      <a:pt x="6910730" y="2030784"/>
                      <a:pt x="6930951" y="2050765"/>
                      <a:pt x="6955609" y="2050765"/>
                    </a:cubicBezTo>
                    <a:cubicBezTo>
                      <a:pt x="6967938" y="2050765"/>
                      <a:pt x="6979095" y="2045708"/>
                      <a:pt x="6987201" y="2037568"/>
                    </a:cubicBezTo>
                    <a:close/>
                    <a:moveTo>
                      <a:pt x="6994525" y="2155617"/>
                    </a:moveTo>
                    <a:lnTo>
                      <a:pt x="6994525" y="2070730"/>
                    </a:lnTo>
                    <a:lnTo>
                      <a:pt x="6967907" y="2081730"/>
                    </a:lnTo>
                    <a:cubicBezTo>
                      <a:pt x="6959862" y="2089749"/>
                      <a:pt x="6954869" y="2100852"/>
                      <a:pt x="6954869" y="2113189"/>
                    </a:cubicBezTo>
                    <a:cubicBezTo>
                      <a:pt x="6954869" y="2125398"/>
                      <a:pt x="6959862" y="2136497"/>
                      <a:pt x="6967907" y="2144543"/>
                    </a:cubicBezTo>
                    <a:close/>
                    <a:moveTo>
                      <a:pt x="6994525" y="2421570"/>
                    </a:moveTo>
                    <a:lnTo>
                      <a:pt x="6994525" y="2353650"/>
                    </a:lnTo>
                    <a:lnTo>
                      <a:pt x="6980759" y="2347959"/>
                    </a:lnTo>
                    <a:cubicBezTo>
                      <a:pt x="6958814" y="2347959"/>
                      <a:pt x="6941060" y="2365693"/>
                      <a:pt x="6941060" y="2387621"/>
                    </a:cubicBezTo>
                    <a:cubicBezTo>
                      <a:pt x="6941060" y="2409560"/>
                      <a:pt x="6958814" y="2427311"/>
                      <a:pt x="6980759" y="2427311"/>
                    </a:cubicBezTo>
                    <a:close/>
                    <a:moveTo>
                      <a:pt x="6994525" y="2520067"/>
                    </a:moveTo>
                    <a:lnTo>
                      <a:pt x="6994525" y="2477087"/>
                    </a:lnTo>
                    <a:lnTo>
                      <a:pt x="6992779" y="2477807"/>
                    </a:lnTo>
                    <a:cubicBezTo>
                      <a:pt x="6987477" y="2483105"/>
                      <a:pt x="6984209" y="2490438"/>
                      <a:pt x="6984209" y="2498575"/>
                    </a:cubicBezTo>
                    <a:cubicBezTo>
                      <a:pt x="6984209" y="2506710"/>
                      <a:pt x="6987477" y="2514045"/>
                      <a:pt x="6992779" y="2519347"/>
                    </a:cubicBezTo>
                    <a:close/>
                    <a:moveTo>
                      <a:pt x="6994525" y="2901038"/>
                    </a:moveTo>
                    <a:lnTo>
                      <a:pt x="6994525" y="2889609"/>
                    </a:lnTo>
                    <a:lnTo>
                      <a:pt x="6990376" y="2885461"/>
                    </a:lnTo>
                    <a:cubicBezTo>
                      <a:pt x="6984953" y="2885461"/>
                      <a:pt x="6980513" y="2889899"/>
                      <a:pt x="6980513" y="2895323"/>
                    </a:cubicBezTo>
                    <a:cubicBezTo>
                      <a:pt x="6980513" y="2900747"/>
                      <a:pt x="6984953" y="2905188"/>
                      <a:pt x="6990376" y="2905188"/>
                    </a:cubicBezTo>
                    <a:close/>
                    <a:moveTo>
                      <a:pt x="6994525" y="3957171"/>
                    </a:moveTo>
                    <a:lnTo>
                      <a:pt x="6994525" y="3914372"/>
                    </a:lnTo>
                    <a:lnTo>
                      <a:pt x="6989543" y="3916446"/>
                    </a:lnTo>
                    <a:cubicBezTo>
                      <a:pt x="6984581" y="3921408"/>
                      <a:pt x="6981499" y="3928251"/>
                      <a:pt x="6981499" y="3935771"/>
                    </a:cubicBezTo>
                    <a:cubicBezTo>
                      <a:pt x="6981499" y="3943292"/>
                      <a:pt x="6984581" y="3950135"/>
                      <a:pt x="6989543" y="3955097"/>
                    </a:cubicBezTo>
                    <a:close/>
                    <a:moveTo>
                      <a:pt x="6994525" y="4081477"/>
                    </a:moveTo>
                    <a:lnTo>
                      <a:pt x="6994525" y="4019375"/>
                    </a:lnTo>
                    <a:lnTo>
                      <a:pt x="6992100" y="4018373"/>
                    </a:lnTo>
                    <a:cubicBezTo>
                      <a:pt x="6974347" y="4018373"/>
                      <a:pt x="6960046" y="4032675"/>
                      <a:pt x="6960046" y="4050429"/>
                    </a:cubicBezTo>
                    <a:cubicBezTo>
                      <a:pt x="6960046" y="4068182"/>
                      <a:pt x="6974595" y="4082482"/>
                      <a:pt x="6992100" y="4082482"/>
                    </a:cubicBezTo>
                    <a:close/>
                    <a:moveTo>
                      <a:pt x="6994525" y="4192064"/>
                    </a:moveTo>
                    <a:lnTo>
                      <a:pt x="6994525" y="4137614"/>
                    </a:lnTo>
                    <a:lnTo>
                      <a:pt x="6971634" y="4128098"/>
                    </a:lnTo>
                    <a:cubicBezTo>
                      <a:pt x="6951414" y="4128098"/>
                      <a:pt x="6934894" y="4144620"/>
                      <a:pt x="6934894" y="4164838"/>
                    </a:cubicBezTo>
                    <a:cubicBezTo>
                      <a:pt x="6934894" y="4185057"/>
                      <a:pt x="6951414" y="4201579"/>
                      <a:pt x="6971634" y="4201579"/>
                    </a:cubicBezTo>
                    <a:close/>
                    <a:moveTo>
                      <a:pt x="6994525" y="4489523"/>
                    </a:moveTo>
                    <a:lnTo>
                      <a:pt x="6994525" y="4403827"/>
                    </a:lnTo>
                    <a:lnTo>
                      <a:pt x="6981918" y="4412326"/>
                    </a:lnTo>
                    <a:cubicBezTo>
                      <a:pt x="6973128" y="4421117"/>
                      <a:pt x="6967691" y="4433261"/>
                      <a:pt x="6967691" y="4446674"/>
                    </a:cubicBezTo>
                    <a:cubicBezTo>
                      <a:pt x="6967691" y="4460087"/>
                      <a:pt x="6973128" y="4472231"/>
                      <a:pt x="6981918" y="4481023"/>
                    </a:cubicBezTo>
                    <a:close/>
                    <a:moveTo>
                      <a:pt x="6994525" y="4606992"/>
                    </a:moveTo>
                    <a:lnTo>
                      <a:pt x="6994525" y="4509279"/>
                    </a:lnTo>
                    <a:lnTo>
                      <a:pt x="6983719" y="4507087"/>
                    </a:lnTo>
                    <a:cubicBezTo>
                      <a:pt x="6955607" y="4507087"/>
                      <a:pt x="6932676" y="4530018"/>
                      <a:pt x="6932676" y="4558130"/>
                    </a:cubicBezTo>
                    <a:cubicBezTo>
                      <a:pt x="6932676" y="4586237"/>
                      <a:pt x="6955607" y="4609168"/>
                      <a:pt x="6983719" y="4609168"/>
                    </a:cubicBezTo>
                    <a:close/>
                    <a:moveTo>
                      <a:pt x="6994525" y="4679712"/>
                    </a:moveTo>
                    <a:lnTo>
                      <a:pt x="6994525" y="4656981"/>
                    </a:lnTo>
                    <a:lnTo>
                      <a:pt x="6984117" y="4631947"/>
                    </a:lnTo>
                    <a:cubicBezTo>
                      <a:pt x="6974778" y="4622607"/>
                      <a:pt x="6961895" y="4616813"/>
                      <a:pt x="6947716" y="4616813"/>
                    </a:cubicBezTo>
                    <a:cubicBezTo>
                      <a:pt x="6919362" y="4616813"/>
                      <a:pt x="6896182" y="4639992"/>
                      <a:pt x="6896182" y="4668346"/>
                    </a:cubicBezTo>
                    <a:cubicBezTo>
                      <a:pt x="6896182" y="4696704"/>
                      <a:pt x="6919362" y="4719880"/>
                      <a:pt x="6947716" y="4719880"/>
                    </a:cubicBezTo>
                    <a:cubicBezTo>
                      <a:pt x="6961895" y="4719880"/>
                      <a:pt x="6974778" y="4714086"/>
                      <a:pt x="6984117" y="4704747"/>
                    </a:cubicBezTo>
                    <a:close/>
                    <a:moveTo>
                      <a:pt x="6994525" y="4728572"/>
                    </a:moveTo>
                    <a:lnTo>
                      <a:pt x="6994525" y="4718095"/>
                    </a:lnTo>
                    <a:lnTo>
                      <a:pt x="6992349" y="4723334"/>
                    </a:lnTo>
                    <a:close/>
                    <a:moveTo>
                      <a:pt x="6994525" y="4876683"/>
                    </a:moveTo>
                    <a:lnTo>
                      <a:pt x="6994525" y="4787462"/>
                    </a:lnTo>
                    <a:lnTo>
                      <a:pt x="6985135" y="4789353"/>
                    </a:lnTo>
                    <a:cubicBezTo>
                      <a:pt x="6968492" y="4796380"/>
                      <a:pt x="6956841" y="4812840"/>
                      <a:pt x="6956841" y="4832073"/>
                    </a:cubicBezTo>
                    <a:cubicBezTo>
                      <a:pt x="6956841" y="4851305"/>
                      <a:pt x="6968492" y="4867764"/>
                      <a:pt x="6985135" y="4874792"/>
                    </a:cubicBezTo>
                    <a:close/>
                    <a:moveTo>
                      <a:pt x="6994525" y="4950948"/>
                    </a:moveTo>
                    <a:lnTo>
                      <a:pt x="6994525" y="4928213"/>
                    </a:lnTo>
                    <a:lnTo>
                      <a:pt x="6987664" y="4911717"/>
                    </a:lnTo>
                    <a:cubicBezTo>
                      <a:pt x="6980513" y="4904566"/>
                      <a:pt x="6970650" y="4900128"/>
                      <a:pt x="6959801" y="4900128"/>
                    </a:cubicBezTo>
                    <a:cubicBezTo>
                      <a:pt x="6938102" y="4900128"/>
                      <a:pt x="6920348" y="4917882"/>
                      <a:pt x="6920348" y="4939580"/>
                    </a:cubicBezTo>
                    <a:cubicBezTo>
                      <a:pt x="6920348" y="4961279"/>
                      <a:pt x="6938102" y="4979032"/>
                      <a:pt x="6959801" y="4979032"/>
                    </a:cubicBezTo>
                    <a:cubicBezTo>
                      <a:pt x="6970650" y="4979032"/>
                      <a:pt x="6980513" y="4974594"/>
                      <a:pt x="6987664" y="4967443"/>
                    </a:cubicBezTo>
                    <a:close/>
                    <a:moveTo>
                      <a:pt x="6994525" y="5103527"/>
                    </a:moveTo>
                    <a:lnTo>
                      <a:pt x="6994525" y="5058169"/>
                    </a:lnTo>
                    <a:lnTo>
                      <a:pt x="6993673" y="5058520"/>
                    </a:lnTo>
                    <a:cubicBezTo>
                      <a:pt x="6987971" y="5064222"/>
                      <a:pt x="6984458" y="5072113"/>
                      <a:pt x="6984458" y="5080867"/>
                    </a:cubicBezTo>
                    <a:cubicBezTo>
                      <a:pt x="6984458" y="5089620"/>
                      <a:pt x="6988033" y="5097511"/>
                      <a:pt x="6993766" y="5103213"/>
                    </a:cubicBezTo>
                    <a:close/>
                    <a:moveTo>
                      <a:pt x="6994525" y="5358544"/>
                    </a:moveTo>
                    <a:lnTo>
                      <a:pt x="6994525" y="5329383"/>
                    </a:lnTo>
                    <a:lnTo>
                      <a:pt x="6992965" y="5330032"/>
                    </a:lnTo>
                    <a:cubicBezTo>
                      <a:pt x="6989390" y="5333607"/>
                      <a:pt x="6987171" y="5338539"/>
                      <a:pt x="6987171" y="5343964"/>
                    </a:cubicBezTo>
                    <a:cubicBezTo>
                      <a:pt x="6987171" y="5349389"/>
                      <a:pt x="6989390" y="5354320"/>
                      <a:pt x="6992965" y="5357896"/>
                    </a:cubicBezTo>
                    <a:close/>
                    <a:moveTo>
                      <a:pt x="6994525" y="5616967"/>
                    </a:moveTo>
                    <a:lnTo>
                      <a:pt x="6994525" y="5582358"/>
                    </a:lnTo>
                    <a:lnTo>
                      <a:pt x="6985691" y="5578703"/>
                    </a:lnTo>
                    <a:cubicBezTo>
                      <a:pt x="6974103" y="5578703"/>
                      <a:pt x="6964732" y="5588074"/>
                      <a:pt x="6964732" y="5599662"/>
                    </a:cubicBezTo>
                    <a:cubicBezTo>
                      <a:pt x="6964732" y="5611252"/>
                      <a:pt x="6974103" y="5620622"/>
                      <a:pt x="6985691" y="5620622"/>
                    </a:cubicBezTo>
                    <a:close/>
                  </a:path>
                </a:pathLst>
              </a:custGeom>
              <a:solidFill>
                <a:schemeClr val="bg1">
                  <a:alpha val="12000"/>
                </a:schemeClr>
              </a:solidFill>
              <a:ln w="9525" cap="flat">
                <a:noFill/>
                <a:prstDash val="solid"/>
                <a:miter/>
              </a:ln>
            </p:spPr>
            <p:txBody>
              <a:bodyPr wrap="square" rtlCol="0" anchor="ctr">
                <a:noAutofit/>
              </a:bodyPr>
              <a:lstStyle/>
              <a:p>
                <a:endParaRPr lang="en-US" sz="1765"/>
              </a:p>
            </p:txBody>
          </p:sp>
          <p:sp>
            <p:nvSpPr>
              <p:cNvPr id="4276" name="Freeform: Shape 4275">
                <a:extLst>
                  <a:ext uri="{FF2B5EF4-FFF2-40B4-BE49-F238E27FC236}">
                    <a16:creationId xmlns:a16="http://schemas.microsoft.com/office/drawing/2014/main" id="{AAFC3742-D826-40E9-B2D6-F91193AFAE7C}"/>
                  </a:ext>
                  <a:ext uri="{C183D7F6-B498-43B3-948B-1728B52AA6E4}">
                    <adec:decorative xmlns:adec="http://schemas.microsoft.com/office/drawing/2017/decorative" val="1"/>
                  </a:ext>
                </a:extLst>
              </p:cNvPr>
              <p:cNvSpPr/>
              <p:nvPr userDrawn="1"/>
            </p:nvSpPr>
            <p:spPr>
              <a:xfrm rot="5400000" flipH="1">
                <a:off x="6459980" y="-288256"/>
                <a:ext cx="4381952" cy="7571038"/>
              </a:xfrm>
              <a:custGeom>
                <a:avLst/>
                <a:gdLst>
                  <a:gd name="connsiteX0" fmla="*/ 769 w 4381952"/>
                  <a:gd name="connsiteY0" fmla="*/ 2652492 h 7571038"/>
                  <a:gd name="connsiteX1" fmla="*/ 0 w 4381952"/>
                  <a:gd name="connsiteY1" fmla="*/ 2650650 h 7571038"/>
                  <a:gd name="connsiteX2" fmla="*/ 0 w 4381952"/>
                  <a:gd name="connsiteY2" fmla="*/ 2654360 h 7571038"/>
                  <a:gd name="connsiteX3" fmla="*/ 770 w 4381952"/>
                  <a:gd name="connsiteY3" fmla="*/ 4780541 h 7571038"/>
                  <a:gd name="connsiteX4" fmla="*/ 0 w 4381952"/>
                  <a:gd name="connsiteY4" fmla="*/ 4778686 h 7571038"/>
                  <a:gd name="connsiteX5" fmla="*/ 0 w 4381952"/>
                  <a:gd name="connsiteY5" fmla="*/ 4782362 h 7571038"/>
                  <a:gd name="connsiteX6" fmla="*/ 5452 w 4381952"/>
                  <a:gd name="connsiteY6" fmla="*/ 1590349 h 7571038"/>
                  <a:gd name="connsiteX7" fmla="*/ 151 w 4381952"/>
                  <a:gd name="connsiteY7" fmla="*/ 1577650 h 7571038"/>
                  <a:gd name="connsiteX8" fmla="*/ 0 w 4381952"/>
                  <a:gd name="connsiteY8" fmla="*/ 1577587 h 7571038"/>
                  <a:gd name="connsiteX9" fmla="*/ 0 w 4381952"/>
                  <a:gd name="connsiteY9" fmla="*/ 1603115 h 7571038"/>
                  <a:gd name="connsiteX10" fmla="*/ 151 w 4381952"/>
                  <a:gd name="connsiteY10" fmla="*/ 1603052 h 7571038"/>
                  <a:gd name="connsiteX11" fmla="*/ 5452 w 4381952"/>
                  <a:gd name="connsiteY11" fmla="*/ 1590349 h 7571038"/>
                  <a:gd name="connsiteX12" fmla="*/ 5948 w 4381952"/>
                  <a:gd name="connsiteY12" fmla="*/ 4250648 h 7571038"/>
                  <a:gd name="connsiteX13" fmla="*/ 2269 w 4381952"/>
                  <a:gd name="connsiteY13" fmla="*/ 4232405 h 7571038"/>
                  <a:gd name="connsiteX14" fmla="*/ 0 w 4381952"/>
                  <a:gd name="connsiteY14" fmla="*/ 4229040 h 7571038"/>
                  <a:gd name="connsiteX15" fmla="*/ 0 w 4381952"/>
                  <a:gd name="connsiteY15" fmla="*/ 4272257 h 7571038"/>
                  <a:gd name="connsiteX16" fmla="*/ 2269 w 4381952"/>
                  <a:gd name="connsiteY16" fmla="*/ 4268892 h 7571038"/>
                  <a:gd name="connsiteX17" fmla="*/ 5948 w 4381952"/>
                  <a:gd name="connsiteY17" fmla="*/ 4250648 h 7571038"/>
                  <a:gd name="connsiteX18" fmla="*/ 8412 w 4381952"/>
                  <a:gd name="connsiteY18" fmla="*/ 5029090 h 7571038"/>
                  <a:gd name="connsiteX19" fmla="*/ 0 w 4381952"/>
                  <a:gd name="connsiteY19" fmla="*/ 5020678 h 7571038"/>
                  <a:gd name="connsiteX20" fmla="*/ 0 w 4381952"/>
                  <a:gd name="connsiteY20" fmla="*/ 5037501 h 7571038"/>
                  <a:gd name="connsiteX21" fmla="*/ 9398 w 4381952"/>
                  <a:gd name="connsiteY21" fmla="*/ 3045040 h 7571038"/>
                  <a:gd name="connsiteX22" fmla="*/ 521 w 4381952"/>
                  <a:gd name="connsiteY22" fmla="*/ 3023587 h 7571038"/>
                  <a:gd name="connsiteX23" fmla="*/ 0 w 4381952"/>
                  <a:gd name="connsiteY23" fmla="*/ 3023371 h 7571038"/>
                  <a:gd name="connsiteX24" fmla="*/ 0 w 4381952"/>
                  <a:gd name="connsiteY24" fmla="*/ 3066745 h 7571038"/>
                  <a:gd name="connsiteX25" fmla="*/ 613 w 4381952"/>
                  <a:gd name="connsiteY25" fmla="*/ 3066493 h 7571038"/>
                  <a:gd name="connsiteX26" fmla="*/ 9398 w 4381952"/>
                  <a:gd name="connsiteY26" fmla="*/ 3045040 h 7571038"/>
                  <a:gd name="connsiteX27" fmla="*/ 12359 w 4381952"/>
                  <a:gd name="connsiteY27" fmla="*/ 3856375 h 7571038"/>
                  <a:gd name="connsiteX28" fmla="*/ 0 w 4381952"/>
                  <a:gd name="connsiteY28" fmla="*/ 3826647 h 7571038"/>
                  <a:gd name="connsiteX29" fmla="*/ 0 w 4381952"/>
                  <a:gd name="connsiteY29" fmla="*/ 3886101 h 7571038"/>
                  <a:gd name="connsiteX30" fmla="*/ 12605 w 4381952"/>
                  <a:gd name="connsiteY30" fmla="*/ 6549473 h 7571038"/>
                  <a:gd name="connsiteX31" fmla="*/ 9893 w 4381952"/>
                  <a:gd name="connsiteY31" fmla="*/ 6546760 h 7571038"/>
                  <a:gd name="connsiteX32" fmla="*/ 7180 w 4381952"/>
                  <a:gd name="connsiteY32" fmla="*/ 6549473 h 7571038"/>
                  <a:gd name="connsiteX33" fmla="*/ 9893 w 4381952"/>
                  <a:gd name="connsiteY33" fmla="*/ 6552186 h 7571038"/>
                  <a:gd name="connsiteX34" fmla="*/ 12605 w 4381952"/>
                  <a:gd name="connsiteY34" fmla="*/ 6549473 h 7571038"/>
                  <a:gd name="connsiteX35" fmla="*/ 20493 w 4381952"/>
                  <a:gd name="connsiteY35" fmla="*/ 6421009 h 7571038"/>
                  <a:gd name="connsiteX36" fmla="*/ 17288 w 4381952"/>
                  <a:gd name="connsiteY36" fmla="*/ 6417804 h 7571038"/>
                  <a:gd name="connsiteX37" fmla="*/ 14083 w 4381952"/>
                  <a:gd name="connsiteY37" fmla="*/ 6421009 h 7571038"/>
                  <a:gd name="connsiteX38" fmla="*/ 17288 w 4381952"/>
                  <a:gd name="connsiteY38" fmla="*/ 6424214 h 7571038"/>
                  <a:gd name="connsiteX39" fmla="*/ 20493 w 4381952"/>
                  <a:gd name="connsiteY39" fmla="*/ 6421009 h 7571038"/>
                  <a:gd name="connsiteX40" fmla="*/ 21976 w 4381952"/>
                  <a:gd name="connsiteY40" fmla="*/ 407411 h 7571038"/>
                  <a:gd name="connsiteX41" fmla="*/ 7429 w 4381952"/>
                  <a:gd name="connsiteY41" fmla="*/ 392863 h 7571038"/>
                  <a:gd name="connsiteX42" fmla="*/ 0 w 4381952"/>
                  <a:gd name="connsiteY42" fmla="*/ 395967 h 7571038"/>
                  <a:gd name="connsiteX43" fmla="*/ 0 w 4381952"/>
                  <a:gd name="connsiteY43" fmla="*/ 418893 h 7571038"/>
                  <a:gd name="connsiteX44" fmla="*/ 7429 w 4381952"/>
                  <a:gd name="connsiteY44" fmla="*/ 421958 h 7571038"/>
                  <a:gd name="connsiteX45" fmla="*/ 21976 w 4381952"/>
                  <a:gd name="connsiteY45" fmla="*/ 407411 h 7571038"/>
                  <a:gd name="connsiteX46" fmla="*/ 26904 w 4381952"/>
                  <a:gd name="connsiteY46" fmla="*/ 1734081 h 7571038"/>
                  <a:gd name="connsiteX47" fmla="*/ 8902 w 4381952"/>
                  <a:gd name="connsiteY47" fmla="*/ 1715807 h 7571038"/>
                  <a:gd name="connsiteX48" fmla="*/ 0 w 4381952"/>
                  <a:gd name="connsiteY48" fmla="*/ 1719488 h 7571038"/>
                  <a:gd name="connsiteX49" fmla="*/ 0 w 4381952"/>
                  <a:gd name="connsiteY49" fmla="*/ 1748671 h 7571038"/>
                  <a:gd name="connsiteX50" fmla="*/ 8902 w 4381952"/>
                  <a:gd name="connsiteY50" fmla="*/ 1752352 h 7571038"/>
                  <a:gd name="connsiteX51" fmla="*/ 26904 w 4381952"/>
                  <a:gd name="connsiteY51" fmla="*/ 1734081 h 7571038"/>
                  <a:gd name="connsiteX52" fmla="*/ 27645 w 4381952"/>
                  <a:gd name="connsiteY52" fmla="*/ 6291558 h 7571038"/>
                  <a:gd name="connsiteX53" fmla="*/ 25179 w 4381952"/>
                  <a:gd name="connsiteY53" fmla="*/ 6289090 h 7571038"/>
                  <a:gd name="connsiteX54" fmla="*/ 22714 w 4381952"/>
                  <a:gd name="connsiteY54" fmla="*/ 6291558 h 7571038"/>
                  <a:gd name="connsiteX55" fmla="*/ 25179 w 4381952"/>
                  <a:gd name="connsiteY55" fmla="*/ 6294022 h 7571038"/>
                  <a:gd name="connsiteX56" fmla="*/ 27645 w 4381952"/>
                  <a:gd name="connsiteY56" fmla="*/ 6291558 h 7571038"/>
                  <a:gd name="connsiteX57" fmla="*/ 29372 w 4381952"/>
                  <a:gd name="connsiteY57" fmla="*/ 536093 h 7571038"/>
                  <a:gd name="connsiteX58" fmla="*/ 15070 w 4381952"/>
                  <a:gd name="connsiteY58" fmla="*/ 521791 h 7571038"/>
                  <a:gd name="connsiteX59" fmla="*/ 1015 w 4381952"/>
                  <a:gd name="connsiteY59" fmla="*/ 536093 h 7571038"/>
                  <a:gd name="connsiteX60" fmla="*/ 15070 w 4381952"/>
                  <a:gd name="connsiteY60" fmla="*/ 550146 h 7571038"/>
                  <a:gd name="connsiteX61" fmla="*/ 29372 w 4381952"/>
                  <a:gd name="connsiteY61" fmla="*/ 536093 h 7571038"/>
                  <a:gd name="connsiteX62" fmla="*/ 33069 w 4381952"/>
                  <a:gd name="connsiteY62" fmla="*/ 2281401 h 7571038"/>
                  <a:gd name="connsiteX63" fmla="*/ 30602 w 4381952"/>
                  <a:gd name="connsiteY63" fmla="*/ 2278931 h 7571038"/>
                  <a:gd name="connsiteX64" fmla="*/ 28137 w 4381952"/>
                  <a:gd name="connsiteY64" fmla="*/ 2281401 h 7571038"/>
                  <a:gd name="connsiteX65" fmla="*/ 30602 w 4381952"/>
                  <a:gd name="connsiteY65" fmla="*/ 2283871 h 7571038"/>
                  <a:gd name="connsiteX66" fmla="*/ 33069 w 4381952"/>
                  <a:gd name="connsiteY66" fmla="*/ 2281401 h 7571038"/>
                  <a:gd name="connsiteX67" fmla="*/ 33317 w 4381952"/>
                  <a:gd name="connsiteY67" fmla="*/ 2931117 h 7571038"/>
                  <a:gd name="connsiteX68" fmla="*/ 4467 w 4381952"/>
                  <a:gd name="connsiteY68" fmla="*/ 2902266 h 7571038"/>
                  <a:gd name="connsiteX69" fmla="*/ 0 w 4381952"/>
                  <a:gd name="connsiteY69" fmla="*/ 2904125 h 7571038"/>
                  <a:gd name="connsiteX70" fmla="*/ 0 w 4381952"/>
                  <a:gd name="connsiteY70" fmla="*/ 2958118 h 7571038"/>
                  <a:gd name="connsiteX71" fmla="*/ 4467 w 4381952"/>
                  <a:gd name="connsiteY71" fmla="*/ 2959966 h 7571038"/>
                  <a:gd name="connsiteX72" fmla="*/ 33317 w 4381952"/>
                  <a:gd name="connsiteY72" fmla="*/ 2931117 h 7571038"/>
                  <a:gd name="connsiteX73" fmla="*/ 33810 w 4381952"/>
                  <a:gd name="connsiteY73" fmla="*/ 4624951 h 7571038"/>
                  <a:gd name="connsiteX74" fmla="*/ 4220 w 4381952"/>
                  <a:gd name="connsiteY74" fmla="*/ 4595362 h 7571038"/>
                  <a:gd name="connsiteX75" fmla="*/ 0 w 4381952"/>
                  <a:gd name="connsiteY75" fmla="*/ 4597117 h 7571038"/>
                  <a:gd name="connsiteX76" fmla="*/ 0 w 4381952"/>
                  <a:gd name="connsiteY76" fmla="*/ 4652786 h 7571038"/>
                  <a:gd name="connsiteX77" fmla="*/ 4220 w 4381952"/>
                  <a:gd name="connsiteY77" fmla="*/ 4654541 h 7571038"/>
                  <a:gd name="connsiteX78" fmla="*/ 33810 w 4381952"/>
                  <a:gd name="connsiteY78" fmla="*/ 4624951 h 7571038"/>
                  <a:gd name="connsiteX79" fmla="*/ 36276 w 4381952"/>
                  <a:gd name="connsiteY79" fmla="*/ 5550352 h 7571038"/>
                  <a:gd name="connsiteX80" fmla="*/ 9152 w 4381952"/>
                  <a:gd name="connsiteY80" fmla="*/ 5523227 h 7571038"/>
                  <a:gd name="connsiteX81" fmla="*/ 0 w 4381952"/>
                  <a:gd name="connsiteY81" fmla="*/ 5527002 h 7571038"/>
                  <a:gd name="connsiteX82" fmla="*/ 0 w 4381952"/>
                  <a:gd name="connsiteY82" fmla="*/ 5573698 h 7571038"/>
                  <a:gd name="connsiteX83" fmla="*/ 9152 w 4381952"/>
                  <a:gd name="connsiteY83" fmla="*/ 5577474 h 7571038"/>
                  <a:gd name="connsiteX84" fmla="*/ 36276 w 4381952"/>
                  <a:gd name="connsiteY84" fmla="*/ 5550352 h 7571038"/>
                  <a:gd name="connsiteX85" fmla="*/ 37261 w 4381952"/>
                  <a:gd name="connsiteY85" fmla="*/ 1880561 h 7571038"/>
                  <a:gd name="connsiteX86" fmla="*/ 32577 w 4381952"/>
                  <a:gd name="connsiteY86" fmla="*/ 1875878 h 7571038"/>
                  <a:gd name="connsiteX87" fmla="*/ 27892 w 4381952"/>
                  <a:gd name="connsiteY87" fmla="*/ 1880561 h 7571038"/>
                  <a:gd name="connsiteX88" fmla="*/ 32577 w 4381952"/>
                  <a:gd name="connsiteY88" fmla="*/ 1885241 h 7571038"/>
                  <a:gd name="connsiteX89" fmla="*/ 37261 w 4381952"/>
                  <a:gd name="connsiteY89" fmla="*/ 1880561 h 7571038"/>
                  <a:gd name="connsiteX90" fmla="*/ 37755 w 4381952"/>
                  <a:gd name="connsiteY90" fmla="*/ 665578 h 7571038"/>
                  <a:gd name="connsiteX91" fmla="*/ 23455 w 4381952"/>
                  <a:gd name="connsiteY91" fmla="*/ 651277 h 7571038"/>
                  <a:gd name="connsiteX92" fmla="*/ 9152 w 4381952"/>
                  <a:gd name="connsiteY92" fmla="*/ 665578 h 7571038"/>
                  <a:gd name="connsiteX93" fmla="*/ 23455 w 4381952"/>
                  <a:gd name="connsiteY93" fmla="*/ 679873 h 7571038"/>
                  <a:gd name="connsiteX94" fmla="*/ 37755 w 4381952"/>
                  <a:gd name="connsiteY94" fmla="*/ 665578 h 7571038"/>
                  <a:gd name="connsiteX95" fmla="*/ 39233 w 4381952"/>
                  <a:gd name="connsiteY95" fmla="*/ 3970787 h 7571038"/>
                  <a:gd name="connsiteX96" fmla="*/ 25364 w 4381952"/>
                  <a:gd name="connsiteY96" fmla="*/ 3937314 h 7571038"/>
                  <a:gd name="connsiteX97" fmla="*/ 0 w 4381952"/>
                  <a:gd name="connsiteY97" fmla="*/ 3926804 h 7571038"/>
                  <a:gd name="connsiteX98" fmla="*/ 0 w 4381952"/>
                  <a:gd name="connsiteY98" fmla="*/ 4014768 h 7571038"/>
                  <a:gd name="connsiteX99" fmla="*/ 25364 w 4381952"/>
                  <a:gd name="connsiteY99" fmla="*/ 4004258 h 7571038"/>
                  <a:gd name="connsiteX100" fmla="*/ 39233 w 4381952"/>
                  <a:gd name="connsiteY100" fmla="*/ 3970787 h 7571038"/>
                  <a:gd name="connsiteX101" fmla="*/ 40468 w 4381952"/>
                  <a:gd name="connsiteY101" fmla="*/ 2544488 h 7571038"/>
                  <a:gd name="connsiteX102" fmla="*/ 21480 w 4381952"/>
                  <a:gd name="connsiteY102" fmla="*/ 2525500 h 7571038"/>
                  <a:gd name="connsiteX103" fmla="*/ 2494 w 4381952"/>
                  <a:gd name="connsiteY103" fmla="*/ 2544488 h 7571038"/>
                  <a:gd name="connsiteX104" fmla="*/ 21480 w 4381952"/>
                  <a:gd name="connsiteY104" fmla="*/ 2563475 h 7571038"/>
                  <a:gd name="connsiteX105" fmla="*/ 40468 w 4381952"/>
                  <a:gd name="connsiteY105" fmla="*/ 2544488 h 7571038"/>
                  <a:gd name="connsiteX106" fmla="*/ 43426 w 4381952"/>
                  <a:gd name="connsiteY106" fmla="*/ 4359636 h 7571038"/>
                  <a:gd name="connsiteX107" fmla="*/ 275 w 4381952"/>
                  <a:gd name="connsiteY107" fmla="*/ 4316484 h 7571038"/>
                  <a:gd name="connsiteX108" fmla="*/ 0 w 4381952"/>
                  <a:gd name="connsiteY108" fmla="*/ 4316598 h 7571038"/>
                  <a:gd name="connsiteX109" fmla="*/ 0 w 4381952"/>
                  <a:gd name="connsiteY109" fmla="*/ 4402673 h 7571038"/>
                  <a:gd name="connsiteX110" fmla="*/ 275 w 4381952"/>
                  <a:gd name="connsiteY110" fmla="*/ 4402787 h 7571038"/>
                  <a:gd name="connsiteX111" fmla="*/ 43426 w 4381952"/>
                  <a:gd name="connsiteY111" fmla="*/ 4359636 h 7571038"/>
                  <a:gd name="connsiteX112" fmla="*/ 44658 w 4381952"/>
                  <a:gd name="connsiteY112" fmla="*/ 2873 h 7571038"/>
                  <a:gd name="connsiteX113" fmla="*/ 43457 w 4381952"/>
                  <a:gd name="connsiteY113" fmla="*/ 0 h 7571038"/>
                  <a:gd name="connsiteX114" fmla="*/ 14299 w 4381952"/>
                  <a:gd name="connsiteY114" fmla="*/ 0 h 7571038"/>
                  <a:gd name="connsiteX115" fmla="*/ 13098 w 4381952"/>
                  <a:gd name="connsiteY115" fmla="*/ 2873 h 7571038"/>
                  <a:gd name="connsiteX116" fmla="*/ 28878 w 4381952"/>
                  <a:gd name="connsiteY116" fmla="*/ 18653 h 7571038"/>
                  <a:gd name="connsiteX117" fmla="*/ 44658 w 4381952"/>
                  <a:gd name="connsiteY117" fmla="*/ 2873 h 7571038"/>
                  <a:gd name="connsiteX118" fmla="*/ 46632 w 4381952"/>
                  <a:gd name="connsiteY118" fmla="*/ 796242 h 7571038"/>
                  <a:gd name="connsiteX119" fmla="*/ 32332 w 4381952"/>
                  <a:gd name="connsiteY119" fmla="*/ 781936 h 7571038"/>
                  <a:gd name="connsiteX120" fmla="*/ 18029 w 4381952"/>
                  <a:gd name="connsiteY120" fmla="*/ 796242 h 7571038"/>
                  <a:gd name="connsiteX121" fmla="*/ 32332 w 4381952"/>
                  <a:gd name="connsiteY121" fmla="*/ 810541 h 7571038"/>
                  <a:gd name="connsiteX122" fmla="*/ 46632 w 4381952"/>
                  <a:gd name="connsiteY122" fmla="*/ 796242 h 7571038"/>
                  <a:gd name="connsiteX123" fmla="*/ 49839 w 4381952"/>
                  <a:gd name="connsiteY123" fmla="*/ 127855 h 7571038"/>
                  <a:gd name="connsiteX124" fmla="*/ 34305 w 4381952"/>
                  <a:gd name="connsiteY124" fmla="*/ 112320 h 7571038"/>
                  <a:gd name="connsiteX125" fmla="*/ 18770 w 4381952"/>
                  <a:gd name="connsiteY125" fmla="*/ 127855 h 7571038"/>
                  <a:gd name="connsiteX126" fmla="*/ 34305 w 4381952"/>
                  <a:gd name="connsiteY126" fmla="*/ 143389 h 7571038"/>
                  <a:gd name="connsiteX127" fmla="*/ 49839 w 4381952"/>
                  <a:gd name="connsiteY127" fmla="*/ 127855 h 7571038"/>
                  <a:gd name="connsiteX128" fmla="*/ 52797 w 4381952"/>
                  <a:gd name="connsiteY128" fmla="*/ 4879417 h 7571038"/>
                  <a:gd name="connsiteX129" fmla="*/ 28386 w 4381952"/>
                  <a:gd name="connsiteY129" fmla="*/ 4855005 h 7571038"/>
                  <a:gd name="connsiteX130" fmla="*/ 3974 w 4381952"/>
                  <a:gd name="connsiteY130" fmla="*/ 4879417 h 7571038"/>
                  <a:gd name="connsiteX131" fmla="*/ 28386 w 4381952"/>
                  <a:gd name="connsiteY131" fmla="*/ 4903825 h 7571038"/>
                  <a:gd name="connsiteX132" fmla="*/ 52797 w 4381952"/>
                  <a:gd name="connsiteY132" fmla="*/ 4879417 h 7571038"/>
                  <a:gd name="connsiteX133" fmla="*/ 54770 w 4381952"/>
                  <a:gd name="connsiteY133" fmla="*/ 253824 h 7571038"/>
                  <a:gd name="connsiteX134" fmla="*/ 39727 w 4381952"/>
                  <a:gd name="connsiteY134" fmla="*/ 238785 h 7571038"/>
                  <a:gd name="connsiteX135" fmla="*/ 24687 w 4381952"/>
                  <a:gd name="connsiteY135" fmla="*/ 253824 h 7571038"/>
                  <a:gd name="connsiteX136" fmla="*/ 39727 w 4381952"/>
                  <a:gd name="connsiteY136" fmla="*/ 268867 h 7571038"/>
                  <a:gd name="connsiteX137" fmla="*/ 54770 w 4381952"/>
                  <a:gd name="connsiteY137" fmla="*/ 253824 h 7571038"/>
                  <a:gd name="connsiteX138" fmla="*/ 56495 w 4381952"/>
                  <a:gd name="connsiteY138" fmla="*/ 5409803 h 7571038"/>
                  <a:gd name="connsiteX139" fmla="*/ 26906 w 4381952"/>
                  <a:gd name="connsiteY139" fmla="*/ 5380213 h 7571038"/>
                  <a:gd name="connsiteX140" fmla="*/ 6008 w 4381952"/>
                  <a:gd name="connsiteY140" fmla="*/ 5388905 h 7571038"/>
                  <a:gd name="connsiteX141" fmla="*/ 0 w 4381952"/>
                  <a:gd name="connsiteY141" fmla="*/ 5403351 h 7571038"/>
                  <a:gd name="connsiteX142" fmla="*/ 0 w 4381952"/>
                  <a:gd name="connsiteY142" fmla="*/ 5416255 h 7571038"/>
                  <a:gd name="connsiteX143" fmla="*/ 6008 w 4381952"/>
                  <a:gd name="connsiteY143" fmla="*/ 5430701 h 7571038"/>
                  <a:gd name="connsiteX144" fmla="*/ 26906 w 4381952"/>
                  <a:gd name="connsiteY144" fmla="*/ 5439392 h 7571038"/>
                  <a:gd name="connsiteX145" fmla="*/ 56495 w 4381952"/>
                  <a:gd name="connsiteY145" fmla="*/ 5409803 h 7571038"/>
                  <a:gd name="connsiteX146" fmla="*/ 56988 w 4381952"/>
                  <a:gd name="connsiteY146" fmla="*/ 928380 h 7571038"/>
                  <a:gd name="connsiteX147" fmla="*/ 42440 w 4381952"/>
                  <a:gd name="connsiteY147" fmla="*/ 913825 h 7571038"/>
                  <a:gd name="connsiteX148" fmla="*/ 27892 w 4381952"/>
                  <a:gd name="connsiteY148" fmla="*/ 928380 h 7571038"/>
                  <a:gd name="connsiteX149" fmla="*/ 42440 w 4381952"/>
                  <a:gd name="connsiteY149" fmla="*/ 942924 h 7571038"/>
                  <a:gd name="connsiteX150" fmla="*/ 56988 w 4381952"/>
                  <a:gd name="connsiteY150" fmla="*/ 928380 h 7571038"/>
                  <a:gd name="connsiteX151" fmla="*/ 61179 w 4381952"/>
                  <a:gd name="connsiteY151" fmla="*/ 2029635 h 7571038"/>
                  <a:gd name="connsiteX152" fmla="*/ 59207 w 4381952"/>
                  <a:gd name="connsiteY152" fmla="*/ 2027663 h 7571038"/>
                  <a:gd name="connsiteX153" fmla="*/ 57235 w 4381952"/>
                  <a:gd name="connsiteY153" fmla="*/ 2029635 h 7571038"/>
                  <a:gd name="connsiteX154" fmla="*/ 59207 w 4381952"/>
                  <a:gd name="connsiteY154" fmla="*/ 2031608 h 7571038"/>
                  <a:gd name="connsiteX155" fmla="*/ 61179 w 4381952"/>
                  <a:gd name="connsiteY155" fmla="*/ 2029635 h 7571038"/>
                  <a:gd name="connsiteX156" fmla="*/ 61671 w 4381952"/>
                  <a:gd name="connsiteY156" fmla="*/ 6160624 h 7571038"/>
                  <a:gd name="connsiteX157" fmla="*/ 34304 w 4381952"/>
                  <a:gd name="connsiteY157" fmla="*/ 6133253 h 7571038"/>
                  <a:gd name="connsiteX158" fmla="*/ 6933 w 4381952"/>
                  <a:gd name="connsiteY158" fmla="*/ 6160624 h 7571038"/>
                  <a:gd name="connsiteX159" fmla="*/ 34304 w 4381952"/>
                  <a:gd name="connsiteY159" fmla="*/ 6187995 h 7571038"/>
                  <a:gd name="connsiteX160" fmla="*/ 61671 w 4381952"/>
                  <a:gd name="connsiteY160" fmla="*/ 6160624 h 7571038"/>
                  <a:gd name="connsiteX161" fmla="*/ 62906 w 4381952"/>
                  <a:gd name="connsiteY161" fmla="*/ 2818676 h 7571038"/>
                  <a:gd name="connsiteX162" fmla="*/ 35782 w 4381952"/>
                  <a:gd name="connsiteY162" fmla="*/ 2791551 h 7571038"/>
                  <a:gd name="connsiteX163" fmla="*/ 8660 w 4381952"/>
                  <a:gd name="connsiteY163" fmla="*/ 2818676 h 7571038"/>
                  <a:gd name="connsiteX164" fmla="*/ 35782 w 4381952"/>
                  <a:gd name="connsiteY164" fmla="*/ 2845799 h 7571038"/>
                  <a:gd name="connsiteX165" fmla="*/ 62906 w 4381952"/>
                  <a:gd name="connsiteY165" fmla="*/ 2818676 h 7571038"/>
                  <a:gd name="connsiteX166" fmla="*/ 62907 w 4381952"/>
                  <a:gd name="connsiteY166" fmla="*/ 6028214 h 7571038"/>
                  <a:gd name="connsiteX167" fmla="*/ 43918 w 4381952"/>
                  <a:gd name="connsiteY167" fmla="*/ 6009228 h 7571038"/>
                  <a:gd name="connsiteX168" fmla="*/ 24933 w 4381952"/>
                  <a:gd name="connsiteY168" fmla="*/ 6028214 h 7571038"/>
                  <a:gd name="connsiteX169" fmla="*/ 43918 w 4381952"/>
                  <a:gd name="connsiteY169" fmla="*/ 6047202 h 7571038"/>
                  <a:gd name="connsiteX170" fmla="*/ 62907 w 4381952"/>
                  <a:gd name="connsiteY170" fmla="*/ 6028214 h 7571038"/>
                  <a:gd name="connsiteX171" fmla="*/ 63401 w 4381952"/>
                  <a:gd name="connsiteY171" fmla="*/ 1364753 h 7571038"/>
                  <a:gd name="connsiteX172" fmla="*/ 48358 w 4381952"/>
                  <a:gd name="connsiteY172" fmla="*/ 1349715 h 7571038"/>
                  <a:gd name="connsiteX173" fmla="*/ 33318 w 4381952"/>
                  <a:gd name="connsiteY173" fmla="*/ 1364753 h 7571038"/>
                  <a:gd name="connsiteX174" fmla="*/ 48358 w 4381952"/>
                  <a:gd name="connsiteY174" fmla="*/ 1379799 h 7571038"/>
                  <a:gd name="connsiteX175" fmla="*/ 63401 w 4381952"/>
                  <a:gd name="connsiteY175" fmla="*/ 1364753 h 7571038"/>
                  <a:gd name="connsiteX176" fmla="*/ 67590 w 4381952"/>
                  <a:gd name="connsiteY176" fmla="*/ 1062001 h 7571038"/>
                  <a:gd name="connsiteX177" fmla="*/ 53290 w 4381952"/>
                  <a:gd name="connsiteY177" fmla="*/ 1047701 h 7571038"/>
                  <a:gd name="connsiteX178" fmla="*/ 38987 w 4381952"/>
                  <a:gd name="connsiteY178" fmla="*/ 1062001 h 7571038"/>
                  <a:gd name="connsiteX179" fmla="*/ 53290 w 4381952"/>
                  <a:gd name="connsiteY179" fmla="*/ 1076551 h 7571038"/>
                  <a:gd name="connsiteX180" fmla="*/ 67590 w 4381952"/>
                  <a:gd name="connsiteY180" fmla="*/ 1062001 h 7571038"/>
                  <a:gd name="connsiteX181" fmla="*/ 70055 w 4381952"/>
                  <a:gd name="connsiteY181" fmla="*/ 4083963 h 7571038"/>
                  <a:gd name="connsiteX182" fmla="*/ 20493 w 4381952"/>
                  <a:gd name="connsiteY182" fmla="*/ 4034401 h 7571038"/>
                  <a:gd name="connsiteX183" fmla="*/ 0 w 4381952"/>
                  <a:gd name="connsiteY183" fmla="*/ 4042890 h 7571038"/>
                  <a:gd name="connsiteX184" fmla="*/ 0 w 4381952"/>
                  <a:gd name="connsiteY184" fmla="*/ 4125035 h 7571038"/>
                  <a:gd name="connsiteX185" fmla="*/ 20493 w 4381952"/>
                  <a:gd name="connsiteY185" fmla="*/ 4133524 h 7571038"/>
                  <a:gd name="connsiteX186" fmla="*/ 70055 w 4381952"/>
                  <a:gd name="connsiteY186" fmla="*/ 4083963 h 7571038"/>
                  <a:gd name="connsiteX187" fmla="*/ 71781 w 4381952"/>
                  <a:gd name="connsiteY187" fmla="*/ 5759446 h 7571038"/>
                  <a:gd name="connsiteX188" fmla="*/ 67098 w 4381952"/>
                  <a:gd name="connsiteY188" fmla="*/ 5754514 h 7571038"/>
                  <a:gd name="connsiteX189" fmla="*/ 62412 w 4381952"/>
                  <a:gd name="connsiteY189" fmla="*/ 5759446 h 7571038"/>
                  <a:gd name="connsiteX190" fmla="*/ 67098 w 4381952"/>
                  <a:gd name="connsiteY190" fmla="*/ 5764377 h 7571038"/>
                  <a:gd name="connsiteX191" fmla="*/ 71781 w 4381952"/>
                  <a:gd name="connsiteY191" fmla="*/ 5759446 h 7571038"/>
                  <a:gd name="connsiteX192" fmla="*/ 72274 w 4381952"/>
                  <a:gd name="connsiteY192" fmla="*/ 5894818 h 7571038"/>
                  <a:gd name="connsiteX193" fmla="*/ 54768 w 4381952"/>
                  <a:gd name="connsiteY193" fmla="*/ 5877310 h 7571038"/>
                  <a:gd name="connsiteX194" fmla="*/ 37261 w 4381952"/>
                  <a:gd name="connsiteY194" fmla="*/ 5894818 h 7571038"/>
                  <a:gd name="connsiteX195" fmla="*/ 54768 w 4381952"/>
                  <a:gd name="connsiteY195" fmla="*/ 5912326 h 7571038"/>
                  <a:gd name="connsiteX196" fmla="*/ 72274 w 4381952"/>
                  <a:gd name="connsiteY196" fmla="*/ 5894818 h 7571038"/>
                  <a:gd name="connsiteX197" fmla="*/ 75482 w 4381952"/>
                  <a:gd name="connsiteY197" fmla="*/ 5122048 h 7571038"/>
                  <a:gd name="connsiteX198" fmla="*/ 68824 w 4381952"/>
                  <a:gd name="connsiteY198" fmla="*/ 5115389 h 7571038"/>
                  <a:gd name="connsiteX199" fmla="*/ 62167 w 4381952"/>
                  <a:gd name="connsiteY199" fmla="*/ 5122048 h 7571038"/>
                  <a:gd name="connsiteX200" fmla="*/ 68824 w 4381952"/>
                  <a:gd name="connsiteY200" fmla="*/ 5128702 h 7571038"/>
                  <a:gd name="connsiteX201" fmla="*/ 75482 w 4381952"/>
                  <a:gd name="connsiteY201" fmla="*/ 5122048 h 7571038"/>
                  <a:gd name="connsiteX202" fmla="*/ 79673 w 4381952"/>
                  <a:gd name="connsiteY202" fmla="*/ 1197355 h 7571038"/>
                  <a:gd name="connsiteX203" fmla="*/ 65371 w 4381952"/>
                  <a:gd name="connsiteY203" fmla="*/ 1183051 h 7571038"/>
                  <a:gd name="connsiteX204" fmla="*/ 51071 w 4381952"/>
                  <a:gd name="connsiteY204" fmla="*/ 1197355 h 7571038"/>
                  <a:gd name="connsiteX205" fmla="*/ 65371 w 4381952"/>
                  <a:gd name="connsiteY205" fmla="*/ 1211655 h 7571038"/>
                  <a:gd name="connsiteX206" fmla="*/ 79673 w 4381952"/>
                  <a:gd name="connsiteY206" fmla="*/ 1197355 h 7571038"/>
                  <a:gd name="connsiteX207" fmla="*/ 80906 w 4381952"/>
                  <a:gd name="connsiteY207" fmla="*/ 1504053 h 7571038"/>
                  <a:gd name="connsiteX208" fmla="*/ 64630 w 4381952"/>
                  <a:gd name="connsiteY208" fmla="*/ 1487779 h 7571038"/>
                  <a:gd name="connsiteX209" fmla="*/ 48358 w 4381952"/>
                  <a:gd name="connsiteY209" fmla="*/ 1504053 h 7571038"/>
                  <a:gd name="connsiteX210" fmla="*/ 64630 w 4381952"/>
                  <a:gd name="connsiteY210" fmla="*/ 1520329 h 7571038"/>
                  <a:gd name="connsiteX211" fmla="*/ 80906 w 4381952"/>
                  <a:gd name="connsiteY211" fmla="*/ 1504053 h 7571038"/>
                  <a:gd name="connsiteX212" fmla="*/ 81151 w 4381952"/>
                  <a:gd name="connsiteY212" fmla="*/ 4466402 h 7571038"/>
                  <a:gd name="connsiteX213" fmla="*/ 46632 w 4381952"/>
                  <a:gd name="connsiteY213" fmla="*/ 4431882 h 7571038"/>
                  <a:gd name="connsiteX214" fmla="*/ 12111 w 4381952"/>
                  <a:gd name="connsiteY214" fmla="*/ 4466402 h 7571038"/>
                  <a:gd name="connsiteX215" fmla="*/ 46632 w 4381952"/>
                  <a:gd name="connsiteY215" fmla="*/ 4500923 h 7571038"/>
                  <a:gd name="connsiteX216" fmla="*/ 81151 w 4381952"/>
                  <a:gd name="connsiteY216" fmla="*/ 4466402 h 7571038"/>
                  <a:gd name="connsiteX217" fmla="*/ 83616 w 4381952"/>
                  <a:gd name="connsiteY217" fmla="*/ 4726540 h 7571038"/>
                  <a:gd name="connsiteX218" fmla="*/ 60930 w 4381952"/>
                  <a:gd name="connsiteY218" fmla="*/ 4703855 h 7571038"/>
                  <a:gd name="connsiteX219" fmla="*/ 38246 w 4381952"/>
                  <a:gd name="connsiteY219" fmla="*/ 4726540 h 7571038"/>
                  <a:gd name="connsiteX220" fmla="*/ 60930 w 4381952"/>
                  <a:gd name="connsiteY220" fmla="*/ 4749225 h 7571038"/>
                  <a:gd name="connsiteX221" fmla="*/ 83616 w 4381952"/>
                  <a:gd name="connsiteY221" fmla="*/ 4726540 h 7571038"/>
                  <a:gd name="connsiteX222" fmla="*/ 84357 w 4381952"/>
                  <a:gd name="connsiteY222" fmla="*/ 6984928 h 7571038"/>
                  <a:gd name="connsiteX223" fmla="*/ 81398 w 4381952"/>
                  <a:gd name="connsiteY223" fmla="*/ 6981968 h 7571038"/>
                  <a:gd name="connsiteX224" fmla="*/ 78439 w 4381952"/>
                  <a:gd name="connsiteY224" fmla="*/ 6984928 h 7571038"/>
                  <a:gd name="connsiteX225" fmla="*/ 81398 w 4381952"/>
                  <a:gd name="connsiteY225" fmla="*/ 6987887 h 7571038"/>
                  <a:gd name="connsiteX226" fmla="*/ 84357 w 4381952"/>
                  <a:gd name="connsiteY226" fmla="*/ 6984928 h 7571038"/>
                  <a:gd name="connsiteX227" fmla="*/ 85838 w 4381952"/>
                  <a:gd name="connsiteY227" fmla="*/ 2438717 h 7571038"/>
                  <a:gd name="connsiteX228" fmla="*/ 70549 w 4381952"/>
                  <a:gd name="connsiteY228" fmla="*/ 2423414 h 7571038"/>
                  <a:gd name="connsiteX229" fmla="*/ 55262 w 4381952"/>
                  <a:gd name="connsiteY229" fmla="*/ 2438717 h 7571038"/>
                  <a:gd name="connsiteX230" fmla="*/ 70549 w 4381952"/>
                  <a:gd name="connsiteY230" fmla="*/ 2453992 h 7571038"/>
                  <a:gd name="connsiteX231" fmla="*/ 85838 w 4381952"/>
                  <a:gd name="connsiteY231" fmla="*/ 2438717 h 7571038"/>
                  <a:gd name="connsiteX232" fmla="*/ 86823 w 4381952"/>
                  <a:gd name="connsiteY232" fmla="*/ 3479361 h 7571038"/>
                  <a:gd name="connsiteX233" fmla="*/ 45645 w 4381952"/>
                  <a:gd name="connsiteY233" fmla="*/ 3438320 h 7571038"/>
                  <a:gd name="connsiteX234" fmla="*/ 4467 w 4381952"/>
                  <a:gd name="connsiteY234" fmla="*/ 3479361 h 7571038"/>
                  <a:gd name="connsiteX235" fmla="*/ 45645 w 4381952"/>
                  <a:gd name="connsiteY235" fmla="*/ 3520537 h 7571038"/>
                  <a:gd name="connsiteX236" fmla="*/ 86823 w 4381952"/>
                  <a:gd name="connsiteY236" fmla="*/ 3479361 h 7571038"/>
                  <a:gd name="connsiteX237" fmla="*/ 88550 w 4381952"/>
                  <a:gd name="connsiteY237" fmla="*/ 3363601 h 7571038"/>
                  <a:gd name="connsiteX238" fmla="*/ 48603 w 4381952"/>
                  <a:gd name="connsiteY238" fmla="*/ 3323666 h 7571038"/>
                  <a:gd name="connsiteX239" fmla="*/ 8660 w 4381952"/>
                  <a:gd name="connsiteY239" fmla="*/ 3363601 h 7571038"/>
                  <a:gd name="connsiteX240" fmla="*/ 48603 w 4381952"/>
                  <a:gd name="connsiteY240" fmla="*/ 3403556 h 7571038"/>
                  <a:gd name="connsiteX241" fmla="*/ 88550 w 4381952"/>
                  <a:gd name="connsiteY241" fmla="*/ 3363601 h 7571038"/>
                  <a:gd name="connsiteX242" fmla="*/ 89043 w 4381952"/>
                  <a:gd name="connsiteY242" fmla="*/ 6860406 h 7571038"/>
                  <a:gd name="connsiteX243" fmla="*/ 85838 w 4381952"/>
                  <a:gd name="connsiteY243" fmla="*/ 6857200 h 7571038"/>
                  <a:gd name="connsiteX244" fmla="*/ 82633 w 4381952"/>
                  <a:gd name="connsiteY244" fmla="*/ 6860406 h 7571038"/>
                  <a:gd name="connsiteX245" fmla="*/ 85838 w 4381952"/>
                  <a:gd name="connsiteY245" fmla="*/ 6863613 h 7571038"/>
                  <a:gd name="connsiteX246" fmla="*/ 89043 w 4381952"/>
                  <a:gd name="connsiteY246" fmla="*/ 6860406 h 7571038"/>
                  <a:gd name="connsiteX247" fmla="*/ 90522 w 4381952"/>
                  <a:gd name="connsiteY247" fmla="*/ 2181305 h 7571038"/>
                  <a:gd name="connsiteX248" fmla="*/ 89782 w 4381952"/>
                  <a:gd name="connsiteY248" fmla="*/ 2180567 h 7571038"/>
                  <a:gd name="connsiteX249" fmla="*/ 89042 w 4381952"/>
                  <a:gd name="connsiteY249" fmla="*/ 2181305 h 7571038"/>
                  <a:gd name="connsiteX250" fmla="*/ 89782 w 4381952"/>
                  <a:gd name="connsiteY250" fmla="*/ 2182043 h 7571038"/>
                  <a:gd name="connsiteX251" fmla="*/ 90522 w 4381952"/>
                  <a:gd name="connsiteY251" fmla="*/ 2181305 h 7571038"/>
                  <a:gd name="connsiteX252" fmla="*/ 91507 w 4381952"/>
                  <a:gd name="connsiteY252" fmla="*/ 3594756 h 7571038"/>
                  <a:gd name="connsiteX253" fmla="*/ 48849 w 4381952"/>
                  <a:gd name="connsiteY253" fmla="*/ 3552099 h 7571038"/>
                  <a:gd name="connsiteX254" fmla="*/ 6439 w 4381952"/>
                  <a:gd name="connsiteY254" fmla="*/ 3594756 h 7571038"/>
                  <a:gd name="connsiteX255" fmla="*/ 48849 w 4381952"/>
                  <a:gd name="connsiteY255" fmla="*/ 3637413 h 7571038"/>
                  <a:gd name="connsiteX256" fmla="*/ 91507 w 4381952"/>
                  <a:gd name="connsiteY256" fmla="*/ 3594756 h 7571038"/>
                  <a:gd name="connsiteX257" fmla="*/ 92493 w 4381952"/>
                  <a:gd name="connsiteY257" fmla="*/ 6735148 h 7571038"/>
                  <a:gd name="connsiteX258" fmla="*/ 90769 w 4381952"/>
                  <a:gd name="connsiteY258" fmla="*/ 6733421 h 7571038"/>
                  <a:gd name="connsiteX259" fmla="*/ 89042 w 4381952"/>
                  <a:gd name="connsiteY259" fmla="*/ 6735148 h 7571038"/>
                  <a:gd name="connsiteX260" fmla="*/ 90769 w 4381952"/>
                  <a:gd name="connsiteY260" fmla="*/ 6736874 h 7571038"/>
                  <a:gd name="connsiteX261" fmla="*/ 92493 w 4381952"/>
                  <a:gd name="connsiteY261" fmla="*/ 6735148 h 7571038"/>
                  <a:gd name="connsiteX262" fmla="*/ 96684 w 4381952"/>
                  <a:gd name="connsiteY262" fmla="*/ 3248213 h 7571038"/>
                  <a:gd name="connsiteX263" fmla="*/ 57973 w 4381952"/>
                  <a:gd name="connsiteY263" fmla="*/ 3209499 h 7571038"/>
                  <a:gd name="connsiteX264" fmla="*/ 19261 w 4381952"/>
                  <a:gd name="connsiteY264" fmla="*/ 3248213 h 7571038"/>
                  <a:gd name="connsiteX265" fmla="*/ 57973 w 4381952"/>
                  <a:gd name="connsiteY265" fmla="*/ 3286919 h 7571038"/>
                  <a:gd name="connsiteX266" fmla="*/ 96684 w 4381952"/>
                  <a:gd name="connsiteY266" fmla="*/ 3248213 h 7571038"/>
                  <a:gd name="connsiteX267" fmla="*/ 96687 w 4381952"/>
                  <a:gd name="connsiteY267" fmla="*/ 2708207 h 7571038"/>
                  <a:gd name="connsiteX268" fmla="*/ 73016 w 4381952"/>
                  <a:gd name="connsiteY268" fmla="*/ 2684534 h 7571038"/>
                  <a:gd name="connsiteX269" fmla="*/ 49345 w 4381952"/>
                  <a:gd name="connsiteY269" fmla="*/ 2708207 h 7571038"/>
                  <a:gd name="connsiteX270" fmla="*/ 73016 w 4381952"/>
                  <a:gd name="connsiteY270" fmla="*/ 2731877 h 7571038"/>
                  <a:gd name="connsiteX271" fmla="*/ 96687 w 4381952"/>
                  <a:gd name="connsiteY271" fmla="*/ 2708207 h 7571038"/>
                  <a:gd name="connsiteX272" fmla="*/ 99892 w 4381952"/>
                  <a:gd name="connsiteY272" fmla="*/ 4195418 h 7571038"/>
                  <a:gd name="connsiteX273" fmla="*/ 54770 w 4381952"/>
                  <a:gd name="connsiteY273" fmla="*/ 4150293 h 7571038"/>
                  <a:gd name="connsiteX274" fmla="*/ 9646 w 4381952"/>
                  <a:gd name="connsiteY274" fmla="*/ 4195418 h 7571038"/>
                  <a:gd name="connsiteX275" fmla="*/ 54770 w 4381952"/>
                  <a:gd name="connsiteY275" fmla="*/ 4240542 h 7571038"/>
                  <a:gd name="connsiteX276" fmla="*/ 99892 w 4381952"/>
                  <a:gd name="connsiteY276" fmla="*/ 4195418 h 7571038"/>
                  <a:gd name="connsiteX277" fmla="*/ 100632 w 4381952"/>
                  <a:gd name="connsiteY277" fmla="*/ 1645323 h 7571038"/>
                  <a:gd name="connsiteX278" fmla="*/ 83373 w 4381952"/>
                  <a:gd name="connsiteY278" fmla="*/ 1628059 h 7571038"/>
                  <a:gd name="connsiteX279" fmla="*/ 66111 w 4381952"/>
                  <a:gd name="connsiteY279" fmla="*/ 1645323 h 7571038"/>
                  <a:gd name="connsiteX280" fmla="*/ 83373 w 4381952"/>
                  <a:gd name="connsiteY280" fmla="*/ 1662579 h 7571038"/>
                  <a:gd name="connsiteX281" fmla="*/ 100632 w 4381952"/>
                  <a:gd name="connsiteY281" fmla="*/ 1645323 h 7571038"/>
                  <a:gd name="connsiteX282" fmla="*/ 102111 w 4381952"/>
                  <a:gd name="connsiteY282" fmla="*/ 3710153 h 7571038"/>
                  <a:gd name="connsiteX283" fmla="*/ 58218 w 4381952"/>
                  <a:gd name="connsiteY283" fmla="*/ 3666264 h 7571038"/>
                  <a:gd name="connsiteX284" fmla="*/ 14330 w 4381952"/>
                  <a:gd name="connsiteY284" fmla="*/ 3710153 h 7571038"/>
                  <a:gd name="connsiteX285" fmla="*/ 58218 w 4381952"/>
                  <a:gd name="connsiteY285" fmla="*/ 3754045 h 7571038"/>
                  <a:gd name="connsiteX286" fmla="*/ 102111 w 4381952"/>
                  <a:gd name="connsiteY286" fmla="*/ 3710153 h 7571038"/>
                  <a:gd name="connsiteX287" fmla="*/ 108029 w 4381952"/>
                  <a:gd name="connsiteY287" fmla="*/ 6615310 h 7571038"/>
                  <a:gd name="connsiteX288" fmla="*/ 105315 w 4381952"/>
                  <a:gd name="connsiteY288" fmla="*/ 6612597 h 7571038"/>
                  <a:gd name="connsiteX289" fmla="*/ 102356 w 4381952"/>
                  <a:gd name="connsiteY289" fmla="*/ 6615310 h 7571038"/>
                  <a:gd name="connsiteX290" fmla="*/ 105315 w 4381952"/>
                  <a:gd name="connsiteY290" fmla="*/ 6618023 h 7571038"/>
                  <a:gd name="connsiteX291" fmla="*/ 108029 w 4381952"/>
                  <a:gd name="connsiteY291" fmla="*/ 6615310 h 7571038"/>
                  <a:gd name="connsiteX292" fmla="*/ 109508 w 4381952"/>
                  <a:gd name="connsiteY292" fmla="*/ 4975089 h 7571038"/>
                  <a:gd name="connsiteX293" fmla="*/ 93974 w 4381952"/>
                  <a:gd name="connsiteY293" fmla="*/ 4959553 h 7571038"/>
                  <a:gd name="connsiteX294" fmla="*/ 78439 w 4381952"/>
                  <a:gd name="connsiteY294" fmla="*/ 4975089 h 7571038"/>
                  <a:gd name="connsiteX295" fmla="*/ 93974 w 4381952"/>
                  <a:gd name="connsiteY295" fmla="*/ 4990624 h 7571038"/>
                  <a:gd name="connsiteX296" fmla="*/ 109508 w 4381952"/>
                  <a:gd name="connsiteY296" fmla="*/ 4975089 h 7571038"/>
                  <a:gd name="connsiteX297" fmla="*/ 110742 w 4381952"/>
                  <a:gd name="connsiteY297" fmla="*/ 3133553 h 7571038"/>
                  <a:gd name="connsiteX298" fmla="*/ 73262 w 4381952"/>
                  <a:gd name="connsiteY298" fmla="*/ 3096071 h 7571038"/>
                  <a:gd name="connsiteX299" fmla="*/ 35783 w 4381952"/>
                  <a:gd name="connsiteY299" fmla="*/ 3133553 h 7571038"/>
                  <a:gd name="connsiteX300" fmla="*/ 73262 w 4381952"/>
                  <a:gd name="connsiteY300" fmla="*/ 3171033 h 7571038"/>
                  <a:gd name="connsiteX301" fmla="*/ 110742 w 4381952"/>
                  <a:gd name="connsiteY301" fmla="*/ 3133553 h 7571038"/>
                  <a:gd name="connsiteX302" fmla="*/ 110743 w 4381952"/>
                  <a:gd name="connsiteY302" fmla="*/ 1788823 h 7571038"/>
                  <a:gd name="connsiteX303" fmla="*/ 104085 w 4381952"/>
                  <a:gd name="connsiteY303" fmla="*/ 1782195 h 7571038"/>
                  <a:gd name="connsiteX304" fmla="*/ 97427 w 4381952"/>
                  <a:gd name="connsiteY304" fmla="*/ 1788823 h 7571038"/>
                  <a:gd name="connsiteX305" fmla="*/ 104085 w 4381952"/>
                  <a:gd name="connsiteY305" fmla="*/ 1795521 h 7571038"/>
                  <a:gd name="connsiteX306" fmla="*/ 110743 w 4381952"/>
                  <a:gd name="connsiteY306" fmla="*/ 1788823 h 7571038"/>
                  <a:gd name="connsiteX307" fmla="*/ 114441 w 4381952"/>
                  <a:gd name="connsiteY307" fmla="*/ 6488572 h 7571038"/>
                  <a:gd name="connsiteX308" fmla="*/ 111482 w 4381952"/>
                  <a:gd name="connsiteY308" fmla="*/ 6485613 h 7571038"/>
                  <a:gd name="connsiteX309" fmla="*/ 108523 w 4381952"/>
                  <a:gd name="connsiteY309" fmla="*/ 6488572 h 7571038"/>
                  <a:gd name="connsiteX310" fmla="*/ 111482 w 4381952"/>
                  <a:gd name="connsiteY310" fmla="*/ 6491531 h 7571038"/>
                  <a:gd name="connsiteX311" fmla="*/ 114441 w 4381952"/>
                  <a:gd name="connsiteY311" fmla="*/ 6488572 h 7571038"/>
                  <a:gd name="connsiteX312" fmla="*/ 117151 w 4381952"/>
                  <a:gd name="connsiteY312" fmla="*/ 5632461 h 7571038"/>
                  <a:gd name="connsiteX313" fmla="*/ 90520 w 4381952"/>
                  <a:gd name="connsiteY313" fmla="*/ 5605830 h 7571038"/>
                  <a:gd name="connsiteX314" fmla="*/ 63645 w 4381952"/>
                  <a:gd name="connsiteY314" fmla="*/ 5632461 h 7571038"/>
                  <a:gd name="connsiteX315" fmla="*/ 90520 w 4381952"/>
                  <a:gd name="connsiteY315" fmla="*/ 5659336 h 7571038"/>
                  <a:gd name="connsiteX316" fmla="*/ 117151 w 4381952"/>
                  <a:gd name="connsiteY316" fmla="*/ 5632461 h 7571038"/>
                  <a:gd name="connsiteX317" fmla="*/ 118137 w 4381952"/>
                  <a:gd name="connsiteY317" fmla="*/ 341824 h 7571038"/>
                  <a:gd name="connsiteX318" fmla="*/ 102851 w 4381952"/>
                  <a:gd name="connsiteY318" fmla="*/ 326537 h 7571038"/>
                  <a:gd name="connsiteX319" fmla="*/ 87562 w 4381952"/>
                  <a:gd name="connsiteY319" fmla="*/ 341824 h 7571038"/>
                  <a:gd name="connsiteX320" fmla="*/ 102851 w 4381952"/>
                  <a:gd name="connsiteY320" fmla="*/ 357111 h 7571038"/>
                  <a:gd name="connsiteX321" fmla="*/ 118137 w 4381952"/>
                  <a:gd name="connsiteY321" fmla="*/ 341824 h 7571038"/>
                  <a:gd name="connsiteX322" fmla="*/ 118877 w 4381952"/>
                  <a:gd name="connsiteY322" fmla="*/ 3825059 h 7571038"/>
                  <a:gd name="connsiteX323" fmla="*/ 74002 w 4381952"/>
                  <a:gd name="connsiteY323" fmla="*/ 3780183 h 7571038"/>
                  <a:gd name="connsiteX324" fmla="*/ 29124 w 4381952"/>
                  <a:gd name="connsiteY324" fmla="*/ 3825059 h 7571038"/>
                  <a:gd name="connsiteX325" fmla="*/ 74002 w 4381952"/>
                  <a:gd name="connsiteY325" fmla="*/ 3869937 h 7571038"/>
                  <a:gd name="connsiteX326" fmla="*/ 118877 w 4381952"/>
                  <a:gd name="connsiteY326" fmla="*/ 3825059 h 7571038"/>
                  <a:gd name="connsiteX327" fmla="*/ 120358 w 4381952"/>
                  <a:gd name="connsiteY327" fmla="*/ 6360844 h 7571038"/>
                  <a:gd name="connsiteX328" fmla="*/ 118385 w 4381952"/>
                  <a:gd name="connsiteY328" fmla="*/ 6358871 h 7571038"/>
                  <a:gd name="connsiteX329" fmla="*/ 116413 w 4381952"/>
                  <a:gd name="connsiteY329" fmla="*/ 6360844 h 7571038"/>
                  <a:gd name="connsiteX330" fmla="*/ 118385 w 4381952"/>
                  <a:gd name="connsiteY330" fmla="*/ 6362817 h 7571038"/>
                  <a:gd name="connsiteX331" fmla="*/ 120358 w 4381952"/>
                  <a:gd name="connsiteY331" fmla="*/ 6360844 h 7571038"/>
                  <a:gd name="connsiteX332" fmla="*/ 121098 w 4381952"/>
                  <a:gd name="connsiteY332" fmla="*/ 4570704 h 7571038"/>
                  <a:gd name="connsiteX333" fmla="*/ 98165 w 4381952"/>
                  <a:gd name="connsiteY333" fmla="*/ 4547773 h 7571038"/>
                  <a:gd name="connsiteX334" fmla="*/ 75234 w 4381952"/>
                  <a:gd name="connsiteY334" fmla="*/ 4570704 h 7571038"/>
                  <a:gd name="connsiteX335" fmla="*/ 98165 w 4381952"/>
                  <a:gd name="connsiteY335" fmla="*/ 4593638 h 7571038"/>
                  <a:gd name="connsiteX336" fmla="*/ 121098 w 4381952"/>
                  <a:gd name="connsiteY336" fmla="*/ 4570704 h 7571038"/>
                  <a:gd name="connsiteX337" fmla="*/ 123564 w 4381952"/>
                  <a:gd name="connsiteY337" fmla="*/ 5354570 h 7571038"/>
                  <a:gd name="connsiteX338" fmla="*/ 123072 w 4381952"/>
                  <a:gd name="connsiteY338" fmla="*/ 5354075 h 7571038"/>
                  <a:gd name="connsiteX339" fmla="*/ 122577 w 4381952"/>
                  <a:gd name="connsiteY339" fmla="*/ 5354570 h 7571038"/>
                  <a:gd name="connsiteX340" fmla="*/ 123072 w 4381952"/>
                  <a:gd name="connsiteY340" fmla="*/ 5355061 h 7571038"/>
                  <a:gd name="connsiteX341" fmla="*/ 123564 w 4381952"/>
                  <a:gd name="connsiteY341" fmla="*/ 5354570 h 7571038"/>
                  <a:gd name="connsiteX342" fmla="*/ 124055 w 4381952"/>
                  <a:gd name="connsiteY342" fmla="*/ 468537 h 7571038"/>
                  <a:gd name="connsiteX343" fmla="*/ 109260 w 4381952"/>
                  <a:gd name="connsiteY343" fmla="*/ 453742 h 7571038"/>
                  <a:gd name="connsiteX344" fmla="*/ 94466 w 4381952"/>
                  <a:gd name="connsiteY344" fmla="*/ 468537 h 7571038"/>
                  <a:gd name="connsiteX345" fmla="*/ 109260 w 4381952"/>
                  <a:gd name="connsiteY345" fmla="*/ 483330 h 7571038"/>
                  <a:gd name="connsiteX346" fmla="*/ 124055 w 4381952"/>
                  <a:gd name="connsiteY346" fmla="*/ 468537 h 7571038"/>
                  <a:gd name="connsiteX347" fmla="*/ 126276 w 4381952"/>
                  <a:gd name="connsiteY347" fmla="*/ 4304651 h 7571038"/>
                  <a:gd name="connsiteX348" fmla="*/ 94961 w 4381952"/>
                  <a:gd name="connsiteY348" fmla="*/ 4273335 h 7571038"/>
                  <a:gd name="connsiteX349" fmla="*/ 63645 w 4381952"/>
                  <a:gd name="connsiteY349" fmla="*/ 4304651 h 7571038"/>
                  <a:gd name="connsiteX350" fmla="*/ 94961 w 4381952"/>
                  <a:gd name="connsiteY350" fmla="*/ 4335964 h 7571038"/>
                  <a:gd name="connsiteX351" fmla="*/ 126276 w 4381952"/>
                  <a:gd name="connsiteY351" fmla="*/ 4304651 h 7571038"/>
                  <a:gd name="connsiteX352" fmla="*/ 130713 w 4381952"/>
                  <a:gd name="connsiteY352" fmla="*/ 596233 h 7571038"/>
                  <a:gd name="connsiteX353" fmla="*/ 116411 w 4381952"/>
                  <a:gd name="connsiteY353" fmla="*/ 581931 h 7571038"/>
                  <a:gd name="connsiteX354" fmla="*/ 102111 w 4381952"/>
                  <a:gd name="connsiteY354" fmla="*/ 596233 h 7571038"/>
                  <a:gd name="connsiteX355" fmla="*/ 116411 w 4381952"/>
                  <a:gd name="connsiteY355" fmla="*/ 610533 h 7571038"/>
                  <a:gd name="connsiteX356" fmla="*/ 130713 w 4381952"/>
                  <a:gd name="connsiteY356" fmla="*/ 596233 h 7571038"/>
                  <a:gd name="connsiteX357" fmla="*/ 130716 w 4381952"/>
                  <a:gd name="connsiteY357" fmla="*/ 3019629 h 7571038"/>
                  <a:gd name="connsiteX358" fmla="*/ 94961 w 4381952"/>
                  <a:gd name="connsiteY358" fmla="*/ 2983875 h 7571038"/>
                  <a:gd name="connsiteX359" fmla="*/ 59208 w 4381952"/>
                  <a:gd name="connsiteY359" fmla="*/ 3019629 h 7571038"/>
                  <a:gd name="connsiteX360" fmla="*/ 94961 w 4381952"/>
                  <a:gd name="connsiteY360" fmla="*/ 3055383 h 7571038"/>
                  <a:gd name="connsiteX361" fmla="*/ 130716 w 4381952"/>
                  <a:gd name="connsiteY361" fmla="*/ 3019629 h 7571038"/>
                  <a:gd name="connsiteX362" fmla="*/ 131207 w 4381952"/>
                  <a:gd name="connsiteY362" fmla="*/ 1935490 h 7571038"/>
                  <a:gd name="connsiteX363" fmla="*/ 127014 w 4381952"/>
                  <a:gd name="connsiteY363" fmla="*/ 1931301 h 7571038"/>
                  <a:gd name="connsiteX364" fmla="*/ 122823 w 4381952"/>
                  <a:gd name="connsiteY364" fmla="*/ 1935490 h 7571038"/>
                  <a:gd name="connsiteX365" fmla="*/ 127014 w 4381952"/>
                  <a:gd name="connsiteY365" fmla="*/ 1939678 h 7571038"/>
                  <a:gd name="connsiteX366" fmla="*/ 131207 w 4381952"/>
                  <a:gd name="connsiteY366" fmla="*/ 1935490 h 7571038"/>
                  <a:gd name="connsiteX367" fmla="*/ 134658 w 4381952"/>
                  <a:gd name="connsiteY367" fmla="*/ 2599705 h 7571038"/>
                  <a:gd name="connsiteX368" fmla="*/ 115918 w 4381952"/>
                  <a:gd name="connsiteY368" fmla="*/ 2580966 h 7571038"/>
                  <a:gd name="connsiteX369" fmla="*/ 97179 w 4381952"/>
                  <a:gd name="connsiteY369" fmla="*/ 2599705 h 7571038"/>
                  <a:gd name="connsiteX370" fmla="*/ 115918 w 4381952"/>
                  <a:gd name="connsiteY370" fmla="*/ 2618447 h 7571038"/>
                  <a:gd name="connsiteX371" fmla="*/ 134658 w 4381952"/>
                  <a:gd name="connsiteY371" fmla="*/ 2599705 h 7571038"/>
                  <a:gd name="connsiteX372" fmla="*/ 134904 w 4381952"/>
                  <a:gd name="connsiteY372" fmla="*/ 5494624 h 7571038"/>
                  <a:gd name="connsiteX373" fmla="*/ 105810 w 4381952"/>
                  <a:gd name="connsiteY373" fmla="*/ 5465527 h 7571038"/>
                  <a:gd name="connsiteX374" fmla="*/ 76712 w 4381952"/>
                  <a:gd name="connsiteY374" fmla="*/ 5494624 h 7571038"/>
                  <a:gd name="connsiteX375" fmla="*/ 105810 w 4381952"/>
                  <a:gd name="connsiteY375" fmla="*/ 5523718 h 7571038"/>
                  <a:gd name="connsiteX376" fmla="*/ 134904 w 4381952"/>
                  <a:gd name="connsiteY376" fmla="*/ 5494624 h 7571038"/>
                  <a:gd name="connsiteX377" fmla="*/ 136139 w 4381952"/>
                  <a:gd name="connsiteY377" fmla="*/ 2335887 h 7571038"/>
                  <a:gd name="connsiteX378" fmla="*/ 124549 w 4381952"/>
                  <a:gd name="connsiteY378" fmla="*/ 2324281 h 7571038"/>
                  <a:gd name="connsiteX379" fmla="*/ 112960 w 4381952"/>
                  <a:gd name="connsiteY379" fmla="*/ 2335887 h 7571038"/>
                  <a:gd name="connsiteX380" fmla="*/ 124549 w 4381952"/>
                  <a:gd name="connsiteY380" fmla="*/ 2347489 h 7571038"/>
                  <a:gd name="connsiteX381" fmla="*/ 136139 w 4381952"/>
                  <a:gd name="connsiteY381" fmla="*/ 2335887 h 7571038"/>
                  <a:gd name="connsiteX382" fmla="*/ 138357 w 4381952"/>
                  <a:gd name="connsiteY382" fmla="*/ 725217 h 7571038"/>
                  <a:gd name="connsiteX383" fmla="*/ 124055 w 4381952"/>
                  <a:gd name="connsiteY383" fmla="*/ 711166 h 7571038"/>
                  <a:gd name="connsiteX384" fmla="*/ 110001 w 4381952"/>
                  <a:gd name="connsiteY384" fmla="*/ 725217 h 7571038"/>
                  <a:gd name="connsiteX385" fmla="*/ 124055 w 4381952"/>
                  <a:gd name="connsiteY385" fmla="*/ 739281 h 7571038"/>
                  <a:gd name="connsiteX386" fmla="*/ 138357 w 4381952"/>
                  <a:gd name="connsiteY386" fmla="*/ 725217 h 7571038"/>
                  <a:gd name="connsiteX387" fmla="*/ 138357 w 4381952"/>
                  <a:gd name="connsiteY387" fmla="*/ 4825171 h 7571038"/>
                  <a:gd name="connsiteX388" fmla="*/ 122577 w 4381952"/>
                  <a:gd name="connsiteY388" fmla="*/ 4809390 h 7571038"/>
                  <a:gd name="connsiteX389" fmla="*/ 106796 w 4381952"/>
                  <a:gd name="connsiteY389" fmla="*/ 4825171 h 7571038"/>
                  <a:gd name="connsiteX390" fmla="*/ 122577 w 4381952"/>
                  <a:gd name="connsiteY390" fmla="*/ 4840952 h 7571038"/>
                  <a:gd name="connsiteX391" fmla="*/ 138357 w 4381952"/>
                  <a:gd name="connsiteY391" fmla="*/ 4825171 h 7571038"/>
                  <a:gd name="connsiteX392" fmla="*/ 141070 w 4381952"/>
                  <a:gd name="connsiteY392" fmla="*/ 3938730 h 7571038"/>
                  <a:gd name="connsiteX393" fmla="*/ 95701 w 4381952"/>
                  <a:gd name="connsiteY393" fmla="*/ 3893360 h 7571038"/>
                  <a:gd name="connsiteX394" fmla="*/ 50085 w 4381952"/>
                  <a:gd name="connsiteY394" fmla="*/ 3938730 h 7571038"/>
                  <a:gd name="connsiteX395" fmla="*/ 95701 w 4381952"/>
                  <a:gd name="connsiteY395" fmla="*/ 3984099 h 7571038"/>
                  <a:gd name="connsiteX396" fmla="*/ 141070 w 4381952"/>
                  <a:gd name="connsiteY396" fmla="*/ 3938730 h 7571038"/>
                  <a:gd name="connsiteX397" fmla="*/ 145754 w 4381952"/>
                  <a:gd name="connsiteY397" fmla="*/ 1283879 h 7571038"/>
                  <a:gd name="connsiteX398" fmla="*/ 131454 w 4381952"/>
                  <a:gd name="connsiteY398" fmla="*/ 1269571 h 7571038"/>
                  <a:gd name="connsiteX399" fmla="*/ 117151 w 4381952"/>
                  <a:gd name="connsiteY399" fmla="*/ 1283879 h 7571038"/>
                  <a:gd name="connsiteX400" fmla="*/ 131454 w 4381952"/>
                  <a:gd name="connsiteY400" fmla="*/ 1298181 h 7571038"/>
                  <a:gd name="connsiteX401" fmla="*/ 145754 w 4381952"/>
                  <a:gd name="connsiteY401" fmla="*/ 1283879 h 7571038"/>
                  <a:gd name="connsiteX402" fmla="*/ 146989 w 4381952"/>
                  <a:gd name="connsiteY402" fmla="*/ 855143 h 7571038"/>
                  <a:gd name="connsiteX403" fmla="*/ 132689 w 4381952"/>
                  <a:gd name="connsiteY403" fmla="*/ 840854 h 7571038"/>
                  <a:gd name="connsiteX404" fmla="*/ 118386 w 4381952"/>
                  <a:gd name="connsiteY404" fmla="*/ 855143 h 7571038"/>
                  <a:gd name="connsiteX405" fmla="*/ 132689 w 4381952"/>
                  <a:gd name="connsiteY405" fmla="*/ 869439 h 7571038"/>
                  <a:gd name="connsiteX406" fmla="*/ 146989 w 4381952"/>
                  <a:gd name="connsiteY406" fmla="*/ 855143 h 7571038"/>
                  <a:gd name="connsiteX407" fmla="*/ 147232 w 4381952"/>
                  <a:gd name="connsiteY407" fmla="*/ 5212293 h 7571038"/>
                  <a:gd name="connsiteX408" fmla="*/ 142054 w 4381952"/>
                  <a:gd name="connsiteY408" fmla="*/ 5207116 h 7571038"/>
                  <a:gd name="connsiteX409" fmla="*/ 136877 w 4381952"/>
                  <a:gd name="connsiteY409" fmla="*/ 5212293 h 7571038"/>
                  <a:gd name="connsiteX410" fmla="*/ 142054 w 4381952"/>
                  <a:gd name="connsiteY410" fmla="*/ 5217470 h 7571038"/>
                  <a:gd name="connsiteX411" fmla="*/ 147232 w 4381952"/>
                  <a:gd name="connsiteY411" fmla="*/ 5212293 h 7571038"/>
                  <a:gd name="connsiteX412" fmla="*/ 149207 w 4381952"/>
                  <a:gd name="connsiteY412" fmla="*/ 66214 h 7571038"/>
                  <a:gd name="connsiteX413" fmla="*/ 132935 w 4381952"/>
                  <a:gd name="connsiteY413" fmla="*/ 49942 h 7571038"/>
                  <a:gd name="connsiteX414" fmla="*/ 116659 w 4381952"/>
                  <a:gd name="connsiteY414" fmla="*/ 66214 h 7571038"/>
                  <a:gd name="connsiteX415" fmla="*/ 132935 w 4381952"/>
                  <a:gd name="connsiteY415" fmla="*/ 82488 h 7571038"/>
                  <a:gd name="connsiteX416" fmla="*/ 149207 w 4381952"/>
                  <a:gd name="connsiteY416" fmla="*/ 66214 h 7571038"/>
                  <a:gd name="connsiteX417" fmla="*/ 151917 w 4381952"/>
                  <a:gd name="connsiteY417" fmla="*/ 6231884 h 7571038"/>
                  <a:gd name="connsiteX418" fmla="*/ 126027 w 4381952"/>
                  <a:gd name="connsiteY418" fmla="*/ 6205994 h 7571038"/>
                  <a:gd name="connsiteX419" fmla="*/ 100138 w 4381952"/>
                  <a:gd name="connsiteY419" fmla="*/ 6231884 h 7571038"/>
                  <a:gd name="connsiteX420" fmla="*/ 126027 w 4381952"/>
                  <a:gd name="connsiteY420" fmla="*/ 6257774 h 7571038"/>
                  <a:gd name="connsiteX421" fmla="*/ 151917 w 4381952"/>
                  <a:gd name="connsiteY421" fmla="*/ 6231884 h 7571038"/>
                  <a:gd name="connsiteX422" fmla="*/ 152166 w 4381952"/>
                  <a:gd name="connsiteY422" fmla="*/ 6101693 h 7571038"/>
                  <a:gd name="connsiteX423" fmla="*/ 134166 w 4381952"/>
                  <a:gd name="connsiteY423" fmla="*/ 6083938 h 7571038"/>
                  <a:gd name="connsiteX424" fmla="*/ 116413 w 4381952"/>
                  <a:gd name="connsiteY424" fmla="*/ 6101693 h 7571038"/>
                  <a:gd name="connsiteX425" fmla="*/ 134166 w 4381952"/>
                  <a:gd name="connsiteY425" fmla="*/ 6119445 h 7571038"/>
                  <a:gd name="connsiteX426" fmla="*/ 152166 w 4381952"/>
                  <a:gd name="connsiteY426" fmla="*/ 6101693 h 7571038"/>
                  <a:gd name="connsiteX427" fmla="*/ 152904 w 4381952"/>
                  <a:gd name="connsiteY427" fmla="*/ 4411664 h 7571038"/>
                  <a:gd name="connsiteX428" fmla="*/ 140822 w 4381952"/>
                  <a:gd name="connsiteY428" fmla="*/ 4399828 h 7571038"/>
                  <a:gd name="connsiteX429" fmla="*/ 128986 w 4381952"/>
                  <a:gd name="connsiteY429" fmla="*/ 4411664 h 7571038"/>
                  <a:gd name="connsiteX430" fmla="*/ 140822 w 4381952"/>
                  <a:gd name="connsiteY430" fmla="*/ 4423745 h 7571038"/>
                  <a:gd name="connsiteX431" fmla="*/ 152904 w 4381952"/>
                  <a:gd name="connsiteY431" fmla="*/ 4411664 h 7571038"/>
                  <a:gd name="connsiteX432" fmla="*/ 153152 w 4381952"/>
                  <a:gd name="connsiteY432" fmla="*/ 190704 h 7571038"/>
                  <a:gd name="connsiteX433" fmla="*/ 137371 w 4381952"/>
                  <a:gd name="connsiteY433" fmla="*/ 174924 h 7571038"/>
                  <a:gd name="connsiteX434" fmla="*/ 121591 w 4381952"/>
                  <a:gd name="connsiteY434" fmla="*/ 190704 h 7571038"/>
                  <a:gd name="connsiteX435" fmla="*/ 137371 w 4381952"/>
                  <a:gd name="connsiteY435" fmla="*/ 206484 h 7571038"/>
                  <a:gd name="connsiteX436" fmla="*/ 153152 w 4381952"/>
                  <a:gd name="connsiteY436" fmla="*/ 190704 h 7571038"/>
                  <a:gd name="connsiteX437" fmla="*/ 153645 w 4381952"/>
                  <a:gd name="connsiteY437" fmla="*/ 2084129 h 7571038"/>
                  <a:gd name="connsiteX438" fmla="*/ 153398 w 4381952"/>
                  <a:gd name="connsiteY438" fmla="*/ 2083883 h 7571038"/>
                  <a:gd name="connsiteX439" fmla="*/ 153152 w 4381952"/>
                  <a:gd name="connsiteY439" fmla="*/ 2084129 h 7571038"/>
                  <a:gd name="connsiteX440" fmla="*/ 153398 w 4381952"/>
                  <a:gd name="connsiteY440" fmla="*/ 2084378 h 7571038"/>
                  <a:gd name="connsiteX441" fmla="*/ 153645 w 4381952"/>
                  <a:gd name="connsiteY441" fmla="*/ 2084129 h 7571038"/>
                  <a:gd name="connsiteX442" fmla="*/ 156110 w 4381952"/>
                  <a:gd name="connsiteY442" fmla="*/ 986552 h 7571038"/>
                  <a:gd name="connsiteX443" fmla="*/ 141808 w 4381952"/>
                  <a:gd name="connsiteY443" fmla="*/ 972249 h 7571038"/>
                  <a:gd name="connsiteX444" fmla="*/ 127508 w 4381952"/>
                  <a:gd name="connsiteY444" fmla="*/ 986552 h 7571038"/>
                  <a:gd name="connsiteX445" fmla="*/ 141808 w 4381952"/>
                  <a:gd name="connsiteY445" fmla="*/ 1000847 h 7571038"/>
                  <a:gd name="connsiteX446" fmla="*/ 156110 w 4381952"/>
                  <a:gd name="connsiteY446" fmla="*/ 986552 h 7571038"/>
                  <a:gd name="connsiteX447" fmla="*/ 156356 w 4381952"/>
                  <a:gd name="connsiteY447" fmla="*/ 2907186 h 7571038"/>
                  <a:gd name="connsiteX448" fmla="*/ 122822 w 4381952"/>
                  <a:gd name="connsiteY448" fmla="*/ 2873650 h 7571038"/>
                  <a:gd name="connsiteX449" fmla="*/ 89042 w 4381952"/>
                  <a:gd name="connsiteY449" fmla="*/ 2907186 h 7571038"/>
                  <a:gd name="connsiteX450" fmla="*/ 122822 w 4381952"/>
                  <a:gd name="connsiteY450" fmla="*/ 2940967 h 7571038"/>
                  <a:gd name="connsiteX451" fmla="*/ 156356 w 4381952"/>
                  <a:gd name="connsiteY451" fmla="*/ 2907186 h 7571038"/>
                  <a:gd name="connsiteX452" fmla="*/ 158575 w 4381952"/>
                  <a:gd name="connsiteY452" fmla="*/ 5837114 h 7571038"/>
                  <a:gd name="connsiteX453" fmla="*/ 153891 w 4381952"/>
                  <a:gd name="connsiteY453" fmla="*/ 5832677 h 7571038"/>
                  <a:gd name="connsiteX454" fmla="*/ 149452 w 4381952"/>
                  <a:gd name="connsiteY454" fmla="*/ 5837114 h 7571038"/>
                  <a:gd name="connsiteX455" fmla="*/ 153891 w 4381952"/>
                  <a:gd name="connsiteY455" fmla="*/ 5841800 h 7571038"/>
                  <a:gd name="connsiteX456" fmla="*/ 158575 w 4381952"/>
                  <a:gd name="connsiteY456" fmla="*/ 5837114 h 7571038"/>
                  <a:gd name="connsiteX457" fmla="*/ 160301 w 4381952"/>
                  <a:gd name="connsiteY457" fmla="*/ 1420712 h 7571038"/>
                  <a:gd name="connsiteX458" fmla="*/ 145507 w 4381952"/>
                  <a:gd name="connsiteY458" fmla="*/ 1405915 h 7571038"/>
                  <a:gd name="connsiteX459" fmla="*/ 130713 w 4381952"/>
                  <a:gd name="connsiteY459" fmla="*/ 1420712 h 7571038"/>
                  <a:gd name="connsiteX460" fmla="*/ 145507 w 4381952"/>
                  <a:gd name="connsiteY460" fmla="*/ 1435502 h 7571038"/>
                  <a:gd name="connsiteX461" fmla="*/ 160301 w 4381952"/>
                  <a:gd name="connsiteY461" fmla="*/ 1420712 h 7571038"/>
                  <a:gd name="connsiteX462" fmla="*/ 160302 w 4381952"/>
                  <a:gd name="connsiteY462" fmla="*/ 5970269 h 7571038"/>
                  <a:gd name="connsiteX463" fmla="*/ 143536 w 4381952"/>
                  <a:gd name="connsiteY463" fmla="*/ 5953501 h 7571038"/>
                  <a:gd name="connsiteX464" fmla="*/ 126768 w 4381952"/>
                  <a:gd name="connsiteY464" fmla="*/ 5970269 h 7571038"/>
                  <a:gd name="connsiteX465" fmla="*/ 143536 w 4381952"/>
                  <a:gd name="connsiteY465" fmla="*/ 5987035 h 7571038"/>
                  <a:gd name="connsiteX466" fmla="*/ 160302 w 4381952"/>
                  <a:gd name="connsiteY466" fmla="*/ 5970269 h 7571038"/>
                  <a:gd name="connsiteX467" fmla="*/ 166220 w 4381952"/>
                  <a:gd name="connsiteY467" fmla="*/ 1119675 h 7571038"/>
                  <a:gd name="connsiteX468" fmla="*/ 152166 w 4381952"/>
                  <a:gd name="connsiteY468" fmla="*/ 1105623 h 7571038"/>
                  <a:gd name="connsiteX469" fmla="*/ 138111 w 4381952"/>
                  <a:gd name="connsiteY469" fmla="*/ 1119675 h 7571038"/>
                  <a:gd name="connsiteX470" fmla="*/ 152166 w 4381952"/>
                  <a:gd name="connsiteY470" fmla="*/ 1133736 h 7571038"/>
                  <a:gd name="connsiteX471" fmla="*/ 166220 w 4381952"/>
                  <a:gd name="connsiteY471" fmla="*/ 1119675 h 7571038"/>
                  <a:gd name="connsiteX472" fmla="*/ 169919 w 4381952"/>
                  <a:gd name="connsiteY472" fmla="*/ 4050922 h 7571038"/>
                  <a:gd name="connsiteX473" fmla="*/ 123809 w 4381952"/>
                  <a:gd name="connsiteY473" fmla="*/ 4004811 h 7571038"/>
                  <a:gd name="connsiteX474" fmla="*/ 77699 w 4381952"/>
                  <a:gd name="connsiteY474" fmla="*/ 4050922 h 7571038"/>
                  <a:gd name="connsiteX475" fmla="*/ 123809 w 4381952"/>
                  <a:gd name="connsiteY475" fmla="*/ 4097033 h 7571038"/>
                  <a:gd name="connsiteX476" fmla="*/ 169919 w 4381952"/>
                  <a:gd name="connsiteY476" fmla="*/ 4050922 h 7571038"/>
                  <a:gd name="connsiteX477" fmla="*/ 171645 w 4381952"/>
                  <a:gd name="connsiteY477" fmla="*/ 4672294 h 7571038"/>
                  <a:gd name="connsiteX478" fmla="*/ 154878 w 4381952"/>
                  <a:gd name="connsiteY478" fmla="*/ 4655526 h 7571038"/>
                  <a:gd name="connsiteX479" fmla="*/ 138111 w 4381952"/>
                  <a:gd name="connsiteY479" fmla="*/ 4672294 h 7571038"/>
                  <a:gd name="connsiteX480" fmla="*/ 154878 w 4381952"/>
                  <a:gd name="connsiteY480" fmla="*/ 4689061 h 7571038"/>
                  <a:gd name="connsiteX481" fmla="*/ 171645 w 4381952"/>
                  <a:gd name="connsiteY481" fmla="*/ 4672294 h 7571038"/>
                  <a:gd name="connsiteX482" fmla="*/ 172878 w 4381952"/>
                  <a:gd name="connsiteY482" fmla="*/ 5068046 h 7571038"/>
                  <a:gd name="connsiteX483" fmla="*/ 164001 w 4381952"/>
                  <a:gd name="connsiteY483" fmla="*/ 5059170 h 7571038"/>
                  <a:gd name="connsiteX484" fmla="*/ 155125 w 4381952"/>
                  <a:gd name="connsiteY484" fmla="*/ 5068046 h 7571038"/>
                  <a:gd name="connsiteX485" fmla="*/ 164001 w 4381952"/>
                  <a:gd name="connsiteY485" fmla="*/ 5076677 h 7571038"/>
                  <a:gd name="connsiteX486" fmla="*/ 172878 w 4381952"/>
                  <a:gd name="connsiteY486" fmla="*/ 5068046 h 7571038"/>
                  <a:gd name="connsiteX487" fmla="*/ 177561 w 4381952"/>
                  <a:gd name="connsiteY487" fmla="*/ 2493679 h 7571038"/>
                  <a:gd name="connsiteX488" fmla="*/ 164493 w 4381952"/>
                  <a:gd name="connsiteY488" fmla="*/ 2480606 h 7571038"/>
                  <a:gd name="connsiteX489" fmla="*/ 151426 w 4381952"/>
                  <a:gd name="connsiteY489" fmla="*/ 2493679 h 7571038"/>
                  <a:gd name="connsiteX490" fmla="*/ 164493 w 4381952"/>
                  <a:gd name="connsiteY490" fmla="*/ 2506742 h 7571038"/>
                  <a:gd name="connsiteX491" fmla="*/ 177561 w 4381952"/>
                  <a:gd name="connsiteY491" fmla="*/ 2493679 h 7571038"/>
                  <a:gd name="connsiteX492" fmla="*/ 177564 w 4381952"/>
                  <a:gd name="connsiteY492" fmla="*/ 1559510 h 7571038"/>
                  <a:gd name="connsiteX493" fmla="*/ 161288 w 4381952"/>
                  <a:gd name="connsiteY493" fmla="*/ 1543238 h 7571038"/>
                  <a:gd name="connsiteX494" fmla="*/ 145016 w 4381952"/>
                  <a:gd name="connsiteY494" fmla="*/ 1559510 h 7571038"/>
                  <a:gd name="connsiteX495" fmla="*/ 161288 w 4381952"/>
                  <a:gd name="connsiteY495" fmla="*/ 1575782 h 7571038"/>
                  <a:gd name="connsiteX496" fmla="*/ 177564 w 4381952"/>
                  <a:gd name="connsiteY496" fmla="*/ 1559510 h 7571038"/>
                  <a:gd name="connsiteX497" fmla="*/ 184960 w 4381952"/>
                  <a:gd name="connsiteY497" fmla="*/ 7043118 h 7571038"/>
                  <a:gd name="connsiteX498" fmla="*/ 181754 w 4381952"/>
                  <a:gd name="connsiteY498" fmla="*/ 7039912 h 7571038"/>
                  <a:gd name="connsiteX499" fmla="*/ 178550 w 4381952"/>
                  <a:gd name="connsiteY499" fmla="*/ 7043118 h 7571038"/>
                  <a:gd name="connsiteX500" fmla="*/ 181754 w 4381952"/>
                  <a:gd name="connsiteY500" fmla="*/ 7046325 h 7571038"/>
                  <a:gd name="connsiteX501" fmla="*/ 184960 w 4381952"/>
                  <a:gd name="connsiteY501" fmla="*/ 7043118 h 7571038"/>
                  <a:gd name="connsiteX502" fmla="*/ 187670 w 4381952"/>
                  <a:gd name="connsiteY502" fmla="*/ 1700291 h 7571038"/>
                  <a:gd name="connsiteX503" fmla="*/ 179041 w 4381952"/>
                  <a:gd name="connsiteY503" fmla="*/ 1691659 h 7571038"/>
                  <a:gd name="connsiteX504" fmla="*/ 170411 w 4381952"/>
                  <a:gd name="connsiteY504" fmla="*/ 1700291 h 7571038"/>
                  <a:gd name="connsiteX505" fmla="*/ 179041 w 4381952"/>
                  <a:gd name="connsiteY505" fmla="*/ 1708888 h 7571038"/>
                  <a:gd name="connsiteX506" fmla="*/ 187670 w 4381952"/>
                  <a:gd name="connsiteY506" fmla="*/ 1700291 h 7571038"/>
                  <a:gd name="connsiteX507" fmla="*/ 188414 w 4381952"/>
                  <a:gd name="connsiteY507" fmla="*/ 2796472 h 7571038"/>
                  <a:gd name="connsiteX508" fmla="*/ 156852 w 4381952"/>
                  <a:gd name="connsiteY508" fmla="*/ 2764908 h 7571038"/>
                  <a:gd name="connsiteX509" fmla="*/ 125290 w 4381952"/>
                  <a:gd name="connsiteY509" fmla="*/ 2796472 h 7571038"/>
                  <a:gd name="connsiteX510" fmla="*/ 156852 w 4381952"/>
                  <a:gd name="connsiteY510" fmla="*/ 2828033 h 7571038"/>
                  <a:gd name="connsiteX511" fmla="*/ 188414 w 4381952"/>
                  <a:gd name="connsiteY511" fmla="*/ 2796472 h 7571038"/>
                  <a:gd name="connsiteX512" fmla="*/ 188660 w 4381952"/>
                  <a:gd name="connsiteY512" fmla="*/ 6920570 h 7571038"/>
                  <a:gd name="connsiteX513" fmla="*/ 185454 w 4381952"/>
                  <a:gd name="connsiteY513" fmla="*/ 6917365 h 7571038"/>
                  <a:gd name="connsiteX514" fmla="*/ 182250 w 4381952"/>
                  <a:gd name="connsiteY514" fmla="*/ 6920570 h 7571038"/>
                  <a:gd name="connsiteX515" fmla="*/ 185454 w 4381952"/>
                  <a:gd name="connsiteY515" fmla="*/ 6923778 h 7571038"/>
                  <a:gd name="connsiteX516" fmla="*/ 188660 w 4381952"/>
                  <a:gd name="connsiteY516" fmla="*/ 6920570 h 7571038"/>
                  <a:gd name="connsiteX517" fmla="*/ 191370 w 4381952"/>
                  <a:gd name="connsiteY517" fmla="*/ 6796791 h 7571038"/>
                  <a:gd name="connsiteX518" fmla="*/ 189645 w 4381952"/>
                  <a:gd name="connsiteY518" fmla="*/ 6795063 h 7571038"/>
                  <a:gd name="connsiteX519" fmla="*/ 187919 w 4381952"/>
                  <a:gd name="connsiteY519" fmla="*/ 6796791 h 7571038"/>
                  <a:gd name="connsiteX520" fmla="*/ 189645 w 4381952"/>
                  <a:gd name="connsiteY520" fmla="*/ 6798517 h 7571038"/>
                  <a:gd name="connsiteX521" fmla="*/ 191370 w 4381952"/>
                  <a:gd name="connsiteY521" fmla="*/ 6796791 h 7571038"/>
                  <a:gd name="connsiteX522" fmla="*/ 191866 w 4381952"/>
                  <a:gd name="connsiteY522" fmla="*/ 2235283 h 7571038"/>
                  <a:gd name="connsiteX523" fmla="*/ 183727 w 4381952"/>
                  <a:gd name="connsiteY523" fmla="*/ 2227149 h 7571038"/>
                  <a:gd name="connsiteX524" fmla="*/ 175591 w 4381952"/>
                  <a:gd name="connsiteY524" fmla="*/ 2235283 h 7571038"/>
                  <a:gd name="connsiteX525" fmla="*/ 183727 w 4381952"/>
                  <a:gd name="connsiteY525" fmla="*/ 2243430 h 7571038"/>
                  <a:gd name="connsiteX526" fmla="*/ 191866 w 4381952"/>
                  <a:gd name="connsiteY526" fmla="*/ 2235283 h 7571038"/>
                  <a:gd name="connsiteX527" fmla="*/ 193591 w 4381952"/>
                  <a:gd name="connsiteY527" fmla="*/ 4516455 h 7571038"/>
                  <a:gd name="connsiteX528" fmla="*/ 192110 w 4381952"/>
                  <a:gd name="connsiteY528" fmla="*/ 4514977 h 7571038"/>
                  <a:gd name="connsiteX529" fmla="*/ 190632 w 4381952"/>
                  <a:gd name="connsiteY529" fmla="*/ 4516455 h 7571038"/>
                  <a:gd name="connsiteX530" fmla="*/ 192110 w 4381952"/>
                  <a:gd name="connsiteY530" fmla="*/ 4517936 h 7571038"/>
                  <a:gd name="connsiteX531" fmla="*/ 193591 w 4381952"/>
                  <a:gd name="connsiteY531" fmla="*/ 4516455 h 7571038"/>
                  <a:gd name="connsiteX532" fmla="*/ 196550 w 4381952"/>
                  <a:gd name="connsiteY532" fmla="*/ 3421289 h 7571038"/>
                  <a:gd name="connsiteX533" fmla="*/ 154879 w 4381952"/>
                  <a:gd name="connsiteY533" fmla="*/ 3379615 h 7571038"/>
                  <a:gd name="connsiteX534" fmla="*/ 113208 w 4381952"/>
                  <a:gd name="connsiteY534" fmla="*/ 3421289 h 7571038"/>
                  <a:gd name="connsiteX535" fmla="*/ 154879 w 4381952"/>
                  <a:gd name="connsiteY535" fmla="*/ 3462967 h 7571038"/>
                  <a:gd name="connsiteX536" fmla="*/ 196550 w 4381952"/>
                  <a:gd name="connsiteY536" fmla="*/ 3421289 h 7571038"/>
                  <a:gd name="connsiteX537" fmla="*/ 197536 w 4381952"/>
                  <a:gd name="connsiteY537" fmla="*/ 4920843 h 7571038"/>
                  <a:gd name="connsiteX538" fmla="*/ 188413 w 4381952"/>
                  <a:gd name="connsiteY538" fmla="*/ 4911720 h 7571038"/>
                  <a:gd name="connsiteX539" fmla="*/ 179291 w 4381952"/>
                  <a:gd name="connsiteY539" fmla="*/ 4920843 h 7571038"/>
                  <a:gd name="connsiteX540" fmla="*/ 188413 w 4381952"/>
                  <a:gd name="connsiteY540" fmla="*/ 4929965 h 7571038"/>
                  <a:gd name="connsiteX541" fmla="*/ 197536 w 4381952"/>
                  <a:gd name="connsiteY541" fmla="*/ 4920843 h 7571038"/>
                  <a:gd name="connsiteX542" fmla="*/ 199262 w 4381952"/>
                  <a:gd name="connsiteY542" fmla="*/ 3537058 h 7571038"/>
                  <a:gd name="connsiteX543" fmla="*/ 155125 w 4381952"/>
                  <a:gd name="connsiteY543" fmla="*/ 3492921 h 7571038"/>
                  <a:gd name="connsiteX544" fmla="*/ 110987 w 4381952"/>
                  <a:gd name="connsiteY544" fmla="*/ 3537058 h 7571038"/>
                  <a:gd name="connsiteX545" fmla="*/ 155125 w 4381952"/>
                  <a:gd name="connsiteY545" fmla="*/ 3581196 h 7571038"/>
                  <a:gd name="connsiteX546" fmla="*/ 199262 w 4381952"/>
                  <a:gd name="connsiteY546" fmla="*/ 3537058 h 7571038"/>
                  <a:gd name="connsiteX547" fmla="*/ 200741 w 4381952"/>
                  <a:gd name="connsiteY547" fmla="*/ 3305399 h 7571038"/>
                  <a:gd name="connsiteX548" fmla="*/ 161288 w 4381952"/>
                  <a:gd name="connsiteY548" fmla="*/ 3265953 h 7571038"/>
                  <a:gd name="connsiteX549" fmla="*/ 121836 w 4381952"/>
                  <a:gd name="connsiteY549" fmla="*/ 3305399 h 7571038"/>
                  <a:gd name="connsiteX550" fmla="*/ 161288 w 4381952"/>
                  <a:gd name="connsiteY550" fmla="*/ 3344853 h 7571038"/>
                  <a:gd name="connsiteX551" fmla="*/ 200741 w 4381952"/>
                  <a:gd name="connsiteY551" fmla="*/ 3305399 h 7571038"/>
                  <a:gd name="connsiteX552" fmla="*/ 201482 w 4381952"/>
                  <a:gd name="connsiteY552" fmla="*/ 5711611 h 7571038"/>
                  <a:gd name="connsiteX553" fmla="*/ 175100 w 4381952"/>
                  <a:gd name="connsiteY553" fmla="*/ 5685226 h 7571038"/>
                  <a:gd name="connsiteX554" fmla="*/ 148716 w 4381952"/>
                  <a:gd name="connsiteY554" fmla="*/ 5711611 h 7571038"/>
                  <a:gd name="connsiteX555" fmla="*/ 175100 w 4381952"/>
                  <a:gd name="connsiteY555" fmla="*/ 5737995 h 7571038"/>
                  <a:gd name="connsiteX556" fmla="*/ 201482 w 4381952"/>
                  <a:gd name="connsiteY556" fmla="*/ 5711611 h 7571038"/>
                  <a:gd name="connsiteX557" fmla="*/ 203699 w 4381952"/>
                  <a:gd name="connsiteY557" fmla="*/ 5438651 h 7571038"/>
                  <a:gd name="connsiteX558" fmla="*/ 202962 w 4381952"/>
                  <a:gd name="connsiteY558" fmla="*/ 5437910 h 7571038"/>
                  <a:gd name="connsiteX559" fmla="*/ 202222 w 4381952"/>
                  <a:gd name="connsiteY559" fmla="*/ 5438651 h 7571038"/>
                  <a:gd name="connsiteX560" fmla="*/ 202962 w 4381952"/>
                  <a:gd name="connsiteY560" fmla="*/ 5439388 h 7571038"/>
                  <a:gd name="connsiteX561" fmla="*/ 203699 w 4381952"/>
                  <a:gd name="connsiteY561" fmla="*/ 5438651 h 7571038"/>
                  <a:gd name="connsiteX562" fmla="*/ 204437 w 4381952"/>
                  <a:gd name="connsiteY562" fmla="*/ 4161635 h 7571038"/>
                  <a:gd name="connsiteX563" fmla="*/ 157835 w 4381952"/>
                  <a:gd name="connsiteY563" fmla="*/ 4115033 h 7571038"/>
                  <a:gd name="connsiteX564" fmla="*/ 111233 w 4381952"/>
                  <a:gd name="connsiteY564" fmla="*/ 4161635 h 7571038"/>
                  <a:gd name="connsiteX565" fmla="*/ 157835 w 4381952"/>
                  <a:gd name="connsiteY565" fmla="*/ 4208237 h 7571038"/>
                  <a:gd name="connsiteX566" fmla="*/ 204437 w 4381952"/>
                  <a:gd name="connsiteY566" fmla="*/ 4161635 h 7571038"/>
                  <a:gd name="connsiteX567" fmla="*/ 205673 w 4381952"/>
                  <a:gd name="connsiteY567" fmla="*/ 1844065 h 7571038"/>
                  <a:gd name="connsiteX568" fmla="*/ 198768 w 4381952"/>
                  <a:gd name="connsiteY568" fmla="*/ 1836915 h 7571038"/>
                  <a:gd name="connsiteX569" fmla="*/ 191618 w 4381952"/>
                  <a:gd name="connsiteY569" fmla="*/ 1844065 h 7571038"/>
                  <a:gd name="connsiteX570" fmla="*/ 198768 w 4381952"/>
                  <a:gd name="connsiteY570" fmla="*/ 1850968 h 7571038"/>
                  <a:gd name="connsiteX571" fmla="*/ 205673 w 4381952"/>
                  <a:gd name="connsiteY571" fmla="*/ 1844065 h 7571038"/>
                  <a:gd name="connsiteX572" fmla="*/ 205918 w 4381952"/>
                  <a:gd name="connsiteY572" fmla="*/ 6677942 h 7571038"/>
                  <a:gd name="connsiteX573" fmla="*/ 202960 w 4381952"/>
                  <a:gd name="connsiteY573" fmla="*/ 6674982 h 7571038"/>
                  <a:gd name="connsiteX574" fmla="*/ 200001 w 4381952"/>
                  <a:gd name="connsiteY574" fmla="*/ 6677942 h 7571038"/>
                  <a:gd name="connsiteX575" fmla="*/ 202960 w 4381952"/>
                  <a:gd name="connsiteY575" fmla="*/ 6680901 h 7571038"/>
                  <a:gd name="connsiteX576" fmla="*/ 205918 w 4381952"/>
                  <a:gd name="connsiteY576" fmla="*/ 6677942 h 7571038"/>
                  <a:gd name="connsiteX577" fmla="*/ 208879 w 4381952"/>
                  <a:gd name="connsiteY577" fmla="*/ 3652702 h 7571038"/>
                  <a:gd name="connsiteX578" fmla="*/ 161538 w 4381952"/>
                  <a:gd name="connsiteY578" fmla="*/ 3605359 h 7571038"/>
                  <a:gd name="connsiteX579" fmla="*/ 114195 w 4381952"/>
                  <a:gd name="connsiteY579" fmla="*/ 3652702 h 7571038"/>
                  <a:gd name="connsiteX580" fmla="*/ 161538 w 4381952"/>
                  <a:gd name="connsiteY580" fmla="*/ 3700045 h 7571038"/>
                  <a:gd name="connsiteX581" fmla="*/ 208879 w 4381952"/>
                  <a:gd name="connsiteY581" fmla="*/ 3652702 h 7571038"/>
                  <a:gd name="connsiteX582" fmla="*/ 211098 w 4381952"/>
                  <a:gd name="connsiteY582" fmla="*/ 6552926 h 7571038"/>
                  <a:gd name="connsiteX583" fmla="*/ 208139 w 4381952"/>
                  <a:gd name="connsiteY583" fmla="*/ 6549968 h 7571038"/>
                  <a:gd name="connsiteX584" fmla="*/ 205180 w 4381952"/>
                  <a:gd name="connsiteY584" fmla="*/ 6552926 h 7571038"/>
                  <a:gd name="connsiteX585" fmla="*/ 208139 w 4381952"/>
                  <a:gd name="connsiteY585" fmla="*/ 6555885 h 7571038"/>
                  <a:gd name="connsiteX586" fmla="*/ 211098 w 4381952"/>
                  <a:gd name="connsiteY586" fmla="*/ 6552926 h 7571038"/>
                  <a:gd name="connsiteX587" fmla="*/ 212085 w 4381952"/>
                  <a:gd name="connsiteY587" fmla="*/ 3190252 h 7571038"/>
                  <a:gd name="connsiteX588" fmla="*/ 174357 w 4381952"/>
                  <a:gd name="connsiteY588" fmla="*/ 3152525 h 7571038"/>
                  <a:gd name="connsiteX589" fmla="*/ 136631 w 4381952"/>
                  <a:gd name="connsiteY589" fmla="*/ 3190252 h 7571038"/>
                  <a:gd name="connsiteX590" fmla="*/ 174357 w 4381952"/>
                  <a:gd name="connsiteY590" fmla="*/ 3227979 h 7571038"/>
                  <a:gd name="connsiteX591" fmla="*/ 212085 w 4381952"/>
                  <a:gd name="connsiteY591" fmla="*/ 3190252 h 7571038"/>
                  <a:gd name="connsiteX592" fmla="*/ 215536 w 4381952"/>
                  <a:gd name="connsiteY592" fmla="*/ 6426681 h 7571038"/>
                  <a:gd name="connsiteX593" fmla="*/ 213811 w 4381952"/>
                  <a:gd name="connsiteY593" fmla="*/ 6424954 h 7571038"/>
                  <a:gd name="connsiteX594" fmla="*/ 212085 w 4381952"/>
                  <a:gd name="connsiteY594" fmla="*/ 6426681 h 7571038"/>
                  <a:gd name="connsiteX595" fmla="*/ 213811 w 4381952"/>
                  <a:gd name="connsiteY595" fmla="*/ 6428408 h 7571038"/>
                  <a:gd name="connsiteX596" fmla="*/ 215536 w 4381952"/>
                  <a:gd name="connsiteY596" fmla="*/ 6426681 h 7571038"/>
                  <a:gd name="connsiteX597" fmla="*/ 216275 w 4381952"/>
                  <a:gd name="connsiteY597" fmla="*/ 279195 h 7571038"/>
                  <a:gd name="connsiteX598" fmla="*/ 200246 w 4381952"/>
                  <a:gd name="connsiteY598" fmla="*/ 263170 h 7571038"/>
                  <a:gd name="connsiteX599" fmla="*/ 184220 w 4381952"/>
                  <a:gd name="connsiteY599" fmla="*/ 279195 h 7571038"/>
                  <a:gd name="connsiteX600" fmla="*/ 200246 w 4381952"/>
                  <a:gd name="connsiteY600" fmla="*/ 295223 h 7571038"/>
                  <a:gd name="connsiteX601" fmla="*/ 216275 w 4381952"/>
                  <a:gd name="connsiteY601" fmla="*/ 279195 h 7571038"/>
                  <a:gd name="connsiteX602" fmla="*/ 216767 w 4381952"/>
                  <a:gd name="connsiteY602" fmla="*/ 5575993 h 7571038"/>
                  <a:gd name="connsiteX603" fmla="*/ 188164 w 4381952"/>
                  <a:gd name="connsiteY603" fmla="*/ 5547390 h 7571038"/>
                  <a:gd name="connsiteX604" fmla="*/ 159562 w 4381952"/>
                  <a:gd name="connsiteY604" fmla="*/ 5575993 h 7571038"/>
                  <a:gd name="connsiteX605" fmla="*/ 188164 w 4381952"/>
                  <a:gd name="connsiteY605" fmla="*/ 5604596 h 7571038"/>
                  <a:gd name="connsiteX606" fmla="*/ 216767 w 4381952"/>
                  <a:gd name="connsiteY606" fmla="*/ 5575993 h 7571038"/>
                  <a:gd name="connsiteX607" fmla="*/ 221207 w 4381952"/>
                  <a:gd name="connsiteY607" fmla="*/ 404181 h 7571038"/>
                  <a:gd name="connsiteX608" fmla="*/ 205674 w 4381952"/>
                  <a:gd name="connsiteY608" fmla="*/ 388647 h 7571038"/>
                  <a:gd name="connsiteX609" fmla="*/ 190140 w 4381952"/>
                  <a:gd name="connsiteY609" fmla="*/ 404181 h 7571038"/>
                  <a:gd name="connsiteX610" fmla="*/ 205674 w 4381952"/>
                  <a:gd name="connsiteY610" fmla="*/ 419715 h 7571038"/>
                  <a:gd name="connsiteX611" fmla="*/ 221207 w 4381952"/>
                  <a:gd name="connsiteY611" fmla="*/ 404181 h 7571038"/>
                  <a:gd name="connsiteX612" fmla="*/ 221701 w 4381952"/>
                  <a:gd name="connsiteY612" fmla="*/ 2687974 h 7571038"/>
                  <a:gd name="connsiteX613" fmla="*/ 196795 w 4381952"/>
                  <a:gd name="connsiteY613" fmla="*/ 2663069 h 7571038"/>
                  <a:gd name="connsiteX614" fmla="*/ 171892 w 4381952"/>
                  <a:gd name="connsiteY614" fmla="*/ 2687974 h 7571038"/>
                  <a:gd name="connsiteX615" fmla="*/ 196795 w 4381952"/>
                  <a:gd name="connsiteY615" fmla="*/ 2712881 h 7571038"/>
                  <a:gd name="connsiteX616" fmla="*/ 221701 w 4381952"/>
                  <a:gd name="connsiteY616" fmla="*/ 2687974 h 7571038"/>
                  <a:gd name="connsiteX617" fmla="*/ 222932 w 4381952"/>
                  <a:gd name="connsiteY617" fmla="*/ 1989690 h 7571038"/>
                  <a:gd name="connsiteX618" fmla="*/ 221699 w 4381952"/>
                  <a:gd name="connsiteY618" fmla="*/ 1988459 h 7571038"/>
                  <a:gd name="connsiteX619" fmla="*/ 220467 w 4381952"/>
                  <a:gd name="connsiteY619" fmla="*/ 1989690 h 7571038"/>
                  <a:gd name="connsiteX620" fmla="*/ 221699 w 4381952"/>
                  <a:gd name="connsiteY620" fmla="*/ 1990923 h 7571038"/>
                  <a:gd name="connsiteX621" fmla="*/ 222932 w 4381952"/>
                  <a:gd name="connsiteY621" fmla="*/ 1989690 h 7571038"/>
                  <a:gd name="connsiteX622" fmla="*/ 223425 w 4381952"/>
                  <a:gd name="connsiteY622" fmla="*/ 5298844 h 7571038"/>
                  <a:gd name="connsiteX623" fmla="*/ 218988 w 4381952"/>
                  <a:gd name="connsiteY623" fmla="*/ 5294404 h 7571038"/>
                  <a:gd name="connsiteX624" fmla="*/ 214303 w 4381952"/>
                  <a:gd name="connsiteY624" fmla="*/ 5298844 h 7571038"/>
                  <a:gd name="connsiteX625" fmla="*/ 218988 w 4381952"/>
                  <a:gd name="connsiteY625" fmla="*/ 5303527 h 7571038"/>
                  <a:gd name="connsiteX626" fmla="*/ 223425 w 4381952"/>
                  <a:gd name="connsiteY626" fmla="*/ 5298844 h 7571038"/>
                  <a:gd name="connsiteX627" fmla="*/ 224904 w 4381952"/>
                  <a:gd name="connsiteY627" fmla="*/ 3767853 h 7571038"/>
                  <a:gd name="connsiteX628" fmla="*/ 174851 w 4381952"/>
                  <a:gd name="connsiteY628" fmla="*/ 3717797 h 7571038"/>
                  <a:gd name="connsiteX629" fmla="*/ 124795 w 4381952"/>
                  <a:gd name="connsiteY629" fmla="*/ 3767853 h 7571038"/>
                  <a:gd name="connsiteX630" fmla="*/ 174851 w 4381952"/>
                  <a:gd name="connsiteY630" fmla="*/ 3817909 h 7571038"/>
                  <a:gd name="connsiteX631" fmla="*/ 224904 w 4381952"/>
                  <a:gd name="connsiteY631" fmla="*/ 3767853 h 7571038"/>
                  <a:gd name="connsiteX632" fmla="*/ 225644 w 4381952"/>
                  <a:gd name="connsiteY632" fmla="*/ 2390370 h 7571038"/>
                  <a:gd name="connsiteX633" fmla="*/ 218247 w 4381952"/>
                  <a:gd name="connsiteY633" fmla="*/ 2382968 h 7571038"/>
                  <a:gd name="connsiteX634" fmla="*/ 210849 w 4381952"/>
                  <a:gd name="connsiteY634" fmla="*/ 2390370 h 7571038"/>
                  <a:gd name="connsiteX635" fmla="*/ 218247 w 4381952"/>
                  <a:gd name="connsiteY635" fmla="*/ 2397763 h 7571038"/>
                  <a:gd name="connsiteX636" fmla="*/ 225644 w 4381952"/>
                  <a:gd name="connsiteY636" fmla="*/ 2390370 h 7571038"/>
                  <a:gd name="connsiteX637" fmla="*/ 226878 w 4381952"/>
                  <a:gd name="connsiteY637" fmla="*/ 529908 h 7571038"/>
                  <a:gd name="connsiteX638" fmla="*/ 211589 w 4381952"/>
                  <a:gd name="connsiteY638" fmla="*/ 514868 h 7571038"/>
                  <a:gd name="connsiteX639" fmla="*/ 196550 w 4381952"/>
                  <a:gd name="connsiteY639" fmla="*/ 529908 h 7571038"/>
                  <a:gd name="connsiteX640" fmla="*/ 211589 w 4381952"/>
                  <a:gd name="connsiteY640" fmla="*/ 544948 h 7571038"/>
                  <a:gd name="connsiteX641" fmla="*/ 226878 w 4381952"/>
                  <a:gd name="connsiteY641" fmla="*/ 529908 h 7571038"/>
                  <a:gd name="connsiteX642" fmla="*/ 230083 w 4381952"/>
                  <a:gd name="connsiteY642" fmla="*/ 3076083 h 7571038"/>
                  <a:gd name="connsiteX643" fmla="*/ 194082 w 4381952"/>
                  <a:gd name="connsiteY643" fmla="*/ 3040083 h 7571038"/>
                  <a:gd name="connsiteX644" fmla="*/ 158083 w 4381952"/>
                  <a:gd name="connsiteY644" fmla="*/ 3076083 h 7571038"/>
                  <a:gd name="connsiteX645" fmla="*/ 194082 w 4381952"/>
                  <a:gd name="connsiteY645" fmla="*/ 3112085 h 7571038"/>
                  <a:gd name="connsiteX646" fmla="*/ 230083 w 4381952"/>
                  <a:gd name="connsiteY646" fmla="*/ 3076083 h 7571038"/>
                  <a:gd name="connsiteX647" fmla="*/ 231316 w 4381952"/>
                  <a:gd name="connsiteY647" fmla="*/ 1206457 h 7571038"/>
                  <a:gd name="connsiteX648" fmla="*/ 217507 w 4381952"/>
                  <a:gd name="connsiteY648" fmla="*/ 1192647 h 7571038"/>
                  <a:gd name="connsiteX649" fmla="*/ 203699 w 4381952"/>
                  <a:gd name="connsiteY649" fmla="*/ 1206457 h 7571038"/>
                  <a:gd name="connsiteX650" fmla="*/ 217507 w 4381952"/>
                  <a:gd name="connsiteY650" fmla="*/ 1220266 h 7571038"/>
                  <a:gd name="connsiteX651" fmla="*/ 231316 w 4381952"/>
                  <a:gd name="connsiteY651" fmla="*/ 1206457 h 7571038"/>
                  <a:gd name="connsiteX652" fmla="*/ 232547 w 4381952"/>
                  <a:gd name="connsiteY652" fmla="*/ 4771169 h 7571038"/>
                  <a:gd name="connsiteX653" fmla="*/ 216767 w 4381952"/>
                  <a:gd name="connsiteY653" fmla="*/ 4755388 h 7571038"/>
                  <a:gd name="connsiteX654" fmla="*/ 200986 w 4381952"/>
                  <a:gd name="connsiteY654" fmla="*/ 4771169 h 7571038"/>
                  <a:gd name="connsiteX655" fmla="*/ 216767 w 4381952"/>
                  <a:gd name="connsiteY655" fmla="*/ 4786950 h 7571038"/>
                  <a:gd name="connsiteX656" fmla="*/ 232547 w 4381952"/>
                  <a:gd name="connsiteY656" fmla="*/ 4771169 h 7571038"/>
                  <a:gd name="connsiteX657" fmla="*/ 232551 w 4381952"/>
                  <a:gd name="connsiteY657" fmla="*/ 656927 h 7571038"/>
                  <a:gd name="connsiteX658" fmla="*/ 218002 w 4381952"/>
                  <a:gd name="connsiteY658" fmla="*/ 642357 h 7571038"/>
                  <a:gd name="connsiteX659" fmla="*/ 203208 w 4381952"/>
                  <a:gd name="connsiteY659" fmla="*/ 656927 h 7571038"/>
                  <a:gd name="connsiteX660" fmla="*/ 218002 w 4381952"/>
                  <a:gd name="connsiteY660" fmla="*/ 671720 h 7571038"/>
                  <a:gd name="connsiteX661" fmla="*/ 232551 w 4381952"/>
                  <a:gd name="connsiteY661" fmla="*/ 656927 h 7571038"/>
                  <a:gd name="connsiteX662" fmla="*/ 239452 w 4381952"/>
                  <a:gd name="connsiteY662" fmla="*/ 785119 h 7571038"/>
                  <a:gd name="connsiteX663" fmla="*/ 225398 w 4381952"/>
                  <a:gd name="connsiteY663" fmla="*/ 771065 h 7571038"/>
                  <a:gd name="connsiteX664" fmla="*/ 211344 w 4381952"/>
                  <a:gd name="connsiteY664" fmla="*/ 785119 h 7571038"/>
                  <a:gd name="connsiteX665" fmla="*/ 225398 w 4381952"/>
                  <a:gd name="connsiteY665" fmla="*/ 799174 h 7571038"/>
                  <a:gd name="connsiteX666" fmla="*/ 239452 w 4381952"/>
                  <a:gd name="connsiteY666" fmla="*/ 785119 h 7571038"/>
                  <a:gd name="connsiteX667" fmla="*/ 243151 w 4381952"/>
                  <a:gd name="connsiteY667" fmla="*/ 5157555 h 7571038"/>
                  <a:gd name="connsiteX668" fmla="*/ 237973 w 4381952"/>
                  <a:gd name="connsiteY668" fmla="*/ 5152377 h 7571038"/>
                  <a:gd name="connsiteX669" fmla="*/ 232797 w 4381952"/>
                  <a:gd name="connsiteY669" fmla="*/ 5157555 h 7571038"/>
                  <a:gd name="connsiteX670" fmla="*/ 237973 w 4381952"/>
                  <a:gd name="connsiteY670" fmla="*/ 5162732 h 7571038"/>
                  <a:gd name="connsiteX671" fmla="*/ 243151 w 4381952"/>
                  <a:gd name="connsiteY671" fmla="*/ 5157555 h 7571038"/>
                  <a:gd name="connsiteX672" fmla="*/ 243397 w 4381952"/>
                  <a:gd name="connsiteY672" fmla="*/ 1340813 h 7571038"/>
                  <a:gd name="connsiteX673" fmla="*/ 229343 w 4381952"/>
                  <a:gd name="connsiteY673" fmla="*/ 1327001 h 7571038"/>
                  <a:gd name="connsiteX674" fmla="*/ 215535 w 4381952"/>
                  <a:gd name="connsiteY674" fmla="*/ 1340813 h 7571038"/>
                  <a:gd name="connsiteX675" fmla="*/ 229343 w 4381952"/>
                  <a:gd name="connsiteY675" fmla="*/ 1354867 h 7571038"/>
                  <a:gd name="connsiteX676" fmla="*/ 243397 w 4381952"/>
                  <a:gd name="connsiteY676" fmla="*/ 1340813 h 7571038"/>
                  <a:gd name="connsiteX677" fmla="*/ 243646 w 4381952"/>
                  <a:gd name="connsiteY677" fmla="*/ 6171473 h 7571038"/>
                  <a:gd name="connsiteX678" fmla="*/ 226878 w 4381952"/>
                  <a:gd name="connsiteY678" fmla="*/ 6154706 h 7571038"/>
                  <a:gd name="connsiteX679" fmla="*/ 210112 w 4381952"/>
                  <a:gd name="connsiteY679" fmla="*/ 6171473 h 7571038"/>
                  <a:gd name="connsiteX680" fmla="*/ 226878 w 4381952"/>
                  <a:gd name="connsiteY680" fmla="*/ 6188240 h 7571038"/>
                  <a:gd name="connsiteX681" fmla="*/ 243646 w 4381952"/>
                  <a:gd name="connsiteY681" fmla="*/ 6171473 h 7571038"/>
                  <a:gd name="connsiteX682" fmla="*/ 243892 w 4381952"/>
                  <a:gd name="connsiteY682" fmla="*/ 4270130 h 7571038"/>
                  <a:gd name="connsiteX683" fmla="*/ 198030 w 4381952"/>
                  <a:gd name="connsiteY683" fmla="*/ 4224265 h 7571038"/>
                  <a:gd name="connsiteX684" fmla="*/ 151920 w 4381952"/>
                  <a:gd name="connsiteY684" fmla="*/ 4270130 h 7571038"/>
                  <a:gd name="connsiteX685" fmla="*/ 198030 w 4381952"/>
                  <a:gd name="connsiteY685" fmla="*/ 4315992 h 7571038"/>
                  <a:gd name="connsiteX686" fmla="*/ 243892 w 4381952"/>
                  <a:gd name="connsiteY686" fmla="*/ 4270130 h 7571038"/>
                  <a:gd name="connsiteX687" fmla="*/ 244386 w 4381952"/>
                  <a:gd name="connsiteY687" fmla="*/ 6299938 h 7571038"/>
                  <a:gd name="connsiteX688" fmla="*/ 219975 w 4381952"/>
                  <a:gd name="connsiteY688" fmla="*/ 6275527 h 7571038"/>
                  <a:gd name="connsiteX689" fmla="*/ 195563 w 4381952"/>
                  <a:gd name="connsiteY689" fmla="*/ 6299938 h 7571038"/>
                  <a:gd name="connsiteX690" fmla="*/ 219975 w 4381952"/>
                  <a:gd name="connsiteY690" fmla="*/ 6324351 h 7571038"/>
                  <a:gd name="connsiteX691" fmla="*/ 244386 w 4381952"/>
                  <a:gd name="connsiteY691" fmla="*/ 6299938 h 7571038"/>
                  <a:gd name="connsiteX692" fmla="*/ 245616 w 4381952"/>
                  <a:gd name="connsiteY692" fmla="*/ 3882019 h 7571038"/>
                  <a:gd name="connsiteX693" fmla="*/ 194576 w 4381952"/>
                  <a:gd name="connsiteY693" fmla="*/ 3830977 h 7571038"/>
                  <a:gd name="connsiteX694" fmla="*/ 143535 w 4381952"/>
                  <a:gd name="connsiteY694" fmla="*/ 3882019 h 7571038"/>
                  <a:gd name="connsiteX695" fmla="*/ 194576 w 4381952"/>
                  <a:gd name="connsiteY695" fmla="*/ 3933058 h 7571038"/>
                  <a:gd name="connsiteX696" fmla="*/ 245616 w 4381952"/>
                  <a:gd name="connsiteY696" fmla="*/ 3882019 h 7571038"/>
                  <a:gd name="connsiteX697" fmla="*/ 247097 w 4381952"/>
                  <a:gd name="connsiteY697" fmla="*/ 914543 h 7571038"/>
                  <a:gd name="connsiteX698" fmla="*/ 232795 w 4381952"/>
                  <a:gd name="connsiteY698" fmla="*/ 900243 h 7571038"/>
                  <a:gd name="connsiteX699" fmla="*/ 218740 w 4381952"/>
                  <a:gd name="connsiteY699" fmla="*/ 914543 h 7571038"/>
                  <a:gd name="connsiteX700" fmla="*/ 232795 w 4381952"/>
                  <a:gd name="connsiteY700" fmla="*/ 928604 h 7571038"/>
                  <a:gd name="connsiteX701" fmla="*/ 247097 w 4381952"/>
                  <a:gd name="connsiteY701" fmla="*/ 914543 h 7571038"/>
                  <a:gd name="connsiteX702" fmla="*/ 247588 w 4381952"/>
                  <a:gd name="connsiteY702" fmla="*/ 5911827 h 7571038"/>
                  <a:gd name="connsiteX703" fmla="*/ 243398 w 4381952"/>
                  <a:gd name="connsiteY703" fmla="*/ 5907391 h 7571038"/>
                  <a:gd name="connsiteX704" fmla="*/ 239207 w 4381952"/>
                  <a:gd name="connsiteY704" fmla="*/ 5911827 h 7571038"/>
                  <a:gd name="connsiteX705" fmla="*/ 243398 w 4381952"/>
                  <a:gd name="connsiteY705" fmla="*/ 5916022 h 7571038"/>
                  <a:gd name="connsiteX706" fmla="*/ 247588 w 4381952"/>
                  <a:gd name="connsiteY706" fmla="*/ 5911827 h 7571038"/>
                  <a:gd name="connsiteX707" fmla="*/ 249069 w 4381952"/>
                  <a:gd name="connsiteY707" fmla="*/ 4618294 h 7571038"/>
                  <a:gd name="connsiteX708" fmla="*/ 248823 w 4381952"/>
                  <a:gd name="connsiteY708" fmla="*/ 4618047 h 7571038"/>
                  <a:gd name="connsiteX709" fmla="*/ 248823 w 4381952"/>
                  <a:gd name="connsiteY709" fmla="*/ 4618294 h 7571038"/>
                  <a:gd name="connsiteX710" fmla="*/ 248823 w 4381952"/>
                  <a:gd name="connsiteY710" fmla="*/ 4618542 h 7571038"/>
                  <a:gd name="connsiteX711" fmla="*/ 250057 w 4381952"/>
                  <a:gd name="connsiteY711" fmla="*/ 7779 h 7571038"/>
                  <a:gd name="connsiteX712" fmla="*/ 246848 w 4381952"/>
                  <a:gd name="connsiteY712" fmla="*/ 0 h 7571038"/>
                  <a:gd name="connsiteX713" fmla="*/ 219541 w 4381952"/>
                  <a:gd name="connsiteY713" fmla="*/ 0 h 7571038"/>
                  <a:gd name="connsiteX714" fmla="*/ 216276 w 4381952"/>
                  <a:gd name="connsiteY714" fmla="*/ 7779 h 7571038"/>
                  <a:gd name="connsiteX715" fmla="*/ 233289 w 4381952"/>
                  <a:gd name="connsiteY715" fmla="*/ 24544 h 7571038"/>
                  <a:gd name="connsiteX716" fmla="*/ 250057 w 4381952"/>
                  <a:gd name="connsiteY716" fmla="*/ 7779 h 7571038"/>
                  <a:gd name="connsiteX717" fmla="*/ 251041 w 4381952"/>
                  <a:gd name="connsiteY717" fmla="*/ 6042268 h 7571038"/>
                  <a:gd name="connsiteX718" fmla="*/ 234769 w 4381952"/>
                  <a:gd name="connsiteY718" fmla="*/ 6025993 h 7571038"/>
                  <a:gd name="connsiteX719" fmla="*/ 218494 w 4381952"/>
                  <a:gd name="connsiteY719" fmla="*/ 6042268 h 7571038"/>
                  <a:gd name="connsiteX720" fmla="*/ 234769 w 4381952"/>
                  <a:gd name="connsiteY720" fmla="*/ 6058295 h 7571038"/>
                  <a:gd name="connsiteX721" fmla="*/ 251041 w 4381952"/>
                  <a:gd name="connsiteY721" fmla="*/ 6042268 h 7571038"/>
                  <a:gd name="connsiteX722" fmla="*/ 253509 w 4381952"/>
                  <a:gd name="connsiteY722" fmla="*/ 130543 h 7571038"/>
                  <a:gd name="connsiteX723" fmla="*/ 236988 w 4381952"/>
                  <a:gd name="connsiteY723" fmla="*/ 114023 h 7571038"/>
                  <a:gd name="connsiteX724" fmla="*/ 220467 w 4381952"/>
                  <a:gd name="connsiteY724" fmla="*/ 130543 h 7571038"/>
                  <a:gd name="connsiteX725" fmla="*/ 236988 w 4381952"/>
                  <a:gd name="connsiteY725" fmla="*/ 147061 h 7571038"/>
                  <a:gd name="connsiteX726" fmla="*/ 253509 w 4381952"/>
                  <a:gd name="connsiteY726" fmla="*/ 130543 h 7571038"/>
                  <a:gd name="connsiteX727" fmla="*/ 253754 w 4381952"/>
                  <a:gd name="connsiteY727" fmla="*/ 2138129 h 7571038"/>
                  <a:gd name="connsiteX728" fmla="*/ 247837 w 4381952"/>
                  <a:gd name="connsiteY728" fmla="*/ 2132214 h 7571038"/>
                  <a:gd name="connsiteX729" fmla="*/ 242166 w 4381952"/>
                  <a:gd name="connsiteY729" fmla="*/ 2138129 h 7571038"/>
                  <a:gd name="connsiteX730" fmla="*/ 247837 w 4381952"/>
                  <a:gd name="connsiteY730" fmla="*/ 2144049 h 7571038"/>
                  <a:gd name="connsiteX731" fmla="*/ 253754 w 4381952"/>
                  <a:gd name="connsiteY731" fmla="*/ 2138129 h 7571038"/>
                  <a:gd name="connsiteX732" fmla="*/ 254741 w 4381952"/>
                  <a:gd name="connsiteY732" fmla="*/ 2963148 h 7571038"/>
                  <a:gd name="connsiteX733" fmla="*/ 220220 w 4381952"/>
                  <a:gd name="connsiteY733" fmla="*/ 2928872 h 7571038"/>
                  <a:gd name="connsiteX734" fmla="*/ 185946 w 4381952"/>
                  <a:gd name="connsiteY734" fmla="*/ 2963148 h 7571038"/>
                  <a:gd name="connsiteX735" fmla="*/ 220220 w 4381952"/>
                  <a:gd name="connsiteY735" fmla="*/ 2997424 h 7571038"/>
                  <a:gd name="connsiteX736" fmla="*/ 254741 w 4381952"/>
                  <a:gd name="connsiteY736" fmla="*/ 2963148 h 7571038"/>
                  <a:gd name="connsiteX737" fmla="*/ 255726 w 4381952"/>
                  <a:gd name="connsiteY737" fmla="*/ 1045217 h 7571038"/>
                  <a:gd name="connsiteX738" fmla="*/ 241671 w 4381952"/>
                  <a:gd name="connsiteY738" fmla="*/ 1031155 h 7571038"/>
                  <a:gd name="connsiteX739" fmla="*/ 227617 w 4381952"/>
                  <a:gd name="connsiteY739" fmla="*/ 1045217 h 7571038"/>
                  <a:gd name="connsiteX740" fmla="*/ 241671 w 4381952"/>
                  <a:gd name="connsiteY740" fmla="*/ 1059265 h 7571038"/>
                  <a:gd name="connsiteX741" fmla="*/ 255726 w 4381952"/>
                  <a:gd name="connsiteY741" fmla="*/ 1045217 h 7571038"/>
                  <a:gd name="connsiteX742" fmla="*/ 258441 w 4381952"/>
                  <a:gd name="connsiteY742" fmla="*/ 1476905 h 7571038"/>
                  <a:gd name="connsiteX743" fmla="*/ 242907 w 4381952"/>
                  <a:gd name="connsiteY743" fmla="*/ 1461373 h 7571038"/>
                  <a:gd name="connsiteX744" fmla="*/ 227371 w 4381952"/>
                  <a:gd name="connsiteY744" fmla="*/ 1476905 h 7571038"/>
                  <a:gd name="connsiteX745" fmla="*/ 242907 w 4381952"/>
                  <a:gd name="connsiteY745" fmla="*/ 1492443 h 7571038"/>
                  <a:gd name="connsiteX746" fmla="*/ 258441 w 4381952"/>
                  <a:gd name="connsiteY746" fmla="*/ 1476905 h 7571038"/>
                  <a:gd name="connsiteX747" fmla="*/ 261891 w 4381952"/>
                  <a:gd name="connsiteY747" fmla="*/ 2581697 h 7571038"/>
                  <a:gd name="connsiteX748" fmla="*/ 242657 w 4381952"/>
                  <a:gd name="connsiteY748" fmla="*/ 2562461 h 7571038"/>
                  <a:gd name="connsiteX749" fmla="*/ 223426 w 4381952"/>
                  <a:gd name="connsiteY749" fmla="*/ 2581697 h 7571038"/>
                  <a:gd name="connsiteX750" fmla="*/ 242657 w 4381952"/>
                  <a:gd name="connsiteY750" fmla="*/ 2600929 h 7571038"/>
                  <a:gd name="connsiteX751" fmla="*/ 261891 w 4381952"/>
                  <a:gd name="connsiteY751" fmla="*/ 2581697 h 7571038"/>
                  <a:gd name="connsiteX752" fmla="*/ 262877 w 4381952"/>
                  <a:gd name="connsiteY752" fmla="*/ 4105909 h 7571038"/>
                  <a:gd name="connsiteX753" fmla="*/ 253751 w 4381952"/>
                  <a:gd name="connsiteY753" fmla="*/ 4096538 h 7571038"/>
                  <a:gd name="connsiteX754" fmla="*/ 244383 w 4381952"/>
                  <a:gd name="connsiteY754" fmla="*/ 4105909 h 7571038"/>
                  <a:gd name="connsiteX755" fmla="*/ 253751 w 4381952"/>
                  <a:gd name="connsiteY755" fmla="*/ 4115033 h 7571038"/>
                  <a:gd name="connsiteX756" fmla="*/ 262877 w 4381952"/>
                  <a:gd name="connsiteY756" fmla="*/ 4105909 h 7571038"/>
                  <a:gd name="connsiteX757" fmla="*/ 262881 w 4381952"/>
                  <a:gd name="connsiteY757" fmla="*/ 5013555 h 7571038"/>
                  <a:gd name="connsiteX758" fmla="*/ 258935 w 4381952"/>
                  <a:gd name="connsiteY758" fmla="*/ 5009855 h 7571038"/>
                  <a:gd name="connsiteX759" fmla="*/ 255236 w 4381952"/>
                  <a:gd name="connsiteY759" fmla="*/ 5013555 h 7571038"/>
                  <a:gd name="connsiteX760" fmla="*/ 258935 w 4381952"/>
                  <a:gd name="connsiteY760" fmla="*/ 5017254 h 7571038"/>
                  <a:gd name="connsiteX761" fmla="*/ 262881 w 4381952"/>
                  <a:gd name="connsiteY761" fmla="*/ 5013555 h 7571038"/>
                  <a:gd name="connsiteX762" fmla="*/ 268553 w 4381952"/>
                  <a:gd name="connsiteY762" fmla="*/ 1615221 h 7571038"/>
                  <a:gd name="connsiteX763" fmla="*/ 257949 w 4381952"/>
                  <a:gd name="connsiteY763" fmla="*/ 1604615 h 7571038"/>
                  <a:gd name="connsiteX764" fmla="*/ 247345 w 4381952"/>
                  <a:gd name="connsiteY764" fmla="*/ 1615221 h 7571038"/>
                  <a:gd name="connsiteX765" fmla="*/ 257949 w 4381952"/>
                  <a:gd name="connsiteY765" fmla="*/ 1625822 h 7571038"/>
                  <a:gd name="connsiteX766" fmla="*/ 268553 w 4381952"/>
                  <a:gd name="connsiteY766" fmla="*/ 1615221 h 7571038"/>
                  <a:gd name="connsiteX767" fmla="*/ 270522 w 4381952"/>
                  <a:gd name="connsiteY767" fmla="*/ 3994704 h 7571038"/>
                  <a:gd name="connsiteX768" fmla="*/ 220960 w 4381952"/>
                  <a:gd name="connsiteY768" fmla="*/ 3945143 h 7571038"/>
                  <a:gd name="connsiteX769" fmla="*/ 171400 w 4381952"/>
                  <a:gd name="connsiteY769" fmla="*/ 3994704 h 7571038"/>
                  <a:gd name="connsiteX770" fmla="*/ 220960 w 4381952"/>
                  <a:gd name="connsiteY770" fmla="*/ 4044267 h 7571038"/>
                  <a:gd name="connsiteX771" fmla="*/ 270522 w 4381952"/>
                  <a:gd name="connsiteY771" fmla="*/ 3994704 h 7571038"/>
                  <a:gd name="connsiteX772" fmla="*/ 279894 w 4381952"/>
                  <a:gd name="connsiteY772" fmla="*/ 3479112 h 7571038"/>
                  <a:gd name="connsiteX773" fmla="*/ 262632 w 4381952"/>
                  <a:gd name="connsiteY773" fmla="*/ 3461971 h 7571038"/>
                  <a:gd name="connsiteX774" fmla="*/ 245373 w 4381952"/>
                  <a:gd name="connsiteY774" fmla="*/ 3479112 h 7571038"/>
                  <a:gd name="connsiteX775" fmla="*/ 262632 w 4381952"/>
                  <a:gd name="connsiteY775" fmla="*/ 3496374 h 7571038"/>
                  <a:gd name="connsiteX776" fmla="*/ 279894 w 4381952"/>
                  <a:gd name="connsiteY776" fmla="*/ 3479112 h 7571038"/>
                  <a:gd name="connsiteX777" fmla="*/ 280631 w 4381952"/>
                  <a:gd name="connsiteY777" fmla="*/ 2289751 h 7571038"/>
                  <a:gd name="connsiteX778" fmla="*/ 277672 w 4381952"/>
                  <a:gd name="connsiteY778" fmla="*/ 2286805 h 7571038"/>
                  <a:gd name="connsiteX779" fmla="*/ 274713 w 4381952"/>
                  <a:gd name="connsiteY779" fmla="*/ 2289751 h 7571038"/>
                  <a:gd name="connsiteX780" fmla="*/ 277672 w 4381952"/>
                  <a:gd name="connsiteY780" fmla="*/ 2292721 h 7571038"/>
                  <a:gd name="connsiteX781" fmla="*/ 280631 w 4381952"/>
                  <a:gd name="connsiteY781" fmla="*/ 2289751 h 7571038"/>
                  <a:gd name="connsiteX782" fmla="*/ 281123 w 4381952"/>
                  <a:gd name="connsiteY782" fmla="*/ 3595003 h 7571038"/>
                  <a:gd name="connsiteX783" fmla="*/ 266082 w 4381952"/>
                  <a:gd name="connsiteY783" fmla="*/ 3579962 h 7571038"/>
                  <a:gd name="connsiteX784" fmla="*/ 251288 w 4381952"/>
                  <a:gd name="connsiteY784" fmla="*/ 3595003 h 7571038"/>
                  <a:gd name="connsiteX785" fmla="*/ 266082 w 4381952"/>
                  <a:gd name="connsiteY785" fmla="*/ 3610045 h 7571038"/>
                  <a:gd name="connsiteX786" fmla="*/ 281123 w 4381952"/>
                  <a:gd name="connsiteY786" fmla="*/ 3595003 h 7571038"/>
                  <a:gd name="connsiteX787" fmla="*/ 284331 w 4381952"/>
                  <a:gd name="connsiteY787" fmla="*/ 1756261 h 7571038"/>
                  <a:gd name="connsiteX788" fmla="*/ 274714 w 4381952"/>
                  <a:gd name="connsiteY788" fmla="*/ 1746633 h 7571038"/>
                  <a:gd name="connsiteX789" fmla="*/ 265096 w 4381952"/>
                  <a:gd name="connsiteY789" fmla="*/ 1756261 h 7571038"/>
                  <a:gd name="connsiteX790" fmla="*/ 274714 w 4381952"/>
                  <a:gd name="connsiteY790" fmla="*/ 1765887 h 7571038"/>
                  <a:gd name="connsiteX791" fmla="*/ 284331 w 4381952"/>
                  <a:gd name="connsiteY791" fmla="*/ 1756261 h 7571038"/>
                  <a:gd name="connsiteX792" fmla="*/ 285072 w 4381952"/>
                  <a:gd name="connsiteY792" fmla="*/ 3363329 h 7571038"/>
                  <a:gd name="connsiteX793" fmla="*/ 265840 w 4381952"/>
                  <a:gd name="connsiteY793" fmla="*/ 3344099 h 7571038"/>
                  <a:gd name="connsiteX794" fmla="*/ 246605 w 4381952"/>
                  <a:gd name="connsiteY794" fmla="*/ 3363329 h 7571038"/>
                  <a:gd name="connsiteX795" fmla="*/ 265840 w 4381952"/>
                  <a:gd name="connsiteY795" fmla="*/ 3382561 h 7571038"/>
                  <a:gd name="connsiteX796" fmla="*/ 285072 w 4381952"/>
                  <a:gd name="connsiteY796" fmla="*/ 3363329 h 7571038"/>
                  <a:gd name="connsiteX797" fmla="*/ 285316 w 4381952"/>
                  <a:gd name="connsiteY797" fmla="*/ 2851939 h 7571038"/>
                  <a:gd name="connsiteX798" fmla="*/ 252769 w 4381952"/>
                  <a:gd name="connsiteY798" fmla="*/ 2819144 h 7571038"/>
                  <a:gd name="connsiteX799" fmla="*/ 219975 w 4381952"/>
                  <a:gd name="connsiteY799" fmla="*/ 2851939 h 7571038"/>
                  <a:gd name="connsiteX800" fmla="*/ 252769 w 4381952"/>
                  <a:gd name="connsiteY800" fmla="*/ 2884736 h 7571038"/>
                  <a:gd name="connsiteX801" fmla="*/ 285316 w 4381952"/>
                  <a:gd name="connsiteY801" fmla="*/ 2851939 h 7571038"/>
                  <a:gd name="connsiteX802" fmla="*/ 287043 w 4381952"/>
                  <a:gd name="connsiteY802" fmla="*/ 7099090 h 7571038"/>
                  <a:gd name="connsiteX803" fmla="*/ 283835 w 4381952"/>
                  <a:gd name="connsiteY803" fmla="*/ 7095884 h 7571038"/>
                  <a:gd name="connsiteX804" fmla="*/ 280385 w 4381952"/>
                  <a:gd name="connsiteY804" fmla="*/ 7099090 h 7571038"/>
                  <a:gd name="connsiteX805" fmla="*/ 283835 w 4381952"/>
                  <a:gd name="connsiteY805" fmla="*/ 7102294 h 7571038"/>
                  <a:gd name="connsiteX806" fmla="*/ 287043 w 4381952"/>
                  <a:gd name="connsiteY806" fmla="*/ 7099090 h 7571038"/>
                  <a:gd name="connsiteX807" fmla="*/ 287289 w 4381952"/>
                  <a:gd name="connsiteY807" fmla="*/ 5519281 h 7571038"/>
                  <a:gd name="connsiteX808" fmla="*/ 286304 w 4381952"/>
                  <a:gd name="connsiteY808" fmla="*/ 5518295 h 7571038"/>
                  <a:gd name="connsiteX809" fmla="*/ 285317 w 4381952"/>
                  <a:gd name="connsiteY809" fmla="*/ 5519281 h 7571038"/>
                  <a:gd name="connsiteX810" fmla="*/ 286304 w 4381952"/>
                  <a:gd name="connsiteY810" fmla="*/ 5520267 h 7571038"/>
                  <a:gd name="connsiteX811" fmla="*/ 287289 w 4381952"/>
                  <a:gd name="connsiteY811" fmla="*/ 5519281 h 7571038"/>
                  <a:gd name="connsiteX812" fmla="*/ 288276 w 4381952"/>
                  <a:gd name="connsiteY812" fmla="*/ 5787556 h 7571038"/>
                  <a:gd name="connsiteX813" fmla="*/ 262632 w 4381952"/>
                  <a:gd name="connsiteY813" fmla="*/ 5761912 h 7571038"/>
                  <a:gd name="connsiteX814" fmla="*/ 236988 w 4381952"/>
                  <a:gd name="connsiteY814" fmla="*/ 5787556 h 7571038"/>
                  <a:gd name="connsiteX815" fmla="*/ 262632 w 4381952"/>
                  <a:gd name="connsiteY815" fmla="*/ 5813200 h 7571038"/>
                  <a:gd name="connsiteX816" fmla="*/ 288276 w 4381952"/>
                  <a:gd name="connsiteY816" fmla="*/ 5787556 h 7571038"/>
                  <a:gd name="connsiteX817" fmla="*/ 288770 w 4381952"/>
                  <a:gd name="connsiteY817" fmla="*/ 4376402 h 7571038"/>
                  <a:gd name="connsiteX818" fmla="*/ 243892 w 4381952"/>
                  <a:gd name="connsiteY818" fmla="*/ 4331524 h 7571038"/>
                  <a:gd name="connsiteX819" fmla="*/ 199017 w 4381952"/>
                  <a:gd name="connsiteY819" fmla="*/ 4376402 h 7571038"/>
                  <a:gd name="connsiteX820" fmla="*/ 243892 w 4381952"/>
                  <a:gd name="connsiteY820" fmla="*/ 4421277 h 7571038"/>
                  <a:gd name="connsiteX821" fmla="*/ 288770 w 4381952"/>
                  <a:gd name="connsiteY821" fmla="*/ 4376402 h 7571038"/>
                  <a:gd name="connsiteX822" fmla="*/ 289263 w 4381952"/>
                  <a:gd name="connsiteY822" fmla="*/ 3710649 h 7571038"/>
                  <a:gd name="connsiteX823" fmla="*/ 276689 w 4381952"/>
                  <a:gd name="connsiteY823" fmla="*/ 3698073 h 7571038"/>
                  <a:gd name="connsiteX824" fmla="*/ 264113 w 4381952"/>
                  <a:gd name="connsiteY824" fmla="*/ 3710649 h 7571038"/>
                  <a:gd name="connsiteX825" fmla="*/ 276689 w 4381952"/>
                  <a:gd name="connsiteY825" fmla="*/ 3723222 h 7571038"/>
                  <a:gd name="connsiteX826" fmla="*/ 289263 w 4381952"/>
                  <a:gd name="connsiteY826" fmla="*/ 3710649 h 7571038"/>
                  <a:gd name="connsiteX827" fmla="*/ 290247 w 4381952"/>
                  <a:gd name="connsiteY827" fmla="*/ 6977530 h 7571038"/>
                  <a:gd name="connsiteX828" fmla="*/ 286794 w 4381952"/>
                  <a:gd name="connsiteY828" fmla="*/ 6974078 h 7571038"/>
                  <a:gd name="connsiteX829" fmla="*/ 283344 w 4381952"/>
                  <a:gd name="connsiteY829" fmla="*/ 6977530 h 7571038"/>
                  <a:gd name="connsiteX830" fmla="*/ 286794 w 4381952"/>
                  <a:gd name="connsiteY830" fmla="*/ 6980983 h 7571038"/>
                  <a:gd name="connsiteX831" fmla="*/ 290247 w 4381952"/>
                  <a:gd name="connsiteY831" fmla="*/ 6977530 h 7571038"/>
                  <a:gd name="connsiteX832" fmla="*/ 291975 w 4381952"/>
                  <a:gd name="connsiteY832" fmla="*/ 6855228 h 7571038"/>
                  <a:gd name="connsiteX833" fmla="*/ 290002 w 4381952"/>
                  <a:gd name="connsiteY833" fmla="*/ 6853255 h 7571038"/>
                  <a:gd name="connsiteX834" fmla="*/ 288029 w 4381952"/>
                  <a:gd name="connsiteY834" fmla="*/ 6855228 h 7571038"/>
                  <a:gd name="connsiteX835" fmla="*/ 290002 w 4381952"/>
                  <a:gd name="connsiteY835" fmla="*/ 6857200 h 7571038"/>
                  <a:gd name="connsiteX836" fmla="*/ 291975 w 4381952"/>
                  <a:gd name="connsiteY836" fmla="*/ 6855228 h 7571038"/>
                  <a:gd name="connsiteX837" fmla="*/ 296414 w 4381952"/>
                  <a:gd name="connsiteY837" fmla="*/ 1899001 h 7571038"/>
                  <a:gd name="connsiteX838" fmla="*/ 294193 w 4381952"/>
                  <a:gd name="connsiteY838" fmla="*/ 1896785 h 7571038"/>
                  <a:gd name="connsiteX839" fmla="*/ 291975 w 4381952"/>
                  <a:gd name="connsiteY839" fmla="*/ 1899001 h 7571038"/>
                  <a:gd name="connsiteX840" fmla="*/ 294193 w 4381952"/>
                  <a:gd name="connsiteY840" fmla="*/ 1901221 h 7571038"/>
                  <a:gd name="connsiteX841" fmla="*/ 296414 w 4381952"/>
                  <a:gd name="connsiteY841" fmla="*/ 1899001 h 7571038"/>
                  <a:gd name="connsiteX842" fmla="*/ 297646 w 4381952"/>
                  <a:gd name="connsiteY842" fmla="*/ 3247695 h 7571038"/>
                  <a:gd name="connsiteX843" fmla="*/ 276194 w 4381952"/>
                  <a:gd name="connsiteY843" fmla="*/ 3226241 h 7571038"/>
                  <a:gd name="connsiteX844" fmla="*/ 254741 w 4381952"/>
                  <a:gd name="connsiteY844" fmla="*/ 3247695 h 7571038"/>
                  <a:gd name="connsiteX845" fmla="*/ 276194 w 4381952"/>
                  <a:gd name="connsiteY845" fmla="*/ 3269139 h 7571038"/>
                  <a:gd name="connsiteX846" fmla="*/ 297646 w 4381952"/>
                  <a:gd name="connsiteY846" fmla="*/ 3247695 h 7571038"/>
                  <a:gd name="connsiteX847" fmla="*/ 298138 w 4381952"/>
                  <a:gd name="connsiteY847" fmla="*/ 4866596 h 7571038"/>
                  <a:gd name="connsiteX848" fmla="*/ 283095 w 4381952"/>
                  <a:gd name="connsiteY848" fmla="*/ 4851555 h 7571038"/>
                  <a:gd name="connsiteX849" fmla="*/ 268055 w 4381952"/>
                  <a:gd name="connsiteY849" fmla="*/ 4866596 h 7571038"/>
                  <a:gd name="connsiteX850" fmla="*/ 283095 w 4381952"/>
                  <a:gd name="connsiteY850" fmla="*/ 4881639 h 7571038"/>
                  <a:gd name="connsiteX851" fmla="*/ 298138 w 4381952"/>
                  <a:gd name="connsiteY851" fmla="*/ 4866596 h 7571038"/>
                  <a:gd name="connsiteX852" fmla="*/ 301589 w 4381952"/>
                  <a:gd name="connsiteY852" fmla="*/ 4214895 h 7571038"/>
                  <a:gd name="connsiteX853" fmla="*/ 292713 w 4381952"/>
                  <a:gd name="connsiteY853" fmla="*/ 4206018 h 7571038"/>
                  <a:gd name="connsiteX854" fmla="*/ 283836 w 4381952"/>
                  <a:gd name="connsiteY854" fmla="*/ 4214895 h 7571038"/>
                  <a:gd name="connsiteX855" fmla="*/ 292713 w 4381952"/>
                  <a:gd name="connsiteY855" fmla="*/ 4223771 h 7571038"/>
                  <a:gd name="connsiteX856" fmla="*/ 301589 w 4381952"/>
                  <a:gd name="connsiteY856" fmla="*/ 4214895 h 7571038"/>
                  <a:gd name="connsiteX857" fmla="*/ 301838 w 4381952"/>
                  <a:gd name="connsiteY857" fmla="*/ 5654403 h 7571038"/>
                  <a:gd name="connsiteX858" fmla="*/ 273727 w 4381952"/>
                  <a:gd name="connsiteY858" fmla="*/ 5626294 h 7571038"/>
                  <a:gd name="connsiteX859" fmla="*/ 245619 w 4381952"/>
                  <a:gd name="connsiteY859" fmla="*/ 5654403 h 7571038"/>
                  <a:gd name="connsiteX860" fmla="*/ 273727 w 4381952"/>
                  <a:gd name="connsiteY860" fmla="*/ 5682514 h 7571038"/>
                  <a:gd name="connsiteX861" fmla="*/ 301838 w 4381952"/>
                  <a:gd name="connsiteY861" fmla="*/ 5654403 h 7571038"/>
                  <a:gd name="connsiteX862" fmla="*/ 303810 w 4381952"/>
                  <a:gd name="connsiteY862" fmla="*/ 5382432 h 7571038"/>
                  <a:gd name="connsiteX863" fmla="*/ 299865 w 4381952"/>
                  <a:gd name="connsiteY863" fmla="*/ 5378487 h 7571038"/>
                  <a:gd name="connsiteX864" fmla="*/ 295920 w 4381952"/>
                  <a:gd name="connsiteY864" fmla="*/ 5382432 h 7571038"/>
                  <a:gd name="connsiteX865" fmla="*/ 299865 w 4381952"/>
                  <a:gd name="connsiteY865" fmla="*/ 5386377 h 7571038"/>
                  <a:gd name="connsiteX866" fmla="*/ 303810 w 4381952"/>
                  <a:gd name="connsiteY866" fmla="*/ 5382432 h 7571038"/>
                  <a:gd name="connsiteX867" fmla="*/ 304548 w 4381952"/>
                  <a:gd name="connsiteY867" fmla="*/ 3825304 h 7571038"/>
                  <a:gd name="connsiteX868" fmla="*/ 294191 w 4381952"/>
                  <a:gd name="connsiteY868" fmla="*/ 3814949 h 7571038"/>
                  <a:gd name="connsiteX869" fmla="*/ 283836 w 4381952"/>
                  <a:gd name="connsiteY869" fmla="*/ 3825304 h 7571038"/>
                  <a:gd name="connsiteX870" fmla="*/ 294191 w 4381952"/>
                  <a:gd name="connsiteY870" fmla="*/ 3835661 h 7571038"/>
                  <a:gd name="connsiteX871" fmla="*/ 304548 w 4381952"/>
                  <a:gd name="connsiteY871" fmla="*/ 3825304 h 7571038"/>
                  <a:gd name="connsiteX872" fmla="*/ 305537 w 4381952"/>
                  <a:gd name="connsiteY872" fmla="*/ 6737610 h 7571038"/>
                  <a:gd name="connsiteX873" fmla="*/ 302329 w 4381952"/>
                  <a:gd name="connsiteY873" fmla="*/ 6734406 h 7571038"/>
                  <a:gd name="connsiteX874" fmla="*/ 299125 w 4381952"/>
                  <a:gd name="connsiteY874" fmla="*/ 6737610 h 7571038"/>
                  <a:gd name="connsiteX875" fmla="*/ 302329 w 4381952"/>
                  <a:gd name="connsiteY875" fmla="*/ 6740570 h 7571038"/>
                  <a:gd name="connsiteX876" fmla="*/ 305537 w 4381952"/>
                  <a:gd name="connsiteY876" fmla="*/ 6737610 h 7571038"/>
                  <a:gd name="connsiteX877" fmla="*/ 308496 w 4381952"/>
                  <a:gd name="connsiteY877" fmla="*/ 2477887 h 7571038"/>
                  <a:gd name="connsiteX878" fmla="*/ 293948 w 4381952"/>
                  <a:gd name="connsiteY878" fmla="*/ 2463336 h 7571038"/>
                  <a:gd name="connsiteX879" fmla="*/ 279399 w 4381952"/>
                  <a:gd name="connsiteY879" fmla="*/ 2477887 h 7571038"/>
                  <a:gd name="connsiteX880" fmla="*/ 293948 w 4381952"/>
                  <a:gd name="connsiteY880" fmla="*/ 2492433 h 7571038"/>
                  <a:gd name="connsiteX881" fmla="*/ 308496 w 4381952"/>
                  <a:gd name="connsiteY881" fmla="*/ 2477887 h 7571038"/>
                  <a:gd name="connsiteX882" fmla="*/ 309728 w 4381952"/>
                  <a:gd name="connsiteY882" fmla="*/ 6614324 h 7571038"/>
                  <a:gd name="connsiteX883" fmla="*/ 306524 w 4381952"/>
                  <a:gd name="connsiteY883" fmla="*/ 6611365 h 7571038"/>
                  <a:gd name="connsiteX884" fmla="*/ 303565 w 4381952"/>
                  <a:gd name="connsiteY884" fmla="*/ 6614324 h 7571038"/>
                  <a:gd name="connsiteX885" fmla="*/ 306524 w 4381952"/>
                  <a:gd name="connsiteY885" fmla="*/ 6617283 h 7571038"/>
                  <a:gd name="connsiteX886" fmla="*/ 309728 w 4381952"/>
                  <a:gd name="connsiteY886" fmla="*/ 6614324 h 7571038"/>
                  <a:gd name="connsiteX887" fmla="*/ 311456 w 4381952"/>
                  <a:gd name="connsiteY887" fmla="*/ 4716926 h 7571038"/>
                  <a:gd name="connsiteX888" fmla="*/ 310960 w 4381952"/>
                  <a:gd name="connsiteY888" fmla="*/ 4716431 h 7571038"/>
                  <a:gd name="connsiteX889" fmla="*/ 310469 w 4381952"/>
                  <a:gd name="connsiteY889" fmla="*/ 4716926 h 7571038"/>
                  <a:gd name="connsiteX890" fmla="*/ 310960 w 4381952"/>
                  <a:gd name="connsiteY890" fmla="*/ 4717418 h 7571038"/>
                  <a:gd name="connsiteX891" fmla="*/ 311456 w 4381952"/>
                  <a:gd name="connsiteY891" fmla="*/ 4716926 h 7571038"/>
                  <a:gd name="connsiteX892" fmla="*/ 312931 w 4381952"/>
                  <a:gd name="connsiteY892" fmla="*/ 6489805 h 7571038"/>
                  <a:gd name="connsiteX893" fmla="*/ 311207 w 4381952"/>
                  <a:gd name="connsiteY893" fmla="*/ 6488077 h 7571038"/>
                  <a:gd name="connsiteX894" fmla="*/ 309480 w 4381952"/>
                  <a:gd name="connsiteY894" fmla="*/ 6489805 h 7571038"/>
                  <a:gd name="connsiteX895" fmla="*/ 311207 w 4381952"/>
                  <a:gd name="connsiteY895" fmla="*/ 6491528 h 7571038"/>
                  <a:gd name="connsiteX896" fmla="*/ 312931 w 4381952"/>
                  <a:gd name="connsiteY896" fmla="*/ 6489805 h 7571038"/>
                  <a:gd name="connsiteX897" fmla="*/ 316384 w 4381952"/>
                  <a:gd name="connsiteY897" fmla="*/ 219528 h 7571038"/>
                  <a:gd name="connsiteX898" fmla="*/ 299616 w 4381952"/>
                  <a:gd name="connsiteY898" fmla="*/ 202763 h 7571038"/>
                  <a:gd name="connsiteX899" fmla="*/ 282850 w 4381952"/>
                  <a:gd name="connsiteY899" fmla="*/ 219528 h 7571038"/>
                  <a:gd name="connsiteX900" fmla="*/ 299616 w 4381952"/>
                  <a:gd name="connsiteY900" fmla="*/ 236295 h 7571038"/>
                  <a:gd name="connsiteX901" fmla="*/ 316384 w 4381952"/>
                  <a:gd name="connsiteY901" fmla="*/ 219528 h 7571038"/>
                  <a:gd name="connsiteX902" fmla="*/ 316881 w 4381952"/>
                  <a:gd name="connsiteY902" fmla="*/ 3133031 h 7571038"/>
                  <a:gd name="connsiteX903" fmla="*/ 293456 w 4381952"/>
                  <a:gd name="connsiteY903" fmla="*/ 3109605 h 7571038"/>
                  <a:gd name="connsiteX904" fmla="*/ 270031 w 4381952"/>
                  <a:gd name="connsiteY904" fmla="*/ 3133031 h 7571038"/>
                  <a:gd name="connsiteX905" fmla="*/ 293456 w 4381952"/>
                  <a:gd name="connsiteY905" fmla="*/ 3156457 h 7571038"/>
                  <a:gd name="connsiteX906" fmla="*/ 316881 w 4381952"/>
                  <a:gd name="connsiteY906" fmla="*/ 3133031 h 7571038"/>
                  <a:gd name="connsiteX907" fmla="*/ 319838 w 4381952"/>
                  <a:gd name="connsiteY907" fmla="*/ 2043916 h 7571038"/>
                  <a:gd name="connsiteX908" fmla="*/ 316387 w 4381952"/>
                  <a:gd name="connsiteY908" fmla="*/ 2040465 h 7571038"/>
                  <a:gd name="connsiteX909" fmla="*/ 312688 w 4381952"/>
                  <a:gd name="connsiteY909" fmla="*/ 2043916 h 7571038"/>
                  <a:gd name="connsiteX910" fmla="*/ 316387 w 4381952"/>
                  <a:gd name="connsiteY910" fmla="*/ 2047617 h 7571038"/>
                  <a:gd name="connsiteX911" fmla="*/ 319838 w 4381952"/>
                  <a:gd name="connsiteY911" fmla="*/ 2043916 h 7571038"/>
                  <a:gd name="connsiteX912" fmla="*/ 320083 w 4381952"/>
                  <a:gd name="connsiteY912" fmla="*/ 5243609 h 7571038"/>
                  <a:gd name="connsiteX913" fmla="*/ 315892 w 4381952"/>
                  <a:gd name="connsiteY913" fmla="*/ 5239417 h 7571038"/>
                  <a:gd name="connsiteX914" fmla="*/ 311701 w 4381952"/>
                  <a:gd name="connsiteY914" fmla="*/ 5243609 h 7571038"/>
                  <a:gd name="connsiteX915" fmla="*/ 315892 w 4381952"/>
                  <a:gd name="connsiteY915" fmla="*/ 5247800 h 7571038"/>
                  <a:gd name="connsiteX916" fmla="*/ 320083 w 4381952"/>
                  <a:gd name="connsiteY916" fmla="*/ 5243609 h 7571038"/>
                  <a:gd name="connsiteX917" fmla="*/ 320329 w 4381952"/>
                  <a:gd name="connsiteY917" fmla="*/ 1132234 h 7571038"/>
                  <a:gd name="connsiteX918" fmla="*/ 306275 w 4381952"/>
                  <a:gd name="connsiteY918" fmla="*/ 1118173 h 7571038"/>
                  <a:gd name="connsiteX919" fmla="*/ 292221 w 4381952"/>
                  <a:gd name="connsiteY919" fmla="*/ 1132234 h 7571038"/>
                  <a:gd name="connsiteX920" fmla="*/ 306275 w 4381952"/>
                  <a:gd name="connsiteY920" fmla="*/ 1146289 h 7571038"/>
                  <a:gd name="connsiteX921" fmla="*/ 320329 w 4381952"/>
                  <a:gd name="connsiteY921" fmla="*/ 1132234 h 7571038"/>
                  <a:gd name="connsiteX922" fmla="*/ 320575 w 4381952"/>
                  <a:gd name="connsiteY922" fmla="*/ 342541 h 7571038"/>
                  <a:gd name="connsiteX923" fmla="*/ 304056 w 4381952"/>
                  <a:gd name="connsiteY923" fmla="*/ 326020 h 7571038"/>
                  <a:gd name="connsiteX924" fmla="*/ 287535 w 4381952"/>
                  <a:gd name="connsiteY924" fmla="*/ 342541 h 7571038"/>
                  <a:gd name="connsiteX925" fmla="*/ 304056 w 4381952"/>
                  <a:gd name="connsiteY925" fmla="*/ 359061 h 7571038"/>
                  <a:gd name="connsiteX926" fmla="*/ 320575 w 4381952"/>
                  <a:gd name="connsiteY926" fmla="*/ 342541 h 7571038"/>
                  <a:gd name="connsiteX927" fmla="*/ 322797 w 4381952"/>
                  <a:gd name="connsiteY927" fmla="*/ 2742704 h 7571038"/>
                  <a:gd name="connsiteX928" fmla="*/ 291727 w 4381952"/>
                  <a:gd name="connsiteY928" fmla="*/ 2711633 h 7571038"/>
                  <a:gd name="connsiteX929" fmla="*/ 260660 w 4381952"/>
                  <a:gd name="connsiteY929" fmla="*/ 2742704 h 7571038"/>
                  <a:gd name="connsiteX930" fmla="*/ 291727 w 4381952"/>
                  <a:gd name="connsiteY930" fmla="*/ 2773773 h 7571038"/>
                  <a:gd name="connsiteX931" fmla="*/ 322797 w 4381952"/>
                  <a:gd name="connsiteY931" fmla="*/ 2742704 h 7571038"/>
                  <a:gd name="connsiteX932" fmla="*/ 325015 w 4381952"/>
                  <a:gd name="connsiteY932" fmla="*/ 466786 h 7571038"/>
                  <a:gd name="connsiteX933" fmla="*/ 308988 w 4381952"/>
                  <a:gd name="connsiteY933" fmla="*/ 450759 h 7571038"/>
                  <a:gd name="connsiteX934" fmla="*/ 292962 w 4381952"/>
                  <a:gd name="connsiteY934" fmla="*/ 466786 h 7571038"/>
                  <a:gd name="connsiteX935" fmla="*/ 308988 w 4381952"/>
                  <a:gd name="connsiteY935" fmla="*/ 482813 h 7571038"/>
                  <a:gd name="connsiteX936" fmla="*/ 325015 w 4381952"/>
                  <a:gd name="connsiteY936" fmla="*/ 466786 h 7571038"/>
                  <a:gd name="connsiteX937" fmla="*/ 326495 w 4381952"/>
                  <a:gd name="connsiteY937" fmla="*/ 3938730 h 7571038"/>
                  <a:gd name="connsiteX938" fmla="*/ 318605 w 4381952"/>
                  <a:gd name="connsiteY938" fmla="*/ 3930839 h 7571038"/>
                  <a:gd name="connsiteX939" fmla="*/ 310715 w 4381952"/>
                  <a:gd name="connsiteY939" fmla="*/ 3938730 h 7571038"/>
                  <a:gd name="connsiteX940" fmla="*/ 318605 w 4381952"/>
                  <a:gd name="connsiteY940" fmla="*/ 3946620 h 7571038"/>
                  <a:gd name="connsiteX941" fmla="*/ 326495 w 4381952"/>
                  <a:gd name="connsiteY941" fmla="*/ 3938730 h 7571038"/>
                  <a:gd name="connsiteX942" fmla="*/ 329700 w 4381952"/>
                  <a:gd name="connsiteY942" fmla="*/ 1264369 h 7571038"/>
                  <a:gd name="connsiteX943" fmla="*/ 316387 w 4381952"/>
                  <a:gd name="connsiteY943" fmla="*/ 1251062 h 7571038"/>
                  <a:gd name="connsiteX944" fmla="*/ 303070 w 4381952"/>
                  <a:gd name="connsiteY944" fmla="*/ 1264369 h 7571038"/>
                  <a:gd name="connsiteX945" fmla="*/ 316387 w 4381952"/>
                  <a:gd name="connsiteY945" fmla="*/ 1277697 h 7571038"/>
                  <a:gd name="connsiteX946" fmla="*/ 329700 w 4381952"/>
                  <a:gd name="connsiteY946" fmla="*/ 1264369 h 7571038"/>
                  <a:gd name="connsiteX947" fmla="*/ 329949 w 4381952"/>
                  <a:gd name="connsiteY947" fmla="*/ 592023 h 7571038"/>
                  <a:gd name="connsiteX948" fmla="*/ 314414 w 4381952"/>
                  <a:gd name="connsiteY948" fmla="*/ 576489 h 7571038"/>
                  <a:gd name="connsiteX949" fmla="*/ 298879 w 4381952"/>
                  <a:gd name="connsiteY949" fmla="*/ 592023 h 7571038"/>
                  <a:gd name="connsiteX950" fmla="*/ 314414 w 4381952"/>
                  <a:gd name="connsiteY950" fmla="*/ 607554 h 7571038"/>
                  <a:gd name="connsiteX951" fmla="*/ 329949 w 4381952"/>
                  <a:gd name="connsiteY951" fmla="*/ 592023 h 7571038"/>
                  <a:gd name="connsiteX952" fmla="*/ 335372 w 4381952"/>
                  <a:gd name="connsiteY952" fmla="*/ 718044 h 7571038"/>
                  <a:gd name="connsiteX953" fmla="*/ 320329 w 4381952"/>
                  <a:gd name="connsiteY953" fmla="*/ 703010 h 7571038"/>
                  <a:gd name="connsiteX954" fmla="*/ 305289 w 4381952"/>
                  <a:gd name="connsiteY954" fmla="*/ 718044 h 7571038"/>
                  <a:gd name="connsiteX955" fmla="*/ 320329 w 4381952"/>
                  <a:gd name="connsiteY955" fmla="*/ 733087 h 7571038"/>
                  <a:gd name="connsiteX956" fmla="*/ 335372 w 4381952"/>
                  <a:gd name="connsiteY956" fmla="*/ 718044 h 7571038"/>
                  <a:gd name="connsiteX957" fmla="*/ 335866 w 4381952"/>
                  <a:gd name="connsiteY957" fmla="*/ 5102568 h 7571038"/>
                  <a:gd name="connsiteX958" fmla="*/ 333646 w 4381952"/>
                  <a:gd name="connsiteY958" fmla="*/ 5100349 h 7571038"/>
                  <a:gd name="connsiteX959" fmla="*/ 331428 w 4381952"/>
                  <a:gd name="connsiteY959" fmla="*/ 5102568 h 7571038"/>
                  <a:gd name="connsiteX960" fmla="*/ 333646 w 4381952"/>
                  <a:gd name="connsiteY960" fmla="*/ 5104786 h 7571038"/>
                  <a:gd name="connsiteX961" fmla="*/ 335866 w 4381952"/>
                  <a:gd name="connsiteY961" fmla="*/ 5102568 h 7571038"/>
                  <a:gd name="connsiteX962" fmla="*/ 337591 w 4381952"/>
                  <a:gd name="connsiteY962" fmla="*/ 6238543 h 7571038"/>
                  <a:gd name="connsiteX963" fmla="*/ 322057 w 4381952"/>
                  <a:gd name="connsiteY963" fmla="*/ 6223008 h 7571038"/>
                  <a:gd name="connsiteX964" fmla="*/ 306521 w 4381952"/>
                  <a:gd name="connsiteY964" fmla="*/ 6238543 h 7571038"/>
                  <a:gd name="connsiteX965" fmla="*/ 322057 w 4381952"/>
                  <a:gd name="connsiteY965" fmla="*/ 6254075 h 7571038"/>
                  <a:gd name="connsiteX966" fmla="*/ 337591 w 4381952"/>
                  <a:gd name="connsiteY966" fmla="*/ 6238543 h 7571038"/>
                  <a:gd name="connsiteX967" fmla="*/ 338577 w 4381952"/>
                  <a:gd name="connsiteY967" fmla="*/ 4479964 h 7571038"/>
                  <a:gd name="connsiteX968" fmla="*/ 295426 w 4381952"/>
                  <a:gd name="connsiteY968" fmla="*/ 4436813 h 7571038"/>
                  <a:gd name="connsiteX969" fmla="*/ 252274 w 4381952"/>
                  <a:gd name="connsiteY969" fmla="*/ 4479964 h 7571038"/>
                  <a:gd name="connsiteX970" fmla="*/ 295426 w 4381952"/>
                  <a:gd name="connsiteY970" fmla="*/ 4523116 h 7571038"/>
                  <a:gd name="connsiteX971" fmla="*/ 338577 w 4381952"/>
                  <a:gd name="connsiteY971" fmla="*/ 4479964 h 7571038"/>
                  <a:gd name="connsiteX972" fmla="*/ 339317 w 4381952"/>
                  <a:gd name="connsiteY972" fmla="*/ 6364789 h 7571038"/>
                  <a:gd name="connsiteX973" fmla="*/ 316384 w 4381952"/>
                  <a:gd name="connsiteY973" fmla="*/ 6341858 h 7571038"/>
                  <a:gd name="connsiteX974" fmla="*/ 293453 w 4381952"/>
                  <a:gd name="connsiteY974" fmla="*/ 6364789 h 7571038"/>
                  <a:gd name="connsiteX975" fmla="*/ 316384 w 4381952"/>
                  <a:gd name="connsiteY975" fmla="*/ 6387723 h 7571038"/>
                  <a:gd name="connsiteX976" fmla="*/ 339317 w 4381952"/>
                  <a:gd name="connsiteY976" fmla="*/ 6364789 h 7571038"/>
                  <a:gd name="connsiteX977" fmla="*/ 339812 w 4381952"/>
                  <a:gd name="connsiteY977" fmla="*/ 5982350 h 7571038"/>
                  <a:gd name="connsiteX978" fmla="*/ 335619 w 4381952"/>
                  <a:gd name="connsiteY978" fmla="*/ 5978159 h 7571038"/>
                  <a:gd name="connsiteX979" fmla="*/ 331428 w 4381952"/>
                  <a:gd name="connsiteY979" fmla="*/ 5982350 h 7571038"/>
                  <a:gd name="connsiteX980" fmla="*/ 335619 w 4381952"/>
                  <a:gd name="connsiteY980" fmla="*/ 5986541 h 7571038"/>
                  <a:gd name="connsiteX981" fmla="*/ 339812 w 4381952"/>
                  <a:gd name="connsiteY981" fmla="*/ 5982350 h 7571038"/>
                  <a:gd name="connsiteX982" fmla="*/ 341043 w 4381952"/>
                  <a:gd name="connsiteY982" fmla="*/ 845514 h 7571038"/>
                  <a:gd name="connsiteX983" fmla="*/ 326496 w 4381952"/>
                  <a:gd name="connsiteY983" fmla="*/ 830965 h 7571038"/>
                  <a:gd name="connsiteX984" fmla="*/ 311947 w 4381952"/>
                  <a:gd name="connsiteY984" fmla="*/ 845514 h 7571038"/>
                  <a:gd name="connsiteX985" fmla="*/ 326496 w 4381952"/>
                  <a:gd name="connsiteY985" fmla="*/ 860054 h 7571038"/>
                  <a:gd name="connsiteX986" fmla="*/ 341043 w 4381952"/>
                  <a:gd name="connsiteY986" fmla="*/ 845514 h 7571038"/>
                  <a:gd name="connsiteX987" fmla="*/ 342275 w 4381952"/>
                  <a:gd name="connsiteY987" fmla="*/ 1398005 h 7571038"/>
                  <a:gd name="connsiteX988" fmla="*/ 327728 w 4381952"/>
                  <a:gd name="connsiteY988" fmla="*/ 1383457 h 7571038"/>
                  <a:gd name="connsiteX989" fmla="*/ 313179 w 4381952"/>
                  <a:gd name="connsiteY989" fmla="*/ 1398005 h 7571038"/>
                  <a:gd name="connsiteX990" fmla="*/ 327728 w 4381952"/>
                  <a:gd name="connsiteY990" fmla="*/ 1412553 h 7571038"/>
                  <a:gd name="connsiteX991" fmla="*/ 342275 w 4381952"/>
                  <a:gd name="connsiteY991" fmla="*/ 1398005 h 7571038"/>
                  <a:gd name="connsiteX992" fmla="*/ 343508 w 4381952"/>
                  <a:gd name="connsiteY992" fmla="*/ 3019357 h 7571038"/>
                  <a:gd name="connsiteX993" fmla="*/ 317865 w 4381952"/>
                  <a:gd name="connsiteY993" fmla="*/ 2993712 h 7571038"/>
                  <a:gd name="connsiteX994" fmla="*/ 292221 w 4381952"/>
                  <a:gd name="connsiteY994" fmla="*/ 3019357 h 7571038"/>
                  <a:gd name="connsiteX995" fmla="*/ 317865 w 4381952"/>
                  <a:gd name="connsiteY995" fmla="*/ 3045003 h 7571038"/>
                  <a:gd name="connsiteX996" fmla="*/ 343508 w 4381952"/>
                  <a:gd name="connsiteY996" fmla="*/ 3019357 h 7571038"/>
                  <a:gd name="connsiteX997" fmla="*/ 343755 w 4381952"/>
                  <a:gd name="connsiteY997" fmla="*/ 2192614 h 7571038"/>
                  <a:gd name="connsiteX998" fmla="*/ 342031 w 4381952"/>
                  <a:gd name="connsiteY998" fmla="*/ 2190887 h 7571038"/>
                  <a:gd name="connsiteX999" fmla="*/ 340304 w 4381952"/>
                  <a:gd name="connsiteY999" fmla="*/ 2192614 h 7571038"/>
                  <a:gd name="connsiteX1000" fmla="*/ 342031 w 4381952"/>
                  <a:gd name="connsiteY1000" fmla="*/ 2194339 h 7571038"/>
                  <a:gd name="connsiteX1001" fmla="*/ 343755 w 4381952"/>
                  <a:gd name="connsiteY1001" fmla="*/ 2192614 h 7571038"/>
                  <a:gd name="connsiteX1002" fmla="*/ 344003 w 4381952"/>
                  <a:gd name="connsiteY1002" fmla="*/ 6111063 h 7571038"/>
                  <a:gd name="connsiteX1003" fmla="*/ 328469 w 4381952"/>
                  <a:gd name="connsiteY1003" fmla="*/ 6095528 h 7571038"/>
                  <a:gd name="connsiteX1004" fmla="*/ 312934 w 4381952"/>
                  <a:gd name="connsiteY1004" fmla="*/ 6111063 h 7571038"/>
                  <a:gd name="connsiteX1005" fmla="*/ 328469 w 4381952"/>
                  <a:gd name="connsiteY1005" fmla="*/ 6126599 h 7571038"/>
                  <a:gd name="connsiteX1006" fmla="*/ 344003 w 4381952"/>
                  <a:gd name="connsiteY1006" fmla="*/ 6111063 h 7571038"/>
                  <a:gd name="connsiteX1007" fmla="*/ 347946 w 4381952"/>
                  <a:gd name="connsiteY1007" fmla="*/ 974196 h 7571038"/>
                  <a:gd name="connsiteX1008" fmla="*/ 333892 w 4381952"/>
                  <a:gd name="connsiteY1008" fmla="*/ 960148 h 7571038"/>
                  <a:gd name="connsiteX1009" fmla="*/ 319838 w 4381952"/>
                  <a:gd name="connsiteY1009" fmla="*/ 974196 h 7571038"/>
                  <a:gd name="connsiteX1010" fmla="*/ 333892 w 4381952"/>
                  <a:gd name="connsiteY1010" fmla="*/ 988245 h 7571038"/>
                  <a:gd name="connsiteX1011" fmla="*/ 347946 w 4381952"/>
                  <a:gd name="connsiteY1011" fmla="*/ 974196 h 7571038"/>
                  <a:gd name="connsiteX1012" fmla="*/ 348440 w 4381952"/>
                  <a:gd name="connsiteY1012" fmla="*/ 4321662 h 7571038"/>
                  <a:gd name="connsiteX1013" fmla="*/ 338085 w 4381952"/>
                  <a:gd name="connsiteY1013" fmla="*/ 4311307 h 7571038"/>
                  <a:gd name="connsiteX1014" fmla="*/ 327728 w 4381952"/>
                  <a:gd name="connsiteY1014" fmla="*/ 4321662 h 7571038"/>
                  <a:gd name="connsiteX1015" fmla="*/ 338085 w 4381952"/>
                  <a:gd name="connsiteY1015" fmla="*/ 4332020 h 7571038"/>
                  <a:gd name="connsiteX1016" fmla="*/ 348440 w 4381952"/>
                  <a:gd name="connsiteY1016" fmla="*/ 4321662 h 7571038"/>
                  <a:gd name="connsiteX1017" fmla="*/ 353125 w 4381952"/>
                  <a:gd name="connsiteY1017" fmla="*/ 1533605 h 7571038"/>
                  <a:gd name="connsiteX1018" fmla="*/ 340550 w 4381952"/>
                  <a:gd name="connsiteY1018" fmla="*/ 1521031 h 7571038"/>
                  <a:gd name="connsiteX1019" fmla="*/ 327973 w 4381952"/>
                  <a:gd name="connsiteY1019" fmla="*/ 1533605 h 7571038"/>
                  <a:gd name="connsiteX1020" fmla="*/ 340550 w 4381952"/>
                  <a:gd name="connsiteY1020" fmla="*/ 1546178 h 7571038"/>
                  <a:gd name="connsiteX1021" fmla="*/ 353125 w 4381952"/>
                  <a:gd name="connsiteY1021" fmla="*/ 1533605 h 7571038"/>
                  <a:gd name="connsiteX1022" fmla="*/ 355344 w 4381952"/>
                  <a:gd name="connsiteY1022" fmla="*/ 4050431 h 7571038"/>
                  <a:gd name="connsiteX1023" fmla="*/ 349675 w 4381952"/>
                  <a:gd name="connsiteY1023" fmla="*/ 4044759 h 7571038"/>
                  <a:gd name="connsiteX1024" fmla="*/ 344003 w 4381952"/>
                  <a:gd name="connsiteY1024" fmla="*/ 4050431 h 7571038"/>
                  <a:gd name="connsiteX1025" fmla="*/ 349675 w 4381952"/>
                  <a:gd name="connsiteY1025" fmla="*/ 4056100 h 7571038"/>
                  <a:gd name="connsiteX1026" fmla="*/ 355344 w 4381952"/>
                  <a:gd name="connsiteY1026" fmla="*/ 4050431 h 7571038"/>
                  <a:gd name="connsiteX1027" fmla="*/ 355591 w 4381952"/>
                  <a:gd name="connsiteY1027" fmla="*/ 73339 h 7571038"/>
                  <a:gd name="connsiteX1028" fmla="*/ 338329 w 4381952"/>
                  <a:gd name="connsiteY1028" fmla="*/ 56081 h 7571038"/>
                  <a:gd name="connsiteX1029" fmla="*/ 321070 w 4381952"/>
                  <a:gd name="connsiteY1029" fmla="*/ 73339 h 7571038"/>
                  <a:gd name="connsiteX1030" fmla="*/ 338329 w 4381952"/>
                  <a:gd name="connsiteY1030" fmla="*/ 90598 h 7571038"/>
                  <a:gd name="connsiteX1031" fmla="*/ 355591 w 4381952"/>
                  <a:gd name="connsiteY1031" fmla="*/ 73339 h 7571038"/>
                  <a:gd name="connsiteX1032" fmla="*/ 362742 w 4381952"/>
                  <a:gd name="connsiteY1032" fmla="*/ 2377280 h 7571038"/>
                  <a:gd name="connsiteX1033" fmla="*/ 351153 w 4381952"/>
                  <a:gd name="connsiteY1033" fmla="*/ 2365699 h 7571038"/>
                  <a:gd name="connsiteX1034" fmla="*/ 339563 w 4381952"/>
                  <a:gd name="connsiteY1034" fmla="*/ 2377280 h 7571038"/>
                  <a:gd name="connsiteX1035" fmla="*/ 351153 w 4381952"/>
                  <a:gd name="connsiteY1035" fmla="*/ 2388880 h 7571038"/>
                  <a:gd name="connsiteX1036" fmla="*/ 362742 w 4381952"/>
                  <a:gd name="connsiteY1036" fmla="*/ 2377280 h 7571038"/>
                  <a:gd name="connsiteX1037" fmla="*/ 366193 w 4381952"/>
                  <a:gd name="connsiteY1037" fmla="*/ 2635935 h 7571038"/>
                  <a:gd name="connsiteX1038" fmla="*/ 336850 w 4381952"/>
                  <a:gd name="connsiteY1038" fmla="*/ 2606591 h 7571038"/>
                  <a:gd name="connsiteX1039" fmla="*/ 307507 w 4381952"/>
                  <a:gd name="connsiteY1039" fmla="*/ 2635935 h 7571038"/>
                  <a:gd name="connsiteX1040" fmla="*/ 336850 w 4381952"/>
                  <a:gd name="connsiteY1040" fmla="*/ 2665279 h 7571038"/>
                  <a:gd name="connsiteX1041" fmla="*/ 366193 w 4381952"/>
                  <a:gd name="connsiteY1041" fmla="*/ 2635935 h 7571038"/>
                  <a:gd name="connsiteX1042" fmla="*/ 366440 w 4381952"/>
                  <a:gd name="connsiteY1042" fmla="*/ 1671409 h 7571038"/>
                  <a:gd name="connsiteX1043" fmla="*/ 354604 w 4381952"/>
                  <a:gd name="connsiteY1043" fmla="*/ 1659583 h 7571038"/>
                  <a:gd name="connsiteX1044" fmla="*/ 342769 w 4381952"/>
                  <a:gd name="connsiteY1044" fmla="*/ 1671409 h 7571038"/>
                  <a:gd name="connsiteX1045" fmla="*/ 354604 w 4381952"/>
                  <a:gd name="connsiteY1045" fmla="*/ 1683257 h 7571038"/>
                  <a:gd name="connsiteX1046" fmla="*/ 366440 w 4381952"/>
                  <a:gd name="connsiteY1046" fmla="*/ 1671409 h 7571038"/>
                  <a:gd name="connsiteX1047" fmla="*/ 368164 w 4381952"/>
                  <a:gd name="connsiteY1047" fmla="*/ 4958813 h 7571038"/>
                  <a:gd name="connsiteX1048" fmla="*/ 354110 w 4381952"/>
                  <a:gd name="connsiteY1048" fmla="*/ 4944759 h 7571038"/>
                  <a:gd name="connsiteX1049" fmla="*/ 340056 w 4381952"/>
                  <a:gd name="connsiteY1049" fmla="*/ 4958813 h 7571038"/>
                  <a:gd name="connsiteX1050" fmla="*/ 354110 w 4381952"/>
                  <a:gd name="connsiteY1050" fmla="*/ 4972868 h 7571038"/>
                  <a:gd name="connsiteX1051" fmla="*/ 368164 w 4381952"/>
                  <a:gd name="connsiteY1051" fmla="*/ 4958813 h 7571038"/>
                  <a:gd name="connsiteX1052" fmla="*/ 373838 w 4381952"/>
                  <a:gd name="connsiteY1052" fmla="*/ 1811499 h 7571038"/>
                  <a:gd name="connsiteX1053" fmla="*/ 370879 w 4381952"/>
                  <a:gd name="connsiteY1053" fmla="*/ 1808539 h 7571038"/>
                  <a:gd name="connsiteX1054" fmla="*/ 367921 w 4381952"/>
                  <a:gd name="connsiteY1054" fmla="*/ 1811499 h 7571038"/>
                  <a:gd name="connsiteX1055" fmla="*/ 370879 w 4381952"/>
                  <a:gd name="connsiteY1055" fmla="*/ 1814461 h 7571038"/>
                  <a:gd name="connsiteX1056" fmla="*/ 373838 w 4381952"/>
                  <a:gd name="connsiteY1056" fmla="*/ 1811499 h 7571038"/>
                  <a:gd name="connsiteX1057" fmla="*/ 374084 w 4381952"/>
                  <a:gd name="connsiteY1057" fmla="*/ 5596459 h 7571038"/>
                  <a:gd name="connsiteX1058" fmla="*/ 372852 w 4381952"/>
                  <a:gd name="connsiteY1058" fmla="*/ 5595227 h 7571038"/>
                  <a:gd name="connsiteX1059" fmla="*/ 371619 w 4381952"/>
                  <a:gd name="connsiteY1059" fmla="*/ 5596459 h 7571038"/>
                  <a:gd name="connsiteX1060" fmla="*/ 372852 w 4381952"/>
                  <a:gd name="connsiteY1060" fmla="*/ 5597695 h 7571038"/>
                  <a:gd name="connsiteX1061" fmla="*/ 374084 w 4381952"/>
                  <a:gd name="connsiteY1061" fmla="*/ 5596459 h 7571038"/>
                  <a:gd name="connsiteX1062" fmla="*/ 376550 w 4381952"/>
                  <a:gd name="connsiteY1062" fmla="*/ 2907656 h 7571038"/>
                  <a:gd name="connsiteX1063" fmla="*/ 348934 w 4381952"/>
                  <a:gd name="connsiteY1063" fmla="*/ 2880037 h 7571038"/>
                  <a:gd name="connsiteX1064" fmla="*/ 321318 w 4381952"/>
                  <a:gd name="connsiteY1064" fmla="*/ 2907656 h 7571038"/>
                  <a:gd name="connsiteX1065" fmla="*/ 348934 w 4381952"/>
                  <a:gd name="connsiteY1065" fmla="*/ 2935272 h 7571038"/>
                  <a:gd name="connsiteX1066" fmla="*/ 376550 w 4381952"/>
                  <a:gd name="connsiteY1066" fmla="*/ 2907656 h 7571038"/>
                  <a:gd name="connsiteX1067" fmla="*/ 377537 w 4381952"/>
                  <a:gd name="connsiteY1067" fmla="*/ 5859802 h 7571038"/>
                  <a:gd name="connsiteX1068" fmla="*/ 353126 w 4381952"/>
                  <a:gd name="connsiteY1068" fmla="*/ 5835391 h 7571038"/>
                  <a:gd name="connsiteX1069" fmla="*/ 328714 w 4381952"/>
                  <a:gd name="connsiteY1069" fmla="*/ 5859802 h 7571038"/>
                  <a:gd name="connsiteX1070" fmla="*/ 353126 w 4381952"/>
                  <a:gd name="connsiteY1070" fmla="*/ 5884211 h 7571038"/>
                  <a:gd name="connsiteX1071" fmla="*/ 377537 w 4381952"/>
                  <a:gd name="connsiteY1071" fmla="*/ 5859802 h 7571038"/>
                  <a:gd name="connsiteX1072" fmla="*/ 378523 w 4381952"/>
                  <a:gd name="connsiteY1072" fmla="*/ 4812349 h 7571038"/>
                  <a:gd name="connsiteX1073" fmla="*/ 377783 w 4381952"/>
                  <a:gd name="connsiteY1073" fmla="*/ 4811608 h 7571038"/>
                  <a:gd name="connsiteX1074" fmla="*/ 377043 w 4381952"/>
                  <a:gd name="connsiteY1074" fmla="*/ 4812349 h 7571038"/>
                  <a:gd name="connsiteX1075" fmla="*/ 377783 w 4381952"/>
                  <a:gd name="connsiteY1075" fmla="*/ 4813089 h 7571038"/>
                  <a:gd name="connsiteX1076" fmla="*/ 378523 w 4381952"/>
                  <a:gd name="connsiteY1076" fmla="*/ 4812349 h 7571038"/>
                  <a:gd name="connsiteX1077" fmla="*/ 387646 w 4381952"/>
                  <a:gd name="connsiteY1077" fmla="*/ 5462073 h 7571038"/>
                  <a:gd name="connsiteX1078" fmla="*/ 384193 w 4381952"/>
                  <a:gd name="connsiteY1078" fmla="*/ 5458622 h 7571038"/>
                  <a:gd name="connsiteX1079" fmla="*/ 380743 w 4381952"/>
                  <a:gd name="connsiteY1079" fmla="*/ 5462073 h 7571038"/>
                  <a:gd name="connsiteX1080" fmla="*/ 384193 w 4381952"/>
                  <a:gd name="connsiteY1080" fmla="*/ 5465527 h 7571038"/>
                  <a:gd name="connsiteX1081" fmla="*/ 387646 w 4381952"/>
                  <a:gd name="connsiteY1081" fmla="*/ 5462073 h 7571038"/>
                  <a:gd name="connsiteX1082" fmla="*/ 390113 w 4381952"/>
                  <a:gd name="connsiteY1082" fmla="*/ 5728870 h 7571038"/>
                  <a:gd name="connsiteX1083" fmla="*/ 362248 w 4381952"/>
                  <a:gd name="connsiteY1083" fmla="*/ 5701007 h 7571038"/>
                  <a:gd name="connsiteX1084" fmla="*/ 334386 w 4381952"/>
                  <a:gd name="connsiteY1084" fmla="*/ 5728870 h 7571038"/>
                  <a:gd name="connsiteX1085" fmla="*/ 362248 w 4381952"/>
                  <a:gd name="connsiteY1085" fmla="*/ 5756735 h 7571038"/>
                  <a:gd name="connsiteX1086" fmla="*/ 390113 w 4381952"/>
                  <a:gd name="connsiteY1086" fmla="*/ 5728870 h 7571038"/>
                  <a:gd name="connsiteX1087" fmla="*/ 390850 w 4381952"/>
                  <a:gd name="connsiteY1087" fmla="*/ 7151610 h 7571038"/>
                  <a:gd name="connsiteX1088" fmla="*/ 387397 w 4381952"/>
                  <a:gd name="connsiteY1088" fmla="*/ 7148160 h 7571038"/>
                  <a:gd name="connsiteX1089" fmla="*/ 383947 w 4381952"/>
                  <a:gd name="connsiteY1089" fmla="*/ 7151610 h 7571038"/>
                  <a:gd name="connsiteX1090" fmla="*/ 387397 w 4381952"/>
                  <a:gd name="connsiteY1090" fmla="*/ 7155064 h 7571038"/>
                  <a:gd name="connsiteX1091" fmla="*/ 390850 w 4381952"/>
                  <a:gd name="connsiteY1091" fmla="*/ 7151610 h 7571038"/>
                  <a:gd name="connsiteX1092" fmla="*/ 392578 w 4381952"/>
                  <a:gd name="connsiteY1092" fmla="*/ 4159911 h 7571038"/>
                  <a:gd name="connsiteX1093" fmla="*/ 387646 w 4381952"/>
                  <a:gd name="connsiteY1093" fmla="*/ 4154979 h 7571038"/>
                  <a:gd name="connsiteX1094" fmla="*/ 382715 w 4381952"/>
                  <a:gd name="connsiteY1094" fmla="*/ 4159911 h 7571038"/>
                  <a:gd name="connsiteX1095" fmla="*/ 387646 w 4381952"/>
                  <a:gd name="connsiteY1095" fmla="*/ 4164842 h 7571038"/>
                  <a:gd name="connsiteX1096" fmla="*/ 392578 w 4381952"/>
                  <a:gd name="connsiteY1096" fmla="*/ 4159911 h 7571038"/>
                  <a:gd name="connsiteX1097" fmla="*/ 393070 w 4381952"/>
                  <a:gd name="connsiteY1097" fmla="*/ 1953696 h 7571038"/>
                  <a:gd name="connsiteX1098" fmla="*/ 389617 w 4381952"/>
                  <a:gd name="connsiteY1098" fmla="*/ 1950247 h 7571038"/>
                  <a:gd name="connsiteX1099" fmla="*/ 386166 w 4381952"/>
                  <a:gd name="connsiteY1099" fmla="*/ 1953696 h 7571038"/>
                  <a:gd name="connsiteX1100" fmla="*/ 389617 w 4381952"/>
                  <a:gd name="connsiteY1100" fmla="*/ 1957146 h 7571038"/>
                  <a:gd name="connsiteX1101" fmla="*/ 393070 w 4381952"/>
                  <a:gd name="connsiteY1101" fmla="*/ 1953696 h 7571038"/>
                  <a:gd name="connsiteX1102" fmla="*/ 393318 w 4381952"/>
                  <a:gd name="connsiteY1102" fmla="*/ 7031778 h 7571038"/>
                  <a:gd name="connsiteX1103" fmla="*/ 389865 w 4381952"/>
                  <a:gd name="connsiteY1103" fmla="*/ 7028324 h 7571038"/>
                  <a:gd name="connsiteX1104" fmla="*/ 386415 w 4381952"/>
                  <a:gd name="connsiteY1104" fmla="*/ 7031778 h 7571038"/>
                  <a:gd name="connsiteX1105" fmla="*/ 389865 w 4381952"/>
                  <a:gd name="connsiteY1105" fmla="*/ 7035228 h 7571038"/>
                  <a:gd name="connsiteX1106" fmla="*/ 393318 w 4381952"/>
                  <a:gd name="connsiteY1106" fmla="*/ 7031778 h 7571038"/>
                  <a:gd name="connsiteX1107" fmla="*/ 394302 w 4381952"/>
                  <a:gd name="connsiteY1107" fmla="*/ 3536812 h 7571038"/>
                  <a:gd name="connsiteX1108" fmla="*/ 371865 w 4381952"/>
                  <a:gd name="connsiteY1108" fmla="*/ 3514374 h 7571038"/>
                  <a:gd name="connsiteX1109" fmla="*/ 349426 w 4381952"/>
                  <a:gd name="connsiteY1109" fmla="*/ 3536812 h 7571038"/>
                  <a:gd name="connsiteX1110" fmla="*/ 371865 w 4381952"/>
                  <a:gd name="connsiteY1110" fmla="*/ 3559252 h 7571038"/>
                  <a:gd name="connsiteX1111" fmla="*/ 394302 w 4381952"/>
                  <a:gd name="connsiteY1111" fmla="*/ 3536812 h 7571038"/>
                  <a:gd name="connsiteX1112" fmla="*/ 394303 w 4381952"/>
                  <a:gd name="connsiteY1112" fmla="*/ 6910955 h 7571038"/>
                  <a:gd name="connsiteX1113" fmla="*/ 392329 w 4381952"/>
                  <a:gd name="connsiteY1113" fmla="*/ 6908982 h 7571038"/>
                  <a:gd name="connsiteX1114" fmla="*/ 390357 w 4381952"/>
                  <a:gd name="connsiteY1114" fmla="*/ 6910955 h 7571038"/>
                  <a:gd name="connsiteX1115" fmla="*/ 392329 w 4381952"/>
                  <a:gd name="connsiteY1115" fmla="*/ 6912927 h 7571038"/>
                  <a:gd name="connsiteX1116" fmla="*/ 394303 w 4381952"/>
                  <a:gd name="connsiteY1116" fmla="*/ 6910955 h 7571038"/>
                  <a:gd name="connsiteX1117" fmla="*/ 394550 w 4381952"/>
                  <a:gd name="connsiteY1117" fmla="*/ 4580320 h 7571038"/>
                  <a:gd name="connsiteX1118" fmla="*/ 352631 w 4381952"/>
                  <a:gd name="connsiteY1118" fmla="*/ 4538402 h 7571038"/>
                  <a:gd name="connsiteX1119" fmla="*/ 310715 w 4381952"/>
                  <a:gd name="connsiteY1119" fmla="*/ 4580320 h 7571038"/>
                  <a:gd name="connsiteX1120" fmla="*/ 352631 w 4381952"/>
                  <a:gd name="connsiteY1120" fmla="*/ 4622239 h 7571038"/>
                  <a:gd name="connsiteX1121" fmla="*/ 394550 w 4381952"/>
                  <a:gd name="connsiteY1121" fmla="*/ 4580320 h 7571038"/>
                  <a:gd name="connsiteX1122" fmla="*/ 397507 w 4381952"/>
                  <a:gd name="connsiteY1122" fmla="*/ 3652949 h 7571038"/>
                  <a:gd name="connsiteX1123" fmla="*/ 379507 w 4381952"/>
                  <a:gd name="connsiteY1123" fmla="*/ 3634949 h 7571038"/>
                  <a:gd name="connsiteX1124" fmla="*/ 361508 w 4381952"/>
                  <a:gd name="connsiteY1124" fmla="*/ 3652949 h 7571038"/>
                  <a:gd name="connsiteX1125" fmla="*/ 379507 w 4381952"/>
                  <a:gd name="connsiteY1125" fmla="*/ 3670951 h 7571038"/>
                  <a:gd name="connsiteX1126" fmla="*/ 397507 w 4381952"/>
                  <a:gd name="connsiteY1126" fmla="*/ 3652949 h 7571038"/>
                  <a:gd name="connsiteX1127" fmla="*/ 398496 w 4381952"/>
                  <a:gd name="connsiteY1127" fmla="*/ 3420772 h 7571038"/>
                  <a:gd name="connsiteX1128" fmla="*/ 371865 w 4381952"/>
                  <a:gd name="connsiteY1128" fmla="*/ 3394144 h 7571038"/>
                  <a:gd name="connsiteX1129" fmla="*/ 345235 w 4381952"/>
                  <a:gd name="connsiteY1129" fmla="*/ 3420772 h 7571038"/>
                  <a:gd name="connsiteX1130" fmla="*/ 371865 w 4381952"/>
                  <a:gd name="connsiteY1130" fmla="*/ 3447401 h 7571038"/>
                  <a:gd name="connsiteX1131" fmla="*/ 398496 w 4381952"/>
                  <a:gd name="connsiteY1131" fmla="*/ 3420772 h 7571038"/>
                  <a:gd name="connsiteX1132" fmla="*/ 401455 w 4381952"/>
                  <a:gd name="connsiteY1132" fmla="*/ 5326213 h 7571038"/>
                  <a:gd name="connsiteX1133" fmla="*/ 397510 w 4381952"/>
                  <a:gd name="connsiteY1133" fmla="*/ 5322267 h 7571038"/>
                  <a:gd name="connsiteX1134" fmla="*/ 393565 w 4381952"/>
                  <a:gd name="connsiteY1134" fmla="*/ 5326213 h 7571038"/>
                  <a:gd name="connsiteX1135" fmla="*/ 397510 w 4381952"/>
                  <a:gd name="connsiteY1135" fmla="*/ 5330158 h 7571038"/>
                  <a:gd name="connsiteX1136" fmla="*/ 401455 w 4381952"/>
                  <a:gd name="connsiteY1136" fmla="*/ 5326213 h 7571038"/>
                  <a:gd name="connsiteX1137" fmla="*/ 403425 w 4381952"/>
                  <a:gd name="connsiteY1137" fmla="*/ 4425470 h 7571038"/>
                  <a:gd name="connsiteX1138" fmla="*/ 389370 w 4381952"/>
                  <a:gd name="connsiteY1138" fmla="*/ 4411415 h 7571038"/>
                  <a:gd name="connsiteX1139" fmla="*/ 375316 w 4381952"/>
                  <a:gd name="connsiteY1139" fmla="*/ 4425470 h 7571038"/>
                  <a:gd name="connsiteX1140" fmla="*/ 389370 w 4381952"/>
                  <a:gd name="connsiteY1140" fmla="*/ 4439524 h 7571038"/>
                  <a:gd name="connsiteX1141" fmla="*/ 403425 w 4381952"/>
                  <a:gd name="connsiteY1141" fmla="*/ 4425470 h 7571038"/>
                  <a:gd name="connsiteX1142" fmla="*/ 406632 w 4381952"/>
                  <a:gd name="connsiteY1142" fmla="*/ 6794078 h 7571038"/>
                  <a:gd name="connsiteX1143" fmla="*/ 403425 w 4381952"/>
                  <a:gd name="connsiteY1143" fmla="*/ 6790872 h 7571038"/>
                  <a:gd name="connsiteX1144" fmla="*/ 400220 w 4381952"/>
                  <a:gd name="connsiteY1144" fmla="*/ 6794078 h 7571038"/>
                  <a:gd name="connsiteX1145" fmla="*/ 403425 w 4381952"/>
                  <a:gd name="connsiteY1145" fmla="*/ 6797282 h 7571038"/>
                  <a:gd name="connsiteX1146" fmla="*/ 406632 w 4381952"/>
                  <a:gd name="connsiteY1146" fmla="*/ 6794078 h 7571038"/>
                  <a:gd name="connsiteX1147" fmla="*/ 408852 w 4381952"/>
                  <a:gd name="connsiteY1147" fmla="*/ 3768103 h 7571038"/>
                  <a:gd name="connsiteX1148" fmla="*/ 394305 w 4381952"/>
                  <a:gd name="connsiteY1148" fmla="*/ 3753553 h 7571038"/>
                  <a:gd name="connsiteX1149" fmla="*/ 379756 w 4381952"/>
                  <a:gd name="connsiteY1149" fmla="*/ 3768103 h 7571038"/>
                  <a:gd name="connsiteX1150" fmla="*/ 394305 w 4381952"/>
                  <a:gd name="connsiteY1150" fmla="*/ 3782648 h 7571038"/>
                  <a:gd name="connsiteX1151" fmla="*/ 408852 w 4381952"/>
                  <a:gd name="connsiteY1151" fmla="*/ 3768103 h 7571038"/>
                  <a:gd name="connsiteX1152" fmla="*/ 409837 w 4381952"/>
                  <a:gd name="connsiteY1152" fmla="*/ 6672269 h 7571038"/>
                  <a:gd name="connsiteX1153" fmla="*/ 406878 w 4381952"/>
                  <a:gd name="connsiteY1153" fmla="*/ 6669310 h 7571038"/>
                  <a:gd name="connsiteX1154" fmla="*/ 403673 w 4381952"/>
                  <a:gd name="connsiteY1154" fmla="*/ 6672269 h 7571038"/>
                  <a:gd name="connsiteX1155" fmla="*/ 406878 w 4381952"/>
                  <a:gd name="connsiteY1155" fmla="*/ 6675473 h 7571038"/>
                  <a:gd name="connsiteX1156" fmla="*/ 409837 w 4381952"/>
                  <a:gd name="connsiteY1156" fmla="*/ 6672269 h 7571038"/>
                  <a:gd name="connsiteX1157" fmla="*/ 410331 w 4381952"/>
                  <a:gd name="connsiteY1157" fmla="*/ 3304878 h 7571038"/>
                  <a:gd name="connsiteX1158" fmla="*/ 379264 w 4381952"/>
                  <a:gd name="connsiteY1158" fmla="*/ 3273816 h 7571038"/>
                  <a:gd name="connsiteX1159" fmla="*/ 348194 w 4381952"/>
                  <a:gd name="connsiteY1159" fmla="*/ 3304878 h 7571038"/>
                  <a:gd name="connsiteX1160" fmla="*/ 379264 w 4381952"/>
                  <a:gd name="connsiteY1160" fmla="*/ 3335945 h 7571038"/>
                  <a:gd name="connsiteX1161" fmla="*/ 410331 w 4381952"/>
                  <a:gd name="connsiteY1161" fmla="*/ 3304878 h 7571038"/>
                  <a:gd name="connsiteX1162" fmla="*/ 411564 w 4381952"/>
                  <a:gd name="connsiteY1162" fmla="*/ 2098905 h 7571038"/>
                  <a:gd name="connsiteX1163" fmla="*/ 411318 w 4381952"/>
                  <a:gd name="connsiteY1163" fmla="*/ 2098658 h 7571038"/>
                  <a:gd name="connsiteX1164" fmla="*/ 411072 w 4381952"/>
                  <a:gd name="connsiteY1164" fmla="*/ 2098905 h 7571038"/>
                  <a:gd name="connsiteX1165" fmla="*/ 411318 w 4381952"/>
                  <a:gd name="connsiteY1165" fmla="*/ 2099151 h 7571038"/>
                  <a:gd name="connsiteX1166" fmla="*/ 411564 w 4381952"/>
                  <a:gd name="connsiteY1166" fmla="*/ 2098905 h 7571038"/>
                  <a:gd name="connsiteX1167" fmla="*/ 412056 w 4381952"/>
                  <a:gd name="connsiteY1167" fmla="*/ 1061710 h 7571038"/>
                  <a:gd name="connsiteX1168" fmla="*/ 398001 w 4381952"/>
                  <a:gd name="connsiteY1168" fmla="*/ 1047658 h 7571038"/>
                  <a:gd name="connsiteX1169" fmla="*/ 383947 w 4381952"/>
                  <a:gd name="connsiteY1169" fmla="*/ 1061710 h 7571038"/>
                  <a:gd name="connsiteX1170" fmla="*/ 398001 w 4381952"/>
                  <a:gd name="connsiteY1170" fmla="*/ 1075765 h 7571038"/>
                  <a:gd name="connsiteX1171" fmla="*/ 412056 w 4381952"/>
                  <a:gd name="connsiteY1171" fmla="*/ 1061710 h 7571038"/>
                  <a:gd name="connsiteX1172" fmla="*/ 412301 w 4381952"/>
                  <a:gd name="connsiteY1172" fmla="*/ 6549720 h 7571038"/>
                  <a:gd name="connsiteX1173" fmla="*/ 410577 w 4381952"/>
                  <a:gd name="connsiteY1173" fmla="*/ 6547746 h 7571038"/>
                  <a:gd name="connsiteX1174" fmla="*/ 408850 w 4381952"/>
                  <a:gd name="connsiteY1174" fmla="*/ 6549720 h 7571038"/>
                  <a:gd name="connsiteX1175" fmla="*/ 410577 w 4381952"/>
                  <a:gd name="connsiteY1175" fmla="*/ 6551447 h 7571038"/>
                  <a:gd name="connsiteX1176" fmla="*/ 412301 w 4381952"/>
                  <a:gd name="connsiteY1176" fmla="*/ 6549720 h 7571038"/>
                  <a:gd name="connsiteX1177" fmla="*/ 413288 w 4381952"/>
                  <a:gd name="connsiteY1177" fmla="*/ 5187885 h 7571038"/>
                  <a:gd name="connsiteX1178" fmla="*/ 412550 w 4381952"/>
                  <a:gd name="connsiteY1178" fmla="*/ 5187144 h 7571038"/>
                  <a:gd name="connsiteX1179" fmla="*/ 411810 w 4381952"/>
                  <a:gd name="connsiteY1179" fmla="*/ 5187885 h 7571038"/>
                  <a:gd name="connsiteX1180" fmla="*/ 412550 w 4381952"/>
                  <a:gd name="connsiteY1180" fmla="*/ 5188622 h 7571038"/>
                  <a:gd name="connsiteX1181" fmla="*/ 413288 w 4381952"/>
                  <a:gd name="connsiteY1181" fmla="*/ 5187885 h 7571038"/>
                  <a:gd name="connsiteX1182" fmla="*/ 415754 w 4381952"/>
                  <a:gd name="connsiteY1182" fmla="*/ 2532119 h 7571038"/>
                  <a:gd name="connsiteX1183" fmla="*/ 388138 w 4381952"/>
                  <a:gd name="connsiteY1183" fmla="*/ 2504503 h 7571038"/>
                  <a:gd name="connsiteX1184" fmla="*/ 360522 w 4381952"/>
                  <a:gd name="connsiteY1184" fmla="*/ 2532119 h 7571038"/>
                  <a:gd name="connsiteX1185" fmla="*/ 388138 w 4381952"/>
                  <a:gd name="connsiteY1185" fmla="*/ 2559736 h 7571038"/>
                  <a:gd name="connsiteX1186" fmla="*/ 415754 w 4381952"/>
                  <a:gd name="connsiteY1186" fmla="*/ 2532119 h 7571038"/>
                  <a:gd name="connsiteX1187" fmla="*/ 416494 w 4381952"/>
                  <a:gd name="connsiteY1187" fmla="*/ 2797925 h 7571038"/>
                  <a:gd name="connsiteX1188" fmla="*/ 386657 w 4381952"/>
                  <a:gd name="connsiteY1188" fmla="*/ 2768087 h 7571038"/>
                  <a:gd name="connsiteX1189" fmla="*/ 356822 w 4381952"/>
                  <a:gd name="connsiteY1189" fmla="*/ 2797925 h 7571038"/>
                  <a:gd name="connsiteX1190" fmla="*/ 386657 w 4381952"/>
                  <a:gd name="connsiteY1190" fmla="*/ 2827761 h 7571038"/>
                  <a:gd name="connsiteX1191" fmla="*/ 416494 w 4381952"/>
                  <a:gd name="connsiteY1191" fmla="*/ 2797925 h 7571038"/>
                  <a:gd name="connsiteX1192" fmla="*/ 418222 w 4381952"/>
                  <a:gd name="connsiteY1192" fmla="*/ 162821 h 7571038"/>
                  <a:gd name="connsiteX1193" fmla="*/ 400715 w 4381952"/>
                  <a:gd name="connsiteY1193" fmla="*/ 145314 h 7571038"/>
                  <a:gd name="connsiteX1194" fmla="*/ 383207 w 4381952"/>
                  <a:gd name="connsiteY1194" fmla="*/ 162821 h 7571038"/>
                  <a:gd name="connsiteX1195" fmla="*/ 400715 w 4381952"/>
                  <a:gd name="connsiteY1195" fmla="*/ 180327 h 7571038"/>
                  <a:gd name="connsiteX1196" fmla="*/ 418222 w 4381952"/>
                  <a:gd name="connsiteY1196" fmla="*/ 162821 h 7571038"/>
                  <a:gd name="connsiteX1197" fmla="*/ 420194 w 4381952"/>
                  <a:gd name="connsiteY1197" fmla="*/ 1191394 h 7571038"/>
                  <a:gd name="connsiteX1198" fmla="*/ 406387 w 4381952"/>
                  <a:gd name="connsiteY1198" fmla="*/ 1177583 h 7571038"/>
                  <a:gd name="connsiteX1199" fmla="*/ 392578 w 4381952"/>
                  <a:gd name="connsiteY1199" fmla="*/ 1191394 h 7571038"/>
                  <a:gd name="connsiteX1200" fmla="*/ 406387 w 4381952"/>
                  <a:gd name="connsiteY1200" fmla="*/ 1205204 h 7571038"/>
                  <a:gd name="connsiteX1201" fmla="*/ 420194 w 4381952"/>
                  <a:gd name="connsiteY1201" fmla="*/ 1191394 h 7571038"/>
                  <a:gd name="connsiteX1202" fmla="*/ 421672 w 4381952"/>
                  <a:gd name="connsiteY1202" fmla="*/ 284601 h 7571038"/>
                  <a:gd name="connsiteX1203" fmla="*/ 404410 w 4381952"/>
                  <a:gd name="connsiteY1203" fmla="*/ 267340 h 7571038"/>
                  <a:gd name="connsiteX1204" fmla="*/ 387152 w 4381952"/>
                  <a:gd name="connsiteY1204" fmla="*/ 284601 h 7571038"/>
                  <a:gd name="connsiteX1205" fmla="*/ 404410 w 4381952"/>
                  <a:gd name="connsiteY1205" fmla="*/ 301858 h 7571038"/>
                  <a:gd name="connsiteX1206" fmla="*/ 421672 w 4381952"/>
                  <a:gd name="connsiteY1206" fmla="*/ 284601 h 7571038"/>
                  <a:gd name="connsiteX1207" fmla="*/ 424139 w 4381952"/>
                  <a:gd name="connsiteY1207" fmla="*/ 2279636 h 7571038"/>
                  <a:gd name="connsiteX1208" fmla="*/ 413536 w 4381952"/>
                  <a:gd name="connsiteY1208" fmla="*/ 2269031 h 7571038"/>
                  <a:gd name="connsiteX1209" fmla="*/ 402932 w 4381952"/>
                  <a:gd name="connsiteY1209" fmla="*/ 2279636 h 7571038"/>
                  <a:gd name="connsiteX1210" fmla="*/ 413536 w 4381952"/>
                  <a:gd name="connsiteY1210" fmla="*/ 2290241 h 7571038"/>
                  <a:gd name="connsiteX1211" fmla="*/ 424139 w 4381952"/>
                  <a:gd name="connsiteY1211" fmla="*/ 2279636 h 7571038"/>
                  <a:gd name="connsiteX1212" fmla="*/ 425125 w 4381952"/>
                  <a:gd name="connsiteY1212" fmla="*/ 407118 h 7571038"/>
                  <a:gd name="connsiteX1213" fmla="*/ 408358 w 4381952"/>
                  <a:gd name="connsiteY1213" fmla="*/ 390352 h 7571038"/>
                  <a:gd name="connsiteX1214" fmla="*/ 391591 w 4381952"/>
                  <a:gd name="connsiteY1214" fmla="*/ 407118 h 7571038"/>
                  <a:gd name="connsiteX1215" fmla="*/ 408358 w 4381952"/>
                  <a:gd name="connsiteY1215" fmla="*/ 423885 h 7571038"/>
                  <a:gd name="connsiteX1216" fmla="*/ 425125 w 4381952"/>
                  <a:gd name="connsiteY1216" fmla="*/ 407118 h 7571038"/>
                  <a:gd name="connsiteX1217" fmla="*/ 428330 w 4381952"/>
                  <a:gd name="connsiteY1217" fmla="*/ 3882019 h 7571038"/>
                  <a:gd name="connsiteX1218" fmla="*/ 416494 w 4381952"/>
                  <a:gd name="connsiteY1218" fmla="*/ 3870183 h 7571038"/>
                  <a:gd name="connsiteX1219" fmla="*/ 404659 w 4381952"/>
                  <a:gd name="connsiteY1219" fmla="*/ 3882019 h 7571038"/>
                  <a:gd name="connsiteX1220" fmla="*/ 416494 w 4381952"/>
                  <a:gd name="connsiteY1220" fmla="*/ 3893855 h 7571038"/>
                  <a:gd name="connsiteX1221" fmla="*/ 428330 w 4381952"/>
                  <a:gd name="connsiteY1221" fmla="*/ 3882019 h 7571038"/>
                  <a:gd name="connsiteX1222" fmla="*/ 429069 w 4381952"/>
                  <a:gd name="connsiteY1222" fmla="*/ 530382 h 7571038"/>
                  <a:gd name="connsiteX1223" fmla="*/ 412550 w 4381952"/>
                  <a:gd name="connsiteY1223" fmla="*/ 513861 h 7571038"/>
                  <a:gd name="connsiteX1224" fmla="*/ 396029 w 4381952"/>
                  <a:gd name="connsiteY1224" fmla="*/ 530382 h 7571038"/>
                  <a:gd name="connsiteX1225" fmla="*/ 412550 w 4381952"/>
                  <a:gd name="connsiteY1225" fmla="*/ 546902 h 7571038"/>
                  <a:gd name="connsiteX1226" fmla="*/ 429069 w 4381952"/>
                  <a:gd name="connsiteY1226" fmla="*/ 530382 h 7571038"/>
                  <a:gd name="connsiteX1227" fmla="*/ 429071 w 4381952"/>
                  <a:gd name="connsiteY1227" fmla="*/ 3189488 h 7571038"/>
                  <a:gd name="connsiteX1228" fmla="*/ 393810 w 4381952"/>
                  <a:gd name="connsiteY1228" fmla="*/ 3154226 h 7571038"/>
                  <a:gd name="connsiteX1229" fmla="*/ 358550 w 4381952"/>
                  <a:gd name="connsiteY1229" fmla="*/ 3189488 h 7571038"/>
                  <a:gd name="connsiteX1230" fmla="*/ 393810 w 4381952"/>
                  <a:gd name="connsiteY1230" fmla="*/ 3224749 h 7571038"/>
                  <a:gd name="connsiteX1231" fmla="*/ 429071 w 4381952"/>
                  <a:gd name="connsiteY1231" fmla="*/ 3189488 h 7571038"/>
                  <a:gd name="connsiteX1232" fmla="*/ 430056 w 4381952"/>
                  <a:gd name="connsiteY1232" fmla="*/ 1322549 h 7571038"/>
                  <a:gd name="connsiteX1233" fmla="*/ 415754 w 4381952"/>
                  <a:gd name="connsiteY1233" fmla="*/ 1308248 h 7571038"/>
                  <a:gd name="connsiteX1234" fmla="*/ 401455 w 4381952"/>
                  <a:gd name="connsiteY1234" fmla="*/ 1322549 h 7571038"/>
                  <a:gd name="connsiteX1235" fmla="*/ 415754 w 4381952"/>
                  <a:gd name="connsiteY1235" fmla="*/ 1336851 h 7571038"/>
                  <a:gd name="connsiteX1236" fmla="*/ 430056 w 4381952"/>
                  <a:gd name="connsiteY1236" fmla="*/ 1322549 h 7571038"/>
                  <a:gd name="connsiteX1237" fmla="*/ 433755 w 4381952"/>
                  <a:gd name="connsiteY1237" fmla="*/ 654686 h 7571038"/>
                  <a:gd name="connsiteX1238" fmla="*/ 417727 w 4381952"/>
                  <a:gd name="connsiteY1238" fmla="*/ 638603 h 7571038"/>
                  <a:gd name="connsiteX1239" fmla="*/ 401700 w 4381952"/>
                  <a:gd name="connsiteY1239" fmla="*/ 654686 h 7571038"/>
                  <a:gd name="connsiteX1240" fmla="*/ 417727 w 4381952"/>
                  <a:gd name="connsiteY1240" fmla="*/ 670706 h 7571038"/>
                  <a:gd name="connsiteX1241" fmla="*/ 433755 w 4381952"/>
                  <a:gd name="connsiteY1241" fmla="*/ 654686 h 7571038"/>
                  <a:gd name="connsiteX1242" fmla="*/ 434002 w 4381952"/>
                  <a:gd name="connsiteY1242" fmla="*/ 6301665 h 7571038"/>
                  <a:gd name="connsiteX1243" fmla="*/ 419454 w 4381952"/>
                  <a:gd name="connsiteY1243" fmla="*/ 6287117 h 7571038"/>
                  <a:gd name="connsiteX1244" fmla="*/ 404906 w 4381952"/>
                  <a:gd name="connsiteY1244" fmla="*/ 6301665 h 7571038"/>
                  <a:gd name="connsiteX1245" fmla="*/ 419454 w 4381952"/>
                  <a:gd name="connsiteY1245" fmla="*/ 6316214 h 7571038"/>
                  <a:gd name="connsiteX1246" fmla="*/ 434002 w 4381952"/>
                  <a:gd name="connsiteY1246" fmla="*/ 6301665 h 7571038"/>
                  <a:gd name="connsiteX1247" fmla="*/ 434494 w 4381952"/>
                  <a:gd name="connsiteY1247" fmla="*/ 6049913 h 7571038"/>
                  <a:gd name="connsiteX1248" fmla="*/ 430550 w 4381952"/>
                  <a:gd name="connsiteY1248" fmla="*/ 6045968 h 7571038"/>
                  <a:gd name="connsiteX1249" fmla="*/ 426604 w 4381952"/>
                  <a:gd name="connsiteY1249" fmla="*/ 6049913 h 7571038"/>
                  <a:gd name="connsiteX1250" fmla="*/ 430550 w 4381952"/>
                  <a:gd name="connsiteY1250" fmla="*/ 6053858 h 7571038"/>
                  <a:gd name="connsiteX1251" fmla="*/ 434494 w 4381952"/>
                  <a:gd name="connsiteY1251" fmla="*/ 6049913 h 7571038"/>
                  <a:gd name="connsiteX1252" fmla="*/ 436467 w 4381952"/>
                  <a:gd name="connsiteY1252" fmla="*/ 6426188 h 7571038"/>
                  <a:gd name="connsiteX1253" fmla="*/ 415018 w 4381952"/>
                  <a:gd name="connsiteY1253" fmla="*/ 6404735 h 7571038"/>
                  <a:gd name="connsiteX1254" fmla="*/ 393565 w 4381952"/>
                  <a:gd name="connsiteY1254" fmla="*/ 6426188 h 7571038"/>
                  <a:gd name="connsiteX1255" fmla="*/ 415018 w 4381952"/>
                  <a:gd name="connsiteY1255" fmla="*/ 6447887 h 7571038"/>
                  <a:gd name="connsiteX1256" fmla="*/ 436467 w 4381952"/>
                  <a:gd name="connsiteY1256" fmla="*/ 6426188 h 7571038"/>
                  <a:gd name="connsiteX1257" fmla="*/ 437944 w 4381952"/>
                  <a:gd name="connsiteY1257" fmla="*/ 780416 h 7571038"/>
                  <a:gd name="connsiteX1258" fmla="*/ 422658 w 4381952"/>
                  <a:gd name="connsiteY1258" fmla="*/ 764879 h 7571038"/>
                  <a:gd name="connsiteX1259" fmla="*/ 407124 w 4381952"/>
                  <a:gd name="connsiteY1259" fmla="*/ 780416 h 7571038"/>
                  <a:gd name="connsiteX1260" fmla="*/ 422658 w 4381952"/>
                  <a:gd name="connsiteY1260" fmla="*/ 795701 h 7571038"/>
                  <a:gd name="connsiteX1261" fmla="*/ 437944 w 4381952"/>
                  <a:gd name="connsiteY1261" fmla="*/ 780416 h 7571038"/>
                  <a:gd name="connsiteX1262" fmla="*/ 438442 w 4381952"/>
                  <a:gd name="connsiteY1262" fmla="*/ 4266924 h 7571038"/>
                  <a:gd name="connsiteX1263" fmla="*/ 432275 w 4381952"/>
                  <a:gd name="connsiteY1263" fmla="*/ 4260759 h 7571038"/>
                  <a:gd name="connsiteX1264" fmla="*/ 426112 w 4381952"/>
                  <a:gd name="connsiteY1264" fmla="*/ 4266924 h 7571038"/>
                  <a:gd name="connsiteX1265" fmla="*/ 432275 w 4381952"/>
                  <a:gd name="connsiteY1265" fmla="*/ 4273090 h 7571038"/>
                  <a:gd name="connsiteX1266" fmla="*/ 438442 w 4381952"/>
                  <a:gd name="connsiteY1266" fmla="*/ 4266924 h 7571038"/>
                  <a:gd name="connsiteX1267" fmla="*/ 439426 w 4381952"/>
                  <a:gd name="connsiteY1267" fmla="*/ 6176406 h 7571038"/>
                  <a:gd name="connsiteX1268" fmla="*/ 424631 w 4381952"/>
                  <a:gd name="connsiteY1268" fmla="*/ 6161611 h 7571038"/>
                  <a:gd name="connsiteX1269" fmla="*/ 409837 w 4381952"/>
                  <a:gd name="connsiteY1269" fmla="*/ 6176406 h 7571038"/>
                  <a:gd name="connsiteX1270" fmla="*/ 424631 w 4381952"/>
                  <a:gd name="connsiteY1270" fmla="*/ 6191200 h 7571038"/>
                  <a:gd name="connsiteX1271" fmla="*/ 439426 w 4381952"/>
                  <a:gd name="connsiteY1271" fmla="*/ 6176406 h 7571038"/>
                  <a:gd name="connsiteX1272" fmla="*/ 440661 w 4381952"/>
                  <a:gd name="connsiteY1272" fmla="*/ 1455436 h 7571038"/>
                  <a:gd name="connsiteX1273" fmla="*/ 426358 w 4381952"/>
                  <a:gd name="connsiteY1273" fmla="*/ 1441137 h 7571038"/>
                  <a:gd name="connsiteX1274" fmla="*/ 412058 w 4381952"/>
                  <a:gd name="connsiteY1274" fmla="*/ 1455436 h 7571038"/>
                  <a:gd name="connsiteX1275" fmla="*/ 426358 w 4381952"/>
                  <a:gd name="connsiteY1275" fmla="*/ 1469740 h 7571038"/>
                  <a:gd name="connsiteX1276" fmla="*/ 440661 w 4381952"/>
                  <a:gd name="connsiteY1276" fmla="*/ 1455436 h 7571038"/>
                  <a:gd name="connsiteX1277" fmla="*/ 442879 w 4381952"/>
                  <a:gd name="connsiteY1277" fmla="*/ 5047335 h 7571038"/>
                  <a:gd name="connsiteX1278" fmla="*/ 429809 w 4381952"/>
                  <a:gd name="connsiteY1278" fmla="*/ 5034267 h 7571038"/>
                  <a:gd name="connsiteX1279" fmla="*/ 416741 w 4381952"/>
                  <a:gd name="connsiteY1279" fmla="*/ 5047335 h 7571038"/>
                  <a:gd name="connsiteX1280" fmla="*/ 429809 w 4381952"/>
                  <a:gd name="connsiteY1280" fmla="*/ 5060405 h 7571038"/>
                  <a:gd name="connsiteX1281" fmla="*/ 442879 w 4381952"/>
                  <a:gd name="connsiteY1281" fmla="*/ 5047335 h 7571038"/>
                  <a:gd name="connsiteX1282" fmla="*/ 443371 w 4381952"/>
                  <a:gd name="connsiteY1282" fmla="*/ 906880 h 7571038"/>
                  <a:gd name="connsiteX1283" fmla="*/ 428577 w 4381952"/>
                  <a:gd name="connsiteY1283" fmla="*/ 892091 h 7571038"/>
                  <a:gd name="connsiteX1284" fmla="*/ 413782 w 4381952"/>
                  <a:gd name="connsiteY1284" fmla="*/ 906880 h 7571038"/>
                  <a:gd name="connsiteX1285" fmla="*/ 428577 w 4381952"/>
                  <a:gd name="connsiteY1285" fmla="*/ 921673 h 7571038"/>
                  <a:gd name="connsiteX1286" fmla="*/ 443371 w 4381952"/>
                  <a:gd name="connsiteY1286" fmla="*/ 906880 h 7571038"/>
                  <a:gd name="connsiteX1287" fmla="*/ 450521 w 4381952"/>
                  <a:gd name="connsiteY1287" fmla="*/ 4904075 h 7571038"/>
                  <a:gd name="connsiteX1288" fmla="*/ 449534 w 4381952"/>
                  <a:gd name="connsiteY1288" fmla="*/ 4903089 h 7571038"/>
                  <a:gd name="connsiteX1289" fmla="*/ 448549 w 4381952"/>
                  <a:gd name="connsiteY1289" fmla="*/ 4904075 h 7571038"/>
                  <a:gd name="connsiteX1290" fmla="*/ 449534 w 4381952"/>
                  <a:gd name="connsiteY1290" fmla="*/ 4905061 h 7571038"/>
                  <a:gd name="connsiteX1291" fmla="*/ 450521 w 4381952"/>
                  <a:gd name="connsiteY1291" fmla="*/ 4904075 h 7571038"/>
                  <a:gd name="connsiteX1292" fmla="*/ 451756 w 4381952"/>
                  <a:gd name="connsiteY1292" fmla="*/ 1590787 h 7571038"/>
                  <a:gd name="connsiteX1293" fmla="*/ 437947 w 4381952"/>
                  <a:gd name="connsiteY1293" fmla="*/ 1576979 h 7571038"/>
                  <a:gd name="connsiteX1294" fmla="*/ 424140 w 4381952"/>
                  <a:gd name="connsiteY1294" fmla="*/ 1590787 h 7571038"/>
                  <a:gd name="connsiteX1295" fmla="*/ 437947 w 4381952"/>
                  <a:gd name="connsiteY1295" fmla="*/ 1604597 h 7571038"/>
                  <a:gd name="connsiteX1296" fmla="*/ 451756 w 4381952"/>
                  <a:gd name="connsiteY1296" fmla="*/ 1590787 h 7571038"/>
                  <a:gd name="connsiteX1297" fmla="*/ 455701 w 4381952"/>
                  <a:gd name="connsiteY1297" fmla="*/ 3075565 h 7571038"/>
                  <a:gd name="connsiteX1298" fmla="*/ 416000 w 4381952"/>
                  <a:gd name="connsiteY1298" fmla="*/ 3035866 h 7571038"/>
                  <a:gd name="connsiteX1299" fmla="*/ 376303 w 4381952"/>
                  <a:gd name="connsiteY1299" fmla="*/ 3075565 h 7571038"/>
                  <a:gd name="connsiteX1300" fmla="*/ 416000 w 4381952"/>
                  <a:gd name="connsiteY1300" fmla="*/ 3115267 h 7571038"/>
                  <a:gd name="connsiteX1301" fmla="*/ 455701 w 4381952"/>
                  <a:gd name="connsiteY1301" fmla="*/ 3075565 h 7571038"/>
                  <a:gd name="connsiteX1302" fmla="*/ 455702 w 4381952"/>
                  <a:gd name="connsiteY1302" fmla="*/ 4677717 h 7571038"/>
                  <a:gd name="connsiteX1303" fmla="*/ 415015 w 4381952"/>
                  <a:gd name="connsiteY1303" fmla="*/ 4637032 h 7571038"/>
                  <a:gd name="connsiteX1304" fmla="*/ 374331 w 4381952"/>
                  <a:gd name="connsiteY1304" fmla="*/ 4677717 h 7571038"/>
                  <a:gd name="connsiteX1305" fmla="*/ 415015 w 4381952"/>
                  <a:gd name="connsiteY1305" fmla="*/ 4718401 h 7571038"/>
                  <a:gd name="connsiteX1306" fmla="*/ 455702 w 4381952"/>
                  <a:gd name="connsiteY1306" fmla="*/ 4677717 h 7571038"/>
                  <a:gd name="connsiteX1307" fmla="*/ 456442 w 4381952"/>
                  <a:gd name="connsiteY1307" fmla="*/ 3994455 h 7571038"/>
                  <a:gd name="connsiteX1308" fmla="*/ 446084 w 4381952"/>
                  <a:gd name="connsiteY1308" fmla="*/ 3984099 h 7571038"/>
                  <a:gd name="connsiteX1309" fmla="*/ 435730 w 4381952"/>
                  <a:gd name="connsiteY1309" fmla="*/ 3994455 h 7571038"/>
                  <a:gd name="connsiteX1310" fmla="*/ 446084 w 4381952"/>
                  <a:gd name="connsiteY1310" fmla="*/ 4004813 h 7571038"/>
                  <a:gd name="connsiteX1311" fmla="*/ 456442 w 4381952"/>
                  <a:gd name="connsiteY1311" fmla="*/ 3994455 h 7571038"/>
                  <a:gd name="connsiteX1312" fmla="*/ 457427 w 4381952"/>
                  <a:gd name="connsiteY1312" fmla="*/ 1727610 h 7571038"/>
                  <a:gd name="connsiteX1313" fmla="*/ 451509 w 4381952"/>
                  <a:gd name="connsiteY1313" fmla="*/ 1721931 h 7571038"/>
                  <a:gd name="connsiteX1314" fmla="*/ 445838 w 4381952"/>
                  <a:gd name="connsiteY1314" fmla="*/ 1727610 h 7571038"/>
                  <a:gd name="connsiteX1315" fmla="*/ 451509 w 4381952"/>
                  <a:gd name="connsiteY1315" fmla="*/ 1733534 h 7571038"/>
                  <a:gd name="connsiteX1316" fmla="*/ 457427 w 4381952"/>
                  <a:gd name="connsiteY1316" fmla="*/ 1727610 h 7571038"/>
                  <a:gd name="connsiteX1317" fmla="*/ 459397 w 4381952"/>
                  <a:gd name="connsiteY1317" fmla="*/ 19098 h 7571038"/>
                  <a:gd name="connsiteX1318" fmla="*/ 441398 w 4381952"/>
                  <a:gd name="connsiteY1318" fmla="*/ 1099 h 7571038"/>
                  <a:gd name="connsiteX1319" fmla="*/ 423399 w 4381952"/>
                  <a:gd name="connsiteY1319" fmla="*/ 19098 h 7571038"/>
                  <a:gd name="connsiteX1320" fmla="*/ 441398 w 4381952"/>
                  <a:gd name="connsiteY1320" fmla="*/ 37095 h 7571038"/>
                  <a:gd name="connsiteX1321" fmla="*/ 459397 w 4381952"/>
                  <a:gd name="connsiteY1321" fmla="*/ 19098 h 7571038"/>
                  <a:gd name="connsiteX1322" fmla="*/ 463097 w 4381952"/>
                  <a:gd name="connsiteY1322" fmla="*/ 2690908 h 7571038"/>
                  <a:gd name="connsiteX1323" fmla="*/ 431044 w 4381952"/>
                  <a:gd name="connsiteY1323" fmla="*/ 2658851 h 7571038"/>
                  <a:gd name="connsiteX1324" fmla="*/ 398988 w 4381952"/>
                  <a:gd name="connsiteY1324" fmla="*/ 2690908 h 7571038"/>
                  <a:gd name="connsiteX1325" fmla="*/ 431044 w 4381952"/>
                  <a:gd name="connsiteY1325" fmla="*/ 2722964 h 7571038"/>
                  <a:gd name="connsiteX1326" fmla="*/ 463097 w 4381952"/>
                  <a:gd name="connsiteY1326" fmla="*/ 2690908 h 7571038"/>
                  <a:gd name="connsiteX1327" fmla="*/ 463837 w 4381952"/>
                  <a:gd name="connsiteY1327" fmla="*/ 5670184 h 7571038"/>
                  <a:gd name="connsiteX1328" fmla="*/ 462356 w 4381952"/>
                  <a:gd name="connsiteY1328" fmla="*/ 5668705 h 7571038"/>
                  <a:gd name="connsiteX1329" fmla="*/ 460878 w 4381952"/>
                  <a:gd name="connsiteY1329" fmla="*/ 5670184 h 7571038"/>
                  <a:gd name="connsiteX1330" fmla="*/ 462356 w 4381952"/>
                  <a:gd name="connsiteY1330" fmla="*/ 5671665 h 7571038"/>
                  <a:gd name="connsiteX1331" fmla="*/ 463837 w 4381952"/>
                  <a:gd name="connsiteY1331" fmla="*/ 5670184 h 7571038"/>
                  <a:gd name="connsiteX1332" fmla="*/ 465810 w 4381952"/>
                  <a:gd name="connsiteY1332" fmla="*/ 4526076 h 7571038"/>
                  <a:gd name="connsiteX1333" fmla="*/ 446575 w 4381952"/>
                  <a:gd name="connsiteY1333" fmla="*/ 4506841 h 7571038"/>
                  <a:gd name="connsiteX1334" fmla="*/ 427344 w 4381952"/>
                  <a:gd name="connsiteY1334" fmla="*/ 4526076 h 7571038"/>
                  <a:gd name="connsiteX1335" fmla="*/ 446575 w 4381952"/>
                  <a:gd name="connsiteY1335" fmla="*/ 4545307 h 7571038"/>
                  <a:gd name="connsiteX1336" fmla="*/ 465810 w 4381952"/>
                  <a:gd name="connsiteY1336" fmla="*/ 4526076 h 7571038"/>
                  <a:gd name="connsiteX1337" fmla="*/ 469261 w 4381952"/>
                  <a:gd name="connsiteY1337" fmla="*/ 5928844 h 7571038"/>
                  <a:gd name="connsiteX1338" fmla="*/ 446084 w 4381952"/>
                  <a:gd name="connsiteY1338" fmla="*/ 5905664 h 7571038"/>
                  <a:gd name="connsiteX1339" fmla="*/ 422904 w 4381952"/>
                  <a:gd name="connsiteY1339" fmla="*/ 5928844 h 7571038"/>
                  <a:gd name="connsiteX1340" fmla="*/ 446084 w 4381952"/>
                  <a:gd name="connsiteY1340" fmla="*/ 5952020 h 7571038"/>
                  <a:gd name="connsiteX1341" fmla="*/ 469261 w 4381952"/>
                  <a:gd name="connsiteY1341" fmla="*/ 5928844 h 7571038"/>
                  <a:gd name="connsiteX1342" fmla="*/ 470494 w 4381952"/>
                  <a:gd name="connsiteY1342" fmla="*/ 1866945 h 7571038"/>
                  <a:gd name="connsiteX1343" fmla="*/ 467288 w 4381952"/>
                  <a:gd name="connsiteY1343" fmla="*/ 1863743 h 7571038"/>
                  <a:gd name="connsiteX1344" fmla="*/ 464084 w 4381952"/>
                  <a:gd name="connsiteY1344" fmla="*/ 1866945 h 7571038"/>
                  <a:gd name="connsiteX1345" fmla="*/ 467288 w 4381952"/>
                  <a:gd name="connsiteY1345" fmla="*/ 1870152 h 7571038"/>
                  <a:gd name="connsiteX1346" fmla="*/ 470494 w 4381952"/>
                  <a:gd name="connsiteY1346" fmla="*/ 1866945 h 7571038"/>
                  <a:gd name="connsiteX1347" fmla="*/ 470989 w 4381952"/>
                  <a:gd name="connsiteY1347" fmla="*/ 2431273 h 7571038"/>
                  <a:gd name="connsiteX1348" fmla="*/ 445097 w 4381952"/>
                  <a:gd name="connsiteY1348" fmla="*/ 2405385 h 7571038"/>
                  <a:gd name="connsiteX1349" fmla="*/ 419208 w 4381952"/>
                  <a:gd name="connsiteY1349" fmla="*/ 2431273 h 7571038"/>
                  <a:gd name="connsiteX1350" fmla="*/ 445097 w 4381952"/>
                  <a:gd name="connsiteY1350" fmla="*/ 2457162 h 7571038"/>
                  <a:gd name="connsiteX1351" fmla="*/ 470989 w 4381952"/>
                  <a:gd name="connsiteY1351" fmla="*/ 2431273 h 7571038"/>
                  <a:gd name="connsiteX1352" fmla="*/ 474440 w 4381952"/>
                  <a:gd name="connsiteY1352" fmla="*/ 5538515 h 7571038"/>
                  <a:gd name="connsiteX1353" fmla="*/ 471728 w 4381952"/>
                  <a:gd name="connsiteY1353" fmla="*/ 5535802 h 7571038"/>
                  <a:gd name="connsiteX1354" fmla="*/ 469015 w 4381952"/>
                  <a:gd name="connsiteY1354" fmla="*/ 5538515 h 7571038"/>
                  <a:gd name="connsiteX1355" fmla="*/ 471728 w 4381952"/>
                  <a:gd name="connsiteY1355" fmla="*/ 5541229 h 7571038"/>
                  <a:gd name="connsiteX1356" fmla="*/ 474440 w 4381952"/>
                  <a:gd name="connsiteY1356" fmla="*/ 5538515 h 7571038"/>
                  <a:gd name="connsiteX1357" fmla="*/ 481098 w 4381952"/>
                  <a:gd name="connsiteY1357" fmla="*/ 5800132 h 7571038"/>
                  <a:gd name="connsiteX1358" fmla="*/ 453728 w 4381952"/>
                  <a:gd name="connsiteY1358" fmla="*/ 5772761 h 7571038"/>
                  <a:gd name="connsiteX1359" fmla="*/ 426358 w 4381952"/>
                  <a:gd name="connsiteY1359" fmla="*/ 5800132 h 7571038"/>
                  <a:gd name="connsiteX1360" fmla="*/ 453728 w 4381952"/>
                  <a:gd name="connsiteY1360" fmla="*/ 5827503 h 7571038"/>
                  <a:gd name="connsiteX1361" fmla="*/ 481098 w 4381952"/>
                  <a:gd name="connsiteY1361" fmla="*/ 5800132 h 7571038"/>
                  <a:gd name="connsiteX1362" fmla="*/ 486276 w 4381952"/>
                  <a:gd name="connsiteY1362" fmla="*/ 5405116 h 7571038"/>
                  <a:gd name="connsiteX1363" fmla="*/ 482823 w 4381952"/>
                  <a:gd name="connsiteY1363" fmla="*/ 5401665 h 7571038"/>
                  <a:gd name="connsiteX1364" fmla="*/ 479372 w 4381952"/>
                  <a:gd name="connsiteY1364" fmla="*/ 5405116 h 7571038"/>
                  <a:gd name="connsiteX1365" fmla="*/ 482823 w 4381952"/>
                  <a:gd name="connsiteY1365" fmla="*/ 5408570 h 7571038"/>
                  <a:gd name="connsiteX1366" fmla="*/ 486276 w 4381952"/>
                  <a:gd name="connsiteY1366" fmla="*/ 5405116 h 7571038"/>
                  <a:gd name="connsiteX1367" fmla="*/ 486277 w 4381952"/>
                  <a:gd name="connsiteY1367" fmla="*/ 2008892 h 7571038"/>
                  <a:gd name="connsiteX1368" fmla="*/ 485291 w 4381952"/>
                  <a:gd name="connsiteY1368" fmla="*/ 2007905 h 7571038"/>
                  <a:gd name="connsiteX1369" fmla="*/ 484305 w 4381952"/>
                  <a:gd name="connsiteY1369" fmla="*/ 2008892 h 7571038"/>
                  <a:gd name="connsiteX1370" fmla="*/ 485291 w 4381952"/>
                  <a:gd name="connsiteY1370" fmla="*/ 2009877 h 7571038"/>
                  <a:gd name="connsiteX1371" fmla="*/ 486277 w 4381952"/>
                  <a:gd name="connsiteY1371" fmla="*/ 2008892 h 7571038"/>
                  <a:gd name="connsiteX1372" fmla="*/ 489727 w 4381952"/>
                  <a:gd name="connsiteY1372" fmla="*/ 2963124 h 7571038"/>
                  <a:gd name="connsiteX1373" fmla="*/ 445344 w 4381952"/>
                  <a:gd name="connsiteY1373" fmla="*/ 2918493 h 7571038"/>
                  <a:gd name="connsiteX1374" fmla="*/ 400960 w 4381952"/>
                  <a:gd name="connsiteY1374" fmla="*/ 2963124 h 7571038"/>
                  <a:gd name="connsiteX1375" fmla="*/ 445344 w 4381952"/>
                  <a:gd name="connsiteY1375" fmla="*/ 3007509 h 7571038"/>
                  <a:gd name="connsiteX1376" fmla="*/ 489727 w 4381952"/>
                  <a:gd name="connsiteY1376" fmla="*/ 2963124 h 7571038"/>
                  <a:gd name="connsiteX1377" fmla="*/ 491453 w 4381952"/>
                  <a:gd name="connsiteY1377" fmla="*/ 2185941 h 7571038"/>
                  <a:gd name="connsiteX1378" fmla="*/ 481096 w 4381952"/>
                  <a:gd name="connsiteY1378" fmla="*/ 2175587 h 7571038"/>
                  <a:gd name="connsiteX1379" fmla="*/ 470741 w 4381952"/>
                  <a:gd name="connsiteY1379" fmla="*/ 2185941 h 7571038"/>
                  <a:gd name="connsiteX1380" fmla="*/ 481096 w 4381952"/>
                  <a:gd name="connsiteY1380" fmla="*/ 2196299 h 7571038"/>
                  <a:gd name="connsiteX1381" fmla="*/ 491453 w 4381952"/>
                  <a:gd name="connsiteY1381" fmla="*/ 2185941 h 7571038"/>
                  <a:gd name="connsiteX1382" fmla="*/ 491454 w 4381952"/>
                  <a:gd name="connsiteY1382" fmla="*/ 4371226 h 7571038"/>
                  <a:gd name="connsiteX1383" fmla="*/ 483318 w 4381952"/>
                  <a:gd name="connsiteY1383" fmla="*/ 4363089 h 7571038"/>
                  <a:gd name="connsiteX1384" fmla="*/ 475181 w 4381952"/>
                  <a:gd name="connsiteY1384" fmla="*/ 4371226 h 7571038"/>
                  <a:gd name="connsiteX1385" fmla="*/ 483318 w 4381952"/>
                  <a:gd name="connsiteY1385" fmla="*/ 4379362 h 7571038"/>
                  <a:gd name="connsiteX1386" fmla="*/ 491454 w 4381952"/>
                  <a:gd name="connsiteY1386" fmla="*/ 4371226 h 7571038"/>
                  <a:gd name="connsiteX1387" fmla="*/ 493181 w 4381952"/>
                  <a:gd name="connsiteY1387" fmla="*/ 4104675 h 7571038"/>
                  <a:gd name="connsiteX1388" fmla="*/ 482824 w 4381952"/>
                  <a:gd name="connsiteY1388" fmla="*/ 4094566 h 7571038"/>
                  <a:gd name="connsiteX1389" fmla="*/ 472715 w 4381952"/>
                  <a:gd name="connsiteY1389" fmla="*/ 4104675 h 7571038"/>
                  <a:gd name="connsiteX1390" fmla="*/ 482824 w 4381952"/>
                  <a:gd name="connsiteY1390" fmla="*/ 4114784 h 7571038"/>
                  <a:gd name="connsiteX1391" fmla="*/ 493181 w 4381952"/>
                  <a:gd name="connsiteY1391" fmla="*/ 4104675 h 7571038"/>
                  <a:gd name="connsiteX1392" fmla="*/ 493919 w 4381952"/>
                  <a:gd name="connsiteY1392" fmla="*/ 7201174 h 7571038"/>
                  <a:gd name="connsiteX1393" fmla="*/ 492438 w 4381952"/>
                  <a:gd name="connsiteY1393" fmla="*/ 7199695 h 7571038"/>
                  <a:gd name="connsiteX1394" fmla="*/ 490960 w 4381952"/>
                  <a:gd name="connsiteY1394" fmla="*/ 7201174 h 7571038"/>
                  <a:gd name="connsiteX1395" fmla="*/ 492438 w 4381952"/>
                  <a:gd name="connsiteY1395" fmla="*/ 7202655 h 7571038"/>
                  <a:gd name="connsiteX1396" fmla="*/ 493919 w 4381952"/>
                  <a:gd name="connsiteY1396" fmla="*/ 7201174 h 7571038"/>
                  <a:gd name="connsiteX1397" fmla="*/ 495399 w 4381952"/>
                  <a:gd name="connsiteY1397" fmla="*/ 5269747 h 7571038"/>
                  <a:gd name="connsiteX1398" fmla="*/ 495153 w 4381952"/>
                  <a:gd name="connsiteY1398" fmla="*/ 5269501 h 7571038"/>
                  <a:gd name="connsiteX1399" fmla="*/ 495153 w 4381952"/>
                  <a:gd name="connsiteY1399" fmla="*/ 5269747 h 7571038"/>
                  <a:gd name="connsiteX1400" fmla="*/ 495893 w 4381952"/>
                  <a:gd name="connsiteY1400" fmla="*/ 7082818 h 7571038"/>
                  <a:gd name="connsiteX1401" fmla="*/ 494412 w 4381952"/>
                  <a:gd name="connsiteY1401" fmla="*/ 7081339 h 7571038"/>
                  <a:gd name="connsiteX1402" fmla="*/ 492934 w 4381952"/>
                  <a:gd name="connsiteY1402" fmla="*/ 7082818 h 7571038"/>
                  <a:gd name="connsiteX1403" fmla="*/ 494412 w 4381952"/>
                  <a:gd name="connsiteY1403" fmla="*/ 7084299 h 7571038"/>
                  <a:gd name="connsiteX1404" fmla="*/ 495893 w 4381952"/>
                  <a:gd name="connsiteY1404" fmla="*/ 7082818 h 7571038"/>
                  <a:gd name="connsiteX1405" fmla="*/ 498359 w 4381952"/>
                  <a:gd name="connsiteY1405" fmla="*/ 6963475 h 7571038"/>
                  <a:gd name="connsiteX1406" fmla="*/ 496386 w 4381952"/>
                  <a:gd name="connsiteY1406" fmla="*/ 6961502 h 7571038"/>
                  <a:gd name="connsiteX1407" fmla="*/ 494413 w 4381952"/>
                  <a:gd name="connsiteY1407" fmla="*/ 6963475 h 7571038"/>
                  <a:gd name="connsiteX1408" fmla="*/ 496386 w 4381952"/>
                  <a:gd name="connsiteY1408" fmla="*/ 6965448 h 7571038"/>
                  <a:gd name="connsiteX1409" fmla="*/ 498359 w 4381952"/>
                  <a:gd name="connsiteY1409" fmla="*/ 6963475 h 7571038"/>
                  <a:gd name="connsiteX1410" fmla="*/ 507236 w 4381952"/>
                  <a:gd name="connsiteY1410" fmla="*/ 994398 h 7571038"/>
                  <a:gd name="connsiteX1411" fmla="*/ 492193 w 4381952"/>
                  <a:gd name="connsiteY1411" fmla="*/ 979355 h 7571038"/>
                  <a:gd name="connsiteX1412" fmla="*/ 477154 w 4381952"/>
                  <a:gd name="connsiteY1412" fmla="*/ 994398 h 7571038"/>
                  <a:gd name="connsiteX1413" fmla="*/ 492193 w 4381952"/>
                  <a:gd name="connsiteY1413" fmla="*/ 1009442 h 7571038"/>
                  <a:gd name="connsiteX1414" fmla="*/ 507236 w 4381952"/>
                  <a:gd name="connsiteY1414" fmla="*/ 994398 h 7571038"/>
                  <a:gd name="connsiteX1415" fmla="*/ 509701 w 4381952"/>
                  <a:gd name="connsiteY1415" fmla="*/ 6847337 h 7571038"/>
                  <a:gd name="connsiteX1416" fmla="*/ 506248 w 4381952"/>
                  <a:gd name="connsiteY1416" fmla="*/ 6843886 h 7571038"/>
                  <a:gd name="connsiteX1417" fmla="*/ 502798 w 4381952"/>
                  <a:gd name="connsiteY1417" fmla="*/ 6847337 h 7571038"/>
                  <a:gd name="connsiteX1418" fmla="*/ 506248 w 4381952"/>
                  <a:gd name="connsiteY1418" fmla="*/ 6850790 h 7571038"/>
                  <a:gd name="connsiteX1419" fmla="*/ 509701 w 4381952"/>
                  <a:gd name="connsiteY1419" fmla="*/ 6847337 h 7571038"/>
                  <a:gd name="connsiteX1420" fmla="*/ 512166 w 4381952"/>
                  <a:gd name="connsiteY1420" fmla="*/ 6727256 h 7571038"/>
                  <a:gd name="connsiteX1421" fmla="*/ 508959 w 4381952"/>
                  <a:gd name="connsiteY1421" fmla="*/ 6724297 h 7571038"/>
                  <a:gd name="connsiteX1422" fmla="*/ 505754 w 4381952"/>
                  <a:gd name="connsiteY1422" fmla="*/ 6727256 h 7571038"/>
                  <a:gd name="connsiteX1423" fmla="*/ 508959 w 4381952"/>
                  <a:gd name="connsiteY1423" fmla="*/ 6730461 h 7571038"/>
                  <a:gd name="connsiteX1424" fmla="*/ 512166 w 4381952"/>
                  <a:gd name="connsiteY1424" fmla="*/ 6727256 h 7571038"/>
                  <a:gd name="connsiteX1425" fmla="*/ 513398 w 4381952"/>
                  <a:gd name="connsiteY1425" fmla="*/ 2586603 h 7571038"/>
                  <a:gd name="connsiteX1426" fmla="*/ 481836 w 4381952"/>
                  <a:gd name="connsiteY1426" fmla="*/ 2555039 h 7571038"/>
                  <a:gd name="connsiteX1427" fmla="*/ 450275 w 4381952"/>
                  <a:gd name="connsiteY1427" fmla="*/ 2586603 h 7571038"/>
                  <a:gd name="connsiteX1428" fmla="*/ 481836 w 4381952"/>
                  <a:gd name="connsiteY1428" fmla="*/ 2618165 h 7571038"/>
                  <a:gd name="connsiteX1429" fmla="*/ 513398 w 4381952"/>
                  <a:gd name="connsiteY1429" fmla="*/ 2586603 h 7571038"/>
                  <a:gd name="connsiteX1430" fmla="*/ 513399 w 4381952"/>
                  <a:gd name="connsiteY1430" fmla="*/ 1122108 h 7571038"/>
                  <a:gd name="connsiteX1431" fmla="*/ 499099 w 4381952"/>
                  <a:gd name="connsiteY1431" fmla="*/ 1107804 h 7571038"/>
                  <a:gd name="connsiteX1432" fmla="*/ 484796 w 4381952"/>
                  <a:gd name="connsiteY1432" fmla="*/ 1122108 h 7571038"/>
                  <a:gd name="connsiteX1433" fmla="*/ 499099 w 4381952"/>
                  <a:gd name="connsiteY1433" fmla="*/ 1136405 h 7571038"/>
                  <a:gd name="connsiteX1434" fmla="*/ 513399 w 4381952"/>
                  <a:gd name="connsiteY1434" fmla="*/ 1122108 h 7571038"/>
                  <a:gd name="connsiteX1435" fmla="*/ 513893 w 4381952"/>
                  <a:gd name="connsiteY1435" fmla="*/ 6606188 h 7571038"/>
                  <a:gd name="connsiteX1436" fmla="*/ 511920 w 4381952"/>
                  <a:gd name="connsiteY1436" fmla="*/ 6604215 h 7571038"/>
                  <a:gd name="connsiteX1437" fmla="*/ 509948 w 4381952"/>
                  <a:gd name="connsiteY1437" fmla="*/ 6606188 h 7571038"/>
                  <a:gd name="connsiteX1438" fmla="*/ 511920 w 4381952"/>
                  <a:gd name="connsiteY1438" fmla="*/ 6608160 h 7571038"/>
                  <a:gd name="connsiteX1439" fmla="*/ 513893 w 4381952"/>
                  <a:gd name="connsiteY1439" fmla="*/ 6606188 h 7571038"/>
                  <a:gd name="connsiteX1440" fmla="*/ 521043 w 4381952"/>
                  <a:gd name="connsiteY1440" fmla="*/ 1250549 h 7571038"/>
                  <a:gd name="connsiteX1441" fmla="*/ 506989 w 4381952"/>
                  <a:gd name="connsiteY1441" fmla="*/ 1236501 h 7571038"/>
                  <a:gd name="connsiteX1442" fmla="*/ 492687 w 4381952"/>
                  <a:gd name="connsiteY1442" fmla="*/ 1250549 h 7571038"/>
                  <a:gd name="connsiteX1443" fmla="*/ 506989 w 4381952"/>
                  <a:gd name="connsiteY1443" fmla="*/ 1264840 h 7571038"/>
                  <a:gd name="connsiteX1444" fmla="*/ 521043 w 4381952"/>
                  <a:gd name="connsiteY1444" fmla="*/ 1250549 h 7571038"/>
                  <a:gd name="connsiteX1445" fmla="*/ 521783 w 4381952"/>
                  <a:gd name="connsiteY1445" fmla="*/ 5131911 h 7571038"/>
                  <a:gd name="connsiteX1446" fmla="*/ 509455 w 4381952"/>
                  <a:gd name="connsiteY1446" fmla="*/ 5119580 h 7571038"/>
                  <a:gd name="connsiteX1447" fmla="*/ 497126 w 4381952"/>
                  <a:gd name="connsiteY1447" fmla="*/ 5131911 h 7571038"/>
                  <a:gd name="connsiteX1448" fmla="*/ 509455 w 4381952"/>
                  <a:gd name="connsiteY1448" fmla="*/ 5144238 h 7571038"/>
                  <a:gd name="connsiteX1449" fmla="*/ 521783 w 4381952"/>
                  <a:gd name="connsiteY1449" fmla="*/ 5131911 h 7571038"/>
                  <a:gd name="connsiteX1450" fmla="*/ 521784 w 4381952"/>
                  <a:gd name="connsiteY1450" fmla="*/ 109317 h 7571038"/>
                  <a:gd name="connsiteX1451" fmla="*/ 503539 w 4381952"/>
                  <a:gd name="connsiteY1451" fmla="*/ 90824 h 7571038"/>
                  <a:gd name="connsiteX1452" fmla="*/ 485044 w 4381952"/>
                  <a:gd name="connsiteY1452" fmla="*/ 109317 h 7571038"/>
                  <a:gd name="connsiteX1453" fmla="*/ 503539 w 4381952"/>
                  <a:gd name="connsiteY1453" fmla="*/ 127810 h 7571038"/>
                  <a:gd name="connsiteX1454" fmla="*/ 521784 w 4381952"/>
                  <a:gd name="connsiteY1454" fmla="*/ 109317 h 7571038"/>
                  <a:gd name="connsiteX1455" fmla="*/ 521784 w 4381952"/>
                  <a:gd name="connsiteY1455" fmla="*/ 4771665 h 7571038"/>
                  <a:gd name="connsiteX1456" fmla="*/ 482827 w 4381952"/>
                  <a:gd name="connsiteY1456" fmla="*/ 4732704 h 7571038"/>
                  <a:gd name="connsiteX1457" fmla="*/ 443866 w 4381952"/>
                  <a:gd name="connsiteY1457" fmla="*/ 4771665 h 7571038"/>
                  <a:gd name="connsiteX1458" fmla="*/ 482827 w 4381952"/>
                  <a:gd name="connsiteY1458" fmla="*/ 4810622 h 7571038"/>
                  <a:gd name="connsiteX1459" fmla="*/ 521784 w 4381952"/>
                  <a:gd name="connsiteY1459" fmla="*/ 4771665 h 7571038"/>
                  <a:gd name="connsiteX1460" fmla="*/ 524494 w 4381952"/>
                  <a:gd name="connsiteY1460" fmla="*/ 229614 h 7571038"/>
                  <a:gd name="connsiteX1461" fmla="*/ 506494 w 4381952"/>
                  <a:gd name="connsiteY1461" fmla="*/ 211616 h 7571038"/>
                  <a:gd name="connsiteX1462" fmla="*/ 488496 w 4381952"/>
                  <a:gd name="connsiteY1462" fmla="*/ 229614 h 7571038"/>
                  <a:gd name="connsiteX1463" fmla="*/ 506494 w 4381952"/>
                  <a:gd name="connsiteY1463" fmla="*/ 247612 h 7571038"/>
                  <a:gd name="connsiteX1464" fmla="*/ 524494 w 4381952"/>
                  <a:gd name="connsiteY1464" fmla="*/ 229614 h 7571038"/>
                  <a:gd name="connsiteX1465" fmla="*/ 526220 w 4381952"/>
                  <a:gd name="connsiteY1465" fmla="*/ 2852655 h 7571038"/>
                  <a:gd name="connsiteX1466" fmla="*/ 481837 w 4381952"/>
                  <a:gd name="connsiteY1466" fmla="*/ 2808271 h 7571038"/>
                  <a:gd name="connsiteX1467" fmla="*/ 437453 w 4381952"/>
                  <a:gd name="connsiteY1467" fmla="*/ 2852655 h 7571038"/>
                  <a:gd name="connsiteX1468" fmla="*/ 481837 w 4381952"/>
                  <a:gd name="connsiteY1468" fmla="*/ 2897040 h 7571038"/>
                  <a:gd name="connsiteX1469" fmla="*/ 526220 w 4381952"/>
                  <a:gd name="connsiteY1469" fmla="*/ 2852655 h 7571038"/>
                  <a:gd name="connsiteX1470" fmla="*/ 527207 w 4381952"/>
                  <a:gd name="connsiteY1470" fmla="*/ 4992102 h 7571038"/>
                  <a:gd name="connsiteX1471" fmla="*/ 525975 w 4381952"/>
                  <a:gd name="connsiteY1471" fmla="*/ 4990870 h 7571038"/>
                  <a:gd name="connsiteX1472" fmla="*/ 524743 w 4381952"/>
                  <a:gd name="connsiteY1472" fmla="*/ 4992102 h 7571038"/>
                  <a:gd name="connsiteX1473" fmla="*/ 525975 w 4381952"/>
                  <a:gd name="connsiteY1473" fmla="*/ 4993337 h 7571038"/>
                  <a:gd name="connsiteX1474" fmla="*/ 527207 w 4381952"/>
                  <a:gd name="connsiteY1474" fmla="*/ 4992102 h 7571038"/>
                  <a:gd name="connsiteX1475" fmla="*/ 527456 w 4381952"/>
                  <a:gd name="connsiteY1475" fmla="*/ 350161 h 7571038"/>
                  <a:gd name="connsiteX1476" fmla="*/ 509702 w 4381952"/>
                  <a:gd name="connsiteY1476" fmla="*/ 332409 h 7571038"/>
                  <a:gd name="connsiteX1477" fmla="*/ 491949 w 4381952"/>
                  <a:gd name="connsiteY1477" fmla="*/ 350161 h 7571038"/>
                  <a:gd name="connsiteX1478" fmla="*/ 509702 w 4381952"/>
                  <a:gd name="connsiteY1478" fmla="*/ 367913 h 7571038"/>
                  <a:gd name="connsiteX1479" fmla="*/ 527456 w 4381952"/>
                  <a:gd name="connsiteY1479" fmla="*/ 350161 h 7571038"/>
                  <a:gd name="connsiteX1480" fmla="*/ 529920 w 4381952"/>
                  <a:gd name="connsiteY1480" fmla="*/ 1381211 h 7571038"/>
                  <a:gd name="connsiteX1481" fmla="*/ 515620 w 4381952"/>
                  <a:gd name="connsiteY1481" fmla="*/ 1366914 h 7571038"/>
                  <a:gd name="connsiteX1482" fmla="*/ 501317 w 4381952"/>
                  <a:gd name="connsiteY1482" fmla="*/ 1381211 h 7571038"/>
                  <a:gd name="connsiteX1483" fmla="*/ 515620 w 4381952"/>
                  <a:gd name="connsiteY1483" fmla="*/ 1395521 h 7571038"/>
                  <a:gd name="connsiteX1484" fmla="*/ 529920 w 4381952"/>
                  <a:gd name="connsiteY1484" fmla="*/ 1381211 h 7571038"/>
                  <a:gd name="connsiteX1485" fmla="*/ 530412 w 4381952"/>
                  <a:gd name="connsiteY1485" fmla="*/ 472193 h 7571038"/>
                  <a:gd name="connsiteX1486" fmla="*/ 513153 w 4381952"/>
                  <a:gd name="connsiteY1486" fmla="*/ 454933 h 7571038"/>
                  <a:gd name="connsiteX1487" fmla="*/ 495891 w 4381952"/>
                  <a:gd name="connsiteY1487" fmla="*/ 472193 h 7571038"/>
                  <a:gd name="connsiteX1488" fmla="*/ 513153 w 4381952"/>
                  <a:gd name="connsiteY1488" fmla="*/ 489451 h 7571038"/>
                  <a:gd name="connsiteX1489" fmla="*/ 530412 w 4381952"/>
                  <a:gd name="connsiteY1489" fmla="*/ 472193 h 7571038"/>
                  <a:gd name="connsiteX1490" fmla="*/ 531646 w 4381952"/>
                  <a:gd name="connsiteY1490" fmla="*/ 6114022 h 7571038"/>
                  <a:gd name="connsiteX1491" fmla="*/ 527947 w 4381952"/>
                  <a:gd name="connsiteY1491" fmla="*/ 6110322 h 7571038"/>
                  <a:gd name="connsiteX1492" fmla="*/ 524249 w 4381952"/>
                  <a:gd name="connsiteY1492" fmla="*/ 6114022 h 7571038"/>
                  <a:gd name="connsiteX1493" fmla="*/ 527947 w 4381952"/>
                  <a:gd name="connsiteY1493" fmla="*/ 6117472 h 7571038"/>
                  <a:gd name="connsiteX1494" fmla="*/ 531646 w 4381952"/>
                  <a:gd name="connsiteY1494" fmla="*/ 6114022 h 7571038"/>
                  <a:gd name="connsiteX1495" fmla="*/ 531895 w 4381952"/>
                  <a:gd name="connsiteY1495" fmla="*/ 3478622 h 7571038"/>
                  <a:gd name="connsiteX1496" fmla="*/ 479372 w 4381952"/>
                  <a:gd name="connsiteY1496" fmla="*/ 3426185 h 7571038"/>
                  <a:gd name="connsiteX1497" fmla="*/ 426853 w 4381952"/>
                  <a:gd name="connsiteY1497" fmla="*/ 3478622 h 7571038"/>
                  <a:gd name="connsiteX1498" fmla="*/ 479372 w 4381952"/>
                  <a:gd name="connsiteY1498" fmla="*/ 3531141 h 7571038"/>
                  <a:gd name="connsiteX1499" fmla="*/ 531895 w 4381952"/>
                  <a:gd name="connsiteY1499" fmla="*/ 3478622 h 7571038"/>
                  <a:gd name="connsiteX1500" fmla="*/ 532137 w 4381952"/>
                  <a:gd name="connsiteY1500" fmla="*/ 2333875 h 7571038"/>
                  <a:gd name="connsiteX1501" fmla="*/ 507974 w 4381952"/>
                  <a:gd name="connsiteY1501" fmla="*/ 2309465 h 7571038"/>
                  <a:gd name="connsiteX1502" fmla="*/ 483809 w 4381952"/>
                  <a:gd name="connsiteY1502" fmla="*/ 2333875 h 7571038"/>
                  <a:gd name="connsiteX1503" fmla="*/ 507974 w 4381952"/>
                  <a:gd name="connsiteY1503" fmla="*/ 2358046 h 7571038"/>
                  <a:gd name="connsiteX1504" fmla="*/ 532137 w 4381952"/>
                  <a:gd name="connsiteY1504" fmla="*/ 2333875 h 7571038"/>
                  <a:gd name="connsiteX1505" fmla="*/ 532384 w 4381952"/>
                  <a:gd name="connsiteY1505" fmla="*/ 6361831 h 7571038"/>
                  <a:gd name="connsiteX1506" fmla="*/ 518824 w 4381952"/>
                  <a:gd name="connsiteY1506" fmla="*/ 6348268 h 7571038"/>
                  <a:gd name="connsiteX1507" fmla="*/ 505262 w 4381952"/>
                  <a:gd name="connsiteY1507" fmla="*/ 6361831 h 7571038"/>
                  <a:gd name="connsiteX1508" fmla="*/ 518824 w 4381952"/>
                  <a:gd name="connsiteY1508" fmla="*/ 6375393 h 7571038"/>
                  <a:gd name="connsiteX1509" fmla="*/ 532384 w 4381952"/>
                  <a:gd name="connsiteY1509" fmla="*/ 6361831 h 7571038"/>
                  <a:gd name="connsiteX1510" fmla="*/ 533373 w 4381952"/>
                  <a:gd name="connsiteY1510" fmla="*/ 4623473 h 7571038"/>
                  <a:gd name="connsiteX1511" fmla="*/ 509208 w 4381952"/>
                  <a:gd name="connsiteY1511" fmla="*/ 4599307 h 7571038"/>
                  <a:gd name="connsiteX1512" fmla="*/ 485044 w 4381952"/>
                  <a:gd name="connsiteY1512" fmla="*/ 4623473 h 7571038"/>
                  <a:gd name="connsiteX1513" fmla="*/ 509208 w 4381952"/>
                  <a:gd name="connsiteY1513" fmla="*/ 4647636 h 7571038"/>
                  <a:gd name="connsiteX1514" fmla="*/ 533373 w 4381952"/>
                  <a:gd name="connsiteY1514" fmla="*/ 4623473 h 7571038"/>
                  <a:gd name="connsiteX1515" fmla="*/ 534111 w 4381952"/>
                  <a:gd name="connsiteY1515" fmla="*/ 3362317 h 7571038"/>
                  <a:gd name="connsiteX1516" fmla="*/ 483318 w 4381952"/>
                  <a:gd name="connsiteY1516" fmla="*/ 3311532 h 7571038"/>
                  <a:gd name="connsiteX1517" fmla="*/ 432522 w 4381952"/>
                  <a:gd name="connsiteY1517" fmla="*/ 3362317 h 7571038"/>
                  <a:gd name="connsiteX1518" fmla="*/ 483318 w 4381952"/>
                  <a:gd name="connsiteY1518" fmla="*/ 3413118 h 7571038"/>
                  <a:gd name="connsiteX1519" fmla="*/ 534111 w 4381952"/>
                  <a:gd name="connsiteY1519" fmla="*/ 3362317 h 7571038"/>
                  <a:gd name="connsiteX1520" fmla="*/ 534112 w 4381952"/>
                  <a:gd name="connsiteY1520" fmla="*/ 594468 h 7571038"/>
                  <a:gd name="connsiteX1521" fmla="*/ 517099 w 4381952"/>
                  <a:gd name="connsiteY1521" fmla="*/ 577455 h 7571038"/>
                  <a:gd name="connsiteX1522" fmla="*/ 500085 w 4381952"/>
                  <a:gd name="connsiteY1522" fmla="*/ 594468 h 7571038"/>
                  <a:gd name="connsiteX1523" fmla="*/ 517099 w 4381952"/>
                  <a:gd name="connsiteY1523" fmla="*/ 611482 h 7571038"/>
                  <a:gd name="connsiteX1524" fmla="*/ 534112 w 4381952"/>
                  <a:gd name="connsiteY1524" fmla="*/ 594468 h 7571038"/>
                  <a:gd name="connsiteX1525" fmla="*/ 535345 w 4381952"/>
                  <a:gd name="connsiteY1525" fmla="*/ 6484623 h 7571038"/>
                  <a:gd name="connsiteX1526" fmla="*/ 515371 w 4381952"/>
                  <a:gd name="connsiteY1526" fmla="*/ 6464651 h 7571038"/>
                  <a:gd name="connsiteX1527" fmla="*/ 495399 w 4381952"/>
                  <a:gd name="connsiteY1527" fmla="*/ 6484623 h 7571038"/>
                  <a:gd name="connsiteX1528" fmla="*/ 515371 w 4381952"/>
                  <a:gd name="connsiteY1528" fmla="*/ 6504595 h 7571038"/>
                  <a:gd name="connsiteX1529" fmla="*/ 535345 w 4381952"/>
                  <a:gd name="connsiteY1529" fmla="*/ 6484623 h 7571038"/>
                  <a:gd name="connsiteX1530" fmla="*/ 536330 w 4381952"/>
                  <a:gd name="connsiteY1530" fmla="*/ 3594756 h 7571038"/>
                  <a:gd name="connsiteX1531" fmla="*/ 483318 w 4381952"/>
                  <a:gd name="connsiteY1531" fmla="*/ 3541990 h 7571038"/>
                  <a:gd name="connsiteX1532" fmla="*/ 430303 w 4381952"/>
                  <a:gd name="connsiteY1532" fmla="*/ 3594756 h 7571038"/>
                  <a:gd name="connsiteX1533" fmla="*/ 483318 w 4381952"/>
                  <a:gd name="connsiteY1533" fmla="*/ 3647771 h 7571038"/>
                  <a:gd name="connsiteX1534" fmla="*/ 536330 w 4381952"/>
                  <a:gd name="connsiteY1534" fmla="*/ 3594756 h 7571038"/>
                  <a:gd name="connsiteX1535" fmla="*/ 537070 w 4381952"/>
                  <a:gd name="connsiteY1535" fmla="*/ 6238296 h 7571038"/>
                  <a:gd name="connsiteX1536" fmla="*/ 523015 w 4381952"/>
                  <a:gd name="connsiteY1536" fmla="*/ 6224242 h 7571038"/>
                  <a:gd name="connsiteX1537" fmla="*/ 508962 w 4381952"/>
                  <a:gd name="connsiteY1537" fmla="*/ 6238296 h 7571038"/>
                  <a:gd name="connsiteX1538" fmla="*/ 523015 w 4381952"/>
                  <a:gd name="connsiteY1538" fmla="*/ 6252350 h 7571038"/>
                  <a:gd name="connsiteX1539" fmla="*/ 537070 w 4381952"/>
                  <a:gd name="connsiteY1539" fmla="*/ 6238296 h 7571038"/>
                  <a:gd name="connsiteX1540" fmla="*/ 537315 w 4381952"/>
                  <a:gd name="connsiteY1540" fmla="*/ 718269 h 7571038"/>
                  <a:gd name="connsiteX1541" fmla="*/ 521043 w 4381952"/>
                  <a:gd name="connsiteY1541" fmla="*/ 702002 h 7571038"/>
                  <a:gd name="connsiteX1542" fmla="*/ 504768 w 4381952"/>
                  <a:gd name="connsiteY1542" fmla="*/ 718269 h 7571038"/>
                  <a:gd name="connsiteX1543" fmla="*/ 521043 w 4381952"/>
                  <a:gd name="connsiteY1543" fmla="*/ 734541 h 7571038"/>
                  <a:gd name="connsiteX1544" fmla="*/ 537315 w 4381952"/>
                  <a:gd name="connsiteY1544" fmla="*/ 718269 h 7571038"/>
                  <a:gd name="connsiteX1545" fmla="*/ 539290 w 4381952"/>
                  <a:gd name="connsiteY1545" fmla="*/ 1513613 h 7571038"/>
                  <a:gd name="connsiteX1546" fmla="*/ 524989 w 4381952"/>
                  <a:gd name="connsiteY1546" fmla="*/ 1499311 h 7571038"/>
                  <a:gd name="connsiteX1547" fmla="*/ 510689 w 4381952"/>
                  <a:gd name="connsiteY1547" fmla="*/ 1513613 h 7571038"/>
                  <a:gd name="connsiteX1548" fmla="*/ 524989 w 4381952"/>
                  <a:gd name="connsiteY1548" fmla="*/ 1527917 h 7571038"/>
                  <a:gd name="connsiteX1549" fmla="*/ 539290 w 4381952"/>
                  <a:gd name="connsiteY1549" fmla="*/ 1513613 h 7571038"/>
                  <a:gd name="connsiteX1550" fmla="*/ 540523 w 4381952"/>
                  <a:gd name="connsiteY1550" fmla="*/ 3710893 h 7571038"/>
                  <a:gd name="connsiteX1551" fmla="*/ 495399 w 4381952"/>
                  <a:gd name="connsiteY1551" fmla="*/ 3665769 h 7571038"/>
                  <a:gd name="connsiteX1552" fmla="*/ 450275 w 4381952"/>
                  <a:gd name="connsiteY1552" fmla="*/ 3710893 h 7571038"/>
                  <a:gd name="connsiteX1553" fmla="*/ 495399 w 4381952"/>
                  <a:gd name="connsiteY1553" fmla="*/ 3756018 h 7571038"/>
                  <a:gd name="connsiteX1554" fmla="*/ 540523 w 4381952"/>
                  <a:gd name="connsiteY1554" fmla="*/ 3710893 h 7571038"/>
                  <a:gd name="connsiteX1555" fmla="*/ 540768 w 4381952"/>
                  <a:gd name="connsiteY1555" fmla="*/ 4212184 h 7571038"/>
                  <a:gd name="connsiteX1556" fmla="*/ 526468 w 4381952"/>
                  <a:gd name="connsiteY1556" fmla="*/ 4197881 h 7571038"/>
                  <a:gd name="connsiteX1557" fmla="*/ 512166 w 4381952"/>
                  <a:gd name="connsiteY1557" fmla="*/ 4212184 h 7571038"/>
                  <a:gd name="connsiteX1558" fmla="*/ 526468 w 4381952"/>
                  <a:gd name="connsiteY1558" fmla="*/ 4226484 h 7571038"/>
                  <a:gd name="connsiteX1559" fmla="*/ 540768 w 4381952"/>
                  <a:gd name="connsiteY1559" fmla="*/ 4212184 h 7571038"/>
                  <a:gd name="connsiteX1560" fmla="*/ 541509 w 4381952"/>
                  <a:gd name="connsiteY1560" fmla="*/ 842780 h 7571038"/>
                  <a:gd name="connsiteX1561" fmla="*/ 525728 w 4381952"/>
                  <a:gd name="connsiteY1561" fmla="*/ 826997 h 7571038"/>
                  <a:gd name="connsiteX1562" fmla="*/ 509948 w 4381952"/>
                  <a:gd name="connsiteY1562" fmla="*/ 842780 h 7571038"/>
                  <a:gd name="connsiteX1563" fmla="*/ 525728 w 4381952"/>
                  <a:gd name="connsiteY1563" fmla="*/ 858548 h 7571038"/>
                  <a:gd name="connsiteX1564" fmla="*/ 541509 w 4381952"/>
                  <a:gd name="connsiteY1564" fmla="*/ 842780 h 7571038"/>
                  <a:gd name="connsiteX1565" fmla="*/ 543976 w 4381952"/>
                  <a:gd name="connsiteY1565" fmla="*/ 3246681 h 7571038"/>
                  <a:gd name="connsiteX1566" fmla="*/ 494908 w 4381952"/>
                  <a:gd name="connsiteY1566" fmla="*/ 3197612 h 7571038"/>
                  <a:gd name="connsiteX1567" fmla="*/ 445838 w 4381952"/>
                  <a:gd name="connsiteY1567" fmla="*/ 3246681 h 7571038"/>
                  <a:gd name="connsiteX1568" fmla="*/ 494908 w 4381952"/>
                  <a:gd name="connsiteY1568" fmla="*/ 3295746 h 7571038"/>
                  <a:gd name="connsiteX1569" fmla="*/ 543976 w 4381952"/>
                  <a:gd name="connsiteY1569" fmla="*/ 3246681 h 7571038"/>
                  <a:gd name="connsiteX1570" fmla="*/ 544961 w 4381952"/>
                  <a:gd name="connsiteY1570" fmla="*/ 1647732 h 7571038"/>
                  <a:gd name="connsiteX1571" fmla="*/ 536083 w 4381952"/>
                  <a:gd name="connsiteY1571" fmla="*/ 1638858 h 7571038"/>
                  <a:gd name="connsiteX1572" fmla="*/ 526961 w 4381952"/>
                  <a:gd name="connsiteY1572" fmla="*/ 1647732 h 7571038"/>
                  <a:gd name="connsiteX1573" fmla="*/ 536083 w 4381952"/>
                  <a:gd name="connsiteY1573" fmla="*/ 1656851 h 7571038"/>
                  <a:gd name="connsiteX1574" fmla="*/ 544961 w 4381952"/>
                  <a:gd name="connsiteY1574" fmla="*/ 1647732 h 7571038"/>
                  <a:gd name="connsiteX1575" fmla="*/ 549399 w 4381952"/>
                  <a:gd name="connsiteY1575" fmla="*/ 3825305 h 7571038"/>
                  <a:gd name="connsiteX1576" fmla="*/ 515125 w 4381952"/>
                  <a:gd name="connsiteY1576" fmla="*/ 3791030 h 7571038"/>
                  <a:gd name="connsiteX1577" fmla="*/ 480850 w 4381952"/>
                  <a:gd name="connsiteY1577" fmla="*/ 3825305 h 7571038"/>
                  <a:gd name="connsiteX1578" fmla="*/ 515125 w 4381952"/>
                  <a:gd name="connsiteY1578" fmla="*/ 3859577 h 7571038"/>
                  <a:gd name="connsiteX1579" fmla="*/ 549399 w 4381952"/>
                  <a:gd name="connsiteY1579" fmla="*/ 3825305 h 7571038"/>
                  <a:gd name="connsiteX1580" fmla="*/ 552113 w 4381952"/>
                  <a:gd name="connsiteY1580" fmla="*/ 4472074 h 7571038"/>
                  <a:gd name="connsiteX1581" fmla="*/ 540524 w 4381952"/>
                  <a:gd name="connsiteY1581" fmla="*/ 4460485 h 7571038"/>
                  <a:gd name="connsiteX1582" fmla="*/ 528934 w 4381952"/>
                  <a:gd name="connsiteY1582" fmla="*/ 4472074 h 7571038"/>
                  <a:gd name="connsiteX1583" fmla="*/ 540524 w 4381952"/>
                  <a:gd name="connsiteY1583" fmla="*/ 4483664 h 7571038"/>
                  <a:gd name="connsiteX1584" fmla="*/ 552113 w 4381952"/>
                  <a:gd name="connsiteY1584" fmla="*/ 4472074 h 7571038"/>
                  <a:gd name="connsiteX1585" fmla="*/ 553096 w 4381952"/>
                  <a:gd name="connsiteY1585" fmla="*/ 1784094 h 7571038"/>
                  <a:gd name="connsiteX1586" fmla="*/ 549152 w 4381952"/>
                  <a:gd name="connsiteY1586" fmla="*/ 1780162 h 7571038"/>
                  <a:gd name="connsiteX1587" fmla="*/ 545206 w 4381952"/>
                  <a:gd name="connsiteY1587" fmla="*/ 1784094 h 7571038"/>
                  <a:gd name="connsiteX1588" fmla="*/ 549152 w 4381952"/>
                  <a:gd name="connsiteY1588" fmla="*/ 1788023 h 7571038"/>
                  <a:gd name="connsiteX1589" fmla="*/ 553096 w 4381952"/>
                  <a:gd name="connsiteY1589" fmla="*/ 1784094 h 7571038"/>
                  <a:gd name="connsiteX1590" fmla="*/ 556796 w 4381952"/>
                  <a:gd name="connsiteY1590" fmla="*/ 5739968 h 7571038"/>
                  <a:gd name="connsiteX1591" fmla="*/ 555071 w 4381952"/>
                  <a:gd name="connsiteY1591" fmla="*/ 5738241 h 7571038"/>
                  <a:gd name="connsiteX1592" fmla="*/ 553345 w 4381952"/>
                  <a:gd name="connsiteY1592" fmla="*/ 5739968 h 7571038"/>
                  <a:gd name="connsiteX1593" fmla="*/ 555071 w 4381952"/>
                  <a:gd name="connsiteY1593" fmla="*/ 5741692 h 7571038"/>
                  <a:gd name="connsiteX1594" fmla="*/ 556796 w 4381952"/>
                  <a:gd name="connsiteY1594" fmla="*/ 5739968 h 7571038"/>
                  <a:gd name="connsiteX1595" fmla="*/ 561976 w 4381952"/>
                  <a:gd name="connsiteY1595" fmla="*/ 3132020 h 7571038"/>
                  <a:gd name="connsiteX1596" fmla="*/ 514634 w 4381952"/>
                  <a:gd name="connsiteY1596" fmla="*/ 3084676 h 7571038"/>
                  <a:gd name="connsiteX1597" fmla="*/ 467291 w 4381952"/>
                  <a:gd name="connsiteY1597" fmla="*/ 3132020 h 7571038"/>
                  <a:gd name="connsiteX1598" fmla="*/ 514634 w 4381952"/>
                  <a:gd name="connsiteY1598" fmla="*/ 3179364 h 7571038"/>
                  <a:gd name="connsiteX1599" fmla="*/ 561976 w 4381952"/>
                  <a:gd name="connsiteY1599" fmla="*/ 3132020 h 7571038"/>
                  <a:gd name="connsiteX1600" fmla="*/ 563700 w 4381952"/>
                  <a:gd name="connsiteY1600" fmla="*/ 5993939 h 7571038"/>
                  <a:gd name="connsiteX1601" fmla="*/ 541755 w 4381952"/>
                  <a:gd name="connsiteY1601" fmla="*/ 5971994 h 7571038"/>
                  <a:gd name="connsiteX1602" fmla="*/ 519811 w 4381952"/>
                  <a:gd name="connsiteY1602" fmla="*/ 5993939 h 7571038"/>
                  <a:gd name="connsiteX1603" fmla="*/ 541755 w 4381952"/>
                  <a:gd name="connsiteY1603" fmla="*/ 6015883 h 7571038"/>
                  <a:gd name="connsiteX1604" fmla="*/ 563700 w 4381952"/>
                  <a:gd name="connsiteY1604" fmla="*/ 5993939 h 7571038"/>
                  <a:gd name="connsiteX1605" fmla="*/ 563948 w 4381952"/>
                  <a:gd name="connsiteY1605" fmla="*/ 2095685 h 7571038"/>
                  <a:gd name="connsiteX1606" fmla="*/ 553590 w 4381952"/>
                  <a:gd name="connsiteY1606" fmla="*/ 2085329 h 7571038"/>
                  <a:gd name="connsiteX1607" fmla="*/ 543236 w 4381952"/>
                  <a:gd name="connsiteY1607" fmla="*/ 2095685 h 7571038"/>
                  <a:gd name="connsiteX1608" fmla="*/ 553590 w 4381952"/>
                  <a:gd name="connsiteY1608" fmla="*/ 2106045 h 7571038"/>
                  <a:gd name="connsiteX1609" fmla="*/ 563948 w 4381952"/>
                  <a:gd name="connsiteY1609" fmla="*/ 2095685 h 7571038"/>
                  <a:gd name="connsiteX1610" fmla="*/ 564688 w 4381952"/>
                  <a:gd name="connsiteY1610" fmla="*/ 5610759 h 7571038"/>
                  <a:gd name="connsiteX1611" fmla="*/ 562467 w 4381952"/>
                  <a:gd name="connsiteY1611" fmla="*/ 5608540 h 7571038"/>
                  <a:gd name="connsiteX1612" fmla="*/ 560249 w 4381952"/>
                  <a:gd name="connsiteY1612" fmla="*/ 5610759 h 7571038"/>
                  <a:gd name="connsiteX1613" fmla="*/ 562467 w 4381952"/>
                  <a:gd name="connsiteY1613" fmla="*/ 5612731 h 7571038"/>
                  <a:gd name="connsiteX1614" fmla="*/ 564688 w 4381952"/>
                  <a:gd name="connsiteY1614" fmla="*/ 5610759 h 7571038"/>
                  <a:gd name="connsiteX1615" fmla="*/ 565180 w 4381952"/>
                  <a:gd name="connsiteY1615" fmla="*/ 2745146 h 7571038"/>
                  <a:gd name="connsiteX1616" fmla="*/ 525480 w 4381952"/>
                  <a:gd name="connsiteY1616" fmla="*/ 2705447 h 7571038"/>
                  <a:gd name="connsiteX1617" fmla="*/ 485782 w 4381952"/>
                  <a:gd name="connsiteY1617" fmla="*/ 2745146 h 7571038"/>
                  <a:gd name="connsiteX1618" fmla="*/ 525480 w 4381952"/>
                  <a:gd name="connsiteY1618" fmla="*/ 2784847 h 7571038"/>
                  <a:gd name="connsiteX1619" fmla="*/ 565180 w 4381952"/>
                  <a:gd name="connsiteY1619" fmla="*/ 2745146 h 7571038"/>
                  <a:gd name="connsiteX1620" fmla="*/ 565921 w 4381952"/>
                  <a:gd name="connsiteY1620" fmla="*/ 3938487 h 7571038"/>
                  <a:gd name="connsiteX1621" fmla="*/ 542742 w 4381952"/>
                  <a:gd name="connsiteY1621" fmla="*/ 3915307 h 7571038"/>
                  <a:gd name="connsiteX1622" fmla="*/ 519565 w 4381952"/>
                  <a:gd name="connsiteY1622" fmla="*/ 3938487 h 7571038"/>
                  <a:gd name="connsiteX1623" fmla="*/ 542742 w 4381952"/>
                  <a:gd name="connsiteY1623" fmla="*/ 3961417 h 7571038"/>
                  <a:gd name="connsiteX1624" fmla="*/ 565921 w 4381952"/>
                  <a:gd name="connsiteY1624" fmla="*/ 3938487 h 7571038"/>
                  <a:gd name="connsiteX1625" fmla="*/ 566907 w 4381952"/>
                  <a:gd name="connsiteY1625" fmla="*/ 1922627 h 7571038"/>
                  <a:gd name="connsiteX1626" fmla="*/ 563699 w 4381952"/>
                  <a:gd name="connsiteY1626" fmla="*/ 1919425 h 7571038"/>
                  <a:gd name="connsiteX1627" fmla="*/ 560249 w 4381952"/>
                  <a:gd name="connsiteY1627" fmla="*/ 1922627 h 7571038"/>
                  <a:gd name="connsiteX1628" fmla="*/ 563699 w 4381952"/>
                  <a:gd name="connsiteY1628" fmla="*/ 1926081 h 7571038"/>
                  <a:gd name="connsiteX1629" fmla="*/ 566907 w 4381952"/>
                  <a:gd name="connsiteY1629" fmla="*/ 1922627 h 7571038"/>
                  <a:gd name="connsiteX1630" fmla="*/ 566907 w 4381952"/>
                  <a:gd name="connsiteY1630" fmla="*/ 2485509 h 7571038"/>
                  <a:gd name="connsiteX1631" fmla="*/ 539042 w 4381952"/>
                  <a:gd name="connsiteY1631" fmla="*/ 2457644 h 7571038"/>
                  <a:gd name="connsiteX1632" fmla="*/ 511180 w 4381952"/>
                  <a:gd name="connsiteY1632" fmla="*/ 2485509 h 7571038"/>
                  <a:gd name="connsiteX1633" fmla="*/ 539042 w 4381952"/>
                  <a:gd name="connsiteY1633" fmla="*/ 2513371 h 7571038"/>
                  <a:gd name="connsiteX1634" fmla="*/ 566907 w 4381952"/>
                  <a:gd name="connsiteY1634" fmla="*/ 2485509 h 7571038"/>
                  <a:gd name="connsiteX1635" fmla="*/ 574304 w 4381952"/>
                  <a:gd name="connsiteY1635" fmla="*/ 5867693 h 7571038"/>
                  <a:gd name="connsiteX1636" fmla="*/ 547919 w 4381952"/>
                  <a:gd name="connsiteY1636" fmla="*/ 5841308 h 7571038"/>
                  <a:gd name="connsiteX1637" fmla="*/ 521784 w 4381952"/>
                  <a:gd name="connsiteY1637" fmla="*/ 5867693 h 7571038"/>
                  <a:gd name="connsiteX1638" fmla="*/ 547919 w 4381952"/>
                  <a:gd name="connsiteY1638" fmla="*/ 5893829 h 7571038"/>
                  <a:gd name="connsiteX1639" fmla="*/ 574304 w 4381952"/>
                  <a:gd name="connsiteY1639" fmla="*/ 5867693 h 7571038"/>
                  <a:gd name="connsiteX1640" fmla="*/ 574798 w 4381952"/>
                  <a:gd name="connsiteY1640" fmla="*/ 5480076 h 7571038"/>
                  <a:gd name="connsiteX1641" fmla="*/ 571590 w 4381952"/>
                  <a:gd name="connsiteY1641" fmla="*/ 5476871 h 7571038"/>
                  <a:gd name="connsiteX1642" fmla="*/ 568386 w 4381952"/>
                  <a:gd name="connsiteY1642" fmla="*/ 5480076 h 7571038"/>
                  <a:gd name="connsiteX1643" fmla="*/ 571590 w 4381952"/>
                  <a:gd name="connsiteY1643" fmla="*/ 5483281 h 7571038"/>
                  <a:gd name="connsiteX1644" fmla="*/ 574798 w 4381952"/>
                  <a:gd name="connsiteY1644" fmla="*/ 5480076 h 7571038"/>
                  <a:gd name="connsiteX1645" fmla="*/ 582193 w 4381952"/>
                  <a:gd name="connsiteY1645" fmla="*/ 5347419 h 7571038"/>
                  <a:gd name="connsiteX1646" fmla="*/ 581699 w 4381952"/>
                  <a:gd name="connsiteY1646" fmla="*/ 5346925 h 7571038"/>
                  <a:gd name="connsiteX1647" fmla="*/ 581208 w 4381952"/>
                  <a:gd name="connsiteY1647" fmla="*/ 5347419 h 7571038"/>
                  <a:gd name="connsiteX1648" fmla="*/ 581699 w 4381952"/>
                  <a:gd name="connsiteY1648" fmla="*/ 5347911 h 7571038"/>
                  <a:gd name="connsiteX1649" fmla="*/ 582193 w 4381952"/>
                  <a:gd name="connsiteY1649" fmla="*/ 5347419 h 7571038"/>
                  <a:gd name="connsiteX1650" fmla="*/ 587863 w 4381952"/>
                  <a:gd name="connsiteY1650" fmla="*/ 3018839 h 7571038"/>
                  <a:gd name="connsiteX1651" fmla="*/ 542247 w 4381952"/>
                  <a:gd name="connsiteY1651" fmla="*/ 2973223 h 7571038"/>
                  <a:gd name="connsiteX1652" fmla="*/ 496631 w 4381952"/>
                  <a:gd name="connsiteY1652" fmla="*/ 3018839 h 7571038"/>
                  <a:gd name="connsiteX1653" fmla="*/ 542247 w 4381952"/>
                  <a:gd name="connsiteY1653" fmla="*/ 3064457 h 7571038"/>
                  <a:gd name="connsiteX1654" fmla="*/ 587863 w 4381952"/>
                  <a:gd name="connsiteY1654" fmla="*/ 3018839 h 7571038"/>
                  <a:gd name="connsiteX1655" fmla="*/ 591565 w 4381952"/>
                  <a:gd name="connsiteY1655" fmla="*/ 4861913 h 7571038"/>
                  <a:gd name="connsiteX1656" fmla="*/ 555318 w 4381952"/>
                  <a:gd name="connsiteY1656" fmla="*/ 4825665 h 7571038"/>
                  <a:gd name="connsiteX1657" fmla="*/ 519071 w 4381952"/>
                  <a:gd name="connsiteY1657" fmla="*/ 4861913 h 7571038"/>
                  <a:gd name="connsiteX1658" fmla="*/ 555318 w 4381952"/>
                  <a:gd name="connsiteY1658" fmla="*/ 4898161 h 7571038"/>
                  <a:gd name="connsiteX1659" fmla="*/ 591565 w 4381952"/>
                  <a:gd name="connsiteY1659" fmla="*/ 4861913 h 7571038"/>
                  <a:gd name="connsiteX1660" fmla="*/ 593781 w 4381952"/>
                  <a:gd name="connsiteY1660" fmla="*/ 4048950 h 7571038"/>
                  <a:gd name="connsiteX1661" fmla="*/ 578000 w 4381952"/>
                  <a:gd name="connsiteY1661" fmla="*/ 4032923 h 7571038"/>
                  <a:gd name="connsiteX1662" fmla="*/ 561974 w 4381952"/>
                  <a:gd name="connsiteY1662" fmla="*/ 4048950 h 7571038"/>
                  <a:gd name="connsiteX1663" fmla="*/ 578000 w 4381952"/>
                  <a:gd name="connsiteY1663" fmla="*/ 4064977 h 7571038"/>
                  <a:gd name="connsiteX1664" fmla="*/ 593781 w 4381952"/>
                  <a:gd name="connsiteY1664" fmla="*/ 4048950 h 7571038"/>
                  <a:gd name="connsiteX1665" fmla="*/ 597234 w 4381952"/>
                  <a:gd name="connsiteY1665" fmla="*/ 4316733 h 7571038"/>
                  <a:gd name="connsiteX1666" fmla="*/ 577014 w 4381952"/>
                  <a:gd name="connsiteY1666" fmla="*/ 4296512 h 7571038"/>
                  <a:gd name="connsiteX1667" fmla="*/ 556796 w 4381952"/>
                  <a:gd name="connsiteY1667" fmla="*/ 4316733 h 7571038"/>
                  <a:gd name="connsiteX1668" fmla="*/ 577014 w 4381952"/>
                  <a:gd name="connsiteY1668" fmla="*/ 4336952 h 7571038"/>
                  <a:gd name="connsiteX1669" fmla="*/ 597234 w 4381952"/>
                  <a:gd name="connsiteY1669" fmla="*/ 4316733 h 7571038"/>
                  <a:gd name="connsiteX1670" fmla="*/ 598961 w 4381952"/>
                  <a:gd name="connsiteY1670" fmla="*/ 2239932 h 7571038"/>
                  <a:gd name="connsiteX1671" fmla="*/ 576028 w 4381952"/>
                  <a:gd name="connsiteY1671" fmla="*/ 2217007 h 7571038"/>
                  <a:gd name="connsiteX1672" fmla="*/ 553097 w 4381952"/>
                  <a:gd name="connsiteY1672" fmla="*/ 2239932 h 7571038"/>
                  <a:gd name="connsiteX1673" fmla="*/ 576028 w 4381952"/>
                  <a:gd name="connsiteY1673" fmla="*/ 2262862 h 7571038"/>
                  <a:gd name="connsiteX1674" fmla="*/ 598961 w 4381952"/>
                  <a:gd name="connsiteY1674" fmla="*/ 2239932 h 7571038"/>
                  <a:gd name="connsiteX1675" fmla="*/ 600684 w 4381952"/>
                  <a:gd name="connsiteY1675" fmla="*/ 7248268 h 7571038"/>
                  <a:gd name="connsiteX1676" fmla="*/ 598958 w 4381952"/>
                  <a:gd name="connsiteY1676" fmla="*/ 7246789 h 7571038"/>
                  <a:gd name="connsiteX1677" fmla="*/ 597480 w 4381952"/>
                  <a:gd name="connsiteY1677" fmla="*/ 7248268 h 7571038"/>
                  <a:gd name="connsiteX1678" fmla="*/ 598958 w 4381952"/>
                  <a:gd name="connsiteY1678" fmla="*/ 7249749 h 7571038"/>
                  <a:gd name="connsiteX1679" fmla="*/ 600684 w 4381952"/>
                  <a:gd name="connsiteY1679" fmla="*/ 7248268 h 7571038"/>
                  <a:gd name="connsiteX1680" fmla="*/ 601920 w 4381952"/>
                  <a:gd name="connsiteY1680" fmla="*/ 7130900 h 7571038"/>
                  <a:gd name="connsiteX1681" fmla="*/ 600193 w 4381952"/>
                  <a:gd name="connsiteY1681" fmla="*/ 7129173 h 7571038"/>
                  <a:gd name="connsiteX1682" fmla="*/ 598715 w 4381952"/>
                  <a:gd name="connsiteY1682" fmla="*/ 7130900 h 7571038"/>
                  <a:gd name="connsiteX1683" fmla="*/ 600193 w 4381952"/>
                  <a:gd name="connsiteY1683" fmla="*/ 7132378 h 7571038"/>
                  <a:gd name="connsiteX1684" fmla="*/ 601920 w 4381952"/>
                  <a:gd name="connsiteY1684" fmla="*/ 7130900 h 7571038"/>
                  <a:gd name="connsiteX1685" fmla="*/ 602661 w 4381952"/>
                  <a:gd name="connsiteY1685" fmla="*/ 3536568 h 7571038"/>
                  <a:gd name="connsiteX1686" fmla="*/ 588853 w 4381952"/>
                  <a:gd name="connsiteY1686" fmla="*/ 3522759 h 7571038"/>
                  <a:gd name="connsiteX1687" fmla="*/ 575044 w 4381952"/>
                  <a:gd name="connsiteY1687" fmla="*/ 3536568 h 7571038"/>
                  <a:gd name="connsiteX1688" fmla="*/ 588853 w 4381952"/>
                  <a:gd name="connsiteY1688" fmla="*/ 3550376 h 7571038"/>
                  <a:gd name="connsiteX1689" fmla="*/ 602661 w 4381952"/>
                  <a:gd name="connsiteY1689" fmla="*/ 3536568 h 7571038"/>
                  <a:gd name="connsiteX1690" fmla="*/ 604139 w 4381952"/>
                  <a:gd name="connsiteY1690" fmla="*/ 7012792 h 7571038"/>
                  <a:gd name="connsiteX1691" fmla="*/ 601920 w 4381952"/>
                  <a:gd name="connsiteY1691" fmla="*/ 7010571 h 7571038"/>
                  <a:gd name="connsiteX1692" fmla="*/ 599702 w 4381952"/>
                  <a:gd name="connsiteY1692" fmla="*/ 7012792 h 7571038"/>
                  <a:gd name="connsiteX1693" fmla="*/ 601920 w 4381952"/>
                  <a:gd name="connsiteY1693" fmla="*/ 7015011 h 7571038"/>
                  <a:gd name="connsiteX1694" fmla="*/ 604139 w 4381952"/>
                  <a:gd name="connsiteY1694" fmla="*/ 7012792 h 7571038"/>
                  <a:gd name="connsiteX1695" fmla="*/ 604632 w 4381952"/>
                  <a:gd name="connsiteY1695" fmla="*/ 5212787 h 7571038"/>
                  <a:gd name="connsiteX1696" fmla="*/ 593289 w 4381952"/>
                  <a:gd name="connsiteY1696" fmla="*/ 5201446 h 7571038"/>
                  <a:gd name="connsiteX1697" fmla="*/ 581948 w 4381952"/>
                  <a:gd name="connsiteY1697" fmla="*/ 5212787 h 7571038"/>
                  <a:gd name="connsiteX1698" fmla="*/ 593289 w 4381952"/>
                  <a:gd name="connsiteY1698" fmla="*/ 5224131 h 7571038"/>
                  <a:gd name="connsiteX1699" fmla="*/ 604632 w 4381952"/>
                  <a:gd name="connsiteY1699" fmla="*/ 5212787 h 7571038"/>
                  <a:gd name="connsiteX1700" fmla="*/ 604879 w 4381952"/>
                  <a:gd name="connsiteY1700" fmla="*/ 3653197 h 7571038"/>
                  <a:gd name="connsiteX1701" fmla="*/ 597483 w 4381952"/>
                  <a:gd name="connsiteY1701" fmla="*/ 3645552 h 7571038"/>
                  <a:gd name="connsiteX1702" fmla="*/ 590084 w 4381952"/>
                  <a:gd name="connsiteY1702" fmla="*/ 3653197 h 7571038"/>
                  <a:gd name="connsiteX1703" fmla="*/ 597483 w 4381952"/>
                  <a:gd name="connsiteY1703" fmla="*/ 3660593 h 7571038"/>
                  <a:gd name="connsiteX1704" fmla="*/ 604879 w 4381952"/>
                  <a:gd name="connsiteY1704" fmla="*/ 3653197 h 7571038"/>
                  <a:gd name="connsiteX1705" fmla="*/ 605370 w 4381952"/>
                  <a:gd name="connsiteY1705" fmla="*/ 931024 h 7571038"/>
                  <a:gd name="connsiteX1706" fmla="*/ 589098 w 4381952"/>
                  <a:gd name="connsiteY1706" fmla="*/ 914747 h 7571038"/>
                  <a:gd name="connsiteX1707" fmla="*/ 572822 w 4381952"/>
                  <a:gd name="connsiteY1707" fmla="*/ 931024 h 7571038"/>
                  <a:gd name="connsiteX1708" fmla="*/ 589098 w 4381952"/>
                  <a:gd name="connsiteY1708" fmla="*/ 947302 h 7571038"/>
                  <a:gd name="connsiteX1709" fmla="*/ 605370 w 4381952"/>
                  <a:gd name="connsiteY1709" fmla="*/ 931024 h 7571038"/>
                  <a:gd name="connsiteX1710" fmla="*/ 606605 w 4381952"/>
                  <a:gd name="connsiteY1710" fmla="*/ 4716922 h 7571038"/>
                  <a:gd name="connsiteX1711" fmla="*/ 577511 w 4381952"/>
                  <a:gd name="connsiteY1711" fmla="*/ 4687828 h 7571038"/>
                  <a:gd name="connsiteX1712" fmla="*/ 548414 w 4381952"/>
                  <a:gd name="connsiteY1712" fmla="*/ 4716922 h 7571038"/>
                  <a:gd name="connsiteX1713" fmla="*/ 577511 w 4381952"/>
                  <a:gd name="connsiteY1713" fmla="*/ 4746020 h 7571038"/>
                  <a:gd name="connsiteX1714" fmla="*/ 606605 w 4381952"/>
                  <a:gd name="connsiteY1714" fmla="*/ 4716922 h 7571038"/>
                  <a:gd name="connsiteX1715" fmla="*/ 607346 w 4381952"/>
                  <a:gd name="connsiteY1715" fmla="*/ 2640595 h 7571038"/>
                  <a:gd name="connsiteX1716" fmla="*/ 576031 w 4381952"/>
                  <a:gd name="connsiteY1716" fmla="*/ 2609278 h 7571038"/>
                  <a:gd name="connsiteX1717" fmla="*/ 544715 w 4381952"/>
                  <a:gd name="connsiteY1717" fmla="*/ 2640595 h 7571038"/>
                  <a:gd name="connsiteX1718" fmla="*/ 576031 w 4381952"/>
                  <a:gd name="connsiteY1718" fmla="*/ 2671907 h 7571038"/>
                  <a:gd name="connsiteX1719" fmla="*/ 607346 w 4381952"/>
                  <a:gd name="connsiteY1719" fmla="*/ 2640595 h 7571038"/>
                  <a:gd name="connsiteX1720" fmla="*/ 608330 w 4381952"/>
                  <a:gd name="connsiteY1720" fmla="*/ 5076184 h 7571038"/>
                  <a:gd name="connsiteX1721" fmla="*/ 606849 w 4381952"/>
                  <a:gd name="connsiteY1721" fmla="*/ 5074705 h 7571038"/>
                  <a:gd name="connsiteX1722" fmla="*/ 605371 w 4381952"/>
                  <a:gd name="connsiteY1722" fmla="*/ 5076184 h 7571038"/>
                  <a:gd name="connsiteX1723" fmla="*/ 606849 w 4381952"/>
                  <a:gd name="connsiteY1723" fmla="*/ 5077665 h 7571038"/>
                  <a:gd name="connsiteX1724" fmla="*/ 608330 w 4381952"/>
                  <a:gd name="connsiteY1724" fmla="*/ 5076184 h 7571038"/>
                  <a:gd name="connsiteX1725" fmla="*/ 610304 w 4381952"/>
                  <a:gd name="connsiteY1725" fmla="*/ 1056250 h 7571038"/>
                  <a:gd name="connsiteX1726" fmla="*/ 594523 w 4381952"/>
                  <a:gd name="connsiteY1726" fmla="*/ 1040479 h 7571038"/>
                  <a:gd name="connsiteX1727" fmla="*/ 578989 w 4381952"/>
                  <a:gd name="connsiteY1727" fmla="*/ 1056250 h 7571038"/>
                  <a:gd name="connsiteX1728" fmla="*/ 594523 w 4381952"/>
                  <a:gd name="connsiteY1728" fmla="*/ 1072051 h 7571038"/>
                  <a:gd name="connsiteX1729" fmla="*/ 610304 w 4381952"/>
                  <a:gd name="connsiteY1729" fmla="*/ 1056250 h 7571038"/>
                  <a:gd name="connsiteX1730" fmla="*/ 614250 w 4381952"/>
                  <a:gd name="connsiteY1730" fmla="*/ 6897886 h 7571038"/>
                  <a:gd name="connsiteX1731" fmla="*/ 610796 w 4381952"/>
                  <a:gd name="connsiteY1731" fmla="*/ 6894433 h 7571038"/>
                  <a:gd name="connsiteX1732" fmla="*/ 607346 w 4381952"/>
                  <a:gd name="connsiteY1732" fmla="*/ 6897886 h 7571038"/>
                  <a:gd name="connsiteX1733" fmla="*/ 610796 w 4381952"/>
                  <a:gd name="connsiteY1733" fmla="*/ 6901337 h 7571038"/>
                  <a:gd name="connsiteX1734" fmla="*/ 614250 w 4381952"/>
                  <a:gd name="connsiteY1734" fmla="*/ 6897886 h 7571038"/>
                  <a:gd name="connsiteX1735" fmla="*/ 615976 w 4381952"/>
                  <a:gd name="connsiteY1735" fmla="*/ 1182744 h 7571038"/>
                  <a:gd name="connsiteX1736" fmla="*/ 600933 w 4381952"/>
                  <a:gd name="connsiteY1736" fmla="*/ 1167705 h 7571038"/>
                  <a:gd name="connsiteX1737" fmla="*/ 585893 w 4381952"/>
                  <a:gd name="connsiteY1737" fmla="*/ 1182744 h 7571038"/>
                  <a:gd name="connsiteX1738" fmla="*/ 600933 w 4381952"/>
                  <a:gd name="connsiteY1738" fmla="*/ 1197789 h 7571038"/>
                  <a:gd name="connsiteX1739" fmla="*/ 615976 w 4381952"/>
                  <a:gd name="connsiteY1739" fmla="*/ 1182744 h 7571038"/>
                  <a:gd name="connsiteX1740" fmla="*/ 615976 w 4381952"/>
                  <a:gd name="connsiteY1740" fmla="*/ 6779036 h 7571038"/>
                  <a:gd name="connsiteX1741" fmla="*/ 612769 w 4381952"/>
                  <a:gd name="connsiteY1741" fmla="*/ 6775831 h 7571038"/>
                  <a:gd name="connsiteX1742" fmla="*/ 609564 w 4381952"/>
                  <a:gd name="connsiteY1742" fmla="*/ 6779036 h 7571038"/>
                  <a:gd name="connsiteX1743" fmla="*/ 612769 w 4381952"/>
                  <a:gd name="connsiteY1743" fmla="*/ 6781995 h 7571038"/>
                  <a:gd name="connsiteX1744" fmla="*/ 615976 w 4381952"/>
                  <a:gd name="connsiteY1744" fmla="*/ 6779036 h 7571038"/>
                  <a:gd name="connsiteX1745" fmla="*/ 617206 w 4381952"/>
                  <a:gd name="connsiteY1745" fmla="*/ 6659448 h 7571038"/>
                  <a:gd name="connsiteX1746" fmla="*/ 615233 w 4381952"/>
                  <a:gd name="connsiteY1746" fmla="*/ 6657475 h 7571038"/>
                  <a:gd name="connsiteX1747" fmla="*/ 613261 w 4381952"/>
                  <a:gd name="connsiteY1747" fmla="*/ 6659448 h 7571038"/>
                  <a:gd name="connsiteX1748" fmla="*/ 615233 w 4381952"/>
                  <a:gd name="connsiteY1748" fmla="*/ 6661420 h 7571038"/>
                  <a:gd name="connsiteX1749" fmla="*/ 617206 w 4381952"/>
                  <a:gd name="connsiteY1749" fmla="*/ 6659448 h 7571038"/>
                  <a:gd name="connsiteX1750" fmla="*/ 617701 w 4381952"/>
                  <a:gd name="connsiteY1750" fmla="*/ 3420256 h 7571038"/>
                  <a:gd name="connsiteX1751" fmla="*/ 588852 w 4381952"/>
                  <a:gd name="connsiteY1751" fmla="*/ 3391411 h 7571038"/>
                  <a:gd name="connsiteX1752" fmla="*/ 560003 w 4381952"/>
                  <a:gd name="connsiteY1752" fmla="*/ 3420256 h 7571038"/>
                  <a:gd name="connsiteX1753" fmla="*/ 588852 w 4381952"/>
                  <a:gd name="connsiteY1753" fmla="*/ 3449103 h 7571038"/>
                  <a:gd name="connsiteX1754" fmla="*/ 617701 w 4381952"/>
                  <a:gd name="connsiteY1754" fmla="*/ 3420256 h 7571038"/>
                  <a:gd name="connsiteX1755" fmla="*/ 618686 w 4381952"/>
                  <a:gd name="connsiteY1755" fmla="*/ 4569472 h 7571038"/>
                  <a:gd name="connsiteX1756" fmla="*/ 603643 w 4381952"/>
                  <a:gd name="connsiteY1756" fmla="*/ 4554431 h 7571038"/>
                  <a:gd name="connsiteX1757" fmla="*/ 588603 w 4381952"/>
                  <a:gd name="connsiteY1757" fmla="*/ 4569472 h 7571038"/>
                  <a:gd name="connsiteX1758" fmla="*/ 603643 w 4381952"/>
                  <a:gd name="connsiteY1758" fmla="*/ 4584515 h 7571038"/>
                  <a:gd name="connsiteX1759" fmla="*/ 618686 w 4381952"/>
                  <a:gd name="connsiteY1759" fmla="*/ 4569472 h 7571038"/>
                  <a:gd name="connsiteX1760" fmla="*/ 621154 w 4381952"/>
                  <a:gd name="connsiteY1760" fmla="*/ 2388360 h 7571038"/>
                  <a:gd name="connsiteX1761" fmla="*/ 601920 w 4381952"/>
                  <a:gd name="connsiteY1761" fmla="*/ 2369375 h 7571038"/>
                  <a:gd name="connsiteX1762" fmla="*/ 582689 w 4381952"/>
                  <a:gd name="connsiteY1762" fmla="*/ 2388360 h 7571038"/>
                  <a:gd name="connsiteX1763" fmla="*/ 601920 w 4381952"/>
                  <a:gd name="connsiteY1763" fmla="*/ 2407345 h 7571038"/>
                  <a:gd name="connsiteX1764" fmla="*/ 621154 w 4381952"/>
                  <a:gd name="connsiteY1764" fmla="*/ 2388360 h 7571038"/>
                  <a:gd name="connsiteX1765" fmla="*/ 621155 w 4381952"/>
                  <a:gd name="connsiteY1765" fmla="*/ 2908125 h 7571038"/>
                  <a:gd name="connsiteX1766" fmla="*/ 577262 w 4381952"/>
                  <a:gd name="connsiteY1766" fmla="*/ 2864234 h 7571038"/>
                  <a:gd name="connsiteX1767" fmla="*/ 533374 w 4381952"/>
                  <a:gd name="connsiteY1767" fmla="*/ 2908125 h 7571038"/>
                  <a:gd name="connsiteX1768" fmla="*/ 577262 w 4381952"/>
                  <a:gd name="connsiteY1768" fmla="*/ 2952017 h 7571038"/>
                  <a:gd name="connsiteX1769" fmla="*/ 621155 w 4381952"/>
                  <a:gd name="connsiteY1769" fmla="*/ 2908125 h 7571038"/>
                  <a:gd name="connsiteX1770" fmla="*/ 621893 w 4381952"/>
                  <a:gd name="connsiteY1770" fmla="*/ 1310942 h 7571038"/>
                  <a:gd name="connsiteX1771" fmla="*/ 607838 w 4381952"/>
                  <a:gd name="connsiteY1771" fmla="*/ 1296885 h 7571038"/>
                  <a:gd name="connsiteX1772" fmla="*/ 593784 w 4381952"/>
                  <a:gd name="connsiteY1772" fmla="*/ 1310942 h 7571038"/>
                  <a:gd name="connsiteX1773" fmla="*/ 607838 w 4381952"/>
                  <a:gd name="connsiteY1773" fmla="*/ 1324991 h 7571038"/>
                  <a:gd name="connsiteX1774" fmla="*/ 621893 w 4381952"/>
                  <a:gd name="connsiteY1774" fmla="*/ 1310942 h 7571038"/>
                  <a:gd name="connsiteX1775" fmla="*/ 624602 w 4381952"/>
                  <a:gd name="connsiteY1775" fmla="*/ 3768345 h 7571038"/>
                  <a:gd name="connsiteX1776" fmla="*/ 614493 w 4381952"/>
                  <a:gd name="connsiteY1776" fmla="*/ 3758236 h 7571038"/>
                  <a:gd name="connsiteX1777" fmla="*/ 604384 w 4381952"/>
                  <a:gd name="connsiteY1777" fmla="*/ 3768345 h 7571038"/>
                  <a:gd name="connsiteX1778" fmla="*/ 614493 w 4381952"/>
                  <a:gd name="connsiteY1778" fmla="*/ 3778457 h 7571038"/>
                  <a:gd name="connsiteX1779" fmla="*/ 624602 w 4381952"/>
                  <a:gd name="connsiteY1779" fmla="*/ 3768345 h 7571038"/>
                  <a:gd name="connsiteX1780" fmla="*/ 627068 w 4381952"/>
                  <a:gd name="connsiteY1780" fmla="*/ 59015 h 7571038"/>
                  <a:gd name="connsiteX1781" fmla="*/ 607834 w 4381952"/>
                  <a:gd name="connsiteY1781" fmla="*/ 39785 h 7571038"/>
                  <a:gd name="connsiteX1782" fmla="*/ 588603 w 4381952"/>
                  <a:gd name="connsiteY1782" fmla="*/ 59015 h 7571038"/>
                  <a:gd name="connsiteX1783" fmla="*/ 607834 w 4381952"/>
                  <a:gd name="connsiteY1783" fmla="*/ 78248 h 7571038"/>
                  <a:gd name="connsiteX1784" fmla="*/ 627068 w 4381952"/>
                  <a:gd name="connsiteY1784" fmla="*/ 59015 h 7571038"/>
                  <a:gd name="connsiteX1785" fmla="*/ 629042 w 4381952"/>
                  <a:gd name="connsiteY1785" fmla="*/ 177836 h 7571038"/>
                  <a:gd name="connsiteX1786" fmla="*/ 610302 w 4381952"/>
                  <a:gd name="connsiteY1786" fmla="*/ 159097 h 7571038"/>
                  <a:gd name="connsiteX1787" fmla="*/ 591317 w 4381952"/>
                  <a:gd name="connsiteY1787" fmla="*/ 177836 h 7571038"/>
                  <a:gd name="connsiteX1788" fmla="*/ 610302 w 4381952"/>
                  <a:gd name="connsiteY1788" fmla="*/ 196821 h 7571038"/>
                  <a:gd name="connsiteX1789" fmla="*/ 629042 w 4381952"/>
                  <a:gd name="connsiteY1789" fmla="*/ 177836 h 7571038"/>
                  <a:gd name="connsiteX1790" fmla="*/ 629537 w 4381952"/>
                  <a:gd name="connsiteY1790" fmla="*/ 1440628 h 7571038"/>
                  <a:gd name="connsiteX1791" fmla="*/ 615237 w 4381952"/>
                  <a:gd name="connsiteY1791" fmla="*/ 1426327 h 7571038"/>
                  <a:gd name="connsiteX1792" fmla="*/ 600934 w 4381952"/>
                  <a:gd name="connsiteY1792" fmla="*/ 1440628 h 7571038"/>
                  <a:gd name="connsiteX1793" fmla="*/ 615237 w 4381952"/>
                  <a:gd name="connsiteY1793" fmla="*/ 1454925 h 7571038"/>
                  <a:gd name="connsiteX1794" fmla="*/ 629537 w 4381952"/>
                  <a:gd name="connsiteY1794" fmla="*/ 1440628 h 7571038"/>
                  <a:gd name="connsiteX1795" fmla="*/ 631017 w 4381952"/>
                  <a:gd name="connsiteY1795" fmla="*/ 6174185 h 7571038"/>
                  <a:gd name="connsiteX1796" fmla="*/ 627564 w 4381952"/>
                  <a:gd name="connsiteY1796" fmla="*/ 6170733 h 7571038"/>
                  <a:gd name="connsiteX1797" fmla="*/ 624359 w 4381952"/>
                  <a:gd name="connsiteY1797" fmla="*/ 6174185 h 7571038"/>
                  <a:gd name="connsiteX1798" fmla="*/ 627564 w 4381952"/>
                  <a:gd name="connsiteY1798" fmla="*/ 6177637 h 7571038"/>
                  <a:gd name="connsiteX1799" fmla="*/ 631017 w 4381952"/>
                  <a:gd name="connsiteY1799" fmla="*/ 6174185 h 7571038"/>
                  <a:gd name="connsiteX1800" fmla="*/ 631263 w 4381952"/>
                  <a:gd name="connsiteY1800" fmla="*/ 297151 h 7571038"/>
                  <a:gd name="connsiteX1801" fmla="*/ 612770 w 4381952"/>
                  <a:gd name="connsiteY1801" fmla="*/ 278658 h 7571038"/>
                  <a:gd name="connsiteX1802" fmla="*/ 594275 w 4381952"/>
                  <a:gd name="connsiteY1802" fmla="*/ 297151 h 7571038"/>
                  <a:gd name="connsiteX1803" fmla="*/ 612770 w 4381952"/>
                  <a:gd name="connsiteY1803" fmla="*/ 315645 h 7571038"/>
                  <a:gd name="connsiteX1804" fmla="*/ 631263 w 4381952"/>
                  <a:gd name="connsiteY1804" fmla="*/ 297151 h 7571038"/>
                  <a:gd name="connsiteX1805" fmla="*/ 631754 w 4381952"/>
                  <a:gd name="connsiteY1805" fmla="*/ 3303873 h 7571038"/>
                  <a:gd name="connsiteX1806" fmla="*/ 597233 w 4381952"/>
                  <a:gd name="connsiteY1806" fmla="*/ 3269355 h 7571038"/>
                  <a:gd name="connsiteX1807" fmla="*/ 562959 w 4381952"/>
                  <a:gd name="connsiteY1807" fmla="*/ 3303873 h 7571038"/>
                  <a:gd name="connsiteX1808" fmla="*/ 597233 w 4381952"/>
                  <a:gd name="connsiteY1808" fmla="*/ 3338395 h 7571038"/>
                  <a:gd name="connsiteX1809" fmla="*/ 631754 w 4381952"/>
                  <a:gd name="connsiteY1809" fmla="*/ 3303873 h 7571038"/>
                  <a:gd name="connsiteX1810" fmla="*/ 633235 w 4381952"/>
                  <a:gd name="connsiteY1810" fmla="*/ 6418295 h 7571038"/>
                  <a:gd name="connsiteX1811" fmla="*/ 620414 w 4381952"/>
                  <a:gd name="connsiteY1811" fmla="*/ 6405473 h 7571038"/>
                  <a:gd name="connsiteX1812" fmla="*/ 607592 w 4381952"/>
                  <a:gd name="connsiteY1812" fmla="*/ 6418295 h 7571038"/>
                  <a:gd name="connsiteX1813" fmla="*/ 620414 w 4381952"/>
                  <a:gd name="connsiteY1813" fmla="*/ 6431117 h 7571038"/>
                  <a:gd name="connsiteX1814" fmla="*/ 633235 w 4381952"/>
                  <a:gd name="connsiteY1814" fmla="*/ 6418295 h 7571038"/>
                  <a:gd name="connsiteX1815" fmla="*/ 633727 w 4381952"/>
                  <a:gd name="connsiteY1815" fmla="*/ 417206 h 7571038"/>
                  <a:gd name="connsiteX1816" fmla="*/ 615482 w 4381952"/>
                  <a:gd name="connsiteY1816" fmla="*/ 398961 h 7571038"/>
                  <a:gd name="connsiteX1817" fmla="*/ 597234 w 4381952"/>
                  <a:gd name="connsiteY1817" fmla="*/ 417206 h 7571038"/>
                  <a:gd name="connsiteX1818" fmla="*/ 615482 w 4381952"/>
                  <a:gd name="connsiteY1818" fmla="*/ 435453 h 7571038"/>
                  <a:gd name="connsiteX1819" fmla="*/ 633727 w 4381952"/>
                  <a:gd name="connsiteY1819" fmla="*/ 417206 h 7571038"/>
                  <a:gd name="connsiteX1820" fmla="*/ 635207 w 4381952"/>
                  <a:gd name="connsiteY1820" fmla="*/ 4157197 h 7571038"/>
                  <a:gd name="connsiteX1821" fmla="*/ 620905 w 4381952"/>
                  <a:gd name="connsiteY1821" fmla="*/ 4142894 h 7571038"/>
                  <a:gd name="connsiteX1822" fmla="*/ 606605 w 4381952"/>
                  <a:gd name="connsiteY1822" fmla="*/ 4157197 h 7571038"/>
                  <a:gd name="connsiteX1823" fmla="*/ 620905 w 4381952"/>
                  <a:gd name="connsiteY1823" fmla="*/ 4171497 h 7571038"/>
                  <a:gd name="connsiteX1824" fmla="*/ 635207 w 4381952"/>
                  <a:gd name="connsiteY1824" fmla="*/ 4157197 h 7571038"/>
                  <a:gd name="connsiteX1825" fmla="*/ 635946 w 4381952"/>
                  <a:gd name="connsiteY1825" fmla="*/ 1572031 h 7571038"/>
                  <a:gd name="connsiteX1826" fmla="*/ 624359 w 4381952"/>
                  <a:gd name="connsiteY1826" fmla="*/ 1560443 h 7571038"/>
                  <a:gd name="connsiteX1827" fmla="*/ 612770 w 4381952"/>
                  <a:gd name="connsiteY1827" fmla="*/ 1572031 h 7571038"/>
                  <a:gd name="connsiteX1828" fmla="*/ 624359 w 4381952"/>
                  <a:gd name="connsiteY1828" fmla="*/ 1583618 h 7571038"/>
                  <a:gd name="connsiteX1829" fmla="*/ 635946 w 4381952"/>
                  <a:gd name="connsiteY1829" fmla="*/ 1572031 h 7571038"/>
                  <a:gd name="connsiteX1830" fmla="*/ 636195 w 4381952"/>
                  <a:gd name="connsiteY1830" fmla="*/ 6539364 h 7571038"/>
                  <a:gd name="connsiteX1831" fmla="*/ 617701 w 4381952"/>
                  <a:gd name="connsiteY1831" fmla="*/ 6520870 h 7571038"/>
                  <a:gd name="connsiteX1832" fmla="*/ 599208 w 4381952"/>
                  <a:gd name="connsiteY1832" fmla="*/ 6539364 h 7571038"/>
                  <a:gd name="connsiteX1833" fmla="*/ 617701 w 4381952"/>
                  <a:gd name="connsiteY1833" fmla="*/ 6558104 h 7571038"/>
                  <a:gd name="connsiteX1834" fmla="*/ 636195 w 4381952"/>
                  <a:gd name="connsiteY1834" fmla="*/ 6539364 h 7571038"/>
                  <a:gd name="connsiteX1835" fmla="*/ 636688 w 4381952"/>
                  <a:gd name="connsiteY1835" fmla="*/ 538004 h 7571038"/>
                  <a:gd name="connsiteX1836" fmla="*/ 618686 w 4381952"/>
                  <a:gd name="connsiteY1836" fmla="*/ 520005 h 7571038"/>
                  <a:gd name="connsiteX1837" fmla="*/ 600687 w 4381952"/>
                  <a:gd name="connsiteY1837" fmla="*/ 538004 h 7571038"/>
                  <a:gd name="connsiteX1838" fmla="*/ 618686 w 4381952"/>
                  <a:gd name="connsiteY1838" fmla="*/ 556003 h 7571038"/>
                  <a:gd name="connsiteX1839" fmla="*/ 636688 w 4381952"/>
                  <a:gd name="connsiteY1839" fmla="*/ 538004 h 7571038"/>
                  <a:gd name="connsiteX1840" fmla="*/ 637180 w 4381952"/>
                  <a:gd name="connsiteY1840" fmla="*/ 6296734 h 7571038"/>
                  <a:gd name="connsiteX1841" fmla="*/ 623867 w 4381952"/>
                  <a:gd name="connsiteY1841" fmla="*/ 6283418 h 7571038"/>
                  <a:gd name="connsiteX1842" fmla="*/ 610551 w 4381952"/>
                  <a:gd name="connsiteY1842" fmla="*/ 6296734 h 7571038"/>
                  <a:gd name="connsiteX1843" fmla="*/ 623867 w 4381952"/>
                  <a:gd name="connsiteY1843" fmla="*/ 6310048 h 7571038"/>
                  <a:gd name="connsiteX1844" fmla="*/ 637180 w 4381952"/>
                  <a:gd name="connsiteY1844" fmla="*/ 6296734 h 7571038"/>
                  <a:gd name="connsiteX1845" fmla="*/ 638905 w 4381952"/>
                  <a:gd name="connsiteY1845" fmla="*/ 659836 h 7571038"/>
                  <a:gd name="connsiteX1846" fmla="*/ 621646 w 4381952"/>
                  <a:gd name="connsiteY1846" fmla="*/ 642561 h 7571038"/>
                  <a:gd name="connsiteX1847" fmla="*/ 604384 w 4381952"/>
                  <a:gd name="connsiteY1847" fmla="*/ 659836 h 7571038"/>
                  <a:gd name="connsiteX1848" fmla="*/ 621646 w 4381952"/>
                  <a:gd name="connsiteY1848" fmla="*/ 677093 h 7571038"/>
                  <a:gd name="connsiteX1849" fmla="*/ 638905 w 4381952"/>
                  <a:gd name="connsiteY1849" fmla="*/ 659836 h 7571038"/>
                  <a:gd name="connsiteX1850" fmla="*/ 641126 w 4381952"/>
                  <a:gd name="connsiteY1850" fmla="*/ 2009373 h 7571038"/>
                  <a:gd name="connsiteX1851" fmla="*/ 630768 w 4381952"/>
                  <a:gd name="connsiteY1851" fmla="*/ 1999023 h 7571038"/>
                  <a:gd name="connsiteX1852" fmla="*/ 620414 w 4381952"/>
                  <a:gd name="connsiteY1852" fmla="*/ 2009373 h 7571038"/>
                  <a:gd name="connsiteX1853" fmla="*/ 630768 w 4381952"/>
                  <a:gd name="connsiteY1853" fmla="*/ 2019727 h 7571038"/>
                  <a:gd name="connsiteX1854" fmla="*/ 641126 w 4381952"/>
                  <a:gd name="connsiteY1854" fmla="*/ 2009373 h 7571038"/>
                  <a:gd name="connsiteX1855" fmla="*/ 642112 w 4381952"/>
                  <a:gd name="connsiteY1855" fmla="*/ 782364 h 7571038"/>
                  <a:gd name="connsiteX1856" fmla="*/ 625345 w 4381952"/>
                  <a:gd name="connsiteY1856" fmla="*/ 765600 h 7571038"/>
                  <a:gd name="connsiteX1857" fmla="*/ 608578 w 4381952"/>
                  <a:gd name="connsiteY1857" fmla="*/ 782364 h 7571038"/>
                  <a:gd name="connsiteX1858" fmla="*/ 625345 w 4381952"/>
                  <a:gd name="connsiteY1858" fmla="*/ 799131 h 7571038"/>
                  <a:gd name="connsiteX1859" fmla="*/ 642112 w 4381952"/>
                  <a:gd name="connsiteY1859" fmla="*/ 782364 h 7571038"/>
                  <a:gd name="connsiteX1860" fmla="*/ 642852 w 4381952"/>
                  <a:gd name="connsiteY1860" fmla="*/ 1705167 h 7571038"/>
                  <a:gd name="connsiteX1861" fmla="*/ 634714 w 4381952"/>
                  <a:gd name="connsiteY1861" fmla="*/ 1697030 h 7571038"/>
                  <a:gd name="connsiteX1862" fmla="*/ 626577 w 4381952"/>
                  <a:gd name="connsiteY1862" fmla="*/ 1705167 h 7571038"/>
                  <a:gd name="connsiteX1863" fmla="*/ 634714 w 4381952"/>
                  <a:gd name="connsiteY1863" fmla="*/ 1713279 h 7571038"/>
                  <a:gd name="connsiteX1864" fmla="*/ 642852 w 4381952"/>
                  <a:gd name="connsiteY1864" fmla="*/ 1705167 h 7571038"/>
                  <a:gd name="connsiteX1865" fmla="*/ 650249 w 4381952"/>
                  <a:gd name="connsiteY1865" fmla="*/ 3188725 h 7571038"/>
                  <a:gd name="connsiteX1866" fmla="*/ 614002 w 4381952"/>
                  <a:gd name="connsiteY1866" fmla="*/ 3152476 h 7571038"/>
                  <a:gd name="connsiteX1867" fmla="*/ 577755 w 4381952"/>
                  <a:gd name="connsiteY1867" fmla="*/ 3188725 h 7571038"/>
                  <a:gd name="connsiteX1868" fmla="*/ 614002 w 4381952"/>
                  <a:gd name="connsiteY1868" fmla="*/ 3224972 h 7571038"/>
                  <a:gd name="connsiteX1869" fmla="*/ 650249 w 4381952"/>
                  <a:gd name="connsiteY1869" fmla="*/ 3188725 h 7571038"/>
                  <a:gd name="connsiteX1870" fmla="*/ 651976 w 4381952"/>
                  <a:gd name="connsiteY1870" fmla="*/ 1840805 h 7571038"/>
                  <a:gd name="connsiteX1871" fmla="*/ 646552 w 4381952"/>
                  <a:gd name="connsiteY1871" fmla="*/ 1835383 h 7571038"/>
                  <a:gd name="connsiteX1872" fmla="*/ 641126 w 4381952"/>
                  <a:gd name="connsiteY1872" fmla="*/ 1840805 h 7571038"/>
                  <a:gd name="connsiteX1873" fmla="*/ 646552 w 4381952"/>
                  <a:gd name="connsiteY1873" fmla="*/ 1846226 h 7571038"/>
                  <a:gd name="connsiteX1874" fmla="*/ 651976 w 4381952"/>
                  <a:gd name="connsiteY1874" fmla="*/ 1840805 h 7571038"/>
                  <a:gd name="connsiteX1875" fmla="*/ 652468 w 4381952"/>
                  <a:gd name="connsiteY1875" fmla="*/ 5805802 h 7571038"/>
                  <a:gd name="connsiteX1876" fmla="*/ 650495 w 4381952"/>
                  <a:gd name="connsiteY1876" fmla="*/ 5803829 h 7571038"/>
                  <a:gd name="connsiteX1877" fmla="*/ 648522 w 4381952"/>
                  <a:gd name="connsiteY1877" fmla="*/ 5805802 h 7571038"/>
                  <a:gd name="connsiteX1878" fmla="*/ 650495 w 4381952"/>
                  <a:gd name="connsiteY1878" fmla="*/ 5807774 h 7571038"/>
                  <a:gd name="connsiteX1879" fmla="*/ 652468 w 4381952"/>
                  <a:gd name="connsiteY1879" fmla="*/ 5805802 h 7571038"/>
                  <a:gd name="connsiteX1880" fmla="*/ 653702 w 4381952"/>
                  <a:gd name="connsiteY1880" fmla="*/ 3882265 h 7571038"/>
                  <a:gd name="connsiteX1881" fmla="*/ 639895 w 4381952"/>
                  <a:gd name="connsiteY1881" fmla="*/ 3868457 h 7571038"/>
                  <a:gd name="connsiteX1882" fmla="*/ 626086 w 4381952"/>
                  <a:gd name="connsiteY1882" fmla="*/ 3882265 h 7571038"/>
                  <a:gd name="connsiteX1883" fmla="*/ 639895 w 4381952"/>
                  <a:gd name="connsiteY1883" fmla="*/ 3896073 h 7571038"/>
                  <a:gd name="connsiteX1884" fmla="*/ 653702 w 4381952"/>
                  <a:gd name="connsiteY1884" fmla="*/ 3882265 h 7571038"/>
                  <a:gd name="connsiteX1885" fmla="*/ 653948 w 4381952"/>
                  <a:gd name="connsiteY1885" fmla="*/ 2539248 h 7571038"/>
                  <a:gd name="connsiteX1886" fmla="*/ 633236 w 4381952"/>
                  <a:gd name="connsiteY1886" fmla="*/ 2518537 h 7571038"/>
                  <a:gd name="connsiteX1887" fmla="*/ 612770 w 4381952"/>
                  <a:gd name="connsiteY1887" fmla="*/ 2539248 h 7571038"/>
                  <a:gd name="connsiteX1888" fmla="*/ 633236 w 4381952"/>
                  <a:gd name="connsiteY1888" fmla="*/ 2559962 h 7571038"/>
                  <a:gd name="connsiteX1889" fmla="*/ 653948 w 4381952"/>
                  <a:gd name="connsiteY1889" fmla="*/ 2539248 h 7571038"/>
                  <a:gd name="connsiteX1890" fmla="*/ 658386 w 4381952"/>
                  <a:gd name="connsiteY1890" fmla="*/ 5679064 h 7571038"/>
                  <a:gd name="connsiteX1891" fmla="*/ 656412 w 4381952"/>
                  <a:gd name="connsiteY1891" fmla="*/ 5677090 h 7571038"/>
                  <a:gd name="connsiteX1892" fmla="*/ 654440 w 4381952"/>
                  <a:gd name="connsiteY1892" fmla="*/ 5679064 h 7571038"/>
                  <a:gd name="connsiteX1893" fmla="*/ 656412 w 4381952"/>
                  <a:gd name="connsiteY1893" fmla="*/ 5681036 h 7571038"/>
                  <a:gd name="connsiteX1894" fmla="*/ 658386 w 4381952"/>
                  <a:gd name="connsiteY1894" fmla="*/ 5679064 h 7571038"/>
                  <a:gd name="connsiteX1895" fmla="*/ 659867 w 4381952"/>
                  <a:gd name="connsiteY1895" fmla="*/ 4417827 h 7571038"/>
                  <a:gd name="connsiteX1896" fmla="*/ 634223 w 4381952"/>
                  <a:gd name="connsiteY1896" fmla="*/ 4392183 h 7571038"/>
                  <a:gd name="connsiteX1897" fmla="*/ 608578 w 4381952"/>
                  <a:gd name="connsiteY1897" fmla="*/ 4417827 h 7571038"/>
                  <a:gd name="connsiteX1898" fmla="*/ 634223 w 4381952"/>
                  <a:gd name="connsiteY1898" fmla="*/ 4443471 h 7571038"/>
                  <a:gd name="connsiteX1899" fmla="*/ 659867 w 4381952"/>
                  <a:gd name="connsiteY1899" fmla="*/ 4417827 h 7571038"/>
                  <a:gd name="connsiteX1900" fmla="*/ 660604 w 4381952"/>
                  <a:gd name="connsiteY1900" fmla="*/ 6055584 h 7571038"/>
                  <a:gd name="connsiteX1901" fmla="*/ 639891 w 4381952"/>
                  <a:gd name="connsiteY1901" fmla="*/ 6035118 h 7571038"/>
                  <a:gd name="connsiteX1902" fmla="*/ 619179 w 4381952"/>
                  <a:gd name="connsiteY1902" fmla="*/ 6055584 h 7571038"/>
                  <a:gd name="connsiteX1903" fmla="*/ 639891 w 4381952"/>
                  <a:gd name="connsiteY1903" fmla="*/ 6076297 h 7571038"/>
                  <a:gd name="connsiteX1904" fmla="*/ 660604 w 4381952"/>
                  <a:gd name="connsiteY1904" fmla="*/ 6055584 h 7571038"/>
                  <a:gd name="connsiteX1905" fmla="*/ 662084 w 4381952"/>
                  <a:gd name="connsiteY1905" fmla="*/ 2799877 h 7571038"/>
                  <a:gd name="connsiteX1906" fmla="*/ 619920 w 4381952"/>
                  <a:gd name="connsiteY1906" fmla="*/ 2757710 h 7571038"/>
                  <a:gd name="connsiteX1907" fmla="*/ 577755 w 4381952"/>
                  <a:gd name="connsiteY1907" fmla="*/ 2799877 h 7571038"/>
                  <a:gd name="connsiteX1908" fmla="*/ 619920 w 4381952"/>
                  <a:gd name="connsiteY1908" fmla="*/ 2842040 h 7571038"/>
                  <a:gd name="connsiteX1909" fmla="*/ 662084 w 4381952"/>
                  <a:gd name="connsiteY1909" fmla="*/ 2799877 h 7571038"/>
                  <a:gd name="connsiteX1910" fmla="*/ 665289 w 4381952"/>
                  <a:gd name="connsiteY1910" fmla="*/ 4947720 h 7571038"/>
                  <a:gd name="connsiteX1911" fmla="*/ 632742 w 4381952"/>
                  <a:gd name="connsiteY1911" fmla="*/ 4915418 h 7571038"/>
                  <a:gd name="connsiteX1912" fmla="*/ 600193 w 4381952"/>
                  <a:gd name="connsiteY1912" fmla="*/ 4947720 h 7571038"/>
                  <a:gd name="connsiteX1913" fmla="*/ 632742 w 4381952"/>
                  <a:gd name="connsiteY1913" fmla="*/ 4980269 h 7571038"/>
                  <a:gd name="connsiteX1914" fmla="*/ 665289 w 4381952"/>
                  <a:gd name="connsiteY1914" fmla="*/ 4947720 h 7571038"/>
                  <a:gd name="connsiteX1915" fmla="*/ 666278 w 4381952"/>
                  <a:gd name="connsiteY1915" fmla="*/ 5550843 h 7571038"/>
                  <a:gd name="connsiteX1916" fmla="*/ 663564 w 4381952"/>
                  <a:gd name="connsiteY1916" fmla="*/ 5548130 h 7571038"/>
                  <a:gd name="connsiteX1917" fmla="*/ 660852 w 4381952"/>
                  <a:gd name="connsiteY1917" fmla="*/ 5550843 h 7571038"/>
                  <a:gd name="connsiteX1918" fmla="*/ 663564 w 4381952"/>
                  <a:gd name="connsiteY1918" fmla="*/ 5553802 h 7571038"/>
                  <a:gd name="connsiteX1919" fmla="*/ 666278 w 4381952"/>
                  <a:gd name="connsiteY1919" fmla="*/ 5550843 h 7571038"/>
                  <a:gd name="connsiteX1920" fmla="*/ 669480 w 4381952"/>
                  <a:gd name="connsiteY1920" fmla="*/ 5931307 h 7571038"/>
                  <a:gd name="connsiteX1921" fmla="*/ 644823 w 4381952"/>
                  <a:gd name="connsiteY1921" fmla="*/ 5906650 h 7571038"/>
                  <a:gd name="connsiteX1922" fmla="*/ 620165 w 4381952"/>
                  <a:gd name="connsiteY1922" fmla="*/ 5931307 h 7571038"/>
                  <a:gd name="connsiteX1923" fmla="*/ 644823 w 4381952"/>
                  <a:gd name="connsiteY1923" fmla="*/ 5955964 h 7571038"/>
                  <a:gd name="connsiteX1924" fmla="*/ 669480 w 4381952"/>
                  <a:gd name="connsiteY1924" fmla="*/ 5931307 h 7571038"/>
                  <a:gd name="connsiteX1925" fmla="*/ 672439 w 4381952"/>
                  <a:gd name="connsiteY1925" fmla="*/ 5421144 h 7571038"/>
                  <a:gd name="connsiteX1926" fmla="*/ 671701 w 4381952"/>
                  <a:gd name="connsiteY1926" fmla="*/ 5420403 h 7571038"/>
                  <a:gd name="connsiteX1927" fmla="*/ 670961 w 4381952"/>
                  <a:gd name="connsiteY1927" fmla="*/ 5421144 h 7571038"/>
                  <a:gd name="connsiteX1928" fmla="*/ 671701 w 4381952"/>
                  <a:gd name="connsiteY1928" fmla="*/ 5421881 h 7571038"/>
                  <a:gd name="connsiteX1929" fmla="*/ 672439 w 4381952"/>
                  <a:gd name="connsiteY1929" fmla="*/ 5421144 h 7571038"/>
                  <a:gd name="connsiteX1930" fmla="*/ 677617 w 4381952"/>
                  <a:gd name="connsiteY1930" fmla="*/ 3074804 h 7571038"/>
                  <a:gd name="connsiteX1931" fmla="*/ 639399 w 4381952"/>
                  <a:gd name="connsiteY1931" fmla="*/ 3036583 h 7571038"/>
                  <a:gd name="connsiteX1932" fmla="*/ 601180 w 4381952"/>
                  <a:gd name="connsiteY1932" fmla="*/ 3074804 h 7571038"/>
                  <a:gd name="connsiteX1933" fmla="*/ 639399 w 4381952"/>
                  <a:gd name="connsiteY1933" fmla="*/ 3113023 h 7571038"/>
                  <a:gd name="connsiteX1934" fmla="*/ 677617 w 4381952"/>
                  <a:gd name="connsiteY1934" fmla="*/ 3074804 h 7571038"/>
                  <a:gd name="connsiteX1935" fmla="*/ 678358 w 4381952"/>
                  <a:gd name="connsiteY1935" fmla="*/ 2294662 h 7571038"/>
                  <a:gd name="connsiteX1936" fmla="*/ 670715 w 4381952"/>
                  <a:gd name="connsiteY1936" fmla="*/ 2287018 h 7571038"/>
                  <a:gd name="connsiteX1937" fmla="*/ 663071 w 4381952"/>
                  <a:gd name="connsiteY1937" fmla="*/ 2294662 h 7571038"/>
                  <a:gd name="connsiteX1938" fmla="*/ 670715 w 4381952"/>
                  <a:gd name="connsiteY1938" fmla="*/ 2302301 h 7571038"/>
                  <a:gd name="connsiteX1939" fmla="*/ 678358 w 4381952"/>
                  <a:gd name="connsiteY1939" fmla="*/ 2294662 h 7571038"/>
                  <a:gd name="connsiteX1940" fmla="*/ 681811 w 4381952"/>
                  <a:gd name="connsiteY1940" fmla="*/ 2150423 h 7571038"/>
                  <a:gd name="connsiteX1941" fmla="*/ 649263 w 4381952"/>
                  <a:gd name="connsiteY1941" fmla="*/ 2117872 h 7571038"/>
                  <a:gd name="connsiteX1942" fmla="*/ 616715 w 4381952"/>
                  <a:gd name="connsiteY1942" fmla="*/ 2150423 h 7571038"/>
                  <a:gd name="connsiteX1943" fmla="*/ 649263 w 4381952"/>
                  <a:gd name="connsiteY1943" fmla="*/ 2182976 h 7571038"/>
                  <a:gd name="connsiteX1944" fmla="*/ 681811 w 4381952"/>
                  <a:gd name="connsiteY1944" fmla="*/ 2150423 h 7571038"/>
                  <a:gd name="connsiteX1945" fmla="*/ 682795 w 4381952"/>
                  <a:gd name="connsiteY1945" fmla="*/ 4806677 h 7571038"/>
                  <a:gd name="connsiteX1946" fmla="*/ 650986 w 4381952"/>
                  <a:gd name="connsiteY1946" fmla="*/ 4774869 h 7571038"/>
                  <a:gd name="connsiteX1947" fmla="*/ 619179 w 4381952"/>
                  <a:gd name="connsiteY1947" fmla="*/ 4806677 h 7571038"/>
                  <a:gd name="connsiteX1948" fmla="*/ 650986 w 4381952"/>
                  <a:gd name="connsiteY1948" fmla="*/ 4838487 h 7571038"/>
                  <a:gd name="connsiteX1949" fmla="*/ 682795 w 4381952"/>
                  <a:gd name="connsiteY1949" fmla="*/ 4806677 h 7571038"/>
                  <a:gd name="connsiteX1950" fmla="*/ 691179 w 4381952"/>
                  <a:gd name="connsiteY1950" fmla="*/ 4662676 h 7571038"/>
                  <a:gd name="connsiteX1951" fmla="*/ 672439 w 4381952"/>
                  <a:gd name="connsiteY1951" fmla="*/ 4643937 h 7571038"/>
                  <a:gd name="connsiteX1952" fmla="*/ 653699 w 4381952"/>
                  <a:gd name="connsiteY1952" fmla="*/ 4662676 h 7571038"/>
                  <a:gd name="connsiteX1953" fmla="*/ 672439 w 4381952"/>
                  <a:gd name="connsiteY1953" fmla="*/ 4681416 h 7571038"/>
                  <a:gd name="connsiteX1954" fmla="*/ 691179 w 4381952"/>
                  <a:gd name="connsiteY1954" fmla="*/ 4662676 h 7571038"/>
                  <a:gd name="connsiteX1955" fmla="*/ 691427 w 4381952"/>
                  <a:gd name="connsiteY1955" fmla="*/ 5289471 h 7571038"/>
                  <a:gd name="connsiteX1956" fmla="*/ 681070 w 4381952"/>
                  <a:gd name="connsiteY1956" fmla="*/ 5279116 h 7571038"/>
                  <a:gd name="connsiteX1957" fmla="*/ 670715 w 4381952"/>
                  <a:gd name="connsiteY1957" fmla="*/ 5289471 h 7571038"/>
                  <a:gd name="connsiteX1958" fmla="*/ 681070 w 4381952"/>
                  <a:gd name="connsiteY1958" fmla="*/ 5299829 h 7571038"/>
                  <a:gd name="connsiteX1959" fmla="*/ 691427 w 4381952"/>
                  <a:gd name="connsiteY1959" fmla="*/ 5289471 h 7571038"/>
                  <a:gd name="connsiteX1960" fmla="*/ 692660 w 4381952"/>
                  <a:gd name="connsiteY1960" fmla="*/ 3993715 h 7571038"/>
                  <a:gd name="connsiteX1961" fmla="*/ 673426 w 4381952"/>
                  <a:gd name="connsiteY1961" fmla="*/ 3974483 h 7571038"/>
                  <a:gd name="connsiteX1962" fmla="*/ 654195 w 4381952"/>
                  <a:gd name="connsiteY1962" fmla="*/ 3993715 h 7571038"/>
                  <a:gd name="connsiteX1963" fmla="*/ 673426 w 4381952"/>
                  <a:gd name="connsiteY1963" fmla="*/ 4012949 h 7571038"/>
                  <a:gd name="connsiteX1964" fmla="*/ 692660 w 4381952"/>
                  <a:gd name="connsiteY1964" fmla="*/ 3993715 h 7571038"/>
                  <a:gd name="connsiteX1965" fmla="*/ 693646 w 4381952"/>
                  <a:gd name="connsiteY1965" fmla="*/ 5156077 h 7571038"/>
                  <a:gd name="connsiteX1966" fmla="*/ 691922 w 4381952"/>
                  <a:gd name="connsiteY1966" fmla="*/ 5154350 h 7571038"/>
                  <a:gd name="connsiteX1967" fmla="*/ 690195 w 4381952"/>
                  <a:gd name="connsiteY1967" fmla="*/ 5156077 h 7571038"/>
                  <a:gd name="connsiteX1968" fmla="*/ 691922 w 4381952"/>
                  <a:gd name="connsiteY1968" fmla="*/ 5157801 h 7571038"/>
                  <a:gd name="connsiteX1969" fmla="*/ 693646 w 4381952"/>
                  <a:gd name="connsiteY1969" fmla="*/ 5156077 h 7571038"/>
                  <a:gd name="connsiteX1970" fmla="*/ 698823 w 4381952"/>
                  <a:gd name="connsiteY1970" fmla="*/ 3478375 h 7571038"/>
                  <a:gd name="connsiteX1971" fmla="*/ 696356 w 4381952"/>
                  <a:gd name="connsiteY1971" fmla="*/ 3475907 h 7571038"/>
                  <a:gd name="connsiteX1972" fmla="*/ 693892 w 4381952"/>
                  <a:gd name="connsiteY1972" fmla="*/ 3478375 h 7571038"/>
                  <a:gd name="connsiteX1973" fmla="*/ 696356 w 4381952"/>
                  <a:gd name="connsiteY1973" fmla="*/ 3480840 h 7571038"/>
                  <a:gd name="connsiteX1974" fmla="*/ 698823 w 4381952"/>
                  <a:gd name="connsiteY1974" fmla="*/ 3478375 h 7571038"/>
                  <a:gd name="connsiteX1975" fmla="*/ 700058 w 4381952"/>
                  <a:gd name="connsiteY1975" fmla="*/ 4262237 h 7571038"/>
                  <a:gd name="connsiteX1976" fmla="*/ 670964 w 4381952"/>
                  <a:gd name="connsiteY1976" fmla="*/ 4233143 h 7571038"/>
                  <a:gd name="connsiteX1977" fmla="*/ 641867 w 4381952"/>
                  <a:gd name="connsiteY1977" fmla="*/ 4262237 h 7571038"/>
                  <a:gd name="connsiteX1978" fmla="*/ 670964 w 4381952"/>
                  <a:gd name="connsiteY1978" fmla="*/ 4291335 h 7571038"/>
                  <a:gd name="connsiteX1979" fmla="*/ 700058 w 4381952"/>
                  <a:gd name="connsiteY1979" fmla="*/ 4262237 h 7571038"/>
                  <a:gd name="connsiteX1980" fmla="*/ 704248 w 4381952"/>
                  <a:gd name="connsiteY1980" fmla="*/ 3595003 h 7571038"/>
                  <a:gd name="connsiteX1981" fmla="*/ 700795 w 4381952"/>
                  <a:gd name="connsiteY1981" fmla="*/ 3591551 h 7571038"/>
                  <a:gd name="connsiteX1982" fmla="*/ 697345 w 4381952"/>
                  <a:gd name="connsiteY1982" fmla="*/ 3595003 h 7571038"/>
                  <a:gd name="connsiteX1983" fmla="*/ 700795 w 4381952"/>
                  <a:gd name="connsiteY1983" fmla="*/ 3598456 h 7571038"/>
                  <a:gd name="connsiteX1984" fmla="*/ 704248 w 4381952"/>
                  <a:gd name="connsiteY1984" fmla="*/ 3595003 h 7571038"/>
                  <a:gd name="connsiteX1985" fmla="*/ 705728 w 4381952"/>
                  <a:gd name="connsiteY1985" fmla="*/ 3361804 h 7571038"/>
                  <a:gd name="connsiteX1986" fmla="*/ 700796 w 4381952"/>
                  <a:gd name="connsiteY1986" fmla="*/ 3356878 h 7571038"/>
                  <a:gd name="connsiteX1987" fmla="*/ 695865 w 4381952"/>
                  <a:gd name="connsiteY1987" fmla="*/ 3361804 h 7571038"/>
                  <a:gd name="connsiteX1988" fmla="*/ 700796 w 4381952"/>
                  <a:gd name="connsiteY1988" fmla="*/ 3366738 h 7571038"/>
                  <a:gd name="connsiteX1989" fmla="*/ 705728 w 4381952"/>
                  <a:gd name="connsiteY1989" fmla="*/ 3361804 h 7571038"/>
                  <a:gd name="connsiteX1990" fmla="*/ 705974 w 4381952"/>
                  <a:gd name="connsiteY1990" fmla="*/ 871099 h 7571038"/>
                  <a:gd name="connsiteX1991" fmla="*/ 688469 w 4381952"/>
                  <a:gd name="connsiteY1991" fmla="*/ 853599 h 7571038"/>
                  <a:gd name="connsiteX1992" fmla="*/ 670961 w 4381952"/>
                  <a:gd name="connsiteY1992" fmla="*/ 871099 h 7571038"/>
                  <a:gd name="connsiteX1993" fmla="*/ 688469 w 4381952"/>
                  <a:gd name="connsiteY1993" fmla="*/ 888615 h 7571038"/>
                  <a:gd name="connsiteX1994" fmla="*/ 705974 w 4381952"/>
                  <a:gd name="connsiteY1994" fmla="*/ 871099 h 7571038"/>
                  <a:gd name="connsiteX1995" fmla="*/ 707454 w 4381952"/>
                  <a:gd name="connsiteY1995" fmla="*/ 2442101 h 7571038"/>
                  <a:gd name="connsiteX1996" fmla="*/ 696605 w 4381952"/>
                  <a:gd name="connsiteY1996" fmla="*/ 2431252 h 7571038"/>
                  <a:gd name="connsiteX1997" fmla="*/ 685755 w 4381952"/>
                  <a:gd name="connsiteY1997" fmla="*/ 2442101 h 7571038"/>
                  <a:gd name="connsiteX1998" fmla="*/ 696605 w 4381952"/>
                  <a:gd name="connsiteY1998" fmla="*/ 2452947 h 7571038"/>
                  <a:gd name="connsiteX1999" fmla="*/ 707454 w 4381952"/>
                  <a:gd name="connsiteY1999" fmla="*/ 2442101 h 7571038"/>
                  <a:gd name="connsiteX2000" fmla="*/ 708442 w 4381952"/>
                  <a:gd name="connsiteY2000" fmla="*/ 7291669 h 7571038"/>
                  <a:gd name="connsiteX2001" fmla="*/ 706717 w 4381952"/>
                  <a:gd name="connsiteY2001" fmla="*/ 7289941 h 7571038"/>
                  <a:gd name="connsiteX2002" fmla="*/ 704990 w 4381952"/>
                  <a:gd name="connsiteY2002" fmla="*/ 7291669 h 7571038"/>
                  <a:gd name="connsiteX2003" fmla="*/ 706717 w 4381952"/>
                  <a:gd name="connsiteY2003" fmla="*/ 7293392 h 7571038"/>
                  <a:gd name="connsiteX2004" fmla="*/ 708442 w 4381952"/>
                  <a:gd name="connsiteY2004" fmla="*/ 7291669 h 7571038"/>
                  <a:gd name="connsiteX2005" fmla="*/ 709178 w 4381952"/>
                  <a:gd name="connsiteY2005" fmla="*/ 7175530 h 7571038"/>
                  <a:gd name="connsiteX2006" fmla="*/ 707454 w 4381952"/>
                  <a:gd name="connsiteY2006" fmla="*/ 7173803 h 7571038"/>
                  <a:gd name="connsiteX2007" fmla="*/ 705727 w 4381952"/>
                  <a:gd name="connsiteY2007" fmla="*/ 7175530 h 7571038"/>
                  <a:gd name="connsiteX2008" fmla="*/ 707454 w 4381952"/>
                  <a:gd name="connsiteY2008" fmla="*/ 7177254 h 7571038"/>
                  <a:gd name="connsiteX2009" fmla="*/ 709178 w 4381952"/>
                  <a:gd name="connsiteY2009" fmla="*/ 7175530 h 7571038"/>
                  <a:gd name="connsiteX2010" fmla="*/ 709675 w 4381952"/>
                  <a:gd name="connsiteY2010" fmla="*/ 994623 h 7571038"/>
                  <a:gd name="connsiteX2011" fmla="*/ 692660 w 4381952"/>
                  <a:gd name="connsiteY2011" fmla="*/ 977610 h 7571038"/>
                  <a:gd name="connsiteX2012" fmla="*/ 675647 w 4381952"/>
                  <a:gd name="connsiteY2012" fmla="*/ 994623 h 7571038"/>
                  <a:gd name="connsiteX2013" fmla="*/ 692660 w 4381952"/>
                  <a:gd name="connsiteY2013" fmla="*/ 1011640 h 7571038"/>
                  <a:gd name="connsiteX2014" fmla="*/ 709675 w 4381952"/>
                  <a:gd name="connsiteY2014" fmla="*/ 994623 h 7571038"/>
                  <a:gd name="connsiteX2015" fmla="*/ 710905 w 4381952"/>
                  <a:gd name="connsiteY2015" fmla="*/ 2694583 h 7571038"/>
                  <a:gd name="connsiteX2016" fmla="*/ 670220 w 4381952"/>
                  <a:gd name="connsiteY2016" fmla="*/ 2653899 h 7571038"/>
                  <a:gd name="connsiteX2017" fmla="*/ 629536 w 4381952"/>
                  <a:gd name="connsiteY2017" fmla="*/ 2694583 h 7571038"/>
                  <a:gd name="connsiteX2018" fmla="*/ 670220 w 4381952"/>
                  <a:gd name="connsiteY2018" fmla="*/ 2735272 h 7571038"/>
                  <a:gd name="connsiteX2019" fmla="*/ 710905 w 4381952"/>
                  <a:gd name="connsiteY2019" fmla="*/ 2694583 h 7571038"/>
                  <a:gd name="connsiteX2020" fmla="*/ 710907 w 4381952"/>
                  <a:gd name="connsiteY2020" fmla="*/ 7058900 h 7571038"/>
                  <a:gd name="connsiteX2021" fmla="*/ 708686 w 4381952"/>
                  <a:gd name="connsiteY2021" fmla="*/ 7056682 h 7571038"/>
                  <a:gd name="connsiteX2022" fmla="*/ 706468 w 4381952"/>
                  <a:gd name="connsiteY2022" fmla="*/ 7058900 h 7571038"/>
                  <a:gd name="connsiteX2023" fmla="*/ 708686 w 4381952"/>
                  <a:gd name="connsiteY2023" fmla="*/ 7061118 h 7571038"/>
                  <a:gd name="connsiteX2024" fmla="*/ 710907 w 4381952"/>
                  <a:gd name="connsiteY2024" fmla="*/ 7058900 h 7571038"/>
                  <a:gd name="connsiteX2025" fmla="*/ 712139 w 4381952"/>
                  <a:gd name="connsiteY2025" fmla="*/ 2963101 h 7571038"/>
                  <a:gd name="connsiteX2026" fmla="*/ 672933 w 4381952"/>
                  <a:gd name="connsiteY2026" fmla="*/ 2923894 h 7571038"/>
                  <a:gd name="connsiteX2027" fmla="*/ 633727 w 4381952"/>
                  <a:gd name="connsiteY2027" fmla="*/ 2963101 h 7571038"/>
                  <a:gd name="connsiteX2028" fmla="*/ 672933 w 4381952"/>
                  <a:gd name="connsiteY2028" fmla="*/ 3002309 h 7571038"/>
                  <a:gd name="connsiteX2029" fmla="*/ 712139 w 4381952"/>
                  <a:gd name="connsiteY2029" fmla="*/ 2963101 h 7571038"/>
                  <a:gd name="connsiteX2030" fmla="*/ 714113 w 4381952"/>
                  <a:gd name="connsiteY2030" fmla="*/ 1118875 h 7571038"/>
                  <a:gd name="connsiteX2031" fmla="*/ 697591 w 4381952"/>
                  <a:gd name="connsiteY2031" fmla="*/ 1102356 h 7571038"/>
                  <a:gd name="connsiteX2032" fmla="*/ 681319 w 4381952"/>
                  <a:gd name="connsiteY2032" fmla="*/ 1118875 h 7571038"/>
                  <a:gd name="connsiteX2033" fmla="*/ 697591 w 4381952"/>
                  <a:gd name="connsiteY2033" fmla="*/ 1135151 h 7571038"/>
                  <a:gd name="connsiteX2034" fmla="*/ 714113 w 4381952"/>
                  <a:gd name="connsiteY2034" fmla="*/ 1118875 h 7571038"/>
                  <a:gd name="connsiteX2035" fmla="*/ 716825 w 4381952"/>
                  <a:gd name="connsiteY2035" fmla="*/ 3710895 h 7571038"/>
                  <a:gd name="connsiteX2036" fmla="*/ 714604 w 4381952"/>
                  <a:gd name="connsiteY2036" fmla="*/ 3708675 h 7571038"/>
                  <a:gd name="connsiteX2037" fmla="*/ 712386 w 4381952"/>
                  <a:gd name="connsiteY2037" fmla="*/ 3710895 h 7571038"/>
                  <a:gd name="connsiteX2038" fmla="*/ 714604 w 4381952"/>
                  <a:gd name="connsiteY2038" fmla="*/ 3713115 h 7571038"/>
                  <a:gd name="connsiteX2039" fmla="*/ 716825 w 4381952"/>
                  <a:gd name="connsiteY2039" fmla="*/ 3710895 h 7571038"/>
                  <a:gd name="connsiteX2040" fmla="*/ 718304 w 4381952"/>
                  <a:gd name="connsiteY2040" fmla="*/ 1244374 h 7571038"/>
                  <a:gd name="connsiteX2041" fmla="*/ 703015 w 4381952"/>
                  <a:gd name="connsiteY2041" fmla="*/ 1229085 h 7571038"/>
                  <a:gd name="connsiteX2042" fmla="*/ 687729 w 4381952"/>
                  <a:gd name="connsiteY2042" fmla="*/ 1244374 h 7571038"/>
                  <a:gd name="connsiteX2043" fmla="*/ 703015 w 4381952"/>
                  <a:gd name="connsiteY2043" fmla="*/ 1259651 h 7571038"/>
                  <a:gd name="connsiteX2044" fmla="*/ 718304 w 4381952"/>
                  <a:gd name="connsiteY2044" fmla="*/ 1244374 h 7571038"/>
                  <a:gd name="connsiteX2045" fmla="*/ 718304 w 4381952"/>
                  <a:gd name="connsiteY2045" fmla="*/ 6944735 h 7571038"/>
                  <a:gd name="connsiteX2046" fmla="*/ 716826 w 4381952"/>
                  <a:gd name="connsiteY2046" fmla="*/ 6943257 h 7571038"/>
                  <a:gd name="connsiteX2047" fmla="*/ 715345 w 4381952"/>
                  <a:gd name="connsiteY2047" fmla="*/ 6944735 h 7571038"/>
                  <a:gd name="connsiteX2048" fmla="*/ 716826 w 4381952"/>
                  <a:gd name="connsiteY2048" fmla="*/ 6946216 h 7571038"/>
                  <a:gd name="connsiteX2049" fmla="*/ 718304 w 4381952"/>
                  <a:gd name="connsiteY2049" fmla="*/ 6944735 h 7571038"/>
                  <a:gd name="connsiteX2050" fmla="*/ 721511 w 4381952"/>
                  <a:gd name="connsiteY2050" fmla="*/ 6827119 h 7571038"/>
                  <a:gd name="connsiteX2051" fmla="*/ 718304 w 4381952"/>
                  <a:gd name="connsiteY2051" fmla="*/ 6823914 h 7571038"/>
                  <a:gd name="connsiteX2052" fmla="*/ 715099 w 4381952"/>
                  <a:gd name="connsiteY2052" fmla="*/ 6827119 h 7571038"/>
                  <a:gd name="connsiteX2053" fmla="*/ 718304 w 4381952"/>
                  <a:gd name="connsiteY2053" fmla="*/ 6830324 h 7571038"/>
                  <a:gd name="connsiteX2054" fmla="*/ 721511 w 4381952"/>
                  <a:gd name="connsiteY2054" fmla="*/ 6827119 h 7571038"/>
                  <a:gd name="connsiteX2055" fmla="*/ 721757 w 4381952"/>
                  <a:gd name="connsiteY2055" fmla="*/ 3245917 h 7571038"/>
                  <a:gd name="connsiteX2056" fmla="*/ 714358 w 4381952"/>
                  <a:gd name="connsiteY2056" fmla="*/ 3238521 h 7571038"/>
                  <a:gd name="connsiteX2057" fmla="*/ 706963 w 4381952"/>
                  <a:gd name="connsiteY2057" fmla="*/ 3245917 h 7571038"/>
                  <a:gd name="connsiteX2058" fmla="*/ 714358 w 4381952"/>
                  <a:gd name="connsiteY2058" fmla="*/ 3253315 h 7571038"/>
                  <a:gd name="connsiteX2059" fmla="*/ 721757 w 4381952"/>
                  <a:gd name="connsiteY2059" fmla="*/ 3245917 h 7571038"/>
                  <a:gd name="connsiteX2060" fmla="*/ 722249 w 4381952"/>
                  <a:gd name="connsiteY2060" fmla="*/ 6709009 h 7571038"/>
                  <a:gd name="connsiteX2061" fmla="*/ 720030 w 4381952"/>
                  <a:gd name="connsiteY2061" fmla="*/ 6707035 h 7571038"/>
                  <a:gd name="connsiteX2062" fmla="*/ 718058 w 4381952"/>
                  <a:gd name="connsiteY2062" fmla="*/ 6709009 h 7571038"/>
                  <a:gd name="connsiteX2063" fmla="*/ 720030 w 4381952"/>
                  <a:gd name="connsiteY2063" fmla="*/ 6711227 h 7571038"/>
                  <a:gd name="connsiteX2064" fmla="*/ 722249 w 4381952"/>
                  <a:gd name="connsiteY2064" fmla="*/ 6709009 h 7571038"/>
                  <a:gd name="connsiteX2065" fmla="*/ 723480 w 4381952"/>
                  <a:gd name="connsiteY2065" fmla="*/ 1371832 h 7571038"/>
                  <a:gd name="connsiteX2066" fmla="*/ 708686 w 4381952"/>
                  <a:gd name="connsiteY2066" fmla="*/ 1357281 h 7571038"/>
                  <a:gd name="connsiteX2067" fmla="*/ 693892 w 4381952"/>
                  <a:gd name="connsiteY2067" fmla="*/ 1371832 h 7571038"/>
                  <a:gd name="connsiteX2068" fmla="*/ 708686 w 4381952"/>
                  <a:gd name="connsiteY2068" fmla="*/ 1386625 h 7571038"/>
                  <a:gd name="connsiteX2069" fmla="*/ 723480 w 4381952"/>
                  <a:gd name="connsiteY2069" fmla="*/ 1371832 h 7571038"/>
                  <a:gd name="connsiteX2070" fmla="*/ 723975 w 4381952"/>
                  <a:gd name="connsiteY2070" fmla="*/ 1927544 h 7571038"/>
                  <a:gd name="connsiteX2071" fmla="*/ 712632 w 4381952"/>
                  <a:gd name="connsiteY2071" fmla="*/ 1916208 h 7571038"/>
                  <a:gd name="connsiteX2072" fmla="*/ 701291 w 4381952"/>
                  <a:gd name="connsiteY2072" fmla="*/ 1927544 h 7571038"/>
                  <a:gd name="connsiteX2073" fmla="*/ 712632 w 4381952"/>
                  <a:gd name="connsiteY2073" fmla="*/ 1938883 h 7571038"/>
                  <a:gd name="connsiteX2074" fmla="*/ 723975 w 4381952"/>
                  <a:gd name="connsiteY2074" fmla="*/ 1927544 h 7571038"/>
                  <a:gd name="connsiteX2075" fmla="*/ 725207 w 4381952"/>
                  <a:gd name="connsiteY2075" fmla="*/ 4514979 h 7571038"/>
                  <a:gd name="connsiteX2076" fmla="*/ 697837 w 4381952"/>
                  <a:gd name="connsiteY2076" fmla="*/ 4487609 h 7571038"/>
                  <a:gd name="connsiteX2077" fmla="*/ 670467 w 4381952"/>
                  <a:gd name="connsiteY2077" fmla="*/ 4514979 h 7571038"/>
                  <a:gd name="connsiteX2078" fmla="*/ 697837 w 4381952"/>
                  <a:gd name="connsiteY2078" fmla="*/ 4542350 h 7571038"/>
                  <a:gd name="connsiteX2079" fmla="*/ 725207 w 4381952"/>
                  <a:gd name="connsiteY2079" fmla="*/ 4514979 h 7571038"/>
                  <a:gd name="connsiteX2080" fmla="*/ 729645 w 4381952"/>
                  <a:gd name="connsiteY2080" fmla="*/ 1500527 h 7571038"/>
                  <a:gd name="connsiteX2081" fmla="*/ 715836 w 4381952"/>
                  <a:gd name="connsiteY2081" fmla="*/ 1486719 h 7571038"/>
                  <a:gd name="connsiteX2082" fmla="*/ 702029 w 4381952"/>
                  <a:gd name="connsiteY2082" fmla="*/ 1500527 h 7571038"/>
                  <a:gd name="connsiteX2083" fmla="*/ 715836 w 4381952"/>
                  <a:gd name="connsiteY2083" fmla="*/ 1514089 h 7571038"/>
                  <a:gd name="connsiteX2084" fmla="*/ 729645 w 4381952"/>
                  <a:gd name="connsiteY2084" fmla="*/ 1500527 h 7571038"/>
                  <a:gd name="connsiteX2085" fmla="*/ 732606 w 4381952"/>
                  <a:gd name="connsiteY2085" fmla="*/ 6230652 h 7571038"/>
                  <a:gd name="connsiteX2086" fmla="*/ 729398 w 4381952"/>
                  <a:gd name="connsiteY2086" fmla="*/ 6227199 h 7571038"/>
                  <a:gd name="connsiteX2087" fmla="*/ 725948 w 4381952"/>
                  <a:gd name="connsiteY2087" fmla="*/ 6230652 h 7571038"/>
                  <a:gd name="connsiteX2088" fmla="*/ 729398 w 4381952"/>
                  <a:gd name="connsiteY2088" fmla="*/ 6234103 h 7571038"/>
                  <a:gd name="connsiteX2089" fmla="*/ 732606 w 4381952"/>
                  <a:gd name="connsiteY2089" fmla="*/ 6230652 h 7571038"/>
                  <a:gd name="connsiteX2090" fmla="*/ 733836 w 4381952"/>
                  <a:gd name="connsiteY2090" fmla="*/ 11921 h 7571038"/>
                  <a:gd name="connsiteX2091" fmla="*/ 728927 w 4381952"/>
                  <a:gd name="connsiteY2091" fmla="*/ 0 h 7571038"/>
                  <a:gd name="connsiteX2092" fmla="*/ 698801 w 4381952"/>
                  <a:gd name="connsiteY2092" fmla="*/ 0 h 7571038"/>
                  <a:gd name="connsiteX2093" fmla="*/ 693892 w 4381952"/>
                  <a:gd name="connsiteY2093" fmla="*/ 11921 h 7571038"/>
                  <a:gd name="connsiteX2094" fmla="*/ 713864 w 4381952"/>
                  <a:gd name="connsiteY2094" fmla="*/ 31895 h 7571038"/>
                  <a:gd name="connsiteX2095" fmla="*/ 733836 w 4381952"/>
                  <a:gd name="connsiteY2095" fmla="*/ 11921 h 7571038"/>
                  <a:gd name="connsiteX2096" fmla="*/ 735317 w 4381952"/>
                  <a:gd name="connsiteY2096" fmla="*/ 129510 h 7571038"/>
                  <a:gd name="connsiteX2097" fmla="*/ 715591 w 4381952"/>
                  <a:gd name="connsiteY2097" fmla="*/ 109785 h 7571038"/>
                  <a:gd name="connsiteX2098" fmla="*/ 695865 w 4381952"/>
                  <a:gd name="connsiteY2098" fmla="*/ 129510 h 7571038"/>
                  <a:gd name="connsiteX2099" fmla="*/ 715591 w 4381952"/>
                  <a:gd name="connsiteY2099" fmla="*/ 149235 h 7571038"/>
                  <a:gd name="connsiteX2100" fmla="*/ 735317 w 4381952"/>
                  <a:gd name="connsiteY2100" fmla="*/ 129510 h 7571038"/>
                  <a:gd name="connsiteX2101" fmla="*/ 736057 w 4381952"/>
                  <a:gd name="connsiteY2101" fmla="*/ 1630703 h 7571038"/>
                  <a:gd name="connsiteX2102" fmla="*/ 724221 w 4381952"/>
                  <a:gd name="connsiteY2102" fmla="*/ 1618864 h 7571038"/>
                  <a:gd name="connsiteX2103" fmla="*/ 712386 w 4381952"/>
                  <a:gd name="connsiteY2103" fmla="*/ 1630703 h 7571038"/>
                  <a:gd name="connsiteX2104" fmla="*/ 724221 w 4381952"/>
                  <a:gd name="connsiteY2104" fmla="*/ 1642541 h 7571038"/>
                  <a:gd name="connsiteX2105" fmla="*/ 736057 w 4381952"/>
                  <a:gd name="connsiteY2105" fmla="*/ 1630703 h 7571038"/>
                  <a:gd name="connsiteX2106" fmla="*/ 736057 w 4381952"/>
                  <a:gd name="connsiteY2106" fmla="*/ 6471310 h 7571038"/>
                  <a:gd name="connsiteX2107" fmla="*/ 723973 w 4381952"/>
                  <a:gd name="connsiteY2107" fmla="*/ 6459227 h 7571038"/>
                  <a:gd name="connsiteX2108" fmla="*/ 711892 w 4381952"/>
                  <a:gd name="connsiteY2108" fmla="*/ 6471310 h 7571038"/>
                  <a:gd name="connsiteX2109" fmla="*/ 723973 w 4381952"/>
                  <a:gd name="connsiteY2109" fmla="*/ 6483393 h 7571038"/>
                  <a:gd name="connsiteX2110" fmla="*/ 736057 w 4381952"/>
                  <a:gd name="connsiteY2110" fmla="*/ 6471310 h 7571038"/>
                  <a:gd name="connsiteX2111" fmla="*/ 737044 w 4381952"/>
                  <a:gd name="connsiteY2111" fmla="*/ 247347 h 7571038"/>
                  <a:gd name="connsiteX2112" fmla="*/ 717563 w 4381952"/>
                  <a:gd name="connsiteY2112" fmla="*/ 227868 h 7571038"/>
                  <a:gd name="connsiteX2113" fmla="*/ 698332 w 4381952"/>
                  <a:gd name="connsiteY2113" fmla="*/ 247347 h 7571038"/>
                  <a:gd name="connsiteX2114" fmla="*/ 717563 w 4381952"/>
                  <a:gd name="connsiteY2114" fmla="*/ 266577 h 7571038"/>
                  <a:gd name="connsiteX2115" fmla="*/ 737044 w 4381952"/>
                  <a:gd name="connsiteY2115" fmla="*/ 247347 h 7571038"/>
                  <a:gd name="connsiteX2116" fmla="*/ 738523 w 4381952"/>
                  <a:gd name="connsiteY2116" fmla="*/ 365921 h 7571038"/>
                  <a:gd name="connsiteX2117" fmla="*/ 719535 w 4381952"/>
                  <a:gd name="connsiteY2117" fmla="*/ 346690 h 7571038"/>
                  <a:gd name="connsiteX2118" fmla="*/ 700304 w 4381952"/>
                  <a:gd name="connsiteY2118" fmla="*/ 365921 h 7571038"/>
                  <a:gd name="connsiteX2119" fmla="*/ 719535 w 4381952"/>
                  <a:gd name="connsiteY2119" fmla="*/ 384908 h 7571038"/>
                  <a:gd name="connsiteX2120" fmla="*/ 738523 w 4381952"/>
                  <a:gd name="connsiteY2120" fmla="*/ 365921 h 7571038"/>
                  <a:gd name="connsiteX2121" fmla="*/ 739017 w 4381952"/>
                  <a:gd name="connsiteY2121" fmla="*/ 6351476 h 7571038"/>
                  <a:gd name="connsiteX2122" fmla="*/ 726443 w 4381952"/>
                  <a:gd name="connsiteY2122" fmla="*/ 6338899 h 7571038"/>
                  <a:gd name="connsiteX2123" fmla="*/ 713867 w 4381952"/>
                  <a:gd name="connsiteY2123" fmla="*/ 6351476 h 7571038"/>
                  <a:gd name="connsiteX2124" fmla="*/ 726443 w 4381952"/>
                  <a:gd name="connsiteY2124" fmla="*/ 6364049 h 7571038"/>
                  <a:gd name="connsiteX2125" fmla="*/ 739017 w 4381952"/>
                  <a:gd name="connsiteY2125" fmla="*/ 6351476 h 7571038"/>
                  <a:gd name="connsiteX2126" fmla="*/ 739261 w 4381952"/>
                  <a:gd name="connsiteY2126" fmla="*/ 3825554 h 7571038"/>
                  <a:gd name="connsiteX2127" fmla="*/ 737289 w 4381952"/>
                  <a:gd name="connsiteY2127" fmla="*/ 3823581 h 7571038"/>
                  <a:gd name="connsiteX2128" fmla="*/ 735317 w 4381952"/>
                  <a:gd name="connsiteY2128" fmla="*/ 3825554 h 7571038"/>
                  <a:gd name="connsiteX2129" fmla="*/ 737289 w 4381952"/>
                  <a:gd name="connsiteY2129" fmla="*/ 3827526 h 7571038"/>
                  <a:gd name="connsiteX2130" fmla="*/ 739261 w 4381952"/>
                  <a:gd name="connsiteY2130" fmla="*/ 3825554 h 7571038"/>
                  <a:gd name="connsiteX2131" fmla="*/ 739264 w 4381952"/>
                  <a:gd name="connsiteY2131" fmla="*/ 6590652 h 7571038"/>
                  <a:gd name="connsiteX2132" fmla="*/ 722004 w 4381952"/>
                  <a:gd name="connsiteY2132" fmla="*/ 6573392 h 7571038"/>
                  <a:gd name="connsiteX2133" fmla="*/ 704990 w 4381952"/>
                  <a:gd name="connsiteY2133" fmla="*/ 6590652 h 7571038"/>
                  <a:gd name="connsiteX2134" fmla="*/ 722004 w 4381952"/>
                  <a:gd name="connsiteY2134" fmla="*/ 6607913 h 7571038"/>
                  <a:gd name="connsiteX2135" fmla="*/ 739264 w 4381952"/>
                  <a:gd name="connsiteY2135" fmla="*/ 6590652 h 7571038"/>
                  <a:gd name="connsiteX2136" fmla="*/ 740989 w 4381952"/>
                  <a:gd name="connsiteY2136" fmla="*/ 484991 h 7571038"/>
                  <a:gd name="connsiteX2137" fmla="*/ 722001 w 4381952"/>
                  <a:gd name="connsiteY2137" fmla="*/ 466006 h 7571038"/>
                  <a:gd name="connsiteX2138" fmla="*/ 703015 w 4381952"/>
                  <a:gd name="connsiteY2138" fmla="*/ 484991 h 7571038"/>
                  <a:gd name="connsiteX2139" fmla="*/ 722001 w 4381952"/>
                  <a:gd name="connsiteY2139" fmla="*/ 503977 h 7571038"/>
                  <a:gd name="connsiteX2140" fmla="*/ 740989 w 4381952"/>
                  <a:gd name="connsiteY2140" fmla="*/ 484991 h 7571038"/>
                  <a:gd name="connsiteX2141" fmla="*/ 740989 w 4381952"/>
                  <a:gd name="connsiteY2141" fmla="*/ 4102456 h 7571038"/>
                  <a:gd name="connsiteX2142" fmla="*/ 715345 w 4381952"/>
                  <a:gd name="connsiteY2142" fmla="*/ 4076812 h 7571038"/>
                  <a:gd name="connsiteX2143" fmla="*/ 689701 w 4381952"/>
                  <a:gd name="connsiteY2143" fmla="*/ 4102456 h 7571038"/>
                  <a:gd name="connsiteX2144" fmla="*/ 715345 w 4381952"/>
                  <a:gd name="connsiteY2144" fmla="*/ 4128100 h 7571038"/>
                  <a:gd name="connsiteX2145" fmla="*/ 740989 w 4381952"/>
                  <a:gd name="connsiteY2145" fmla="*/ 4102456 h 7571038"/>
                  <a:gd name="connsiteX2146" fmla="*/ 741729 w 4381952"/>
                  <a:gd name="connsiteY2146" fmla="*/ 5029584 h 7571038"/>
                  <a:gd name="connsiteX2147" fmla="*/ 714605 w 4381952"/>
                  <a:gd name="connsiteY2147" fmla="*/ 5002459 h 7571038"/>
                  <a:gd name="connsiteX2148" fmla="*/ 687483 w 4381952"/>
                  <a:gd name="connsiteY2148" fmla="*/ 5029584 h 7571038"/>
                  <a:gd name="connsiteX2149" fmla="*/ 714605 w 4381952"/>
                  <a:gd name="connsiteY2149" fmla="*/ 5056706 h 7571038"/>
                  <a:gd name="connsiteX2150" fmla="*/ 741729 w 4381952"/>
                  <a:gd name="connsiteY2150" fmla="*/ 5029584 h 7571038"/>
                  <a:gd name="connsiteX2151" fmla="*/ 742469 w 4381952"/>
                  <a:gd name="connsiteY2151" fmla="*/ 605051 h 7571038"/>
                  <a:gd name="connsiteX2152" fmla="*/ 724221 w 4381952"/>
                  <a:gd name="connsiteY2152" fmla="*/ 587052 h 7571038"/>
                  <a:gd name="connsiteX2153" fmla="*/ 705976 w 4381952"/>
                  <a:gd name="connsiteY2153" fmla="*/ 605051 h 7571038"/>
                  <a:gd name="connsiteX2154" fmla="*/ 724221 w 4381952"/>
                  <a:gd name="connsiteY2154" fmla="*/ 623297 h 7571038"/>
                  <a:gd name="connsiteX2155" fmla="*/ 742469 w 4381952"/>
                  <a:gd name="connsiteY2155" fmla="*/ 605051 h 7571038"/>
                  <a:gd name="connsiteX2156" fmla="*/ 743702 w 4381952"/>
                  <a:gd name="connsiteY2156" fmla="*/ 1763363 h 7571038"/>
                  <a:gd name="connsiteX2157" fmla="*/ 733593 w 4381952"/>
                  <a:gd name="connsiteY2157" fmla="*/ 1753247 h 7571038"/>
                  <a:gd name="connsiteX2158" fmla="*/ 723730 w 4381952"/>
                  <a:gd name="connsiteY2158" fmla="*/ 1763363 h 7571038"/>
                  <a:gd name="connsiteX2159" fmla="*/ 733593 w 4381952"/>
                  <a:gd name="connsiteY2159" fmla="*/ 1773232 h 7571038"/>
                  <a:gd name="connsiteX2160" fmla="*/ 743702 w 4381952"/>
                  <a:gd name="connsiteY2160" fmla="*/ 1763363 h 7571038"/>
                  <a:gd name="connsiteX2161" fmla="*/ 744689 w 4381952"/>
                  <a:gd name="connsiteY2161" fmla="*/ 725886 h 7571038"/>
                  <a:gd name="connsiteX2162" fmla="*/ 726935 w 4381952"/>
                  <a:gd name="connsiteY2162" fmla="*/ 708142 h 7571038"/>
                  <a:gd name="connsiteX2163" fmla="*/ 709182 w 4381952"/>
                  <a:gd name="connsiteY2163" fmla="*/ 725886 h 7571038"/>
                  <a:gd name="connsiteX2164" fmla="*/ 726935 w 4381952"/>
                  <a:gd name="connsiteY2164" fmla="*/ 743654 h 7571038"/>
                  <a:gd name="connsiteX2165" fmla="*/ 744689 w 4381952"/>
                  <a:gd name="connsiteY2165" fmla="*/ 725886 h 7571038"/>
                  <a:gd name="connsiteX2166" fmla="*/ 746658 w 4381952"/>
                  <a:gd name="connsiteY2166" fmla="*/ 2205649 h 7571038"/>
                  <a:gd name="connsiteX2167" fmla="*/ 744933 w 4381952"/>
                  <a:gd name="connsiteY2167" fmla="*/ 2203923 h 7571038"/>
                  <a:gd name="connsiteX2168" fmla="*/ 743454 w 4381952"/>
                  <a:gd name="connsiteY2168" fmla="*/ 2205649 h 7571038"/>
                  <a:gd name="connsiteX2169" fmla="*/ 744933 w 4381952"/>
                  <a:gd name="connsiteY2169" fmla="*/ 2207124 h 7571038"/>
                  <a:gd name="connsiteX2170" fmla="*/ 746658 w 4381952"/>
                  <a:gd name="connsiteY2170" fmla="*/ 2205649 h 7571038"/>
                  <a:gd name="connsiteX2171" fmla="*/ 747152 w 4381952"/>
                  <a:gd name="connsiteY2171" fmla="*/ 3131012 h 7571038"/>
                  <a:gd name="connsiteX2172" fmla="*/ 737044 w 4381952"/>
                  <a:gd name="connsiteY2172" fmla="*/ 3120903 h 7571038"/>
                  <a:gd name="connsiteX2173" fmla="*/ 726935 w 4381952"/>
                  <a:gd name="connsiteY2173" fmla="*/ 3131012 h 7571038"/>
                  <a:gd name="connsiteX2174" fmla="*/ 737044 w 4381952"/>
                  <a:gd name="connsiteY2174" fmla="*/ 3141121 h 7571038"/>
                  <a:gd name="connsiteX2175" fmla="*/ 747152 w 4381952"/>
                  <a:gd name="connsiteY2175" fmla="*/ 3131012 h 7571038"/>
                  <a:gd name="connsiteX2176" fmla="*/ 750605 w 4381952"/>
                  <a:gd name="connsiteY2176" fmla="*/ 5867939 h 7571038"/>
                  <a:gd name="connsiteX2177" fmla="*/ 748384 w 4381952"/>
                  <a:gd name="connsiteY2177" fmla="*/ 5865720 h 7571038"/>
                  <a:gd name="connsiteX2178" fmla="*/ 746166 w 4381952"/>
                  <a:gd name="connsiteY2178" fmla="*/ 5867939 h 7571038"/>
                  <a:gd name="connsiteX2179" fmla="*/ 748384 w 4381952"/>
                  <a:gd name="connsiteY2179" fmla="*/ 5870157 h 7571038"/>
                  <a:gd name="connsiteX2180" fmla="*/ 750605 w 4381952"/>
                  <a:gd name="connsiteY2180" fmla="*/ 5867939 h 7571038"/>
                  <a:gd name="connsiteX2181" fmla="*/ 754304 w 4381952"/>
                  <a:gd name="connsiteY2181" fmla="*/ 2854360 h 7571038"/>
                  <a:gd name="connsiteX2182" fmla="*/ 714604 w 4381952"/>
                  <a:gd name="connsiteY2182" fmla="*/ 2814661 h 7571038"/>
                  <a:gd name="connsiteX2183" fmla="*/ 674907 w 4381952"/>
                  <a:gd name="connsiteY2183" fmla="*/ 2854360 h 7571038"/>
                  <a:gd name="connsiteX2184" fmla="*/ 714604 w 4381952"/>
                  <a:gd name="connsiteY2184" fmla="*/ 2894061 h 7571038"/>
                  <a:gd name="connsiteX2185" fmla="*/ 754304 w 4381952"/>
                  <a:gd name="connsiteY2185" fmla="*/ 2854360 h 7571038"/>
                  <a:gd name="connsiteX2186" fmla="*/ 755042 w 4381952"/>
                  <a:gd name="connsiteY2186" fmla="*/ 5743418 h 7571038"/>
                  <a:gd name="connsiteX2187" fmla="*/ 753070 w 4381952"/>
                  <a:gd name="connsiteY2187" fmla="*/ 5741445 h 7571038"/>
                  <a:gd name="connsiteX2188" fmla="*/ 751098 w 4381952"/>
                  <a:gd name="connsiteY2188" fmla="*/ 5743418 h 7571038"/>
                  <a:gd name="connsiteX2189" fmla="*/ 753070 w 4381952"/>
                  <a:gd name="connsiteY2189" fmla="*/ 5745391 h 7571038"/>
                  <a:gd name="connsiteX2190" fmla="*/ 755042 w 4381952"/>
                  <a:gd name="connsiteY2190" fmla="*/ 5743418 h 7571038"/>
                  <a:gd name="connsiteX2191" fmla="*/ 759729 w 4381952"/>
                  <a:gd name="connsiteY2191" fmla="*/ 6113282 h 7571038"/>
                  <a:gd name="connsiteX2192" fmla="*/ 740248 w 4381952"/>
                  <a:gd name="connsiteY2192" fmla="*/ 6094050 h 7571038"/>
                  <a:gd name="connsiteX2193" fmla="*/ 721017 w 4381952"/>
                  <a:gd name="connsiteY2193" fmla="*/ 6113282 h 7571038"/>
                  <a:gd name="connsiteX2194" fmla="*/ 740248 w 4381952"/>
                  <a:gd name="connsiteY2194" fmla="*/ 6132762 h 7571038"/>
                  <a:gd name="connsiteX2195" fmla="*/ 759729 w 4381952"/>
                  <a:gd name="connsiteY2195" fmla="*/ 6113282 h 7571038"/>
                  <a:gd name="connsiteX2196" fmla="*/ 761209 w 4381952"/>
                  <a:gd name="connsiteY2196" fmla="*/ 5617664 h 7571038"/>
                  <a:gd name="connsiteX2197" fmla="*/ 758742 w 4381952"/>
                  <a:gd name="connsiteY2197" fmla="*/ 5615199 h 7571038"/>
                  <a:gd name="connsiteX2198" fmla="*/ 756278 w 4381952"/>
                  <a:gd name="connsiteY2198" fmla="*/ 5617664 h 7571038"/>
                  <a:gd name="connsiteX2199" fmla="*/ 758742 w 4381952"/>
                  <a:gd name="connsiteY2199" fmla="*/ 5620131 h 7571038"/>
                  <a:gd name="connsiteX2200" fmla="*/ 761209 w 4381952"/>
                  <a:gd name="connsiteY2200" fmla="*/ 5617664 h 7571038"/>
                  <a:gd name="connsiteX2201" fmla="*/ 762195 w 4381952"/>
                  <a:gd name="connsiteY2201" fmla="*/ 4891993 h 7571038"/>
                  <a:gd name="connsiteX2202" fmla="*/ 729399 w 4381952"/>
                  <a:gd name="connsiteY2202" fmla="*/ 4859199 h 7571038"/>
                  <a:gd name="connsiteX2203" fmla="*/ 696605 w 4381952"/>
                  <a:gd name="connsiteY2203" fmla="*/ 4891993 h 7571038"/>
                  <a:gd name="connsiteX2204" fmla="*/ 729399 w 4381952"/>
                  <a:gd name="connsiteY2204" fmla="*/ 4924790 h 7571038"/>
                  <a:gd name="connsiteX2205" fmla="*/ 762195 w 4381952"/>
                  <a:gd name="connsiteY2205" fmla="*/ 4891993 h 7571038"/>
                  <a:gd name="connsiteX2206" fmla="*/ 766138 w 4381952"/>
                  <a:gd name="connsiteY2206" fmla="*/ 2593241 h 7571038"/>
                  <a:gd name="connsiteX2207" fmla="*/ 727180 w 4381952"/>
                  <a:gd name="connsiteY2207" fmla="*/ 2554282 h 7571038"/>
                  <a:gd name="connsiteX2208" fmla="*/ 688220 w 4381952"/>
                  <a:gd name="connsiteY2208" fmla="*/ 2593241 h 7571038"/>
                  <a:gd name="connsiteX2209" fmla="*/ 727180 w 4381952"/>
                  <a:gd name="connsiteY2209" fmla="*/ 2632202 h 7571038"/>
                  <a:gd name="connsiteX2210" fmla="*/ 766138 w 4381952"/>
                  <a:gd name="connsiteY2210" fmla="*/ 2593241 h 7571038"/>
                  <a:gd name="connsiteX2211" fmla="*/ 766384 w 4381952"/>
                  <a:gd name="connsiteY2211" fmla="*/ 5490430 h 7571038"/>
                  <a:gd name="connsiteX2212" fmla="*/ 765152 w 4381952"/>
                  <a:gd name="connsiteY2212" fmla="*/ 5489198 h 7571038"/>
                  <a:gd name="connsiteX2213" fmla="*/ 763920 w 4381952"/>
                  <a:gd name="connsiteY2213" fmla="*/ 5490430 h 7571038"/>
                  <a:gd name="connsiteX2214" fmla="*/ 765152 w 4381952"/>
                  <a:gd name="connsiteY2214" fmla="*/ 5491662 h 7571038"/>
                  <a:gd name="connsiteX2215" fmla="*/ 766384 w 4381952"/>
                  <a:gd name="connsiteY2215" fmla="*/ 5490430 h 7571038"/>
                  <a:gd name="connsiteX2216" fmla="*/ 767373 w 4381952"/>
                  <a:gd name="connsiteY2216" fmla="*/ 5991227 h 7571038"/>
                  <a:gd name="connsiteX2217" fmla="*/ 744193 w 4381952"/>
                  <a:gd name="connsiteY2217" fmla="*/ 5968050 h 7571038"/>
                  <a:gd name="connsiteX2218" fmla="*/ 721017 w 4381952"/>
                  <a:gd name="connsiteY2218" fmla="*/ 5991227 h 7571038"/>
                  <a:gd name="connsiteX2219" fmla="*/ 744193 w 4381952"/>
                  <a:gd name="connsiteY2219" fmla="*/ 6014407 h 7571038"/>
                  <a:gd name="connsiteX2220" fmla="*/ 767373 w 4381952"/>
                  <a:gd name="connsiteY2220" fmla="*/ 5991227 h 7571038"/>
                  <a:gd name="connsiteX2221" fmla="*/ 769097 w 4381952"/>
                  <a:gd name="connsiteY2221" fmla="*/ 4751447 h 7571038"/>
                  <a:gd name="connsiteX2222" fmla="*/ 746906 w 4381952"/>
                  <a:gd name="connsiteY2222" fmla="*/ 4729007 h 7571038"/>
                  <a:gd name="connsiteX2223" fmla="*/ 724467 w 4381952"/>
                  <a:gd name="connsiteY2223" fmla="*/ 4751447 h 7571038"/>
                  <a:gd name="connsiteX2224" fmla="*/ 746906 w 4381952"/>
                  <a:gd name="connsiteY2224" fmla="*/ 4773883 h 7571038"/>
                  <a:gd name="connsiteX2225" fmla="*/ 769097 w 4381952"/>
                  <a:gd name="connsiteY2225" fmla="*/ 4751447 h 7571038"/>
                  <a:gd name="connsiteX2226" fmla="*/ 770578 w 4381952"/>
                  <a:gd name="connsiteY2226" fmla="*/ 2065096 h 7571038"/>
                  <a:gd name="connsiteX2227" fmla="*/ 727673 w 4381952"/>
                  <a:gd name="connsiteY2227" fmla="*/ 2022183 h 7571038"/>
                  <a:gd name="connsiteX2228" fmla="*/ 684770 w 4381952"/>
                  <a:gd name="connsiteY2228" fmla="*/ 2065096 h 7571038"/>
                  <a:gd name="connsiteX2229" fmla="*/ 727673 w 4381952"/>
                  <a:gd name="connsiteY2229" fmla="*/ 2108007 h 7571038"/>
                  <a:gd name="connsiteX2230" fmla="*/ 770578 w 4381952"/>
                  <a:gd name="connsiteY2230" fmla="*/ 2065096 h 7571038"/>
                  <a:gd name="connsiteX2231" fmla="*/ 770824 w 4381952"/>
                  <a:gd name="connsiteY2231" fmla="*/ 3937745 h 7571038"/>
                  <a:gd name="connsiteX2232" fmla="*/ 769100 w 4381952"/>
                  <a:gd name="connsiteY2232" fmla="*/ 3936017 h 7571038"/>
                  <a:gd name="connsiteX2233" fmla="*/ 767373 w 4381952"/>
                  <a:gd name="connsiteY2233" fmla="*/ 3937745 h 7571038"/>
                  <a:gd name="connsiteX2234" fmla="*/ 769100 w 4381952"/>
                  <a:gd name="connsiteY2234" fmla="*/ 3939468 h 7571038"/>
                  <a:gd name="connsiteX2235" fmla="*/ 770824 w 4381952"/>
                  <a:gd name="connsiteY2235" fmla="*/ 3937745 h 7571038"/>
                  <a:gd name="connsiteX2236" fmla="*/ 771810 w 4381952"/>
                  <a:gd name="connsiteY2236" fmla="*/ 2348904 h 7571038"/>
                  <a:gd name="connsiteX2237" fmla="*/ 766141 w 4381952"/>
                  <a:gd name="connsiteY2237" fmla="*/ 2343232 h 7571038"/>
                  <a:gd name="connsiteX2238" fmla="*/ 760469 w 4381952"/>
                  <a:gd name="connsiteY2238" fmla="*/ 2348904 h 7571038"/>
                  <a:gd name="connsiteX2239" fmla="*/ 766141 w 4381952"/>
                  <a:gd name="connsiteY2239" fmla="*/ 2354574 h 7571038"/>
                  <a:gd name="connsiteX2240" fmla="*/ 771810 w 4381952"/>
                  <a:gd name="connsiteY2240" fmla="*/ 2348904 h 7571038"/>
                  <a:gd name="connsiteX2241" fmla="*/ 776004 w 4381952"/>
                  <a:gd name="connsiteY2241" fmla="*/ 4363580 h 7571038"/>
                  <a:gd name="connsiteX2242" fmla="*/ 728167 w 4381952"/>
                  <a:gd name="connsiteY2242" fmla="*/ 4315743 h 7571038"/>
                  <a:gd name="connsiteX2243" fmla="*/ 680579 w 4381952"/>
                  <a:gd name="connsiteY2243" fmla="*/ 4363580 h 7571038"/>
                  <a:gd name="connsiteX2244" fmla="*/ 728167 w 4381952"/>
                  <a:gd name="connsiteY2244" fmla="*/ 4411170 h 7571038"/>
                  <a:gd name="connsiteX2245" fmla="*/ 776004 w 4381952"/>
                  <a:gd name="connsiteY2245" fmla="*/ 4363580 h 7571038"/>
                  <a:gd name="connsiteX2246" fmla="*/ 781427 w 4381952"/>
                  <a:gd name="connsiteY2246" fmla="*/ 3018571 h 7571038"/>
                  <a:gd name="connsiteX2247" fmla="*/ 768605 w 4381952"/>
                  <a:gd name="connsiteY2247" fmla="*/ 3005749 h 7571038"/>
                  <a:gd name="connsiteX2248" fmla="*/ 755783 w 4381952"/>
                  <a:gd name="connsiteY2248" fmla="*/ 3018571 h 7571038"/>
                  <a:gd name="connsiteX2249" fmla="*/ 768605 w 4381952"/>
                  <a:gd name="connsiteY2249" fmla="*/ 3031393 h 7571038"/>
                  <a:gd name="connsiteX2250" fmla="*/ 781427 w 4381952"/>
                  <a:gd name="connsiteY2250" fmla="*/ 3018571 h 7571038"/>
                  <a:gd name="connsiteX2251" fmla="*/ 781919 w 4381952"/>
                  <a:gd name="connsiteY2251" fmla="*/ 5361470 h 7571038"/>
                  <a:gd name="connsiteX2252" fmla="*/ 772304 w 4381952"/>
                  <a:gd name="connsiteY2252" fmla="*/ 5352102 h 7571038"/>
                  <a:gd name="connsiteX2253" fmla="*/ 762933 w 4381952"/>
                  <a:gd name="connsiteY2253" fmla="*/ 5361470 h 7571038"/>
                  <a:gd name="connsiteX2254" fmla="*/ 772304 w 4381952"/>
                  <a:gd name="connsiteY2254" fmla="*/ 5371087 h 7571038"/>
                  <a:gd name="connsiteX2255" fmla="*/ 781919 w 4381952"/>
                  <a:gd name="connsiteY2255" fmla="*/ 5361470 h 7571038"/>
                  <a:gd name="connsiteX2256" fmla="*/ 782907 w 4381952"/>
                  <a:gd name="connsiteY2256" fmla="*/ 5231282 h 7571038"/>
                  <a:gd name="connsiteX2257" fmla="*/ 780935 w 4381952"/>
                  <a:gd name="connsiteY2257" fmla="*/ 5229309 h 7571038"/>
                  <a:gd name="connsiteX2258" fmla="*/ 778963 w 4381952"/>
                  <a:gd name="connsiteY2258" fmla="*/ 5231282 h 7571038"/>
                  <a:gd name="connsiteX2259" fmla="*/ 780935 w 4381952"/>
                  <a:gd name="connsiteY2259" fmla="*/ 5233254 h 7571038"/>
                  <a:gd name="connsiteX2260" fmla="*/ 782907 w 4381952"/>
                  <a:gd name="connsiteY2260" fmla="*/ 5231282 h 7571038"/>
                  <a:gd name="connsiteX2261" fmla="*/ 793508 w 4381952"/>
                  <a:gd name="connsiteY2261" fmla="*/ 4607689 h 7571038"/>
                  <a:gd name="connsiteX2262" fmla="*/ 767370 w 4381952"/>
                  <a:gd name="connsiteY2262" fmla="*/ 4581800 h 7571038"/>
                  <a:gd name="connsiteX2263" fmla="*/ 741235 w 4381952"/>
                  <a:gd name="connsiteY2263" fmla="*/ 4607689 h 7571038"/>
                  <a:gd name="connsiteX2264" fmla="*/ 767370 w 4381952"/>
                  <a:gd name="connsiteY2264" fmla="*/ 4633828 h 7571038"/>
                  <a:gd name="connsiteX2265" fmla="*/ 793508 w 4381952"/>
                  <a:gd name="connsiteY2265" fmla="*/ 4607689 h 7571038"/>
                  <a:gd name="connsiteX2266" fmla="*/ 796962 w 4381952"/>
                  <a:gd name="connsiteY2266" fmla="*/ 4207748 h 7571038"/>
                  <a:gd name="connsiteX2267" fmla="*/ 764909 w 4381952"/>
                  <a:gd name="connsiteY2267" fmla="*/ 4175692 h 7571038"/>
                  <a:gd name="connsiteX2268" fmla="*/ 732852 w 4381952"/>
                  <a:gd name="connsiteY2268" fmla="*/ 4207748 h 7571038"/>
                  <a:gd name="connsiteX2269" fmla="*/ 764909 w 4381952"/>
                  <a:gd name="connsiteY2269" fmla="*/ 4239801 h 7571038"/>
                  <a:gd name="connsiteX2270" fmla="*/ 796962 w 4381952"/>
                  <a:gd name="connsiteY2270" fmla="*/ 4207748 h 7571038"/>
                  <a:gd name="connsiteX2271" fmla="*/ 804112 w 4381952"/>
                  <a:gd name="connsiteY2271" fmla="*/ 2748823 h 7571038"/>
                  <a:gd name="connsiteX2272" fmla="*/ 764168 w 4381952"/>
                  <a:gd name="connsiteY2272" fmla="*/ 2708877 h 7571038"/>
                  <a:gd name="connsiteX2273" fmla="*/ 724221 w 4381952"/>
                  <a:gd name="connsiteY2273" fmla="*/ 2748823 h 7571038"/>
                  <a:gd name="connsiteX2274" fmla="*/ 764168 w 4381952"/>
                  <a:gd name="connsiteY2274" fmla="*/ 2788767 h 7571038"/>
                  <a:gd name="connsiteX2275" fmla="*/ 804112 w 4381952"/>
                  <a:gd name="connsiteY2275" fmla="*/ 2748823 h 7571038"/>
                  <a:gd name="connsiteX2276" fmla="*/ 808550 w 4381952"/>
                  <a:gd name="connsiteY2276" fmla="*/ 815385 h 7571038"/>
                  <a:gd name="connsiteX2277" fmla="*/ 789812 w 4381952"/>
                  <a:gd name="connsiteY2277" fmla="*/ 796646 h 7571038"/>
                  <a:gd name="connsiteX2278" fmla="*/ 771072 w 4381952"/>
                  <a:gd name="connsiteY2278" fmla="*/ 815385 h 7571038"/>
                  <a:gd name="connsiteX2279" fmla="*/ 789812 w 4381952"/>
                  <a:gd name="connsiteY2279" fmla="*/ 834128 h 7571038"/>
                  <a:gd name="connsiteX2280" fmla="*/ 808550 w 4381952"/>
                  <a:gd name="connsiteY2280" fmla="*/ 815385 h 7571038"/>
                  <a:gd name="connsiteX2281" fmla="*/ 811016 w 4381952"/>
                  <a:gd name="connsiteY2281" fmla="*/ 1850153 h 7571038"/>
                  <a:gd name="connsiteX2282" fmla="*/ 798441 w 4381952"/>
                  <a:gd name="connsiteY2282" fmla="*/ 1837580 h 7571038"/>
                  <a:gd name="connsiteX2283" fmla="*/ 785864 w 4381952"/>
                  <a:gd name="connsiteY2283" fmla="*/ 1850153 h 7571038"/>
                  <a:gd name="connsiteX2284" fmla="*/ 798441 w 4381952"/>
                  <a:gd name="connsiteY2284" fmla="*/ 1862725 h 7571038"/>
                  <a:gd name="connsiteX2285" fmla="*/ 811016 w 4381952"/>
                  <a:gd name="connsiteY2285" fmla="*/ 1850153 h 7571038"/>
                  <a:gd name="connsiteX2286" fmla="*/ 811262 w 4381952"/>
                  <a:gd name="connsiteY2286" fmla="*/ 936679 h 7571038"/>
                  <a:gd name="connsiteX2287" fmla="*/ 793014 w 4381952"/>
                  <a:gd name="connsiteY2287" fmla="*/ 918428 h 7571038"/>
                  <a:gd name="connsiteX2288" fmla="*/ 774769 w 4381952"/>
                  <a:gd name="connsiteY2288" fmla="*/ 936679 h 7571038"/>
                  <a:gd name="connsiteX2289" fmla="*/ 793014 w 4381952"/>
                  <a:gd name="connsiteY2289" fmla="*/ 954930 h 7571038"/>
                  <a:gd name="connsiteX2290" fmla="*/ 811262 w 4381952"/>
                  <a:gd name="connsiteY2290" fmla="*/ 936679 h 7571038"/>
                  <a:gd name="connsiteX2291" fmla="*/ 811757 w 4381952"/>
                  <a:gd name="connsiteY2291" fmla="*/ 4047225 h 7571038"/>
                  <a:gd name="connsiteX2292" fmla="*/ 809784 w 4381952"/>
                  <a:gd name="connsiteY2292" fmla="*/ 4045251 h 7571038"/>
                  <a:gd name="connsiteX2293" fmla="*/ 807811 w 4381952"/>
                  <a:gd name="connsiteY2293" fmla="*/ 4047225 h 7571038"/>
                  <a:gd name="connsiteX2294" fmla="*/ 809784 w 4381952"/>
                  <a:gd name="connsiteY2294" fmla="*/ 4049197 h 7571038"/>
                  <a:gd name="connsiteX2295" fmla="*/ 811757 w 4381952"/>
                  <a:gd name="connsiteY2295" fmla="*/ 4047225 h 7571038"/>
                  <a:gd name="connsiteX2296" fmla="*/ 814470 w 4381952"/>
                  <a:gd name="connsiteY2296" fmla="*/ 1058958 h 7571038"/>
                  <a:gd name="connsiteX2297" fmla="*/ 796716 w 4381952"/>
                  <a:gd name="connsiteY2297" fmla="*/ 1041203 h 7571038"/>
                  <a:gd name="connsiteX2298" fmla="*/ 778963 w 4381952"/>
                  <a:gd name="connsiteY2298" fmla="*/ 1058958 h 7571038"/>
                  <a:gd name="connsiteX2299" fmla="*/ 796716 w 4381952"/>
                  <a:gd name="connsiteY2299" fmla="*/ 1076714 h 7571038"/>
                  <a:gd name="connsiteX2300" fmla="*/ 814470 w 4381952"/>
                  <a:gd name="connsiteY2300" fmla="*/ 1058958 h 7571038"/>
                  <a:gd name="connsiteX2301" fmla="*/ 817426 w 4381952"/>
                  <a:gd name="connsiteY2301" fmla="*/ 7332353 h 7571038"/>
                  <a:gd name="connsiteX2302" fmla="*/ 815701 w 4381952"/>
                  <a:gd name="connsiteY2302" fmla="*/ 7330625 h 7571038"/>
                  <a:gd name="connsiteX2303" fmla="*/ 813975 w 4381952"/>
                  <a:gd name="connsiteY2303" fmla="*/ 7332353 h 7571038"/>
                  <a:gd name="connsiteX2304" fmla="*/ 815701 w 4381952"/>
                  <a:gd name="connsiteY2304" fmla="*/ 7334079 h 7571038"/>
                  <a:gd name="connsiteX2305" fmla="*/ 817426 w 4381952"/>
                  <a:gd name="connsiteY2305" fmla="*/ 7332353 h 7571038"/>
                  <a:gd name="connsiteX2306" fmla="*/ 817672 w 4381952"/>
                  <a:gd name="connsiteY2306" fmla="*/ 1182230 h 7571038"/>
                  <a:gd name="connsiteX2307" fmla="*/ 801153 w 4381952"/>
                  <a:gd name="connsiteY2307" fmla="*/ 1165709 h 7571038"/>
                  <a:gd name="connsiteX2308" fmla="*/ 784632 w 4381952"/>
                  <a:gd name="connsiteY2308" fmla="*/ 1182230 h 7571038"/>
                  <a:gd name="connsiteX2309" fmla="*/ 801153 w 4381952"/>
                  <a:gd name="connsiteY2309" fmla="*/ 1198752 h 7571038"/>
                  <a:gd name="connsiteX2310" fmla="*/ 817672 w 4381952"/>
                  <a:gd name="connsiteY2310" fmla="*/ 1182230 h 7571038"/>
                  <a:gd name="connsiteX2311" fmla="*/ 817920 w 4381952"/>
                  <a:gd name="connsiteY2311" fmla="*/ 7217203 h 7571038"/>
                  <a:gd name="connsiteX2312" fmla="*/ 816194 w 4381952"/>
                  <a:gd name="connsiteY2312" fmla="*/ 7215476 h 7571038"/>
                  <a:gd name="connsiteX2313" fmla="*/ 814221 w 4381952"/>
                  <a:gd name="connsiteY2313" fmla="*/ 7217203 h 7571038"/>
                  <a:gd name="connsiteX2314" fmla="*/ 816194 w 4381952"/>
                  <a:gd name="connsiteY2314" fmla="*/ 7218927 h 7571038"/>
                  <a:gd name="connsiteX2315" fmla="*/ 817920 w 4381952"/>
                  <a:gd name="connsiteY2315" fmla="*/ 7217203 h 7571038"/>
                  <a:gd name="connsiteX2316" fmla="*/ 819401 w 4381952"/>
                  <a:gd name="connsiteY2316" fmla="*/ 7101807 h 7571038"/>
                  <a:gd name="connsiteX2317" fmla="*/ 816935 w 4381952"/>
                  <a:gd name="connsiteY2317" fmla="*/ 7099339 h 7571038"/>
                  <a:gd name="connsiteX2318" fmla="*/ 814716 w 4381952"/>
                  <a:gd name="connsiteY2318" fmla="*/ 7101807 h 7571038"/>
                  <a:gd name="connsiteX2319" fmla="*/ 816935 w 4381952"/>
                  <a:gd name="connsiteY2319" fmla="*/ 7104025 h 7571038"/>
                  <a:gd name="connsiteX2320" fmla="*/ 819401 w 4381952"/>
                  <a:gd name="connsiteY2320" fmla="*/ 7101807 h 7571038"/>
                  <a:gd name="connsiteX2321" fmla="*/ 820879 w 4381952"/>
                  <a:gd name="connsiteY2321" fmla="*/ 5107007 h 7571038"/>
                  <a:gd name="connsiteX2322" fmla="*/ 800658 w 4381952"/>
                  <a:gd name="connsiteY2322" fmla="*/ 5086786 h 7571038"/>
                  <a:gd name="connsiteX2323" fmla="*/ 780441 w 4381952"/>
                  <a:gd name="connsiteY2323" fmla="*/ 5107007 h 7571038"/>
                  <a:gd name="connsiteX2324" fmla="*/ 800658 w 4381952"/>
                  <a:gd name="connsiteY2324" fmla="*/ 5127226 h 7571038"/>
                  <a:gd name="connsiteX2325" fmla="*/ 820879 w 4381952"/>
                  <a:gd name="connsiteY2325" fmla="*/ 5107007 h 7571038"/>
                  <a:gd name="connsiteX2326" fmla="*/ 821372 w 4381952"/>
                  <a:gd name="connsiteY2326" fmla="*/ 1307223 h 7571038"/>
                  <a:gd name="connsiteX2327" fmla="*/ 805344 w 4381952"/>
                  <a:gd name="connsiteY2327" fmla="*/ 1291197 h 7571038"/>
                  <a:gd name="connsiteX2328" fmla="*/ 789317 w 4381952"/>
                  <a:gd name="connsiteY2328" fmla="*/ 1307223 h 7571038"/>
                  <a:gd name="connsiteX2329" fmla="*/ 805344 w 4381952"/>
                  <a:gd name="connsiteY2329" fmla="*/ 1323254 h 7571038"/>
                  <a:gd name="connsiteX2330" fmla="*/ 821372 w 4381952"/>
                  <a:gd name="connsiteY2330" fmla="*/ 1307223 h 7571038"/>
                  <a:gd name="connsiteX2331" fmla="*/ 825072 w 4381952"/>
                  <a:gd name="connsiteY2331" fmla="*/ 2909090 h 7571038"/>
                  <a:gd name="connsiteX2332" fmla="*/ 809044 w 4381952"/>
                  <a:gd name="connsiteY2332" fmla="*/ 2893063 h 7571038"/>
                  <a:gd name="connsiteX2333" fmla="*/ 793017 w 4381952"/>
                  <a:gd name="connsiteY2333" fmla="*/ 2909090 h 7571038"/>
                  <a:gd name="connsiteX2334" fmla="*/ 809044 w 4381952"/>
                  <a:gd name="connsiteY2334" fmla="*/ 2925119 h 7571038"/>
                  <a:gd name="connsiteX2335" fmla="*/ 825072 w 4381952"/>
                  <a:gd name="connsiteY2335" fmla="*/ 2909090 h 7571038"/>
                  <a:gd name="connsiteX2336" fmla="*/ 825561 w 4381952"/>
                  <a:gd name="connsiteY2336" fmla="*/ 2121066 h 7571038"/>
                  <a:gd name="connsiteX2337" fmla="*/ 824330 w 4381952"/>
                  <a:gd name="connsiteY2337" fmla="*/ 2119833 h 7571038"/>
                  <a:gd name="connsiteX2338" fmla="*/ 823098 w 4381952"/>
                  <a:gd name="connsiteY2338" fmla="*/ 2121066 h 7571038"/>
                  <a:gd name="connsiteX2339" fmla="*/ 824330 w 4381952"/>
                  <a:gd name="connsiteY2339" fmla="*/ 2122299 h 7571038"/>
                  <a:gd name="connsiteX2340" fmla="*/ 825561 w 4381952"/>
                  <a:gd name="connsiteY2340" fmla="*/ 2121066 h 7571038"/>
                  <a:gd name="connsiteX2341" fmla="*/ 825811 w 4381952"/>
                  <a:gd name="connsiteY2341" fmla="*/ 6988379 h 7571038"/>
                  <a:gd name="connsiteX2342" fmla="*/ 824087 w 4381952"/>
                  <a:gd name="connsiteY2342" fmla="*/ 6986652 h 7571038"/>
                  <a:gd name="connsiteX2343" fmla="*/ 822360 w 4381952"/>
                  <a:gd name="connsiteY2343" fmla="*/ 6988379 h 7571038"/>
                  <a:gd name="connsiteX2344" fmla="*/ 824087 w 4381952"/>
                  <a:gd name="connsiteY2344" fmla="*/ 6990106 h 7571038"/>
                  <a:gd name="connsiteX2345" fmla="*/ 825811 w 4381952"/>
                  <a:gd name="connsiteY2345" fmla="*/ 6988379 h 7571038"/>
                  <a:gd name="connsiteX2346" fmla="*/ 825813 w 4381952"/>
                  <a:gd name="connsiteY2346" fmla="*/ 1433208 h 7571038"/>
                  <a:gd name="connsiteX2347" fmla="*/ 810770 w 4381952"/>
                  <a:gd name="connsiteY2347" fmla="*/ 1418172 h 7571038"/>
                  <a:gd name="connsiteX2348" fmla="*/ 795730 w 4381952"/>
                  <a:gd name="connsiteY2348" fmla="*/ 1433208 h 7571038"/>
                  <a:gd name="connsiteX2349" fmla="*/ 810770 w 4381952"/>
                  <a:gd name="connsiteY2349" fmla="*/ 1448250 h 7571038"/>
                  <a:gd name="connsiteX2350" fmla="*/ 825813 w 4381952"/>
                  <a:gd name="connsiteY2350" fmla="*/ 1433208 h 7571038"/>
                  <a:gd name="connsiteX2351" fmla="*/ 827538 w 4381952"/>
                  <a:gd name="connsiteY2351" fmla="*/ 3449329 h 7571038"/>
                  <a:gd name="connsiteX2352" fmla="*/ 805099 w 4381952"/>
                  <a:gd name="connsiteY2352" fmla="*/ 3426893 h 7571038"/>
                  <a:gd name="connsiteX2353" fmla="*/ 782414 w 4381952"/>
                  <a:gd name="connsiteY2353" fmla="*/ 3449329 h 7571038"/>
                  <a:gd name="connsiteX2354" fmla="*/ 805099 w 4381952"/>
                  <a:gd name="connsiteY2354" fmla="*/ 3471963 h 7571038"/>
                  <a:gd name="connsiteX2355" fmla="*/ 827538 w 4381952"/>
                  <a:gd name="connsiteY2355" fmla="*/ 3449329 h 7571038"/>
                  <a:gd name="connsiteX2356" fmla="*/ 827783 w 4381952"/>
                  <a:gd name="connsiteY2356" fmla="*/ 3564921 h 7571038"/>
                  <a:gd name="connsiteX2357" fmla="*/ 807563 w 4381952"/>
                  <a:gd name="connsiteY2357" fmla="*/ 3544455 h 7571038"/>
                  <a:gd name="connsiteX2358" fmla="*/ 787345 w 4381952"/>
                  <a:gd name="connsiteY2358" fmla="*/ 3564921 h 7571038"/>
                  <a:gd name="connsiteX2359" fmla="*/ 807563 w 4381952"/>
                  <a:gd name="connsiteY2359" fmla="*/ 3585139 h 7571038"/>
                  <a:gd name="connsiteX2360" fmla="*/ 827783 w 4381952"/>
                  <a:gd name="connsiteY2360" fmla="*/ 3564921 h 7571038"/>
                  <a:gd name="connsiteX2361" fmla="*/ 828276 w 4381952"/>
                  <a:gd name="connsiteY2361" fmla="*/ 2496089 h 7571038"/>
                  <a:gd name="connsiteX2362" fmla="*/ 791045 w 4381952"/>
                  <a:gd name="connsiteY2362" fmla="*/ 2458856 h 7571038"/>
                  <a:gd name="connsiteX2363" fmla="*/ 753811 w 4381952"/>
                  <a:gd name="connsiteY2363" fmla="*/ 2496089 h 7571038"/>
                  <a:gd name="connsiteX2364" fmla="*/ 791045 w 4381952"/>
                  <a:gd name="connsiteY2364" fmla="*/ 2533321 h 7571038"/>
                  <a:gd name="connsiteX2365" fmla="*/ 828276 w 4381952"/>
                  <a:gd name="connsiteY2365" fmla="*/ 2496089 h 7571038"/>
                  <a:gd name="connsiteX2366" fmla="*/ 828278 w 4381952"/>
                  <a:gd name="connsiteY2366" fmla="*/ 6871995 h 7571038"/>
                  <a:gd name="connsiteX2367" fmla="*/ 825070 w 4381952"/>
                  <a:gd name="connsiteY2367" fmla="*/ 6868790 h 7571038"/>
                  <a:gd name="connsiteX2368" fmla="*/ 821866 w 4381952"/>
                  <a:gd name="connsiteY2368" fmla="*/ 6871995 h 7571038"/>
                  <a:gd name="connsiteX2369" fmla="*/ 825070 w 4381952"/>
                  <a:gd name="connsiteY2369" fmla="*/ 6875203 h 7571038"/>
                  <a:gd name="connsiteX2370" fmla="*/ 828278 w 4381952"/>
                  <a:gd name="connsiteY2370" fmla="*/ 6871995 h 7571038"/>
                  <a:gd name="connsiteX2371" fmla="*/ 828769 w 4381952"/>
                  <a:gd name="connsiteY2371" fmla="*/ 6755612 h 7571038"/>
                  <a:gd name="connsiteX2372" fmla="*/ 826548 w 4381952"/>
                  <a:gd name="connsiteY2372" fmla="*/ 6753393 h 7571038"/>
                  <a:gd name="connsiteX2373" fmla="*/ 824330 w 4381952"/>
                  <a:gd name="connsiteY2373" fmla="*/ 6755612 h 7571038"/>
                  <a:gd name="connsiteX2374" fmla="*/ 826548 w 4381952"/>
                  <a:gd name="connsiteY2374" fmla="*/ 6757829 h 7571038"/>
                  <a:gd name="connsiteX2375" fmla="*/ 828769 w 4381952"/>
                  <a:gd name="connsiteY2375" fmla="*/ 6755612 h 7571038"/>
                  <a:gd name="connsiteX2376" fmla="*/ 831728 w 4381952"/>
                  <a:gd name="connsiteY2376" fmla="*/ 1560673 h 7571038"/>
                  <a:gd name="connsiteX2377" fmla="*/ 817180 w 4381952"/>
                  <a:gd name="connsiteY2377" fmla="*/ 1546126 h 7571038"/>
                  <a:gd name="connsiteX2378" fmla="*/ 802632 w 4381952"/>
                  <a:gd name="connsiteY2378" fmla="*/ 1560673 h 7571038"/>
                  <a:gd name="connsiteX2379" fmla="*/ 817180 w 4381952"/>
                  <a:gd name="connsiteY2379" fmla="*/ 1575221 h 7571038"/>
                  <a:gd name="connsiteX2380" fmla="*/ 831728 w 4381952"/>
                  <a:gd name="connsiteY2380" fmla="*/ 1560673 h 7571038"/>
                  <a:gd name="connsiteX2381" fmla="*/ 836659 w 4381952"/>
                  <a:gd name="connsiteY2381" fmla="*/ 6283172 h 7571038"/>
                  <a:gd name="connsiteX2382" fmla="*/ 833206 w 4381952"/>
                  <a:gd name="connsiteY2382" fmla="*/ 6279721 h 7571038"/>
                  <a:gd name="connsiteX2383" fmla="*/ 829756 w 4381952"/>
                  <a:gd name="connsiteY2383" fmla="*/ 6283172 h 7571038"/>
                  <a:gd name="connsiteX2384" fmla="*/ 833206 w 4381952"/>
                  <a:gd name="connsiteY2384" fmla="*/ 6286625 h 7571038"/>
                  <a:gd name="connsiteX2385" fmla="*/ 836659 w 4381952"/>
                  <a:gd name="connsiteY2385" fmla="*/ 6283172 h 7571038"/>
                  <a:gd name="connsiteX2386" fmla="*/ 837152 w 4381952"/>
                  <a:gd name="connsiteY2386" fmla="*/ 3679827 h 7571038"/>
                  <a:gd name="connsiteX2387" fmla="*/ 819398 w 4381952"/>
                  <a:gd name="connsiteY2387" fmla="*/ 3662073 h 7571038"/>
                  <a:gd name="connsiteX2388" fmla="*/ 801645 w 4381952"/>
                  <a:gd name="connsiteY2388" fmla="*/ 3679827 h 7571038"/>
                  <a:gd name="connsiteX2389" fmla="*/ 819398 w 4381952"/>
                  <a:gd name="connsiteY2389" fmla="*/ 3697580 h 7571038"/>
                  <a:gd name="connsiteX2390" fmla="*/ 837152 w 4381952"/>
                  <a:gd name="connsiteY2390" fmla="*/ 3679827 h 7571038"/>
                  <a:gd name="connsiteX2391" fmla="*/ 837154 w 4381952"/>
                  <a:gd name="connsiteY2391" fmla="*/ 3333931 h 7571038"/>
                  <a:gd name="connsiteX2392" fmla="*/ 812248 w 4381952"/>
                  <a:gd name="connsiteY2392" fmla="*/ 3309031 h 7571038"/>
                  <a:gd name="connsiteX2393" fmla="*/ 787345 w 4381952"/>
                  <a:gd name="connsiteY2393" fmla="*/ 3333931 h 7571038"/>
                  <a:gd name="connsiteX2394" fmla="*/ 812248 w 4381952"/>
                  <a:gd name="connsiteY2394" fmla="*/ 3358838 h 7571038"/>
                  <a:gd name="connsiteX2395" fmla="*/ 837154 w 4381952"/>
                  <a:gd name="connsiteY2395" fmla="*/ 3333931 h 7571038"/>
                  <a:gd name="connsiteX2396" fmla="*/ 837400 w 4381952"/>
                  <a:gd name="connsiteY2396" fmla="*/ 1690110 h 7571038"/>
                  <a:gd name="connsiteX2397" fmla="*/ 824330 w 4381952"/>
                  <a:gd name="connsiteY2397" fmla="*/ 1677041 h 7571038"/>
                  <a:gd name="connsiteX2398" fmla="*/ 811263 w 4381952"/>
                  <a:gd name="connsiteY2398" fmla="*/ 1690110 h 7571038"/>
                  <a:gd name="connsiteX2399" fmla="*/ 824330 w 4381952"/>
                  <a:gd name="connsiteY2399" fmla="*/ 1703183 h 7571038"/>
                  <a:gd name="connsiteX2400" fmla="*/ 837400 w 4381952"/>
                  <a:gd name="connsiteY2400" fmla="*/ 1690110 h 7571038"/>
                  <a:gd name="connsiteX2401" fmla="*/ 840605 w 4381952"/>
                  <a:gd name="connsiteY2401" fmla="*/ 6520379 h 7571038"/>
                  <a:gd name="connsiteX2402" fmla="*/ 829264 w 4381952"/>
                  <a:gd name="connsiteY2402" fmla="*/ 6509035 h 7571038"/>
                  <a:gd name="connsiteX2403" fmla="*/ 817675 w 4381952"/>
                  <a:gd name="connsiteY2403" fmla="*/ 6520379 h 7571038"/>
                  <a:gd name="connsiteX2404" fmla="*/ 829264 w 4381952"/>
                  <a:gd name="connsiteY2404" fmla="*/ 6531965 h 7571038"/>
                  <a:gd name="connsiteX2405" fmla="*/ 840605 w 4381952"/>
                  <a:gd name="connsiteY2405" fmla="*/ 6520379 h 7571038"/>
                  <a:gd name="connsiteX2406" fmla="*/ 841592 w 4381952"/>
                  <a:gd name="connsiteY2406" fmla="*/ 4460485 h 7571038"/>
                  <a:gd name="connsiteX2407" fmla="*/ 792027 w 4381952"/>
                  <a:gd name="connsiteY2407" fmla="*/ 4410923 h 7571038"/>
                  <a:gd name="connsiteX2408" fmla="*/ 742467 w 4381952"/>
                  <a:gd name="connsiteY2408" fmla="*/ 4460485 h 7571038"/>
                  <a:gd name="connsiteX2409" fmla="*/ 792027 w 4381952"/>
                  <a:gd name="connsiteY2409" fmla="*/ 4510048 h 7571038"/>
                  <a:gd name="connsiteX2410" fmla="*/ 841592 w 4381952"/>
                  <a:gd name="connsiteY2410" fmla="*/ 4460485 h 7571038"/>
                  <a:gd name="connsiteX2411" fmla="*/ 842824 w 4381952"/>
                  <a:gd name="connsiteY2411" fmla="*/ 84389 h 7571038"/>
                  <a:gd name="connsiteX2412" fmla="*/ 822360 w 4381952"/>
                  <a:gd name="connsiteY2412" fmla="*/ 63924 h 7571038"/>
                  <a:gd name="connsiteX2413" fmla="*/ 801894 w 4381952"/>
                  <a:gd name="connsiteY2413" fmla="*/ 84389 h 7571038"/>
                  <a:gd name="connsiteX2414" fmla="*/ 822360 w 4381952"/>
                  <a:gd name="connsiteY2414" fmla="*/ 104852 h 7571038"/>
                  <a:gd name="connsiteX2415" fmla="*/ 842824 w 4381952"/>
                  <a:gd name="connsiteY2415" fmla="*/ 84389 h 7571038"/>
                  <a:gd name="connsiteX2416" fmla="*/ 843069 w 4381952"/>
                  <a:gd name="connsiteY2416" fmla="*/ 6402269 h 7571038"/>
                  <a:gd name="connsiteX2417" fmla="*/ 831234 w 4381952"/>
                  <a:gd name="connsiteY2417" fmla="*/ 6390433 h 7571038"/>
                  <a:gd name="connsiteX2418" fmla="*/ 819398 w 4381952"/>
                  <a:gd name="connsiteY2418" fmla="*/ 6402269 h 7571038"/>
                  <a:gd name="connsiteX2419" fmla="*/ 831234 w 4381952"/>
                  <a:gd name="connsiteY2419" fmla="*/ 6414351 h 7571038"/>
                  <a:gd name="connsiteX2420" fmla="*/ 843069 w 4381952"/>
                  <a:gd name="connsiteY2420" fmla="*/ 6402269 h 7571038"/>
                  <a:gd name="connsiteX2421" fmla="*/ 843812 w 4381952"/>
                  <a:gd name="connsiteY2421" fmla="*/ 6638240 h 7571038"/>
                  <a:gd name="connsiteX2422" fmla="*/ 828031 w 4381952"/>
                  <a:gd name="connsiteY2422" fmla="*/ 6622460 h 7571038"/>
                  <a:gd name="connsiteX2423" fmla="*/ 812497 w 4381952"/>
                  <a:gd name="connsiteY2423" fmla="*/ 6638240 h 7571038"/>
                  <a:gd name="connsiteX2424" fmla="*/ 828031 w 4381952"/>
                  <a:gd name="connsiteY2424" fmla="*/ 6654022 h 7571038"/>
                  <a:gd name="connsiteX2425" fmla="*/ 843812 w 4381952"/>
                  <a:gd name="connsiteY2425" fmla="*/ 6638240 h 7571038"/>
                  <a:gd name="connsiteX2426" fmla="*/ 844059 w 4381952"/>
                  <a:gd name="connsiteY2426" fmla="*/ 200990 h 7571038"/>
                  <a:gd name="connsiteX2427" fmla="*/ 823838 w 4381952"/>
                  <a:gd name="connsiteY2427" fmla="*/ 180773 h 7571038"/>
                  <a:gd name="connsiteX2428" fmla="*/ 803620 w 4381952"/>
                  <a:gd name="connsiteY2428" fmla="*/ 200990 h 7571038"/>
                  <a:gd name="connsiteX2429" fmla="*/ 823838 w 4381952"/>
                  <a:gd name="connsiteY2429" fmla="*/ 221210 h 7571038"/>
                  <a:gd name="connsiteX2430" fmla="*/ 844059 w 4381952"/>
                  <a:gd name="connsiteY2430" fmla="*/ 200990 h 7571038"/>
                  <a:gd name="connsiteX2431" fmla="*/ 844303 w 4381952"/>
                  <a:gd name="connsiteY2431" fmla="*/ 4972621 h 7571038"/>
                  <a:gd name="connsiteX2432" fmla="*/ 812494 w 4381952"/>
                  <a:gd name="connsiteY2432" fmla="*/ 4940814 h 7571038"/>
                  <a:gd name="connsiteX2433" fmla="*/ 780686 w 4381952"/>
                  <a:gd name="connsiteY2433" fmla="*/ 4972621 h 7571038"/>
                  <a:gd name="connsiteX2434" fmla="*/ 812494 w 4381952"/>
                  <a:gd name="connsiteY2434" fmla="*/ 5004432 h 7571038"/>
                  <a:gd name="connsiteX2435" fmla="*/ 844303 w 4381952"/>
                  <a:gd name="connsiteY2435" fmla="*/ 4972621 h 7571038"/>
                  <a:gd name="connsiteX2436" fmla="*/ 845291 w 4381952"/>
                  <a:gd name="connsiteY2436" fmla="*/ 318088 h 7571038"/>
                  <a:gd name="connsiteX2437" fmla="*/ 825317 w 4381952"/>
                  <a:gd name="connsiteY2437" fmla="*/ 298117 h 7571038"/>
                  <a:gd name="connsiteX2438" fmla="*/ 805345 w 4381952"/>
                  <a:gd name="connsiteY2438" fmla="*/ 318088 h 7571038"/>
                  <a:gd name="connsiteX2439" fmla="*/ 825317 w 4381952"/>
                  <a:gd name="connsiteY2439" fmla="*/ 338059 h 7571038"/>
                  <a:gd name="connsiteX2440" fmla="*/ 845291 w 4381952"/>
                  <a:gd name="connsiteY2440" fmla="*/ 318088 h 7571038"/>
                  <a:gd name="connsiteX2441" fmla="*/ 847014 w 4381952"/>
                  <a:gd name="connsiteY2441" fmla="*/ 2260623 h 7571038"/>
                  <a:gd name="connsiteX2442" fmla="*/ 841345 w 4381952"/>
                  <a:gd name="connsiteY2442" fmla="*/ 2254952 h 7571038"/>
                  <a:gd name="connsiteX2443" fmla="*/ 835673 w 4381952"/>
                  <a:gd name="connsiteY2443" fmla="*/ 2260623 h 7571038"/>
                  <a:gd name="connsiteX2444" fmla="*/ 841345 w 4381952"/>
                  <a:gd name="connsiteY2444" fmla="*/ 2266287 h 7571038"/>
                  <a:gd name="connsiteX2445" fmla="*/ 847014 w 4381952"/>
                  <a:gd name="connsiteY2445" fmla="*/ 2260623 h 7571038"/>
                  <a:gd name="connsiteX2446" fmla="*/ 847261 w 4381952"/>
                  <a:gd name="connsiteY2446" fmla="*/ 435433 h 7571038"/>
                  <a:gd name="connsiteX2447" fmla="*/ 827289 w 4381952"/>
                  <a:gd name="connsiteY2447" fmla="*/ 415461 h 7571038"/>
                  <a:gd name="connsiteX2448" fmla="*/ 807317 w 4381952"/>
                  <a:gd name="connsiteY2448" fmla="*/ 435433 h 7571038"/>
                  <a:gd name="connsiteX2449" fmla="*/ 827289 w 4381952"/>
                  <a:gd name="connsiteY2449" fmla="*/ 455406 h 7571038"/>
                  <a:gd name="connsiteX2450" fmla="*/ 847261 w 4381952"/>
                  <a:gd name="connsiteY2450" fmla="*/ 435433 h 7571038"/>
                  <a:gd name="connsiteX2451" fmla="*/ 847757 w 4381952"/>
                  <a:gd name="connsiteY2451" fmla="*/ 554258 h 7571038"/>
                  <a:gd name="connsiteX2452" fmla="*/ 828769 w 4381952"/>
                  <a:gd name="connsiteY2452" fmla="*/ 535272 h 7571038"/>
                  <a:gd name="connsiteX2453" fmla="*/ 809784 w 4381952"/>
                  <a:gd name="connsiteY2453" fmla="*/ 554258 h 7571038"/>
                  <a:gd name="connsiteX2454" fmla="*/ 828769 w 4381952"/>
                  <a:gd name="connsiteY2454" fmla="*/ 573245 h 7571038"/>
                  <a:gd name="connsiteX2455" fmla="*/ 847757 w 4381952"/>
                  <a:gd name="connsiteY2455" fmla="*/ 554258 h 7571038"/>
                  <a:gd name="connsiteX2456" fmla="*/ 849235 w 4381952"/>
                  <a:gd name="connsiteY2456" fmla="*/ 673374 h 7571038"/>
                  <a:gd name="connsiteX2457" fmla="*/ 830742 w 4381952"/>
                  <a:gd name="connsiteY2457" fmla="*/ 654889 h 7571038"/>
                  <a:gd name="connsiteX2458" fmla="*/ 812248 w 4381952"/>
                  <a:gd name="connsiteY2458" fmla="*/ 673374 h 7571038"/>
                  <a:gd name="connsiteX2459" fmla="*/ 830742 w 4381952"/>
                  <a:gd name="connsiteY2459" fmla="*/ 691876 h 7571038"/>
                  <a:gd name="connsiteX2460" fmla="*/ 849235 w 4381952"/>
                  <a:gd name="connsiteY2460" fmla="*/ 673374 h 7571038"/>
                  <a:gd name="connsiteX2461" fmla="*/ 851454 w 4381952"/>
                  <a:gd name="connsiteY2461" fmla="*/ 5925636 h 7571038"/>
                  <a:gd name="connsiteX2462" fmla="*/ 848987 w 4381952"/>
                  <a:gd name="connsiteY2462" fmla="*/ 5923172 h 7571038"/>
                  <a:gd name="connsiteX2463" fmla="*/ 846523 w 4381952"/>
                  <a:gd name="connsiteY2463" fmla="*/ 5925636 h 7571038"/>
                  <a:gd name="connsiteX2464" fmla="*/ 848987 w 4381952"/>
                  <a:gd name="connsiteY2464" fmla="*/ 5928104 h 7571038"/>
                  <a:gd name="connsiteX2465" fmla="*/ 851454 w 4381952"/>
                  <a:gd name="connsiteY2465" fmla="*/ 5925636 h 7571038"/>
                  <a:gd name="connsiteX2466" fmla="*/ 852192 w 4381952"/>
                  <a:gd name="connsiteY2466" fmla="*/ 4836020 h 7571038"/>
                  <a:gd name="connsiteX2467" fmla="*/ 826302 w 4381952"/>
                  <a:gd name="connsiteY2467" fmla="*/ 4810130 h 7571038"/>
                  <a:gd name="connsiteX2468" fmla="*/ 800413 w 4381952"/>
                  <a:gd name="connsiteY2468" fmla="*/ 4836020 h 7571038"/>
                  <a:gd name="connsiteX2469" fmla="*/ 826302 w 4381952"/>
                  <a:gd name="connsiteY2469" fmla="*/ 4861912 h 7571038"/>
                  <a:gd name="connsiteX2470" fmla="*/ 852192 w 4381952"/>
                  <a:gd name="connsiteY2470" fmla="*/ 4836020 h 7571038"/>
                  <a:gd name="connsiteX2471" fmla="*/ 854413 w 4381952"/>
                  <a:gd name="connsiteY2471" fmla="*/ 5803338 h 7571038"/>
                  <a:gd name="connsiteX2472" fmla="*/ 852441 w 4381952"/>
                  <a:gd name="connsiteY2472" fmla="*/ 5801364 h 7571038"/>
                  <a:gd name="connsiteX2473" fmla="*/ 850469 w 4381952"/>
                  <a:gd name="connsiteY2473" fmla="*/ 5803338 h 7571038"/>
                  <a:gd name="connsiteX2474" fmla="*/ 852441 w 4381952"/>
                  <a:gd name="connsiteY2474" fmla="*/ 5805310 h 7571038"/>
                  <a:gd name="connsiteX2475" fmla="*/ 854413 w 4381952"/>
                  <a:gd name="connsiteY2475" fmla="*/ 5803338 h 7571038"/>
                  <a:gd name="connsiteX2476" fmla="*/ 856140 w 4381952"/>
                  <a:gd name="connsiteY2476" fmla="*/ 3219771 h 7571038"/>
                  <a:gd name="connsiteX2477" fmla="*/ 829016 w 4381952"/>
                  <a:gd name="connsiteY2477" fmla="*/ 3192649 h 7571038"/>
                  <a:gd name="connsiteX2478" fmla="*/ 801894 w 4381952"/>
                  <a:gd name="connsiteY2478" fmla="*/ 3219771 h 7571038"/>
                  <a:gd name="connsiteX2479" fmla="*/ 829016 w 4381952"/>
                  <a:gd name="connsiteY2479" fmla="*/ 3246897 h 7571038"/>
                  <a:gd name="connsiteX2480" fmla="*/ 856140 w 4381952"/>
                  <a:gd name="connsiteY2480" fmla="*/ 3219771 h 7571038"/>
                  <a:gd name="connsiteX2481" fmla="*/ 856386 w 4381952"/>
                  <a:gd name="connsiteY2481" fmla="*/ 3793003 h 7571038"/>
                  <a:gd name="connsiteX2482" fmla="*/ 841098 w 4381952"/>
                  <a:gd name="connsiteY2482" fmla="*/ 3777717 h 7571038"/>
                  <a:gd name="connsiteX2483" fmla="*/ 825811 w 4381952"/>
                  <a:gd name="connsiteY2483" fmla="*/ 3793003 h 7571038"/>
                  <a:gd name="connsiteX2484" fmla="*/ 841098 w 4381952"/>
                  <a:gd name="connsiteY2484" fmla="*/ 3808292 h 7571038"/>
                  <a:gd name="connsiteX2485" fmla="*/ 856386 w 4381952"/>
                  <a:gd name="connsiteY2485" fmla="*/ 3793003 h 7571038"/>
                  <a:gd name="connsiteX2486" fmla="*/ 856634 w 4381952"/>
                  <a:gd name="connsiteY2486" fmla="*/ 1984223 h 7571038"/>
                  <a:gd name="connsiteX2487" fmla="*/ 810525 w 4381952"/>
                  <a:gd name="connsiteY2487" fmla="*/ 1938130 h 7571038"/>
                  <a:gd name="connsiteX2488" fmla="*/ 764414 w 4381952"/>
                  <a:gd name="connsiteY2488" fmla="*/ 1984223 h 7571038"/>
                  <a:gd name="connsiteX2489" fmla="*/ 810525 w 4381952"/>
                  <a:gd name="connsiteY2489" fmla="*/ 2030321 h 7571038"/>
                  <a:gd name="connsiteX2490" fmla="*/ 856634 w 4381952"/>
                  <a:gd name="connsiteY2490" fmla="*/ 1984223 h 7571038"/>
                  <a:gd name="connsiteX2491" fmla="*/ 859099 w 4381952"/>
                  <a:gd name="connsiteY2491" fmla="*/ 5680046 h 7571038"/>
                  <a:gd name="connsiteX2492" fmla="*/ 856878 w 4381952"/>
                  <a:gd name="connsiteY2492" fmla="*/ 5677827 h 7571038"/>
                  <a:gd name="connsiteX2493" fmla="*/ 854660 w 4381952"/>
                  <a:gd name="connsiteY2493" fmla="*/ 5680046 h 7571038"/>
                  <a:gd name="connsiteX2494" fmla="*/ 856878 w 4381952"/>
                  <a:gd name="connsiteY2494" fmla="*/ 5682264 h 7571038"/>
                  <a:gd name="connsiteX2495" fmla="*/ 859099 w 4381952"/>
                  <a:gd name="connsiteY2495" fmla="*/ 5680046 h 7571038"/>
                  <a:gd name="connsiteX2496" fmla="*/ 860576 w 4381952"/>
                  <a:gd name="connsiteY2496" fmla="*/ 4309089 h 7571038"/>
                  <a:gd name="connsiteX2497" fmla="*/ 822111 w 4381952"/>
                  <a:gd name="connsiteY2497" fmla="*/ 4270868 h 7571038"/>
                  <a:gd name="connsiteX2498" fmla="*/ 783645 w 4381952"/>
                  <a:gd name="connsiteY2498" fmla="*/ 4309089 h 7571038"/>
                  <a:gd name="connsiteX2499" fmla="*/ 822111 w 4381952"/>
                  <a:gd name="connsiteY2499" fmla="*/ 4347555 h 7571038"/>
                  <a:gd name="connsiteX2500" fmla="*/ 860576 w 4381952"/>
                  <a:gd name="connsiteY2500" fmla="*/ 4309089 h 7571038"/>
                  <a:gd name="connsiteX2501" fmla="*/ 860823 w 4381952"/>
                  <a:gd name="connsiteY2501" fmla="*/ 6167281 h 7571038"/>
                  <a:gd name="connsiteX2502" fmla="*/ 842823 w 4381952"/>
                  <a:gd name="connsiteY2502" fmla="*/ 6149281 h 7571038"/>
                  <a:gd name="connsiteX2503" fmla="*/ 824825 w 4381952"/>
                  <a:gd name="connsiteY2503" fmla="*/ 6167281 h 7571038"/>
                  <a:gd name="connsiteX2504" fmla="*/ 842823 w 4381952"/>
                  <a:gd name="connsiteY2504" fmla="*/ 6185279 h 7571038"/>
                  <a:gd name="connsiteX2505" fmla="*/ 860823 w 4381952"/>
                  <a:gd name="connsiteY2505" fmla="*/ 6167281 h 7571038"/>
                  <a:gd name="connsiteX2506" fmla="*/ 861317 w 4381952"/>
                  <a:gd name="connsiteY2506" fmla="*/ 2647231 h 7571038"/>
                  <a:gd name="connsiteX2507" fmla="*/ 821373 w 4381952"/>
                  <a:gd name="connsiteY2507" fmla="*/ 2607286 h 7571038"/>
                  <a:gd name="connsiteX2508" fmla="*/ 781427 w 4381952"/>
                  <a:gd name="connsiteY2508" fmla="*/ 2647231 h 7571038"/>
                  <a:gd name="connsiteX2509" fmla="*/ 821373 w 4381952"/>
                  <a:gd name="connsiteY2509" fmla="*/ 2687178 h 7571038"/>
                  <a:gd name="connsiteX2510" fmla="*/ 861317 w 4381952"/>
                  <a:gd name="connsiteY2510" fmla="*/ 2647231 h 7571038"/>
                  <a:gd name="connsiteX2511" fmla="*/ 863044 w 4381952"/>
                  <a:gd name="connsiteY2511" fmla="*/ 5555529 h 7571038"/>
                  <a:gd name="connsiteX2512" fmla="*/ 861563 w 4381952"/>
                  <a:gd name="connsiteY2512" fmla="*/ 5554048 h 7571038"/>
                  <a:gd name="connsiteX2513" fmla="*/ 860085 w 4381952"/>
                  <a:gd name="connsiteY2513" fmla="*/ 5555529 h 7571038"/>
                  <a:gd name="connsiteX2514" fmla="*/ 861563 w 4381952"/>
                  <a:gd name="connsiteY2514" fmla="*/ 5557007 h 7571038"/>
                  <a:gd name="connsiteX2515" fmla="*/ 863044 w 4381952"/>
                  <a:gd name="connsiteY2515" fmla="*/ 5555529 h 7571038"/>
                  <a:gd name="connsiteX2516" fmla="*/ 866495 w 4381952"/>
                  <a:gd name="connsiteY2516" fmla="*/ 4696211 h 7571038"/>
                  <a:gd name="connsiteX2517" fmla="*/ 842823 w 4381952"/>
                  <a:gd name="connsiteY2517" fmla="*/ 4672540 h 7571038"/>
                  <a:gd name="connsiteX2518" fmla="*/ 819152 w 4381952"/>
                  <a:gd name="connsiteY2518" fmla="*/ 4696211 h 7571038"/>
                  <a:gd name="connsiteX2519" fmla="*/ 842823 w 4381952"/>
                  <a:gd name="connsiteY2519" fmla="*/ 4719882 h 7571038"/>
                  <a:gd name="connsiteX2520" fmla="*/ 866495 w 4381952"/>
                  <a:gd name="connsiteY2520" fmla="*/ 4696211 h 7571038"/>
                  <a:gd name="connsiteX2521" fmla="*/ 867235 w 4381952"/>
                  <a:gd name="connsiteY2521" fmla="*/ 6046954 h 7571038"/>
                  <a:gd name="connsiteX2522" fmla="*/ 845783 w 4381952"/>
                  <a:gd name="connsiteY2522" fmla="*/ 6025501 h 7571038"/>
                  <a:gd name="connsiteX2523" fmla="*/ 824330 w 4381952"/>
                  <a:gd name="connsiteY2523" fmla="*/ 6046954 h 7571038"/>
                  <a:gd name="connsiteX2524" fmla="*/ 845783 w 4381952"/>
                  <a:gd name="connsiteY2524" fmla="*/ 6068404 h 7571038"/>
                  <a:gd name="connsiteX2525" fmla="*/ 867235 w 4381952"/>
                  <a:gd name="connsiteY2525" fmla="*/ 6046954 h 7571038"/>
                  <a:gd name="connsiteX2526" fmla="*/ 869948 w 4381952"/>
                  <a:gd name="connsiteY2526" fmla="*/ 4153252 h 7571038"/>
                  <a:gd name="connsiteX2527" fmla="*/ 858851 w 4381952"/>
                  <a:gd name="connsiteY2527" fmla="*/ 4142157 h 7571038"/>
                  <a:gd name="connsiteX2528" fmla="*/ 847755 w 4381952"/>
                  <a:gd name="connsiteY2528" fmla="*/ 4153252 h 7571038"/>
                  <a:gd name="connsiteX2529" fmla="*/ 858851 w 4381952"/>
                  <a:gd name="connsiteY2529" fmla="*/ 4164347 h 7571038"/>
                  <a:gd name="connsiteX2530" fmla="*/ 869948 w 4381952"/>
                  <a:gd name="connsiteY2530" fmla="*/ 4153252 h 7571038"/>
                  <a:gd name="connsiteX2531" fmla="*/ 875863 w 4381952"/>
                  <a:gd name="connsiteY2531" fmla="*/ 5429283 h 7571038"/>
                  <a:gd name="connsiteX2532" fmla="*/ 867235 w 4381952"/>
                  <a:gd name="connsiteY2532" fmla="*/ 5420652 h 7571038"/>
                  <a:gd name="connsiteX2533" fmla="*/ 858604 w 4381952"/>
                  <a:gd name="connsiteY2533" fmla="*/ 5429283 h 7571038"/>
                  <a:gd name="connsiteX2534" fmla="*/ 867235 w 4381952"/>
                  <a:gd name="connsiteY2534" fmla="*/ 5437910 h 7571038"/>
                  <a:gd name="connsiteX2535" fmla="*/ 875863 w 4381952"/>
                  <a:gd name="connsiteY2535" fmla="*/ 5429283 h 7571038"/>
                  <a:gd name="connsiteX2536" fmla="*/ 875865 w 4381952"/>
                  <a:gd name="connsiteY2536" fmla="*/ 5301801 h 7571038"/>
                  <a:gd name="connsiteX2537" fmla="*/ 873644 w 4381952"/>
                  <a:gd name="connsiteY2537" fmla="*/ 5299582 h 7571038"/>
                  <a:gd name="connsiteX2538" fmla="*/ 871426 w 4381952"/>
                  <a:gd name="connsiteY2538" fmla="*/ 5301801 h 7571038"/>
                  <a:gd name="connsiteX2539" fmla="*/ 873644 w 4381952"/>
                  <a:gd name="connsiteY2539" fmla="*/ 5304019 h 7571038"/>
                  <a:gd name="connsiteX2540" fmla="*/ 875865 w 4381952"/>
                  <a:gd name="connsiteY2540" fmla="*/ 5301801 h 7571038"/>
                  <a:gd name="connsiteX2541" fmla="*/ 877344 w 4381952"/>
                  <a:gd name="connsiteY2541" fmla="*/ 2803059 h 7571038"/>
                  <a:gd name="connsiteX2542" fmla="*/ 858110 w 4381952"/>
                  <a:gd name="connsiteY2542" fmla="*/ 2783827 h 7571038"/>
                  <a:gd name="connsiteX2543" fmla="*/ 838879 w 4381952"/>
                  <a:gd name="connsiteY2543" fmla="*/ 2803059 h 7571038"/>
                  <a:gd name="connsiteX2544" fmla="*/ 858110 w 4381952"/>
                  <a:gd name="connsiteY2544" fmla="*/ 2822293 h 7571038"/>
                  <a:gd name="connsiteX2545" fmla="*/ 877344 w 4381952"/>
                  <a:gd name="connsiteY2545" fmla="*/ 2803059 h 7571038"/>
                  <a:gd name="connsiteX2546" fmla="*/ 884495 w 4381952"/>
                  <a:gd name="connsiteY2546" fmla="*/ 3107331 h 7571038"/>
                  <a:gd name="connsiteX2547" fmla="*/ 855154 w 4381952"/>
                  <a:gd name="connsiteY2547" fmla="*/ 3077987 h 7571038"/>
                  <a:gd name="connsiteX2548" fmla="*/ 825811 w 4381952"/>
                  <a:gd name="connsiteY2548" fmla="*/ 3107331 h 7571038"/>
                  <a:gd name="connsiteX2549" fmla="*/ 855154 w 4381952"/>
                  <a:gd name="connsiteY2549" fmla="*/ 3136674 h 7571038"/>
                  <a:gd name="connsiteX2550" fmla="*/ 884495 w 4381952"/>
                  <a:gd name="connsiteY2550" fmla="*/ 3107331 h 7571038"/>
                  <a:gd name="connsiteX2551" fmla="*/ 884743 w 4381952"/>
                  <a:gd name="connsiteY2551" fmla="*/ 3904209 h 7571038"/>
                  <a:gd name="connsiteX2552" fmla="*/ 872167 w 4381952"/>
                  <a:gd name="connsiteY2552" fmla="*/ 3891633 h 7571038"/>
                  <a:gd name="connsiteX2553" fmla="*/ 859591 w 4381952"/>
                  <a:gd name="connsiteY2553" fmla="*/ 3904209 h 7571038"/>
                  <a:gd name="connsiteX2554" fmla="*/ 872167 w 4381952"/>
                  <a:gd name="connsiteY2554" fmla="*/ 3916786 h 7571038"/>
                  <a:gd name="connsiteX2555" fmla="*/ 884743 w 4381952"/>
                  <a:gd name="connsiteY2555" fmla="*/ 3904209 h 7571038"/>
                  <a:gd name="connsiteX2556" fmla="*/ 896825 w 4381952"/>
                  <a:gd name="connsiteY2556" fmla="*/ 2403379 h 7571038"/>
                  <a:gd name="connsiteX2557" fmla="*/ 861318 w 4381952"/>
                  <a:gd name="connsiteY2557" fmla="*/ 2367874 h 7571038"/>
                  <a:gd name="connsiteX2558" fmla="*/ 825811 w 4381952"/>
                  <a:gd name="connsiteY2558" fmla="*/ 2403379 h 7571038"/>
                  <a:gd name="connsiteX2559" fmla="*/ 861318 w 4381952"/>
                  <a:gd name="connsiteY2559" fmla="*/ 2438887 h 7571038"/>
                  <a:gd name="connsiteX2560" fmla="*/ 896825 w 4381952"/>
                  <a:gd name="connsiteY2560" fmla="*/ 2403379 h 7571038"/>
                  <a:gd name="connsiteX2561" fmla="*/ 902002 w 4381952"/>
                  <a:gd name="connsiteY2561" fmla="*/ 1777661 h 7571038"/>
                  <a:gd name="connsiteX2562" fmla="*/ 888442 w 4381952"/>
                  <a:gd name="connsiteY2562" fmla="*/ 1763841 h 7571038"/>
                  <a:gd name="connsiteX2563" fmla="*/ 874880 w 4381952"/>
                  <a:gd name="connsiteY2563" fmla="*/ 1777661 h 7571038"/>
                  <a:gd name="connsiteX2564" fmla="*/ 888442 w 4381952"/>
                  <a:gd name="connsiteY2564" fmla="*/ 1791211 h 7571038"/>
                  <a:gd name="connsiteX2565" fmla="*/ 902002 w 4381952"/>
                  <a:gd name="connsiteY2565" fmla="*/ 1777661 h 7571038"/>
                  <a:gd name="connsiteX2566" fmla="*/ 904960 w 4381952"/>
                  <a:gd name="connsiteY2566" fmla="*/ 5179501 h 7571038"/>
                  <a:gd name="connsiteX2567" fmla="*/ 890906 w 4381952"/>
                  <a:gd name="connsiteY2567" fmla="*/ 5165198 h 7571038"/>
                  <a:gd name="connsiteX2568" fmla="*/ 876604 w 4381952"/>
                  <a:gd name="connsiteY2568" fmla="*/ 5179501 h 7571038"/>
                  <a:gd name="connsiteX2569" fmla="*/ 890906 w 4381952"/>
                  <a:gd name="connsiteY2569" fmla="*/ 5193801 h 7571038"/>
                  <a:gd name="connsiteX2570" fmla="*/ 904960 w 4381952"/>
                  <a:gd name="connsiteY2570" fmla="*/ 5179501 h 7571038"/>
                  <a:gd name="connsiteX2571" fmla="*/ 911619 w 4381952"/>
                  <a:gd name="connsiteY2571" fmla="*/ 4553197 h 7571038"/>
                  <a:gd name="connsiteX2572" fmla="*/ 862553 w 4381952"/>
                  <a:gd name="connsiteY2572" fmla="*/ 4504127 h 7571038"/>
                  <a:gd name="connsiteX2573" fmla="*/ 813483 w 4381952"/>
                  <a:gd name="connsiteY2573" fmla="*/ 4553197 h 7571038"/>
                  <a:gd name="connsiteX2574" fmla="*/ 862553 w 4381952"/>
                  <a:gd name="connsiteY2574" fmla="*/ 4602266 h 7571038"/>
                  <a:gd name="connsiteX2575" fmla="*/ 911619 w 4381952"/>
                  <a:gd name="connsiteY2575" fmla="*/ 4553197 h 7571038"/>
                  <a:gd name="connsiteX2576" fmla="*/ 913099 w 4381952"/>
                  <a:gd name="connsiteY2576" fmla="*/ 763350 h 7571038"/>
                  <a:gd name="connsiteX2577" fmla="*/ 893125 w 4381952"/>
                  <a:gd name="connsiteY2577" fmla="*/ 743386 h 7571038"/>
                  <a:gd name="connsiteX2578" fmla="*/ 873153 w 4381952"/>
                  <a:gd name="connsiteY2578" fmla="*/ 763350 h 7571038"/>
                  <a:gd name="connsiteX2579" fmla="*/ 893125 w 4381952"/>
                  <a:gd name="connsiteY2579" fmla="*/ 783328 h 7571038"/>
                  <a:gd name="connsiteX2580" fmla="*/ 913099 w 4381952"/>
                  <a:gd name="connsiteY2580" fmla="*/ 763350 h 7571038"/>
                  <a:gd name="connsiteX2581" fmla="*/ 915070 w 4381952"/>
                  <a:gd name="connsiteY2581" fmla="*/ 882920 h 7571038"/>
                  <a:gd name="connsiteX2582" fmla="*/ 895592 w 4381952"/>
                  <a:gd name="connsiteY2582" fmla="*/ 863443 h 7571038"/>
                  <a:gd name="connsiteX2583" fmla="*/ 876113 w 4381952"/>
                  <a:gd name="connsiteY2583" fmla="*/ 882920 h 7571038"/>
                  <a:gd name="connsiteX2584" fmla="*/ 895592 w 4381952"/>
                  <a:gd name="connsiteY2584" fmla="*/ 902400 h 7571038"/>
                  <a:gd name="connsiteX2585" fmla="*/ 915070 w 4381952"/>
                  <a:gd name="connsiteY2585" fmla="*/ 882920 h 7571038"/>
                  <a:gd name="connsiteX2586" fmla="*/ 917782 w 4381952"/>
                  <a:gd name="connsiteY2586" fmla="*/ 1003232 h 7571038"/>
                  <a:gd name="connsiteX2587" fmla="*/ 898548 w 4381952"/>
                  <a:gd name="connsiteY2587" fmla="*/ 984001 h 7571038"/>
                  <a:gd name="connsiteX2588" fmla="*/ 879317 w 4381952"/>
                  <a:gd name="connsiteY2588" fmla="*/ 1003232 h 7571038"/>
                  <a:gd name="connsiteX2589" fmla="*/ 898548 w 4381952"/>
                  <a:gd name="connsiteY2589" fmla="*/ 1022471 h 7571038"/>
                  <a:gd name="connsiteX2590" fmla="*/ 917782 w 4381952"/>
                  <a:gd name="connsiteY2590" fmla="*/ 1003232 h 7571038"/>
                  <a:gd name="connsiteX2591" fmla="*/ 919509 w 4381952"/>
                  <a:gd name="connsiteY2591" fmla="*/ 1124288 h 7571038"/>
                  <a:gd name="connsiteX2592" fmla="*/ 901756 w 4381952"/>
                  <a:gd name="connsiteY2592" fmla="*/ 1106531 h 7571038"/>
                  <a:gd name="connsiteX2593" fmla="*/ 884248 w 4381952"/>
                  <a:gd name="connsiteY2593" fmla="*/ 1124288 h 7571038"/>
                  <a:gd name="connsiteX2594" fmla="*/ 901756 w 4381952"/>
                  <a:gd name="connsiteY2594" fmla="*/ 1142040 h 7571038"/>
                  <a:gd name="connsiteX2595" fmla="*/ 919509 w 4381952"/>
                  <a:gd name="connsiteY2595" fmla="*/ 1124288 h 7571038"/>
                  <a:gd name="connsiteX2596" fmla="*/ 921728 w 4381952"/>
                  <a:gd name="connsiteY2596" fmla="*/ 4012211 h 7571038"/>
                  <a:gd name="connsiteX2597" fmla="*/ 912605 w 4381952"/>
                  <a:gd name="connsiteY2597" fmla="*/ 4003088 h 7571038"/>
                  <a:gd name="connsiteX2598" fmla="*/ 903482 w 4381952"/>
                  <a:gd name="connsiteY2598" fmla="*/ 4012211 h 7571038"/>
                  <a:gd name="connsiteX2599" fmla="*/ 912605 w 4381952"/>
                  <a:gd name="connsiteY2599" fmla="*/ 4021582 h 7571038"/>
                  <a:gd name="connsiteX2600" fmla="*/ 921728 w 4381952"/>
                  <a:gd name="connsiteY2600" fmla="*/ 4012211 h 7571038"/>
                  <a:gd name="connsiteX2601" fmla="*/ 922220 w 4381952"/>
                  <a:gd name="connsiteY2601" fmla="*/ 1247065 h 7571038"/>
                  <a:gd name="connsiteX2602" fmla="*/ 904715 w 4381952"/>
                  <a:gd name="connsiteY2602" fmla="*/ 1229558 h 7571038"/>
                  <a:gd name="connsiteX2603" fmla="*/ 887207 w 4381952"/>
                  <a:gd name="connsiteY2603" fmla="*/ 1247065 h 7571038"/>
                  <a:gd name="connsiteX2604" fmla="*/ 904715 w 4381952"/>
                  <a:gd name="connsiteY2604" fmla="*/ 1264559 h 7571038"/>
                  <a:gd name="connsiteX2605" fmla="*/ 922220 w 4381952"/>
                  <a:gd name="connsiteY2605" fmla="*/ 1247065 h 7571038"/>
                  <a:gd name="connsiteX2606" fmla="*/ 922468 w 4381952"/>
                  <a:gd name="connsiteY2606" fmla="*/ 2997603 h 7571038"/>
                  <a:gd name="connsiteX2607" fmla="*/ 890907 w 4381952"/>
                  <a:gd name="connsiteY2607" fmla="*/ 2966041 h 7571038"/>
                  <a:gd name="connsiteX2608" fmla="*/ 859345 w 4381952"/>
                  <a:gd name="connsiteY2608" fmla="*/ 2997603 h 7571038"/>
                  <a:gd name="connsiteX2609" fmla="*/ 890907 w 4381952"/>
                  <a:gd name="connsiteY2609" fmla="*/ 3029165 h 7571038"/>
                  <a:gd name="connsiteX2610" fmla="*/ 922468 w 4381952"/>
                  <a:gd name="connsiteY2610" fmla="*/ 2997603 h 7571038"/>
                  <a:gd name="connsiteX2611" fmla="*/ 923703 w 4381952"/>
                  <a:gd name="connsiteY2611" fmla="*/ 2041409 h 7571038"/>
                  <a:gd name="connsiteX2612" fmla="*/ 908660 w 4381952"/>
                  <a:gd name="connsiteY2612" fmla="*/ 2026367 h 7571038"/>
                  <a:gd name="connsiteX2613" fmla="*/ 893620 w 4381952"/>
                  <a:gd name="connsiteY2613" fmla="*/ 2041409 h 7571038"/>
                  <a:gd name="connsiteX2614" fmla="*/ 908660 w 4381952"/>
                  <a:gd name="connsiteY2614" fmla="*/ 2056455 h 7571038"/>
                  <a:gd name="connsiteX2615" fmla="*/ 923703 w 4381952"/>
                  <a:gd name="connsiteY2615" fmla="*/ 2041409 h 7571038"/>
                  <a:gd name="connsiteX2616" fmla="*/ 924932 w 4381952"/>
                  <a:gd name="connsiteY2616" fmla="*/ 1370579 h 7571038"/>
                  <a:gd name="connsiteX2617" fmla="*/ 908660 w 4381952"/>
                  <a:gd name="connsiteY2617" fmla="*/ 1354304 h 7571038"/>
                  <a:gd name="connsiteX2618" fmla="*/ 892385 w 4381952"/>
                  <a:gd name="connsiteY2618" fmla="*/ 1370579 h 7571038"/>
                  <a:gd name="connsiteX2619" fmla="*/ 908660 w 4381952"/>
                  <a:gd name="connsiteY2619" fmla="*/ 1386854 h 7571038"/>
                  <a:gd name="connsiteX2620" fmla="*/ 924932 w 4381952"/>
                  <a:gd name="connsiteY2620" fmla="*/ 1370579 h 7571038"/>
                  <a:gd name="connsiteX2621" fmla="*/ 924934 w 4381952"/>
                  <a:gd name="connsiteY2621" fmla="*/ 3506978 h 7571038"/>
                  <a:gd name="connsiteX2622" fmla="*/ 913591 w 4381952"/>
                  <a:gd name="connsiteY2622" fmla="*/ 3495634 h 7571038"/>
                  <a:gd name="connsiteX2623" fmla="*/ 902250 w 4381952"/>
                  <a:gd name="connsiteY2623" fmla="*/ 3506978 h 7571038"/>
                  <a:gd name="connsiteX2624" fmla="*/ 913591 w 4381952"/>
                  <a:gd name="connsiteY2624" fmla="*/ 3518319 h 7571038"/>
                  <a:gd name="connsiteX2625" fmla="*/ 924934 w 4381952"/>
                  <a:gd name="connsiteY2625" fmla="*/ 3506978 h 7571038"/>
                  <a:gd name="connsiteX2626" fmla="*/ 925673 w 4381952"/>
                  <a:gd name="connsiteY2626" fmla="*/ 2550078 h 7571038"/>
                  <a:gd name="connsiteX2627" fmla="*/ 885729 w 4381952"/>
                  <a:gd name="connsiteY2627" fmla="*/ 2510134 h 7571038"/>
                  <a:gd name="connsiteX2628" fmla="*/ 845783 w 4381952"/>
                  <a:gd name="connsiteY2628" fmla="*/ 2550078 h 7571038"/>
                  <a:gd name="connsiteX2629" fmla="*/ 885729 w 4381952"/>
                  <a:gd name="connsiteY2629" fmla="*/ 2590025 h 7571038"/>
                  <a:gd name="connsiteX2630" fmla="*/ 925673 w 4381952"/>
                  <a:gd name="connsiteY2630" fmla="*/ 2550078 h 7571038"/>
                  <a:gd name="connsiteX2631" fmla="*/ 927646 w 4381952"/>
                  <a:gd name="connsiteY2631" fmla="*/ 7369586 h 7571038"/>
                  <a:gd name="connsiteX2632" fmla="*/ 925673 w 4381952"/>
                  <a:gd name="connsiteY2632" fmla="*/ 7367613 h 7571038"/>
                  <a:gd name="connsiteX2633" fmla="*/ 923701 w 4381952"/>
                  <a:gd name="connsiteY2633" fmla="*/ 7369586 h 7571038"/>
                  <a:gd name="connsiteX2634" fmla="*/ 925673 w 4381952"/>
                  <a:gd name="connsiteY2634" fmla="*/ 7371559 h 7571038"/>
                  <a:gd name="connsiteX2635" fmla="*/ 927646 w 4381952"/>
                  <a:gd name="connsiteY2635" fmla="*/ 7369586 h 7571038"/>
                  <a:gd name="connsiteX2636" fmla="*/ 928141 w 4381952"/>
                  <a:gd name="connsiteY2636" fmla="*/ 7255667 h 7571038"/>
                  <a:gd name="connsiteX2637" fmla="*/ 926168 w 4381952"/>
                  <a:gd name="connsiteY2637" fmla="*/ 7253693 h 7571038"/>
                  <a:gd name="connsiteX2638" fmla="*/ 924195 w 4381952"/>
                  <a:gd name="connsiteY2638" fmla="*/ 7255667 h 7571038"/>
                  <a:gd name="connsiteX2639" fmla="*/ 926168 w 4381952"/>
                  <a:gd name="connsiteY2639" fmla="*/ 7257639 h 7571038"/>
                  <a:gd name="connsiteX2640" fmla="*/ 928141 w 4381952"/>
                  <a:gd name="connsiteY2640" fmla="*/ 7255667 h 7571038"/>
                  <a:gd name="connsiteX2641" fmla="*/ 928383 w 4381952"/>
                  <a:gd name="connsiteY2641" fmla="*/ 1908306 h 7571038"/>
                  <a:gd name="connsiteX2642" fmla="*/ 898057 w 4381952"/>
                  <a:gd name="connsiteY2642" fmla="*/ 1877990 h 7571038"/>
                  <a:gd name="connsiteX2643" fmla="*/ 867727 w 4381952"/>
                  <a:gd name="connsiteY2643" fmla="*/ 1908306 h 7571038"/>
                  <a:gd name="connsiteX2644" fmla="*/ 898057 w 4381952"/>
                  <a:gd name="connsiteY2644" fmla="*/ 1938621 h 7571038"/>
                  <a:gd name="connsiteX2645" fmla="*/ 928383 w 4381952"/>
                  <a:gd name="connsiteY2645" fmla="*/ 1908306 h 7571038"/>
                  <a:gd name="connsiteX2646" fmla="*/ 928387 w 4381952"/>
                  <a:gd name="connsiteY2646" fmla="*/ 3391383 h 7571038"/>
                  <a:gd name="connsiteX2647" fmla="*/ 916059 w 4381952"/>
                  <a:gd name="connsiteY2647" fmla="*/ 3379049 h 7571038"/>
                  <a:gd name="connsiteX2648" fmla="*/ 903729 w 4381952"/>
                  <a:gd name="connsiteY2648" fmla="*/ 3391383 h 7571038"/>
                  <a:gd name="connsiteX2649" fmla="*/ 916059 w 4381952"/>
                  <a:gd name="connsiteY2649" fmla="*/ 3403709 h 7571038"/>
                  <a:gd name="connsiteX2650" fmla="*/ 928387 w 4381952"/>
                  <a:gd name="connsiteY2650" fmla="*/ 3391383 h 7571038"/>
                  <a:gd name="connsiteX2651" fmla="*/ 928878 w 4381952"/>
                  <a:gd name="connsiteY2651" fmla="*/ 7141258 h 7571038"/>
                  <a:gd name="connsiteX2652" fmla="*/ 926413 w 4381952"/>
                  <a:gd name="connsiteY2652" fmla="*/ 7138791 h 7571038"/>
                  <a:gd name="connsiteX2653" fmla="*/ 923947 w 4381952"/>
                  <a:gd name="connsiteY2653" fmla="*/ 7141258 h 7571038"/>
                  <a:gd name="connsiteX2654" fmla="*/ 926413 w 4381952"/>
                  <a:gd name="connsiteY2654" fmla="*/ 7143721 h 7571038"/>
                  <a:gd name="connsiteX2655" fmla="*/ 928878 w 4381952"/>
                  <a:gd name="connsiteY2655" fmla="*/ 7141258 h 7571038"/>
                  <a:gd name="connsiteX2656" fmla="*/ 929866 w 4381952"/>
                  <a:gd name="connsiteY2656" fmla="*/ 1495335 h 7571038"/>
                  <a:gd name="connsiteX2657" fmla="*/ 913591 w 4381952"/>
                  <a:gd name="connsiteY2657" fmla="*/ 1479054 h 7571038"/>
                  <a:gd name="connsiteX2658" fmla="*/ 897319 w 4381952"/>
                  <a:gd name="connsiteY2658" fmla="*/ 1495335 h 7571038"/>
                  <a:gd name="connsiteX2659" fmla="*/ 913591 w 4381952"/>
                  <a:gd name="connsiteY2659" fmla="*/ 1511605 h 7571038"/>
                  <a:gd name="connsiteX2660" fmla="*/ 929866 w 4381952"/>
                  <a:gd name="connsiteY2660" fmla="*/ 1495335 h 7571038"/>
                  <a:gd name="connsiteX2661" fmla="*/ 930850 w 4381952"/>
                  <a:gd name="connsiteY2661" fmla="*/ 4406483 h 7571038"/>
                  <a:gd name="connsiteX2662" fmla="*/ 886467 w 4381952"/>
                  <a:gd name="connsiteY2662" fmla="*/ 4361854 h 7571038"/>
                  <a:gd name="connsiteX2663" fmla="*/ 841838 w 4381952"/>
                  <a:gd name="connsiteY2663" fmla="*/ 4406483 h 7571038"/>
                  <a:gd name="connsiteX2664" fmla="*/ 886467 w 4381952"/>
                  <a:gd name="connsiteY2664" fmla="*/ 4450867 h 7571038"/>
                  <a:gd name="connsiteX2665" fmla="*/ 930850 w 4381952"/>
                  <a:gd name="connsiteY2665" fmla="*/ 4406483 h 7571038"/>
                  <a:gd name="connsiteX2666" fmla="*/ 930853 w 4381952"/>
                  <a:gd name="connsiteY2666" fmla="*/ 5048567 h 7571038"/>
                  <a:gd name="connsiteX2667" fmla="*/ 900029 w 4381952"/>
                  <a:gd name="connsiteY2667" fmla="*/ 5017745 h 7571038"/>
                  <a:gd name="connsiteX2668" fmla="*/ 869208 w 4381952"/>
                  <a:gd name="connsiteY2668" fmla="*/ 5048567 h 7571038"/>
                  <a:gd name="connsiteX2669" fmla="*/ 900029 w 4381952"/>
                  <a:gd name="connsiteY2669" fmla="*/ 5079391 h 7571038"/>
                  <a:gd name="connsiteX2670" fmla="*/ 930853 w 4381952"/>
                  <a:gd name="connsiteY2670" fmla="*/ 5048567 h 7571038"/>
                  <a:gd name="connsiteX2671" fmla="*/ 933318 w 4381952"/>
                  <a:gd name="connsiteY2671" fmla="*/ 3622622 h 7571038"/>
                  <a:gd name="connsiteX2672" fmla="*/ 921482 w 4381952"/>
                  <a:gd name="connsiteY2672" fmla="*/ 3610785 h 7571038"/>
                  <a:gd name="connsiteX2673" fmla="*/ 909647 w 4381952"/>
                  <a:gd name="connsiteY2673" fmla="*/ 3622622 h 7571038"/>
                  <a:gd name="connsiteX2674" fmla="*/ 921482 w 4381952"/>
                  <a:gd name="connsiteY2674" fmla="*/ 3634212 h 7571038"/>
                  <a:gd name="connsiteX2675" fmla="*/ 933318 w 4381952"/>
                  <a:gd name="connsiteY2675" fmla="*/ 3622622 h 7571038"/>
                  <a:gd name="connsiteX2676" fmla="*/ 934058 w 4381952"/>
                  <a:gd name="connsiteY2676" fmla="*/ 1621808 h 7571038"/>
                  <a:gd name="connsiteX2677" fmla="*/ 918769 w 4381952"/>
                  <a:gd name="connsiteY2677" fmla="*/ 1606523 h 7571038"/>
                  <a:gd name="connsiteX2678" fmla="*/ 903482 w 4381952"/>
                  <a:gd name="connsiteY2678" fmla="*/ 1621808 h 7571038"/>
                  <a:gd name="connsiteX2679" fmla="*/ 918769 w 4381952"/>
                  <a:gd name="connsiteY2679" fmla="*/ 1637101 h 7571038"/>
                  <a:gd name="connsiteX2680" fmla="*/ 934058 w 4381952"/>
                  <a:gd name="connsiteY2680" fmla="*/ 1621808 h 7571038"/>
                  <a:gd name="connsiteX2681" fmla="*/ 934551 w 4381952"/>
                  <a:gd name="connsiteY2681" fmla="*/ 7028819 h 7571038"/>
                  <a:gd name="connsiteX2682" fmla="*/ 932826 w 4381952"/>
                  <a:gd name="connsiteY2682" fmla="*/ 7027092 h 7571038"/>
                  <a:gd name="connsiteX2683" fmla="*/ 931100 w 4381952"/>
                  <a:gd name="connsiteY2683" fmla="*/ 7028819 h 7571038"/>
                  <a:gd name="connsiteX2684" fmla="*/ 932826 w 4381952"/>
                  <a:gd name="connsiteY2684" fmla="*/ 7030546 h 7571038"/>
                  <a:gd name="connsiteX2685" fmla="*/ 934551 w 4381952"/>
                  <a:gd name="connsiteY2685" fmla="*/ 7028819 h 7571038"/>
                  <a:gd name="connsiteX2686" fmla="*/ 936525 w 4381952"/>
                  <a:gd name="connsiteY2686" fmla="*/ 2177034 h 7571038"/>
                  <a:gd name="connsiteX2687" fmla="*/ 921977 w 4381952"/>
                  <a:gd name="connsiteY2687" fmla="*/ 2162480 h 7571038"/>
                  <a:gd name="connsiteX2688" fmla="*/ 907428 w 4381952"/>
                  <a:gd name="connsiteY2688" fmla="*/ 2177034 h 7571038"/>
                  <a:gd name="connsiteX2689" fmla="*/ 921977 w 4381952"/>
                  <a:gd name="connsiteY2689" fmla="*/ 2191581 h 7571038"/>
                  <a:gd name="connsiteX2690" fmla="*/ 936525 w 4381952"/>
                  <a:gd name="connsiteY2690" fmla="*/ 2177034 h 7571038"/>
                  <a:gd name="connsiteX2691" fmla="*/ 936525 w 4381952"/>
                  <a:gd name="connsiteY2691" fmla="*/ 6798516 h 7571038"/>
                  <a:gd name="connsiteX2692" fmla="*/ 934304 w 4381952"/>
                  <a:gd name="connsiteY2692" fmla="*/ 6796298 h 7571038"/>
                  <a:gd name="connsiteX2693" fmla="*/ 932085 w 4381952"/>
                  <a:gd name="connsiteY2693" fmla="*/ 6798516 h 7571038"/>
                  <a:gd name="connsiteX2694" fmla="*/ 934304 w 4381952"/>
                  <a:gd name="connsiteY2694" fmla="*/ 6800734 h 7571038"/>
                  <a:gd name="connsiteX2695" fmla="*/ 936525 w 4381952"/>
                  <a:gd name="connsiteY2695" fmla="*/ 6798516 h 7571038"/>
                  <a:gd name="connsiteX2696" fmla="*/ 936771 w 4381952"/>
                  <a:gd name="connsiteY2696" fmla="*/ 6913666 h 7571038"/>
                  <a:gd name="connsiteX2697" fmla="*/ 933563 w 4381952"/>
                  <a:gd name="connsiteY2697" fmla="*/ 6910461 h 7571038"/>
                  <a:gd name="connsiteX2698" fmla="*/ 930359 w 4381952"/>
                  <a:gd name="connsiteY2698" fmla="*/ 6913666 h 7571038"/>
                  <a:gd name="connsiteX2699" fmla="*/ 933563 w 4381952"/>
                  <a:gd name="connsiteY2699" fmla="*/ 6916873 h 7571038"/>
                  <a:gd name="connsiteX2700" fmla="*/ 936771 w 4381952"/>
                  <a:gd name="connsiteY2700" fmla="*/ 6913666 h 7571038"/>
                  <a:gd name="connsiteX2701" fmla="*/ 937754 w 4381952"/>
                  <a:gd name="connsiteY2701" fmla="*/ 2701225 h 7571038"/>
                  <a:gd name="connsiteX2702" fmla="*/ 915318 w 4381952"/>
                  <a:gd name="connsiteY2702" fmla="*/ 2678785 h 7571038"/>
                  <a:gd name="connsiteX2703" fmla="*/ 892879 w 4381952"/>
                  <a:gd name="connsiteY2703" fmla="*/ 2701225 h 7571038"/>
                  <a:gd name="connsiteX2704" fmla="*/ 915318 w 4381952"/>
                  <a:gd name="connsiteY2704" fmla="*/ 2723665 h 7571038"/>
                  <a:gd name="connsiteX2705" fmla="*/ 937754 w 4381952"/>
                  <a:gd name="connsiteY2705" fmla="*/ 2701225 h 7571038"/>
                  <a:gd name="connsiteX2706" fmla="*/ 940221 w 4381952"/>
                  <a:gd name="connsiteY2706" fmla="*/ 4255087 h 7571038"/>
                  <a:gd name="connsiteX2707" fmla="*/ 916056 w 4381952"/>
                  <a:gd name="connsiteY2707" fmla="*/ 4230924 h 7571038"/>
                  <a:gd name="connsiteX2708" fmla="*/ 891893 w 4381952"/>
                  <a:gd name="connsiteY2708" fmla="*/ 4255087 h 7571038"/>
                  <a:gd name="connsiteX2709" fmla="*/ 916056 w 4381952"/>
                  <a:gd name="connsiteY2709" fmla="*/ 4279254 h 7571038"/>
                  <a:gd name="connsiteX2710" fmla="*/ 940221 w 4381952"/>
                  <a:gd name="connsiteY2710" fmla="*/ 4255087 h 7571038"/>
                  <a:gd name="connsiteX2711" fmla="*/ 940468 w 4381952"/>
                  <a:gd name="connsiteY2711" fmla="*/ 4915416 h 7571038"/>
                  <a:gd name="connsiteX2712" fmla="*/ 910878 w 4381952"/>
                  <a:gd name="connsiteY2712" fmla="*/ 4885581 h 7571038"/>
                  <a:gd name="connsiteX2713" fmla="*/ 881289 w 4381952"/>
                  <a:gd name="connsiteY2713" fmla="*/ 4915416 h 7571038"/>
                  <a:gd name="connsiteX2714" fmla="*/ 910878 w 4381952"/>
                  <a:gd name="connsiteY2714" fmla="*/ 4945255 h 7571038"/>
                  <a:gd name="connsiteX2715" fmla="*/ 940468 w 4381952"/>
                  <a:gd name="connsiteY2715" fmla="*/ 4915416 h 7571038"/>
                  <a:gd name="connsiteX2716" fmla="*/ 942194 w 4381952"/>
                  <a:gd name="connsiteY2716" fmla="*/ 6331993 h 7571038"/>
                  <a:gd name="connsiteX2717" fmla="*/ 938987 w 4381952"/>
                  <a:gd name="connsiteY2717" fmla="*/ 6328542 h 7571038"/>
                  <a:gd name="connsiteX2718" fmla="*/ 935536 w 4381952"/>
                  <a:gd name="connsiteY2718" fmla="*/ 6331993 h 7571038"/>
                  <a:gd name="connsiteX2719" fmla="*/ 938987 w 4381952"/>
                  <a:gd name="connsiteY2719" fmla="*/ 6335446 h 7571038"/>
                  <a:gd name="connsiteX2720" fmla="*/ 942194 w 4381952"/>
                  <a:gd name="connsiteY2720" fmla="*/ 6331993 h 7571038"/>
                  <a:gd name="connsiteX2721" fmla="*/ 943922 w 4381952"/>
                  <a:gd name="connsiteY2721" fmla="*/ 3276476 h 7571038"/>
                  <a:gd name="connsiteX2722" fmla="*/ 929126 w 4381952"/>
                  <a:gd name="connsiteY2722" fmla="*/ 3261682 h 7571038"/>
                  <a:gd name="connsiteX2723" fmla="*/ 914332 w 4381952"/>
                  <a:gd name="connsiteY2723" fmla="*/ 3276476 h 7571038"/>
                  <a:gd name="connsiteX2724" fmla="*/ 929126 w 4381952"/>
                  <a:gd name="connsiteY2724" fmla="*/ 3291270 h 7571038"/>
                  <a:gd name="connsiteX2725" fmla="*/ 943922 w 4381952"/>
                  <a:gd name="connsiteY2725" fmla="*/ 3276476 h 7571038"/>
                  <a:gd name="connsiteX2726" fmla="*/ 944167 w 4381952"/>
                  <a:gd name="connsiteY2726" fmla="*/ 4779556 h 7571038"/>
                  <a:gd name="connsiteX2727" fmla="*/ 923703 w 4381952"/>
                  <a:gd name="connsiteY2727" fmla="*/ 4759088 h 7571038"/>
                  <a:gd name="connsiteX2728" fmla="*/ 903237 w 4381952"/>
                  <a:gd name="connsiteY2728" fmla="*/ 4779556 h 7571038"/>
                  <a:gd name="connsiteX2729" fmla="*/ 923703 w 4381952"/>
                  <a:gd name="connsiteY2729" fmla="*/ 4800019 h 7571038"/>
                  <a:gd name="connsiteX2730" fmla="*/ 944167 w 4381952"/>
                  <a:gd name="connsiteY2730" fmla="*/ 4779556 h 7571038"/>
                  <a:gd name="connsiteX2731" fmla="*/ 947126 w 4381952"/>
                  <a:gd name="connsiteY2731" fmla="*/ 6566241 h 7571038"/>
                  <a:gd name="connsiteX2732" fmla="*/ 936277 w 4381952"/>
                  <a:gd name="connsiteY2732" fmla="*/ 6555391 h 7571038"/>
                  <a:gd name="connsiteX2733" fmla="*/ 925428 w 4381952"/>
                  <a:gd name="connsiteY2733" fmla="*/ 6566241 h 7571038"/>
                  <a:gd name="connsiteX2734" fmla="*/ 936277 w 4381952"/>
                  <a:gd name="connsiteY2734" fmla="*/ 6577090 h 7571038"/>
                  <a:gd name="connsiteX2735" fmla="*/ 947126 w 4381952"/>
                  <a:gd name="connsiteY2735" fmla="*/ 6566241 h 7571038"/>
                  <a:gd name="connsiteX2736" fmla="*/ 948852 w 4381952"/>
                  <a:gd name="connsiteY2736" fmla="*/ 6449362 h 7571038"/>
                  <a:gd name="connsiteX2737" fmla="*/ 937509 w 4381952"/>
                  <a:gd name="connsiteY2737" fmla="*/ 6438267 h 7571038"/>
                  <a:gd name="connsiteX2738" fmla="*/ 926413 w 4381952"/>
                  <a:gd name="connsiteY2738" fmla="*/ 6449362 h 7571038"/>
                  <a:gd name="connsiteX2739" fmla="*/ 937509 w 4381952"/>
                  <a:gd name="connsiteY2739" fmla="*/ 6460707 h 7571038"/>
                  <a:gd name="connsiteX2740" fmla="*/ 948852 w 4381952"/>
                  <a:gd name="connsiteY2740" fmla="*/ 6449362 h 7571038"/>
                  <a:gd name="connsiteX2741" fmla="*/ 949592 w 4381952"/>
                  <a:gd name="connsiteY2741" fmla="*/ 6682378 h 7571038"/>
                  <a:gd name="connsiteX2742" fmla="*/ 935290 w 4381952"/>
                  <a:gd name="connsiteY2742" fmla="*/ 6668078 h 7571038"/>
                  <a:gd name="connsiteX2743" fmla="*/ 920990 w 4381952"/>
                  <a:gd name="connsiteY2743" fmla="*/ 6682378 h 7571038"/>
                  <a:gd name="connsiteX2744" fmla="*/ 935290 w 4381952"/>
                  <a:gd name="connsiteY2744" fmla="*/ 6696681 h 7571038"/>
                  <a:gd name="connsiteX2745" fmla="*/ 949592 w 4381952"/>
                  <a:gd name="connsiteY2745" fmla="*/ 6682378 h 7571038"/>
                  <a:gd name="connsiteX2746" fmla="*/ 951810 w 4381952"/>
                  <a:gd name="connsiteY2746" fmla="*/ 42966 h 7571038"/>
                  <a:gd name="connsiteX2747" fmla="*/ 930605 w 4381952"/>
                  <a:gd name="connsiteY2747" fmla="*/ 21514 h 7571038"/>
                  <a:gd name="connsiteX2748" fmla="*/ 909152 w 4381952"/>
                  <a:gd name="connsiteY2748" fmla="*/ 42966 h 7571038"/>
                  <a:gd name="connsiteX2749" fmla="*/ 930605 w 4381952"/>
                  <a:gd name="connsiteY2749" fmla="*/ 64169 h 7571038"/>
                  <a:gd name="connsiteX2750" fmla="*/ 951810 w 4381952"/>
                  <a:gd name="connsiteY2750" fmla="*/ 42966 h 7571038"/>
                  <a:gd name="connsiteX2751" fmla="*/ 952057 w 4381952"/>
                  <a:gd name="connsiteY2751" fmla="*/ 3736537 h 7571038"/>
                  <a:gd name="connsiteX2752" fmla="*/ 939730 w 4381952"/>
                  <a:gd name="connsiteY2752" fmla="*/ 3724457 h 7571038"/>
                  <a:gd name="connsiteX2753" fmla="*/ 927400 w 4381952"/>
                  <a:gd name="connsiteY2753" fmla="*/ 3736537 h 7571038"/>
                  <a:gd name="connsiteX2754" fmla="*/ 939730 w 4381952"/>
                  <a:gd name="connsiteY2754" fmla="*/ 3748868 h 7571038"/>
                  <a:gd name="connsiteX2755" fmla="*/ 952057 w 4381952"/>
                  <a:gd name="connsiteY2755" fmla="*/ 3736537 h 7571038"/>
                  <a:gd name="connsiteX2756" fmla="*/ 952551 w 4381952"/>
                  <a:gd name="connsiteY2756" fmla="*/ 158086 h 7571038"/>
                  <a:gd name="connsiteX2757" fmla="*/ 931590 w 4381952"/>
                  <a:gd name="connsiteY2757" fmla="*/ 137129 h 7571038"/>
                  <a:gd name="connsiteX2758" fmla="*/ 910632 w 4381952"/>
                  <a:gd name="connsiteY2758" fmla="*/ 158086 h 7571038"/>
                  <a:gd name="connsiteX2759" fmla="*/ 931590 w 4381952"/>
                  <a:gd name="connsiteY2759" fmla="*/ 179043 h 7571038"/>
                  <a:gd name="connsiteX2760" fmla="*/ 952551 w 4381952"/>
                  <a:gd name="connsiteY2760" fmla="*/ 158086 h 7571038"/>
                  <a:gd name="connsiteX2761" fmla="*/ 953537 w 4381952"/>
                  <a:gd name="connsiteY2761" fmla="*/ 273706 h 7571038"/>
                  <a:gd name="connsiteX2762" fmla="*/ 932577 w 4381952"/>
                  <a:gd name="connsiteY2762" fmla="*/ 252748 h 7571038"/>
                  <a:gd name="connsiteX2763" fmla="*/ 911619 w 4381952"/>
                  <a:gd name="connsiteY2763" fmla="*/ 273706 h 7571038"/>
                  <a:gd name="connsiteX2764" fmla="*/ 932577 w 4381952"/>
                  <a:gd name="connsiteY2764" fmla="*/ 294665 h 7571038"/>
                  <a:gd name="connsiteX2765" fmla="*/ 953537 w 4381952"/>
                  <a:gd name="connsiteY2765" fmla="*/ 273706 h 7571038"/>
                  <a:gd name="connsiteX2766" fmla="*/ 954770 w 4381952"/>
                  <a:gd name="connsiteY2766" fmla="*/ 389819 h 7571038"/>
                  <a:gd name="connsiteX2767" fmla="*/ 934058 w 4381952"/>
                  <a:gd name="connsiteY2767" fmla="*/ 369107 h 7571038"/>
                  <a:gd name="connsiteX2768" fmla="*/ 913346 w 4381952"/>
                  <a:gd name="connsiteY2768" fmla="*/ 389819 h 7571038"/>
                  <a:gd name="connsiteX2769" fmla="*/ 934058 w 4381952"/>
                  <a:gd name="connsiteY2769" fmla="*/ 410776 h 7571038"/>
                  <a:gd name="connsiteX2770" fmla="*/ 954770 w 4381952"/>
                  <a:gd name="connsiteY2770" fmla="*/ 389819 h 7571038"/>
                  <a:gd name="connsiteX2771" fmla="*/ 954770 w 4381952"/>
                  <a:gd name="connsiteY2771" fmla="*/ 5979391 h 7571038"/>
                  <a:gd name="connsiteX2772" fmla="*/ 952057 w 4381952"/>
                  <a:gd name="connsiteY2772" fmla="*/ 5976678 h 7571038"/>
                  <a:gd name="connsiteX2773" fmla="*/ 949344 w 4381952"/>
                  <a:gd name="connsiteY2773" fmla="*/ 5979391 h 7571038"/>
                  <a:gd name="connsiteX2774" fmla="*/ 952057 w 4381952"/>
                  <a:gd name="connsiteY2774" fmla="*/ 5982104 h 7571038"/>
                  <a:gd name="connsiteX2775" fmla="*/ 954770 w 4381952"/>
                  <a:gd name="connsiteY2775" fmla="*/ 5979391 h 7571038"/>
                  <a:gd name="connsiteX2776" fmla="*/ 955016 w 4381952"/>
                  <a:gd name="connsiteY2776" fmla="*/ 506916 h 7571038"/>
                  <a:gd name="connsiteX2777" fmla="*/ 935042 w 4381952"/>
                  <a:gd name="connsiteY2777" fmla="*/ 486945 h 7571038"/>
                  <a:gd name="connsiteX2778" fmla="*/ 915070 w 4381952"/>
                  <a:gd name="connsiteY2778" fmla="*/ 506916 h 7571038"/>
                  <a:gd name="connsiteX2779" fmla="*/ 935042 w 4381952"/>
                  <a:gd name="connsiteY2779" fmla="*/ 526887 h 7571038"/>
                  <a:gd name="connsiteX2780" fmla="*/ 955016 w 4381952"/>
                  <a:gd name="connsiteY2780" fmla="*/ 506916 h 7571038"/>
                  <a:gd name="connsiteX2781" fmla="*/ 956002 w 4381952"/>
                  <a:gd name="connsiteY2781" fmla="*/ 624512 h 7571038"/>
                  <a:gd name="connsiteX2782" fmla="*/ 936522 w 4381952"/>
                  <a:gd name="connsiteY2782" fmla="*/ 605032 h 7571038"/>
                  <a:gd name="connsiteX2783" fmla="*/ 917042 w 4381952"/>
                  <a:gd name="connsiteY2783" fmla="*/ 624512 h 7571038"/>
                  <a:gd name="connsiteX2784" fmla="*/ 936522 w 4381952"/>
                  <a:gd name="connsiteY2784" fmla="*/ 644026 h 7571038"/>
                  <a:gd name="connsiteX2785" fmla="*/ 956002 w 4381952"/>
                  <a:gd name="connsiteY2785" fmla="*/ 624512 h 7571038"/>
                  <a:gd name="connsiteX2786" fmla="*/ 956248 w 4381952"/>
                  <a:gd name="connsiteY2786" fmla="*/ 5859062 h 7571038"/>
                  <a:gd name="connsiteX2787" fmla="*/ 954275 w 4381952"/>
                  <a:gd name="connsiteY2787" fmla="*/ 5857089 h 7571038"/>
                  <a:gd name="connsiteX2788" fmla="*/ 952303 w 4381952"/>
                  <a:gd name="connsiteY2788" fmla="*/ 5859062 h 7571038"/>
                  <a:gd name="connsiteX2789" fmla="*/ 954275 w 4381952"/>
                  <a:gd name="connsiteY2789" fmla="*/ 5861035 h 7571038"/>
                  <a:gd name="connsiteX2790" fmla="*/ 956248 w 4381952"/>
                  <a:gd name="connsiteY2790" fmla="*/ 5859062 h 7571038"/>
                  <a:gd name="connsiteX2791" fmla="*/ 959456 w 4381952"/>
                  <a:gd name="connsiteY2791" fmla="*/ 5737996 h 7571038"/>
                  <a:gd name="connsiteX2792" fmla="*/ 957729 w 4381952"/>
                  <a:gd name="connsiteY2792" fmla="*/ 5736268 h 7571038"/>
                  <a:gd name="connsiteX2793" fmla="*/ 955757 w 4381952"/>
                  <a:gd name="connsiteY2793" fmla="*/ 5737996 h 7571038"/>
                  <a:gd name="connsiteX2794" fmla="*/ 957729 w 4381952"/>
                  <a:gd name="connsiteY2794" fmla="*/ 5739723 h 7571038"/>
                  <a:gd name="connsiteX2795" fmla="*/ 959456 w 4381952"/>
                  <a:gd name="connsiteY2795" fmla="*/ 5737996 h 7571038"/>
                  <a:gd name="connsiteX2796" fmla="*/ 962905 w 4381952"/>
                  <a:gd name="connsiteY2796" fmla="*/ 5615694 h 7571038"/>
                  <a:gd name="connsiteX2797" fmla="*/ 961181 w 4381952"/>
                  <a:gd name="connsiteY2797" fmla="*/ 5613967 h 7571038"/>
                  <a:gd name="connsiteX2798" fmla="*/ 959454 w 4381952"/>
                  <a:gd name="connsiteY2798" fmla="*/ 5615694 h 7571038"/>
                  <a:gd name="connsiteX2799" fmla="*/ 961181 w 4381952"/>
                  <a:gd name="connsiteY2799" fmla="*/ 5617418 h 7571038"/>
                  <a:gd name="connsiteX2800" fmla="*/ 962905 w 4381952"/>
                  <a:gd name="connsiteY2800" fmla="*/ 5615694 h 7571038"/>
                  <a:gd name="connsiteX2801" fmla="*/ 963893 w 4381952"/>
                  <a:gd name="connsiteY2801" fmla="*/ 6217092 h 7571038"/>
                  <a:gd name="connsiteX2802" fmla="*/ 947372 w 4381952"/>
                  <a:gd name="connsiteY2802" fmla="*/ 6200571 h 7571038"/>
                  <a:gd name="connsiteX2803" fmla="*/ 930851 w 4381952"/>
                  <a:gd name="connsiteY2803" fmla="*/ 6217092 h 7571038"/>
                  <a:gd name="connsiteX2804" fmla="*/ 947372 w 4381952"/>
                  <a:gd name="connsiteY2804" fmla="*/ 6233610 h 7571038"/>
                  <a:gd name="connsiteX2805" fmla="*/ 963893 w 4381952"/>
                  <a:gd name="connsiteY2805" fmla="*/ 6217092 h 7571038"/>
                  <a:gd name="connsiteX2806" fmla="*/ 968084 w 4381952"/>
                  <a:gd name="connsiteY2806" fmla="*/ 4116759 h 7571038"/>
                  <a:gd name="connsiteX2807" fmla="*/ 961921 w 4381952"/>
                  <a:gd name="connsiteY2807" fmla="*/ 4110596 h 7571038"/>
                  <a:gd name="connsiteX2808" fmla="*/ 956003 w 4381952"/>
                  <a:gd name="connsiteY2808" fmla="*/ 4116759 h 7571038"/>
                  <a:gd name="connsiteX2809" fmla="*/ 961921 w 4381952"/>
                  <a:gd name="connsiteY2809" fmla="*/ 4122677 h 7571038"/>
                  <a:gd name="connsiteX2810" fmla="*/ 968084 w 4381952"/>
                  <a:gd name="connsiteY2810" fmla="*/ 4116759 h 7571038"/>
                  <a:gd name="connsiteX2811" fmla="*/ 969565 w 4381952"/>
                  <a:gd name="connsiteY2811" fmla="*/ 2891081 h 7571038"/>
                  <a:gd name="connsiteX2812" fmla="*/ 935782 w 4381952"/>
                  <a:gd name="connsiteY2812" fmla="*/ 2857301 h 7571038"/>
                  <a:gd name="connsiteX2813" fmla="*/ 902002 w 4381952"/>
                  <a:gd name="connsiteY2813" fmla="*/ 2891081 h 7571038"/>
                  <a:gd name="connsiteX2814" fmla="*/ 935782 w 4381952"/>
                  <a:gd name="connsiteY2814" fmla="*/ 2924865 h 7571038"/>
                  <a:gd name="connsiteX2815" fmla="*/ 969565 w 4381952"/>
                  <a:gd name="connsiteY2815" fmla="*/ 2891081 h 7571038"/>
                  <a:gd name="connsiteX2816" fmla="*/ 969565 w 4381952"/>
                  <a:gd name="connsiteY2816" fmla="*/ 6098487 h 7571038"/>
                  <a:gd name="connsiteX2817" fmla="*/ 949591 w 4381952"/>
                  <a:gd name="connsiteY2817" fmla="*/ 6078515 h 7571038"/>
                  <a:gd name="connsiteX2818" fmla="*/ 929619 w 4381952"/>
                  <a:gd name="connsiteY2818" fmla="*/ 6098487 h 7571038"/>
                  <a:gd name="connsiteX2819" fmla="*/ 949591 w 4381952"/>
                  <a:gd name="connsiteY2819" fmla="*/ 6118459 h 7571038"/>
                  <a:gd name="connsiteX2820" fmla="*/ 969565 w 4381952"/>
                  <a:gd name="connsiteY2820" fmla="*/ 6098487 h 7571038"/>
                  <a:gd name="connsiteX2821" fmla="*/ 971289 w 4381952"/>
                  <a:gd name="connsiteY2821" fmla="*/ 3163295 h 7571038"/>
                  <a:gd name="connsiteX2822" fmla="*/ 952550 w 4381952"/>
                  <a:gd name="connsiteY2822" fmla="*/ 3144556 h 7571038"/>
                  <a:gd name="connsiteX2823" fmla="*/ 933810 w 4381952"/>
                  <a:gd name="connsiteY2823" fmla="*/ 3163295 h 7571038"/>
                  <a:gd name="connsiteX2824" fmla="*/ 952550 w 4381952"/>
                  <a:gd name="connsiteY2824" fmla="*/ 3182036 h 7571038"/>
                  <a:gd name="connsiteX2825" fmla="*/ 971289 w 4381952"/>
                  <a:gd name="connsiteY2825" fmla="*/ 3163295 h 7571038"/>
                  <a:gd name="connsiteX2826" fmla="*/ 971291 w 4381952"/>
                  <a:gd name="connsiteY2826" fmla="*/ 2315843 h 7571038"/>
                  <a:gd name="connsiteX2827" fmla="*/ 937757 w 4381952"/>
                  <a:gd name="connsiteY2827" fmla="*/ 2282309 h 7571038"/>
                  <a:gd name="connsiteX2828" fmla="*/ 904223 w 4381952"/>
                  <a:gd name="connsiteY2828" fmla="*/ 2315843 h 7571038"/>
                  <a:gd name="connsiteX2829" fmla="*/ 937757 w 4381952"/>
                  <a:gd name="connsiteY2829" fmla="*/ 2349387 h 7571038"/>
                  <a:gd name="connsiteX2830" fmla="*/ 971291 w 4381952"/>
                  <a:gd name="connsiteY2830" fmla="*/ 2315843 h 7571038"/>
                  <a:gd name="connsiteX2831" fmla="*/ 972524 w 4381952"/>
                  <a:gd name="connsiteY2831" fmla="*/ 5367391 h 7571038"/>
                  <a:gd name="connsiteX2832" fmla="*/ 970057 w 4381952"/>
                  <a:gd name="connsiteY2832" fmla="*/ 5364924 h 7571038"/>
                  <a:gd name="connsiteX2833" fmla="*/ 967593 w 4381952"/>
                  <a:gd name="connsiteY2833" fmla="*/ 5367391 h 7571038"/>
                  <a:gd name="connsiteX2834" fmla="*/ 970057 w 4381952"/>
                  <a:gd name="connsiteY2834" fmla="*/ 5369856 h 7571038"/>
                  <a:gd name="connsiteX2835" fmla="*/ 972524 w 4381952"/>
                  <a:gd name="connsiteY2835" fmla="*/ 5367391 h 7571038"/>
                  <a:gd name="connsiteX2836" fmla="*/ 972769 w 4381952"/>
                  <a:gd name="connsiteY2836" fmla="*/ 5492160 h 7571038"/>
                  <a:gd name="connsiteX2837" fmla="*/ 965125 w 4381952"/>
                  <a:gd name="connsiteY2837" fmla="*/ 5484515 h 7571038"/>
                  <a:gd name="connsiteX2838" fmla="*/ 957481 w 4381952"/>
                  <a:gd name="connsiteY2838" fmla="*/ 5492160 h 7571038"/>
                  <a:gd name="connsiteX2839" fmla="*/ 965125 w 4381952"/>
                  <a:gd name="connsiteY2839" fmla="*/ 5499802 h 7571038"/>
                  <a:gd name="connsiteX2840" fmla="*/ 972769 w 4381952"/>
                  <a:gd name="connsiteY2840" fmla="*/ 5492160 h 7571038"/>
                  <a:gd name="connsiteX2841" fmla="*/ 980907 w 4381952"/>
                  <a:gd name="connsiteY2841" fmla="*/ 3848485 h 7571038"/>
                  <a:gd name="connsiteX2842" fmla="*/ 968331 w 4381952"/>
                  <a:gd name="connsiteY2842" fmla="*/ 3835909 h 7571038"/>
                  <a:gd name="connsiteX2843" fmla="*/ 955509 w 4381952"/>
                  <a:gd name="connsiteY2843" fmla="*/ 3848485 h 7571038"/>
                  <a:gd name="connsiteX2844" fmla="*/ 968331 w 4381952"/>
                  <a:gd name="connsiteY2844" fmla="*/ 3861307 h 7571038"/>
                  <a:gd name="connsiteX2845" fmla="*/ 980907 w 4381952"/>
                  <a:gd name="connsiteY2845" fmla="*/ 3848485 h 7571038"/>
                  <a:gd name="connsiteX2846" fmla="*/ 986824 w 4381952"/>
                  <a:gd name="connsiteY2846" fmla="*/ 4640732 h 7571038"/>
                  <a:gd name="connsiteX2847" fmla="*/ 938987 w 4381952"/>
                  <a:gd name="connsiteY2847" fmla="*/ 4592895 h 7571038"/>
                  <a:gd name="connsiteX2848" fmla="*/ 891153 w 4381952"/>
                  <a:gd name="connsiteY2848" fmla="*/ 4640732 h 7571038"/>
                  <a:gd name="connsiteX2849" fmla="*/ 938987 w 4381952"/>
                  <a:gd name="connsiteY2849" fmla="*/ 4688566 h 7571038"/>
                  <a:gd name="connsiteX2850" fmla="*/ 986824 w 4381952"/>
                  <a:gd name="connsiteY2850" fmla="*/ 4640732 h 7571038"/>
                  <a:gd name="connsiteX2851" fmla="*/ 994960 w 4381952"/>
                  <a:gd name="connsiteY2851" fmla="*/ 5247307 h 7571038"/>
                  <a:gd name="connsiteX2852" fmla="*/ 984851 w 4381952"/>
                  <a:gd name="connsiteY2852" fmla="*/ 5237199 h 7571038"/>
                  <a:gd name="connsiteX2853" fmla="*/ 974743 w 4381952"/>
                  <a:gd name="connsiteY2853" fmla="*/ 5247307 h 7571038"/>
                  <a:gd name="connsiteX2854" fmla="*/ 984851 w 4381952"/>
                  <a:gd name="connsiteY2854" fmla="*/ 5257416 h 7571038"/>
                  <a:gd name="connsiteX2855" fmla="*/ 994960 w 4381952"/>
                  <a:gd name="connsiteY2855" fmla="*/ 5247307 h 7571038"/>
                  <a:gd name="connsiteX2856" fmla="*/ 996932 w 4381952"/>
                  <a:gd name="connsiteY2856" fmla="*/ 2457859 h 7571038"/>
                  <a:gd name="connsiteX2857" fmla="*/ 956988 w 4381952"/>
                  <a:gd name="connsiteY2857" fmla="*/ 2417914 h 7571038"/>
                  <a:gd name="connsiteX2858" fmla="*/ 917042 w 4381952"/>
                  <a:gd name="connsiteY2858" fmla="*/ 2457859 h 7571038"/>
                  <a:gd name="connsiteX2859" fmla="*/ 956988 w 4381952"/>
                  <a:gd name="connsiteY2859" fmla="*/ 2497805 h 7571038"/>
                  <a:gd name="connsiteX2860" fmla="*/ 996932 w 4381952"/>
                  <a:gd name="connsiteY2860" fmla="*/ 2457859 h 7571038"/>
                  <a:gd name="connsiteX2861" fmla="*/ 997427 w 4381952"/>
                  <a:gd name="connsiteY2861" fmla="*/ 1709799 h 7571038"/>
                  <a:gd name="connsiteX2862" fmla="*/ 982384 w 4381952"/>
                  <a:gd name="connsiteY2862" fmla="*/ 1694537 h 7571038"/>
                  <a:gd name="connsiteX2863" fmla="*/ 967344 w 4381952"/>
                  <a:gd name="connsiteY2863" fmla="*/ 1709799 h 7571038"/>
                  <a:gd name="connsiteX2864" fmla="*/ 982384 w 4381952"/>
                  <a:gd name="connsiteY2864" fmla="*/ 1724854 h 7571038"/>
                  <a:gd name="connsiteX2865" fmla="*/ 997427 w 4381952"/>
                  <a:gd name="connsiteY2865" fmla="*/ 1709799 h 7571038"/>
                  <a:gd name="connsiteX2866" fmla="*/ 1003839 w 4381952"/>
                  <a:gd name="connsiteY2866" fmla="*/ 1837070 h 7571038"/>
                  <a:gd name="connsiteX2867" fmla="*/ 989537 w 4381952"/>
                  <a:gd name="connsiteY2867" fmla="*/ 1823021 h 7571038"/>
                  <a:gd name="connsiteX2868" fmla="*/ 975483 w 4381952"/>
                  <a:gd name="connsiteY2868" fmla="*/ 1837070 h 7571038"/>
                  <a:gd name="connsiteX2869" fmla="*/ 989537 w 4381952"/>
                  <a:gd name="connsiteY2869" fmla="*/ 1851368 h 7571038"/>
                  <a:gd name="connsiteX2870" fmla="*/ 1003839 w 4381952"/>
                  <a:gd name="connsiteY2870" fmla="*/ 1837070 h 7571038"/>
                  <a:gd name="connsiteX2871" fmla="*/ 1005566 w 4381952"/>
                  <a:gd name="connsiteY2871" fmla="*/ 2604321 h 7571038"/>
                  <a:gd name="connsiteX2872" fmla="*/ 980168 w 4381952"/>
                  <a:gd name="connsiteY2872" fmla="*/ 2578922 h 7571038"/>
                  <a:gd name="connsiteX2873" fmla="*/ 954771 w 4381952"/>
                  <a:gd name="connsiteY2873" fmla="*/ 2604321 h 7571038"/>
                  <a:gd name="connsiteX2874" fmla="*/ 980168 w 4381952"/>
                  <a:gd name="connsiteY2874" fmla="*/ 2629715 h 7571038"/>
                  <a:gd name="connsiteX2875" fmla="*/ 1005566 w 4381952"/>
                  <a:gd name="connsiteY2875" fmla="*/ 2604321 h 7571038"/>
                  <a:gd name="connsiteX2876" fmla="*/ 1006552 w 4381952"/>
                  <a:gd name="connsiteY2876" fmla="*/ 4498455 h 7571038"/>
                  <a:gd name="connsiteX2877" fmla="*/ 957975 w 4381952"/>
                  <a:gd name="connsiteY2877" fmla="*/ 4449880 h 7571038"/>
                  <a:gd name="connsiteX2878" fmla="*/ 909400 w 4381952"/>
                  <a:gd name="connsiteY2878" fmla="*/ 4498455 h 7571038"/>
                  <a:gd name="connsiteX2879" fmla="*/ 957975 w 4381952"/>
                  <a:gd name="connsiteY2879" fmla="*/ 4547033 h 7571038"/>
                  <a:gd name="connsiteX2880" fmla="*/ 1006552 w 4381952"/>
                  <a:gd name="connsiteY2880" fmla="*/ 4498455 h 7571038"/>
                  <a:gd name="connsiteX2881" fmla="*/ 1009509 w 4381952"/>
                  <a:gd name="connsiteY2881" fmla="*/ 3052583 h 7571038"/>
                  <a:gd name="connsiteX2882" fmla="*/ 986329 w 4381952"/>
                  <a:gd name="connsiteY2882" fmla="*/ 3029404 h 7571038"/>
                  <a:gd name="connsiteX2883" fmla="*/ 963153 w 4381952"/>
                  <a:gd name="connsiteY2883" fmla="*/ 3052583 h 7571038"/>
                  <a:gd name="connsiteX2884" fmla="*/ 986329 w 4381952"/>
                  <a:gd name="connsiteY2884" fmla="*/ 3075760 h 7571038"/>
                  <a:gd name="connsiteX2885" fmla="*/ 1009509 w 4381952"/>
                  <a:gd name="connsiteY2885" fmla="*/ 3052583 h 7571038"/>
                  <a:gd name="connsiteX2886" fmla="*/ 1018140 w 4381952"/>
                  <a:gd name="connsiteY2886" fmla="*/ 4351994 h 7571038"/>
                  <a:gd name="connsiteX2887" fmla="*/ 981155 w 4381952"/>
                  <a:gd name="connsiteY2887" fmla="*/ 4315005 h 7571038"/>
                  <a:gd name="connsiteX2888" fmla="*/ 944167 w 4381952"/>
                  <a:gd name="connsiteY2888" fmla="*/ 4351994 h 7571038"/>
                  <a:gd name="connsiteX2889" fmla="*/ 981155 w 4381952"/>
                  <a:gd name="connsiteY2889" fmla="*/ 4388978 h 7571038"/>
                  <a:gd name="connsiteX2890" fmla="*/ 1018140 w 4381952"/>
                  <a:gd name="connsiteY2890" fmla="*/ 4351994 h 7571038"/>
                  <a:gd name="connsiteX2891" fmla="*/ 1019866 w 4381952"/>
                  <a:gd name="connsiteY2891" fmla="*/ 715521 h 7571038"/>
                  <a:gd name="connsiteX2892" fmla="*/ 998660 w 4381952"/>
                  <a:gd name="connsiteY2892" fmla="*/ 694318 h 7571038"/>
                  <a:gd name="connsiteX2893" fmla="*/ 977456 w 4381952"/>
                  <a:gd name="connsiteY2893" fmla="*/ 715521 h 7571038"/>
                  <a:gd name="connsiteX2894" fmla="*/ 998660 w 4381952"/>
                  <a:gd name="connsiteY2894" fmla="*/ 736721 h 7571038"/>
                  <a:gd name="connsiteX2895" fmla="*/ 1019866 w 4381952"/>
                  <a:gd name="connsiteY2895" fmla="*/ 715521 h 7571038"/>
                  <a:gd name="connsiteX2896" fmla="*/ 1021099 w 4381952"/>
                  <a:gd name="connsiteY2896" fmla="*/ 833121 h 7571038"/>
                  <a:gd name="connsiteX2897" fmla="*/ 1000386 w 4381952"/>
                  <a:gd name="connsiteY2897" fmla="*/ 812407 h 7571038"/>
                  <a:gd name="connsiteX2898" fmla="*/ 979428 w 4381952"/>
                  <a:gd name="connsiteY2898" fmla="*/ 833121 h 7571038"/>
                  <a:gd name="connsiteX2899" fmla="*/ 1000386 w 4381952"/>
                  <a:gd name="connsiteY2899" fmla="*/ 854071 h 7571038"/>
                  <a:gd name="connsiteX2900" fmla="*/ 1021099 w 4381952"/>
                  <a:gd name="connsiteY2900" fmla="*/ 833121 h 7571038"/>
                  <a:gd name="connsiteX2901" fmla="*/ 1021344 w 4381952"/>
                  <a:gd name="connsiteY2901" fmla="*/ 5119335 h 7571038"/>
                  <a:gd name="connsiteX2902" fmla="*/ 991509 w 4381952"/>
                  <a:gd name="connsiteY2902" fmla="*/ 5089745 h 7571038"/>
                  <a:gd name="connsiteX2903" fmla="*/ 961921 w 4381952"/>
                  <a:gd name="connsiteY2903" fmla="*/ 5119335 h 7571038"/>
                  <a:gd name="connsiteX2904" fmla="*/ 991509 w 4381952"/>
                  <a:gd name="connsiteY2904" fmla="*/ 5149169 h 7571038"/>
                  <a:gd name="connsiteX2905" fmla="*/ 1021344 w 4381952"/>
                  <a:gd name="connsiteY2905" fmla="*/ 5119335 h 7571038"/>
                  <a:gd name="connsiteX2906" fmla="*/ 1021592 w 4381952"/>
                  <a:gd name="connsiteY2906" fmla="*/ 3957472 h 7571038"/>
                  <a:gd name="connsiteX2907" fmla="*/ 1007292 w 4381952"/>
                  <a:gd name="connsiteY2907" fmla="*/ 3943169 h 7571038"/>
                  <a:gd name="connsiteX2908" fmla="*/ 992990 w 4381952"/>
                  <a:gd name="connsiteY2908" fmla="*/ 3957472 h 7571038"/>
                  <a:gd name="connsiteX2909" fmla="*/ 1007292 w 4381952"/>
                  <a:gd name="connsiteY2909" fmla="*/ 3971772 h 7571038"/>
                  <a:gd name="connsiteX2910" fmla="*/ 1021592 w 4381952"/>
                  <a:gd name="connsiteY2910" fmla="*/ 3957472 h 7571038"/>
                  <a:gd name="connsiteX2911" fmla="*/ 1023072 w 4381952"/>
                  <a:gd name="connsiteY2911" fmla="*/ 951700 h 7571038"/>
                  <a:gd name="connsiteX2912" fmla="*/ 1002359 w 4381952"/>
                  <a:gd name="connsiteY2912" fmla="*/ 930984 h 7571038"/>
                  <a:gd name="connsiteX2913" fmla="*/ 981647 w 4381952"/>
                  <a:gd name="connsiteY2913" fmla="*/ 951700 h 7571038"/>
                  <a:gd name="connsiteX2914" fmla="*/ 1002359 w 4381952"/>
                  <a:gd name="connsiteY2914" fmla="*/ 972412 h 7571038"/>
                  <a:gd name="connsiteX2915" fmla="*/ 1023072 w 4381952"/>
                  <a:gd name="connsiteY2915" fmla="*/ 951700 h 7571038"/>
                  <a:gd name="connsiteX2916" fmla="*/ 1023317 w 4381952"/>
                  <a:gd name="connsiteY2916" fmla="*/ 4216622 h 7571038"/>
                  <a:gd name="connsiteX2917" fmla="*/ 1019863 w 4381952"/>
                  <a:gd name="connsiteY2917" fmla="*/ 4213171 h 7571038"/>
                  <a:gd name="connsiteX2918" fmla="*/ 1016413 w 4381952"/>
                  <a:gd name="connsiteY2918" fmla="*/ 4216622 h 7571038"/>
                  <a:gd name="connsiteX2919" fmla="*/ 1019863 w 4381952"/>
                  <a:gd name="connsiteY2919" fmla="*/ 4220075 h 7571038"/>
                  <a:gd name="connsiteX2920" fmla="*/ 1023317 w 4381952"/>
                  <a:gd name="connsiteY2920" fmla="*/ 4216622 h 7571038"/>
                  <a:gd name="connsiteX2921" fmla="*/ 1023318 w 4381952"/>
                  <a:gd name="connsiteY2921" fmla="*/ 1071030 h 7571038"/>
                  <a:gd name="connsiteX2922" fmla="*/ 1004578 w 4381952"/>
                  <a:gd name="connsiteY2922" fmla="*/ 1052284 h 7571038"/>
                  <a:gd name="connsiteX2923" fmla="*/ 985838 w 4381952"/>
                  <a:gd name="connsiteY2923" fmla="*/ 1071030 h 7571038"/>
                  <a:gd name="connsiteX2924" fmla="*/ 1004578 w 4381952"/>
                  <a:gd name="connsiteY2924" fmla="*/ 1089769 h 7571038"/>
                  <a:gd name="connsiteX2925" fmla="*/ 1023318 w 4381952"/>
                  <a:gd name="connsiteY2925" fmla="*/ 1071030 h 7571038"/>
                  <a:gd name="connsiteX2926" fmla="*/ 1025289 w 4381952"/>
                  <a:gd name="connsiteY2926" fmla="*/ 2788752 h 7571038"/>
                  <a:gd name="connsiteX2927" fmla="*/ 989288 w 4381952"/>
                  <a:gd name="connsiteY2927" fmla="*/ 2752751 h 7571038"/>
                  <a:gd name="connsiteX2928" fmla="*/ 953290 w 4381952"/>
                  <a:gd name="connsiteY2928" fmla="*/ 2788752 h 7571038"/>
                  <a:gd name="connsiteX2929" fmla="*/ 989288 w 4381952"/>
                  <a:gd name="connsiteY2929" fmla="*/ 2824752 h 7571038"/>
                  <a:gd name="connsiteX2930" fmla="*/ 1025289 w 4381952"/>
                  <a:gd name="connsiteY2930" fmla="*/ 2788752 h 7571038"/>
                  <a:gd name="connsiteX2931" fmla="*/ 1025289 w 4381952"/>
                  <a:gd name="connsiteY2931" fmla="*/ 3449067 h 7571038"/>
                  <a:gd name="connsiteX2932" fmla="*/ 1021836 w 4381952"/>
                  <a:gd name="connsiteY2932" fmla="*/ 3445614 h 7571038"/>
                  <a:gd name="connsiteX2933" fmla="*/ 1018385 w 4381952"/>
                  <a:gd name="connsiteY2933" fmla="*/ 3449067 h 7571038"/>
                  <a:gd name="connsiteX2934" fmla="*/ 1021836 w 4381952"/>
                  <a:gd name="connsiteY2934" fmla="*/ 3452519 h 7571038"/>
                  <a:gd name="connsiteX2935" fmla="*/ 1025289 w 4381952"/>
                  <a:gd name="connsiteY2935" fmla="*/ 3449067 h 7571038"/>
                  <a:gd name="connsiteX2936" fmla="*/ 1025290 w 4381952"/>
                  <a:gd name="connsiteY2936" fmla="*/ 1191091 h 7571038"/>
                  <a:gd name="connsiteX2937" fmla="*/ 1006550 w 4381952"/>
                  <a:gd name="connsiteY2937" fmla="*/ 1172104 h 7571038"/>
                  <a:gd name="connsiteX2938" fmla="*/ 987565 w 4381952"/>
                  <a:gd name="connsiteY2938" fmla="*/ 1191091 h 7571038"/>
                  <a:gd name="connsiteX2939" fmla="*/ 1006550 w 4381952"/>
                  <a:gd name="connsiteY2939" fmla="*/ 1210082 h 7571038"/>
                  <a:gd name="connsiteX2940" fmla="*/ 1025290 w 4381952"/>
                  <a:gd name="connsiteY2940" fmla="*/ 1191091 h 7571038"/>
                  <a:gd name="connsiteX2941" fmla="*/ 1025537 w 4381952"/>
                  <a:gd name="connsiteY2941" fmla="*/ 4857718 h 7571038"/>
                  <a:gd name="connsiteX2942" fmla="*/ 1009509 w 4381952"/>
                  <a:gd name="connsiteY2942" fmla="*/ 4841692 h 7571038"/>
                  <a:gd name="connsiteX2943" fmla="*/ 993482 w 4381952"/>
                  <a:gd name="connsiteY2943" fmla="*/ 4857718 h 7571038"/>
                  <a:gd name="connsiteX2944" fmla="*/ 1009509 w 4381952"/>
                  <a:gd name="connsiteY2944" fmla="*/ 4873748 h 7571038"/>
                  <a:gd name="connsiteX2945" fmla="*/ 1025537 w 4381952"/>
                  <a:gd name="connsiteY2945" fmla="*/ 4857718 h 7571038"/>
                  <a:gd name="connsiteX2946" fmla="*/ 1026771 w 4381952"/>
                  <a:gd name="connsiteY2946" fmla="*/ 3564922 h 7571038"/>
                  <a:gd name="connsiteX2947" fmla="*/ 1024797 w 4381952"/>
                  <a:gd name="connsiteY2947" fmla="*/ 3562949 h 7571038"/>
                  <a:gd name="connsiteX2948" fmla="*/ 1022825 w 4381952"/>
                  <a:gd name="connsiteY2948" fmla="*/ 3564922 h 7571038"/>
                  <a:gd name="connsiteX2949" fmla="*/ 1024797 w 4381952"/>
                  <a:gd name="connsiteY2949" fmla="*/ 3566894 h 7571038"/>
                  <a:gd name="connsiteX2950" fmla="*/ 1026771 w 4381952"/>
                  <a:gd name="connsiteY2950" fmla="*/ 3564922 h 7571038"/>
                  <a:gd name="connsiteX2951" fmla="*/ 1027014 w 4381952"/>
                  <a:gd name="connsiteY2951" fmla="*/ 1312638 h 7571038"/>
                  <a:gd name="connsiteX2952" fmla="*/ 1009509 w 4381952"/>
                  <a:gd name="connsiteY2952" fmla="*/ 1295123 h 7571038"/>
                  <a:gd name="connsiteX2953" fmla="*/ 992001 w 4381952"/>
                  <a:gd name="connsiteY2953" fmla="*/ 1312638 h 7571038"/>
                  <a:gd name="connsiteX2954" fmla="*/ 1009509 w 4381952"/>
                  <a:gd name="connsiteY2954" fmla="*/ 1330139 h 7571038"/>
                  <a:gd name="connsiteX2955" fmla="*/ 1027014 w 4381952"/>
                  <a:gd name="connsiteY2955" fmla="*/ 1312638 h 7571038"/>
                  <a:gd name="connsiteX2956" fmla="*/ 1030962 w 4381952"/>
                  <a:gd name="connsiteY2956" fmla="*/ 1434918 h 7571038"/>
                  <a:gd name="connsiteX2957" fmla="*/ 1012962 w 4381952"/>
                  <a:gd name="connsiteY2957" fmla="*/ 1416921 h 7571038"/>
                  <a:gd name="connsiteX2958" fmla="*/ 994963 w 4381952"/>
                  <a:gd name="connsiteY2958" fmla="*/ 1434918 h 7571038"/>
                  <a:gd name="connsiteX2959" fmla="*/ 1012962 w 4381952"/>
                  <a:gd name="connsiteY2959" fmla="*/ 1452918 h 7571038"/>
                  <a:gd name="connsiteX2960" fmla="*/ 1030962 w 4381952"/>
                  <a:gd name="connsiteY2960" fmla="*/ 1434918 h 7571038"/>
                  <a:gd name="connsiteX2961" fmla="*/ 1032688 w 4381952"/>
                  <a:gd name="connsiteY2961" fmla="*/ 1966958 h 7571038"/>
                  <a:gd name="connsiteX2962" fmla="*/ 997676 w 4381952"/>
                  <a:gd name="connsiteY2962" fmla="*/ 1931957 h 7571038"/>
                  <a:gd name="connsiteX2963" fmla="*/ 962661 w 4381952"/>
                  <a:gd name="connsiteY2963" fmla="*/ 1966958 h 7571038"/>
                  <a:gd name="connsiteX2964" fmla="*/ 997676 w 4381952"/>
                  <a:gd name="connsiteY2964" fmla="*/ 2001960 h 7571038"/>
                  <a:gd name="connsiteX2965" fmla="*/ 1032688 w 4381952"/>
                  <a:gd name="connsiteY2965" fmla="*/ 1966958 h 7571038"/>
                  <a:gd name="connsiteX2966" fmla="*/ 1033428 w 4381952"/>
                  <a:gd name="connsiteY2966" fmla="*/ 4989637 h 7571038"/>
                  <a:gd name="connsiteX2967" fmla="*/ 999894 w 4381952"/>
                  <a:gd name="connsiteY2967" fmla="*/ 4956102 h 7571038"/>
                  <a:gd name="connsiteX2968" fmla="*/ 966606 w 4381952"/>
                  <a:gd name="connsiteY2968" fmla="*/ 4989637 h 7571038"/>
                  <a:gd name="connsiteX2969" fmla="*/ 999894 w 4381952"/>
                  <a:gd name="connsiteY2969" fmla="*/ 5023171 h 7571038"/>
                  <a:gd name="connsiteX2970" fmla="*/ 1033428 w 4381952"/>
                  <a:gd name="connsiteY2970" fmla="*/ 4989637 h 7571038"/>
                  <a:gd name="connsiteX2971" fmla="*/ 1033920 w 4381952"/>
                  <a:gd name="connsiteY2971" fmla="*/ 1558682 h 7571038"/>
                  <a:gd name="connsiteX2972" fmla="*/ 1016659 w 4381952"/>
                  <a:gd name="connsiteY2972" fmla="*/ 1541427 h 7571038"/>
                  <a:gd name="connsiteX2973" fmla="*/ 999400 w 4381952"/>
                  <a:gd name="connsiteY2973" fmla="*/ 1558682 h 7571038"/>
                  <a:gd name="connsiteX2974" fmla="*/ 1016659 w 4381952"/>
                  <a:gd name="connsiteY2974" fmla="*/ 1575943 h 7571038"/>
                  <a:gd name="connsiteX2975" fmla="*/ 1033920 w 4381952"/>
                  <a:gd name="connsiteY2975" fmla="*/ 1558682 h 7571038"/>
                  <a:gd name="connsiteX2976" fmla="*/ 1034661 w 4381952"/>
                  <a:gd name="connsiteY2976" fmla="*/ 2098862 h 7571038"/>
                  <a:gd name="connsiteX2977" fmla="*/ 1007782 w 4381952"/>
                  <a:gd name="connsiteY2977" fmla="*/ 2071982 h 7571038"/>
                  <a:gd name="connsiteX2978" fmla="*/ 980906 w 4381952"/>
                  <a:gd name="connsiteY2978" fmla="*/ 2098862 h 7571038"/>
                  <a:gd name="connsiteX2979" fmla="*/ 1007782 w 4381952"/>
                  <a:gd name="connsiteY2979" fmla="*/ 2125745 h 7571038"/>
                  <a:gd name="connsiteX2980" fmla="*/ 1034661 w 4381952"/>
                  <a:gd name="connsiteY2980" fmla="*/ 2098862 h 7571038"/>
                  <a:gd name="connsiteX2981" fmla="*/ 1038853 w 4381952"/>
                  <a:gd name="connsiteY2981" fmla="*/ 7404107 h 7571038"/>
                  <a:gd name="connsiteX2982" fmla="*/ 1036880 w 4381952"/>
                  <a:gd name="connsiteY2982" fmla="*/ 7402134 h 7571038"/>
                  <a:gd name="connsiteX2983" fmla="*/ 1034907 w 4381952"/>
                  <a:gd name="connsiteY2983" fmla="*/ 7404107 h 7571038"/>
                  <a:gd name="connsiteX2984" fmla="*/ 1036880 w 4381952"/>
                  <a:gd name="connsiteY2984" fmla="*/ 7406079 h 7571038"/>
                  <a:gd name="connsiteX2985" fmla="*/ 1038853 w 4381952"/>
                  <a:gd name="connsiteY2985" fmla="*/ 7404107 h 7571038"/>
                  <a:gd name="connsiteX2986" fmla="*/ 1039098 w 4381952"/>
                  <a:gd name="connsiteY2986" fmla="*/ 7290927 h 7571038"/>
                  <a:gd name="connsiteX2987" fmla="*/ 1036880 w 4381952"/>
                  <a:gd name="connsiteY2987" fmla="*/ 7288954 h 7571038"/>
                  <a:gd name="connsiteX2988" fmla="*/ 1034907 w 4381952"/>
                  <a:gd name="connsiteY2988" fmla="*/ 7290927 h 7571038"/>
                  <a:gd name="connsiteX2989" fmla="*/ 1036880 w 4381952"/>
                  <a:gd name="connsiteY2989" fmla="*/ 7292900 h 7571038"/>
                  <a:gd name="connsiteX2990" fmla="*/ 1039098 w 4381952"/>
                  <a:gd name="connsiteY2990" fmla="*/ 7290927 h 7571038"/>
                  <a:gd name="connsiteX2991" fmla="*/ 1039344 w 4381952"/>
                  <a:gd name="connsiteY2991" fmla="*/ 3333421 h 7571038"/>
                  <a:gd name="connsiteX2992" fmla="*/ 1030468 w 4381952"/>
                  <a:gd name="connsiteY2992" fmla="*/ 3324546 h 7571038"/>
                  <a:gd name="connsiteX2993" fmla="*/ 1021591 w 4381952"/>
                  <a:gd name="connsiteY2993" fmla="*/ 3333421 h 7571038"/>
                  <a:gd name="connsiteX2994" fmla="*/ 1030468 w 4381952"/>
                  <a:gd name="connsiteY2994" fmla="*/ 3342299 h 7571038"/>
                  <a:gd name="connsiteX2995" fmla="*/ 1039344 w 4381952"/>
                  <a:gd name="connsiteY2995" fmla="*/ 3333421 h 7571038"/>
                  <a:gd name="connsiteX2996" fmla="*/ 1039592 w 4381952"/>
                  <a:gd name="connsiteY2996" fmla="*/ 7177506 h 7571038"/>
                  <a:gd name="connsiteX2997" fmla="*/ 1037125 w 4381952"/>
                  <a:gd name="connsiteY2997" fmla="*/ 7175038 h 7571038"/>
                  <a:gd name="connsiteX2998" fmla="*/ 1034661 w 4381952"/>
                  <a:gd name="connsiteY2998" fmla="*/ 7177506 h 7571038"/>
                  <a:gd name="connsiteX2999" fmla="*/ 1037125 w 4381952"/>
                  <a:gd name="connsiteY2999" fmla="*/ 7179969 h 7571038"/>
                  <a:gd name="connsiteX3000" fmla="*/ 1039592 w 4381952"/>
                  <a:gd name="connsiteY3000" fmla="*/ 7177506 h 7571038"/>
                  <a:gd name="connsiteX3001" fmla="*/ 1039593 w 4381952"/>
                  <a:gd name="connsiteY3001" fmla="*/ 3679581 h 7571038"/>
                  <a:gd name="connsiteX3002" fmla="*/ 1039100 w 4381952"/>
                  <a:gd name="connsiteY3002" fmla="*/ 3679086 h 7571038"/>
                  <a:gd name="connsiteX3003" fmla="*/ 1038606 w 4381952"/>
                  <a:gd name="connsiteY3003" fmla="*/ 3679581 h 7571038"/>
                  <a:gd name="connsiteX3004" fmla="*/ 1039100 w 4381952"/>
                  <a:gd name="connsiteY3004" fmla="*/ 3680073 h 7571038"/>
                  <a:gd name="connsiteX3005" fmla="*/ 1039593 w 4381952"/>
                  <a:gd name="connsiteY3005" fmla="*/ 3679581 h 7571038"/>
                  <a:gd name="connsiteX3006" fmla="*/ 1044770 w 4381952"/>
                  <a:gd name="connsiteY3006" fmla="*/ 7065559 h 7571038"/>
                  <a:gd name="connsiteX3007" fmla="*/ 1042797 w 4381952"/>
                  <a:gd name="connsiteY3007" fmla="*/ 7063586 h 7571038"/>
                  <a:gd name="connsiteX3008" fmla="*/ 1040825 w 4381952"/>
                  <a:gd name="connsiteY3008" fmla="*/ 7065559 h 7571038"/>
                  <a:gd name="connsiteX3009" fmla="*/ 1042797 w 4381952"/>
                  <a:gd name="connsiteY3009" fmla="*/ 7067532 h 7571038"/>
                  <a:gd name="connsiteX3010" fmla="*/ 1044770 w 4381952"/>
                  <a:gd name="connsiteY3010" fmla="*/ 7065559 h 7571038"/>
                  <a:gd name="connsiteX3011" fmla="*/ 1046002 w 4381952"/>
                  <a:gd name="connsiteY3011" fmla="*/ 6837477 h 7571038"/>
                  <a:gd name="connsiteX3012" fmla="*/ 1043537 w 4381952"/>
                  <a:gd name="connsiteY3012" fmla="*/ 6835009 h 7571038"/>
                  <a:gd name="connsiteX3013" fmla="*/ 1041071 w 4381952"/>
                  <a:gd name="connsiteY3013" fmla="*/ 6837477 h 7571038"/>
                  <a:gd name="connsiteX3014" fmla="*/ 1043537 w 4381952"/>
                  <a:gd name="connsiteY3014" fmla="*/ 6839940 h 7571038"/>
                  <a:gd name="connsiteX3015" fmla="*/ 1046002 w 4381952"/>
                  <a:gd name="connsiteY3015" fmla="*/ 6837477 h 7571038"/>
                  <a:gd name="connsiteX3016" fmla="*/ 1046496 w 4381952"/>
                  <a:gd name="connsiteY3016" fmla="*/ 6951639 h 7571038"/>
                  <a:gd name="connsiteX3017" fmla="*/ 1043289 w 4381952"/>
                  <a:gd name="connsiteY3017" fmla="*/ 6948434 h 7571038"/>
                  <a:gd name="connsiteX3018" fmla="*/ 1040084 w 4381952"/>
                  <a:gd name="connsiteY3018" fmla="*/ 6951639 h 7571038"/>
                  <a:gd name="connsiteX3019" fmla="*/ 1043289 w 4381952"/>
                  <a:gd name="connsiteY3019" fmla="*/ 6954847 h 7571038"/>
                  <a:gd name="connsiteX3020" fmla="*/ 1046496 w 4381952"/>
                  <a:gd name="connsiteY3020" fmla="*/ 6951639 h 7571038"/>
                  <a:gd name="connsiteX3021" fmla="*/ 1049701 w 4381952"/>
                  <a:gd name="connsiteY3021" fmla="*/ 6376625 h 7571038"/>
                  <a:gd name="connsiteX3022" fmla="*/ 1046493 w 4381952"/>
                  <a:gd name="connsiteY3022" fmla="*/ 6373420 h 7571038"/>
                  <a:gd name="connsiteX3023" fmla="*/ 1043043 w 4381952"/>
                  <a:gd name="connsiteY3023" fmla="*/ 6376625 h 7571038"/>
                  <a:gd name="connsiteX3024" fmla="*/ 1046493 w 4381952"/>
                  <a:gd name="connsiteY3024" fmla="*/ 6380079 h 7571038"/>
                  <a:gd name="connsiteX3025" fmla="*/ 1049701 w 4381952"/>
                  <a:gd name="connsiteY3025" fmla="*/ 6376625 h 7571038"/>
                  <a:gd name="connsiteX3026" fmla="*/ 1051428 w 4381952"/>
                  <a:gd name="connsiteY3026" fmla="*/ 2233238 h 7571038"/>
                  <a:gd name="connsiteX3027" fmla="*/ 1020113 w 4381952"/>
                  <a:gd name="connsiteY3027" fmla="*/ 2201925 h 7571038"/>
                  <a:gd name="connsiteX3028" fmla="*/ 988797 w 4381952"/>
                  <a:gd name="connsiteY3028" fmla="*/ 2233238 h 7571038"/>
                  <a:gd name="connsiteX3029" fmla="*/ 1020113 w 4381952"/>
                  <a:gd name="connsiteY3029" fmla="*/ 2264554 h 7571038"/>
                  <a:gd name="connsiteX3030" fmla="*/ 1051428 w 4381952"/>
                  <a:gd name="connsiteY3030" fmla="*/ 2233238 h 7571038"/>
                  <a:gd name="connsiteX3031" fmla="*/ 1054878 w 4381952"/>
                  <a:gd name="connsiteY3031" fmla="*/ 6608160 h 7571038"/>
                  <a:gd name="connsiteX3032" fmla="*/ 1044770 w 4381952"/>
                  <a:gd name="connsiteY3032" fmla="*/ 6598051 h 7571038"/>
                  <a:gd name="connsiteX3033" fmla="*/ 1034661 w 4381952"/>
                  <a:gd name="connsiteY3033" fmla="*/ 6608160 h 7571038"/>
                  <a:gd name="connsiteX3034" fmla="*/ 1044770 w 4381952"/>
                  <a:gd name="connsiteY3034" fmla="*/ 6618272 h 7571038"/>
                  <a:gd name="connsiteX3035" fmla="*/ 1054878 w 4381952"/>
                  <a:gd name="connsiteY3035" fmla="*/ 6608160 h 7571038"/>
                  <a:gd name="connsiteX3036" fmla="*/ 1056114 w 4381952"/>
                  <a:gd name="connsiteY3036" fmla="*/ 6492517 h 7571038"/>
                  <a:gd name="connsiteX3037" fmla="*/ 1045510 w 4381952"/>
                  <a:gd name="connsiteY3037" fmla="*/ 6481912 h 7571038"/>
                  <a:gd name="connsiteX3038" fmla="*/ 1034907 w 4381952"/>
                  <a:gd name="connsiteY3038" fmla="*/ 6492517 h 7571038"/>
                  <a:gd name="connsiteX3039" fmla="*/ 1045510 w 4381952"/>
                  <a:gd name="connsiteY3039" fmla="*/ 6503117 h 7571038"/>
                  <a:gd name="connsiteX3040" fmla="*/ 1056114 w 4381952"/>
                  <a:gd name="connsiteY3040" fmla="*/ 6492517 h 7571038"/>
                  <a:gd name="connsiteX3041" fmla="*/ 1057098 w 4381952"/>
                  <a:gd name="connsiteY3041" fmla="*/ 6722817 h 7571038"/>
                  <a:gd name="connsiteX3042" fmla="*/ 1044276 w 4381952"/>
                  <a:gd name="connsiteY3042" fmla="*/ 6709995 h 7571038"/>
                  <a:gd name="connsiteX3043" fmla="*/ 1031454 w 4381952"/>
                  <a:gd name="connsiteY3043" fmla="*/ 6722817 h 7571038"/>
                  <a:gd name="connsiteX3044" fmla="*/ 1044276 w 4381952"/>
                  <a:gd name="connsiteY3044" fmla="*/ 6735639 h 7571038"/>
                  <a:gd name="connsiteX3045" fmla="*/ 1057098 w 4381952"/>
                  <a:gd name="connsiteY3045" fmla="*/ 6722817 h 7571038"/>
                  <a:gd name="connsiteX3046" fmla="*/ 1058333 w 4381952"/>
                  <a:gd name="connsiteY3046" fmla="*/ 2945569 h 7571038"/>
                  <a:gd name="connsiteX3047" fmla="*/ 1029976 w 4381952"/>
                  <a:gd name="connsiteY3047" fmla="*/ 2917211 h 7571038"/>
                  <a:gd name="connsiteX3048" fmla="*/ 1001619 w 4381952"/>
                  <a:gd name="connsiteY3048" fmla="*/ 2945569 h 7571038"/>
                  <a:gd name="connsiteX3049" fmla="*/ 1029976 w 4381952"/>
                  <a:gd name="connsiteY3049" fmla="*/ 2973924 h 7571038"/>
                  <a:gd name="connsiteX3050" fmla="*/ 1058333 w 4381952"/>
                  <a:gd name="connsiteY3050" fmla="*/ 2945569 h 7571038"/>
                  <a:gd name="connsiteX3051" fmla="*/ 1060056 w 4381952"/>
                  <a:gd name="connsiteY3051" fmla="*/ 6028461 h 7571038"/>
                  <a:gd name="connsiteX3052" fmla="*/ 1057097 w 4381952"/>
                  <a:gd name="connsiteY3052" fmla="*/ 6025501 h 7571038"/>
                  <a:gd name="connsiteX3053" fmla="*/ 1054138 w 4381952"/>
                  <a:gd name="connsiteY3053" fmla="*/ 6028461 h 7571038"/>
                  <a:gd name="connsiteX3054" fmla="*/ 1057097 w 4381952"/>
                  <a:gd name="connsiteY3054" fmla="*/ 6031420 h 7571038"/>
                  <a:gd name="connsiteX3055" fmla="*/ 1060056 w 4381952"/>
                  <a:gd name="connsiteY3055" fmla="*/ 6028461 h 7571038"/>
                  <a:gd name="connsiteX3056" fmla="*/ 1060550 w 4381952"/>
                  <a:gd name="connsiteY3056" fmla="*/ 5910103 h 7571038"/>
                  <a:gd name="connsiteX3057" fmla="*/ 1058578 w 4381952"/>
                  <a:gd name="connsiteY3057" fmla="*/ 5908131 h 7571038"/>
                  <a:gd name="connsiteX3058" fmla="*/ 1056606 w 4381952"/>
                  <a:gd name="connsiteY3058" fmla="*/ 5910103 h 7571038"/>
                  <a:gd name="connsiteX3059" fmla="*/ 1058578 w 4381952"/>
                  <a:gd name="connsiteY3059" fmla="*/ 5912076 h 7571038"/>
                  <a:gd name="connsiteX3060" fmla="*/ 1060550 w 4381952"/>
                  <a:gd name="connsiteY3060" fmla="*/ 5910103 h 7571038"/>
                  <a:gd name="connsiteX3061" fmla="*/ 1062277 w 4381952"/>
                  <a:gd name="connsiteY3061" fmla="*/ 4748 h 7571038"/>
                  <a:gd name="connsiteX3062" fmla="*/ 1060322 w 4381952"/>
                  <a:gd name="connsiteY3062" fmla="*/ 0 h 7571038"/>
                  <a:gd name="connsiteX3063" fmla="*/ 1019849 w 4381952"/>
                  <a:gd name="connsiteY3063" fmla="*/ 0 h 7571038"/>
                  <a:gd name="connsiteX3064" fmla="*/ 1017894 w 4381952"/>
                  <a:gd name="connsiteY3064" fmla="*/ 4748 h 7571038"/>
                  <a:gd name="connsiteX3065" fmla="*/ 1040084 w 4381952"/>
                  <a:gd name="connsiteY3065" fmla="*/ 26940 h 7571038"/>
                  <a:gd name="connsiteX3066" fmla="*/ 1062277 w 4381952"/>
                  <a:gd name="connsiteY3066" fmla="*/ 4748 h 7571038"/>
                  <a:gd name="connsiteX3067" fmla="*/ 1062277 w 4381952"/>
                  <a:gd name="connsiteY3067" fmla="*/ 5791253 h 7571038"/>
                  <a:gd name="connsiteX3068" fmla="*/ 1060796 w 4381952"/>
                  <a:gd name="connsiteY3068" fmla="*/ 5789774 h 7571038"/>
                  <a:gd name="connsiteX3069" fmla="*/ 1059318 w 4381952"/>
                  <a:gd name="connsiteY3069" fmla="*/ 5791253 h 7571038"/>
                  <a:gd name="connsiteX3070" fmla="*/ 1060796 w 4381952"/>
                  <a:gd name="connsiteY3070" fmla="*/ 5792734 h 7571038"/>
                  <a:gd name="connsiteX3071" fmla="*/ 1062277 w 4381952"/>
                  <a:gd name="connsiteY3071" fmla="*/ 5791253 h 7571038"/>
                  <a:gd name="connsiteX3072" fmla="*/ 1062769 w 4381952"/>
                  <a:gd name="connsiteY3072" fmla="*/ 118639 h 7571038"/>
                  <a:gd name="connsiteX3073" fmla="*/ 1040825 w 4381952"/>
                  <a:gd name="connsiteY3073" fmla="*/ 96695 h 7571038"/>
                  <a:gd name="connsiteX3074" fmla="*/ 1019126 w 4381952"/>
                  <a:gd name="connsiteY3074" fmla="*/ 118639 h 7571038"/>
                  <a:gd name="connsiteX3075" fmla="*/ 1040825 w 4381952"/>
                  <a:gd name="connsiteY3075" fmla="*/ 140586 h 7571038"/>
                  <a:gd name="connsiteX3076" fmla="*/ 1062769 w 4381952"/>
                  <a:gd name="connsiteY3076" fmla="*/ 118639 h 7571038"/>
                  <a:gd name="connsiteX3077" fmla="*/ 1063264 w 4381952"/>
                  <a:gd name="connsiteY3077" fmla="*/ 233515 h 7571038"/>
                  <a:gd name="connsiteX3078" fmla="*/ 1041565 w 4381952"/>
                  <a:gd name="connsiteY3078" fmla="*/ 211818 h 7571038"/>
                  <a:gd name="connsiteX3079" fmla="*/ 1019866 w 4381952"/>
                  <a:gd name="connsiteY3079" fmla="*/ 233515 h 7571038"/>
                  <a:gd name="connsiteX3080" fmla="*/ 1041565 w 4381952"/>
                  <a:gd name="connsiteY3080" fmla="*/ 255213 h 7571038"/>
                  <a:gd name="connsiteX3081" fmla="*/ 1063264 w 4381952"/>
                  <a:gd name="connsiteY3081" fmla="*/ 233515 h 7571038"/>
                  <a:gd name="connsiteX3082" fmla="*/ 1064002 w 4381952"/>
                  <a:gd name="connsiteY3082" fmla="*/ 463767 h 7571038"/>
                  <a:gd name="connsiteX3083" fmla="*/ 1043043 w 4381952"/>
                  <a:gd name="connsiteY3083" fmla="*/ 442809 h 7571038"/>
                  <a:gd name="connsiteX3084" fmla="*/ 1022331 w 4381952"/>
                  <a:gd name="connsiteY3084" fmla="*/ 463767 h 7571038"/>
                  <a:gd name="connsiteX3085" fmla="*/ 1043043 w 4381952"/>
                  <a:gd name="connsiteY3085" fmla="*/ 484479 h 7571038"/>
                  <a:gd name="connsiteX3086" fmla="*/ 1064002 w 4381952"/>
                  <a:gd name="connsiteY3086" fmla="*/ 463767 h 7571038"/>
                  <a:gd name="connsiteX3087" fmla="*/ 1064250 w 4381952"/>
                  <a:gd name="connsiteY3087" fmla="*/ 348395 h 7571038"/>
                  <a:gd name="connsiteX3088" fmla="*/ 1042552 w 4381952"/>
                  <a:gd name="connsiteY3088" fmla="*/ 326452 h 7571038"/>
                  <a:gd name="connsiteX3089" fmla="*/ 1020607 w 4381952"/>
                  <a:gd name="connsiteY3089" fmla="*/ 348395 h 7571038"/>
                  <a:gd name="connsiteX3090" fmla="*/ 1042552 w 4381952"/>
                  <a:gd name="connsiteY3090" fmla="*/ 370092 h 7571038"/>
                  <a:gd name="connsiteX3091" fmla="*/ 1064250 w 4381952"/>
                  <a:gd name="connsiteY3091" fmla="*/ 348395 h 7571038"/>
                  <a:gd name="connsiteX3092" fmla="*/ 1064250 w 4381952"/>
                  <a:gd name="connsiteY3092" fmla="*/ 579638 h 7571038"/>
                  <a:gd name="connsiteX3093" fmla="*/ 1043784 w 4381952"/>
                  <a:gd name="connsiteY3093" fmla="*/ 559173 h 7571038"/>
                  <a:gd name="connsiteX3094" fmla="*/ 1023318 w 4381952"/>
                  <a:gd name="connsiteY3094" fmla="*/ 579638 h 7571038"/>
                  <a:gd name="connsiteX3095" fmla="*/ 1043784 w 4381952"/>
                  <a:gd name="connsiteY3095" fmla="*/ 600101 h 7571038"/>
                  <a:gd name="connsiteX3096" fmla="*/ 1064250 w 4381952"/>
                  <a:gd name="connsiteY3096" fmla="*/ 579638 h 7571038"/>
                  <a:gd name="connsiteX3097" fmla="*/ 1065485 w 4381952"/>
                  <a:gd name="connsiteY3097" fmla="*/ 5671170 h 7571038"/>
                  <a:gd name="connsiteX3098" fmla="*/ 1063264 w 4381952"/>
                  <a:gd name="connsiteY3098" fmla="*/ 5668951 h 7571038"/>
                  <a:gd name="connsiteX3099" fmla="*/ 1061046 w 4381952"/>
                  <a:gd name="connsiteY3099" fmla="*/ 5671170 h 7571038"/>
                  <a:gd name="connsiteX3100" fmla="*/ 1063264 w 4381952"/>
                  <a:gd name="connsiteY3100" fmla="*/ 5673391 h 7571038"/>
                  <a:gd name="connsiteX3101" fmla="*/ 1065485 w 4381952"/>
                  <a:gd name="connsiteY3101" fmla="*/ 5671170 h 7571038"/>
                  <a:gd name="connsiteX3102" fmla="*/ 1066221 w 4381952"/>
                  <a:gd name="connsiteY3102" fmla="*/ 3219262 h 7571038"/>
                  <a:gd name="connsiteX3103" fmla="*/ 1050442 w 4381952"/>
                  <a:gd name="connsiteY3103" fmla="*/ 3203480 h 7571038"/>
                  <a:gd name="connsiteX3104" fmla="*/ 1034661 w 4381952"/>
                  <a:gd name="connsiteY3104" fmla="*/ 3219262 h 7571038"/>
                  <a:gd name="connsiteX3105" fmla="*/ 1050442 w 4381952"/>
                  <a:gd name="connsiteY3105" fmla="*/ 3235043 h 7571038"/>
                  <a:gd name="connsiteX3106" fmla="*/ 1066221 w 4381952"/>
                  <a:gd name="connsiteY3106" fmla="*/ 3219262 h 7571038"/>
                  <a:gd name="connsiteX3107" fmla="*/ 1066469 w 4381952"/>
                  <a:gd name="connsiteY3107" fmla="*/ 3792757 h 7571038"/>
                  <a:gd name="connsiteX3108" fmla="*/ 1064988 w 4381952"/>
                  <a:gd name="connsiteY3108" fmla="*/ 3791279 h 7571038"/>
                  <a:gd name="connsiteX3109" fmla="*/ 1063510 w 4381952"/>
                  <a:gd name="connsiteY3109" fmla="*/ 3792757 h 7571038"/>
                  <a:gd name="connsiteX3110" fmla="*/ 1064988 w 4381952"/>
                  <a:gd name="connsiteY3110" fmla="*/ 3794239 h 7571038"/>
                  <a:gd name="connsiteX3111" fmla="*/ 1066469 w 4381952"/>
                  <a:gd name="connsiteY3111" fmla="*/ 3792757 h 7571038"/>
                  <a:gd name="connsiteX3112" fmla="*/ 1067209 w 4381952"/>
                  <a:gd name="connsiteY3112" fmla="*/ 4723090 h 7571038"/>
                  <a:gd name="connsiteX3113" fmla="*/ 1021347 w 4381952"/>
                  <a:gd name="connsiteY3113" fmla="*/ 4677225 h 7571038"/>
                  <a:gd name="connsiteX3114" fmla="*/ 975483 w 4381952"/>
                  <a:gd name="connsiteY3114" fmla="*/ 4723090 h 7571038"/>
                  <a:gd name="connsiteX3115" fmla="*/ 1021347 w 4381952"/>
                  <a:gd name="connsiteY3115" fmla="*/ 4768951 h 7571038"/>
                  <a:gd name="connsiteX3116" fmla="*/ 1067209 w 4381952"/>
                  <a:gd name="connsiteY3116" fmla="*/ 4723090 h 7571038"/>
                  <a:gd name="connsiteX3117" fmla="*/ 1068935 w 4381952"/>
                  <a:gd name="connsiteY3117" fmla="*/ 6262706 h 7571038"/>
                  <a:gd name="connsiteX3118" fmla="*/ 1053892 w 4381952"/>
                  <a:gd name="connsiteY3118" fmla="*/ 6247665 h 7571038"/>
                  <a:gd name="connsiteX3119" fmla="*/ 1038852 w 4381952"/>
                  <a:gd name="connsiteY3119" fmla="*/ 6262706 h 7571038"/>
                  <a:gd name="connsiteX3120" fmla="*/ 1053892 w 4381952"/>
                  <a:gd name="connsiteY3120" fmla="*/ 6277746 h 7571038"/>
                  <a:gd name="connsiteX3121" fmla="*/ 1068935 w 4381952"/>
                  <a:gd name="connsiteY3121" fmla="*/ 6262706 h 7571038"/>
                  <a:gd name="connsiteX3122" fmla="*/ 1072386 w 4381952"/>
                  <a:gd name="connsiteY3122" fmla="*/ 4062267 h 7571038"/>
                  <a:gd name="connsiteX3123" fmla="*/ 1055865 w 4381952"/>
                  <a:gd name="connsiteY3123" fmla="*/ 4045745 h 7571038"/>
                  <a:gd name="connsiteX3124" fmla="*/ 1039344 w 4381952"/>
                  <a:gd name="connsiteY3124" fmla="*/ 4062267 h 7571038"/>
                  <a:gd name="connsiteX3125" fmla="*/ 1055865 w 4381952"/>
                  <a:gd name="connsiteY3125" fmla="*/ 4078785 h 7571038"/>
                  <a:gd name="connsiteX3126" fmla="*/ 1072386 w 4381952"/>
                  <a:gd name="connsiteY3126" fmla="*/ 4062267 h 7571038"/>
                  <a:gd name="connsiteX3127" fmla="*/ 1072389 w 4381952"/>
                  <a:gd name="connsiteY3127" fmla="*/ 5428047 h 7571038"/>
                  <a:gd name="connsiteX3128" fmla="*/ 1069677 w 4381952"/>
                  <a:gd name="connsiteY3128" fmla="*/ 5425334 h 7571038"/>
                  <a:gd name="connsiteX3129" fmla="*/ 1066963 w 4381952"/>
                  <a:gd name="connsiteY3129" fmla="*/ 5428047 h 7571038"/>
                  <a:gd name="connsiteX3130" fmla="*/ 1069677 w 4381952"/>
                  <a:gd name="connsiteY3130" fmla="*/ 5430760 h 7571038"/>
                  <a:gd name="connsiteX3131" fmla="*/ 1072389 w 4381952"/>
                  <a:gd name="connsiteY3131" fmla="*/ 5428047 h 7571038"/>
                  <a:gd name="connsiteX3132" fmla="*/ 1073374 w 4381952"/>
                  <a:gd name="connsiteY3132" fmla="*/ 5550103 h 7571038"/>
                  <a:gd name="connsiteX3133" fmla="*/ 1066222 w 4381952"/>
                  <a:gd name="connsiteY3133" fmla="*/ 5542953 h 7571038"/>
                  <a:gd name="connsiteX3134" fmla="*/ 1059073 w 4381952"/>
                  <a:gd name="connsiteY3134" fmla="*/ 5550103 h 7571038"/>
                  <a:gd name="connsiteX3135" fmla="*/ 1066222 w 4381952"/>
                  <a:gd name="connsiteY3135" fmla="*/ 5557256 h 7571038"/>
                  <a:gd name="connsiteX3136" fmla="*/ 1073374 w 4381952"/>
                  <a:gd name="connsiteY3136" fmla="*/ 5550103 h 7571038"/>
                  <a:gd name="connsiteX3137" fmla="*/ 1073618 w 4381952"/>
                  <a:gd name="connsiteY3137" fmla="*/ 6145831 h 7571038"/>
                  <a:gd name="connsiteX3138" fmla="*/ 1055371 w 4381952"/>
                  <a:gd name="connsiteY3138" fmla="*/ 6127582 h 7571038"/>
                  <a:gd name="connsiteX3139" fmla="*/ 1037125 w 4381952"/>
                  <a:gd name="connsiteY3139" fmla="*/ 6145831 h 7571038"/>
                  <a:gd name="connsiteX3140" fmla="*/ 1055371 w 4381952"/>
                  <a:gd name="connsiteY3140" fmla="*/ 6164075 h 7571038"/>
                  <a:gd name="connsiteX3141" fmla="*/ 1073618 w 4381952"/>
                  <a:gd name="connsiteY3141" fmla="*/ 6145831 h 7571038"/>
                  <a:gd name="connsiteX3142" fmla="*/ 1074605 w 4381952"/>
                  <a:gd name="connsiteY3142" fmla="*/ 2371065 h 7571038"/>
                  <a:gd name="connsiteX3143" fmla="*/ 1034661 w 4381952"/>
                  <a:gd name="connsiteY3143" fmla="*/ 2331117 h 7571038"/>
                  <a:gd name="connsiteX3144" fmla="*/ 994715 w 4381952"/>
                  <a:gd name="connsiteY3144" fmla="*/ 2371065 h 7571038"/>
                  <a:gd name="connsiteX3145" fmla="*/ 1034661 w 4381952"/>
                  <a:gd name="connsiteY3145" fmla="*/ 2411011 h 7571038"/>
                  <a:gd name="connsiteX3146" fmla="*/ 1074605 w 4381952"/>
                  <a:gd name="connsiteY3146" fmla="*/ 2371065 h 7571038"/>
                  <a:gd name="connsiteX3147" fmla="*/ 1080525 w 4381952"/>
                  <a:gd name="connsiteY3147" fmla="*/ 2512589 h 7571038"/>
                  <a:gd name="connsiteX3148" fmla="*/ 1052660 w 4381952"/>
                  <a:gd name="connsiteY3148" fmla="*/ 2484728 h 7571038"/>
                  <a:gd name="connsiteX3149" fmla="*/ 1024799 w 4381952"/>
                  <a:gd name="connsiteY3149" fmla="*/ 2512589 h 7571038"/>
                  <a:gd name="connsiteX3150" fmla="*/ 1052660 w 4381952"/>
                  <a:gd name="connsiteY3150" fmla="*/ 2540453 h 7571038"/>
                  <a:gd name="connsiteX3151" fmla="*/ 1080525 w 4381952"/>
                  <a:gd name="connsiteY3151" fmla="*/ 2512589 h 7571038"/>
                  <a:gd name="connsiteX3152" fmla="*/ 1086689 w 4381952"/>
                  <a:gd name="connsiteY3152" fmla="*/ 4585007 h 7571038"/>
                  <a:gd name="connsiteX3153" fmla="*/ 1035647 w 4381952"/>
                  <a:gd name="connsiteY3153" fmla="*/ 4533965 h 7571038"/>
                  <a:gd name="connsiteX3154" fmla="*/ 984606 w 4381952"/>
                  <a:gd name="connsiteY3154" fmla="*/ 4585007 h 7571038"/>
                  <a:gd name="connsiteX3155" fmla="*/ 1035647 w 4381952"/>
                  <a:gd name="connsiteY3155" fmla="*/ 4636046 h 7571038"/>
                  <a:gd name="connsiteX3156" fmla="*/ 1086689 w 4381952"/>
                  <a:gd name="connsiteY3156" fmla="*/ 4585007 h 7571038"/>
                  <a:gd name="connsiteX3157" fmla="*/ 1088661 w 4381952"/>
                  <a:gd name="connsiteY3157" fmla="*/ 4311307 h 7571038"/>
                  <a:gd name="connsiteX3158" fmla="*/ 1085949 w 4381952"/>
                  <a:gd name="connsiteY3158" fmla="*/ 4308593 h 7571038"/>
                  <a:gd name="connsiteX3159" fmla="*/ 1083236 w 4381952"/>
                  <a:gd name="connsiteY3159" fmla="*/ 4311307 h 7571038"/>
                  <a:gd name="connsiteX3160" fmla="*/ 1085949 w 4381952"/>
                  <a:gd name="connsiteY3160" fmla="*/ 4314020 h 7571038"/>
                  <a:gd name="connsiteX3161" fmla="*/ 1088661 w 4381952"/>
                  <a:gd name="connsiteY3161" fmla="*/ 4311307 h 7571038"/>
                  <a:gd name="connsiteX3162" fmla="*/ 1088908 w 4381952"/>
                  <a:gd name="connsiteY3162" fmla="*/ 2691351 h 7571038"/>
                  <a:gd name="connsiteX3163" fmla="*/ 1051428 w 4381952"/>
                  <a:gd name="connsiteY3163" fmla="*/ 2653870 h 7571038"/>
                  <a:gd name="connsiteX3164" fmla="*/ 1013949 w 4381952"/>
                  <a:gd name="connsiteY3164" fmla="*/ 2691351 h 7571038"/>
                  <a:gd name="connsiteX3165" fmla="*/ 1051428 w 4381952"/>
                  <a:gd name="connsiteY3165" fmla="*/ 2728830 h 7571038"/>
                  <a:gd name="connsiteX3166" fmla="*/ 1088908 w 4381952"/>
                  <a:gd name="connsiteY3166" fmla="*/ 2691351 h 7571038"/>
                  <a:gd name="connsiteX3167" fmla="*/ 1096304 w 4381952"/>
                  <a:gd name="connsiteY3167" fmla="*/ 1646949 h 7571038"/>
                  <a:gd name="connsiteX3168" fmla="*/ 1079537 w 4381952"/>
                  <a:gd name="connsiteY3168" fmla="*/ 1630181 h 7571038"/>
                  <a:gd name="connsiteX3169" fmla="*/ 1062524 w 4381952"/>
                  <a:gd name="connsiteY3169" fmla="*/ 1646949 h 7571038"/>
                  <a:gd name="connsiteX3170" fmla="*/ 1079537 w 4381952"/>
                  <a:gd name="connsiteY3170" fmla="*/ 1663961 h 7571038"/>
                  <a:gd name="connsiteX3171" fmla="*/ 1096304 w 4381952"/>
                  <a:gd name="connsiteY3171" fmla="*/ 1646949 h 7571038"/>
                  <a:gd name="connsiteX3172" fmla="*/ 1098276 w 4381952"/>
                  <a:gd name="connsiteY3172" fmla="*/ 4443471 h 7571038"/>
                  <a:gd name="connsiteX3173" fmla="*/ 1053397 w 4381952"/>
                  <a:gd name="connsiteY3173" fmla="*/ 4398593 h 7571038"/>
                  <a:gd name="connsiteX3174" fmla="*/ 1008522 w 4381952"/>
                  <a:gd name="connsiteY3174" fmla="*/ 4443471 h 7571038"/>
                  <a:gd name="connsiteX3175" fmla="*/ 1053397 w 4381952"/>
                  <a:gd name="connsiteY3175" fmla="*/ 4488348 h 7571038"/>
                  <a:gd name="connsiteX3176" fmla="*/ 1098276 w 4381952"/>
                  <a:gd name="connsiteY3176" fmla="*/ 4443471 h 7571038"/>
                  <a:gd name="connsiteX3177" fmla="*/ 1099511 w 4381952"/>
                  <a:gd name="connsiteY3177" fmla="*/ 1771719 h 7571038"/>
                  <a:gd name="connsiteX3178" fmla="*/ 1084962 w 4381952"/>
                  <a:gd name="connsiteY3178" fmla="*/ 1756917 h 7571038"/>
                  <a:gd name="connsiteX3179" fmla="*/ 1070414 w 4381952"/>
                  <a:gd name="connsiteY3179" fmla="*/ 1771719 h 7571038"/>
                  <a:gd name="connsiteX3180" fmla="*/ 1084962 w 4381952"/>
                  <a:gd name="connsiteY3180" fmla="*/ 1786247 h 7571038"/>
                  <a:gd name="connsiteX3181" fmla="*/ 1099511 w 4381952"/>
                  <a:gd name="connsiteY3181" fmla="*/ 1771719 h 7571038"/>
                  <a:gd name="connsiteX3182" fmla="*/ 1105429 w 4381952"/>
                  <a:gd name="connsiteY3182" fmla="*/ 3107562 h 7571038"/>
                  <a:gd name="connsiteX3183" fmla="*/ 1082003 w 4381952"/>
                  <a:gd name="connsiteY3183" fmla="*/ 3084136 h 7571038"/>
                  <a:gd name="connsiteX3184" fmla="*/ 1058578 w 4381952"/>
                  <a:gd name="connsiteY3184" fmla="*/ 3107562 h 7571038"/>
                  <a:gd name="connsiteX3185" fmla="*/ 1082003 w 4381952"/>
                  <a:gd name="connsiteY3185" fmla="*/ 3130987 h 7571038"/>
                  <a:gd name="connsiteX3186" fmla="*/ 1105429 w 4381952"/>
                  <a:gd name="connsiteY3186" fmla="*/ 3107562 h 7571038"/>
                  <a:gd name="connsiteX3187" fmla="*/ 1111591 w 4381952"/>
                  <a:gd name="connsiteY3187" fmla="*/ 3902239 h 7571038"/>
                  <a:gd name="connsiteX3188" fmla="*/ 1101976 w 4381952"/>
                  <a:gd name="connsiteY3188" fmla="*/ 3892622 h 7571038"/>
                  <a:gd name="connsiteX3189" fmla="*/ 1092359 w 4381952"/>
                  <a:gd name="connsiteY3189" fmla="*/ 3902239 h 7571038"/>
                  <a:gd name="connsiteX3190" fmla="*/ 1101976 w 4381952"/>
                  <a:gd name="connsiteY3190" fmla="*/ 3911854 h 7571038"/>
                  <a:gd name="connsiteX3191" fmla="*/ 1111591 w 4381952"/>
                  <a:gd name="connsiteY3191" fmla="*/ 3902239 h 7571038"/>
                  <a:gd name="connsiteX3192" fmla="*/ 1111839 w 4381952"/>
                  <a:gd name="connsiteY3192" fmla="*/ 4930213 h 7571038"/>
                  <a:gd name="connsiteX3193" fmla="*/ 1100249 w 4381952"/>
                  <a:gd name="connsiteY3193" fmla="*/ 4918623 h 7571038"/>
                  <a:gd name="connsiteX3194" fmla="*/ 1088413 w 4381952"/>
                  <a:gd name="connsiteY3194" fmla="*/ 4930213 h 7571038"/>
                  <a:gd name="connsiteX3195" fmla="*/ 1100249 w 4381952"/>
                  <a:gd name="connsiteY3195" fmla="*/ 4941799 h 7571038"/>
                  <a:gd name="connsiteX3196" fmla="*/ 1111839 w 4381952"/>
                  <a:gd name="connsiteY3196" fmla="*/ 4930213 h 7571038"/>
                  <a:gd name="connsiteX3197" fmla="*/ 1115537 w 4381952"/>
                  <a:gd name="connsiteY3197" fmla="*/ 5184926 h 7571038"/>
                  <a:gd name="connsiteX3198" fmla="*/ 1087181 w 4381952"/>
                  <a:gd name="connsiteY3198" fmla="*/ 5156569 h 7571038"/>
                  <a:gd name="connsiteX3199" fmla="*/ 1058824 w 4381952"/>
                  <a:gd name="connsiteY3199" fmla="*/ 5184926 h 7571038"/>
                  <a:gd name="connsiteX3200" fmla="*/ 1087181 w 4381952"/>
                  <a:gd name="connsiteY3200" fmla="*/ 5213283 h 7571038"/>
                  <a:gd name="connsiteX3201" fmla="*/ 1115537 w 4381952"/>
                  <a:gd name="connsiteY3201" fmla="*/ 5184926 h 7571038"/>
                  <a:gd name="connsiteX3202" fmla="*/ 1117016 w 4381952"/>
                  <a:gd name="connsiteY3202" fmla="*/ 2842743 h 7571038"/>
                  <a:gd name="connsiteX3203" fmla="*/ 1083236 w 4381952"/>
                  <a:gd name="connsiteY3203" fmla="*/ 2808963 h 7571038"/>
                  <a:gd name="connsiteX3204" fmla="*/ 1049456 w 4381952"/>
                  <a:gd name="connsiteY3204" fmla="*/ 2842743 h 7571038"/>
                  <a:gd name="connsiteX3205" fmla="*/ 1083236 w 4381952"/>
                  <a:gd name="connsiteY3205" fmla="*/ 2876526 h 7571038"/>
                  <a:gd name="connsiteX3206" fmla="*/ 1117016 w 4381952"/>
                  <a:gd name="connsiteY3206" fmla="*/ 2842743 h 7571038"/>
                  <a:gd name="connsiteX3207" fmla="*/ 1128356 w 4381952"/>
                  <a:gd name="connsiteY3207" fmla="*/ 671876 h 7571038"/>
                  <a:gd name="connsiteX3208" fmla="*/ 1105920 w 4381952"/>
                  <a:gd name="connsiteY3208" fmla="*/ 649435 h 7571038"/>
                  <a:gd name="connsiteX3209" fmla="*/ 1083481 w 4381952"/>
                  <a:gd name="connsiteY3209" fmla="*/ 671876 h 7571038"/>
                  <a:gd name="connsiteX3210" fmla="*/ 1105920 w 4381952"/>
                  <a:gd name="connsiteY3210" fmla="*/ 694318 h 7571038"/>
                  <a:gd name="connsiteX3211" fmla="*/ 1128356 w 4381952"/>
                  <a:gd name="connsiteY3211" fmla="*/ 671876 h 7571038"/>
                  <a:gd name="connsiteX3212" fmla="*/ 1129099 w 4381952"/>
                  <a:gd name="connsiteY3212" fmla="*/ 787994 h 7571038"/>
                  <a:gd name="connsiteX3213" fmla="*/ 1106910 w 4381952"/>
                  <a:gd name="connsiteY3213" fmla="*/ 765806 h 7571038"/>
                  <a:gd name="connsiteX3214" fmla="*/ 1084717 w 4381952"/>
                  <a:gd name="connsiteY3214" fmla="*/ 787994 h 7571038"/>
                  <a:gd name="connsiteX3215" fmla="*/ 1106910 w 4381952"/>
                  <a:gd name="connsiteY3215" fmla="*/ 810186 h 7571038"/>
                  <a:gd name="connsiteX3216" fmla="*/ 1129099 w 4381952"/>
                  <a:gd name="connsiteY3216" fmla="*/ 787994 h 7571038"/>
                  <a:gd name="connsiteX3217" fmla="*/ 1129345 w 4381952"/>
                  <a:gd name="connsiteY3217" fmla="*/ 5058676 h 7571038"/>
                  <a:gd name="connsiteX3218" fmla="*/ 1093344 w 4381952"/>
                  <a:gd name="connsiteY3218" fmla="*/ 5022677 h 7571038"/>
                  <a:gd name="connsiteX3219" fmla="*/ 1057346 w 4381952"/>
                  <a:gd name="connsiteY3219" fmla="*/ 5058676 h 7571038"/>
                  <a:gd name="connsiteX3220" fmla="*/ 1093344 w 4381952"/>
                  <a:gd name="connsiteY3220" fmla="*/ 5094677 h 7571038"/>
                  <a:gd name="connsiteX3221" fmla="*/ 1129345 w 4381952"/>
                  <a:gd name="connsiteY3221" fmla="*/ 5058676 h 7571038"/>
                  <a:gd name="connsiteX3222" fmla="*/ 1129840 w 4381952"/>
                  <a:gd name="connsiteY3222" fmla="*/ 1021959 h 7571038"/>
                  <a:gd name="connsiteX3223" fmla="*/ 1109866 w 4381952"/>
                  <a:gd name="connsiteY3223" fmla="*/ 1001981 h 7571038"/>
                  <a:gd name="connsiteX3224" fmla="*/ 1089894 w 4381952"/>
                  <a:gd name="connsiteY3224" fmla="*/ 1021959 h 7571038"/>
                  <a:gd name="connsiteX3225" fmla="*/ 1109866 w 4381952"/>
                  <a:gd name="connsiteY3225" fmla="*/ 1041925 h 7571038"/>
                  <a:gd name="connsiteX3226" fmla="*/ 1129840 w 4381952"/>
                  <a:gd name="connsiteY3226" fmla="*/ 1021959 h 7571038"/>
                  <a:gd name="connsiteX3227" fmla="*/ 1130331 w 4381952"/>
                  <a:gd name="connsiteY3227" fmla="*/ 904594 h 7571038"/>
                  <a:gd name="connsiteX3228" fmla="*/ 1108385 w 4381952"/>
                  <a:gd name="connsiteY3228" fmla="*/ 882651 h 7571038"/>
                  <a:gd name="connsiteX3229" fmla="*/ 1086441 w 4381952"/>
                  <a:gd name="connsiteY3229" fmla="*/ 904594 h 7571038"/>
                  <a:gd name="connsiteX3230" fmla="*/ 1108385 w 4381952"/>
                  <a:gd name="connsiteY3230" fmla="*/ 926554 h 7571038"/>
                  <a:gd name="connsiteX3231" fmla="*/ 1130331 w 4381952"/>
                  <a:gd name="connsiteY3231" fmla="*/ 904594 h 7571038"/>
                  <a:gd name="connsiteX3232" fmla="*/ 1130581 w 4381952"/>
                  <a:gd name="connsiteY3232" fmla="*/ 1898186 h 7571038"/>
                  <a:gd name="connsiteX3233" fmla="*/ 1090880 w 4381952"/>
                  <a:gd name="connsiteY3233" fmla="*/ 1858255 h 7571038"/>
                  <a:gd name="connsiteX3234" fmla="*/ 1051183 w 4381952"/>
                  <a:gd name="connsiteY3234" fmla="*/ 1898186 h 7571038"/>
                  <a:gd name="connsiteX3235" fmla="*/ 1090880 w 4381952"/>
                  <a:gd name="connsiteY3235" fmla="*/ 1937873 h 7571038"/>
                  <a:gd name="connsiteX3236" fmla="*/ 1130581 w 4381952"/>
                  <a:gd name="connsiteY3236" fmla="*/ 1898186 h 7571038"/>
                  <a:gd name="connsiteX3237" fmla="*/ 1131071 w 4381952"/>
                  <a:gd name="connsiteY3237" fmla="*/ 1140293 h 7571038"/>
                  <a:gd name="connsiteX3238" fmla="*/ 1110850 w 4381952"/>
                  <a:gd name="connsiteY3238" fmla="*/ 1120074 h 7571038"/>
                  <a:gd name="connsiteX3239" fmla="*/ 1090632 w 4381952"/>
                  <a:gd name="connsiteY3239" fmla="*/ 1140293 h 7571038"/>
                  <a:gd name="connsiteX3240" fmla="*/ 1110850 w 4381952"/>
                  <a:gd name="connsiteY3240" fmla="*/ 1160515 h 7571038"/>
                  <a:gd name="connsiteX3241" fmla="*/ 1131071 w 4381952"/>
                  <a:gd name="connsiteY3241" fmla="*/ 1140293 h 7571038"/>
                  <a:gd name="connsiteX3242" fmla="*/ 1131565 w 4381952"/>
                  <a:gd name="connsiteY3242" fmla="*/ 1259367 h 7571038"/>
                  <a:gd name="connsiteX3243" fmla="*/ 1112825 w 4381952"/>
                  <a:gd name="connsiteY3243" fmla="*/ 1240637 h 7571038"/>
                  <a:gd name="connsiteX3244" fmla="*/ 1094085 w 4381952"/>
                  <a:gd name="connsiteY3244" fmla="*/ 1259367 h 7571038"/>
                  <a:gd name="connsiteX3245" fmla="*/ 1112825 w 4381952"/>
                  <a:gd name="connsiteY3245" fmla="*/ 1278114 h 7571038"/>
                  <a:gd name="connsiteX3246" fmla="*/ 1131565 w 4381952"/>
                  <a:gd name="connsiteY3246" fmla="*/ 1259367 h 7571038"/>
                  <a:gd name="connsiteX3247" fmla="*/ 1131811 w 4381952"/>
                  <a:gd name="connsiteY3247" fmla="*/ 2026359 h 7571038"/>
                  <a:gd name="connsiteX3248" fmla="*/ 1098525 w 4381952"/>
                  <a:gd name="connsiteY3248" fmla="*/ 1993075 h 7571038"/>
                  <a:gd name="connsiteX3249" fmla="*/ 1065237 w 4381952"/>
                  <a:gd name="connsiteY3249" fmla="*/ 2026359 h 7571038"/>
                  <a:gd name="connsiteX3250" fmla="*/ 1098525 w 4381952"/>
                  <a:gd name="connsiteY3250" fmla="*/ 2059650 h 7571038"/>
                  <a:gd name="connsiteX3251" fmla="*/ 1131811 w 4381952"/>
                  <a:gd name="connsiteY3251" fmla="*/ 2026359 h 7571038"/>
                  <a:gd name="connsiteX3252" fmla="*/ 1132305 w 4381952"/>
                  <a:gd name="connsiteY3252" fmla="*/ 4162375 h 7571038"/>
                  <a:gd name="connsiteX3253" fmla="*/ 1113811 w 4381952"/>
                  <a:gd name="connsiteY3253" fmla="*/ 4143881 h 7571038"/>
                  <a:gd name="connsiteX3254" fmla="*/ 1095318 w 4381952"/>
                  <a:gd name="connsiteY3254" fmla="*/ 4162375 h 7571038"/>
                  <a:gd name="connsiteX3255" fmla="*/ 1113811 w 4381952"/>
                  <a:gd name="connsiteY3255" fmla="*/ 4180869 h 7571038"/>
                  <a:gd name="connsiteX3256" fmla="*/ 1132305 w 4381952"/>
                  <a:gd name="connsiteY3256" fmla="*/ 4162375 h 7571038"/>
                  <a:gd name="connsiteX3257" fmla="*/ 1135262 w 4381952"/>
                  <a:gd name="connsiteY3257" fmla="*/ 1379193 h 7571038"/>
                  <a:gd name="connsiteX3258" fmla="*/ 1115290 w 4381952"/>
                  <a:gd name="connsiteY3258" fmla="*/ 1359221 h 7571038"/>
                  <a:gd name="connsiteX3259" fmla="*/ 1095318 w 4381952"/>
                  <a:gd name="connsiteY3259" fmla="*/ 1379193 h 7571038"/>
                  <a:gd name="connsiteX3260" fmla="*/ 1115290 w 4381952"/>
                  <a:gd name="connsiteY3260" fmla="*/ 1399169 h 7571038"/>
                  <a:gd name="connsiteX3261" fmla="*/ 1135262 w 4381952"/>
                  <a:gd name="connsiteY3261" fmla="*/ 1379193 h 7571038"/>
                  <a:gd name="connsiteX3262" fmla="*/ 1136495 w 4381952"/>
                  <a:gd name="connsiteY3262" fmla="*/ 2156799 h 7571038"/>
                  <a:gd name="connsiteX3263" fmla="*/ 1107644 w 4381952"/>
                  <a:gd name="connsiteY3263" fmla="*/ 2127950 h 7571038"/>
                  <a:gd name="connsiteX3264" fmla="*/ 1078796 w 4381952"/>
                  <a:gd name="connsiteY3264" fmla="*/ 2156799 h 7571038"/>
                  <a:gd name="connsiteX3265" fmla="*/ 1107644 w 4381952"/>
                  <a:gd name="connsiteY3265" fmla="*/ 2185651 h 7571038"/>
                  <a:gd name="connsiteX3266" fmla="*/ 1136495 w 4381952"/>
                  <a:gd name="connsiteY3266" fmla="*/ 2156799 h 7571038"/>
                  <a:gd name="connsiteX3267" fmla="*/ 1136987 w 4381952"/>
                  <a:gd name="connsiteY3267" fmla="*/ 1500495 h 7571038"/>
                  <a:gd name="connsiteX3268" fmla="*/ 1117753 w 4381952"/>
                  <a:gd name="connsiteY3268" fmla="*/ 1481259 h 7571038"/>
                  <a:gd name="connsiteX3269" fmla="*/ 1098522 w 4381952"/>
                  <a:gd name="connsiteY3269" fmla="*/ 1500495 h 7571038"/>
                  <a:gd name="connsiteX3270" fmla="*/ 1117753 w 4381952"/>
                  <a:gd name="connsiteY3270" fmla="*/ 1519730 h 7571038"/>
                  <a:gd name="connsiteX3271" fmla="*/ 1136987 w 4381952"/>
                  <a:gd name="connsiteY3271" fmla="*/ 1500495 h 7571038"/>
                  <a:gd name="connsiteX3272" fmla="*/ 1138468 w 4381952"/>
                  <a:gd name="connsiteY3272" fmla="*/ 3506728 h 7571038"/>
                  <a:gd name="connsiteX3273" fmla="*/ 1130332 w 4381952"/>
                  <a:gd name="connsiteY3273" fmla="*/ 3498839 h 7571038"/>
                  <a:gd name="connsiteX3274" fmla="*/ 1122442 w 4381952"/>
                  <a:gd name="connsiteY3274" fmla="*/ 3506728 h 7571038"/>
                  <a:gd name="connsiteX3275" fmla="*/ 1130332 w 4381952"/>
                  <a:gd name="connsiteY3275" fmla="*/ 3514865 h 7571038"/>
                  <a:gd name="connsiteX3276" fmla="*/ 1138468 w 4381952"/>
                  <a:gd name="connsiteY3276" fmla="*/ 3506728 h 7571038"/>
                  <a:gd name="connsiteX3277" fmla="*/ 1139704 w 4381952"/>
                  <a:gd name="connsiteY3277" fmla="*/ 3390868 h 7571038"/>
                  <a:gd name="connsiteX3278" fmla="*/ 1133537 w 4381952"/>
                  <a:gd name="connsiteY3278" fmla="*/ 3384702 h 7571038"/>
                  <a:gd name="connsiteX3279" fmla="*/ 1127374 w 4381952"/>
                  <a:gd name="connsiteY3279" fmla="*/ 3390868 h 7571038"/>
                  <a:gd name="connsiteX3280" fmla="*/ 1133537 w 4381952"/>
                  <a:gd name="connsiteY3280" fmla="*/ 3397034 h 7571038"/>
                  <a:gd name="connsiteX3281" fmla="*/ 1139704 w 4381952"/>
                  <a:gd name="connsiteY3281" fmla="*/ 3390868 h 7571038"/>
                  <a:gd name="connsiteX3282" fmla="*/ 1150304 w 4381952"/>
                  <a:gd name="connsiteY3282" fmla="*/ 3622618 h 7571038"/>
                  <a:gd name="connsiteX3283" fmla="*/ 1139946 w 4381952"/>
                  <a:gd name="connsiteY3283" fmla="*/ 3612263 h 7571038"/>
                  <a:gd name="connsiteX3284" fmla="*/ 1129592 w 4381952"/>
                  <a:gd name="connsiteY3284" fmla="*/ 3622618 h 7571038"/>
                  <a:gd name="connsiteX3285" fmla="*/ 1139946 w 4381952"/>
                  <a:gd name="connsiteY3285" fmla="*/ 3632975 h 7571038"/>
                  <a:gd name="connsiteX3286" fmla="*/ 1150304 w 4381952"/>
                  <a:gd name="connsiteY3286" fmla="*/ 3622618 h 7571038"/>
                  <a:gd name="connsiteX3287" fmla="*/ 1151044 w 4381952"/>
                  <a:gd name="connsiteY3287" fmla="*/ 7322735 h 7571038"/>
                  <a:gd name="connsiteX3288" fmla="*/ 1148823 w 4381952"/>
                  <a:gd name="connsiteY3288" fmla="*/ 7320516 h 7571038"/>
                  <a:gd name="connsiteX3289" fmla="*/ 1146605 w 4381952"/>
                  <a:gd name="connsiteY3289" fmla="*/ 7322735 h 7571038"/>
                  <a:gd name="connsiteX3290" fmla="*/ 1148823 w 4381952"/>
                  <a:gd name="connsiteY3290" fmla="*/ 7324953 h 7571038"/>
                  <a:gd name="connsiteX3291" fmla="*/ 1151044 w 4381952"/>
                  <a:gd name="connsiteY3291" fmla="*/ 7322735 h 7571038"/>
                  <a:gd name="connsiteX3292" fmla="*/ 1151044 w 4381952"/>
                  <a:gd name="connsiteY3292" fmla="*/ 7434928 h 7571038"/>
                  <a:gd name="connsiteX3293" fmla="*/ 1148823 w 4381952"/>
                  <a:gd name="connsiteY3293" fmla="*/ 7432709 h 7571038"/>
                  <a:gd name="connsiteX3294" fmla="*/ 1146605 w 4381952"/>
                  <a:gd name="connsiteY3294" fmla="*/ 7434928 h 7571038"/>
                  <a:gd name="connsiteX3295" fmla="*/ 1148823 w 4381952"/>
                  <a:gd name="connsiteY3295" fmla="*/ 7437146 h 7571038"/>
                  <a:gd name="connsiteX3296" fmla="*/ 1151044 w 4381952"/>
                  <a:gd name="connsiteY3296" fmla="*/ 7434928 h 7571038"/>
                  <a:gd name="connsiteX3297" fmla="*/ 1151290 w 4381952"/>
                  <a:gd name="connsiteY3297" fmla="*/ 7210545 h 7571038"/>
                  <a:gd name="connsiteX3298" fmla="*/ 1148824 w 4381952"/>
                  <a:gd name="connsiteY3298" fmla="*/ 7208078 h 7571038"/>
                  <a:gd name="connsiteX3299" fmla="*/ 1146359 w 4381952"/>
                  <a:gd name="connsiteY3299" fmla="*/ 7210545 h 7571038"/>
                  <a:gd name="connsiteX3300" fmla="*/ 1148824 w 4381952"/>
                  <a:gd name="connsiteY3300" fmla="*/ 7213009 h 7571038"/>
                  <a:gd name="connsiteX3301" fmla="*/ 1151290 w 4381952"/>
                  <a:gd name="connsiteY3301" fmla="*/ 7210545 h 7571038"/>
                  <a:gd name="connsiteX3302" fmla="*/ 1152030 w 4381952"/>
                  <a:gd name="connsiteY3302" fmla="*/ 4799281 h 7571038"/>
                  <a:gd name="connsiteX3303" fmla="*/ 1108880 w 4381952"/>
                  <a:gd name="connsiteY3303" fmla="*/ 4756129 h 7571038"/>
                  <a:gd name="connsiteX3304" fmla="*/ 1065728 w 4381952"/>
                  <a:gd name="connsiteY3304" fmla="*/ 4799281 h 7571038"/>
                  <a:gd name="connsiteX3305" fmla="*/ 1108880 w 4381952"/>
                  <a:gd name="connsiteY3305" fmla="*/ 4842433 h 7571038"/>
                  <a:gd name="connsiteX3306" fmla="*/ 1152030 w 4381952"/>
                  <a:gd name="connsiteY3306" fmla="*/ 4799281 h 7571038"/>
                  <a:gd name="connsiteX3307" fmla="*/ 1154001 w 4381952"/>
                  <a:gd name="connsiteY3307" fmla="*/ 3275717 h 7571038"/>
                  <a:gd name="connsiteX3308" fmla="*/ 1149318 w 4381952"/>
                  <a:gd name="connsiteY3308" fmla="*/ 3271034 h 7571038"/>
                  <a:gd name="connsiteX3309" fmla="*/ 1144633 w 4381952"/>
                  <a:gd name="connsiteY3309" fmla="*/ 3275717 h 7571038"/>
                  <a:gd name="connsiteX3310" fmla="*/ 1149318 w 4381952"/>
                  <a:gd name="connsiteY3310" fmla="*/ 3280401 h 7571038"/>
                  <a:gd name="connsiteX3311" fmla="*/ 1154001 w 4381952"/>
                  <a:gd name="connsiteY3311" fmla="*/ 3275717 h 7571038"/>
                  <a:gd name="connsiteX3312" fmla="*/ 1154989 w 4381952"/>
                  <a:gd name="connsiteY3312" fmla="*/ 2999805 h 7571038"/>
                  <a:gd name="connsiteX3313" fmla="*/ 1124414 w 4381952"/>
                  <a:gd name="connsiteY3313" fmla="*/ 2969230 h 7571038"/>
                  <a:gd name="connsiteX3314" fmla="*/ 1093839 w 4381952"/>
                  <a:gd name="connsiteY3314" fmla="*/ 2999805 h 7571038"/>
                  <a:gd name="connsiteX3315" fmla="*/ 1124414 w 4381952"/>
                  <a:gd name="connsiteY3315" fmla="*/ 3030381 h 7571038"/>
                  <a:gd name="connsiteX3316" fmla="*/ 1154989 w 4381952"/>
                  <a:gd name="connsiteY3316" fmla="*/ 2999805 h 7571038"/>
                  <a:gd name="connsiteX3317" fmla="*/ 1155730 w 4381952"/>
                  <a:gd name="connsiteY3317" fmla="*/ 7099090 h 7571038"/>
                  <a:gd name="connsiteX3318" fmla="*/ 1153758 w 4381952"/>
                  <a:gd name="connsiteY3318" fmla="*/ 7097117 h 7571038"/>
                  <a:gd name="connsiteX3319" fmla="*/ 1151786 w 4381952"/>
                  <a:gd name="connsiteY3319" fmla="*/ 7099090 h 7571038"/>
                  <a:gd name="connsiteX3320" fmla="*/ 1153758 w 4381952"/>
                  <a:gd name="connsiteY3320" fmla="*/ 7101063 h 7571038"/>
                  <a:gd name="connsiteX3321" fmla="*/ 1155730 w 4381952"/>
                  <a:gd name="connsiteY3321" fmla="*/ 7099090 h 7571038"/>
                  <a:gd name="connsiteX3322" fmla="*/ 1156717 w 4381952"/>
                  <a:gd name="connsiteY3322" fmla="*/ 6873230 h 7571038"/>
                  <a:gd name="connsiteX3323" fmla="*/ 1154250 w 4381952"/>
                  <a:gd name="connsiteY3323" fmla="*/ 6870762 h 7571038"/>
                  <a:gd name="connsiteX3324" fmla="*/ 1151786 w 4381952"/>
                  <a:gd name="connsiteY3324" fmla="*/ 6873230 h 7571038"/>
                  <a:gd name="connsiteX3325" fmla="*/ 1154250 w 4381952"/>
                  <a:gd name="connsiteY3325" fmla="*/ 6875694 h 7571038"/>
                  <a:gd name="connsiteX3326" fmla="*/ 1156717 w 4381952"/>
                  <a:gd name="connsiteY3326" fmla="*/ 6873230 h 7571038"/>
                  <a:gd name="connsiteX3327" fmla="*/ 1157209 w 4381952"/>
                  <a:gd name="connsiteY3327" fmla="*/ 6986161 h 7571038"/>
                  <a:gd name="connsiteX3328" fmla="*/ 1154004 w 4381952"/>
                  <a:gd name="connsiteY3328" fmla="*/ 6982955 h 7571038"/>
                  <a:gd name="connsiteX3329" fmla="*/ 1150799 w 4381952"/>
                  <a:gd name="connsiteY3329" fmla="*/ 6986161 h 7571038"/>
                  <a:gd name="connsiteX3330" fmla="*/ 1154004 w 4381952"/>
                  <a:gd name="connsiteY3330" fmla="*/ 6989368 h 7571038"/>
                  <a:gd name="connsiteX3331" fmla="*/ 1157209 w 4381952"/>
                  <a:gd name="connsiteY3331" fmla="*/ 6986161 h 7571038"/>
                  <a:gd name="connsiteX3332" fmla="*/ 1158440 w 4381952"/>
                  <a:gd name="connsiteY3332" fmla="*/ 2289939 h 7571038"/>
                  <a:gd name="connsiteX3333" fmla="*/ 1118494 w 4381952"/>
                  <a:gd name="connsiteY3333" fmla="*/ 2250007 h 7571038"/>
                  <a:gd name="connsiteX3334" fmla="*/ 1078796 w 4381952"/>
                  <a:gd name="connsiteY3334" fmla="*/ 2289939 h 7571038"/>
                  <a:gd name="connsiteX3335" fmla="*/ 1118494 w 4381952"/>
                  <a:gd name="connsiteY3335" fmla="*/ 2329884 h 7571038"/>
                  <a:gd name="connsiteX3336" fmla="*/ 1158440 w 4381952"/>
                  <a:gd name="connsiteY3336" fmla="*/ 2289939 h 7571038"/>
                  <a:gd name="connsiteX3337" fmla="*/ 1158935 w 4381952"/>
                  <a:gd name="connsiteY3337" fmla="*/ 6417309 h 7571038"/>
                  <a:gd name="connsiteX3338" fmla="*/ 1155481 w 4381952"/>
                  <a:gd name="connsiteY3338" fmla="*/ 6414103 h 7571038"/>
                  <a:gd name="connsiteX3339" fmla="*/ 1152277 w 4381952"/>
                  <a:gd name="connsiteY3339" fmla="*/ 6417309 h 7571038"/>
                  <a:gd name="connsiteX3340" fmla="*/ 1155481 w 4381952"/>
                  <a:gd name="connsiteY3340" fmla="*/ 6420514 h 7571038"/>
                  <a:gd name="connsiteX3341" fmla="*/ 1158935 w 4381952"/>
                  <a:gd name="connsiteY3341" fmla="*/ 6417309 h 7571038"/>
                  <a:gd name="connsiteX3342" fmla="*/ 1160168 w 4381952"/>
                  <a:gd name="connsiteY3342" fmla="*/ 2599377 h 7571038"/>
                  <a:gd name="connsiteX3343" fmla="*/ 1121207 w 4381952"/>
                  <a:gd name="connsiteY3343" fmla="*/ 2560419 h 7571038"/>
                  <a:gd name="connsiteX3344" fmla="*/ 1082250 w 4381952"/>
                  <a:gd name="connsiteY3344" fmla="*/ 2599377 h 7571038"/>
                  <a:gd name="connsiteX3345" fmla="*/ 1121207 w 4381952"/>
                  <a:gd name="connsiteY3345" fmla="*/ 2638339 h 7571038"/>
                  <a:gd name="connsiteX3346" fmla="*/ 1160168 w 4381952"/>
                  <a:gd name="connsiteY3346" fmla="*/ 2599377 h 7571038"/>
                  <a:gd name="connsiteX3347" fmla="*/ 1161400 w 4381952"/>
                  <a:gd name="connsiteY3347" fmla="*/ 4400075 h 7571038"/>
                  <a:gd name="connsiteX3348" fmla="*/ 1159676 w 4381952"/>
                  <a:gd name="connsiteY3348" fmla="*/ 4398348 h 7571038"/>
                  <a:gd name="connsiteX3349" fmla="*/ 1157949 w 4381952"/>
                  <a:gd name="connsiteY3349" fmla="*/ 4400075 h 7571038"/>
                  <a:gd name="connsiteX3350" fmla="*/ 1159676 w 4381952"/>
                  <a:gd name="connsiteY3350" fmla="*/ 4401799 h 7571038"/>
                  <a:gd name="connsiteX3351" fmla="*/ 1161400 w 4381952"/>
                  <a:gd name="connsiteY3351" fmla="*/ 4400075 h 7571038"/>
                  <a:gd name="connsiteX3352" fmla="*/ 1162140 w 4381952"/>
                  <a:gd name="connsiteY3352" fmla="*/ 2427030 h 7571038"/>
                  <a:gd name="connsiteX3353" fmla="*/ 1131814 w 4381952"/>
                  <a:gd name="connsiteY3353" fmla="*/ 2396701 h 7571038"/>
                  <a:gd name="connsiteX3354" fmla="*/ 1101484 w 4381952"/>
                  <a:gd name="connsiteY3354" fmla="*/ 2427030 h 7571038"/>
                  <a:gd name="connsiteX3355" fmla="*/ 1131814 w 4381952"/>
                  <a:gd name="connsiteY3355" fmla="*/ 2457355 h 7571038"/>
                  <a:gd name="connsiteX3356" fmla="*/ 1162140 w 4381952"/>
                  <a:gd name="connsiteY3356" fmla="*/ 2427030 h 7571038"/>
                  <a:gd name="connsiteX3357" fmla="*/ 1164112 w 4381952"/>
                  <a:gd name="connsiteY3357" fmla="*/ 6646132 h 7571038"/>
                  <a:gd name="connsiteX3358" fmla="*/ 1154740 w 4381952"/>
                  <a:gd name="connsiteY3358" fmla="*/ 6636763 h 7571038"/>
                  <a:gd name="connsiteX3359" fmla="*/ 1145373 w 4381952"/>
                  <a:gd name="connsiteY3359" fmla="*/ 6646132 h 7571038"/>
                  <a:gd name="connsiteX3360" fmla="*/ 1154740 w 4381952"/>
                  <a:gd name="connsiteY3360" fmla="*/ 6655503 h 7571038"/>
                  <a:gd name="connsiteX3361" fmla="*/ 1164112 w 4381952"/>
                  <a:gd name="connsiteY3361" fmla="*/ 6646132 h 7571038"/>
                  <a:gd name="connsiteX3362" fmla="*/ 1164853 w 4381952"/>
                  <a:gd name="connsiteY3362" fmla="*/ 6531720 h 7571038"/>
                  <a:gd name="connsiteX3363" fmla="*/ 1154990 w 4381952"/>
                  <a:gd name="connsiteY3363" fmla="*/ 6521857 h 7571038"/>
                  <a:gd name="connsiteX3364" fmla="*/ 1145127 w 4381952"/>
                  <a:gd name="connsiteY3364" fmla="*/ 6531720 h 7571038"/>
                  <a:gd name="connsiteX3365" fmla="*/ 1154990 w 4381952"/>
                  <a:gd name="connsiteY3365" fmla="*/ 6541583 h 7571038"/>
                  <a:gd name="connsiteX3366" fmla="*/ 1164853 w 4381952"/>
                  <a:gd name="connsiteY3366" fmla="*/ 6531720 h 7571038"/>
                  <a:gd name="connsiteX3367" fmla="*/ 1165839 w 4381952"/>
                  <a:gd name="connsiteY3367" fmla="*/ 6759556 h 7571038"/>
                  <a:gd name="connsiteX3368" fmla="*/ 1154496 w 4381952"/>
                  <a:gd name="connsiteY3368" fmla="*/ 6748215 h 7571038"/>
                  <a:gd name="connsiteX3369" fmla="*/ 1143400 w 4381952"/>
                  <a:gd name="connsiteY3369" fmla="*/ 6759556 h 7571038"/>
                  <a:gd name="connsiteX3370" fmla="*/ 1154496 w 4381952"/>
                  <a:gd name="connsiteY3370" fmla="*/ 6770900 h 7571038"/>
                  <a:gd name="connsiteX3371" fmla="*/ 1165839 w 4381952"/>
                  <a:gd name="connsiteY3371" fmla="*/ 6759556 h 7571038"/>
                  <a:gd name="connsiteX3372" fmla="*/ 1166826 w 4381952"/>
                  <a:gd name="connsiteY3372" fmla="*/ 5956952 h 7571038"/>
                  <a:gd name="connsiteX3373" fmla="*/ 1164852 w 4381952"/>
                  <a:gd name="connsiteY3373" fmla="*/ 5954979 h 7571038"/>
                  <a:gd name="connsiteX3374" fmla="*/ 1162880 w 4381952"/>
                  <a:gd name="connsiteY3374" fmla="*/ 5956952 h 7571038"/>
                  <a:gd name="connsiteX3375" fmla="*/ 1164852 w 4381952"/>
                  <a:gd name="connsiteY3375" fmla="*/ 5958925 h 7571038"/>
                  <a:gd name="connsiteX3376" fmla="*/ 1166826 w 4381952"/>
                  <a:gd name="connsiteY3376" fmla="*/ 5956952 h 7571038"/>
                  <a:gd name="connsiteX3377" fmla="*/ 1167072 w 4381952"/>
                  <a:gd name="connsiteY3377" fmla="*/ 6073336 h 7571038"/>
                  <a:gd name="connsiteX3378" fmla="*/ 1163867 w 4381952"/>
                  <a:gd name="connsiteY3378" fmla="*/ 6070131 h 7571038"/>
                  <a:gd name="connsiteX3379" fmla="*/ 1160662 w 4381952"/>
                  <a:gd name="connsiteY3379" fmla="*/ 6073336 h 7571038"/>
                  <a:gd name="connsiteX3380" fmla="*/ 1163867 w 4381952"/>
                  <a:gd name="connsiteY3380" fmla="*/ 6076544 h 7571038"/>
                  <a:gd name="connsiteX3381" fmla="*/ 1167072 w 4381952"/>
                  <a:gd name="connsiteY3381" fmla="*/ 6073336 h 7571038"/>
                  <a:gd name="connsiteX3382" fmla="*/ 1170030 w 4381952"/>
                  <a:gd name="connsiteY3382" fmla="*/ 5839829 h 7571038"/>
                  <a:gd name="connsiteX3383" fmla="*/ 1166577 w 4381952"/>
                  <a:gd name="connsiteY3383" fmla="*/ 5836376 h 7571038"/>
                  <a:gd name="connsiteX3384" fmla="*/ 1163127 w 4381952"/>
                  <a:gd name="connsiteY3384" fmla="*/ 5839829 h 7571038"/>
                  <a:gd name="connsiteX3385" fmla="*/ 1166577 w 4381952"/>
                  <a:gd name="connsiteY3385" fmla="*/ 5843281 h 7571038"/>
                  <a:gd name="connsiteX3386" fmla="*/ 1170030 w 4381952"/>
                  <a:gd name="connsiteY3386" fmla="*/ 5839829 h 7571038"/>
                  <a:gd name="connsiteX3387" fmla="*/ 1170522 w 4381952"/>
                  <a:gd name="connsiteY3387" fmla="*/ 5721969 h 7571038"/>
                  <a:gd name="connsiteX3388" fmla="*/ 1168056 w 4381952"/>
                  <a:gd name="connsiteY3388" fmla="*/ 5719501 h 7571038"/>
                  <a:gd name="connsiteX3389" fmla="*/ 1165591 w 4381952"/>
                  <a:gd name="connsiteY3389" fmla="*/ 5721969 h 7571038"/>
                  <a:gd name="connsiteX3390" fmla="*/ 1168056 w 4381952"/>
                  <a:gd name="connsiteY3390" fmla="*/ 5724432 h 7571038"/>
                  <a:gd name="connsiteX3391" fmla="*/ 1170522 w 4381952"/>
                  <a:gd name="connsiteY3391" fmla="*/ 5721969 h 7571038"/>
                  <a:gd name="connsiteX3392" fmla="*/ 1171511 w 4381952"/>
                  <a:gd name="connsiteY3392" fmla="*/ 4666130 h 7571038"/>
                  <a:gd name="connsiteX3393" fmla="*/ 1119483 w 4381952"/>
                  <a:gd name="connsiteY3393" fmla="*/ 4614101 h 7571038"/>
                  <a:gd name="connsiteX3394" fmla="*/ 1067455 w 4381952"/>
                  <a:gd name="connsiteY3394" fmla="*/ 4666130 h 7571038"/>
                  <a:gd name="connsiteX3395" fmla="*/ 1119483 w 4381952"/>
                  <a:gd name="connsiteY3395" fmla="*/ 4718158 h 7571038"/>
                  <a:gd name="connsiteX3396" fmla="*/ 1171511 w 4381952"/>
                  <a:gd name="connsiteY3396" fmla="*/ 4666130 h 7571038"/>
                  <a:gd name="connsiteX3397" fmla="*/ 1173976 w 4381952"/>
                  <a:gd name="connsiteY3397" fmla="*/ 83133 h 7571038"/>
                  <a:gd name="connsiteX3398" fmla="*/ 1151291 w 4381952"/>
                  <a:gd name="connsiteY3398" fmla="*/ 60450 h 7571038"/>
                  <a:gd name="connsiteX3399" fmla="*/ 1128606 w 4381952"/>
                  <a:gd name="connsiteY3399" fmla="*/ 83133 h 7571038"/>
                  <a:gd name="connsiteX3400" fmla="*/ 1151291 w 4381952"/>
                  <a:gd name="connsiteY3400" fmla="*/ 105817 h 7571038"/>
                  <a:gd name="connsiteX3401" fmla="*/ 1173976 w 4381952"/>
                  <a:gd name="connsiteY3401" fmla="*/ 83133 h 7571038"/>
                  <a:gd name="connsiteX3402" fmla="*/ 1174221 w 4381952"/>
                  <a:gd name="connsiteY3402" fmla="*/ 196532 h 7571038"/>
                  <a:gd name="connsiteX3403" fmla="*/ 1151537 w 4381952"/>
                  <a:gd name="connsiteY3403" fmla="*/ 173848 h 7571038"/>
                  <a:gd name="connsiteX3404" fmla="*/ 1128852 w 4381952"/>
                  <a:gd name="connsiteY3404" fmla="*/ 196532 h 7571038"/>
                  <a:gd name="connsiteX3405" fmla="*/ 1151537 w 4381952"/>
                  <a:gd name="connsiteY3405" fmla="*/ 219215 h 7571038"/>
                  <a:gd name="connsiteX3406" fmla="*/ 1174221 w 4381952"/>
                  <a:gd name="connsiteY3406" fmla="*/ 196532 h 7571038"/>
                  <a:gd name="connsiteX3407" fmla="*/ 1174221 w 4381952"/>
                  <a:gd name="connsiteY3407" fmla="*/ 424565 h 7571038"/>
                  <a:gd name="connsiteX3408" fmla="*/ 1152523 w 4381952"/>
                  <a:gd name="connsiteY3408" fmla="*/ 402867 h 7571038"/>
                  <a:gd name="connsiteX3409" fmla="*/ 1130824 w 4381952"/>
                  <a:gd name="connsiteY3409" fmla="*/ 424565 h 7571038"/>
                  <a:gd name="connsiteX3410" fmla="*/ 1152523 w 4381952"/>
                  <a:gd name="connsiteY3410" fmla="*/ 446263 h 7571038"/>
                  <a:gd name="connsiteX3411" fmla="*/ 1174221 w 4381952"/>
                  <a:gd name="connsiteY3411" fmla="*/ 424565 h 7571038"/>
                  <a:gd name="connsiteX3412" fmla="*/ 1174468 w 4381952"/>
                  <a:gd name="connsiteY3412" fmla="*/ 538952 h 7571038"/>
                  <a:gd name="connsiteX3413" fmla="*/ 1153017 w 4381952"/>
                  <a:gd name="connsiteY3413" fmla="*/ 517500 h 7571038"/>
                  <a:gd name="connsiteX3414" fmla="*/ 1131811 w 4381952"/>
                  <a:gd name="connsiteY3414" fmla="*/ 538952 h 7571038"/>
                  <a:gd name="connsiteX3415" fmla="*/ 1153017 w 4381952"/>
                  <a:gd name="connsiteY3415" fmla="*/ 560402 h 7571038"/>
                  <a:gd name="connsiteX3416" fmla="*/ 1174468 w 4381952"/>
                  <a:gd name="connsiteY3416" fmla="*/ 538952 h 7571038"/>
                  <a:gd name="connsiteX3417" fmla="*/ 1174961 w 4381952"/>
                  <a:gd name="connsiteY3417" fmla="*/ 310177 h 7571038"/>
                  <a:gd name="connsiteX3418" fmla="*/ 1152277 w 4381952"/>
                  <a:gd name="connsiteY3418" fmla="*/ 287493 h 7571038"/>
                  <a:gd name="connsiteX3419" fmla="*/ 1129592 w 4381952"/>
                  <a:gd name="connsiteY3419" fmla="*/ 310177 h 7571038"/>
                  <a:gd name="connsiteX3420" fmla="*/ 1152277 w 4381952"/>
                  <a:gd name="connsiteY3420" fmla="*/ 332862 h 7571038"/>
                  <a:gd name="connsiteX3421" fmla="*/ 1174961 w 4381952"/>
                  <a:gd name="connsiteY3421" fmla="*/ 310177 h 7571038"/>
                  <a:gd name="connsiteX3422" fmla="*/ 1174962 w 4381952"/>
                  <a:gd name="connsiteY3422" fmla="*/ 3736537 h 7571038"/>
                  <a:gd name="connsiteX3423" fmla="*/ 1162140 w 4381952"/>
                  <a:gd name="connsiteY3423" fmla="*/ 3723715 h 7571038"/>
                  <a:gd name="connsiteX3424" fmla="*/ 1149318 w 4381952"/>
                  <a:gd name="connsiteY3424" fmla="*/ 3736537 h 7571038"/>
                  <a:gd name="connsiteX3425" fmla="*/ 1162140 w 4381952"/>
                  <a:gd name="connsiteY3425" fmla="*/ 3749359 h 7571038"/>
                  <a:gd name="connsiteX3426" fmla="*/ 1174962 w 4381952"/>
                  <a:gd name="connsiteY3426" fmla="*/ 3736537 h 7571038"/>
                  <a:gd name="connsiteX3427" fmla="*/ 1174962 w 4381952"/>
                  <a:gd name="connsiteY3427" fmla="*/ 4007775 h 7571038"/>
                  <a:gd name="connsiteX3428" fmla="*/ 1149812 w 4381952"/>
                  <a:gd name="connsiteY3428" fmla="*/ 3982622 h 7571038"/>
                  <a:gd name="connsiteX3429" fmla="*/ 1124661 w 4381952"/>
                  <a:gd name="connsiteY3429" fmla="*/ 4007775 h 7571038"/>
                  <a:gd name="connsiteX3430" fmla="*/ 1149812 w 4381952"/>
                  <a:gd name="connsiteY3430" fmla="*/ 4032923 h 7571038"/>
                  <a:gd name="connsiteX3431" fmla="*/ 1174962 w 4381952"/>
                  <a:gd name="connsiteY3431" fmla="*/ 4007775 h 7571038"/>
                  <a:gd name="connsiteX3432" fmla="*/ 1175208 w 4381952"/>
                  <a:gd name="connsiteY3432" fmla="*/ 5483526 h 7571038"/>
                  <a:gd name="connsiteX3433" fmla="*/ 1172249 w 4381952"/>
                  <a:gd name="connsiteY3433" fmla="*/ 5480568 h 7571038"/>
                  <a:gd name="connsiteX3434" fmla="*/ 1169290 w 4381952"/>
                  <a:gd name="connsiteY3434" fmla="*/ 5483526 h 7571038"/>
                  <a:gd name="connsiteX3435" fmla="*/ 1172249 w 4381952"/>
                  <a:gd name="connsiteY3435" fmla="*/ 5486485 h 7571038"/>
                  <a:gd name="connsiteX3436" fmla="*/ 1175208 w 4381952"/>
                  <a:gd name="connsiteY3436" fmla="*/ 5483526 h 7571038"/>
                  <a:gd name="connsiteX3437" fmla="*/ 1175700 w 4381952"/>
                  <a:gd name="connsiteY3437" fmla="*/ 6304379 h 7571038"/>
                  <a:gd name="connsiteX3438" fmla="*/ 1162140 w 4381952"/>
                  <a:gd name="connsiteY3438" fmla="*/ 6291062 h 7571038"/>
                  <a:gd name="connsiteX3439" fmla="*/ 1148578 w 4381952"/>
                  <a:gd name="connsiteY3439" fmla="*/ 6304379 h 7571038"/>
                  <a:gd name="connsiteX3440" fmla="*/ 1162140 w 4381952"/>
                  <a:gd name="connsiteY3440" fmla="*/ 6317939 h 7571038"/>
                  <a:gd name="connsiteX3441" fmla="*/ 1175700 w 4381952"/>
                  <a:gd name="connsiteY3441" fmla="*/ 6304379 h 7571038"/>
                  <a:gd name="connsiteX3442" fmla="*/ 1176688 w 4381952"/>
                  <a:gd name="connsiteY3442" fmla="*/ 5603118 h 7571038"/>
                  <a:gd name="connsiteX3443" fmla="*/ 1170030 w 4381952"/>
                  <a:gd name="connsiteY3443" fmla="*/ 5596459 h 7571038"/>
                  <a:gd name="connsiteX3444" fmla="*/ 1163372 w 4381952"/>
                  <a:gd name="connsiteY3444" fmla="*/ 5603118 h 7571038"/>
                  <a:gd name="connsiteX3445" fmla="*/ 1170030 w 4381952"/>
                  <a:gd name="connsiteY3445" fmla="*/ 5609776 h 7571038"/>
                  <a:gd name="connsiteX3446" fmla="*/ 1176688 w 4381952"/>
                  <a:gd name="connsiteY3446" fmla="*/ 5603118 h 7571038"/>
                  <a:gd name="connsiteX3447" fmla="*/ 1178659 w 4381952"/>
                  <a:gd name="connsiteY3447" fmla="*/ 4529279 h 7571038"/>
                  <a:gd name="connsiteX3448" fmla="*/ 1132552 w 4381952"/>
                  <a:gd name="connsiteY3448" fmla="*/ 4483169 h 7571038"/>
                  <a:gd name="connsiteX3449" fmla="*/ 1086441 w 4381952"/>
                  <a:gd name="connsiteY3449" fmla="*/ 4529279 h 7571038"/>
                  <a:gd name="connsiteX3450" fmla="*/ 1132552 w 4381952"/>
                  <a:gd name="connsiteY3450" fmla="*/ 4575390 h 7571038"/>
                  <a:gd name="connsiteX3451" fmla="*/ 1178659 w 4381952"/>
                  <a:gd name="connsiteY3451" fmla="*/ 4529279 h 7571038"/>
                  <a:gd name="connsiteX3452" fmla="*/ 1179153 w 4381952"/>
                  <a:gd name="connsiteY3452" fmla="*/ 6189228 h 7571038"/>
                  <a:gd name="connsiteX3453" fmla="*/ 1162880 w 4381952"/>
                  <a:gd name="connsiteY3453" fmla="*/ 6172952 h 7571038"/>
                  <a:gd name="connsiteX3454" fmla="*/ 1146605 w 4381952"/>
                  <a:gd name="connsiteY3454" fmla="*/ 6189228 h 7571038"/>
                  <a:gd name="connsiteX3455" fmla="*/ 1162880 w 4381952"/>
                  <a:gd name="connsiteY3455" fmla="*/ 6205500 h 7571038"/>
                  <a:gd name="connsiteX3456" fmla="*/ 1179153 w 4381952"/>
                  <a:gd name="connsiteY3456" fmla="*/ 6189228 h 7571038"/>
                  <a:gd name="connsiteX3457" fmla="*/ 1181373 w 4381952"/>
                  <a:gd name="connsiteY3457" fmla="*/ 3163031 h 7571038"/>
                  <a:gd name="connsiteX3458" fmla="*/ 1177920 w 4381952"/>
                  <a:gd name="connsiteY3458" fmla="*/ 3159581 h 7571038"/>
                  <a:gd name="connsiteX3459" fmla="*/ 1174470 w 4381952"/>
                  <a:gd name="connsiteY3459" fmla="*/ 3163031 h 7571038"/>
                  <a:gd name="connsiteX3460" fmla="*/ 1177920 w 4381952"/>
                  <a:gd name="connsiteY3460" fmla="*/ 3166485 h 7571038"/>
                  <a:gd name="connsiteX3461" fmla="*/ 1181373 w 4381952"/>
                  <a:gd name="connsiteY3461" fmla="*/ 3163031 h 7571038"/>
                  <a:gd name="connsiteX3462" fmla="*/ 1183839 w 4381952"/>
                  <a:gd name="connsiteY3462" fmla="*/ 2745595 h 7571038"/>
                  <a:gd name="connsiteX3463" fmla="*/ 1145621 w 4381952"/>
                  <a:gd name="connsiteY3463" fmla="*/ 2707372 h 7571038"/>
                  <a:gd name="connsiteX3464" fmla="*/ 1107647 w 4381952"/>
                  <a:gd name="connsiteY3464" fmla="*/ 2745595 h 7571038"/>
                  <a:gd name="connsiteX3465" fmla="*/ 1145621 w 4381952"/>
                  <a:gd name="connsiteY3465" fmla="*/ 2783564 h 7571038"/>
                  <a:gd name="connsiteX3466" fmla="*/ 1183839 w 4381952"/>
                  <a:gd name="connsiteY3466" fmla="*/ 2745595 h 7571038"/>
                  <a:gd name="connsiteX3467" fmla="*/ 1198633 w 4381952"/>
                  <a:gd name="connsiteY3467" fmla="*/ 1589986 h 7571038"/>
                  <a:gd name="connsiteX3468" fmla="*/ 1180139 w 4381952"/>
                  <a:gd name="connsiteY3468" fmla="*/ 1571493 h 7571038"/>
                  <a:gd name="connsiteX3469" fmla="*/ 1161646 w 4381952"/>
                  <a:gd name="connsiteY3469" fmla="*/ 1589986 h 7571038"/>
                  <a:gd name="connsiteX3470" fmla="*/ 1180139 w 4381952"/>
                  <a:gd name="connsiteY3470" fmla="*/ 1608482 h 7571038"/>
                  <a:gd name="connsiteX3471" fmla="*/ 1198633 w 4381952"/>
                  <a:gd name="connsiteY3471" fmla="*/ 1589986 h 7571038"/>
                  <a:gd name="connsiteX3472" fmla="*/ 1199126 w 4381952"/>
                  <a:gd name="connsiteY3472" fmla="*/ 1711762 h 7571038"/>
                  <a:gd name="connsiteX3473" fmla="*/ 1184086 w 4381952"/>
                  <a:gd name="connsiteY3473" fmla="*/ 1696741 h 7571038"/>
                  <a:gd name="connsiteX3474" fmla="*/ 1168798 w 4381952"/>
                  <a:gd name="connsiteY3474" fmla="*/ 1711762 h 7571038"/>
                  <a:gd name="connsiteX3475" fmla="*/ 1184086 w 4381952"/>
                  <a:gd name="connsiteY3475" fmla="*/ 1726816 h 7571038"/>
                  <a:gd name="connsiteX3476" fmla="*/ 1199126 w 4381952"/>
                  <a:gd name="connsiteY3476" fmla="*/ 1711762 h 7571038"/>
                  <a:gd name="connsiteX3477" fmla="*/ 1201837 w 4381952"/>
                  <a:gd name="connsiteY3477" fmla="*/ 4256815 h 7571038"/>
                  <a:gd name="connsiteX3478" fmla="*/ 1180633 w 4381952"/>
                  <a:gd name="connsiteY3478" fmla="*/ 4235608 h 7571038"/>
                  <a:gd name="connsiteX3479" fmla="*/ 1159427 w 4381952"/>
                  <a:gd name="connsiteY3479" fmla="*/ 4256815 h 7571038"/>
                  <a:gd name="connsiteX3480" fmla="*/ 1180633 w 4381952"/>
                  <a:gd name="connsiteY3480" fmla="*/ 4278018 h 7571038"/>
                  <a:gd name="connsiteX3481" fmla="*/ 1201837 w 4381952"/>
                  <a:gd name="connsiteY3481" fmla="*/ 4256815 h 7571038"/>
                  <a:gd name="connsiteX3482" fmla="*/ 1203071 w 4381952"/>
                  <a:gd name="connsiteY3482" fmla="*/ 4996787 h 7571038"/>
                  <a:gd name="connsiteX3483" fmla="*/ 1195429 w 4381952"/>
                  <a:gd name="connsiteY3483" fmla="*/ 4989142 h 7571038"/>
                  <a:gd name="connsiteX3484" fmla="*/ 1187784 w 4381952"/>
                  <a:gd name="connsiteY3484" fmla="*/ 4996787 h 7571038"/>
                  <a:gd name="connsiteX3485" fmla="*/ 1195429 w 4381952"/>
                  <a:gd name="connsiteY3485" fmla="*/ 5004429 h 7571038"/>
                  <a:gd name="connsiteX3486" fmla="*/ 1203071 w 4381952"/>
                  <a:gd name="connsiteY3486" fmla="*/ 4996787 h 7571038"/>
                  <a:gd name="connsiteX3487" fmla="*/ 1211950 w 4381952"/>
                  <a:gd name="connsiteY3487" fmla="*/ 3847499 h 7571038"/>
                  <a:gd name="connsiteX3488" fmla="*/ 1196906 w 4381952"/>
                  <a:gd name="connsiteY3488" fmla="*/ 3832458 h 7571038"/>
                  <a:gd name="connsiteX3489" fmla="*/ 1181867 w 4381952"/>
                  <a:gd name="connsiteY3489" fmla="*/ 3847499 h 7571038"/>
                  <a:gd name="connsiteX3490" fmla="*/ 1196906 w 4381952"/>
                  <a:gd name="connsiteY3490" fmla="*/ 3862542 h 7571038"/>
                  <a:gd name="connsiteX3491" fmla="*/ 1211950 w 4381952"/>
                  <a:gd name="connsiteY3491" fmla="*/ 3847499 h 7571038"/>
                  <a:gd name="connsiteX3492" fmla="*/ 1212193 w 4381952"/>
                  <a:gd name="connsiteY3492" fmla="*/ 5244841 h 7571038"/>
                  <a:gd name="connsiteX3493" fmla="*/ 1186303 w 4381952"/>
                  <a:gd name="connsiteY3493" fmla="*/ 5218951 h 7571038"/>
                  <a:gd name="connsiteX3494" fmla="*/ 1160414 w 4381952"/>
                  <a:gd name="connsiteY3494" fmla="*/ 5244841 h 7571038"/>
                  <a:gd name="connsiteX3495" fmla="*/ 1186303 w 4381952"/>
                  <a:gd name="connsiteY3495" fmla="*/ 5270734 h 7571038"/>
                  <a:gd name="connsiteX3496" fmla="*/ 1212193 w 4381952"/>
                  <a:gd name="connsiteY3496" fmla="*/ 5244841 h 7571038"/>
                  <a:gd name="connsiteX3497" fmla="*/ 1214167 w 4381952"/>
                  <a:gd name="connsiteY3497" fmla="*/ 2896983 h 7571038"/>
                  <a:gd name="connsiteX3498" fmla="*/ 1177426 w 4381952"/>
                  <a:gd name="connsiteY3498" fmla="*/ 2860244 h 7571038"/>
                  <a:gd name="connsiteX3499" fmla="*/ 1140687 w 4381952"/>
                  <a:gd name="connsiteY3499" fmla="*/ 2896983 h 7571038"/>
                  <a:gd name="connsiteX3500" fmla="*/ 1177426 w 4381952"/>
                  <a:gd name="connsiteY3500" fmla="*/ 2933725 h 7571038"/>
                  <a:gd name="connsiteX3501" fmla="*/ 1214167 w 4381952"/>
                  <a:gd name="connsiteY3501" fmla="*/ 2896983 h 7571038"/>
                  <a:gd name="connsiteX3502" fmla="*/ 1219342 w 4381952"/>
                  <a:gd name="connsiteY3502" fmla="*/ 1835086 h 7571038"/>
                  <a:gd name="connsiteX3503" fmla="*/ 1188029 w 4381952"/>
                  <a:gd name="connsiteY3503" fmla="*/ 1803771 h 7571038"/>
                  <a:gd name="connsiteX3504" fmla="*/ 1156714 w 4381952"/>
                  <a:gd name="connsiteY3504" fmla="*/ 1835086 h 7571038"/>
                  <a:gd name="connsiteX3505" fmla="*/ 1188029 w 4381952"/>
                  <a:gd name="connsiteY3505" fmla="*/ 1866389 h 7571038"/>
                  <a:gd name="connsiteX3506" fmla="*/ 1219342 w 4381952"/>
                  <a:gd name="connsiteY3506" fmla="*/ 1835086 h 7571038"/>
                  <a:gd name="connsiteX3507" fmla="*/ 1222798 w 4381952"/>
                  <a:gd name="connsiteY3507" fmla="*/ 3054294 h 7571038"/>
                  <a:gd name="connsiteX3508" fmla="*/ 1218854 w 4381952"/>
                  <a:gd name="connsiteY3508" fmla="*/ 3050349 h 7571038"/>
                  <a:gd name="connsiteX3509" fmla="*/ 1214908 w 4381952"/>
                  <a:gd name="connsiteY3509" fmla="*/ 3054294 h 7571038"/>
                  <a:gd name="connsiteX3510" fmla="*/ 1218854 w 4381952"/>
                  <a:gd name="connsiteY3510" fmla="*/ 3058239 h 7571038"/>
                  <a:gd name="connsiteX3511" fmla="*/ 1222798 w 4381952"/>
                  <a:gd name="connsiteY3511" fmla="*/ 3054294 h 7571038"/>
                  <a:gd name="connsiteX3512" fmla="*/ 1226744 w 4381952"/>
                  <a:gd name="connsiteY3512" fmla="*/ 2086273 h 7571038"/>
                  <a:gd name="connsiteX3513" fmla="*/ 1200114 w 4381952"/>
                  <a:gd name="connsiteY3513" fmla="*/ 2059640 h 7571038"/>
                  <a:gd name="connsiteX3514" fmla="*/ 1173484 w 4381952"/>
                  <a:gd name="connsiteY3514" fmla="*/ 2086273 h 7571038"/>
                  <a:gd name="connsiteX3515" fmla="*/ 1200114 w 4381952"/>
                  <a:gd name="connsiteY3515" fmla="*/ 2112907 h 7571038"/>
                  <a:gd name="connsiteX3516" fmla="*/ 1226744 w 4381952"/>
                  <a:gd name="connsiteY3516" fmla="*/ 2086273 h 7571038"/>
                  <a:gd name="connsiteX3517" fmla="*/ 1227236 w 4381952"/>
                  <a:gd name="connsiteY3517" fmla="*/ 5121802 h 7571038"/>
                  <a:gd name="connsiteX3518" fmla="*/ 1190493 w 4381952"/>
                  <a:gd name="connsiteY3518" fmla="*/ 5085063 h 7571038"/>
                  <a:gd name="connsiteX3519" fmla="*/ 1153755 w 4381952"/>
                  <a:gd name="connsiteY3519" fmla="*/ 5121802 h 7571038"/>
                  <a:gd name="connsiteX3520" fmla="*/ 1190493 w 4381952"/>
                  <a:gd name="connsiteY3520" fmla="*/ 5158541 h 7571038"/>
                  <a:gd name="connsiteX3521" fmla="*/ 1227236 w 4381952"/>
                  <a:gd name="connsiteY3521" fmla="*/ 5121802 h 7571038"/>
                  <a:gd name="connsiteX3522" fmla="*/ 1227482 w 4381952"/>
                  <a:gd name="connsiteY3522" fmla="*/ 1959551 h 7571038"/>
                  <a:gd name="connsiteX3523" fmla="*/ 1193701 w 4381952"/>
                  <a:gd name="connsiteY3523" fmla="*/ 1925780 h 7571038"/>
                  <a:gd name="connsiteX3524" fmla="*/ 1159921 w 4381952"/>
                  <a:gd name="connsiteY3524" fmla="*/ 1959551 h 7571038"/>
                  <a:gd name="connsiteX3525" fmla="*/ 1193701 w 4381952"/>
                  <a:gd name="connsiteY3525" fmla="*/ 1993321 h 7571038"/>
                  <a:gd name="connsiteX3526" fmla="*/ 1227482 w 4381952"/>
                  <a:gd name="connsiteY3526" fmla="*/ 1959551 h 7571038"/>
                  <a:gd name="connsiteX3527" fmla="*/ 1238088 w 4381952"/>
                  <a:gd name="connsiteY3527" fmla="*/ 632384 h 7571038"/>
                  <a:gd name="connsiteX3528" fmla="*/ 1214663 w 4381952"/>
                  <a:gd name="connsiteY3528" fmla="*/ 608714 h 7571038"/>
                  <a:gd name="connsiteX3529" fmla="*/ 1191237 w 4381952"/>
                  <a:gd name="connsiteY3529" fmla="*/ 632384 h 7571038"/>
                  <a:gd name="connsiteX3530" fmla="*/ 1214663 w 4381952"/>
                  <a:gd name="connsiteY3530" fmla="*/ 655854 h 7571038"/>
                  <a:gd name="connsiteX3531" fmla="*/ 1238088 w 4381952"/>
                  <a:gd name="connsiteY3531" fmla="*/ 632384 h 7571038"/>
                  <a:gd name="connsiteX3532" fmla="*/ 1238330 w 4381952"/>
                  <a:gd name="connsiteY3532" fmla="*/ 977573 h 7571038"/>
                  <a:gd name="connsiteX3533" fmla="*/ 1217126 w 4381952"/>
                  <a:gd name="connsiteY3533" fmla="*/ 956371 h 7571038"/>
                  <a:gd name="connsiteX3534" fmla="*/ 1195920 w 4381952"/>
                  <a:gd name="connsiteY3534" fmla="*/ 977573 h 7571038"/>
                  <a:gd name="connsiteX3535" fmla="*/ 1217126 w 4381952"/>
                  <a:gd name="connsiteY3535" fmla="*/ 998774 h 7571038"/>
                  <a:gd name="connsiteX3536" fmla="*/ 1238330 w 4381952"/>
                  <a:gd name="connsiteY3536" fmla="*/ 977573 h 7571038"/>
                  <a:gd name="connsiteX3537" fmla="*/ 1238579 w 4381952"/>
                  <a:gd name="connsiteY3537" fmla="*/ 747060 h 7571038"/>
                  <a:gd name="connsiteX3538" fmla="*/ 1215154 w 4381952"/>
                  <a:gd name="connsiteY3538" fmla="*/ 723640 h 7571038"/>
                  <a:gd name="connsiteX3539" fmla="*/ 1191729 w 4381952"/>
                  <a:gd name="connsiteY3539" fmla="*/ 747060 h 7571038"/>
                  <a:gd name="connsiteX3540" fmla="*/ 1215154 w 4381952"/>
                  <a:gd name="connsiteY3540" fmla="*/ 770488 h 7571038"/>
                  <a:gd name="connsiteX3541" fmla="*/ 1238579 w 4381952"/>
                  <a:gd name="connsiteY3541" fmla="*/ 747060 h 7571038"/>
                  <a:gd name="connsiteX3542" fmla="*/ 1238579 w 4381952"/>
                  <a:gd name="connsiteY3542" fmla="*/ 1211045 h 7571038"/>
                  <a:gd name="connsiteX3543" fmla="*/ 1218605 w 4381952"/>
                  <a:gd name="connsiteY3543" fmla="*/ 1191073 h 7571038"/>
                  <a:gd name="connsiteX3544" fmla="*/ 1198633 w 4381952"/>
                  <a:gd name="connsiteY3544" fmla="*/ 1211045 h 7571038"/>
                  <a:gd name="connsiteX3545" fmla="*/ 1218605 w 4381952"/>
                  <a:gd name="connsiteY3545" fmla="*/ 1231021 h 7571038"/>
                  <a:gd name="connsiteX3546" fmla="*/ 1238579 w 4381952"/>
                  <a:gd name="connsiteY3546" fmla="*/ 1211045 h 7571038"/>
                  <a:gd name="connsiteX3547" fmla="*/ 1238826 w 4381952"/>
                  <a:gd name="connsiteY3547" fmla="*/ 2513569 h 7571038"/>
                  <a:gd name="connsiteX3548" fmla="*/ 1198387 w 4381952"/>
                  <a:gd name="connsiteY3548" fmla="*/ 2473131 h 7571038"/>
                  <a:gd name="connsiteX3549" fmla="*/ 1157949 w 4381952"/>
                  <a:gd name="connsiteY3549" fmla="*/ 2513569 h 7571038"/>
                  <a:gd name="connsiteX3550" fmla="*/ 1198387 w 4381952"/>
                  <a:gd name="connsiteY3550" fmla="*/ 2554008 h 7571038"/>
                  <a:gd name="connsiteX3551" fmla="*/ 1238826 w 4381952"/>
                  <a:gd name="connsiteY3551" fmla="*/ 2513569 h 7571038"/>
                  <a:gd name="connsiteX3552" fmla="*/ 1239317 w 4381952"/>
                  <a:gd name="connsiteY3552" fmla="*/ 1093940 h 7571038"/>
                  <a:gd name="connsiteX3553" fmla="*/ 1217618 w 4381952"/>
                  <a:gd name="connsiteY3553" fmla="*/ 1072241 h 7571038"/>
                  <a:gd name="connsiteX3554" fmla="*/ 1195920 w 4381952"/>
                  <a:gd name="connsiteY3554" fmla="*/ 1093940 h 7571038"/>
                  <a:gd name="connsiteX3555" fmla="*/ 1217618 w 4381952"/>
                  <a:gd name="connsiteY3555" fmla="*/ 1115636 h 7571038"/>
                  <a:gd name="connsiteX3556" fmla="*/ 1239317 w 4381952"/>
                  <a:gd name="connsiteY3556" fmla="*/ 1093940 h 7571038"/>
                  <a:gd name="connsiteX3557" fmla="*/ 1239566 w 4381952"/>
                  <a:gd name="connsiteY3557" fmla="*/ 861945 h 7571038"/>
                  <a:gd name="connsiteX3558" fmla="*/ 1216140 w 4381952"/>
                  <a:gd name="connsiteY3558" fmla="*/ 838528 h 7571038"/>
                  <a:gd name="connsiteX3559" fmla="*/ 1192715 w 4381952"/>
                  <a:gd name="connsiteY3559" fmla="*/ 861945 h 7571038"/>
                  <a:gd name="connsiteX3560" fmla="*/ 1216140 w 4381952"/>
                  <a:gd name="connsiteY3560" fmla="*/ 885372 h 7571038"/>
                  <a:gd name="connsiteX3561" fmla="*/ 1239566 w 4381952"/>
                  <a:gd name="connsiteY3561" fmla="*/ 861945 h 7571038"/>
                  <a:gd name="connsiteX3562" fmla="*/ 1240058 w 4381952"/>
                  <a:gd name="connsiteY3562" fmla="*/ 3448316 h 7571038"/>
                  <a:gd name="connsiteX3563" fmla="*/ 1238824 w 4381952"/>
                  <a:gd name="connsiteY3563" fmla="*/ 3447083 h 7571038"/>
                  <a:gd name="connsiteX3564" fmla="*/ 1237591 w 4381952"/>
                  <a:gd name="connsiteY3564" fmla="*/ 3448316 h 7571038"/>
                  <a:gd name="connsiteX3565" fmla="*/ 1238824 w 4381952"/>
                  <a:gd name="connsiteY3565" fmla="*/ 3449550 h 7571038"/>
                  <a:gd name="connsiteX3566" fmla="*/ 1240058 w 4381952"/>
                  <a:gd name="connsiteY3566" fmla="*/ 3448316 h 7571038"/>
                  <a:gd name="connsiteX3567" fmla="*/ 1241044 w 4381952"/>
                  <a:gd name="connsiteY3567" fmla="*/ 4482678 h 7571038"/>
                  <a:gd name="connsiteX3568" fmla="*/ 1240306 w 4381952"/>
                  <a:gd name="connsiteY3568" fmla="*/ 4481937 h 7571038"/>
                  <a:gd name="connsiteX3569" fmla="*/ 1239566 w 4381952"/>
                  <a:gd name="connsiteY3569" fmla="*/ 4482678 h 7571038"/>
                  <a:gd name="connsiteX3570" fmla="*/ 1240306 w 4381952"/>
                  <a:gd name="connsiteY3570" fmla="*/ 4483414 h 7571038"/>
                  <a:gd name="connsiteX3571" fmla="*/ 1241044 w 4381952"/>
                  <a:gd name="connsiteY3571" fmla="*/ 4482678 h 7571038"/>
                  <a:gd name="connsiteX3572" fmla="*/ 1241290 w 4381952"/>
                  <a:gd name="connsiteY3572" fmla="*/ 4869800 h 7571038"/>
                  <a:gd name="connsiteX3573" fmla="*/ 1201592 w 4381952"/>
                  <a:gd name="connsiteY3573" fmla="*/ 4830102 h 7571038"/>
                  <a:gd name="connsiteX3574" fmla="*/ 1161894 w 4381952"/>
                  <a:gd name="connsiteY3574" fmla="*/ 4869800 h 7571038"/>
                  <a:gd name="connsiteX3575" fmla="*/ 1201592 w 4381952"/>
                  <a:gd name="connsiteY3575" fmla="*/ 4909501 h 7571038"/>
                  <a:gd name="connsiteX3576" fmla="*/ 1241290 w 4381952"/>
                  <a:gd name="connsiteY3576" fmla="*/ 4869800 h 7571038"/>
                  <a:gd name="connsiteX3577" fmla="*/ 1241785 w 4381952"/>
                  <a:gd name="connsiteY3577" fmla="*/ 1328891 h 7571038"/>
                  <a:gd name="connsiteX3578" fmla="*/ 1220086 w 4381952"/>
                  <a:gd name="connsiteY3578" fmla="*/ 1307190 h 7571038"/>
                  <a:gd name="connsiteX3579" fmla="*/ 1198387 w 4381952"/>
                  <a:gd name="connsiteY3579" fmla="*/ 1328891 h 7571038"/>
                  <a:gd name="connsiteX3580" fmla="*/ 1220086 w 4381952"/>
                  <a:gd name="connsiteY3580" fmla="*/ 1350590 h 7571038"/>
                  <a:gd name="connsiteX3581" fmla="*/ 1241785 w 4381952"/>
                  <a:gd name="connsiteY3581" fmla="*/ 1328891 h 7571038"/>
                  <a:gd name="connsiteX3582" fmla="*/ 1242770 w 4381952"/>
                  <a:gd name="connsiteY3582" fmla="*/ 1447479 h 7571038"/>
                  <a:gd name="connsiteX3583" fmla="*/ 1221566 w 4381952"/>
                  <a:gd name="connsiteY3583" fmla="*/ 1426277 h 7571038"/>
                  <a:gd name="connsiteX3584" fmla="*/ 1200360 w 4381952"/>
                  <a:gd name="connsiteY3584" fmla="*/ 1447479 h 7571038"/>
                  <a:gd name="connsiteX3585" fmla="*/ 1221566 w 4381952"/>
                  <a:gd name="connsiteY3585" fmla="*/ 1468687 h 7571038"/>
                  <a:gd name="connsiteX3586" fmla="*/ 1242770 w 4381952"/>
                  <a:gd name="connsiteY3586" fmla="*/ 1447479 h 7571038"/>
                  <a:gd name="connsiteX3587" fmla="*/ 1245235 w 4381952"/>
                  <a:gd name="connsiteY3587" fmla="*/ 4108128 h 7571038"/>
                  <a:gd name="connsiteX3588" fmla="*/ 1207756 w 4381952"/>
                  <a:gd name="connsiteY3588" fmla="*/ 4070649 h 7571038"/>
                  <a:gd name="connsiteX3589" fmla="*/ 1170277 w 4381952"/>
                  <a:gd name="connsiteY3589" fmla="*/ 4108128 h 7571038"/>
                  <a:gd name="connsiteX3590" fmla="*/ 1207756 w 4381952"/>
                  <a:gd name="connsiteY3590" fmla="*/ 4145608 h 7571038"/>
                  <a:gd name="connsiteX3591" fmla="*/ 1245235 w 4381952"/>
                  <a:gd name="connsiteY3591" fmla="*/ 4108128 h 7571038"/>
                  <a:gd name="connsiteX3592" fmla="*/ 1247701 w 4381952"/>
                  <a:gd name="connsiteY3592" fmla="*/ 2215481 h 7571038"/>
                  <a:gd name="connsiteX3593" fmla="*/ 1208001 w 4381952"/>
                  <a:gd name="connsiteY3593" fmla="*/ 2175780 h 7571038"/>
                  <a:gd name="connsiteX3594" fmla="*/ 1168303 w 4381952"/>
                  <a:gd name="connsiteY3594" fmla="*/ 2215481 h 7571038"/>
                  <a:gd name="connsiteX3595" fmla="*/ 1208001 w 4381952"/>
                  <a:gd name="connsiteY3595" fmla="*/ 2255178 h 7571038"/>
                  <a:gd name="connsiteX3596" fmla="*/ 1247701 w 4381952"/>
                  <a:gd name="connsiteY3596" fmla="*/ 2215481 h 7571038"/>
                  <a:gd name="connsiteX3597" fmla="*/ 1250167 w 4381952"/>
                  <a:gd name="connsiteY3597" fmla="*/ 2347638 h 7571038"/>
                  <a:gd name="connsiteX3598" fmla="*/ 1217373 w 4381952"/>
                  <a:gd name="connsiteY3598" fmla="*/ 2314838 h 7571038"/>
                  <a:gd name="connsiteX3599" fmla="*/ 1184579 w 4381952"/>
                  <a:gd name="connsiteY3599" fmla="*/ 2347638 h 7571038"/>
                  <a:gd name="connsiteX3600" fmla="*/ 1217373 w 4381952"/>
                  <a:gd name="connsiteY3600" fmla="*/ 2380427 h 7571038"/>
                  <a:gd name="connsiteX3601" fmla="*/ 1250167 w 4381952"/>
                  <a:gd name="connsiteY3601" fmla="*/ 2347638 h 7571038"/>
                  <a:gd name="connsiteX3602" fmla="*/ 1259042 w 4381952"/>
                  <a:gd name="connsiteY3602" fmla="*/ 2654111 h 7571038"/>
                  <a:gd name="connsiteX3603" fmla="*/ 1216632 w 4381952"/>
                  <a:gd name="connsiteY3603" fmla="*/ 2611699 h 7571038"/>
                  <a:gd name="connsiteX3604" fmla="*/ 1174221 w 4381952"/>
                  <a:gd name="connsiteY3604" fmla="*/ 2654111 h 7571038"/>
                  <a:gd name="connsiteX3605" fmla="*/ 1216632 w 4381952"/>
                  <a:gd name="connsiteY3605" fmla="*/ 2696522 h 7571038"/>
                  <a:gd name="connsiteX3606" fmla="*/ 1259042 w 4381952"/>
                  <a:gd name="connsiteY3606" fmla="*/ 2654111 h 7571038"/>
                  <a:gd name="connsiteX3607" fmla="*/ 1261016 w 4381952"/>
                  <a:gd name="connsiteY3607" fmla="*/ 4740349 h 7571038"/>
                  <a:gd name="connsiteX3608" fmla="*/ 1208991 w 4381952"/>
                  <a:gd name="connsiteY3608" fmla="*/ 4688320 h 7571038"/>
                  <a:gd name="connsiteX3609" fmla="*/ 1156962 w 4381952"/>
                  <a:gd name="connsiteY3609" fmla="*/ 4740349 h 7571038"/>
                  <a:gd name="connsiteX3610" fmla="*/ 1208991 w 4381952"/>
                  <a:gd name="connsiteY3610" fmla="*/ 4792623 h 7571038"/>
                  <a:gd name="connsiteX3611" fmla="*/ 1261016 w 4381952"/>
                  <a:gd name="connsiteY3611" fmla="*/ 4740349 h 7571038"/>
                  <a:gd name="connsiteX3612" fmla="*/ 1261262 w 4381952"/>
                  <a:gd name="connsiteY3612" fmla="*/ 3953525 h 7571038"/>
                  <a:gd name="connsiteX3613" fmla="*/ 1243757 w 4381952"/>
                  <a:gd name="connsiteY3613" fmla="*/ 3936017 h 7571038"/>
                  <a:gd name="connsiteX3614" fmla="*/ 1226249 w 4381952"/>
                  <a:gd name="connsiteY3614" fmla="*/ 3953525 h 7571038"/>
                  <a:gd name="connsiteX3615" fmla="*/ 1243757 w 4381952"/>
                  <a:gd name="connsiteY3615" fmla="*/ 3971030 h 7571038"/>
                  <a:gd name="connsiteX3616" fmla="*/ 1261262 w 4381952"/>
                  <a:gd name="connsiteY3616" fmla="*/ 3953525 h 7571038"/>
                  <a:gd name="connsiteX3617" fmla="*/ 1262743 w 4381952"/>
                  <a:gd name="connsiteY3617" fmla="*/ 4608430 h 7571038"/>
                  <a:gd name="connsiteX3618" fmla="*/ 1218359 w 4381952"/>
                  <a:gd name="connsiteY3618" fmla="*/ 4564047 h 7571038"/>
                  <a:gd name="connsiteX3619" fmla="*/ 1173976 w 4381952"/>
                  <a:gd name="connsiteY3619" fmla="*/ 4608430 h 7571038"/>
                  <a:gd name="connsiteX3620" fmla="*/ 1218359 w 4381952"/>
                  <a:gd name="connsiteY3620" fmla="*/ 4652814 h 7571038"/>
                  <a:gd name="connsiteX3621" fmla="*/ 1262743 w 4381952"/>
                  <a:gd name="connsiteY3621" fmla="*/ 4608430 h 7571038"/>
                  <a:gd name="connsiteX3622" fmla="*/ 1263729 w 4381952"/>
                  <a:gd name="connsiteY3622" fmla="*/ 7351583 h 7571038"/>
                  <a:gd name="connsiteX3623" fmla="*/ 1261510 w 4381952"/>
                  <a:gd name="connsiteY3623" fmla="*/ 7349365 h 7571038"/>
                  <a:gd name="connsiteX3624" fmla="*/ 1259043 w 4381952"/>
                  <a:gd name="connsiteY3624" fmla="*/ 7351583 h 7571038"/>
                  <a:gd name="connsiteX3625" fmla="*/ 1261510 w 4381952"/>
                  <a:gd name="connsiteY3625" fmla="*/ 7353801 h 7571038"/>
                  <a:gd name="connsiteX3626" fmla="*/ 1263729 w 4381952"/>
                  <a:gd name="connsiteY3626" fmla="*/ 7351583 h 7571038"/>
                  <a:gd name="connsiteX3627" fmla="*/ 1263977 w 4381952"/>
                  <a:gd name="connsiteY3627" fmla="*/ 7463036 h 7571038"/>
                  <a:gd name="connsiteX3628" fmla="*/ 1261756 w 4381952"/>
                  <a:gd name="connsiteY3628" fmla="*/ 7460818 h 7571038"/>
                  <a:gd name="connsiteX3629" fmla="*/ 1259538 w 4381952"/>
                  <a:gd name="connsiteY3629" fmla="*/ 7463036 h 7571038"/>
                  <a:gd name="connsiteX3630" fmla="*/ 1261756 w 4381952"/>
                  <a:gd name="connsiteY3630" fmla="*/ 7465254 h 7571038"/>
                  <a:gd name="connsiteX3631" fmla="*/ 1263977 w 4381952"/>
                  <a:gd name="connsiteY3631" fmla="*/ 7463036 h 7571038"/>
                  <a:gd name="connsiteX3632" fmla="*/ 1264223 w 4381952"/>
                  <a:gd name="connsiteY3632" fmla="*/ 7239639 h 7571038"/>
                  <a:gd name="connsiteX3633" fmla="*/ 1261511 w 4381952"/>
                  <a:gd name="connsiteY3633" fmla="*/ 7236926 h 7571038"/>
                  <a:gd name="connsiteX3634" fmla="*/ 1258798 w 4381952"/>
                  <a:gd name="connsiteY3634" fmla="*/ 7239639 h 7571038"/>
                  <a:gd name="connsiteX3635" fmla="*/ 1261511 w 4381952"/>
                  <a:gd name="connsiteY3635" fmla="*/ 7242353 h 7571038"/>
                  <a:gd name="connsiteX3636" fmla="*/ 1264223 w 4381952"/>
                  <a:gd name="connsiteY3636" fmla="*/ 7239639 h 7571038"/>
                  <a:gd name="connsiteX3637" fmla="*/ 1264961 w 4381952"/>
                  <a:gd name="connsiteY3637" fmla="*/ 3332423 h 7571038"/>
                  <a:gd name="connsiteX3638" fmla="*/ 1249675 w 4381952"/>
                  <a:gd name="connsiteY3638" fmla="*/ 3317137 h 7571038"/>
                  <a:gd name="connsiteX3639" fmla="*/ 1234386 w 4381952"/>
                  <a:gd name="connsiteY3639" fmla="*/ 3332423 h 7571038"/>
                  <a:gd name="connsiteX3640" fmla="*/ 1249675 w 4381952"/>
                  <a:gd name="connsiteY3640" fmla="*/ 3347711 h 7571038"/>
                  <a:gd name="connsiteX3641" fmla="*/ 1264961 w 4381952"/>
                  <a:gd name="connsiteY3641" fmla="*/ 3332423 h 7571038"/>
                  <a:gd name="connsiteX3642" fmla="*/ 1267920 w 4381952"/>
                  <a:gd name="connsiteY3642" fmla="*/ 7129176 h 7571038"/>
                  <a:gd name="connsiteX3643" fmla="*/ 1265701 w 4381952"/>
                  <a:gd name="connsiteY3643" fmla="*/ 7126955 h 7571038"/>
                  <a:gd name="connsiteX3644" fmla="*/ 1263483 w 4381952"/>
                  <a:gd name="connsiteY3644" fmla="*/ 7129176 h 7571038"/>
                  <a:gd name="connsiteX3645" fmla="*/ 1265701 w 4381952"/>
                  <a:gd name="connsiteY3645" fmla="*/ 7131395 h 7571038"/>
                  <a:gd name="connsiteX3646" fmla="*/ 1267920 w 4381952"/>
                  <a:gd name="connsiteY3646" fmla="*/ 7129176 h 7571038"/>
                  <a:gd name="connsiteX3647" fmla="*/ 1268169 w 4381952"/>
                  <a:gd name="connsiteY3647" fmla="*/ 6905283 h 7571038"/>
                  <a:gd name="connsiteX3648" fmla="*/ 1265702 w 4381952"/>
                  <a:gd name="connsiteY3648" fmla="*/ 6902816 h 7571038"/>
                  <a:gd name="connsiteX3649" fmla="*/ 1263238 w 4381952"/>
                  <a:gd name="connsiteY3649" fmla="*/ 6905283 h 7571038"/>
                  <a:gd name="connsiteX3650" fmla="*/ 1265702 w 4381952"/>
                  <a:gd name="connsiteY3650" fmla="*/ 6907747 h 7571038"/>
                  <a:gd name="connsiteX3651" fmla="*/ 1268169 w 4381952"/>
                  <a:gd name="connsiteY3651" fmla="*/ 6905283 h 7571038"/>
                  <a:gd name="connsiteX3652" fmla="*/ 1268909 w 4381952"/>
                  <a:gd name="connsiteY3652" fmla="*/ 7017228 h 7571038"/>
                  <a:gd name="connsiteX3653" fmla="*/ 1265701 w 4381952"/>
                  <a:gd name="connsiteY3653" fmla="*/ 7014023 h 7571038"/>
                  <a:gd name="connsiteX3654" fmla="*/ 1262497 w 4381952"/>
                  <a:gd name="connsiteY3654" fmla="*/ 7017228 h 7571038"/>
                  <a:gd name="connsiteX3655" fmla="*/ 1265701 w 4381952"/>
                  <a:gd name="connsiteY3655" fmla="*/ 7020435 h 7571038"/>
                  <a:gd name="connsiteX3656" fmla="*/ 1268909 w 4381952"/>
                  <a:gd name="connsiteY3656" fmla="*/ 7017228 h 7571038"/>
                  <a:gd name="connsiteX3657" fmla="*/ 1269401 w 4381952"/>
                  <a:gd name="connsiteY3657" fmla="*/ 6453557 h 7571038"/>
                  <a:gd name="connsiteX3658" fmla="*/ 1266193 w 4381952"/>
                  <a:gd name="connsiteY3658" fmla="*/ 6450351 h 7571038"/>
                  <a:gd name="connsiteX3659" fmla="*/ 1262989 w 4381952"/>
                  <a:gd name="connsiteY3659" fmla="*/ 6453557 h 7571038"/>
                  <a:gd name="connsiteX3660" fmla="*/ 1266193 w 4381952"/>
                  <a:gd name="connsiteY3660" fmla="*/ 6457010 h 7571038"/>
                  <a:gd name="connsiteX3661" fmla="*/ 1269401 w 4381952"/>
                  <a:gd name="connsiteY3661" fmla="*/ 6453557 h 7571038"/>
                  <a:gd name="connsiteX3662" fmla="*/ 1274578 w 4381952"/>
                  <a:gd name="connsiteY3662" fmla="*/ 6679915 h 7571038"/>
                  <a:gd name="connsiteX3663" fmla="*/ 1265948 w 4381952"/>
                  <a:gd name="connsiteY3663" fmla="*/ 6671284 h 7571038"/>
                  <a:gd name="connsiteX3664" fmla="*/ 1257071 w 4381952"/>
                  <a:gd name="connsiteY3664" fmla="*/ 6679915 h 7571038"/>
                  <a:gd name="connsiteX3665" fmla="*/ 1265948 w 4381952"/>
                  <a:gd name="connsiteY3665" fmla="*/ 6688791 h 7571038"/>
                  <a:gd name="connsiteX3666" fmla="*/ 1274578 w 4381952"/>
                  <a:gd name="connsiteY3666" fmla="*/ 6679915 h 7571038"/>
                  <a:gd name="connsiteX3667" fmla="*/ 1275073 w 4381952"/>
                  <a:gd name="connsiteY3667" fmla="*/ 6566982 h 7571038"/>
                  <a:gd name="connsiteX3668" fmla="*/ 1265948 w 4381952"/>
                  <a:gd name="connsiteY3668" fmla="*/ 6557859 h 7571038"/>
                  <a:gd name="connsiteX3669" fmla="*/ 1256826 w 4381952"/>
                  <a:gd name="connsiteY3669" fmla="*/ 6566982 h 7571038"/>
                  <a:gd name="connsiteX3670" fmla="*/ 1265948 w 4381952"/>
                  <a:gd name="connsiteY3670" fmla="*/ 6576103 h 7571038"/>
                  <a:gd name="connsiteX3671" fmla="*/ 1275073 w 4381952"/>
                  <a:gd name="connsiteY3671" fmla="*/ 6566982 h 7571038"/>
                  <a:gd name="connsiteX3672" fmla="*/ 1275564 w 4381952"/>
                  <a:gd name="connsiteY3672" fmla="*/ 5998625 h 7571038"/>
                  <a:gd name="connsiteX3673" fmla="*/ 1273343 w 4381952"/>
                  <a:gd name="connsiteY3673" fmla="*/ 5996406 h 7571038"/>
                  <a:gd name="connsiteX3674" fmla="*/ 1271125 w 4381952"/>
                  <a:gd name="connsiteY3674" fmla="*/ 5998625 h 7571038"/>
                  <a:gd name="connsiteX3675" fmla="*/ 1273343 w 4381952"/>
                  <a:gd name="connsiteY3675" fmla="*/ 6000843 h 7571038"/>
                  <a:gd name="connsiteX3676" fmla="*/ 1275564 w 4381952"/>
                  <a:gd name="connsiteY3676" fmla="*/ 5998625 h 7571038"/>
                  <a:gd name="connsiteX3677" fmla="*/ 1275565 w 4381952"/>
                  <a:gd name="connsiteY3677" fmla="*/ 5883471 h 7571038"/>
                  <a:gd name="connsiteX3678" fmla="*/ 1274084 w 4381952"/>
                  <a:gd name="connsiteY3678" fmla="*/ 5881992 h 7571038"/>
                  <a:gd name="connsiteX3679" fmla="*/ 1272606 w 4381952"/>
                  <a:gd name="connsiteY3679" fmla="*/ 5883471 h 7571038"/>
                  <a:gd name="connsiteX3680" fmla="*/ 1274084 w 4381952"/>
                  <a:gd name="connsiteY3680" fmla="*/ 5884952 h 7571038"/>
                  <a:gd name="connsiteX3681" fmla="*/ 1275565 w 4381952"/>
                  <a:gd name="connsiteY3681" fmla="*/ 5883471 h 7571038"/>
                  <a:gd name="connsiteX3682" fmla="*/ 1275811 w 4381952"/>
                  <a:gd name="connsiteY3682" fmla="*/ 2950729 h 7571038"/>
                  <a:gd name="connsiteX3683" fmla="*/ 1271371 w 4381952"/>
                  <a:gd name="connsiteY3683" fmla="*/ 2946292 h 7571038"/>
                  <a:gd name="connsiteX3684" fmla="*/ 1266934 w 4381952"/>
                  <a:gd name="connsiteY3684" fmla="*/ 2950729 h 7571038"/>
                  <a:gd name="connsiteX3685" fmla="*/ 1271371 w 4381952"/>
                  <a:gd name="connsiteY3685" fmla="*/ 2955169 h 7571038"/>
                  <a:gd name="connsiteX3686" fmla="*/ 1275811 w 4381952"/>
                  <a:gd name="connsiteY3686" fmla="*/ 2950729 h 7571038"/>
                  <a:gd name="connsiteX3687" fmla="*/ 1275813 w 4381952"/>
                  <a:gd name="connsiteY3687" fmla="*/ 6792596 h 7571038"/>
                  <a:gd name="connsiteX3688" fmla="*/ 1265702 w 4381952"/>
                  <a:gd name="connsiteY3688" fmla="*/ 6782487 h 7571038"/>
                  <a:gd name="connsiteX3689" fmla="*/ 1255593 w 4381952"/>
                  <a:gd name="connsiteY3689" fmla="*/ 6792596 h 7571038"/>
                  <a:gd name="connsiteX3690" fmla="*/ 1265702 w 4381952"/>
                  <a:gd name="connsiteY3690" fmla="*/ 6802708 h 7571038"/>
                  <a:gd name="connsiteX3691" fmla="*/ 1275813 w 4381952"/>
                  <a:gd name="connsiteY3691" fmla="*/ 6792596 h 7571038"/>
                  <a:gd name="connsiteX3692" fmla="*/ 1276056 w 4381952"/>
                  <a:gd name="connsiteY3692" fmla="*/ 6113529 h 7571038"/>
                  <a:gd name="connsiteX3693" fmla="*/ 1272602 w 4381952"/>
                  <a:gd name="connsiteY3693" fmla="*/ 6110077 h 7571038"/>
                  <a:gd name="connsiteX3694" fmla="*/ 1269152 w 4381952"/>
                  <a:gd name="connsiteY3694" fmla="*/ 6113529 h 7571038"/>
                  <a:gd name="connsiteX3695" fmla="*/ 1272602 w 4381952"/>
                  <a:gd name="connsiteY3695" fmla="*/ 6116981 h 7571038"/>
                  <a:gd name="connsiteX3696" fmla="*/ 1276056 w 4381952"/>
                  <a:gd name="connsiteY3696" fmla="*/ 6113529 h 7571038"/>
                  <a:gd name="connsiteX3697" fmla="*/ 1277785 w 4381952"/>
                  <a:gd name="connsiteY3697" fmla="*/ 5767585 h 7571038"/>
                  <a:gd name="connsiteX3698" fmla="*/ 1275073 w 4381952"/>
                  <a:gd name="connsiteY3698" fmla="*/ 5764871 h 7571038"/>
                  <a:gd name="connsiteX3699" fmla="*/ 1272360 w 4381952"/>
                  <a:gd name="connsiteY3699" fmla="*/ 5767585 h 7571038"/>
                  <a:gd name="connsiteX3700" fmla="*/ 1275073 w 4381952"/>
                  <a:gd name="connsiteY3700" fmla="*/ 5770298 h 7571038"/>
                  <a:gd name="connsiteX3701" fmla="*/ 1277785 w 4381952"/>
                  <a:gd name="connsiteY3701" fmla="*/ 5767585 h 7571038"/>
                  <a:gd name="connsiteX3702" fmla="*/ 1280002 w 4381952"/>
                  <a:gd name="connsiteY3702" fmla="*/ 4344595 h 7571038"/>
                  <a:gd name="connsiteX3703" fmla="*/ 1255839 w 4381952"/>
                  <a:gd name="connsiteY3703" fmla="*/ 4320677 h 7571038"/>
                  <a:gd name="connsiteX3704" fmla="*/ 1231673 w 4381952"/>
                  <a:gd name="connsiteY3704" fmla="*/ 4344595 h 7571038"/>
                  <a:gd name="connsiteX3705" fmla="*/ 1255839 w 4381952"/>
                  <a:gd name="connsiteY3705" fmla="*/ 4368761 h 7571038"/>
                  <a:gd name="connsiteX3706" fmla="*/ 1280002 w 4381952"/>
                  <a:gd name="connsiteY3706" fmla="*/ 4344595 h 7571038"/>
                  <a:gd name="connsiteX3707" fmla="*/ 1280989 w 4381952"/>
                  <a:gd name="connsiteY3707" fmla="*/ 5533337 h 7571038"/>
                  <a:gd name="connsiteX3708" fmla="*/ 1277783 w 4381952"/>
                  <a:gd name="connsiteY3708" fmla="*/ 5530131 h 7571038"/>
                  <a:gd name="connsiteX3709" fmla="*/ 1274579 w 4381952"/>
                  <a:gd name="connsiteY3709" fmla="*/ 5533337 h 7571038"/>
                  <a:gd name="connsiteX3710" fmla="*/ 1277783 w 4381952"/>
                  <a:gd name="connsiteY3710" fmla="*/ 5536544 h 7571038"/>
                  <a:gd name="connsiteX3711" fmla="*/ 1280989 w 4381952"/>
                  <a:gd name="connsiteY3711" fmla="*/ 5533337 h 7571038"/>
                  <a:gd name="connsiteX3712" fmla="*/ 1282715 w 4381952"/>
                  <a:gd name="connsiteY3712" fmla="*/ 5650703 h 7571038"/>
                  <a:gd name="connsiteX3713" fmla="*/ 1276305 w 4381952"/>
                  <a:gd name="connsiteY3713" fmla="*/ 5644293 h 7571038"/>
                  <a:gd name="connsiteX3714" fmla="*/ 1269893 w 4381952"/>
                  <a:gd name="connsiteY3714" fmla="*/ 5650703 h 7571038"/>
                  <a:gd name="connsiteX3715" fmla="*/ 1276305 w 4381952"/>
                  <a:gd name="connsiteY3715" fmla="*/ 5657115 h 7571038"/>
                  <a:gd name="connsiteX3716" fmla="*/ 1282715 w 4381952"/>
                  <a:gd name="connsiteY3716" fmla="*/ 5650703 h 7571038"/>
                  <a:gd name="connsiteX3717" fmla="*/ 1283454 w 4381952"/>
                  <a:gd name="connsiteY3717" fmla="*/ 2799587 h 7571038"/>
                  <a:gd name="connsiteX3718" fmla="*/ 1240304 w 4381952"/>
                  <a:gd name="connsiteY3718" fmla="*/ 2756434 h 7571038"/>
                  <a:gd name="connsiteX3719" fmla="*/ 1197152 w 4381952"/>
                  <a:gd name="connsiteY3719" fmla="*/ 2799587 h 7571038"/>
                  <a:gd name="connsiteX3720" fmla="*/ 1240304 w 4381952"/>
                  <a:gd name="connsiteY3720" fmla="*/ 2842738 h 7571038"/>
                  <a:gd name="connsiteX3721" fmla="*/ 1283454 w 4381952"/>
                  <a:gd name="connsiteY3721" fmla="*/ 2799587 h 7571038"/>
                  <a:gd name="connsiteX3722" fmla="*/ 1283702 w 4381952"/>
                  <a:gd name="connsiteY3722" fmla="*/ 6341858 h 7571038"/>
                  <a:gd name="connsiteX3723" fmla="*/ 1271620 w 4381952"/>
                  <a:gd name="connsiteY3723" fmla="*/ 6329776 h 7571038"/>
                  <a:gd name="connsiteX3724" fmla="*/ 1259784 w 4381952"/>
                  <a:gd name="connsiteY3724" fmla="*/ 6341858 h 7571038"/>
                  <a:gd name="connsiteX3725" fmla="*/ 1271620 w 4381952"/>
                  <a:gd name="connsiteY3725" fmla="*/ 6353942 h 7571038"/>
                  <a:gd name="connsiteX3726" fmla="*/ 1283702 w 4381952"/>
                  <a:gd name="connsiteY3726" fmla="*/ 6341858 h 7571038"/>
                  <a:gd name="connsiteX3727" fmla="*/ 1285920 w 4381952"/>
                  <a:gd name="connsiteY3727" fmla="*/ 389058 h 7571038"/>
                  <a:gd name="connsiteX3728" fmla="*/ 1263234 w 4381952"/>
                  <a:gd name="connsiteY3728" fmla="*/ 366374 h 7571038"/>
                  <a:gd name="connsiteX3729" fmla="*/ 1240550 w 4381952"/>
                  <a:gd name="connsiteY3729" fmla="*/ 389058 h 7571038"/>
                  <a:gd name="connsiteX3730" fmla="*/ 1263234 w 4381952"/>
                  <a:gd name="connsiteY3730" fmla="*/ 411741 h 7571038"/>
                  <a:gd name="connsiteX3731" fmla="*/ 1285920 w 4381952"/>
                  <a:gd name="connsiteY3731" fmla="*/ 389058 h 7571038"/>
                  <a:gd name="connsiteX3732" fmla="*/ 1285920 w 4381952"/>
                  <a:gd name="connsiteY3732" fmla="*/ 502461 h 7571038"/>
                  <a:gd name="connsiteX3733" fmla="*/ 1263483 w 4381952"/>
                  <a:gd name="connsiteY3733" fmla="*/ 480268 h 7571038"/>
                  <a:gd name="connsiteX3734" fmla="*/ 1241290 w 4381952"/>
                  <a:gd name="connsiteY3734" fmla="*/ 502461 h 7571038"/>
                  <a:gd name="connsiteX3735" fmla="*/ 1263483 w 4381952"/>
                  <a:gd name="connsiteY3735" fmla="*/ 524650 h 7571038"/>
                  <a:gd name="connsiteX3736" fmla="*/ 1285920 w 4381952"/>
                  <a:gd name="connsiteY3736" fmla="*/ 502461 h 7571038"/>
                  <a:gd name="connsiteX3737" fmla="*/ 1286166 w 4381952"/>
                  <a:gd name="connsiteY3737" fmla="*/ 51327 h 7571038"/>
                  <a:gd name="connsiteX3738" fmla="*/ 1262743 w 4381952"/>
                  <a:gd name="connsiteY3738" fmla="*/ 27903 h 7571038"/>
                  <a:gd name="connsiteX3739" fmla="*/ 1239318 w 4381952"/>
                  <a:gd name="connsiteY3739" fmla="*/ 51327 h 7571038"/>
                  <a:gd name="connsiteX3740" fmla="*/ 1262743 w 4381952"/>
                  <a:gd name="connsiteY3740" fmla="*/ 74751 h 7571038"/>
                  <a:gd name="connsiteX3741" fmla="*/ 1286166 w 4381952"/>
                  <a:gd name="connsiteY3741" fmla="*/ 51327 h 7571038"/>
                  <a:gd name="connsiteX3742" fmla="*/ 1286662 w 4381952"/>
                  <a:gd name="connsiteY3742" fmla="*/ 163493 h 7571038"/>
                  <a:gd name="connsiteX3743" fmla="*/ 1262991 w 4381952"/>
                  <a:gd name="connsiteY3743" fmla="*/ 140069 h 7571038"/>
                  <a:gd name="connsiteX3744" fmla="*/ 1239566 w 4381952"/>
                  <a:gd name="connsiteY3744" fmla="*/ 163493 h 7571038"/>
                  <a:gd name="connsiteX3745" fmla="*/ 1262991 w 4381952"/>
                  <a:gd name="connsiteY3745" fmla="*/ 187163 h 7571038"/>
                  <a:gd name="connsiteX3746" fmla="*/ 1286662 w 4381952"/>
                  <a:gd name="connsiteY3746" fmla="*/ 163493 h 7571038"/>
                  <a:gd name="connsiteX3747" fmla="*/ 1286662 w 4381952"/>
                  <a:gd name="connsiteY3747" fmla="*/ 6227942 h 7571038"/>
                  <a:gd name="connsiteX3748" fmla="*/ 1272114 w 4381952"/>
                  <a:gd name="connsiteY3748" fmla="*/ 6213393 h 7571038"/>
                  <a:gd name="connsiteX3749" fmla="*/ 1257565 w 4381952"/>
                  <a:gd name="connsiteY3749" fmla="*/ 6227942 h 7571038"/>
                  <a:gd name="connsiteX3750" fmla="*/ 1272114 w 4381952"/>
                  <a:gd name="connsiteY3750" fmla="*/ 6242487 h 7571038"/>
                  <a:gd name="connsiteX3751" fmla="*/ 1286662 w 4381952"/>
                  <a:gd name="connsiteY3751" fmla="*/ 6227942 h 7571038"/>
                  <a:gd name="connsiteX3752" fmla="*/ 1287154 w 4381952"/>
                  <a:gd name="connsiteY3752" fmla="*/ 276152 h 7571038"/>
                  <a:gd name="connsiteX3753" fmla="*/ 1263483 w 4381952"/>
                  <a:gd name="connsiteY3753" fmla="*/ 252482 h 7571038"/>
                  <a:gd name="connsiteX3754" fmla="*/ 1239812 w 4381952"/>
                  <a:gd name="connsiteY3754" fmla="*/ 276152 h 7571038"/>
                  <a:gd name="connsiteX3755" fmla="*/ 1263483 w 4381952"/>
                  <a:gd name="connsiteY3755" fmla="*/ 299822 h 7571038"/>
                  <a:gd name="connsiteX3756" fmla="*/ 1287154 w 4381952"/>
                  <a:gd name="connsiteY3756" fmla="*/ 276152 h 7571038"/>
                  <a:gd name="connsiteX3757" fmla="*/ 1293810 w 4381952"/>
                  <a:gd name="connsiteY3757" fmla="*/ 3218752 h 7571038"/>
                  <a:gd name="connsiteX3758" fmla="*/ 1274576 w 4381952"/>
                  <a:gd name="connsiteY3758" fmla="*/ 3199520 h 7571038"/>
                  <a:gd name="connsiteX3759" fmla="*/ 1255345 w 4381952"/>
                  <a:gd name="connsiteY3759" fmla="*/ 3218752 h 7571038"/>
                  <a:gd name="connsiteX3760" fmla="*/ 1274576 w 4381952"/>
                  <a:gd name="connsiteY3760" fmla="*/ 3237986 h 7571038"/>
                  <a:gd name="connsiteX3761" fmla="*/ 1293810 w 4381952"/>
                  <a:gd name="connsiteY3761" fmla="*/ 3218752 h 7571038"/>
                  <a:gd name="connsiteX3762" fmla="*/ 1298249 w 4381952"/>
                  <a:gd name="connsiteY3762" fmla="*/ 5057198 h 7571038"/>
                  <a:gd name="connsiteX3763" fmla="*/ 1294796 w 4381952"/>
                  <a:gd name="connsiteY3763" fmla="*/ 5053747 h 7571038"/>
                  <a:gd name="connsiteX3764" fmla="*/ 1291346 w 4381952"/>
                  <a:gd name="connsiteY3764" fmla="*/ 5057198 h 7571038"/>
                  <a:gd name="connsiteX3765" fmla="*/ 1294796 w 4381952"/>
                  <a:gd name="connsiteY3765" fmla="*/ 5060651 h 7571038"/>
                  <a:gd name="connsiteX3766" fmla="*/ 1298249 w 4381952"/>
                  <a:gd name="connsiteY3766" fmla="*/ 5057198 h 7571038"/>
                  <a:gd name="connsiteX3767" fmla="*/ 1302194 w 4381952"/>
                  <a:gd name="connsiteY3767" fmla="*/ 1657040 h 7571038"/>
                  <a:gd name="connsiteX3768" fmla="*/ 1286414 w 4381952"/>
                  <a:gd name="connsiteY3768" fmla="*/ 1641510 h 7571038"/>
                  <a:gd name="connsiteX3769" fmla="*/ 1270633 w 4381952"/>
                  <a:gd name="connsiteY3769" fmla="*/ 1657040 h 7571038"/>
                  <a:gd name="connsiteX3770" fmla="*/ 1286414 w 4381952"/>
                  <a:gd name="connsiteY3770" fmla="*/ 1672820 h 7571038"/>
                  <a:gd name="connsiteX3771" fmla="*/ 1302194 w 4381952"/>
                  <a:gd name="connsiteY3771" fmla="*/ 1657040 h 7571038"/>
                  <a:gd name="connsiteX3772" fmla="*/ 1303922 w 4381952"/>
                  <a:gd name="connsiteY3772" fmla="*/ 1538207 h 7571038"/>
                  <a:gd name="connsiteX3773" fmla="*/ 1283701 w 4381952"/>
                  <a:gd name="connsiteY3773" fmla="*/ 1517988 h 7571038"/>
                  <a:gd name="connsiteX3774" fmla="*/ 1263483 w 4381952"/>
                  <a:gd name="connsiteY3774" fmla="*/ 1538207 h 7571038"/>
                  <a:gd name="connsiteX3775" fmla="*/ 1283701 w 4381952"/>
                  <a:gd name="connsiteY3775" fmla="*/ 1558422 h 7571038"/>
                  <a:gd name="connsiteX3776" fmla="*/ 1303922 w 4381952"/>
                  <a:gd name="connsiteY3776" fmla="*/ 1538207 h 7571038"/>
                  <a:gd name="connsiteX3777" fmla="*/ 1307375 w 4381952"/>
                  <a:gd name="connsiteY3777" fmla="*/ 1777627 h 7571038"/>
                  <a:gd name="connsiteX3778" fmla="*/ 1288881 w 4381952"/>
                  <a:gd name="connsiteY3778" fmla="*/ 1759120 h 7571038"/>
                  <a:gd name="connsiteX3779" fmla="*/ 1270388 w 4381952"/>
                  <a:gd name="connsiteY3779" fmla="*/ 1777627 h 7571038"/>
                  <a:gd name="connsiteX3780" fmla="*/ 1288881 w 4381952"/>
                  <a:gd name="connsiteY3780" fmla="*/ 1796129 h 7571038"/>
                  <a:gd name="connsiteX3781" fmla="*/ 1307375 w 4381952"/>
                  <a:gd name="connsiteY3781" fmla="*/ 1777627 h 7571038"/>
                  <a:gd name="connsiteX3782" fmla="*/ 1312058 w 4381952"/>
                  <a:gd name="connsiteY3782" fmla="*/ 5299090 h 7571038"/>
                  <a:gd name="connsiteX3783" fmla="*/ 1288633 w 4381952"/>
                  <a:gd name="connsiteY3783" fmla="*/ 5275665 h 7571038"/>
                  <a:gd name="connsiteX3784" fmla="*/ 1265208 w 4381952"/>
                  <a:gd name="connsiteY3784" fmla="*/ 5299090 h 7571038"/>
                  <a:gd name="connsiteX3785" fmla="*/ 1288633 w 4381952"/>
                  <a:gd name="connsiteY3785" fmla="*/ 5322762 h 7571038"/>
                  <a:gd name="connsiteX3786" fmla="*/ 1312058 w 4381952"/>
                  <a:gd name="connsiteY3786" fmla="*/ 5299090 h 7571038"/>
                  <a:gd name="connsiteX3787" fmla="*/ 1316989 w 4381952"/>
                  <a:gd name="connsiteY3787" fmla="*/ 4202074 h 7571038"/>
                  <a:gd name="connsiteX3788" fmla="*/ 1275564 w 4381952"/>
                  <a:gd name="connsiteY3788" fmla="*/ 4160649 h 7571038"/>
                  <a:gd name="connsiteX3789" fmla="*/ 1234140 w 4381952"/>
                  <a:gd name="connsiteY3789" fmla="*/ 4202074 h 7571038"/>
                  <a:gd name="connsiteX3790" fmla="*/ 1275564 w 4381952"/>
                  <a:gd name="connsiteY3790" fmla="*/ 4243498 h 7571038"/>
                  <a:gd name="connsiteX3791" fmla="*/ 1316989 w 4381952"/>
                  <a:gd name="connsiteY3791" fmla="*/ 4202074 h 7571038"/>
                  <a:gd name="connsiteX3792" fmla="*/ 1321673 w 4381952"/>
                  <a:gd name="connsiteY3792" fmla="*/ 2022405 h 7571038"/>
                  <a:gd name="connsiteX3793" fmla="*/ 1297264 w 4381952"/>
                  <a:gd name="connsiteY3793" fmla="*/ 1997997 h 7571038"/>
                  <a:gd name="connsiteX3794" fmla="*/ 1272852 w 4381952"/>
                  <a:gd name="connsiteY3794" fmla="*/ 2022405 h 7571038"/>
                  <a:gd name="connsiteX3795" fmla="*/ 1297264 w 4381952"/>
                  <a:gd name="connsiteY3795" fmla="*/ 2046817 h 7571038"/>
                  <a:gd name="connsiteX3796" fmla="*/ 1321673 w 4381952"/>
                  <a:gd name="connsiteY3796" fmla="*/ 2022405 h 7571038"/>
                  <a:gd name="connsiteX3797" fmla="*/ 1321921 w 4381952"/>
                  <a:gd name="connsiteY3797" fmla="*/ 4053881 h 7571038"/>
                  <a:gd name="connsiteX3798" fmla="*/ 1301949 w 4381952"/>
                  <a:gd name="connsiteY3798" fmla="*/ 4033909 h 7571038"/>
                  <a:gd name="connsiteX3799" fmla="*/ 1281977 w 4381952"/>
                  <a:gd name="connsiteY3799" fmla="*/ 4053881 h 7571038"/>
                  <a:gd name="connsiteX3800" fmla="*/ 1301949 w 4381952"/>
                  <a:gd name="connsiteY3800" fmla="*/ 4073853 h 7571038"/>
                  <a:gd name="connsiteX3801" fmla="*/ 1321921 w 4381952"/>
                  <a:gd name="connsiteY3801" fmla="*/ 4053881 h 7571038"/>
                  <a:gd name="connsiteX3802" fmla="*/ 1322907 w 4381952"/>
                  <a:gd name="connsiteY3802" fmla="*/ 2434419 h 7571038"/>
                  <a:gd name="connsiteX3803" fmla="*/ 1282469 w 4381952"/>
                  <a:gd name="connsiteY3803" fmla="*/ 2393981 h 7571038"/>
                  <a:gd name="connsiteX3804" fmla="*/ 1242030 w 4381952"/>
                  <a:gd name="connsiteY3804" fmla="*/ 2434419 h 7571038"/>
                  <a:gd name="connsiteX3805" fmla="*/ 1282469 w 4381952"/>
                  <a:gd name="connsiteY3805" fmla="*/ 2474857 h 7571038"/>
                  <a:gd name="connsiteX3806" fmla="*/ 1322907 w 4381952"/>
                  <a:gd name="connsiteY3806" fmla="*/ 2434419 h 7571038"/>
                  <a:gd name="connsiteX3807" fmla="*/ 1325371 w 4381952"/>
                  <a:gd name="connsiteY3807" fmla="*/ 1899159 h 7571038"/>
                  <a:gd name="connsiteX3808" fmla="*/ 1292824 w 4381952"/>
                  <a:gd name="connsiteY3808" fmla="*/ 1866620 h 7571038"/>
                  <a:gd name="connsiteX3809" fmla="*/ 1260276 w 4381952"/>
                  <a:gd name="connsiteY3809" fmla="*/ 1899159 h 7571038"/>
                  <a:gd name="connsiteX3810" fmla="*/ 1292824 w 4381952"/>
                  <a:gd name="connsiteY3810" fmla="*/ 1931697 h 7571038"/>
                  <a:gd name="connsiteX3811" fmla="*/ 1325371 w 4381952"/>
                  <a:gd name="connsiteY3811" fmla="*/ 1899159 h 7571038"/>
                  <a:gd name="connsiteX3812" fmla="*/ 1328332 w 4381952"/>
                  <a:gd name="connsiteY3812" fmla="*/ 5178759 h 7571038"/>
                  <a:gd name="connsiteX3813" fmla="*/ 1291591 w 4381952"/>
                  <a:gd name="connsiteY3813" fmla="*/ 5142020 h 7571038"/>
                  <a:gd name="connsiteX3814" fmla="*/ 1254852 w 4381952"/>
                  <a:gd name="connsiteY3814" fmla="*/ 5178759 h 7571038"/>
                  <a:gd name="connsiteX3815" fmla="*/ 1291591 w 4381952"/>
                  <a:gd name="connsiteY3815" fmla="*/ 5215498 h 7571038"/>
                  <a:gd name="connsiteX3816" fmla="*/ 1328332 w 4381952"/>
                  <a:gd name="connsiteY3816" fmla="*/ 5178759 h 7571038"/>
                  <a:gd name="connsiteX3817" fmla="*/ 1334742 w 4381952"/>
                  <a:gd name="connsiteY3817" fmla="*/ 3109026 h 7571038"/>
                  <a:gd name="connsiteX3818" fmla="*/ 1313290 w 4381952"/>
                  <a:gd name="connsiteY3818" fmla="*/ 3087574 h 7571038"/>
                  <a:gd name="connsiteX3819" fmla="*/ 1291837 w 4381952"/>
                  <a:gd name="connsiteY3819" fmla="*/ 3109026 h 7571038"/>
                  <a:gd name="connsiteX3820" fmla="*/ 1313290 w 4381952"/>
                  <a:gd name="connsiteY3820" fmla="*/ 3130480 h 7571038"/>
                  <a:gd name="connsiteX3821" fmla="*/ 1334742 w 4381952"/>
                  <a:gd name="connsiteY3821" fmla="*/ 3109026 h 7571038"/>
                  <a:gd name="connsiteX3822" fmla="*/ 1335236 w 4381952"/>
                  <a:gd name="connsiteY3822" fmla="*/ 4933665 h 7571038"/>
                  <a:gd name="connsiteX3823" fmla="*/ 1298742 w 4381952"/>
                  <a:gd name="connsiteY3823" fmla="*/ 4897171 h 7571038"/>
                  <a:gd name="connsiteX3824" fmla="*/ 1262249 w 4381952"/>
                  <a:gd name="connsiteY3824" fmla="*/ 4933665 h 7571038"/>
                  <a:gd name="connsiteX3825" fmla="*/ 1298742 w 4381952"/>
                  <a:gd name="connsiteY3825" fmla="*/ 4970158 h 7571038"/>
                  <a:gd name="connsiteX3826" fmla="*/ 1335236 w 4381952"/>
                  <a:gd name="connsiteY3826" fmla="*/ 4933665 h 7571038"/>
                  <a:gd name="connsiteX3827" fmla="*/ 1337701 w 4381952"/>
                  <a:gd name="connsiteY3827" fmla="*/ 3899032 h 7571038"/>
                  <a:gd name="connsiteX3828" fmla="*/ 1337701 w 4381952"/>
                  <a:gd name="connsiteY3828" fmla="*/ 3898786 h 7571038"/>
                  <a:gd name="connsiteX3829" fmla="*/ 1337456 w 4381952"/>
                  <a:gd name="connsiteY3829" fmla="*/ 3898786 h 7571038"/>
                  <a:gd name="connsiteX3830" fmla="*/ 1340661 w 4381952"/>
                  <a:gd name="connsiteY3830" fmla="*/ 2853827 h 7571038"/>
                  <a:gd name="connsiteX3831" fmla="*/ 1334991 w 4381952"/>
                  <a:gd name="connsiteY3831" fmla="*/ 2848155 h 7571038"/>
                  <a:gd name="connsiteX3832" fmla="*/ 1329566 w 4381952"/>
                  <a:gd name="connsiteY3832" fmla="*/ 2853827 h 7571038"/>
                  <a:gd name="connsiteX3833" fmla="*/ 1334991 w 4381952"/>
                  <a:gd name="connsiteY3833" fmla="*/ 2859250 h 7571038"/>
                  <a:gd name="connsiteX3834" fmla="*/ 1340661 w 4381952"/>
                  <a:gd name="connsiteY3834" fmla="*/ 2853827 h 7571038"/>
                  <a:gd name="connsiteX3835" fmla="*/ 1341153 w 4381952"/>
                  <a:gd name="connsiteY3835" fmla="*/ 2569780 h 7571038"/>
                  <a:gd name="connsiteX3836" fmla="*/ 1295537 w 4381952"/>
                  <a:gd name="connsiteY3836" fmla="*/ 2524165 h 7571038"/>
                  <a:gd name="connsiteX3837" fmla="*/ 1249921 w 4381952"/>
                  <a:gd name="connsiteY3837" fmla="*/ 2569780 h 7571038"/>
                  <a:gd name="connsiteX3838" fmla="*/ 1295537 w 4381952"/>
                  <a:gd name="connsiteY3838" fmla="*/ 2615397 h 7571038"/>
                  <a:gd name="connsiteX3839" fmla="*/ 1341153 w 4381952"/>
                  <a:gd name="connsiteY3839" fmla="*/ 2569780 h 7571038"/>
                  <a:gd name="connsiteX3840" fmla="*/ 1341892 w 4381952"/>
                  <a:gd name="connsiteY3840" fmla="*/ 2147422 h 7571038"/>
                  <a:gd name="connsiteX3841" fmla="*/ 1302441 w 4381952"/>
                  <a:gd name="connsiteY3841" fmla="*/ 2107966 h 7571038"/>
                  <a:gd name="connsiteX3842" fmla="*/ 1262989 w 4381952"/>
                  <a:gd name="connsiteY3842" fmla="*/ 2147422 h 7571038"/>
                  <a:gd name="connsiteX3843" fmla="*/ 1302441 w 4381952"/>
                  <a:gd name="connsiteY3843" fmla="*/ 2186873 h 7571038"/>
                  <a:gd name="connsiteX3844" fmla="*/ 1341892 w 4381952"/>
                  <a:gd name="connsiteY3844" fmla="*/ 2147422 h 7571038"/>
                  <a:gd name="connsiteX3845" fmla="*/ 1344114 w 4381952"/>
                  <a:gd name="connsiteY3845" fmla="*/ 2275138 h 7571038"/>
                  <a:gd name="connsiteX3846" fmla="*/ 1308853 w 4381952"/>
                  <a:gd name="connsiteY3846" fmla="*/ 2239880 h 7571038"/>
                  <a:gd name="connsiteX3847" fmla="*/ 1273592 w 4381952"/>
                  <a:gd name="connsiteY3847" fmla="*/ 2275138 h 7571038"/>
                  <a:gd name="connsiteX3848" fmla="*/ 1308853 w 4381952"/>
                  <a:gd name="connsiteY3848" fmla="*/ 2310399 h 7571038"/>
                  <a:gd name="connsiteX3849" fmla="*/ 1344114 w 4381952"/>
                  <a:gd name="connsiteY3849" fmla="*/ 2275138 h 7571038"/>
                  <a:gd name="connsiteX3850" fmla="*/ 1347810 w 4381952"/>
                  <a:gd name="connsiteY3850" fmla="*/ 1167895 h 7571038"/>
                  <a:gd name="connsiteX3851" fmla="*/ 1326606 w 4381952"/>
                  <a:gd name="connsiteY3851" fmla="*/ 1146691 h 7571038"/>
                  <a:gd name="connsiteX3852" fmla="*/ 1305399 w 4381952"/>
                  <a:gd name="connsiteY3852" fmla="*/ 1167895 h 7571038"/>
                  <a:gd name="connsiteX3853" fmla="*/ 1326606 w 4381952"/>
                  <a:gd name="connsiteY3853" fmla="*/ 1189101 h 7571038"/>
                  <a:gd name="connsiteX3854" fmla="*/ 1347810 w 4381952"/>
                  <a:gd name="connsiteY3854" fmla="*/ 1167895 h 7571038"/>
                  <a:gd name="connsiteX3855" fmla="*/ 1348797 w 4381952"/>
                  <a:gd name="connsiteY3855" fmla="*/ 938120 h 7571038"/>
                  <a:gd name="connsiteX3856" fmla="*/ 1326360 w 4381952"/>
                  <a:gd name="connsiteY3856" fmla="*/ 915676 h 7571038"/>
                  <a:gd name="connsiteX3857" fmla="*/ 1303922 w 4381952"/>
                  <a:gd name="connsiteY3857" fmla="*/ 938120 h 7571038"/>
                  <a:gd name="connsiteX3858" fmla="*/ 1326360 w 4381952"/>
                  <a:gd name="connsiteY3858" fmla="*/ 960314 h 7571038"/>
                  <a:gd name="connsiteX3859" fmla="*/ 1348797 w 4381952"/>
                  <a:gd name="connsiteY3859" fmla="*/ 938120 h 7571038"/>
                  <a:gd name="connsiteX3860" fmla="*/ 1349045 w 4381952"/>
                  <a:gd name="connsiteY3860" fmla="*/ 1052758 h 7571038"/>
                  <a:gd name="connsiteX3861" fmla="*/ 1326112 w 4381952"/>
                  <a:gd name="connsiteY3861" fmla="*/ 1029828 h 7571038"/>
                  <a:gd name="connsiteX3862" fmla="*/ 1303182 w 4381952"/>
                  <a:gd name="connsiteY3862" fmla="*/ 1052758 h 7571038"/>
                  <a:gd name="connsiteX3863" fmla="*/ 1326112 w 4381952"/>
                  <a:gd name="connsiteY3863" fmla="*/ 1075694 h 7571038"/>
                  <a:gd name="connsiteX3864" fmla="*/ 1349045 w 4381952"/>
                  <a:gd name="connsiteY3864" fmla="*/ 1052758 h 7571038"/>
                  <a:gd name="connsiteX3865" fmla="*/ 1349538 w 4381952"/>
                  <a:gd name="connsiteY3865" fmla="*/ 597124 h 7571038"/>
                  <a:gd name="connsiteX3866" fmla="*/ 1324880 w 4381952"/>
                  <a:gd name="connsiteY3866" fmla="*/ 572468 h 7571038"/>
                  <a:gd name="connsiteX3867" fmla="*/ 1300223 w 4381952"/>
                  <a:gd name="connsiteY3867" fmla="*/ 597124 h 7571038"/>
                  <a:gd name="connsiteX3868" fmla="*/ 1324880 w 4381952"/>
                  <a:gd name="connsiteY3868" fmla="*/ 621781 h 7571038"/>
                  <a:gd name="connsiteX3869" fmla="*/ 1349538 w 4381952"/>
                  <a:gd name="connsiteY3869" fmla="*/ 597124 h 7571038"/>
                  <a:gd name="connsiteX3870" fmla="*/ 1349783 w 4381952"/>
                  <a:gd name="connsiteY3870" fmla="*/ 710320 h 7571038"/>
                  <a:gd name="connsiteX3871" fmla="*/ 1325126 w 4381952"/>
                  <a:gd name="connsiteY3871" fmla="*/ 685665 h 7571038"/>
                  <a:gd name="connsiteX3872" fmla="*/ 1300468 w 4381952"/>
                  <a:gd name="connsiteY3872" fmla="*/ 710320 h 7571038"/>
                  <a:gd name="connsiteX3873" fmla="*/ 1325126 w 4381952"/>
                  <a:gd name="connsiteY3873" fmla="*/ 734975 h 7571038"/>
                  <a:gd name="connsiteX3874" fmla="*/ 1349783 w 4381952"/>
                  <a:gd name="connsiteY3874" fmla="*/ 710320 h 7571038"/>
                  <a:gd name="connsiteX3875" fmla="*/ 1350524 w 4381952"/>
                  <a:gd name="connsiteY3875" fmla="*/ 4680925 h 7571038"/>
                  <a:gd name="connsiteX3876" fmla="*/ 1310086 w 4381952"/>
                  <a:gd name="connsiteY3876" fmla="*/ 4640485 h 7571038"/>
                  <a:gd name="connsiteX3877" fmla="*/ 1269648 w 4381952"/>
                  <a:gd name="connsiteY3877" fmla="*/ 4680925 h 7571038"/>
                  <a:gd name="connsiteX3878" fmla="*/ 1310086 w 4381952"/>
                  <a:gd name="connsiteY3878" fmla="*/ 4721363 h 7571038"/>
                  <a:gd name="connsiteX3879" fmla="*/ 1350524 w 4381952"/>
                  <a:gd name="connsiteY3879" fmla="*/ 4680925 h 7571038"/>
                  <a:gd name="connsiteX3880" fmla="*/ 1350770 w 4381952"/>
                  <a:gd name="connsiteY3880" fmla="*/ 823730 h 7571038"/>
                  <a:gd name="connsiteX3881" fmla="*/ 1325866 w 4381952"/>
                  <a:gd name="connsiteY3881" fmla="*/ 798825 h 7571038"/>
                  <a:gd name="connsiteX3882" fmla="*/ 1300963 w 4381952"/>
                  <a:gd name="connsiteY3882" fmla="*/ 823730 h 7571038"/>
                  <a:gd name="connsiteX3883" fmla="*/ 1325866 w 4381952"/>
                  <a:gd name="connsiteY3883" fmla="*/ 848633 h 7571038"/>
                  <a:gd name="connsiteX3884" fmla="*/ 1350770 w 4381952"/>
                  <a:gd name="connsiteY3884" fmla="*/ 823730 h 7571038"/>
                  <a:gd name="connsiteX3885" fmla="*/ 1350770 w 4381952"/>
                  <a:gd name="connsiteY3885" fmla="*/ 1283770 h 7571038"/>
                  <a:gd name="connsiteX3886" fmla="*/ 1327347 w 4381952"/>
                  <a:gd name="connsiteY3886" fmla="*/ 1260341 h 7571038"/>
                  <a:gd name="connsiteX3887" fmla="*/ 1303922 w 4381952"/>
                  <a:gd name="connsiteY3887" fmla="*/ 1283770 h 7571038"/>
                  <a:gd name="connsiteX3888" fmla="*/ 1327347 w 4381952"/>
                  <a:gd name="connsiteY3888" fmla="*/ 1307193 h 7571038"/>
                  <a:gd name="connsiteX3889" fmla="*/ 1350770 w 4381952"/>
                  <a:gd name="connsiteY3889" fmla="*/ 1283770 h 7571038"/>
                  <a:gd name="connsiteX3890" fmla="*/ 1351264 w 4381952"/>
                  <a:gd name="connsiteY3890" fmla="*/ 1400139 h 7571038"/>
                  <a:gd name="connsiteX3891" fmla="*/ 1328088 w 4381952"/>
                  <a:gd name="connsiteY3891" fmla="*/ 1376960 h 7571038"/>
                  <a:gd name="connsiteX3892" fmla="*/ 1304908 w 4381952"/>
                  <a:gd name="connsiteY3892" fmla="*/ 1400139 h 7571038"/>
                  <a:gd name="connsiteX3893" fmla="*/ 1328088 w 4381952"/>
                  <a:gd name="connsiteY3893" fmla="*/ 1423319 h 7571038"/>
                  <a:gd name="connsiteX3894" fmla="*/ 1351264 w 4381952"/>
                  <a:gd name="connsiteY3894" fmla="*/ 1400139 h 7571038"/>
                  <a:gd name="connsiteX3895" fmla="*/ 1355950 w 4381952"/>
                  <a:gd name="connsiteY3895" fmla="*/ 4808404 h 7571038"/>
                  <a:gd name="connsiteX3896" fmla="*/ 1303676 w 4381952"/>
                  <a:gd name="connsiteY3896" fmla="*/ 4756129 h 7571038"/>
                  <a:gd name="connsiteX3897" fmla="*/ 1251648 w 4381952"/>
                  <a:gd name="connsiteY3897" fmla="*/ 4808404 h 7571038"/>
                  <a:gd name="connsiteX3898" fmla="*/ 1303676 w 4381952"/>
                  <a:gd name="connsiteY3898" fmla="*/ 4860678 h 7571038"/>
                  <a:gd name="connsiteX3899" fmla="*/ 1355950 w 4381952"/>
                  <a:gd name="connsiteY3899" fmla="*/ 4808404 h 7571038"/>
                  <a:gd name="connsiteX3900" fmla="*/ 1360882 w 4381952"/>
                  <a:gd name="connsiteY3900" fmla="*/ 2708844 h 7571038"/>
                  <a:gd name="connsiteX3901" fmla="*/ 1312554 w 4381952"/>
                  <a:gd name="connsiteY3901" fmla="*/ 2660515 h 7571038"/>
                  <a:gd name="connsiteX3902" fmla="*/ 1264224 w 4381952"/>
                  <a:gd name="connsiteY3902" fmla="*/ 2708844 h 7571038"/>
                  <a:gd name="connsiteX3903" fmla="*/ 1312554 w 4381952"/>
                  <a:gd name="connsiteY3903" fmla="*/ 2757173 h 7571038"/>
                  <a:gd name="connsiteX3904" fmla="*/ 1360882 w 4381952"/>
                  <a:gd name="connsiteY3904" fmla="*/ 2708844 h 7571038"/>
                  <a:gd name="connsiteX3905" fmla="*/ 1365319 w 4381952"/>
                  <a:gd name="connsiteY3905" fmla="*/ 4425470 h 7571038"/>
                  <a:gd name="connsiteX3906" fmla="*/ 1338440 w 4381952"/>
                  <a:gd name="connsiteY3906" fmla="*/ 4398593 h 7571038"/>
                  <a:gd name="connsiteX3907" fmla="*/ 1311564 w 4381952"/>
                  <a:gd name="connsiteY3907" fmla="*/ 4425470 h 7571038"/>
                  <a:gd name="connsiteX3908" fmla="*/ 1338440 w 4381952"/>
                  <a:gd name="connsiteY3908" fmla="*/ 4452349 h 7571038"/>
                  <a:gd name="connsiteX3909" fmla="*/ 1365319 w 4381952"/>
                  <a:gd name="connsiteY3909" fmla="*/ 4425470 h 7571038"/>
                  <a:gd name="connsiteX3910" fmla="*/ 1377154 w 4381952"/>
                  <a:gd name="connsiteY3910" fmla="*/ 3506729 h 7571038"/>
                  <a:gd name="connsiteX3911" fmla="*/ 1347319 w 4381952"/>
                  <a:gd name="connsiteY3911" fmla="*/ 3476894 h 7571038"/>
                  <a:gd name="connsiteX3912" fmla="*/ 1317484 w 4381952"/>
                  <a:gd name="connsiteY3912" fmla="*/ 3506729 h 7571038"/>
                  <a:gd name="connsiteX3913" fmla="*/ 1347319 w 4381952"/>
                  <a:gd name="connsiteY3913" fmla="*/ 3536565 h 7571038"/>
                  <a:gd name="connsiteX3914" fmla="*/ 1377154 w 4381952"/>
                  <a:gd name="connsiteY3914" fmla="*/ 3506729 h 7571038"/>
                  <a:gd name="connsiteX3915" fmla="*/ 1377645 w 4381952"/>
                  <a:gd name="connsiteY3915" fmla="*/ 7376736 h 7571038"/>
                  <a:gd name="connsiteX3916" fmla="*/ 1375181 w 4381952"/>
                  <a:gd name="connsiteY3916" fmla="*/ 7374269 h 7571038"/>
                  <a:gd name="connsiteX3917" fmla="*/ 1372714 w 4381952"/>
                  <a:gd name="connsiteY3917" fmla="*/ 7376736 h 7571038"/>
                  <a:gd name="connsiteX3918" fmla="*/ 1375181 w 4381952"/>
                  <a:gd name="connsiteY3918" fmla="*/ 7379200 h 7571038"/>
                  <a:gd name="connsiteX3919" fmla="*/ 1377645 w 4381952"/>
                  <a:gd name="connsiteY3919" fmla="*/ 7376736 h 7571038"/>
                  <a:gd name="connsiteX3920" fmla="*/ 1377648 w 4381952"/>
                  <a:gd name="connsiteY3920" fmla="*/ 7265778 h 7571038"/>
                  <a:gd name="connsiteX3921" fmla="*/ 1374936 w 4381952"/>
                  <a:gd name="connsiteY3921" fmla="*/ 7263064 h 7571038"/>
                  <a:gd name="connsiteX3922" fmla="*/ 1372223 w 4381952"/>
                  <a:gd name="connsiteY3922" fmla="*/ 7265778 h 7571038"/>
                  <a:gd name="connsiteX3923" fmla="*/ 1374936 w 4381952"/>
                  <a:gd name="connsiteY3923" fmla="*/ 7268491 h 7571038"/>
                  <a:gd name="connsiteX3924" fmla="*/ 1377648 w 4381952"/>
                  <a:gd name="connsiteY3924" fmla="*/ 7265778 h 7571038"/>
                  <a:gd name="connsiteX3925" fmla="*/ 1377894 w 4381952"/>
                  <a:gd name="connsiteY3925" fmla="*/ 7487450 h 7571038"/>
                  <a:gd name="connsiteX3926" fmla="*/ 1375427 w 4381952"/>
                  <a:gd name="connsiteY3926" fmla="*/ 7484983 h 7571038"/>
                  <a:gd name="connsiteX3927" fmla="*/ 1372963 w 4381952"/>
                  <a:gd name="connsiteY3927" fmla="*/ 7487450 h 7571038"/>
                  <a:gd name="connsiteX3928" fmla="*/ 1375427 w 4381952"/>
                  <a:gd name="connsiteY3928" fmla="*/ 7489915 h 7571038"/>
                  <a:gd name="connsiteX3929" fmla="*/ 1377894 w 4381952"/>
                  <a:gd name="connsiteY3929" fmla="*/ 7487450 h 7571038"/>
                  <a:gd name="connsiteX3930" fmla="*/ 1381099 w 4381952"/>
                  <a:gd name="connsiteY3930" fmla="*/ 3390118 h 7571038"/>
                  <a:gd name="connsiteX3931" fmla="*/ 1351510 w 4381952"/>
                  <a:gd name="connsiteY3931" fmla="*/ 3360527 h 7571038"/>
                  <a:gd name="connsiteX3932" fmla="*/ 1321921 w 4381952"/>
                  <a:gd name="connsiteY3932" fmla="*/ 3390118 h 7571038"/>
                  <a:gd name="connsiteX3933" fmla="*/ 1351510 w 4381952"/>
                  <a:gd name="connsiteY3933" fmla="*/ 3419707 h 7571038"/>
                  <a:gd name="connsiteX3934" fmla="*/ 1381099 w 4381952"/>
                  <a:gd name="connsiteY3934" fmla="*/ 3390118 h 7571038"/>
                  <a:gd name="connsiteX3935" fmla="*/ 1381099 w 4381952"/>
                  <a:gd name="connsiteY3935" fmla="*/ 7155555 h 7571038"/>
                  <a:gd name="connsiteX3936" fmla="*/ 1378633 w 4381952"/>
                  <a:gd name="connsiteY3936" fmla="*/ 7153336 h 7571038"/>
                  <a:gd name="connsiteX3937" fmla="*/ 1376414 w 4381952"/>
                  <a:gd name="connsiteY3937" fmla="*/ 7155555 h 7571038"/>
                  <a:gd name="connsiteX3938" fmla="*/ 1378633 w 4381952"/>
                  <a:gd name="connsiteY3938" fmla="*/ 7158023 h 7571038"/>
                  <a:gd name="connsiteX3939" fmla="*/ 1381099 w 4381952"/>
                  <a:gd name="connsiteY3939" fmla="*/ 7155555 h 7571038"/>
                  <a:gd name="connsiteX3940" fmla="*/ 1381101 w 4381952"/>
                  <a:gd name="connsiteY3940" fmla="*/ 6933146 h 7571038"/>
                  <a:gd name="connsiteX3941" fmla="*/ 1378389 w 4381952"/>
                  <a:gd name="connsiteY3941" fmla="*/ 6930433 h 7571038"/>
                  <a:gd name="connsiteX3942" fmla="*/ 1375676 w 4381952"/>
                  <a:gd name="connsiteY3942" fmla="*/ 6933146 h 7571038"/>
                  <a:gd name="connsiteX3943" fmla="*/ 1378389 w 4381952"/>
                  <a:gd name="connsiteY3943" fmla="*/ 6935859 h 7571038"/>
                  <a:gd name="connsiteX3944" fmla="*/ 1381101 w 4381952"/>
                  <a:gd name="connsiteY3944" fmla="*/ 6933146 h 7571038"/>
                  <a:gd name="connsiteX3945" fmla="*/ 1381344 w 4381952"/>
                  <a:gd name="connsiteY3945" fmla="*/ 6485859 h 7571038"/>
                  <a:gd name="connsiteX3946" fmla="*/ 1377891 w 4381952"/>
                  <a:gd name="connsiteY3946" fmla="*/ 6482654 h 7571038"/>
                  <a:gd name="connsiteX3947" fmla="*/ 1374441 w 4381952"/>
                  <a:gd name="connsiteY3947" fmla="*/ 6485859 h 7571038"/>
                  <a:gd name="connsiteX3948" fmla="*/ 1377891 w 4381952"/>
                  <a:gd name="connsiteY3948" fmla="*/ 6489313 h 7571038"/>
                  <a:gd name="connsiteX3949" fmla="*/ 1381344 w 4381952"/>
                  <a:gd name="connsiteY3949" fmla="*/ 6485859 h 7571038"/>
                  <a:gd name="connsiteX3950" fmla="*/ 1381592 w 4381952"/>
                  <a:gd name="connsiteY3950" fmla="*/ 7044598 h 7571038"/>
                  <a:gd name="connsiteX3951" fmla="*/ 1378386 w 4381952"/>
                  <a:gd name="connsiteY3951" fmla="*/ 7041392 h 7571038"/>
                  <a:gd name="connsiteX3952" fmla="*/ 1375182 w 4381952"/>
                  <a:gd name="connsiteY3952" fmla="*/ 7044598 h 7571038"/>
                  <a:gd name="connsiteX3953" fmla="*/ 1378386 w 4381952"/>
                  <a:gd name="connsiteY3953" fmla="*/ 7047805 h 7571038"/>
                  <a:gd name="connsiteX3954" fmla="*/ 1381592 w 4381952"/>
                  <a:gd name="connsiteY3954" fmla="*/ 7044598 h 7571038"/>
                  <a:gd name="connsiteX3955" fmla="*/ 1384550 w 4381952"/>
                  <a:gd name="connsiteY3955" fmla="*/ 6149281 h 7571038"/>
                  <a:gd name="connsiteX3956" fmla="*/ 1383069 w 4381952"/>
                  <a:gd name="connsiteY3956" fmla="*/ 6147802 h 7571038"/>
                  <a:gd name="connsiteX3957" fmla="*/ 1381591 w 4381952"/>
                  <a:gd name="connsiteY3957" fmla="*/ 6149281 h 7571038"/>
                  <a:gd name="connsiteX3958" fmla="*/ 1383069 w 4381952"/>
                  <a:gd name="connsiteY3958" fmla="*/ 6150762 h 7571038"/>
                  <a:gd name="connsiteX3959" fmla="*/ 1384550 w 4381952"/>
                  <a:gd name="connsiteY3959" fmla="*/ 6149281 h 7571038"/>
                  <a:gd name="connsiteX3960" fmla="*/ 1385537 w 4381952"/>
                  <a:gd name="connsiteY3960" fmla="*/ 5922186 h 7571038"/>
                  <a:gd name="connsiteX3961" fmla="*/ 1383813 w 4381952"/>
                  <a:gd name="connsiteY3961" fmla="*/ 5920458 h 7571038"/>
                  <a:gd name="connsiteX3962" fmla="*/ 1382086 w 4381952"/>
                  <a:gd name="connsiteY3962" fmla="*/ 5922186 h 7571038"/>
                  <a:gd name="connsiteX3963" fmla="*/ 1383813 w 4381952"/>
                  <a:gd name="connsiteY3963" fmla="*/ 5923913 h 7571038"/>
                  <a:gd name="connsiteX3964" fmla="*/ 1385537 w 4381952"/>
                  <a:gd name="connsiteY3964" fmla="*/ 5922186 h 7571038"/>
                  <a:gd name="connsiteX3965" fmla="*/ 1385785 w 4381952"/>
                  <a:gd name="connsiteY3965" fmla="*/ 6035855 h 7571038"/>
                  <a:gd name="connsiteX3966" fmla="*/ 1383318 w 4381952"/>
                  <a:gd name="connsiteY3966" fmla="*/ 6033637 h 7571038"/>
                  <a:gd name="connsiteX3967" fmla="*/ 1381099 w 4381952"/>
                  <a:gd name="connsiteY3967" fmla="*/ 6035855 h 7571038"/>
                  <a:gd name="connsiteX3968" fmla="*/ 1383318 w 4381952"/>
                  <a:gd name="connsiteY3968" fmla="*/ 6038323 h 7571038"/>
                  <a:gd name="connsiteX3969" fmla="*/ 1385785 w 4381952"/>
                  <a:gd name="connsiteY3969" fmla="*/ 6035855 h 7571038"/>
                  <a:gd name="connsiteX3970" fmla="*/ 1386279 w 4381952"/>
                  <a:gd name="connsiteY3970" fmla="*/ 6709995 h 7571038"/>
                  <a:gd name="connsiteX3971" fmla="*/ 1378141 w 4381952"/>
                  <a:gd name="connsiteY3971" fmla="*/ 6701859 h 7571038"/>
                  <a:gd name="connsiteX3972" fmla="*/ 1370004 w 4381952"/>
                  <a:gd name="connsiteY3972" fmla="*/ 6709995 h 7571038"/>
                  <a:gd name="connsiteX3973" fmla="*/ 1378141 w 4381952"/>
                  <a:gd name="connsiteY3973" fmla="*/ 6718135 h 7571038"/>
                  <a:gd name="connsiteX3974" fmla="*/ 1386279 w 4381952"/>
                  <a:gd name="connsiteY3974" fmla="*/ 6709995 h 7571038"/>
                  <a:gd name="connsiteX3975" fmla="*/ 1386523 w 4381952"/>
                  <a:gd name="connsiteY3975" fmla="*/ 6598048 h 7571038"/>
                  <a:gd name="connsiteX3976" fmla="*/ 1378138 w 4381952"/>
                  <a:gd name="connsiteY3976" fmla="*/ 6589666 h 7571038"/>
                  <a:gd name="connsiteX3977" fmla="*/ 1369755 w 4381952"/>
                  <a:gd name="connsiteY3977" fmla="*/ 6598048 h 7571038"/>
                  <a:gd name="connsiteX3978" fmla="*/ 1378138 w 4381952"/>
                  <a:gd name="connsiteY3978" fmla="*/ 6606433 h 7571038"/>
                  <a:gd name="connsiteX3979" fmla="*/ 1386523 w 4381952"/>
                  <a:gd name="connsiteY3979" fmla="*/ 6598048 h 7571038"/>
                  <a:gd name="connsiteX3980" fmla="*/ 1387017 w 4381952"/>
                  <a:gd name="connsiteY3980" fmla="*/ 5577721 h 7571038"/>
                  <a:gd name="connsiteX3981" fmla="*/ 1385536 w 4381952"/>
                  <a:gd name="connsiteY3981" fmla="*/ 5576242 h 7571038"/>
                  <a:gd name="connsiteX3982" fmla="*/ 1384058 w 4381952"/>
                  <a:gd name="connsiteY3982" fmla="*/ 5577721 h 7571038"/>
                  <a:gd name="connsiteX3983" fmla="*/ 1385536 w 4381952"/>
                  <a:gd name="connsiteY3983" fmla="*/ 5579202 h 7571038"/>
                  <a:gd name="connsiteX3984" fmla="*/ 1387017 w 4381952"/>
                  <a:gd name="connsiteY3984" fmla="*/ 5577721 h 7571038"/>
                  <a:gd name="connsiteX3985" fmla="*/ 1387509 w 4381952"/>
                  <a:gd name="connsiteY3985" fmla="*/ 5808020 h 7571038"/>
                  <a:gd name="connsiteX3986" fmla="*/ 1384304 w 4381952"/>
                  <a:gd name="connsiteY3986" fmla="*/ 5804815 h 7571038"/>
                  <a:gd name="connsiteX3987" fmla="*/ 1381099 w 4381952"/>
                  <a:gd name="connsiteY3987" fmla="*/ 5808020 h 7571038"/>
                  <a:gd name="connsiteX3988" fmla="*/ 1384304 w 4381952"/>
                  <a:gd name="connsiteY3988" fmla="*/ 5810979 h 7571038"/>
                  <a:gd name="connsiteX3989" fmla="*/ 1387509 w 4381952"/>
                  <a:gd name="connsiteY3989" fmla="*/ 5808020 h 7571038"/>
                  <a:gd name="connsiteX3990" fmla="*/ 1387510 w 4381952"/>
                  <a:gd name="connsiteY3990" fmla="*/ 6821694 h 7571038"/>
                  <a:gd name="connsiteX3991" fmla="*/ 1378140 w 4381952"/>
                  <a:gd name="connsiteY3991" fmla="*/ 6812324 h 7571038"/>
                  <a:gd name="connsiteX3992" fmla="*/ 1368772 w 4381952"/>
                  <a:gd name="connsiteY3992" fmla="*/ 6821694 h 7571038"/>
                  <a:gd name="connsiteX3993" fmla="*/ 1378140 w 4381952"/>
                  <a:gd name="connsiteY3993" fmla="*/ 6831064 h 7571038"/>
                  <a:gd name="connsiteX3994" fmla="*/ 1387510 w 4381952"/>
                  <a:gd name="connsiteY3994" fmla="*/ 6821694 h 7571038"/>
                  <a:gd name="connsiteX3995" fmla="*/ 1387754 w 4381952"/>
                  <a:gd name="connsiteY3995" fmla="*/ 3004726 h 7571038"/>
                  <a:gd name="connsiteX3996" fmla="*/ 1365318 w 4381952"/>
                  <a:gd name="connsiteY3996" fmla="*/ 2982287 h 7571038"/>
                  <a:gd name="connsiteX3997" fmla="*/ 1342879 w 4381952"/>
                  <a:gd name="connsiteY3997" fmla="*/ 3004726 h 7571038"/>
                  <a:gd name="connsiteX3998" fmla="*/ 1365318 w 4381952"/>
                  <a:gd name="connsiteY3998" fmla="*/ 3027163 h 7571038"/>
                  <a:gd name="connsiteX3999" fmla="*/ 1387754 w 4381952"/>
                  <a:gd name="connsiteY3999" fmla="*/ 3004726 h 7571038"/>
                  <a:gd name="connsiteX4000" fmla="*/ 1389236 w 4381952"/>
                  <a:gd name="connsiteY4000" fmla="*/ 3622867 h 7571038"/>
                  <a:gd name="connsiteX4001" fmla="*/ 1359648 w 4381952"/>
                  <a:gd name="connsiteY4001" fmla="*/ 3593278 h 7571038"/>
                  <a:gd name="connsiteX4002" fmla="*/ 1330058 w 4381952"/>
                  <a:gd name="connsiteY4002" fmla="*/ 3622867 h 7571038"/>
                  <a:gd name="connsiteX4003" fmla="*/ 1359648 w 4381952"/>
                  <a:gd name="connsiteY4003" fmla="*/ 3652457 h 7571038"/>
                  <a:gd name="connsiteX4004" fmla="*/ 1389236 w 4381952"/>
                  <a:gd name="connsiteY4004" fmla="*/ 3622867 h 7571038"/>
                  <a:gd name="connsiteX4005" fmla="*/ 1390716 w 4381952"/>
                  <a:gd name="connsiteY4005" fmla="*/ 5693117 h 7571038"/>
                  <a:gd name="connsiteX4006" fmla="*/ 1384798 w 4381952"/>
                  <a:gd name="connsiteY4006" fmla="*/ 5687199 h 7571038"/>
                  <a:gd name="connsiteX4007" fmla="*/ 1378881 w 4381952"/>
                  <a:gd name="connsiteY4007" fmla="*/ 5693117 h 7571038"/>
                  <a:gd name="connsiteX4008" fmla="*/ 1384798 w 4381952"/>
                  <a:gd name="connsiteY4008" fmla="*/ 5699035 h 7571038"/>
                  <a:gd name="connsiteX4009" fmla="*/ 1390716 w 4381952"/>
                  <a:gd name="connsiteY4009" fmla="*/ 5693117 h 7571038"/>
                  <a:gd name="connsiteX4010" fmla="*/ 1392935 w 4381952"/>
                  <a:gd name="connsiteY4010" fmla="*/ 4147335 h 7571038"/>
                  <a:gd name="connsiteX4011" fmla="*/ 1370741 w 4381952"/>
                  <a:gd name="connsiteY4011" fmla="*/ 4125141 h 7571038"/>
                  <a:gd name="connsiteX4012" fmla="*/ 1348551 w 4381952"/>
                  <a:gd name="connsiteY4012" fmla="*/ 4147335 h 7571038"/>
                  <a:gd name="connsiteX4013" fmla="*/ 1370741 w 4381952"/>
                  <a:gd name="connsiteY4013" fmla="*/ 4169525 h 7571038"/>
                  <a:gd name="connsiteX4014" fmla="*/ 1392935 w 4381952"/>
                  <a:gd name="connsiteY4014" fmla="*/ 4147335 h 7571038"/>
                  <a:gd name="connsiteX4015" fmla="*/ 1393182 w 4381952"/>
                  <a:gd name="connsiteY4015" fmla="*/ 6374899 h 7571038"/>
                  <a:gd name="connsiteX4016" fmla="*/ 1382826 w 4381952"/>
                  <a:gd name="connsiteY4016" fmla="*/ 6364543 h 7571038"/>
                  <a:gd name="connsiteX4017" fmla="*/ 1372223 w 4381952"/>
                  <a:gd name="connsiteY4017" fmla="*/ 6374899 h 7571038"/>
                  <a:gd name="connsiteX4018" fmla="*/ 1382826 w 4381952"/>
                  <a:gd name="connsiteY4018" fmla="*/ 6385502 h 7571038"/>
                  <a:gd name="connsiteX4019" fmla="*/ 1393182 w 4381952"/>
                  <a:gd name="connsiteY4019" fmla="*/ 6374899 h 7571038"/>
                  <a:gd name="connsiteX4020" fmla="*/ 1393675 w 4381952"/>
                  <a:gd name="connsiteY4020" fmla="*/ 4288868 h 7571038"/>
                  <a:gd name="connsiteX4021" fmla="*/ 1352250 w 4381952"/>
                  <a:gd name="connsiteY4021" fmla="*/ 4247689 h 7571038"/>
                  <a:gd name="connsiteX4022" fmla="*/ 1311072 w 4381952"/>
                  <a:gd name="connsiteY4022" fmla="*/ 4288868 h 7571038"/>
                  <a:gd name="connsiteX4023" fmla="*/ 1352250 w 4381952"/>
                  <a:gd name="connsiteY4023" fmla="*/ 4330043 h 7571038"/>
                  <a:gd name="connsiteX4024" fmla="*/ 1393675 w 4381952"/>
                  <a:gd name="connsiteY4024" fmla="*/ 4288868 h 7571038"/>
                  <a:gd name="connsiteX4025" fmla="*/ 1395399 w 4381952"/>
                  <a:gd name="connsiteY4025" fmla="*/ 6262214 h 7571038"/>
                  <a:gd name="connsiteX4026" fmla="*/ 1382826 w 4381952"/>
                  <a:gd name="connsiteY4026" fmla="*/ 6249637 h 7571038"/>
                  <a:gd name="connsiteX4027" fmla="*/ 1370250 w 4381952"/>
                  <a:gd name="connsiteY4027" fmla="*/ 6262214 h 7571038"/>
                  <a:gd name="connsiteX4028" fmla="*/ 1382826 w 4381952"/>
                  <a:gd name="connsiteY4028" fmla="*/ 6274787 h 7571038"/>
                  <a:gd name="connsiteX4029" fmla="*/ 1395399 w 4381952"/>
                  <a:gd name="connsiteY4029" fmla="*/ 6262214 h 7571038"/>
                  <a:gd name="connsiteX4030" fmla="*/ 1398112 w 4381952"/>
                  <a:gd name="connsiteY4030" fmla="*/ 3999635 h 7571038"/>
                  <a:gd name="connsiteX4031" fmla="*/ 1395893 w 4381952"/>
                  <a:gd name="connsiteY4031" fmla="*/ 3997416 h 7571038"/>
                  <a:gd name="connsiteX4032" fmla="*/ 1393675 w 4381952"/>
                  <a:gd name="connsiteY4032" fmla="*/ 3999635 h 7571038"/>
                  <a:gd name="connsiteX4033" fmla="*/ 1395893 w 4381952"/>
                  <a:gd name="connsiteY4033" fmla="*/ 4001853 h 7571038"/>
                  <a:gd name="connsiteX4034" fmla="*/ 1398112 w 4381952"/>
                  <a:gd name="connsiteY4034" fmla="*/ 3999635 h 7571038"/>
                  <a:gd name="connsiteX4035" fmla="*/ 1398358 w 4381952"/>
                  <a:gd name="connsiteY4035" fmla="*/ 469913 h 7571038"/>
                  <a:gd name="connsiteX4036" fmla="*/ 1375182 w 4381952"/>
                  <a:gd name="connsiteY4036" fmla="*/ 446735 h 7571038"/>
                  <a:gd name="connsiteX4037" fmla="*/ 1352002 w 4381952"/>
                  <a:gd name="connsiteY4037" fmla="*/ 469913 h 7571038"/>
                  <a:gd name="connsiteX4038" fmla="*/ 1375182 w 4381952"/>
                  <a:gd name="connsiteY4038" fmla="*/ 493089 h 7571038"/>
                  <a:gd name="connsiteX4039" fmla="*/ 1398358 w 4381952"/>
                  <a:gd name="connsiteY4039" fmla="*/ 469913 h 7571038"/>
                  <a:gd name="connsiteX4040" fmla="*/ 1398853 w 4381952"/>
                  <a:gd name="connsiteY4040" fmla="*/ 357744 h 7571038"/>
                  <a:gd name="connsiteX4041" fmla="*/ 1375181 w 4381952"/>
                  <a:gd name="connsiteY4041" fmla="*/ 334073 h 7571038"/>
                  <a:gd name="connsiteX4042" fmla="*/ 1351510 w 4381952"/>
                  <a:gd name="connsiteY4042" fmla="*/ 357744 h 7571038"/>
                  <a:gd name="connsiteX4043" fmla="*/ 1375181 w 4381952"/>
                  <a:gd name="connsiteY4043" fmla="*/ 381414 h 7571038"/>
                  <a:gd name="connsiteX4044" fmla="*/ 1398853 w 4381952"/>
                  <a:gd name="connsiteY4044" fmla="*/ 357744 h 7571038"/>
                  <a:gd name="connsiteX4045" fmla="*/ 1399593 w 4381952"/>
                  <a:gd name="connsiteY4045" fmla="*/ 134396 h 7571038"/>
                  <a:gd name="connsiteX4046" fmla="*/ 1375181 w 4381952"/>
                  <a:gd name="connsiteY4046" fmla="*/ 109986 h 7571038"/>
                  <a:gd name="connsiteX4047" fmla="*/ 1350770 w 4381952"/>
                  <a:gd name="connsiteY4047" fmla="*/ 134396 h 7571038"/>
                  <a:gd name="connsiteX4048" fmla="*/ 1375181 w 4381952"/>
                  <a:gd name="connsiteY4048" fmla="*/ 158805 h 7571038"/>
                  <a:gd name="connsiteX4049" fmla="*/ 1399593 w 4381952"/>
                  <a:gd name="connsiteY4049" fmla="*/ 134396 h 7571038"/>
                  <a:gd name="connsiteX4050" fmla="*/ 1399839 w 4381952"/>
                  <a:gd name="connsiteY4050" fmla="*/ 22726 h 7571038"/>
                  <a:gd name="connsiteX4051" fmla="*/ 1392627 w 4381952"/>
                  <a:gd name="connsiteY4051" fmla="*/ 5435 h 7571038"/>
                  <a:gd name="connsiteX4052" fmla="*/ 1379500 w 4381952"/>
                  <a:gd name="connsiteY4052" fmla="*/ 0 h 7571038"/>
                  <a:gd name="connsiteX4053" fmla="*/ 1371390 w 4381952"/>
                  <a:gd name="connsiteY4053" fmla="*/ 0 h 7571038"/>
                  <a:gd name="connsiteX4054" fmla="*/ 1358138 w 4381952"/>
                  <a:gd name="connsiteY4054" fmla="*/ 5527 h 7571038"/>
                  <a:gd name="connsiteX4055" fmla="*/ 1351019 w 4381952"/>
                  <a:gd name="connsiteY4055" fmla="*/ 22726 h 7571038"/>
                  <a:gd name="connsiteX4056" fmla="*/ 1375430 w 4381952"/>
                  <a:gd name="connsiteY4056" fmla="*/ 47134 h 7571038"/>
                  <a:gd name="connsiteX4057" fmla="*/ 1399839 w 4381952"/>
                  <a:gd name="connsiteY4057" fmla="*/ 22726 h 7571038"/>
                  <a:gd name="connsiteX4058" fmla="*/ 1400084 w 4381952"/>
                  <a:gd name="connsiteY4058" fmla="*/ 5110952 h 7571038"/>
                  <a:gd name="connsiteX4059" fmla="*/ 1397619 w 4381952"/>
                  <a:gd name="connsiteY4059" fmla="*/ 5108239 h 7571038"/>
                  <a:gd name="connsiteX4060" fmla="*/ 1394907 w 4381952"/>
                  <a:gd name="connsiteY4060" fmla="*/ 5110952 h 7571038"/>
                  <a:gd name="connsiteX4061" fmla="*/ 1397619 w 4381952"/>
                  <a:gd name="connsiteY4061" fmla="*/ 5113666 h 7571038"/>
                  <a:gd name="connsiteX4062" fmla="*/ 1400084 w 4381952"/>
                  <a:gd name="connsiteY4062" fmla="*/ 5110952 h 7571038"/>
                  <a:gd name="connsiteX4063" fmla="*/ 1400334 w 4381952"/>
                  <a:gd name="connsiteY4063" fmla="*/ 245824 h 7571038"/>
                  <a:gd name="connsiteX4064" fmla="*/ 1375676 w 4381952"/>
                  <a:gd name="connsiteY4064" fmla="*/ 221167 h 7571038"/>
                  <a:gd name="connsiteX4065" fmla="*/ 1351019 w 4381952"/>
                  <a:gd name="connsiteY4065" fmla="*/ 245824 h 7571038"/>
                  <a:gd name="connsiteX4066" fmla="*/ 1375676 w 4381952"/>
                  <a:gd name="connsiteY4066" fmla="*/ 270480 h 7571038"/>
                  <a:gd name="connsiteX4067" fmla="*/ 1400334 w 4381952"/>
                  <a:gd name="connsiteY4067" fmla="*/ 245824 h 7571038"/>
                  <a:gd name="connsiteX4068" fmla="*/ 1401074 w 4381952"/>
                  <a:gd name="connsiteY4068" fmla="*/ 3274967 h 7571038"/>
                  <a:gd name="connsiteX4069" fmla="*/ 1371731 w 4381952"/>
                  <a:gd name="connsiteY4069" fmla="*/ 3245623 h 7571038"/>
                  <a:gd name="connsiteX4070" fmla="*/ 1342388 w 4381952"/>
                  <a:gd name="connsiteY4070" fmla="*/ 3274967 h 7571038"/>
                  <a:gd name="connsiteX4071" fmla="*/ 1371731 w 4381952"/>
                  <a:gd name="connsiteY4071" fmla="*/ 3304308 h 7571038"/>
                  <a:gd name="connsiteX4072" fmla="*/ 1401074 w 4381952"/>
                  <a:gd name="connsiteY4072" fmla="*/ 3274967 h 7571038"/>
                  <a:gd name="connsiteX4073" fmla="*/ 1407484 w 4381952"/>
                  <a:gd name="connsiteY4073" fmla="*/ 1726557 h 7571038"/>
                  <a:gd name="connsiteX4074" fmla="*/ 1393184 w 4381952"/>
                  <a:gd name="connsiteY4074" fmla="*/ 1712245 h 7571038"/>
                  <a:gd name="connsiteX4075" fmla="*/ 1378881 w 4381952"/>
                  <a:gd name="connsiteY4075" fmla="*/ 1726557 h 7571038"/>
                  <a:gd name="connsiteX4076" fmla="*/ 1393184 w 4381952"/>
                  <a:gd name="connsiteY4076" fmla="*/ 1740866 h 7571038"/>
                  <a:gd name="connsiteX4077" fmla="*/ 1407484 w 4381952"/>
                  <a:gd name="connsiteY4077" fmla="*/ 1726557 h 7571038"/>
                  <a:gd name="connsiteX4078" fmla="*/ 1408469 w 4381952"/>
                  <a:gd name="connsiteY4078" fmla="*/ 1608961 h 7571038"/>
                  <a:gd name="connsiteX4079" fmla="*/ 1391454 w 4381952"/>
                  <a:gd name="connsiteY4079" fmla="*/ 1591947 h 7571038"/>
                  <a:gd name="connsiteX4080" fmla="*/ 1374441 w 4381952"/>
                  <a:gd name="connsiteY4080" fmla="*/ 1608961 h 7571038"/>
                  <a:gd name="connsiteX4081" fmla="*/ 1391454 w 4381952"/>
                  <a:gd name="connsiteY4081" fmla="*/ 1625973 h 7571038"/>
                  <a:gd name="connsiteX4082" fmla="*/ 1408469 w 4381952"/>
                  <a:gd name="connsiteY4082" fmla="*/ 1608961 h 7571038"/>
                  <a:gd name="connsiteX4083" fmla="*/ 1411921 w 4381952"/>
                  <a:gd name="connsiteY4083" fmla="*/ 1492341 h 7571038"/>
                  <a:gd name="connsiteX4084" fmla="*/ 1389976 w 4381952"/>
                  <a:gd name="connsiteY4084" fmla="*/ 1470397 h 7571038"/>
                  <a:gd name="connsiteX4085" fmla="*/ 1368032 w 4381952"/>
                  <a:gd name="connsiteY4085" fmla="*/ 1492341 h 7571038"/>
                  <a:gd name="connsiteX4086" fmla="*/ 1389976 w 4381952"/>
                  <a:gd name="connsiteY4086" fmla="*/ 1514287 h 7571038"/>
                  <a:gd name="connsiteX4087" fmla="*/ 1411921 w 4381952"/>
                  <a:gd name="connsiteY4087" fmla="*/ 1492341 h 7571038"/>
                  <a:gd name="connsiteX4088" fmla="*/ 1413153 w 4381952"/>
                  <a:gd name="connsiteY4088" fmla="*/ 2362667 h 7571038"/>
                  <a:gd name="connsiteX4089" fmla="*/ 1372714 w 4381952"/>
                  <a:gd name="connsiteY4089" fmla="*/ 2322223 h 7571038"/>
                  <a:gd name="connsiteX4090" fmla="*/ 1332276 w 4381952"/>
                  <a:gd name="connsiteY4090" fmla="*/ 2362667 h 7571038"/>
                  <a:gd name="connsiteX4091" fmla="*/ 1372714 w 4381952"/>
                  <a:gd name="connsiteY4091" fmla="*/ 2403103 h 7571038"/>
                  <a:gd name="connsiteX4092" fmla="*/ 1413153 w 4381952"/>
                  <a:gd name="connsiteY4092" fmla="*/ 2362667 h 7571038"/>
                  <a:gd name="connsiteX4093" fmla="*/ 1415128 w 4381952"/>
                  <a:gd name="connsiteY4093" fmla="*/ 5347170 h 7571038"/>
                  <a:gd name="connsiteX4094" fmla="*/ 1393921 w 4381952"/>
                  <a:gd name="connsiteY4094" fmla="*/ 5326212 h 7571038"/>
                  <a:gd name="connsiteX4095" fmla="*/ 1372963 w 4381952"/>
                  <a:gd name="connsiteY4095" fmla="*/ 5347170 h 7571038"/>
                  <a:gd name="connsiteX4096" fmla="*/ 1393921 w 4381952"/>
                  <a:gd name="connsiteY4096" fmla="*/ 5368378 h 7571038"/>
                  <a:gd name="connsiteX4097" fmla="*/ 1415128 w 4381952"/>
                  <a:gd name="connsiteY4097" fmla="*/ 5347170 h 7571038"/>
                  <a:gd name="connsiteX4098" fmla="*/ 1416114 w 4381952"/>
                  <a:gd name="connsiteY4098" fmla="*/ 3736292 h 7571038"/>
                  <a:gd name="connsiteX4099" fmla="*/ 1387758 w 4381952"/>
                  <a:gd name="connsiteY4099" fmla="*/ 3707935 h 7571038"/>
                  <a:gd name="connsiteX4100" fmla="*/ 1359401 w 4381952"/>
                  <a:gd name="connsiteY4100" fmla="*/ 3736292 h 7571038"/>
                  <a:gd name="connsiteX4101" fmla="*/ 1387758 w 4381952"/>
                  <a:gd name="connsiteY4101" fmla="*/ 3764399 h 7571038"/>
                  <a:gd name="connsiteX4102" fmla="*/ 1416114 w 4381952"/>
                  <a:gd name="connsiteY4102" fmla="*/ 3736292 h 7571038"/>
                  <a:gd name="connsiteX4103" fmla="*/ 1417838 w 4381952"/>
                  <a:gd name="connsiteY4103" fmla="*/ 2764070 h 7571038"/>
                  <a:gd name="connsiteX4104" fmla="*/ 1408961 w 4381952"/>
                  <a:gd name="connsiteY4104" fmla="*/ 2755193 h 7571038"/>
                  <a:gd name="connsiteX4105" fmla="*/ 1400085 w 4381952"/>
                  <a:gd name="connsiteY4105" fmla="*/ 2764070 h 7571038"/>
                  <a:gd name="connsiteX4106" fmla="*/ 1408961 w 4381952"/>
                  <a:gd name="connsiteY4106" fmla="*/ 2772946 h 7571038"/>
                  <a:gd name="connsiteX4107" fmla="*/ 1417838 w 4381952"/>
                  <a:gd name="connsiteY4107" fmla="*/ 2764070 h 7571038"/>
                  <a:gd name="connsiteX4108" fmla="*/ 1420304 w 4381952"/>
                  <a:gd name="connsiteY4108" fmla="*/ 1965210 h 7571038"/>
                  <a:gd name="connsiteX4109" fmla="*/ 1398358 w 4381952"/>
                  <a:gd name="connsiteY4109" fmla="*/ 1943272 h 7571038"/>
                  <a:gd name="connsiteX4110" fmla="*/ 1376414 w 4381952"/>
                  <a:gd name="connsiteY4110" fmla="*/ 1965210 h 7571038"/>
                  <a:gd name="connsiteX4111" fmla="*/ 1398358 w 4381952"/>
                  <a:gd name="connsiteY4111" fmla="*/ 1987149 h 7571038"/>
                  <a:gd name="connsiteX4112" fmla="*/ 1420304 w 4381952"/>
                  <a:gd name="connsiteY4112" fmla="*/ 1965210 h 7571038"/>
                  <a:gd name="connsiteX4113" fmla="*/ 1423510 w 4381952"/>
                  <a:gd name="connsiteY4113" fmla="*/ 4625937 h 7571038"/>
                  <a:gd name="connsiteX4114" fmla="*/ 1421046 w 4381952"/>
                  <a:gd name="connsiteY4114" fmla="*/ 4623472 h 7571038"/>
                  <a:gd name="connsiteX4115" fmla="*/ 1418579 w 4381952"/>
                  <a:gd name="connsiteY4115" fmla="*/ 4625937 h 7571038"/>
                  <a:gd name="connsiteX4116" fmla="*/ 1421046 w 4381952"/>
                  <a:gd name="connsiteY4116" fmla="*/ 4628404 h 7571038"/>
                  <a:gd name="connsiteX4117" fmla="*/ 1423510 w 4381952"/>
                  <a:gd name="connsiteY4117" fmla="*/ 4625937 h 7571038"/>
                  <a:gd name="connsiteX4118" fmla="*/ 1425237 w 4381952"/>
                  <a:gd name="connsiteY4118" fmla="*/ 1845173 h 7571038"/>
                  <a:gd name="connsiteX4119" fmla="*/ 1395648 w 4381952"/>
                  <a:gd name="connsiteY4119" fmla="*/ 1815585 h 7571038"/>
                  <a:gd name="connsiteX4120" fmla="*/ 1366059 w 4381952"/>
                  <a:gd name="connsiteY4120" fmla="*/ 1845173 h 7571038"/>
                  <a:gd name="connsiteX4121" fmla="*/ 1395648 w 4381952"/>
                  <a:gd name="connsiteY4121" fmla="*/ 1874754 h 7571038"/>
                  <a:gd name="connsiteX4122" fmla="*/ 1425237 w 4381952"/>
                  <a:gd name="connsiteY4122" fmla="*/ 1845173 h 7571038"/>
                  <a:gd name="connsiteX4123" fmla="*/ 1428195 w 4381952"/>
                  <a:gd name="connsiteY4123" fmla="*/ 2492602 h 7571038"/>
                  <a:gd name="connsiteX4124" fmla="*/ 1381839 w 4381952"/>
                  <a:gd name="connsiteY4124" fmla="*/ 2446247 h 7571038"/>
                  <a:gd name="connsiteX4125" fmla="*/ 1335483 w 4381952"/>
                  <a:gd name="connsiteY4125" fmla="*/ 2492602 h 7571038"/>
                  <a:gd name="connsiteX4126" fmla="*/ 1381839 w 4381952"/>
                  <a:gd name="connsiteY4126" fmla="*/ 2538960 h 7571038"/>
                  <a:gd name="connsiteX4127" fmla="*/ 1428195 w 4381952"/>
                  <a:gd name="connsiteY4127" fmla="*/ 2492602 h 7571038"/>
                  <a:gd name="connsiteX4128" fmla="*/ 1430414 w 4381952"/>
                  <a:gd name="connsiteY4128" fmla="*/ 5229801 h 7571038"/>
                  <a:gd name="connsiteX4129" fmla="*/ 1395894 w 4381952"/>
                  <a:gd name="connsiteY4129" fmla="*/ 5195280 h 7571038"/>
                  <a:gd name="connsiteX4130" fmla="*/ 1361373 w 4381952"/>
                  <a:gd name="connsiteY4130" fmla="*/ 5229801 h 7571038"/>
                  <a:gd name="connsiteX4131" fmla="*/ 1395894 w 4381952"/>
                  <a:gd name="connsiteY4131" fmla="*/ 5264322 h 7571038"/>
                  <a:gd name="connsiteX4132" fmla="*/ 1430414 w 4381952"/>
                  <a:gd name="connsiteY4132" fmla="*/ 5229801 h 7571038"/>
                  <a:gd name="connsiteX4133" fmla="*/ 1433128 w 4381952"/>
                  <a:gd name="connsiteY4133" fmla="*/ 4990869 h 7571038"/>
                  <a:gd name="connsiteX4134" fmla="*/ 1400085 w 4381952"/>
                  <a:gd name="connsiteY4134" fmla="*/ 4957829 h 7571038"/>
                  <a:gd name="connsiteX4135" fmla="*/ 1367045 w 4381952"/>
                  <a:gd name="connsiteY4135" fmla="*/ 4990869 h 7571038"/>
                  <a:gd name="connsiteX4136" fmla="*/ 1400085 w 4381952"/>
                  <a:gd name="connsiteY4136" fmla="*/ 5023911 h 7571038"/>
                  <a:gd name="connsiteX4137" fmla="*/ 1433128 w 4381952"/>
                  <a:gd name="connsiteY4137" fmla="*/ 4990869 h 7571038"/>
                  <a:gd name="connsiteX4138" fmla="*/ 1435592 w 4381952"/>
                  <a:gd name="connsiteY4138" fmla="*/ 3164006 h 7571038"/>
                  <a:gd name="connsiteX4139" fmla="*/ 1407729 w 4381952"/>
                  <a:gd name="connsiteY4139" fmla="*/ 3136143 h 7571038"/>
                  <a:gd name="connsiteX4140" fmla="*/ 1379867 w 4381952"/>
                  <a:gd name="connsiteY4140" fmla="*/ 3164006 h 7571038"/>
                  <a:gd name="connsiteX4141" fmla="*/ 1407729 w 4381952"/>
                  <a:gd name="connsiteY4141" fmla="*/ 3191871 h 7571038"/>
                  <a:gd name="connsiteX4142" fmla="*/ 1435592 w 4381952"/>
                  <a:gd name="connsiteY4142" fmla="*/ 3164006 h 7571038"/>
                  <a:gd name="connsiteX4143" fmla="*/ 1440772 w 4381952"/>
                  <a:gd name="connsiteY4143" fmla="*/ 2086512 h 7571038"/>
                  <a:gd name="connsiteX4144" fmla="*/ 1401814 w 4381952"/>
                  <a:gd name="connsiteY4144" fmla="*/ 2047549 h 7571038"/>
                  <a:gd name="connsiteX4145" fmla="*/ 1362854 w 4381952"/>
                  <a:gd name="connsiteY4145" fmla="*/ 2086512 h 7571038"/>
                  <a:gd name="connsiteX4146" fmla="*/ 1401814 w 4381952"/>
                  <a:gd name="connsiteY4146" fmla="*/ 2125477 h 7571038"/>
                  <a:gd name="connsiteX4147" fmla="*/ 1440772 w 4381952"/>
                  <a:gd name="connsiteY4147" fmla="*/ 2086512 h 7571038"/>
                  <a:gd name="connsiteX4148" fmla="*/ 1442004 w 4381952"/>
                  <a:gd name="connsiteY4148" fmla="*/ 4746018 h 7571038"/>
                  <a:gd name="connsiteX4149" fmla="*/ 1406988 w 4381952"/>
                  <a:gd name="connsiteY4149" fmla="*/ 4711005 h 7571038"/>
                  <a:gd name="connsiteX4150" fmla="*/ 1371976 w 4381952"/>
                  <a:gd name="connsiteY4150" fmla="*/ 4746018 h 7571038"/>
                  <a:gd name="connsiteX4151" fmla="*/ 1406988 w 4381952"/>
                  <a:gd name="connsiteY4151" fmla="*/ 4781033 h 7571038"/>
                  <a:gd name="connsiteX4152" fmla="*/ 1442004 w 4381952"/>
                  <a:gd name="connsiteY4152" fmla="*/ 4746018 h 7571038"/>
                  <a:gd name="connsiteX4153" fmla="*/ 1442251 w 4381952"/>
                  <a:gd name="connsiteY4153" fmla="*/ 2210045 h 7571038"/>
                  <a:gd name="connsiteX4154" fmla="*/ 1405757 w 4381952"/>
                  <a:gd name="connsiteY4154" fmla="*/ 2173554 h 7571038"/>
                  <a:gd name="connsiteX4155" fmla="*/ 1369264 w 4381952"/>
                  <a:gd name="connsiteY4155" fmla="*/ 2210045 h 7571038"/>
                  <a:gd name="connsiteX4156" fmla="*/ 1405757 w 4381952"/>
                  <a:gd name="connsiteY4156" fmla="*/ 2246543 h 7571038"/>
                  <a:gd name="connsiteX4157" fmla="*/ 1442251 w 4381952"/>
                  <a:gd name="connsiteY4157" fmla="*/ 2210045 h 7571038"/>
                  <a:gd name="connsiteX4158" fmla="*/ 1444717 w 4381952"/>
                  <a:gd name="connsiteY4158" fmla="*/ 2626241 h 7571038"/>
                  <a:gd name="connsiteX4159" fmla="*/ 1393429 w 4381952"/>
                  <a:gd name="connsiteY4159" fmla="*/ 2574953 h 7571038"/>
                  <a:gd name="connsiteX4160" fmla="*/ 1342142 w 4381952"/>
                  <a:gd name="connsiteY4160" fmla="*/ 2626241 h 7571038"/>
                  <a:gd name="connsiteX4161" fmla="*/ 1393429 w 4381952"/>
                  <a:gd name="connsiteY4161" fmla="*/ 2677530 h 7571038"/>
                  <a:gd name="connsiteX4162" fmla="*/ 1444717 w 4381952"/>
                  <a:gd name="connsiteY4162" fmla="*/ 2626241 h 7571038"/>
                  <a:gd name="connsiteX4163" fmla="*/ 1452853 w 4381952"/>
                  <a:gd name="connsiteY4163" fmla="*/ 2907819 h 7571038"/>
                  <a:gd name="connsiteX4164" fmla="*/ 1429920 w 4381952"/>
                  <a:gd name="connsiteY4164" fmla="*/ 2884888 h 7571038"/>
                  <a:gd name="connsiteX4165" fmla="*/ 1406989 w 4381952"/>
                  <a:gd name="connsiteY4165" fmla="*/ 2907819 h 7571038"/>
                  <a:gd name="connsiteX4166" fmla="*/ 1429920 w 4381952"/>
                  <a:gd name="connsiteY4166" fmla="*/ 2930753 h 7571038"/>
                  <a:gd name="connsiteX4167" fmla="*/ 1452853 w 4381952"/>
                  <a:gd name="connsiteY4167" fmla="*/ 2907819 h 7571038"/>
                  <a:gd name="connsiteX4168" fmla="*/ 1453840 w 4381952"/>
                  <a:gd name="connsiteY4168" fmla="*/ 4869308 h 7571038"/>
                  <a:gd name="connsiteX4169" fmla="*/ 1403047 w 4381952"/>
                  <a:gd name="connsiteY4169" fmla="*/ 4818512 h 7571038"/>
                  <a:gd name="connsiteX4170" fmla="*/ 1352251 w 4381952"/>
                  <a:gd name="connsiteY4170" fmla="*/ 4869308 h 7571038"/>
                  <a:gd name="connsiteX4171" fmla="*/ 1403047 w 4381952"/>
                  <a:gd name="connsiteY4171" fmla="*/ 4920101 h 7571038"/>
                  <a:gd name="connsiteX4172" fmla="*/ 1453840 w 4381952"/>
                  <a:gd name="connsiteY4172" fmla="*/ 4869308 h 7571038"/>
                  <a:gd name="connsiteX4173" fmla="*/ 1457044 w 4381952"/>
                  <a:gd name="connsiteY4173" fmla="*/ 4498455 h 7571038"/>
                  <a:gd name="connsiteX4174" fmla="*/ 1427947 w 4381952"/>
                  <a:gd name="connsiteY4174" fmla="*/ 4469361 h 7571038"/>
                  <a:gd name="connsiteX4175" fmla="*/ 1398853 w 4381952"/>
                  <a:gd name="connsiteY4175" fmla="*/ 4498455 h 7571038"/>
                  <a:gd name="connsiteX4176" fmla="*/ 1427947 w 4381952"/>
                  <a:gd name="connsiteY4176" fmla="*/ 4527553 h 7571038"/>
                  <a:gd name="connsiteX4177" fmla="*/ 1457044 w 4381952"/>
                  <a:gd name="connsiteY4177" fmla="*/ 4498455 h 7571038"/>
                  <a:gd name="connsiteX4178" fmla="*/ 1457536 w 4381952"/>
                  <a:gd name="connsiteY4178" fmla="*/ 3844291 h 7571038"/>
                  <a:gd name="connsiteX4179" fmla="*/ 1431647 w 4381952"/>
                  <a:gd name="connsiteY4179" fmla="*/ 3818401 h 7571038"/>
                  <a:gd name="connsiteX4180" fmla="*/ 1405757 w 4381952"/>
                  <a:gd name="connsiteY4180" fmla="*/ 3844291 h 7571038"/>
                  <a:gd name="connsiteX4181" fmla="*/ 1431647 w 4381952"/>
                  <a:gd name="connsiteY4181" fmla="*/ 3870183 h 7571038"/>
                  <a:gd name="connsiteX4182" fmla="*/ 1457536 w 4381952"/>
                  <a:gd name="connsiteY4182" fmla="*/ 3844291 h 7571038"/>
                  <a:gd name="connsiteX4183" fmla="*/ 1459017 w 4381952"/>
                  <a:gd name="connsiteY4183" fmla="*/ 1129923 h 7571038"/>
                  <a:gd name="connsiteX4184" fmla="*/ 1436581 w 4381952"/>
                  <a:gd name="connsiteY4184" fmla="*/ 1107481 h 7571038"/>
                  <a:gd name="connsiteX4185" fmla="*/ 1414142 w 4381952"/>
                  <a:gd name="connsiteY4185" fmla="*/ 1129923 h 7571038"/>
                  <a:gd name="connsiteX4186" fmla="*/ 1436581 w 4381952"/>
                  <a:gd name="connsiteY4186" fmla="*/ 1152358 h 7571038"/>
                  <a:gd name="connsiteX4187" fmla="*/ 1459017 w 4381952"/>
                  <a:gd name="connsiteY4187" fmla="*/ 1129923 h 7571038"/>
                  <a:gd name="connsiteX4188" fmla="*/ 1460497 w 4381952"/>
                  <a:gd name="connsiteY4188" fmla="*/ 903105 h 7571038"/>
                  <a:gd name="connsiteX4189" fmla="*/ 1437072 w 4381952"/>
                  <a:gd name="connsiteY4189" fmla="*/ 879681 h 7571038"/>
                  <a:gd name="connsiteX4190" fmla="*/ 1413647 w 4381952"/>
                  <a:gd name="connsiteY4190" fmla="*/ 903105 h 7571038"/>
                  <a:gd name="connsiteX4191" fmla="*/ 1437072 w 4381952"/>
                  <a:gd name="connsiteY4191" fmla="*/ 926536 h 7571038"/>
                  <a:gd name="connsiteX4192" fmla="*/ 1460497 w 4381952"/>
                  <a:gd name="connsiteY4192" fmla="*/ 903105 h 7571038"/>
                  <a:gd name="connsiteX4193" fmla="*/ 1460990 w 4381952"/>
                  <a:gd name="connsiteY4193" fmla="*/ 1016517 h 7571038"/>
                  <a:gd name="connsiteX4194" fmla="*/ 1436581 w 4381952"/>
                  <a:gd name="connsiteY4194" fmla="*/ 992101 h 7571038"/>
                  <a:gd name="connsiteX4195" fmla="*/ 1412169 w 4381952"/>
                  <a:gd name="connsiteY4195" fmla="*/ 1016517 h 7571038"/>
                  <a:gd name="connsiteX4196" fmla="*/ 1436581 w 4381952"/>
                  <a:gd name="connsiteY4196" fmla="*/ 1040921 h 7571038"/>
                  <a:gd name="connsiteX4197" fmla="*/ 1460990 w 4381952"/>
                  <a:gd name="connsiteY4197" fmla="*/ 1016517 h 7571038"/>
                  <a:gd name="connsiteX4198" fmla="*/ 1461975 w 4381952"/>
                  <a:gd name="connsiteY4198" fmla="*/ 1358465 h 7571038"/>
                  <a:gd name="connsiteX4199" fmla="*/ 1437069 w 4381952"/>
                  <a:gd name="connsiteY4199" fmla="*/ 1333318 h 7571038"/>
                  <a:gd name="connsiteX4200" fmla="*/ 1411920 w 4381952"/>
                  <a:gd name="connsiteY4200" fmla="*/ 1358465 h 7571038"/>
                  <a:gd name="connsiteX4201" fmla="*/ 1437069 w 4381952"/>
                  <a:gd name="connsiteY4201" fmla="*/ 1383618 h 7571038"/>
                  <a:gd name="connsiteX4202" fmla="*/ 1461975 w 4381952"/>
                  <a:gd name="connsiteY4202" fmla="*/ 1358465 h 7571038"/>
                  <a:gd name="connsiteX4203" fmla="*/ 1462222 w 4381952"/>
                  <a:gd name="connsiteY4203" fmla="*/ 1244073 h 7571038"/>
                  <a:gd name="connsiteX4204" fmla="*/ 1436826 w 4381952"/>
                  <a:gd name="connsiteY4204" fmla="*/ 1218923 h 7571038"/>
                  <a:gd name="connsiteX4205" fmla="*/ 1411675 w 4381952"/>
                  <a:gd name="connsiteY4205" fmla="*/ 1244073 h 7571038"/>
                  <a:gd name="connsiteX4206" fmla="*/ 1436826 w 4381952"/>
                  <a:gd name="connsiteY4206" fmla="*/ 1269215 h 7571038"/>
                  <a:gd name="connsiteX4207" fmla="*/ 1462222 w 4381952"/>
                  <a:gd name="connsiteY4207" fmla="*/ 1244073 h 7571038"/>
                  <a:gd name="connsiteX4208" fmla="*/ 1462467 w 4381952"/>
                  <a:gd name="connsiteY4208" fmla="*/ 566055 h 7571038"/>
                  <a:gd name="connsiteX4209" fmla="*/ 1436578 w 4381952"/>
                  <a:gd name="connsiteY4209" fmla="*/ 540167 h 7571038"/>
                  <a:gd name="connsiteX4210" fmla="*/ 1410688 w 4381952"/>
                  <a:gd name="connsiteY4210" fmla="*/ 566055 h 7571038"/>
                  <a:gd name="connsiteX4211" fmla="*/ 1436578 w 4381952"/>
                  <a:gd name="connsiteY4211" fmla="*/ 591944 h 7571038"/>
                  <a:gd name="connsiteX4212" fmla="*/ 1462467 w 4381952"/>
                  <a:gd name="connsiteY4212" fmla="*/ 566055 h 7571038"/>
                  <a:gd name="connsiteX4213" fmla="*/ 1462467 w 4381952"/>
                  <a:gd name="connsiteY4213" fmla="*/ 678262 h 7571038"/>
                  <a:gd name="connsiteX4214" fmla="*/ 1436578 w 4381952"/>
                  <a:gd name="connsiteY4214" fmla="*/ 652380 h 7571038"/>
                  <a:gd name="connsiteX4215" fmla="*/ 1410688 w 4381952"/>
                  <a:gd name="connsiteY4215" fmla="*/ 678262 h 7571038"/>
                  <a:gd name="connsiteX4216" fmla="*/ 1436578 w 4381952"/>
                  <a:gd name="connsiteY4216" fmla="*/ 704159 h 7571038"/>
                  <a:gd name="connsiteX4217" fmla="*/ 1462467 w 4381952"/>
                  <a:gd name="connsiteY4217" fmla="*/ 678262 h 7571038"/>
                  <a:gd name="connsiteX4218" fmla="*/ 1463208 w 4381952"/>
                  <a:gd name="connsiteY4218" fmla="*/ 790441 h 7571038"/>
                  <a:gd name="connsiteX4219" fmla="*/ 1436823 w 4381952"/>
                  <a:gd name="connsiteY4219" fmla="*/ 764302 h 7571038"/>
                  <a:gd name="connsiteX4220" fmla="*/ 1410688 w 4381952"/>
                  <a:gd name="connsiteY4220" fmla="*/ 790441 h 7571038"/>
                  <a:gd name="connsiteX4221" fmla="*/ 1436823 w 4381952"/>
                  <a:gd name="connsiteY4221" fmla="*/ 816825 h 7571038"/>
                  <a:gd name="connsiteX4222" fmla="*/ 1463208 w 4381952"/>
                  <a:gd name="connsiteY4222" fmla="*/ 790441 h 7571038"/>
                  <a:gd name="connsiteX4223" fmla="*/ 1471839 w 4381952"/>
                  <a:gd name="connsiteY4223" fmla="*/ 4092347 h 7571038"/>
                  <a:gd name="connsiteX4224" fmla="*/ 1466170 w 4381952"/>
                  <a:gd name="connsiteY4224" fmla="*/ 4086675 h 7571038"/>
                  <a:gd name="connsiteX4225" fmla="*/ 1460498 w 4381952"/>
                  <a:gd name="connsiteY4225" fmla="*/ 4092347 h 7571038"/>
                  <a:gd name="connsiteX4226" fmla="*/ 1466170 w 4381952"/>
                  <a:gd name="connsiteY4226" fmla="*/ 4098019 h 7571038"/>
                  <a:gd name="connsiteX4227" fmla="*/ 1471839 w 4381952"/>
                  <a:gd name="connsiteY4227" fmla="*/ 4092347 h 7571038"/>
                  <a:gd name="connsiteX4228" fmla="*/ 1474057 w 4381952"/>
                  <a:gd name="connsiteY4228" fmla="*/ 4232648 h 7571038"/>
                  <a:gd name="connsiteX4229" fmla="*/ 1449400 w 4381952"/>
                  <a:gd name="connsiteY4229" fmla="*/ 4207990 h 7571038"/>
                  <a:gd name="connsiteX4230" fmla="*/ 1424742 w 4381952"/>
                  <a:gd name="connsiteY4230" fmla="*/ 4232648 h 7571038"/>
                  <a:gd name="connsiteX4231" fmla="*/ 1449400 w 4381952"/>
                  <a:gd name="connsiteY4231" fmla="*/ 4257305 h 7571038"/>
                  <a:gd name="connsiteX4232" fmla="*/ 1474057 w 4381952"/>
                  <a:gd name="connsiteY4232" fmla="*/ 4232648 h 7571038"/>
                  <a:gd name="connsiteX4233" fmla="*/ 1476278 w 4381952"/>
                  <a:gd name="connsiteY4233" fmla="*/ 4367527 h 7571038"/>
                  <a:gd name="connsiteX4234" fmla="*/ 1437072 w 4381952"/>
                  <a:gd name="connsiteY4234" fmla="*/ 4328320 h 7571038"/>
                  <a:gd name="connsiteX4235" fmla="*/ 1397866 w 4381952"/>
                  <a:gd name="connsiteY4235" fmla="*/ 4367527 h 7571038"/>
                  <a:gd name="connsiteX4236" fmla="*/ 1437072 w 4381952"/>
                  <a:gd name="connsiteY4236" fmla="*/ 4406730 h 7571038"/>
                  <a:gd name="connsiteX4237" fmla="*/ 1476278 w 4381952"/>
                  <a:gd name="connsiteY4237" fmla="*/ 4367527 h 7571038"/>
                  <a:gd name="connsiteX4238" fmla="*/ 1485645 w 4381952"/>
                  <a:gd name="connsiteY4238" fmla="*/ 3059214 h 7571038"/>
                  <a:gd name="connsiteX4239" fmla="*/ 1459263 w 4381952"/>
                  <a:gd name="connsiteY4239" fmla="*/ 3032829 h 7571038"/>
                  <a:gd name="connsiteX4240" fmla="*/ 1432879 w 4381952"/>
                  <a:gd name="connsiteY4240" fmla="*/ 3059214 h 7571038"/>
                  <a:gd name="connsiteX4241" fmla="*/ 1459263 w 4381952"/>
                  <a:gd name="connsiteY4241" fmla="*/ 3085596 h 7571038"/>
                  <a:gd name="connsiteX4242" fmla="*/ 1485645 w 4381952"/>
                  <a:gd name="connsiteY4242" fmla="*/ 3059214 h 7571038"/>
                  <a:gd name="connsiteX4243" fmla="*/ 1491810 w 4381952"/>
                  <a:gd name="connsiteY4243" fmla="*/ 7398681 h 7571038"/>
                  <a:gd name="connsiteX4244" fmla="*/ 1489346 w 4381952"/>
                  <a:gd name="connsiteY4244" fmla="*/ 7395967 h 7571038"/>
                  <a:gd name="connsiteX4245" fmla="*/ 1486879 w 4381952"/>
                  <a:gd name="connsiteY4245" fmla="*/ 7398681 h 7571038"/>
                  <a:gd name="connsiteX4246" fmla="*/ 1489346 w 4381952"/>
                  <a:gd name="connsiteY4246" fmla="*/ 7401145 h 7571038"/>
                  <a:gd name="connsiteX4247" fmla="*/ 1491810 w 4381952"/>
                  <a:gd name="connsiteY4247" fmla="*/ 7398681 h 7571038"/>
                  <a:gd name="connsiteX4248" fmla="*/ 1492057 w 4381952"/>
                  <a:gd name="connsiteY4248" fmla="*/ 7508903 h 7571038"/>
                  <a:gd name="connsiteX4249" fmla="*/ 1489592 w 4381952"/>
                  <a:gd name="connsiteY4249" fmla="*/ 7506436 h 7571038"/>
                  <a:gd name="connsiteX4250" fmla="*/ 1487126 w 4381952"/>
                  <a:gd name="connsiteY4250" fmla="*/ 7508903 h 7571038"/>
                  <a:gd name="connsiteX4251" fmla="*/ 1489592 w 4381952"/>
                  <a:gd name="connsiteY4251" fmla="*/ 7511366 h 7571038"/>
                  <a:gd name="connsiteX4252" fmla="*/ 1492057 w 4381952"/>
                  <a:gd name="connsiteY4252" fmla="*/ 7508903 h 7571038"/>
                  <a:gd name="connsiteX4253" fmla="*/ 1492059 w 4381952"/>
                  <a:gd name="connsiteY4253" fmla="*/ 7288463 h 7571038"/>
                  <a:gd name="connsiteX4254" fmla="*/ 1489100 w 4381952"/>
                  <a:gd name="connsiteY4254" fmla="*/ 7285750 h 7571038"/>
                  <a:gd name="connsiteX4255" fmla="*/ 1486388 w 4381952"/>
                  <a:gd name="connsiteY4255" fmla="*/ 7288463 h 7571038"/>
                  <a:gd name="connsiteX4256" fmla="*/ 1489100 w 4381952"/>
                  <a:gd name="connsiteY4256" fmla="*/ 7291176 h 7571038"/>
                  <a:gd name="connsiteX4257" fmla="*/ 1492059 w 4381952"/>
                  <a:gd name="connsiteY4257" fmla="*/ 7288463 h 7571038"/>
                  <a:gd name="connsiteX4258" fmla="*/ 1493291 w 4381952"/>
                  <a:gd name="connsiteY4258" fmla="*/ 3448550 h 7571038"/>
                  <a:gd name="connsiteX4259" fmla="*/ 1455813 w 4381952"/>
                  <a:gd name="connsiteY4259" fmla="*/ 3411071 h 7571038"/>
                  <a:gd name="connsiteX4260" fmla="*/ 1418333 w 4381952"/>
                  <a:gd name="connsiteY4260" fmla="*/ 3448550 h 7571038"/>
                  <a:gd name="connsiteX4261" fmla="*/ 1455813 w 4381952"/>
                  <a:gd name="connsiteY4261" fmla="*/ 3485771 h 7571038"/>
                  <a:gd name="connsiteX4262" fmla="*/ 1493291 w 4381952"/>
                  <a:gd name="connsiteY4262" fmla="*/ 3448550 h 7571038"/>
                  <a:gd name="connsiteX4263" fmla="*/ 1494278 w 4381952"/>
                  <a:gd name="connsiteY4263" fmla="*/ 6513967 h 7571038"/>
                  <a:gd name="connsiteX4264" fmla="*/ 1491070 w 4381952"/>
                  <a:gd name="connsiteY4264" fmla="*/ 6510761 h 7571038"/>
                  <a:gd name="connsiteX4265" fmla="*/ 1487866 w 4381952"/>
                  <a:gd name="connsiteY4265" fmla="*/ 6513967 h 7571038"/>
                  <a:gd name="connsiteX4266" fmla="*/ 1491070 w 4381952"/>
                  <a:gd name="connsiteY4266" fmla="*/ 6517420 h 7571038"/>
                  <a:gd name="connsiteX4267" fmla="*/ 1494278 w 4381952"/>
                  <a:gd name="connsiteY4267" fmla="*/ 6513967 h 7571038"/>
                  <a:gd name="connsiteX4268" fmla="*/ 1494524 w 4381952"/>
                  <a:gd name="connsiteY4268" fmla="*/ 6957803 h 7571038"/>
                  <a:gd name="connsiteX4269" fmla="*/ 1491811 w 4381952"/>
                  <a:gd name="connsiteY4269" fmla="*/ 6955090 h 7571038"/>
                  <a:gd name="connsiteX4270" fmla="*/ 1489098 w 4381952"/>
                  <a:gd name="connsiteY4270" fmla="*/ 6957803 h 7571038"/>
                  <a:gd name="connsiteX4271" fmla="*/ 1491811 w 4381952"/>
                  <a:gd name="connsiteY4271" fmla="*/ 6960516 h 7571038"/>
                  <a:gd name="connsiteX4272" fmla="*/ 1494524 w 4381952"/>
                  <a:gd name="connsiteY4272" fmla="*/ 6957803 h 7571038"/>
                  <a:gd name="connsiteX4273" fmla="*/ 1494769 w 4381952"/>
                  <a:gd name="connsiteY4273" fmla="*/ 7178737 h 7571038"/>
                  <a:gd name="connsiteX4274" fmla="*/ 1492305 w 4381952"/>
                  <a:gd name="connsiteY4274" fmla="*/ 7176270 h 7571038"/>
                  <a:gd name="connsiteX4275" fmla="*/ 1489838 w 4381952"/>
                  <a:gd name="connsiteY4275" fmla="*/ 7178737 h 7571038"/>
                  <a:gd name="connsiteX4276" fmla="*/ 1492305 w 4381952"/>
                  <a:gd name="connsiteY4276" fmla="*/ 7181201 h 7571038"/>
                  <a:gd name="connsiteX4277" fmla="*/ 1494769 w 4381952"/>
                  <a:gd name="connsiteY4277" fmla="*/ 7178737 h 7571038"/>
                  <a:gd name="connsiteX4278" fmla="*/ 1495263 w 4381952"/>
                  <a:gd name="connsiteY4278" fmla="*/ 7068270 h 7571038"/>
                  <a:gd name="connsiteX4279" fmla="*/ 1492057 w 4381952"/>
                  <a:gd name="connsiteY4279" fmla="*/ 7065064 h 7571038"/>
                  <a:gd name="connsiteX4280" fmla="*/ 1488853 w 4381952"/>
                  <a:gd name="connsiteY4280" fmla="*/ 7068270 h 7571038"/>
                  <a:gd name="connsiteX4281" fmla="*/ 1492057 w 4381952"/>
                  <a:gd name="connsiteY4281" fmla="*/ 7071474 h 7571038"/>
                  <a:gd name="connsiteX4282" fmla="*/ 1495263 w 4381952"/>
                  <a:gd name="connsiteY4282" fmla="*/ 7068270 h 7571038"/>
                  <a:gd name="connsiteX4283" fmla="*/ 1496743 w 4381952"/>
                  <a:gd name="connsiteY4283" fmla="*/ 6180351 h 7571038"/>
                  <a:gd name="connsiteX4284" fmla="*/ 1495019 w 4381952"/>
                  <a:gd name="connsiteY4284" fmla="*/ 6178624 h 7571038"/>
                  <a:gd name="connsiteX4285" fmla="*/ 1493292 w 4381952"/>
                  <a:gd name="connsiteY4285" fmla="*/ 6180351 h 7571038"/>
                  <a:gd name="connsiteX4286" fmla="*/ 1495019 w 4381952"/>
                  <a:gd name="connsiteY4286" fmla="*/ 6182078 h 7571038"/>
                  <a:gd name="connsiteX4287" fmla="*/ 1496743 w 4381952"/>
                  <a:gd name="connsiteY4287" fmla="*/ 6180351 h 7571038"/>
                  <a:gd name="connsiteX4288" fmla="*/ 1496989 w 4381952"/>
                  <a:gd name="connsiteY4288" fmla="*/ 5955969 h 7571038"/>
                  <a:gd name="connsiteX4289" fmla="*/ 1495016 w 4381952"/>
                  <a:gd name="connsiteY4289" fmla="*/ 5953995 h 7571038"/>
                  <a:gd name="connsiteX4290" fmla="*/ 1493044 w 4381952"/>
                  <a:gd name="connsiteY4290" fmla="*/ 5955969 h 7571038"/>
                  <a:gd name="connsiteX4291" fmla="*/ 1495016 w 4381952"/>
                  <a:gd name="connsiteY4291" fmla="*/ 5957941 h 7571038"/>
                  <a:gd name="connsiteX4292" fmla="*/ 1496989 w 4381952"/>
                  <a:gd name="connsiteY4292" fmla="*/ 5955969 h 7571038"/>
                  <a:gd name="connsiteX4293" fmla="*/ 1497235 w 4381952"/>
                  <a:gd name="connsiteY4293" fmla="*/ 5616434 h 7571038"/>
                  <a:gd name="connsiteX4294" fmla="*/ 1495510 w 4381952"/>
                  <a:gd name="connsiteY4294" fmla="*/ 5614707 h 7571038"/>
                  <a:gd name="connsiteX4295" fmla="*/ 1493784 w 4381952"/>
                  <a:gd name="connsiteY4295" fmla="*/ 5616434 h 7571038"/>
                  <a:gd name="connsiteX4296" fmla="*/ 1495510 w 4381952"/>
                  <a:gd name="connsiteY4296" fmla="*/ 5618158 h 7571038"/>
                  <a:gd name="connsiteX4297" fmla="*/ 1497235 w 4381952"/>
                  <a:gd name="connsiteY4297" fmla="*/ 5616434 h 7571038"/>
                  <a:gd name="connsiteX4298" fmla="*/ 1497237 w 4381952"/>
                  <a:gd name="connsiteY4298" fmla="*/ 6068157 h 7571038"/>
                  <a:gd name="connsiteX4299" fmla="*/ 1494772 w 4381952"/>
                  <a:gd name="connsiteY4299" fmla="*/ 6065693 h 7571038"/>
                  <a:gd name="connsiteX4300" fmla="*/ 1492306 w 4381952"/>
                  <a:gd name="connsiteY4300" fmla="*/ 6068157 h 7571038"/>
                  <a:gd name="connsiteX4301" fmla="*/ 1494772 w 4381952"/>
                  <a:gd name="connsiteY4301" fmla="*/ 6070625 h 7571038"/>
                  <a:gd name="connsiteX4302" fmla="*/ 1497237 w 4381952"/>
                  <a:gd name="connsiteY4302" fmla="*/ 6068157 h 7571038"/>
                  <a:gd name="connsiteX4303" fmla="*/ 1498468 w 4381952"/>
                  <a:gd name="connsiteY4303" fmla="*/ 5843035 h 7571038"/>
                  <a:gd name="connsiteX4304" fmla="*/ 1495015 w 4381952"/>
                  <a:gd name="connsiteY4304" fmla="*/ 5839582 h 7571038"/>
                  <a:gd name="connsiteX4305" fmla="*/ 1491565 w 4381952"/>
                  <a:gd name="connsiteY4305" fmla="*/ 5843035 h 7571038"/>
                  <a:gd name="connsiteX4306" fmla="*/ 1495015 w 4381952"/>
                  <a:gd name="connsiteY4306" fmla="*/ 5846486 h 7571038"/>
                  <a:gd name="connsiteX4307" fmla="*/ 1498468 w 4381952"/>
                  <a:gd name="connsiteY4307" fmla="*/ 5843035 h 7571038"/>
                  <a:gd name="connsiteX4308" fmla="*/ 1498961 w 4381952"/>
                  <a:gd name="connsiteY4308" fmla="*/ 6736134 h 7571038"/>
                  <a:gd name="connsiteX4309" fmla="*/ 1491566 w 4381952"/>
                  <a:gd name="connsiteY4309" fmla="*/ 6728735 h 7571038"/>
                  <a:gd name="connsiteX4310" fmla="*/ 1484167 w 4381952"/>
                  <a:gd name="connsiteY4310" fmla="*/ 6736134 h 7571038"/>
                  <a:gd name="connsiteX4311" fmla="*/ 1491566 w 4381952"/>
                  <a:gd name="connsiteY4311" fmla="*/ 6743529 h 7571038"/>
                  <a:gd name="connsiteX4312" fmla="*/ 1498961 w 4381952"/>
                  <a:gd name="connsiteY4312" fmla="*/ 6736134 h 7571038"/>
                  <a:gd name="connsiteX4313" fmla="*/ 1498963 w 4381952"/>
                  <a:gd name="connsiteY4313" fmla="*/ 6625173 h 7571038"/>
                  <a:gd name="connsiteX4314" fmla="*/ 1491319 w 4381952"/>
                  <a:gd name="connsiteY4314" fmla="*/ 6617528 h 7571038"/>
                  <a:gd name="connsiteX4315" fmla="*/ 1483675 w 4381952"/>
                  <a:gd name="connsiteY4315" fmla="*/ 6625173 h 7571038"/>
                  <a:gd name="connsiteX4316" fmla="*/ 1491319 w 4381952"/>
                  <a:gd name="connsiteY4316" fmla="*/ 6632814 h 7571038"/>
                  <a:gd name="connsiteX4317" fmla="*/ 1498963 w 4381952"/>
                  <a:gd name="connsiteY4317" fmla="*/ 6625173 h 7571038"/>
                  <a:gd name="connsiteX4318" fmla="*/ 1499949 w 4381952"/>
                  <a:gd name="connsiteY4318" fmla="*/ 6847091 h 7571038"/>
                  <a:gd name="connsiteX4319" fmla="*/ 1491565 w 4381952"/>
                  <a:gd name="connsiteY4319" fmla="*/ 6838706 h 7571038"/>
                  <a:gd name="connsiteX4320" fmla="*/ 1483182 w 4381952"/>
                  <a:gd name="connsiteY4320" fmla="*/ 6847091 h 7571038"/>
                  <a:gd name="connsiteX4321" fmla="*/ 1491565 w 4381952"/>
                  <a:gd name="connsiteY4321" fmla="*/ 6855473 h 7571038"/>
                  <a:gd name="connsiteX4322" fmla="*/ 1499949 w 4381952"/>
                  <a:gd name="connsiteY4322" fmla="*/ 6847091 h 7571038"/>
                  <a:gd name="connsiteX4323" fmla="*/ 1500688 w 4381952"/>
                  <a:gd name="connsiteY4323" fmla="*/ 3565662 h 7571038"/>
                  <a:gd name="connsiteX4324" fmla="*/ 1460742 w 4381952"/>
                  <a:gd name="connsiteY4324" fmla="*/ 3525718 h 7571038"/>
                  <a:gd name="connsiteX4325" fmla="*/ 1420798 w 4381952"/>
                  <a:gd name="connsiteY4325" fmla="*/ 3565662 h 7571038"/>
                  <a:gd name="connsiteX4326" fmla="*/ 1460742 w 4381952"/>
                  <a:gd name="connsiteY4326" fmla="*/ 3605608 h 7571038"/>
                  <a:gd name="connsiteX4327" fmla="*/ 1500688 w 4381952"/>
                  <a:gd name="connsiteY4327" fmla="*/ 3565662 h 7571038"/>
                  <a:gd name="connsiteX4328" fmla="*/ 1500936 w 4381952"/>
                  <a:gd name="connsiteY4328" fmla="*/ 5729858 h 7571038"/>
                  <a:gd name="connsiteX4329" fmla="*/ 1495265 w 4381952"/>
                  <a:gd name="connsiteY4329" fmla="*/ 5724186 h 7571038"/>
                  <a:gd name="connsiteX4330" fmla="*/ 1489592 w 4381952"/>
                  <a:gd name="connsiteY4330" fmla="*/ 5729858 h 7571038"/>
                  <a:gd name="connsiteX4331" fmla="*/ 1495265 w 4381952"/>
                  <a:gd name="connsiteY4331" fmla="*/ 5735527 h 7571038"/>
                  <a:gd name="connsiteX4332" fmla="*/ 1500936 w 4381952"/>
                  <a:gd name="connsiteY4332" fmla="*/ 5729858 h 7571038"/>
                  <a:gd name="connsiteX4333" fmla="*/ 1504386 w 4381952"/>
                  <a:gd name="connsiteY4333" fmla="*/ 6403748 h 7571038"/>
                  <a:gd name="connsiteX4334" fmla="*/ 1495018 w 4381952"/>
                  <a:gd name="connsiteY4334" fmla="*/ 6394378 h 7571038"/>
                  <a:gd name="connsiteX4335" fmla="*/ 1485647 w 4381952"/>
                  <a:gd name="connsiteY4335" fmla="*/ 6403748 h 7571038"/>
                  <a:gd name="connsiteX4336" fmla="*/ 1495018 w 4381952"/>
                  <a:gd name="connsiteY4336" fmla="*/ 6413117 h 7571038"/>
                  <a:gd name="connsiteX4337" fmla="*/ 1504386 w 4381952"/>
                  <a:gd name="connsiteY4337" fmla="*/ 6403748 h 7571038"/>
                  <a:gd name="connsiteX4338" fmla="*/ 1504632 w 4381952"/>
                  <a:gd name="connsiteY4338" fmla="*/ 5158049 h 7571038"/>
                  <a:gd name="connsiteX4339" fmla="*/ 1503894 w 4381952"/>
                  <a:gd name="connsiteY4339" fmla="*/ 5157308 h 7571038"/>
                  <a:gd name="connsiteX4340" fmla="*/ 1503155 w 4381952"/>
                  <a:gd name="connsiteY4340" fmla="*/ 5158049 h 7571038"/>
                  <a:gd name="connsiteX4341" fmla="*/ 1503894 w 4381952"/>
                  <a:gd name="connsiteY4341" fmla="*/ 5159036 h 7571038"/>
                  <a:gd name="connsiteX4342" fmla="*/ 1504632 w 4381952"/>
                  <a:gd name="connsiteY4342" fmla="*/ 5158049 h 7571038"/>
                  <a:gd name="connsiteX4343" fmla="*/ 1504634 w 4381952"/>
                  <a:gd name="connsiteY4343" fmla="*/ 3331919 h 7571038"/>
                  <a:gd name="connsiteX4344" fmla="*/ 1469866 w 4381952"/>
                  <a:gd name="connsiteY4344" fmla="*/ 3297153 h 7571038"/>
                  <a:gd name="connsiteX4345" fmla="*/ 1435100 w 4381952"/>
                  <a:gd name="connsiteY4345" fmla="*/ 3331919 h 7571038"/>
                  <a:gd name="connsiteX4346" fmla="*/ 1469866 w 4381952"/>
                  <a:gd name="connsiteY4346" fmla="*/ 3366689 h 7571038"/>
                  <a:gd name="connsiteX4347" fmla="*/ 1504634 w 4381952"/>
                  <a:gd name="connsiteY4347" fmla="*/ 3331919 h 7571038"/>
                  <a:gd name="connsiteX4348" fmla="*/ 1505619 w 4381952"/>
                  <a:gd name="connsiteY4348" fmla="*/ 6292298 h 7571038"/>
                  <a:gd name="connsiteX4349" fmla="*/ 1495016 w 4381952"/>
                  <a:gd name="connsiteY4349" fmla="*/ 6281693 h 7571038"/>
                  <a:gd name="connsiteX4350" fmla="*/ 1484167 w 4381952"/>
                  <a:gd name="connsiteY4350" fmla="*/ 6292298 h 7571038"/>
                  <a:gd name="connsiteX4351" fmla="*/ 1495016 w 4381952"/>
                  <a:gd name="connsiteY4351" fmla="*/ 6302900 h 7571038"/>
                  <a:gd name="connsiteX4352" fmla="*/ 1505619 w 4381952"/>
                  <a:gd name="connsiteY4352" fmla="*/ 6292298 h 7571038"/>
                  <a:gd name="connsiteX4353" fmla="*/ 1507346 w 4381952"/>
                  <a:gd name="connsiteY4353" fmla="*/ 2683195 h 7571038"/>
                  <a:gd name="connsiteX4354" fmla="*/ 1492059 w 4381952"/>
                  <a:gd name="connsiteY4354" fmla="*/ 2667906 h 7571038"/>
                  <a:gd name="connsiteX4355" fmla="*/ 1476770 w 4381952"/>
                  <a:gd name="connsiteY4355" fmla="*/ 2683195 h 7571038"/>
                  <a:gd name="connsiteX4356" fmla="*/ 1492059 w 4381952"/>
                  <a:gd name="connsiteY4356" fmla="*/ 2698481 h 7571038"/>
                  <a:gd name="connsiteX4357" fmla="*/ 1507346 w 4381952"/>
                  <a:gd name="connsiteY4357" fmla="*/ 2683195 h 7571038"/>
                  <a:gd name="connsiteX4358" fmla="*/ 1509567 w 4381952"/>
                  <a:gd name="connsiteY4358" fmla="*/ 2298801 h 7571038"/>
                  <a:gd name="connsiteX4359" fmla="*/ 1468879 w 4381952"/>
                  <a:gd name="connsiteY4359" fmla="*/ 2258119 h 7571038"/>
                  <a:gd name="connsiteX4360" fmla="*/ 1428195 w 4381952"/>
                  <a:gd name="connsiteY4360" fmla="*/ 2298801 h 7571038"/>
                  <a:gd name="connsiteX4361" fmla="*/ 1468879 w 4381952"/>
                  <a:gd name="connsiteY4361" fmla="*/ 2339240 h 7571038"/>
                  <a:gd name="connsiteX4362" fmla="*/ 1509567 w 4381952"/>
                  <a:gd name="connsiteY4362" fmla="*/ 2298801 h 7571038"/>
                  <a:gd name="connsiteX4363" fmla="*/ 1512277 w 4381952"/>
                  <a:gd name="connsiteY4363" fmla="*/ 441804 h 7571038"/>
                  <a:gd name="connsiteX4364" fmla="*/ 1488112 w 4381952"/>
                  <a:gd name="connsiteY4364" fmla="*/ 417641 h 7571038"/>
                  <a:gd name="connsiteX4365" fmla="*/ 1463948 w 4381952"/>
                  <a:gd name="connsiteY4365" fmla="*/ 441804 h 7571038"/>
                  <a:gd name="connsiteX4366" fmla="*/ 1488112 w 4381952"/>
                  <a:gd name="connsiteY4366" fmla="*/ 465969 h 7571038"/>
                  <a:gd name="connsiteX4367" fmla="*/ 1512277 w 4381952"/>
                  <a:gd name="connsiteY4367" fmla="*/ 441804 h 7571038"/>
                  <a:gd name="connsiteX4368" fmla="*/ 1512523 w 4381952"/>
                  <a:gd name="connsiteY4368" fmla="*/ 3945389 h 7571038"/>
                  <a:gd name="connsiteX4369" fmla="*/ 1490087 w 4381952"/>
                  <a:gd name="connsiteY4369" fmla="*/ 3922949 h 7571038"/>
                  <a:gd name="connsiteX4370" fmla="*/ 1467648 w 4381952"/>
                  <a:gd name="connsiteY4370" fmla="*/ 3945389 h 7571038"/>
                  <a:gd name="connsiteX4371" fmla="*/ 1490087 w 4381952"/>
                  <a:gd name="connsiteY4371" fmla="*/ 3967825 h 7571038"/>
                  <a:gd name="connsiteX4372" fmla="*/ 1512523 w 4381952"/>
                  <a:gd name="connsiteY4372" fmla="*/ 3945389 h 7571038"/>
                  <a:gd name="connsiteX4373" fmla="*/ 1512769 w 4381952"/>
                  <a:gd name="connsiteY4373" fmla="*/ 330869 h 7571038"/>
                  <a:gd name="connsiteX4374" fmla="*/ 1488360 w 4381952"/>
                  <a:gd name="connsiteY4374" fmla="*/ 306458 h 7571038"/>
                  <a:gd name="connsiteX4375" fmla="*/ 1463948 w 4381952"/>
                  <a:gd name="connsiteY4375" fmla="*/ 330869 h 7571038"/>
                  <a:gd name="connsiteX4376" fmla="*/ 1488360 w 4381952"/>
                  <a:gd name="connsiteY4376" fmla="*/ 355277 h 7571038"/>
                  <a:gd name="connsiteX4377" fmla="*/ 1512769 w 4381952"/>
                  <a:gd name="connsiteY4377" fmla="*/ 330869 h 7571038"/>
                  <a:gd name="connsiteX4378" fmla="*/ 1513073 w 4381952"/>
                  <a:gd name="connsiteY4378" fmla="*/ 0 h 7571038"/>
                  <a:gd name="connsiteX4379" fmla="*/ 1464159 w 4381952"/>
                  <a:gd name="connsiteY4379" fmla="*/ 0 h 7571038"/>
                  <a:gd name="connsiteX4380" fmla="*/ 1470854 w 4381952"/>
                  <a:gd name="connsiteY4380" fmla="*/ 16067 h 7571038"/>
                  <a:gd name="connsiteX4381" fmla="*/ 1488609 w 4381952"/>
                  <a:gd name="connsiteY4381" fmla="*/ 23464 h 7571038"/>
                  <a:gd name="connsiteX4382" fmla="*/ 1506545 w 4381952"/>
                  <a:gd name="connsiteY4382" fmla="*/ 16067 h 7571038"/>
                  <a:gd name="connsiteX4383" fmla="*/ 1514003 w 4381952"/>
                  <a:gd name="connsiteY4383" fmla="*/ 108754 h 7571038"/>
                  <a:gd name="connsiteX4384" fmla="*/ 1488606 w 4381952"/>
                  <a:gd name="connsiteY4384" fmla="*/ 83358 h 7571038"/>
                  <a:gd name="connsiteX4385" fmla="*/ 1463208 w 4381952"/>
                  <a:gd name="connsiteY4385" fmla="*/ 108754 h 7571038"/>
                  <a:gd name="connsiteX4386" fmla="*/ 1488606 w 4381952"/>
                  <a:gd name="connsiteY4386" fmla="*/ 134151 h 7571038"/>
                  <a:gd name="connsiteX4387" fmla="*/ 1514003 w 4381952"/>
                  <a:gd name="connsiteY4387" fmla="*/ 108754 h 7571038"/>
                  <a:gd name="connsiteX4388" fmla="*/ 1514497 w 4381952"/>
                  <a:gd name="connsiteY4388" fmla="*/ 219687 h 7571038"/>
                  <a:gd name="connsiteX4389" fmla="*/ 1488853 w 4381952"/>
                  <a:gd name="connsiteY4389" fmla="*/ 194044 h 7571038"/>
                  <a:gd name="connsiteX4390" fmla="*/ 1463208 w 4381952"/>
                  <a:gd name="connsiteY4390" fmla="*/ 219687 h 7571038"/>
                  <a:gd name="connsiteX4391" fmla="*/ 1488853 w 4381952"/>
                  <a:gd name="connsiteY4391" fmla="*/ 245330 h 7571038"/>
                  <a:gd name="connsiteX4392" fmla="*/ 1514497 w 4381952"/>
                  <a:gd name="connsiteY4392" fmla="*/ 219687 h 7571038"/>
                  <a:gd name="connsiteX4393" fmla="*/ 1515237 w 4381952"/>
                  <a:gd name="connsiteY4393" fmla="*/ 1681933 h 7571038"/>
                  <a:gd name="connsiteX4394" fmla="*/ 1500196 w 4381952"/>
                  <a:gd name="connsiteY4394" fmla="*/ 1666891 h 7571038"/>
                  <a:gd name="connsiteX4395" fmla="*/ 1485156 w 4381952"/>
                  <a:gd name="connsiteY4395" fmla="*/ 1681933 h 7571038"/>
                  <a:gd name="connsiteX4396" fmla="*/ 1500196 w 4381952"/>
                  <a:gd name="connsiteY4396" fmla="*/ 1696976 h 7571038"/>
                  <a:gd name="connsiteX4397" fmla="*/ 1515237 w 4381952"/>
                  <a:gd name="connsiteY4397" fmla="*/ 1681933 h 7571038"/>
                  <a:gd name="connsiteX4398" fmla="*/ 1517949 w 4381952"/>
                  <a:gd name="connsiteY4398" fmla="*/ 1566547 h 7571038"/>
                  <a:gd name="connsiteX4399" fmla="*/ 1499456 w 4381952"/>
                  <a:gd name="connsiteY4399" fmla="*/ 1548055 h 7571038"/>
                  <a:gd name="connsiteX4400" fmla="*/ 1480962 w 4381952"/>
                  <a:gd name="connsiteY4400" fmla="*/ 1566547 h 7571038"/>
                  <a:gd name="connsiteX4401" fmla="*/ 1499456 w 4381952"/>
                  <a:gd name="connsiteY4401" fmla="*/ 1585041 h 7571038"/>
                  <a:gd name="connsiteX4402" fmla="*/ 1517949 w 4381952"/>
                  <a:gd name="connsiteY4402" fmla="*/ 1566547 h 7571038"/>
                  <a:gd name="connsiteX4403" fmla="*/ 1519181 w 4381952"/>
                  <a:gd name="connsiteY4403" fmla="*/ 2423561 h 7571038"/>
                  <a:gd name="connsiteX4404" fmla="*/ 1474552 w 4381952"/>
                  <a:gd name="connsiteY4404" fmla="*/ 2378932 h 7571038"/>
                  <a:gd name="connsiteX4405" fmla="*/ 1429922 w 4381952"/>
                  <a:gd name="connsiteY4405" fmla="*/ 2423561 h 7571038"/>
                  <a:gd name="connsiteX4406" fmla="*/ 1474552 w 4381952"/>
                  <a:gd name="connsiteY4406" fmla="*/ 2468193 h 7571038"/>
                  <a:gd name="connsiteX4407" fmla="*/ 1519181 w 4381952"/>
                  <a:gd name="connsiteY4407" fmla="*/ 2423561 h 7571038"/>
                  <a:gd name="connsiteX4408" fmla="*/ 1520168 w 4381952"/>
                  <a:gd name="connsiteY4408" fmla="*/ 5389581 h 7571038"/>
                  <a:gd name="connsiteX4409" fmla="*/ 1501922 w 4381952"/>
                  <a:gd name="connsiteY4409" fmla="*/ 5371336 h 7571038"/>
                  <a:gd name="connsiteX4410" fmla="*/ 1483675 w 4381952"/>
                  <a:gd name="connsiteY4410" fmla="*/ 5389581 h 7571038"/>
                  <a:gd name="connsiteX4411" fmla="*/ 1501922 w 4381952"/>
                  <a:gd name="connsiteY4411" fmla="*/ 5407830 h 7571038"/>
                  <a:gd name="connsiteX4412" fmla="*/ 1520168 w 4381952"/>
                  <a:gd name="connsiteY4412" fmla="*/ 5389581 h 7571038"/>
                  <a:gd name="connsiteX4413" fmla="*/ 1522141 w 4381952"/>
                  <a:gd name="connsiteY4413" fmla="*/ 1452148 h 7571038"/>
                  <a:gd name="connsiteX4414" fmla="*/ 1498469 w 4381952"/>
                  <a:gd name="connsiteY4414" fmla="*/ 1428481 h 7571038"/>
                  <a:gd name="connsiteX4415" fmla="*/ 1474798 w 4381952"/>
                  <a:gd name="connsiteY4415" fmla="*/ 1452148 h 7571038"/>
                  <a:gd name="connsiteX4416" fmla="*/ 1498469 w 4381952"/>
                  <a:gd name="connsiteY4416" fmla="*/ 1475821 h 7571038"/>
                  <a:gd name="connsiteX4417" fmla="*/ 1522141 w 4381952"/>
                  <a:gd name="connsiteY4417" fmla="*/ 1452148 h 7571038"/>
                  <a:gd name="connsiteX4418" fmla="*/ 1522881 w 4381952"/>
                  <a:gd name="connsiteY4418" fmla="*/ 1914921 h 7571038"/>
                  <a:gd name="connsiteX4419" fmla="*/ 1503155 w 4381952"/>
                  <a:gd name="connsiteY4419" fmla="*/ 1895201 h 7571038"/>
                  <a:gd name="connsiteX4420" fmla="*/ 1483429 w 4381952"/>
                  <a:gd name="connsiteY4420" fmla="*/ 1914921 h 7571038"/>
                  <a:gd name="connsiteX4421" fmla="*/ 1503155 w 4381952"/>
                  <a:gd name="connsiteY4421" fmla="*/ 1934642 h 7571038"/>
                  <a:gd name="connsiteX4422" fmla="*/ 1522881 w 4381952"/>
                  <a:gd name="connsiteY4422" fmla="*/ 1914921 h 7571038"/>
                  <a:gd name="connsiteX4423" fmla="*/ 1524851 w 4381952"/>
                  <a:gd name="connsiteY4423" fmla="*/ 4686102 h 7571038"/>
                  <a:gd name="connsiteX4424" fmla="*/ 1519673 w 4381952"/>
                  <a:gd name="connsiteY4424" fmla="*/ 4680924 h 7571038"/>
                  <a:gd name="connsiteX4425" fmla="*/ 1514497 w 4381952"/>
                  <a:gd name="connsiteY4425" fmla="*/ 4686102 h 7571038"/>
                  <a:gd name="connsiteX4426" fmla="*/ 1519673 w 4381952"/>
                  <a:gd name="connsiteY4426" fmla="*/ 4691278 h 7571038"/>
                  <a:gd name="connsiteX4427" fmla="*/ 1524851 w 4381952"/>
                  <a:gd name="connsiteY4427" fmla="*/ 4686102 h 7571038"/>
                  <a:gd name="connsiteX4428" fmla="*/ 1526331 w 4381952"/>
                  <a:gd name="connsiteY4428" fmla="*/ 3680567 h 7571038"/>
                  <a:gd name="connsiteX4429" fmla="*/ 1484166 w 4381952"/>
                  <a:gd name="connsiteY4429" fmla="*/ 3638402 h 7571038"/>
                  <a:gd name="connsiteX4430" fmla="*/ 1441755 w 4381952"/>
                  <a:gd name="connsiteY4430" fmla="*/ 3680567 h 7571038"/>
                  <a:gd name="connsiteX4431" fmla="*/ 1484166 w 4381952"/>
                  <a:gd name="connsiteY4431" fmla="*/ 3722730 h 7571038"/>
                  <a:gd name="connsiteX4432" fmla="*/ 1526331 w 4381952"/>
                  <a:gd name="connsiteY4432" fmla="*/ 3680567 h 7571038"/>
                  <a:gd name="connsiteX4433" fmla="*/ 1527812 w 4381952"/>
                  <a:gd name="connsiteY4433" fmla="*/ 1797842 h 7571038"/>
                  <a:gd name="connsiteX4434" fmla="*/ 1501677 w 4381952"/>
                  <a:gd name="connsiteY4434" fmla="*/ 1771689 h 7571038"/>
                  <a:gd name="connsiteX4435" fmla="*/ 1475538 w 4381952"/>
                  <a:gd name="connsiteY4435" fmla="*/ 1797842 h 7571038"/>
                  <a:gd name="connsiteX4436" fmla="*/ 1501677 w 4381952"/>
                  <a:gd name="connsiteY4436" fmla="*/ 1823971 h 7571038"/>
                  <a:gd name="connsiteX4437" fmla="*/ 1527812 w 4381952"/>
                  <a:gd name="connsiteY4437" fmla="*/ 1797842 h 7571038"/>
                  <a:gd name="connsiteX4438" fmla="*/ 1529044 w 4381952"/>
                  <a:gd name="connsiteY4438" fmla="*/ 2819298 h 7571038"/>
                  <a:gd name="connsiteX4439" fmla="*/ 1505619 w 4381952"/>
                  <a:gd name="connsiteY4439" fmla="*/ 2795871 h 7571038"/>
                  <a:gd name="connsiteX4440" fmla="*/ 1482194 w 4381952"/>
                  <a:gd name="connsiteY4440" fmla="*/ 2819298 h 7571038"/>
                  <a:gd name="connsiteX4441" fmla="*/ 1505619 w 4381952"/>
                  <a:gd name="connsiteY4441" fmla="*/ 2842723 h 7571038"/>
                  <a:gd name="connsiteX4442" fmla="*/ 1529044 w 4381952"/>
                  <a:gd name="connsiteY4442" fmla="*/ 2819298 h 7571038"/>
                  <a:gd name="connsiteX4443" fmla="*/ 1532990 w 4381952"/>
                  <a:gd name="connsiteY4443" fmla="*/ 3219481 h 7571038"/>
                  <a:gd name="connsiteX4444" fmla="*/ 1502663 w 4381952"/>
                  <a:gd name="connsiteY4444" fmla="*/ 3189151 h 7571038"/>
                  <a:gd name="connsiteX4445" fmla="*/ 1472334 w 4381952"/>
                  <a:gd name="connsiteY4445" fmla="*/ 3219481 h 7571038"/>
                  <a:gd name="connsiteX4446" fmla="*/ 1502663 w 4381952"/>
                  <a:gd name="connsiteY4446" fmla="*/ 3249807 h 7571038"/>
                  <a:gd name="connsiteX4447" fmla="*/ 1532990 w 4381952"/>
                  <a:gd name="connsiteY4447" fmla="*/ 3219481 h 7571038"/>
                  <a:gd name="connsiteX4448" fmla="*/ 1533976 w 4381952"/>
                  <a:gd name="connsiteY4448" fmla="*/ 5274187 h 7571038"/>
                  <a:gd name="connsiteX4449" fmla="*/ 1502906 w 4381952"/>
                  <a:gd name="connsiteY4449" fmla="*/ 5243116 h 7571038"/>
                  <a:gd name="connsiteX4450" fmla="*/ 1471839 w 4381952"/>
                  <a:gd name="connsiteY4450" fmla="*/ 5274187 h 7571038"/>
                  <a:gd name="connsiteX4451" fmla="*/ 1502906 w 4381952"/>
                  <a:gd name="connsiteY4451" fmla="*/ 5305253 h 7571038"/>
                  <a:gd name="connsiteX4452" fmla="*/ 1533976 w 4381952"/>
                  <a:gd name="connsiteY4452" fmla="*/ 5274187 h 7571038"/>
                  <a:gd name="connsiteX4453" fmla="*/ 1534224 w 4381952"/>
                  <a:gd name="connsiteY4453" fmla="*/ 2551527 h 7571038"/>
                  <a:gd name="connsiteX4454" fmla="*/ 1482197 w 4381952"/>
                  <a:gd name="connsiteY4454" fmla="*/ 2499500 h 7571038"/>
                  <a:gd name="connsiteX4455" fmla="*/ 1430169 w 4381952"/>
                  <a:gd name="connsiteY4455" fmla="*/ 2551527 h 7571038"/>
                  <a:gd name="connsiteX4456" fmla="*/ 1482197 w 4381952"/>
                  <a:gd name="connsiteY4456" fmla="*/ 2603556 h 7571038"/>
                  <a:gd name="connsiteX4457" fmla="*/ 1534224 w 4381952"/>
                  <a:gd name="connsiteY4457" fmla="*/ 2551527 h 7571038"/>
                  <a:gd name="connsiteX4458" fmla="*/ 1534716 w 4381952"/>
                  <a:gd name="connsiteY4458" fmla="*/ 5041171 h 7571038"/>
                  <a:gd name="connsiteX4459" fmla="*/ 1505127 w 4381952"/>
                  <a:gd name="connsiteY4459" fmla="*/ 5011582 h 7571038"/>
                  <a:gd name="connsiteX4460" fmla="*/ 1475538 w 4381952"/>
                  <a:gd name="connsiteY4460" fmla="*/ 5041171 h 7571038"/>
                  <a:gd name="connsiteX4461" fmla="*/ 1505127 w 4381952"/>
                  <a:gd name="connsiteY4461" fmla="*/ 5070760 h 7571038"/>
                  <a:gd name="connsiteX4462" fmla="*/ 1534716 w 4381952"/>
                  <a:gd name="connsiteY4462" fmla="*/ 5041171 h 7571038"/>
                  <a:gd name="connsiteX4463" fmla="*/ 1537182 w 4381952"/>
                  <a:gd name="connsiteY4463" fmla="*/ 4802980 h 7571038"/>
                  <a:gd name="connsiteX4464" fmla="*/ 1508828 w 4381952"/>
                  <a:gd name="connsiteY4464" fmla="*/ 4774623 h 7571038"/>
                  <a:gd name="connsiteX4465" fmla="*/ 1480470 w 4381952"/>
                  <a:gd name="connsiteY4465" fmla="*/ 4802980 h 7571038"/>
                  <a:gd name="connsiteX4466" fmla="*/ 1508828 w 4381952"/>
                  <a:gd name="connsiteY4466" fmla="*/ 4831337 h 7571038"/>
                  <a:gd name="connsiteX4467" fmla="*/ 1537182 w 4381952"/>
                  <a:gd name="connsiteY4467" fmla="*/ 4802980 h 7571038"/>
                  <a:gd name="connsiteX4468" fmla="*/ 1542853 w 4381952"/>
                  <a:gd name="connsiteY4468" fmla="*/ 2033000 h 7571038"/>
                  <a:gd name="connsiteX4469" fmla="*/ 1505373 w 4381952"/>
                  <a:gd name="connsiteY4469" fmla="*/ 1995523 h 7571038"/>
                  <a:gd name="connsiteX4470" fmla="*/ 1467894 w 4381952"/>
                  <a:gd name="connsiteY4470" fmla="*/ 2033000 h 7571038"/>
                  <a:gd name="connsiteX4471" fmla="*/ 1505373 w 4381952"/>
                  <a:gd name="connsiteY4471" fmla="*/ 2070483 h 7571038"/>
                  <a:gd name="connsiteX4472" fmla="*/ 1542853 w 4381952"/>
                  <a:gd name="connsiteY4472" fmla="*/ 2033000 h 7571038"/>
                  <a:gd name="connsiteX4473" fmla="*/ 1545317 w 4381952"/>
                  <a:gd name="connsiteY4473" fmla="*/ 2152837 h 7571038"/>
                  <a:gd name="connsiteX4474" fmla="*/ 1507591 w 4381952"/>
                  <a:gd name="connsiteY4474" fmla="*/ 2115109 h 7571038"/>
                  <a:gd name="connsiteX4475" fmla="*/ 1469866 w 4381952"/>
                  <a:gd name="connsiteY4475" fmla="*/ 2152837 h 7571038"/>
                  <a:gd name="connsiteX4476" fmla="*/ 1507591 w 4381952"/>
                  <a:gd name="connsiteY4476" fmla="*/ 2190562 h 7571038"/>
                  <a:gd name="connsiteX4477" fmla="*/ 1545317 w 4381952"/>
                  <a:gd name="connsiteY4477" fmla="*/ 2152837 h 7571038"/>
                  <a:gd name="connsiteX4478" fmla="*/ 1549263 w 4381952"/>
                  <a:gd name="connsiteY4478" fmla="*/ 2962306 h 7571038"/>
                  <a:gd name="connsiteX4479" fmla="*/ 1524605 w 4381952"/>
                  <a:gd name="connsiteY4479" fmla="*/ 2937649 h 7571038"/>
                  <a:gd name="connsiteX4480" fmla="*/ 1499948 w 4381952"/>
                  <a:gd name="connsiteY4480" fmla="*/ 2962306 h 7571038"/>
                  <a:gd name="connsiteX4481" fmla="*/ 1524605 w 4381952"/>
                  <a:gd name="connsiteY4481" fmla="*/ 2986964 h 7571038"/>
                  <a:gd name="connsiteX4482" fmla="*/ 1549263 w 4381952"/>
                  <a:gd name="connsiteY4482" fmla="*/ 2962306 h 7571038"/>
                  <a:gd name="connsiteX4483" fmla="*/ 1555183 w 4381952"/>
                  <a:gd name="connsiteY4483" fmla="*/ 4563309 h 7571038"/>
                  <a:gd name="connsiteX4484" fmla="*/ 1523868 w 4381952"/>
                  <a:gd name="connsiteY4484" fmla="*/ 4531992 h 7571038"/>
                  <a:gd name="connsiteX4485" fmla="*/ 1492551 w 4381952"/>
                  <a:gd name="connsiteY4485" fmla="*/ 4563309 h 7571038"/>
                  <a:gd name="connsiteX4486" fmla="*/ 1523868 w 4381952"/>
                  <a:gd name="connsiteY4486" fmla="*/ 4594625 h 7571038"/>
                  <a:gd name="connsiteX4487" fmla="*/ 1555183 w 4381952"/>
                  <a:gd name="connsiteY4487" fmla="*/ 4563309 h 7571038"/>
                  <a:gd name="connsiteX4488" fmla="*/ 1555428 w 4381952"/>
                  <a:gd name="connsiteY4488" fmla="*/ 4922565 h 7571038"/>
                  <a:gd name="connsiteX4489" fmla="*/ 1506606 w 4381952"/>
                  <a:gd name="connsiteY4489" fmla="*/ 4873745 h 7571038"/>
                  <a:gd name="connsiteX4490" fmla="*/ 1457785 w 4381952"/>
                  <a:gd name="connsiteY4490" fmla="*/ 4922565 h 7571038"/>
                  <a:gd name="connsiteX4491" fmla="*/ 1506606 w 4381952"/>
                  <a:gd name="connsiteY4491" fmla="*/ 4971389 h 7571038"/>
                  <a:gd name="connsiteX4492" fmla="*/ 1555428 w 4381952"/>
                  <a:gd name="connsiteY4492" fmla="*/ 4922565 h 7571038"/>
                  <a:gd name="connsiteX4493" fmla="*/ 1560112 w 4381952"/>
                  <a:gd name="connsiteY4493" fmla="*/ 4175934 h 7571038"/>
                  <a:gd name="connsiteX4494" fmla="*/ 1547044 w 4381952"/>
                  <a:gd name="connsiteY4494" fmla="*/ 4162866 h 7571038"/>
                  <a:gd name="connsiteX4495" fmla="*/ 1533976 w 4381952"/>
                  <a:gd name="connsiteY4495" fmla="*/ 4175934 h 7571038"/>
                  <a:gd name="connsiteX4496" fmla="*/ 1547044 w 4381952"/>
                  <a:gd name="connsiteY4496" fmla="*/ 4189002 h 7571038"/>
                  <a:gd name="connsiteX4497" fmla="*/ 1560112 w 4381952"/>
                  <a:gd name="connsiteY4497" fmla="*/ 4175934 h 7571038"/>
                  <a:gd name="connsiteX4498" fmla="*/ 1563812 w 4381952"/>
                  <a:gd name="connsiteY4498" fmla="*/ 4309086 h 7571038"/>
                  <a:gd name="connsiteX4499" fmla="*/ 1536935 w 4381952"/>
                  <a:gd name="connsiteY4499" fmla="*/ 4282209 h 7571038"/>
                  <a:gd name="connsiteX4500" fmla="*/ 1510059 w 4381952"/>
                  <a:gd name="connsiteY4500" fmla="*/ 4309086 h 7571038"/>
                  <a:gd name="connsiteX4501" fmla="*/ 1536935 w 4381952"/>
                  <a:gd name="connsiteY4501" fmla="*/ 4335965 h 7571038"/>
                  <a:gd name="connsiteX4502" fmla="*/ 1563812 w 4381952"/>
                  <a:gd name="connsiteY4502" fmla="*/ 4309086 h 7571038"/>
                  <a:gd name="connsiteX4503" fmla="*/ 1564552 w 4381952"/>
                  <a:gd name="connsiteY4503" fmla="*/ 4437552 h 7571038"/>
                  <a:gd name="connsiteX4504" fmla="*/ 1529537 w 4381952"/>
                  <a:gd name="connsiteY4504" fmla="*/ 4402539 h 7571038"/>
                  <a:gd name="connsiteX4505" fmla="*/ 1494525 w 4381952"/>
                  <a:gd name="connsiteY4505" fmla="*/ 4437552 h 7571038"/>
                  <a:gd name="connsiteX4506" fmla="*/ 1529537 w 4381952"/>
                  <a:gd name="connsiteY4506" fmla="*/ 4472567 h 7571038"/>
                  <a:gd name="connsiteX4507" fmla="*/ 1564552 w 4381952"/>
                  <a:gd name="connsiteY4507" fmla="*/ 4437552 h 7571038"/>
                  <a:gd name="connsiteX4508" fmla="*/ 1569483 w 4381952"/>
                  <a:gd name="connsiteY4508" fmla="*/ 3790045 h 7571038"/>
                  <a:gd name="connsiteX4509" fmla="*/ 1525837 w 4381952"/>
                  <a:gd name="connsiteY4509" fmla="*/ 3746401 h 7571038"/>
                  <a:gd name="connsiteX4510" fmla="*/ 1482194 w 4381952"/>
                  <a:gd name="connsiteY4510" fmla="*/ 3790045 h 7571038"/>
                  <a:gd name="connsiteX4511" fmla="*/ 1525837 w 4381952"/>
                  <a:gd name="connsiteY4511" fmla="*/ 3833691 h 7571038"/>
                  <a:gd name="connsiteX4512" fmla="*/ 1569483 w 4381952"/>
                  <a:gd name="connsiteY4512" fmla="*/ 3790045 h 7571038"/>
                  <a:gd name="connsiteX4513" fmla="*/ 1571947 w 4381952"/>
                  <a:gd name="connsiteY4513" fmla="*/ 1097372 h 7571038"/>
                  <a:gd name="connsiteX4514" fmla="*/ 1548276 w 4381952"/>
                  <a:gd name="connsiteY4514" fmla="*/ 1073700 h 7571038"/>
                  <a:gd name="connsiteX4515" fmla="*/ 1524605 w 4381952"/>
                  <a:gd name="connsiteY4515" fmla="*/ 1097372 h 7571038"/>
                  <a:gd name="connsiteX4516" fmla="*/ 1548276 w 4381952"/>
                  <a:gd name="connsiteY4516" fmla="*/ 1121043 h 7571038"/>
                  <a:gd name="connsiteX4517" fmla="*/ 1571947 w 4381952"/>
                  <a:gd name="connsiteY4517" fmla="*/ 1097372 h 7571038"/>
                  <a:gd name="connsiteX4518" fmla="*/ 1573920 w 4381952"/>
                  <a:gd name="connsiteY4518" fmla="*/ 873261 h 7571038"/>
                  <a:gd name="connsiteX4519" fmla="*/ 1549263 w 4381952"/>
                  <a:gd name="connsiteY4519" fmla="*/ 848613 h 7571038"/>
                  <a:gd name="connsiteX4520" fmla="*/ 1524605 w 4381952"/>
                  <a:gd name="connsiteY4520" fmla="*/ 873261 h 7571038"/>
                  <a:gd name="connsiteX4521" fmla="*/ 1549263 w 4381952"/>
                  <a:gd name="connsiteY4521" fmla="*/ 897927 h 7571038"/>
                  <a:gd name="connsiteX4522" fmla="*/ 1573920 w 4381952"/>
                  <a:gd name="connsiteY4522" fmla="*/ 873261 h 7571038"/>
                  <a:gd name="connsiteX4523" fmla="*/ 1574166 w 4381952"/>
                  <a:gd name="connsiteY4523" fmla="*/ 984951 h 7571038"/>
                  <a:gd name="connsiteX4524" fmla="*/ 1548276 w 4381952"/>
                  <a:gd name="connsiteY4524" fmla="*/ 959064 h 7571038"/>
                  <a:gd name="connsiteX4525" fmla="*/ 1522387 w 4381952"/>
                  <a:gd name="connsiteY4525" fmla="*/ 984951 h 7571038"/>
                  <a:gd name="connsiteX4526" fmla="*/ 1548276 w 4381952"/>
                  <a:gd name="connsiteY4526" fmla="*/ 1010843 h 7571038"/>
                  <a:gd name="connsiteX4527" fmla="*/ 1574166 w 4381952"/>
                  <a:gd name="connsiteY4527" fmla="*/ 984951 h 7571038"/>
                  <a:gd name="connsiteX4528" fmla="*/ 1574909 w 4381952"/>
                  <a:gd name="connsiteY4528" fmla="*/ 1322708 h 7571038"/>
                  <a:gd name="connsiteX4529" fmla="*/ 1547785 w 4381952"/>
                  <a:gd name="connsiteY4529" fmla="*/ 1295584 h 7571038"/>
                  <a:gd name="connsiteX4530" fmla="*/ 1520909 w 4381952"/>
                  <a:gd name="connsiteY4530" fmla="*/ 1322708 h 7571038"/>
                  <a:gd name="connsiteX4531" fmla="*/ 1547785 w 4381952"/>
                  <a:gd name="connsiteY4531" fmla="*/ 1349588 h 7571038"/>
                  <a:gd name="connsiteX4532" fmla="*/ 1574909 w 4381952"/>
                  <a:gd name="connsiteY4532" fmla="*/ 1322708 h 7571038"/>
                  <a:gd name="connsiteX4533" fmla="*/ 1575400 w 4381952"/>
                  <a:gd name="connsiteY4533" fmla="*/ 1209549 h 7571038"/>
                  <a:gd name="connsiteX4534" fmla="*/ 1548278 w 4381952"/>
                  <a:gd name="connsiteY4534" fmla="*/ 1182425 h 7571038"/>
                  <a:gd name="connsiteX4535" fmla="*/ 1521154 w 4381952"/>
                  <a:gd name="connsiteY4535" fmla="*/ 1209549 h 7571038"/>
                  <a:gd name="connsiteX4536" fmla="*/ 1548278 w 4381952"/>
                  <a:gd name="connsiteY4536" fmla="*/ 1236675 h 7571038"/>
                  <a:gd name="connsiteX4537" fmla="*/ 1575400 w 4381952"/>
                  <a:gd name="connsiteY4537" fmla="*/ 1209549 h 7571038"/>
                  <a:gd name="connsiteX4538" fmla="*/ 1576387 w 4381952"/>
                  <a:gd name="connsiteY4538" fmla="*/ 539429 h 7571038"/>
                  <a:gd name="connsiteX4539" fmla="*/ 1549263 w 4381952"/>
                  <a:gd name="connsiteY4539" fmla="*/ 512306 h 7571038"/>
                  <a:gd name="connsiteX4540" fmla="*/ 1522141 w 4381952"/>
                  <a:gd name="connsiteY4540" fmla="*/ 539429 h 7571038"/>
                  <a:gd name="connsiteX4541" fmla="*/ 1549263 w 4381952"/>
                  <a:gd name="connsiteY4541" fmla="*/ 566551 h 7571038"/>
                  <a:gd name="connsiteX4542" fmla="*/ 1576387 w 4381952"/>
                  <a:gd name="connsiteY4542" fmla="*/ 539429 h 7571038"/>
                  <a:gd name="connsiteX4543" fmla="*/ 1576389 w 4381952"/>
                  <a:gd name="connsiteY4543" fmla="*/ 650404 h 7571038"/>
                  <a:gd name="connsiteX4544" fmla="*/ 1549019 w 4381952"/>
                  <a:gd name="connsiteY4544" fmla="*/ 623242 h 7571038"/>
                  <a:gd name="connsiteX4545" fmla="*/ 1521649 w 4381952"/>
                  <a:gd name="connsiteY4545" fmla="*/ 650404 h 7571038"/>
                  <a:gd name="connsiteX4546" fmla="*/ 1549019 w 4381952"/>
                  <a:gd name="connsiteY4546" fmla="*/ 677767 h 7571038"/>
                  <a:gd name="connsiteX4547" fmla="*/ 1576389 w 4381952"/>
                  <a:gd name="connsiteY4547" fmla="*/ 650404 h 7571038"/>
                  <a:gd name="connsiteX4548" fmla="*/ 1576881 w 4381952"/>
                  <a:gd name="connsiteY4548" fmla="*/ 761837 h 7571038"/>
                  <a:gd name="connsiteX4549" fmla="*/ 1549265 w 4381952"/>
                  <a:gd name="connsiteY4549" fmla="*/ 734216 h 7571038"/>
                  <a:gd name="connsiteX4550" fmla="*/ 1521649 w 4381952"/>
                  <a:gd name="connsiteY4550" fmla="*/ 761837 h 7571038"/>
                  <a:gd name="connsiteX4551" fmla="*/ 1549265 w 4381952"/>
                  <a:gd name="connsiteY4551" fmla="*/ 789454 h 7571038"/>
                  <a:gd name="connsiteX4552" fmla="*/ 1576881 w 4381952"/>
                  <a:gd name="connsiteY4552" fmla="*/ 761837 h 7571038"/>
                  <a:gd name="connsiteX4553" fmla="*/ 1577128 w 4381952"/>
                  <a:gd name="connsiteY4553" fmla="*/ 3113453 h 7571038"/>
                  <a:gd name="connsiteX4554" fmla="*/ 1552965 w 4381952"/>
                  <a:gd name="connsiteY4554" fmla="*/ 3089289 h 7571038"/>
                  <a:gd name="connsiteX4555" fmla="*/ 1528799 w 4381952"/>
                  <a:gd name="connsiteY4555" fmla="*/ 3113453 h 7571038"/>
                  <a:gd name="connsiteX4556" fmla="*/ 1552965 w 4381952"/>
                  <a:gd name="connsiteY4556" fmla="*/ 3137618 h 7571038"/>
                  <a:gd name="connsiteX4557" fmla="*/ 1577128 w 4381952"/>
                  <a:gd name="connsiteY4557" fmla="*/ 3113453 h 7571038"/>
                  <a:gd name="connsiteX4558" fmla="*/ 1580332 w 4381952"/>
                  <a:gd name="connsiteY4558" fmla="*/ 4037363 h 7571038"/>
                  <a:gd name="connsiteX4559" fmla="*/ 1562087 w 4381952"/>
                  <a:gd name="connsiteY4559" fmla="*/ 4019115 h 7571038"/>
                  <a:gd name="connsiteX4560" fmla="*/ 1543840 w 4381952"/>
                  <a:gd name="connsiteY4560" fmla="*/ 4037363 h 7571038"/>
                  <a:gd name="connsiteX4561" fmla="*/ 1562087 w 4381952"/>
                  <a:gd name="connsiteY4561" fmla="*/ 4055608 h 7571038"/>
                  <a:gd name="connsiteX4562" fmla="*/ 1580332 w 4381952"/>
                  <a:gd name="connsiteY4562" fmla="*/ 4037363 h 7571038"/>
                  <a:gd name="connsiteX4563" fmla="*/ 1604250 w 4381952"/>
                  <a:gd name="connsiteY4563" fmla="*/ 3420435 h 7571038"/>
                  <a:gd name="connsiteX4564" fmla="*/ 1566275 w 4381952"/>
                  <a:gd name="connsiteY4564" fmla="*/ 3382463 h 7571038"/>
                  <a:gd name="connsiteX4565" fmla="*/ 1528304 w 4381952"/>
                  <a:gd name="connsiteY4565" fmla="*/ 3420435 h 7571038"/>
                  <a:gd name="connsiteX4566" fmla="*/ 1566275 w 4381952"/>
                  <a:gd name="connsiteY4566" fmla="*/ 3458408 h 7571038"/>
                  <a:gd name="connsiteX4567" fmla="*/ 1604250 w 4381952"/>
                  <a:gd name="connsiteY4567" fmla="*/ 3420435 h 7571038"/>
                  <a:gd name="connsiteX4568" fmla="*/ 1606716 w 4381952"/>
                  <a:gd name="connsiteY4568" fmla="*/ 3535086 h 7571038"/>
                  <a:gd name="connsiteX4569" fmla="*/ 1566278 w 4381952"/>
                  <a:gd name="connsiteY4569" fmla="*/ 3494647 h 7571038"/>
                  <a:gd name="connsiteX4570" fmla="*/ 1525840 w 4381952"/>
                  <a:gd name="connsiteY4570" fmla="*/ 3535086 h 7571038"/>
                  <a:gd name="connsiteX4571" fmla="*/ 1566278 w 4381952"/>
                  <a:gd name="connsiteY4571" fmla="*/ 3575525 h 7571038"/>
                  <a:gd name="connsiteX4572" fmla="*/ 1606716 w 4381952"/>
                  <a:gd name="connsiteY4572" fmla="*/ 3535086 h 7571038"/>
                  <a:gd name="connsiteX4573" fmla="*/ 1606962 w 4381952"/>
                  <a:gd name="connsiteY4573" fmla="*/ 7307450 h 7571038"/>
                  <a:gd name="connsiteX4574" fmla="*/ 1604003 w 4381952"/>
                  <a:gd name="connsiteY4574" fmla="*/ 7304490 h 7571038"/>
                  <a:gd name="connsiteX4575" fmla="*/ 1601044 w 4381952"/>
                  <a:gd name="connsiteY4575" fmla="*/ 7307450 h 7571038"/>
                  <a:gd name="connsiteX4576" fmla="*/ 1604003 w 4381952"/>
                  <a:gd name="connsiteY4576" fmla="*/ 7310408 h 7571038"/>
                  <a:gd name="connsiteX4577" fmla="*/ 1606962 w 4381952"/>
                  <a:gd name="connsiteY4577" fmla="*/ 7307450 h 7571038"/>
                  <a:gd name="connsiteX4578" fmla="*/ 1606962 w 4381952"/>
                  <a:gd name="connsiteY4578" fmla="*/ 7417174 h 7571038"/>
                  <a:gd name="connsiteX4579" fmla="*/ 1604250 w 4381952"/>
                  <a:gd name="connsiteY4579" fmla="*/ 7414461 h 7571038"/>
                  <a:gd name="connsiteX4580" fmla="*/ 1601537 w 4381952"/>
                  <a:gd name="connsiteY4580" fmla="*/ 7417174 h 7571038"/>
                  <a:gd name="connsiteX4581" fmla="*/ 1604250 w 4381952"/>
                  <a:gd name="connsiteY4581" fmla="*/ 7419886 h 7571038"/>
                  <a:gd name="connsiteX4582" fmla="*/ 1606962 w 4381952"/>
                  <a:gd name="connsiteY4582" fmla="*/ 7417174 h 7571038"/>
                  <a:gd name="connsiteX4583" fmla="*/ 1606963 w 4381952"/>
                  <a:gd name="connsiteY4583" fmla="*/ 2611932 h 7571038"/>
                  <a:gd name="connsiteX4584" fmla="*/ 1583540 w 4381952"/>
                  <a:gd name="connsiteY4584" fmla="*/ 2588506 h 7571038"/>
                  <a:gd name="connsiteX4585" fmla="*/ 1560115 w 4381952"/>
                  <a:gd name="connsiteY4585" fmla="*/ 2611932 h 7571038"/>
                  <a:gd name="connsiteX4586" fmla="*/ 1583540 w 4381952"/>
                  <a:gd name="connsiteY4586" fmla="*/ 2635355 h 7571038"/>
                  <a:gd name="connsiteX4587" fmla="*/ 1606963 w 4381952"/>
                  <a:gd name="connsiteY4587" fmla="*/ 2611932 h 7571038"/>
                  <a:gd name="connsiteX4588" fmla="*/ 1607211 w 4381952"/>
                  <a:gd name="connsiteY4588" fmla="*/ 7526653 h 7571038"/>
                  <a:gd name="connsiteX4589" fmla="*/ 1604499 w 4381952"/>
                  <a:gd name="connsiteY4589" fmla="*/ 7523940 h 7571038"/>
                  <a:gd name="connsiteX4590" fmla="*/ 1601785 w 4381952"/>
                  <a:gd name="connsiteY4590" fmla="*/ 7526653 h 7571038"/>
                  <a:gd name="connsiteX4591" fmla="*/ 1604499 w 4381952"/>
                  <a:gd name="connsiteY4591" fmla="*/ 7529367 h 7571038"/>
                  <a:gd name="connsiteX4592" fmla="*/ 1607211 w 4381952"/>
                  <a:gd name="connsiteY4592" fmla="*/ 7526653 h 7571038"/>
                  <a:gd name="connsiteX4593" fmla="*/ 1608194 w 4381952"/>
                  <a:gd name="connsiteY4593" fmla="*/ 6537887 h 7571038"/>
                  <a:gd name="connsiteX4594" fmla="*/ 1604990 w 4381952"/>
                  <a:gd name="connsiteY4594" fmla="*/ 6534433 h 7571038"/>
                  <a:gd name="connsiteX4595" fmla="*/ 1601785 w 4381952"/>
                  <a:gd name="connsiteY4595" fmla="*/ 6537887 h 7571038"/>
                  <a:gd name="connsiteX4596" fmla="*/ 1604990 w 4381952"/>
                  <a:gd name="connsiteY4596" fmla="*/ 6541092 h 7571038"/>
                  <a:gd name="connsiteX4597" fmla="*/ 1608194 w 4381952"/>
                  <a:gd name="connsiteY4597" fmla="*/ 6537887 h 7571038"/>
                  <a:gd name="connsiteX4598" fmla="*/ 1608690 w 4381952"/>
                  <a:gd name="connsiteY4598" fmla="*/ 6978270 h 7571038"/>
                  <a:gd name="connsiteX4599" fmla="*/ 1605976 w 4381952"/>
                  <a:gd name="connsiteY4599" fmla="*/ 6975310 h 7571038"/>
                  <a:gd name="connsiteX4600" fmla="*/ 1603018 w 4381952"/>
                  <a:gd name="connsiteY4600" fmla="*/ 6978270 h 7571038"/>
                  <a:gd name="connsiteX4601" fmla="*/ 1605976 w 4381952"/>
                  <a:gd name="connsiteY4601" fmla="*/ 6981228 h 7571038"/>
                  <a:gd name="connsiteX4602" fmla="*/ 1608690 w 4381952"/>
                  <a:gd name="connsiteY4602" fmla="*/ 6978270 h 7571038"/>
                  <a:gd name="connsiteX4603" fmla="*/ 1609181 w 4381952"/>
                  <a:gd name="connsiteY4603" fmla="*/ 5649225 h 7571038"/>
                  <a:gd name="connsiteX4604" fmla="*/ 1607208 w 4381952"/>
                  <a:gd name="connsiteY4604" fmla="*/ 5647252 h 7571038"/>
                  <a:gd name="connsiteX4605" fmla="*/ 1605236 w 4381952"/>
                  <a:gd name="connsiteY4605" fmla="*/ 5649225 h 7571038"/>
                  <a:gd name="connsiteX4606" fmla="*/ 1607208 w 4381952"/>
                  <a:gd name="connsiteY4606" fmla="*/ 5651198 h 7571038"/>
                  <a:gd name="connsiteX4607" fmla="*/ 1609181 w 4381952"/>
                  <a:gd name="connsiteY4607" fmla="*/ 5649225 h 7571038"/>
                  <a:gd name="connsiteX4608" fmla="*/ 1609182 w 4381952"/>
                  <a:gd name="connsiteY4608" fmla="*/ 5873119 h 7571038"/>
                  <a:gd name="connsiteX4609" fmla="*/ 1607457 w 4381952"/>
                  <a:gd name="connsiteY4609" fmla="*/ 5871391 h 7571038"/>
                  <a:gd name="connsiteX4610" fmla="*/ 1605731 w 4381952"/>
                  <a:gd name="connsiteY4610" fmla="*/ 5873119 h 7571038"/>
                  <a:gd name="connsiteX4611" fmla="*/ 1607457 w 4381952"/>
                  <a:gd name="connsiteY4611" fmla="*/ 5874842 h 7571038"/>
                  <a:gd name="connsiteX4612" fmla="*/ 1609182 w 4381952"/>
                  <a:gd name="connsiteY4612" fmla="*/ 5873119 h 7571038"/>
                  <a:gd name="connsiteX4613" fmla="*/ 1609183 w 4381952"/>
                  <a:gd name="connsiteY4613" fmla="*/ 7197969 h 7571038"/>
                  <a:gd name="connsiteX4614" fmla="*/ 1606471 w 4381952"/>
                  <a:gd name="connsiteY4614" fmla="*/ 7195255 h 7571038"/>
                  <a:gd name="connsiteX4615" fmla="*/ 1603758 w 4381952"/>
                  <a:gd name="connsiteY4615" fmla="*/ 7197969 h 7571038"/>
                  <a:gd name="connsiteX4616" fmla="*/ 1606471 w 4381952"/>
                  <a:gd name="connsiteY4616" fmla="*/ 7200682 h 7571038"/>
                  <a:gd name="connsiteX4617" fmla="*/ 1609183 w 4381952"/>
                  <a:gd name="connsiteY4617" fmla="*/ 7197969 h 7571038"/>
                  <a:gd name="connsiteX4618" fmla="*/ 1609428 w 4381952"/>
                  <a:gd name="connsiteY4618" fmla="*/ 7088487 h 7571038"/>
                  <a:gd name="connsiteX4619" fmla="*/ 1606222 w 4381952"/>
                  <a:gd name="connsiteY4619" fmla="*/ 7085282 h 7571038"/>
                  <a:gd name="connsiteX4620" fmla="*/ 1603018 w 4381952"/>
                  <a:gd name="connsiteY4620" fmla="*/ 7088487 h 7571038"/>
                  <a:gd name="connsiteX4621" fmla="*/ 1606222 w 4381952"/>
                  <a:gd name="connsiteY4621" fmla="*/ 7091695 h 7571038"/>
                  <a:gd name="connsiteX4622" fmla="*/ 1609428 w 4381952"/>
                  <a:gd name="connsiteY4622" fmla="*/ 7088487 h 7571038"/>
                  <a:gd name="connsiteX4623" fmla="*/ 1609675 w 4381952"/>
                  <a:gd name="connsiteY4623" fmla="*/ 2242835 h 7571038"/>
                  <a:gd name="connsiteX4624" fmla="*/ 1569729 w 4381952"/>
                  <a:gd name="connsiteY4624" fmla="*/ 2202886 h 7571038"/>
                  <a:gd name="connsiteX4625" fmla="*/ 1529785 w 4381952"/>
                  <a:gd name="connsiteY4625" fmla="*/ 2242835 h 7571038"/>
                  <a:gd name="connsiteX4626" fmla="*/ 1569729 w 4381952"/>
                  <a:gd name="connsiteY4626" fmla="*/ 2282774 h 7571038"/>
                  <a:gd name="connsiteX4627" fmla="*/ 1609675 w 4381952"/>
                  <a:gd name="connsiteY4627" fmla="*/ 2242835 h 7571038"/>
                  <a:gd name="connsiteX4628" fmla="*/ 1609921 w 4381952"/>
                  <a:gd name="connsiteY4628" fmla="*/ 5984569 h 7571038"/>
                  <a:gd name="connsiteX4629" fmla="*/ 1607700 w 4381952"/>
                  <a:gd name="connsiteY4629" fmla="*/ 5982350 h 7571038"/>
                  <a:gd name="connsiteX4630" fmla="*/ 1605482 w 4381952"/>
                  <a:gd name="connsiteY4630" fmla="*/ 5984569 h 7571038"/>
                  <a:gd name="connsiteX4631" fmla="*/ 1607700 w 4381952"/>
                  <a:gd name="connsiteY4631" fmla="*/ 5986786 h 7571038"/>
                  <a:gd name="connsiteX4632" fmla="*/ 1609921 w 4381952"/>
                  <a:gd name="connsiteY4632" fmla="*/ 5984569 h 7571038"/>
                  <a:gd name="connsiteX4633" fmla="*/ 1609922 w 4381952"/>
                  <a:gd name="connsiteY4633" fmla="*/ 6206735 h 7571038"/>
                  <a:gd name="connsiteX4634" fmla="*/ 1607949 w 4381952"/>
                  <a:gd name="connsiteY4634" fmla="*/ 6204762 h 7571038"/>
                  <a:gd name="connsiteX4635" fmla="*/ 1605976 w 4381952"/>
                  <a:gd name="connsiteY4635" fmla="*/ 6206735 h 7571038"/>
                  <a:gd name="connsiteX4636" fmla="*/ 1607949 w 4381952"/>
                  <a:gd name="connsiteY4636" fmla="*/ 6208708 h 7571038"/>
                  <a:gd name="connsiteX4637" fmla="*/ 1609922 w 4381952"/>
                  <a:gd name="connsiteY4637" fmla="*/ 6206735 h 7571038"/>
                  <a:gd name="connsiteX4638" fmla="*/ 1610415 w 4381952"/>
                  <a:gd name="connsiteY4638" fmla="*/ 6095528 h 7571038"/>
                  <a:gd name="connsiteX4639" fmla="*/ 1607703 w 4381952"/>
                  <a:gd name="connsiteY4639" fmla="*/ 6092815 h 7571038"/>
                  <a:gd name="connsiteX4640" fmla="*/ 1604990 w 4381952"/>
                  <a:gd name="connsiteY4640" fmla="*/ 6095528 h 7571038"/>
                  <a:gd name="connsiteX4641" fmla="*/ 1607703 w 4381952"/>
                  <a:gd name="connsiteY4641" fmla="*/ 6098241 h 7571038"/>
                  <a:gd name="connsiteX4642" fmla="*/ 1610415 w 4381952"/>
                  <a:gd name="connsiteY4642" fmla="*/ 6095528 h 7571038"/>
                  <a:gd name="connsiteX4643" fmla="*/ 1611429 w 4381952"/>
                  <a:gd name="connsiteY4643" fmla="*/ 0 h 7571038"/>
                  <a:gd name="connsiteX4644" fmla="*/ 1594563 w 4381952"/>
                  <a:gd name="connsiteY4644" fmla="*/ 0 h 7571038"/>
                  <a:gd name="connsiteX4645" fmla="*/ 1603018 w 4381952"/>
                  <a:gd name="connsiteY4645" fmla="*/ 3492 h 7571038"/>
                  <a:gd name="connsiteX4646" fmla="*/ 1612140 w 4381952"/>
                  <a:gd name="connsiteY4646" fmla="*/ 6648104 h 7571038"/>
                  <a:gd name="connsiteX4647" fmla="*/ 1605237 w 4381952"/>
                  <a:gd name="connsiteY4647" fmla="*/ 6641200 h 7571038"/>
                  <a:gd name="connsiteX4648" fmla="*/ 1598332 w 4381952"/>
                  <a:gd name="connsiteY4648" fmla="*/ 6648104 h 7571038"/>
                  <a:gd name="connsiteX4649" fmla="*/ 1605237 w 4381952"/>
                  <a:gd name="connsiteY4649" fmla="*/ 6655008 h 7571038"/>
                  <a:gd name="connsiteX4650" fmla="*/ 1612140 w 4381952"/>
                  <a:gd name="connsiteY4650" fmla="*/ 6648104 h 7571038"/>
                  <a:gd name="connsiteX4651" fmla="*/ 1612143 w 4381952"/>
                  <a:gd name="connsiteY4651" fmla="*/ 6758325 h 7571038"/>
                  <a:gd name="connsiteX4652" fmla="*/ 1605484 w 4381952"/>
                  <a:gd name="connsiteY4652" fmla="*/ 6751666 h 7571038"/>
                  <a:gd name="connsiteX4653" fmla="*/ 1598827 w 4381952"/>
                  <a:gd name="connsiteY4653" fmla="*/ 6758325 h 7571038"/>
                  <a:gd name="connsiteX4654" fmla="*/ 1605484 w 4381952"/>
                  <a:gd name="connsiteY4654" fmla="*/ 6764982 h 7571038"/>
                  <a:gd name="connsiteX4655" fmla="*/ 1612143 w 4381952"/>
                  <a:gd name="connsiteY4655" fmla="*/ 6758325 h 7571038"/>
                  <a:gd name="connsiteX4656" fmla="*/ 1612631 w 4381952"/>
                  <a:gd name="connsiteY4656" fmla="*/ 5761418 h 7571038"/>
                  <a:gd name="connsiteX4657" fmla="*/ 1607453 w 4381952"/>
                  <a:gd name="connsiteY4657" fmla="*/ 5756240 h 7571038"/>
                  <a:gd name="connsiteX4658" fmla="*/ 1602277 w 4381952"/>
                  <a:gd name="connsiteY4658" fmla="*/ 5761418 h 7571038"/>
                  <a:gd name="connsiteX4659" fmla="*/ 1607453 w 4381952"/>
                  <a:gd name="connsiteY4659" fmla="*/ 5766598 h 7571038"/>
                  <a:gd name="connsiteX4660" fmla="*/ 1612631 w 4381952"/>
                  <a:gd name="connsiteY4660" fmla="*/ 5761418 h 7571038"/>
                  <a:gd name="connsiteX4661" fmla="*/ 1613374 w 4381952"/>
                  <a:gd name="connsiteY4661" fmla="*/ 6868299 h 7571038"/>
                  <a:gd name="connsiteX4662" fmla="*/ 1605730 w 4381952"/>
                  <a:gd name="connsiteY4662" fmla="*/ 6860653 h 7571038"/>
                  <a:gd name="connsiteX4663" fmla="*/ 1598086 w 4381952"/>
                  <a:gd name="connsiteY4663" fmla="*/ 6868299 h 7571038"/>
                  <a:gd name="connsiteX4664" fmla="*/ 1605730 w 4381952"/>
                  <a:gd name="connsiteY4664" fmla="*/ 6875939 h 7571038"/>
                  <a:gd name="connsiteX4665" fmla="*/ 1613374 w 4381952"/>
                  <a:gd name="connsiteY4665" fmla="*/ 6868299 h 7571038"/>
                  <a:gd name="connsiteX4666" fmla="*/ 1614113 w 4381952"/>
                  <a:gd name="connsiteY4666" fmla="*/ 2363150 h 7571038"/>
                  <a:gd name="connsiteX4667" fmla="*/ 1573182 w 4381952"/>
                  <a:gd name="connsiteY4667" fmla="*/ 2322215 h 7571038"/>
                  <a:gd name="connsiteX4668" fmla="*/ 1532004 w 4381952"/>
                  <a:gd name="connsiteY4668" fmla="*/ 2363150 h 7571038"/>
                  <a:gd name="connsiteX4669" fmla="*/ 1573182 w 4381952"/>
                  <a:gd name="connsiteY4669" fmla="*/ 2404327 h 7571038"/>
                  <a:gd name="connsiteX4670" fmla="*/ 1614113 w 4381952"/>
                  <a:gd name="connsiteY4670" fmla="*/ 2363150 h 7571038"/>
                  <a:gd name="connsiteX4671" fmla="*/ 1616331 w 4381952"/>
                  <a:gd name="connsiteY4671" fmla="*/ 2741132 h 7571038"/>
                  <a:gd name="connsiteX4672" fmla="*/ 1591673 w 4381952"/>
                  <a:gd name="connsiteY4672" fmla="*/ 2716475 h 7571038"/>
                  <a:gd name="connsiteX4673" fmla="*/ 1567016 w 4381952"/>
                  <a:gd name="connsiteY4673" fmla="*/ 2741132 h 7571038"/>
                  <a:gd name="connsiteX4674" fmla="*/ 1591673 w 4381952"/>
                  <a:gd name="connsiteY4674" fmla="*/ 2765791 h 7571038"/>
                  <a:gd name="connsiteX4675" fmla="*/ 1616331 w 4381952"/>
                  <a:gd name="connsiteY4675" fmla="*/ 2741132 h 7571038"/>
                  <a:gd name="connsiteX4676" fmla="*/ 1616579 w 4381952"/>
                  <a:gd name="connsiteY4676" fmla="*/ 6427913 h 7571038"/>
                  <a:gd name="connsiteX4677" fmla="*/ 1608194 w 4381952"/>
                  <a:gd name="connsiteY4677" fmla="*/ 6419527 h 7571038"/>
                  <a:gd name="connsiteX4678" fmla="*/ 1599812 w 4381952"/>
                  <a:gd name="connsiteY4678" fmla="*/ 6427913 h 7571038"/>
                  <a:gd name="connsiteX4679" fmla="*/ 1608194 w 4381952"/>
                  <a:gd name="connsiteY4679" fmla="*/ 6436295 h 7571038"/>
                  <a:gd name="connsiteX4680" fmla="*/ 1616579 w 4381952"/>
                  <a:gd name="connsiteY4680" fmla="*/ 6427913 h 7571038"/>
                  <a:gd name="connsiteX4681" fmla="*/ 1617566 w 4381952"/>
                  <a:gd name="connsiteY4681" fmla="*/ 6317447 h 7571038"/>
                  <a:gd name="connsiteX4682" fmla="*/ 1608197 w 4381952"/>
                  <a:gd name="connsiteY4682" fmla="*/ 6308075 h 7571038"/>
                  <a:gd name="connsiteX4683" fmla="*/ 1598827 w 4381952"/>
                  <a:gd name="connsiteY4683" fmla="*/ 6317447 h 7571038"/>
                  <a:gd name="connsiteX4684" fmla="*/ 1608197 w 4381952"/>
                  <a:gd name="connsiteY4684" fmla="*/ 6326815 h 7571038"/>
                  <a:gd name="connsiteX4685" fmla="*/ 1617566 w 4381952"/>
                  <a:gd name="connsiteY4685" fmla="*/ 6317447 h 7571038"/>
                  <a:gd name="connsiteX4686" fmla="*/ 1622743 w 4381952"/>
                  <a:gd name="connsiteY4686" fmla="*/ 3307751 h 7571038"/>
                  <a:gd name="connsiteX4687" fmla="*/ 1587237 w 4381952"/>
                  <a:gd name="connsiteY4687" fmla="*/ 3272246 h 7571038"/>
                  <a:gd name="connsiteX4688" fmla="*/ 1551729 w 4381952"/>
                  <a:gd name="connsiteY4688" fmla="*/ 3307751 h 7571038"/>
                  <a:gd name="connsiteX4689" fmla="*/ 1587237 w 4381952"/>
                  <a:gd name="connsiteY4689" fmla="*/ 3343259 h 7571038"/>
                  <a:gd name="connsiteX4690" fmla="*/ 1622743 w 4381952"/>
                  <a:gd name="connsiteY4690" fmla="*/ 3307751 h 7571038"/>
                  <a:gd name="connsiteX4691" fmla="*/ 1625455 w 4381952"/>
                  <a:gd name="connsiteY4691" fmla="*/ 1643963 h 7571038"/>
                  <a:gd name="connsiteX4692" fmla="*/ 1609675 w 4381952"/>
                  <a:gd name="connsiteY4692" fmla="*/ 1628180 h 7571038"/>
                  <a:gd name="connsiteX4693" fmla="*/ 1593894 w 4381952"/>
                  <a:gd name="connsiteY4693" fmla="*/ 1643963 h 7571038"/>
                  <a:gd name="connsiteX4694" fmla="*/ 1609675 w 4381952"/>
                  <a:gd name="connsiteY4694" fmla="*/ 1659740 h 7571038"/>
                  <a:gd name="connsiteX4695" fmla="*/ 1625455 w 4381952"/>
                  <a:gd name="connsiteY4695" fmla="*/ 1643963 h 7571038"/>
                  <a:gd name="connsiteX4696" fmla="*/ 1625456 w 4381952"/>
                  <a:gd name="connsiteY4696" fmla="*/ 2875511 h 7571038"/>
                  <a:gd name="connsiteX4697" fmla="*/ 1602772 w 4381952"/>
                  <a:gd name="connsiteY4697" fmla="*/ 2852826 h 7571038"/>
                  <a:gd name="connsiteX4698" fmla="*/ 1580087 w 4381952"/>
                  <a:gd name="connsiteY4698" fmla="*/ 2875511 h 7571038"/>
                  <a:gd name="connsiteX4699" fmla="*/ 1602772 w 4381952"/>
                  <a:gd name="connsiteY4699" fmla="*/ 2898196 h 7571038"/>
                  <a:gd name="connsiteX4700" fmla="*/ 1625456 w 4381952"/>
                  <a:gd name="connsiteY4700" fmla="*/ 2875511 h 7571038"/>
                  <a:gd name="connsiteX4701" fmla="*/ 1627183 w 4381952"/>
                  <a:gd name="connsiteY4701" fmla="*/ 417891 h 7571038"/>
                  <a:gd name="connsiteX4702" fmla="*/ 1602031 w 4381952"/>
                  <a:gd name="connsiteY4702" fmla="*/ 392739 h 7571038"/>
                  <a:gd name="connsiteX4703" fmla="*/ 1577128 w 4381952"/>
                  <a:gd name="connsiteY4703" fmla="*/ 417891 h 7571038"/>
                  <a:gd name="connsiteX4704" fmla="*/ 1602031 w 4381952"/>
                  <a:gd name="connsiteY4704" fmla="*/ 443038 h 7571038"/>
                  <a:gd name="connsiteX4705" fmla="*/ 1627183 w 4381952"/>
                  <a:gd name="connsiteY4705" fmla="*/ 417891 h 7571038"/>
                  <a:gd name="connsiteX4706" fmla="*/ 1627428 w 4381952"/>
                  <a:gd name="connsiteY4706" fmla="*/ 5425334 h 7571038"/>
                  <a:gd name="connsiteX4707" fmla="*/ 1612139 w 4381952"/>
                  <a:gd name="connsiteY4707" fmla="*/ 5410047 h 7571038"/>
                  <a:gd name="connsiteX4708" fmla="*/ 1596853 w 4381952"/>
                  <a:gd name="connsiteY4708" fmla="*/ 5425334 h 7571038"/>
                  <a:gd name="connsiteX4709" fmla="*/ 1612139 w 4381952"/>
                  <a:gd name="connsiteY4709" fmla="*/ 5440623 h 7571038"/>
                  <a:gd name="connsiteX4710" fmla="*/ 1627428 w 4381952"/>
                  <a:gd name="connsiteY4710" fmla="*/ 5425334 h 7571038"/>
                  <a:gd name="connsiteX4711" fmla="*/ 1627674 w 4381952"/>
                  <a:gd name="connsiteY4711" fmla="*/ 307692 h 7571038"/>
                  <a:gd name="connsiteX4712" fmla="*/ 1602277 w 4381952"/>
                  <a:gd name="connsiteY4712" fmla="*/ 282296 h 7571038"/>
                  <a:gd name="connsiteX4713" fmla="*/ 1576879 w 4381952"/>
                  <a:gd name="connsiteY4713" fmla="*/ 307692 h 7571038"/>
                  <a:gd name="connsiteX4714" fmla="*/ 1602277 w 4381952"/>
                  <a:gd name="connsiteY4714" fmla="*/ 333087 h 7571038"/>
                  <a:gd name="connsiteX4715" fmla="*/ 1627674 w 4381952"/>
                  <a:gd name="connsiteY4715" fmla="*/ 307692 h 7571038"/>
                  <a:gd name="connsiteX4716" fmla="*/ 1627675 w 4381952"/>
                  <a:gd name="connsiteY4716" fmla="*/ 2485939 h 7571038"/>
                  <a:gd name="connsiteX4717" fmla="*/ 1577620 w 4381952"/>
                  <a:gd name="connsiteY4717" fmla="*/ 2435884 h 7571038"/>
                  <a:gd name="connsiteX4718" fmla="*/ 1527564 w 4381952"/>
                  <a:gd name="connsiteY4718" fmla="*/ 2485939 h 7571038"/>
                  <a:gd name="connsiteX4719" fmla="*/ 1577620 w 4381952"/>
                  <a:gd name="connsiteY4719" fmla="*/ 2535992 h 7571038"/>
                  <a:gd name="connsiteX4720" fmla="*/ 1627675 w 4381952"/>
                  <a:gd name="connsiteY4720" fmla="*/ 2485939 h 7571038"/>
                  <a:gd name="connsiteX4721" fmla="*/ 1628907 w 4381952"/>
                  <a:gd name="connsiteY4721" fmla="*/ 87549 h 7571038"/>
                  <a:gd name="connsiteX4722" fmla="*/ 1602769 w 4381952"/>
                  <a:gd name="connsiteY4722" fmla="*/ 61414 h 7571038"/>
                  <a:gd name="connsiteX4723" fmla="*/ 1576634 w 4381952"/>
                  <a:gd name="connsiteY4723" fmla="*/ 87549 h 7571038"/>
                  <a:gd name="connsiteX4724" fmla="*/ 1602769 w 4381952"/>
                  <a:gd name="connsiteY4724" fmla="*/ 113685 h 7571038"/>
                  <a:gd name="connsiteX4725" fmla="*/ 1628907 w 4381952"/>
                  <a:gd name="connsiteY4725" fmla="*/ 87549 h 7571038"/>
                  <a:gd name="connsiteX4726" fmla="*/ 1629155 w 4381952"/>
                  <a:gd name="connsiteY4726" fmla="*/ 3647524 h 7571038"/>
                  <a:gd name="connsiteX4727" fmla="*/ 1587482 w 4381952"/>
                  <a:gd name="connsiteY4727" fmla="*/ 3605853 h 7571038"/>
                  <a:gd name="connsiteX4728" fmla="*/ 1545812 w 4381952"/>
                  <a:gd name="connsiteY4728" fmla="*/ 3647524 h 7571038"/>
                  <a:gd name="connsiteX4729" fmla="*/ 1587482 w 4381952"/>
                  <a:gd name="connsiteY4729" fmla="*/ 3689198 h 7571038"/>
                  <a:gd name="connsiteX4730" fmla="*/ 1629155 w 4381952"/>
                  <a:gd name="connsiteY4730" fmla="*/ 3647524 h 7571038"/>
                  <a:gd name="connsiteX4731" fmla="*/ 1629155 w 4381952"/>
                  <a:gd name="connsiteY4731" fmla="*/ 3891387 h 7571038"/>
                  <a:gd name="connsiteX4732" fmla="*/ 1584524 w 4381952"/>
                  <a:gd name="connsiteY4732" fmla="*/ 3846758 h 7571038"/>
                  <a:gd name="connsiteX4733" fmla="*/ 1539894 w 4381952"/>
                  <a:gd name="connsiteY4733" fmla="*/ 3891387 h 7571038"/>
                  <a:gd name="connsiteX4734" fmla="*/ 1584524 w 4381952"/>
                  <a:gd name="connsiteY4734" fmla="*/ 3936017 h 7571038"/>
                  <a:gd name="connsiteX4735" fmla="*/ 1629155 w 4381952"/>
                  <a:gd name="connsiteY4735" fmla="*/ 3891387 h 7571038"/>
                  <a:gd name="connsiteX4736" fmla="*/ 1629156 w 4381952"/>
                  <a:gd name="connsiteY4736" fmla="*/ 1872030 h 7571038"/>
                  <a:gd name="connsiteX4737" fmla="*/ 1611402 w 4381952"/>
                  <a:gd name="connsiteY4737" fmla="*/ 1854282 h 7571038"/>
                  <a:gd name="connsiteX4738" fmla="*/ 1593649 w 4381952"/>
                  <a:gd name="connsiteY4738" fmla="*/ 1872030 h 7571038"/>
                  <a:gd name="connsiteX4739" fmla="*/ 1611402 w 4381952"/>
                  <a:gd name="connsiteY4739" fmla="*/ 1889779 h 7571038"/>
                  <a:gd name="connsiteX4740" fmla="*/ 1629156 w 4381952"/>
                  <a:gd name="connsiteY4740" fmla="*/ 1872030 h 7571038"/>
                  <a:gd name="connsiteX4741" fmla="*/ 1629400 w 4381952"/>
                  <a:gd name="connsiteY4741" fmla="*/ 1530549 h 7571038"/>
                  <a:gd name="connsiteX4742" fmla="*/ 1609428 w 4381952"/>
                  <a:gd name="connsiteY4742" fmla="*/ 1510576 h 7571038"/>
                  <a:gd name="connsiteX4743" fmla="*/ 1589456 w 4381952"/>
                  <a:gd name="connsiteY4743" fmla="*/ 1530549 h 7571038"/>
                  <a:gd name="connsiteX4744" fmla="*/ 1609428 w 4381952"/>
                  <a:gd name="connsiteY4744" fmla="*/ 1550522 h 7571038"/>
                  <a:gd name="connsiteX4745" fmla="*/ 1629400 w 4381952"/>
                  <a:gd name="connsiteY4745" fmla="*/ 1530549 h 7571038"/>
                  <a:gd name="connsiteX4746" fmla="*/ 1629646 w 4381952"/>
                  <a:gd name="connsiteY4746" fmla="*/ 197497 h 7571038"/>
                  <a:gd name="connsiteX4747" fmla="*/ 1603017 w 4381952"/>
                  <a:gd name="connsiteY4747" fmla="*/ 170869 h 7571038"/>
                  <a:gd name="connsiteX4748" fmla="*/ 1576387 w 4381952"/>
                  <a:gd name="connsiteY4748" fmla="*/ 197497 h 7571038"/>
                  <a:gd name="connsiteX4749" fmla="*/ 1603017 w 4381952"/>
                  <a:gd name="connsiteY4749" fmla="*/ 224126 h 7571038"/>
                  <a:gd name="connsiteX4750" fmla="*/ 1629646 w 4381952"/>
                  <a:gd name="connsiteY4750" fmla="*/ 197497 h 7571038"/>
                  <a:gd name="connsiteX4751" fmla="*/ 1632115 w 4381952"/>
                  <a:gd name="connsiteY4751" fmla="*/ 1757629 h 7571038"/>
                  <a:gd name="connsiteX4752" fmla="*/ 1610416 w 4381952"/>
                  <a:gd name="connsiteY4752" fmla="*/ 1735920 h 7571038"/>
                  <a:gd name="connsiteX4753" fmla="*/ 1588718 w 4381952"/>
                  <a:gd name="connsiteY4753" fmla="*/ 1757629 h 7571038"/>
                  <a:gd name="connsiteX4754" fmla="*/ 1610416 w 4381952"/>
                  <a:gd name="connsiteY4754" fmla="*/ 1779337 h 7571038"/>
                  <a:gd name="connsiteX4755" fmla="*/ 1632115 w 4381952"/>
                  <a:gd name="connsiteY4755" fmla="*/ 1757629 h 7571038"/>
                  <a:gd name="connsiteX4756" fmla="*/ 1634330 w 4381952"/>
                  <a:gd name="connsiteY4756" fmla="*/ 1417881 h 7571038"/>
                  <a:gd name="connsiteX4757" fmla="*/ 1608934 w 4381952"/>
                  <a:gd name="connsiteY4757" fmla="*/ 1392480 h 7571038"/>
                  <a:gd name="connsiteX4758" fmla="*/ 1583537 w 4381952"/>
                  <a:gd name="connsiteY4758" fmla="*/ 1417881 h 7571038"/>
                  <a:gd name="connsiteX4759" fmla="*/ 1608934 w 4381952"/>
                  <a:gd name="connsiteY4759" fmla="*/ 1443272 h 7571038"/>
                  <a:gd name="connsiteX4760" fmla="*/ 1634330 w 4381952"/>
                  <a:gd name="connsiteY4760" fmla="*/ 1417881 h 7571038"/>
                  <a:gd name="connsiteX4761" fmla="*/ 1635565 w 4381952"/>
                  <a:gd name="connsiteY4761" fmla="*/ 4852047 h 7571038"/>
                  <a:gd name="connsiteX4762" fmla="*/ 1614853 w 4381952"/>
                  <a:gd name="connsiteY4762" fmla="*/ 4831334 h 7571038"/>
                  <a:gd name="connsiteX4763" fmla="*/ 1594141 w 4381952"/>
                  <a:gd name="connsiteY4763" fmla="*/ 4852047 h 7571038"/>
                  <a:gd name="connsiteX4764" fmla="*/ 1614853 w 4381952"/>
                  <a:gd name="connsiteY4764" fmla="*/ 4872759 h 7571038"/>
                  <a:gd name="connsiteX4765" fmla="*/ 1635565 w 4381952"/>
                  <a:gd name="connsiteY4765" fmla="*/ 4852047 h 7571038"/>
                  <a:gd name="connsiteX4766" fmla="*/ 1635811 w 4381952"/>
                  <a:gd name="connsiteY4766" fmla="*/ 4737635 h 7571038"/>
                  <a:gd name="connsiteX4767" fmla="*/ 1622990 w 4381952"/>
                  <a:gd name="connsiteY4767" fmla="*/ 4724813 h 7571038"/>
                  <a:gd name="connsiteX4768" fmla="*/ 1610168 w 4381952"/>
                  <a:gd name="connsiteY4768" fmla="*/ 4737635 h 7571038"/>
                  <a:gd name="connsiteX4769" fmla="*/ 1622990 w 4381952"/>
                  <a:gd name="connsiteY4769" fmla="*/ 4750457 h 7571038"/>
                  <a:gd name="connsiteX4770" fmla="*/ 1635811 w 4381952"/>
                  <a:gd name="connsiteY4770" fmla="*/ 4737635 h 7571038"/>
                  <a:gd name="connsiteX4771" fmla="*/ 1637044 w 4381952"/>
                  <a:gd name="connsiteY4771" fmla="*/ 3017043 h 7571038"/>
                  <a:gd name="connsiteX4772" fmla="*/ 1619539 w 4381952"/>
                  <a:gd name="connsiteY4772" fmla="*/ 2999535 h 7571038"/>
                  <a:gd name="connsiteX4773" fmla="*/ 1602031 w 4381952"/>
                  <a:gd name="connsiteY4773" fmla="*/ 3017043 h 7571038"/>
                  <a:gd name="connsiteX4774" fmla="*/ 1619539 w 4381952"/>
                  <a:gd name="connsiteY4774" fmla="*/ 3034548 h 7571038"/>
                  <a:gd name="connsiteX4775" fmla="*/ 1637044 w 4381952"/>
                  <a:gd name="connsiteY4775" fmla="*/ 3017043 h 7571038"/>
                  <a:gd name="connsiteX4776" fmla="*/ 1638033 w 4381952"/>
                  <a:gd name="connsiteY4776" fmla="*/ 5312159 h 7571038"/>
                  <a:gd name="connsiteX4777" fmla="*/ 1612389 w 4381952"/>
                  <a:gd name="connsiteY4777" fmla="*/ 5286514 h 7571038"/>
                  <a:gd name="connsiteX4778" fmla="*/ 1586744 w 4381952"/>
                  <a:gd name="connsiteY4778" fmla="*/ 5312159 h 7571038"/>
                  <a:gd name="connsiteX4779" fmla="*/ 1612389 w 4381952"/>
                  <a:gd name="connsiteY4779" fmla="*/ 5337803 h 7571038"/>
                  <a:gd name="connsiteX4780" fmla="*/ 1638033 w 4381952"/>
                  <a:gd name="connsiteY4780" fmla="*/ 5312159 h 7571038"/>
                  <a:gd name="connsiteX4781" fmla="*/ 1639511 w 4381952"/>
                  <a:gd name="connsiteY4781" fmla="*/ 5083828 h 7571038"/>
                  <a:gd name="connsiteX4782" fmla="*/ 1613372 w 4381952"/>
                  <a:gd name="connsiteY4782" fmla="*/ 5057692 h 7571038"/>
                  <a:gd name="connsiteX4783" fmla="*/ 1587237 w 4381952"/>
                  <a:gd name="connsiteY4783" fmla="*/ 5083828 h 7571038"/>
                  <a:gd name="connsiteX4784" fmla="*/ 1613372 w 4381952"/>
                  <a:gd name="connsiteY4784" fmla="*/ 5109967 h 7571038"/>
                  <a:gd name="connsiteX4785" fmla="*/ 1639511 w 4381952"/>
                  <a:gd name="connsiteY4785" fmla="*/ 5083828 h 7571038"/>
                  <a:gd name="connsiteX4786" fmla="*/ 1648386 w 4381952"/>
                  <a:gd name="connsiteY4786" fmla="*/ 1987385 h 7571038"/>
                  <a:gd name="connsiteX4787" fmla="*/ 1612385 w 4381952"/>
                  <a:gd name="connsiteY4787" fmla="*/ 1951395 h 7571038"/>
                  <a:gd name="connsiteX4788" fmla="*/ 1576387 w 4381952"/>
                  <a:gd name="connsiteY4788" fmla="*/ 1987385 h 7571038"/>
                  <a:gd name="connsiteX4789" fmla="*/ 1612385 w 4381952"/>
                  <a:gd name="connsiteY4789" fmla="*/ 2023380 h 7571038"/>
                  <a:gd name="connsiteX4790" fmla="*/ 1648386 w 4381952"/>
                  <a:gd name="connsiteY4790" fmla="*/ 1987385 h 7571038"/>
                  <a:gd name="connsiteX4791" fmla="*/ 1652333 w 4381952"/>
                  <a:gd name="connsiteY4791" fmla="*/ 2103520 h 7571038"/>
                  <a:gd name="connsiteX4792" fmla="*/ 1613375 w 4381952"/>
                  <a:gd name="connsiteY4792" fmla="*/ 2064557 h 7571038"/>
                  <a:gd name="connsiteX4793" fmla="*/ 1574415 w 4381952"/>
                  <a:gd name="connsiteY4793" fmla="*/ 2103520 h 7571038"/>
                  <a:gd name="connsiteX4794" fmla="*/ 1613375 w 4381952"/>
                  <a:gd name="connsiteY4794" fmla="*/ 2142481 h 7571038"/>
                  <a:gd name="connsiteX4795" fmla="*/ 1652333 w 4381952"/>
                  <a:gd name="connsiteY4795" fmla="*/ 2103520 h 7571038"/>
                  <a:gd name="connsiteX4796" fmla="*/ 1658250 w 4381952"/>
                  <a:gd name="connsiteY4796" fmla="*/ 4498213 h 7571038"/>
                  <a:gd name="connsiteX4797" fmla="*/ 1628169 w 4381952"/>
                  <a:gd name="connsiteY4797" fmla="*/ 4468129 h 7571038"/>
                  <a:gd name="connsiteX4798" fmla="*/ 1598086 w 4381952"/>
                  <a:gd name="connsiteY4798" fmla="*/ 4498213 h 7571038"/>
                  <a:gd name="connsiteX4799" fmla="*/ 1628169 w 4381952"/>
                  <a:gd name="connsiteY4799" fmla="*/ 4528294 h 7571038"/>
                  <a:gd name="connsiteX4800" fmla="*/ 1658250 w 4381952"/>
                  <a:gd name="connsiteY4800" fmla="*/ 4498213 h 7571038"/>
                  <a:gd name="connsiteX4801" fmla="*/ 1658742 w 4381952"/>
                  <a:gd name="connsiteY4801" fmla="*/ 4619034 h 7571038"/>
                  <a:gd name="connsiteX4802" fmla="*/ 1625208 w 4381952"/>
                  <a:gd name="connsiteY4802" fmla="*/ 4585498 h 7571038"/>
                  <a:gd name="connsiteX4803" fmla="*/ 1591673 w 4381952"/>
                  <a:gd name="connsiteY4803" fmla="*/ 4619034 h 7571038"/>
                  <a:gd name="connsiteX4804" fmla="*/ 1625208 w 4381952"/>
                  <a:gd name="connsiteY4804" fmla="*/ 4652568 h 7571038"/>
                  <a:gd name="connsiteX4805" fmla="*/ 1658742 w 4381952"/>
                  <a:gd name="connsiteY4805" fmla="*/ 4619034 h 7571038"/>
                  <a:gd name="connsiteX4806" fmla="*/ 1659236 w 4381952"/>
                  <a:gd name="connsiteY4806" fmla="*/ 4249170 h 7571038"/>
                  <a:gd name="connsiteX4807" fmla="*/ 1637784 w 4381952"/>
                  <a:gd name="connsiteY4807" fmla="*/ 4227471 h 7571038"/>
                  <a:gd name="connsiteX4808" fmla="*/ 1616331 w 4381952"/>
                  <a:gd name="connsiteY4808" fmla="*/ 4249170 h 7571038"/>
                  <a:gd name="connsiteX4809" fmla="*/ 1637784 w 4381952"/>
                  <a:gd name="connsiteY4809" fmla="*/ 4270623 h 7571038"/>
                  <a:gd name="connsiteX4810" fmla="*/ 1659236 w 4381952"/>
                  <a:gd name="connsiteY4810" fmla="*/ 4249170 h 7571038"/>
                  <a:gd name="connsiteX4811" fmla="*/ 1659977 w 4381952"/>
                  <a:gd name="connsiteY4811" fmla="*/ 4968430 h 7571038"/>
                  <a:gd name="connsiteX4812" fmla="*/ 1613866 w 4381952"/>
                  <a:gd name="connsiteY4812" fmla="*/ 4922320 h 7571038"/>
                  <a:gd name="connsiteX4813" fmla="*/ 1567756 w 4381952"/>
                  <a:gd name="connsiteY4813" fmla="*/ 4968430 h 7571038"/>
                  <a:gd name="connsiteX4814" fmla="*/ 1613866 w 4381952"/>
                  <a:gd name="connsiteY4814" fmla="*/ 5014787 h 7571038"/>
                  <a:gd name="connsiteX4815" fmla="*/ 1659977 w 4381952"/>
                  <a:gd name="connsiteY4815" fmla="*/ 4968430 h 7571038"/>
                  <a:gd name="connsiteX4816" fmla="*/ 1660223 w 4381952"/>
                  <a:gd name="connsiteY4816" fmla="*/ 4118483 h 7571038"/>
                  <a:gd name="connsiteX4817" fmla="*/ 1646168 w 4381952"/>
                  <a:gd name="connsiteY4817" fmla="*/ 4104183 h 7571038"/>
                  <a:gd name="connsiteX4818" fmla="*/ 1631866 w 4381952"/>
                  <a:gd name="connsiteY4818" fmla="*/ 4118483 h 7571038"/>
                  <a:gd name="connsiteX4819" fmla="*/ 1646168 w 4381952"/>
                  <a:gd name="connsiteY4819" fmla="*/ 4132786 h 7571038"/>
                  <a:gd name="connsiteX4820" fmla="*/ 1660223 w 4381952"/>
                  <a:gd name="connsiteY4820" fmla="*/ 4118483 h 7571038"/>
                  <a:gd name="connsiteX4821" fmla="*/ 1661455 w 4381952"/>
                  <a:gd name="connsiteY4821" fmla="*/ 3201231 h 7571038"/>
                  <a:gd name="connsiteX4822" fmla="*/ 1628907 w 4381952"/>
                  <a:gd name="connsiteY4822" fmla="*/ 3168683 h 7571038"/>
                  <a:gd name="connsiteX4823" fmla="*/ 1596359 w 4381952"/>
                  <a:gd name="connsiteY4823" fmla="*/ 3201231 h 7571038"/>
                  <a:gd name="connsiteX4824" fmla="*/ 1628907 w 4381952"/>
                  <a:gd name="connsiteY4824" fmla="*/ 3233780 h 7571038"/>
                  <a:gd name="connsiteX4825" fmla="*/ 1661455 w 4381952"/>
                  <a:gd name="connsiteY4825" fmla="*/ 3201231 h 7571038"/>
                  <a:gd name="connsiteX4826" fmla="*/ 1661455 w 4381952"/>
                  <a:gd name="connsiteY4826" fmla="*/ 4375417 h 7571038"/>
                  <a:gd name="connsiteX4827" fmla="*/ 1632357 w 4381952"/>
                  <a:gd name="connsiteY4827" fmla="*/ 4346320 h 7571038"/>
                  <a:gd name="connsiteX4828" fmla="*/ 1603263 w 4381952"/>
                  <a:gd name="connsiteY4828" fmla="*/ 4375417 h 7571038"/>
                  <a:gd name="connsiteX4829" fmla="*/ 1632357 w 4381952"/>
                  <a:gd name="connsiteY4829" fmla="*/ 4404511 h 7571038"/>
                  <a:gd name="connsiteX4830" fmla="*/ 1661455 w 4381952"/>
                  <a:gd name="connsiteY4830" fmla="*/ 4375417 h 7571038"/>
                  <a:gd name="connsiteX4831" fmla="*/ 1671566 w 4381952"/>
                  <a:gd name="connsiteY4831" fmla="*/ 3754046 h 7571038"/>
                  <a:gd name="connsiteX4832" fmla="*/ 1628906 w 4381952"/>
                  <a:gd name="connsiteY4832" fmla="*/ 3711389 h 7571038"/>
                  <a:gd name="connsiteX4833" fmla="*/ 1586250 w 4381952"/>
                  <a:gd name="connsiteY4833" fmla="*/ 3754046 h 7571038"/>
                  <a:gd name="connsiteX4834" fmla="*/ 1628906 w 4381952"/>
                  <a:gd name="connsiteY4834" fmla="*/ 3796952 h 7571038"/>
                  <a:gd name="connsiteX4835" fmla="*/ 1671566 w 4381952"/>
                  <a:gd name="connsiteY4835" fmla="*/ 3754046 h 7571038"/>
                  <a:gd name="connsiteX4836" fmla="*/ 1683153 w 4381952"/>
                  <a:gd name="connsiteY4836" fmla="*/ 3477635 h 7571038"/>
                  <a:gd name="connsiteX4837" fmla="*/ 1672305 w 4381952"/>
                  <a:gd name="connsiteY4837" fmla="*/ 3466785 h 7571038"/>
                  <a:gd name="connsiteX4838" fmla="*/ 1661455 w 4381952"/>
                  <a:gd name="connsiteY4838" fmla="*/ 3477635 h 7571038"/>
                  <a:gd name="connsiteX4839" fmla="*/ 1672305 w 4381952"/>
                  <a:gd name="connsiteY4839" fmla="*/ 3488485 h 7571038"/>
                  <a:gd name="connsiteX4840" fmla="*/ 1683153 w 4381952"/>
                  <a:gd name="connsiteY4840" fmla="*/ 3477635 h 7571038"/>
                  <a:gd name="connsiteX4841" fmla="*/ 1685372 w 4381952"/>
                  <a:gd name="connsiteY4841" fmla="*/ 3363719 h 7571038"/>
                  <a:gd name="connsiteX4842" fmla="*/ 1684880 w 4381952"/>
                  <a:gd name="connsiteY4842" fmla="*/ 3363227 h 7571038"/>
                  <a:gd name="connsiteX4843" fmla="*/ 1684386 w 4381952"/>
                  <a:gd name="connsiteY4843" fmla="*/ 3363719 h 7571038"/>
                  <a:gd name="connsiteX4844" fmla="*/ 1684880 w 4381952"/>
                  <a:gd name="connsiteY4844" fmla="*/ 3364213 h 7571038"/>
                  <a:gd name="connsiteX4845" fmla="*/ 1685372 w 4381952"/>
                  <a:gd name="connsiteY4845" fmla="*/ 3363719 h 7571038"/>
                  <a:gd name="connsiteX4846" fmla="*/ 1686115 w 4381952"/>
                  <a:gd name="connsiteY4846" fmla="*/ 1070005 h 7571038"/>
                  <a:gd name="connsiteX4847" fmla="*/ 1661209 w 4381952"/>
                  <a:gd name="connsiteY4847" fmla="*/ 1045100 h 7571038"/>
                  <a:gd name="connsiteX4848" fmla="*/ 1636306 w 4381952"/>
                  <a:gd name="connsiteY4848" fmla="*/ 1070005 h 7571038"/>
                  <a:gd name="connsiteX4849" fmla="*/ 1661209 w 4381952"/>
                  <a:gd name="connsiteY4849" fmla="*/ 1094910 h 7571038"/>
                  <a:gd name="connsiteX4850" fmla="*/ 1686115 w 4381952"/>
                  <a:gd name="connsiteY4850" fmla="*/ 1070005 h 7571038"/>
                  <a:gd name="connsiteX4851" fmla="*/ 1688331 w 4381952"/>
                  <a:gd name="connsiteY4851" fmla="*/ 848120 h 7571038"/>
                  <a:gd name="connsiteX4852" fmla="*/ 1662441 w 4381952"/>
                  <a:gd name="connsiteY4852" fmla="*/ 822230 h 7571038"/>
                  <a:gd name="connsiteX4853" fmla="*/ 1636552 w 4381952"/>
                  <a:gd name="connsiteY4853" fmla="*/ 848120 h 7571038"/>
                  <a:gd name="connsiteX4854" fmla="*/ 1662441 w 4381952"/>
                  <a:gd name="connsiteY4854" fmla="*/ 874003 h 7571038"/>
                  <a:gd name="connsiteX4855" fmla="*/ 1688331 w 4381952"/>
                  <a:gd name="connsiteY4855" fmla="*/ 848120 h 7571038"/>
                  <a:gd name="connsiteX4856" fmla="*/ 1688579 w 4381952"/>
                  <a:gd name="connsiteY4856" fmla="*/ 959064 h 7571038"/>
                  <a:gd name="connsiteX4857" fmla="*/ 1661457 w 4381952"/>
                  <a:gd name="connsiteY4857" fmla="*/ 931933 h 7571038"/>
                  <a:gd name="connsiteX4858" fmla="*/ 1634333 w 4381952"/>
                  <a:gd name="connsiteY4858" fmla="*/ 959064 h 7571038"/>
                  <a:gd name="connsiteX4859" fmla="*/ 1661457 w 4381952"/>
                  <a:gd name="connsiteY4859" fmla="*/ 986184 h 7571038"/>
                  <a:gd name="connsiteX4860" fmla="*/ 1688579 w 4381952"/>
                  <a:gd name="connsiteY4860" fmla="*/ 959064 h 7571038"/>
                  <a:gd name="connsiteX4861" fmla="*/ 1689320 w 4381952"/>
                  <a:gd name="connsiteY4861" fmla="*/ 1292624 h 7571038"/>
                  <a:gd name="connsiteX4862" fmla="*/ 1660469 w 4381952"/>
                  <a:gd name="connsiteY4862" fmla="*/ 1263773 h 7571038"/>
                  <a:gd name="connsiteX4863" fmla="*/ 1631621 w 4381952"/>
                  <a:gd name="connsiteY4863" fmla="*/ 1292624 h 7571038"/>
                  <a:gd name="connsiteX4864" fmla="*/ 1660469 w 4381952"/>
                  <a:gd name="connsiteY4864" fmla="*/ 1321475 h 7571038"/>
                  <a:gd name="connsiteX4865" fmla="*/ 1689320 w 4381952"/>
                  <a:gd name="connsiteY4865" fmla="*/ 1292624 h 7571038"/>
                  <a:gd name="connsiteX4866" fmla="*/ 1689809 w 4381952"/>
                  <a:gd name="connsiteY4866" fmla="*/ 1180946 h 7571038"/>
                  <a:gd name="connsiteX4867" fmla="*/ 1660960 w 4381952"/>
                  <a:gd name="connsiteY4867" fmla="*/ 1152099 h 7571038"/>
                  <a:gd name="connsiteX4868" fmla="*/ 1632112 w 4381952"/>
                  <a:gd name="connsiteY4868" fmla="*/ 1180946 h 7571038"/>
                  <a:gd name="connsiteX4869" fmla="*/ 1660960 w 4381952"/>
                  <a:gd name="connsiteY4869" fmla="*/ 1209797 h 7571038"/>
                  <a:gd name="connsiteX4870" fmla="*/ 1689809 w 4381952"/>
                  <a:gd name="connsiteY4870" fmla="*/ 1180946 h 7571038"/>
                  <a:gd name="connsiteX4871" fmla="*/ 1691291 w 4381952"/>
                  <a:gd name="connsiteY4871" fmla="*/ 517237 h 7571038"/>
                  <a:gd name="connsiteX4872" fmla="*/ 1662937 w 4381952"/>
                  <a:gd name="connsiteY4872" fmla="*/ 488881 h 7571038"/>
                  <a:gd name="connsiteX4873" fmla="*/ 1634579 w 4381952"/>
                  <a:gd name="connsiteY4873" fmla="*/ 517237 h 7571038"/>
                  <a:gd name="connsiteX4874" fmla="*/ 1662937 w 4381952"/>
                  <a:gd name="connsiteY4874" fmla="*/ 545590 h 7571038"/>
                  <a:gd name="connsiteX4875" fmla="*/ 1691291 w 4381952"/>
                  <a:gd name="connsiteY4875" fmla="*/ 517237 h 7571038"/>
                  <a:gd name="connsiteX4876" fmla="*/ 1691292 w 4381952"/>
                  <a:gd name="connsiteY4876" fmla="*/ 627187 h 7571038"/>
                  <a:gd name="connsiteX4877" fmla="*/ 1662690 w 4381952"/>
                  <a:gd name="connsiteY4877" fmla="*/ 598586 h 7571038"/>
                  <a:gd name="connsiteX4878" fmla="*/ 1634087 w 4381952"/>
                  <a:gd name="connsiteY4878" fmla="*/ 627187 h 7571038"/>
                  <a:gd name="connsiteX4879" fmla="*/ 1662690 w 4381952"/>
                  <a:gd name="connsiteY4879" fmla="*/ 655830 h 7571038"/>
                  <a:gd name="connsiteX4880" fmla="*/ 1691292 w 4381952"/>
                  <a:gd name="connsiteY4880" fmla="*/ 627187 h 7571038"/>
                  <a:gd name="connsiteX4881" fmla="*/ 1691784 w 4381952"/>
                  <a:gd name="connsiteY4881" fmla="*/ 737670 h 7571038"/>
                  <a:gd name="connsiteX4882" fmla="*/ 1662690 w 4381952"/>
                  <a:gd name="connsiteY4882" fmla="*/ 708573 h 7571038"/>
                  <a:gd name="connsiteX4883" fmla="*/ 1633593 w 4381952"/>
                  <a:gd name="connsiteY4883" fmla="*/ 737670 h 7571038"/>
                  <a:gd name="connsiteX4884" fmla="*/ 1662690 w 4381952"/>
                  <a:gd name="connsiteY4884" fmla="*/ 766769 h 7571038"/>
                  <a:gd name="connsiteX4885" fmla="*/ 1691784 w 4381952"/>
                  <a:gd name="connsiteY4885" fmla="*/ 737670 h 7571038"/>
                  <a:gd name="connsiteX4886" fmla="*/ 1703372 w 4381952"/>
                  <a:gd name="connsiteY4886" fmla="*/ 3982127 h 7571038"/>
                  <a:gd name="connsiteX4887" fmla="*/ 1658743 w 4381952"/>
                  <a:gd name="connsiteY4887" fmla="*/ 3937498 h 7571038"/>
                  <a:gd name="connsiteX4888" fmla="*/ 1614113 w 4381952"/>
                  <a:gd name="connsiteY4888" fmla="*/ 3982127 h 7571038"/>
                  <a:gd name="connsiteX4889" fmla="*/ 1658743 w 4381952"/>
                  <a:gd name="connsiteY4889" fmla="*/ 4026760 h 7571038"/>
                  <a:gd name="connsiteX4890" fmla="*/ 1703372 w 4381952"/>
                  <a:gd name="connsiteY4890" fmla="*/ 3982127 h 7571038"/>
                  <a:gd name="connsiteX4891" fmla="*/ 1712004 w 4381952"/>
                  <a:gd name="connsiteY4891" fmla="*/ 2932467 h 7571038"/>
                  <a:gd name="connsiteX4892" fmla="*/ 1700661 w 4381952"/>
                  <a:gd name="connsiteY4892" fmla="*/ 2921123 h 7571038"/>
                  <a:gd name="connsiteX4893" fmla="*/ 1689320 w 4381952"/>
                  <a:gd name="connsiteY4893" fmla="*/ 2932467 h 7571038"/>
                  <a:gd name="connsiteX4894" fmla="*/ 1700661 w 4381952"/>
                  <a:gd name="connsiteY4894" fmla="*/ 2943807 h 7571038"/>
                  <a:gd name="connsiteX4895" fmla="*/ 1712004 w 4381952"/>
                  <a:gd name="connsiteY4895" fmla="*/ 2932467 h 7571038"/>
                  <a:gd name="connsiteX4896" fmla="*/ 1712989 w 4381952"/>
                  <a:gd name="connsiteY4896" fmla="*/ 2673572 h 7571038"/>
                  <a:gd name="connsiteX4897" fmla="*/ 1686607 w 4381952"/>
                  <a:gd name="connsiteY4897" fmla="*/ 2647187 h 7571038"/>
                  <a:gd name="connsiteX4898" fmla="*/ 1660223 w 4381952"/>
                  <a:gd name="connsiteY4898" fmla="*/ 2673572 h 7571038"/>
                  <a:gd name="connsiteX4899" fmla="*/ 1686607 w 4381952"/>
                  <a:gd name="connsiteY4899" fmla="*/ 2699954 h 7571038"/>
                  <a:gd name="connsiteX4900" fmla="*/ 1712989 w 4381952"/>
                  <a:gd name="connsiteY4900" fmla="*/ 2673572 h 7571038"/>
                  <a:gd name="connsiteX4901" fmla="*/ 1713483 w 4381952"/>
                  <a:gd name="connsiteY4901" fmla="*/ 2800309 h 7571038"/>
                  <a:gd name="connsiteX4902" fmla="*/ 1692279 w 4381952"/>
                  <a:gd name="connsiteY4902" fmla="*/ 2779102 h 7571038"/>
                  <a:gd name="connsiteX4903" fmla="*/ 1671072 w 4381952"/>
                  <a:gd name="connsiteY4903" fmla="*/ 2800309 h 7571038"/>
                  <a:gd name="connsiteX4904" fmla="*/ 1692279 w 4381952"/>
                  <a:gd name="connsiteY4904" fmla="*/ 2821513 h 7571038"/>
                  <a:gd name="connsiteX4905" fmla="*/ 1713483 w 4381952"/>
                  <a:gd name="connsiteY4905" fmla="*/ 2800309 h 7571038"/>
                  <a:gd name="connsiteX4906" fmla="*/ 1713730 w 4381952"/>
                  <a:gd name="connsiteY4906" fmla="*/ 2312109 h 7571038"/>
                  <a:gd name="connsiteX4907" fmla="*/ 1676990 w 4381952"/>
                  <a:gd name="connsiteY4907" fmla="*/ 2275368 h 7571038"/>
                  <a:gd name="connsiteX4908" fmla="*/ 1640252 w 4381952"/>
                  <a:gd name="connsiteY4908" fmla="*/ 2312109 h 7571038"/>
                  <a:gd name="connsiteX4909" fmla="*/ 1676990 w 4381952"/>
                  <a:gd name="connsiteY4909" fmla="*/ 2349101 h 7571038"/>
                  <a:gd name="connsiteX4910" fmla="*/ 1713730 w 4381952"/>
                  <a:gd name="connsiteY4910" fmla="*/ 2312109 h 7571038"/>
                  <a:gd name="connsiteX4911" fmla="*/ 1713975 w 4381952"/>
                  <a:gd name="connsiteY4911" fmla="*/ 2195488 h 7571038"/>
                  <a:gd name="connsiteX4912" fmla="*/ 1675263 w 4381952"/>
                  <a:gd name="connsiteY4912" fmla="*/ 2156775 h 7571038"/>
                  <a:gd name="connsiteX4913" fmla="*/ 1636552 w 4381952"/>
                  <a:gd name="connsiteY4913" fmla="*/ 2195488 h 7571038"/>
                  <a:gd name="connsiteX4914" fmla="*/ 1675263 w 4381952"/>
                  <a:gd name="connsiteY4914" fmla="*/ 2234198 h 7571038"/>
                  <a:gd name="connsiteX4915" fmla="*/ 1713975 w 4381952"/>
                  <a:gd name="connsiteY4915" fmla="*/ 2195488 h 7571038"/>
                  <a:gd name="connsiteX4916" fmla="*/ 1714223 w 4381952"/>
                  <a:gd name="connsiteY4916" fmla="*/ 2550783 h 7571038"/>
                  <a:gd name="connsiteX4917" fmla="*/ 1682170 w 4381952"/>
                  <a:gd name="connsiteY4917" fmla="*/ 2518727 h 7571038"/>
                  <a:gd name="connsiteX4918" fmla="*/ 1650114 w 4381952"/>
                  <a:gd name="connsiteY4918" fmla="*/ 2550783 h 7571038"/>
                  <a:gd name="connsiteX4919" fmla="*/ 1682170 w 4381952"/>
                  <a:gd name="connsiteY4919" fmla="*/ 2582837 h 7571038"/>
                  <a:gd name="connsiteX4920" fmla="*/ 1714223 w 4381952"/>
                  <a:gd name="connsiteY4920" fmla="*/ 2550783 h 7571038"/>
                  <a:gd name="connsiteX4921" fmla="*/ 1717677 w 4381952"/>
                  <a:gd name="connsiteY4921" fmla="*/ 3591551 h 7571038"/>
                  <a:gd name="connsiteX4922" fmla="*/ 1684881 w 4381952"/>
                  <a:gd name="connsiteY4922" fmla="*/ 3558757 h 7571038"/>
                  <a:gd name="connsiteX4923" fmla="*/ 1652087 w 4381952"/>
                  <a:gd name="connsiteY4923" fmla="*/ 3591551 h 7571038"/>
                  <a:gd name="connsiteX4924" fmla="*/ 1684881 w 4381952"/>
                  <a:gd name="connsiteY4924" fmla="*/ 3624349 h 7571038"/>
                  <a:gd name="connsiteX4925" fmla="*/ 1717677 w 4381952"/>
                  <a:gd name="connsiteY4925" fmla="*/ 3591551 h 7571038"/>
                  <a:gd name="connsiteX4926" fmla="*/ 1718906 w 4381952"/>
                  <a:gd name="connsiteY4926" fmla="*/ 3104079 h 7571038"/>
                  <a:gd name="connsiteX4927" fmla="*/ 1689317 w 4381952"/>
                  <a:gd name="connsiteY4927" fmla="*/ 3074490 h 7571038"/>
                  <a:gd name="connsiteX4928" fmla="*/ 1659728 w 4381952"/>
                  <a:gd name="connsiteY4928" fmla="*/ 3104079 h 7571038"/>
                  <a:gd name="connsiteX4929" fmla="*/ 1689317 w 4381952"/>
                  <a:gd name="connsiteY4929" fmla="*/ 3133668 h 7571038"/>
                  <a:gd name="connsiteX4930" fmla="*/ 1718906 w 4381952"/>
                  <a:gd name="connsiteY4930" fmla="*/ 3104079 h 7571038"/>
                  <a:gd name="connsiteX4931" fmla="*/ 1722359 w 4381952"/>
                  <a:gd name="connsiteY4931" fmla="*/ 7322985 h 7571038"/>
                  <a:gd name="connsiteX4932" fmla="*/ 1719401 w 4381952"/>
                  <a:gd name="connsiteY4932" fmla="*/ 7320025 h 7571038"/>
                  <a:gd name="connsiteX4933" fmla="*/ 1716442 w 4381952"/>
                  <a:gd name="connsiteY4933" fmla="*/ 7322985 h 7571038"/>
                  <a:gd name="connsiteX4934" fmla="*/ 1719401 w 4381952"/>
                  <a:gd name="connsiteY4934" fmla="*/ 7325944 h 7571038"/>
                  <a:gd name="connsiteX4935" fmla="*/ 1722359 w 4381952"/>
                  <a:gd name="connsiteY4935" fmla="*/ 7322985 h 7571038"/>
                  <a:gd name="connsiteX4936" fmla="*/ 1722359 w 4381952"/>
                  <a:gd name="connsiteY4936" fmla="*/ 7432218 h 7571038"/>
                  <a:gd name="connsiteX4937" fmla="*/ 1719647 w 4381952"/>
                  <a:gd name="connsiteY4937" fmla="*/ 7429505 h 7571038"/>
                  <a:gd name="connsiteX4938" fmla="*/ 1716688 w 4381952"/>
                  <a:gd name="connsiteY4938" fmla="*/ 7432218 h 7571038"/>
                  <a:gd name="connsiteX4939" fmla="*/ 1719647 w 4381952"/>
                  <a:gd name="connsiteY4939" fmla="*/ 7435177 h 7571038"/>
                  <a:gd name="connsiteX4940" fmla="*/ 1722359 w 4381952"/>
                  <a:gd name="connsiteY4940" fmla="*/ 7432218 h 7571038"/>
                  <a:gd name="connsiteX4941" fmla="*/ 1722608 w 4381952"/>
                  <a:gd name="connsiteY4941" fmla="*/ 7541697 h 7571038"/>
                  <a:gd name="connsiteX4942" fmla="*/ 1719896 w 4381952"/>
                  <a:gd name="connsiteY4942" fmla="*/ 7538984 h 7571038"/>
                  <a:gd name="connsiteX4943" fmla="*/ 1717183 w 4381952"/>
                  <a:gd name="connsiteY4943" fmla="*/ 7541697 h 7571038"/>
                  <a:gd name="connsiteX4944" fmla="*/ 1719896 w 4381952"/>
                  <a:gd name="connsiteY4944" fmla="*/ 7544411 h 7571038"/>
                  <a:gd name="connsiteX4945" fmla="*/ 1722608 w 4381952"/>
                  <a:gd name="connsiteY4945" fmla="*/ 7541697 h 7571038"/>
                  <a:gd name="connsiteX4946" fmla="*/ 1722854 w 4381952"/>
                  <a:gd name="connsiteY4946" fmla="*/ 5676350 h 7571038"/>
                  <a:gd name="connsiteX4947" fmla="*/ 1720633 w 4381952"/>
                  <a:gd name="connsiteY4947" fmla="*/ 5674131 h 7571038"/>
                  <a:gd name="connsiteX4948" fmla="*/ 1718415 w 4381952"/>
                  <a:gd name="connsiteY4948" fmla="*/ 5676350 h 7571038"/>
                  <a:gd name="connsiteX4949" fmla="*/ 1720633 w 4381952"/>
                  <a:gd name="connsiteY4949" fmla="*/ 5678568 h 7571038"/>
                  <a:gd name="connsiteX4950" fmla="*/ 1722854 w 4381952"/>
                  <a:gd name="connsiteY4950" fmla="*/ 5676350 h 7571038"/>
                  <a:gd name="connsiteX4951" fmla="*/ 1723098 w 4381952"/>
                  <a:gd name="connsiteY4951" fmla="*/ 6557364 h 7571038"/>
                  <a:gd name="connsiteX4952" fmla="*/ 1719893 w 4381952"/>
                  <a:gd name="connsiteY4952" fmla="*/ 6554159 h 7571038"/>
                  <a:gd name="connsiteX4953" fmla="*/ 1716688 w 4381952"/>
                  <a:gd name="connsiteY4953" fmla="*/ 6557364 h 7571038"/>
                  <a:gd name="connsiteX4954" fmla="*/ 1719893 w 4381952"/>
                  <a:gd name="connsiteY4954" fmla="*/ 6560569 h 7571038"/>
                  <a:gd name="connsiteX4955" fmla="*/ 1723098 w 4381952"/>
                  <a:gd name="connsiteY4955" fmla="*/ 6557364 h 7571038"/>
                  <a:gd name="connsiteX4956" fmla="*/ 1723346 w 4381952"/>
                  <a:gd name="connsiteY4956" fmla="*/ 5897528 h 7571038"/>
                  <a:gd name="connsiteX4957" fmla="*/ 1721374 w 4381952"/>
                  <a:gd name="connsiteY4957" fmla="*/ 5895554 h 7571038"/>
                  <a:gd name="connsiteX4958" fmla="*/ 1719402 w 4381952"/>
                  <a:gd name="connsiteY4958" fmla="*/ 5897528 h 7571038"/>
                  <a:gd name="connsiteX4959" fmla="*/ 1721374 w 4381952"/>
                  <a:gd name="connsiteY4959" fmla="*/ 5899500 h 7571038"/>
                  <a:gd name="connsiteX4960" fmla="*/ 1723346 w 4381952"/>
                  <a:gd name="connsiteY4960" fmla="*/ 5897528 h 7571038"/>
                  <a:gd name="connsiteX4961" fmla="*/ 1723838 w 4381952"/>
                  <a:gd name="connsiteY4961" fmla="*/ 6995283 h 7571038"/>
                  <a:gd name="connsiteX4962" fmla="*/ 1720880 w 4381952"/>
                  <a:gd name="connsiteY4962" fmla="*/ 6992324 h 7571038"/>
                  <a:gd name="connsiteX4963" fmla="*/ 1717921 w 4381952"/>
                  <a:gd name="connsiteY4963" fmla="*/ 6995283 h 7571038"/>
                  <a:gd name="connsiteX4964" fmla="*/ 1720880 w 4381952"/>
                  <a:gd name="connsiteY4964" fmla="*/ 6998243 h 7571038"/>
                  <a:gd name="connsiteX4965" fmla="*/ 1723838 w 4381952"/>
                  <a:gd name="connsiteY4965" fmla="*/ 6995283 h 7571038"/>
                  <a:gd name="connsiteX4966" fmla="*/ 1724084 w 4381952"/>
                  <a:gd name="connsiteY4966" fmla="*/ 6228185 h 7571038"/>
                  <a:gd name="connsiteX4967" fmla="*/ 1721865 w 4381952"/>
                  <a:gd name="connsiteY4967" fmla="*/ 6225966 h 7571038"/>
                  <a:gd name="connsiteX4968" fmla="*/ 1719647 w 4381952"/>
                  <a:gd name="connsiteY4968" fmla="*/ 6228185 h 7571038"/>
                  <a:gd name="connsiteX4969" fmla="*/ 1721865 w 4381952"/>
                  <a:gd name="connsiteY4969" fmla="*/ 6230403 h 7571038"/>
                  <a:gd name="connsiteX4970" fmla="*/ 1724084 w 4381952"/>
                  <a:gd name="connsiteY4970" fmla="*/ 6228185 h 7571038"/>
                  <a:gd name="connsiteX4971" fmla="*/ 1724086 w 4381952"/>
                  <a:gd name="connsiteY4971" fmla="*/ 6007997 h 7571038"/>
                  <a:gd name="connsiteX4972" fmla="*/ 1721622 w 4381952"/>
                  <a:gd name="connsiteY4972" fmla="*/ 6005529 h 7571038"/>
                  <a:gd name="connsiteX4973" fmla="*/ 1719155 w 4381952"/>
                  <a:gd name="connsiteY4973" fmla="*/ 6007997 h 7571038"/>
                  <a:gd name="connsiteX4974" fmla="*/ 1721622 w 4381952"/>
                  <a:gd name="connsiteY4974" fmla="*/ 6010461 h 7571038"/>
                  <a:gd name="connsiteX4975" fmla="*/ 1724086 w 4381952"/>
                  <a:gd name="connsiteY4975" fmla="*/ 6007997 h 7571038"/>
                  <a:gd name="connsiteX4976" fmla="*/ 1724086 w 4381952"/>
                  <a:gd name="connsiteY4976" fmla="*/ 7214244 h 7571038"/>
                  <a:gd name="connsiteX4977" fmla="*/ 1721374 w 4381952"/>
                  <a:gd name="connsiteY4977" fmla="*/ 7211530 h 7571038"/>
                  <a:gd name="connsiteX4978" fmla="*/ 1718661 w 4381952"/>
                  <a:gd name="connsiteY4978" fmla="*/ 7214244 h 7571038"/>
                  <a:gd name="connsiteX4979" fmla="*/ 1721374 w 4381952"/>
                  <a:gd name="connsiteY4979" fmla="*/ 7216957 h 7571038"/>
                  <a:gd name="connsiteX4980" fmla="*/ 1724086 w 4381952"/>
                  <a:gd name="connsiteY4980" fmla="*/ 7214244 h 7571038"/>
                  <a:gd name="connsiteX4981" fmla="*/ 1724333 w 4381952"/>
                  <a:gd name="connsiteY4981" fmla="*/ 7104762 h 7571038"/>
                  <a:gd name="connsiteX4982" fmla="*/ 1721125 w 4381952"/>
                  <a:gd name="connsiteY4982" fmla="*/ 7101557 h 7571038"/>
                  <a:gd name="connsiteX4983" fmla="*/ 1717921 w 4381952"/>
                  <a:gd name="connsiteY4983" fmla="*/ 7104762 h 7571038"/>
                  <a:gd name="connsiteX4984" fmla="*/ 1721125 w 4381952"/>
                  <a:gd name="connsiteY4984" fmla="*/ 7107970 h 7571038"/>
                  <a:gd name="connsiteX4985" fmla="*/ 1724333 w 4381952"/>
                  <a:gd name="connsiteY4985" fmla="*/ 7104762 h 7571038"/>
                  <a:gd name="connsiteX4986" fmla="*/ 1724335 w 4381952"/>
                  <a:gd name="connsiteY4986" fmla="*/ 6118213 h 7571038"/>
                  <a:gd name="connsiteX4987" fmla="*/ 1721623 w 4381952"/>
                  <a:gd name="connsiteY4987" fmla="*/ 6115500 h 7571038"/>
                  <a:gd name="connsiteX4988" fmla="*/ 1718909 w 4381952"/>
                  <a:gd name="connsiteY4988" fmla="*/ 6118213 h 7571038"/>
                  <a:gd name="connsiteX4989" fmla="*/ 1721623 w 4381952"/>
                  <a:gd name="connsiteY4989" fmla="*/ 6120926 h 7571038"/>
                  <a:gd name="connsiteX4990" fmla="*/ 1724335 w 4381952"/>
                  <a:gd name="connsiteY4990" fmla="*/ 6118213 h 7571038"/>
                  <a:gd name="connsiteX4991" fmla="*/ 1724579 w 4381952"/>
                  <a:gd name="connsiteY4991" fmla="*/ 3255229 h 7571038"/>
                  <a:gd name="connsiteX4992" fmla="*/ 1722855 w 4381952"/>
                  <a:gd name="connsiteY4992" fmla="*/ 3253501 h 7571038"/>
                  <a:gd name="connsiteX4993" fmla="*/ 1721128 w 4381952"/>
                  <a:gd name="connsiteY4993" fmla="*/ 3255229 h 7571038"/>
                  <a:gd name="connsiteX4994" fmla="*/ 1722855 w 4381952"/>
                  <a:gd name="connsiteY4994" fmla="*/ 3256952 h 7571038"/>
                  <a:gd name="connsiteX4995" fmla="*/ 1724579 w 4381952"/>
                  <a:gd name="connsiteY4995" fmla="*/ 3255229 h 7571038"/>
                  <a:gd name="connsiteX4996" fmla="*/ 1725318 w 4381952"/>
                  <a:gd name="connsiteY4996" fmla="*/ 5231527 h 7571038"/>
                  <a:gd name="connsiteX4997" fmla="*/ 1724332 w 4381952"/>
                  <a:gd name="connsiteY4997" fmla="*/ 5230541 h 7571038"/>
                  <a:gd name="connsiteX4998" fmla="*/ 1723346 w 4381952"/>
                  <a:gd name="connsiteY4998" fmla="*/ 5231527 h 7571038"/>
                  <a:gd name="connsiteX4999" fmla="*/ 1724332 w 4381952"/>
                  <a:gd name="connsiteY4999" fmla="*/ 5232513 h 7571038"/>
                  <a:gd name="connsiteX5000" fmla="*/ 1725318 w 4381952"/>
                  <a:gd name="connsiteY5000" fmla="*/ 5231527 h 7571038"/>
                  <a:gd name="connsiteX5001" fmla="*/ 1725813 w 4381952"/>
                  <a:gd name="connsiteY5001" fmla="*/ 5787062 h 7571038"/>
                  <a:gd name="connsiteX5002" fmla="*/ 1721127 w 4381952"/>
                  <a:gd name="connsiteY5002" fmla="*/ 5782130 h 7571038"/>
                  <a:gd name="connsiteX5003" fmla="*/ 1716442 w 4381952"/>
                  <a:gd name="connsiteY5003" fmla="*/ 5787062 h 7571038"/>
                  <a:gd name="connsiteX5004" fmla="*/ 1721127 w 4381952"/>
                  <a:gd name="connsiteY5004" fmla="*/ 5791748 h 7571038"/>
                  <a:gd name="connsiteX5005" fmla="*/ 1725813 w 4381952"/>
                  <a:gd name="connsiteY5005" fmla="*/ 5787062 h 7571038"/>
                  <a:gd name="connsiteX5006" fmla="*/ 1726305 w 4381952"/>
                  <a:gd name="connsiteY5006" fmla="*/ 6776569 h 7571038"/>
                  <a:gd name="connsiteX5007" fmla="*/ 1720387 w 4381952"/>
                  <a:gd name="connsiteY5007" fmla="*/ 6770406 h 7571038"/>
                  <a:gd name="connsiteX5008" fmla="*/ 1714470 w 4381952"/>
                  <a:gd name="connsiteY5008" fmla="*/ 6776569 h 7571038"/>
                  <a:gd name="connsiteX5009" fmla="*/ 1720387 w 4381952"/>
                  <a:gd name="connsiteY5009" fmla="*/ 6782487 h 7571038"/>
                  <a:gd name="connsiteX5010" fmla="*/ 1726305 w 4381952"/>
                  <a:gd name="connsiteY5010" fmla="*/ 6776569 h 7571038"/>
                  <a:gd name="connsiteX5011" fmla="*/ 1726308 w 4381952"/>
                  <a:gd name="connsiteY5011" fmla="*/ 6666844 h 7571038"/>
                  <a:gd name="connsiteX5012" fmla="*/ 1720142 w 4381952"/>
                  <a:gd name="connsiteY5012" fmla="*/ 6660679 h 7571038"/>
                  <a:gd name="connsiteX5013" fmla="*/ 1713978 w 4381952"/>
                  <a:gd name="connsiteY5013" fmla="*/ 6666844 h 7571038"/>
                  <a:gd name="connsiteX5014" fmla="*/ 1720142 w 4381952"/>
                  <a:gd name="connsiteY5014" fmla="*/ 6673010 h 7571038"/>
                  <a:gd name="connsiteX5015" fmla="*/ 1726308 w 4381952"/>
                  <a:gd name="connsiteY5015" fmla="*/ 6666844 h 7571038"/>
                  <a:gd name="connsiteX5016" fmla="*/ 1726799 w 4381952"/>
                  <a:gd name="connsiteY5016" fmla="*/ 2430459 h 7571038"/>
                  <a:gd name="connsiteX5017" fmla="*/ 1679209 w 4381952"/>
                  <a:gd name="connsiteY5017" fmla="*/ 2382869 h 7571038"/>
                  <a:gd name="connsiteX5018" fmla="*/ 1631621 w 4381952"/>
                  <a:gd name="connsiteY5018" fmla="*/ 2430459 h 7571038"/>
                  <a:gd name="connsiteX5019" fmla="*/ 1679209 w 4381952"/>
                  <a:gd name="connsiteY5019" fmla="*/ 2478051 h 7571038"/>
                  <a:gd name="connsiteX5020" fmla="*/ 1726799 w 4381952"/>
                  <a:gd name="connsiteY5020" fmla="*/ 2430459 h 7571038"/>
                  <a:gd name="connsiteX5021" fmla="*/ 1727292 w 4381952"/>
                  <a:gd name="connsiteY5021" fmla="*/ 6886052 h 7571038"/>
                  <a:gd name="connsiteX5022" fmla="*/ 1720636 w 4381952"/>
                  <a:gd name="connsiteY5022" fmla="*/ 6879393 h 7571038"/>
                  <a:gd name="connsiteX5023" fmla="*/ 1713978 w 4381952"/>
                  <a:gd name="connsiteY5023" fmla="*/ 6886052 h 7571038"/>
                  <a:gd name="connsiteX5024" fmla="*/ 1720636 w 4381952"/>
                  <a:gd name="connsiteY5024" fmla="*/ 6892706 h 7571038"/>
                  <a:gd name="connsiteX5025" fmla="*/ 1727292 w 4381952"/>
                  <a:gd name="connsiteY5025" fmla="*/ 6886052 h 7571038"/>
                  <a:gd name="connsiteX5026" fmla="*/ 1729756 w 4381952"/>
                  <a:gd name="connsiteY5026" fmla="*/ 6447887 h 7571038"/>
                  <a:gd name="connsiteX5027" fmla="*/ 1722360 w 4381952"/>
                  <a:gd name="connsiteY5027" fmla="*/ 6440488 h 7571038"/>
                  <a:gd name="connsiteX5028" fmla="*/ 1714962 w 4381952"/>
                  <a:gd name="connsiteY5028" fmla="*/ 6447887 h 7571038"/>
                  <a:gd name="connsiteX5029" fmla="*/ 1722360 w 4381952"/>
                  <a:gd name="connsiteY5029" fmla="*/ 6455282 h 7571038"/>
                  <a:gd name="connsiteX5030" fmla="*/ 1729756 w 4381952"/>
                  <a:gd name="connsiteY5030" fmla="*/ 6447887 h 7571038"/>
                  <a:gd name="connsiteX5031" fmla="*/ 1730251 w 4381952"/>
                  <a:gd name="connsiteY5031" fmla="*/ 6338159 h 7571038"/>
                  <a:gd name="connsiteX5032" fmla="*/ 1722115 w 4381952"/>
                  <a:gd name="connsiteY5032" fmla="*/ 6330023 h 7571038"/>
                  <a:gd name="connsiteX5033" fmla="*/ 1713978 w 4381952"/>
                  <a:gd name="connsiteY5033" fmla="*/ 6338159 h 7571038"/>
                  <a:gd name="connsiteX5034" fmla="*/ 1722115 w 4381952"/>
                  <a:gd name="connsiteY5034" fmla="*/ 6346299 h 7571038"/>
                  <a:gd name="connsiteX5035" fmla="*/ 1730251 w 4381952"/>
                  <a:gd name="connsiteY5035" fmla="*/ 6338159 h 7571038"/>
                  <a:gd name="connsiteX5036" fmla="*/ 1731976 w 4381952"/>
                  <a:gd name="connsiteY5036" fmla="*/ 3851195 h 7571038"/>
                  <a:gd name="connsiteX5037" fmla="*/ 1689317 w 4381952"/>
                  <a:gd name="connsiteY5037" fmla="*/ 3808537 h 7571038"/>
                  <a:gd name="connsiteX5038" fmla="*/ 1646660 w 4381952"/>
                  <a:gd name="connsiteY5038" fmla="*/ 3851195 h 7571038"/>
                  <a:gd name="connsiteX5039" fmla="*/ 1689317 w 4381952"/>
                  <a:gd name="connsiteY5039" fmla="*/ 3893851 h 7571038"/>
                  <a:gd name="connsiteX5040" fmla="*/ 1731976 w 4381952"/>
                  <a:gd name="connsiteY5040" fmla="*/ 3851195 h 7571038"/>
                  <a:gd name="connsiteX5041" fmla="*/ 1736662 w 4381952"/>
                  <a:gd name="connsiteY5041" fmla="*/ 5454927 h 7571038"/>
                  <a:gd name="connsiteX5042" fmla="*/ 1724335 w 4381952"/>
                  <a:gd name="connsiteY5042" fmla="*/ 5442596 h 7571038"/>
                  <a:gd name="connsiteX5043" fmla="*/ 1712005 w 4381952"/>
                  <a:gd name="connsiteY5043" fmla="*/ 5454927 h 7571038"/>
                  <a:gd name="connsiteX5044" fmla="*/ 1724335 w 4381952"/>
                  <a:gd name="connsiteY5044" fmla="*/ 5467253 h 7571038"/>
                  <a:gd name="connsiteX5045" fmla="*/ 1736662 w 4381952"/>
                  <a:gd name="connsiteY5045" fmla="*/ 5454927 h 7571038"/>
                  <a:gd name="connsiteX5046" fmla="*/ 1737400 w 4381952"/>
                  <a:gd name="connsiteY5046" fmla="*/ 4892731 h 7571038"/>
                  <a:gd name="connsiteX5047" fmla="*/ 1724333 w 4381952"/>
                  <a:gd name="connsiteY5047" fmla="*/ 4879663 h 7571038"/>
                  <a:gd name="connsiteX5048" fmla="*/ 1711265 w 4381952"/>
                  <a:gd name="connsiteY5048" fmla="*/ 4892731 h 7571038"/>
                  <a:gd name="connsiteX5049" fmla="*/ 1724333 w 4381952"/>
                  <a:gd name="connsiteY5049" fmla="*/ 4905799 h 7571038"/>
                  <a:gd name="connsiteX5050" fmla="*/ 1737400 w 4381952"/>
                  <a:gd name="connsiteY5050" fmla="*/ 4892731 h 7571038"/>
                  <a:gd name="connsiteX5051" fmla="*/ 1737894 w 4381952"/>
                  <a:gd name="connsiteY5051" fmla="*/ 1612647 h 7571038"/>
                  <a:gd name="connsiteX5052" fmla="*/ 1721373 w 4381952"/>
                  <a:gd name="connsiteY5052" fmla="*/ 1595879 h 7571038"/>
                  <a:gd name="connsiteX5053" fmla="*/ 1704606 w 4381952"/>
                  <a:gd name="connsiteY5053" fmla="*/ 1612647 h 7571038"/>
                  <a:gd name="connsiteX5054" fmla="*/ 1721373 w 4381952"/>
                  <a:gd name="connsiteY5054" fmla="*/ 1629167 h 7571038"/>
                  <a:gd name="connsiteX5055" fmla="*/ 1737894 w 4381952"/>
                  <a:gd name="connsiteY5055" fmla="*/ 1612647 h 7571038"/>
                  <a:gd name="connsiteX5056" fmla="*/ 1737895 w 4381952"/>
                  <a:gd name="connsiteY5056" fmla="*/ 1836530 h 7571038"/>
                  <a:gd name="connsiteX5057" fmla="*/ 1722114 w 4381952"/>
                  <a:gd name="connsiteY5057" fmla="*/ 1820752 h 7571038"/>
                  <a:gd name="connsiteX5058" fmla="*/ 1706333 w 4381952"/>
                  <a:gd name="connsiteY5058" fmla="*/ 1836530 h 7571038"/>
                  <a:gd name="connsiteX5059" fmla="*/ 1722114 w 4381952"/>
                  <a:gd name="connsiteY5059" fmla="*/ 1852309 h 7571038"/>
                  <a:gd name="connsiteX5060" fmla="*/ 1737895 w 4381952"/>
                  <a:gd name="connsiteY5060" fmla="*/ 1836530 h 7571038"/>
                  <a:gd name="connsiteX5061" fmla="*/ 1739126 w 4381952"/>
                  <a:gd name="connsiteY5061" fmla="*/ 1724322 h 7571038"/>
                  <a:gd name="connsiteX5062" fmla="*/ 1721865 w 4381952"/>
                  <a:gd name="connsiteY5062" fmla="*/ 1707070 h 7571038"/>
                  <a:gd name="connsiteX5063" fmla="*/ 1704606 w 4381952"/>
                  <a:gd name="connsiteY5063" fmla="*/ 1724322 h 7571038"/>
                  <a:gd name="connsiteX5064" fmla="*/ 1721865 w 4381952"/>
                  <a:gd name="connsiteY5064" fmla="*/ 1741592 h 7571038"/>
                  <a:gd name="connsiteX5065" fmla="*/ 1739126 w 4381952"/>
                  <a:gd name="connsiteY5065" fmla="*/ 1724322 h 7571038"/>
                  <a:gd name="connsiteX5066" fmla="*/ 1742826 w 4381952"/>
                  <a:gd name="connsiteY5066" fmla="*/ 398653 h 7571038"/>
                  <a:gd name="connsiteX5067" fmla="*/ 1716934 w 4381952"/>
                  <a:gd name="connsiteY5067" fmla="*/ 372765 h 7571038"/>
                  <a:gd name="connsiteX5068" fmla="*/ 1691044 w 4381952"/>
                  <a:gd name="connsiteY5068" fmla="*/ 398653 h 7571038"/>
                  <a:gd name="connsiteX5069" fmla="*/ 1716934 w 4381952"/>
                  <a:gd name="connsiteY5069" fmla="*/ 424545 h 7571038"/>
                  <a:gd name="connsiteX5070" fmla="*/ 1742826 w 4381952"/>
                  <a:gd name="connsiteY5070" fmla="*/ 398653 h 7571038"/>
                  <a:gd name="connsiteX5071" fmla="*/ 1743565 w 4381952"/>
                  <a:gd name="connsiteY5071" fmla="*/ 288705 h 7571038"/>
                  <a:gd name="connsiteX5072" fmla="*/ 1717183 w 4381952"/>
                  <a:gd name="connsiteY5072" fmla="*/ 262321 h 7571038"/>
                  <a:gd name="connsiteX5073" fmla="*/ 1690799 w 4381952"/>
                  <a:gd name="connsiteY5073" fmla="*/ 288705 h 7571038"/>
                  <a:gd name="connsiteX5074" fmla="*/ 1717183 w 4381952"/>
                  <a:gd name="connsiteY5074" fmla="*/ 315085 h 7571038"/>
                  <a:gd name="connsiteX5075" fmla="*/ 1743565 w 4381952"/>
                  <a:gd name="connsiteY5075" fmla="*/ 288705 h 7571038"/>
                  <a:gd name="connsiteX5076" fmla="*/ 1743809 w 4381952"/>
                  <a:gd name="connsiteY5076" fmla="*/ 1500961 h 7571038"/>
                  <a:gd name="connsiteX5077" fmla="*/ 1721373 w 4381952"/>
                  <a:gd name="connsiteY5077" fmla="*/ 1478520 h 7571038"/>
                  <a:gd name="connsiteX5078" fmla="*/ 1698934 w 4381952"/>
                  <a:gd name="connsiteY5078" fmla="*/ 1500961 h 7571038"/>
                  <a:gd name="connsiteX5079" fmla="*/ 1721373 w 4381952"/>
                  <a:gd name="connsiteY5079" fmla="*/ 1523153 h 7571038"/>
                  <a:gd name="connsiteX5080" fmla="*/ 1743809 w 4381952"/>
                  <a:gd name="connsiteY5080" fmla="*/ 1500961 h 7571038"/>
                  <a:gd name="connsiteX5081" fmla="*/ 1744550 w 4381952"/>
                  <a:gd name="connsiteY5081" fmla="*/ 5343228 h 7571038"/>
                  <a:gd name="connsiteX5082" fmla="*/ 1724333 w 4381952"/>
                  <a:gd name="connsiteY5082" fmla="*/ 5323007 h 7571038"/>
                  <a:gd name="connsiteX5083" fmla="*/ 1704112 w 4381952"/>
                  <a:gd name="connsiteY5083" fmla="*/ 5343228 h 7571038"/>
                  <a:gd name="connsiteX5084" fmla="*/ 1724333 w 4381952"/>
                  <a:gd name="connsiteY5084" fmla="*/ 5363447 h 7571038"/>
                  <a:gd name="connsiteX5085" fmla="*/ 1744550 w 4381952"/>
                  <a:gd name="connsiteY5085" fmla="*/ 5343228 h 7571038"/>
                  <a:gd name="connsiteX5086" fmla="*/ 1744799 w 4381952"/>
                  <a:gd name="connsiteY5086" fmla="*/ 69799 h 7571038"/>
                  <a:gd name="connsiteX5087" fmla="*/ 1717677 w 4381952"/>
                  <a:gd name="connsiteY5087" fmla="*/ 42675 h 7571038"/>
                  <a:gd name="connsiteX5088" fmla="*/ 1690552 w 4381952"/>
                  <a:gd name="connsiteY5088" fmla="*/ 69799 h 7571038"/>
                  <a:gd name="connsiteX5089" fmla="*/ 1717677 w 4381952"/>
                  <a:gd name="connsiteY5089" fmla="*/ 96920 h 7571038"/>
                  <a:gd name="connsiteX5090" fmla="*/ 1744799 w 4381952"/>
                  <a:gd name="connsiteY5090" fmla="*/ 69799 h 7571038"/>
                  <a:gd name="connsiteX5091" fmla="*/ 1745290 w 4381952"/>
                  <a:gd name="connsiteY5091" fmla="*/ 179250 h 7571038"/>
                  <a:gd name="connsiteX5092" fmla="*/ 1717674 w 4381952"/>
                  <a:gd name="connsiteY5092" fmla="*/ 151880 h 7571038"/>
                  <a:gd name="connsiteX5093" fmla="*/ 1690058 w 4381952"/>
                  <a:gd name="connsiteY5093" fmla="*/ 179250 h 7571038"/>
                  <a:gd name="connsiteX5094" fmla="*/ 1717674 w 4381952"/>
                  <a:gd name="connsiteY5094" fmla="*/ 206866 h 7571038"/>
                  <a:gd name="connsiteX5095" fmla="*/ 1745290 w 4381952"/>
                  <a:gd name="connsiteY5095" fmla="*/ 179250 h 7571038"/>
                  <a:gd name="connsiteX5096" fmla="*/ 1746771 w 4381952"/>
                  <a:gd name="connsiteY5096" fmla="*/ 5119089 h 7571038"/>
                  <a:gd name="connsiteX5097" fmla="*/ 1724087 w 4381952"/>
                  <a:gd name="connsiteY5097" fmla="*/ 5096404 h 7571038"/>
                  <a:gd name="connsiteX5098" fmla="*/ 1701402 w 4381952"/>
                  <a:gd name="connsiteY5098" fmla="*/ 5119089 h 7571038"/>
                  <a:gd name="connsiteX5099" fmla="*/ 1724087 w 4381952"/>
                  <a:gd name="connsiteY5099" fmla="*/ 5141774 h 7571038"/>
                  <a:gd name="connsiteX5100" fmla="*/ 1746771 w 4381952"/>
                  <a:gd name="connsiteY5100" fmla="*/ 5119089 h 7571038"/>
                  <a:gd name="connsiteX5101" fmla="*/ 1748250 w 4381952"/>
                  <a:gd name="connsiteY5101" fmla="*/ 1389766 h 7571038"/>
                  <a:gd name="connsiteX5102" fmla="*/ 1721128 w 4381952"/>
                  <a:gd name="connsiteY5102" fmla="*/ 1362639 h 7571038"/>
                  <a:gd name="connsiteX5103" fmla="*/ 1694003 w 4381952"/>
                  <a:gd name="connsiteY5103" fmla="*/ 1389766 h 7571038"/>
                  <a:gd name="connsiteX5104" fmla="*/ 1721128 w 4381952"/>
                  <a:gd name="connsiteY5104" fmla="*/ 1416892 h 7571038"/>
                  <a:gd name="connsiteX5105" fmla="*/ 1748250 w 4381952"/>
                  <a:gd name="connsiteY5105" fmla="*/ 1389766 h 7571038"/>
                  <a:gd name="connsiteX5106" fmla="*/ 1750962 w 4381952"/>
                  <a:gd name="connsiteY5106" fmla="*/ 4187279 h 7571038"/>
                  <a:gd name="connsiteX5107" fmla="*/ 1740605 w 4381952"/>
                  <a:gd name="connsiteY5107" fmla="*/ 4176924 h 7571038"/>
                  <a:gd name="connsiteX5108" fmla="*/ 1730250 w 4381952"/>
                  <a:gd name="connsiteY5108" fmla="*/ 4187279 h 7571038"/>
                  <a:gd name="connsiteX5109" fmla="*/ 1740605 w 4381952"/>
                  <a:gd name="connsiteY5109" fmla="*/ 4197637 h 7571038"/>
                  <a:gd name="connsiteX5110" fmla="*/ 1750962 w 4381952"/>
                  <a:gd name="connsiteY5110" fmla="*/ 4187279 h 7571038"/>
                  <a:gd name="connsiteX5111" fmla="*/ 1752441 w 4381952"/>
                  <a:gd name="connsiteY5111" fmla="*/ 4780047 h 7571038"/>
                  <a:gd name="connsiteX5112" fmla="*/ 1730496 w 4381952"/>
                  <a:gd name="connsiteY5112" fmla="*/ 4758102 h 7571038"/>
                  <a:gd name="connsiteX5113" fmla="*/ 1708552 w 4381952"/>
                  <a:gd name="connsiteY5113" fmla="*/ 4780047 h 7571038"/>
                  <a:gd name="connsiteX5114" fmla="*/ 1730496 w 4381952"/>
                  <a:gd name="connsiteY5114" fmla="*/ 4801991 h 7571038"/>
                  <a:gd name="connsiteX5115" fmla="*/ 1752441 w 4381952"/>
                  <a:gd name="connsiteY5115" fmla="*/ 4780047 h 7571038"/>
                  <a:gd name="connsiteX5116" fmla="*/ 1757374 w 4381952"/>
                  <a:gd name="connsiteY5116" fmla="*/ 1949423 h 7571038"/>
                  <a:gd name="connsiteX5117" fmla="*/ 1722606 w 4381952"/>
                  <a:gd name="connsiteY5117" fmla="*/ 1914665 h 7571038"/>
                  <a:gd name="connsiteX5118" fmla="*/ 1687840 w 4381952"/>
                  <a:gd name="connsiteY5118" fmla="*/ 1949423 h 7571038"/>
                  <a:gd name="connsiteX5119" fmla="*/ 1722606 w 4381952"/>
                  <a:gd name="connsiteY5119" fmla="*/ 1983936 h 7571038"/>
                  <a:gd name="connsiteX5120" fmla="*/ 1757374 w 4381952"/>
                  <a:gd name="connsiteY5120" fmla="*/ 1949423 h 7571038"/>
                  <a:gd name="connsiteX5121" fmla="*/ 1757374 w 4381952"/>
                  <a:gd name="connsiteY5121" fmla="*/ 4548511 h 7571038"/>
                  <a:gd name="connsiteX5122" fmla="*/ 1732471 w 4381952"/>
                  <a:gd name="connsiteY5122" fmla="*/ 4523607 h 7571038"/>
                  <a:gd name="connsiteX5123" fmla="*/ 1707320 w 4381952"/>
                  <a:gd name="connsiteY5123" fmla="*/ 4548511 h 7571038"/>
                  <a:gd name="connsiteX5124" fmla="*/ 1732471 w 4381952"/>
                  <a:gd name="connsiteY5124" fmla="*/ 4573663 h 7571038"/>
                  <a:gd name="connsiteX5125" fmla="*/ 1757374 w 4381952"/>
                  <a:gd name="connsiteY5125" fmla="*/ 4548511 h 7571038"/>
                  <a:gd name="connsiteX5126" fmla="*/ 1758852 w 4381952"/>
                  <a:gd name="connsiteY5126" fmla="*/ 3699553 h 7571038"/>
                  <a:gd name="connsiteX5127" fmla="*/ 1722854 w 4381952"/>
                  <a:gd name="connsiteY5127" fmla="*/ 3663551 h 7571038"/>
                  <a:gd name="connsiteX5128" fmla="*/ 1686853 w 4381952"/>
                  <a:gd name="connsiteY5128" fmla="*/ 3699553 h 7571038"/>
                  <a:gd name="connsiteX5129" fmla="*/ 1722854 w 4381952"/>
                  <a:gd name="connsiteY5129" fmla="*/ 3735552 h 7571038"/>
                  <a:gd name="connsiteX5130" fmla="*/ 1758852 w 4381952"/>
                  <a:gd name="connsiteY5130" fmla="*/ 3699553 h 7571038"/>
                  <a:gd name="connsiteX5131" fmla="*/ 1762306 w 4381952"/>
                  <a:gd name="connsiteY5131" fmla="*/ 2062829 h 7571038"/>
                  <a:gd name="connsiteX5132" fmla="*/ 1722854 w 4381952"/>
                  <a:gd name="connsiteY5132" fmla="*/ 2023374 h 7571038"/>
                  <a:gd name="connsiteX5133" fmla="*/ 1683402 w 4381952"/>
                  <a:gd name="connsiteY5133" fmla="*/ 2062829 h 7571038"/>
                  <a:gd name="connsiteX5134" fmla="*/ 1722854 w 4381952"/>
                  <a:gd name="connsiteY5134" fmla="*/ 2102285 h 7571038"/>
                  <a:gd name="connsiteX5135" fmla="*/ 1762306 w 4381952"/>
                  <a:gd name="connsiteY5135" fmla="*/ 2062829 h 7571038"/>
                  <a:gd name="connsiteX5136" fmla="*/ 1764770 w 4381952"/>
                  <a:gd name="connsiteY5136" fmla="*/ 4310321 h 7571038"/>
                  <a:gd name="connsiteX5137" fmla="*/ 1736659 w 4381952"/>
                  <a:gd name="connsiteY5137" fmla="*/ 4282209 h 7571038"/>
                  <a:gd name="connsiteX5138" fmla="*/ 1708552 w 4381952"/>
                  <a:gd name="connsiteY5138" fmla="*/ 4310321 h 7571038"/>
                  <a:gd name="connsiteX5139" fmla="*/ 1736659 w 4381952"/>
                  <a:gd name="connsiteY5139" fmla="*/ 4338429 h 7571038"/>
                  <a:gd name="connsiteX5140" fmla="*/ 1764770 w 4381952"/>
                  <a:gd name="connsiteY5140" fmla="*/ 4310321 h 7571038"/>
                  <a:gd name="connsiteX5141" fmla="*/ 1766003 w 4381952"/>
                  <a:gd name="connsiteY5141" fmla="*/ 4430649 h 7571038"/>
                  <a:gd name="connsiteX5142" fmla="*/ 1734196 w 4381952"/>
                  <a:gd name="connsiteY5142" fmla="*/ 4398842 h 7571038"/>
                  <a:gd name="connsiteX5143" fmla="*/ 1702634 w 4381952"/>
                  <a:gd name="connsiteY5143" fmla="*/ 4430649 h 7571038"/>
                  <a:gd name="connsiteX5144" fmla="*/ 1734196 w 4381952"/>
                  <a:gd name="connsiteY5144" fmla="*/ 4462460 h 7571038"/>
                  <a:gd name="connsiteX5145" fmla="*/ 1766003 w 4381952"/>
                  <a:gd name="connsiteY5145" fmla="*/ 4430649 h 7571038"/>
                  <a:gd name="connsiteX5146" fmla="*/ 1766744 w 4381952"/>
                  <a:gd name="connsiteY5146" fmla="*/ 5006159 h 7571038"/>
                  <a:gd name="connsiteX5147" fmla="*/ 1724333 w 4381952"/>
                  <a:gd name="connsiteY5147" fmla="*/ 4963748 h 7571038"/>
                  <a:gd name="connsiteX5148" fmla="*/ 1681922 w 4381952"/>
                  <a:gd name="connsiteY5148" fmla="*/ 5006159 h 7571038"/>
                  <a:gd name="connsiteX5149" fmla="*/ 1724333 w 4381952"/>
                  <a:gd name="connsiteY5149" fmla="*/ 5048570 h 7571038"/>
                  <a:gd name="connsiteX5150" fmla="*/ 1766744 w 4381952"/>
                  <a:gd name="connsiteY5150" fmla="*/ 5006159 h 7571038"/>
                  <a:gd name="connsiteX5151" fmla="*/ 1767235 w 4381952"/>
                  <a:gd name="connsiteY5151" fmla="*/ 4664894 h 7571038"/>
                  <a:gd name="connsiteX5152" fmla="*/ 1731236 w 4381952"/>
                  <a:gd name="connsiteY5152" fmla="*/ 4628896 h 7571038"/>
                  <a:gd name="connsiteX5153" fmla="*/ 1695235 w 4381952"/>
                  <a:gd name="connsiteY5153" fmla="*/ 4664894 h 7571038"/>
                  <a:gd name="connsiteX5154" fmla="*/ 1731236 w 4381952"/>
                  <a:gd name="connsiteY5154" fmla="*/ 4700896 h 7571038"/>
                  <a:gd name="connsiteX5155" fmla="*/ 1767235 w 4381952"/>
                  <a:gd name="connsiteY5155" fmla="*/ 4664894 h 7571038"/>
                  <a:gd name="connsiteX5156" fmla="*/ 1788934 w 4381952"/>
                  <a:gd name="connsiteY5156" fmla="*/ 4059800 h 7571038"/>
                  <a:gd name="connsiteX5157" fmla="*/ 1746523 w 4381952"/>
                  <a:gd name="connsiteY5157" fmla="*/ 4017388 h 7571038"/>
                  <a:gd name="connsiteX5158" fmla="*/ 1704112 w 4381952"/>
                  <a:gd name="connsiteY5158" fmla="*/ 4059800 h 7571038"/>
                  <a:gd name="connsiteX5159" fmla="*/ 1746523 w 4381952"/>
                  <a:gd name="connsiteY5159" fmla="*/ 4102210 h 7571038"/>
                  <a:gd name="connsiteX5160" fmla="*/ 1788934 w 4381952"/>
                  <a:gd name="connsiteY5160" fmla="*/ 4059800 h 7571038"/>
                  <a:gd name="connsiteX5161" fmla="*/ 1790415 w 4381952"/>
                  <a:gd name="connsiteY5161" fmla="*/ 3158321 h 7571038"/>
                  <a:gd name="connsiteX5162" fmla="*/ 1784005 w 4381952"/>
                  <a:gd name="connsiteY5162" fmla="*/ 3151909 h 7571038"/>
                  <a:gd name="connsiteX5163" fmla="*/ 1777593 w 4381952"/>
                  <a:gd name="connsiteY5163" fmla="*/ 3158321 h 7571038"/>
                  <a:gd name="connsiteX5164" fmla="*/ 1784005 w 4381952"/>
                  <a:gd name="connsiteY5164" fmla="*/ 3164731 h 7571038"/>
                  <a:gd name="connsiteX5165" fmla="*/ 1790415 w 4381952"/>
                  <a:gd name="connsiteY5165" fmla="*/ 3158321 h 7571038"/>
                  <a:gd name="connsiteX5166" fmla="*/ 1793126 w 4381952"/>
                  <a:gd name="connsiteY5166" fmla="*/ 3019257 h 7571038"/>
                  <a:gd name="connsiteX5167" fmla="*/ 1766250 w 4381952"/>
                  <a:gd name="connsiteY5167" fmla="*/ 2992381 h 7571038"/>
                  <a:gd name="connsiteX5168" fmla="*/ 1739374 w 4381952"/>
                  <a:gd name="connsiteY5168" fmla="*/ 3019257 h 7571038"/>
                  <a:gd name="connsiteX5169" fmla="*/ 1766250 w 4381952"/>
                  <a:gd name="connsiteY5169" fmla="*/ 3046136 h 7571038"/>
                  <a:gd name="connsiteX5170" fmla="*/ 1793126 w 4381952"/>
                  <a:gd name="connsiteY5170" fmla="*/ 3019257 h 7571038"/>
                  <a:gd name="connsiteX5171" fmla="*/ 1799786 w 4381952"/>
                  <a:gd name="connsiteY5171" fmla="*/ 3363471 h 7571038"/>
                  <a:gd name="connsiteX5172" fmla="*/ 1797074 w 4381952"/>
                  <a:gd name="connsiteY5172" fmla="*/ 3360758 h 7571038"/>
                  <a:gd name="connsiteX5173" fmla="*/ 1794361 w 4381952"/>
                  <a:gd name="connsiteY5173" fmla="*/ 3363471 h 7571038"/>
                  <a:gd name="connsiteX5174" fmla="*/ 1797074 w 4381952"/>
                  <a:gd name="connsiteY5174" fmla="*/ 3366184 h 7571038"/>
                  <a:gd name="connsiteX5175" fmla="*/ 1799786 w 4381952"/>
                  <a:gd name="connsiteY5175" fmla="*/ 3363471 h 7571038"/>
                  <a:gd name="connsiteX5176" fmla="*/ 1801510 w 4381952"/>
                  <a:gd name="connsiteY5176" fmla="*/ 1047811 h 7571038"/>
                  <a:gd name="connsiteX5177" fmla="*/ 1775371 w 4381952"/>
                  <a:gd name="connsiteY5177" fmla="*/ 1021679 h 7571038"/>
                  <a:gd name="connsiteX5178" fmla="*/ 1749236 w 4381952"/>
                  <a:gd name="connsiteY5178" fmla="*/ 1047811 h 7571038"/>
                  <a:gd name="connsiteX5179" fmla="*/ 1775371 w 4381952"/>
                  <a:gd name="connsiteY5179" fmla="*/ 1073949 h 7571038"/>
                  <a:gd name="connsiteX5180" fmla="*/ 1801510 w 4381952"/>
                  <a:gd name="connsiteY5180" fmla="*/ 1047811 h 7571038"/>
                  <a:gd name="connsiteX5181" fmla="*/ 1802002 w 4381952"/>
                  <a:gd name="connsiteY5181" fmla="*/ 2861947 h 7571038"/>
                  <a:gd name="connsiteX5182" fmla="*/ 1794360 w 4381952"/>
                  <a:gd name="connsiteY5182" fmla="*/ 2854301 h 7571038"/>
                  <a:gd name="connsiteX5183" fmla="*/ 1786715 w 4381952"/>
                  <a:gd name="connsiteY5183" fmla="*/ 2861947 h 7571038"/>
                  <a:gd name="connsiteX5184" fmla="*/ 1794360 w 4381952"/>
                  <a:gd name="connsiteY5184" fmla="*/ 2869588 h 7571038"/>
                  <a:gd name="connsiteX5185" fmla="*/ 1802002 w 4381952"/>
                  <a:gd name="connsiteY5185" fmla="*/ 2861947 h 7571038"/>
                  <a:gd name="connsiteX5186" fmla="*/ 1803977 w 4381952"/>
                  <a:gd name="connsiteY5186" fmla="*/ 828149 h 7571038"/>
                  <a:gd name="connsiteX5187" fmla="*/ 1776853 w 4381952"/>
                  <a:gd name="connsiteY5187" fmla="*/ 801269 h 7571038"/>
                  <a:gd name="connsiteX5188" fmla="*/ 1749977 w 4381952"/>
                  <a:gd name="connsiteY5188" fmla="*/ 828149 h 7571038"/>
                  <a:gd name="connsiteX5189" fmla="*/ 1776853 w 4381952"/>
                  <a:gd name="connsiteY5189" fmla="*/ 855021 h 7571038"/>
                  <a:gd name="connsiteX5190" fmla="*/ 1803977 w 4381952"/>
                  <a:gd name="connsiteY5190" fmla="*/ 828149 h 7571038"/>
                  <a:gd name="connsiteX5191" fmla="*/ 1804469 w 4381952"/>
                  <a:gd name="connsiteY5191" fmla="*/ 937855 h 7571038"/>
                  <a:gd name="connsiteX5192" fmla="*/ 1775867 w 4381952"/>
                  <a:gd name="connsiteY5192" fmla="*/ 909252 h 7571038"/>
                  <a:gd name="connsiteX5193" fmla="*/ 1747264 w 4381952"/>
                  <a:gd name="connsiteY5193" fmla="*/ 937855 h 7571038"/>
                  <a:gd name="connsiteX5194" fmla="*/ 1775867 w 4381952"/>
                  <a:gd name="connsiteY5194" fmla="*/ 966458 h 7571038"/>
                  <a:gd name="connsiteX5195" fmla="*/ 1804469 w 4381952"/>
                  <a:gd name="connsiteY5195" fmla="*/ 937855 h 7571038"/>
                  <a:gd name="connsiteX5196" fmla="*/ 1805213 w 4381952"/>
                  <a:gd name="connsiteY5196" fmla="*/ 1268459 h 7571038"/>
                  <a:gd name="connsiteX5197" fmla="*/ 1774388 w 4381952"/>
                  <a:gd name="connsiteY5197" fmla="*/ 1237644 h 7571038"/>
                  <a:gd name="connsiteX5198" fmla="*/ 1743567 w 4381952"/>
                  <a:gd name="connsiteY5198" fmla="*/ 1268459 h 7571038"/>
                  <a:gd name="connsiteX5199" fmla="*/ 1774388 w 4381952"/>
                  <a:gd name="connsiteY5199" fmla="*/ 1299289 h 7571038"/>
                  <a:gd name="connsiteX5200" fmla="*/ 1805213 w 4381952"/>
                  <a:gd name="connsiteY5200" fmla="*/ 1268459 h 7571038"/>
                  <a:gd name="connsiteX5201" fmla="*/ 1805701 w 4381952"/>
                  <a:gd name="connsiteY5201" fmla="*/ 1158014 h 7571038"/>
                  <a:gd name="connsiteX5202" fmla="*/ 1775126 w 4381952"/>
                  <a:gd name="connsiteY5202" fmla="*/ 1127441 h 7571038"/>
                  <a:gd name="connsiteX5203" fmla="*/ 1744550 w 4381952"/>
                  <a:gd name="connsiteY5203" fmla="*/ 1158014 h 7571038"/>
                  <a:gd name="connsiteX5204" fmla="*/ 1775126 w 4381952"/>
                  <a:gd name="connsiteY5204" fmla="*/ 1188591 h 7571038"/>
                  <a:gd name="connsiteX5205" fmla="*/ 1805701 w 4381952"/>
                  <a:gd name="connsiteY5205" fmla="*/ 1158014 h 7571038"/>
                  <a:gd name="connsiteX5206" fmla="*/ 1806934 w 4381952"/>
                  <a:gd name="connsiteY5206" fmla="*/ 608942 h 7571038"/>
                  <a:gd name="connsiteX5207" fmla="*/ 1777099 w 4381952"/>
                  <a:gd name="connsiteY5207" fmla="*/ 579108 h 7571038"/>
                  <a:gd name="connsiteX5208" fmla="*/ 1747264 w 4381952"/>
                  <a:gd name="connsiteY5208" fmla="*/ 608942 h 7571038"/>
                  <a:gd name="connsiteX5209" fmla="*/ 1777099 w 4381952"/>
                  <a:gd name="connsiteY5209" fmla="*/ 638776 h 7571038"/>
                  <a:gd name="connsiteX5210" fmla="*/ 1806934 w 4381952"/>
                  <a:gd name="connsiteY5210" fmla="*/ 608942 h 7571038"/>
                  <a:gd name="connsiteX5211" fmla="*/ 1806936 w 4381952"/>
                  <a:gd name="connsiteY5211" fmla="*/ 499237 h 7571038"/>
                  <a:gd name="connsiteX5212" fmla="*/ 1777347 w 4381952"/>
                  <a:gd name="connsiteY5212" fmla="*/ 469650 h 7571038"/>
                  <a:gd name="connsiteX5213" fmla="*/ 1747758 w 4381952"/>
                  <a:gd name="connsiteY5213" fmla="*/ 499237 h 7571038"/>
                  <a:gd name="connsiteX5214" fmla="*/ 1777347 w 4381952"/>
                  <a:gd name="connsiteY5214" fmla="*/ 528826 h 7571038"/>
                  <a:gd name="connsiteX5215" fmla="*/ 1806936 w 4381952"/>
                  <a:gd name="connsiteY5215" fmla="*/ 499237 h 7571038"/>
                  <a:gd name="connsiteX5216" fmla="*/ 1807676 w 4381952"/>
                  <a:gd name="connsiteY5216" fmla="*/ 718435 h 7571038"/>
                  <a:gd name="connsiteX5217" fmla="*/ 1777101 w 4381952"/>
                  <a:gd name="connsiteY5217" fmla="*/ 687864 h 7571038"/>
                  <a:gd name="connsiteX5218" fmla="*/ 1746771 w 4381952"/>
                  <a:gd name="connsiteY5218" fmla="*/ 718435 h 7571038"/>
                  <a:gd name="connsiteX5219" fmla="*/ 1777101 w 4381952"/>
                  <a:gd name="connsiteY5219" fmla="*/ 749015 h 7571038"/>
                  <a:gd name="connsiteX5220" fmla="*/ 1807676 w 4381952"/>
                  <a:gd name="connsiteY5220" fmla="*/ 718435 h 7571038"/>
                  <a:gd name="connsiteX5221" fmla="*/ 1808415 w 4381952"/>
                  <a:gd name="connsiteY5221" fmla="*/ 3935771 h 7571038"/>
                  <a:gd name="connsiteX5222" fmla="*/ 1766252 w 4381952"/>
                  <a:gd name="connsiteY5222" fmla="*/ 3893605 h 7571038"/>
                  <a:gd name="connsiteX5223" fmla="*/ 1724087 w 4381952"/>
                  <a:gd name="connsiteY5223" fmla="*/ 3935771 h 7571038"/>
                  <a:gd name="connsiteX5224" fmla="*/ 1766252 w 4381952"/>
                  <a:gd name="connsiteY5224" fmla="*/ 3977933 h 7571038"/>
                  <a:gd name="connsiteX5225" fmla="*/ 1808415 w 4381952"/>
                  <a:gd name="connsiteY5225" fmla="*/ 3935771 h 7571038"/>
                  <a:gd name="connsiteX5226" fmla="*/ 1810882 w 4381952"/>
                  <a:gd name="connsiteY5226" fmla="*/ 2738414 h 7571038"/>
                  <a:gd name="connsiteX5227" fmla="*/ 1791155 w 4381952"/>
                  <a:gd name="connsiteY5227" fmla="*/ 2718689 h 7571038"/>
                  <a:gd name="connsiteX5228" fmla="*/ 1771430 w 4381952"/>
                  <a:gd name="connsiteY5228" fmla="*/ 2738414 h 7571038"/>
                  <a:gd name="connsiteX5229" fmla="*/ 1791155 w 4381952"/>
                  <a:gd name="connsiteY5229" fmla="*/ 2758140 h 7571038"/>
                  <a:gd name="connsiteX5230" fmla="*/ 1810882 w 4381952"/>
                  <a:gd name="connsiteY5230" fmla="*/ 2738414 h 7571038"/>
                  <a:gd name="connsiteX5231" fmla="*/ 1816799 w 4381952"/>
                  <a:gd name="connsiteY5231" fmla="*/ 2618336 h 7571038"/>
                  <a:gd name="connsiteX5232" fmla="*/ 1788934 w 4381952"/>
                  <a:gd name="connsiteY5232" fmla="*/ 2590473 h 7571038"/>
                  <a:gd name="connsiteX5233" fmla="*/ 1761072 w 4381952"/>
                  <a:gd name="connsiteY5233" fmla="*/ 2618336 h 7571038"/>
                  <a:gd name="connsiteX5234" fmla="*/ 1788934 w 4381952"/>
                  <a:gd name="connsiteY5234" fmla="*/ 2646447 h 7571038"/>
                  <a:gd name="connsiteX5235" fmla="*/ 1816799 w 4381952"/>
                  <a:gd name="connsiteY5235" fmla="*/ 2618336 h 7571038"/>
                  <a:gd name="connsiteX5236" fmla="*/ 1817291 w 4381952"/>
                  <a:gd name="connsiteY5236" fmla="*/ 2270929 h 7571038"/>
                  <a:gd name="connsiteX5237" fmla="*/ 1784743 w 4381952"/>
                  <a:gd name="connsiteY5237" fmla="*/ 2238383 h 7571038"/>
                  <a:gd name="connsiteX5238" fmla="*/ 1751949 w 4381952"/>
                  <a:gd name="connsiteY5238" fmla="*/ 2270929 h 7571038"/>
                  <a:gd name="connsiteX5239" fmla="*/ 1784743 w 4381952"/>
                  <a:gd name="connsiteY5239" fmla="*/ 2303479 h 7571038"/>
                  <a:gd name="connsiteX5240" fmla="*/ 1817291 w 4381952"/>
                  <a:gd name="connsiteY5240" fmla="*/ 2270929 h 7571038"/>
                  <a:gd name="connsiteX5241" fmla="*/ 1817540 w 4381952"/>
                  <a:gd name="connsiteY5241" fmla="*/ 3796703 h 7571038"/>
                  <a:gd name="connsiteX5242" fmla="*/ 1784005 w 4381952"/>
                  <a:gd name="connsiteY5242" fmla="*/ 3763168 h 7571038"/>
                  <a:gd name="connsiteX5243" fmla="*/ 1750471 w 4381952"/>
                  <a:gd name="connsiteY5243" fmla="*/ 3796703 h 7571038"/>
                  <a:gd name="connsiteX5244" fmla="*/ 1784005 w 4381952"/>
                  <a:gd name="connsiteY5244" fmla="*/ 3829991 h 7571038"/>
                  <a:gd name="connsiteX5245" fmla="*/ 1817540 w 4381952"/>
                  <a:gd name="connsiteY5245" fmla="*/ 3796703 h 7571038"/>
                  <a:gd name="connsiteX5246" fmla="*/ 1820742 w 4381952"/>
                  <a:gd name="connsiteY5246" fmla="*/ 2157515 h 7571038"/>
                  <a:gd name="connsiteX5247" fmla="*/ 1784002 w 4381952"/>
                  <a:gd name="connsiteY5247" fmla="*/ 2120527 h 7571038"/>
                  <a:gd name="connsiteX5248" fmla="*/ 1747264 w 4381952"/>
                  <a:gd name="connsiteY5248" fmla="*/ 2157515 h 7571038"/>
                  <a:gd name="connsiteX5249" fmla="*/ 1784002 w 4381952"/>
                  <a:gd name="connsiteY5249" fmla="*/ 2194256 h 7571038"/>
                  <a:gd name="connsiteX5250" fmla="*/ 1820742 w 4381952"/>
                  <a:gd name="connsiteY5250" fmla="*/ 2157515 h 7571038"/>
                  <a:gd name="connsiteX5251" fmla="*/ 1826908 w 4381952"/>
                  <a:gd name="connsiteY5251" fmla="*/ 2500970 h 7571038"/>
                  <a:gd name="connsiteX5252" fmla="*/ 1787210 w 4381952"/>
                  <a:gd name="connsiteY5252" fmla="*/ 2461273 h 7571038"/>
                  <a:gd name="connsiteX5253" fmla="*/ 1747512 w 4381952"/>
                  <a:gd name="connsiteY5253" fmla="*/ 2500970 h 7571038"/>
                  <a:gd name="connsiteX5254" fmla="*/ 1787210 w 4381952"/>
                  <a:gd name="connsiteY5254" fmla="*/ 2540671 h 7571038"/>
                  <a:gd name="connsiteX5255" fmla="*/ 1826908 w 4381952"/>
                  <a:gd name="connsiteY5255" fmla="*/ 2500970 h 7571038"/>
                  <a:gd name="connsiteX5256" fmla="*/ 1831345 w 4381952"/>
                  <a:gd name="connsiteY5256" fmla="*/ 2385334 h 7571038"/>
                  <a:gd name="connsiteX5257" fmla="*/ 1785974 w 4381952"/>
                  <a:gd name="connsiteY5257" fmla="*/ 2339967 h 7571038"/>
                  <a:gd name="connsiteX5258" fmla="*/ 1740605 w 4381952"/>
                  <a:gd name="connsiteY5258" fmla="*/ 2385334 h 7571038"/>
                  <a:gd name="connsiteX5259" fmla="*/ 1785974 w 4381952"/>
                  <a:gd name="connsiteY5259" fmla="*/ 2430703 h 7571038"/>
                  <a:gd name="connsiteX5260" fmla="*/ 1831345 w 4381952"/>
                  <a:gd name="connsiteY5260" fmla="*/ 2385334 h 7571038"/>
                  <a:gd name="connsiteX5261" fmla="*/ 1838004 w 4381952"/>
                  <a:gd name="connsiteY5261" fmla="*/ 5697311 h 7571038"/>
                  <a:gd name="connsiteX5262" fmla="*/ 1835539 w 4381952"/>
                  <a:gd name="connsiteY5262" fmla="*/ 5694843 h 7571038"/>
                  <a:gd name="connsiteX5263" fmla="*/ 1833072 w 4381952"/>
                  <a:gd name="connsiteY5263" fmla="*/ 5697311 h 7571038"/>
                  <a:gd name="connsiteX5264" fmla="*/ 1835539 w 4381952"/>
                  <a:gd name="connsiteY5264" fmla="*/ 5699775 h 7571038"/>
                  <a:gd name="connsiteX5265" fmla="*/ 1838004 w 4381952"/>
                  <a:gd name="connsiteY5265" fmla="*/ 5697311 h 7571038"/>
                  <a:gd name="connsiteX5266" fmla="*/ 1838249 w 4381952"/>
                  <a:gd name="connsiteY5266" fmla="*/ 5916762 h 7571038"/>
                  <a:gd name="connsiteX5267" fmla="*/ 1836030 w 4381952"/>
                  <a:gd name="connsiteY5267" fmla="*/ 5914543 h 7571038"/>
                  <a:gd name="connsiteX5268" fmla="*/ 1833812 w 4381952"/>
                  <a:gd name="connsiteY5268" fmla="*/ 5916762 h 7571038"/>
                  <a:gd name="connsiteX5269" fmla="*/ 1836030 w 4381952"/>
                  <a:gd name="connsiteY5269" fmla="*/ 5918979 h 7571038"/>
                  <a:gd name="connsiteX5270" fmla="*/ 1838249 w 4381952"/>
                  <a:gd name="connsiteY5270" fmla="*/ 5916762 h 7571038"/>
                  <a:gd name="connsiteX5271" fmla="*/ 1838249 w 4381952"/>
                  <a:gd name="connsiteY5271" fmla="*/ 7335311 h 7571038"/>
                  <a:gd name="connsiteX5272" fmla="*/ 1835290 w 4381952"/>
                  <a:gd name="connsiteY5272" fmla="*/ 7332352 h 7571038"/>
                  <a:gd name="connsiteX5273" fmla="*/ 1832331 w 4381952"/>
                  <a:gd name="connsiteY5273" fmla="*/ 7335311 h 7571038"/>
                  <a:gd name="connsiteX5274" fmla="*/ 1835290 w 4381952"/>
                  <a:gd name="connsiteY5274" fmla="*/ 7338270 h 7571038"/>
                  <a:gd name="connsiteX5275" fmla="*/ 1838249 w 4381952"/>
                  <a:gd name="connsiteY5275" fmla="*/ 7335311 h 7571038"/>
                  <a:gd name="connsiteX5276" fmla="*/ 1838249 w 4381952"/>
                  <a:gd name="connsiteY5276" fmla="*/ 7444051 h 7571038"/>
                  <a:gd name="connsiteX5277" fmla="*/ 1835290 w 4381952"/>
                  <a:gd name="connsiteY5277" fmla="*/ 7441091 h 7571038"/>
                  <a:gd name="connsiteX5278" fmla="*/ 1832331 w 4381952"/>
                  <a:gd name="connsiteY5278" fmla="*/ 7444051 h 7571038"/>
                  <a:gd name="connsiteX5279" fmla="*/ 1835290 w 4381952"/>
                  <a:gd name="connsiteY5279" fmla="*/ 7447010 h 7571038"/>
                  <a:gd name="connsiteX5280" fmla="*/ 1838249 w 4381952"/>
                  <a:gd name="connsiteY5280" fmla="*/ 7444051 h 7571038"/>
                  <a:gd name="connsiteX5281" fmla="*/ 1838495 w 4381952"/>
                  <a:gd name="connsiteY5281" fmla="*/ 6572405 h 7571038"/>
                  <a:gd name="connsiteX5282" fmla="*/ 1835290 w 4381952"/>
                  <a:gd name="connsiteY5282" fmla="*/ 6569200 h 7571038"/>
                  <a:gd name="connsiteX5283" fmla="*/ 1832086 w 4381952"/>
                  <a:gd name="connsiteY5283" fmla="*/ 6572405 h 7571038"/>
                  <a:gd name="connsiteX5284" fmla="*/ 1835290 w 4381952"/>
                  <a:gd name="connsiteY5284" fmla="*/ 6575613 h 7571038"/>
                  <a:gd name="connsiteX5285" fmla="*/ 1838495 w 4381952"/>
                  <a:gd name="connsiteY5285" fmla="*/ 6572405 h 7571038"/>
                  <a:gd name="connsiteX5286" fmla="*/ 1838498 w 4381952"/>
                  <a:gd name="connsiteY5286" fmla="*/ 7553037 h 7571038"/>
                  <a:gd name="connsiteX5287" fmla="*/ 1835539 w 4381952"/>
                  <a:gd name="connsiteY5287" fmla="*/ 7550079 h 7571038"/>
                  <a:gd name="connsiteX5288" fmla="*/ 1832580 w 4381952"/>
                  <a:gd name="connsiteY5288" fmla="*/ 7553037 h 7571038"/>
                  <a:gd name="connsiteX5289" fmla="*/ 1835539 w 4381952"/>
                  <a:gd name="connsiteY5289" fmla="*/ 7555996 h 7571038"/>
                  <a:gd name="connsiteX5290" fmla="*/ 1838498 w 4381952"/>
                  <a:gd name="connsiteY5290" fmla="*/ 7553037 h 7571038"/>
                  <a:gd name="connsiteX5291" fmla="*/ 1838992 w 4381952"/>
                  <a:gd name="connsiteY5291" fmla="*/ 6026241 h 7571038"/>
                  <a:gd name="connsiteX5292" fmla="*/ 1836280 w 4381952"/>
                  <a:gd name="connsiteY5292" fmla="*/ 6023528 h 7571038"/>
                  <a:gd name="connsiteX5293" fmla="*/ 1833567 w 4381952"/>
                  <a:gd name="connsiteY5293" fmla="*/ 6026241 h 7571038"/>
                  <a:gd name="connsiteX5294" fmla="*/ 1836280 w 4381952"/>
                  <a:gd name="connsiteY5294" fmla="*/ 6028954 h 7571038"/>
                  <a:gd name="connsiteX5295" fmla="*/ 1838992 w 4381952"/>
                  <a:gd name="connsiteY5295" fmla="*/ 6026241 h 7571038"/>
                  <a:gd name="connsiteX5296" fmla="*/ 1839235 w 4381952"/>
                  <a:gd name="connsiteY5296" fmla="*/ 6244955 h 7571038"/>
                  <a:gd name="connsiteX5297" fmla="*/ 1836770 w 4381952"/>
                  <a:gd name="connsiteY5297" fmla="*/ 6242487 h 7571038"/>
                  <a:gd name="connsiteX5298" fmla="*/ 1834304 w 4381952"/>
                  <a:gd name="connsiteY5298" fmla="*/ 6244955 h 7571038"/>
                  <a:gd name="connsiteX5299" fmla="*/ 1836770 w 4381952"/>
                  <a:gd name="connsiteY5299" fmla="*/ 6247418 h 7571038"/>
                  <a:gd name="connsiteX5300" fmla="*/ 1839235 w 4381952"/>
                  <a:gd name="connsiteY5300" fmla="*/ 6244955 h 7571038"/>
                  <a:gd name="connsiteX5301" fmla="*/ 1839238 w 4381952"/>
                  <a:gd name="connsiteY5301" fmla="*/ 7008600 h 7571038"/>
                  <a:gd name="connsiteX5302" fmla="*/ 1836279 w 4381952"/>
                  <a:gd name="connsiteY5302" fmla="*/ 7005640 h 7571038"/>
                  <a:gd name="connsiteX5303" fmla="*/ 1833320 w 4381952"/>
                  <a:gd name="connsiteY5303" fmla="*/ 7008600 h 7571038"/>
                  <a:gd name="connsiteX5304" fmla="*/ 1836279 w 4381952"/>
                  <a:gd name="connsiteY5304" fmla="*/ 7011559 h 7571038"/>
                  <a:gd name="connsiteX5305" fmla="*/ 1839238 w 4381952"/>
                  <a:gd name="connsiteY5305" fmla="*/ 7008600 h 7571038"/>
                  <a:gd name="connsiteX5306" fmla="*/ 1839484 w 4381952"/>
                  <a:gd name="connsiteY5306" fmla="*/ 6135476 h 7571038"/>
                  <a:gd name="connsiteX5307" fmla="*/ 1836526 w 4381952"/>
                  <a:gd name="connsiteY5307" fmla="*/ 6132516 h 7571038"/>
                  <a:gd name="connsiteX5308" fmla="*/ 1833567 w 4381952"/>
                  <a:gd name="connsiteY5308" fmla="*/ 6135476 h 7571038"/>
                  <a:gd name="connsiteX5309" fmla="*/ 1836526 w 4381952"/>
                  <a:gd name="connsiteY5309" fmla="*/ 6138435 h 7571038"/>
                  <a:gd name="connsiteX5310" fmla="*/ 1839484 w 4381952"/>
                  <a:gd name="connsiteY5310" fmla="*/ 6135476 h 7571038"/>
                  <a:gd name="connsiteX5311" fmla="*/ 1839484 w 4381952"/>
                  <a:gd name="connsiteY5311" fmla="*/ 7226323 h 7571038"/>
                  <a:gd name="connsiteX5312" fmla="*/ 1836526 w 4381952"/>
                  <a:gd name="connsiteY5312" fmla="*/ 7223364 h 7571038"/>
                  <a:gd name="connsiteX5313" fmla="*/ 1833567 w 4381952"/>
                  <a:gd name="connsiteY5313" fmla="*/ 7226323 h 7571038"/>
                  <a:gd name="connsiteX5314" fmla="*/ 1836526 w 4381952"/>
                  <a:gd name="connsiteY5314" fmla="*/ 7229282 h 7571038"/>
                  <a:gd name="connsiteX5315" fmla="*/ 1839484 w 4381952"/>
                  <a:gd name="connsiteY5315" fmla="*/ 7226323 h 7571038"/>
                  <a:gd name="connsiteX5316" fmla="*/ 1839730 w 4381952"/>
                  <a:gd name="connsiteY5316" fmla="*/ 5257417 h 7571038"/>
                  <a:gd name="connsiteX5317" fmla="*/ 1837511 w 4381952"/>
                  <a:gd name="connsiteY5317" fmla="*/ 5255198 h 7571038"/>
                  <a:gd name="connsiteX5318" fmla="*/ 1835293 w 4381952"/>
                  <a:gd name="connsiteY5318" fmla="*/ 5257417 h 7571038"/>
                  <a:gd name="connsiteX5319" fmla="*/ 1837511 w 4381952"/>
                  <a:gd name="connsiteY5319" fmla="*/ 5259638 h 7571038"/>
                  <a:gd name="connsiteX5320" fmla="*/ 1839730 w 4381952"/>
                  <a:gd name="connsiteY5320" fmla="*/ 5257417 h 7571038"/>
                  <a:gd name="connsiteX5321" fmla="*/ 1839730 w 4381952"/>
                  <a:gd name="connsiteY5321" fmla="*/ 7117584 h 7571038"/>
                  <a:gd name="connsiteX5322" fmla="*/ 1836525 w 4381952"/>
                  <a:gd name="connsiteY5322" fmla="*/ 7114379 h 7571038"/>
                  <a:gd name="connsiteX5323" fmla="*/ 1833320 w 4381952"/>
                  <a:gd name="connsiteY5323" fmla="*/ 7117584 h 7571038"/>
                  <a:gd name="connsiteX5324" fmla="*/ 1836525 w 4381952"/>
                  <a:gd name="connsiteY5324" fmla="*/ 7120789 h 7571038"/>
                  <a:gd name="connsiteX5325" fmla="*/ 1839730 w 4381952"/>
                  <a:gd name="connsiteY5325" fmla="*/ 7117584 h 7571038"/>
                  <a:gd name="connsiteX5326" fmla="*/ 1840224 w 4381952"/>
                  <a:gd name="connsiteY5326" fmla="*/ 5807033 h 7571038"/>
                  <a:gd name="connsiteX5327" fmla="*/ 1835785 w 4381952"/>
                  <a:gd name="connsiteY5327" fmla="*/ 5802597 h 7571038"/>
                  <a:gd name="connsiteX5328" fmla="*/ 1831348 w 4381952"/>
                  <a:gd name="connsiteY5328" fmla="*/ 5807033 h 7571038"/>
                  <a:gd name="connsiteX5329" fmla="*/ 1835785 w 4381952"/>
                  <a:gd name="connsiteY5329" fmla="*/ 5811473 h 7571038"/>
                  <a:gd name="connsiteX5330" fmla="*/ 1840224 w 4381952"/>
                  <a:gd name="connsiteY5330" fmla="*/ 5807033 h 7571038"/>
                  <a:gd name="connsiteX5331" fmla="*/ 1840962 w 4381952"/>
                  <a:gd name="connsiteY5331" fmla="*/ 6681641 h 7571038"/>
                  <a:gd name="connsiteX5332" fmla="*/ 1835539 w 4381952"/>
                  <a:gd name="connsiteY5332" fmla="*/ 6676215 h 7571038"/>
                  <a:gd name="connsiteX5333" fmla="*/ 1830113 w 4381952"/>
                  <a:gd name="connsiteY5333" fmla="*/ 6681641 h 7571038"/>
                  <a:gd name="connsiteX5334" fmla="*/ 1835539 w 4381952"/>
                  <a:gd name="connsiteY5334" fmla="*/ 6687065 h 7571038"/>
                  <a:gd name="connsiteX5335" fmla="*/ 1840962 w 4381952"/>
                  <a:gd name="connsiteY5335" fmla="*/ 6681641 h 7571038"/>
                  <a:gd name="connsiteX5336" fmla="*/ 1841210 w 4381952"/>
                  <a:gd name="connsiteY5336" fmla="*/ 6790626 h 7571038"/>
                  <a:gd name="connsiteX5337" fmla="*/ 1835785 w 4381952"/>
                  <a:gd name="connsiteY5337" fmla="*/ 6785200 h 7571038"/>
                  <a:gd name="connsiteX5338" fmla="*/ 1830361 w 4381952"/>
                  <a:gd name="connsiteY5338" fmla="*/ 6790626 h 7571038"/>
                  <a:gd name="connsiteX5339" fmla="*/ 1835785 w 4381952"/>
                  <a:gd name="connsiteY5339" fmla="*/ 6796050 h 7571038"/>
                  <a:gd name="connsiteX5340" fmla="*/ 1841210 w 4381952"/>
                  <a:gd name="connsiteY5340" fmla="*/ 6790626 h 7571038"/>
                  <a:gd name="connsiteX5341" fmla="*/ 1841948 w 4381952"/>
                  <a:gd name="connsiteY5341" fmla="*/ 6899610 h 7571038"/>
                  <a:gd name="connsiteX5342" fmla="*/ 1836030 w 4381952"/>
                  <a:gd name="connsiteY5342" fmla="*/ 6893693 h 7571038"/>
                  <a:gd name="connsiteX5343" fmla="*/ 1830113 w 4381952"/>
                  <a:gd name="connsiteY5343" fmla="*/ 6899610 h 7571038"/>
                  <a:gd name="connsiteX5344" fmla="*/ 1836030 w 4381952"/>
                  <a:gd name="connsiteY5344" fmla="*/ 6905528 h 7571038"/>
                  <a:gd name="connsiteX5345" fmla="*/ 1841948 w 4381952"/>
                  <a:gd name="connsiteY5345" fmla="*/ 6899610 h 7571038"/>
                  <a:gd name="connsiteX5346" fmla="*/ 1843675 w 4381952"/>
                  <a:gd name="connsiteY5346" fmla="*/ 4924295 h 7571038"/>
                  <a:gd name="connsiteX5347" fmla="*/ 1836771 w 4381952"/>
                  <a:gd name="connsiteY5347" fmla="*/ 4917391 h 7571038"/>
                  <a:gd name="connsiteX5348" fmla="*/ 1829867 w 4381952"/>
                  <a:gd name="connsiteY5348" fmla="*/ 4924295 h 7571038"/>
                  <a:gd name="connsiteX5349" fmla="*/ 1836771 w 4381952"/>
                  <a:gd name="connsiteY5349" fmla="*/ 4931199 h 7571038"/>
                  <a:gd name="connsiteX5350" fmla="*/ 1843675 w 4381952"/>
                  <a:gd name="connsiteY5350" fmla="*/ 4924295 h 7571038"/>
                  <a:gd name="connsiteX5351" fmla="*/ 1843676 w 4381952"/>
                  <a:gd name="connsiteY5351" fmla="*/ 6463419 h 7571038"/>
                  <a:gd name="connsiteX5352" fmla="*/ 1837266 w 4381952"/>
                  <a:gd name="connsiteY5352" fmla="*/ 6457255 h 7571038"/>
                  <a:gd name="connsiteX5353" fmla="*/ 1830854 w 4381952"/>
                  <a:gd name="connsiteY5353" fmla="*/ 6463419 h 7571038"/>
                  <a:gd name="connsiteX5354" fmla="*/ 1837266 w 4381952"/>
                  <a:gd name="connsiteY5354" fmla="*/ 6469832 h 7571038"/>
                  <a:gd name="connsiteX5355" fmla="*/ 1843676 w 4381952"/>
                  <a:gd name="connsiteY5355" fmla="*/ 6463419 h 7571038"/>
                  <a:gd name="connsiteX5356" fmla="*/ 1843920 w 4381952"/>
                  <a:gd name="connsiteY5356" fmla="*/ 6354186 h 7571038"/>
                  <a:gd name="connsiteX5357" fmla="*/ 1837017 w 4381952"/>
                  <a:gd name="connsiteY5357" fmla="*/ 6347281 h 7571038"/>
                  <a:gd name="connsiteX5358" fmla="*/ 1830113 w 4381952"/>
                  <a:gd name="connsiteY5358" fmla="*/ 6354186 h 7571038"/>
                  <a:gd name="connsiteX5359" fmla="*/ 1837017 w 4381952"/>
                  <a:gd name="connsiteY5359" fmla="*/ 6361090 h 7571038"/>
                  <a:gd name="connsiteX5360" fmla="*/ 1843920 w 4381952"/>
                  <a:gd name="connsiteY5360" fmla="*/ 6354186 h 7571038"/>
                  <a:gd name="connsiteX5361" fmla="*/ 1847867 w 4381952"/>
                  <a:gd name="connsiteY5361" fmla="*/ 5477857 h 7571038"/>
                  <a:gd name="connsiteX5362" fmla="*/ 1838004 w 4381952"/>
                  <a:gd name="connsiteY5362" fmla="*/ 5467994 h 7571038"/>
                  <a:gd name="connsiteX5363" fmla="*/ 1827895 w 4381952"/>
                  <a:gd name="connsiteY5363" fmla="*/ 5477857 h 7571038"/>
                  <a:gd name="connsiteX5364" fmla="*/ 1838004 w 4381952"/>
                  <a:gd name="connsiteY5364" fmla="*/ 5487966 h 7571038"/>
                  <a:gd name="connsiteX5365" fmla="*/ 1847867 w 4381952"/>
                  <a:gd name="connsiteY5365" fmla="*/ 5477857 h 7571038"/>
                  <a:gd name="connsiteX5366" fmla="*/ 1848360 w 4381952"/>
                  <a:gd name="connsiteY5366" fmla="*/ 1698441 h 7571038"/>
                  <a:gd name="connsiteX5367" fmla="*/ 1835044 w 4381952"/>
                  <a:gd name="connsiteY5367" fmla="*/ 1685127 h 7571038"/>
                  <a:gd name="connsiteX5368" fmla="*/ 1821730 w 4381952"/>
                  <a:gd name="connsiteY5368" fmla="*/ 1698441 h 7571038"/>
                  <a:gd name="connsiteX5369" fmla="*/ 1835044 w 4381952"/>
                  <a:gd name="connsiteY5369" fmla="*/ 1711739 h 7571038"/>
                  <a:gd name="connsiteX5370" fmla="*/ 1848360 w 4381952"/>
                  <a:gd name="connsiteY5370" fmla="*/ 1698441 h 7571038"/>
                  <a:gd name="connsiteX5371" fmla="*/ 1849099 w 4381952"/>
                  <a:gd name="connsiteY5371" fmla="*/ 1808917 h 7571038"/>
                  <a:gd name="connsiteX5372" fmla="*/ 1835045 w 4381952"/>
                  <a:gd name="connsiteY5372" fmla="*/ 1794861 h 7571038"/>
                  <a:gd name="connsiteX5373" fmla="*/ 1820990 w 4381952"/>
                  <a:gd name="connsiteY5373" fmla="*/ 1808917 h 7571038"/>
                  <a:gd name="connsiteX5374" fmla="*/ 1835045 w 4381952"/>
                  <a:gd name="connsiteY5374" fmla="*/ 1822971 h 7571038"/>
                  <a:gd name="connsiteX5375" fmla="*/ 1849099 w 4381952"/>
                  <a:gd name="connsiteY5375" fmla="*/ 1808917 h 7571038"/>
                  <a:gd name="connsiteX5376" fmla="*/ 1851071 w 4381952"/>
                  <a:gd name="connsiteY5376" fmla="*/ 4242265 h 7571038"/>
                  <a:gd name="connsiteX5377" fmla="*/ 1843676 w 4381952"/>
                  <a:gd name="connsiteY5377" fmla="*/ 4234867 h 7571038"/>
                  <a:gd name="connsiteX5378" fmla="*/ 1836277 w 4381952"/>
                  <a:gd name="connsiteY5378" fmla="*/ 4242265 h 7571038"/>
                  <a:gd name="connsiteX5379" fmla="*/ 1843676 w 4381952"/>
                  <a:gd name="connsiteY5379" fmla="*/ 4249661 h 7571038"/>
                  <a:gd name="connsiteX5380" fmla="*/ 1851071 w 4381952"/>
                  <a:gd name="connsiteY5380" fmla="*/ 4242265 h 7571038"/>
                  <a:gd name="connsiteX5381" fmla="*/ 1852305 w 4381952"/>
                  <a:gd name="connsiteY5381" fmla="*/ 5367637 h 7571038"/>
                  <a:gd name="connsiteX5382" fmla="*/ 1837758 w 4381952"/>
                  <a:gd name="connsiteY5382" fmla="*/ 5353088 h 7571038"/>
                  <a:gd name="connsiteX5383" fmla="*/ 1823209 w 4381952"/>
                  <a:gd name="connsiteY5383" fmla="*/ 5367637 h 7571038"/>
                  <a:gd name="connsiteX5384" fmla="*/ 1837758 w 4381952"/>
                  <a:gd name="connsiteY5384" fmla="*/ 5382182 h 7571038"/>
                  <a:gd name="connsiteX5385" fmla="*/ 1852305 w 4381952"/>
                  <a:gd name="connsiteY5385" fmla="*/ 5367637 h 7571038"/>
                  <a:gd name="connsiteX5386" fmla="*/ 1852307 w 4381952"/>
                  <a:gd name="connsiteY5386" fmla="*/ 1587985 h 7571038"/>
                  <a:gd name="connsiteX5387" fmla="*/ 1834799 w 4381952"/>
                  <a:gd name="connsiteY5387" fmla="*/ 1570480 h 7571038"/>
                  <a:gd name="connsiteX5388" fmla="*/ 1817292 w 4381952"/>
                  <a:gd name="connsiteY5388" fmla="*/ 1587985 h 7571038"/>
                  <a:gd name="connsiteX5389" fmla="*/ 1834799 w 4381952"/>
                  <a:gd name="connsiteY5389" fmla="*/ 1605495 h 7571038"/>
                  <a:gd name="connsiteX5390" fmla="*/ 1852307 w 4381952"/>
                  <a:gd name="connsiteY5390" fmla="*/ 1587985 h 7571038"/>
                  <a:gd name="connsiteX5391" fmla="*/ 1852552 w 4381952"/>
                  <a:gd name="connsiteY5391" fmla="*/ 3258923 h 7571038"/>
                  <a:gd name="connsiteX5392" fmla="*/ 1844910 w 4381952"/>
                  <a:gd name="connsiteY5392" fmla="*/ 3251278 h 7571038"/>
                  <a:gd name="connsiteX5393" fmla="*/ 1837266 w 4381952"/>
                  <a:gd name="connsiteY5393" fmla="*/ 3258923 h 7571038"/>
                  <a:gd name="connsiteX5394" fmla="*/ 1844910 w 4381952"/>
                  <a:gd name="connsiteY5394" fmla="*/ 3266567 h 7571038"/>
                  <a:gd name="connsiteX5395" fmla="*/ 1852552 w 4381952"/>
                  <a:gd name="connsiteY5395" fmla="*/ 3258923 h 7571038"/>
                  <a:gd name="connsiteX5396" fmla="*/ 1857730 w 4381952"/>
                  <a:gd name="connsiteY5396" fmla="*/ 5146706 h 7571038"/>
                  <a:gd name="connsiteX5397" fmla="*/ 1837266 w 4381952"/>
                  <a:gd name="connsiteY5397" fmla="*/ 5126239 h 7571038"/>
                  <a:gd name="connsiteX5398" fmla="*/ 1816799 w 4381952"/>
                  <a:gd name="connsiteY5398" fmla="*/ 5146706 h 7571038"/>
                  <a:gd name="connsiteX5399" fmla="*/ 1837266 w 4381952"/>
                  <a:gd name="connsiteY5399" fmla="*/ 5167173 h 7571038"/>
                  <a:gd name="connsiteX5400" fmla="*/ 1857730 w 4381952"/>
                  <a:gd name="connsiteY5400" fmla="*/ 5146706 h 7571038"/>
                  <a:gd name="connsiteX5401" fmla="*/ 1859210 w 4381952"/>
                  <a:gd name="connsiteY5401" fmla="*/ 383368 h 7571038"/>
                  <a:gd name="connsiteX5402" fmla="*/ 1832331 w 4381952"/>
                  <a:gd name="connsiteY5402" fmla="*/ 356493 h 7571038"/>
                  <a:gd name="connsiteX5403" fmla="*/ 1805455 w 4381952"/>
                  <a:gd name="connsiteY5403" fmla="*/ 383368 h 7571038"/>
                  <a:gd name="connsiteX5404" fmla="*/ 1832331 w 4381952"/>
                  <a:gd name="connsiteY5404" fmla="*/ 410246 h 7571038"/>
                  <a:gd name="connsiteX5405" fmla="*/ 1859210 w 4381952"/>
                  <a:gd name="connsiteY5405" fmla="*/ 383368 h 7571038"/>
                  <a:gd name="connsiteX5406" fmla="*/ 1859701 w 4381952"/>
                  <a:gd name="connsiteY5406" fmla="*/ 274157 h 7571038"/>
                  <a:gd name="connsiteX5407" fmla="*/ 1832579 w 4381952"/>
                  <a:gd name="connsiteY5407" fmla="*/ 247036 h 7571038"/>
                  <a:gd name="connsiteX5408" fmla="*/ 1805455 w 4381952"/>
                  <a:gd name="connsiteY5408" fmla="*/ 274157 h 7571038"/>
                  <a:gd name="connsiteX5409" fmla="*/ 1832579 w 4381952"/>
                  <a:gd name="connsiteY5409" fmla="*/ 301281 h 7571038"/>
                  <a:gd name="connsiteX5410" fmla="*/ 1859701 w 4381952"/>
                  <a:gd name="connsiteY5410" fmla="*/ 274157 h 7571038"/>
                  <a:gd name="connsiteX5411" fmla="*/ 1859702 w 4381952"/>
                  <a:gd name="connsiteY5411" fmla="*/ 1477780 h 7571038"/>
                  <a:gd name="connsiteX5412" fmla="*/ 1835045 w 4381952"/>
                  <a:gd name="connsiteY5412" fmla="*/ 1453124 h 7571038"/>
                  <a:gd name="connsiteX5413" fmla="*/ 1810387 w 4381952"/>
                  <a:gd name="connsiteY5413" fmla="*/ 1477780 h 7571038"/>
                  <a:gd name="connsiteX5414" fmla="*/ 1835045 w 4381952"/>
                  <a:gd name="connsiteY5414" fmla="*/ 1502439 h 7571038"/>
                  <a:gd name="connsiteX5415" fmla="*/ 1859702 w 4381952"/>
                  <a:gd name="connsiteY5415" fmla="*/ 1477780 h 7571038"/>
                  <a:gd name="connsiteX5416" fmla="*/ 1860936 w 4381952"/>
                  <a:gd name="connsiteY5416" fmla="*/ 56234 h 7571038"/>
                  <a:gd name="connsiteX5417" fmla="*/ 1832826 w 4381952"/>
                  <a:gd name="connsiteY5417" fmla="*/ 28373 h 7571038"/>
                  <a:gd name="connsiteX5418" fmla="*/ 1804964 w 4381952"/>
                  <a:gd name="connsiteY5418" fmla="*/ 56234 h 7571038"/>
                  <a:gd name="connsiteX5419" fmla="*/ 1832826 w 4381952"/>
                  <a:gd name="connsiteY5419" fmla="*/ 84098 h 7571038"/>
                  <a:gd name="connsiteX5420" fmla="*/ 1860936 w 4381952"/>
                  <a:gd name="connsiteY5420" fmla="*/ 56234 h 7571038"/>
                  <a:gd name="connsiteX5421" fmla="*/ 1860936 w 4381952"/>
                  <a:gd name="connsiteY5421" fmla="*/ 4588458 h 7571038"/>
                  <a:gd name="connsiteX5422" fmla="*/ 1841211 w 4381952"/>
                  <a:gd name="connsiteY5422" fmla="*/ 4568732 h 7571038"/>
                  <a:gd name="connsiteX5423" fmla="*/ 1821485 w 4381952"/>
                  <a:gd name="connsiteY5423" fmla="*/ 4588458 h 7571038"/>
                  <a:gd name="connsiteX5424" fmla="*/ 1841211 w 4381952"/>
                  <a:gd name="connsiteY5424" fmla="*/ 4608185 h 7571038"/>
                  <a:gd name="connsiteX5425" fmla="*/ 1860936 w 4381952"/>
                  <a:gd name="connsiteY5425" fmla="*/ 4588458 h 7571038"/>
                  <a:gd name="connsiteX5426" fmla="*/ 1861674 w 4381952"/>
                  <a:gd name="connsiteY5426" fmla="*/ 164950 h 7571038"/>
                  <a:gd name="connsiteX5427" fmla="*/ 1833072 w 4381952"/>
                  <a:gd name="connsiteY5427" fmla="*/ 136595 h 7571038"/>
                  <a:gd name="connsiteX5428" fmla="*/ 1804469 w 4381952"/>
                  <a:gd name="connsiteY5428" fmla="*/ 164950 h 7571038"/>
                  <a:gd name="connsiteX5429" fmla="*/ 1833072 w 4381952"/>
                  <a:gd name="connsiteY5429" fmla="*/ 193552 h 7571038"/>
                  <a:gd name="connsiteX5430" fmla="*/ 1861674 w 4381952"/>
                  <a:gd name="connsiteY5430" fmla="*/ 164950 h 7571038"/>
                  <a:gd name="connsiteX5431" fmla="*/ 1863647 w 4381952"/>
                  <a:gd name="connsiteY5431" fmla="*/ 1367817 h 7571038"/>
                  <a:gd name="connsiteX5432" fmla="*/ 1834798 w 4381952"/>
                  <a:gd name="connsiteY5432" fmla="*/ 1338970 h 7571038"/>
                  <a:gd name="connsiteX5433" fmla="*/ 1805949 w 4381952"/>
                  <a:gd name="connsiteY5433" fmla="*/ 1367817 h 7571038"/>
                  <a:gd name="connsiteX5434" fmla="*/ 1834798 w 4381952"/>
                  <a:gd name="connsiteY5434" fmla="*/ 1396673 h 7571038"/>
                  <a:gd name="connsiteX5435" fmla="*/ 1863647 w 4381952"/>
                  <a:gd name="connsiteY5435" fmla="*/ 1367817 h 7571038"/>
                  <a:gd name="connsiteX5436" fmla="*/ 1868333 w 4381952"/>
                  <a:gd name="connsiteY5436" fmla="*/ 1919843 h 7571038"/>
                  <a:gd name="connsiteX5437" fmla="*/ 1835293 w 4381952"/>
                  <a:gd name="connsiteY5437" fmla="*/ 1886807 h 7571038"/>
                  <a:gd name="connsiteX5438" fmla="*/ 1802251 w 4381952"/>
                  <a:gd name="connsiteY5438" fmla="*/ 1919843 h 7571038"/>
                  <a:gd name="connsiteX5439" fmla="*/ 1835293 w 4381952"/>
                  <a:gd name="connsiteY5439" fmla="*/ 1952875 h 7571038"/>
                  <a:gd name="connsiteX5440" fmla="*/ 1868333 w 4381952"/>
                  <a:gd name="connsiteY5440" fmla="*/ 1919843 h 7571038"/>
                  <a:gd name="connsiteX5441" fmla="*/ 1871786 w 4381952"/>
                  <a:gd name="connsiteY5441" fmla="*/ 4813581 h 7571038"/>
                  <a:gd name="connsiteX5442" fmla="*/ 1840962 w 4381952"/>
                  <a:gd name="connsiteY5442" fmla="*/ 4782759 h 7571038"/>
                  <a:gd name="connsiteX5443" fmla="*/ 1810142 w 4381952"/>
                  <a:gd name="connsiteY5443" fmla="*/ 4813581 h 7571038"/>
                  <a:gd name="connsiteX5444" fmla="*/ 1840962 w 4381952"/>
                  <a:gd name="connsiteY5444" fmla="*/ 4844402 h 7571038"/>
                  <a:gd name="connsiteX5445" fmla="*/ 1871786 w 4381952"/>
                  <a:gd name="connsiteY5445" fmla="*/ 4813581 h 7571038"/>
                  <a:gd name="connsiteX5446" fmla="*/ 1874743 w 4381952"/>
                  <a:gd name="connsiteY5446" fmla="*/ 4359145 h 7571038"/>
                  <a:gd name="connsiteX5447" fmla="*/ 1842443 w 4381952"/>
                  <a:gd name="connsiteY5447" fmla="*/ 4326842 h 7571038"/>
                  <a:gd name="connsiteX5448" fmla="*/ 1810142 w 4381952"/>
                  <a:gd name="connsiteY5448" fmla="*/ 4359145 h 7571038"/>
                  <a:gd name="connsiteX5449" fmla="*/ 1842443 w 4381952"/>
                  <a:gd name="connsiteY5449" fmla="*/ 4391443 h 7571038"/>
                  <a:gd name="connsiteX5450" fmla="*/ 1874743 w 4381952"/>
                  <a:gd name="connsiteY5450" fmla="*/ 4359145 h 7571038"/>
                  <a:gd name="connsiteX5451" fmla="*/ 1874991 w 4381952"/>
                  <a:gd name="connsiteY5451" fmla="*/ 2031021 h 7571038"/>
                  <a:gd name="connsiteX5452" fmla="*/ 1835290 w 4381952"/>
                  <a:gd name="connsiteY5452" fmla="*/ 1991324 h 7571038"/>
                  <a:gd name="connsiteX5453" fmla="*/ 1795593 w 4381952"/>
                  <a:gd name="connsiteY5453" fmla="*/ 2031021 h 7571038"/>
                  <a:gd name="connsiteX5454" fmla="*/ 1835290 w 4381952"/>
                  <a:gd name="connsiteY5454" fmla="*/ 2070723 h 7571038"/>
                  <a:gd name="connsiteX5455" fmla="*/ 1874991 w 4381952"/>
                  <a:gd name="connsiteY5455" fmla="*/ 2031021 h 7571038"/>
                  <a:gd name="connsiteX5456" fmla="*/ 1875483 w 4381952"/>
                  <a:gd name="connsiteY5456" fmla="*/ 5035745 h 7571038"/>
                  <a:gd name="connsiteX5457" fmla="*/ 1837018 w 4381952"/>
                  <a:gd name="connsiteY5457" fmla="*/ 4997279 h 7571038"/>
                  <a:gd name="connsiteX5458" fmla="*/ 1798552 w 4381952"/>
                  <a:gd name="connsiteY5458" fmla="*/ 5035745 h 7571038"/>
                  <a:gd name="connsiteX5459" fmla="*/ 1837018 w 4381952"/>
                  <a:gd name="connsiteY5459" fmla="*/ 5074210 h 7571038"/>
                  <a:gd name="connsiteX5460" fmla="*/ 1875483 w 4381952"/>
                  <a:gd name="connsiteY5460" fmla="*/ 5035745 h 7571038"/>
                  <a:gd name="connsiteX5461" fmla="*/ 1875975 w 4381952"/>
                  <a:gd name="connsiteY5461" fmla="*/ 4474541 h 7571038"/>
                  <a:gd name="connsiteX5462" fmla="*/ 1841703 w 4381952"/>
                  <a:gd name="connsiteY5462" fmla="*/ 4440266 h 7571038"/>
                  <a:gd name="connsiteX5463" fmla="*/ 1807428 w 4381952"/>
                  <a:gd name="connsiteY5463" fmla="*/ 4474541 h 7571038"/>
                  <a:gd name="connsiteX5464" fmla="*/ 1841703 w 4381952"/>
                  <a:gd name="connsiteY5464" fmla="*/ 4508813 h 7571038"/>
                  <a:gd name="connsiteX5465" fmla="*/ 1875975 w 4381952"/>
                  <a:gd name="connsiteY5465" fmla="*/ 4474541 h 7571038"/>
                  <a:gd name="connsiteX5466" fmla="*/ 1878444 w 4381952"/>
                  <a:gd name="connsiteY5466" fmla="*/ 4122677 h 7571038"/>
                  <a:gd name="connsiteX5467" fmla="*/ 1845402 w 4381952"/>
                  <a:gd name="connsiteY5467" fmla="*/ 4089634 h 7571038"/>
                  <a:gd name="connsiteX5468" fmla="*/ 1812608 w 4381952"/>
                  <a:gd name="connsiteY5468" fmla="*/ 4122677 h 7571038"/>
                  <a:gd name="connsiteX5469" fmla="*/ 1845402 w 4381952"/>
                  <a:gd name="connsiteY5469" fmla="*/ 4155717 h 7571038"/>
                  <a:gd name="connsiteX5470" fmla="*/ 1878444 w 4381952"/>
                  <a:gd name="connsiteY5470" fmla="*/ 4122677 h 7571038"/>
                  <a:gd name="connsiteX5471" fmla="*/ 1879427 w 4381952"/>
                  <a:gd name="connsiteY5471" fmla="*/ 4701391 h 7571038"/>
                  <a:gd name="connsiteX5472" fmla="*/ 1841210 w 4381952"/>
                  <a:gd name="connsiteY5472" fmla="*/ 4663171 h 7571038"/>
                  <a:gd name="connsiteX5473" fmla="*/ 1802991 w 4381952"/>
                  <a:gd name="connsiteY5473" fmla="*/ 4701391 h 7571038"/>
                  <a:gd name="connsiteX5474" fmla="*/ 1841210 w 4381952"/>
                  <a:gd name="connsiteY5474" fmla="*/ 4739608 h 7571038"/>
                  <a:gd name="connsiteX5475" fmla="*/ 1879427 w 4381952"/>
                  <a:gd name="connsiteY5475" fmla="*/ 4701391 h 7571038"/>
                  <a:gd name="connsiteX5476" fmla="*/ 1881895 w 4381952"/>
                  <a:gd name="connsiteY5476" fmla="*/ 2950215 h 7571038"/>
                  <a:gd name="connsiteX5477" fmla="*/ 1857483 w 4381952"/>
                  <a:gd name="connsiteY5477" fmla="*/ 2926049 h 7571038"/>
                  <a:gd name="connsiteX5478" fmla="*/ 1833320 w 4381952"/>
                  <a:gd name="connsiteY5478" fmla="*/ 2950215 h 7571038"/>
                  <a:gd name="connsiteX5479" fmla="*/ 1857483 w 4381952"/>
                  <a:gd name="connsiteY5479" fmla="*/ 2974624 h 7571038"/>
                  <a:gd name="connsiteX5480" fmla="*/ 1881895 w 4381952"/>
                  <a:gd name="connsiteY5480" fmla="*/ 2950215 h 7571038"/>
                  <a:gd name="connsiteX5481" fmla="*/ 1881895 w 4381952"/>
                  <a:gd name="connsiteY5481" fmla="*/ 3077444 h 7571038"/>
                  <a:gd name="connsiteX5482" fmla="*/ 1865128 w 4381952"/>
                  <a:gd name="connsiteY5482" fmla="*/ 3060677 h 7571038"/>
                  <a:gd name="connsiteX5483" fmla="*/ 1848361 w 4381952"/>
                  <a:gd name="connsiteY5483" fmla="*/ 3077444 h 7571038"/>
                  <a:gd name="connsiteX5484" fmla="*/ 1865128 w 4381952"/>
                  <a:gd name="connsiteY5484" fmla="*/ 3094211 h 7571038"/>
                  <a:gd name="connsiteX5485" fmla="*/ 1881895 w 4381952"/>
                  <a:gd name="connsiteY5485" fmla="*/ 3077444 h 7571038"/>
                  <a:gd name="connsiteX5486" fmla="*/ 1895704 w 4381952"/>
                  <a:gd name="connsiteY5486" fmla="*/ 3877580 h 7571038"/>
                  <a:gd name="connsiteX5487" fmla="*/ 1864879 w 4381952"/>
                  <a:gd name="connsiteY5487" fmla="*/ 3846758 h 7571038"/>
                  <a:gd name="connsiteX5488" fmla="*/ 1834058 w 4381952"/>
                  <a:gd name="connsiteY5488" fmla="*/ 3877580 h 7571038"/>
                  <a:gd name="connsiteX5489" fmla="*/ 1864879 w 4381952"/>
                  <a:gd name="connsiteY5489" fmla="*/ 3908404 h 7571038"/>
                  <a:gd name="connsiteX5490" fmla="*/ 1895704 w 4381952"/>
                  <a:gd name="connsiteY5490" fmla="*/ 3877580 h 7571038"/>
                  <a:gd name="connsiteX5491" fmla="*/ 1898170 w 4381952"/>
                  <a:gd name="connsiteY5491" fmla="*/ 4004813 h 7571038"/>
                  <a:gd name="connsiteX5492" fmla="*/ 1857483 w 4381952"/>
                  <a:gd name="connsiteY5492" fmla="*/ 3964127 h 7571038"/>
                  <a:gd name="connsiteX5493" fmla="*/ 1816799 w 4381952"/>
                  <a:gd name="connsiteY5493" fmla="*/ 4004813 h 7571038"/>
                  <a:gd name="connsiteX5494" fmla="*/ 1857483 w 4381952"/>
                  <a:gd name="connsiteY5494" fmla="*/ 4045499 h 7571038"/>
                  <a:gd name="connsiteX5495" fmla="*/ 1898170 w 4381952"/>
                  <a:gd name="connsiteY5495" fmla="*/ 4004813 h 7571038"/>
                  <a:gd name="connsiteX5496" fmla="*/ 1904826 w 4381952"/>
                  <a:gd name="connsiteY5496" fmla="*/ 2807205 h 7571038"/>
                  <a:gd name="connsiteX5497" fmla="*/ 1897923 w 4381952"/>
                  <a:gd name="connsiteY5497" fmla="*/ 2800300 h 7571038"/>
                  <a:gd name="connsiteX5498" fmla="*/ 1891018 w 4381952"/>
                  <a:gd name="connsiteY5498" fmla="*/ 2807205 h 7571038"/>
                  <a:gd name="connsiteX5499" fmla="*/ 1897923 w 4381952"/>
                  <a:gd name="connsiteY5499" fmla="*/ 2814109 h 7571038"/>
                  <a:gd name="connsiteX5500" fmla="*/ 1904826 w 4381952"/>
                  <a:gd name="connsiteY5500" fmla="*/ 2807205 h 7571038"/>
                  <a:gd name="connsiteX5501" fmla="*/ 1916169 w 4381952"/>
                  <a:gd name="connsiteY5501" fmla="*/ 2690826 h 7571038"/>
                  <a:gd name="connsiteX5502" fmla="*/ 1897676 w 4381952"/>
                  <a:gd name="connsiteY5502" fmla="*/ 2672331 h 7571038"/>
                  <a:gd name="connsiteX5503" fmla="*/ 1879182 w 4381952"/>
                  <a:gd name="connsiteY5503" fmla="*/ 2690826 h 7571038"/>
                  <a:gd name="connsiteX5504" fmla="*/ 1897676 w 4381952"/>
                  <a:gd name="connsiteY5504" fmla="*/ 2709320 h 7571038"/>
                  <a:gd name="connsiteX5505" fmla="*/ 1916169 w 4381952"/>
                  <a:gd name="connsiteY5505" fmla="*/ 2690826 h 7571038"/>
                  <a:gd name="connsiteX5506" fmla="*/ 1917896 w 4381952"/>
                  <a:gd name="connsiteY5506" fmla="*/ 1031536 h 7571038"/>
                  <a:gd name="connsiteX5507" fmla="*/ 1890526 w 4381952"/>
                  <a:gd name="connsiteY5507" fmla="*/ 1004167 h 7571038"/>
                  <a:gd name="connsiteX5508" fmla="*/ 1863155 w 4381952"/>
                  <a:gd name="connsiteY5508" fmla="*/ 1031536 h 7571038"/>
                  <a:gd name="connsiteX5509" fmla="*/ 1890526 w 4381952"/>
                  <a:gd name="connsiteY5509" fmla="*/ 1058904 h 7571038"/>
                  <a:gd name="connsiteX5510" fmla="*/ 1917896 w 4381952"/>
                  <a:gd name="connsiteY5510" fmla="*/ 1031536 h 7571038"/>
                  <a:gd name="connsiteX5511" fmla="*/ 1920112 w 4381952"/>
                  <a:gd name="connsiteY5511" fmla="*/ 813107 h 7571038"/>
                  <a:gd name="connsiteX5512" fmla="*/ 1892004 w 4381952"/>
                  <a:gd name="connsiteY5512" fmla="*/ 784997 h 7571038"/>
                  <a:gd name="connsiteX5513" fmla="*/ 1863893 w 4381952"/>
                  <a:gd name="connsiteY5513" fmla="*/ 813107 h 7571038"/>
                  <a:gd name="connsiteX5514" fmla="*/ 1892004 w 4381952"/>
                  <a:gd name="connsiteY5514" fmla="*/ 841222 h 7571038"/>
                  <a:gd name="connsiteX5515" fmla="*/ 1920112 w 4381952"/>
                  <a:gd name="connsiteY5515" fmla="*/ 813107 h 7571038"/>
                  <a:gd name="connsiteX5516" fmla="*/ 1921101 w 4381952"/>
                  <a:gd name="connsiteY5516" fmla="*/ 922321 h 7571038"/>
                  <a:gd name="connsiteX5517" fmla="*/ 1891018 w 4381952"/>
                  <a:gd name="connsiteY5517" fmla="*/ 892237 h 7571038"/>
                  <a:gd name="connsiteX5518" fmla="*/ 1861183 w 4381952"/>
                  <a:gd name="connsiteY5518" fmla="*/ 922321 h 7571038"/>
                  <a:gd name="connsiteX5519" fmla="*/ 1891018 w 4381952"/>
                  <a:gd name="connsiteY5519" fmla="*/ 952158 h 7571038"/>
                  <a:gd name="connsiteX5520" fmla="*/ 1921101 w 4381952"/>
                  <a:gd name="connsiteY5520" fmla="*/ 922321 h 7571038"/>
                  <a:gd name="connsiteX5521" fmla="*/ 1922579 w 4381952"/>
                  <a:gd name="connsiteY5521" fmla="*/ 1250217 h 7571038"/>
                  <a:gd name="connsiteX5522" fmla="*/ 1889783 w 4381952"/>
                  <a:gd name="connsiteY5522" fmla="*/ 1217425 h 7571038"/>
                  <a:gd name="connsiteX5523" fmla="*/ 1856989 w 4381952"/>
                  <a:gd name="connsiteY5523" fmla="*/ 1250217 h 7571038"/>
                  <a:gd name="connsiteX5524" fmla="*/ 1889783 w 4381952"/>
                  <a:gd name="connsiteY5524" fmla="*/ 1283017 h 7571038"/>
                  <a:gd name="connsiteX5525" fmla="*/ 1922579 w 4381952"/>
                  <a:gd name="connsiteY5525" fmla="*/ 1250217 h 7571038"/>
                  <a:gd name="connsiteX5526" fmla="*/ 1922826 w 4381952"/>
                  <a:gd name="connsiteY5526" fmla="*/ 1140507 h 7571038"/>
                  <a:gd name="connsiteX5527" fmla="*/ 1890277 w 4381952"/>
                  <a:gd name="connsiteY5527" fmla="*/ 1107960 h 7571038"/>
                  <a:gd name="connsiteX5528" fmla="*/ 1857730 w 4381952"/>
                  <a:gd name="connsiteY5528" fmla="*/ 1140507 h 7571038"/>
                  <a:gd name="connsiteX5529" fmla="*/ 1890277 w 4381952"/>
                  <a:gd name="connsiteY5529" fmla="*/ 1173055 h 7571038"/>
                  <a:gd name="connsiteX5530" fmla="*/ 1922826 w 4381952"/>
                  <a:gd name="connsiteY5530" fmla="*/ 1140507 h 7571038"/>
                  <a:gd name="connsiteX5531" fmla="*/ 1923319 w 4381952"/>
                  <a:gd name="connsiteY5531" fmla="*/ 485922 h 7571038"/>
                  <a:gd name="connsiteX5532" fmla="*/ 1892495 w 4381952"/>
                  <a:gd name="connsiteY5532" fmla="*/ 455101 h 7571038"/>
                  <a:gd name="connsiteX5533" fmla="*/ 1861674 w 4381952"/>
                  <a:gd name="connsiteY5533" fmla="*/ 485922 h 7571038"/>
                  <a:gd name="connsiteX5534" fmla="*/ 1892495 w 4381952"/>
                  <a:gd name="connsiteY5534" fmla="*/ 516745 h 7571038"/>
                  <a:gd name="connsiteX5535" fmla="*/ 1923319 w 4381952"/>
                  <a:gd name="connsiteY5535" fmla="*/ 485922 h 7571038"/>
                  <a:gd name="connsiteX5536" fmla="*/ 1923320 w 4381952"/>
                  <a:gd name="connsiteY5536" fmla="*/ 595133 h 7571038"/>
                  <a:gd name="connsiteX5537" fmla="*/ 1892251 w 4381952"/>
                  <a:gd name="connsiteY5537" fmla="*/ 564068 h 7571038"/>
                  <a:gd name="connsiteX5538" fmla="*/ 1861183 w 4381952"/>
                  <a:gd name="connsiteY5538" fmla="*/ 595133 h 7571038"/>
                  <a:gd name="connsiteX5539" fmla="*/ 1892251 w 4381952"/>
                  <a:gd name="connsiteY5539" fmla="*/ 626203 h 7571038"/>
                  <a:gd name="connsiteX5540" fmla="*/ 1923320 w 4381952"/>
                  <a:gd name="connsiteY5540" fmla="*/ 595133 h 7571038"/>
                  <a:gd name="connsiteX5541" fmla="*/ 1924059 w 4381952"/>
                  <a:gd name="connsiteY5541" fmla="*/ 704136 h 7571038"/>
                  <a:gd name="connsiteX5542" fmla="*/ 1892250 w 4381952"/>
                  <a:gd name="connsiteY5542" fmla="*/ 672326 h 7571038"/>
                  <a:gd name="connsiteX5543" fmla="*/ 1860442 w 4381952"/>
                  <a:gd name="connsiteY5543" fmla="*/ 704136 h 7571038"/>
                  <a:gd name="connsiteX5544" fmla="*/ 1892250 w 4381952"/>
                  <a:gd name="connsiteY5544" fmla="*/ 735940 h 7571038"/>
                  <a:gd name="connsiteX5545" fmla="*/ 1924059 w 4381952"/>
                  <a:gd name="connsiteY5545" fmla="*/ 704136 h 7571038"/>
                  <a:gd name="connsiteX5546" fmla="*/ 1924797 w 4381952"/>
                  <a:gd name="connsiteY5546" fmla="*/ 2239618 h 7571038"/>
                  <a:gd name="connsiteX5547" fmla="*/ 1896195 w 4381952"/>
                  <a:gd name="connsiteY5547" fmla="*/ 2211014 h 7571038"/>
                  <a:gd name="connsiteX5548" fmla="*/ 1867592 w 4381952"/>
                  <a:gd name="connsiteY5548" fmla="*/ 2239618 h 7571038"/>
                  <a:gd name="connsiteX5549" fmla="*/ 1896195 w 4381952"/>
                  <a:gd name="connsiteY5549" fmla="*/ 2267971 h 7571038"/>
                  <a:gd name="connsiteX5550" fmla="*/ 1924797 w 4381952"/>
                  <a:gd name="connsiteY5550" fmla="*/ 2239618 h 7571038"/>
                  <a:gd name="connsiteX5551" fmla="*/ 1927017 w 4381952"/>
                  <a:gd name="connsiteY5551" fmla="*/ 2576420 h 7571038"/>
                  <a:gd name="connsiteX5552" fmla="*/ 1897427 w 4381952"/>
                  <a:gd name="connsiteY5552" fmla="*/ 2546831 h 7571038"/>
                  <a:gd name="connsiteX5553" fmla="*/ 1867839 w 4381952"/>
                  <a:gd name="connsiteY5553" fmla="*/ 2576420 h 7571038"/>
                  <a:gd name="connsiteX5554" fmla="*/ 1897427 w 4381952"/>
                  <a:gd name="connsiteY5554" fmla="*/ 2606009 h 7571038"/>
                  <a:gd name="connsiteX5555" fmla="*/ 1927017 w 4381952"/>
                  <a:gd name="connsiteY5555" fmla="*/ 2576420 h 7571038"/>
                  <a:gd name="connsiteX5556" fmla="*/ 1930469 w 4381952"/>
                  <a:gd name="connsiteY5556" fmla="*/ 2128415 h 7571038"/>
                  <a:gd name="connsiteX5557" fmla="*/ 1895948 w 4381952"/>
                  <a:gd name="connsiteY5557" fmla="*/ 2094140 h 7571038"/>
                  <a:gd name="connsiteX5558" fmla="*/ 1861674 w 4381952"/>
                  <a:gd name="connsiteY5558" fmla="*/ 2128415 h 7571038"/>
                  <a:gd name="connsiteX5559" fmla="*/ 1895948 w 4381952"/>
                  <a:gd name="connsiteY5559" fmla="*/ 2162936 h 7571038"/>
                  <a:gd name="connsiteX5560" fmla="*/ 1930469 w 4381952"/>
                  <a:gd name="connsiteY5560" fmla="*/ 2128415 h 7571038"/>
                  <a:gd name="connsiteX5561" fmla="*/ 1937619 w 4381952"/>
                  <a:gd name="connsiteY5561" fmla="*/ 3172374 h 7571038"/>
                  <a:gd name="connsiteX5562" fmla="*/ 1920358 w 4381952"/>
                  <a:gd name="connsiteY5562" fmla="*/ 3155115 h 7571038"/>
                  <a:gd name="connsiteX5563" fmla="*/ 1903099 w 4381952"/>
                  <a:gd name="connsiteY5563" fmla="*/ 3172374 h 7571038"/>
                  <a:gd name="connsiteX5564" fmla="*/ 1920358 w 4381952"/>
                  <a:gd name="connsiteY5564" fmla="*/ 3189635 h 7571038"/>
                  <a:gd name="connsiteX5565" fmla="*/ 1937619 w 4381952"/>
                  <a:gd name="connsiteY5565" fmla="*/ 3172374 h 7571038"/>
                  <a:gd name="connsiteX5566" fmla="*/ 1939840 w 4381952"/>
                  <a:gd name="connsiteY5566" fmla="*/ 2351068 h 7571038"/>
                  <a:gd name="connsiteX5567" fmla="*/ 1896443 w 4381952"/>
                  <a:gd name="connsiteY5567" fmla="*/ 2307909 h 7571038"/>
                  <a:gd name="connsiteX5568" fmla="*/ 1853292 w 4381952"/>
                  <a:gd name="connsiteY5568" fmla="*/ 2351068 h 7571038"/>
                  <a:gd name="connsiteX5569" fmla="*/ 1896443 w 4381952"/>
                  <a:gd name="connsiteY5569" fmla="*/ 2394459 h 7571038"/>
                  <a:gd name="connsiteX5570" fmla="*/ 1939840 w 4381952"/>
                  <a:gd name="connsiteY5570" fmla="*/ 2351068 h 7571038"/>
                  <a:gd name="connsiteX5571" fmla="*/ 1941811 w 4381952"/>
                  <a:gd name="connsiteY5571" fmla="*/ 2463248 h 7571038"/>
                  <a:gd name="connsiteX5572" fmla="*/ 1896936 w 4381952"/>
                  <a:gd name="connsiteY5572" fmla="*/ 2418371 h 7571038"/>
                  <a:gd name="connsiteX5573" fmla="*/ 1852058 w 4381952"/>
                  <a:gd name="connsiteY5573" fmla="*/ 2463248 h 7571038"/>
                  <a:gd name="connsiteX5574" fmla="*/ 1896936 w 4381952"/>
                  <a:gd name="connsiteY5574" fmla="*/ 2508122 h 7571038"/>
                  <a:gd name="connsiteX5575" fmla="*/ 1941811 w 4381952"/>
                  <a:gd name="connsiteY5575" fmla="*/ 2463248 h 7571038"/>
                  <a:gd name="connsiteX5576" fmla="*/ 1953401 w 4381952"/>
                  <a:gd name="connsiteY5576" fmla="*/ 4946978 h 7571038"/>
                  <a:gd name="connsiteX5577" fmla="*/ 1951182 w 4381952"/>
                  <a:gd name="connsiteY5577" fmla="*/ 4944759 h 7571038"/>
                  <a:gd name="connsiteX5578" fmla="*/ 1948964 w 4381952"/>
                  <a:gd name="connsiteY5578" fmla="*/ 4946978 h 7571038"/>
                  <a:gd name="connsiteX5579" fmla="*/ 1951182 w 4381952"/>
                  <a:gd name="connsiteY5579" fmla="*/ 4949196 h 7571038"/>
                  <a:gd name="connsiteX5580" fmla="*/ 1953401 w 4381952"/>
                  <a:gd name="connsiteY5580" fmla="*/ 4946978 h 7571038"/>
                  <a:gd name="connsiteX5581" fmla="*/ 1953895 w 4381952"/>
                  <a:gd name="connsiteY5581" fmla="*/ 5712351 h 7571038"/>
                  <a:gd name="connsiteX5582" fmla="*/ 1951183 w 4381952"/>
                  <a:gd name="connsiteY5582" fmla="*/ 5709638 h 7571038"/>
                  <a:gd name="connsiteX5583" fmla="*/ 1948470 w 4381952"/>
                  <a:gd name="connsiteY5583" fmla="*/ 5712351 h 7571038"/>
                  <a:gd name="connsiteX5584" fmla="*/ 1951183 w 4381952"/>
                  <a:gd name="connsiteY5584" fmla="*/ 5715064 h 7571038"/>
                  <a:gd name="connsiteX5585" fmla="*/ 1953895 w 4381952"/>
                  <a:gd name="connsiteY5585" fmla="*/ 5712351 h 7571038"/>
                  <a:gd name="connsiteX5586" fmla="*/ 1954388 w 4381952"/>
                  <a:gd name="connsiteY5586" fmla="*/ 7452682 h 7571038"/>
                  <a:gd name="connsiteX5587" fmla="*/ 1951429 w 4381952"/>
                  <a:gd name="connsiteY5587" fmla="*/ 7449722 h 7571038"/>
                  <a:gd name="connsiteX5588" fmla="*/ 1948470 w 4381952"/>
                  <a:gd name="connsiteY5588" fmla="*/ 7452682 h 7571038"/>
                  <a:gd name="connsiteX5589" fmla="*/ 1951429 w 4381952"/>
                  <a:gd name="connsiteY5589" fmla="*/ 7455641 h 7571038"/>
                  <a:gd name="connsiteX5590" fmla="*/ 1954388 w 4381952"/>
                  <a:gd name="connsiteY5590" fmla="*/ 7452682 h 7571038"/>
                  <a:gd name="connsiteX5591" fmla="*/ 1954390 w 4381952"/>
                  <a:gd name="connsiteY5591" fmla="*/ 5930075 h 7571038"/>
                  <a:gd name="connsiteX5592" fmla="*/ 1951677 w 4381952"/>
                  <a:gd name="connsiteY5592" fmla="*/ 5927363 h 7571038"/>
                  <a:gd name="connsiteX5593" fmla="*/ 1948964 w 4381952"/>
                  <a:gd name="connsiteY5593" fmla="*/ 5930075 h 7571038"/>
                  <a:gd name="connsiteX5594" fmla="*/ 1951677 w 4381952"/>
                  <a:gd name="connsiteY5594" fmla="*/ 5932789 h 7571038"/>
                  <a:gd name="connsiteX5595" fmla="*/ 1954390 w 4381952"/>
                  <a:gd name="connsiteY5595" fmla="*/ 5930075 h 7571038"/>
                  <a:gd name="connsiteX5596" fmla="*/ 1954390 w 4381952"/>
                  <a:gd name="connsiteY5596" fmla="*/ 6583254 h 7571038"/>
                  <a:gd name="connsiteX5597" fmla="*/ 1951182 w 4381952"/>
                  <a:gd name="connsiteY5597" fmla="*/ 6580048 h 7571038"/>
                  <a:gd name="connsiteX5598" fmla="*/ 1947978 w 4381952"/>
                  <a:gd name="connsiteY5598" fmla="*/ 6583254 h 7571038"/>
                  <a:gd name="connsiteX5599" fmla="*/ 1951182 w 4381952"/>
                  <a:gd name="connsiteY5599" fmla="*/ 6586461 h 7571038"/>
                  <a:gd name="connsiteX5600" fmla="*/ 1954390 w 4381952"/>
                  <a:gd name="connsiteY5600" fmla="*/ 6583254 h 7571038"/>
                  <a:gd name="connsiteX5601" fmla="*/ 1954390 w 4381952"/>
                  <a:gd name="connsiteY5601" fmla="*/ 7343942 h 7571038"/>
                  <a:gd name="connsiteX5602" fmla="*/ 1951182 w 4381952"/>
                  <a:gd name="connsiteY5602" fmla="*/ 7340737 h 7571038"/>
                  <a:gd name="connsiteX5603" fmla="*/ 1947978 w 4381952"/>
                  <a:gd name="connsiteY5603" fmla="*/ 7343942 h 7571038"/>
                  <a:gd name="connsiteX5604" fmla="*/ 1951182 w 4381952"/>
                  <a:gd name="connsiteY5604" fmla="*/ 7347150 h 7571038"/>
                  <a:gd name="connsiteX5605" fmla="*/ 1954390 w 4381952"/>
                  <a:gd name="connsiteY5605" fmla="*/ 7343942 h 7571038"/>
                  <a:gd name="connsiteX5606" fmla="*/ 1954633 w 4381952"/>
                  <a:gd name="connsiteY5606" fmla="*/ 7561175 h 7571038"/>
                  <a:gd name="connsiteX5607" fmla="*/ 1951674 w 4381952"/>
                  <a:gd name="connsiteY5607" fmla="*/ 7558215 h 7571038"/>
                  <a:gd name="connsiteX5608" fmla="*/ 1948715 w 4381952"/>
                  <a:gd name="connsiteY5608" fmla="*/ 7561175 h 7571038"/>
                  <a:gd name="connsiteX5609" fmla="*/ 1951674 w 4381952"/>
                  <a:gd name="connsiteY5609" fmla="*/ 7564134 h 7571038"/>
                  <a:gd name="connsiteX5610" fmla="*/ 1954633 w 4381952"/>
                  <a:gd name="connsiteY5610" fmla="*/ 7561175 h 7571038"/>
                  <a:gd name="connsiteX5611" fmla="*/ 1954881 w 4381952"/>
                  <a:gd name="connsiteY5611" fmla="*/ 6039064 h 7571038"/>
                  <a:gd name="connsiteX5612" fmla="*/ 1951922 w 4381952"/>
                  <a:gd name="connsiteY5612" fmla="*/ 6036104 h 7571038"/>
                  <a:gd name="connsiteX5613" fmla="*/ 1949210 w 4381952"/>
                  <a:gd name="connsiteY5613" fmla="*/ 6039064 h 7571038"/>
                  <a:gd name="connsiteX5614" fmla="*/ 1951922 w 4381952"/>
                  <a:gd name="connsiteY5614" fmla="*/ 6042023 h 7571038"/>
                  <a:gd name="connsiteX5615" fmla="*/ 1954881 w 4381952"/>
                  <a:gd name="connsiteY5615" fmla="*/ 6039064 h 7571038"/>
                  <a:gd name="connsiteX5616" fmla="*/ 1954881 w 4381952"/>
                  <a:gd name="connsiteY5616" fmla="*/ 6257036 h 7571038"/>
                  <a:gd name="connsiteX5617" fmla="*/ 1952169 w 4381952"/>
                  <a:gd name="connsiteY5617" fmla="*/ 6254077 h 7571038"/>
                  <a:gd name="connsiteX5618" fmla="*/ 1949455 w 4381952"/>
                  <a:gd name="connsiteY5618" fmla="*/ 6257036 h 7571038"/>
                  <a:gd name="connsiteX5619" fmla="*/ 1952169 w 4381952"/>
                  <a:gd name="connsiteY5619" fmla="*/ 6259749 h 7571038"/>
                  <a:gd name="connsiteX5620" fmla="*/ 1954881 w 4381952"/>
                  <a:gd name="connsiteY5620" fmla="*/ 6257036 h 7571038"/>
                  <a:gd name="connsiteX5621" fmla="*/ 1954882 w 4381952"/>
                  <a:gd name="connsiteY5621" fmla="*/ 6148050 h 7571038"/>
                  <a:gd name="connsiteX5622" fmla="*/ 1951923 w 4381952"/>
                  <a:gd name="connsiteY5622" fmla="*/ 6145090 h 7571038"/>
                  <a:gd name="connsiteX5623" fmla="*/ 1948964 w 4381952"/>
                  <a:gd name="connsiteY5623" fmla="*/ 6148050 h 7571038"/>
                  <a:gd name="connsiteX5624" fmla="*/ 1951923 w 4381952"/>
                  <a:gd name="connsiteY5624" fmla="*/ 6151008 h 7571038"/>
                  <a:gd name="connsiteX5625" fmla="*/ 1954882 w 4381952"/>
                  <a:gd name="connsiteY5625" fmla="*/ 6148050 h 7571038"/>
                  <a:gd name="connsiteX5626" fmla="*/ 1955127 w 4381952"/>
                  <a:gd name="connsiteY5626" fmla="*/ 7017967 h 7571038"/>
                  <a:gd name="connsiteX5627" fmla="*/ 1951920 w 4381952"/>
                  <a:gd name="connsiteY5627" fmla="*/ 7014762 h 7571038"/>
                  <a:gd name="connsiteX5628" fmla="*/ 1948715 w 4381952"/>
                  <a:gd name="connsiteY5628" fmla="*/ 7017967 h 7571038"/>
                  <a:gd name="connsiteX5629" fmla="*/ 1951920 w 4381952"/>
                  <a:gd name="connsiteY5629" fmla="*/ 7021176 h 7571038"/>
                  <a:gd name="connsiteX5630" fmla="*/ 1955127 w 4381952"/>
                  <a:gd name="connsiteY5630" fmla="*/ 7017967 h 7571038"/>
                  <a:gd name="connsiteX5631" fmla="*/ 1955127 w 4381952"/>
                  <a:gd name="connsiteY5631" fmla="*/ 7235448 h 7571038"/>
                  <a:gd name="connsiteX5632" fmla="*/ 1952169 w 4381952"/>
                  <a:gd name="connsiteY5632" fmla="*/ 7232489 h 7571038"/>
                  <a:gd name="connsiteX5633" fmla="*/ 1949210 w 4381952"/>
                  <a:gd name="connsiteY5633" fmla="*/ 7235448 h 7571038"/>
                  <a:gd name="connsiteX5634" fmla="*/ 1952169 w 4381952"/>
                  <a:gd name="connsiteY5634" fmla="*/ 7238407 h 7571038"/>
                  <a:gd name="connsiteX5635" fmla="*/ 1955127 w 4381952"/>
                  <a:gd name="connsiteY5635" fmla="*/ 7235448 h 7571038"/>
                  <a:gd name="connsiteX5636" fmla="*/ 1955374 w 4381952"/>
                  <a:gd name="connsiteY5636" fmla="*/ 5275911 h 7571038"/>
                  <a:gd name="connsiteX5637" fmla="*/ 1952169 w 4381952"/>
                  <a:gd name="connsiteY5637" fmla="*/ 5272706 h 7571038"/>
                  <a:gd name="connsiteX5638" fmla="*/ 1948964 w 4381952"/>
                  <a:gd name="connsiteY5638" fmla="*/ 5275911 h 7571038"/>
                  <a:gd name="connsiteX5639" fmla="*/ 1952169 w 4381952"/>
                  <a:gd name="connsiteY5639" fmla="*/ 5279116 h 7571038"/>
                  <a:gd name="connsiteX5640" fmla="*/ 1955374 w 4381952"/>
                  <a:gd name="connsiteY5640" fmla="*/ 5275911 h 7571038"/>
                  <a:gd name="connsiteX5641" fmla="*/ 1955374 w 4381952"/>
                  <a:gd name="connsiteY5641" fmla="*/ 5821336 h 7571038"/>
                  <a:gd name="connsiteX5642" fmla="*/ 1951429 w 4381952"/>
                  <a:gd name="connsiteY5642" fmla="*/ 5817145 h 7571038"/>
                  <a:gd name="connsiteX5643" fmla="*/ 1947238 w 4381952"/>
                  <a:gd name="connsiteY5643" fmla="*/ 5821336 h 7571038"/>
                  <a:gd name="connsiteX5644" fmla="*/ 1951429 w 4381952"/>
                  <a:gd name="connsiteY5644" fmla="*/ 5825282 h 7571038"/>
                  <a:gd name="connsiteX5645" fmla="*/ 1955374 w 4381952"/>
                  <a:gd name="connsiteY5645" fmla="*/ 5821336 h 7571038"/>
                  <a:gd name="connsiteX5646" fmla="*/ 1955374 w 4381952"/>
                  <a:gd name="connsiteY5646" fmla="*/ 7126708 h 7571038"/>
                  <a:gd name="connsiteX5647" fmla="*/ 1952169 w 4381952"/>
                  <a:gd name="connsiteY5647" fmla="*/ 7123502 h 7571038"/>
                  <a:gd name="connsiteX5648" fmla="*/ 1948964 w 4381952"/>
                  <a:gd name="connsiteY5648" fmla="*/ 7126708 h 7571038"/>
                  <a:gd name="connsiteX5649" fmla="*/ 1952169 w 4381952"/>
                  <a:gd name="connsiteY5649" fmla="*/ 7129915 h 7571038"/>
                  <a:gd name="connsiteX5650" fmla="*/ 1955374 w 4381952"/>
                  <a:gd name="connsiteY5650" fmla="*/ 7126708 h 7571038"/>
                  <a:gd name="connsiteX5651" fmla="*/ 1956114 w 4381952"/>
                  <a:gd name="connsiteY5651" fmla="*/ 6691997 h 7571038"/>
                  <a:gd name="connsiteX5652" fmla="*/ 1951429 w 4381952"/>
                  <a:gd name="connsiteY5652" fmla="*/ 6687310 h 7571038"/>
                  <a:gd name="connsiteX5653" fmla="*/ 1946743 w 4381952"/>
                  <a:gd name="connsiteY5653" fmla="*/ 6691997 h 7571038"/>
                  <a:gd name="connsiteX5654" fmla="*/ 1951429 w 4381952"/>
                  <a:gd name="connsiteY5654" fmla="*/ 6696682 h 7571038"/>
                  <a:gd name="connsiteX5655" fmla="*/ 1956114 w 4381952"/>
                  <a:gd name="connsiteY5655" fmla="*/ 6691997 h 7571038"/>
                  <a:gd name="connsiteX5656" fmla="*/ 1956360 w 4381952"/>
                  <a:gd name="connsiteY5656" fmla="*/ 6800490 h 7571038"/>
                  <a:gd name="connsiteX5657" fmla="*/ 1951676 w 4381952"/>
                  <a:gd name="connsiteY5657" fmla="*/ 6795803 h 7571038"/>
                  <a:gd name="connsiteX5658" fmla="*/ 1946991 w 4381952"/>
                  <a:gd name="connsiteY5658" fmla="*/ 6800490 h 7571038"/>
                  <a:gd name="connsiteX5659" fmla="*/ 1951676 w 4381952"/>
                  <a:gd name="connsiteY5659" fmla="*/ 6805175 h 7571038"/>
                  <a:gd name="connsiteX5660" fmla="*/ 1956360 w 4381952"/>
                  <a:gd name="connsiteY5660" fmla="*/ 6800490 h 7571038"/>
                  <a:gd name="connsiteX5661" fmla="*/ 1956853 w 4381952"/>
                  <a:gd name="connsiteY5661" fmla="*/ 6909475 h 7571038"/>
                  <a:gd name="connsiteX5662" fmla="*/ 1951922 w 4381952"/>
                  <a:gd name="connsiteY5662" fmla="*/ 6904543 h 7571038"/>
                  <a:gd name="connsiteX5663" fmla="*/ 1946991 w 4381952"/>
                  <a:gd name="connsiteY5663" fmla="*/ 6909475 h 7571038"/>
                  <a:gd name="connsiteX5664" fmla="*/ 1951922 w 4381952"/>
                  <a:gd name="connsiteY5664" fmla="*/ 6914406 h 7571038"/>
                  <a:gd name="connsiteX5665" fmla="*/ 1956853 w 4381952"/>
                  <a:gd name="connsiteY5665" fmla="*/ 6909475 h 7571038"/>
                  <a:gd name="connsiteX5666" fmla="*/ 1957594 w 4381952"/>
                  <a:gd name="connsiteY5666" fmla="*/ 6474764 h 7571038"/>
                  <a:gd name="connsiteX5667" fmla="*/ 1952416 w 4381952"/>
                  <a:gd name="connsiteY5667" fmla="*/ 6469338 h 7571038"/>
                  <a:gd name="connsiteX5668" fmla="*/ 1946991 w 4381952"/>
                  <a:gd name="connsiteY5668" fmla="*/ 6474764 h 7571038"/>
                  <a:gd name="connsiteX5669" fmla="*/ 1952416 w 4381952"/>
                  <a:gd name="connsiteY5669" fmla="*/ 6479942 h 7571038"/>
                  <a:gd name="connsiteX5670" fmla="*/ 1957594 w 4381952"/>
                  <a:gd name="connsiteY5670" fmla="*/ 6474764 h 7571038"/>
                  <a:gd name="connsiteX5671" fmla="*/ 1958086 w 4381952"/>
                  <a:gd name="connsiteY5671" fmla="*/ 6365776 h 7571038"/>
                  <a:gd name="connsiteX5672" fmla="*/ 1952415 w 4381952"/>
                  <a:gd name="connsiteY5672" fmla="*/ 6360104 h 7571038"/>
                  <a:gd name="connsiteX5673" fmla="*/ 1946743 w 4381952"/>
                  <a:gd name="connsiteY5673" fmla="*/ 6365776 h 7571038"/>
                  <a:gd name="connsiteX5674" fmla="*/ 1952415 w 4381952"/>
                  <a:gd name="connsiteY5674" fmla="*/ 6371445 h 7571038"/>
                  <a:gd name="connsiteX5675" fmla="*/ 1958086 w 4381952"/>
                  <a:gd name="connsiteY5675" fmla="*/ 6365776 h 7571038"/>
                  <a:gd name="connsiteX5676" fmla="*/ 1959319 w 4381952"/>
                  <a:gd name="connsiteY5676" fmla="*/ 4282212 h 7571038"/>
                  <a:gd name="connsiteX5677" fmla="*/ 1953401 w 4381952"/>
                  <a:gd name="connsiteY5677" fmla="*/ 4276294 h 7571038"/>
                  <a:gd name="connsiteX5678" fmla="*/ 1947483 w 4381952"/>
                  <a:gd name="connsiteY5678" fmla="*/ 4282212 h 7571038"/>
                  <a:gd name="connsiteX5679" fmla="*/ 1953401 w 4381952"/>
                  <a:gd name="connsiteY5679" fmla="*/ 4288130 h 7571038"/>
                  <a:gd name="connsiteX5680" fmla="*/ 1959319 w 4381952"/>
                  <a:gd name="connsiteY5680" fmla="*/ 4282212 h 7571038"/>
                  <a:gd name="connsiteX5681" fmla="*/ 1959320 w 4381952"/>
                  <a:gd name="connsiteY5681" fmla="*/ 1679700 h 7571038"/>
                  <a:gd name="connsiteX5682" fmla="*/ 1949705 w 4381952"/>
                  <a:gd name="connsiteY5682" fmla="*/ 1670080 h 7571038"/>
                  <a:gd name="connsiteX5683" fmla="*/ 1940088 w 4381952"/>
                  <a:gd name="connsiteY5683" fmla="*/ 1679700 h 7571038"/>
                  <a:gd name="connsiteX5684" fmla="*/ 1949705 w 4381952"/>
                  <a:gd name="connsiteY5684" fmla="*/ 1689071 h 7571038"/>
                  <a:gd name="connsiteX5685" fmla="*/ 1959320 w 4381952"/>
                  <a:gd name="connsiteY5685" fmla="*/ 1679700 h 7571038"/>
                  <a:gd name="connsiteX5686" fmla="*/ 1960308 w 4381952"/>
                  <a:gd name="connsiteY5686" fmla="*/ 5494378 h 7571038"/>
                  <a:gd name="connsiteX5687" fmla="*/ 1952663 w 4381952"/>
                  <a:gd name="connsiteY5687" fmla="*/ 5486487 h 7571038"/>
                  <a:gd name="connsiteX5688" fmla="*/ 1944773 w 4381952"/>
                  <a:gd name="connsiteY5688" fmla="*/ 5494378 h 7571038"/>
                  <a:gd name="connsiteX5689" fmla="*/ 1952663 w 4381952"/>
                  <a:gd name="connsiteY5689" fmla="*/ 5502023 h 7571038"/>
                  <a:gd name="connsiteX5690" fmla="*/ 1960308 w 4381952"/>
                  <a:gd name="connsiteY5690" fmla="*/ 5494378 h 7571038"/>
                  <a:gd name="connsiteX5691" fmla="*/ 1961540 w 4381952"/>
                  <a:gd name="connsiteY5691" fmla="*/ 5385144 h 7571038"/>
                  <a:gd name="connsiteX5692" fmla="*/ 1952417 w 4381952"/>
                  <a:gd name="connsiteY5692" fmla="*/ 5375773 h 7571038"/>
                  <a:gd name="connsiteX5693" fmla="*/ 1943046 w 4381952"/>
                  <a:gd name="connsiteY5693" fmla="*/ 5385144 h 7571038"/>
                  <a:gd name="connsiteX5694" fmla="*/ 1952417 w 4381952"/>
                  <a:gd name="connsiteY5694" fmla="*/ 5394513 h 7571038"/>
                  <a:gd name="connsiteX5695" fmla="*/ 1961540 w 4381952"/>
                  <a:gd name="connsiteY5695" fmla="*/ 5385144 h 7571038"/>
                  <a:gd name="connsiteX5696" fmla="*/ 1962769 w 4381952"/>
                  <a:gd name="connsiteY5696" fmla="*/ 1788927 h 7571038"/>
                  <a:gd name="connsiteX5697" fmla="*/ 1949701 w 4381952"/>
                  <a:gd name="connsiteY5697" fmla="*/ 1775869 h 7571038"/>
                  <a:gd name="connsiteX5698" fmla="*/ 1936633 w 4381952"/>
                  <a:gd name="connsiteY5698" fmla="*/ 1788927 h 7571038"/>
                  <a:gd name="connsiteX5699" fmla="*/ 1949701 w 4381952"/>
                  <a:gd name="connsiteY5699" fmla="*/ 1802262 h 7571038"/>
                  <a:gd name="connsiteX5700" fmla="*/ 1962769 w 4381952"/>
                  <a:gd name="connsiteY5700" fmla="*/ 1788927 h 7571038"/>
                  <a:gd name="connsiteX5701" fmla="*/ 1968687 w 4381952"/>
                  <a:gd name="connsiteY5701" fmla="*/ 4617061 h 7571038"/>
                  <a:gd name="connsiteX5702" fmla="*/ 1953647 w 4381952"/>
                  <a:gd name="connsiteY5702" fmla="*/ 4602020 h 7571038"/>
                  <a:gd name="connsiteX5703" fmla="*/ 1938607 w 4381952"/>
                  <a:gd name="connsiteY5703" fmla="*/ 4617061 h 7571038"/>
                  <a:gd name="connsiteX5704" fmla="*/ 1953647 w 4381952"/>
                  <a:gd name="connsiteY5704" fmla="*/ 4632104 h 7571038"/>
                  <a:gd name="connsiteX5705" fmla="*/ 1968687 w 4381952"/>
                  <a:gd name="connsiteY5705" fmla="*/ 4617061 h 7571038"/>
                  <a:gd name="connsiteX5706" fmla="*/ 1968937 w 4381952"/>
                  <a:gd name="connsiteY5706" fmla="*/ 1570480 h 7571038"/>
                  <a:gd name="connsiteX5707" fmla="*/ 1949457 w 4381952"/>
                  <a:gd name="connsiteY5707" fmla="*/ 1551001 h 7571038"/>
                  <a:gd name="connsiteX5708" fmla="*/ 1929978 w 4381952"/>
                  <a:gd name="connsiteY5708" fmla="*/ 1570480 h 7571038"/>
                  <a:gd name="connsiteX5709" fmla="*/ 1949457 w 4381952"/>
                  <a:gd name="connsiteY5709" fmla="*/ 1589955 h 7571038"/>
                  <a:gd name="connsiteX5710" fmla="*/ 1968937 w 4381952"/>
                  <a:gd name="connsiteY5710" fmla="*/ 1570480 h 7571038"/>
                  <a:gd name="connsiteX5711" fmla="*/ 1970416 w 4381952"/>
                  <a:gd name="connsiteY5711" fmla="*/ 5166432 h 7571038"/>
                  <a:gd name="connsiteX5712" fmla="*/ 1951923 w 4381952"/>
                  <a:gd name="connsiteY5712" fmla="*/ 5147938 h 7571038"/>
                  <a:gd name="connsiteX5713" fmla="*/ 1933429 w 4381952"/>
                  <a:gd name="connsiteY5713" fmla="*/ 5166432 h 7571038"/>
                  <a:gd name="connsiteX5714" fmla="*/ 1951923 w 4381952"/>
                  <a:gd name="connsiteY5714" fmla="*/ 5184926 h 7571038"/>
                  <a:gd name="connsiteX5715" fmla="*/ 1970416 w 4381952"/>
                  <a:gd name="connsiteY5715" fmla="*/ 5166432 h 7571038"/>
                  <a:gd name="connsiteX5716" fmla="*/ 1976086 w 4381952"/>
                  <a:gd name="connsiteY5716" fmla="*/ 372273 h 7571038"/>
                  <a:gd name="connsiteX5717" fmla="*/ 1948223 w 4381952"/>
                  <a:gd name="connsiteY5717" fmla="*/ 344412 h 7571038"/>
                  <a:gd name="connsiteX5718" fmla="*/ 1920361 w 4381952"/>
                  <a:gd name="connsiteY5718" fmla="*/ 372273 h 7571038"/>
                  <a:gd name="connsiteX5719" fmla="*/ 1948223 w 4381952"/>
                  <a:gd name="connsiteY5719" fmla="*/ 400134 h 7571038"/>
                  <a:gd name="connsiteX5720" fmla="*/ 1976086 w 4381952"/>
                  <a:gd name="connsiteY5720" fmla="*/ 372273 h 7571038"/>
                  <a:gd name="connsiteX5721" fmla="*/ 1976579 w 4381952"/>
                  <a:gd name="connsiteY5721" fmla="*/ 263554 h 7571038"/>
                  <a:gd name="connsiteX5722" fmla="*/ 1948469 w 4381952"/>
                  <a:gd name="connsiteY5722" fmla="*/ 235447 h 7571038"/>
                  <a:gd name="connsiteX5723" fmla="*/ 1920361 w 4381952"/>
                  <a:gd name="connsiteY5723" fmla="*/ 263554 h 7571038"/>
                  <a:gd name="connsiteX5724" fmla="*/ 1948469 w 4381952"/>
                  <a:gd name="connsiteY5724" fmla="*/ 291664 h 7571038"/>
                  <a:gd name="connsiteX5725" fmla="*/ 1976579 w 4381952"/>
                  <a:gd name="connsiteY5725" fmla="*/ 263554 h 7571038"/>
                  <a:gd name="connsiteX5726" fmla="*/ 1976826 w 4381952"/>
                  <a:gd name="connsiteY5726" fmla="*/ 1461015 h 7571038"/>
                  <a:gd name="connsiteX5727" fmla="*/ 1949704 w 4381952"/>
                  <a:gd name="connsiteY5727" fmla="*/ 1433891 h 7571038"/>
                  <a:gd name="connsiteX5728" fmla="*/ 1922580 w 4381952"/>
                  <a:gd name="connsiteY5728" fmla="*/ 1461015 h 7571038"/>
                  <a:gd name="connsiteX5729" fmla="*/ 1949704 w 4381952"/>
                  <a:gd name="connsiteY5729" fmla="*/ 1488137 h 7571038"/>
                  <a:gd name="connsiteX5730" fmla="*/ 1976826 w 4381952"/>
                  <a:gd name="connsiteY5730" fmla="*/ 1461015 h 7571038"/>
                  <a:gd name="connsiteX5731" fmla="*/ 1977564 w 4381952"/>
                  <a:gd name="connsiteY5731" fmla="*/ 46371 h 7571038"/>
                  <a:gd name="connsiteX5732" fmla="*/ 1948715 w 4381952"/>
                  <a:gd name="connsiteY5732" fmla="*/ 17523 h 7571038"/>
                  <a:gd name="connsiteX5733" fmla="*/ 1919867 w 4381952"/>
                  <a:gd name="connsiteY5733" fmla="*/ 46371 h 7571038"/>
                  <a:gd name="connsiteX5734" fmla="*/ 1948715 w 4381952"/>
                  <a:gd name="connsiteY5734" fmla="*/ 75220 h 7571038"/>
                  <a:gd name="connsiteX5735" fmla="*/ 1977564 w 4381952"/>
                  <a:gd name="connsiteY5735" fmla="*/ 46371 h 7571038"/>
                  <a:gd name="connsiteX5736" fmla="*/ 1978060 w 4381952"/>
                  <a:gd name="connsiteY5736" fmla="*/ 4168785 h 7571038"/>
                  <a:gd name="connsiteX5737" fmla="*/ 1953154 w 4381952"/>
                  <a:gd name="connsiteY5737" fmla="*/ 4143881 h 7571038"/>
                  <a:gd name="connsiteX5738" fmla="*/ 1928251 w 4381952"/>
                  <a:gd name="connsiteY5738" fmla="*/ 4168785 h 7571038"/>
                  <a:gd name="connsiteX5739" fmla="*/ 1953154 w 4381952"/>
                  <a:gd name="connsiteY5739" fmla="*/ 4193688 h 7571038"/>
                  <a:gd name="connsiteX5740" fmla="*/ 1978060 w 4381952"/>
                  <a:gd name="connsiteY5740" fmla="*/ 4168785 h 7571038"/>
                  <a:gd name="connsiteX5741" fmla="*/ 1978306 w 4381952"/>
                  <a:gd name="connsiteY5741" fmla="*/ 155087 h 7571038"/>
                  <a:gd name="connsiteX5742" fmla="*/ 1948963 w 4381952"/>
                  <a:gd name="connsiteY5742" fmla="*/ 125745 h 7571038"/>
                  <a:gd name="connsiteX5743" fmla="*/ 1919620 w 4381952"/>
                  <a:gd name="connsiteY5743" fmla="*/ 155087 h 7571038"/>
                  <a:gd name="connsiteX5744" fmla="*/ 1948963 w 4381952"/>
                  <a:gd name="connsiteY5744" fmla="*/ 184427 h 7571038"/>
                  <a:gd name="connsiteX5745" fmla="*/ 1978306 w 4381952"/>
                  <a:gd name="connsiteY5745" fmla="*/ 155087 h 7571038"/>
                  <a:gd name="connsiteX5746" fmla="*/ 1979784 w 4381952"/>
                  <a:gd name="connsiteY5746" fmla="*/ 1352287 h 7571038"/>
                  <a:gd name="connsiteX5747" fmla="*/ 1949455 w 4381952"/>
                  <a:gd name="connsiteY5747" fmla="*/ 1321959 h 7571038"/>
                  <a:gd name="connsiteX5748" fmla="*/ 1919126 w 4381952"/>
                  <a:gd name="connsiteY5748" fmla="*/ 1352287 h 7571038"/>
                  <a:gd name="connsiteX5749" fmla="*/ 1949455 w 4381952"/>
                  <a:gd name="connsiteY5749" fmla="*/ 1382617 h 7571038"/>
                  <a:gd name="connsiteX5750" fmla="*/ 1979784 w 4381952"/>
                  <a:gd name="connsiteY5750" fmla="*/ 1352287 h 7571038"/>
                  <a:gd name="connsiteX5751" fmla="*/ 1980771 w 4381952"/>
                  <a:gd name="connsiteY5751" fmla="*/ 1898392 h 7571038"/>
                  <a:gd name="connsiteX5752" fmla="*/ 1949947 w 4381952"/>
                  <a:gd name="connsiteY5752" fmla="*/ 1867578 h 7571038"/>
                  <a:gd name="connsiteX5753" fmla="*/ 1919126 w 4381952"/>
                  <a:gd name="connsiteY5753" fmla="*/ 1898392 h 7571038"/>
                  <a:gd name="connsiteX5754" fmla="*/ 1949947 w 4381952"/>
                  <a:gd name="connsiteY5754" fmla="*/ 1929210 h 7571038"/>
                  <a:gd name="connsiteX5755" fmla="*/ 1980771 w 4381952"/>
                  <a:gd name="connsiteY5755" fmla="*/ 1898392 h 7571038"/>
                  <a:gd name="connsiteX5756" fmla="*/ 1985948 w 4381952"/>
                  <a:gd name="connsiteY5756" fmla="*/ 2899173 h 7571038"/>
                  <a:gd name="connsiteX5757" fmla="*/ 1959813 w 4381952"/>
                  <a:gd name="connsiteY5757" fmla="*/ 2873037 h 7571038"/>
                  <a:gd name="connsiteX5758" fmla="*/ 1933675 w 4381952"/>
                  <a:gd name="connsiteY5758" fmla="*/ 2899173 h 7571038"/>
                  <a:gd name="connsiteX5759" fmla="*/ 1959813 w 4381952"/>
                  <a:gd name="connsiteY5759" fmla="*/ 2925312 h 7571038"/>
                  <a:gd name="connsiteX5760" fmla="*/ 1985948 w 4381952"/>
                  <a:gd name="connsiteY5760" fmla="*/ 2899173 h 7571038"/>
                  <a:gd name="connsiteX5761" fmla="*/ 1986195 w 4381952"/>
                  <a:gd name="connsiteY5761" fmla="*/ 5056951 h 7571038"/>
                  <a:gd name="connsiteX5762" fmla="*/ 1951674 w 4381952"/>
                  <a:gd name="connsiteY5762" fmla="*/ 5022430 h 7571038"/>
                  <a:gd name="connsiteX5763" fmla="*/ 1917154 w 4381952"/>
                  <a:gd name="connsiteY5763" fmla="*/ 5056951 h 7571038"/>
                  <a:gd name="connsiteX5764" fmla="*/ 1951674 w 4381952"/>
                  <a:gd name="connsiteY5764" fmla="*/ 5091472 h 7571038"/>
                  <a:gd name="connsiteX5765" fmla="*/ 1986195 w 4381952"/>
                  <a:gd name="connsiteY5765" fmla="*/ 5056951 h 7571038"/>
                  <a:gd name="connsiteX5766" fmla="*/ 1988664 w 4381952"/>
                  <a:gd name="connsiteY5766" fmla="*/ 4394651 h 7571038"/>
                  <a:gd name="connsiteX5767" fmla="*/ 1953403 w 4381952"/>
                  <a:gd name="connsiteY5767" fmla="*/ 4359389 h 7571038"/>
                  <a:gd name="connsiteX5768" fmla="*/ 1918142 w 4381952"/>
                  <a:gd name="connsiteY5768" fmla="*/ 4394651 h 7571038"/>
                  <a:gd name="connsiteX5769" fmla="*/ 1953403 w 4381952"/>
                  <a:gd name="connsiteY5769" fmla="*/ 4429911 h 7571038"/>
                  <a:gd name="connsiteX5770" fmla="*/ 1988664 w 4381952"/>
                  <a:gd name="connsiteY5770" fmla="*/ 4394651 h 7571038"/>
                  <a:gd name="connsiteX5771" fmla="*/ 1989648 w 4381952"/>
                  <a:gd name="connsiteY5771" fmla="*/ 2008085 h 7571038"/>
                  <a:gd name="connsiteX5772" fmla="*/ 1949702 w 4381952"/>
                  <a:gd name="connsiteY5772" fmla="*/ 1968394 h 7571038"/>
                  <a:gd name="connsiteX5773" fmla="*/ 1910004 w 4381952"/>
                  <a:gd name="connsiteY5773" fmla="*/ 2008085 h 7571038"/>
                  <a:gd name="connsiteX5774" fmla="*/ 1949702 w 4381952"/>
                  <a:gd name="connsiteY5774" fmla="*/ 2048034 h 7571038"/>
                  <a:gd name="connsiteX5775" fmla="*/ 1989648 w 4381952"/>
                  <a:gd name="connsiteY5775" fmla="*/ 2008085 h 7571038"/>
                  <a:gd name="connsiteX5776" fmla="*/ 1989648 w 4381952"/>
                  <a:gd name="connsiteY5776" fmla="*/ 3016293 h 7571038"/>
                  <a:gd name="connsiteX5777" fmla="*/ 1962032 w 4381952"/>
                  <a:gd name="connsiteY5777" fmla="*/ 2988677 h 7571038"/>
                  <a:gd name="connsiteX5778" fmla="*/ 1934415 w 4381952"/>
                  <a:gd name="connsiteY5778" fmla="*/ 3016293 h 7571038"/>
                  <a:gd name="connsiteX5779" fmla="*/ 1962032 w 4381952"/>
                  <a:gd name="connsiteY5779" fmla="*/ 3043910 h 7571038"/>
                  <a:gd name="connsiteX5780" fmla="*/ 1989648 w 4381952"/>
                  <a:gd name="connsiteY5780" fmla="*/ 3016293 h 7571038"/>
                  <a:gd name="connsiteX5781" fmla="*/ 1990142 w 4381952"/>
                  <a:gd name="connsiteY5781" fmla="*/ 3938485 h 7571038"/>
                  <a:gd name="connsiteX5782" fmla="*/ 1961786 w 4381952"/>
                  <a:gd name="connsiteY5782" fmla="*/ 3910127 h 7571038"/>
                  <a:gd name="connsiteX5783" fmla="*/ 1933429 w 4381952"/>
                  <a:gd name="connsiteY5783" fmla="*/ 3938485 h 7571038"/>
                  <a:gd name="connsiteX5784" fmla="*/ 1961786 w 4381952"/>
                  <a:gd name="connsiteY5784" fmla="*/ 3966842 h 7571038"/>
                  <a:gd name="connsiteX5785" fmla="*/ 1990142 w 4381952"/>
                  <a:gd name="connsiteY5785" fmla="*/ 3938485 h 7571038"/>
                  <a:gd name="connsiteX5786" fmla="*/ 1990388 w 4381952"/>
                  <a:gd name="connsiteY5786" fmla="*/ 4506104 h 7571038"/>
                  <a:gd name="connsiteX5787" fmla="*/ 1953403 w 4381952"/>
                  <a:gd name="connsiteY5787" fmla="*/ 4469116 h 7571038"/>
                  <a:gd name="connsiteX5788" fmla="*/ 1916416 w 4381952"/>
                  <a:gd name="connsiteY5788" fmla="*/ 4506104 h 7571038"/>
                  <a:gd name="connsiteX5789" fmla="*/ 1953403 w 4381952"/>
                  <a:gd name="connsiteY5789" fmla="*/ 4543088 h 7571038"/>
                  <a:gd name="connsiteX5790" fmla="*/ 1990388 w 4381952"/>
                  <a:gd name="connsiteY5790" fmla="*/ 4506104 h 7571038"/>
                  <a:gd name="connsiteX5791" fmla="*/ 1993347 w 4381952"/>
                  <a:gd name="connsiteY5791" fmla="*/ 4837502 h 7571038"/>
                  <a:gd name="connsiteX5792" fmla="*/ 1953895 w 4381952"/>
                  <a:gd name="connsiteY5792" fmla="*/ 4798049 h 7571038"/>
                  <a:gd name="connsiteX5793" fmla="*/ 1914443 w 4381952"/>
                  <a:gd name="connsiteY5793" fmla="*/ 4837502 h 7571038"/>
                  <a:gd name="connsiteX5794" fmla="*/ 1953895 w 4381952"/>
                  <a:gd name="connsiteY5794" fmla="*/ 4876953 h 7571038"/>
                  <a:gd name="connsiteX5795" fmla="*/ 1993347 w 4381952"/>
                  <a:gd name="connsiteY5795" fmla="*/ 4837502 h 7571038"/>
                  <a:gd name="connsiteX5796" fmla="*/ 1994087 w 4381952"/>
                  <a:gd name="connsiteY5796" fmla="*/ 4727527 h 7571038"/>
                  <a:gd name="connsiteX5797" fmla="*/ 1953895 w 4381952"/>
                  <a:gd name="connsiteY5797" fmla="*/ 4687334 h 7571038"/>
                  <a:gd name="connsiteX5798" fmla="*/ 1913702 w 4381952"/>
                  <a:gd name="connsiteY5798" fmla="*/ 4727527 h 7571038"/>
                  <a:gd name="connsiteX5799" fmla="*/ 1953895 w 4381952"/>
                  <a:gd name="connsiteY5799" fmla="*/ 4767716 h 7571038"/>
                  <a:gd name="connsiteX5800" fmla="*/ 1994087 w 4381952"/>
                  <a:gd name="connsiteY5800" fmla="*/ 4727527 h 7571038"/>
                  <a:gd name="connsiteX5801" fmla="*/ 1997785 w 4381952"/>
                  <a:gd name="connsiteY5801" fmla="*/ 4055854 h 7571038"/>
                  <a:gd name="connsiteX5802" fmla="*/ 1960059 w 4381952"/>
                  <a:gd name="connsiteY5802" fmla="*/ 4018128 h 7571038"/>
                  <a:gd name="connsiteX5803" fmla="*/ 1922333 w 4381952"/>
                  <a:gd name="connsiteY5803" fmla="*/ 4055854 h 7571038"/>
                  <a:gd name="connsiteX5804" fmla="*/ 1960059 w 4381952"/>
                  <a:gd name="connsiteY5804" fmla="*/ 4093580 h 7571038"/>
                  <a:gd name="connsiteX5805" fmla="*/ 1997785 w 4381952"/>
                  <a:gd name="connsiteY5805" fmla="*/ 4055854 h 7571038"/>
                  <a:gd name="connsiteX5806" fmla="*/ 2020469 w 4381952"/>
                  <a:gd name="connsiteY5806" fmla="*/ 2769973 h 7571038"/>
                  <a:gd name="connsiteX5807" fmla="*/ 2009128 w 4381952"/>
                  <a:gd name="connsiteY5807" fmla="*/ 2758629 h 7571038"/>
                  <a:gd name="connsiteX5808" fmla="*/ 1997785 w 4381952"/>
                  <a:gd name="connsiteY5808" fmla="*/ 2769973 h 7571038"/>
                  <a:gd name="connsiteX5809" fmla="*/ 2009128 w 4381952"/>
                  <a:gd name="connsiteY5809" fmla="*/ 2781314 h 7571038"/>
                  <a:gd name="connsiteX5810" fmla="*/ 2020469 w 4381952"/>
                  <a:gd name="connsiteY5810" fmla="*/ 2769973 h 7571038"/>
                  <a:gd name="connsiteX5811" fmla="*/ 2028608 w 4381952"/>
                  <a:gd name="connsiteY5811" fmla="*/ 2658526 h 7571038"/>
                  <a:gd name="connsiteX5812" fmla="*/ 2010114 w 4381952"/>
                  <a:gd name="connsiteY5812" fmla="*/ 2640032 h 7571038"/>
                  <a:gd name="connsiteX5813" fmla="*/ 1991620 w 4381952"/>
                  <a:gd name="connsiteY5813" fmla="*/ 2658526 h 7571038"/>
                  <a:gd name="connsiteX5814" fmla="*/ 2010114 w 4381952"/>
                  <a:gd name="connsiteY5814" fmla="*/ 2677020 h 7571038"/>
                  <a:gd name="connsiteX5815" fmla="*/ 2028608 w 4381952"/>
                  <a:gd name="connsiteY5815" fmla="*/ 2658526 h 7571038"/>
                  <a:gd name="connsiteX5816" fmla="*/ 2034032 w 4381952"/>
                  <a:gd name="connsiteY5816" fmla="*/ 2218659 h 7571038"/>
                  <a:gd name="connsiteX5817" fmla="*/ 2009869 w 4381952"/>
                  <a:gd name="connsiteY5817" fmla="*/ 2194493 h 7571038"/>
                  <a:gd name="connsiteX5818" fmla="*/ 1985703 w 4381952"/>
                  <a:gd name="connsiteY5818" fmla="*/ 2218659 h 7571038"/>
                  <a:gd name="connsiteX5819" fmla="*/ 2009869 w 4381952"/>
                  <a:gd name="connsiteY5819" fmla="*/ 2242824 h 7571038"/>
                  <a:gd name="connsiteX5820" fmla="*/ 2034032 w 4381952"/>
                  <a:gd name="connsiteY5820" fmla="*/ 2218659 h 7571038"/>
                  <a:gd name="connsiteX5821" fmla="*/ 2035018 w 4381952"/>
                  <a:gd name="connsiteY5821" fmla="*/ 1020445 h 7571038"/>
                  <a:gd name="connsiteX5822" fmla="*/ 2006416 w 4381952"/>
                  <a:gd name="connsiteY5822" fmla="*/ 991838 h 7571038"/>
                  <a:gd name="connsiteX5823" fmla="*/ 1977813 w 4381952"/>
                  <a:gd name="connsiteY5823" fmla="*/ 1020445 h 7571038"/>
                  <a:gd name="connsiteX5824" fmla="*/ 2006416 w 4381952"/>
                  <a:gd name="connsiteY5824" fmla="*/ 1049041 h 7571038"/>
                  <a:gd name="connsiteX5825" fmla="*/ 2035018 w 4381952"/>
                  <a:gd name="connsiteY5825" fmla="*/ 1020445 h 7571038"/>
                  <a:gd name="connsiteX5826" fmla="*/ 2036991 w 4381952"/>
                  <a:gd name="connsiteY5826" fmla="*/ 802996 h 7571038"/>
                  <a:gd name="connsiteX5827" fmla="*/ 2007650 w 4381952"/>
                  <a:gd name="connsiteY5827" fmla="*/ 773653 h 7571038"/>
                  <a:gd name="connsiteX5828" fmla="*/ 1978307 w 4381952"/>
                  <a:gd name="connsiteY5828" fmla="*/ 802996 h 7571038"/>
                  <a:gd name="connsiteX5829" fmla="*/ 2007650 w 4381952"/>
                  <a:gd name="connsiteY5829" fmla="*/ 832340 h 7571038"/>
                  <a:gd name="connsiteX5830" fmla="*/ 2036991 w 4381952"/>
                  <a:gd name="connsiteY5830" fmla="*/ 802996 h 7571038"/>
                  <a:gd name="connsiteX5831" fmla="*/ 2037976 w 4381952"/>
                  <a:gd name="connsiteY5831" fmla="*/ 911720 h 7571038"/>
                  <a:gd name="connsiteX5832" fmla="*/ 2006661 w 4381952"/>
                  <a:gd name="connsiteY5832" fmla="*/ 880397 h 7571038"/>
                  <a:gd name="connsiteX5833" fmla="*/ 1975345 w 4381952"/>
                  <a:gd name="connsiteY5833" fmla="*/ 911720 h 7571038"/>
                  <a:gd name="connsiteX5834" fmla="*/ 2006661 w 4381952"/>
                  <a:gd name="connsiteY5834" fmla="*/ 943032 h 7571038"/>
                  <a:gd name="connsiteX5835" fmla="*/ 2037976 w 4381952"/>
                  <a:gd name="connsiteY5835" fmla="*/ 911720 h 7571038"/>
                  <a:gd name="connsiteX5836" fmla="*/ 2039949 w 4381952"/>
                  <a:gd name="connsiteY5836" fmla="*/ 477044 h 7571038"/>
                  <a:gd name="connsiteX5837" fmla="*/ 2007896 w 4381952"/>
                  <a:gd name="connsiteY5837" fmla="*/ 444992 h 7571038"/>
                  <a:gd name="connsiteX5838" fmla="*/ 1975839 w 4381952"/>
                  <a:gd name="connsiteY5838" fmla="*/ 477044 h 7571038"/>
                  <a:gd name="connsiteX5839" fmla="*/ 2007896 w 4381952"/>
                  <a:gd name="connsiteY5839" fmla="*/ 509099 h 7571038"/>
                  <a:gd name="connsiteX5840" fmla="*/ 2039949 w 4381952"/>
                  <a:gd name="connsiteY5840" fmla="*/ 477044 h 7571038"/>
                  <a:gd name="connsiteX5841" fmla="*/ 2039950 w 4381952"/>
                  <a:gd name="connsiteY5841" fmla="*/ 585766 h 7571038"/>
                  <a:gd name="connsiteX5842" fmla="*/ 2007647 w 4381952"/>
                  <a:gd name="connsiteY5842" fmla="*/ 553465 h 7571038"/>
                  <a:gd name="connsiteX5843" fmla="*/ 1975345 w 4381952"/>
                  <a:gd name="connsiteY5843" fmla="*/ 585766 h 7571038"/>
                  <a:gd name="connsiteX5844" fmla="*/ 2007647 w 4381952"/>
                  <a:gd name="connsiteY5844" fmla="*/ 618064 h 7571038"/>
                  <a:gd name="connsiteX5845" fmla="*/ 2039950 w 4381952"/>
                  <a:gd name="connsiteY5845" fmla="*/ 585766 h 7571038"/>
                  <a:gd name="connsiteX5846" fmla="*/ 2040441 w 4381952"/>
                  <a:gd name="connsiteY5846" fmla="*/ 1237893 h 7571038"/>
                  <a:gd name="connsiteX5847" fmla="*/ 2005675 w 4381952"/>
                  <a:gd name="connsiteY5847" fmla="*/ 1203124 h 7571038"/>
                  <a:gd name="connsiteX5848" fmla="*/ 1970908 w 4381952"/>
                  <a:gd name="connsiteY5848" fmla="*/ 1237893 h 7571038"/>
                  <a:gd name="connsiteX5849" fmla="*/ 2005675 w 4381952"/>
                  <a:gd name="connsiteY5849" fmla="*/ 1272651 h 7571038"/>
                  <a:gd name="connsiteX5850" fmla="*/ 2040441 w 4381952"/>
                  <a:gd name="connsiteY5850" fmla="*/ 1237893 h 7571038"/>
                  <a:gd name="connsiteX5851" fmla="*/ 2040442 w 4381952"/>
                  <a:gd name="connsiteY5851" fmla="*/ 1129166 h 7571038"/>
                  <a:gd name="connsiteX5852" fmla="*/ 2006170 w 4381952"/>
                  <a:gd name="connsiteY5852" fmla="*/ 1094892 h 7571038"/>
                  <a:gd name="connsiteX5853" fmla="*/ 1971895 w 4381952"/>
                  <a:gd name="connsiteY5853" fmla="*/ 1129166 h 7571038"/>
                  <a:gd name="connsiteX5854" fmla="*/ 2006170 w 4381952"/>
                  <a:gd name="connsiteY5854" fmla="*/ 1163441 h 7571038"/>
                  <a:gd name="connsiteX5855" fmla="*/ 2040442 w 4381952"/>
                  <a:gd name="connsiteY5855" fmla="*/ 1129166 h 7571038"/>
                  <a:gd name="connsiteX5856" fmla="*/ 2040936 w 4381952"/>
                  <a:gd name="connsiteY5856" fmla="*/ 2109185 h 7571038"/>
                  <a:gd name="connsiteX5857" fmla="*/ 2009869 w 4381952"/>
                  <a:gd name="connsiteY5857" fmla="*/ 2078113 h 7571038"/>
                  <a:gd name="connsiteX5858" fmla="*/ 1978799 w 4381952"/>
                  <a:gd name="connsiteY5858" fmla="*/ 2109185 h 7571038"/>
                  <a:gd name="connsiteX5859" fmla="*/ 2009869 w 4381952"/>
                  <a:gd name="connsiteY5859" fmla="*/ 2140253 h 7571038"/>
                  <a:gd name="connsiteX5860" fmla="*/ 2040936 w 4381952"/>
                  <a:gd name="connsiteY5860" fmla="*/ 2109185 h 7571038"/>
                  <a:gd name="connsiteX5861" fmla="*/ 2041181 w 4381952"/>
                  <a:gd name="connsiteY5861" fmla="*/ 694280 h 7571038"/>
                  <a:gd name="connsiteX5862" fmla="*/ 2007896 w 4381952"/>
                  <a:gd name="connsiteY5862" fmla="*/ 660987 h 7571038"/>
                  <a:gd name="connsiteX5863" fmla="*/ 1974607 w 4381952"/>
                  <a:gd name="connsiteY5863" fmla="*/ 694280 h 7571038"/>
                  <a:gd name="connsiteX5864" fmla="*/ 2007896 w 4381952"/>
                  <a:gd name="connsiteY5864" fmla="*/ 727556 h 7571038"/>
                  <a:gd name="connsiteX5865" fmla="*/ 2041181 w 4381952"/>
                  <a:gd name="connsiteY5865" fmla="*/ 694280 h 7571038"/>
                  <a:gd name="connsiteX5866" fmla="*/ 2041674 w 4381952"/>
                  <a:gd name="connsiteY5866" fmla="*/ 2547817 h 7571038"/>
                  <a:gd name="connsiteX5867" fmla="*/ 2010361 w 4381952"/>
                  <a:gd name="connsiteY5867" fmla="*/ 2516500 h 7571038"/>
                  <a:gd name="connsiteX5868" fmla="*/ 1979045 w 4381952"/>
                  <a:gd name="connsiteY5868" fmla="*/ 2547817 h 7571038"/>
                  <a:gd name="connsiteX5869" fmla="*/ 2010361 w 4381952"/>
                  <a:gd name="connsiteY5869" fmla="*/ 2579130 h 7571038"/>
                  <a:gd name="connsiteX5870" fmla="*/ 2041674 w 4381952"/>
                  <a:gd name="connsiteY5870" fmla="*/ 2547817 h 7571038"/>
                  <a:gd name="connsiteX5871" fmla="*/ 2043154 w 4381952"/>
                  <a:gd name="connsiteY5871" fmla="*/ 3110239 h 7571038"/>
                  <a:gd name="connsiteX5872" fmla="*/ 2016772 w 4381952"/>
                  <a:gd name="connsiteY5872" fmla="*/ 3083855 h 7571038"/>
                  <a:gd name="connsiteX5873" fmla="*/ 1990388 w 4381952"/>
                  <a:gd name="connsiteY5873" fmla="*/ 3110239 h 7571038"/>
                  <a:gd name="connsiteX5874" fmla="*/ 2016772 w 4381952"/>
                  <a:gd name="connsiteY5874" fmla="*/ 3136621 h 7571038"/>
                  <a:gd name="connsiteX5875" fmla="*/ 2043154 w 4381952"/>
                  <a:gd name="connsiteY5875" fmla="*/ 3110239 h 7571038"/>
                  <a:gd name="connsiteX5876" fmla="*/ 2050553 w 4381952"/>
                  <a:gd name="connsiteY5876" fmla="*/ 2328126 h 7571038"/>
                  <a:gd name="connsiteX5877" fmla="*/ 2010114 w 4381952"/>
                  <a:gd name="connsiteY5877" fmla="*/ 2287692 h 7571038"/>
                  <a:gd name="connsiteX5878" fmla="*/ 1969676 w 4381952"/>
                  <a:gd name="connsiteY5878" fmla="*/ 2328126 h 7571038"/>
                  <a:gd name="connsiteX5879" fmla="*/ 2010114 w 4381952"/>
                  <a:gd name="connsiteY5879" fmla="*/ 2368569 h 7571038"/>
                  <a:gd name="connsiteX5880" fmla="*/ 2050553 w 4381952"/>
                  <a:gd name="connsiteY5880" fmla="*/ 2328126 h 7571038"/>
                  <a:gd name="connsiteX5881" fmla="*/ 2056962 w 4381952"/>
                  <a:gd name="connsiteY5881" fmla="*/ 2437847 h 7571038"/>
                  <a:gd name="connsiteX5882" fmla="*/ 2010111 w 4381952"/>
                  <a:gd name="connsiteY5882" fmla="*/ 2390999 h 7571038"/>
                  <a:gd name="connsiteX5883" fmla="*/ 1963264 w 4381952"/>
                  <a:gd name="connsiteY5883" fmla="*/ 2437847 h 7571038"/>
                  <a:gd name="connsiteX5884" fmla="*/ 2010111 w 4381952"/>
                  <a:gd name="connsiteY5884" fmla="*/ 2484697 h 7571038"/>
                  <a:gd name="connsiteX5885" fmla="*/ 2056962 w 4381952"/>
                  <a:gd name="connsiteY5885" fmla="*/ 2437847 h 7571038"/>
                  <a:gd name="connsiteX5886" fmla="*/ 2068306 w 4381952"/>
                  <a:gd name="connsiteY5886" fmla="*/ 4960789 h 7571038"/>
                  <a:gd name="connsiteX5887" fmla="*/ 2067319 w 4381952"/>
                  <a:gd name="connsiteY5887" fmla="*/ 4959802 h 7571038"/>
                  <a:gd name="connsiteX5888" fmla="*/ 2066334 w 4381952"/>
                  <a:gd name="connsiteY5888" fmla="*/ 4960789 h 7571038"/>
                  <a:gd name="connsiteX5889" fmla="*/ 2067319 w 4381952"/>
                  <a:gd name="connsiteY5889" fmla="*/ 4961774 h 7571038"/>
                  <a:gd name="connsiteX5890" fmla="*/ 2068306 w 4381952"/>
                  <a:gd name="connsiteY5890" fmla="*/ 4960789 h 7571038"/>
                  <a:gd name="connsiteX5891" fmla="*/ 2070031 w 4381952"/>
                  <a:gd name="connsiteY5891" fmla="*/ 5286760 h 7571038"/>
                  <a:gd name="connsiteX5892" fmla="*/ 2067812 w 4381952"/>
                  <a:gd name="connsiteY5892" fmla="*/ 5284541 h 7571038"/>
                  <a:gd name="connsiteX5893" fmla="*/ 2065594 w 4381952"/>
                  <a:gd name="connsiteY5893" fmla="*/ 5286760 h 7571038"/>
                  <a:gd name="connsiteX5894" fmla="*/ 2067812 w 4381952"/>
                  <a:gd name="connsiteY5894" fmla="*/ 5288978 h 7571038"/>
                  <a:gd name="connsiteX5895" fmla="*/ 2070031 w 4381952"/>
                  <a:gd name="connsiteY5895" fmla="*/ 5286760 h 7571038"/>
                  <a:gd name="connsiteX5896" fmla="*/ 2070279 w 4381952"/>
                  <a:gd name="connsiteY5896" fmla="*/ 5721473 h 7571038"/>
                  <a:gd name="connsiteX5897" fmla="*/ 2067320 w 4381952"/>
                  <a:gd name="connsiteY5897" fmla="*/ 5718514 h 7571038"/>
                  <a:gd name="connsiteX5898" fmla="*/ 2064362 w 4381952"/>
                  <a:gd name="connsiteY5898" fmla="*/ 5721473 h 7571038"/>
                  <a:gd name="connsiteX5899" fmla="*/ 2067320 w 4381952"/>
                  <a:gd name="connsiteY5899" fmla="*/ 5724432 h 7571038"/>
                  <a:gd name="connsiteX5900" fmla="*/ 2070279 w 4381952"/>
                  <a:gd name="connsiteY5900" fmla="*/ 5721473 h 7571038"/>
                  <a:gd name="connsiteX5901" fmla="*/ 2070770 w 4381952"/>
                  <a:gd name="connsiteY5901" fmla="*/ 5938461 h 7571038"/>
                  <a:gd name="connsiteX5902" fmla="*/ 2067812 w 4381952"/>
                  <a:gd name="connsiteY5902" fmla="*/ 5935501 h 7571038"/>
                  <a:gd name="connsiteX5903" fmla="*/ 2064853 w 4381952"/>
                  <a:gd name="connsiteY5903" fmla="*/ 5938461 h 7571038"/>
                  <a:gd name="connsiteX5904" fmla="*/ 2067812 w 4381952"/>
                  <a:gd name="connsiteY5904" fmla="*/ 5941420 h 7571038"/>
                  <a:gd name="connsiteX5905" fmla="*/ 2070770 w 4381952"/>
                  <a:gd name="connsiteY5905" fmla="*/ 5938461 h 7571038"/>
                  <a:gd name="connsiteX5906" fmla="*/ 2070770 w 4381952"/>
                  <a:gd name="connsiteY5906" fmla="*/ 6046953 h 7571038"/>
                  <a:gd name="connsiteX5907" fmla="*/ 2067812 w 4381952"/>
                  <a:gd name="connsiteY5907" fmla="*/ 6043994 h 7571038"/>
                  <a:gd name="connsiteX5908" fmla="*/ 2064607 w 4381952"/>
                  <a:gd name="connsiteY5908" fmla="*/ 6046953 h 7571038"/>
                  <a:gd name="connsiteX5909" fmla="*/ 2067812 w 4381952"/>
                  <a:gd name="connsiteY5909" fmla="*/ 6050158 h 7571038"/>
                  <a:gd name="connsiteX5910" fmla="*/ 2070770 w 4381952"/>
                  <a:gd name="connsiteY5910" fmla="*/ 6046953 h 7571038"/>
                  <a:gd name="connsiteX5911" fmla="*/ 2070774 w 4381952"/>
                  <a:gd name="connsiteY5911" fmla="*/ 6589666 h 7571038"/>
                  <a:gd name="connsiteX5912" fmla="*/ 2067566 w 4381952"/>
                  <a:gd name="connsiteY5912" fmla="*/ 6586461 h 7571038"/>
                  <a:gd name="connsiteX5913" fmla="*/ 2064362 w 4381952"/>
                  <a:gd name="connsiteY5913" fmla="*/ 6589666 h 7571038"/>
                  <a:gd name="connsiteX5914" fmla="*/ 2067566 w 4381952"/>
                  <a:gd name="connsiteY5914" fmla="*/ 6592875 h 7571038"/>
                  <a:gd name="connsiteX5915" fmla="*/ 2070774 w 4381952"/>
                  <a:gd name="connsiteY5915" fmla="*/ 6589666 h 7571038"/>
                  <a:gd name="connsiteX5916" fmla="*/ 2070774 w 4381952"/>
                  <a:gd name="connsiteY5916" fmla="*/ 7349120 h 7571038"/>
                  <a:gd name="connsiteX5917" fmla="*/ 2067566 w 4381952"/>
                  <a:gd name="connsiteY5917" fmla="*/ 7345915 h 7571038"/>
                  <a:gd name="connsiteX5918" fmla="*/ 2064362 w 4381952"/>
                  <a:gd name="connsiteY5918" fmla="*/ 7349120 h 7571038"/>
                  <a:gd name="connsiteX5919" fmla="*/ 2067566 w 4381952"/>
                  <a:gd name="connsiteY5919" fmla="*/ 7352327 h 7571038"/>
                  <a:gd name="connsiteX5920" fmla="*/ 2070774 w 4381952"/>
                  <a:gd name="connsiteY5920" fmla="*/ 7349120 h 7571038"/>
                  <a:gd name="connsiteX5921" fmla="*/ 2071017 w 4381952"/>
                  <a:gd name="connsiteY5921" fmla="*/ 6155445 h 7571038"/>
                  <a:gd name="connsiteX5922" fmla="*/ 2067812 w 4381952"/>
                  <a:gd name="connsiteY5922" fmla="*/ 6152240 h 7571038"/>
                  <a:gd name="connsiteX5923" fmla="*/ 2064607 w 4381952"/>
                  <a:gd name="connsiteY5923" fmla="*/ 6155445 h 7571038"/>
                  <a:gd name="connsiteX5924" fmla="*/ 2067812 w 4381952"/>
                  <a:gd name="connsiteY5924" fmla="*/ 6158653 h 7571038"/>
                  <a:gd name="connsiteX5925" fmla="*/ 2071017 w 4381952"/>
                  <a:gd name="connsiteY5925" fmla="*/ 6155445 h 7571038"/>
                  <a:gd name="connsiteX5926" fmla="*/ 2071017 w 4381952"/>
                  <a:gd name="connsiteY5926" fmla="*/ 6264187 h 7571038"/>
                  <a:gd name="connsiteX5927" fmla="*/ 2068058 w 4381952"/>
                  <a:gd name="connsiteY5927" fmla="*/ 6261227 h 7571038"/>
                  <a:gd name="connsiteX5928" fmla="*/ 2065099 w 4381952"/>
                  <a:gd name="connsiteY5928" fmla="*/ 6264187 h 7571038"/>
                  <a:gd name="connsiteX5929" fmla="*/ 2068058 w 4381952"/>
                  <a:gd name="connsiteY5929" fmla="*/ 6267146 h 7571038"/>
                  <a:gd name="connsiteX5930" fmla="*/ 2071017 w 4381952"/>
                  <a:gd name="connsiteY5930" fmla="*/ 6264187 h 7571038"/>
                  <a:gd name="connsiteX5931" fmla="*/ 2071017 w 4381952"/>
                  <a:gd name="connsiteY5931" fmla="*/ 7457613 h 7571038"/>
                  <a:gd name="connsiteX5932" fmla="*/ 2067812 w 4381952"/>
                  <a:gd name="connsiteY5932" fmla="*/ 7454408 h 7571038"/>
                  <a:gd name="connsiteX5933" fmla="*/ 2064607 w 4381952"/>
                  <a:gd name="connsiteY5933" fmla="*/ 7457613 h 7571038"/>
                  <a:gd name="connsiteX5934" fmla="*/ 2067812 w 4381952"/>
                  <a:gd name="connsiteY5934" fmla="*/ 7460821 h 7571038"/>
                  <a:gd name="connsiteX5935" fmla="*/ 2071017 w 4381952"/>
                  <a:gd name="connsiteY5935" fmla="*/ 7457613 h 7571038"/>
                  <a:gd name="connsiteX5936" fmla="*/ 2071017 w 4381952"/>
                  <a:gd name="connsiteY5936" fmla="*/ 7566106 h 7571038"/>
                  <a:gd name="connsiteX5937" fmla="*/ 2067812 w 4381952"/>
                  <a:gd name="connsiteY5937" fmla="*/ 7562900 h 7571038"/>
                  <a:gd name="connsiteX5938" fmla="*/ 2064607 w 4381952"/>
                  <a:gd name="connsiteY5938" fmla="*/ 7566106 h 7571038"/>
                  <a:gd name="connsiteX5939" fmla="*/ 2067812 w 4381952"/>
                  <a:gd name="connsiteY5939" fmla="*/ 7569310 h 7571038"/>
                  <a:gd name="connsiteX5940" fmla="*/ 2071017 w 4381952"/>
                  <a:gd name="connsiteY5940" fmla="*/ 7566106 h 7571038"/>
                  <a:gd name="connsiteX5941" fmla="*/ 2071263 w 4381952"/>
                  <a:gd name="connsiteY5941" fmla="*/ 7023640 h 7571038"/>
                  <a:gd name="connsiteX5942" fmla="*/ 2068057 w 4381952"/>
                  <a:gd name="connsiteY5942" fmla="*/ 7020435 h 7571038"/>
                  <a:gd name="connsiteX5943" fmla="*/ 2064853 w 4381952"/>
                  <a:gd name="connsiteY5943" fmla="*/ 7023640 h 7571038"/>
                  <a:gd name="connsiteX5944" fmla="*/ 2068057 w 4381952"/>
                  <a:gd name="connsiteY5944" fmla="*/ 7026844 h 7571038"/>
                  <a:gd name="connsiteX5945" fmla="*/ 2071263 w 4381952"/>
                  <a:gd name="connsiteY5945" fmla="*/ 7023640 h 7571038"/>
                  <a:gd name="connsiteX5946" fmla="*/ 2071263 w 4381952"/>
                  <a:gd name="connsiteY5946" fmla="*/ 7132133 h 7571038"/>
                  <a:gd name="connsiteX5947" fmla="*/ 2068057 w 4381952"/>
                  <a:gd name="connsiteY5947" fmla="*/ 7128927 h 7571038"/>
                  <a:gd name="connsiteX5948" fmla="*/ 2064853 w 4381952"/>
                  <a:gd name="connsiteY5948" fmla="*/ 7132133 h 7571038"/>
                  <a:gd name="connsiteX5949" fmla="*/ 2068057 w 4381952"/>
                  <a:gd name="connsiteY5949" fmla="*/ 7135341 h 7571038"/>
                  <a:gd name="connsiteX5950" fmla="*/ 2071263 w 4381952"/>
                  <a:gd name="connsiteY5950" fmla="*/ 7132133 h 7571038"/>
                  <a:gd name="connsiteX5951" fmla="*/ 2071263 w 4381952"/>
                  <a:gd name="connsiteY5951" fmla="*/ 7240626 h 7571038"/>
                  <a:gd name="connsiteX5952" fmla="*/ 2068057 w 4381952"/>
                  <a:gd name="connsiteY5952" fmla="*/ 7237421 h 7571038"/>
                  <a:gd name="connsiteX5953" fmla="*/ 2064853 w 4381952"/>
                  <a:gd name="connsiteY5953" fmla="*/ 7240626 h 7571038"/>
                  <a:gd name="connsiteX5954" fmla="*/ 2068057 w 4381952"/>
                  <a:gd name="connsiteY5954" fmla="*/ 7243834 h 7571038"/>
                  <a:gd name="connsiteX5955" fmla="*/ 2071263 w 4381952"/>
                  <a:gd name="connsiteY5955" fmla="*/ 7240626 h 7571038"/>
                  <a:gd name="connsiteX5956" fmla="*/ 2071265 w 4381952"/>
                  <a:gd name="connsiteY5956" fmla="*/ 1668357 h 7571038"/>
                  <a:gd name="connsiteX5957" fmla="*/ 2065347 w 4381952"/>
                  <a:gd name="connsiteY5957" fmla="*/ 1662439 h 7571038"/>
                  <a:gd name="connsiteX5958" fmla="*/ 2059429 w 4381952"/>
                  <a:gd name="connsiteY5958" fmla="*/ 1668357 h 7571038"/>
                  <a:gd name="connsiteX5959" fmla="*/ 2065347 w 4381952"/>
                  <a:gd name="connsiteY5959" fmla="*/ 1674272 h 7571038"/>
                  <a:gd name="connsiteX5960" fmla="*/ 2071265 w 4381952"/>
                  <a:gd name="connsiteY5960" fmla="*/ 1668357 h 7571038"/>
                  <a:gd name="connsiteX5961" fmla="*/ 2071265 w 4381952"/>
                  <a:gd name="connsiteY5961" fmla="*/ 5829967 h 7571038"/>
                  <a:gd name="connsiteX5962" fmla="*/ 2067566 w 4381952"/>
                  <a:gd name="connsiteY5962" fmla="*/ 5826267 h 7571038"/>
                  <a:gd name="connsiteX5963" fmla="*/ 2063867 w 4381952"/>
                  <a:gd name="connsiteY5963" fmla="*/ 5829967 h 7571038"/>
                  <a:gd name="connsiteX5964" fmla="*/ 2067566 w 4381952"/>
                  <a:gd name="connsiteY5964" fmla="*/ 5833666 h 7571038"/>
                  <a:gd name="connsiteX5965" fmla="*/ 2071265 w 4381952"/>
                  <a:gd name="connsiteY5965" fmla="*/ 5829967 h 7571038"/>
                  <a:gd name="connsiteX5966" fmla="*/ 2071757 w 4381952"/>
                  <a:gd name="connsiteY5966" fmla="*/ 6698160 h 7571038"/>
                  <a:gd name="connsiteX5967" fmla="*/ 2067812 w 4381952"/>
                  <a:gd name="connsiteY5967" fmla="*/ 6694215 h 7571038"/>
                  <a:gd name="connsiteX5968" fmla="*/ 2063867 w 4381952"/>
                  <a:gd name="connsiteY5968" fmla="*/ 6698160 h 7571038"/>
                  <a:gd name="connsiteX5969" fmla="*/ 2067812 w 4381952"/>
                  <a:gd name="connsiteY5969" fmla="*/ 6702104 h 7571038"/>
                  <a:gd name="connsiteX5970" fmla="*/ 2071757 w 4381952"/>
                  <a:gd name="connsiteY5970" fmla="*/ 6698160 h 7571038"/>
                  <a:gd name="connsiteX5971" fmla="*/ 2071757 w 4381952"/>
                  <a:gd name="connsiteY5971" fmla="*/ 6806653 h 7571038"/>
                  <a:gd name="connsiteX5972" fmla="*/ 2067812 w 4381952"/>
                  <a:gd name="connsiteY5972" fmla="*/ 6802708 h 7571038"/>
                  <a:gd name="connsiteX5973" fmla="*/ 2063867 w 4381952"/>
                  <a:gd name="connsiteY5973" fmla="*/ 6806653 h 7571038"/>
                  <a:gd name="connsiteX5974" fmla="*/ 2067812 w 4381952"/>
                  <a:gd name="connsiteY5974" fmla="*/ 6810597 h 7571038"/>
                  <a:gd name="connsiteX5975" fmla="*/ 2071757 w 4381952"/>
                  <a:gd name="connsiteY5975" fmla="*/ 6806653 h 7571038"/>
                  <a:gd name="connsiteX5976" fmla="*/ 2072003 w 4381952"/>
                  <a:gd name="connsiteY5976" fmla="*/ 6915146 h 7571038"/>
                  <a:gd name="connsiteX5977" fmla="*/ 2067812 w 4381952"/>
                  <a:gd name="connsiteY5977" fmla="*/ 6910955 h 7571038"/>
                  <a:gd name="connsiteX5978" fmla="*/ 2063621 w 4381952"/>
                  <a:gd name="connsiteY5978" fmla="*/ 6915146 h 7571038"/>
                  <a:gd name="connsiteX5979" fmla="*/ 2067812 w 4381952"/>
                  <a:gd name="connsiteY5979" fmla="*/ 6919337 h 7571038"/>
                  <a:gd name="connsiteX5980" fmla="*/ 2072003 w 4381952"/>
                  <a:gd name="connsiteY5980" fmla="*/ 6915146 h 7571038"/>
                  <a:gd name="connsiteX5981" fmla="*/ 2072497 w 4381952"/>
                  <a:gd name="connsiteY5981" fmla="*/ 6372676 h 7571038"/>
                  <a:gd name="connsiteX5982" fmla="*/ 2068060 w 4381952"/>
                  <a:gd name="connsiteY5982" fmla="*/ 6368240 h 7571038"/>
                  <a:gd name="connsiteX5983" fmla="*/ 2063621 w 4381952"/>
                  <a:gd name="connsiteY5983" fmla="*/ 6372676 h 7571038"/>
                  <a:gd name="connsiteX5984" fmla="*/ 2068060 w 4381952"/>
                  <a:gd name="connsiteY5984" fmla="*/ 6377117 h 7571038"/>
                  <a:gd name="connsiteX5985" fmla="*/ 2072497 w 4381952"/>
                  <a:gd name="connsiteY5985" fmla="*/ 6372676 h 7571038"/>
                  <a:gd name="connsiteX5986" fmla="*/ 2072497 w 4381952"/>
                  <a:gd name="connsiteY5986" fmla="*/ 6481173 h 7571038"/>
                  <a:gd name="connsiteX5987" fmla="*/ 2068058 w 4381952"/>
                  <a:gd name="connsiteY5987" fmla="*/ 6476982 h 7571038"/>
                  <a:gd name="connsiteX5988" fmla="*/ 2063867 w 4381952"/>
                  <a:gd name="connsiteY5988" fmla="*/ 6481173 h 7571038"/>
                  <a:gd name="connsiteX5989" fmla="*/ 2068058 w 4381952"/>
                  <a:gd name="connsiteY5989" fmla="*/ 6485364 h 7571038"/>
                  <a:gd name="connsiteX5990" fmla="*/ 2072497 w 4381952"/>
                  <a:gd name="connsiteY5990" fmla="*/ 6481173 h 7571038"/>
                  <a:gd name="connsiteX5991" fmla="*/ 2073238 w 4381952"/>
                  <a:gd name="connsiteY5991" fmla="*/ 4306375 h 7571038"/>
                  <a:gd name="connsiteX5992" fmla="*/ 2067568 w 4381952"/>
                  <a:gd name="connsiteY5992" fmla="*/ 4300703 h 7571038"/>
                  <a:gd name="connsiteX5993" fmla="*/ 2062143 w 4381952"/>
                  <a:gd name="connsiteY5993" fmla="*/ 4306375 h 7571038"/>
                  <a:gd name="connsiteX5994" fmla="*/ 2067568 w 4381952"/>
                  <a:gd name="connsiteY5994" fmla="*/ 4312048 h 7571038"/>
                  <a:gd name="connsiteX5995" fmla="*/ 2073238 w 4381952"/>
                  <a:gd name="connsiteY5995" fmla="*/ 4306375 h 7571038"/>
                  <a:gd name="connsiteX5996" fmla="*/ 2073485 w 4381952"/>
                  <a:gd name="connsiteY5996" fmla="*/ 5504241 h 7571038"/>
                  <a:gd name="connsiteX5997" fmla="*/ 2068060 w 4381952"/>
                  <a:gd name="connsiteY5997" fmla="*/ 5498815 h 7571038"/>
                  <a:gd name="connsiteX5998" fmla="*/ 2062635 w 4381952"/>
                  <a:gd name="connsiteY5998" fmla="*/ 5504241 h 7571038"/>
                  <a:gd name="connsiteX5999" fmla="*/ 2068060 w 4381952"/>
                  <a:gd name="connsiteY5999" fmla="*/ 5509665 h 7571038"/>
                  <a:gd name="connsiteX6000" fmla="*/ 2073485 w 4381952"/>
                  <a:gd name="connsiteY6000" fmla="*/ 5504241 h 7571038"/>
                  <a:gd name="connsiteX6001" fmla="*/ 2073731 w 4381952"/>
                  <a:gd name="connsiteY6001" fmla="*/ 5395502 h 7571038"/>
                  <a:gd name="connsiteX6002" fmla="*/ 2068060 w 4381952"/>
                  <a:gd name="connsiteY6002" fmla="*/ 5389830 h 7571038"/>
                  <a:gd name="connsiteX6003" fmla="*/ 2062388 w 4381952"/>
                  <a:gd name="connsiteY6003" fmla="*/ 5395502 h 7571038"/>
                  <a:gd name="connsiteX6004" fmla="*/ 2068060 w 4381952"/>
                  <a:gd name="connsiteY6004" fmla="*/ 5401171 h 7571038"/>
                  <a:gd name="connsiteX6005" fmla="*/ 2073731 w 4381952"/>
                  <a:gd name="connsiteY6005" fmla="*/ 5395502 h 7571038"/>
                  <a:gd name="connsiteX6006" fmla="*/ 2077924 w 4381952"/>
                  <a:gd name="connsiteY6006" fmla="*/ 1777105 h 7571038"/>
                  <a:gd name="connsiteX6007" fmla="*/ 2065596 w 4381952"/>
                  <a:gd name="connsiteY6007" fmla="*/ 1764771 h 7571038"/>
                  <a:gd name="connsiteX6008" fmla="*/ 2053266 w 4381952"/>
                  <a:gd name="connsiteY6008" fmla="*/ 1777105 h 7571038"/>
                  <a:gd name="connsiteX6009" fmla="*/ 2065596 w 4381952"/>
                  <a:gd name="connsiteY6009" fmla="*/ 1789422 h 7571038"/>
                  <a:gd name="connsiteX6010" fmla="*/ 2077924 w 4381952"/>
                  <a:gd name="connsiteY6010" fmla="*/ 1777105 h 7571038"/>
                  <a:gd name="connsiteX6011" fmla="*/ 2080387 w 4381952"/>
                  <a:gd name="connsiteY6011" fmla="*/ 4634320 h 7571038"/>
                  <a:gd name="connsiteX6012" fmla="*/ 2068303 w 4381952"/>
                  <a:gd name="connsiteY6012" fmla="*/ 4622238 h 7571038"/>
                  <a:gd name="connsiteX6013" fmla="*/ 2056222 w 4381952"/>
                  <a:gd name="connsiteY6013" fmla="*/ 4634320 h 7571038"/>
                  <a:gd name="connsiteX6014" fmla="*/ 2068303 w 4381952"/>
                  <a:gd name="connsiteY6014" fmla="*/ 4646401 h 7571038"/>
                  <a:gd name="connsiteX6015" fmla="*/ 2080387 w 4381952"/>
                  <a:gd name="connsiteY6015" fmla="*/ 4634320 h 7571038"/>
                  <a:gd name="connsiteX6016" fmla="*/ 2085070 w 4381952"/>
                  <a:gd name="connsiteY6016" fmla="*/ 4196896 h 7571038"/>
                  <a:gd name="connsiteX6017" fmla="*/ 2067071 w 4381952"/>
                  <a:gd name="connsiteY6017" fmla="*/ 4178896 h 7571038"/>
                  <a:gd name="connsiteX6018" fmla="*/ 2049072 w 4381952"/>
                  <a:gd name="connsiteY6018" fmla="*/ 4196896 h 7571038"/>
                  <a:gd name="connsiteX6019" fmla="*/ 2067071 w 4381952"/>
                  <a:gd name="connsiteY6019" fmla="*/ 4214895 h 7571038"/>
                  <a:gd name="connsiteX6020" fmla="*/ 2085070 w 4381952"/>
                  <a:gd name="connsiteY6020" fmla="*/ 4196896 h 7571038"/>
                  <a:gd name="connsiteX6021" fmla="*/ 2085568 w 4381952"/>
                  <a:gd name="connsiteY6021" fmla="*/ 5178020 h 7571038"/>
                  <a:gd name="connsiteX6022" fmla="*/ 2067815 w 4381952"/>
                  <a:gd name="connsiteY6022" fmla="*/ 5160513 h 7571038"/>
                  <a:gd name="connsiteX6023" fmla="*/ 2050307 w 4381952"/>
                  <a:gd name="connsiteY6023" fmla="*/ 5178020 h 7571038"/>
                  <a:gd name="connsiteX6024" fmla="*/ 2067815 w 4381952"/>
                  <a:gd name="connsiteY6024" fmla="*/ 5195775 h 7571038"/>
                  <a:gd name="connsiteX6025" fmla="*/ 2085568 w 4381952"/>
                  <a:gd name="connsiteY6025" fmla="*/ 5178020 h 7571038"/>
                  <a:gd name="connsiteX6026" fmla="*/ 2086306 w 4381952"/>
                  <a:gd name="connsiteY6026" fmla="*/ 1559879 h 7571038"/>
                  <a:gd name="connsiteX6027" fmla="*/ 2064856 w 4381952"/>
                  <a:gd name="connsiteY6027" fmla="*/ 1538427 h 7571038"/>
                  <a:gd name="connsiteX6028" fmla="*/ 2043403 w 4381952"/>
                  <a:gd name="connsiteY6028" fmla="*/ 1559879 h 7571038"/>
                  <a:gd name="connsiteX6029" fmla="*/ 2064856 w 4381952"/>
                  <a:gd name="connsiteY6029" fmla="*/ 1581325 h 7571038"/>
                  <a:gd name="connsiteX6030" fmla="*/ 2086306 w 4381952"/>
                  <a:gd name="connsiteY6030" fmla="*/ 1559879 h 7571038"/>
                  <a:gd name="connsiteX6031" fmla="*/ 2093456 w 4381952"/>
                  <a:gd name="connsiteY6031" fmla="*/ 257146 h 7571038"/>
                  <a:gd name="connsiteX6032" fmla="*/ 2064607 w 4381952"/>
                  <a:gd name="connsiteY6032" fmla="*/ 228050 h 7571038"/>
                  <a:gd name="connsiteX6033" fmla="*/ 2035510 w 4381952"/>
                  <a:gd name="connsiteY6033" fmla="*/ 257146 h 7571038"/>
                  <a:gd name="connsiteX6034" fmla="*/ 2064607 w 4381952"/>
                  <a:gd name="connsiteY6034" fmla="*/ 286239 h 7571038"/>
                  <a:gd name="connsiteX6035" fmla="*/ 2093456 w 4381952"/>
                  <a:gd name="connsiteY6035" fmla="*/ 257146 h 7571038"/>
                  <a:gd name="connsiteX6036" fmla="*/ 2093458 w 4381952"/>
                  <a:gd name="connsiteY6036" fmla="*/ 365615 h 7571038"/>
                  <a:gd name="connsiteX6037" fmla="*/ 2064607 w 4381952"/>
                  <a:gd name="connsiteY6037" fmla="*/ 336767 h 7571038"/>
                  <a:gd name="connsiteX6038" fmla="*/ 2035759 w 4381952"/>
                  <a:gd name="connsiteY6038" fmla="*/ 365615 h 7571038"/>
                  <a:gd name="connsiteX6039" fmla="*/ 2064607 w 4381952"/>
                  <a:gd name="connsiteY6039" fmla="*/ 394464 h 7571038"/>
                  <a:gd name="connsiteX6040" fmla="*/ 2093458 w 4381952"/>
                  <a:gd name="connsiteY6040" fmla="*/ 365615 h 7571038"/>
                  <a:gd name="connsiteX6041" fmla="*/ 2094196 w 4381952"/>
                  <a:gd name="connsiteY6041" fmla="*/ 1885822 h 7571038"/>
                  <a:gd name="connsiteX6042" fmla="*/ 2065839 w 4381952"/>
                  <a:gd name="connsiteY6042" fmla="*/ 1857471 h 7571038"/>
                  <a:gd name="connsiteX6043" fmla="*/ 2037236 w 4381952"/>
                  <a:gd name="connsiteY6043" fmla="*/ 1885822 h 7571038"/>
                  <a:gd name="connsiteX6044" fmla="*/ 2065839 w 4381952"/>
                  <a:gd name="connsiteY6044" fmla="*/ 1914173 h 7571038"/>
                  <a:gd name="connsiteX6045" fmla="*/ 2094196 w 4381952"/>
                  <a:gd name="connsiteY6045" fmla="*/ 1885822 h 7571038"/>
                  <a:gd name="connsiteX6046" fmla="*/ 2094442 w 4381952"/>
                  <a:gd name="connsiteY6046" fmla="*/ 40207 h 7571038"/>
                  <a:gd name="connsiteX6047" fmla="*/ 2064607 w 4381952"/>
                  <a:gd name="connsiteY6047" fmla="*/ 10373 h 7571038"/>
                  <a:gd name="connsiteX6048" fmla="*/ 2034772 w 4381952"/>
                  <a:gd name="connsiteY6048" fmla="*/ 40207 h 7571038"/>
                  <a:gd name="connsiteX6049" fmla="*/ 2064607 w 4381952"/>
                  <a:gd name="connsiteY6049" fmla="*/ 70043 h 7571038"/>
                  <a:gd name="connsiteX6050" fmla="*/ 2094442 w 4381952"/>
                  <a:gd name="connsiteY6050" fmla="*/ 40207 h 7571038"/>
                  <a:gd name="connsiteX6051" fmla="*/ 2094444 w 4381952"/>
                  <a:gd name="connsiteY6051" fmla="*/ 1451147 h 7571038"/>
                  <a:gd name="connsiteX6052" fmla="*/ 2065101 w 4381952"/>
                  <a:gd name="connsiteY6052" fmla="*/ 1421809 h 7571038"/>
                  <a:gd name="connsiteX6053" fmla="*/ 2035759 w 4381952"/>
                  <a:gd name="connsiteY6053" fmla="*/ 1451147 h 7571038"/>
                  <a:gd name="connsiteX6054" fmla="*/ 2065101 w 4381952"/>
                  <a:gd name="connsiteY6054" fmla="*/ 1480491 h 7571038"/>
                  <a:gd name="connsiteX6055" fmla="*/ 2094444 w 4381952"/>
                  <a:gd name="connsiteY6055" fmla="*/ 1451147 h 7571038"/>
                  <a:gd name="connsiteX6056" fmla="*/ 2095182 w 4381952"/>
                  <a:gd name="connsiteY6056" fmla="*/ 148923 h 7571038"/>
                  <a:gd name="connsiteX6057" fmla="*/ 2064856 w 4381952"/>
                  <a:gd name="connsiteY6057" fmla="*/ 118595 h 7571038"/>
                  <a:gd name="connsiteX6058" fmla="*/ 2034526 w 4381952"/>
                  <a:gd name="connsiteY6058" fmla="*/ 148923 h 7571038"/>
                  <a:gd name="connsiteX6059" fmla="*/ 2064856 w 4381952"/>
                  <a:gd name="connsiteY6059" fmla="*/ 179251 h 7571038"/>
                  <a:gd name="connsiteX6060" fmla="*/ 2095182 w 4381952"/>
                  <a:gd name="connsiteY6060" fmla="*/ 148923 h 7571038"/>
                  <a:gd name="connsiteX6061" fmla="*/ 2095675 w 4381952"/>
                  <a:gd name="connsiteY6061" fmla="*/ 3976704 h 7571038"/>
                  <a:gd name="connsiteX6062" fmla="*/ 2070031 w 4381952"/>
                  <a:gd name="connsiteY6062" fmla="*/ 3951060 h 7571038"/>
                  <a:gd name="connsiteX6063" fmla="*/ 2044386 w 4381952"/>
                  <a:gd name="connsiteY6063" fmla="*/ 3976704 h 7571038"/>
                  <a:gd name="connsiteX6064" fmla="*/ 2070031 w 4381952"/>
                  <a:gd name="connsiteY6064" fmla="*/ 4002348 h 7571038"/>
                  <a:gd name="connsiteX6065" fmla="*/ 2095675 w 4381952"/>
                  <a:gd name="connsiteY6065" fmla="*/ 3976704 h 7571038"/>
                  <a:gd name="connsiteX6066" fmla="*/ 2096909 w 4381952"/>
                  <a:gd name="connsiteY6066" fmla="*/ 1342671 h 7571038"/>
                  <a:gd name="connsiteX6067" fmla="*/ 2064856 w 4381952"/>
                  <a:gd name="connsiteY6067" fmla="*/ 1310617 h 7571038"/>
                  <a:gd name="connsiteX6068" fmla="*/ 2032800 w 4381952"/>
                  <a:gd name="connsiteY6068" fmla="*/ 1342671 h 7571038"/>
                  <a:gd name="connsiteX6069" fmla="*/ 2064856 w 4381952"/>
                  <a:gd name="connsiteY6069" fmla="*/ 1374729 h 7571038"/>
                  <a:gd name="connsiteX6070" fmla="*/ 2096909 w 4381952"/>
                  <a:gd name="connsiteY6070" fmla="*/ 1342671 h 7571038"/>
                  <a:gd name="connsiteX6071" fmla="*/ 2098141 w 4381952"/>
                  <a:gd name="connsiteY6071" fmla="*/ 5069527 h 7571038"/>
                  <a:gd name="connsiteX6072" fmla="*/ 2067566 w 4381952"/>
                  <a:gd name="connsiteY6072" fmla="*/ 5038952 h 7571038"/>
                  <a:gd name="connsiteX6073" fmla="*/ 2036991 w 4381952"/>
                  <a:gd name="connsiteY6073" fmla="*/ 5069527 h 7571038"/>
                  <a:gd name="connsiteX6074" fmla="*/ 2067566 w 4381952"/>
                  <a:gd name="connsiteY6074" fmla="*/ 5100103 h 7571038"/>
                  <a:gd name="connsiteX6075" fmla="*/ 2098141 w 4381952"/>
                  <a:gd name="connsiteY6075" fmla="*/ 5069527 h 7571038"/>
                  <a:gd name="connsiteX6076" fmla="*/ 2098881 w 4381952"/>
                  <a:gd name="connsiteY6076" fmla="*/ 2867611 h 7571038"/>
                  <a:gd name="connsiteX6077" fmla="*/ 2069784 w 4381952"/>
                  <a:gd name="connsiteY6077" fmla="*/ 2838517 h 7571038"/>
                  <a:gd name="connsiteX6078" fmla="*/ 2040690 w 4381952"/>
                  <a:gd name="connsiteY6078" fmla="*/ 2867611 h 7571038"/>
                  <a:gd name="connsiteX6079" fmla="*/ 2069784 w 4381952"/>
                  <a:gd name="connsiteY6079" fmla="*/ 2896708 h 7571038"/>
                  <a:gd name="connsiteX6080" fmla="*/ 2098881 w 4381952"/>
                  <a:gd name="connsiteY6080" fmla="*/ 2867611 h 7571038"/>
                  <a:gd name="connsiteX6081" fmla="*/ 2104058 w 4381952"/>
                  <a:gd name="connsiteY6081" fmla="*/ 4087171 h 7571038"/>
                  <a:gd name="connsiteX6082" fmla="*/ 2070029 w 4381952"/>
                  <a:gd name="connsiteY6082" fmla="*/ 4053141 h 7571038"/>
                  <a:gd name="connsiteX6083" fmla="*/ 2036250 w 4381952"/>
                  <a:gd name="connsiteY6083" fmla="*/ 4087171 h 7571038"/>
                  <a:gd name="connsiteX6084" fmla="*/ 2070029 w 4381952"/>
                  <a:gd name="connsiteY6084" fmla="*/ 4121197 h 7571038"/>
                  <a:gd name="connsiteX6085" fmla="*/ 2104058 w 4381952"/>
                  <a:gd name="connsiteY6085" fmla="*/ 4087171 h 7571038"/>
                  <a:gd name="connsiteX6086" fmla="*/ 2104551 w 4381952"/>
                  <a:gd name="connsiteY6086" fmla="*/ 4415855 h 7571038"/>
                  <a:gd name="connsiteX6087" fmla="*/ 2067812 w 4381952"/>
                  <a:gd name="connsiteY6087" fmla="*/ 4379116 h 7571038"/>
                  <a:gd name="connsiteX6088" fmla="*/ 2031319 w 4381952"/>
                  <a:gd name="connsiteY6088" fmla="*/ 4415855 h 7571038"/>
                  <a:gd name="connsiteX6089" fmla="*/ 2067812 w 4381952"/>
                  <a:gd name="connsiteY6089" fmla="*/ 4452594 h 7571038"/>
                  <a:gd name="connsiteX6090" fmla="*/ 2104551 w 4381952"/>
                  <a:gd name="connsiteY6090" fmla="*/ 4415855 h 7571038"/>
                  <a:gd name="connsiteX6091" fmla="*/ 2104798 w 4381952"/>
                  <a:gd name="connsiteY6091" fmla="*/ 1994529 h 7571038"/>
                  <a:gd name="connsiteX6092" fmla="*/ 2065594 w 4381952"/>
                  <a:gd name="connsiteY6092" fmla="*/ 1955330 h 7571038"/>
                  <a:gd name="connsiteX6093" fmla="*/ 2026388 w 4381952"/>
                  <a:gd name="connsiteY6093" fmla="*/ 1994529 h 7571038"/>
                  <a:gd name="connsiteX6094" fmla="*/ 2065594 w 4381952"/>
                  <a:gd name="connsiteY6094" fmla="*/ 2033732 h 7571038"/>
                  <a:gd name="connsiteX6095" fmla="*/ 2104798 w 4381952"/>
                  <a:gd name="connsiteY6095" fmla="*/ 1994529 h 7571038"/>
                  <a:gd name="connsiteX6096" fmla="*/ 2105539 w 4381952"/>
                  <a:gd name="connsiteY6096" fmla="*/ 2978322 h 7571038"/>
                  <a:gd name="connsiteX6097" fmla="*/ 2070033 w 4381952"/>
                  <a:gd name="connsiteY6097" fmla="*/ 2942815 h 7571038"/>
                  <a:gd name="connsiteX6098" fmla="*/ 2034772 w 4381952"/>
                  <a:gd name="connsiteY6098" fmla="*/ 2978322 h 7571038"/>
                  <a:gd name="connsiteX6099" fmla="*/ 2070033 w 4381952"/>
                  <a:gd name="connsiteY6099" fmla="*/ 3013829 h 7571038"/>
                  <a:gd name="connsiteX6100" fmla="*/ 2105539 w 4381952"/>
                  <a:gd name="connsiteY6100" fmla="*/ 2978322 h 7571038"/>
                  <a:gd name="connsiteX6101" fmla="*/ 2107758 w 4381952"/>
                  <a:gd name="connsiteY6101" fmla="*/ 4525086 h 7571038"/>
                  <a:gd name="connsiteX6102" fmla="*/ 2068057 w 4381952"/>
                  <a:gd name="connsiteY6102" fmla="*/ 4485388 h 7571038"/>
                  <a:gd name="connsiteX6103" fmla="*/ 2028360 w 4381952"/>
                  <a:gd name="connsiteY6103" fmla="*/ 4525086 h 7571038"/>
                  <a:gd name="connsiteX6104" fmla="*/ 2068057 w 4381952"/>
                  <a:gd name="connsiteY6104" fmla="*/ 4564786 h 7571038"/>
                  <a:gd name="connsiteX6105" fmla="*/ 2107758 w 4381952"/>
                  <a:gd name="connsiteY6105" fmla="*/ 4525086 h 7571038"/>
                  <a:gd name="connsiteX6106" fmla="*/ 2109239 w 4381952"/>
                  <a:gd name="connsiteY6106" fmla="*/ 4743307 h 7571038"/>
                  <a:gd name="connsiteX6107" fmla="*/ 2068552 w 4381952"/>
                  <a:gd name="connsiteY6107" fmla="*/ 4702622 h 7571038"/>
                  <a:gd name="connsiteX6108" fmla="*/ 2027868 w 4381952"/>
                  <a:gd name="connsiteY6108" fmla="*/ 4743307 h 7571038"/>
                  <a:gd name="connsiteX6109" fmla="*/ 2068552 w 4381952"/>
                  <a:gd name="connsiteY6109" fmla="*/ 4783994 h 7571038"/>
                  <a:gd name="connsiteX6110" fmla="*/ 2109239 w 4381952"/>
                  <a:gd name="connsiteY6110" fmla="*/ 4743307 h 7571038"/>
                  <a:gd name="connsiteX6111" fmla="*/ 2113922 w 4381952"/>
                  <a:gd name="connsiteY6111" fmla="*/ 4852047 h 7571038"/>
                  <a:gd name="connsiteX6112" fmla="*/ 2068552 w 4381952"/>
                  <a:gd name="connsiteY6112" fmla="*/ 4806677 h 7571038"/>
                  <a:gd name="connsiteX6113" fmla="*/ 2023182 w 4381952"/>
                  <a:gd name="connsiteY6113" fmla="*/ 4852047 h 7571038"/>
                  <a:gd name="connsiteX6114" fmla="*/ 2068552 w 4381952"/>
                  <a:gd name="connsiteY6114" fmla="*/ 4897417 h 7571038"/>
                  <a:gd name="connsiteX6115" fmla="*/ 2113922 w 4381952"/>
                  <a:gd name="connsiteY6115" fmla="*/ 4852047 h 7571038"/>
                  <a:gd name="connsiteX6116" fmla="*/ 2142033 w 4381952"/>
                  <a:gd name="connsiteY6116" fmla="*/ 2751232 h 7571038"/>
                  <a:gd name="connsiteX6117" fmla="*/ 2125018 w 4381952"/>
                  <a:gd name="connsiteY6117" fmla="*/ 2734219 h 7571038"/>
                  <a:gd name="connsiteX6118" fmla="*/ 2108004 w 4381952"/>
                  <a:gd name="connsiteY6118" fmla="*/ 2751232 h 7571038"/>
                  <a:gd name="connsiteX6119" fmla="*/ 2125018 w 4381952"/>
                  <a:gd name="connsiteY6119" fmla="*/ 2768247 h 7571038"/>
                  <a:gd name="connsiteX6120" fmla="*/ 2142033 w 4381952"/>
                  <a:gd name="connsiteY6120" fmla="*/ 2751232 h 7571038"/>
                  <a:gd name="connsiteX6121" fmla="*/ 2144497 w 4381952"/>
                  <a:gd name="connsiteY6121" fmla="*/ 2208055 h 7571038"/>
                  <a:gd name="connsiteX6122" fmla="*/ 2125018 w 4381952"/>
                  <a:gd name="connsiteY6122" fmla="*/ 2188576 h 7571038"/>
                  <a:gd name="connsiteX6123" fmla="*/ 2105538 w 4381952"/>
                  <a:gd name="connsiteY6123" fmla="*/ 2208055 h 7571038"/>
                  <a:gd name="connsiteX6124" fmla="*/ 2125018 w 4381952"/>
                  <a:gd name="connsiteY6124" fmla="*/ 2227535 h 7571038"/>
                  <a:gd name="connsiteX6125" fmla="*/ 2144497 w 4381952"/>
                  <a:gd name="connsiteY6125" fmla="*/ 2208055 h 7571038"/>
                  <a:gd name="connsiteX6126" fmla="*/ 2144497 w 4381952"/>
                  <a:gd name="connsiteY6126" fmla="*/ 2642496 h 7571038"/>
                  <a:gd name="connsiteX6127" fmla="*/ 2125757 w 4381952"/>
                  <a:gd name="connsiteY6127" fmla="*/ 2623757 h 7571038"/>
                  <a:gd name="connsiteX6128" fmla="*/ 2107018 w 4381952"/>
                  <a:gd name="connsiteY6128" fmla="*/ 2642496 h 7571038"/>
                  <a:gd name="connsiteX6129" fmla="*/ 2125757 w 4381952"/>
                  <a:gd name="connsiteY6129" fmla="*/ 2661236 h 7571038"/>
                  <a:gd name="connsiteX6130" fmla="*/ 2144497 w 4381952"/>
                  <a:gd name="connsiteY6130" fmla="*/ 2642496 h 7571038"/>
                  <a:gd name="connsiteX6131" fmla="*/ 2152143 w 4381952"/>
                  <a:gd name="connsiteY6131" fmla="*/ 2099567 h 7571038"/>
                  <a:gd name="connsiteX6132" fmla="*/ 2124772 w 4381952"/>
                  <a:gd name="connsiteY6132" fmla="*/ 2072194 h 7571038"/>
                  <a:gd name="connsiteX6133" fmla="*/ 2097401 w 4381952"/>
                  <a:gd name="connsiteY6133" fmla="*/ 2099567 h 7571038"/>
                  <a:gd name="connsiteX6134" fmla="*/ 2124772 w 4381952"/>
                  <a:gd name="connsiteY6134" fmla="*/ 2126936 h 7571038"/>
                  <a:gd name="connsiteX6135" fmla="*/ 2152143 w 4381952"/>
                  <a:gd name="connsiteY6135" fmla="*/ 2099567 h 7571038"/>
                  <a:gd name="connsiteX6136" fmla="*/ 2152388 w 4381952"/>
                  <a:gd name="connsiteY6136" fmla="*/ 1014772 h 7571038"/>
                  <a:gd name="connsiteX6137" fmla="*/ 2122553 w 4381952"/>
                  <a:gd name="connsiteY6137" fmla="*/ 984934 h 7571038"/>
                  <a:gd name="connsiteX6138" fmla="*/ 2092718 w 4381952"/>
                  <a:gd name="connsiteY6138" fmla="*/ 1014772 h 7571038"/>
                  <a:gd name="connsiteX6139" fmla="*/ 2122553 w 4381952"/>
                  <a:gd name="connsiteY6139" fmla="*/ 1044606 h 7571038"/>
                  <a:gd name="connsiteX6140" fmla="*/ 2152388 w 4381952"/>
                  <a:gd name="connsiteY6140" fmla="*/ 1014772 h 7571038"/>
                  <a:gd name="connsiteX6141" fmla="*/ 2154360 w 4381952"/>
                  <a:gd name="connsiteY6141" fmla="*/ 797819 h 7571038"/>
                  <a:gd name="connsiteX6142" fmla="*/ 2123785 w 4381952"/>
                  <a:gd name="connsiteY6142" fmla="*/ 767241 h 7571038"/>
                  <a:gd name="connsiteX6143" fmla="*/ 2093210 w 4381952"/>
                  <a:gd name="connsiteY6143" fmla="*/ 797819 h 7571038"/>
                  <a:gd name="connsiteX6144" fmla="*/ 2123785 w 4381952"/>
                  <a:gd name="connsiteY6144" fmla="*/ 828395 h 7571038"/>
                  <a:gd name="connsiteX6145" fmla="*/ 2154360 w 4381952"/>
                  <a:gd name="connsiteY6145" fmla="*/ 797819 h 7571038"/>
                  <a:gd name="connsiteX6146" fmla="*/ 2155594 w 4381952"/>
                  <a:gd name="connsiteY6146" fmla="*/ 906285 h 7571038"/>
                  <a:gd name="connsiteX6147" fmla="*/ 2122800 w 4381952"/>
                  <a:gd name="connsiteY6147" fmla="*/ 873491 h 7571038"/>
                  <a:gd name="connsiteX6148" fmla="*/ 2090006 w 4381952"/>
                  <a:gd name="connsiteY6148" fmla="*/ 906285 h 7571038"/>
                  <a:gd name="connsiteX6149" fmla="*/ 2122800 w 4381952"/>
                  <a:gd name="connsiteY6149" fmla="*/ 939082 h 7571038"/>
                  <a:gd name="connsiteX6150" fmla="*/ 2155594 w 4381952"/>
                  <a:gd name="connsiteY6150" fmla="*/ 906285 h 7571038"/>
                  <a:gd name="connsiteX6151" fmla="*/ 2157073 w 4381952"/>
                  <a:gd name="connsiteY6151" fmla="*/ 472607 h 7571038"/>
                  <a:gd name="connsiteX6152" fmla="*/ 2123785 w 4381952"/>
                  <a:gd name="connsiteY6152" fmla="*/ 439320 h 7571038"/>
                  <a:gd name="connsiteX6153" fmla="*/ 2090497 w 4381952"/>
                  <a:gd name="connsiteY6153" fmla="*/ 472607 h 7571038"/>
                  <a:gd name="connsiteX6154" fmla="*/ 2123785 w 4381952"/>
                  <a:gd name="connsiteY6154" fmla="*/ 505892 h 7571038"/>
                  <a:gd name="connsiteX6155" fmla="*/ 2157073 w 4381952"/>
                  <a:gd name="connsiteY6155" fmla="*/ 472607 h 7571038"/>
                  <a:gd name="connsiteX6156" fmla="*/ 2157319 w 4381952"/>
                  <a:gd name="connsiteY6156" fmla="*/ 580835 h 7571038"/>
                  <a:gd name="connsiteX6157" fmla="*/ 2123537 w 4381952"/>
                  <a:gd name="connsiteY6157" fmla="*/ 547301 h 7571038"/>
                  <a:gd name="connsiteX6158" fmla="*/ 2089757 w 4381952"/>
                  <a:gd name="connsiteY6158" fmla="*/ 580835 h 7571038"/>
                  <a:gd name="connsiteX6159" fmla="*/ 2123537 w 4381952"/>
                  <a:gd name="connsiteY6159" fmla="*/ 614614 h 7571038"/>
                  <a:gd name="connsiteX6160" fmla="*/ 2157319 w 4381952"/>
                  <a:gd name="connsiteY6160" fmla="*/ 580835 h 7571038"/>
                  <a:gd name="connsiteX6161" fmla="*/ 2157814 w 4381952"/>
                  <a:gd name="connsiteY6161" fmla="*/ 3078183 h 7571038"/>
                  <a:gd name="connsiteX6162" fmla="*/ 2126990 w 4381952"/>
                  <a:gd name="connsiteY6162" fmla="*/ 3047362 h 7571038"/>
                  <a:gd name="connsiteX6163" fmla="*/ 2096169 w 4381952"/>
                  <a:gd name="connsiteY6163" fmla="*/ 3078183 h 7571038"/>
                  <a:gd name="connsiteX6164" fmla="*/ 2126990 w 4381952"/>
                  <a:gd name="connsiteY6164" fmla="*/ 3109007 h 7571038"/>
                  <a:gd name="connsiteX6165" fmla="*/ 2157814 w 4381952"/>
                  <a:gd name="connsiteY6165" fmla="*/ 3078183 h 7571038"/>
                  <a:gd name="connsiteX6166" fmla="*/ 2158057 w 4381952"/>
                  <a:gd name="connsiteY6166" fmla="*/ 2533762 h 7571038"/>
                  <a:gd name="connsiteX6167" fmla="*/ 2125757 w 4381952"/>
                  <a:gd name="connsiteY6167" fmla="*/ 2501459 h 7571038"/>
                  <a:gd name="connsiteX6168" fmla="*/ 2093456 w 4381952"/>
                  <a:gd name="connsiteY6168" fmla="*/ 2533762 h 7571038"/>
                  <a:gd name="connsiteX6169" fmla="*/ 2125757 w 4381952"/>
                  <a:gd name="connsiteY6169" fmla="*/ 2566063 h 7571038"/>
                  <a:gd name="connsiteX6170" fmla="*/ 2158057 w 4381952"/>
                  <a:gd name="connsiteY6170" fmla="*/ 2533762 h 7571038"/>
                  <a:gd name="connsiteX6171" fmla="*/ 2158551 w 4381952"/>
                  <a:gd name="connsiteY6171" fmla="*/ 1123249 h 7571038"/>
                  <a:gd name="connsiteX6172" fmla="*/ 2122550 w 4381952"/>
                  <a:gd name="connsiteY6172" fmla="*/ 1087250 h 7571038"/>
                  <a:gd name="connsiteX6173" fmla="*/ 2086551 w 4381952"/>
                  <a:gd name="connsiteY6173" fmla="*/ 1123249 h 7571038"/>
                  <a:gd name="connsiteX6174" fmla="*/ 2122550 w 4381952"/>
                  <a:gd name="connsiteY6174" fmla="*/ 1159247 h 7571038"/>
                  <a:gd name="connsiteX6175" fmla="*/ 2158551 w 4381952"/>
                  <a:gd name="connsiteY6175" fmla="*/ 1123249 h 7571038"/>
                  <a:gd name="connsiteX6176" fmla="*/ 2158554 w 4381952"/>
                  <a:gd name="connsiteY6176" fmla="*/ 689343 h 7571038"/>
                  <a:gd name="connsiteX6177" fmla="*/ 2123785 w 4381952"/>
                  <a:gd name="connsiteY6177" fmla="*/ 654580 h 7571038"/>
                  <a:gd name="connsiteX6178" fmla="*/ 2089019 w 4381952"/>
                  <a:gd name="connsiteY6178" fmla="*/ 689343 h 7571038"/>
                  <a:gd name="connsiteX6179" fmla="*/ 2123785 w 4381952"/>
                  <a:gd name="connsiteY6179" fmla="*/ 724108 h 7571038"/>
                  <a:gd name="connsiteX6180" fmla="*/ 2158554 w 4381952"/>
                  <a:gd name="connsiteY6180" fmla="*/ 689343 h 7571038"/>
                  <a:gd name="connsiteX6181" fmla="*/ 2158797 w 4381952"/>
                  <a:gd name="connsiteY6181" fmla="*/ 1231726 h 7571038"/>
                  <a:gd name="connsiteX6182" fmla="*/ 2122058 w 4381952"/>
                  <a:gd name="connsiteY6182" fmla="*/ 1194984 h 7571038"/>
                  <a:gd name="connsiteX6183" fmla="*/ 2085319 w 4381952"/>
                  <a:gd name="connsiteY6183" fmla="*/ 1231726 h 7571038"/>
                  <a:gd name="connsiteX6184" fmla="*/ 2122058 w 4381952"/>
                  <a:gd name="connsiteY6184" fmla="*/ 1268459 h 7571038"/>
                  <a:gd name="connsiteX6185" fmla="*/ 2158797 w 4381952"/>
                  <a:gd name="connsiteY6185" fmla="*/ 1231726 h 7571038"/>
                  <a:gd name="connsiteX6186" fmla="*/ 2162743 w 4381952"/>
                  <a:gd name="connsiteY6186" fmla="*/ 2316788 h 7571038"/>
                  <a:gd name="connsiteX6187" fmla="*/ 2125263 w 4381952"/>
                  <a:gd name="connsiteY6187" fmla="*/ 2279061 h 7571038"/>
                  <a:gd name="connsiteX6188" fmla="*/ 2087538 w 4381952"/>
                  <a:gd name="connsiteY6188" fmla="*/ 2316788 h 7571038"/>
                  <a:gd name="connsiteX6189" fmla="*/ 2125263 w 4381952"/>
                  <a:gd name="connsiteY6189" fmla="*/ 2354271 h 7571038"/>
                  <a:gd name="connsiteX6190" fmla="*/ 2162743 w 4381952"/>
                  <a:gd name="connsiteY6190" fmla="*/ 2316788 h 7571038"/>
                  <a:gd name="connsiteX6191" fmla="*/ 2171868 w 4381952"/>
                  <a:gd name="connsiteY6191" fmla="*/ 2425027 h 7571038"/>
                  <a:gd name="connsiteX6192" fmla="*/ 2125512 w 4381952"/>
                  <a:gd name="connsiteY6192" fmla="*/ 2378672 h 7571038"/>
                  <a:gd name="connsiteX6193" fmla="*/ 2079156 w 4381952"/>
                  <a:gd name="connsiteY6193" fmla="*/ 2425027 h 7571038"/>
                  <a:gd name="connsiteX6194" fmla="*/ 2125512 w 4381952"/>
                  <a:gd name="connsiteY6194" fmla="*/ 2471384 h 7571038"/>
                  <a:gd name="connsiteX6195" fmla="*/ 2171868 w 4381952"/>
                  <a:gd name="connsiteY6195" fmla="*/ 2425027 h 7571038"/>
                  <a:gd name="connsiteX6196" fmla="*/ 2185182 w 4381952"/>
                  <a:gd name="connsiteY6196" fmla="*/ 1664413 h 7571038"/>
                  <a:gd name="connsiteX6197" fmla="*/ 2181482 w 4381952"/>
                  <a:gd name="connsiteY6197" fmla="*/ 1660713 h 7571038"/>
                  <a:gd name="connsiteX6198" fmla="*/ 2178032 w 4381952"/>
                  <a:gd name="connsiteY6198" fmla="*/ 1664413 h 7571038"/>
                  <a:gd name="connsiteX6199" fmla="*/ 2181482 w 4381952"/>
                  <a:gd name="connsiteY6199" fmla="*/ 1668113 h 7571038"/>
                  <a:gd name="connsiteX6200" fmla="*/ 2185182 w 4381952"/>
                  <a:gd name="connsiteY6200" fmla="*/ 1664413 h 7571038"/>
                  <a:gd name="connsiteX6201" fmla="*/ 2187153 w 4381952"/>
                  <a:gd name="connsiteY6201" fmla="*/ 5290706 h 7571038"/>
                  <a:gd name="connsiteX6202" fmla="*/ 2183949 w 4381952"/>
                  <a:gd name="connsiteY6202" fmla="*/ 5287500 h 7571038"/>
                  <a:gd name="connsiteX6203" fmla="*/ 2180744 w 4381952"/>
                  <a:gd name="connsiteY6203" fmla="*/ 5290706 h 7571038"/>
                  <a:gd name="connsiteX6204" fmla="*/ 2183949 w 4381952"/>
                  <a:gd name="connsiteY6204" fmla="*/ 5293913 h 7571038"/>
                  <a:gd name="connsiteX6205" fmla="*/ 2187153 w 4381952"/>
                  <a:gd name="connsiteY6205" fmla="*/ 5290706 h 7571038"/>
                  <a:gd name="connsiteX6206" fmla="*/ 2187153 w 4381952"/>
                  <a:gd name="connsiteY6206" fmla="*/ 5399200 h 7571038"/>
                  <a:gd name="connsiteX6207" fmla="*/ 2183949 w 4381952"/>
                  <a:gd name="connsiteY6207" fmla="*/ 5395994 h 7571038"/>
                  <a:gd name="connsiteX6208" fmla="*/ 2180744 w 4381952"/>
                  <a:gd name="connsiteY6208" fmla="*/ 5399200 h 7571038"/>
                  <a:gd name="connsiteX6209" fmla="*/ 2183949 w 4381952"/>
                  <a:gd name="connsiteY6209" fmla="*/ 5402404 h 7571038"/>
                  <a:gd name="connsiteX6210" fmla="*/ 2187153 w 4381952"/>
                  <a:gd name="connsiteY6210" fmla="*/ 5399200 h 7571038"/>
                  <a:gd name="connsiteX6211" fmla="*/ 2187153 w 4381952"/>
                  <a:gd name="connsiteY6211" fmla="*/ 5507447 h 7571038"/>
                  <a:gd name="connsiteX6212" fmla="*/ 2183949 w 4381952"/>
                  <a:gd name="connsiteY6212" fmla="*/ 5504241 h 7571038"/>
                  <a:gd name="connsiteX6213" fmla="*/ 2180744 w 4381952"/>
                  <a:gd name="connsiteY6213" fmla="*/ 5507447 h 7571038"/>
                  <a:gd name="connsiteX6214" fmla="*/ 2183949 w 4381952"/>
                  <a:gd name="connsiteY6214" fmla="*/ 5510651 h 7571038"/>
                  <a:gd name="connsiteX6215" fmla="*/ 2187153 w 4381952"/>
                  <a:gd name="connsiteY6215" fmla="*/ 5507447 h 7571038"/>
                  <a:gd name="connsiteX6216" fmla="*/ 2187153 w 4381952"/>
                  <a:gd name="connsiteY6216" fmla="*/ 5724433 h 7571038"/>
                  <a:gd name="connsiteX6217" fmla="*/ 2183949 w 4381952"/>
                  <a:gd name="connsiteY6217" fmla="*/ 5721228 h 7571038"/>
                  <a:gd name="connsiteX6218" fmla="*/ 2180744 w 4381952"/>
                  <a:gd name="connsiteY6218" fmla="*/ 5724433 h 7571038"/>
                  <a:gd name="connsiteX6219" fmla="*/ 2183949 w 4381952"/>
                  <a:gd name="connsiteY6219" fmla="*/ 5727638 h 7571038"/>
                  <a:gd name="connsiteX6220" fmla="*/ 2187153 w 4381952"/>
                  <a:gd name="connsiteY6220" fmla="*/ 5724433 h 7571038"/>
                  <a:gd name="connsiteX6221" fmla="*/ 2187153 w 4381952"/>
                  <a:gd name="connsiteY6221" fmla="*/ 5832926 h 7571038"/>
                  <a:gd name="connsiteX6222" fmla="*/ 2183949 w 4381952"/>
                  <a:gd name="connsiteY6222" fmla="*/ 5829721 h 7571038"/>
                  <a:gd name="connsiteX6223" fmla="*/ 2180744 w 4381952"/>
                  <a:gd name="connsiteY6223" fmla="*/ 5832926 h 7571038"/>
                  <a:gd name="connsiteX6224" fmla="*/ 2183949 w 4381952"/>
                  <a:gd name="connsiteY6224" fmla="*/ 5836134 h 7571038"/>
                  <a:gd name="connsiteX6225" fmla="*/ 2187153 w 4381952"/>
                  <a:gd name="connsiteY6225" fmla="*/ 5832926 h 7571038"/>
                  <a:gd name="connsiteX6226" fmla="*/ 2187153 w 4381952"/>
                  <a:gd name="connsiteY6226" fmla="*/ 5941171 h 7571038"/>
                  <a:gd name="connsiteX6227" fmla="*/ 2183949 w 4381952"/>
                  <a:gd name="connsiteY6227" fmla="*/ 5937965 h 7571038"/>
                  <a:gd name="connsiteX6228" fmla="*/ 2180744 w 4381952"/>
                  <a:gd name="connsiteY6228" fmla="*/ 5941171 h 7571038"/>
                  <a:gd name="connsiteX6229" fmla="*/ 2183949 w 4381952"/>
                  <a:gd name="connsiteY6229" fmla="*/ 5944379 h 7571038"/>
                  <a:gd name="connsiteX6230" fmla="*/ 2187153 w 4381952"/>
                  <a:gd name="connsiteY6230" fmla="*/ 5941171 h 7571038"/>
                  <a:gd name="connsiteX6231" fmla="*/ 2187153 w 4381952"/>
                  <a:gd name="connsiteY6231" fmla="*/ 6049664 h 7571038"/>
                  <a:gd name="connsiteX6232" fmla="*/ 2183949 w 4381952"/>
                  <a:gd name="connsiteY6232" fmla="*/ 6046459 h 7571038"/>
                  <a:gd name="connsiteX6233" fmla="*/ 2180744 w 4381952"/>
                  <a:gd name="connsiteY6233" fmla="*/ 6049664 h 7571038"/>
                  <a:gd name="connsiteX6234" fmla="*/ 2183949 w 4381952"/>
                  <a:gd name="connsiteY6234" fmla="*/ 6052869 h 7571038"/>
                  <a:gd name="connsiteX6235" fmla="*/ 2187153 w 4381952"/>
                  <a:gd name="connsiteY6235" fmla="*/ 6049664 h 7571038"/>
                  <a:gd name="connsiteX6236" fmla="*/ 2187153 w 4381952"/>
                  <a:gd name="connsiteY6236" fmla="*/ 6158157 h 7571038"/>
                  <a:gd name="connsiteX6237" fmla="*/ 2183949 w 4381952"/>
                  <a:gd name="connsiteY6237" fmla="*/ 6154952 h 7571038"/>
                  <a:gd name="connsiteX6238" fmla="*/ 2180744 w 4381952"/>
                  <a:gd name="connsiteY6238" fmla="*/ 6158157 h 7571038"/>
                  <a:gd name="connsiteX6239" fmla="*/ 2183949 w 4381952"/>
                  <a:gd name="connsiteY6239" fmla="*/ 6161365 h 7571038"/>
                  <a:gd name="connsiteX6240" fmla="*/ 2187153 w 4381952"/>
                  <a:gd name="connsiteY6240" fmla="*/ 6158157 h 7571038"/>
                  <a:gd name="connsiteX6241" fmla="*/ 2187153 w 4381952"/>
                  <a:gd name="connsiteY6241" fmla="*/ 6266651 h 7571038"/>
                  <a:gd name="connsiteX6242" fmla="*/ 2183949 w 4381952"/>
                  <a:gd name="connsiteY6242" fmla="*/ 6263446 h 7571038"/>
                  <a:gd name="connsiteX6243" fmla="*/ 2180744 w 4381952"/>
                  <a:gd name="connsiteY6243" fmla="*/ 6266651 h 7571038"/>
                  <a:gd name="connsiteX6244" fmla="*/ 2183949 w 4381952"/>
                  <a:gd name="connsiteY6244" fmla="*/ 6269858 h 7571038"/>
                  <a:gd name="connsiteX6245" fmla="*/ 2187153 w 4381952"/>
                  <a:gd name="connsiteY6245" fmla="*/ 6266651 h 7571038"/>
                  <a:gd name="connsiteX6246" fmla="*/ 2187153 w 4381952"/>
                  <a:gd name="connsiteY6246" fmla="*/ 6374899 h 7571038"/>
                  <a:gd name="connsiteX6247" fmla="*/ 2183949 w 4381952"/>
                  <a:gd name="connsiteY6247" fmla="*/ 6371693 h 7571038"/>
                  <a:gd name="connsiteX6248" fmla="*/ 2180744 w 4381952"/>
                  <a:gd name="connsiteY6248" fmla="*/ 6374899 h 7571038"/>
                  <a:gd name="connsiteX6249" fmla="*/ 2183949 w 4381952"/>
                  <a:gd name="connsiteY6249" fmla="*/ 6378103 h 7571038"/>
                  <a:gd name="connsiteX6250" fmla="*/ 2187153 w 4381952"/>
                  <a:gd name="connsiteY6250" fmla="*/ 6374899 h 7571038"/>
                  <a:gd name="connsiteX6251" fmla="*/ 2187153 w 4381952"/>
                  <a:gd name="connsiteY6251" fmla="*/ 6483392 h 7571038"/>
                  <a:gd name="connsiteX6252" fmla="*/ 2183949 w 4381952"/>
                  <a:gd name="connsiteY6252" fmla="*/ 6480186 h 7571038"/>
                  <a:gd name="connsiteX6253" fmla="*/ 2180744 w 4381952"/>
                  <a:gd name="connsiteY6253" fmla="*/ 6483392 h 7571038"/>
                  <a:gd name="connsiteX6254" fmla="*/ 2183949 w 4381952"/>
                  <a:gd name="connsiteY6254" fmla="*/ 6486596 h 7571038"/>
                  <a:gd name="connsiteX6255" fmla="*/ 2187153 w 4381952"/>
                  <a:gd name="connsiteY6255" fmla="*/ 6483392 h 7571038"/>
                  <a:gd name="connsiteX6256" fmla="*/ 2187153 w 4381952"/>
                  <a:gd name="connsiteY6256" fmla="*/ 6591884 h 7571038"/>
                  <a:gd name="connsiteX6257" fmla="*/ 2183949 w 4381952"/>
                  <a:gd name="connsiteY6257" fmla="*/ 6588679 h 7571038"/>
                  <a:gd name="connsiteX6258" fmla="*/ 2180744 w 4381952"/>
                  <a:gd name="connsiteY6258" fmla="*/ 6591884 h 7571038"/>
                  <a:gd name="connsiteX6259" fmla="*/ 2183949 w 4381952"/>
                  <a:gd name="connsiteY6259" fmla="*/ 6595092 h 7571038"/>
                  <a:gd name="connsiteX6260" fmla="*/ 2187153 w 4381952"/>
                  <a:gd name="connsiteY6260" fmla="*/ 6591884 h 7571038"/>
                  <a:gd name="connsiteX6261" fmla="*/ 2187153 w 4381952"/>
                  <a:gd name="connsiteY6261" fmla="*/ 6700379 h 7571038"/>
                  <a:gd name="connsiteX6262" fmla="*/ 2183949 w 4381952"/>
                  <a:gd name="connsiteY6262" fmla="*/ 6697173 h 7571038"/>
                  <a:gd name="connsiteX6263" fmla="*/ 2180744 w 4381952"/>
                  <a:gd name="connsiteY6263" fmla="*/ 6700379 h 7571038"/>
                  <a:gd name="connsiteX6264" fmla="*/ 2183949 w 4381952"/>
                  <a:gd name="connsiteY6264" fmla="*/ 6703586 h 7571038"/>
                  <a:gd name="connsiteX6265" fmla="*/ 2187153 w 4381952"/>
                  <a:gd name="connsiteY6265" fmla="*/ 6700379 h 7571038"/>
                  <a:gd name="connsiteX6266" fmla="*/ 2187153 w 4381952"/>
                  <a:gd name="connsiteY6266" fmla="*/ 6808626 h 7571038"/>
                  <a:gd name="connsiteX6267" fmla="*/ 2183949 w 4381952"/>
                  <a:gd name="connsiteY6267" fmla="*/ 6805421 h 7571038"/>
                  <a:gd name="connsiteX6268" fmla="*/ 2180744 w 4381952"/>
                  <a:gd name="connsiteY6268" fmla="*/ 6808626 h 7571038"/>
                  <a:gd name="connsiteX6269" fmla="*/ 2183949 w 4381952"/>
                  <a:gd name="connsiteY6269" fmla="*/ 6811831 h 7571038"/>
                  <a:gd name="connsiteX6270" fmla="*/ 2187153 w 4381952"/>
                  <a:gd name="connsiteY6270" fmla="*/ 6808626 h 7571038"/>
                  <a:gd name="connsiteX6271" fmla="*/ 2187153 w 4381952"/>
                  <a:gd name="connsiteY6271" fmla="*/ 6917119 h 7571038"/>
                  <a:gd name="connsiteX6272" fmla="*/ 2183949 w 4381952"/>
                  <a:gd name="connsiteY6272" fmla="*/ 6913914 h 7571038"/>
                  <a:gd name="connsiteX6273" fmla="*/ 2180744 w 4381952"/>
                  <a:gd name="connsiteY6273" fmla="*/ 6917119 h 7571038"/>
                  <a:gd name="connsiteX6274" fmla="*/ 2183949 w 4381952"/>
                  <a:gd name="connsiteY6274" fmla="*/ 6920327 h 7571038"/>
                  <a:gd name="connsiteX6275" fmla="*/ 2187153 w 4381952"/>
                  <a:gd name="connsiteY6275" fmla="*/ 6917119 h 7571038"/>
                  <a:gd name="connsiteX6276" fmla="*/ 2187153 w 4381952"/>
                  <a:gd name="connsiteY6276" fmla="*/ 7025612 h 7571038"/>
                  <a:gd name="connsiteX6277" fmla="*/ 2183949 w 4381952"/>
                  <a:gd name="connsiteY6277" fmla="*/ 7022407 h 7571038"/>
                  <a:gd name="connsiteX6278" fmla="*/ 2180744 w 4381952"/>
                  <a:gd name="connsiteY6278" fmla="*/ 7025612 h 7571038"/>
                  <a:gd name="connsiteX6279" fmla="*/ 2183949 w 4381952"/>
                  <a:gd name="connsiteY6279" fmla="*/ 7028819 h 7571038"/>
                  <a:gd name="connsiteX6280" fmla="*/ 2187153 w 4381952"/>
                  <a:gd name="connsiteY6280" fmla="*/ 7025612 h 7571038"/>
                  <a:gd name="connsiteX6281" fmla="*/ 2187153 w 4381952"/>
                  <a:gd name="connsiteY6281" fmla="*/ 7134105 h 7571038"/>
                  <a:gd name="connsiteX6282" fmla="*/ 2183949 w 4381952"/>
                  <a:gd name="connsiteY6282" fmla="*/ 7130900 h 7571038"/>
                  <a:gd name="connsiteX6283" fmla="*/ 2180744 w 4381952"/>
                  <a:gd name="connsiteY6283" fmla="*/ 7134105 h 7571038"/>
                  <a:gd name="connsiteX6284" fmla="*/ 2183949 w 4381952"/>
                  <a:gd name="connsiteY6284" fmla="*/ 7137313 h 7571038"/>
                  <a:gd name="connsiteX6285" fmla="*/ 2187153 w 4381952"/>
                  <a:gd name="connsiteY6285" fmla="*/ 7134105 h 7571038"/>
                  <a:gd name="connsiteX6286" fmla="*/ 2187153 w 4381952"/>
                  <a:gd name="connsiteY6286" fmla="*/ 7242353 h 7571038"/>
                  <a:gd name="connsiteX6287" fmla="*/ 2183949 w 4381952"/>
                  <a:gd name="connsiteY6287" fmla="*/ 7239147 h 7571038"/>
                  <a:gd name="connsiteX6288" fmla="*/ 2180744 w 4381952"/>
                  <a:gd name="connsiteY6288" fmla="*/ 7242353 h 7571038"/>
                  <a:gd name="connsiteX6289" fmla="*/ 2183949 w 4381952"/>
                  <a:gd name="connsiteY6289" fmla="*/ 7245557 h 7571038"/>
                  <a:gd name="connsiteX6290" fmla="*/ 2187153 w 4381952"/>
                  <a:gd name="connsiteY6290" fmla="*/ 7242353 h 7571038"/>
                  <a:gd name="connsiteX6291" fmla="*/ 2187153 w 4381952"/>
                  <a:gd name="connsiteY6291" fmla="*/ 7350846 h 7571038"/>
                  <a:gd name="connsiteX6292" fmla="*/ 2183949 w 4381952"/>
                  <a:gd name="connsiteY6292" fmla="*/ 7347641 h 7571038"/>
                  <a:gd name="connsiteX6293" fmla="*/ 2180744 w 4381952"/>
                  <a:gd name="connsiteY6293" fmla="*/ 7350846 h 7571038"/>
                  <a:gd name="connsiteX6294" fmla="*/ 2183949 w 4381952"/>
                  <a:gd name="connsiteY6294" fmla="*/ 7354054 h 7571038"/>
                  <a:gd name="connsiteX6295" fmla="*/ 2187153 w 4381952"/>
                  <a:gd name="connsiteY6295" fmla="*/ 7350846 h 7571038"/>
                  <a:gd name="connsiteX6296" fmla="*/ 2187153 w 4381952"/>
                  <a:gd name="connsiteY6296" fmla="*/ 7459337 h 7571038"/>
                  <a:gd name="connsiteX6297" fmla="*/ 2183949 w 4381952"/>
                  <a:gd name="connsiteY6297" fmla="*/ 7456131 h 7571038"/>
                  <a:gd name="connsiteX6298" fmla="*/ 2180744 w 4381952"/>
                  <a:gd name="connsiteY6298" fmla="*/ 7459337 h 7571038"/>
                  <a:gd name="connsiteX6299" fmla="*/ 2183949 w 4381952"/>
                  <a:gd name="connsiteY6299" fmla="*/ 7462544 h 7571038"/>
                  <a:gd name="connsiteX6300" fmla="*/ 2187153 w 4381952"/>
                  <a:gd name="connsiteY6300" fmla="*/ 7459337 h 7571038"/>
                  <a:gd name="connsiteX6301" fmla="*/ 2187153 w 4381952"/>
                  <a:gd name="connsiteY6301" fmla="*/ 7567831 h 7571038"/>
                  <a:gd name="connsiteX6302" fmla="*/ 2183949 w 4381952"/>
                  <a:gd name="connsiteY6302" fmla="*/ 7564625 h 7571038"/>
                  <a:gd name="connsiteX6303" fmla="*/ 2180744 w 4381952"/>
                  <a:gd name="connsiteY6303" fmla="*/ 7567831 h 7571038"/>
                  <a:gd name="connsiteX6304" fmla="*/ 2183949 w 4381952"/>
                  <a:gd name="connsiteY6304" fmla="*/ 7571038 h 7571038"/>
                  <a:gd name="connsiteX6305" fmla="*/ 2187153 w 4381952"/>
                  <a:gd name="connsiteY6305" fmla="*/ 7567831 h 7571038"/>
                  <a:gd name="connsiteX6306" fmla="*/ 2190360 w 4381952"/>
                  <a:gd name="connsiteY6306" fmla="*/ 4314515 h 7571038"/>
                  <a:gd name="connsiteX6307" fmla="*/ 2183950 w 4381952"/>
                  <a:gd name="connsiteY6307" fmla="*/ 4308102 h 7571038"/>
                  <a:gd name="connsiteX6308" fmla="*/ 2177538 w 4381952"/>
                  <a:gd name="connsiteY6308" fmla="*/ 4314515 h 7571038"/>
                  <a:gd name="connsiteX6309" fmla="*/ 2183950 w 4381952"/>
                  <a:gd name="connsiteY6309" fmla="*/ 4320924 h 7571038"/>
                  <a:gd name="connsiteX6310" fmla="*/ 2190360 w 4381952"/>
                  <a:gd name="connsiteY6310" fmla="*/ 4314515 h 7571038"/>
                  <a:gd name="connsiteX6311" fmla="*/ 2193072 w 4381952"/>
                  <a:gd name="connsiteY6311" fmla="*/ 1773152 h 7571038"/>
                  <a:gd name="connsiteX6312" fmla="*/ 2181731 w 4381952"/>
                  <a:gd name="connsiteY6312" fmla="*/ 1761809 h 7571038"/>
                  <a:gd name="connsiteX6313" fmla="*/ 2170388 w 4381952"/>
                  <a:gd name="connsiteY6313" fmla="*/ 1773152 h 7571038"/>
                  <a:gd name="connsiteX6314" fmla="*/ 2181731 w 4381952"/>
                  <a:gd name="connsiteY6314" fmla="*/ 1784494 h 7571038"/>
                  <a:gd name="connsiteX6315" fmla="*/ 2193072 w 4381952"/>
                  <a:gd name="connsiteY6315" fmla="*/ 1773152 h 7571038"/>
                  <a:gd name="connsiteX6316" fmla="*/ 2194306 w 4381952"/>
                  <a:gd name="connsiteY6316" fmla="*/ 4639746 h 7571038"/>
                  <a:gd name="connsiteX6317" fmla="*/ 2183949 w 4381952"/>
                  <a:gd name="connsiteY6317" fmla="*/ 4629637 h 7571038"/>
                  <a:gd name="connsiteX6318" fmla="*/ 2173595 w 4381952"/>
                  <a:gd name="connsiteY6318" fmla="*/ 4639746 h 7571038"/>
                  <a:gd name="connsiteX6319" fmla="*/ 2183949 w 4381952"/>
                  <a:gd name="connsiteY6319" fmla="*/ 4650104 h 7571038"/>
                  <a:gd name="connsiteX6320" fmla="*/ 2194306 w 4381952"/>
                  <a:gd name="connsiteY6320" fmla="*/ 4639746 h 7571038"/>
                  <a:gd name="connsiteX6321" fmla="*/ 2197017 w 4381952"/>
                  <a:gd name="connsiteY6321" fmla="*/ 4206264 h 7571038"/>
                  <a:gd name="connsiteX6322" fmla="*/ 2183950 w 4381952"/>
                  <a:gd name="connsiteY6322" fmla="*/ 4193196 h 7571038"/>
                  <a:gd name="connsiteX6323" fmla="*/ 2170882 w 4381952"/>
                  <a:gd name="connsiteY6323" fmla="*/ 4206264 h 7571038"/>
                  <a:gd name="connsiteX6324" fmla="*/ 2183950 w 4381952"/>
                  <a:gd name="connsiteY6324" fmla="*/ 4219331 h 7571038"/>
                  <a:gd name="connsiteX6325" fmla="*/ 2197017 w 4381952"/>
                  <a:gd name="connsiteY6325" fmla="*/ 4206264 h 7571038"/>
                  <a:gd name="connsiteX6326" fmla="*/ 2200716 w 4381952"/>
                  <a:gd name="connsiteY6326" fmla="*/ 5182213 h 7571038"/>
                  <a:gd name="connsiteX6327" fmla="*/ 2183949 w 4381952"/>
                  <a:gd name="connsiteY6327" fmla="*/ 5165445 h 7571038"/>
                  <a:gd name="connsiteX6328" fmla="*/ 2167182 w 4381952"/>
                  <a:gd name="connsiteY6328" fmla="*/ 5182213 h 7571038"/>
                  <a:gd name="connsiteX6329" fmla="*/ 2183949 w 4381952"/>
                  <a:gd name="connsiteY6329" fmla="*/ 5198979 h 7571038"/>
                  <a:gd name="connsiteX6330" fmla="*/ 2200716 w 4381952"/>
                  <a:gd name="connsiteY6330" fmla="*/ 5182213 h 7571038"/>
                  <a:gd name="connsiteX6331" fmla="*/ 2204168 w 4381952"/>
                  <a:gd name="connsiteY6331" fmla="*/ 1556178 h 7571038"/>
                  <a:gd name="connsiteX6332" fmla="*/ 2180744 w 4381952"/>
                  <a:gd name="connsiteY6332" fmla="*/ 1532756 h 7571038"/>
                  <a:gd name="connsiteX6333" fmla="*/ 2157319 w 4381952"/>
                  <a:gd name="connsiteY6333" fmla="*/ 1556178 h 7571038"/>
                  <a:gd name="connsiteX6334" fmla="*/ 2180744 w 4381952"/>
                  <a:gd name="connsiteY6334" fmla="*/ 1579605 h 7571038"/>
                  <a:gd name="connsiteX6335" fmla="*/ 2204168 w 4381952"/>
                  <a:gd name="connsiteY6335" fmla="*/ 1556178 h 7571038"/>
                  <a:gd name="connsiteX6336" fmla="*/ 2207129 w 4381952"/>
                  <a:gd name="connsiteY6336" fmla="*/ 3989279 h 7571038"/>
                  <a:gd name="connsiteX6337" fmla="*/ 2183953 w 4381952"/>
                  <a:gd name="connsiteY6337" fmla="*/ 3966100 h 7571038"/>
                  <a:gd name="connsiteX6338" fmla="*/ 2160773 w 4381952"/>
                  <a:gd name="connsiteY6338" fmla="*/ 3989279 h 7571038"/>
                  <a:gd name="connsiteX6339" fmla="*/ 2183953 w 4381952"/>
                  <a:gd name="connsiteY6339" fmla="*/ 4012456 h 7571038"/>
                  <a:gd name="connsiteX6340" fmla="*/ 2207129 w 4381952"/>
                  <a:gd name="connsiteY6340" fmla="*/ 3989279 h 7571038"/>
                  <a:gd name="connsiteX6341" fmla="*/ 2208361 w 4381952"/>
                  <a:gd name="connsiteY6341" fmla="*/ 1881629 h 7571038"/>
                  <a:gd name="connsiteX6342" fmla="*/ 2182222 w 4381952"/>
                  <a:gd name="connsiteY6342" fmla="*/ 1855499 h 7571038"/>
                  <a:gd name="connsiteX6343" fmla="*/ 2156087 w 4381952"/>
                  <a:gd name="connsiteY6343" fmla="*/ 1881629 h 7571038"/>
                  <a:gd name="connsiteX6344" fmla="*/ 2182222 w 4381952"/>
                  <a:gd name="connsiteY6344" fmla="*/ 1907762 h 7571038"/>
                  <a:gd name="connsiteX6345" fmla="*/ 2208361 w 4381952"/>
                  <a:gd name="connsiteY6345" fmla="*/ 1881629 h 7571038"/>
                  <a:gd name="connsiteX6346" fmla="*/ 2210579 w 4381952"/>
                  <a:gd name="connsiteY6346" fmla="*/ 5073720 h 7571038"/>
                  <a:gd name="connsiteX6347" fmla="*/ 2183949 w 4381952"/>
                  <a:gd name="connsiteY6347" fmla="*/ 5047089 h 7571038"/>
                  <a:gd name="connsiteX6348" fmla="*/ 2157319 w 4381952"/>
                  <a:gd name="connsiteY6348" fmla="*/ 5073720 h 7571038"/>
                  <a:gd name="connsiteX6349" fmla="*/ 2183949 w 4381952"/>
                  <a:gd name="connsiteY6349" fmla="*/ 5100349 h 7571038"/>
                  <a:gd name="connsiteX6350" fmla="*/ 2210579 w 4381952"/>
                  <a:gd name="connsiteY6350" fmla="*/ 5073720 h 7571038"/>
                  <a:gd name="connsiteX6351" fmla="*/ 2210580 w 4381952"/>
                  <a:gd name="connsiteY6351" fmla="*/ 363642 h 7571038"/>
                  <a:gd name="connsiteX6352" fmla="*/ 2180990 w 4381952"/>
                  <a:gd name="connsiteY6352" fmla="*/ 334054 h 7571038"/>
                  <a:gd name="connsiteX6353" fmla="*/ 2151402 w 4381952"/>
                  <a:gd name="connsiteY6353" fmla="*/ 363642 h 7571038"/>
                  <a:gd name="connsiteX6354" fmla="*/ 2180990 w 4381952"/>
                  <a:gd name="connsiteY6354" fmla="*/ 393230 h 7571038"/>
                  <a:gd name="connsiteX6355" fmla="*/ 2210580 w 4381952"/>
                  <a:gd name="connsiteY6355" fmla="*/ 363642 h 7571038"/>
                  <a:gd name="connsiteX6356" fmla="*/ 2210826 w 4381952"/>
                  <a:gd name="connsiteY6356" fmla="*/ 255171 h 7571038"/>
                  <a:gd name="connsiteX6357" fmla="*/ 2180991 w 4381952"/>
                  <a:gd name="connsiteY6357" fmla="*/ 225337 h 7571038"/>
                  <a:gd name="connsiteX6358" fmla="*/ 2151156 w 4381952"/>
                  <a:gd name="connsiteY6358" fmla="*/ 255171 h 7571038"/>
                  <a:gd name="connsiteX6359" fmla="*/ 2180991 w 4381952"/>
                  <a:gd name="connsiteY6359" fmla="*/ 285008 h 7571038"/>
                  <a:gd name="connsiteX6360" fmla="*/ 2210826 w 4381952"/>
                  <a:gd name="connsiteY6360" fmla="*/ 255171 h 7571038"/>
                  <a:gd name="connsiteX6361" fmla="*/ 2211320 w 4381952"/>
                  <a:gd name="connsiteY6361" fmla="*/ 38481 h 7571038"/>
                  <a:gd name="connsiteX6362" fmla="*/ 2180744 w 4381952"/>
                  <a:gd name="connsiteY6362" fmla="*/ 7906 h 7571038"/>
                  <a:gd name="connsiteX6363" fmla="*/ 2150169 w 4381952"/>
                  <a:gd name="connsiteY6363" fmla="*/ 38481 h 7571038"/>
                  <a:gd name="connsiteX6364" fmla="*/ 2180744 w 4381952"/>
                  <a:gd name="connsiteY6364" fmla="*/ 69055 h 7571038"/>
                  <a:gd name="connsiteX6365" fmla="*/ 2211320 w 4381952"/>
                  <a:gd name="connsiteY6365" fmla="*/ 38481 h 7571038"/>
                  <a:gd name="connsiteX6366" fmla="*/ 2212552 w 4381952"/>
                  <a:gd name="connsiteY6366" fmla="*/ 146705 h 7571038"/>
                  <a:gd name="connsiteX6367" fmla="*/ 2181237 w 4381952"/>
                  <a:gd name="connsiteY6367" fmla="*/ 115390 h 7571038"/>
                  <a:gd name="connsiteX6368" fmla="*/ 2149921 w 4381952"/>
                  <a:gd name="connsiteY6368" fmla="*/ 146705 h 7571038"/>
                  <a:gd name="connsiteX6369" fmla="*/ 2181237 w 4381952"/>
                  <a:gd name="connsiteY6369" fmla="*/ 178020 h 7571038"/>
                  <a:gd name="connsiteX6370" fmla="*/ 2212552 w 4381952"/>
                  <a:gd name="connsiteY6370" fmla="*/ 146705 h 7571038"/>
                  <a:gd name="connsiteX6371" fmla="*/ 2212800 w 4381952"/>
                  <a:gd name="connsiteY6371" fmla="*/ 1447695 h 7571038"/>
                  <a:gd name="connsiteX6372" fmla="*/ 2180991 w 4381952"/>
                  <a:gd name="connsiteY6372" fmla="*/ 1415891 h 7571038"/>
                  <a:gd name="connsiteX6373" fmla="*/ 2149184 w 4381952"/>
                  <a:gd name="connsiteY6373" fmla="*/ 1447695 h 7571038"/>
                  <a:gd name="connsiteX6374" fmla="*/ 2180991 w 4381952"/>
                  <a:gd name="connsiteY6374" fmla="*/ 1479506 h 7571038"/>
                  <a:gd name="connsiteX6375" fmla="*/ 2212800 w 4381952"/>
                  <a:gd name="connsiteY6375" fmla="*/ 1447695 h 7571038"/>
                  <a:gd name="connsiteX6376" fmla="*/ 2213539 w 4381952"/>
                  <a:gd name="connsiteY6376" fmla="*/ 4097774 h 7571038"/>
                  <a:gd name="connsiteX6377" fmla="*/ 2183950 w 4381952"/>
                  <a:gd name="connsiteY6377" fmla="*/ 4068184 h 7571038"/>
                  <a:gd name="connsiteX6378" fmla="*/ 2154360 w 4381952"/>
                  <a:gd name="connsiteY6378" fmla="*/ 4097774 h 7571038"/>
                  <a:gd name="connsiteX6379" fmla="*/ 2183950 w 4381952"/>
                  <a:gd name="connsiteY6379" fmla="*/ 4127363 h 7571038"/>
                  <a:gd name="connsiteX6380" fmla="*/ 2213539 w 4381952"/>
                  <a:gd name="connsiteY6380" fmla="*/ 4097774 h 7571038"/>
                  <a:gd name="connsiteX6381" fmla="*/ 2214279 w 4381952"/>
                  <a:gd name="connsiteY6381" fmla="*/ 1339214 h 7571038"/>
                  <a:gd name="connsiteX6382" fmla="*/ 2180496 w 4381952"/>
                  <a:gd name="connsiteY6382" fmla="*/ 1305434 h 7571038"/>
                  <a:gd name="connsiteX6383" fmla="*/ 2146716 w 4381952"/>
                  <a:gd name="connsiteY6383" fmla="*/ 1339214 h 7571038"/>
                  <a:gd name="connsiteX6384" fmla="*/ 2180496 w 4381952"/>
                  <a:gd name="connsiteY6384" fmla="*/ 1373001 h 7571038"/>
                  <a:gd name="connsiteX6385" fmla="*/ 2214279 w 4381952"/>
                  <a:gd name="connsiteY6385" fmla="*/ 1339214 h 7571038"/>
                  <a:gd name="connsiteX6386" fmla="*/ 2215265 w 4381952"/>
                  <a:gd name="connsiteY6386" fmla="*/ 2857256 h 7571038"/>
                  <a:gd name="connsiteX6387" fmla="*/ 2183703 w 4381952"/>
                  <a:gd name="connsiteY6387" fmla="*/ 2825695 h 7571038"/>
                  <a:gd name="connsiteX6388" fmla="*/ 2152143 w 4381952"/>
                  <a:gd name="connsiteY6388" fmla="*/ 2857256 h 7571038"/>
                  <a:gd name="connsiteX6389" fmla="*/ 2183703 w 4381952"/>
                  <a:gd name="connsiteY6389" fmla="*/ 2888817 h 7571038"/>
                  <a:gd name="connsiteX6390" fmla="*/ 2215265 w 4381952"/>
                  <a:gd name="connsiteY6390" fmla="*/ 2857256 h 7571038"/>
                  <a:gd name="connsiteX6391" fmla="*/ 2218471 w 4381952"/>
                  <a:gd name="connsiteY6391" fmla="*/ 1989844 h 7571038"/>
                  <a:gd name="connsiteX6392" fmla="*/ 2182223 w 4381952"/>
                  <a:gd name="connsiteY6392" fmla="*/ 1953604 h 7571038"/>
                  <a:gd name="connsiteX6393" fmla="*/ 2145976 w 4381952"/>
                  <a:gd name="connsiteY6393" fmla="*/ 1989844 h 7571038"/>
                  <a:gd name="connsiteX6394" fmla="*/ 2182223 w 4381952"/>
                  <a:gd name="connsiteY6394" fmla="*/ 2026087 h 7571038"/>
                  <a:gd name="connsiteX6395" fmla="*/ 2218471 w 4381952"/>
                  <a:gd name="connsiteY6395" fmla="*/ 1989844 h 7571038"/>
                  <a:gd name="connsiteX6396" fmla="*/ 2221428 w 4381952"/>
                  <a:gd name="connsiteY6396" fmla="*/ 4423005 h 7571038"/>
                  <a:gd name="connsiteX6397" fmla="*/ 2183950 w 4381952"/>
                  <a:gd name="connsiteY6397" fmla="*/ 4385526 h 7571038"/>
                  <a:gd name="connsiteX6398" fmla="*/ 2146470 w 4381952"/>
                  <a:gd name="connsiteY6398" fmla="*/ 4423005 h 7571038"/>
                  <a:gd name="connsiteX6399" fmla="*/ 2183950 w 4381952"/>
                  <a:gd name="connsiteY6399" fmla="*/ 4460485 h 7571038"/>
                  <a:gd name="connsiteX6400" fmla="*/ 2221428 w 4381952"/>
                  <a:gd name="connsiteY6400" fmla="*/ 4423005 h 7571038"/>
                  <a:gd name="connsiteX6401" fmla="*/ 2222415 w 4381952"/>
                  <a:gd name="connsiteY6401" fmla="*/ 2965745 h 7571038"/>
                  <a:gd name="connsiteX6402" fmla="*/ 2183949 w 4381952"/>
                  <a:gd name="connsiteY6402" fmla="*/ 2927280 h 7571038"/>
                  <a:gd name="connsiteX6403" fmla="*/ 2145484 w 4381952"/>
                  <a:gd name="connsiteY6403" fmla="*/ 2965745 h 7571038"/>
                  <a:gd name="connsiteX6404" fmla="*/ 2183949 w 4381952"/>
                  <a:gd name="connsiteY6404" fmla="*/ 3004210 h 7571038"/>
                  <a:gd name="connsiteX6405" fmla="*/ 2222415 w 4381952"/>
                  <a:gd name="connsiteY6405" fmla="*/ 2965745 h 7571038"/>
                  <a:gd name="connsiteX6406" fmla="*/ 2222910 w 4381952"/>
                  <a:gd name="connsiteY6406" fmla="*/ 4748487 h 7571038"/>
                  <a:gd name="connsiteX6407" fmla="*/ 2183953 w 4381952"/>
                  <a:gd name="connsiteY6407" fmla="*/ 4709527 h 7571038"/>
                  <a:gd name="connsiteX6408" fmla="*/ 2144993 w 4381952"/>
                  <a:gd name="connsiteY6408" fmla="*/ 4748487 h 7571038"/>
                  <a:gd name="connsiteX6409" fmla="*/ 2183953 w 4381952"/>
                  <a:gd name="connsiteY6409" fmla="*/ 4787445 h 7571038"/>
                  <a:gd name="connsiteX6410" fmla="*/ 2222910 w 4381952"/>
                  <a:gd name="connsiteY6410" fmla="*/ 4748487 h 7571038"/>
                  <a:gd name="connsiteX6411" fmla="*/ 2226112 w 4381952"/>
                  <a:gd name="connsiteY6411" fmla="*/ 4531501 h 7571038"/>
                  <a:gd name="connsiteX6412" fmla="*/ 2183950 w 4381952"/>
                  <a:gd name="connsiteY6412" fmla="*/ 4489335 h 7571038"/>
                  <a:gd name="connsiteX6413" fmla="*/ 2141785 w 4381952"/>
                  <a:gd name="connsiteY6413" fmla="*/ 4531501 h 7571038"/>
                  <a:gd name="connsiteX6414" fmla="*/ 2183950 w 4381952"/>
                  <a:gd name="connsiteY6414" fmla="*/ 4573663 h 7571038"/>
                  <a:gd name="connsiteX6415" fmla="*/ 2226112 w 4381952"/>
                  <a:gd name="connsiteY6415" fmla="*/ 4531501 h 7571038"/>
                  <a:gd name="connsiteX6416" fmla="*/ 2233265 w 4381952"/>
                  <a:gd name="connsiteY6416" fmla="*/ 4856732 h 7571038"/>
                  <a:gd name="connsiteX6417" fmla="*/ 2183950 w 4381952"/>
                  <a:gd name="connsiteY6417" fmla="*/ 4807417 h 7571038"/>
                  <a:gd name="connsiteX6418" fmla="*/ 2134635 w 4381952"/>
                  <a:gd name="connsiteY6418" fmla="*/ 4856732 h 7571038"/>
                  <a:gd name="connsiteX6419" fmla="*/ 2183950 w 4381952"/>
                  <a:gd name="connsiteY6419" fmla="*/ 4906046 h 7571038"/>
                  <a:gd name="connsiteX6420" fmla="*/ 2233265 w 4381952"/>
                  <a:gd name="connsiteY6420" fmla="*/ 4856732 h 7571038"/>
                  <a:gd name="connsiteX6421" fmla="*/ 2255703 w 4381952"/>
                  <a:gd name="connsiteY6421" fmla="*/ 2207809 h 7571038"/>
                  <a:gd name="connsiteX6422" fmla="*/ 2240661 w 4381952"/>
                  <a:gd name="connsiteY6422" fmla="*/ 2192767 h 7571038"/>
                  <a:gd name="connsiteX6423" fmla="*/ 2225620 w 4381952"/>
                  <a:gd name="connsiteY6423" fmla="*/ 2207809 h 7571038"/>
                  <a:gd name="connsiteX6424" fmla="*/ 2240661 w 4381952"/>
                  <a:gd name="connsiteY6424" fmla="*/ 2222850 h 7571038"/>
                  <a:gd name="connsiteX6425" fmla="*/ 2255703 w 4381952"/>
                  <a:gd name="connsiteY6425" fmla="*/ 2207809 h 7571038"/>
                  <a:gd name="connsiteX6426" fmla="*/ 2260881 w 4381952"/>
                  <a:gd name="connsiteY6426" fmla="*/ 2642251 h 7571038"/>
                  <a:gd name="connsiteX6427" fmla="*/ 2242388 w 4381952"/>
                  <a:gd name="connsiteY6427" fmla="*/ 2624002 h 7571038"/>
                  <a:gd name="connsiteX6428" fmla="*/ 2223894 w 4381952"/>
                  <a:gd name="connsiteY6428" fmla="*/ 2642251 h 7571038"/>
                  <a:gd name="connsiteX6429" fmla="*/ 2242388 w 4381952"/>
                  <a:gd name="connsiteY6429" fmla="*/ 2660742 h 7571038"/>
                  <a:gd name="connsiteX6430" fmla="*/ 2260881 w 4381952"/>
                  <a:gd name="connsiteY6430" fmla="*/ 2642251 h 7571038"/>
                  <a:gd name="connsiteX6431" fmla="*/ 2262359 w 4381952"/>
                  <a:gd name="connsiteY6431" fmla="*/ 2751231 h 7571038"/>
                  <a:gd name="connsiteX6432" fmla="*/ 2242141 w 4381952"/>
                  <a:gd name="connsiteY6432" fmla="*/ 2731013 h 7571038"/>
                  <a:gd name="connsiteX6433" fmla="*/ 2221921 w 4381952"/>
                  <a:gd name="connsiteY6433" fmla="*/ 2751231 h 7571038"/>
                  <a:gd name="connsiteX6434" fmla="*/ 2242141 w 4381952"/>
                  <a:gd name="connsiteY6434" fmla="*/ 2771451 h 7571038"/>
                  <a:gd name="connsiteX6435" fmla="*/ 2262359 w 4381952"/>
                  <a:gd name="connsiteY6435" fmla="*/ 2751231 h 7571038"/>
                  <a:gd name="connsiteX6436" fmla="*/ 2264086 w 4381952"/>
                  <a:gd name="connsiteY6436" fmla="*/ 2099565 h 7571038"/>
                  <a:gd name="connsiteX6437" fmla="*/ 2240414 w 4381952"/>
                  <a:gd name="connsiteY6437" fmla="*/ 2075891 h 7571038"/>
                  <a:gd name="connsiteX6438" fmla="*/ 2216497 w 4381952"/>
                  <a:gd name="connsiteY6438" fmla="*/ 2099565 h 7571038"/>
                  <a:gd name="connsiteX6439" fmla="*/ 2240414 w 4381952"/>
                  <a:gd name="connsiteY6439" fmla="*/ 2123237 h 7571038"/>
                  <a:gd name="connsiteX6440" fmla="*/ 2264086 w 4381952"/>
                  <a:gd name="connsiteY6440" fmla="*/ 2099565 h 7571038"/>
                  <a:gd name="connsiteX6441" fmla="*/ 2270005 w 4381952"/>
                  <a:gd name="connsiteY6441" fmla="*/ 1014528 h 7571038"/>
                  <a:gd name="connsiteX6442" fmla="*/ 2238935 w 4381952"/>
                  <a:gd name="connsiteY6442" fmla="*/ 983455 h 7571038"/>
                  <a:gd name="connsiteX6443" fmla="*/ 2207867 w 4381952"/>
                  <a:gd name="connsiteY6443" fmla="*/ 1014528 h 7571038"/>
                  <a:gd name="connsiteX6444" fmla="*/ 2238935 w 4381952"/>
                  <a:gd name="connsiteY6444" fmla="*/ 1045594 h 7571038"/>
                  <a:gd name="connsiteX6445" fmla="*/ 2270005 w 4381952"/>
                  <a:gd name="connsiteY6445" fmla="*/ 1014528 h 7571038"/>
                  <a:gd name="connsiteX6446" fmla="*/ 2271486 w 4381952"/>
                  <a:gd name="connsiteY6446" fmla="*/ 797823 h 7571038"/>
                  <a:gd name="connsiteX6447" fmla="*/ 2239924 w 4381952"/>
                  <a:gd name="connsiteY6447" fmla="*/ 766259 h 7571038"/>
                  <a:gd name="connsiteX6448" fmla="*/ 2208362 w 4381952"/>
                  <a:gd name="connsiteY6448" fmla="*/ 797823 h 7571038"/>
                  <a:gd name="connsiteX6449" fmla="*/ 2239924 w 4381952"/>
                  <a:gd name="connsiteY6449" fmla="*/ 829383 h 7571038"/>
                  <a:gd name="connsiteX6450" fmla="*/ 2271486 w 4381952"/>
                  <a:gd name="connsiteY6450" fmla="*/ 797823 h 7571038"/>
                  <a:gd name="connsiteX6451" fmla="*/ 2272716 w 4381952"/>
                  <a:gd name="connsiteY6451" fmla="*/ 3078183 h 7571038"/>
                  <a:gd name="connsiteX6452" fmla="*/ 2241893 w 4381952"/>
                  <a:gd name="connsiteY6452" fmla="*/ 3047361 h 7571038"/>
                  <a:gd name="connsiteX6453" fmla="*/ 2211072 w 4381952"/>
                  <a:gd name="connsiteY6453" fmla="*/ 3078183 h 7571038"/>
                  <a:gd name="connsiteX6454" fmla="*/ 2241893 w 4381952"/>
                  <a:gd name="connsiteY6454" fmla="*/ 3109007 h 7571038"/>
                  <a:gd name="connsiteX6455" fmla="*/ 2272716 w 4381952"/>
                  <a:gd name="connsiteY6455" fmla="*/ 3078183 h 7571038"/>
                  <a:gd name="connsiteX6456" fmla="*/ 2273211 w 4381952"/>
                  <a:gd name="connsiteY6456" fmla="*/ 906285 h 7571038"/>
                  <a:gd name="connsiteX6457" fmla="*/ 2239183 w 4381952"/>
                  <a:gd name="connsiteY6457" fmla="*/ 872259 h 7571038"/>
                  <a:gd name="connsiteX6458" fmla="*/ 2205156 w 4381952"/>
                  <a:gd name="connsiteY6458" fmla="*/ 906285 h 7571038"/>
                  <a:gd name="connsiteX6459" fmla="*/ 2239183 w 4381952"/>
                  <a:gd name="connsiteY6459" fmla="*/ 940315 h 7571038"/>
                  <a:gd name="connsiteX6460" fmla="*/ 2273211 w 4381952"/>
                  <a:gd name="connsiteY6460" fmla="*/ 906285 h 7571038"/>
                  <a:gd name="connsiteX6461" fmla="*/ 2273702 w 4381952"/>
                  <a:gd name="connsiteY6461" fmla="*/ 472607 h 7571038"/>
                  <a:gd name="connsiteX6462" fmla="*/ 2239430 w 4381952"/>
                  <a:gd name="connsiteY6462" fmla="*/ 438333 h 7571038"/>
                  <a:gd name="connsiteX6463" fmla="*/ 2205156 w 4381952"/>
                  <a:gd name="connsiteY6463" fmla="*/ 472607 h 7571038"/>
                  <a:gd name="connsiteX6464" fmla="*/ 2239430 w 4381952"/>
                  <a:gd name="connsiteY6464" fmla="*/ 506881 h 7571038"/>
                  <a:gd name="connsiteX6465" fmla="*/ 2273702 w 4381952"/>
                  <a:gd name="connsiteY6465" fmla="*/ 472607 h 7571038"/>
                  <a:gd name="connsiteX6466" fmla="*/ 2274443 w 4381952"/>
                  <a:gd name="connsiteY6466" fmla="*/ 580835 h 7571038"/>
                  <a:gd name="connsiteX6467" fmla="*/ 2239428 w 4381952"/>
                  <a:gd name="connsiteY6467" fmla="*/ 545821 h 7571038"/>
                  <a:gd name="connsiteX6468" fmla="*/ 2204416 w 4381952"/>
                  <a:gd name="connsiteY6468" fmla="*/ 580835 h 7571038"/>
                  <a:gd name="connsiteX6469" fmla="*/ 2239428 w 4381952"/>
                  <a:gd name="connsiteY6469" fmla="*/ 615846 h 7571038"/>
                  <a:gd name="connsiteX6470" fmla="*/ 2274443 w 4381952"/>
                  <a:gd name="connsiteY6470" fmla="*/ 580835 h 7571038"/>
                  <a:gd name="connsiteX6471" fmla="*/ 2275184 w 4381952"/>
                  <a:gd name="connsiteY6471" fmla="*/ 2316538 h 7571038"/>
                  <a:gd name="connsiteX6472" fmla="*/ 2241156 w 4381952"/>
                  <a:gd name="connsiteY6472" fmla="*/ 2282513 h 7571038"/>
                  <a:gd name="connsiteX6473" fmla="*/ 2207129 w 4381952"/>
                  <a:gd name="connsiteY6473" fmla="*/ 2316538 h 7571038"/>
                  <a:gd name="connsiteX6474" fmla="*/ 2241156 w 4381952"/>
                  <a:gd name="connsiteY6474" fmla="*/ 2350571 h 7571038"/>
                  <a:gd name="connsiteX6475" fmla="*/ 2275184 w 4381952"/>
                  <a:gd name="connsiteY6475" fmla="*/ 2316538 h 7571038"/>
                  <a:gd name="connsiteX6476" fmla="*/ 2275427 w 4381952"/>
                  <a:gd name="connsiteY6476" fmla="*/ 2533761 h 7571038"/>
                  <a:gd name="connsiteX6477" fmla="*/ 2242141 w 4381952"/>
                  <a:gd name="connsiteY6477" fmla="*/ 2500472 h 7571038"/>
                  <a:gd name="connsiteX6478" fmla="*/ 2208853 w 4381952"/>
                  <a:gd name="connsiteY6478" fmla="*/ 2533761 h 7571038"/>
                  <a:gd name="connsiteX6479" fmla="*/ 2242141 w 4381952"/>
                  <a:gd name="connsiteY6479" fmla="*/ 2567046 h 7571038"/>
                  <a:gd name="connsiteX6480" fmla="*/ 2275427 w 4381952"/>
                  <a:gd name="connsiteY6480" fmla="*/ 2533761 h 7571038"/>
                  <a:gd name="connsiteX6481" fmla="*/ 2275676 w 4381952"/>
                  <a:gd name="connsiteY6481" fmla="*/ 689343 h 7571038"/>
                  <a:gd name="connsiteX6482" fmla="*/ 2239675 w 4381952"/>
                  <a:gd name="connsiteY6482" fmla="*/ 653347 h 7571038"/>
                  <a:gd name="connsiteX6483" fmla="*/ 2203676 w 4381952"/>
                  <a:gd name="connsiteY6483" fmla="*/ 689343 h 7571038"/>
                  <a:gd name="connsiteX6484" fmla="*/ 2239675 w 4381952"/>
                  <a:gd name="connsiteY6484" fmla="*/ 725336 h 7571038"/>
                  <a:gd name="connsiteX6485" fmla="*/ 2275676 w 4381952"/>
                  <a:gd name="connsiteY6485" fmla="*/ 689343 h 7571038"/>
                  <a:gd name="connsiteX6486" fmla="*/ 2276417 w 4381952"/>
                  <a:gd name="connsiteY6486" fmla="*/ 1123251 h 7571038"/>
                  <a:gd name="connsiteX6487" fmla="*/ 2238937 w 4381952"/>
                  <a:gd name="connsiteY6487" fmla="*/ 1085770 h 7571038"/>
                  <a:gd name="connsiteX6488" fmla="*/ 2201457 w 4381952"/>
                  <a:gd name="connsiteY6488" fmla="*/ 1123251 h 7571038"/>
                  <a:gd name="connsiteX6489" fmla="*/ 2238937 w 4381952"/>
                  <a:gd name="connsiteY6489" fmla="*/ 1160728 h 7571038"/>
                  <a:gd name="connsiteX6490" fmla="*/ 2276417 w 4381952"/>
                  <a:gd name="connsiteY6490" fmla="*/ 1123251 h 7571038"/>
                  <a:gd name="connsiteX6491" fmla="*/ 2277157 w 4381952"/>
                  <a:gd name="connsiteY6491" fmla="*/ 1231480 h 7571038"/>
                  <a:gd name="connsiteX6492" fmla="*/ 2238690 w 4381952"/>
                  <a:gd name="connsiteY6492" fmla="*/ 1193011 h 7571038"/>
                  <a:gd name="connsiteX6493" fmla="*/ 2200471 w 4381952"/>
                  <a:gd name="connsiteY6493" fmla="*/ 1231480 h 7571038"/>
                  <a:gd name="connsiteX6494" fmla="*/ 2238690 w 4381952"/>
                  <a:gd name="connsiteY6494" fmla="*/ 1269943 h 7571038"/>
                  <a:gd name="connsiteX6495" fmla="*/ 2277157 w 4381952"/>
                  <a:gd name="connsiteY6495" fmla="*/ 1231480 h 7571038"/>
                  <a:gd name="connsiteX6496" fmla="*/ 2286525 w 4381952"/>
                  <a:gd name="connsiteY6496" fmla="*/ 2425025 h 7571038"/>
                  <a:gd name="connsiteX6497" fmla="*/ 2241650 w 4381952"/>
                  <a:gd name="connsiteY6497" fmla="*/ 2380149 h 7571038"/>
                  <a:gd name="connsiteX6498" fmla="*/ 2196772 w 4381952"/>
                  <a:gd name="connsiteY6498" fmla="*/ 2425025 h 7571038"/>
                  <a:gd name="connsiteX6499" fmla="*/ 2241650 w 4381952"/>
                  <a:gd name="connsiteY6499" fmla="*/ 2469904 h 7571038"/>
                  <a:gd name="connsiteX6500" fmla="*/ 2286525 w 4381952"/>
                  <a:gd name="connsiteY6500" fmla="*/ 2425025 h 7571038"/>
                  <a:gd name="connsiteX6501" fmla="*/ 2301073 w 4381952"/>
                  <a:gd name="connsiteY6501" fmla="*/ 1668112 h 7571038"/>
                  <a:gd name="connsiteX6502" fmla="*/ 2297619 w 4381952"/>
                  <a:gd name="connsiteY6502" fmla="*/ 1664658 h 7571038"/>
                  <a:gd name="connsiteX6503" fmla="*/ 2294170 w 4381952"/>
                  <a:gd name="connsiteY6503" fmla="*/ 1668112 h 7571038"/>
                  <a:gd name="connsiteX6504" fmla="*/ 2297619 w 4381952"/>
                  <a:gd name="connsiteY6504" fmla="*/ 1671559 h 7571038"/>
                  <a:gd name="connsiteX6505" fmla="*/ 2301073 w 4381952"/>
                  <a:gd name="connsiteY6505" fmla="*/ 1668112 h 7571038"/>
                  <a:gd name="connsiteX6506" fmla="*/ 2307484 w 4381952"/>
                  <a:gd name="connsiteY6506" fmla="*/ 6155447 h 7571038"/>
                  <a:gd name="connsiteX6507" fmla="*/ 2304525 w 4381952"/>
                  <a:gd name="connsiteY6507" fmla="*/ 6152488 h 7571038"/>
                  <a:gd name="connsiteX6508" fmla="*/ 2301566 w 4381952"/>
                  <a:gd name="connsiteY6508" fmla="*/ 6155447 h 7571038"/>
                  <a:gd name="connsiteX6509" fmla="*/ 2304525 w 4381952"/>
                  <a:gd name="connsiteY6509" fmla="*/ 6158406 h 7571038"/>
                  <a:gd name="connsiteX6510" fmla="*/ 2307484 w 4381952"/>
                  <a:gd name="connsiteY6510" fmla="*/ 6155447 h 7571038"/>
                  <a:gd name="connsiteX6511" fmla="*/ 2307731 w 4381952"/>
                  <a:gd name="connsiteY6511" fmla="*/ 6263940 h 7571038"/>
                  <a:gd name="connsiteX6512" fmla="*/ 2304772 w 4381952"/>
                  <a:gd name="connsiteY6512" fmla="*/ 6260981 h 7571038"/>
                  <a:gd name="connsiteX6513" fmla="*/ 2301814 w 4381952"/>
                  <a:gd name="connsiteY6513" fmla="*/ 6263940 h 7571038"/>
                  <a:gd name="connsiteX6514" fmla="*/ 2304772 w 4381952"/>
                  <a:gd name="connsiteY6514" fmla="*/ 6266899 h 7571038"/>
                  <a:gd name="connsiteX6515" fmla="*/ 2307731 w 4381952"/>
                  <a:gd name="connsiteY6515" fmla="*/ 6263940 h 7571038"/>
                  <a:gd name="connsiteX6516" fmla="*/ 2307977 w 4381952"/>
                  <a:gd name="connsiteY6516" fmla="*/ 6372433 h 7571038"/>
                  <a:gd name="connsiteX6517" fmla="*/ 2305265 w 4381952"/>
                  <a:gd name="connsiteY6517" fmla="*/ 6369474 h 7571038"/>
                  <a:gd name="connsiteX6518" fmla="*/ 2302306 w 4381952"/>
                  <a:gd name="connsiteY6518" fmla="*/ 6372433 h 7571038"/>
                  <a:gd name="connsiteX6519" fmla="*/ 2305265 w 4381952"/>
                  <a:gd name="connsiteY6519" fmla="*/ 6375147 h 7571038"/>
                  <a:gd name="connsiteX6520" fmla="*/ 2307977 w 4381952"/>
                  <a:gd name="connsiteY6520" fmla="*/ 6372433 h 7571038"/>
                  <a:gd name="connsiteX6521" fmla="*/ 2308224 w 4381952"/>
                  <a:gd name="connsiteY6521" fmla="*/ 5503747 h 7571038"/>
                  <a:gd name="connsiteX6522" fmla="*/ 2306250 w 4381952"/>
                  <a:gd name="connsiteY6522" fmla="*/ 5501774 h 7571038"/>
                  <a:gd name="connsiteX6523" fmla="*/ 2304279 w 4381952"/>
                  <a:gd name="connsiteY6523" fmla="*/ 5503747 h 7571038"/>
                  <a:gd name="connsiteX6524" fmla="*/ 2306250 w 4381952"/>
                  <a:gd name="connsiteY6524" fmla="*/ 5505719 h 7571038"/>
                  <a:gd name="connsiteX6525" fmla="*/ 2308224 w 4381952"/>
                  <a:gd name="connsiteY6525" fmla="*/ 5503747 h 7571038"/>
                  <a:gd name="connsiteX6526" fmla="*/ 2308224 w 4381952"/>
                  <a:gd name="connsiteY6526" fmla="*/ 6480927 h 7571038"/>
                  <a:gd name="connsiteX6527" fmla="*/ 2305265 w 4381952"/>
                  <a:gd name="connsiteY6527" fmla="*/ 6477967 h 7571038"/>
                  <a:gd name="connsiteX6528" fmla="*/ 2302306 w 4381952"/>
                  <a:gd name="connsiteY6528" fmla="*/ 6480927 h 7571038"/>
                  <a:gd name="connsiteX6529" fmla="*/ 2305265 w 4381952"/>
                  <a:gd name="connsiteY6529" fmla="*/ 6483886 h 7571038"/>
                  <a:gd name="connsiteX6530" fmla="*/ 2308224 w 4381952"/>
                  <a:gd name="connsiteY6530" fmla="*/ 6480927 h 7571038"/>
                  <a:gd name="connsiteX6531" fmla="*/ 2308469 w 4381952"/>
                  <a:gd name="connsiteY6531" fmla="*/ 5286514 h 7571038"/>
                  <a:gd name="connsiteX6532" fmla="*/ 2305510 w 4381952"/>
                  <a:gd name="connsiteY6532" fmla="*/ 5283556 h 7571038"/>
                  <a:gd name="connsiteX6533" fmla="*/ 2302551 w 4381952"/>
                  <a:gd name="connsiteY6533" fmla="*/ 5286514 h 7571038"/>
                  <a:gd name="connsiteX6534" fmla="*/ 2305510 w 4381952"/>
                  <a:gd name="connsiteY6534" fmla="*/ 5289473 h 7571038"/>
                  <a:gd name="connsiteX6535" fmla="*/ 2308469 w 4381952"/>
                  <a:gd name="connsiteY6535" fmla="*/ 5286514 h 7571038"/>
                  <a:gd name="connsiteX6536" fmla="*/ 2308964 w 4381952"/>
                  <a:gd name="connsiteY6536" fmla="*/ 6806406 h 7571038"/>
                  <a:gd name="connsiteX6537" fmla="*/ 2306005 w 4381952"/>
                  <a:gd name="connsiteY6537" fmla="*/ 6803448 h 7571038"/>
                  <a:gd name="connsiteX6538" fmla="*/ 2303046 w 4381952"/>
                  <a:gd name="connsiteY6538" fmla="*/ 6806406 h 7571038"/>
                  <a:gd name="connsiteX6539" fmla="*/ 2306005 w 4381952"/>
                  <a:gd name="connsiteY6539" fmla="*/ 6809365 h 7571038"/>
                  <a:gd name="connsiteX6540" fmla="*/ 2308964 w 4381952"/>
                  <a:gd name="connsiteY6540" fmla="*/ 6806406 h 7571038"/>
                  <a:gd name="connsiteX6541" fmla="*/ 2309210 w 4381952"/>
                  <a:gd name="connsiteY6541" fmla="*/ 5395253 h 7571038"/>
                  <a:gd name="connsiteX6542" fmla="*/ 2306251 w 4381952"/>
                  <a:gd name="connsiteY6542" fmla="*/ 5392294 h 7571038"/>
                  <a:gd name="connsiteX6543" fmla="*/ 2303292 w 4381952"/>
                  <a:gd name="connsiteY6543" fmla="*/ 5395253 h 7571038"/>
                  <a:gd name="connsiteX6544" fmla="*/ 2306251 w 4381952"/>
                  <a:gd name="connsiteY6544" fmla="*/ 5398212 h 7571038"/>
                  <a:gd name="connsiteX6545" fmla="*/ 2309210 w 4381952"/>
                  <a:gd name="connsiteY6545" fmla="*/ 5395253 h 7571038"/>
                  <a:gd name="connsiteX6546" fmla="*/ 2309210 w 4381952"/>
                  <a:gd name="connsiteY6546" fmla="*/ 6046706 h 7571038"/>
                  <a:gd name="connsiteX6547" fmla="*/ 2306003 w 4381952"/>
                  <a:gd name="connsiteY6547" fmla="*/ 6043500 h 7571038"/>
                  <a:gd name="connsiteX6548" fmla="*/ 2302798 w 4381952"/>
                  <a:gd name="connsiteY6548" fmla="*/ 6046706 h 7571038"/>
                  <a:gd name="connsiteX6549" fmla="*/ 2306003 w 4381952"/>
                  <a:gd name="connsiteY6549" fmla="*/ 6049913 h 7571038"/>
                  <a:gd name="connsiteX6550" fmla="*/ 2309210 w 4381952"/>
                  <a:gd name="connsiteY6550" fmla="*/ 6046706 h 7571038"/>
                  <a:gd name="connsiteX6551" fmla="*/ 2309702 w 4381952"/>
                  <a:gd name="connsiteY6551" fmla="*/ 1776857 h 7571038"/>
                  <a:gd name="connsiteX6552" fmla="*/ 2298115 w 4381952"/>
                  <a:gd name="connsiteY6552" fmla="*/ 1765256 h 7571038"/>
                  <a:gd name="connsiteX6553" fmla="*/ 2286525 w 4381952"/>
                  <a:gd name="connsiteY6553" fmla="*/ 1776857 h 7571038"/>
                  <a:gd name="connsiteX6554" fmla="*/ 2298115 w 4381952"/>
                  <a:gd name="connsiteY6554" fmla="*/ 1788433 h 7571038"/>
                  <a:gd name="connsiteX6555" fmla="*/ 2309702 w 4381952"/>
                  <a:gd name="connsiteY6555" fmla="*/ 1776857 h 7571038"/>
                  <a:gd name="connsiteX6556" fmla="*/ 2309702 w 4381952"/>
                  <a:gd name="connsiteY6556" fmla="*/ 6589420 h 7571038"/>
                  <a:gd name="connsiteX6557" fmla="*/ 2306497 w 4381952"/>
                  <a:gd name="connsiteY6557" fmla="*/ 6586461 h 7571038"/>
                  <a:gd name="connsiteX6558" fmla="*/ 2303538 w 4381952"/>
                  <a:gd name="connsiteY6558" fmla="*/ 6589420 h 7571038"/>
                  <a:gd name="connsiteX6559" fmla="*/ 2306497 w 4381952"/>
                  <a:gd name="connsiteY6559" fmla="*/ 6592625 h 7571038"/>
                  <a:gd name="connsiteX6560" fmla="*/ 2309702 w 4381952"/>
                  <a:gd name="connsiteY6560" fmla="*/ 6589420 h 7571038"/>
                  <a:gd name="connsiteX6561" fmla="*/ 2309702 w 4381952"/>
                  <a:gd name="connsiteY6561" fmla="*/ 6697913 h 7571038"/>
                  <a:gd name="connsiteX6562" fmla="*/ 2306497 w 4381952"/>
                  <a:gd name="connsiteY6562" fmla="*/ 6694954 h 7571038"/>
                  <a:gd name="connsiteX6563" fmla="*/ 2303538 w 4381952"/>
                  <a:gd name="connsiteY6563" fmla="*/ 6697913 h 7571038"/>
                  <a:gd name="connsiteX6564" fmla="*/ 2306497 w 4381952"/>
                  <a:gd name="connsiteY6564" fmla="*/ 6701118 h 7571038"/>
                  <a:gd name="connsiteX6565" fmla="*/ 2309702 w 4381952"/>
                  <a:gd name="connsiteY6565" fmla="*/ 6697913 h 7571038"/>
                  <a:gd name="connsiteX6566" fmla="*/ 2309702 w 4381952"/>
                  <a:gd name="connsiteY6566" fmla="*/ 6915147 h 7571038"/>
                  <a:gd name="connsiteX6567" fmla="*/ 2306497 w 4381952"/>
                  <a:gd name="connsiteY6567" fmla="*/ 6912187 h 7571038"/>
                  <a:gd name="connsiteX6568" fmla="*/ 2303538 w 4381952"/>
                  <a:gd name="connsiteY6568" fmla="*/ 6915147 h 7571038"/>
                  <a:gd name="connsiteX6569" fmla="*/ 2306497 w 4381952"/>
                  <a:gd name="connsiteY6569" fmla="*/ 6918106 h 7571038"/>
                  <a:gd name="connsiteX6570" fmla="*/ 2309702 w 4381952"/>
                  <a:gd name="connsiteY6570" fmla="*/ 6915147 h 7571038"/>
                  <a:gd name="connsiteX6571" fmla="*/ 2309950 w 4381952"/>
                  <a:gd name="connsiteY6571" fmla="*/ 7023640 h 7571038"/>
                  <a:gd name="connsiteX6572" fmla="*/ 2306743 w 4381952"/>
                  <a:gd name="connsiteY6572" fmla="*/ 7020435 h 7571038"/>
                  <a:gd name="connsiteX6573" fmla="*/ 2303292 w 4381952"/>
                  <a:gd name="connsiteY6573" fmla="*/ 7023640 h 7571038"/>
                  <a:gd name="connsiteX6574" fmla="*/ 2306743 w 4381952"/>
                  <a:gd name="connsiteY6574" fmla="*/ 7026844 h 7571038"/>
                  <a:gd name="connsiteX6575" fmla="*/ 2309950 w 4381952"/>
                  <a:gd name="connsiteY6575" fmla="*/ 7023640 h 7571038"/>
                  <a:gd name="connsiteX6576" fmla="*/ 2310196 w 4381952"/>
                  <a:gd name="connsiteY6576" fmla="*/ 5938212 h 7571038"/>
                  <a:gd name="connsiteX6577" fmla="*/ 2306250 w 4381952"/>
                  <a:gd name="connsiteY6577" fmla="*/ 5934266 h 7571038"/>
                  <a:gd name="connsiteX6578" fmla="*/ 2302306 w 4381952"/>
                  <a:gd name="connsiteY6578" fmla="*/ 5938212 h 7571038"/>
                  <a:gd name="connsiteX6579" fmla="*/ 2306250 w 4381952"/>
                  <a:gd name="connsiteY6579" fmla="*/ 5942156 h 7571038"/>
                  <a:gd name="connsiteX6580" fmla="*/ 2310196 w 4381952"/>
                  <a:gd name="connsiteY6580" fmla="*/ 5938212 h 7571038"/>
                  <a:gd name="connsiteX6581" fmla="*/ 2310442 w 4381952"/>
                  <a:gd name="connsiteY6581" fmla="*/ 7131887 h 7571038"/>
                  <a:gd name="connsiteX6582" fmla="*/ 2306989 w 4381952"/>
                  <a:gd name="connsiteY6582" fmla="*/ 7128433 h 7571038"/>
                  <a:gd name="connsiteX6583" fmla="*/ 2303538 w 4381952"/>
                  <a:gd name="connsiteY6583" fmla="*/ 7131887 h 7571038"/>
                  <a:gd name="connsiteX6584" fmla="*/ 2306989 w 4381952"/>
                  <a:gd name="connsiteY6584" fmla="*/ 7135338 h 7571038"/>
                  <a:gd name="connsiteX6585" fmla="*/ 2310442 w 4381952"/>
                  <a:gd name="connsiteY6585" fmla="*/ 7131887 h 7571038"/>
                  <a:gd name="connsiteX6586" fmla="*/ 2310443 w 4381952"/>
                  <a:gd name="connsiteY6586" fmla="*/ 5829722 h 7571038"/>
                  <a:gd name="connsiteX6587" fmla="*/ 2307484 w 4381952"/>
                  <a:gd name="connsiteY6587" fmla="*/ 5826762 h 7571038"/>
                  <a:gd name="connsiteX6588" fmla="*/ 2304525 w 4381952"/>
                  <a:gd name="connsiteY6588" fmla="*/ 5829722 h 7571038"/>
                  <a:gd name="connsiteX6589" fmla="*/ 2307484 w 4381952"/>
                  <a:gd name="connsiteY6589" fmla="*/ 5832680 h 7571038"/>
                  <a:gd name="connsiteX6590" fmla="*/ 2310443 w 4381952"/>
                  <a:gd name="connsiteY6590" fmla="*/ 5829722 h 7571038"/>
                  <a:gd name="connsiteX6591" fmla="*/ 2310936 w 4381952"/>
                  <a:gd name="connsiteY6591" fmla="*/ 5720980 h 7571038"/>
                  <a:gd name="connsiteX6592" fmla="*/ 2307483 w 4381952"/>
                  <a:gd name="connsiteY6592" fmla="*/ 5717529 h 7571038"/>
                  <a:gd name="connsiteX6593" fmla="*/ 2304032 w 4381952"/>
                  <a:gd name="connsiteY6593" fmla="*/ 5720980 h 7571038"/>
                  <a:gd name="connsiteX6594" fmla="*/ 2307483 w 4381952"/>
                  <a:gd name="connsiteY6594" fmla="*/ 5724433 h 7571038"/>
                  <a:gd name="connsiteX6595" fmla="*/ 2310936 w 4381952"/>
                  <a:gd name="connsiteY6595" fmla="*/ 5720980 h 7571038"/>
                  <a:gd name="connsiteX6596" fmla="*/ 2311182 w 4381952"/>
                  <a:gd name="connsiteY6596" fmla="*/ 7240380 h 7571038"/>
                  <a:gd name="connsiteX6597" fmla="*/ 2307483 w 4381952"/>
                  <a:gd name="connsiteY6597" fmla="*/ 7236681 h 7571038"/>
                  <a:gd name="connsiteX6598" fmla="*/ 2303784 w 4381952"/>
                  <a:gd name="connsiteY6598" fmla="*/ 7240380 h 7571038"/>
                  <a:gd name="connsiteX6599" fmla="*/ 2307483 w 4381952"/>
                  <a:gd name="connsiteY6599" fmla="*/ 7244076 h 7571038"/>
                  <a:gd name="connsiteX6600" fmla="*/ 2311182 w 4381952"/>
                  <a:gd name="connsiteY6600" fmla="*/ 7240380 h 7571038"/>
                  <a:gd name="connsiteX6601" fmla="*/ 2311674 w 4381952"/>
                  <a:gd name="connsiteY6601" fmla="*/ 7457366 h 7571038"/>
                  <a:gd name="connsiteX6602" fmla="*/ 2308221 w 4381952"/>
                  <a:gd name="connsiteY6602" fmla="*/ 7453913 h 7571038"/>
                  <a:gd name="connsiteX6603" fmla="*/ 2304770 w 4381952"/>
                  <a:gd name="connsiteY6603" fmla="*/ 7457366 h 7571038"/>
                  <a:gd name="connsiteX6604" fmla="*/ 2308221 w 4381952"/>
                  <a:gd name="connsiteY6604" fmla="*/ 7460818 h 7571038"/>
                  <a:gd name="connsiteX6605" fmla="*/ 2311674 w 4381952"/>
                  <a:gd name="connsiteY6605" fmla="*/ 7457366 h 7571038"/>
                  <a:gd name="connsiteX6606" fmla="*/ 2311923 w 4381952"/>
                  <a:gd name="connsiteY6606" fmla="*/ 7348873 h 7571038"/>
                  <a:gd name="connsiteX6607" fmla="*/ 2308224 w 4381952"/>
                  <a:gd name="connsiteY6607" fmla="*/ 7345173 h 7571038"/>
                  <a:gd name="connsiteX6608" fmla="*/ 2304525 w 4381952"/>
                  <a:gd name="connsiteY6608" fmla="*/ 7348873 h 7571038"/>
                  <a:gd name="connsiteX6609" fmla="*/ 2308224 w 4381952"/>
                  <a:gd name="connsiteY6609" fmla="*/ 7352572 h 7571038"/>
                  <a:gd name="connsiteX6610" fmla="*/ 2311923 w 4381952"/>
                  <a:gd name="connsiteY6610" fmla="*/ 7348873 h 7571038"/>
                  <a:gd name="connsiteX6611" fmla="*/ 2312168 w 4381952"/>
                  <a:gd name="connsiteY6611" fmla="*/ 7565859 h 7571038"/>
                  <a:gd name="connsiteX6612" fmla="*/ 2308715 w 4381952"/>
                  <a:gd name="connsiteY6612" fmla="*/ 7562406 h 7571038"/>
                  <a:gd name="connsiteX6613" fmla="*/ 2305265 w 4381952"/>
                  <a:gd name="connsiteY6613" fmla="*/ 7565859 h 7571038"/>
                  <a:gd name="connsiteX6614" fmla="*/ 2308715 w 4381952"/>
                  <a:gd name="connsiteY6614" fmla="*/ 7569310 h 7571038"/>
                  <a:gd name="connsiteX6615" fmla="*/ 2312168 w 4381952"/>
                  <a:gd name="connsiteY6615" fmla="*/ 7565859 h 7571038"/>
                  <a:gd name="connsiteX6616" fmla="*/ 2312169 w 4381952"/>
                  <a:gd name="connsiteY6616" fmla="*/ 4634074 h 7571038"/>
                  <a:gd name="connsiteX6617" fmla="*/ 2301319 w 4381952"/>
                  <a:gd name="connsiteY6617" fmla="*/ 4623225 h 7571038"/>
                  <a:gd name="connsiteX6618" fmla="*/ 2290471 w 4381952"/>
                  <a:gd name="connsiteY6618" fmla="*/ 4634074 h 7571038"/>
                  <a:gd name="connsiteX6619" fmla="*/ 2301319 w 4381952"/>
                  <a:gd name="connsiteY6619" fmla="*/ 4644923 h 7571038"/>
                  <a:gd name="connsiteX6620" fmla="*/ 2312169 w 4381952"/>
                  <a:gd name="connsiteY6620" fmla="*/ 4634074 h 7571038"/>
                  <a:gd name="connsiteX6621" fmla="*/ 2315127 w 4381952"/>
                  <a:gd name="connsiteY6621" fmla="*/ 4196649 h 7571038"/>
                  <a:gd name="connsiteX6622" fmla="*/ 2301814 w 4381952"/>
                  <a:gd name="connsiteY6622" fmla="*/ 4183333 h 7571038"/>
                  <a:gd name="connsiteX6623" fmla="*/ 2288498 w 4381952"/>
                  <a:gd name="connsiteY6623" fmla="*/ 4196649 h 7571038"/>
                  <a:gd name="connsiteX6624" fmla="*/ 2301814 w 4381952"/>
                  <a:gd name="connsiteY6624" fmla="*/ 4209963 h 7571038"/>
                  <a:gd name="connsiteX6625" fmla="*/ 2315127 w 4381952"/>
                  <a:gd name="connsiteY6625" fmla="*/ 4196649 h 7571038"/>
                  <a:gd name="connsiteX6626" fmla="*/ 2318336 w 4381952"/>
                  <a:gd name="connsiteY6626" fmla="*/ 3976705 h 7571038"/>
                  <a:gd name="connsiteX6627" fmla="*/ 2297870 w 4381952"/>
                  <a:gd name="connsiteY6627" fmla="*/ 3956237 h 7571038"/>
                  <a:gd name="connsiteX6628" fmla="*/ 2277403 w 4381952"/>
                  <a:gd name="connsiteY6628" fmla="*/ 3976705 h 7571038"/>
                  <a:gd name="connsiteX6629" fmla="*/ 2297870 w 4381952"/>
                  <a:gd name="connsiteY6629" fmla="*/ 3997169 h 7571038"/>
                  <a:gd name="connsiteX6630" fmla="*/ 2318336 w 4381952"/>
                  <a:gd name="connsiteY6630" fmla="*/ 3976705 h 7571038"/>
                  <a:gd name="connsiteX6631" fmla="*/ 2319813 w 4381952"/>
                  <a:gd name="connsiteY6631" fmla="*/ 4087171 h 7571038"/>
                  <a:gd name="connsiteX6632" fmla="*/ 2298359 w 4381952"/>
                  <a:gd name="connsiteY6632" fmla="*/ 4065718 h 7571038"/>
                  <a:gd name="connsiteX6633" fmla="*/ 2276907 w 4381952"/>
                  <a:gd name="connsiteY6633" fmla="*/ 4087171 h 7571038"/>
                  <a:gd name="connsiteX6634" fmla="*/ 2298359 w 4381952"/>
                  <a:gd name="connsiteY6634" fmla="*/ 4108869 h 7571038"/>
                  <a:gd name="connsiteX6635" fmla="*/ 2319813 w 4381952"/>
                  <a:gd name="connsiteY6635" fmla="*/ 4087171 h 7571038"/>
                  <a:gd name="connsiteX6636" fmla="*/ 2322032 w 4381952"/>
                  <a:gd name="connsiteY6636" fmla="*/ 4960540 h 7571038"/>
                  <a:gd name="connsiteX6637" fmla="*/ 2304279 w 4381952"/>
                  <a:gd name="connsiteY6637" fmla="*/ 4942786 h 7571038"/>
                  <a:gd name="connsiteX6638" fmla="*/ 2286525 w 4381952"/>
                  <a:gd name="connsiteY6638" fmla="*/ 4960540 h 7571038"/>
                  <a:gd name="connsiteX6639" fmla="*/ 2304279 w 4381952"/>
                  <a:gd name="connsiteY6639" fmla="*/ 4978293 h 7571038"/>
                  <a:gd name="connsiteX6640" fmla="*/ 2322032 w 4381952"/>
                  <a:gd name="connsiteY6640" fmla="*/ 4960540 h 7571038"/>
                  <a:gd name="connsiteX6641" fmla="*/ 2322278 w 4381952"/>
                  <a:gd name="connsiteY6641" fmla="*/ 5178021 h 7571038"/>
                  <a:gd name="connsiteX6642" fmla="*/ 2304772 w 4381952"/>
                  <a:gd name="connsiteY6642" fmla="*/ 5160513 h 7571038"/>
                  <a:gd name="connsiteX6643" fmla="*/ 2287265 w 4381952"/>
                  <a:gd name="connsiteY6643" fmla="*/ 5178021 h 7571038"/>
                  <a:gd name="connsiteX6644" fmla="*/ 2304772 w 4381952"/>
                  <a:gd name="connsiteY6644" fmla="*/ 5195526 h 7571038"/>
                  <a:gd name="connsiteX6645" fmla="*/ 2322278 w 4381952"/>
                  <a:gd name="connsiteY6645" fmla="*/ 5178021 h 7571038"/>
                  <a:gd name="connsiteX6646" fmla="*/ 2322525 w 4381952"/>
                  <a:gd name="connsiteY6646" fmla="*/ 1559383 h 7571038"/>
                  <a:gd name="connsiteX6647" fmla="*/ 2296880 w 4381952"/>
                  <a:gd name="connsiteY6647" fmla="*/ 1533741 h 7571038"/>
                  <a:gd name="connsiteX6648" fmla="*/ 2271236 w 4381952"/>
                  <a:gd name="connsiteY6648" fmla="*/ 1559383 h 7571038"/>
                  <a:gd name="connsiteX6649" fmla="*/ 2296880 w 4381952"/>
                  <a:gd name="connsiteY6649" fmla="*/ 1585025 h 7571038"/>
                  <a:gd name="connsiteX6650" fmla="*/ 2322525 w 4381952"/>
                  <a:gd name="connsiteY6650" fmla="*/ 1559383 h 7571038"/>
                  <a:gd name="connsiteX6651" fmla="*/ 2322525 w 4381952"/>
                  <a:gd name="connsiteY6651" fmla="*/ 5069033 h 7571038"/>
                  <a:gd name="connsiteX6652" fmla="*/ 2304280 w 4381952"/>
                  <a:gd name="connsiteY6652" fmla="*/ 5050539 h 7571038"/>
                  <a:gd name="connsiteX6653" fmla="*/ 2285785 w 4381952"/>
                  <a:gd name="connsiteY6653" fmla="*/ 5069033 h 7571038"/>
                  <a:gd name="connsiteX6654" fmla="*/ 2304280 w 4381952"/>
                  <a:gd name="connsiteY6654" fmla="*/ 5087527 h 7571038"/>
                  <a:gd name="connsiteX6655" fmla="*/ 2322525 w 4381952"/>
                  <a:gd name="connsiteY6655" fmla="*/ 5069033 h 7571038"/>
                  <a:gd name="connsiteX6656" fmla="*/ 2322526 w 4381952"/>
                  <a:gd name="connsiteY6656" fmla="*/ 1885573 h 7571038"/>
                  <a:gd name="connsiteX6657" fmla="*/ 2298607 w 4381952"/>
                  <a:gd name="connsiteY6657" fmla="*/ 1861661 h 7571038"/>
                  <a:gd name="connsiteX6658" fmla="*/ 2274690 w 4381952"/>
                  <a:gd name="connsiteY6658" fmla="*/ 1885573 h 7571038"/>
                  <a:gd name="connsiteX6659" fmla="*/ 2298607 w 4381952"/>
                  <a:gd name="connsiteY6659" fmla="*/ 1909484 h 7571038"/>
                  <a:gd name="connsiteX6660" fmla="*/ 2322526 w 4381952"/>
                  <a:gd name="connsiteY6660" fmla="*/ 1885573 h 7571038"/>
                  <a:gd name="connsiteX6661" fmla="*/ 2323759 w 4381952"/>
                  <a:gd name="connsiteY6661" fmla="*/ 4306624 h 7571038"/>
                  <a:gd name="connsiteX6662" fmla="*/ 2300583 w 4381952"/>
                  <a:gd name="connsiteY6662" fmla="*/ 4283445 h 7571038"/>
                  <a:gd name="connsiteX6663" fmla="*/ 2277403 w 4381952"/>
                  <a:gd name="connsiteY6663" fmla="*/ 4306624 h 7571038"/>
                  <a:gd name="connsiteX6664" fmla="*/ 2300583 w 4381952"/>
                  <a:gd name="connsiteY6664" fmla="*/ 4329801 h 7571038"/>
                  <a:gd name="connsiteX6665" fmla="*/ 2323759 w 4381952"/>
                  <a:gd name="connsiteY6665" fmla="*/ 4306624 h 7571038"/>
                  <a:gd name="connsiteX6666" fmla="*/ 2328196 w 4381952"/>
                  <a:gd name="connsiteY6666" fmla="*/ 365614 h 7571038"/>
                  <a:gd name="connsiteX6667" fmla="*/ 2297374 w 4381952"/>
                  <a:gd name="connsiteY6667" fmla="*/ 334794 h 7571038"/>
                  <a:gd name="connsiteX6668" fmla="*/ 2266799 w 4381952"/>
                  <a:gd name="connsiteY6668" fmla="*/ 365614 h 7571038"/>
                  <a:gd name="connsiteX6669" fmla="*/ 2297374 w 4381952"/>
                  <a:gd name="connsiteY6669" fmla="*/ 396189 h 7571038"/>
                  <a:gd name="connsiteX6670" fmla="*/ 2328196 w 4381952"/>
                  <a:gd name="connsiteY6670" fmla="*/ 365614 h 7571038"/>
                  <a:gd name="connsiteX6671" fmla="*/ 2328198 w 4381952"/>
                  <a:gd name="connsiteY6671" fmla="*/ 257144 h 7571038"/>
                  <a:gd name="connsiteX6672" fmla="*/ 2297374 w 4381952"/>
                  <a:gd name="connsiteY6672" fmla="*/ 226323 h 7571038"/>
                  <a:gd name="connsiteX6673" fmla="*/ 2266553 w 4381952"/>
                  <a:gd name="connsiteY6673" fmla="*/ 257144 h 7571038"/>
                  <a:gd name="connsiteX6674" fmla="*/ 2297374 w 4381952"/>
                  <a:gd name="connsiteY6674" fmla="*/ 287966 h 7571038"/>
                  <a:gd name="connsiteX6675" fmla="*/ 2328198 w 4381952"/>
                  <a:gd name="connsiteY6675" fmla="*/ 257144 h 7571038"/>
                  <a:gd name="connsiteX6676" fmla="*/ 2328443 w 4381952"/>
                  <a:gd name="connsiteY6676" fmla="*/ 39961 h 7571038"/>
                  <a:gd name="connsiteX6677" fmla="*/ 2296883 w 4381952"/>
                  <a:gd name="connsiteY6677" fmla="*/ 8401 h 7571038"/>
                  <a:gd name="connsiteX6678" fmla="*/ 2265321 w 4381952"/>
                  <a:gd name="connsiteY6678" fmla="*/ 39961 h 7571038"/>
                  <a:gd name="connsiteX6679" fmla="*/ 2296883 w 4381952"/>
                  <a:gd name="connsiteY6679" fmla="*/ 71521 h 7571038"/>
                  <a:gd name="connsiteX6680" fmla="*/ 2328443 w 4381952"/>
                  <a:gd name="connsiteY6680" fmla="*/ 39961 h 7571038"/>
                  <a:gd name="connsiteX6681" fmla="*/ 2329921 w 4381952"/>
                  <a:gd name="connsiteY6681" fmla="*/ 148429 h 7571038"/>
                  <a:gd name="connsiteX6682" fmla="*/ 2297374 w 4381952"/>
                  <a:gd name="connsiteY6682" fmla="*/ 116128 h 7571038"/>
                  <a:gd name="connsiteX6683" fmla="*/ 2265072 w 4381952"/>
                  <a:gd name="connsiteY6683" fmla="*/ 148429 h 7571038"/>
                  <a:gd name="connsiteX6684" fmla="*/ 2297374 w 4381952"/>
                  <a:gd name="connsiteY6684" fmla="*/ 180975 h 7571038"/>
                  <a:gd name="connsiteX6685" fmla="*/ 2329921 w 4381952"/>
                  <a:gd name="connsiteY6685" fmla="*/ 148429 h 7571038"/>
                  <a:gd name="connsiteX6686" fmla="*/ 2330909 w 4381952"/>
                  <a:gd name="connsiteY6686" fmla="*/ 1450900 h 7571038"/>
                  <a:gd name="connsiteX6687" fmla="*/ 2296883 w 4381952"/>
                  <a:gd name="connsiteY6687" fmla="*/ 1416877 h 7571038"/>
                  <a:gd name="connsiteX6688" fmla="*/ 2262854 w 4381952"/>
                  <a:gd name="connsiteY6688" fmla="*/ 1450900 h 7571038"/>
                  <a:gd name="connsiteX6689" fmla="*/ 2296883 w 4381952"/>
                  <a:gd name="connsiteY6689" fmla="*/ 1484933 h 7571038"/>
                  <a:gd name="connsiteX6690" fmla="*/ 2330909 w 4381952"/>
                  <a:gd name="connsiteY6690" fmla="*/ 1450900 h 7571038"/>
                  <a:gd name="connsiteX6691" fmla="*/ 2331894 w 4381952"/>
                  <a:gd name="connsiteY6691" fmla="*/ 1342180 h 7571038"/>
                  <a:gd name="connsiteX6692" fmla="*/ 2296388 w 4381952"/>
                  <a:gd name="connsiteY6692" fmla="*/ 1306670 h 7571038"/>
                  <a:gd name="connsiteX6693" fmla="*/ 2260881 w 4381952"/>
                  <a:gd name="connsiteY6693" fmla="*/ 1342180 h 7571038"/>
                  <a:gd name="connsiteX6694" fmla="*/ 2296388 w 4381952"/>
                  <a:gd name="connsiteY6694" fmla="*/ 1377686 h 7571038"/>
                  <a:gd name="connsiteX6695" fmla="*/ 2331894 w 4381952"/>
                  <a:gd name="connsiteY6695" fmla="*/ 1342180 h 7571038"/>
                  <a:gd name="connsiteX6696" fmla="*/ 2331894 w 4381952"/>
                  <a:gd name="connsiteY6696" fmla="*/ 1994280 h 7571038"/>
                  <a:gd name="connsiteX6697" fmla="*/ 2299098 w 4381952"/>
                  <a:gd name="connsiteY6697" fmla="*/ 1961492 h 7571038"/>
                  <a:gd name="connsiteX6698" fmla="*/ 2266305 w 4381952"/>
                  <a:gd name="connsiteY6698" fmla="*/ 1994280 h 7571038"/>
                  <a:gd name="connsiteX6699" fmla="*/ 2299098 w 4381952"/>
                  <a:gd name="connsiteY6699" fmla="*/ 2027074 h 7571038"/>
                  <a:gd name="connsiteX6700" fmla="*/ 2331894 w 4381952"/>
                  <a:gd name="connsiteY6700" fmla="*/ 1994280 h 7571038"/>
                  <a:gd name="connsiteX6701" fmla="*/ 2332141 w 4381952"/>
                  <a:gd name="connsiteY6701" fmla="*/ 2867859 h 7571038"/>
                  <a:gd name="connsiteX6702" fmla="*/ 2297870 w 4381952"/>
                  <a:gd name="connsiteY6702" fmla="*/ 2833585 h 7571038"/>
                  <a:gd name="connsiteX6703" fmla="*/ 2263594 w 4381952"/>
                  <a:gd name="connsiteY6703" fmla="*/ 2867859 h 7571038"/>
                  <a:gd name="connsiteX6704" fmla="*/ 2297870 w 4381952"/>
                  <a:gd name="connsiteY6704" fmla="*/ 2902133 h 7571038"/>
                  <a:gd name="connsiteX6705" fmla="*/ 2332141 w 4381952"/>
                  <a:gd name="connsiteY6705" fmla="*/ 2867859 h 7571038"/>
                  <a:gd name="connsiteX6706" fmla="*/ 2334113 w 4381952"/>
                  <a:gd name="connsiteY6706" fmla="*/ 2978564 h 7571038"/>
                  <a:gd name="connsiteX6707" fmla="*/ 2298112 w 4381952"/>
                  <a:gd name="connsiteY6707" fmla="*/ 2942566 h 7571038"/>
                  <a:gd name="connsiteX6708" fmla="*/ 2262113 w 4381952"/>
                  <a:gd name="connsiteY6708" fmla="*/ 2978564 h 7571038"/>
                  <a:gd name="connsiteX6709" fmla="*/ 2298112 w 4381952"/>
                  <a:gd name="connsiteY6709" fmla="*/ 3014566 h 7571038"/>
                  <a:gd name="connsiteX6710" fmla="*/ 2334113 w 4381952"/>
                  <a:gd name="connsiteY6710" fmla="*/ 2978564 h 7571038"/>
                  <a:gd name="connsiteX6711" fmla="*/ 2334853 w 4381952"/>
                  <a:gd name="connsiteY6711" fmla="*/ 4743059 h 7571038"/>
                  <a:gd name="connsiteX6712" fmla="*/ 2301812 w 4381952"/>
                  <a:gd name="connsiteY6712" fmla="*/ 4710019 h 7571038"/>
                  <a:gd name="connsiteX6713" fmla="*/ 2268772 w 4381952"/>
                  <a:gd name="connsiteY6713" fmla="*/ 4743059 h 7571038"/>
                  <a:gd name="connsiteX6714" fmla="*/ 2301812 w 4381952"/>
                  <a:gd name="connsiteY6714" fmla="*/ 4776101 h 7571038"/>
                  <a:gd name="connsiteX6715" fmla="*/ 2334853 w 4381952"/>
                  <a:gd name="connsiteY6715" fmla="*/ 4743059 h 7571038"/>
                  <a:gd name="connsiteX6716" fmla="*/ 2338551 w 4381952"/>
                  <a:gd name="connsiteY6716" fmla="*/ 4416101 h 7571038"/>
                  <a:gd name="connsiteX6717" fmla="*/ 2300333 w 4381952"/>
                  <a:gd name="connsiteY6717" fmla="*/ 4377880 h 7571038"/>
                  <a:gd name="connsiteX6718" fmla="*/ 2262113 w 4381952"/>
                  <a:gd name="connsiteY6718" fmla="*/ 4416101 h 7571038"/>
                  <a:gd name="connsiteX6719" fmla="*/ 2300333 w 4381952"/>
                  <a:gd name="connsiteY6719" fmla="*/ 4454320 h 7571038"/>
                  <a:gd name="connsiteX6720" fmla="*/ 2338551 w 4381952"/>
                  <a:gd name="connsiteY6720" fmla="*/ 4416101 h 7571038"/>
                  <a:gd name="connsiteX6721" fmla="*/ 2345458 w 4381952"/>
                  <a:gd name="connsiteY6721" fmla="*/ 4525088 h 7571038"/>
                  <a:gd name="connsiteX6722" fmla="*/ 2300828 w 4381952"/>
                  <a:gd name="connsiteY6722" fmla="*/ 4480459 h 7571038"/>
                  <a:gd name="connsiteX6723" fmla="*/ 2256445 w 4381952"/>
                  <a:gd name="connsiteY6723" fmla="*/ 4525088 h 7571038"/>
                  <a:gd name="connsiteX6724" fmla="*/ 2300828 w 4381952"/>
                  <a:gd name="connsiteY6724" fmla="*/ 4569718 h 7571038"/>
                  <a:gd name="connsiteX6725" fmla="*/ 2345458 w 4381952"/>
                  <a:gd name="connsiteY6725" fmla="*/ 4525088 h 7571038"/>
                  <a:gd name="connsiteX6726" fmla="*/ 2352607 w 4381952"/>
                  <a:gd name="connsiteY6726" fmla="*/ 4851800 h 7571038"/>
                  <a:gd name="connsiteX6727" fmla="*/ 2302306 w 4381952"/>
                  <a:gd name="connsiteY6727" fmla="*/ 4801499 h 7571038"/>
                  <a:gd name="connsiteX6728" fmla="*/ 2252004 w 4381952"/>
                  <a:gd name="connsiteY6728" fmla="*/ 4851800 h 7571038"/>
                  <a:gd name="connsiteX6729" fmla="*/ 2302306 w 4381952"/>
                  <a:gd name="connsiteY6729" fmla="*/ 4902102 h 7571038"/>
                  <a:gd name="connsiteX6730" fmla="*/ 2352607 w 4381952"/>
                  <a:gd name="connsiteY6730" fmla="*/ 4851800 h 7571038"/>
                  <a:gd name="connsiteX6731" fmla="*/ 2367155 w 4381952"/>
                  <a:gd name="connsiteY6731" fmla="*/ 2218162 h 7571038"/>
                  <a:gd name="connsiteX6732" fmla="*/ 2355814 w 4381952"/>
                  <a:gd name="connsiteY6732" fmla="*/ 2206821 h 7571038"/>
                  <a:gd name="connsiteX6733" fmla="*/ 2344471 w 4381952"/>
                  <a:gd name="connsiteY6733" fmla="*/ 2218162 h 7571038"/>
                  <a:gd name="connsiteX6734" fmla="*/ 2355814 w 4381952"/>
                  <a:gd name="connsiteY6734" fmla="*/ 2229506 h 7571038"/>
                  <a:gd name="connsiteX6735" fmla="*/ 2367155 w 4381952"/>
                  <a:gd name="connsiteY6735" fmla="*/ 2218162 h 7571038"/>
                  <a:gd name="connsiteX6736" fmla="*/ 2375046 w 4381952"/>
                  <a:gd name="connsiteY6736" fmla="*/ 2658769 h 7571038"/>
                  <a:gd name="connsiteX6737" fmla="*/ 2358031 w 4381952"/>
                  <a:gd name="connsiteY6737" fmla="*/ 2641756 h 7571038"/>
                  <a:gd name="connsiteX6738" fmla="*/ 2341018 w 4381952"/>
                  <a:gd name="connsiteY6738" fmla="*/ 2658769 h 7571038"/>
                  <a:gd name="connsiteX6739" fmla="*/ 2358031 w 4381952"/>
                  <a:gd name="connsiteY6739" fmla="*/ 2675785 h 7571038"/>
                  <a:gd name="connsiteX6740" fmla="*/ 2375046 w 4381952"/>
                  <a:gd name="connsiteY6740" fmla="*/ 2658769 h 7571038"/>
                  <a:gd name="connsiteX6741" fmla="*/ 2375539 w 4381952"/>
                  <a:gd name="connsiteY6741" fmla="*/ 2108936 h 7571038"/>
                  <a:gd name="connsiteX6742" fmla="*/ 2355566 w 4381952"/>
                  <a:gd name="connsiteY6742" fmla="*/ 2088962 h 7571038"/>
                  <a:gd name="connsiteX6743" fmla="*/ 2335594 w 4381952"/>
                  <a:gd name="connsiteY6743" fmla="*/ 2108936 h 7571038"/>
                  <a:gd name="connsiteX6744" fmla="*/ 2355566 w 4381952"/>
                  <a:gd name="connsiteY6744" fmla="*/ 2128909 h 7571038"/>
                  <a:gd name="connsiteX6745" fmla="*/ 2375539 w 4381952"/>
                  <a:gd name="connsiteY6745" fmla="*/ 2108936 h 7571038"/>
                  <a:gd name="connsiteX6746" fmla="*/ 2378498 w 4381952"/>
                  <a:gd name="connsiteY6746" fmla="*/ 3110730 h 7571038"/>
                  <a:gd name="connsiteX6747" fmla="*/ 2352361 w 4381952"/>
                  <a:gd name="connsiteY6747" fmla="*/ 3084346 h 7571038"/>
                  <a:gd name="connsiteX6748" fmla="*/ 2325977 w 4381952"/>
                  <a:gd name="connsiteY6748" fmla="*/ 3110730 h 7571038"/>
                  <a:gd name="connsiteX6749" fmla="*/ 2352361 w 4381952"/>
                  <a:gd name="connsiteY6749" fmla="*/ 3137112 h 7571038"/>
                  <a:gd name="connsiteX6750" fmla="*/ 2378498 w 4381952"/>
                  <a:gd name="connsiteY6750" fmla="*/ 3110730 h 7571038"/>
                  <a:gd name="connsiteX6751" fmla="*/ 2380471 w 4381952"/>
                  <a:gd name="connsiteY6751" fmla="*/ 2769725 h 7571038"/>
                  <a:gd name="connsiteX6752" fmla="*/ 2358033 w 4381952"/>
                  <a:gd name="connsiteY6752" fmla="*/ 2747285 h 7571038"/>
                  <a:gd name="connsiteX6753" fmla="*/ 2335594 w 4381952"/>
                  <a:gd name="connsiteY6753" fmla="*/ 2769725 h 7571038"/>
                  <a:gd name="connsiteX6754" fmla="*/ 2358033 w 4381952"/>
                  <a:gd name="connsiteY6754" fmla="*/ 2792163 h 7571038"/>
                  <a:gd name="connsiteX6755" fmla="*/ 2380471 w 4381952"/>
                  <a:gd name="connsiteY6755" fmla="*/ 2769725 h 7571038"/>
                  <a:gd name="connsiteX6756" fmla="*/ 2386636 w 4381952"/>
                  <a:gd name="connsiteY6756" fmla="*/ 2327880 h 7571038"/>
                  <a:gd name="connsiteX6757" fmla="*/ 2356555 w 4381952"/>
                  <a:gd name="connsiteY6757" fmla="*/ 2297799 h 7571038"/>
                  <a:gd name="connsiteX6758" fmla="*/ 2326472 w 4381952"/>
                  <a:gd name="connsiteY6758" fmla="*/ 2327880 h 7571038"/>
                  <a:gd name="connsiteX6759" fmla="*/ 2356555 w 4381952"/>
                  <a:gd name="connsiteY6759" fmla="*/ 2357966 h 7571038"/>
                  <a:gd name="connsiteX6760" fmla="*/ 2386636 w 4381952"/>
                  <a:gd name="connsiteY6760" fmla="*/ 2327880 h 7571038"/>
                  <a:gd name="connsiteX6761" fmla="*/ 2387620 w 4381952"/>
                  <a:gd name="connsiteY6761" fmla="*/ 1019953 h 7571038"/>
                  <a:gd name="connsiteX6762" fmla="*/ 2355320 w 4381952"/>
                  <a:gd name="connsiteY6762" fmla="*/ 987645 h 7571038"/>
                  <a:gd name="connsiteX6763" fmla="*/ 2323018 w 4381952"/>
                  <a:gd name="connsiteY6763" fmla="*/ 1019953 h 7571038"/>
                  <a:gd name="connsiteX6764" fmla="*/ 2355320 w 4381952"/>
                  <a:gd name="connsiteY6764" fmla="*/ 1052249 h 7571038"/>
                  <a:gd name="connsiteX6765" fmla="*/ 2387620 w 4381952"/>
                  <a:gd name="connsiteY6765" fmla="*/ 1019953 h 7571038"/>
                  <a:gd name="connsiteX6766" fmla="*/ 2388608 w 4381952"/>
                  <a:gd name="connsiteY6766" fmla="*/ 802503 h 7571038"/>
                  <a:gd name="connsiteX6767" fmla="*/ 2355812 w 4381952"/>
                  <a:gd name="connsiteY6767" fmla="*/ 769707 h 7571038"/>
                  <a:gd name="connsiteX6768" fmla="*/ 2323018 w 4381952"/>
                  <a:gd name="connsiteY6768" fmla="*/ 802503 h 7571038"/>
                  <a:gd name="connsiteX6769" fmla="*/ 2355812 w 4381952"/>
                  <a:gd name="connsiteY6769" fmla="*/ 835299 h 7571038"/>
                  <a:gd name="connsiteX6770" fmla="*/ 2388608 w 4381952"/>
                  <a:gd name="connsiteY6770" fmla="*/ 802503 h 7571038"/>
                  <a:gd name="connsiteX6771" fmla="*/ 2390580 w 4381952"/>
                  <a:gd name="connsiteY6771" fmla="*/ 911469 h 7571038"/>
                  <a:gd name="connsiteX6772" fmla="*/ 2355320 w 4381952"/>
                  <a:gd name="connsiteY6772" fmla="*/ 876206 h 7571038"/>
                  <a:gd name="connsiteX6773" fmla="*/ 2320059 w 4381952"/>
                  <a:gd name="connsiteY6773" fmla="*/ 911469 h 7571038"/>
                  <a:gd name="connsiteX6774" fmla="*/ 2355320 w 4381952"/>
                  <a:gd name="connsiteY6774" fmla="*/ 946733 h 7571038"/>
                  <a:gd name="connsiteX6775" fmla="*/ 2390580 w 4381952"/>
                  <a:gd name="connsiteY6775" fmla="*/ 911469 h 7571038"/>
                  <a:gd name="connsiteX6776" fmla="*/ 2390827 w 4381952"/>
                  <a:gd name="connsiteY6776" fmla="*/ 476799 h 7571038"/>
                  <a:gd name="connsiteX6777" fmla="*/ 2355320 w 4381952"/>
                  <a:gd name="connsiteY6777" fmla="*/ 441292 h 7571038"/>
                  <a:gd name="connsiteX6778" fmla="*/ 2319814 w 4381952"/>
                  <a:gd name="connsiteY6778" fmla="*/ 476799 h 7571038"/>
                  <a:gd name="connsiteX6779" fmla="*/ 2355320 w 4381952"/>
                  <a:gd name="connsiteY6779" fmla="*/ 512304 h 7571038"/>
                  <a:gd name="connsiteX6780" fmla="*/ 2390827 w 4381952"/>
                  <a:gd name="connsiteY6780" fmla="*/ 476799 h 7571038"/>
                  <a:gd name="connsiteX6781" fmla="*/ 2391073 w 4381952"/>
                  <a:gd name="connsiteY6781" fmla="*/ 2548064 h 7571038"/>
                  <a:gd name="connsiteX6782" fmla="*/ 2357788 w 4381952"/>
                  <a:gd name="connsiteY6782" fmla="*/ 2514775 h 7571038"/>
                  <a:gd name="connsiteX6783" fmla="*/ 2324499 w 4381952"/>
                  <a:gd name="connsiteY6783" fmla="*/ 2548064 h 7571038"/>
                  <a:gd name="connsiteX6784" fmla="*/ 2357788 w 4381952"/>
                  <a:gd name="connsiteY6784" fmla="*/ 2581350 h 7571038"/>
                  <a:gd name="connsiteX6785" fmla="*/ 2391073 w 4381952"/>
                  <a:gd name="connsiteY6785" fmla="*/ 2548064 h 7571038"/>
                  <a:gd name="connsiteX6786" fmla="*/ 2391319 w 4381952"/>
                  <a:gd name="connsiteY6786" fmla="*/ 585517 h 7571038"/>
                  <a:gd name="connsiteX6787" fmla="*/ 2355321 w 4381952"/>
                  <a:gd name="connsiteY6787" fmla="*/ 549519 h 7571038"/>
                  <a:gd name="connsiteX6788" fmla="*/ 2319320 w 4381952"/>
                  <a:gd name="connsiteY6788" fmla="*/ 585517 h 7571038"/>
                  <a:gd name="connsiteX6789" fmla="*/ 2355321 w 4381952"/>
                  <a:gd name="connsiteY6789" fmla="*/ 621517 h 7571038"/>
                  <a:gd name="connsiteX6790" fmla="*/ 2391319 w 4381952"/>
                  <a:gd name="connsiteY6790" fmla="*/ 585517 h 7571038"/>
                  <a:gd name="connsiteX6791" fmla="*/ 2393045 w 4381952"/>
                  <a:gd name="connsiteY6791" fmla="*/ 694030 h 7571038"/>
                  <a:gd name="connsiteX6792" fmla="*/ 2355812 w 4381952"/>
                  <a:gd name="connsiteY6792" fmla="*/ 656794 h 7571038"/>
                  <a:gd name="connsiteX6793" fmla="*/ 2318579 w 4381952"/>
                  <a:gd name="connsiteY6793" fmla="*/ 694030 h 7571038"/>
                  <a:gd name="connsiteX6794" fmla="*/ 2355812 w 4381952"/>
                  <a:gd name="connsiteY6794" fmla="*/ 731261 h 7571038"/>
                  <a:gd name="connsiteX6795" fmla="*/ 2393045 w 4381952"/>
                  <a:gd name="connsiteY6795" fmla="*/ 694030 h 7571038"/>
                  <a:gd name="connsiteX6796" fmla="*/ 2394278 w 4381952"/>
                  <a:gd name="connsiteY6796" fmla="*/ 1128673 h 7571038"/>
                  <a:gd name="connsiteX6797" fmla="*/ 2355321 w 4381952"/>
                  <a:gd name="connsiteY6797" fmla="*/ 1089715 h 7571038"/>
                  <a:gd name="connsiteX6798" fmla="*/ 2316361 w 4381952"/>
                  <a:gd name="connsiteY6798" fmla="*/ 1128673 h 7571038"/>
                  <a:gd name="connsiteX6799" fmla="*/ 2355321 w 4381952"/>
                  <a:gd name="connsiteY6799" fmla="*/ 1167630 h 7571038"/>
                  <a:gd name="connsiteX6800" fmla="*/ 2394278 w 4381952"/>
                  <a:gd name="connsiteY6800" fmla="*/ 1128673 h 7571038"/>
                  <a:gd name="connsiteX6801" fmla="*/ 2395017 w 4381952"/>
                  <a:gd name="connsiteY6801" fmla="*/ 1237397 h 7571038"/>
                  <a:gd name="connsiteX6802" fmla="*/ 2355317 w 4381952"/>
                  <a:gd name="connsiteY6802" fmla="*/ 1197698 h 7571038"/>
                  <a:gd name="connsiteX6803" fmla="*/ 2315620 w 4381952"/>
                  <a:gd name="connsiteY6803" fmla="*/ 1237397 h 7571038"/>
                  <a:gd name="connsiteX6804" fmla="*/ 2355317 w 4381952"/>
                  <a:gd name="connsiteY6804" fmla="*/ 1277096 h 7571038"/>
                  <a:gd name="connsiteX6805" fmla="*/ 2395017 w 4381952"/>
                  <a:gd name="connsiteY6805" fmla="*/ 1237397 h 7571038"/>
                  <a:gd name="connsiteX6806" fmla="*/ 2399456 w 4381952"/>
                  <a:gd name="connsiteY6806" fmla="*/ 2437605 h 7571038"/>
                  <a:gd name="connsiteX6807" fmla="*/ 2357293 w 4381952"/>
                  <a:gd name="connsiteY6807" fmla="*/ 2395439 h 7571038"/>
                  <a:gd name="connsiteX6808" fmla="*/ 2315128 w 4381952"/>
                  <a:gd name="connsiteY6808" fmla="*/ 2437605 h 7571038"/>
                  <a:gd name="connsiteX6809" fmla="*/ 2357293 w 4381952"/>
                  <a:gd name="connsiteY6809" fmla="*/ 2479765 h 7571038"/>
                  <a:gd name="connsiteX6810" fmla="*/ 2399456 w 4381952"/>
                  <a:gd name="connsiteY6810" fmla="*/ 2437605 h 7571038"/>
                  <a:gd name="connsiteX6811" fmla="*/ 2416469 w 4381952"/>
                  <a:gd name="connsiteY6811" fmla="*/ 1678959 h 7571038"/>
                  <a:gd name="connsiteX6812" fmla="*/ 2413264 w 4381952"/>
                  <a:gd name="connsiteY6812" fmla="*/ 1675753 h 7571038"/>
                  <a:gd name="connsiteX6813" fmla="*/ 2410059 w 4381952"/>
                  <a:gd name="connsiteY6813" fmla="*/ 1678959 h 7571038"/>
                  <a:gd name="connsiteX6814" fmla="*/ 2413264 w 4381952"/>
                  <a:gd name="connsiteY6814" fmla="*/ 1682168 h 7571038"/>
                  <a:gd name="connsiteX6815" fmla="*/ 2416469 w 4381952"/>
                  <a:gd name="connsiteY6815" fmla="*/ 1678959 h 7571038"/>
                  <a:gd name="connsiteX6816" fmla="*/ 2417703 w 4381952"/>
                  <a:gd name="connsiteY6816" fmla="*/ 4055854 h 7571038"/>
                  <a:gd name="connsiteX6817" fmla="*/ 2408578 w 4381952"/>
                  <a:gd name="connsiteY6817" fmla="*/ 4046731 h 7571038"/>
                  <a:gd name="connsiteX6818" fmla="*/ 2399456 w 4381952"/>
                  <a:gd name="connsiteY6818" fmla="*/ 4055854 h 7571038"/>
                  <a:gd name="connsiteX6819" fmla="*/ 2408578 w 4381952"/>
                  <a:gd name="connsiteY6819" fmla="*/ 4064977 h 7571038"/>
                  <a:gd name="connsiteX6820" fmla="*/ 2417703 w 4381952"/>
                  <a:gd name="connsiteY6820" fmla="*/ 4055854 h 7571038"/>
                  <a:gd name="connsiteX6821" fmla="*/ 2421154 w 4381952"/>
                  <a:gd name="connsiteY6821" fmla="*/ 5275170 h 7571038"/>
                  <a:gd name="connsiteX6822" fmla="*/ 2420908 w 4381952"/>
                  <a:gd name="connsiteY6822" fmla="*/ 5274925 h 7571038"/>
                  <a:gd name="connsiteX6823" fmla="*/ 2420908 w 4381952"/>
                  <a:gd name="connsiteY6823" fmla="*/ 5275170 h 7571038"/>
                  <a:gd name="connsiteX6824" fmla="*/ 2423129 w 4381952"/>
                  <a:gd name="connsiteY6824" fmla="*/ 6147556 h 7571038"/>
                  <a:gd name="connsiteX6825" fmla="*/ 2420417 w 4381952"/>
                  <a:gd name="connsiteY6825" fmla="*/ 6144843 h 7571038"/>
                  <a:gd name="connsiteX6826" fmla="*/ 2417703 w 4381952"/>
                  <a:gd name="connsiteY6826" fmla="*/ 6147556 h 7571038"/>
                  <a:gd name="connsiteX6827" fmla="*/ 2420417 w 4381952"/>
                  <a:gd name="connsiteY6827" fmla="*/ 6150270 h 7571038"/>
                  <a:gd name="connsiteX6828" fmla="*/ 2423129 w 4381952"/>
                  <a:gd name="connsiteY6828" fmla="*/ 6147556 h 7571038"/>
                  <a:gd name="connsiteX6829" fmla="*/ 2423129 w 4381952"/>
                  <a:gd name="connsiteY6829" fmla="*/ 6365529 h 7571038"/>
                  <a:gd name="connsiteX6830" fmla="*/ 2420910 w 4381952"/>
                  <a:gd name="connsiteY6830" fmla="*/ 6363308 h 7571038"/>
                  <a:gd name="connsiteX6831" fmla="*/ 2418443 w 4381952"/>
                  <a:gd name="connsiteY6831" fmla="*/ 6365529 h 7571038"/>
                  <a:gd name="connsiteX6832" fmla="*/ 2420910 w 4381952"/>
                  <a:gd name="connsiteY6832" fmla="*/ 6367747 h 7571038"/>
                  <a:gd name="connsiteX6833" fmla="*/ 2423129 w 4381952"/>
                  <a:gd name="connsiteY6833" fmla="*/ 6365529 h 7571038"/>
                  <a:gd name="connsiteX6834" fmla="*/ 2423375 w 4381952"/>
                  <a:gd name="connsiteY6834" fmla="*/ 6256544 h 7571038"/>
                  <a:gd name="connsiteX6835" fmla="*/ 2420662 w 4381952"/>
                  <a:gd name="connsiteY6835" fmla="*/ 6253831 h 7571038"/>
                  <a:gd name="connsiteX6836" fmla="*/ 2417949 w 4381952"/>
                  <a:gd name="connsiteY6836" fmla="*/ 6256544 h 7571038"/>
                  <a:gd name="connsiteX6837" fmla="*/ 2420662 w 4381952"/>
                  <a:gd name="connsiteY6837" fmla="*/ 6259255 h 7571038"/>
                  <a:gd name="connsiteX6838" fmla="*/ 2423375 w 4381952"/>
                  <a:gd name="connsiteY6838" fmla="*/ 6256544 h 7571038"/>
                  <a:gd name="connsiteX6839" fmla="*/ 2423375 w 4381952"/>
                  <a:gd name="connsiteY6839" fmla="*/ 6474023 h 7571038"/>
                  <a:gd name="connsiteX6840" fmla="*/ 2420910 w 4381952"/>
                  <a:gd name="connsiteY6840" fmla="*/ 6471555 h 7571038"/>
                  <a:gd name="connsiteX6841" fmla="*/ 2418443 w 4381952"/>
                  <a:gd name="connsiteY6841" fmla="*/ 6474023 h 7571038"/>
                  <a:gd name="connsiteX6842" fmla="*/ 2420910 w 4381952"/>
                  <a:gd name="connsiteY6842" fmla="*/ 6476486 h 7571038"/>
                  <a:gd name="connsiteX6843" fmla="*/ 2423375 w 4381952"/>
                  <a:gd name="connsiteY6843" fmla="*/ 6474023 h 7571038"/>
                  <a:gd name="connsiteX6844" fmla="*/ 2424113 w 4381952"/>
                  <a:gd name="connsiteY6844" fmla="*/ 3938730 h 7571038"/>
                  <a:gd name="connsiteX6845" fmla="*/ 2406112 w 4381952"/>
                  <a:gd name="connsiteY6845" fmla="*/ 3920731 h 7571038"/>
                  <a:gd name="connsiteX6846" fmla="*/ 2388114 w 4381952"/>
                  <a:gd name="connsiteY6846" fmla="*/ 3938730 h 7571038"/>
                  <a:gd name="connsiteX6847" fmla="*/ 2406112 w 4381952"/>
                  <a:gd name="connsiteY6847" fmla="*/ 3956729 h 7571038"/>
                  <a:gd name="connsiteX6848" fmla="*/ 2424113 w 4381952"/>
                  <a:gd name="connsiteY6848" fmla="*/ 3938730 h 7571038"/>
                  <a:gd name="connsiteX6849" fmla="*/ 2424361 w 4381952"/>
                  <a:gd name="connsiteY6849" fmla="*/ 5493638 h 7571038"/>
                  <a:gd name="connsiteX6850" fmla="*/ 2421649 w 4381952"/>
                  <a:gd name="connsiteY6850" fmla="*/ 5490925 h 7571038"/>
                  <a:gd name="connsiteX6851" fmla="*/ 2418936 w 4381952"/>
                  <a:gd name="connsiteY6851" fmla="*/ 5493638 h 7571038"/>
                  <a:gd name="connsiteX6852" fmla="*/ 2421649 w 4381952"/>
                  <a:gd name="connsiteY6852" fmla="*/ 5496352 h 7571038"/>
                  <a:gd name="connsiteX6853" fmla="*/ 2424361 w 4381952"/>
                  <a:gd name="connsiteY6853" fmla="*/ 5493638 h 7571038"/>
                  <a:gd name="connsiteX6854" fmla="*/ 2424607 w 4381952"/>
                  <a:gd name="connsiteY6854" fmla="*/ 5384159 h 7571038"/>
                  <a:gd name="connsiteX6855" fmla="*/ 2421895 w 4381952"/>
                  <a:gd name="connsiteY6855" fmla="*/ 5381445 h 7571038"/>
                  <a:gd name="connsiteX6856" fmla="*/ 2418936 w 4381952"/>
                  <a:gd name="connsiteY6856" fmla="*/ 5384159 h 7571038"/>
                  <a:gd name="connsiteX6857" fmla="*/ 2421895 w 4381952"/>
                  <a:gd name="connsiteY6857" fmla="*/ 5387118 h 7571038"/>
                  <a:gd name="connsiteX6858" fmla="*/ 2424607 w 4381952"/>
                  <a:gd name="connsiteY6858" fmla="*/ 5384159 h 7571038"/>
                  <a:gd name="connsiteX6859" fmla="*/ 2424607 w 4381952"/>
                  <a:gd name="connsiteY6859" fmla="*/ 6800243 h 7571038"/>
                  <a:gd name="connsiteX6860" fmla="*/ 2421894 w 4381952"/>
                  <a:gd name="connsiteY6860" fmla="*/ 6797529 h 7571038"/>
                  <a:gd name="connsiteX6861" fmla="*/ 2419182 w 4381952"/>
                  <a:gd name="connsiteY6861" fmla="*/ 6800243 h 7571038"/>
                  <a:gd name="connsiteX6862" fmla="*/ 2421894 w 4381952"/>
                  <a:gd name="connsiteY6862" fmla="*/ 6802956 h 7571038"/>
                  <a:gd name="connsiteX6863" fmla="*/ 2424607 w 4381952"/>
                  <a:gd name="connsiteY6863" fmla="*/ 6800243 h 7571038"/>
                  <a:gd name="connsiteX6864" fmla="*/ 2425099 w 4381952"/>
                  <a:gd name="connsiteY6864" fmla="*/ 6038815 h 7571038"/>
                  <a:gd name="connsiteX6865" fmla="*/ 2422140 w 4381952"/>
                  <a:gd name="connsiteY6865" fmla="*/ 6035855 h 7571038"/>
                  <a:gd name="connsiteX6866" fmla="*/ 2419182 w 4381952"/>
                  <a:gd name="connsiteY6866" fmla="*/ 6038815 h 7571038"/>
                  <a:gd name="connsiteX6867" fmla="*/ 2422140 w 4381952"/>
                  <a:gd name="connsiteY6867" fmla="*/ 6041773 h 7571038"/>
                  <a:gd name="connsiteX6868" fmla="*/ 2425099 w 4381952"/>
                  <a:gd name="connsiteY6868" fmla="*/ 6038815 h 7571038"/>
                  <a:gd name="connsiteX6869" fmla="*/ 2425349 w 4381952"/>
                  <a:gd name="connsiteY6869" fmla="*/ 5056460 h 7571038"/>
                  <a:gd name="connsiteX6870" fmla="*/ 2419924 w 4381952"/>
                  <a:gd name="connsiteY6870" fmla="*/ 5050788 h 7571038"/>
                  <a:gd name="connsiteX6871" fmla="*/ 2414499 w 4381952"/>
                  <a:gd name="connsiteY6871" fmla="*/ 5056460 h 7571038"/>
                  <a:gd name="connsiteX6872" fmla="*/ 2419924 w 4381952"/>
                  <a:gd name="connsiteY6872" fmla="*/ 5061883 h 7571038"/>
                  <a:gd name="connsiteX6873" fmla="*/ 2425349 w 4381952"/>
                  <a:gd name="connsiteY6873" fmla="*/ 5056460 h 7571038"/>
                  <a:gd name="connsiteX6874" fmla="*/ 2425594 w 4381952"/>
                  <a:gd name="connsiteY6874" fmla="*/ 6691501 h 7571038"/>
                  <a:gd name="connsiteX6875" fmla="*/ 2422635 w 4381952"/>
                  <a:gd name="connsiteY6875" fmla="*/ 6688542 h 7571038"/>
                  <a:gd name="connsiteX6876" fmla="*/ 2419676 w 4381952"/>
                  <a:gd name="connsiteY6876" fmla="*/ 6691501 h 7571038"/>
                  <a:gd name="connsiteX6877" fmla="*/ 2422635 w 4381952"/>
                  <a:gd name="connsiteY6877" fmla="*/ 6694460 h 7571038"/>
                  <a:gd name="connsiteX6878" fmla="*/ 2425594 w 4381952"/>
                  <a:gd name="connsiteY6878" fmla="*/ 6691501 h 7571038"/>
                  <a:gd name="connsiteX6879" fmla="*/ 2425594 w 4381952"/>
                  <a:gd name="connsiteY6879" fmla="*/ 6908734 h 7571038"/>
                  <a:gd name="connsiteX6880" fmla="*/ 2422635 w 4381952"/>
                  <a:gd name="connsiteY6880" fmla="*/ 6905775 h 7571038"/>
                  <a:gd name="connsiteX6881" fmla="*/ 2419922 w 4381952"/>
                  <a:gd name="connsiteY6881" fmla="*/ 6908734 h 7571038"/>
                  <a:gd name="connsiteX6882" fmla="*/ 2422635 w 4381952"/>
                  <a:gd name="connsiteY6882" fmla="*/ 6911693 h 7571038"/>
                  <a:gd name="connsiteX6883" fmla="*/ 2425594 w 4381952"/>
                  <a:gd name="connsiteY6883" fmla="*/ 6908734 h 7571038"/>
                  <a:gd name="connsiteX6884" fmla="*/ 2425839 w 4381952"/>
                  <a:gd name="connsiteY6884" fmla="*/ 1788433 h 7571038"/>
                  <a:gd name="connsiteX6885" fmla="*/ 2414004 w 4381952"/>
                  <a:gd name="connsiteY6885" fmla="*/ 1776609 h 7571038"/>
                  <a:gd name="connsiteX6886" fmla="*/ 2402168 w 4381952"/>
                  <a:gd name="connsiteY6886" fmla="*/ 1788433 h 7571038"/>
                  <a:gd name="connsiteX6887" fmla="*/ 2414004 w 4381952"/>
                  <a:gd name="connsiteY6887" fmla="*/ 1800290 h 7571038"/>
                  <a:gd name="connsiteX6888" fmla="*/ 2425839 w 4381952"/>
                  <a:gd name="connsiteY6888" fmla="*/ 1788433 h 7571038"/>
                  <a:gd name="connsiteX6889" fmla="*/ 2425839 w 4381952"/>
                  <a:gd name="connsiteY6889" fmla="*/ 7017476 h 7571038"/>
                  <a:gd name="connsiteX6890" fmla="*/ 2422631 w 4381952"/>
                  <a:gd name="connsiteY6890" fmla="*/ 7014270 h 7571038"/>
                  <a:gd name="connsiteX6891" fmla="*/ 2419182 w 4381952"/>
                  <a:gd name="connsiteY6891" fmla="*/ 7017476 h 7571038"/>
                  <a:gd name="connsiteX6892" fmla="*/ 2422631 w 4381952"/>
                  <a:gd name="connsiteY6892" fmla="*/ 7020928 h 7571038"/>
                  <a:gd name="connsiteX6893" fmla="*/ 2425839 w 4381952"/>
                  <a:gd name="connsiteY6893" fmla="*/ 7017476 h 7571038"/>
                  <a:gd name="connsiteX6894" fmla="*/ 2425840 w 4381952"/>
                  <a:gd name="connsiteY6894" fmla="*/ 6582762 h 7571038"/>
                  <a:gd name="connsiteX6895" fmla="*/ 2422881 w 4381952"/>
                  <a:gd name="connsiteY6895" fmla="*/ 6579802 h 7571038"/>
                  <a:gd name="connsiteX6896" fmla="*/ 2419922 w 4381952"/>
                  <a:gd name="connsiteY6896" fmla="*/ 6582762 h 7571038"/>
                  <a:gd name="connsiteX6897" fmla="*/ 2422881 w 4381952"/>
                  <a:gd name="connsiteY6897" fmla="*/ 6585720 h 7571038"/>
                  <a:gd name="connsiteX6898" fmla="*/ 2425840 w 4381952"/>
                  <a:gd name="connsiteY6898" fmla="*/ 6582762 h 7571038"/>
                  <a:gd name="connsiteX6899" fmla="*/ 2426334 w 4381952"/>
                  <a:gd name="connsiteY6899" fmla="*/ 5820596 h 7571038"/>
                  <a:gd name="connsiteX6900" fmla="*/ 2423621 w 4381952"/>
                  <a:gd name="connsiteY6900" fmla="*/ 5817883 h 7571038"/>
                  <a:gd name="connsiteX6901" fmla="*/ 2420908 w 4381952"/>
                  <a:gd name="connsiteY6901" fmla="*/ 5820596 h 7571038"/>
                  <a:gd name="connsiteX6902" fmla="*/ 2423621 w 4381952"/>
                  <a:gd name="connsiteY6902" fmla="*/ 5823310 h 7571038"/>
                  <a:gd name="connsiteX6903" fmla="*/ 2426334 w 4381952"/>
                  <a:gd name="connsiteY6903" fmla="*/ 5820596 h 7571038"/>
                  <a:gd name="connsiteX6904" fmla="*/ 2426579 w 4381952"/>
                  <a:gd name="connsiteY6904" fmla="*/ 7126215 h 7571038"/>
                  <a:gd name="connsiteX6905" fmla="*/ 2422880 w 4381952"/>
                  <a:gd name="connsiteY6905" fmla="*/ 7122764 h 7571038"/>
                  <a:gd name="connsiteX6906" fmla="*/ 2419182 w 4381952"/>
                  <a:gd name="connsiteY6906" fmla="*/ 7126215 h 7571038"/>
                  <a:gd name="connsiteX6907" fmla="*/ 2422880 w 4381952"/>
                  <a:gd name="connsiteY6907" fmla="*/ 7129914 h 7571038"/>
                  <a:gd name="connsiteX6908" fmla="*/ 2426579 w 4381952"/>
                  <a:gd name="connsiteY6908" fmla="*/ 7126215 h 7571038"/>
                  <a:gd name="connsiteX6909" fmla="*/ 2427075 w 4381952"/>
                  <a:gd name="connsiteY6909" fmla="*/ 5929830 h 7571038"/>
                  <a:gd name="connsiteX6910" fmla="*/ 2422389 w 4381952"/>
                  <a:gd name="connsiteY6910" fmla="*/ 5925144 h 7571038"/>
                  <a:gd name="connsiteX6911" fmla="*/ 2417703 w 4381952"/>
                  <a:gd name="connsiteY6911" fmla="*/ 5929830 h 7571038"/>
                  <a:gd name="connsiteX6912" fmla="*/ 2422389 w 4381952"/>
                  <a:gd name="connsiteY6912" fmla="*/ 5934516 h 7571038"/>
                  <a:gd name="connsiteX6913" fmla="*/ 2427075 w 4381952"/>
                  <a:gd name="connsiteY6913" fmla="*/ 5929830 h 7571038"/>
                  <a:gd name="connsiteX6914" fmla="*/ 2427320 w 4381952"/>
                  <a:gd name="connsiteY6914" fmla="*/ 5711611 h 7571038"/>
                  <a:gd name="connsiteX6915" fmla="*/ 2423621 w 4381952"/>
                  <a:gd name="connsiteY6915" fmla="*/ 5707911 h 7571038"/>
                  <a:gd name="connsiteX6916" fmla="*/ 2419922 w 4381952"/>
                  <a:gd name="connsiteY6916" fmla="*/ 5711611 h 7571038"/>
                  <a:gd name="connsiteX6917" fmla="*/ 2423621 w 4381952"/>
                  <a:gd name="connsiteY6917" fmla="*/ 5715307 h 7571038"/>
                  <a:gd name="connsiteX6918" fmla="*/ 2427320 w 4381952"/>
                  <a:gd name="connsiteY6918" fmla="*/ 5711611 h 7571038"/>
                  <a:gd name="connsiteX6919" fmla="*/ 2427320 w 4381952"/>
                  <a:gd name="connsiteY6919" fmla="*/ 7234708 h 7571038"/>
                  <a:gd name="connsiteX6920" fmla="*/ 2423376 w 4381952"/>
                  <a:gd name="connsiteY6920" fmla="*/ 7230763 h 7571038"/>
                  <a:gd name="connsiteX6921" fmla="*/ 2419430 w 4381952"/>
                  <a:gd name="connsiteY6921" fmla="*/ 7234708 h 7571038"/>
                  <a:gd name="connsiteX6922" fmla="*/ 2423376 w 4381952"/>
                  <a:gd name="connsiteY6922" fmla="*/ 7238654 h 7571038"/>
                  <a:gd name="connsiteX6923" fmla="*/ 2427320 w 4381952"/>
                  <a:gd name="connsiteY6923" fmla="*/ 7234708 h 7571038"/>
                  <a:gd name="connsiteX6924" fmla="*/ 2427813 w 4381952"/>
                  <a:gd name="connsiteY6924" fmla="*/ 7452187 h 7571038"/>
                  <a:gd name="connsiteX6925" fmla="*/ 2424359 w 4381952"/>
                  <a:gd name="connsiteY6925" fmla="*/ 7448735 h 7571038"/>
                  <a:gd name="connsiteX6926" fmla="*/ 2420908 w 4381952"/>
                  <a:gd name="connsiteY6926" fmla="*/ 7452187 h 7571038"/>
                  <a:gd name="connsiteX6927" fmla="*/ 2424359 w 4381952"/>
                  <a:gd name="connsiteY6927" fmla="*/ 7455639 h 7571038"/>
                  <a:gd name="connsiteX6928" fmla="*/ 2427813 w 4381952"/>
                  <a:gd name="connsiteY6928" fmla="*/ 7452187 h 7571038"/>
                  <a:gd name="connsiteX6929" fmla="*/ 2428553 w 4381952"/>
                  <a:gd name="connsiteY6929" fmla="*/ 7560682 h 7571038"/>
                  <a:gd name="connsiteX6930" fmla="*/ 2424854 w 4381952"/>
                  <a:gd name="connsiteY6930" fmla="*/ 7556983 h 7571038"/>
                  <a:gd name="connsiteX6931" fmla="*/ 2421155 w 4381952"/>
                  <a:gd name="connsiteY6931" fmla="*/ 7560682 h 7571038"/>
                  <a:gd name="connsiteX6932" fmla="*/ 2424854 w 4381952"/>
                  <a:gd name="connsiteY6932" fmla="*/ 7564381 h 7571038"/>
                  <a:gd name="connsiteX6933" fmla="*/ 2428553 w 4381952"/>
                  <a:gd name="connsiteY6933" fmla="*/ 7560682 h 7571038"/>
                  <a:gd name="connsiteX6934" fmla="*/ 2428799 w 4381952"/>
                  <a:gd name="connsiteY6934" fmla="*/ 7343447 h 7571038"/>
                  <a:gd name="connsiteX6935" fmla="*/ 2424608 w 4381952"/>
                  <a:gd name="connsiteY6935" fmla="*/ 7339256 h 7571038"/>
                  <a:gd name="connsiteX6936" fmla="*/ 2420417 w 4381952"/>
                  <a:gd name="connsiteY6936" fmla="*/ 7343447 h 7571038"/>
                  <a:gd name="connsiteX6937" fmla="*/ 2424608 w 4381952"/>
                  <a:gd name="connsiteY6937" fmla="*/ 7347638 h 7571038"/>
                  <a:gd name="connsiteX6938" fmla="*/ 2428799 w 4381952"/>
                  <a:gd name="connsiteY6938" fmla="*/ 7343447 h 7571038"/>
                  <a:gd name="connsiteX6939" fmla="*/ 2429292 w 4381952"/>
                  <a:gd name="connsiteY6939" fmla="*/ 4616816 h 7571038"/>
                  <a:gd name="connsiteX6940" fmla="*/ 2415730 w 4381952"/>
                  <a:gd name="connsiteY6940" fmla="*/ 4603253 h 7571038"/>
                  <a:gd name="connsiteX6941" fmla="*/ 2402168 w 4381952"/>
                  <a:gd name="connsiteY6941" fmla="*/ 4616816 h 7571038"/>
                  <a:gd name="connsiteX6942" fmla="*/ 2415730 w 4381952"/>
                  <a:gd name="connsiteY6942" fmla="*/ 4630378 h 7571038"/>
                  <a:gd name="connsiteX6943" fmla="*/ 2429292 w 4381952"/>
                  <a:gd name="connsiteY6943" fmla="*/ 4616816 h 7571038"/>
                  <a:gd name="connsiteX6944" fmla="*/ 2434718 w 4381952"/>
                  <a:gd name="connsiteY6944" fmla="*/ 4168540 h 7571038"/>
                  <a:gd name="connsiteX6945" fmla="*/ 2415730 w 4381952"/>
                  <a:gd name="connsiteY6945" fmla="*/ 4149553 h 7571038"/>
                  <a:gd name="connsiteX6946" fmla="*/ 2396745 w 4381952"/>
                  <a:gd name="connsiteY6946" fmla="*/ 4168540 h 7571038"/>
                  <a:gd name="connsiteX6947" fmla="*/ 2415730 w 4381952"/>
                  <a:gd name="connsiteY6947" fmla="*/ 4187525 h 7571038"/>
                  <a:gd name="connsiteX6948" fmla="*/ 2434718 w 4381952"/>
                  <a:gd name="connsiteY6948" fmla="*/ 4168540 h 7571038"/>
                  <a:gd name="connsiteX6949" fmla="*/ 2435211 w 4381952"/>
                  <a:gd name="connsiteY6949" fmla="*/ 3016541 h 7571038"/>
                  <a:gd name="connsiteX6950" fmla="*/ 2406113 w 4381952"/>
                  <a:gd name="connsiteY6950" fmla="*/ 2987444 h 7571038"/>
                  <a:gd name="connsiteX6951" fmla="*/ 2377020 w 4381952"/>
                  <a:gd name="connsiteY6951" fmla="*/ 3016541 h 7571038"/>
                  <a:gd name="connsiteX6952" fmla="*/ 2406113 w 4381952"/>
                  <a:gd name="connsiteY6952" fmla="*/ 3045635 h 7571038"/>
                  <a:gd name="connsiteX6953" fmla="*/ 2435211 w 4381952"/>
                  <a:gd name="connsiteY6953" fmla="*/ 3016541 h 7571038"/>
                  <a:gd name="connsiteX6954" fmla="*/ 2436196 w 4381952"/>
                  <a:gd name="connsiteY6954" fmla="*/ 1897900 h 7571038"/>
                  <a:gd name="connsiteX6955" fmla="*/ 2414744 w 4381952"/>
                  <a:gd name="connsiteY6955" fmla="*/ 1876207 h 7571038"/>
                  <a:gd name="connsiteX6956" fmla="*/ 2393046 w 4381952"/>
                  <a:gd name="connsiteY6956" fmla="*/ 1897900 h 7571038"/>
                  <a:gd name="connsiteX6957" fmla="*/ 2414744 w 4381952"/>
                  <a:gd name="connsiteY6957" fmla="*/ 1919594 h 7571038"/>
                  <a:gd name="connsiteX6958" fmla="*/ 2436196 w 4381952"/>
                  <a:gd name="connsiteY6958" fmla="*/ 1897900 h 7571038"/>
                  <a:gd name="connsiteX6959" fmla="*/ 2438910 w 4381952"/>
                  <a:gd name="connsiteY6959" fmla="*/ 4727035 h 7571038"/>
                  <a:gd name="connsiteX6960" fmla="*/ 2416225 w 4381952"/>
                  <a:gd name="connsiteY6960" fmla="*/ 4704350 h 7571038"/>
                  <a:gd name="connsiteX6961" fmla="*/ 2393540 w 4381952"/>
                  <a:gd name="connsiteY6961" fmla="*/ 4727035 h 7571038"/>
                  <a:gd name="connsiteX6962" fmla="*/ 2416225 w 4381952"/>
                  <a:gd name="connsiteY6962" fmla="*/ 4749720 h 7571038"/>
                  <a:gd name="connsiteX6963" fmla="*/ 2438910 w 4381952"/>
                  <a:gd name="connsiteY6963" fmla="*/ 4727035 h 7571038"/>
                  <a:gd name="connsiteX6964" fmla="*/ 2439155 w 4381952"/>
                  <a:gd name="connsiteY6964" fmla="*/ 5165939 h 7571038"/>
                  <a:gd name="connsiteX6965" fmla="*/ 2420662 w 4381952"/>
                  <a:gd name="connsiteY6965" fmla="*/ 5147445 h 7571038"/>
                  <a:gd name="connsiteX6966" fmla="*/ 2402168 w 4381952"/>
                  <a:gd name="connsiteY6966" fmla="*/ 5165939 h 7571038"/>
                  <a:gd name="connsiteX6967" fmla="*/ 2420662 w 4381952"/>
                  <a:gd name="connsiteY6967" fmla="*/ 5184434 h 7571038"/>
                  <a:gd name="connsiteX6968" fmla="*/ 2439155 w 4381952"/>
                  <a:gd name="connsiteY6968" fmla="*/ 5165939 h 7571038"/>
                  <a:gd name="connsiteX6969" fmla="*/ 2440389 w 4381952"/>
                  <a:gd name="connsiteY6969" fmla="*/ 1569739 h 7571038"/>
                  <a:gd name="connsiteX6970" fmla="*/ 2412526 w 4381952"/>
                  <a:gd name="connsiteY6970" fmla="*/ 1541879 h 7571038"/>
                  <a:gd name="connsiteX6971" fmla="*/ 2384664 w 4381952"/>
                  <a:gd name="connsiteY6971" fmla="*/ 1569739 h 7571038"/>
                  <a:gd name="connsiteX6972" fmla="*/ 2412526 w 4381952"/>
                  <a:gd name="connsiteY6972" fmla="*/ 1597605 h 7571038"/>
                  <a:gd name="connsiteX6973" fmla="*/ 2440389 w 4381952"/>
                  <a:gd name="connsiteY6973" fmla="*/ 1569739 h 7571038"/>
                  <a:gd name="connsiteX6974" fmla="*/ 2444333 w 4381952"/>
                  <a:gd name="connsiteY6974" fmla="*/ 2007842 h 7571038"/>
                  <a:gd name="connsiteX6975" fmla="*/ 2414990 w 4381952"/>
                  <a:gd name="connsiteY6975" fmla="*/ 1978505 h 7571038"/>
                  <a:gd name="connsiteX6976" fmla="*/ 2385647 w 4381952"/>
                  <a:gd name="connsiteY6976" fmla="*/ 2007842 h 7571038"/>
                  <a:gd name="connsiteX6977" fmla="*/ 2414990 w 4381952"/>
                  <a:gd name="connsiteY6977" fmla="*/ 2037183 h 7571038"/>
                  <a:gd name="connsiteX6978" fmla="*/ 2444333 w 4381952"/>
                  <a:gd name="connsiteY6978" fmla="*/ 2007842 h 7571038"/>
                  <a:gd name="connsiteX6979" fmla="*/ 2445073 w 4381952"/>
                  <a:gd name="connsiteY6979" fmla="*/ 2898927 h 7571038"/>
                  <a:gd name="connsiteX6980" fmla="*/ 2407841 w 4381952"/>
                  <a:gd name="connsiteY6980" fmla="*/ 2861693 h 7571038"/>
                  <a:gd name="connsiteX6981" fmla="*/ 2370607 w 4381952"/>
                  <a:gd name="connsiteY6981" fmla="*/ 2898927 h 7571038"/>
                  <a:gd name="connsiteX6982" fmla="*/ 2407841 w 4381952"/>
                  <a:gd name="connsiteY6982" fmla="*/ 2936158 h 7571038"/>
                  <a:gd name="connsiteX6983" fmla="*/ 2445073 w 4381952"/>
                  <a:gd name="connsiteY6983" fmla="*/ 2898927 h 7571038"/>
                  <a:gd name="connsiteX6984" fmla="*/ 2445317 w 4381952"/>
                  <a:gd name="connsiteY6984" fmla="*/ 45879 h 7571038"/>
                  <a:gd name="connsiteX6985" fmla="*/ 2413018 w 4381952"/>
                  <a:gd name="connsiteY6985" fmla="*/ 13578 h 7571038"/>
                  <a:gd name="connsiteX6986" fmla="*/ 2380717 w 4381952"/>
                  <a:gd name="connsiteY6986" fmla="*/ 45879 h 7571038"/>
                  <a:gd name="connsiteX6987" fmla="*/ 2413018 w 4381952"/>
                  <a:gd name="connsiteY6987" fmla="*/ 78180 h 7571038"/>
                  <a:gd name="connsiteX6988" fmla="*/ 2445317 w 4381952"/>
                  <a:gd name="connsiteY6988" fmla="*/ 45879 h 7571038"/>
                  <a:gd name="connsiteX6989" fmla="*/ 2445319 w 4381952"/>
                  <a:gd name="connsiteY6989" fmla="*/ 263308 h 7571038"/>
                  <a:gd name="connsiteX6990" fmla="*/ 2413509 w 4381952"/>
                  <a:gd name="connsiteY6990" fmla="*/ 231501 h 7571038"/>
                  <a:gd name="connsiteX6991" fmla="*/ 2381702 w 4381952"/>
                  <a:gd name="connsiteY6991" fmla="*/ 263308 h 7571038"/>
                  <a:gd name="connsiteX6992" fmla="*/ 2413509 w 4381952"/>
                  <a:gd name="connsiteY6992" fmla="*/ 295116 h 7571038"/>
                  <a:gd name="connsiteX6993" fmla="*/ 2445319 w 4381952"/>
                  <a:gd name="connsiteY6993" fmla="*/ 263308 h 7571038"/>
                  <a:gd name="connsiteX6994" fmla="*/ 2445566 w 4381952"/>
                  <a:gd name="connsiteY6994" fmla="*/ 372023 h 7571038"/>
                  <a:gd name="connsiteX6995" fmla="*/ 2413758 w 4381952"/>
                  <a:gd name="connsiteY6995" fmla="*/ 340216 h 7571038"/>
                  <a:gd name="connsiteX6996" fmla="*/ 2382196 w 4381952"/>
                  <a:gd name="connsiteY6996" fmla="*/ 372023 h 7571038"/>
                  <a:gd name="connsiteX6997" fmla="*/ 2413758 w 4381952"/>
                  <a:gd name="connsiteY6997" fmla="*/ 403584 h 7571038"/>
                  <a:gd name="connsiteX6998" fmla="*/ 2445566 w 4381952"/>
                  <a:gd name="connsiteY6998" fmla="*/ 372023 h 7571038"/>
                  <a:gd name="connsiteX6999" fmla="*/ 2447047 w 4381952"/>
                  <a:gd name="connsiteY6999" fmla="*/ 154592 h 7571038"/>
                  <a:gd name="connsiteX7000" fmla="*/ 2413512 w 4381952"/>
                  <a:gd name="connsiteY7000" fmla="*/ 121059 h 7571038"/>
                  <a:gd name="connsiteX7001" fmla="*/ 2379979 w 4381952"/>
                  <a:gd name="connsiteY7001" fmla="*/ 154592 h 7571038"/>
                  <a:gd name="connsiteX7002" fmla="*/ 2413512 w 4381952"/>
                  <a:gd name="connsiteY7002" fmla="*/ 188125 h 7571038"/>
                  <a:gd name="connsiteX7003" fmla="*/ 2447047 w 4381952"/>
                  <a:gd name="connsiteY7003" fmla="*/ 154592 h 7571038"/>
                  <a:gd name="connsiteX7004" fmla="*/ 2448525 w 4381952"/>
                  <a:gd name="connsiteY7004" fmla="*/ 1460520 h 7571038"/>
                  <a:gd name="connsiteX7005" fmla="*/ 2412277 w 4381952"/>
                  <a:gd name="connsiteY7005" fmla="*/ 1424276 h 7571038"/>
                  <a:gd name="connsiteX7006" fmla="*/ 2376279 w 4381952"/>
                  <a:gd name="connsiteY7006" fmla="*/ 1460520 h 7571038"/>
                  <a:gd name="connsiteX7007" fmla="*/ 2412277 w 4381952"/>
                  <a:gd name="connsiteY7007" fmla="*/ 1496769 h 7571038"/>
                  <a:gd name="connsiteX7008" fmla="*/ 2448525 w 4381952"/>
                  <a:gd name="connsiteY7008" fmla="*/ 1460520 h 7571038"/>
                  <a:gd name="connsiteX7009" fmla="*/ 2449019 w 4381952"/>
                  <a:gd name="connsiteY7009" fmla="*/ 1351545 h 7571038"/>
                  <a:gd name="connsiteX7010" fmla="*/ 2411786 w 4381952"/>
                  <a:gd name="connsiteY7010" fmla="*/ 1314315 h 7571038"/>
                  <a:gd name="connsiteX7011" fmla="*/ 2374552 w 4381952"/>
                  <a:gd name="connsiteY7011" fmla="*/ 1351545 h 7571038"/>
                  <a:gd name="connsiteX7012" fmla="*/ 2411786 w 4381952"/>
                  <a:gd name="connsiteY7012" fmla="*/ 1388779 h 7571038"/>
                  <a:gd name="connsiteX7013" fmla="*/ 2449019 w 4381952"/>
                  <a:gd name="connsiteY7013" fmla="*/ 1351545 h 7571038"/>
                  <a:gd name="connsiteX7014" fmla="*/ 2449757 w 4381952"/>
                  <a:gd name="connsiteY7014" fmla="*/ 4946486 h 7571038"/>
                  <a:gd name="connsiteX7015" fmla="*/ 2420167 w 4381952"/>
                  <a:gd name="connsiteY7015" fmla="*/ 4916896 h 7571038"/>
                  <a:gd name="connsiteX7016" fmla="*/ 2390579 w 4381952"/>
                  <a:gd name="connsiteY7016" fmla="*/ 4946486 h 7571038"/>
                  <a:gd name="connsiteX7017" fmla="*/ 2420167 w 4381952"/>
                  <a:gd name="connsiteY7017" fmla="*/ 4976074 h 7571038"/>
                  <a:gd name="connsiteX7018" fmla="*/ 2449757 w 4381952"/>
                  <a:gd name="connsiteY7018" fmla="*/ 4946486 h 7571038"/>
                  <a:gd name="connsiteX7019" fmla="*/ 2453705 w 4381952"/>
                  <a:gd name="connsiteY7019" fmla="*/ 4394651 h 7571038"/>
                  <a:gd name="connsiteX7020" fmla="*/ 2414747 w 4381952"/>
                  <a:gd name="connsiteY7020" fmla="*/ 4355690 h 7571038"/>
                  <a:gd name="connsiteX7021" fmla="*/ 2375787 w 4381952"/>
                  <a:gd name="connsiteY7021" fmla="*/ 4394651 h 7571038"/>
                  <a:gd name="connsiteX7022" fmla="*/ 2414747 w 4381952"/>
                  <a:gd name="connsiteY7022" fmla="*/ 4433608 h 7571038"/>
                  <a:gd name="connsiteX7023" fmla="*/ 2453705 w 4381952"/>
                  <a:gd name="connsiteY7023" fmla="*/ 4394651 h 7571038"/>
                  <a:gd name="connsiteX7024" fmla="*/ 2459867 w 4381952"/>
                  <a:gd name="connsiteY7024" fmla="*/ 4506100 h 7571038"/>
                  <a:gd name="connsiteX7025" fmla="*/ 2415236 w 4381952"/>
                  <a:gd name="connsiteY7025" fmla="*/ 4461470 h 7571038"/>
                  <a:gd name="connsiteX7026" fmla="*/ 2370607 w 4381952"/>
                  <a:gd name="connsiteY7026" fmla="*/ 4506100 h 7571038"/>
                  <a:gd name="connsiteX7027" fmla="*/ 2415236 w 4381952"/>
                  <a:gd name="connsiteY7027" fmla="*/ 4550732 h 7571038"/>
                  <a:gd name="connsiteX7028" fmla="*/ 2459867 w 4381952"/>
                  <a:gd name="connsiteY7028" fmla="*/ 4506100 h 7571038"/>
                  <a:gd name="connsiteX7029" fmla="*/ 2463565 w 4381952"/>
                  <a:gd name="connsiteY7029" fmla="*/ 4282455 h 7571038"/>
                  <a:gd name="connsiteX7030" fmla="*/ 2414744 w 4381952"/>
                  <a:gd name="connsiteY7030" fmla="*/ 4233634 h 7571038"/>
                  <a:gd name="connsiteX7031" fmla="*/ 2365921 w 4381952"/>
                  <a:gd name="connsiteY7031" fmla="*/ 4282455 h 7571038"/>
                  <a:gd name="connsiteX7032" fmla="*/ 2414744 w 4381952"/>
                  <a:gd name="connsiteY7032" fmla="*/ 4331279 h 7571038"/>
                  <a:gd name="connsiteX7033" fmla="*/ 2463565 w 4381952"/>
                  <a:gd name="connsiteY7033" fmla="*/ 4282455 h 7571038"/>
                  <a:gd name="connsiteX7034" fmla="*/ 2465292 w 4381952"/>
                  <a:gd name="connsiteY7034" fmla="*/ 4837253 h 7571038"/>
                  <a:gd name="connsiteX7035" fmla="*/ 2416963 w 4381952"/>
                  <a:gd name="connsiteY7035" fmla="*/ 4788923 h 7571038"/>
                  <a:gd name="connsiteX7036" fmla="*/ 2368634 w 4381952"/>
                  <a:gd name="connsiteY7036" fmla="*/ 4837253 h 7571038"/>
                  <a:gd name="connsiteX7037" fmla="*/ 2416963 w 4381952"/>
                  <a:gd name="connsiteY7037" fmla="*/ 4885582 h 7571038"/>
                  <a:gd name="connsiteX7038" fmla="*/ 2465292 w 4381952"/>
                  <a:gd name="connsiteY7038" fmla="*/ 4837253 h 7571038"/>
                  <a:gd name="connsiteX7039" fmla="*/ 2466033 w 4381952"/>
                  <a:gd name="connsiteY7039" fmla="*/ 3173113 h 7571038"/>
                  <a:gd name="connsiteX7040" fmla="*/ 2448771 w 4381952"/>
                  <a:gd name="connsiteY7040" fmla="*/ 3155854 h 7571038"/>
                  <a:gd name="connsiteX7041" fmla="*/ 2431512 w 4381952"/>
                  <a:gd name="connsiteY7041" fmla="*/ 3173113 h 7571038"/>
                  <a:gd name="connsiteX7042" fmla="*/ 2448771 w 4381952"/>
                  <a:gd name="connsiteY7042" fmla="*/ 3190375 h 7571038"/>
                  <a:gd name="connsiteX7043" fmla="*/ 2466033 w 4381952"/>
                  <a:gd name="connsiteY7043" fmla="*/ 3173113 h 7571038"/>
                  <a:gd name="connsiteX7044" fmla="*/ 2477868 w 4381952"/>
                  <a:gd name="connsiteY7044" fmla="*/ 2239122 h 7571038"/>
                  <a:gd name="connsiteX7045" fmla="*/ 2469730 w 4381952"/>
                  <a:gd name="connsiteY7045" fmla="*/ 2230985 h 7571038"/>
                  <a:gd name="connsiteX7046" fmla="*/ 2461593 w 4381952"/>
                  <a:gd name="connsiteY7046" fmla="*/ 2239122 h 7571038"/>
                  <a:gd name="connsiteX7047" fmla="*/ 2469730 w 4381952"/>
                  <a:gd name="connsiteY7047" fmla="*/ 2247265 h 7571038"/>
                  <a:gd name="connsiteX7048" fmla="*/ 2477868 w 4381952"/>
                  <a:gd name="connsiteY7048" fmla="*/ 2239122 h 7571038"/>
                  <a:gd name="connsiteX7049" fmla="*/ 2485758 w 4381952"/>
                  <a:gd name="connsiteY7049" fmla="*/ 2127922 h 7571038"/>
                  <a:gd name="connsiteX7050" fmla="*/ 2469486 w 4381952"/>
                  <a:gd name="connsiteY7050" fmla="*/ 2111649 h 7571038"/>
                  <a:gd name="connsiteX7051" fmla="*/ 2453210 w 4381952"/>
                  <a:gd name="connsiteY7051" fmla="*/ 2127922 h 7571038"/>
                  <a:gd name="connsiteX7052" fmla="*/ 2469486 w 4381952"/>
                  <a:gd name="connsiteY7052" fmla="*/ 2144197 h 7571038"/>
                  <a:gd name="connsiteX7053" fmla="*/ 2485758 w 4381952"/>
                  <a:gd name="connsiteY7053" fmla="*/ 2127922 h 7571038"/>
                  <a:gd name="connsiteX7054" fmla="*/ 2486005 w 4381952"/>
                  <a:gd name="connsiteY7054" fmla="*/ 2690825 h 7571038"/>
                  <a:gd name="connsiteX7055" fmla="*/ 2470224 w 4381952"/>
                  <a:gd name="connsiteY7055" fmla="*/ 2675045 h 7571038"/>
                  <a:gd name="connsiteX7056" fmla="*/ 2454443 w 4381952"/>
                  <a:gd name="connsiteY7056" fmla="*/ 2690825 h 7571038"/>
                  <a:gd name="connsiteX7057" fmla="*/ 2470224 w 4381952"/>
                  <a:gd name="connsiteY7057" fmla="*/ 2706605 h 7571038"/>
                  <a:gd name="connsiteX7058" fmla="*/ 2486005 w 4381952"/>
                  <a:gd name="connsiteY7058" fmla="*/ 2690825 h 7571038"/>
                  <a:gd name="connsiteX7059" fmla="*/ 2493897 w 4381952"/>
                  <a:gd name="connsiteY7059" fmla="*/ 2806710 h 7571038"/>
                  <a:gd name="connsiteX7060" fmla="*/ 2469239 w 4381952"/>
                  <a:gd name="connsiteY7060" fmla="*/ 2782053 h 7571038"/>
                  <a:gd name="connsiteX7061" fmla="*/ 2444828 w 4381952"/>
                  <a:gd name="connsiteY7061" fmla="*/ 2806710 h 7571038"/>
                  <a:gd name="connsiteX7062" fmla="*/ 2469239 w 4381952"/>
                  <a:gd name="connsiteY7062" fmla="*/ 2831368 h 7571038"/>
                  <a:gd name="connsiteX7063" fmla="*/ 2493897 w 4381952"/>
                  <a:gd name="connsiteY7063" fmla="*/ 2806710 h 7571038"/>
                  <a:gd name="connsiteX7064" fmla="*/ 2496115 w 4381952"/>
                  <a:gd name="connsiteY7064" fmla="*/ 2350817 h 7571038"/>
                  <a:gd name="connsiteX7065" fmla="*/ 2470223 w 4381952"/>
                  <a:gd name="connsiteY7065" fmla="*/ 2324921 h 7571038"/>
                  <a:gd name="connsiteX7066" fmla="*/ 2444333 w 4381952"/>
                  <a:gd name="connsiteY7066" fmla="*/ 2350817 h 7571038"/>
                  <a:gd name="connsiteX7067" fmla="*/ 2470223 w 4381952"/>
                  <a:gd name="connsiteY7067" fmla="*/ 2376702 h 7571038"/>
                  <a:gd name="connsiteX7068" fmla="*/ 2496115 w 4381952"/>
                  <a:gd name="connsiteY7068" fmla="*/ 2350817 h 7571038"/>
                  <a:gd name="connsiteX7069" fmla="*/ 2503266 w 4381952"/>
                  <a:gd name="connsiteY7069" fmla="*/ 2576419 h 7571038"/>
                  <a:gd name="connsiteX7070" fmla="*/ 2470718 w 4381952"/>
                  <a:gd name="connsiteY7070" fmla="*/ 2543871 h 7571038"/>
                  <a:gd name="connsiteX7071" fmla="*/ 2438170 w 4381952"/>
                  <a:gd name="connsiteY7071" fmla="*/ 2576419 h 7571038"/>
                  <a:gd name="connsiteX7072" fmla="*/ 2470718 w 4381952"/>
                  <a:gd name="connsiteY7072" fmla="*/ 2608967 h 7571038"/>
                  <a:gd name="connsiteX7073" fmla="*/ 2503266 w 4381952"/>
                  <a:gd name="connsiteY7073" fmla="*/ 2576419 h 7571038"/>
                  <a:gd name="connsiteX7074" fmla="*/ 2504745 w 4381952"/>
                  <a:gd name="connsiteY7074" fmla="*/ 1030551 h 7571038"/>
                  <a:gd name="connsiteX7075" fmla="*/ 2471210 w 4381952"/>
                  <a:gd name="connsiteY7075" fmla="*/ 997018 h 7571038"/>
                  <a:gd name="connsiteX7076" fmla="*/ 2437675 w 4381952"/>
                  <a:gd name="connsiteY7076" fmla="*/ 1030551 h 7571038"/>
                  <a:gd name="connsiteX7077" fmla="*/ 2471210 w 4381952"/>
                  <a:gd name="connsiteY7077" fmla="*/ 1064087 h 7571038"/>
                  <a:gd name="connsiteX7078" fmla="*/ 2504745 w 4381952"/>
                  <a:gd name="connsiteY7078" fmla="*/ 1030551 h 7571038"/>
                  <a:gd name="connsiteX7079" fmla="*/ 2505485 w 4381952"/>
                  <a:gd name="connsiteY7079" fmla="*/ 812613 h 7571038"/>
                  <a:gd name="connsiteX7080" fmla="*/ 2471704 w 4381952"/>
                  <a:gd name="connsiteY7080" fmla="*/ 778832 h 7571038"/>
                  <a:gd name="connsiteX7081" fmla="*/ 2437924 w 4381952"/>
                  <a:gd name="connsiteY7081" fmla="*/ 812613 h 7571038"/>
                  <a:gd name="connsiteX7082" fmla="*/ 2471704 w 4381952"/>
                  <a:gd name="connsiteY7082" fmla="*/ 846395 h 7571038"/>
                  <a:gd name="connsiteX7083" fmla="*/ 2505485 w 4381952"/>
                  <a:gd name="connsiteY7083" fmla="*/ 812613 h 7571038"/>
                  <a:gd name="connsiteX7084" fmla="*/ 2507457 w 4381952"/>
                  <a:gd name="connsiteY7084" fmla="*/ 485429 h 7571038"/>
                  <a:gd name="connsiteX7085" fmla="*/ 2470717 w 4381952"/>
                  <a:gd name="connsiteY7085" fmla="*/ 448691 h 7571038"/>
                  <a:gd name="connsiteX7086" fmla="*/ 2433978 w 4381952"/>
                  <a:gd name="connsiteY7086" fmla="*/ 485429 h 7571038"/>
                  <a:gd name="connsiteX7087" fmla="*/ 2470717 w 4381952"/>
                  <a:gd name="connsiteY7087" fmla="*/ 522166 h 7571038"/>
                  <a:gd name="connsiteX7088" fmla="*/ 2507457 w 4381952"/>
                  <a:gd name="connsiteY7088" fmla="*/ 485429 h 7571038"/>
                  <a:gd name="connsiteX7089" fmla="*/ 2507703 w 4381952"/>
                  <a:gd name="connsiteY7089" fmla="*/ 921577 h 7571038"/>
                  <a:gd name="connsiteX7090" fmla="*/ 2470963 w 4381952"/>
                  <a:gd name="connsiteY7090" fmla="*/ 884840 h 7571038"/>
                  <a:gd name="connsiteX7091" fmla="*/ 2434225 w 4381952"/>
                  <a:gd name="connsiteY7091" fmla="*/ 921577 h 7571038"/>
                  <a:gd name="connsiteX7092" fmla="*/ 2470963 w 4381952"/>
                  <a:gd name="connsiteY7092" fmla="*/ 958077 h 7571038"/>
                  <a:gd name="connsiteX7093" fmla="*/ 2507703 w 4381952"/>
                  <a:gd name="connsiteY7093" fmla="*/ 921577 h 7571038"/>
                  <a:gd name="connsiteX7094" fmla="*/ 2507704 w 4381952"/>
                  <a:gd name="connsiteY7094" fmla="*/ 2463000 h 7571038"/>
                  <a:gd name="connsiteX7095" fmla="*/ 2470470 w 4381952"/>
                  <a:gd name="connsiteY7095" fmla="*/ 2425765 h 7571038"/>
                  <a:gd name="connsiteX7096" fmla="*/ 2432990 w 4381952"/>
                  <a:gd name="connsiteY7096" fmla="*/ 2463000 h 7571038"/>
                  <a:gd name="connsiteX7097" fmla="*/ 2470470 w 4381952"/>
                  <a:gd name="connsiteY7097" fmla="*/ 2500479 h 7571038"/>
                  <a:gd name="connsiteX7098" fmla="*/ 2507704 w 4381952"/>
                  <a:gd name="connsiteY7098" fmla="*/ 2463000 h 7571038"/>
                  <a:gd name="connsiteX7099" fmla="*/ 2508196 w 4381952"/>
                  <a:gd name="connsiteY7099" fmla="*/ 594393 h 7571038"/>
                  <a:gd name="connsiteX7100" fmla="*/ 2470964 w 4381952"/>
                  <a:gd name="connsiteY7100" fmla="*/ 557161 h 7571038"/>
                  <a:gd name="connsiteX7101" fmla="*/ 2433730 w 4381952"/>
                  <a:gd name="connsiteY7101" fmla="*/ 594393 h 7571038"/>
                  <a:gd name="connsiteX7102" fmla="*/ 2470964 w 4381952"/>
                  <a:gd name="connsiteY7102" fmla="*/ 631626 h 7571038"/>
                  <a:gd name="connsiteX7103" fmla="*/ 2508196 w 4381952"/>
                  <a:gd name="connsiteY7103" fmla="*/ 594393 h 7571038"/>
                  <a:gd name="connsiteX7104" fmla="*/ 2509922 w 4381952"/>
                  <a:gd name="connsiteY7104" fmla="*/ 703398 h 7571038"/>
                  <a:gd name="connsiteX7105" fmla="*/ 2471455 w 4381952"/>
                  <a:gd name="connsiteY7105" fmla="*/ 664931 h 7571038"/>
                  <a:gd name="connsiteX7106" fmla="*/ 2432990 w 4381952"/>
                  <a:gd name="connsiteY7106" fmla="*/ 703398 h 7571038"/>
                  <a:gd name="connsiteX7107" fmla="*/ 2471455 w 4381952"/>
                  <a:gd name="connsiteY7107" fmla="*/ 741868 h 7571038"/>
                  <a:gd name="connsiteX7108" fmla="*/ 2509922 w 4381952"/>
                  <a:gd name="connsiteY7108" fmla="*/ 703398 h 7571038"/>
                  <a:gd name="connsiteX7109" fmla="*/ 2511648 w 4381952"/>
                  <a:gd name="connsiteY7109" fmla="*/ 1140015 h 7571038"/>
                  <a:gd name="connsiteX7110" fmla="*/ 2471458 w 4381952"/>
                  <a:gd name="connsiteY7110" fmla="*/ 1099821 h 7571038"/>
                  <a:gd name="connsiteX7111" fmla="*/ 2431266 w 4381952"/>
                  <a:gd name="connsiteY7111" fmla="*/ 1140015 h 7571038"/>
                  <a:gd name="connsiteX7112" fmla="*/ 2471458 w 4381952"/>
                  <a:gd name="connsiteY7112" fmla="*/ 1180206 h 7571038"/>
                  <a:gd name="connsiteX7113" fmla="*/ 2511648 w 4381952"/>
                  <a:gd name="connsiteY7113" fmla="*/ 1140015 h 7571038"/>
                  <a:gd name="connsiteX7114" fmla="*/ 2512142 w 4381952"/>
                  <a:gd name="connsiteY7114" fmla="*/ 1248984 h 7571038"/>
                  <a:gd name="connsiteX7115" fmla="*/ 2471212 w 4381952"/>
                  <a:gd name="connsiteY7115" fmla="*/ 1207807 h 7571038"/>
                  <a:gd name="connsiteX7116" fmla="*/ 2430280 w 4381952"/>
                  <a:gd name="connsiteY7116" fmla="*/ 1248984 h 7571038"/>
                  <a:gd name="connsiteX7117" fmla="*/ 2471212 w 4381952"/>
                  <a:gd name="connsiteY7117" fmla="*/ 1290163 h 7571038"/>
                  <a:gd name="connsiteX7118" fmla="*/ 2512142 w 4381952"/>
                  <a:gd name="connsiteY7118" fmla="*/ 1248984 h 7571038"/>
                  <a:gd name="connsiteX7119" fmla="*/ 2512633 w 4381952"/>
                  <a:gd name="connsiteY7119" fmla="*/ 4004567 h 7571038"/>
                  <a:gd name="connsiteX7120" fmla="*/ 2510661 w 4381952"/>
                  <a:gd name="connsiteY7120" fmla="*/ 4002594 h 7571038"/>
                  <a:gd name="connsiteX7121" fmla="*/ 2508689 w 4381952"/>
                  <a:gd name="connsiteY7121" fmla="*/ 4004567 h 7571038"/>
                  <a:gd name="connsiteX7122" fmla="*/ 2510661 w 4381952"/>
                  <a:gd name="connsiteY7122" fmla="*/ 4006539 h 7571038"/>
                  <a:gd name="connsiteX7123" fmla="*/ 2512633 w 4381952"/>
                  <a:gd name="connsiteY7123" fmla="*/ 4004567 h 7571038"/>
                  <a:gd name="connsiteX7124" fmla="*/ 2518552 w 4381952"/>
                  <a:gd name="connsiteY7124" fmla="*/ 3877579 h 7571038"/>
                  <a:gd name="connsiteX7125" fmla="*/ 2503020 w 4381952"/>
                  <a:gd name="connsiteY7125" fmla="*/ 3862043 h 7571038"/>
                  <a:gd name="connsiteX7126" fmla="*/ 2487484 w 4381952"/>
                  <a:gd name="connsiteY7126" fmla="*/ 3877579 h 7571038"/>
                  <a:gd name="connsiteX7127" fmla="*/ 2503020 w 4381952"/>
                  <a:gd name="connsiteY7127" fmla="*/ 3893111 h 7571038"/>
                  <a:gd name="connsiteX7128" fmla="*/ 2518552 w 4381952"/>
                  <a:gd name="connsiteY7128" fmla="*/ 3877579 h 7571038"/>
                  <a:gd name="connsiteX7129" fmla="*/ 2521757 w 4381952"/>
                  <a:gd name="connsiteY7129" fmla="*/ 3077445 h 7571038"/>
                  <a:gd name="connsiteX7130" fmla="*/ 2503017 w 4381952"/>
                  <a:gd name="connsiteY7130" fmla="*/ 3058459 h 7571038"/>
                  <a:gd name="connsiteX7131" fmla="*/ 2484031 w 4381952"/>
                  <a:gd name="connsiteY7131" fmla="*/ 3077445 h 7571038"/>
                  <a:gd name="connsiteX7132" fmla="*/ 2503017 w 4381952"/>
                  <a:gd name="connsiteY7132" fmla="*/ 3096430 h 7571038"/>
                  <a:gd name="connsiteX7133" fmla="*/ 2521757 w 4381952"/>
                  <a:gd name="connsiteY7133" fmla="*/ 3077445 h 7571038"/>
                  <a:gd name="connsiteX7134" fmla="*/ 2531375 w 4381952"/>
                  <a:gd name="connsiteY7134" fmla="*/ 3259907 h 7571038"/>
                  <a:gd name="connsiteX7135" fmla="*/ 2523732 w 4381952"/>
                  <a:gd name="connsiteY7135" fmla="*/ 3252263 h 7571038"/>
                  <a:gd name="connsiteX7136" fmla="*/ 2516333 w 4381952"/>
                  <a:gd name="connsiteY7136" fmla="*/ 3259907 h 7571038"/>
                  <a:gd name="connsiteX7137" fmla="*/ 2523732 w 4381952"/>
                  <a:gd name="connsiteY7137" fmla="*/ 3267549 h 7571038"/>
                  <a:gd name="connsiteX7138" fmla="*/ 2531375 w 4381952"/>
                  <a:gd name="connsiteY7138" fmla="*/ 3259907 h 7571038"/>
                  <a:gd name="connsiteX7139" fmla="*/ 2531620 w 4381952"/>
                  <a:gd name="connsiteY7139" fmla="*/ 1697207 h 7571038"/>
                  <a:gd name="connsiteX7140" fmla="*/ 2527923 w 4381952"/>
                  <a:gd name="connsiteY7140" fmla="*/ 1693511 h 7571038"/>
                  <a:gd name="connsiteX7141" fmla="*/ 2524224 w 4381952"/>
                  <a:gd name="connsiteY7141" fmla="*/ 1697207 h 7571038"/>
                  <a:gd name="connsiteX7142" fmla="*/ 2527923 w 4381952"/>
                  <a:gd name="connsiteY7142" fmla="*/ 1700905 h 7571038"/>
                  <a:gd name="connsiteX7143" fmla="*/ 2531620 w 4381952"/>
                  <a:gd name="connsiteY7143" fmla="*/ 1697207 h 7571038"/>
                  <a:gd name="connsiteX7144" fmla="*/ 2535073 w 4381952"/>
                  <a:gd name="connsiteY7144" fmla="*/ 5035007 h 7571038"/>
                  <a:gd name="connsiteX7145" fmla="*/ 2534582 w 4381952"/>
                  <a:gd name="connsiteY7145" fmla="*/ 5034512 h 7571038"/>
                  <a:gd name="connsiteX7146" fmla="*/ 2534088 w 4381952"/>
                  <a:gd name="connsiteY7146" fmla="*/ 5035007 h 7571038"/>
                  <a:gd name="connsiteX7147" fmla="*/ 2534582 w 4381952"/>
                  <a:gd name="connsiteY7147" fmla="*/ 5035499 h 7571038"/>
                  <a:gd name="connsiteX7148" fmla="*/ 2535073 w 4381952"/>
                  <a:gd name="connsiteY7148" fmla="*/ 5035007 h 7571038"/>
                  <a:gd name="connsiteX7149" fmla="*/ 2536554 w 4381952"/>
                  <a:gd name="connsiteY7149" fmla="*/ 5256431 h 7571038"/>
                  <a:gd name="connsiteX7150" fmla="*/ 2535568 w 4381952"/>
                  <a:gd name="connsiteY7150" fmla="*/ 5255444 h 7571038"/>
                  <a:gd name="connsiteX7151" fmla="*/ 2534582 w 4381952"/>
                  <a:gd name="connsiteY7151" fmla="*/ 5256431 h 7571038"/>
                  <a:gd name="connsiteX7152" fmla="*/ 2535568 w 4381952"/>
                  <a:gd name="connsiteY7152" fmla="*/ 5257416 h 7571038"/>
                  <a:gd name="connsiteX7153" fmla="*/ 2536554 w 4381952"/>
                  <a:gd name="connsiteY7153" fmla="*/ 5256431 h 7571038"/>
                  <a:gd name="connsiteX7154" fmla="*/ 2537787 w 4381952"/>
                  <a:gd name="connsiteY7154" fmla="*/ 5476869 h 7571038"/>
                  <a:gd name="connsiteX7155" fmla="*/ 2536306 w 4381952"/>
                  <a:gd name="connsiteY7155" fmla="*/ 5475390 h 7571038"/>
                  <a:gd name="connsiteX7156" fmla="*/ 2534828 w 4381952"/>
                  <a:gd name="connsiteY7156" fmla="*/ 5476869 h 7571038"/>
                  <a:gd name="connsiteX7157" fmla="*/ 2536306 w 4381952"/>
                  <a:gd name="connsiteY7157" fmla="*/ 5478350 h 7571038"/>
                  <a:gd name="connsiteX7158" fmla="*/ 2537787 w 4381952"/>
                  <a:gd name="connsiteY7158" fmla="*/ 5476869 h 7571038"/>
                  <a:gd name="connsiteX7159" fmla="*/ 2538278 w 4381952"/>
                  <a:gd name="connsiteY7159" fmla="*/ 6134981 h 7571038"/>
                  <a:gd name="connsiteX7160" fmla="*/ 2536059 w 4381952"/>
                  <a:gd name="connsiteY7160" fmla="*/ 6132762 h 7571038"/>
                  <a:gd name="connsiteX7161" fmla="*/ 2533593 w 4381952"/>
                  <a:gd name="connsiteY7161" fmla="*/ 6134981 h 7571038"/>
                  <a:gd name="connsiteX7162" fmla="*/ 2536059 w 4381952"/>
                  <a:gd name="connsiteY7162" fmla="*/ 6137448 h 7571038"/>
                  <a:gd name="connsiteX7163" fmla="*/ 2538278 w 4381952"/>
                  <a:gd name="connsiteY7163" fmla="*/ 6134981 h 7571038"/>
                  <a:gd name="connsiteX7164" fmla="*/ 2538278 w 4381952"/>
                  <a:gd name="connsiteY7164" fmla="*/ 6244464 h 7571038"/>
                  <a:gd name="connsiteX7165" fmla="*/ 2536059 w 4381952"/>
                  <a:gd name="connsiteY7165" fmla="*/ 6241996 h 7571038"/>
                  <a:gd name="connsiteX7166" fmla="*/ 2533593 w 4381952"/>
                  <a:gd name="connsiteY7166" fmla="*/ 6244464 h 7571038"/>
                  <a:gd name="connsiteX7167" fmla="*/ 2536059 w 4381952"/>
                  <a:gd name="connsiteY7167" fmla="*/ 6246682 h 7571038"/>
                  <a:gd name="connsiteX7168" fmla="*/ 2538278 w 4381952"/>
                  <a:gd name="connsiteY7168" fmla="*/ 6244464 h 7571038"/>
                  <a:gd name="connsiteX7169" fmla="*/ 2538278 w 4381952"/>
                  <a:gd name="connsiteY7169" fmla="*/ 6462928 h 7571038"/>
                  <a:gd name="connsiteX7170" fmla="*/ 2536306 w 4381952"/>
                  <a:gd name="connsiteY7170" fmla="*/ 6460954 h 7571038"/>
                  <a:gd name="connsiteX7171" fmla="*/ 2534333 w 4381952"/>
                  <a:gd name="connsiteY7171" fmla="*/ 6462928 h 7571038"/>
                  <a:gd name="connsiteX7172" fmla="*/ 2536306 w 4381952"/>
                  <a:gd name="connsiteY7172" fmla="*/ 6464900 h 7571038"/>
                  <a:gd name="connsiteX7173" fmla="*/ 2538278 w 4381952"/>
                  <a:gd name="connsiteY7173" fmla="*/ 6462928 h 7571038"/>
                  <a:gd name="connsiteX7174" fmla="*/ 2538280 w 4381952"/>
                  <a:gd name="connsiteY7174" fmla="*/ 6353447 h 7571038"/>
                  <a:gd name="connsiteX7175" fmla="*/ 2536309 w 4381952"/>
                  <a:gd name="connsiteY7175" fmla="*/ 6351721 h 7571038"/>
                  <a:gd name="connsiteX7176" fmla="*/ 2534582 w 4381952"/>
                  <a:gd name="connsiteY7176" fmla="*/ 6353447 h 7571038"/>
                  <a:gd name="connsiteX7177" fmla="*/ 2536309 w 4381952"/>
                  <a:gd name="connsiteY7177" fmla="*/ 6355421 h 7571038"/>
                  <a:gd name="connsiteX7178" fmla="*/ 2538280 w 4381952"/>
                  <a:gd name="connsiteY7178" fmla="*/ 6353447 h 7571038"/>
                  <a:gd name="connsiteX7179" fmla="*/ 2540251 w 4381952"/>
                  <a:gd name="connsiteY7179" fmla="*/ 6790134 h 7571038"/>
                  <a:gd name="connsiteX7180" fmla="*/ 2537785 w 4381952"/>
                  <a:gd name="connsiteY7180" fmla="*/ 6787667 h 7571038"/>
                  <a:gd name="connsiteX7181" fmla="*/ 2535319 w 4381952"/>
                  <a:gd name="connsiteY7181" fmla="*/ 6790134 h 7571038"/>
                  <a:gd name="connsiteX7182" fmla="*/ 2537785 w 4381952"/>
                  <a:gd name="connsiteY7182" fmla="*/ 6792599 h 7571038"/>
                  <a:gd name="connsiteX7183" fmla="*/ 2540251 w 4381952"/>
                  <a:gd name="connsiteY7183" fmla="*/ 6790134 h 7571038"/>
                  <a:gd name="connsiteX7184" fmla="*/ 2540499 w 4381952"/>
                  <a:gd name="connsiteY7184" fmla="*/ 6025256 h 7571038"/>
                  <a:gd name="connsiteX7185" fmla="*/ 2537540 w 4381952"/>
                  <a:gd name="connsiteY7185" fmla="*/ 6022296 h 7571038"/>
                  <a:gd name="connsiteX7186" fmla="*/ 2534582 w 4381952"/>
                  <a:gd name="connsiteY7186" fmla="*/ 6025256 h 7571038"/>
                  <a:gd name="connsiteX7187" fmla="*/ 2537540 w 4381952"/>
                  <a:gd name="connsiteY7187" fmla="*/ 6028214 h 7571038"/>
                  <a:gd name="connsiteX7188" fmla="*/ 2540499 w 4381952"/>
                  <a:gd name="connsiteY7188" fmla="*/ 6025256 h 7571038"/>
                  <a:gd name="connsiteX7189" fmla="*/ 2540745 w 4381952"/>
                  <a:gd name="connsiteY7189" fmla="*/ 1807926 h 7571038"/>
                  <a:gd name="connsiteX7190" fmla="*/ 2528661 w 4381952"/>
                  <a:gd name="connsiteY7190" fmla="*/ 1795848 h 7571038"/>
                  <a:gd name="connsiteX7191" fmla="*/ 2516580 w 4381952"/>
                  <a:gd name="connsiteY7191" fmla="*/ 1807926 h 7571038"/>
                  <a:gd name="connsiteX7192" fmla="*/ 2528661 w 4381952"/>
                  <a:gd name="connsiteY7192" fmla="*/ 1820010 h 7571038"/>
                  <a:gd name="connsiteX7193" fmla="*/ 2540745 w 4381952"/>
                  <a:gd name="connsiteY7193" fmla="*/ 1807926 h 7571038"/>
                  <a:gd name="connsiteX7194" fmla="*/ 2540992 w 4381952"/>
                  <a:gd name="connsiteY7194" fmla="*/ 6898874 h 7571038"/>
                  <a:gd name="connsiteX7195" fmla="*/ 2538280 w 4381952"/>
                  <a:gd name="connsiteY7195" fmla="*/ 6896161 h 7571038"/>
                  <a:gd name="connsiteX7196" fmla="*/ 2535814 w 4381952"/>
                  <a:gd name="connsiteY7196" fmla="*/ 6898874 h 7571038"/>
                  <a:gd name="connsiteX7197" fmla="*/ 2538280 w 4381952"/>
                  <a:gd name="connsiteY7197" fmla="*/ 6901587 h 7571038"/>
                  <a:gd name="connsiteX7198" fmla="*/ 2540992 w 4381952"/>
                  <a:gd name="connsiteY7198" fmla="*/ 6898874 h 7571038"/>
                  <a:gd name="connsiteX7199" fmla="*/ 2541237 w 4381952"/>
                  <a:gd name="connsiteY7199" fmla="*/ 5366651 h 7571038"/>
                  <a:gd name="connsiteX7200" fmla="*/ 2536554 w 4381952"/>
                  <a:gd name="connsiteY7200" fmla="*/ 5361965 h 7571038"/>
                  <a:gd name="connsiteX7201" fmla="*/ 2531869 w 4381952"/>
                  <a:gd name="connsiteY7201" fmla="*/ 5366651 h 7571038"/>
                  <a:gd name="connsiteX7202" fmla="*/ 2536554 w 4381952"/>
                  <a:gd name="connsiteY7202" fmla="*/ 5371337 h 7571038"/>
                  <a:gd name="connsiteX7203" fmla="*/ 2541237 w 4381952"/>
                  <a:gd name="connsiteY7203" fmla="*/ 5366651 h 7571038"/>
                  <a:gd name="connsiteX7204" fmla="*/ 2541240 w 4381952"/>
                  <a:gd name="connsiteY7204" fmla="*/ 6680900 h 7571038"/>
                  <a:gd name="connsiteX7205" fmla="*/ 2538528 w 4381952"/>
                  <a:gd name="connsiteY7205" fmla="*/ 6678187 h 7571038"/>
                  <a:gd name="connsiteX7206" fmla="*/ 2535814 w 4381952"/>
                  <a:gd name="connsiteY7206" fmla="*/ 6680900 h 7571038"/>
                  <a:gd name="connsiteX7207" fmla="*/ 2538528 w 4381952"/>
                  <a:gd name="connsiteY7207" fmla="*/ 6683613 h 7571038"/>
                  <a:gd name="connsiteX7208" fmla="*/ 2541240 w 4381952"/>
                  <a:gd name="connsiteY7208" fmla="*/ 6680900 h 7571038"/>
                  <a:gd name="connsiteX7209" fmla="*/ 2541485 w 4381952"/>
                  <a:gd name="connsiteY7209" fmla="*/ 5806051 h 7571038"/>
                  <a:gd name="connsiteX7210" fmla="*/ 2539018 w 4381952"/>
                  <a:gd name="connsiteY7210" fmla="*/ 5803583 h 7571038"/>
                  <a:gd name="connsiteX7211" fmla="*/ 2536554 w 4381952"/>
                  <a:gd name="connsiteY7211" fmla="*/ 5806051 h 7571038"/>
                  <a:gd name="connsiteX7212" fmla="*/ 2539018 w 4381952"/>
                  <a:gd name="connsiteY7212" fmla="*/ 5808515 h 7571038"/>
                  <a:gd name="connsiteX7213" fmla="*/ 2541485 w 4381952"/>
                  <a:gd name="connsiteY7213" fmla="*/ 5806051 h 7571038"/>
                  <a:gd name="connsiteX7214" fmla="*/ 2541485 w 4381952"/>
                  <a:gd name="connsiteY7214" fmla="*/ 6571667 h 7571038"/>
                  <a:gd name="connsiteX7215" fmla="*/ 2538773 w 4381952"/>
                  <a:gd name="connsiteY7215" fmla="*/ 6568954 h 7571038"/>
                  <a:gd name="connsiteX7216" fmla="*/ 2536059 w 4381952"/>
                  <a:gd name="connsiteY7216" fmla="*/ 6571667 h 7571038"/>
                  <a:gd name="connsiteX7217" fmla="*/ 2538773 w 4381952"/>
                  <a:gd name="connsiteY7217" fmla="*/ 6574380 h 7571038"/>
                  <a:gd name="connsiteX7218" fmla="*/ 2541485 w 4381952"/>
                  <a:gd name="connsiteY7218" fmla="*/ 6571667 h 7571038"/>
                  <a:gd name="connsiteX7219" fmla="*/ 2541731 w 4381952"/>
                  <a:gd name="connsiteY7219" fmla="*/ 7007858 h 7571038"/>
                  <a:gd name="connsiteX7220" fmla="*/ 2538277 w 4381952"/>
                  <a:gd name="connsiteY7220" fmla="*/ 7004404 h 7571038"/>
                  <a:gd name="connsiteX7221" fmla="*/ 2534828 w 4381952"/>
                  <a:gd name="connsiteY7221" fmla="*/ 7007858 h 7571038"/>
                  <a:gd name="connsiteX7222" fmla="*/ 2538277 w 4381952"/>
                  <a:gd name="connsiteY7222" fmla="*/ 7011309 h 7571038"/>
                  <a:gd name="connsiteX7223" fmla="*/ 2541731 w 4381952"/>
                  <a:gd name="connsiteY7223" fmla="*/ 7007858 h 7571038"/>
                  <a:gd name="connsiteX7224" fmla="*/ 2542223 w 4381952"/>
                  <a:gd name="connsiteY7224" fmla="*/ 4700896 h 7571038"/>
                  <a:gd name="connsiteX7225" fmla="*/ 2528906 w 4381952"/>
                  <a:gd name="connsiteY7225" fmla="*/ 4687579 h 7571038"/>
                  <a:gd name="connsiteX7226" fmla="*/ 2515593 w 4381952"/>
                  <a:gd name="connsiteY7226" fmla="*/ 4700896 h 7571038"/>
                  <a:gd name="connsiteX7227" fmla="*/ 2528906 w 4381952"/>
                  <a:gd name="connsiteY7227" fmla="*/ 4714209 h 7571038"/>
                  <a:gd name="connsiteX7228" fmla="*/ 2542223 w 4381952"/>
                  <a:gd name="connsiteY7228" fmla="*/ 4700896 h 7571038"/>
                  <a:gd name="connsiteX7229" fmla="*/ 2542225 w 4381952"/>
                  <a:gd name="connsiteY7229" fmla="*/ 7116847 h 7571038"/>
                  <a:gd name="connsiteX7230" fmla="*/ 2538527 w 4381952"/>
                  <a:gd name="connsiteY7230" fmla="*/ 7113146 h 7571038"/>
                  <a:gd name="connsiteX7231" fmla="*/ 2534828 w 4381952"/>
                  <a:gd name="connsiteY7231" fmla="*/ 7116847 h 7571038"/>
                  <a:gd name="connsiteX7232" fmla="*/ 2538527 w 4381952"/>
                  <a:gd name="connsiteY7232" fmla="*/ 7120545 h 7571038"/>
                  <a:gd name="connsiteX7233" fmla="*/ 2542225 w 4381952"/>
                  <a:gd name="connsiteY7233" fmla="*/ 7116847 h 7571038"/>
                  <a:gd name="connsiteX7234" fmla="*/ 2542964 w 4381952"/>
                  <a:gd name="connsiteY7234" fmla="*/ 7225830 h 7571038"/>
                  <a:gd name="connsiteX7235" fmla="*/ 2538773 w 4381952"/>
                  <a:gd name="connsiteY7235" fmla="*/ 7221640 h 7571038"/>
                  <a:gd name="connsiteX7236" fmla="*/ 2534582 w 4381952"/>
                  <a:gd name="connsiteY7236" fmla="*/ 7225830 h 7571038"/>
                  <a:gd name="connsiteX7237" fmla="*/ 2538773 w 4381952"/>
                  <a:gd name="connsiteY7237" fmla="*/ 7230021 h 7571038"/>
                  <a:gd name="connsiteX7238" fmla="*/ 2542964 w 4381952"/>
                  <a:gd name="connsiteY7238" fmla="*/ 7225830 h 7571038"/>
                  <a:gd name="connsiteX7239" fmla="*/ 2543210 w 4381952"/>
                  <a:gd name="connsiteY7239" fmla="*/ 5696321 h 7571038"/>
                  <a:gd name="connsiteX7240" fmla="*/ 2539265 w 4381952"/>
                  <a:gd name="connsiteY7240" fmla="*/ 5692376 h 7571038"/>
                  <a:gd name="connsiteX7241" fmla="*/ 2535319 w 4381952"/>
                  <a:gd name="connsiteY7241" fmla="*/ 5696321 h 7571038"/>
                  <a:gd name="connsiteX7242" fmla="*/ 2539265 w 4381952"/>
                  <a:gd name="connsiteY7242" fmla="*/ 5700021 h 7571038"/>
                  <a:gd name="connsiteX7243" fmla="*/ 2543210 w 4381952"/>
                  <a:gd name="connsiteY7243" fmla="*/ 5696321 h 7571038"/>
                  <a:gd name="connsiteX7244" fmla="*/ 2543210 w 4381952"/>
                  <a:gd name="connsiteY7244" fmla="*/ 5915776 h 7571038"/>
                  <a:gd name="connsiteX7245" fmla="*/ 2537788 w 4381952"/>
                  <a:gd name="connsiteY7245" fmla="*/ 5910350 h 7571038"/>
                  <a:gd name="connsiteX7246" fmla="*/ 2532361 w 4381952"/>
                  <a:gd name="connsiteY7246" fmla="*/ 5915776 h 7571038"/>
                  <a:gd name="connsiteX7247" fmla="*/ 2537788 w 4381952"/>
                  <a:gd name="connsiteY7247" fmla="*/ 5921199 h 7571038"/>
                  <a:gd name="connsiteX7248" fmla="*/ 2543210 w 4381952"/>
                  <a:gd name="connsiteY7248" fmla="*/ 5915776 h 7571038"/>
                  <a:gd name="connsiteX7249" fmla="*/ 2544199 w 4381952"/>
                  <a:gd name="connsiteY7249" fmla="*/ 7443313 h 7571038"/>
                  <a:gd name="connsiteX7250" fmla="*/ 2540499 w 4381952"/>
                  <a:gd name="connsiteY7250" fmla="*/ 7439613 h 7571038"/>
                  <a:gd name="connsiteX7251" fmla="*/ 2536800 w 4381952"/>
                  <a:gd name="connsiteY7251" fmla="*/ 7443313 h 7571038"/>
                  <a:gd name="connsiteX7252" fmla="*/ 2540499 w 4381952"/>
                  <a:gd name="connsiteY7252" fmla="*/ 7447009 h 7571038"/>
                  <a:gd name="connsiteX7253" fmla="*/ 2544199 w 4381952"/>
                  <a:gd name="connsiteY7253" fmla="*/ 7443313 h 7571038"/>
                  <a:gd name="connsiteX7254" fmla="*/ 2544690 w 4381952"/>
                  <a:gd name="connsiteY7254" fmla="*/ 7552297 h 7571038"/>
                  <a:gd name="connsiteX7255" fmla="*/ 2540746 w 4381952"/>
                  <a:gd name="connsiteY7255" fmla="*/ 7548352 h 7571038"/>
                  <a:gd name="connsiteX7256" fmla="*/ 2536800 w 4381952"/>
                  <a:gd name="connsiteY7256" fmla="*/ 7552297 h 7571038"/>
                  <a:gd name="connsiteX7257" fmla="*/ 2540746 w 4381952"/>
                  <a:gd name="connsiteY7257" fmla="*/ 7556243 h 7571038"/>
                  <a:gd name="connsiteX7258" fmla="*/ 2544690 w 4381952"/>
                  <a:gd name="connsiteY7258" fmla="*/ 7552297 h 7571038"/>
                  <a:gd name="connsiteX7259" fmla="*/ 2544936 w 4381952"/>
                  <a:gd name="connsiteY7259" fmla="*/ 7334571 h 7571038"/>
                  <a:gd name="connsiteX7260" fmla="*/ 2540496 w 4381952"/>
                  <a:gd name="connsiteY7260" fmla="*/ 7330134 h 7571038"/>
                  <a:gd name="connsiteX7261" fmla="*/ 2536059 w 4381952"/>
                  <a:gd name="connsiteY7261" fmla="*/ 7334571 h 7571038"/>
                  <a:gd name="connsiteX7262" fmla="*/ 2540496 w 4381952"/>
                  <a:gd name="connsiteY7262" fmla="*/ 7339011 h 7571038"/>
                  <a:gd name="connsiteX7263" fmla="*/ 2544936 w 4381952"/>
                  <a:gd name="connsiteY7263" fmla="*/ 7334571 h 7571038"/>
                  <a:gd name="connsiteX7264" fmla="*/ 2546169 w 4381952"/>
                  <a:gd name="connsiteY7264" fmla="*/ 4588210 h 7571038"/>
                  <a:gd name="connsiteX7265" fmla="*/ 2527923 w 4381952"/>
                  <a:gd name="connsiteY7265" fmla="*/ 4569964 h 7571038"/>
                  <a:gd name="connsiteX7266" fmla="*/ 2509675 w 4381952"/>
                  <a:gd name="connsiteY7266" fmla="*/ 4588210 h 7571038"/>
                  <a:gd name="connsiteX7267" fmla="*/ 2527923 w 4381952"/>
                  <a:gd name="connsiteY7267" fmla="*/ 4606458 h 7571038"/>
                  <a:gd name="connsiteX7268" fmla="*/ 2546169 w 4381952"/>
                  <a:gd name="connsiteY7268" fmla="*/ 4588210 h 7571038"/>
                  <a:gd name="connsiteX7269" fmla="*/ 2547648 w 4381952"/>
                  <a:gd name="connsiteY7269" fmla="*/ 4122182 h 7571038"/>
                  <a:gd name="connsiteX7270" fmla="*/ 2523238 w 4381952"/>
                  <a:gd name="connsiteY7270" fmla="*/ 4097771 h 7571038"/>
                  <a:gd name="connsiteX7271" fmla="*/ 2498826 w 4381952"/>
                  <a:gd name="connsiteY7271" fmla="*/ 4122182 h 7571038"/>
                  <a:gd name="connsiteX7272" fmla="*/ 2523238 w 4381952"/>
                  <a:gd name="connsiteY7272" fmla="*/ 4146591 h 7571038"/>
                  <a:gd name="connsiteX7273" fmla="*/ 2547648 w 4381952"/>
                  <a:gd name="connsiteY7273" fmla="*/ 4122182 h 7571038"/>
                  <a:gd name="connsiteX7274" fmla="*/ 2548389 w 4381952"/>
                  <a:gd name="connsiteY7274" fmla="*/ 1919100 h 7571038"/>
                  <a:gd name="connsiteX7275" fmla="*/ 2529156 w 4381952"/>
                  <a:gd name="connsiteY7275" fmla="*/ 1899872 h 7571038"/>
                  <a:gd name="connsiteX7276" fmla="*/ 2509925 w 4381952"/>
                  <a:gd name="connsiteY7276" fmla="*/ 1919100 h 7571038"/>
                  <a:gd name="connsiteX7277" fmla="*/ 2529156 w 4381952"/>
                  <a:gd name="connsiteY7277" fmla="*/ 1938331 h 7571038"/>
                  <a:gd name="connsiteX7278" fmla="*/ 2548389 w 4381952"/>
                  <a:gd name="connsiteY7278" fmla="*/ 1919100 h 7571038"/>
                  <a:gd name="connsiteX7279" fmla="*/ 2550607 w 4381952"/>
                  <a:gd name="connsiteY7279" fmla="*/ 2950215 h 7571038"/>
                  <a:gd name="connsiteX7280" fmla="*/ 2510416 w 4381952"/>
                  <a:gd name="connsiteY7280" fmla="*/ 2910023 h 7571038"/>
                  <a:gd name="connsiteX7281" fmla="*/ 2470224 w 4381952"/>
                  <a:gd name="connsiteY7281" fmla="*/ 2950215 h 7571038"/>
                  <a:gd name="connsiteX7282" fmla="*/ 2510416 w 4381952"/>
                  <a:gd name="connsiteY7282" fmla="*/ 2990405 h 7571038"/>
                  <a:gd name="connsiteX7283" fmla="*/ 2550607 w 4381952"/>
                  <a:gd name="connsiteY7283" fmla="*/ 2950215 h 7571038"/>
                  <a:gd name="connsiteX7284" fmla="*/ 2555538 w 4381952"/>
                  <a:gd name="connsiteY7284" fmla="*/ 2030279 h 7571038"/>
                  <a:gd name="connsiteX7285" fmla="*/ 2529647 w 4381952"/>
                  <a:gd name="connsiteY7285" fmla="*/ 2004390 h 7571038"/>
                  <a:gd name="connsiteX7286" fmla="*/ 2503758 w 4381952"/>
                  <a:gd name="connsiteY7286" fmla="*/ 2030279 h 7571038"/>
                  <a:gd name="connsiteX7287" fmla="*/ 2529647 w 4381952"/>
                  <a:gd name="connsiteY7287" fmla="*/ 2056170 h 7571038"/>
                  <a:gd name="connsiteX7288" fmla="*/ 2555538 w 4381952"/>
                  <a:gd name="connsiteY7288" fmla="*/ 2030279 h 7571038"/>
                  <a:gd name="connsiteX7289" fmla="*/ 2556031 w 4381952"/>
                  <a:gd name="connsiteY7289" fmla="*/ 5145965 h 7571038"/>
                  <a:gd name="connsiteX7290" fmla="*/ 2535073 w 4381952"/>
                  <a:gd name="connsiteY7290" fmla="*/ 5125007 h 7571038"/>
                  <a:gd name="connsiteX7291" fmla="*/ 2514115 w 4381952"/>
                  <a:gd name="connsiteY7291" fmla="*/ 5145965 h 7571038"/>
                  <a:gd name="connsiteX7292" fmla="*/ 2535073 w 4381952"/>
                  <a:gd name="connsiteY7292" fmla="*/ 5166677 h 7571038"/>
                  <a:gd name="connsiteX7293" fmla="*/ 2556031 w 4381952"/>
                  <a:gd name="connsiteY7293" fmla="*/ 5145965 h 7571038"/>
                  <a:gd name="connsiteX7294" fmla="*/ 2557509 w 4381952"/>
                  <a:gd name="connsiteY7294" fmla="*/ 1586750 h 7571038"/>
                  <a:gd name="connsiteX7295" fmla="*/ 2527183 w 4381952"/>
                  <a:gd name="connsiteY7295" fmla="*/ 1556426 h 7571038"/>
                  <a:gd name="connsiteX7296" fmla="*/ 2496854 w 4381952"/>
                  <a:gd name="connsiteY7296" fmla="*/ 1586750 h 7571038"/>
                  <a:gd name="connsiteX7297" fmla="*/ 2527183 w 4381952"/>
                  <a:gd name="connsiteY7297" fmla="*/ 1617081 h 7571038"/>
                  <a:gd name="connsiteX7298" fmla="*/ 2557509 w 4381952"/>
                  <a:gd name="connsiteY7298" fmla="*/ 1586750 h 7571038"/>
                  <a:gd name="connsiteX7299" fmla="*/ 2562195 w 4381952"/>
                  <a:gd name="connsiteY7299" fmla="*/ 55495 h 7571038"/>
                  <a:gd name="connsiteX7300" fmla="*/ 2528910 w 4381952"/>
                  <a:gd name="connsiteY7300" fmla="*/ 22207 h 7571038"/>
                  <a:gd name="connsiteX7301" fmla="*/ 2495621 w 4381952"/>
                  <a:gd name="connsiteY7301" fmla="*/ 55495 h 7571038"/>
                  <a:gd name="connsiteX7302" fmla="*/ 2528910 w 4381952"/>
                  <a:gd name="connsiteY7302" fmla="*/ 88781 h 7571038"/>
                  <a:gd name="connsiteX7303" fmla="*/ 2562195 w 4381952"/>
                  <a:gd name="connsiteY7303" fmla="*/ 55495 h 7571038"/>
                  <a:gd name="connsiteX7304" fmla="*/ 2562198 w 4381952"/>
                  <a:gd name="connsiteY7304" fmla="*/ 273415 h 7571038"/>
                  <a:gd name="connsiteX7305" fmla="*/ 2529402 w 4381952"/>
                  <a:gd name="connsiteY7305" fmla="*/ 240623 h 7571038"/>
                  <a:gd name="connsiteX7306" fmla="*/ 2496608 w 4381952"/>
                  <a:gd name="connsiteY7306" fmla="*/ 273415 h 7571038"/>
                  <a:gd name="connsiteX7307" fmla="*/ 2529402 w 4381952"/>
                  <a:gd name="connsiteY7307" fmla="*/ 306208 h 7571038"/>
                  <a:gd name="connsiteX7308" fmla="*/ 2562198 w 4381952"/>
                  <a:gd name="connsiteY7308" fmla="*/ 273415 h 7571038"/>
                  <a:gd name="connsiteX7309" fmla="*/ 2562441 w 4381952"/>
                  <a:gd name="connsiteY7309" fmla="*/ 382627 h 7571038"/>
                  <a:gd name="connsiteX7310" fmla="*/ 2529647 w 4381952"/>
                  <a:gd name="connsiteY7310" fmla="*/ 349834 h 7571038"/>
                  <a:gd name="connsiteX7311" fmla="*/ 2496854 w 4381952"/>
                  <a:gd name="connsiteY7311" fmla="*/ 382627 h 7571038"/>
                  <a:gd name="connsiteX7312" fmla="*/ 2529647 w 4381952"/>
                  <a:gd name="connsiteY7312" fmla="*/ 415420 h 7571038"/>
                  <a:gd name="connsiteX7313" fmla="*/ 2562441 w 4381952"/>
                  <a:gd name="connsiteY7313" fmla="*/ 382627 h 7571038"/>
                  <a:gd name="connsiteX7314" fmla="*/ 2563922 w 4381952"/>
                  <a:gd name="connsiteY7314" fmla="*/ 164455 h 7571038"/>
                  <a:gd name="connsiteX7315" fmla="*/ 2529402 w 4381952"/>
                  <a:gd name="connsiteY7315" fmla="*/ 129935 h 7571038"/>
                  <a:gd name="connsiteX7316" fmla="*/ 2494881 w 4381952"/>
                  <a:gd name="connsiteY7316" fmla="*/ 164455 h 7571038"/>
                  <a:gd name="connsiteX7317" fmla="*/ 2529402 w 4381952"/>
                  <a:gd name="connsiteY7317" fmla="*/ 198973 h 7571038"/>
                  <a:gd name="connsiteX7318" fmla="*/ 2563922 w 4381952"/>
                  <a:gd name="connsiteY7318" fmla="*/ 164455 h 7571038"/>
                  <a:gd name="connsiteX7319" fmla="*/ 2565402 w 4381952"/>
                  <a:gd name="connsiteY7319" fmla="*/ 4359142 h 7571038"/>
                  <a:gd name="connsiteX7320" fmla="*/ 2525702 w 4381952"/>
                  <a:gd name="connsiteY7320" fmla="*/ 4319443 h 7571038"/>
                  <a:gd name="connsiteX7321" fmla="*/ 2486005 w 4381952"/>
                  <a:gd name="connsiteY7321" fmla="*/ 4359142 h 7571038"/>
                  <a:gd name="connsiteX7322" fmla="*/ 2525702 w 4381952"/>
                  <a:gd name="connsiteY7322" fmla="*/ 4398842 h 7571038"/>
                  <a:gd name="connsiteX7323" fmla="*/ 2565402 w 4381952"/>
                  <a:gd name="connsiteY7323" fmla="*/ 4359142 h 7571038"/>
                  <a:gd name="connsiteX7324" fmla="*/ 2565648 w 4381952"/>
                  <a:gd name="connsiteY7324" fmla="*/ 1476547 h 7571038"/>
                  <a:gd name="connsiteX7325" fmla="*/ 2527183 w 4381952"/>
                  <a:gd name="connsiteY7325" fmla="*/ 1438082 h 7571038"/>
                  <a:gd name="connsiteX7326" fmla="*/ 2488717 w 4381952"/>
                  <a:gd name="connsiteY7326" fmla="*/ 1476547 h 7571038"/>
                  <a:gd name="connsiteX7327" fmla="*/ 2527183 w 4381952"/>
                  <a:gd name="connsiteY7327" fmla="*/ 1515015 h 7571038"/>
                  <a:gd name="connsiteX7328" fmla="*/ 2565648 w 4381952"/>
                  <a:gd name="connsiteY7328" fmla="*/ 1476547 h 7571038"/>
                  <a:gd name="connsiteX7329" fmla="*/ 2565650 w 4381952"/>
                  <a:gd name="connsiteY7329" fmla="*/ 1366834 h 7571038"/>
                  <a:gd name="connsiteX7330" fmla="*/ 2526445 w 4381952"/>
                  <a:gd name="connsiteY7330" fmla="*/ 1327626 h 7571038"/>
                  <a:gd name="connsiteX7331" fmla="*/ 2487239 w 4381952"/>
                  <a:gd name="connsiteY7331" fmla="*/ 1366834 h 7571038"/>
                  <a:gd name="connsiteX7332" fmla="*/ 2526445 w 4381952"/>
                  <a:gd name="connsiteY7332" fmla="*/ 1406042 h 7571038"/>
                  <a:gd name="connsiteX7333" fmla="*/ 2565650 w 4381952"/>
                  <a:gd name="connsiteY7333" fmla="*/ 1366834 h 7571038"/>
                  <a:gd name="connsiteX7334" fmla="*/ 2570334 w 4381952"/>
                  <a:gd name="connsiteY7334" fmla="*/ 4923555 h 7571038"/>
                  <a:gd name="connsiteX7335" fmla="*/ 2534578 w 4381952"/>
                  <a:gd name="connsiteY7335" fmla="*/ 4887802 h 7571038"/>
                  <a:gd name="connsiteX7336" fmla="*/ 2498826 w 4381952"/>
                  <a:gd name="connsiteY7336" fmla="*/ 4923555 h 7571038"/>
                  <a:gd name="connsiteX7337" fmla="*/ 2534578 w 4381952"/>
                  <a:gd name="connsiteY7337" fmla="*/ 4959557 h 7571038"/>
                  <a:gd name="connsiteX7338" fmla="*/ 2570334 w 4381952"/>
                  <a:gd name="connsiteY7338" fmla="*/ 4923555 h 7571038"/>
                  <a:gd name="connsiteX7339" fmla="*/ 2571074 w 4381952"/>
                  <a:gd name="connsiteY7339" fmla="*/ 4474293 h 7571038"/>
                  <a:gd name="connsiteX7340" fmla="*/ 2526937 w 4381952"/>
                  <a:gd name="connsiteY7340" fmla="*/ 4430155 h 7571038"/>
                  <a:gd name="connsiteX7341" fmla="*/ 2482800 w 4381952"/>
                  <a:gd name="connsiteY7341" fmla="*/ 4474293 h 7571038"/>
                  <a:gd name="connsiteX7342" fmla="*/ 2526937 w 4381952"/>
                  <a:gd name="connsiteY7342" fmla="*/ 4518430 h 7571038"/>
                  <a:gd name="connsiteX7343" fmla="*/ 2571074 w 4381952"/>
                  <a:gd name="connsiteY7343" fmla="*/ 4474293 h 7571038"/>
                  <a:gd name="connsiteX7344" fmla="*/ 2573788 w 4381952"/>
                  <a:gd name="connsiteY7344" fmla="*/ 4813090 h 7571038"/>
                  <a:gd name="connsiteX7345" fmla="*/ 2529650 w 4381952"/>
                  <a:gd name="connsiteY7345" fmla="*/ 4768951 h 7571038"/>
                  <a:gd name="connsiteX7346" fmla="*/ 2485513 w 4381952"/>
                  <a:gd name="connsiteY7346" fmla="*/ 4813090 h 7571038"/>
                  <a:gd name="connsiteX7347" fmla="*/ 2529650 w 4381952"/>
                  <a:gd name="connsiteY7347" fmla="*/ 4857227 h 7571038"/>
                  <a:gd name="connsiteX7348" fmla="*/ 2573788 w 4381952"/>
                  <a:gd name="connsiteY7348" fmla="*/ 4813090 h 7571038"/>
                  <a:gd name="connsiteX7349" fmla="*/ 2574034 w 4381952"/>
                  <a:gd name="connsiteY7349" fmla="*/ 3364952 h 7571038"/>
                  <a:gd name="connsiteX7350" fmla="*/ 2571321 w 4381952"/>
                  <a:gd name="connsiteY7350" fmla="*/ 3362235 h 7571038"/>
                  <a:gd name="connsiteX7351" fmla="*/ 2568608 w 4381952"/>
                  <a:gd name="connsiteY7351" fmla="*/ 3364952 h 7571038"/>
                  <a:gd name="connsiteX7352" fmla="*/ 2571321 w 4381952"/>
                  <a:gd name="connsiteY7352" fmla="*/ 3367627 h 7571038"/>
                  <a:gd name="connsiteX7353" fmla="*/ 2574034 w 4381952"/>
                  <a:gd name="connsiteY7353" fmla="*/ 3364952 h 7571038"/>
                  <a:gd name="connsiteX7354" fmla="*/ 2576004 w 4381952"/>
                  <a:gd name="connsiteY7354" fmla="*/ 4242265 h 7571038"/>
                  <a:gd name="connsiteX7355" fmla="*/ 2524469 w 4381952"/>
                  <a:gd name="connsiteY7355" fmla="*/ 4190731 h 7571038"/>
                  <a:gd name="connsiteX7356" fmla="*/ 2472936 w 4381952"/>
                  <a:gd name="connsiteY7356" fmla="*/ 4242265 h 7571038"/>
                  <a:gd name="connsiteX7357" fmla="*/ 2524469 w 4381952"/>
                  <a:gd name="connsiteY7357" fmla="*/ 4293799 h 7571038"/>
                  <a:gd name="connsiteX7358" fmla="*/ 2576004 w 4381952"/>
                  <a:gd name="connsiteY7358" fmla="*/ 4242265 h 7571038"/>
                  <a:gd name="connsiteX7359" fmla="*/ 2587593 w 4381952"/>
                  <a:gd name="connsiteY7359" fmla="*/ 2270189 h 7571038"/>
                  <a:gd name="connsiteX7360" fmla="*/ 2581185 w 4381952"/>
                  <a:gd name="connsiteY7360" fmla="*/ 2263779 h 7571038"/>
                  <a:gd name="connsiteX7361" fmla="*/ 2574772 w 4381952"/>
                  <a:gd name="connsiteY7361" fmla="*/ 2270189 h 7571038"/>
                  <a:gd name="connsiteX7362" fmla="*/ 2581185 w 4381952"/>
                  <a:gd name="connsiteY7362" fmla="*/ 2276845 h 7571038"/>
                  <a:gd name="connsiteX7363" fmla="*/ 2587593 w 4381952"/>
                  <a:gd name="connsiteY7363" fmla="*/ 2270189 h 7571038"/>
                  <a:gd name="connsiteX7364" fmla="*/ 2591044 w 4381952"/>
                  <a:gd name="connsiteY7364" fmla="*/ 2738659 h 7571038"/>
                  <a:gd name="connsiteX7365" fmla="*/ 2576991 w 4381952"/>
                  <a:gd name="connsiteY7365" fmla="*/ 2724605 h 7571038"/>
                  <a:gd name="connsiteX7366" fmla="*/ 2562936 w 4381952"/>
                  <a:gd name="connsiteY7366" fmla="*/ 2738659 h 7571038"/>
                  <a:gd name="connsiteX7367" fmla="*/ 2576991 w 4381952"/>
                  <a:gd name="connsiteY7367" fmla="*/ 2752714 h 7571038"/>
                  <a:gd name="connsiteX7368" fmla="*/ 2591044 w 4381952"/>
                  <a:gd name="connsiteY7368" fmla="*/ 2738659 h 7571038"/>
                  <a:gd name="connsiteX7369" fmla="*/ 2593019 w 4381952"/>
                  <a:gd name="connsiteY7369" fmla="*/ 3158566 h 7571038"/>
                  <a:gd name="connsiteX7370" fmla="*/ 2584143 w 4381952"/>
                  <a:gd name="connsiteY7370" fmla="*/ 3149689 h 7571038"/>
                  <a:gd name="connsiteX7371" fmla="*/ 2575266 w 4381952"/>
                  <a:gd name="connsiteY7371" fmla="*/ 3158566 h 7571038"/>
                  <a:gd name="connsiteX7372" fmla="*/ 2584143 w 4381952"/>
                  <a:gd name="connsiteY7372" fmla="*/ 3167443 h 7571038"/>
                  <a:gd name="connsiteX7373" fmla="*/ 2593019 w 4381952"/>
                  <a:gd name="connsiteY7373" fmla="*/ 3158566 h 7571038"/>
                  <a:gd name="connsiteX7374" fmla="*/ 2594003 w 4381952"/>
                  <a:gd name="connsiteY7374" fmla="*/ 2156526 h 7571038"/>
                  <a:gd name="connsiteX7375" fmla="*/ 2581430 w 4381952"/>
                  <a:gd name="connsiteY7375" fmla="*/ 2143949 h 7571038"/>
                  <a:gd name="connsiteX7376" fmla="*/ 2568854 w 4381952"/>
                  <a:gd name="connsiteY7376" fmla="*/ 2156526 h 7571038"/>
                  <a:gd name="connsiteX7377" fmla="*/ 2581430 w 4381952"/>
                  <a:gd name="connsiteY7377" fmla="*/ 2169103 h 7571038"/>
                  <a:gd name="connsiteX7378" fmla="*/ 2594003 w 4381952"/>
                  <a:gd name="connsiteY7378" fmla="*/ 2156526 h 7571038"/>
                  <a:gd name="connsiteX7379" fmla="*/ 2596962 w 4381952"/>
                  <a:gd name="connsiteY7379" fmla="*/ 3796702 h 7571038"/>
                  <a:gd name="connsiteX7380" fmla="*/ 2583893 w 4381952"/>
                  <a:gd name="connsiteY7380" fmla="*/ 3783635 h 7571038"/>
                  <a:gd name="connsiteX7381" fmla="*/ 2570826 w 4381952"/>
                  <a:gd name="connsiteY7381" fmla="*/ 3796702 h 7571038"/>
                  <a:gd name="connsiteX7382" fmla="*/ 2583893 w 4381952"/>
                  <a:gd name="connsiteY7382" fmla="*/ 3809524 h 7571038"/>
                  <a:gd name="connsiteX7383" fmla="*/ 2596962 w 4381952"/>
                  <a:gd name="connsiteY7383" fmla="*/ 3796702 h 7571038"/>
                  <a:gd name="connsiteX7384" fmla="*/ 2598937 w 4381952"/>
                  <a:gd name="connsiteY7384" fmla="*/ 2861451 h 7571038"/>
                  <a:gd name="connsiteX7385" fmla="*/ 2572799 w 4381952"/>
                  <a:gd name="connsiteY7385" fmla="*/ 2835316 h 7571038"/>
                  <a:gd name="connsiteX7386" fmla="*/ 2546663 w 4381952"/>
                  <a:gd name="connsiteY7386" fmla="*/ 2861451 h 7571038"/>
                  <a:gd name="connsiteX7387" fmla="*/ 2572799 w 4381952"/>
                  <a:gd name="connsiteY7387" fmla="*/ 2887590 h 7571038"/>
                  <a:gd name="connsiteX7388" fmla="*/ 2598937 w 4381952"/>
                  <a:gd name="connsiteY7388" fmla="*/ 2861451 h 7571038"/>
                  <a:gd name="connsiteX7389" fmla="*/ 2602389 w 4381952"/>
                  <a:gd name="connsiteY7389" fmla="*/ 3935525 h 7571038"/>
                  <a:gd name="connsiteX7390" fmla="*/ 2601897 w 4381952"/>
                  <a:gd name="connsiteY7390" fmla="*/ 3935033 h 7571038"/>
                  <a:gd name="connsiteX7391" fmla="*/ 2601402 w 4381952"/>
                  <a:gd name="connsiteY7391" fmla="*/ 3935525 h 7571038"/>
                  <a:gd name="connsiteX7392" fmla="*/ 2601897 w 4381952"/>
                  <a:gd name="connsiteY7392" fmla="*/ 3936020 h 7571038"/>
                  <a:gd name="connsiteX7393" fmla="*/ 2602389 w 4381952"/>
                  <a:gd name="connsiteY7393" fmla="*/ 3935525 h 7571038"/>
                  <a:gd name="connsiteX7394" fmla="*/ 2602882 w 4381952"/>
                  <a:gd name="connsiteY7394" fmla="*/ 2384839 h 7571038"/>
                  <a:gd name="connsiteX7395" fmla="*/ 2580938 w 4381952"/>
                  <a:gd name="connsiteY7395" fmla="*/ 2362894 h 7571038"/>
                  <a:gd name="connsiteX7396" fmla="*/ 2559239 w 4381952"/>
                  <a:gd name="connsiteY7396" fmla="*/ 2384839 h 7571038"/>
                  <a:gd name="connsiteX7397" fmla="*/ 2580938 w 4381952"/>
                  <a:gd name="connsiteY7397" fmla="*/ 2406787 h 7571038"/>
                  <a:gd name="connsiteX7398" fmla="*/ 2602882 w 4381952"/>
                  <a:gd name="connsiteY7398" fmla="*/ 2384839 h 7571038"/>
                  <a:gd name="connsiteX7399" fmla="*/ 2611018 w 4381952"/>
                  <a:gd name="connsiteY7399" fmla="*/ 2618582 h 7571038"/>
                  <a:gd name="connsiteX7400" fmla="*/ 2579208 w 4381952"/>
                  <a:gd name="connsiteY7400" fmla="*/ 2586773 h 7571038"/>
                  <a:gd name="connsiteX7401" fmla="*/ 2547401 w 4381952"/>
                  <a:gd name="connsiteY7401" fmla="*/ 2618582 h 7571038"/>
                  <a:gd name="connsiteX7402" fmla="*/ 2579208 w 4381952"/>
                  <a:gd name="connsiteY7402" fmla="*/ 2650391 h 7571038"/>
                  <a:gd name="connsiteX7403" fmla="*/ 2611018 w 4381952"/>
                  <a:gd name="connsiteY7403" fmla="*/ 2618582 h 7571038"/>
                  <a:gd name="connsiteX7404" fmla="*/ 2612992 w 4381952"/>
                  <a:gd name="connsiteY7404" fmla="*/ 2500973 h 7571038"/>
                  <a:gd name="connsiteX7405" fmla="*/ 2580444 w 4381952"/>
                  <a:gd name="connsiteY7405" fmla="*/ 2468425 h 7571038"/>
                  <a:gd name="connsiteX7406" fmla="*/ 2547895 w 4381952"/>
                  <a:gd name="connsiteY7406" fmla="*/ 2500973 h 7571038"/>
                  <a:gd name="connsiteX7407" fmla="*/ 2580444 w 4381952"/>
                  <a:gd name="connsiteY7407" fmla="*/ 2533521 h 7571038"/>
                  <a:gd name="connsiteX7408" fmla="*/ 2612992 w 4381952"/>
                  <a:gd name="connsiteY7408" fmla="*/ 2500973 h 7571038"/>
                  <a:gd name="connsiteX7409" fmla="*/ 2621127 w 4381952"/>
                  <a:gd name="connsiteY7409" fmla="*/ 1046824 h 7571038"/>
                  <a:gd name="connsiteX7410" fmla="*/ 2586361 w 4381952"/>
                  <a:gd name="connsiteY7410" fmla="*/ 1012059 h 7571038"/>
                  <a:gd name="connsiteX7411" fmla="*/ 2551595 w 4381952"/>
                  <a:gd name="connsiteY7411" fmla="*/ 1046824 h 7571038"/>
                  <a:gd name="connsiteX7412" fmla="*/ 2586361 w 4381952"/>
                  <a:gd name="connsiteY7412" fmla="*/ 1081590 h 7571038"/>
                  <a:gd name="connsiteX7413" fmla="*/ 2621127 w 4381952"/>
                  <a:gd name="connsiteY7413" fmla="*/ 1046824 h 7571038"/>
                  <a:gd name="connsiteX7414" fmla="*/ 2621622 w 4381952"/>
                  <a:gd name="connsiteY7414" fmla="*/ 827407 h 7571038"/>
                  <a:gd name="connsiteX7415" fmla="*/ 2586852 w 4381952"/>
                  <a:gd name="connsiteY7415" fmla="*/ 792637 h 7571038"/>
                  <a:gd name="connsiteX7416" fmla="*/ 2552086 w 4381952"/>
                  <a:gd name="connsiteY7416" fmla="*/ 827407 h 7571038"/>
                  <a:gd name="connsiteX7417" fmla="*/ 2586852 w 4381952"/>
                  <a:gd name="connsiteY7417" fmla="*/ 862170 h 7571038"/>
                  <a:gd name="connsiteX7418" fmla="*/ 2621622 w 4381952"/>
                  <a:gd name="connsiteY7418" fmla="*/ 827407 h 7571038"/>
                  <a:gd name="connsiteX7419" fmla="*/ 2623596 w 4381952"/>
                  <a:gd name="connsiteY7419" fmla="*/ 498742 h 7571038"/>
                  <a:gd name="connsiteX7420" fmla="*/ 2585868 w 4381952"/>
                  <a:gd name="connsiteY7420" fmla="*/ 461018 h 7571038"/>
                  <a:gd name="connsiteX7421" fmla="*/ 2548142 w 4381952"/>
                  <a:gd name="connsiteY7421" fmla="*/ 498742 h 7571038"/>
                  <a:gd name="connsiteX7422" fmla="*/ 2585868 w 4381952"/>
                  <a:gd name="connsiteY7422" fmla="*/ 536467 h 7571038"/>
                  <a:gd name="connsiteX7423" fmla="*/ 2623596 w 4381952"/>
                  <a:gd name="connsiteY7423" fmla="*/ 498742 h 7571038"/>
                  <a:gd name="connsiteX7424" fmla="*/ 2624335 w 4381952"/>
                  <a:gd name="connsiteY7424" fmla="*/ 936868 h 7571038"/>
                  <a:gd name="connsiteX7425" fmla="*/ 2586361 w 4381952"/>
                  <a:gd name="connsiteY7425" fmla="*/ 898895 h 7571038"/>
                  <a:gd name="connsiteX7426" fmla="*/ 2548389 w 4381952"/>
                  <a:gd name="connsiteY7426" fmla="*/ 936868 h 7571038"/>
                  <a:gd name="connsiteX7427" fmla="*/ 2586361 w 4381952"/>
                  <a:gd name="connsiteY7427" fmla="*/ 974841 h 7571038"/>
                  <a:gd name="connsiteX7428" fmla="*/ 2624335 w 4381952"/>
                  <a:gd name="connsiteY7428" fmla="*/ 936868 h 7571038"/>
                  <a:gd name="connsiteX7429" fmla="*/ 2624582 w 4381952"/>
                  <a:gd name="connsiteY7429" fmla="*/ 608201 h 7571038"/>
                  <a:gd name="connsiteX7430" fmla="*/ 2586116 w 4381952"/>
                  <a:gd name="connsiteY7430" fmla="*/ 569737 h 7571038"/>
                  <a:gd name="connsiteX7431" fmla="*/ 2547649 w 4381952"/>
                  <a:gd name="connsiteY7431" fmla="*/ 608201 h 7571038"/>
                  <a:gd name="connsiteX7432" fmla="*/ 2586116 w 4381952"/>
                  <a:gd name="connsiteY7432" fmla="*/ 646697 h 7571038"/>
                  <a:gd name="connsiteX7433" fmla="*/ 2624582 w 4381952"/>
                  <a:gd name="connsiteY7433" fmla="*/ 608201 h 7571038"/>
                  <a:gd name="connsiteX7434" fmla="*/ 2626305 w 4381952"/>
                  <a:gd name="connsiteY7434" fmla="*/ 717693 h 7571038"/>
                  <a:gd name="connsiteX7435" fmla="*/ 2586608 w 4381952"/>
                  <a:gd name="connsiteY7435" fmla="*/ 677997 h 7571038"/>
                  <a:gd name="connsiteX7436" fmla="*/ 2547155 w 4381952"/>
                  <a:gd name="connsiteY7436" fmla="*/ 717693 h 7571038"/>
                  <a:gd name="connsiteX7437" fmla="*/ 2586608 w 4381952"/>
                  <a:gd name="connsiteY7437" fmla="*/ 757401 h 7571038"/>
                  <a:gd name="connsiteX7438" fmla="*/ 2626305 w 4381952"/>
                  <a:gd name="connsiteY7438" fmla="*/ 717693 h 7571038"/>
                  <a:gd name="connsiteX7439" fmla="*/ 2628032 w 4381952"/>
                  <a:gd name="connsiteY7439" fmla="*/ 1157027 h 7571038"/>
                  <a:gd name="connsiteX7440" fmla="*/ 2586608 w 4381952"/>
                  <a:gd name="connsiteY7440" fmla="*/ 1115602 h 7571038"/>
                  <a:gd name="connsiteX7441" fmla="*/ 2545183 w 4381952"/>
                  <a:gd name="connsiteY7441" fmla="*/ 1157027 h 7571038"/>
                  <a:gd name="connsiteX7442" fmla="*/ 2586608 w 4381952"/>
                  <a:gd name="connsiteY7442" fmla="*/ 1198453 h 7571038"/>
                  <a:gd name="connsiteX7443" fmla="*/ 2628032 w 4381952"/>
                  <a:gd name="connsiteY7443" fmla="*/ 1157027 h 7571038"/>
                  <a:gd name="connsiteX7444" fmla="*/ 2629019 w 4381952"/>
                  <a:gd name="connsiteY7444" fmla="*/ 1266978 h 7571038"/>
                  <a:gd name="connsiteX7445" fmla="*/ 2586608 w 4381952"/>
                  <a:gd name="connsiteY7445" fmla="*/ 1224574 h 7571038"/>
                  <a:gd name="connsiteX7446" fmla="*/ 2544196 w 4381952"/>
                  <a:gd name="connsiteY7446" fmla="*/ 1266978 h 7571038"/>
                  <a:gd name="connsiteX7447" fmla="*/ 2586608 w 4381952"/>
                  <a:gd name="connsiteY7447" fmla="*/ 1309393 h 7571038"/>
                  <a:gd name="connsiteX7448" fmla="*/ 2629019 w 4381952"/>
                  <a:gd name="connsiteY7448" fmla="*/ 1266978 h 7571038"/>
                  <a:gd name="connsiteX7449" fmla="*/ 2643567 w 4381952"/>
                  <a:gd name="connsiteY7449" fmla="*/ 3019257 h 7571038"/>
                  <a:gd name="connsiteX7450" fmla="*/ 2601651 w 4381952"/>
                  <a:gd name="connsiteY7450" fmla="*/ 2977337 h 7571038"/>
                  <a:gd name="connsiteX7451" fmla="*/ 2559732 w 4381952"/>
                  <a:gd name="connsiteY7451" fmla="*/ 3019257 h 7571038"/>
                  <a:gd name="connsiteX7452" fmla="*/ 2601651 w 4381952"/>
                  <a:gd name="connsiteY7452" fmla="*/ 3061173 h 7571038"/>
                  <a:gd name="connsiteX7453" fmla="*/ 2643567 w 4381952"/>
                  <a:gd name="connsiteY7453" fmla="*/ 3019257 h 7571038"/>
                  <a:gd name="connsiteX7454" fmla="*/ 2645785 w 4381952"/>
                  <a:gd name="connsiteY7454" fmla="*/ 1723089 h 7571038"/>
                  <a:gd name="connsiteX7455" fmla="*/ 2641348 w 4381952"/>
                  <a:gd name="connsiteY7455" fmla="*/ 1718647 h 7571038"/>
                  <a:gd name="connsiteX7456" fmla="*/ 2636909 w 4381952"/>
                  <a:gd name="connsiteY7456" fmla="*/ 1723089 h 7571038"/>
                  <a:gd name="connsiteX7457" fmla="*/ 2641348 w 4381952"/>
                  <a:gd name="connsiteY7457" fmla="*/ 1727529 h 7571038"/>
                  <a:gd name="connsiteX7458" fmla="*/ 2645785 w 4381952"/>
                  <a:gd name="connsiteY7458" fmla="*/ 1723089 h 7571038"/>
                  <a:gd name="connsiteX7459" fmla="*/ 2647762 w 4381952"/>
                  <a:gd name="connsiteY7459" fmla="*/ 3255471 h 7571038"/>
                  <a:gd name="connsiteX7460" fmla="*/ 2645048 w 4381952"/>
                  <a:gd name="connsiteY7460" fmla="*/ 3252759 h 7571038"/>
                  <a:gd name="connsiteX7461" fmla="*/ 2642335 w 4381952"/>
                  <a:gd name="connsiteY7461" fmla="*/ 3255471 h 7571038"/>
                  <a:gd name="connsiteX7462" fmla="*/ 2645048 w 4381952"/>
                  <a:gd name="connsiteY7462" fmla="*/ 3258186 h 7571038"/>
                  <a:gd name="connsiteX7463" fmla="*/ 2647762 w 4381952"/>
                  <a:gd name="connsiteY7463" fmla="*/ 3255471 h 7571038"/>
                  <a:gd name="connsiteX7464" fmla="*/ 2648251 w 4381952"/>
                  <a:gd name="connsiteY7464" fmla="*/ 4664157 h 7571038"/>
                  <a:gd name="connsiteX7465" fmla="*/ 2638636 w 4381952"/>
                  <a:gd name="connsiteY7465" fmla="*/ 4654540 h 7571038"/>
                  <a:gd name="connsiteX7466" fmla="*/ 2629019 w 4381952"/>
                  <a:gd name="connsiteY7466" fmla="*/ 4664157 h 7571038"/>
                  <a:gd name="connsiteX7467" fmla="*/ 2638636 w 4381952"/>
                  <a:gd name="connsiteY7467" fmla="*/ 4674020 h 7571038"/>
                  <a:gd name="connsiteX7468" fmla="*/ 2648251 w 4381952"/>
                  <a:gd name="connsiteY7468" fmla="*/ 4664157 h 7571038"/>
                  <a:gd name="connsiteX7469" fmla="*/ 2649731 w 4381952"/>
                  <a:gd name="connsiteY7469" fmla="*/ 5005170 h 7571038"/>
                  <a:gd name="connsiteX7470" fmla="*/ 2647264 w 4381952"/>
                  <a:gd name="connsiteY7470" fmla="*/ 5002951 h 7571038"/>
                  <a:gd name="connsiteX7471" fmla="*/ 2644799 w 4381952"/>
                  <a:gd name="connsiteY7471" fmla="*/ 5005170 h 7571038"/>
                  <a:gd name="connsiteX7472" fmla="*/ 2647264 w 4381952"/>
                  <a:gd name="connsiteY7472" fmla="*/ 5007637 h 7571038"/>
                  <a:gd name="connsiteX7473" fmla="*/ 2649731 w 4381952"/>
                  <a:gd name="connsiteY7473" fmla="*/ 5005170 h 7571038"/>
                  <a:gd name="connsiteX7474" fmla="*/ 2650225 w 4381952"/>
                  <a:gd name="connsiteY7474" fmla="*/ 4059306 h 7571038"/>
                  <a:gd name="connsiteX7475" fmla="*/ 2622114 w 4381952"/>
                  <a:gd name="connsiteY7475" fmla="*/ 4031197 h 7571038"/>
                  <a:gd name="connsiteX7476" fmla="*/ 2594005 w 4381952"/>
                  <a:gd name="connsiteY7476" fmla="*/ 4059306 h 7571038"/>
                  <a:gd name="connsiteX7477" fmla="*/ 2622114 w 4381952"/>
                  <a:gd name="connsiteY7477" fmla="*/ 4087416 h 7571038"/>
                  <a:gd name="connsiteX7478" fmla="*/ 2650225 w 4381952"/>
                  <a:gd name="connsiteY7478" fmla="*/ 4059306 h 7571038"/>
                  <a:gd name="connsiteX7479" fmla="*/ 2650470 w 4381952"/>
                  <a:gd name="connsiteY7479" fmla="*/ 5453694 h 7571038"/>
                  <a:gd name="connsiteX7480" fmla="*/ 2649733 w 4381952"/>
                  <a:gd name="connsiteY7480" fmla="*/ 5452953 h 7571038"/>
                  <a:gd name="connsiteX7481" fmla="*/ 2648992 w 4381952"/>
                  <a:gd name="connsiteY7481" fmla="*/ 5453694 h 7571038"/>
                  <a:gd name="connsiteX7482" fmla="*/ 2649733 w 4381952"/>
                  <a:gd name="connsiteY7482" fmla="*/ 5454431 h 7571038"/>
                  <a:gd name="connsiteX7483" fmla="*/ 2650470 w 4381952"/>
                  <a:gd name="connsiteY7483" fmla="*/ 5453694 h 7571038"/>
                  <a:gd name="connsiteX7484" fmla="*/ 2650966 w 4381952"/>
                  <a:gd name="connsiteY7484" fmla="*/ 5230292 h 7571038"/>
                  <a:gd name="connsiteX7485" fmla="*/ 2648745 w 4381952"/>
                  <a:gd name="connsiteY7485" fmla="*/ 5228073 h 7571038"/>
                  <a:gd name="connsiteX7486" fmla="*/ 2646526 w 4381952"/>
                  <a:gd name="connsiteY7486" fmla="*/ 5230292 h 7571038"/>
                  <a:gd name="connsiteX7487" fmla="*/ 2648745 w 4381952"/>
                  <a:gd name="connsiteY7487" fmla="*/ 5232513 h 7571038"/>
                  <a:gd name="connsiteX7488" fmla="*/ 2650966 w 4381952"/>
                  <a:gd name="connsiteY7488" fmla="*/ 5230292 h 7571038"/>
                  <a:gd name="connsiteX7489" fmla="*/ 2652689 w 4381952"/>
                  <a:gd name="connsiteY7489" fmla="*/ 6117473 h 7571038"/>
                  <a:gd name="connsiteX7490" fmla="*/ 2650717 w 4381952"/>
                  <a:gd name="connsiteY7490" fmla="*/ 6115500 h 7571038"/>
                  <a:gd name="connsiteX7491" fmla="*/ 2648744 w 4381952"/>
                  <a:gd name="connsiteY7491" fmla="*/ 6117473 h 7571038"/>
                  <a:gd name="connsiteX7492" fmla="*/ 2650717 w 4381952"/>
                  <a:gd name="connsiteY7492" fmla="*/ 6119445 h 7571038"/>
                  <a:gd name="connsiteX7493" fmla="*/ 2652689 w 4381952"/>
                  <a:gd name="connsiteY7493" fmla="*/ 6117473 h 7571038"/>
                  <a:gd name="connsiteX7494" fmla="*/ 2652689 w 4381952"/>
                  <a:gd name="connsiteY7494" fmla="*/ 6227447 h 7571038"/>
                  <a:gd name="connsiteX7495" fmla="*/ 2650717 w 4381952"/>
                  <a:gd name="connsiteY7495" fmla="*/ 6225474 h 7571038"/>
                  <a:gd name="connsiteX7496" fmla="*/ 2648744 w 4381952"/>
                  <a:gd name="connsiteY7496" fmla="*/ 6227447 h 7571038"/>
                  <a:gd name="connsiteX7497" fmla="*/ 2650717 w 4381952"/>
                  <a:gd name="connsiteY7497" fmla="*/ 6229420 h 7571038"/>
                  <a:gd name="connsiteX7498" fmla="*/ 2652689 w 4381952"/>
                  <a:gd name="connsiteY7498" fmla="*/ 6227447 h 7571038"/>
                  <a:gd name="connsiteX7499" fmla="*/ 2652689 w 4381952"/>
                  <a:gd name="connsiteY7499" fmla="*/ 6447147 h 7571038"/>
                  <a:gd name="connsiteX7500" fmla="*/ 2650966 w 4381952"/>
                  <a:gd name="connsiteY7500" fmla="*/ 6445420 h 7571038"/>
                  <a:gd name="connsiteX7501" fmla="*/ 2649485 w 4381952"/>
                  <a:gd name="connsiteY7501" fmla="*/ 6447147 h 7571038"/>
                  <a:gd name="connsiteX7502" fmla="*/ 2650966 w 4381952"/>
                  <a:gd name="connsiteY7502" fmla="*/ 6448625 h 7571038"/>
                  <a:gd name="connsiteX7503" fmla="*/ 2652689 w 4381952"/>
                  <a:gd name="connsiteY7503" fmla="*/ 6447147 h 7571038"/>
                  <a:gd name="connsiteX7504" fmla="*/ 2654170 w 4381952"/>
                  <a:gd name="connsiteY7504" fmla="*/ 1835545 h 7571038"/>
                  <a:gd name="connsiteX7505" fmla="*/ 2641844 w 4381952"/>
                  <a:gd name="connsiteY7505" fmla="*/ 1823217 h 7571038"/>
                  <a:gd name="connsiteX7506" fmla="*/ 2629513 w 4381952"/>
                  <a:gd name="connsiteY7506" fmla="*/ 1835545 h 7571038"/>
                  <a:gd name="connsiteX7507" fmla="*/ 2641844 w 4381952"/>
                  <a:gd name="connsiteY7507" fmla="*/ 1847869 h 7571038"/>
                  <a:gd name="connsiteX7508" fmla="*/ 2654170 w 4381952"/>
                  <a:gd name="connsiteY7508" fmla="*/ 1835545 h 7571038"/>
                  <a:gd name="connsiteX7509" fmla="*/ 2654416 w 4381952"/>
                  <a:gd name="connsiteY7509" fmla="*/ 6337418 h 7571038"/>
                  <a:gd name="connsiteX7510" fmla="*/ 2650963 w 4381952"/>
                  <a:gd name="connsiteY7510" fmla="*/ 6333967 h 7571038"/>
                  <a:gd name="connsiteX7511" fmla="*/ 2647511 w 4381952"/>
                  <a:gd name="connsiteY7511" fmla="*/ 6337418 h 7571038"/>
                  <a:gd name="connsiteX7512" fmla="*/ 2650963 w 4381952"/>
                  <a:gd name="connsiteY7512" fmla="*/ 6340871 h 7571038"/>
                  <a:gd name="connsiteX7513" fmla="*/ 2654416 w 4381952"/>
                  <a:gd name="connsiteY7513" fmla="*/ 6337418 h 7571038"/>
                  <a:gd name="connsiteX7514" fmla="*/ 2654911 w 4381952"/>
                  <a:gd name="connsiteY7514" fmla="*/ 6007007 h 7571038"/>
                  <a:gd name="connsiteX7515" fmla="*/ 2652198 w 4381952"/>
                  <a:gd name="connsiteY7515" fmla="*/ 6004293 h 7571038"/>
                  <a:gd name="connsiteX7516" fmla="*/ 2649485 w 4381952"/>
                  <a:gd name="connsiteY7516" fmla="*/ 6007007 h 7571038"/>
                  <a:gd name="connsiteX7517" fmla="*/ 2652198 w 4381952"/>
                  <a:gd name="connsiteY7517" fmla="*/ 6009720 h 7571038"/>
                  <a:gd name="connsiteX7518" fmla="*/ 2654911 w 4381952"/>
                  <a:gd name="connsiteY7518" fmla="*/ 6007007 h 7571038"/>
                  <a:gd name="connsiteX7519" fmla="*/ 2655403 w 4381952"/>
                  <a:gd name="connsiteY7519" fmla="*/ 6775831 h 7571038"/>
                  <a:gd name="connsiteX7520" fmla="*/ 2653185 w 4381952"/>
                  <a:gd name="connsiteY7520" fmla="*/ 6773612 h 7571038"/>
                  <a:gd name="connsiteX7521" fmla="*/ 2650966 w 4381952"/>
                  <a:gd name="connsiteY7521" fmla="*/ 6775831 h 7571038"/>
                  <a:gd name="connsiteX7522" fmla="*/ 2653185 w 4381952"/>
                  <a:gd name="connsiteY7522" fmla="*/ 6778049 h 7571038"/>
                  <a:gd name="connsiteX7523" fmla="*/ 2655403 w 4381952"/>
                  <a:gd name="connsiteY7523" fmla="*/ 6775831 h 7571038"/>
                  <a:gd name="connsiteX7524" fmla="*/ 2655404 w 4381952"/>
                  <a:gd name="connsiteY7524" fmla="*/ 3699797 h 7571038"/>
                  <a:gd name="connsiteX7525" fmla="*/ 2645046 w 4381952"/>
                  <a:gd name="connsiteY7525" fmla="*/ 3689441 h 7571038"/>
                  <a:gd name="connsiteX7526" fmla="*/ 2634691 w 4381952"/>
                  <a:gd name="connsiteY7526" fmla="*/ 3699797 h 7571038"/>
                  <a:gd name="connsiteX7527" fmla="*/ 2645046 w 4381952"/>
                  <a:gd name="connsiteY7527" fmla="*/ 3710155 h 7571038"/>
                  <a:gd name="connsiteX7528" fmla="*/ 2655404 w 4381952"/>
                  <a:gd name="connsiteY7528" fmla="*/ 3699797 h 7571038"/>
                  <a:gd name="connsiteX7529" fmla="*/ 2655648 w 4381952"/>
                  <a:gd name="connsiteY7529" fmla="*/ 5785830 h 7571038"/>
                  <a:gd name="connsiteX7530" fmla="*/ 2653676 w 4381952"/>
                  <a:gd name="connsiteY7530" fmla="*/ 5783857 h 7571038"/>
                  <a:gd name="connsiteX7531" fmla="*/ 2651703 w 4381952"/>
                  <a:gd name="connsiteY7531" fmla="*/ 5785830 h 7571038"/>
                  <a:gd name="connsiteX7532" fmla="*/ 2653676 w 4381952"/>
                  <a:gd name="connsiteY7532" fmla="*/ 5787802 h 7571038"/>
                  <a:gd name="connsiteX7533" fmla="*/ 2655648 w 4381952"/>
                  <a:gd name="connsiteY7533" fmla="*/ 5785830 h 7571038"/>
                  <a:gd name="connsiteX7534" fmla="*/ 2656143 w 4381952"/>
                  <a:gd name="connsiteY7534" fmla="*/ 6885062 h 7571038"/>
                  <a:gd name="connsiteX7535" fmla="*/ 2653679 w 4381952"/>
                  <a:gd name="connsiteY7535" fmla="*/ 6882598 h 7571038"/>
                  <a:gd name="connsiteX7536" fmla="*/ 2651211 w 4381952"/>
                  <a:gd name="connsiteY7536" fmla="*/ 6885062 h 7571038"/>
                  <a:gd name="connsiteX7537" fmla="*/ 2653679 w 4381952"/>
                  <a:gd name="connsiteY7537" fmla="*/ 6887530 h 7571038"/>
                  <a:gd name="connsiteX7538" fmla="*/ 2656143 w 4381952"/>
                  <a:gd name="connsiteY7538" fmla="*/ 6885062 h 7571038"/>
                  <a:gd name="connsiteX7539" fmla="*/ 2656388 w 4381952"/>
                  <a:gd name="connsiteY7539" fmla="*/ 6666102 h 7571038"/>
                  <a:gd name="connsiteX7540" fmla="*/ 2653925 w 4381952"/>
                  <a:gd name="connsiteY7540" fmla="*/ 6663638 h 7571038"/>
                  <a:gd name="connsiteX7541" fmla="*/ 2651457 w 4381952"/>
                  <a:gd name="connsiteY7541" fmla="*/ 6666102 h 7571038"/>
                  <a:gd name="connsiteX7542" fmla="*/ 2653925 w 4381952"/>
                  <a:gd name="connsiteY7542" fmla="*/ 6668570 h 7571038"/>
                  <a:gd name="connsiteX7543" fmla="*/ 2656388 w 4381952"/>
                  <a:gd name="connsiteY7543" fmla="*/ 6666102 h 7571038"/>
                  <a:gd name="connsiteX7544" fmla="*/ 2656635 w 4381952"/>
                  <a:gd name="connsiteY7544" fmla="*/ 5341993 h 7571038"/>
                  <a:gd name="connsiteX7545" fmla="*/ 2649730 w 4381952"/>
                  <a:gd name="connsiteY7545" fmla="*/ 5335088 h 7571038"/>
                  <a:gd name="connsiteX7546" fmla="*/ 2642826 w 4381952"/>
                  <a:gd name="connsiteY7546" fmla="*/ 5341993 h 7571038"/>
                  <a:gd name="connsiteX7547" fmla="*/ 2649730 w 4381952"/>
                  <a:gd name="connsiteY7547" fmla="*/ 5348897 h 7571038"/>
                  <a:gd name="connsiteX7548" fmla="*/ 2656635 w 4381952"/>
                  <a:gd name="connsiteY7548" fmla="*/ 5341993 h 7571038"/>
                  <a:gd name="connsiteX7549" fmla="*/ 2656635 w 4381952"/>
                  <a:gd name="connsiteY7549" fmla="*/ 6556380 h 7571038"/>
                  <a:gd name="connsiteX7550" fmla="*/ 2654167 w 4381952"/>
                  <a:gd name="connsiteY7550" fmla="*/ 6553913 h 7571038"/>
                  <a:gd name="connsiteX7551" fmla="*/ 2651703 w 4381952"/>
                  <a:gd name="connsiteY7551" fmla="*/ 6556380 h 7571038"/>
                  <a:gd name="connsiteX7552" fmla="*/ 2654167 w 4381952"/>
                  <a:gd name="connsiteY7552" fmla="*/ 6558844 h 7571038"/>
                  <a:gd name="connsiteX7553" fmla="*/ 2656635 w 4381952"/>
                  <a:gd name="connsiteY7553" fmla="*/ 6556380 h 7571038"/>
                  <a:gd name="connsiteX7554" fmla="*/ 2657129 w 4381952"/>
                  <a:gd name="connsiteY7554" fmla="*/ 6994543 h 7571038"/>
                  <a:gd name="connsiteX7555" fmla="*/ 2653676 w 4381952"/>
                  <a:gd name="connsiteY7555" fmla="*/ 6991091 h 7571038"/>
                  <a:gd name="connsiteX7556" fmla="*/ 2650225 w 4381952"/>
                  <a:gd name="connsiteY7556" fmla="*/ 6994543 h 7571038"/>
                  <a:gd name="connsiteX7557" fmla="*/ 2653676 w 4381952"/>
                  <a:gd name="connsiteY7557" fmla="*/ 6997996 h 7571038"/>
                  <a:gd name="connsiteX7558" fmla="*/ 2657129 w 4381952"/>
                  <a:gd name="connsiteY7558" fmla="*/ 6994543 h 7571038"/>
                  <a:gd name="connsiteX7559" fmla="*/ 2657866 w 4381952"/>
                  <a:gd name="connsiteY7559" fmla="*/ 5674871 h 7571038"/>
                  <a:gd name="connsiteX7560" fmla="*/ 2653922 w 4381952"/>
                  <a:gd name="connsiteY7560" fmla="*/ 5670926 h 7571038"/>
                  <a:gd name="connsiteX7561" fmla="*/ 2649976 w 4381952"/>
                  <a:gd name="connsiteY7561" fmla="*/ 5674871 h 7571038"/>
                  <a:gd name="connsiteX7562" fmla="*/ 2653922 w 4381952"/>
                  <a:gd name="connsiteY7562" fmla="*/ 5678816 h 7571038"/>
                  <a:gd name="connsiteX7563" fmla="*/ 2657866 w 4381952"/>
                  <a:gd name="connsiteY7563" fmla="*/ 5674871 h 7571038"/>
                  <a:gd name="connsiteX7564" fmla="*/ 2657866 w 4381952"/>
                  <a:gd name="connsiteY7564" fmla="*/ 7103775 h 7571038"/>
                  <a:gd name="connsiteX7565" fmla="*/ 2653922 w 4381952"/>
                  <a:gd name="connsiteY7565" fmla="*/ 7099830 h 7571038"/>
                  <a:gd name="connsiteX7566" fmla="*/ 2649976 w 4381952"/>
                  <a:gd name="connsiteY7566" fmla="*/ 7103775 h 7571038"/>
                  <a:gd name="connsiteX7567" fmla="*/ 2653922 w 4381952"/>
                  <a:gd name="connsiteY7567" fmla="*/ 7107721 h 7571038"/>
                  <a:gd name="connsiteX7568" fmla="*/ 2657866 w 4381952"/>
                  <a:gd name="connsiteY7568" fmla="*/ 7103775 h 7571038"/>
                  <a:gd name="connsiteX7569" fmla="*/ 2658607 w 4381952"/>
                  <a:gd name="connsiteY7569" fmla="*/ 7213255 h 7571038"/>
                  <a:gd name="connsiteX7570" fmla="*/ 2654167 w 4381952"/>
                  <a:gd name="connsiteY7570" fmla="*/ 7208818 h 7571038"/>
                  <a:gd name="connsiteX7571" fmla="*/ 2649730 w 4381952"/>
                  <a:gd name="connsiteY7571" fmla="*/ 7213255 h 7571038"/>
                  <a:gd name="connsiteX7572" fmla="*/ 2654167 w 4381952"/>
                  <a:gd name="connsiteY7572" fmla="*/ 7217695 h 7571038"/>
                  <a:gd name="connsiteX7573" fmla="*/ 2658607 w 4381952"/>
                  <a:gd name="connsiteY7573" fmla="*/ 7213255 h 7571038"/>
                  <a:gd name="connsiteX7574" fmla="*/ 2658857 w 4381952"/>
                  <a:gd name="connsiteY7574" fmla="*/ 5896542 h 7571038"/>
                  <a:gd name="connsiteX7575" fmla="*/ 2652690 w 4381952"/>
                  <a:gd name="connsiteY7575" fmla="*/ 5890378 h 7571038"/>
                  <a:gd name="connsiteX7576" fmla="*/ 2646526 w 4381952"/>
                  <a:gd name="connsiteY7576" fmla="*/ 5896542 h 7571038"/>
                  <a:gd name="connsiteX7577" fmla="*/ 2652690 w 4381952"/>
                  <a:gd name="connsiteY7577" fmla="*/ 5902708 h 7571038"/>
                  <a:gd name="connsiteX7578" fmla="*/ 2658857 w 4381952"/>
                  <a:gd name="connsiteY7578" fmla="*/ 5896542 h 7571038"/>
                  <a:gd name="connsiteX7579" fmla="*/ 2659100 w 4381952"/>
                  <a:gd name="connsiteY7579" fmla="*/ 1948437 h 7571038"/>
                  <a:gd name="connsiteX7580" fmla="*/ 2642086 w 4381952"/>
                  <a:gd name="connsiteY7580" fmla="*/ 1931427 h 7571038"/>
                  <a:gd name="connsiteX7581" fmla="*/ 2625073 w 4381952"/>
                  <a:gd name="connsiteY7581" fmla="*/ 1948437 h 7571038"/>
                  <a:gd name="connsiteX7582" fmla="*/ 2642086 w 4381952"/>
                  <a:gd name="connsiteY7582" fmla="*/ 1965449 h 7571038"/>
                  <a:gd name="connsiteX7583" fmla="*/ 2659100 w 4381952"/>
                  <a:gd name="connsiteY7583" fmla="*/ 1948437 h 7571038"/>
                  <a:gd name="connsiteX7584" fmla="*/ 2659842 w 4381952"/>
                  <a:gd name="connsiteY7584" fmla="*/ 7431477 h 7571038"/>
                  <a:gd name="connsiteX7585" fmla="*/ 2656143 w 4381952"/>
                  <a:gd name="connsiteY7585" fmla="*/ 7427776 h 7571038"/>
                  <a:gd name="connsiteX7586" fmla="*/ 2652444 w 4381952"/>
                  <a:gd name="connsiteY7586" fmla="*/ 7431477 h 7571038"/>
                  <a:gd name="connsiteX7587" fmla="*/ 2656143 w 4381952"/>
                  <a:gd name="connsiteY7587" fmla="*/ 7435172 h 7571038"/>
                  <a:gd name="connsiteX7588" fmla="*/ 2659842 w 4381952"/>
                  <a:gd name="connsiteY7588" fmla="*/ 7431477 h 7571038"/>
                  <a:gd name="connsiteX7589" fmla="*/ 2660583 w 4381952"/>
                  <a:gd name="connsiteY7589" fmla="*/ 7540708 h 7571038"/>
                  <a:gd name="connsiteX7590" fmla="*/ 2656389 w 4381952"/>
                  <a:gd name="connsiteY7590" fmla="*/ 7536517 h 7571038"/>
                  <a:gd name="connsiteX7591" fmla="*/ 2652198 w 4381952"/>
                  <a:gd name="connsiteY7591" fmla="*/ 7540708 h 7571038"/>
                  <a:gd name="connsiteX7592" fmla="*/ 2656389 w 4381952"/>
                  <a:gd name="connsiteY7592" fmla="*/ 7544899 h 7571038"/>
                  <a:gd name="connsiteX7593" fmla="*/ 2660583 w 4381952"/>
                  <a:gd name="connsiteY7593" fmla="*/ 7540708 h 7571038"/>
                  <a:gd name="connsiteX7594" fmla="*/ 2661075 w 4381952"/>
                  <a:gd name="connsiteY7594" fmla="*/ 4548266 h 7571038"/>
                  <a:gd name="connsiteX7595" fmla="*/ 2636909 w 4381952"/>
                  <a:gd name="connsiteY7595" fmla="*/ 4524102 h 7571038"/>
                  <a:gd name="connsiteX7596" fmla="*/ 2612746 w 4381952"/>
                  <a:gd name="connsiteY7596" fmla="*/ 4548266 h 7571038"/>
                  <a:gd name="connsiteX7597" fmla="*/ 2636909 w 4381952"/>
                  <a:gd name="connsiteY7597" fmla="*/ 4572432 h 7571038"/>
                  <a:gd name="connsiteX7598" fmla="*/ 2661075 w 4381952"/>
                  <a:gd name="connsiteY7598" fmla="*/ 4548266 h 7571038"/>
                  <a:gd name="connsiteX7599" fmla="*/ 2661321 w 4381952"/>
                  <a:gd name="connsiteY7599" fmla="*/ 7322244 h 7571038"/>
                  <a:gd name="connsiteX7600" fmla="*/ 2656389 w 4381952"/>
                  <a:gd name="connsiteY7600" fmla="*/ 7317312 h 7571038"/>
                  <a:gd name="connsiteX7601" fmla="*/ 2651457 w 4381952"/>
                  <a:gd name="connsiteY7601" fmla="*/ 7322244 h 7571038"/>
                  <a:gd name="connsiteX7602" fmla="*/ 2656389 w 4381952"/>
                  <a:gd name="connsiteY7602" fmla="*/ 7327174 h 7571038"/>
                  <a:gd name="connsiteX7603" fmla="*/ 2661321 w 4381952"/>
                  <a:gd name="connsiteY7603" fmla="*/ 7322244 h 7571038"/>
                  <a:gd name="connsiteX7604" fmla="*/ 2664525 w 4381952"/>
                  <a:gd name="connsiteY7604" fmla="*/ 2061845 h 7571038"/>
                  <a:gd name="connsiteX7605" fmla="*/ 2642089 w 4381952"/>
                  <a:gd name="connsiteY7605" fmla="*/ 2039404 h 7571038"/>
                  <a:gd name="connsiteX7606" fmla="*/ 2619649 w 4381952"/>
                  <a:gd name="connsiteY7606" fmla="*/ 2061845 h 7571038"/>
                  <a:gd name="connsiteX7607" fmla="*/ 2642089 w 4381952"/>
                  <a:gd name="connsiteY7607" fmla="*/ 2084283 h 7571038"/>
                  <a:gd name="connsiteX7608" fmla="*/ 2664525 w 4381952"/>
                  <a:gd name="connsiteY7608" fmla="*/ 2061845 h 7571038"/>
                  <a:gd name="connsiteX7609" fmla="*/ 2670689 w 4381952"/>
                  <a:gd name="connsiteY7609" fmla="*/ 4310567 h 7571038"/>
                  <a:gd name="connsiteX7610" fmla="*/ 2631238 w 4381952"/>
                  <a:gd name="connsiteY7610" fmla="*/ 4271114 h 7571038"/>
                  <a:gd name="connsiteX7611" fmla="*/ 2591784 w 4381952"/>
                  <a:gd name="connsiteY7611" fmla="*/ 4310567 h 7571038"/>
                  <a:gd name="connsiteX7612" fmla="*/ 2631238 w 4381952"/>
                  <a:gd name="connsiteY7612" fmla="*/ 4350018 h 7571038"/>
                  <a:gd name="connsiteX7613" fmla="*/ 2670689 w 4381952"/>
                  <a:gd name="connsiteY7613" fmla="*/ 4310567 h 7571038"/>
                  <a:gd name="connsiteX7614" fmla="*/ 2672170 w 4381952"/>
                  <a:gd name="connsiteY7614" fmla="*/ 5117857 h 7571038"/>
                  <a:gd name="connsiteX7615" fmla="*/ 2648004 w 4381952"/>
                  <a:gd name="connsiteY7615" fmla="*/ 5093691 h 7571038"/>
                  <a:gd name="connsiteX7616" fmla="*/ 2623841 w 4381952"/>
                  <a:gd name="connsiteY7616" fmla="*/ 5117857 h 7571038"/>
                  <a:gd name="connsiteX7617" fmla="*/ 2648004 w 4381952"/>
                  <a:gd name="connsiteY7617" fmla="*/ 5142020 h 7571038"/>
                  <a:gd name="connsiteX7618" fmla="*/ 2672170 w 4381952"/>
                  <a:gd name="connsiteY7618" fmla="*/ 5117857 h 7571038"/>
                  <a:gd name="connsiteX7619" fmla="*/ 2673401 w 4381952"/>
                  <a:gd name="connsiteY7619" fmla="*/ 1611164 h 7571038"/>
                  <a:gd name="connsiteX7620" fmla="*/ 2640609 w 4381952"/>
                  <a:gd name="connsiteY7620" fmla="*/ 1578370 h 7571038"/>
                  <a:gd name="connsiteX7621" fmla="*/ 2608060 w 4381952"/>
                  <a:gd name="connsiteY7621" fmla="*/ 1611164 h 7571038"/>
                  <a:gd name="connsiteX7622" fmla="*/ 2640609 w 4381952"/>
                  <a:gd name="connsiteY7622" fmla="*/ 1643713 h 7571038"/>
                  <a:gd name="connsiteX7623" fmla="*/ 2673401 w 4381952"/>
                  <a:gd name="connsiteY7623" fmla="*/ 1611164 h 7571038"/>
                  <a:gd name="connsiteX7624" fmla="*/ 2677842 w 4381952"/>
                  <a:gd name="connsiteY7624" fmla="*/ 4187527 h 7571038"/>
                  <a:gd name="connsiteX7625" fmla="*/ 2627540 w 4381952"/>
                  <a:gd name="connsiteY7625" fmla="*/ 4137225 h 7571038"/>
                  <a:gd name="connsiteX7626" fmla="*/ 2577239 w 4381952"/>
                  <a:gd name="connsiteY7626" fmla="*/ 4187527 h 7571038"/>
                  <a:gd name="connsiteX7627" fmla="*/ 2627540 w 4381952"/>
                  <a:gd name="connsiteY7627" fmla="*/ 4237829 h 7571038"/>
                  <a:gd name="connsiteX7628" fmla="*/ 2677842 w 4381952"/>
                  <a:gd name="connsiteY7628" fmla="*/ 4187527 h 7571038"/>
                  <a:gd name="connsiteX7629" fmla="*/ 2678088 w 4381952"/>
                  <a:gd name="connsiteY7629" fmla="*/ 4430402 h 7571038"/>
                  <a:gd name="connsiteX7630" fmla="*/ 2634445 w 4381952"/>
                  <a:gd name="connsiteY7630" fmla="*/ 4386758 h 7571038"/>
                  <a:gd name="connsiteX7631" fmla="*/ 2590801 w 4381952"/>
                  <a:gd name="connsiteY7631" fmla="*/ 4430402 h 7571038"/>
                  <a:gd name="connsiteX7632" fmla="*/ 2634445 w 4381952"/>
                  <a:gd name="connsiteY7632" fmla="*/ 4474048 h 7571038"/>
                  <a:gd name="connsiteX7633" fmla="*/ 2678088 w 4381952"/>
                  <a:gd name="connsiteY7633" fmla="*/ 4430402 h 7571038"/>
                  <a:gd name="connsiteX7634" fmla="*/ 2678333 w 4381952"/>
                  <a:gd name="connsiteY7634" fmla="*/ 69054 h 7571038"/>
                  <a:gd name="connsiteX7635" fmla="*/ 2644308 w 4381952"/>
                  <a:gd name="connsiteY7635" fmla="*/ 35029 h 7571038"/>
                  <a:gd name="connsiteX7636" fmla="*/ 2610278 w 4381952"/>
                  <a:gd name="connsiteY7636" fmla="*/ 69054 h 7571038"/>
                  <a:gd name="connsiteX7637" fmla="*/ 2644308 w 4381952"/>
                  <a:gd name="connsiteY7637" fmla="*/ 103081 h 7571038"/>
                  <a:gd name="connsiteX7638" fmla="*/ 2678333 w 4381952"/>
                  <a:gd name="connsiteY7638" fmla="*/ 69054 h 7571038"/>
                  <a:gd name="connsiteX7639" fmla="*/ 2678582 w 4381952"/>
                  <a:gd name="connsiteY7639" fmla="*/ 287964 h 7571038"/>
                  <a:gd name="connsiteX7640" fmla="*/ 2644799 w 4381952"/>
                  <a:gd name="connsiteY7640" fmla="*/ 254185 h 7571038"/>
                  <a:gd name="connsiteX7641" fmla="*/ 2611018 w 4381952"/>
                  <a:gd name="connsiteY7641" fmla="*/ 287964 h 7571038"/>
                  <a:gd name="connsiteX7642" fmla="*/ 2644799 w 4381952"/>
                  <a:gd name="connsiteY7642" fmla="*/ 321743 h 7571038"/>
                  <a:gd name="connsiteX7643" fmla="*/ 2678582 w 4381952"/>
                  <a:gd name="connsiteY7643" fmla="*/ 287964 h 7571038"/>
                  <a:gd name="connsiteX7644" fmla="*/ 2679074 w 4381952"/>
                  <a:gd name="connsiteY7644" fmla="*/ 397421 h 7571038"/>
                  <a:gd name="connsiteX7645" fmla="*/ 2645292 w 4381952"/>
                  <a:gd name="connsiteY7645" fmla="*/ 363642 h 7571038"/>
                  <a:gd name="connsiteX7646" fmla="*/ 2611511 w 4381952"/>
                  <a:gd name="connsiteY7646" fmla="*/ 397421 h 7571038"/>
                  <a:gd name="connsiteX7647" fmla="*/ 2645292 w 4381952"/>
                  <a:gd name="connsiteY7647" fmla="*/ 431203 h 7571038"/>
                  <a:gd name="connsiteX7648" fmla="*/ 2679074 w 4381952"/>
                  <a:gd name="connsiteY7648" fmla="*/ 397421 h 7571038"/>
                  <a:gd name="connsiteX7649" fmla="*/ 2679319 w 4381952"/>
                  <a:gd name="connsiteY7649" fmla="*/ 4779555 h 7571038"/>
                  <a:gd name="connsiteX7650" fmla="*/ 2640116 w 4381952"/>
                  <a:gd name="connsiteY7650" fmla="*/ 4740594 h 7571038"/>
                  <a:gd name="connsiteX7651" fmla="*/ 2601156 w 4381952"/>
                  <a:gd name="connsiteY7651" fmla="*/ 4779555 h 7571038"/>
                  <a:gd name="connsiteX7652" fmla="*/ 2640116 w 4381952"/>
                  <a:gd name="connsiteY7652" fmla="*/ 4818513 h 7571038"/>
                  <a:gd name="connsiteX7653" fmla="*/ 2679319 w 4381952"/>
                  <a:gd name="connsiteY7653" fmla="*/ 4779555 h 7571038"/>
                  <a:gd name="connsiteX7654" fmla="*/ 2680555 w 4381952"/>
                  <a:gd name="connsiteY7654" fmla="*/ 178508 h 7571038"/>
                  <a:gd name="connsiteX7655" fmla="*/ 2644799 w 4381952"/>
                  <a:gd name="connsiteY7655" fmla="*/ 142757 h 7571038"/>
                  <a:gd name="connsiteX7656" fmla="*/ 2609047 w 4381952"/>
                  <a:gd name="connsiteY7656" fmla="*/ 178508 h 7571038"/>
                  <a:gd name="connsiteX7657" fmla="*/ 2644799 w 4381952"/>
                  <a:gd name="connsiteY7657" fmla="*/ 214260 h 7571038"/>
                  <a:gd name="connsiteX7658" fmla="*/ 2680555 w 4381952"/>
                  <a:gd name="connsiteY7658" fmla="*/ 178508 h 7571038"/>
                  <a:gd name="connsiteX7659" fmla="*/ 2681295 w 4381952"/>
                  <a:gd name="connsiteY7659" fmla="*/ 1499479 h 7571038"/>
                  <a:gd name="connsiteX7660" fmla="*/ 2640609 w 4381952"/>
                  <a:gd name="connsiteY7660" fmla="*/ 1458794 h 7571038"/>
                  <a:gd name="connsiteX7661" fmla="*/ 2599923 w 4381952"/>
                  <a:gd name="connsiteY7661" fmla="*/ 1499479 h 7571038"/>
                  <a:gd name="connsiteX7662" fmla="*/ 2640609 w 4381952"/>
                  <a:gd name="connsiteY7662" fmla="*/ 1540167 h 7571038"/>
                  <a:gd name="connsiteX7663" fmla="*/ 2681295 w 4381952"/>
                  <a:gd name="connsiteY7663" fmla="*/ 1499479 h 7571038"/>
                  <a:gd name="connsiteX7664" fmla="*/ 2681787 w 4381952"/>
                  <a:gd name="connsiteY7664" fmla="*/ 1388285 h 7571038"/>
                  <a:gd name="connsiteX7665" fmla="*/ 2640363 w 4381952"/>
                  <a:gd name="connsiteY7665" fmla="*/ 1346864 h 7571038"/>
                  <a:gd name="connsiteX7666" fmla="*/ 2598937 w 4381952"/>
                  <a:gd name="connsiteY7666" fmla="*/ 1388285 h 7571038"/>
                  <a:gd name="connsiteX7667" fmla="*/ 2640363 w 4381952"/>
                  <a:gd name="connsiteY7667" fmla="*/ 1429711 h 7571038"/>
                  <a:gd name="connsiteX7668" fmla="*/ 2681787 w 4381952"/>
                  <a:gd name="connsiteY7668" fmla="*/ 1388285 h 7571038"/>
                  <a:gd name="connsiteX7669" fmla="*/ 2681788 w 4381952"/>
                  <a:gd name="connsiteY7669" fmla="*/ 3850951 h 7571038"/>
                  <a:gd name="connsiteX7670" fmla="*/ 2679074 w 4381952"/>
                  <a:gd name="connsiteY7670" fmla="*/ 3848238 h 7571038"/>
                  <a:gd name="connsiteX7671" fmla="*/ 2676361 w 4381952"/>
                  <a:gd name="connsiteY7671" fmla="*/ 3850951 h 7571038"/>
                  <a:gd name="connsiteX7672" fmla="*/ 2679074 w 4381952"/>
                  <a:gd name="connsiteY7672" fmla="*/ 3853665 h 7571038"/>
                  <a:gd name="connsiteX7673" fmla="*/ 2681788 w 4381952"/>
                  <a:gd name="connsiteY7673" fmla="*/ 3850951 h 7571038"/>
                  <a:gd name="connsiteX7674" fmla="*/ 2685732 w 4381952"/>
                  <a:gd name="connsiteY7674" fmla="*/ 3363720 h 7571038"/>
                  <a:gd name="connsiteX7675" fmla="*/ 2683019 w 4381952"/>
                  <a:gd name="connsiteY7675" fmla="*/ 3361007 h 7571038"/>
                  <a:gd name="connsiteX7676" fmla="*/ 2680306 w 4381952"/>
                  <a:gd name="connsiteY7676" fmla="*/ 3363720 h 7571038"/>
                  <a:gd name="connsiteX7677" fmla="*/ 2683019 w 4381952"/>
                  <a:gd name="connsiteY7677" fmla="*/ 3366430 h 7571038"/>
                  <a:gd name="connsiteX7678" fmla="*/ 2685732 w 4381952"/>
                  <a:gd name="connsiteY7678" fmla="*/ 3363720 h 7571038"/>
                  <a:gd name="connsiteX7679" fmla="*/ 2687951 w 4381952"/>
                  <a:gd name="connsiteY7679" fmla="*/ 2800551 h 7571038"/>
                  <a:gd name="connsiteX7680" fmla="*/ 2675867 w 4381952"/>
                  <a:gd name="connsiteY7680" fmla="*/ 2788469 h 7571038"/>
                  <a:gd name="connsiteX7681" fmla="*/ 2663785 w 4381952"/>
                  <a:gd name="connsiteY7681" fmla="*/ 2800551 h 7571038"/>
                  <a:gd name="connsiteX7682" fmla="*/ 2675867 w 4381952"/>
                  <a:gd name="connsiteY7682" fmla="*/ 2812632 h 7571038"/>
                  <a:gd name="connsiteX7683" fmla="*/ 2687951 w 4381952"/>
                  <a:gd name="connsiteY7683" fmla="*/ 2800551 h 7571038"/>
                  <a:gd name="connsiteX7684" fmla="*/ 2687951 w 4381952"/>
                  <a:gd name="connsiteY7684" fmla="*/ 4891747 h 7571038"/>
                  <a:gd name="connsiteX7685" fmla="*/ 2646772 w 4381952"/>
                  <a:gd name="connsiteY7685" fmla="*/ 4850568 h 7571038"/>
                  <a:gd name="connsiteX7686" fmla="*/ 2605594 w 4381952"/>
                  <a:gd name="connsiteY7686" fmla="*/ 4891747 h 7571038"/>
                  <a:gd name="connsiteX7687" fmla="*/ 2646772 w 4381952"/>
                  <a:gd name="connsiteY7687" fmla="*/ 4932926 h 7571038"/>
                  <a:gd name="connsiteX7688" fmla="*/ 2687951 w 4381952"/>
                  <a:gd name="connsiteY7688" fmla="*/ 4891747 h 7571038"/>
                  <a:gd name="connsiteX7689" fmla="*/ 2690664 w 4381952"/>
                  <a:gd name="connsiteY7689" fmla="*/ 3591553 h 7571038"/>
                  <a:gd name="connsiteX7690" fmla="*/ 2683020 w 4381952"/>
                  <a:gd name="connsiteY7690" fmla="*/ 3583909 h 7571038"/>
                  <a:gd name="connsiteX7691" fmla="*/ 2675374 w 4381952"/>
                  <a:gd name="connsiteY7691" fmla="*/ 3591553 h 7571038"/>
                  <a:gd name="connsiteX7692" fmla="*/ 2683020 w 4381952"/>
                  <a:gd name="connsiteY7692" fmla="*/ 3599196 h 7571038"/>
                  <a:gd name="connsiteX7693" fmla="*/ 2690664 w 4381952"/>
                  <a:gd name="connsiteY7693" fmla="*/ 3591553 h 7571038"/>
                  <a:gd name="connsiteX7694" fmla="*/ 2694360 w 4381952"/>
                  <a:gd name="connsiteY7694" fmla="*/ 2931971 h 7571038"/>
                  <a:gd name="connsiteX7695" fmla="*/ 2666498 w 4381952"/>
                  <a:gd name="connsiteY7695" fmla="*/ 2904109 h 7571038"/>
                  <a:gd name="connsiteX7696" fmla="*/ 2638635 w 4381952"/>
                  <a:gd name="connsiteY7696" fmla="*/ 2931971 h 7571038"/>
                  <a:gd name="connsiteX7697" fmla="*/ 2666498 w 4381952"/>
                  <a:gd name="connsiteY7697" fmla="*/ 2959836 h 7571038"/>
                  <a:gd name="connsiteX7698" fmla="*/ 2694360 w 4381952"/>
                  <a:gd name="connsiteY7698" fmla="*/ 2931971 h 7571038"/>
                  <a:gd name="connsiteX7699" fmla="*/ 2694363 w 4381952"/>
                  <a:gd name="connsiteY7699" fmla="*/ 2311613 h 7571038"/>
                  <a:gd name="connsiteX7700" fmla="*/ 2689432 w 4381952"/>
                  <a:gd name="connsiteY7700" fmla="*/ 2306682 h 7571038"/>
                  <a:gd name="connsiteX7701" fmla="*/ 2684500 w 4381952"/>
                  <a:gd name="connsiteY7701" fmla="*/ 2311613 h 7571038"/>
                  <a:gd name="connsiteX7702" fmla="*/ 2689432 w 4381952"/>
                  <a:gd name="connsiteY7702" fmla="*/ 2316544 h 7571038"/>
                  <a:gd name="connsiteX7703" fmla="*/ 2694363 w 4381952"/>
                  <a:gd name="connsiteY7703" fmla="*/ 2311613 h 7571038"/>
                  <a:gd name="connsiteX7704" fmla="*/ 2699291 w 4381952"/>
                  <a:gd name="connsiteY7704" fmla="*/ 2194501 h 7571038"/>
                  <a:gd name="connsiteX7705" fmla="*/ 2690414 w 4381952"/>
                  <a:gd name="connsiteY7705" fmla="*/ 2185623 h 7571038"/>
                  <a:gd name="connsiteX7706" fmla="*/ 2681538 w 4381952"/>
                  <a:gd name="connsiteY7706" fmla="*/ 2194501 h 7571038"/>
                  <a:gd name="connsiteX7707" fmla="*/ 2690414 w 4381952"/>
                  <a:gd name="connsiteY7707" fmla="*/ 2203379 h 7571038"/>
                  <a:gd name="connsiteX7708" fmla="*/ 2699291 w 4381952"/>
                  <a:gd name="connsiteY7708" fmla="*/ 2194501 h 7571038"/>
                  <a:gd name="connsiteX7709" fmla="*/ 2699541 w 4381952"/>
                  <a:gd name="connsiteY7709" fmla="*/ 3477389 h 7571038"/>
                  <a:gd name="connsiteX7710" fmla="*/ 2695842 w 4381952"/>
                  <a:gd name="connsiteY7710" fmla="*/ 3473690 h 7571038"/>
                  <a:gd name="connsiteX7711" fmla="*/ 2692142 w 4381952"/>
                  <a:gd name="connsiteY7711" fmla="*/ 3477389 h 7571038"/>
                  <a:gd name="connsiteX7712" fmla="*/ 2695842 w 4381952"/>
                  <a:gd name="connsiteY7712" fmla="*/ 3481088 h 7571038"/>
                  <a:gd name="connsiteX7713" fmla="*/ 2699541 w 4381952"/>
                  <a:gd name="connsiteY7713" fmla="*/ 3477389 h 7571038"/>
                  <a:gd name="connsiteX7714" fmla="*/ 2705458 w 4381952"/>
                  <a:gd name="connsiteY7714" fmla="*/ 2429962 h 7571038"/>
                  <a:gd name="connsiteX7715" fmla="*/ 2687705 w 4381952"/>
                  <a:gd name="connsiteY7715" fmla="*/ 2412209 h 7571038"/>
                  <a:gd name="connsiteX7716" fmla="*/ 2669951 w 4381952"/>
                  <a:gd name="connsiteY7716" fmla="*/ 2429962 h 7571038"/>
                  <a:gd name="connsiteX7717" fmla="*/ 2687705 w 4381952"/>
                  <a:gd name="connsiteY7717" fmla="*/ 2447717 h 7571038"/>
                  <a:gd name="connsiteX7718" fmla="*/ 2705458 w 4381952"/>
                  <a:gd name="connsiteY7718" fmla="*/ 2429962 h 7571038"/>
                  <a:gd name="connsiteX7719" fmla="*/ 2710390 w 4381952"/>
                  <a:gd name="connsiteY7719" fmla="*/ 2673817 h 7571038"/>
                  <a:gd name="connsiteX7720" fmla="*/ 2681787 w 4381952"/>
                  <a:gd name="connsiteY7720" fmla="*/ 2645215 h 7571038"/>
                  <a:gd name="connsiteX7721" fmla="*/ 2653184 w 4381952"/>
                  <a:gd name="connsiteY7721" fmla="*/ 2673817 h 7571038"/>
                  <a:gd name="connsiteX7722" fmla="*/ 2681787 w 4381952"/>
                  <a:gd name="connsiteY7722" fmla="*/ 2702421 h 7571038"/>
                  <a:gd name="connsiteX7723" fmla="*/ 2710390 w 4381952"/>
                  <a:gd name="connsiteY7723" fmla="*/ 2673817 h 7571038"/>
                  <a:gd name="connsiteX7724" fmla="*/ 2712854 w 4381952"/>
                  <a:gd name="connsiteY7724" fmla="*/ 2550533 h 7571038"/>
                  <a:gd name="connsiteX7725" fmla="*/ 2685238 w 4381952"/>
                  <a:gd name="connsiteY7725" fmla="*/ 2522917 h 7571038"/>
                  <a:gd name="connsiteX7726" fmla="*/ 2657622 w 4381952"/>
                  <a:gd name="connsiteY7726" fmla="*/ 2550533 h 7571038"/>
                  <a:gd name="connsiteX7727" fmla="*/ 2685238 w 4381952"/>
                  <a:gd name="connsiteY7727" fmla="*/ 2578150 h 7571038"/>
                  <a:gd name="connsiteX7728" fmla="*/ 2712854 w 4381952"/>
                  <a:gd name="connsiteY7728" fmla="*/ 2550533 h 7571038"/>
                  <a:gd name="connsiteX7729" fmla="*/ 2720745 w 4381952"/>
                  <a:gd name="connsiteY7729" fmla="*/ 3103832 h 7571038"/>
                  <a:gd name="connsiteX7730" fmla="*/ 2678582 w 4381952"/>
                  <a:gd name="connsiteY7730" fmla="*/ 3061667 h 7571038"/>
                  <a:gd name="connsiteX7731" fmla="*/ 2636417 w 4381952"/>
                  <a:gd name="connsiteY7731" fmla="*/ 3103832 h 7571038"/>
                  <a:gd name="connsiteX7732" fmla="*/ 2678582 w 4381952"/>
                  <a:gd name="connsiteY7732" fmla="*/ 3145997 h 7571038"/>
                  <a:gd name="connsiteX7733" fmla="*/ 2720745 w 4381952"/>
                  <a:gd name="connsiteY7733" fmla="*/ 3103832 h 7571038"/>
                  <a:gd name="connsiteX7734" fmla="*/ 2736774 w 4381952"/>
                  <a:gd name="connsiteY7734" fmla="*/ 1068519 h 7571038"/>
                  <a:gd name="connsiteX7735" fmla="*/ 2700772 w 4381952"/>
                  <a:gd name="connsiteY7735" fmla="*/ 1032519 h 7571038"/>
                  <a:gd name="connsiteX7736" fmla="*/ 2664774 w 4381952"/>
                  <a:gd name="connsiteY7736" fmla="*/ 1068519 h 7571038"/>
                  <a:gd name="connsiteX7737" fmla="*/ 2700772 w 4381952"/>
                  <a:gd name="connsiteY7737" fmla="*/ 1104522 h 7571038"/>
                  <a:gd name="connsiteX7738" fmla="*/ 2736774 w 4381952"/>
                  <a:gd name="connsiteY7738" fmla="*/ 1068519 h 7571038"/>
                  <a:gd name="connsiteX7739" fmla="*/ 2737266 w 4381952"/>
                  <a:gd name="connsiteY7739" fmla="*/ 847132 h 7571038"/>
                  <a:gd name="connsiteX7740" fmla="*/ 2701268 w 4381952"/>
                  <a:gd name="connsiteY7740" fmla="*/ 811134 h 7571038"/>
                  <a:gd name="connsiteX7741" fmla="*/ 2665265 w 4381952"/>
                  <a:gd name="connsiteY7741" fmla="*/ 847132 h 7571038"/>
                  <a:gd name="connsiteX7742" fmla="*/ 2701268 w 4381952"/>
                  <a:gd name="connsiteY7742" fmla="*/ 883127 h 7571038"/>
                  <a:gd name="connsiteX7743" fmla="*/ 2737266 w 4381952"/>
                  <a:gd name="connsiteY7743" fmla="*/ 847132 h 7571038"/>
                  <a:gd name="connsiteX7744" fmla="*/ 2739484 w 4381952"/>
                  <a:gd name="connsiteY7744" fmla="*/ 516249 h 7571038"/>
                  <a:gd name="connsiteX7745" fmla="*/ 2700526 w 4381952"/>
                  <a:gd name="connsiteY7745" fmla="*/ 477293 h 7571038"/>
                  <a:gd name="connsiteX7746" fmla="*/ 2661566 w 4381952"/>
                  <a:gd name="connsiteY7746" fmla="*/ 516249 h 7571038"/>
                  <a:gd name="connsiteX7747" fmla="*/ 2700526 w 4381952"/>
                  <a:gd name="connsiteY7747" fmla="*/ 555209 h 7571038"/>
                  <a:gd name="connsiteX7748" fmla="*/ 2739484 w 4381952"/>
                  <a:gd name="connsiteY7748" fmla="*/ 516249 h 7571038"/>
                  <a:gd name="connsiteX7749" fmla="*/ 2739731 w 4381952"/>
                  <a:gd name="connsiteY7749" fmla="*/ 957831 h 7571038"/>
                  <a:gd name="connsiteX7750" fmla="*/ 2700528 w 4381952"/>
                  <a:gd name="connsiteY7750" fmla="*/ 918618 h 7571038"/>
                  <a:gd name="connsiteX7751" fmla="*/ 2661321 w 4381952"/>
                  <a:gd name="connsiteY7751" fmla="*/ 957831 h 7571038"/>
                  <a:gd name="connsiteX7752" fmla="*/ 2700528 w 4381952"/>
                  <a:gd name="connsiteY7752" fmla="*/ 997035 h 7571038"/>
                  <a:gd name="connsiteX7753" fmla="*/ 2739731 w 4381952"/>
                  <a:gd name="connsiteY7753" fmla="*/ 957831 h 7571038"/>
                  <a:gd name="connsiteX7754" fmla="*/ 2739979 w 4381952"/>
                  <a:gd name="connsiteY7754" fmla="*/ 626447 h 7571038"/>
                  <a:gd name="connsiteX7755" fmla="*/ 2700528 w 4381952"/>
                  <a:gd name="connsiteY7755" fmla="*/ 586997 h 7571038"/>
                  <a:gd name="connsiteX7756" fmla="*/ 2661075 w 4381952"/>
                  <a:gd name="connsiteY7756" fmla="*/ 626447 h 7571038"/>
                  <a:gd name="connsiteX7757" fmla="*/ 2700528 w 4381952"/>
                  <a:gd name="connsiteY7757" fmla="*/ 665938 h 7571038"/>
                  <a:gd name="connsiteX7758" fmla="*/ 2739979 w 4381952"/>
                  <a:gd name="connsiteY7758" fmla="*/ 626447 h 7571038"/>
                  <a:gd name="connsiteX7759" fmla="*/ 2741457 w 4381952"/>
                  <a:gd name="connsiteY7759" fmla="*/ 3981387 h 7571038"/>
                  <a:gd name="connsiteX7760" fmla="*/ 2709895 w 4381952"/>
                  <a:gd name="connsiteY7760" fmla="*/ 3949825 h 7571038"/>
                  <a:gd name="connsiteX7761" fmla="*/ 2678333 w 4381952"/>
                  <a:gd name="connsiteY7761" fmla="*/ 3981387 h 7571038"/>
                  <a:gd name="connsiteX7762" fmla="*/ 2709895 w 4381952"/>
                  <a:gd name="connsiteY7762" fmla="*/ 4012948 h 7571038"/>
                  <a:gd name="connsiteX7763" fmla="*/ 2741457 w 4381952"/>
                  <a:gd name="connsiteY7763" fmla="*/ 3981387 h 7571038"/>
                  <a:gd name="connsiteX7764" fmla="*/ 2741706 w 4381952"/>
                  <a:gd name="connsiteY7764" fmla="*/ 736930 h 7571038"/>
                  <a:gd name="connsiteX7765" fmla="*/ 2701020 w 4381952"/>
                  <a:gd name="connsiteY7765" fmla="*/ 696253 h 7571038"/>
                  <a:gd name="connsiteX7766" fmla="*/ 2660088 w 4381952"/>
                  <a:gd name="connsiteY7766" fmla="*/ 736930 h 7571038"/>
                  <a:gd name="connsiteX7767" fmla="*/ 2701020 w 4381952"/>
                  <a:gd name="connsiteY7767" fmla="*/ 777617 h 7571038"/>
                  <a:gd name="connsiteX7768" fmla="*/ 2741706 w 4381952"/>
                  <a:gd name="connsiteY7768" fmla="*/ 736930 h 7571038"/>
                  <a:gd name="connsiteX7769" fmla="*/ 2743678 w 4381952"/>
                  <a:gd name="connsiteY7769" fmla="*/ 1179462 h 7571038"/>
                  <a:gd name="connsiteX7770" fmla="*/ 2700772 w 4381952"/>
                  <a:gd name="connsiteY7770" fmla="*/ 1136561 h 7571038"/>
                  <a:gd name="connsiteX7771" fmla="*/ 2657869 w 4381952"/>
                  <a:gd name="connsiteY7771" fmla="*/ 1179462 h 7571038"/>
                  <a:gd name="connsiteX7772" fmla="*/ 2700772 w 4381952"/>
                  <a:gd name="connsiteY7772" fmla="*/ 1222372 h 7571038"/>
                  <a:gd name="connsiteX7773" fmla="*/ 2743678 w 4381952"/>
                  <a:gd name="connsiteY7773" fmla="*/ 1179462 h 7571038"/>
                  <a:gd name="connsiteX7774" fmla="*/ 2744416 w 4381952"/>
                  <a:gd name="connsiteY7774" fmla="*/ 1290897 h 7571038"/>
                  <a:gd name="connsiteX7775" fmla="*/ 2700770 w 4381952"/>
                  <a:gd name="connsiteY7775" fmla="*/ 1247259 h 7571038"/>
                  <a:gd name="connsiteX7776" fmla="*/ 2656881 w 4381952"/>
                  <a:gd name="connsiteY7776" fmla="*/ 1290897 h 7571038"/>
                  <a:gd name="connsiteX7777" fmla="*/ 2700770 w 4381952"/>
                  <a:gd name="connsiteY7777" fmla="*/ 1334547 h 7571038"/>
                  <a:gd name="connsiteX7778" fmla="*/ 2744416 w 4381952"/>
                  <a:gd name="connsiteY7778" fmla="*/ 1290897 h 7571038"/>
                  <a:gd name="connsiteX7779" fmla="*/ 2745156 w 4381952"/>
                  <a:gd name="connsiteY7779" fmla="*/ 3753799 h 7571038"/>
                  <a:gd name="connsiteX7780" fmla="*/ 2739487 w 4381952"/>
                  <a:gd name="connsiteY7780" fmla="*/ 3748127 h 7571038"/>
                  <a:gd name="connsiteX7781" fmla="*/ 2733815 w 4381952"/>
                  <a:gd name="connsiteY7781" fmla="*/ 3753799 h 7571038"/>
                  <a:gd name="connsiteX7782" fmla="*/ 2739487 w 4381952"/>
                  <a:gd name="connsiteY7782" fmla="*/ 3759469 h 7571038"/>
                  <a:gd name="connsiteX7783" fmla="*/ 2745156 w 4381952"/>
                  <a:gd name="connsiteY7783" fmla="*/ 3753799 h 7571038"/>
                  <a:gd name="connsiteX7784" fmla="*/ 2758225 w 4381952"/>
                  <a:gd name="connsiteY7784" fmla="*/ 1755904 h 7571038"/>
                  <a:gd name="connsiteX7785" fmla="*/ 2752801 w 4381952"/>
                  <a:gd name="connsiteY7785" fmla="*/ 1750476 h 7571038"/>
                  <a:gd name="connsiteX7786" fmla="*/ 2747374 w 4381952"/>
                  <a:gd name="connsiteY7786" fmla="*/ 1755904 h 7571038"/>
                  <a:gd name="connsiteX7787" fmla="*/ 2752801 w 4381952"/>
                  <a:gd name="connsiteY7787" fmla="*/ 1761329 h 7571038"/>
                  <a:gd name="connsiteX7788" fmla="*/ 2758225 w 4381952"/>
                  <a:gd name="connsiteY7788" fmla="*/ 1755904 h 7571038"/>
                  <a:gd name="connsiteX7789" fmla="*/ 2759951 w 4381952"/>
                  <a:gd name="connsiteY7789" fmla="*/ 4618047 h 7571038"/>
                  <a:gd name="connsiteX7790" fmla="*/ 2744416 w 4381952"/>
                  <a:gd name="connsiteY7790" fmla="*/ 4602512 h 7571038"/>
                  <a:gd name="connsiteX7791" fmla="*/ 2728881 w 4381952"/>
                  <a:gd name="connsiteY7791" fmla="*/ 4618047 h 7571038"/>
                  <a:gd name="connsiteX7792" fmla="*/ 2744416 w 4381952"/>
                  <a:gd name="connsiteY7792" fmla="*/ 4633579 h 7571038"/>
                  <a:gd name="connsiteX7793" fmla="*/ 2759951 w 4381952"/>
                  <a:gd name="connsiteY7793" fmla="*/ 4618047 h 7571038"/>
                  <a:gd name="connsiteX7794" fmla="*/ 2762169 w 4381952"/>
                  <a:gd name="connsiteY7794" fmla="*/ 5423856 h 7571038"/>
                  <a:gd name="connsiteX7795" fmla="*/ 2761674 w 4381952"/>
                  <a:gd name="connsiteY7795" fmla="*/ 5423364 h 7571038"/>
                  <a:gd name="connsiteX7796" fmla="*/ 2761183 w 4381952"/>
                  <a:gd name="connsiteY7796" fmla="*/ 5423856 h 7571038"/>
                  <a:gd name="connsiteX7797" fmla="*/ 2761674 w 4381952"/>
                  <a:gd name="connsiteY7797" fmla="*/ 5424350 h 7571038"/>
                  <a:gd name="connsiteX7798" fmla="*/ 2762169 w 4381952"/>
                  <a:gd name="connsiteY7798" fmla="*/ 5423856 h 7571038"/>
                  <a:gd name="connsiteX7799" fmla="*/ 2763156 w 4381952"/>
                  <a:gd name="connsiteY7799" fmla="*/ 5196758 h 7571038"/>
                  <a:gd name="connsiteX7800" fmla="*/ 2759951 w 4381952"/>
                  <a:gd name="connsiteY7800" fmla="*/ 5193553 h 7571038"/>
                  <a:gd name="connsiteX7801" fmla="*/ 2756746 w 4381952"/>
                  <a:gd name="connsiteY7801" fmla="*/ 5196758 h 7571038"/>
                  <a:gd name="connsiteX7802" fmla="*/ 2759951 w 4381952"/>
                  <a:gd name="connsiteY7802" fmla="*/ 5199963 h 7571038"/>
                  <a:gd name="connsiteX7803" fmla="*/ 2763156 w 4381952"/>
                  <a:gd name="connsiteY7803" fmla="*/ 5196758 h 7571038"/>
                  <a:gd name="connsiteX7804" fmla="*/ 2766118 w 4381952"/>
                  <a:gd name="connsiteY7804" fmla="*/ 1870547 h 7571038"/>
                  <a:gd name="connsiteX7805" fmla="*/ 2752555 w 4381952"/>
                  <a:gd name="connsiteY7805" fmla="*/ 1856989 h 7571038"/>
                  <a:gd name="connsiteX7806" fmla="*/ 2738993 w 4381952"/>
                  <a:gd name="connsiteY7806" fmla="*/ 1870547 h 7571038"/>
                  <a:gd name="connsiteX7807" fmla="*/ 2752555 w 4381952"/>
                  <a:gd name="connsiteY7807" fmla="*/ 1884104 h 7571038"/>
                  <a:gd name="connsiteX7808" fmla="*/ 2766118 w 4381952"/>
                  <a:gd name="connsiteY7808" fmla="*/ 1870547 h 7571038"/>
                  <a:gd name="connsiteX7809" fmla="*/ 2766360 w 4381952"/>
                  <a:gd name="connsiteY7809" fmla="*/ 6094789 h 7571038"/>
                  <a:gd name="connsiteX7810" fmla="*/ 2764637 w 4381952"/>
                  <a:gd name="connsiteY7810" fmla="*/ 6093062 h 7571038"/>
                  <a:gd name="connsiteX7811" fmla="*/ 2762909 w 4381952"/>
                  <a:gd name="connsiteY7811" fmla="*/ 6094789 h 7571038"/>
                  <a:gd name="connsiteX7812" fmla="*/ 2764637 w 4381952"/>
                  <a:gd name="connsiteY7812" fmla="*/ 6096516 h 7571038"/>
                  <a:gd name="connsiteX7813" fmla="*/ 2766360 w 4381952"/>
                  <a:gd name="connsiteY7813" fmla="*/ 6094789 h 7571038"/>
                  <a:gd name="connsiteX7814" fmla="*/ 2766360 w 4381952"/>
                  <a:gd name="connsiteY7814" fmla="*/ 6205749 h 7571038"/>
                  <a:gd name="connsiteX7815" fmla="*/ 2764637 w 4381952"/>
                  <a:gd name="connsiteY7815" fmla="*/ 6204021 h 7571038"/>
                  <a:gd name="connsiteX7816" fmla="*/ 2762909 w 4381952"/>
                  <a:gd name="connsiteY7816" fmla="*/ 6205749 h 7571038"/>
                  <a:gd name="connsiteX7817" fmla="*/ 2764637 w 4381952"/>
                  <a:gd name="connsiteY7817" fmla="*/ 6207475 h 7571038"/>
                  <a:gd name="connsiteX7818" fmla="*/ 2766360 w 4381952"/>
                  <a:gd name="connsiteY7818" fmla="*/ 6205749 h 7571038"/>
                  <a:gd name="connsiteX7819" fmla="*/ 2767101 w 4381952"/>
                  <a:gd name="connsiteY7819" fmla="*/ 1985907 h 7571038"/>
                  <a:gd name="connsiteX7820" fmla="*/ 2752306 w 4381952"/>
                  <a:gd name="connsiteY7820" fmla="*/ 1971116 h 7571038"/>
                  <a:gd name="connsiteX7821" fmla="*/ 2737757 w 4381952"/>
                  <a:gd name="connsiteY7821" fmla="*/ 1985907 h 7571038"/>
                  <a:gd name="connsiteX7822" fmla="*/ 2752306 w 4381952"/>
                  <a:gd name="connsiteY7822" fmla="*/ 2000698 h 7571038"/>
                  <a:gd name="connsiteX7823" fmla="*/ 2767101 w 4381952"/>
                  <a:gd name="connsiteY7823" fmla="*/ 1985907 h 7571038"/>
                  <a:gd name="connsiteX7824" fmla="*/ 2767101 w 4381952"/>
                  <a:gd name="connsiteY7824" fmla="*/ 4967199 h 7571038"/>
                  <a:gd name="connsiteX7825" fmla="*/ 2757486 w 4381952"/>
                  <a:gd name="connsiteY7825" fmla="*/ 4957581 h 7571038"/>
                  <a:gd name="connsiteX7826" fmla="*/ 2747869 w 4381952"/>
                  <a:gd name="connsiteY7826" fmla="*/ 4967199 h 7571038"/>
                  <a:gd name="connsiteX7827" fmla="*/ 2757486 w 4381952"/>
                  <a:gd name="connsiteY7827" fmla="*/ 4976813 h 7571038"/>
                  <a:gd name="connsiteX7828" fmla="*/ 2767101 w 4381952"/>
                  <a:gd name="connsiteY7828" fmla="*/ 4967199 h 7571038"/>
                  <a:gd name="connsiteX7829" fmla="*/ 2768086 w 4381952"/>
                  <a:gd name="connsiteY7829" fmla="*/ 6316461 h 7571038"/>
                  <a:gd name="connsiteX7830" fmla="*/ 2765128 w 4381952"/>
                  <a:gd name="connsiteY7830" fmla="*/ 6313501 h 7571038"/>
                  <a:gd name="connsiteX7831" fmla="*/ 2762169 w 4381952"/>
                  <a:gd name="connsiteY7831" fmla="*/ 6316461 h 7571038"/>
                  <a:gd name="connsiteX7832" fmla="*/ 2765128 w 4381952"/>
                  <a:gd name="connsiteY7832" fmla="*/ 6319420 h 7571038"/>
                  <a:gd name="connsiteX7833" fmla="*/ 2768086 w 4381952"/>
                  <a:gd name="connsiteY7833" fmla="*/ 6316461 h 7571038"/>
                  <a:gd name="connsiteX7834" fmla="*/ 2768334 w 4381952"/>
                  <a:gd name="connsiteY7834" fmla="*/ 6427172 h 7571038"/>
                  <a:gd name="connsiteX7835" fmla="*/ 2765129 w 4381952"/>
                  <a:gd name="connsiteY7835" fmla="*/ 6423967 h 7571038"/>
                  <a:gd name="connsiteX7836" fmla="*/ 2761923 w 4381952"/>
                  <a:gd name="connsiteY7836" fmla="*/ 6427172 h 7571038"/>
                  <a:gd name="connsiteX7837" fmla="*/ 2765129 w 4381952"/>
                  <a:gd name="connsiteY7837" fmla="*/ 6430377 h 7571038"/>
                  <a:gd name="connsiteX7838" fmla="*/ 2768334 w 4381952"/>
                  <a:gd name="connsiteY7838" fmla="*/ 6427172 h 7571038"/>
                  <a:gd name="connsiteX7839" fmla="*/ 2768337 w 4381952"/>
                  <a:gd name="connsiteY7839" fmla="*/ 5983338 h 7571038"/>
                  <a:gd name="connsiteX7840" fmla="*/ 2765869 w 4381952"/>
                  <a:gd name="connsiteY7840" fmla="*/ 5980871 h 7571038"/>
                  <a:gd name="connsiteX7841" fmla="*/ 2763404 w 4381952"/>
                  <a:gd name="connsiteY7841" fmla="*/ 5983338 h 7571038"/>
                  <a:gd name="connsiteX7842" fmla="*/ 2765869 w 4381952"/>
                  <a:gd name="connsiteY7842" fmla="*/ 5985802 h 7571038"/>
                  <a:gd name="connsiteX7843" fmla="*/ 2768337 w 4381952"/>
                  <a:gd name="connsiteY7843" fmla="*/ 5983338 h 7571038"/>
                  <a:gd name="connsiteX7844" fmla="*/ 2768827 w 4381952"/>
                  <a:gd name="connsiteY7844" fmla="*/ 5759695 h 7571038"/>
                  <a:gd name="connsiteX7845" fmla="*/ 2767103 w 4381952"/>
                  <a:gd name="connsiteY7845" fmla="*/ 5757967 h 7571038"/>
                  <a:gd name="connsiteX7846" fmla="*/ 2765377 w 4381952"/>
                  <a:gd name="connsiteY7846" fmla="*/ 5759695 h 7571038"/>
                  <a:gd name="connsiteX7847" fmla="*/ 2767103 w 4381952"/>
                  <a:gd name="connsiteY7847" fmla="*/ 5761421 h 7571038"/>
                  <a:gd name="connsiteX7848" fmla="*/ 2768827 w 4381952"/>
                  <a:gd name="connsiteY7848" fmla="*/ 5759695 h 7571038"/>
                  <a:gd name="connsiteX7849" fmla="*/ 2769074 w 4381952"/>
                  <a:gd name="connsiteY7849" fmla="*/ 4118484 h 7571038"/>
                  <a:gd name="connsiteX7850" fmla="*/ 2721730 w 4381952"/>
                  <a:gd name="connsiteY7850" fmla="*/ 4071141 h 7571038"/>
                  <a:gd name="connsiteX7851" fmla="*/ 2674388 w 4381952"/>
                  <a:gd name="connsiteY7851" fmla="*/ 4118484 h 7571038"/>
                  <a:gd name="connsiteX7852" fmla="*/ 2721730 w 4381952"/>
                  <a:gd name="connsiteY7852" fmla="*/ 4165826 h 7571038"/>
                  <a:gd name="connsiteX7853" fmla="*/ 2769074 w 4381952"/>
                  <a:gd name="connsiteY7853" fmla="*/ 4118484 h 7571038"/>
                  <a:gd name="connsiteX7854" fmla="*/ 2769320 w 4381952"/>
                  <a:gd name="connsiteY7854" fmla="*/ 4249171 h 7571038"/>
                  <a:gd name="connsiteX7855" fmla="*/ 2730117 w 4381952"/>
                  <a:gd name="connsiteY7855" fmla="*/ 4209964 h 7571038"/>
                  <a:gd name="connsiteX7856" fmla="*/ 2690910 w 4381952"/>
                  <a:gd name="connsiteY7856" fmla="*/ 4249171 h 7571038"/>
                  <a:gd name="connsiteX7857" fmla="*/ 2730117 w 4381952"/>
                  <a:gd name="connsiteY7857" fmla="*/ 4288374 h 7571038"/>
                  <a:gd name="connsiteX7858" fmla="*/ 2769320 w 4381952"/>
                  <a:gd name="connsiteY7858" fmla="*/ 4249171 h 7571038"/>
                  <a:gd name="connsiteX7859" fmla="*/ 2769815 w 4381952"/>
                  <a:gd name="connsiteY7859" fmla="*/ 6757338 h 7571038"/>
                  <a:gd name="connsiteX7860" fmla="*/ 2767842 w 4381952"/>
                  <a:gd name="connsiteY7860" fmla="*/ 6755365 h 7571038"/>
                  <a:gd name="connsiteX7861" fmla="*/ 2765869 w 4381952"/>
                  <a:gd name="connsiteY7861" fmla="*/ 6757338 h 7571038"/>
                  <a:gd name="connsiteX7862" fmla="*/ 2767842 w 4381952"/>
                  <a:gd name="connsiteY7862" fmla="*/ 6759310 h 7571038"/>
                  <a:gd name="connsiteX7863" fmla="*/ 2769815 w 4381952"/>
                  <a:gd name="connsiteY7863" fmla="*/ 6757338 h 7571038"/>
                  <a:gd name="connsiteX7864" fmla="*/ 2770800 w 4381952"/>
                  <a:gd name="connsiteY7864" fmla="*/ 6867309 h 7571038"/>
                  <a:gd name="connsiteX7865" fmla="*/ 2768579 w 4381952"/>
                  <a:gd name="connsiteY7865" fmla="*/ 6865090 h 7571038"/>
                  <a:gd name="connsiteX7866" fmla="*/ 2766360 w 4381952"/>
                  <a:gd name="connsiteY7866" fmla="*/ 6867309 h 7571038"/>
                  <a:gd name="connsiteX7867" fmla="*/ 2768579 w 4381952"/>
                  <a:gd name="connsiteY7867" fmla="*/ 6869527 h 7571038"/>
                  <a:gd name="connsiteX7868" fmla="*/ 2770800 w 4381952"/>
                  <a:gd name="connsiteY7868" fmla="*/ 6867309 h 7571038"/>
                  <a:gd name="connsiteX7869" fmla="*/ 2770801 w 4381952"/>
                  <a:gd name="connsiteY7869" fmla="*/ 2102285 h 7571038"/>
                  <a:gd name="connsiteX7870" fmla="*/ 2751812 w 4381952"/>
                  <a:gd name="connsiteY7870" fmla="*/ 2083297 h 7571038"/>
                  <a:gd name="connsiteX7871" fmla="*/ 2732826 w 4381952"/>
                  <a:gd name="connsiteY7871" fmla="*/ 2102285 h 7571038"/>
                  <a:gd name="connsiteX7872" fmla="*/ 2751812 w 4381952"/>
                  <a:gd name="connsiteY7872" fmla="*/ 2121272 h 7571038"/>
                  <a:gd name="connsiteX7873" fmla="*/ 2770801 w 4381952"/>
                  <a:gd name="connsiteY7873" fmla="*/ 2102285 h 7571038"/>
                  <a:gd name="connsiteX7874" fmla="*/ 2771046 w 4381952"/>
                  <a:gd name="connsiteY7874" fmla="*/ 4497472 h 7571038"/>
                  <a:gd name="connsiteX7875" fmla="*/ 2740966 w 4381952"/>
                  <a:gd name="connsiteY7875" fmla="*/ 4467388 h 7571038"/>
                  <a:gd name="connsiteX7876" fmla="*/ 2710882 w 4381952"/>
                  <a:gd name="connsiteY7876" fmla="*/ 4497472 h 7571038"/>
                  <a:gd name="connsiteX7877" fmla="*/ 2740966 w 4381952"/>
                  <a:gd name="connsiteY7877" fmla="*/ 4527553 h 7571038"/>
                  <a:gd name="connsiteX7878" fmla="*/ 2771046 w 4381952"/>
                  <a:gd name="connsiteY7878" fmla="*/ 4497472 h 7571038"/>
                  <a:gd name="connsiteX7879" fmla="*/ 2771046 w 4381952"/>
                  <a:gd name="connsiteY7879" fmla="*/ 5310432 h 7571038"/>
                  <a:gd name="connsiteX7880" fmla="*/ 2761432 w 4381952"/>
                  <a:gd name="connsiteY7880" fmla="*/ 5300814 h 7571038"/>
                  <a:gd name="connsiteX7881" fmla="*/ 2751814 w 4381952"/>
                  <a:gd name="connsiteY7881" fmla="*/ 5310432 h 7571038"/>
                  <a:gd name="connsiteX7882" fmla="*/ 2761432 w 4381952"/>
                  <a:gd name="connsiteY7882" fmla="*/ 5320046 h 7571038"/>
                  <a:gd name="connsiteX7883" fmla="*/ 2771046 w 4381952"/>
                  <a:gd name="connsiteY7883" fmla="*/ 5310432 h 7571038"/>
                  <a:gd name="connsiteX7884" fmla="*/ 2771049 w 4381952"/>
                  <a:gd name="connsiteY7884" fmla="*/ 6536898 h 7571038"/>
                  <a:gd name="connsiteX7885" fmla="*/ 2768827 w 4381952"/>
                  <a:gd name="connsiteY7885" fmla="*/ 6534679 h 7571038"/>
                  <a:gd name="connsiteX7886" fmla="*/ 2766609 w 4381952"/>
                  <a:gd name="connsiteY7886" fmla="*/ 6536898 h 7571038"/>
                  <a:gd name="connsiteX7887" fmla="*/ 2768827 w 4381952"/>
                  <a:gd name="connsiteY7887" fmla="*/ 6539116 h 7571038"/>
                  <a:gd name="connsiteX7888" fmla="*/ 2771049 w 4381952"/>
                  <a:gd name="connsiteY7888" fmla="*/ 6536898 h 7571038"/>
                  <a:gd name="connsiteX7889" fmla="*/ 2771049 w 4381952"/>
                  <a:gd name="connsiteY7889" fmla="*/ 6647117 h 7571038"/>
                  <a:gd name="connsiteX7890" fmla="*/ 2768827 w 4381952"/>
                  <a:gd name="connsiteY7890" fmla="*/ 6644899 h 7571038"/>
                  <a:gd name="connsiteX7891" fmla="*/ 2766609 w 4381952"/>
                  <a:gd name="connsiteY7891" fmla="*/ 6647117 h 7571038"/>
                  <a:gd name="connsiteX7892" fmla="*/ 2768827 w 4381952"/>
                  <a:gd name="connsiteY7892" fmla="*/ 6649335 h 7571038"/>
                  <a:gd name="connsiteX7893" fmla="*/ 2771049 w 4381952"/>
                  <a:gd name="connsiteY7893" fmla="*/ 6647117 h 7571038"/>
                  <a:gd name="connsiteX7894" fmla="*/ 2771291 w 4381952"/>
                  <a:gd name="connsiteY7894" fmla="*/ 5647501 h 7571038"/>
                  <a:gd name="connsiteX7895" fmla="*/ 2767100 w 4381952"/>
                  <a:gd name="connsiteY7895" fmla="*/ 5643310 h 7571038"/>
                  <a:gd name="connsiteX7896" fmla="*/ 2762909 w 4381952"/>
                  <a:gd name="connsiteY7896" fmla="*/ 5647501 h 7571038"/>
                  <a:gd name="connsiteX7897" fmla="*/ 2767100 w 4381952"/>
                  <a:gd name="connsiteY7897" fmla="*/ 5651692 h 7571038"/>
                  <a:gd name="connsiteX7898" fmla="*/ 2771291 w 4381952"/>
                  <a:gd name="connsiteY7898" fmla="*/ 5647501 h 7571038"/>
                  <a:gd name="connsiteX7899" fmla="*/ 2771786 w 4381952"/>
                  <a:gd name="connsiteY7899" fmla="*/ 6977283 h 7571038"/>
                  <a:gd name="connsiteX7900" fmla="*/ 2768334 w 4381952"/>
                  <a:gd name="connsiteY7900" fmla="*/ 6973829 h 7571038"/>
                  <a:gd name="connsiteX7901" fmla="*/ 2764882 w 4381952"/>
                  <a:gd name="connsiteY7901" fmla="*/ 6977283 h 7571038"/>
                  <a:gd name="connsiteX7902" fmla="*/ 2768334 w 4381952"/>
                  <a:gd name="connsiteY7902" fmla="*/ 6980734 h 7571038"/>
                  <a:gd name="connsiteX7903" fmla="*/ 2771786 w 4381952"/>
                  <a:gd name="connsiteY7903" fmla="*/ 6977283 h 7571038"/>
                  <a:gd name="connsiteX7904" fmla="*/ 2772528 w 4381952"/>
                  <a:gd name="connsiteY7904" fmla="*/ 7087255 h 7571038"/>
                  <a:gd name="connsiteX7905" fmla="*/ 2768582 w 4381952"/>
                  <a:gd name="connsiteY7905" fmla="*/ 7083309 h 7571038"/>
                  <a:gd name="connsiteX7906" fmla="*/ 2764637 w 4381952"/>
                  <a:gd name="connsiteY7906" fmla="*/ 7087255 h 7571038"/>
                  <a:gd name="connsiteX7907" fmla="*/ 2768582 w 4381952"/>
                  <a:gd name="connsiteY7907" fmla="*/ 7091199 h 7571038"/>
                  <a:gd name="connsiteX7908" fmla="*/ 2772528 w 4381952"/>
                  <a:gd name="connsiteY7908" fmla="*/ 7087255 h 7571038"/>
                  <a:gd name="connsiteX7909" fmla="*/ 2773264 w 4381952"/>
                  <a:gd name="connsiteY7909" fmla="*/ 5871638 h 7571038"/>
                  <a:gd name="connsiteX7910" fmla="*/ 2766360 w 4381952"/>
                  <a:gd name="connsiteY7910" fmla="*/ 5864733 h 7571038"/>
                  <a:gd name="connsiteX7911" fmla="*/ 2759456 w 4381952"/>
                  <a:gd name="connsiteY7911" fmla="*/ 5871638 h 7571038"/>
                  <a:gd name="connsiteX7912" fmla="*/ 2766360 w 4381952"/>
                  <a:gd name="connsiteY7912" fmla="*/ 5878542 h 7571038"/>
                  <a:gd name="connsiteX7913" fmla="*/ 2773264 w 4381952"/>
                  <a:gd name="connsiteY7913" fmla="*/ 5871638 h 7571038"/>
                  <a:gd name="connsiteX7914" fmla="*/ 2773513 w 4381952"/>
                  <a:gd name="connsiteY7914" fmla="*/ 7197229 h 7571038"/>
                  <a:gd name="connsiteX7915" fmla="*/ 2768827 w 4381952"/>
                  <a:gd name="connsiteY7915" fmla="*/ 7192542 h 7571038"/>
                  <a:gd name="connsiteX7916" fmla="*/ 2764141 w 4381952"/>
                  <a:gd name="connsiteY7916" fmla="*/ 7197229 h 7571038"/>
                  <a:gd name="connsiteX7917" fmla="*/ 2768827 w 4381952"/>
                  <a:gd name="connsiteY7917" fmla="*/ 7201914 h 7571038"/>
                  <a:gd name="connsiteX7918" fmla="*/ 2773513 w 4381952"/>
                  <a:gd name="connsiteY7918" fmla="*/ 7197229 h 7571038"/>
                  <a:gd name="connsiteX7919" fmla="*/ 2775237 w 4381952"/>
                  <a:gd name="connsiteY7919" fmla="*/ 7415943 h 7571038"/>
                  <a:gd name="connsiteX7920" fmla="*/ 2771541 w 4381952"/>
                  <a:gd name="connsiteY7920" fmla="*/ 7412243 h 7571038"/>
                  <a:gd name="connsiteX7921" fmla="*/ 2767841 w 4381952"/>
                  <a:gd name="connsiteY7921" fmla="*/ 7415943 h 7571038"/>
                  <a:gd name="connsiteX7922" fmla="*/ 2771541 w 4381952"/>
                  <a:gd name="connsiteY7922" fmla="*/ 7419638 h 7571038"/>
                  <a:gd name="connsiteX7923" fmla="*/ 2775237 w 4381952"/>
                  <a:gd name="connsiteY7923" fmla="*/ 7415943 h 7571038"/>
                  <a:gd name="connsiteX7924" fmla="*/ 2775980 w 4381952"/>
                  <a:gd name="connsiteY7924" fmla="*/ 2875757 h 7571038"/>
                  <a:gd name="connsiteX7925" fmla="*/ 2765378 w 4381952"/>
                  <a:gd name="connsiteY7925" fmla="*/ 2865155 h 7571038"/>
                  <a:gd name="connsiteX7926" fmla="*/ 2754773 w 4381952"/>
                  <a:gd name="connsiteY7926" fmla="*/ 2875757 h 7571038"/>
                  <a:gd name="connsiteX7927" fmla="*/ 2765378 w 4381952"/>
                  <a:gd name="connsiteY7927" fmla="*/ 2886362 h 7571038"/>
                  <a:gd name="connsiteX7928" fmla="*/ 2775980 w 4381952"/>
                  <a:gd name="connsiteY7928" fmla="*/ 2875757 h 7571038"/>
                  <a:gd name="connsiteX7929" fmla="*/ 2776227 w 4381952"/>
                  <a:gd name="connsiteY7929" fmla="*/ 7525668 h 7571038"/>
                  <a:gd name="connsiteX7930" fmla="*/ 2771786 w 4381952"/>
                  <a:gd name="connsiteY7930" fmla="*/ 7521230 h 7571038"/>
                  <a:gd name="connsiteX7931" fmla="*/ 2767349 w 4381952"/>
                  <a:gd name="connsiteY7931" fmla="*/ 7525668 h 7571038"/>
                  <a:gd name="connsiteX7932" fmla="*/ 2771786 w 4381952"/>
                  <a:gd name="connsiteY7932" fmla="*/ 7530108 h 7571038"/>
                  <a:gd name="connsiteX7933" fmla="*/ 2776227 w 4381952"/>
                  <a:gd name="connsiteY7933" fmla="*/ 7525668 h 7571038"/>
                  <a:gd name="connsiteX7934" fmla="*/ 2776967 w 4381952"/>
                  <a:gd name="connsiteY7934" fmla="*/ 7306460 h 7571038"/>
                  <a:gd name="connsiteX7935" fmla="*/ 2771786 w 4381952"/>
                  <a:gd name="connsiteY7935" fmla="*/ 7301282 h 7571038"/>
                  <a:gd name="connsiteX7936" fmla="*/ 2766609 w 4381952"/>
                  <a:gd name="connsiteY7936" fmla="*/ 7306460 h 7571038"/>
                  <a:gd name="connsiteX7937" fmla="*/ 2771786 w 4381952"/>
                  <a:gd name="connsiteY7937" fmla="*/ 7311640 h 7571038"/>
                  <a:gd name="connsiteX7938" fmla="*/ 2776967 w 4381952"/>
                  <a:gd name="connsiteY7938" fmla="*/ 7306460 h 7571038"/>
                  <a:gd name="connsiteX7939" fmla="*/ 2777950 w 4381952"/>
                  <a:gd name="connsiteY7939" fmla="*/ 3016301 h 7571038"/>
                  <a:gd name="connsiteX7940" fmla="*/ 2747869 w 4381952"/>
                  <a:gd name="connsiteY7940" fmla="*/ 2986218 h 7571038"/>
                  <a:gd name="connsiteX7941" fmla="*/ 2717785 w 4381952"/>
                  <a:gd name="connsiteY7941" fmla="*/ 3016301 h 7571038"/>
                  <a:gd name="connsiteX7942" fmla="*/ 2747869 w 4381952"/>
                  <a:gd name="connsiteY7942" fmla="*/ 3046383 h 7571038"/>
                  <a:gd name="connsiteX7943" fmla="*/ 2777950 w 4381952"/>
                  <a:gd name="connsiteY7943" fmla="*/ 3016301 h 7571038"/>
                  <a:gd name="connsiteX7944" fmla="*/ 2779185 w 4381952"/>
                  <a:gd name="connsiteY7944" fmla="*/ 3200982 h 7571038"/>
                  <a:gd name="connsiteX7945" fmla="*/ 2738993 w 4381952"/>
                  <a:gd name="connsiteY7945" fmla="*/ 3160789 h 7571038"/>
                  <a:gd name="connsiteX7946" fmla="*/ 2698800 w 4381952"/>
                  <a:gd name="connsiteY7946" fmla="*/ 3200982 h 7571038"/>
                  <a:gd name="connsiteX7947" fmla="*/ 2738993 w 4381952"/>
                  <a:gd name="connsiteY7947" fmla="*/ 3241173 h 7571038"/>
                  <a:gd name="connsiteX7948" fmla="*/ 2779185 w 4381952"/>
                  <a:gd name="connsiteY7948" fmla="*/ 3200982 h 7571038"/>
                  <a:gd name="connsiteX7949" fmla="*/ 2779431 w 4381952"/>
                  <a:gd name="connsiteY7949" fmla="*/ 4374924 h 7571038"/>
                  <a:gd name="connsiteX7950" fmla="*/ 2736279 w 4381952"/>
                  <a:gd name="connsiteY7950" fmla="*/ 4331773 h 7571038"/>
                  <a:gd name="connsiteX7951" fmla="*/ 2693127 w 4381952"/>
                  <a:gd name="connsiteY7951" fmla="*/ 4374924 h 7571038"/>
                  <a:gd name="connsiteX7952" fmla="*/ 2736279 w 4381952"/>
                  <a:gd name="connsiteY7952" fmla="*/ 4418076 h 7571038"/>
                  <a:gd name="connsiteX7953" fmla="*/ 2779431 w 4381952"/>
                  <a:gd name="connsiteY7953" fmla="*/ 4374924 h 7571038"/>
                  <a:gd name="connsiteX7954" fmla="*/ 2781895 w 4381952"/>
                  <a:gd name="connsiteY7954" fmla="*/ 4736649 h 7571038"/>
                  <a:gd name="connsiteX7955" fmla="*/ 2747374 w 4381952"/>
                  <a:gd name="connsiteY7955" fmla="*/ 4701882 h 7571038"/>
                  <a:gd name="connsiteX7956" fmla="*/ 2712609 w 4381952"/>
                  <a:gd name="connsiteY7956" fmla="*/ 4736649 h 7571038"/>
                  <a:gd name="connsiteX7957" fmla="*/ 2747374 w 4381952"/>
                  <a:gd name="connsiteY7957" fmla="*/ 4771169 h 7571038"/>
                  <a:gd name="connsiteX7958" fmla="*/ 2781895 w 4381952"/>
                  <a:gd name="connsiteY7958" fmla="*/ 4736649 h 7571038"/>
                  <a:gd name="connsiteX7959" fmla="*/ 2783409 w 4381952"/>
                  <a:gd name="connsiteY7959" fmla="*/ 0 h 7571038"/>
                  <a:gd name="connsiteX7960" fmla="*/ 2734028 w 4381952"/>
                  <a:gd name="connsiteY7960" fmla="*/ 0 h 7571038"/>
                  <a:gd name="connsiteX7961" fmla="*/ 2734339 w 4381952"/>
                  <a:gd name="connsiteY7961" fmla="*/ 746 h 7571038"/>
                  <a:gd name="connsiteX7962" fmla="*/ 2758719 w 4381952"/>
                  <a:gd name="connsiteY7962" fmla="*/ 10887 h 7571038"/>
                  <a:gd name="connsiteX7963" fmla="*/ 2783099 w 4381952"/>
                  <a:gd name="connsiteY7963" fmla="*/ 746 h 7571038"/>
                  <a:gd name="connsiteX7964" fmla="*/ 2786827 w 4381952"/>
                  <a:gd name="connsiteY7964" fmla="*/ 5082596 h 7571038"/>
                  <a:gd name="connsiteX7965" fmla="*/ 2758965 w 4381952"/>
                  <a:gd name="connsiteY7965" fmla="*/ 5054733 h 7571038"/>
                  <a:gd name="connsiteX7966" fmla="*/ 2731101 w 4381952"/>
                  <a:gd name="connsiteY7966" fmla="*/ 5082596 h 7571038"/>
                  <a:gd name="connsiteX7967" fmla="*/ 2758965 w 4381952"/>
                  <a:gd name="connsiteY7967" fmla="*/ 5110461 h 7571038"/>
                  <a:gd name="connsiteX7968" fmla="*/ 2786827 w 4381952"/>
                  <a:gd name="connsiteY7968" fmla="*/ 5082596 h 7571038"/>
                  <a:gd name="connsiteX7969" fmla="*/ 2787568 w 4381952"/>
                  <a:gd name="connsiteY7969" fmla="*/ 1641987 h 7571038"/>
                  <a:gd name="connsiteX7970" fmla="*/ 2752552 w 4381952"/>
                  <a:gd name="connsiteY7970" fmla="*/ 1606971 h 7571038"/>
                  <a:gd name="connsiteX7971" fmla="*/ 2717540 w 4381952"/>
                  <a:gd name="connsiteY7971" fmla="*/ 1641987 h 7571038"/>
                  <a:gd name="connsiteX7972" fmla="*/ 2752552 w 4381952"/>
                  <a:gd name="connsiteY7972" fmla="*/ 1676998 h 7571038"/>
                  <a:gd name="connsiteX7973" fmla="*/ 2787568 w 4381952"/>
                  <a:gd name="connsiteY7973" fmla="*/ 1641987 h 7571038"/>
                  <a:gd name="connsiteX7974" fmla="*/ 2793978 w 4381952"/>
                  <a:gd name="connsiteY7974" fmla="*/ 86315 h 7571038"/>
                  <a:gd name="connsiteX7975" fmla="*/ 2758963 w 4381952"/>
                  <a:gd name="connsiteY7975" fmla="*/ 51302 h 7571038"/>
                  <a:gd name="connsiteX7976" fmla="*/ 2723949 w 4381952"/>
                  <a:gd name="connsiteY7976" fmla="*/ 86315 h 7571038"/>
                  <a:gd name="connsiteX7977" fmla="*/ 2758963 w 4381952"/>
                  <a:gd name="connsiteY7977" fmla="*/ 121326 h 7571038"/>
                  <a:gd name="connsiteX7978" fmla="*/ 2793978 w 4381952"/>
                  <a:gd name="connsiteY7978" fmla="*/ 86315 h 7571038"/>
                  <a:gd name="connsiteX7979" fmla="*/ 2793981 w 4381952"/>
                  <a:gd name="connsiteY7979" fmla="*/ 3646787 h 7571038"/>
                  <a:gd name="connsiteX7980" fmla="*/ 2780664 w 4381952"/>
                  <a:gd name="connsiteY7980" fmla="*/ 3633471 h 7571038"/>
                  <a:gd name="connsiteX7981" fmla="*/ 2767596 w 4381952"/>
                  <a:gd name="connsiteY7981" fmla="*/ 3646787 h 7571038"/>
                  <a:gd name="connsiteX7982" fmla="*/ 2780664 w 4381952"/>
                  <a:gd name="connsiteY7982" fmla="*/ 3660101 h 7571038"/>
                  <a:gd name="connsiteX7983" fmla="*/ 2793981 w 4381952"/>
                  <a:gd name="connsiteY7983" fmla="*/ 3646787 h 7571038"/>
                  <a:gd name="connsiteX7984" fmla="*/ 2794471 w 4381952"/>
                  <a:gd name="connsiteY7984" fmla="*/ 306703 h 7571038"/>
                  <a:gd name="connsiteX7985" fmla="*/ 2759704 w 4381952"/>
                  <a:gd name="connsiteY7985" fmla="*/ 271937 h 7571038"/>
                  <a:gd name="connsiteX7986" fmla="*/ 2724938 w 4381952"/>
                  <a:gd name="connsiteY7986" fmla="*/ 306703 h 7571038"/>
                  <a:gd name="connsiteX7987" fmla="*/ 2759704 w 4381952"/>
                  <a:gd name="connsiteY7987" fmla="*/ 341468 h 7571038"/>
                  <a:gd name="connsiteX7988" fmla="*/ 2794471 w 4381952"/>
                  <a:gd name="connsiteY7988" fmla="*/ 306703 h 7571038"/>
                  <a:gd name="connsiteX7989" fmla="*/ 2794717 w 4381952"/>
                  <a:gd name="connsiteY7989" fmla="*/ 416899 h 7571038"/>
                  <a:gd name="connsiteX7990" fmla="*/ 2759950 w 4381952"/>
                  <a:gd name="connsiteY7990" fmla="*/ 382135 h 7571038"/>
                  <a:gd name="connsiteX7991" fmla="*/ 2725184 w 4381952"/>
                  <a:gd name="connsiteY7991" fmla="*/ 416899 h 7571038"/>
                  <a:gd name="connsiteX7992" fmla="*/ 2759950 w 4381952"/>
                  <a:gd name="connsiteY7992" fmla="*/ 451664 h 7571038"/>
                  <a:gd name="connsiteX7993" fmla="*/ 2794717 w 4381952"/>
                  <a:gd name="connsiteY7993" fmla="*/ 416899 h 7571038"/>
                  <a:gd name="connsiteX7994" fmla="*/ 2795704 w 4381952"/>
                  <a:gd name="connsiteY7994" fmla="*/ 1528823 h 7571038"/>
                  <a:gd name="connsiteX7995" fmla="*/ 2752798 w 4381952"/>
                  <a:gd name="connsiteY7995" fmla="*/ 1485916 h 7571038"/>
                  <a:gd name="connsiteX7996" fmla="*/ 2709895 w 4381952"/>
                  <a:gd name="connsiteY7996" fmla="*/ 1528823 h 7571038"/>
                  <a:gd name="connsiteX7997" fmla="*/ 2752798 w 4381952"/>
                  <a:gd name="connsiteY7997" fmla="*/ 1571723 h 7571038"/>
                  <a:gd name="connsiteX7998" fmla="*/ 2795704 w 4381952"/>
                  <a:gd name="connsiteY7998" fmla="*/ 1528823 h 7571038"/>
                  <a:gd name="connsiteX7999" fmla="*/ 2796199 w 4381952"/>
                  <a:gd name="connsiteY7999" fmla="*/ 1415903 h 7571038"/>
                  <a:gd name="connsiteX8000" fmla="*/ 2752555 w 4381952"/>
                  <a:gd name="connsiteY8000" fmla="*/ 1372259 h 7571038"/>
                  <a:gd name="connsiteX8001" fmla="*/ 2709157 w 4381952"/>
                  <a:gd name="connsiteY8001" fmla="*/ 1415903 h 7571038"/>
                  <a:gd name="connsiteX8002" fmla="*/ 2752555 w 4381952"/>
                  <a:gd name="connsiteY8002" fmla="*/ 1459544 h 7571038"/>
                  <a:gd name="connsiteX8003" fmla="*/ 2796199 w 4381952"/>
                  <a:gd name="connsiteY8003" fmla="*/ 1415903 h 7571038"/>
                  <a:gd name="connsiteX8004" fmla="*/ 2796444 w 4381952"/>
                  <a:gd name="connsiteY8004" fmla="*/ 196507 h 7571038"/>
                  <a:gd name="connsiteX8005" fmla="*/ 2759705 w 4381952"/>
                  <a:gd name="connsiteY8005" fmla="*/ 159769 h 7571038"/>
                  <a:gd name="connsiteX8006" fmla="*/ 2722966 w 4381952"/>
                  <a:gd name="connsiteY8006" fmla="*/ 196507 h 7571038"/>
                  <a:gd name="connsiteX8007" fmla="*/ 2759705 w 4381952"/>
                  <a:gd name="connsiteY8007" fmla="*/ 233244 h 7571038"/>
                  <a:gd name="connsiteX8008" fmla="*/ 2796444 w 4381952"/>
                  <a:gd name="connsiteY8008" fmla="*/ 196507 h 7571038"/>
                  <a:gd name="connsiteX8009" fmla="*/ 2798418 w 4381952"/>
                  <a:gd name="connsiteY8009" fmla="*/ 2362410 h 7571038"/>
                  <a:gd name="connsiteX8010" fmla="*/ 2793240 w 4381952"/>
                  <a:gd name="connsiteY8010" fmla="*/ 2357235 h 7571038"/>
                  <a:gd name="connsiteX8011" fmla="*/ 2787813 w 4381952"/>
                  <a:gd name="connsiteY8011" fmla="*/ 2362410 h 7571038"/>
                  <a:gd name="connsiteX8012" fmla="*/ 2793240 w 4381952"/>
                  <a:gd name="connsiteY8012" fmla="*/ 2367837 h 7571038"/>
                  <a:gd name="connsiteX8013" fmla="*/ 2798418 w 4381952"/>
                  <a:gd name="connsiteY8013" fmla="*/ 2362410 h 7571038"/>
                  <a:gd name="connsiteX8014" fmla="*/ 2799403 w 4381952"/>
                  <a:gd name="connsiteY8014" fmla="*/ 2741132 h 7571038"/>
                  <a:gd name="connsiteX8015" fmla="*/ 2776717 w 4381952"/>
                  <a:gd name="connsiteY8015" fmla="*/ 2718447 h 7571038"/>
                  <a:gd name="connsiteX8016" fmla="*/ 2754032 w 4381952"/>
                  <a:gd name="connsiteY8016" fmla="*/ 2741132 h 7571038"/>
                  <a:gd name="connsiteX8017" fmla="*/ 2776717 w 4381952"/>
                  <a:gd name="connsiteY8017" fmla="*/ 2763817 h 7571038"/>
                  <a:gd name="connsiteX8018" fmla="*/ 2799403 w 4381952"/>
                  <a:gd name="connsiteY8018" fmla="*/ 2741132 h 7571038"/>
                  <a:gd name="connsiteX8019" fmla="*/ 2801867 w 4381952"/>
                  <a:gd name="connsiteY8019" fmla="*/ 4850815 h 7571038"/>
                  <a:gd name="connsiteX8020" fmla="*/ 2756251 w 4381952"/>
                  <a:gd name="connsiteY8020" fmla="*/ 4805199 h 7571038"/>
                  <a:gd name="connsiteX8021" fmla="*/ 2710635 w 4381952"/>
                  <a:gd name="connsiteY8021" fmla="*/ 4850815 h 7571038"/>
                  <a:gd name="connsiteX8022" fmla="*/ 2756251 w 4381952"/>
                  <a:gd name="connsiteY8022" fmla="*/ 4896431 h 7571038"/>
                  <a:gd name="connsiteX8023" fmla="*/ 2801867 w 4381952"/>
                  <a:gd name="connsiteY8023" fmla="*/ 4850815 h 7571038"/>
                  <a:gd name="connsiteX8024" fmla="*/ 2802361 w 4381952"/>
                  <a:gd name="connsiteY8024" fmla="*/ 2241353 h 7571038"/>
                  <a:gd name="connsiteX8025" fmla="*/ 2795949 w 4381952"/>
                  <a:gd name="connsiteY8025" fmla="*/ 2234938 h 7571038"/>
                  <a:gd name="connsiteX8026" fmla="*/ 2789540 w 4381952"/>
                  <a:gd name="connsiteY8026" fmla="*/ 2241353 h 7571038"/>
                  <a:gd name="connsiteX8027" fmla="*/ 2795949 w 4381952"/>
                  <a:gd name="connsiteY8027" fmla="*/ 2247765 h 7571038"/>
                  <a:gd name="connsiteX8028" fmla="*/ 2802361 w 4381952"/>
                  <a:gd name="connsiteY8028" fmla="*/ 2241353 h 7571038"/>
                  <a:gd name="connsiteX8029" fmla="*/ 2802853 w 4381952"/>
                  <a:gd name="connsiteY8029" fmla="*/ 2485690 h 7571038"/>
                  <a:gd name="connsiteX8030" fmla="*/ 2789294 w 4381952"/>
                  <a:gd name="connsiteY8030" fmla="*/ 2471883 h 7571038"/>
                  <a:gd name="connsiteX8031" fmla="*/ 2775731 w 4381952"/>
                  <a:gd name="connsiteY8031" fmla="*/ 2485690 h 7571038"/>
                  <a:gd name="connsiteX8032" fmla="*/ 2789294 w 4381952"/>
                  <a:gd name="connsiteY8032" fmla="*/ 2499252 h 7571038"/>
                  <a:gd name="connsiteX8033" fmla="*/ 2802853 w 4381952"/>
                  <a:gd name="connsiteY8033" fmla="*/ 2485690 h 7571038"/>
                  <a:gd name="connsiteX8034" fmla="*/ 2806801 w 4381952"/>
                  <a:gd name="connsiteY8034" fmla="*/ 2611439 h 7571038"/>
                  <a:gd name="connsiteX8035" fmla="*/ 2784116 w 4381952"/>
                  <a:gd name="connsiteY8035" fmla="*/ 2588753 h 7571038"/>
                  <a:gd name="connsiteX8036" fmla="*/ 2761431 w 4381952"/>
                  <a:gd name="connsiteY8036" fmla="*/ 2611439 h 7571038"/>
                  <a:gd name="connsiteX8037" fmla="*/ 2784116 w 4381952"/>
                  <a:gd name="connsiteY8037" fmla="*/ 2634123 h 7571038"/>
                  <a:gd name="connsiteX8038" fmla="*/ 2806801 w 4381952"/>
                  <a:gd name="connsiteY8038" fmla="*/ 2611439 h 7571038"/>
                  <a:gd name="connsiteX8039" fmla="*/ 2816911 w 4381952"/>
                  <a:gd name="connsiteY8039" fmla="*/ 3307501 h 7571038"/>
                  <a:gd name="connsiteX8040" fmla="*/ 2780664 w 4381952"/>
                  <a:gd name="connsiteY8040" fmla="*/ 3271009 h 7571038"/>
                  <a:gd name="connsiteX8041" fmla="*/ 2744416 w 4381952"/>
                  <a:gd name="connsiteY8041" fmla="*/ 3307501 h 7571038"/>
                  <a:gd name="connsiteX8042" fmla="*/ 2780664 w 4381952"/>
                  <a:gd name="connsiteY8042" fmla="*/ 3343749 h 7571038"/>
                  <a:gd name="connsiteX8043" fmla="*/ 2816911 w 4381952"/>
                  <a:gd name="connsiteY8043" fmla="*/ 3307501 h 7571038"/>
                  <a:gd name="connsiteX8044" fmla="*/ 2818635 w 4381952"/>
                  <a:gd name="connsiteY8044" fmla="*/ 3890892 h 7571038"/>
                  <a:gd name="connsiteX8045" fmla="*/ 2783868 w 4381952"/>
                  <a:gd name="connsiteY8045" fmla="*/ 3856126 h 7571038"/>
                  <a:gd name="connsiteX8046" fmla="*/ 2749102 w 4381952"/>
                  <a:gd name="connsiteY8046" fmla="*/ 3890892 h 7571038"/>
                  <a:gd name="connsiteX8047" fmla="*/ 2783868 w 4381952"/>
                  <a:gd name="connsiteY8047" fmla="*/ 3925661 h 7571038"/>
                  <a:gd name="connsiteX8048" fmla="*/ 2818635 w 4381952"/>
                  <a:gd name="connsiteY8048" fmla="*/ 3890892 h 7571038"/>
                  <a:gd name="connsiteX8049" fmla="*/ 2823074 w 4381952"/>
                  <a:gd name="connsiteY8049" fmla="*/ 3534595 h 7571038"/>
                  <a:gd name="connsiteX8050" fmla="*/ 2801622 w 4381952"/>
                  <a:gd name="connsiteY8050" fmla="*/ 3513141 h 7571038"/>
                  <a:gd name="connsiteX8051" fmla="*/ 2780169 w 4381952"/>
                  <a:gd name="connsiteY8051" fmla="*/ 3534595 h 7571038"/>
                  <a:gd name="connsiteX8052" fmla="*/ 2801622 w 4381952"/>
                  <a:gd name="connsiteY8052" fmla="*/ 3556045 h 7571038"/>
                  <a:gd name="connsiteX8053" fmla="*/ 2823074 w 4381952"/>
                  <a:gd name="connsiteY8053" fmla="*/ 3534595 h 7571038"/>
                  <a:gd name="connsiteX8054" fmla="*/ 2831457 w 4381952"/>
                  <a:gd name="connsiteY8054" fmla="*/ 3419941 h 7571038"/>
                  <a:gd name="connsiteX8055" fmla="*/ 2801622 w 4381952"/>
                  <a:gd name="connsiteY8055" fmla="*/ 3390105 h 7571038"/>
                  <a:gd name="connsiteX8056" fmla="*/ 2771786 w 4381952"/>
                  <a:gd name="connsiteY8056" fmla="*/ 3419941 h 7571038"/>
                  <a:gd name="connsiteX8057" fmla="*/ 2801622 w 4381952"/>
                  <a:gd name="connsiteY8057" fmla="*/ 3449775 h 7571038"/>
                  <a:gd name="connsiteX8058" fmla="*/ 2831457 w 4381952"/>
                  <a:gd name="connsiteY8058" fmla="*/ 3419941 h 7571038"/>
                  <a:gd name="connsiteX8059" fmla="*/ 2846994 w 4381952"/>
                  <a:gd name="connsiteY8059" fmla="*/ 3112713 h 7571038"/>
                  <a:gd name="connsiteX8060" fmla="*/ 2814692 w 4381952"/>
                  <a:gd name="connsiteY8060" fmla="*/ 3080411 h 7571038"/>
                  <a:gd name="connsiteX8061" fmla="*/ 2782390 w 4381952"/>
                  <a:gd name="connsiteY8061" fmla="*/ 3112713 h 7571038"/>
                  <a:gd name="connsiteX8062" fmla="*/ 2814692 w 4381952"/>
                  <a:gd name="connsiteY8062" fmla="*/ 3145012 h 7571038"/>
                  <a:gd name="connsiteX8063" fmla="*/ 2846994 w 4381952"/>
                  <a:gd name="connsiteY8063" fmla="*/ 3112713 h 7571038"/>
                  <a:gd name="connsiteX8064" fmla="*/ 2848227 w 4381952"/>
                  <a:gd name="connsiteY8064" fmla="*/ 4037607 h 7571038"/>
                  <a:gd name="connsiteX8065" fmla="*/ 2805816 w 4381952"/>
                  <a:gd name="connsiteY8065" fmla="*/ 3995195 h 7571038"/>
                  <a:gd name="connsiteX8066" fmla="*/ 2763404 w 4381952"/>
                  <a:gd name="connsiteY8066" fmla="*/ 4037607 h 7571038"/>
                  <a:gd name="connsiteX8067" fmla="*/ 2805816 w 4381952"/>
                  <a:gd name="connsiteY8067" fmla="*/ 4080018 h 7571038"/>
                  <a:gd name="connsiteX8068" fmla="*/ 2848227 w 4381952"/>
                  <a:gd name="connsiteY8068" fmla="*/ 4037607 h 7571038"/>
                  <a:gd name="connsiteX8069" fmla="*/ 2851186 w 4381952"/>
                  <a:gd name="connsiteY8069" fmla="*/ 1095648 h 7571038"/>
                  <a:gd name="connsiteX8070" fmla="*/ 2813952 w 4381952"/>
                  <a:gd name="connsiteY8070" fmla="*/ 1058410 h 7571038"/>
                  <a:gd name="connsiteX8071" fmla="*/ 2776717 w 4381952"/>
                  <a:gd name="connsiteY8071" fmla="*/ 1095648 h 7571038"/>
                  <a:gd name="connsiteX8072" fmla="*/ 2813952 w 4381952"/>
                  <a:gd name="connsiteY8072" fmla="*/ 1132878 h 7571038"/>
                  <a:gd name="connsiteX8073" fmla="*/ 2851186 w 4381952"/>
                  <a:gd name="connsiteY8073" fmla="*/ 1095648 h 7571038"/>
                  <a:gd name="connsiteX8074" fmla="*/ 2851676 w 4381952"/>
                  <a:gd name="connsiteY8074" fmla="*/ 872279 h 7571038"/>
                  <a:gd name="connsiteX8075" fmla="*/ 2814692 w 4381952"/>
                  <a:gd name="connsiteY8075" fmla="*/ 835302 h 7571038"/>
                  <a:gd name="connsiteX8076" fmla="*/ 2777705 w 4381952"/>
                  <a:gd name="connsiteY8076" fmla="*/ 872279 h 7571038"/>
                  <a:gd name="connsiteX8077" fmla="*/ 2814692 w 4381952"/>
                  <a:gd name="connsiteY8077" fmla="*/ 909267 h 7571038"/>
                  <a:gd name="connsiteX8078" fmla="*/ 2851676 w 4381952"/>
                  <a:gd name="connsiteY8078" fmla="*/ 872279 h 7571038"/>
                  <a:gd name="connsiteX8079" fmla="*/ 2852909 w 4381952"/>
                  <a:gd name="connsiteY8079" fmla="*/ 2962554 h 7571038"/>
                  <a:gd name="connsiteX8080" fmla="*/ 2843540 w 4381952"/>
                  <a:gd name="connsiteY8080" fmla="*/ 2953182 h 7571038"/>
                  <a:gd name="connsiteX8081" fmla="*/ 2834169 w 4381952"/>
                  <a:gd name="connsiteY8081" fmla="*/ 2962554 h 7571038"/>
                  <a:gd name="connsiteX8082" fmla="*/ 2843540 w 4381952"/>
                  <a:gd name="connsiteY8082" fmla="*/ 2971922 h 7571038"/>
                  <a:gd name="connsiteX8083" fmla="*/ 2852909 w 4381952"/>
                  <a:gd name="connsiteY8083" fmla="*/ 2962554 h 7571038"/>
                  <a:gd name="connsiteX8084" fmla="*/ 2854141 w 4381952"/>
                  <a:gd name="connsiteY8084" fmla="*/ 538441 h 7571038"/>
                  <a:gd name="connsiteX8085" fmla="*/ 2814197 w 4381952"/>
                  <a:gd name="connsiteY8085" fmla="*/ 498251 h 7571038"/>
                  <a:gd name="connsiteX8086" fmla="*/ 2774004 w 4381952"/>
                  <a:gd name="connsiteY8086" fmla="*/ 538441 h 7571038"/>
                  <a:gd name="connsiteX8087" fmla="*/ 2814197 w 4381952"/>
                  <a:gd name="connsiteY8087" fmla="*/ 578384 h 7571038"/>
                  <a:gd name="connsiteX8088" fmla="*/ 2854141 w 4381952"/>
                  <a:gd name="connsiteY8088" fmla="*/ 538441 h 7571038"/>
                  <a:gd name="connsiteX8089" fmla="*/ 2854391 w 4381952"/>
                  <a:gd name="connsiteY8089" fmla="*/ 983717 h 7571038"/>
                  <a:gd name="connsiteX8090" fmla="*/ 2813952 w 4381952"/>
                  <a:gd name="connsiteY8090" fmla="*/ 943276 h 7571038"/>
                  <a:gd name="connsiteX8091" fmla="*/ 2773513 w 4381952"/>
                  <a:gd name="connsiteY8091" fmla="*/ 983717 h 7571038"/>
                  <a:gd name="connsiteX8092" fmla="*/ 2813952 w 4381952"/>
                  <a:gd name="connsiteY8092" fmla="*/ 1024158 h 7571038"/>
                  <a:gd name="connsiteX8093" fmla="*/ 2854391 w 4381952"/>
                  <a:gd name="connsiteY8093" fmla="*/ 983717 h 7571038"/>
                  <a:gd name="connsiteX8094" fmla="*/ 2854882 w 4381952"/>
                  <a:gd name="connsiteY8094" fmla="*/ 649414 h 7571038"/>
                  <a:gd name="connsiteX8095" fmla="*/ 2814198 w 4381952"/>
                  <a:gd name="connsiteY8095" fmla="*/ 608694 h 7571038"/>
                  <a:gd name="connsiteX8096" fmla="*/ 2773513 w 4381952"/>
                  <a:gd name="connsiteY8096" fmla="*/ 649414 h 7571038"/>
                  <a:gd name="connsiteX8097" fmla="*/ 2814198 w 4381952"/>
                  <a:gd name="connsiteY8097" fmla="*/ 690105 h 7571038"/>
                  <a:gd name="connsiteX8098" fmla="*/ 2854882 w 4381952"/>
                  <a:gd name="connsiteY8098" fmla="*/ 649414 h 7571038"/>
                  <a:gd name="connsiteX8099" fmla="*/ 2856362 w 4381952"/>
                  <a:gd name="connsiteY8099" fmla="*/ 760848 h 7571038"/>
                  <a:gd name="connsiteX8100" fmla="*/ 2814443 w 4381952"/>
                  <a:gd name="connsiteY8100" fmla="*/ 718924 h 7571038"/>
                  <a:gd name="connsiteX8101" fmla="*/ 2772526 w 4381952"/>
                  <a:gd name="connsiteY8101" fmla="*/ 760848 h 7571038"/>
                  <a:gd name="connsiteX8102" fmla="*/ 2814443 w 4381952"/>
                  <a:gd name="connsiteY8102" fmla="*/ 802767 h 7571038"/>
                  <a:gd name="connsiteX8103" fmla="*/ 2856362 w 4381952"/>
                  <a:gd name="connsiteY8103" fmla="*/ 760848 h 7571038"/>
                  <a:gd name="connsiteX8104" fmla="*/ 2857843 w 4381952"/>
                  <a:gd name="connsiteY8104" fmla="*/ 1208071 h 7571038"/>
                  <a:gd name="connsiteX8105" fmla="*/ 2813706 w 4381952"/>
                  <a:gd name="connsiteY8105" fmla="*/ 1163934 h 7571038"/>
                  <a:gd name="connsiteX8106" fmla="*/ 2769567 w 4381952"/>
                  <a:gd name="connsiteY8106" fmla="*/ 1208071 h 7571038"/>
                  <a:gd name="connsiteX8107" fmla="*/ 2813706 w 4381952"/>
                  <a:gd name="connsiteY8107" fmla="*/ 1252206 h 7571038"/>
                  <a:gd name="connsiteX8108" fmla="*/ 2857843 w 4381952"/>
                  <a:gd name="connsiteY8108" fmla="*/ 1208071 h 7571038"/>
                  <a:gd name="connsiteX8109" fmla="*/ 2858584 w 4381952"/>
                  <a:gd name="connsiteY8109" fmla="*/ 1320491 h 7571038"/>
                  <a:gd name="connsiteX8110" fmla="*/ 2813460 w 4381952"/>
                  <a:gd name="connsiteY8110" fmla="*/ 1275368 h 7571038"/>
                  <a:gd name="connsiteX8111" fmla="*/ 2768336 w 4381952"/>
                  <a:gd name="connsiteY8111" fmla="*/ 1320491 h 7571038"/>
                  <a:gd name="connsiteX8112" fmla="*/ 2813460 w 4381952"/>
                  <a:gd name="connsiteY8112" fmla="*/ 1365614 h 7571038"/>
                  <a:gd name="connsiteX8113" fmla="*/ 2858584 w 4381952"/>
                  <a:gd name="connsiteY8113" fmla="*/ 1320491 h 7571038"/>
                  <a:gd name="connsiteX8114" fmla="*/ 2859567 w 4381952"/>
                  <a:gd name="connsiteY8114" fmla="*/ 4176186 h 7571038"/>
                  <a:gd name="connsiteX8115" fmla="*/ 2820609 w 4381952"/>
                  <a:gd name="connsiteY8115" fmla="*/ 4137225 h 7571038"/>
                  <a:gd name="connsiteX8116" fmla="*/ 2781649 w 4381952"/>
                  <a:gd name="connsiteY8116" fmla="*/ 4176186 h 7571038"/>
                  <a:gd name="connsiteX8117" fmla="*/ 2820609 w 4381952"/>
                  <a:gd name="connsiteY8117" fmla="*/ 4215143 h 7571038"/>
                  <a:gd name="connsiteX8118" fmla="*/ 2859567 w 4381952"/>
                  <a:gd name="connsiteY8118" fmla="*/ 4176186 h 7571038"/>
                  <a:gd name="connsiteX8119" fmla="*/ 2868690 w 4381952"/>
                  <a:gd name="connsiteY8119" fmla="*/ 1796113 h 7571038"/>
                  <a:gd name="connsiteX8120" fmla="*/ 2861786 w 4381952"/>
                  <a:gd name="connsiteY8120" fmla="*/ 1789187 h 7571038"/>
                  <a:gd name="connsiteX8121" fmla="*/ 2854881 w 4381952"/>
                  <a:gd name="connsiteY8121" fmla="*/ 1796113 h 7571038"/>
                  <a:gd name="connsiteX8122" fmla="*/ 2861786 w 4381952"/>
                  <a:gd name="connsiteY8122" fmla="*/ 1803017 h 7571038"/>
                  <a:gd name="connsiteX8123" fmla="*/ 2868690 w 4381952"/>
                  <a:gd name="connsiteY8123" fmla="*/ 1796113 h 7571038"/>
                  <a:gd name="connsiteX8124" fmla="*/ 2872636 w 4381952"/>
                  <a:gd name="connsiteY8124" fmla="*/ 2031765 h 7571038"/>
                  <a:gd name="connsiteX8125" fmla="*/ 2859567 w 4381952"/>
                  <a:gd name="connsiteY8125" fmla="*/ 2018943 h 7571038"/>
                  <a:gd name="connsiteX8126" fmla="*/ 2846746 w 4381952"/>
                  <a:gd name="connsiteY8126" fmla="*/ 2031765 h 7571038"/>
                  <a:gd name="connsiteX8127" fmla="*/ 2859567 w 4381952"/>
                  <a:gd name="connsiteY8127" fmla="*/ 2044590 h 7571038"/>
                  <a:gd name="connsiteX8128" fmla="*/ 2872636 w 4381952"/>
                  <a:gd name="connsiteY8128" fmla="*/ 2031765 h 7571038"/>
                  <a:gd name="connsiteX8129" fmla="*/ 2873376 w 4381952"/>
                  <a:gd name="connsiteY8129" fmla="*/ 4308593 h 7571038"/>
                  <a:gd name="connsiteX8130" fmla="*/ 2831702 w 4381952"/>
                  <a:gd name="connsiteY8130" fmla="*/ 4266923 h 7571038"/>
                  <a:gd name="connsiteX8131" fmla="*/ 2789786 w 4381952"/>
                  <a:gd name="connsiteY8131" fmla="*/ 4308593 h 7571038"/>
                  <a:gd name="connsiteX8132" fmla="*/ 2831702 w 4381952"/>
                  <a:gd name="connsiteY8132" fmla="*/ 4350513 h 7571038"/>
                  <a:gd name="connsiteX8133" fmla="*/ 2873376 w 4381952"/>
                  <a:gd name="connsiteY8133" fmla="*/ 4308593 h 7571038"/>
                  <a:gd name="connsiteX8134" fmla="*/ 2873624 w 4381952"/>
                  <a:gd name="connsiteY8134" fmla="*/ 2151355 h 7571038"/>
                  <a:gd name="connsiteX8135" fmla="*/ 2857843 w 4381952"/>
                  <a:gd name="connsiteY8135" fmla="*/ 2135819 h 7571038"/>
                  <a:gd name="connsiteX8136" fmla="*/ 2842308 w 4381952"/>
                  <a:gd name="connsiteY8136" fmla="*/ 2151355 h 7571038"/>
                  <a:gd name="connsiteX8137" fmla="*/ 2857843 w 4381952"/>
                  <a:gd name="connsiteY8137" fmla="*/ 2166895 h 7571038"/>
                  <a:gd name="connsiteX8138" fmla="*/ 2873624 w 4381952"/>
                  <a:gd name="connsiteY8138" fmla="*/ 2151355 h 7571038"/>
                  <a:gd name="connsiteX8139" fmla="*/ 2875103 w 4381952"/>
                  <a:gd name="connsiteY8139" fmla="*/ 4562073 h 7571038"/>
                  <a:gd name="connsiteX8140" fmla="*/ 2845760 w 4381952"/>
                  <a:gd name="connsiteY8140" fmla="*/ 4532730 h 7571038"/>
                  <a:gd name="connsiteX8141" fmla="*/ 2816416 w 4381952"/>
                  <a:gd name="connsiteY8141" fmla="*/ 4562073 h 7571038"/>
                  <a:gd name="connsiteX8142" fmla="*/ 2845760 w 4381952"/>
                  <a:gd name="connsiteY8142" fmla="*/ 4591663 h 7571038"/>
                  <a:gd name="connsiteX8143" fmla="*/ 2875103 w 4381952"/>
                  <a:gd name="connsiteY8143" fmla="*/ 4562073 h 7571038"/>
                  <a:gd name="connsiteX8144" fmla="*/ 2875843 w 4381952"/>
                  <a:gd name="connsiteY8144" fmla="*/ 1913197 h 7571038"/>
                  <a:gd name="connsiteX8145" fmla="*/ 2861048 w 4381952"/>
                  <a:gd name="connsiteY8145" fmla="*/ 1898405 h 7571038"/>
                  <a:gd name="connsiteX8146" fmla="*/ 2846253 w 4381952"/>
                  <a:gd name="connsiteY8146" fmla="*/ 1913197 h 7571038"/>
                  <a:gd name="connsiteX8147" fmla="*/ 2861048 w 4381952"/>
                  <a:gd name="connsiteY8147" fmla="*/ 1927987 h 7571038"/>
                  <a:gd name="connsiteX8148" fmla="*/ 2875843 w 4381952"/>
                  <a:gd name="connsiteY8148" fmla="*/ 1913197 h 7571038"/>
                  <a:gd name="connsiteX8149" fmla="*/ 2875843 w 4381952"/>
                  <a:gd name="connsiteY8149" fmla="*/ 5156322 h 7571038"/>
                  <a:gd name="connsiteX8150" fmla="*/ 2868939 w 4381952"/>
                  <a:gd name="connsiteY8150" fmla="*/ 5149418 h 7571038"/>
                  <a:gd name="connsiteX8151" fmla="*/ 2862034 w 4381952"/>
                  <a:gd name="connsiteY8151" fmla="*/ 5156322 h 7571038"/>
                  <a:gd name="connsiteX8152" fmla="*/ 2868939 w 4381952"/>
                  <a:gd name="connsiteY8152" fmla="*/ 5163226 h 7571038"/>
                  <a:gd name="connsiteX8153" fmla="*/ 2875843 w 4381952"/>
                  <a:gd name="connsiteY8153" fmla="*/ 5156322 h 7571038"/>
                  <a:gd name="connsiteX8154" fmla="*/ 2878061 w 4381952"/>
                  <a:gd name="connsiteY8154" fmla="*/ 2819788 h 7571038"/>
                  <a:gd name="connsiteX8155" fmla="*/ 2862772 w 4381952"/>
                  <a:gd name="connsiteY8155" fmla="*/ 2804501 h 7571038"/>
                  <a:gd name="connsiteX8156" fmla="*/ 2847486 w 4381952"/>
                  <a:gd name="connsiteY8156" fmla="*/ 2819788 h 7571038"/>
                  <a:gd name="connsiteX8157" fmla="*/ 2862772 w 4381952"/>
                  <a:gd name="connsiteY8157" fmla="*/ 2835077 h 7571038"/>
                  <a:gd name="connsiteX8158" fmla="*/ 2878061 w 4381952"/>
                  <a:gd name="connsiteY8158" fmla="*/ 2819788 h 7571038"/>
                  <a:gd name="connsiteX8159" fmla="*/ 2880034 w 4381952"/>
                  <a:gd name="connsiteY8159" fmla="*/ 3789307 h 7571038"/>
                  <a:gd name="connsiteX8160" fmla="*/ 2842555 w 4381952"/>
                  <a:gd name="connsiteY8160" fmla="*/ 3751827 h 7571038"/>
                  <a:gd name="connsiteX8161" fmla="*/ 2805075 w 4381952"/>
                  <a:gd name="connsiteY8161" fmla="*/ 3789307 h 7571038"/>
                  <a:gd name="connsiteX8162" fmla="*/ 2842555 w 4381952"/>
                  <a:gd name="connsiteY8162" fmla="*/ 3826786 h 7571038"/>
                  <a:gd name="connsiteX8163" fmla="*/ 2880034 w 4381952"/>
                  <a:gd name="connsiteY8163" fmla="*/ 3789307 h 7571038"/>
                  <a:gd name="connsiteX8164" fmla="*/ 2880035 w 4381952"/>
                  <a:gd name="connsiteY8164" fmla="*/ 4436814 h 7571038"/>
                  <a:gd name="connsiteX8165" fmla="*/ 2839597 w 4381952"/>
                  <a:gd name="connsiteY8165" fmla="*/ 4396374 h 7571038"/>
                  <a:gd name="connsiteX8166" fmla="*/ 2799157 w 4381952"/>
                  <a:gd name="connsiteY8166" fmla="*/ 4436814 h 7571038"/>
                  <a:gd name="connsiteX8167" fmla="*/ 2839597 w 4381952"/>
                  <a:gd name="connsiteY8167" fmla="*/ 4477252 h 7571038"/>
                  <a:gd name="connsiteX8168" fmla="*/ 2880035 w 4381952"/>
                  <a:gd name="connsiteY8168" fmla="*/ 4436814 h 7571038"/>
                  <a:gd name="connsiteX8169" fmla="*/ 2880526 w 4381952"/>
                  <a:gd name="connsiteY8169" fmla="*/ 6291065 h 7571038"/>
                  <a:gd name="connsiteX8170" fmla="*/ 2878058 w 4381952"/>
                  <a:gd name="connsiteY8170" fmla="*/ 6288598 h 7571038"/>
                  <a:gd name="connsiteX8171" fmla="*/ 2875594 w 4381952"/>
                  <a:gd name="connsiteY8171" fmla="*/ 6291065 h 7571038"/>
                  <a:gd name="connsiteX8172" fmla="*/ 2878058 w 4381952"/>
                  <a:gd name="connsiteY8172" fmla="*/ 6293528 h 7571038"/>
                  <a:gd name="connsiteX8173" fmla="*/ 2880526 w 4381952"/>
                  <a:gd name="connsiteY8173" fmla="*/ 6291065 h 7571038"/>
                  <a:gd name="connsiteX8174" fmla="*/ 2880772 w 4381952"/>
                  <a:gd name="connsiteY8174" fmla="*/ 6067174 h 7571038"/>
                  <a:gd name="connsiteX8175" fmla="*/ 2877319 w 4381952"/>
                  <a:gd name="connsiteY8175" fmla="*/ 6063721 h 7571038"/>
                  <a:gd name="connsiteX8176" fmla="*/ 2873867 w 4381952"/>
                  <a:gd name="connsiteY8176" fmla="*/ 6067174 h 7571038"/>
                  <a:gd name="connsiteX8177" fmla="*/ 2877319 w 4381952"/>
                  <a:gd name="connsiteY8177" fmla="*/ 6070625 h 7571038"/>
                  <a:gd name="connsiteX8178" fmla="*/ 2880772 w 4381952"/>
                  <a:gd name="connsiteY8178" fmla="*/ 6067174 h 7571038"/>
                  <a:gd name="connsiteX8179" fmla="*/ 2880775 w 4381952"/>
                  <a:gd name="connsiteY8179" fmla="*/ 5728130 h 7571038"/>
                  <a:gd name="connsiteX8180" fmla="*/ 2879294 w 4381952"/>
                  <a:gd name="connsiteY8180" fmla="*/ 5726651 h 7571038"/>
                  <a:gd name="connsiteX8181" fmla="*/ 2877815 w 4381952"/>
                  <a:gd name="connsiteY8181" fmla="*/ 5728130 h 7571038"/>
                  <a:gd name="connsiteX8182" fmla="*/ 2879294 w 4381952"/>
                  <a:gd name="connsiteY8182" fmla="*/ 5729611 h 7571038"/>
                  <a:gd name="connsiteX8183" fmla="*/ 2880775 w 4381952"/>
                  <a:gd name="connsiteY8183" fmla="*/ 5728130 h 7571038"/>
                  <a:gd name="connsiteX8184" fmla="*/ 2881017 w 4381952"/>
                  <a:gd name="connsiteY8184" fmla="*/ 6179364 h 7571038"/>
                  <a:gd name="connsiteX8185" fmla="*/ 2877568 w 4381952"/>
                  <a:gd name="connsiteY8185" fmla="*/ 6175914 h 7571038"/>
                  <a:gd name="connsiteX8186" fmla="*/ 2873867 w 4381952"/>
                  <a:gd name="connsiteY8186" fmla="*/ 6179364 h 7571038"/>
                  <a:gd name="connsiteX8187" fmla="*/ 2877568 w 4381952"/>
                  <a:gd name="connsiteY8187" fmla="*/ 6182818 h 7571038"/>
                  <a:gd name="connsiteX8188" fmla="*/ 2881017 w 4381952"/>
                  <a:gd name="connsiteY8188" fmla="*/ 6179364 h 7571038"/>
                  <a:gd name="connsiteX8189" fmla="*/ 2881020 w 4381952"/>
                  <a:gd name="connsiteY8189" fmla="*/ 5954238 h 7571038"/>
                  <a:gd name="connsiteX8190" fmla="*/ 2878556 w 4381952"/>
                  <a:gd name="connsiteY8190" fmla="*/ 5951774 h 7571038"/>
                  <a:gd name="connsiteX8191" fmla="*/ 2876089 w 4381952"/>
                  <a:gd name="connsiteY8191" fmla="*/ 5954238 h 7571038"/>
                  <a:gd name="connsiteX8192" fmla="*/ 2878556 w 4381952"/>
                  <a:gd name="connsiteY8192" fmla="*/ 5956706 h 7571038"/>
                  <a:gd name="connsiteX8193" fmla="*/ 2881020 w 4381952"/>
                  <a:gd name="connsiteY8193" fmla="*/ 5954238 h 7571038"/>
                  <a:gd name="connsiteX8194" fmla="*/ 2881266 w 4381952"/>
                  <a:gd name="connsiteY8194" fmla="*/ 6402269 h 7571038"/>
                  <a:gd name="connsiteX8195" fmla="*/ 2878308 w 4381952"/>
                  <a:gd name="connsiteY8195" fmla="*/ 6399309 h 7571038"/>
                  <a:gd name="connsiteX8196" fmla="*/ 2875349 w 4381952"/>
                  <a:gd name="connsiteY8196" fmla="*/ 6402269 h 7571038"/>
                  <a:gd name="connsiteX8197" fmla="*/ 2878308 w 4381952"/>
                  <a:gd name="connsiteY8197" fmla="*/ 6405228 h 7571038"/>
                  <a:gd name="connsiteX8198" fmla="*/ 2881266 w 4381952"/>
                  <a:gd name="connsiteY8198" fmla="*/ 6402269 h 7571038"/>
                  <a:gd name="connsiteX8199" fmla="*/ 2882743 w 4381952"/>
                  <a:gd name="connsiteY8199" fmla="*/ 4684867 h 7571038"/>
                  <a:gd name="connsiteX8200" fmla="*/ 2850690 w 4381952"/>
                  <a:gd name="connsiteY8200" fmla="*/ 4652813 h 7571038"/>
                  <a:gd name="connsiteX8201" fmla="*/ 2818634 w 4381952"/>
                  <a:gd name="connsiteY8201" fmla="*/ 4684867 h 7571038"/>
                  <a:gd name="connsiteX8202" fmla="*/ 2850690 w 4381952"/>
                  <a:gd name="connsiteY8202" fmla="*/ 4716923 h 7571038"/>
                  <a:gd name="connsiteX8203" fmla="*/ 2882743 w 4381952"/>
                  <a:gd name="connsiteY8203" fmla="*/ 4684867 h 7571038"/>
                  <a:gd name="connsiteX8204" fmla="*/ 2883238 w 4381952"/>
                  <a:gd name="connsiteY8204" fmla="*/ 5272215 h 7571038"/>
                  <a:gd name="connsiteX8205" fmla="*/ 2870912 w 4381952"/>
                  <a:gd name="connsiteY8205" fmla="*/ 5259884 h 7571038"/>
                  <a:gd name="connsiteX8206" fmla="*/ 2858581 w 4381952"/>
                  <a:gd name="connsiteY8206" fmla="*/ 5272215 h 7571038"/>
                  <a:gd name="connsiteX8207" fmla="*/ 2870912 w 4381952"/>
                  <a:gd name="connsiteY8207" fmla="*/ 5284541 h 7571038"/>
                  <a:gd name="connsiteX8208" fmla="*/ 2883238 w 4381952"/>
                  <a:gd name="connsiteY8208" fmla="*/ 5272215 h 7571038"/>
                  <a:gd name="connsiteX8209" fmla="*/ 2883238 w 4381952"/>
                  <a:gd name="connsiteY8209" fmla="*/ 5614212 h 7571038"/>
                  <a:gd name="connsiteX8210" fmla="*/ 2878798 w 4381952"/>
                  <a:gd name="connsiteY8210" fmla="*/ 5609776 h 7571038"/>
                  <a:gd name="connsiteX8211" fmla="*/ 2874362 w 4381952"/>
                  <a:gd name="connsiteY8211" fmla="*/ 5614212 h 7571038"/>
                  <a:gd name="connsiteX8212" fmla="*/ 2878798 w 4381952"/>
                  <a:gd name="connsiteY8212" fmla="*/ 5618652 h 7571038"/>
                  <a:gd name="connsiteX8213" fmla="*/ 2883238 w 4381952"/>
                  <a:gd name="connsiteY8213" fmla="*/ 5614212 h 7571038"/>
                  <a:gd name="connsiteX8214" fmla="*/ 2883731 w 4381952"/>
                  <a:gd name="connsiteY8214" fmla="*/ 6735148 h 7571038"/>
                  <a:gd name="connsiteX8215" fmla="*/ 2882007 w 4381952"/>
                  <a:gd name="connsiteY8215" fmla="*/ 6733421 h 7571038"/>
                  <a:gd name="connsiteX8216" fmla="*/ 2880279 w 4381952"/>
                  <a:gd name="connsiteY8216" fmla="*/ 6735148 h 7571038"/>
                  <a:gd name="connsiteX8217" fmla="*/ 2882007 w 4381952"/>
                  <a:gd name="connsiteY8217" fmla="*/ 6736874 h 7571038"/>
                  <a:gd name="connsiteX8218" fmla="*/ 2883731 w 4381952"/>
                  <a:gd name="connsiteY8218" fmla="*/ 6735148 h 7571038"/>
                  <a:gd name="connsiteX8219" fmla="*/ 2884471 w 4381952"/>
                  <a:gd name="connsiteY8219" fmla="*/ 6845859 h 7571038"/>
                  <a:gd name="connsiteX8220" fmla="*/ 2882498 w 4381952"/>
                  <a:gd name="connsiteY8220" fmla="*/ 6843886 h 7571038"/>
                  <a:gd name="connsiteX8221" fmla="*/ 2880525 w 4381952"/>
                  <a:gd name="connsiteY8221" fmla="*/ 6845859 h 7571038"/>
                  <a:gd name="connsiteX8222" fmla="*/ 2882498 w 4381952"/>
                  <a:gd name="connsiteY8222" fmla="*/ 6847831 h 7571038"/>
                  <a:gd name="connsiteX8223" fmla="*/ 2884471 w 4381952"/>
                  <a:gd name="connsiteY8223" fmla="*/ 6845859 h 7571038"/>
                  <a:gd name="connsiteX8224" fmla="*/ 2884716 w 4381952"/>
                  <a:gd name="connsiteY8224" fmla="*/ 6512736 h 7571038"/>
                  <a:gd name="connsiteX8225" fmla="*/ 2882743 w 4381952"/>
                  <a:gd name="connsiteY8225" fmla="*/ 6510516 h 7571038"/>
                  <a:gd name="connsiteX8226" fmla="*/ 2880771 w 4381952"/>
                  <a:gd name="connsiteY8226" fmla="*/ 6512736 h 7571038"/>
                  <a:gd name="connsiteX8227" fmla="*/ 2882743 w 4381952"/>
                  <a:gd name="connsiteY8227" fmla="*/ 6514956 h 7571038"/>
                  <a:gd name="connsiteX8228" fmla="*/ 2884716 w 4381952"/>
                  <a:gd name="connsiteY8228" fmla="*/ 6512736 h 7571038"/>
                  <a:gd name="connsiteX8229" fmla="*/ 2884716 w 4381952"/>
                  <a:gd name="connsiteY8229" fmla="*/ 6623940 h 7571038"/>
                  <a:gd name="connsiteX8230" fmla="*/ 2882744 w 4381952"/>
                  <a:gd name="connsiteY8230" fmla="*/ 6621968 h 7571038"/>
                  <a:gd name="connsiteX8231" fmla="*/ 2880771 w 4381952"/>
                  <a:gd name="connsiteY8231" fmla="*/ 6623940 h 7571038"/>
                  <a:gd name="connsiteX8232" fmla="*/ 2882744 w 4381952"/>
                  <a:gd name="connsiteY8232" fmla="*/ 6626159 h 7571038"/>
                  <a:gd name="connsiteX8233" fmla="*/ 2884716 w 4381952"/>
                  <a:gd name="connsiteY8233" fmla="*/ 6623940 h 7571038"/>
                  <a:gd name="connsiteX8234" fmla="*/ 2885951 w 4381952"/>
                  <a:gd name="connsiteY8234" fmla="*/ 6956573 h 7571038"/>
                  <a:gd name="connsiteX8235" fmla="*/ 2882498 w 4381952"/>
                  <a:gd name="connsiteY8235" fmla="*/ 6953119 h 7571038"/>
                  <a:gd name="connsiteX8236" fmla="*/ 2879048 w 4381952"/>
                  <a:gd name="connsiteY8236" fmla="*/ 6956573 h 7571038"/>
                  <a:gd name="connsiteX8237" fmla="*/ 2882498 w 4381952"/>
                  <a:gd name="connsiteY8237" fmla="*/ 6960024 h 7571038"/>
                  <a:gd name="connsiteX8238" fmla="*/ 2885951 w 4381952"/>
                  <a:gd name="connsiteY8238" fmla="*/ 6956573 h 7571038"/>
                  <a:gd name="connsiteX8239" fmla="*/ 2886197 w 4381952"/>
                  <a:gd name="connsiteY8239" fmla="*/ 5841557 h 7571038"/>
                  <a:gd name="connsiteX8240" fmla="*/ 2878556 w 4381952"/>
                  <a:gd name="connsiteY8240" fmla="*/ 5833912 h 7571038"/>
                  <a:gd name="connsiteX8241" fmla="*/ 2870911 w 4381952"/>
                  <a:gd name="connsiteY8241" fmla="*/ 5841557 h 7571038"/>
                  <a:gd name="connsiteX8242" fmla="*/ 2878556 w 4381952"/>
                  <a:gd name="connsiteY8242" fmla="*/ 5849201 h 7571038"/>
                  <a:gd name="connsiteX8243" fmla="*/ 2886197 w 4381952"/>
                  <a:gd name="connsiteY8243" fmla="*/ 5841557 h 7571038"/>
                  <a:gd name="connsiteX8244" fmla="*/ 2886935 w 4381952"/>
                  <a:gd name="connsiteY8244" fmla="*/ 7067036 h 7571038"/>
                  <a:gd name="connsiteX8245" fmla="*/ 2882744 w 4381952"/>
                  <a:gd name="connsiteY8245" fmla="*/ 7062845 h 7571038"/>
                  <a:gd name="connsiteX8246" fmla="*/ 2878553 w 4381952"/>
                  <a:gd name="connsiteY8246" fmla="*/ 7067036 h 7571038"/>
                  <a:gd name="connsiteX8247" fmla="*/ 2882744 w 4381952"/>
                  <a:gd name="connsiteY8247" fmla="*/ 7071227 h 7571038"/>
                  <a:gd name="connsiteX8248" fmla="*/ 2886935 w 4381952"/>
                  <a:gd name="connsiteY8248" fmla="*/ 7067036 h 7571038"/>
                  <a:gd name="connsiteX8249" fmla="*/ 2887432 w 4381952"/>
                  <a:gd name="connsiteY8249" fmla="*/ 4921334 h 7571038"/>
                  <a:gd name="connsiteX8250" fmla="*/ 2864499 w 4381952"/>
                  <a:gd name="connsiteY8250" fmla="*/ 4898403 h 7571038"/>
                  <a:gd name="connsiteX8251" fmla="*/ 2841568 w 4381952"/>
                  <a:gd name="connsiteY8251" fmla="*/ 4921334 h 7571038"/>
                  <a:gd name="connsiteX8252" fmla="*/ 2864499 w 4381952"/>
                  <a:gd name="connsiteY8252" fmla="*/ 4944268 h 7571038"/>
                  <a:gd name="connsiteX8253" fmla="*/ 2887432 w 4381952"/>
                  <a:gd name="connsiteY8253" fmla="*/ 4921334 h 7571038"/>
                  <a:gd name="connsiteX8254" fmla="*/ 2888170 w 4381952"/>
                  <a:gd name="connsiteY8254" fmla="*/ 7177256 h 7571038"/>
                  <a:gd name="connsiteX8255" fmla="*/ 2882993 w 4381952"/>
                  <a:gd name="connsiteY8255" fmla="*/ 7172325 h 7571038"/>
                  <a:gd name="connsiteX8256" fmla="*/ 2877815 w 4381952"/>
                  <a:gd name="connsiteY8256" fmla="*/ 7177256 h 7571038"/>
                  <a:gd name="connsiteX8257" fmla="*/ 2882993 w 4381952"/>
                  <a:gd name="connsiteY8257" fmla="*/ 7182435 h 7571038"/>
                  <a:gd name="connsiteX8258" fmla="*/ 2888170 w 4381952"/>
                  <a:gd name="connsiteY8258" fmla="*/ 7177256 h 7571038"/>
                  <a:gd name="connsiteX8259" fmla="*/ 2890142 w 4381952"/>
                  <a:gd name="connsiteY8259" fmla="*/ 7397203 h 7571038"/>
                  <a:gd name="connsiteX8260" fmla="*/ 2886197 w 4381952"/>
                  <a:gd name="connsiteY8260" fmla="*/ 7393257 h 7571038"/>
                  <a:gd name="connsiteX8261" fmla="*/ 2882252 w 4381952"/>
                  <a:gd name="connsiteY8261" fmla="*/ 7397203 h 7571038"/>
                  <a:gd name="connsiteX8262" fmla="*/ 2886197 w 4381952"/>
                  <a:gd name="connsiteY8262" fmla="*/ 7401147 h 7571038"/>
                  <a:gd name="connsiteX8263" fmla="*/ 2890142 w 4381952"/>
                  <a:gd name="connsiteY8263" fmla="*/ 7397203 h 7571038"/>
                  <a:gd name="connsiteX8264" fmla="*/ 2891129 w 4381952"/>
                  <a:gd name="connsiteY8264" fmla="*/ 7507422 h 7571038"/>
                  <a:gd name="connsiteX8265" fmla="*/ 2886447 w 4381952"/>
                  <a:gd name="connsiteY8265" fmla="*/ 7502736 h 7571038"/>
                  <a:gd name="connsiteX8266" fmla="*/ 2881760 w 4381952"/>
                  <a:gd name="connsiteY8266" fmla="*/ 7507422 h 7571038"/>
                  <a:gd name="connsiteX8267" fmla="*/ 2886447 w 4381952"/>
                  <a:gd name="connsiteY8267" fmla="*/ 7512108 h 7571038"/>
                  <a:gd name="connsiteX8268" fmla="*/ 2891129 w 4381952"/>
                  <a:gd name="connsiteY8268" fmla="*/ 7507422 h 7571038"/>
                  <a:gd name="connsiteX8269" fmla="*/ 2892115 w 4381952"/>
                  <a:gd name="connsiteY8269" fmla="*/ 7286982 h 7571038"/>
                  <a:gd name="connsiteX8270" fmla="*/ 2886443 w 4381952"/>
                  <a:gd name="connsiteY8270" fmla="*/ 7281310 h 7571038"/>
                  <a:gd name="connsiteX8271" fmla="*/ 2880771 w 4381952"/>
                  <a:gd name="connsiteY8271" fmla="*/ 7286982 h 7571038"/>
                  <a:gd name="connsiteX8272" fmla="*/ 2886443 w 4381952"/>
                  <a:gd name="connsiteY8272" fmla="*/ 7292651 h 7571038"/>
                  <a:gd name="connsiteX8273" fmla="*/ 2892115 w 4381952"/>
                  <a:gd name="connsiteY8273" fmla="*/ 7286982 h 7571038"/>
                  <a:gd name="connsiteX8274" fmla="*/ 2893593 w 4381952"/>
                  <a:gd name="connsiteY8274" fmla="*/ 2682699 h 7571038"/>
                  <a:gd name="connsiteX8275" fmla="*/ 2875594 w 4381952"/>
                  <a:gd name="connsiteY8275" fmla="*/ 2664699 h 7571038"/>
                  <a:gd name="connsiteX8276" fmla="*/ 2857840 w 4381952"/>
                  <a:gd name="connsiteY8276" fmla="*/ 2682699 h 7571038"/>
                  <a:gd name="connsiteX8277" fmla="*/ 2875594 w 4381952"/>
                  <a:gd name="connsiteY8277" fmla="*/ 2700698 h 7571038"/>
                  <a:gd name="connsiteX8278" fmla="*/ 2893593 w 4381952"/>
                  <a:gd name="connsiteY8278" fmla="*/ 2682699 h 7571038"/>
                  <a:gd name="connsiteX8279" fmla="*/ 2894581 w 4381952"/>
                  <a:gd name="connsiteY8279" fmla="*/ 2550786 h 7571038"/>
                  <a:gd name="connsiteX8280" fmla="*/ 2884966 w 4381952"/>
                  <a:gd name="connsiteY8280" fmla="*/ 2541171 h 7571038"/>
                  <a:gd name="connsiteX8281" fmla="*/ 2875349 w 4381952"/>
                  <a:gd name="connsiteY8281" fmla="*/ 2550786 h 7571038"/>
                  <a:gd name="connsiteX8282" fmla="*/ 2884966 w 4381952"/>
                  <a:gd name="connsiteY8282" fmla="*/ 2560402 h 7571038"/>
                  <a:gd name="connsiteX8283" fmla="*/ 2894581 w 4381952"/>
                  <a:gd name="connsiteY8283" fmla="*/ 2550786 h 7571038"/>
                  <a:gd name="connsiteX8284" fmla="*/ 2897542 w 4381952"/>
                  <a:gd name="connsiteY8284" fmla="*/ 2422572 h 7571038"/>
                  <a:gd name="connsiteX8285" fmla="*/ 2891869 w 4381952"/>
                  <a:gd name="connsiteY8285" fmla="*/ 2416904 h 7571038"/>
                  <a:gd name="connsiteX8286" fmla="*/ 2886197 w 4381952"/>
                  <a:gd name="connsiteY8286" fmla="*/ 2422572 h 7571038"/>
                  <a:gd name="connsiteX8287" fmla="*/ 2891869 w 4381952"/>
                  <a:gd name="connsiteY8287" fmla="*/ 2428243 h 7571038"/>
                  <a:gd name="connsiteX8288" fmla="*/ 2897542 w 4381952"/>
                  <a:gd name="connsiteY8288" fmla="*/ 2422572 h 7571038"/>
                  <a:gd name="connsiteX8289" fmla="*/ 2898770 w 4381952"/>
                  <a:gd name="connsiteY8289" fmla="*/ 5039198 h 7571038"/>
                  <a:gd name="connsiteX8290" fmla="*/ 2866963 w 4381952"/>
                  <a:gd name="connsiteY8290" fmla="*/ 5007390 h 7571038"/>
                  <a:gd name="connsiteX8291" fmla="*/ 2835156 w 4381952"/>
                  <a:gd name="connsiteY8291" fmla="*/ 5039198 h 7571038"/>
                  <a:gd name="connsiteX8292" fmla="*/ 2866963 w 4381952"/>
                  <a:gd name="connsiteY8292" fmla="*/ 5071008 h 7571038"/>
                  <a:gd name="connsiteX8293" fmla="*/ 2898770 w 4381952"/>
                  <a:gd name="connsiteY8293" fmla="*/ 5039198 h 7571038"/>
                  <a:gd name="connsiteX8294" fmla="*/ 2899760 w 4381952"/>
                  <a:gd name="connsiteY8294" fmla="*/ 1679713 h 7571038"/>
                  <a:gd name="connsiteX8295" fmla="*/ 2862280 w 4381952"/>
                  <a:gd name="connsiteY8295" fmla="*/ 1642235 h 7571038"/>
                  <a:gd name="connsiteX8296" fmla="*/ 2824801 w 4381952"/>
                  <a:gd name="connsiteY8296" fmla="*/ 1679713 h 7571038"/>
                  <a:gd name="connsiteX8297" fmla="*/ 2862280 w 4381952"/>
                  <a:gd name="connsiteY8297" fmla="*/ 1717179 h 7571038"/>
                  <a:gd name="connsiteX8298" fmla="*/ 2899760 w 4381952"/>
                  <a:gd name="connsiteY8298" fmla="*/ 1679713 h 7571038"/>
                  <a:gd name="connsiteX8299" fmla="*/ 2900005 w 4381952"/>
                  <a:gd name="connsiteY8299" fmla="*/ 3218492 h 7571038"/>
                  <a:gd name="connsiteX8300" fmla="*/ 2865239 w 4381952"/>
                  <a:gd name="connsiteY8300" fmla="*/ 3183726 h 7571038"/>
                  <a:gd name="connsiteX8301" fmla="*/ 2830473 w 4381952"/>
                  <a:gd name="connsiteY8301" fmla="*/ 3218492 h 7571038"/>
                  <a:gd name="connsiteX8302" fmla="*/ 2865239 w 4381952"/>
                  <a:gd name="connsiteY8302" fmla="*/ 3253259 h 7571038"/>
                  <a:gd name="connsiteX8303" fmla="*/ 2900005 w 4381952"/>
                  <a:gd name="connsiteY8303" fmla="*/ 3218492 h 7571038"/>
                  <a:gd name="connsiteX8304" fmla="*/ 2900991 w 4381952"/>
                  <a:gd name="connsiteY8304" fmla="*/ 2297321 h 7571038"/>
                  <a:gd name="connsiteX8305" fmla="*/ 2897047 w 4381952"/>
                  <a:gd name="connsiteY8305" fmla="*/ 2293376 h 7571038"/>
                  <a:gd name="connsiteX8306" fmla="*/ 2893102 w 4381952"/>
                  <a:gd name="connsiteY8306" fmla="*/ 2297321 h 7571038"/>
                  <a:gd name="connsiteX8307" fmla="*/ 2897047 w 4381952"/>
                  <a:gd name="connsiteY8307" fmla="*/ 2301267 h 7571038"/>
                  <a:gd name="connsiteX8308" fmla="*/ 2900991 w 4381952"/>
                  <a:gd name="connsiteY8308" fmla="*/ 2297321 h 7571038"/>
                  <a:gd name="connsiteX8309" fmla="*/ 2907158 w 4381952"/>
                  <a:gd name="connsiteY8309" fmla="*/ 1564573 h 7571038"/>
                  <a:gd name="connsiteX8310" fmla="*/ 2863021 w 4381952"/>
                  <a:gd name="connsiteY8310" fmla="*/ 1520438 h 7571038"/>
                  <a:gd name="connsiteX8311" fmla="*/ 2818883 w 4381952"/>
                  <a:gd name="connsiteY8311" fmla="*/ 1564573 h 7571038"/>
                  <a:gd name="connsiteX8312" fmla="*/ 2863021 w 4381952"/>
                  <a:gd name="connsiteY8312" fmla="*/ 1608712 h 7571038"/>
                  <a:gd name="connsiteX8313" fmla="*/ 2907158 w 4381952"/>
                  <a:gd name="connsiteY8313" fmla="*/ 1564573 h 7571038"/>
                  <a:gd name="connsiteX8314" fmla="*/ 2907167 w 4381952"/>
                  <a:gd name="connsiteY8314" fmla="*/ 0 h 7571038"/>
                  <a:gd name="connsiteX8315" fmla="*/ 2838831 w 4381952"/>
                  <a:gd name="connsiteY8315" fmla="*/ 0 h 7571038"/>
                  <a:gd name="connsiteX8316" fmla="*/ 2847948 w 4381952"/>
                  <a:gd name="connsiteY8316" fmla="*/ 22013 h 7571038"/>
                  <a:gd name="connsiteX8317" fmla="*/ 2872883 w 4381952"/>
                  <a:gd name="connsiteY8317" fmla="*/ 32338 h 7571038"/>
                  <a:gd name="connsiteX8318" fmla="*/ 2897942 w 4381952"/>
                  <a:gd name="connsiteY8318" fmla="*/ 22013 h 7571038"/>
                  <a:gd name="connsiteX8319" fmla="*/ 2908142 w 4381952"/>
                  <a:gd name="connsiteY8319" fmla="*/ 1449926 h 7571038"/>
                  <a:gd name="connsiteX8320" fmla="*/ 2863266 w 4381952"/>
                  <a:gd name="connsiteY8320" fmla="*/ 1405053 h 7571038"/>
                  <a:gd name="connsiteX8321" fmla="*/ 2818389 w 4381952"/>
                  <a:gd name="connsiteY8321" fmla="*/ 1449926 h 7571038"/>
                  <a:gd name="connsiteX8322" fmla="*/ 2863266 w 4381952"/>
                  <a:gd name="connsiteY8322" fmla="*/ 1494807 h 7571038"/>
                  <a:gd name="connsiteX8323" fmla="*/ 2908142 w 4381952"/>
                  <a:gd name="connsiteY8323" fmla="*/ 1449926 h 7571038"/>
                  <a:gd name="connsiteX8324" fmla="*/ 2908882 w 4381952"/>
                  <a:gd name="connsiteY8324" fmla="*/ 107766 h 7571038"/>
                  <a:gd name="connsiteX8325" fmla="*/ 2873130 w 4381952"/>
                  <a:gd name="connsiteY8325" fmla="*/ 72016 h 7571038"/>
                  <a:gd name="connsiteX8326" fmla="*/ 2837377 w 4381952"/>
                  <a:gd name="connsiteY8326" fmla="*/ 107766 h 7571038"/>
                  <a:gd name="connsiteX8327" fmla="*/ 2873130 w 4381952"/>
                  <a:gd name="connsiteY8327" fmla="*/ 143518 h 7571038"/>
                  <a:gd name="connsiteX8328" fmla="*/ 2908882 w 4381952"/>
                  <a:gd name="connsiteY8328" fmla="*/ 107766 h 7571038"/>
                  <a:gd name="connsiteX8329" fmla="*/ 2909620 w 4381952"/>
                  <a:gd name="connsiteY8329" fmla="*/ 329387 h 7571038"/>
                  <a:gd name="connsiteX8330" fmla="*/ 2873867 w 4381952"/>
                  <a:gd name="connsiteY8330" fmla="*/ 293635 h 7571038"/>
                  <a:gd name="connsiteX8331" fmla="*/ 2838115 w 4381952"/>
                  <a:gd name="connsiteY8331" fmla="*/ 329387 h 7571038"/>
                  <a:gd name="connsiteX8332" fmla="*/ 2873867 w 4381952"/>
                  <a:gd name="connsiteY8332" fmla="*/ 365141 h 7571038"/>
                  <a:gd name="connsiteX8333" fmla="*/ 2909620 w 4381952"/>
                  <a:gd name="connsiteY8333" fmla="*/ 329387 h 7571038"/>
                  <a:gd name="connsiteX8334" fmla="*/ 2909869 w 4381952"/>
                  <a:gd name="connsiteY8334" fmla="*/ 440570 h 7571038"/>
                  <a:gd name="connsiteX8335" fmla="*/ 2874113 w 4381952"/>
                  <a:gd name="connsiteY8335" fmla="*/ 404819 h 7571038"/>
                  <a:gd name="connsiteX8336" fmla="*/ 2838361 w 4381952"/>
                  <a:gd name="connsiteY8336" fmla="*/ 440570 h 7571038"/>
                  <a:gd name="connsiteX8337" fmla="*/ 2874113 w 4381952"/>
                  <a:gd name="connsiteY8337" fmla="*/ 476325 h 7571038"/>
                  <a:gd name="connsiteX8338" fmla="*/ 2909869 w 4381952"/>
                  <a:gd name="connsiteY8338" fmla="*/ 440570 h 7571038"/>
                  <a:gd name="connsiteX8339" fmla="*/ 2910606 w 4381952"/>
                  <a:gd name="connsiteY8339" fmla="*/ 4801746 h 7571038"/>
                  <a:gd name="connsiteX8340" fmla="*/ 2862032 w 4381952"/>
                  <a:gd name="connsiteY8340" fmla="*/ 4753416 h 7571038"/>
                  <a:gd name="connsiteX8341" fmla="*/ 2813703 w 4381952"/>
                  <a:gd name="connsiteY8341" fmla="*/ 4801746 h 7571038"/>
                  <a:gd name="connsiteX8342" fmla="*/ 2862032 w 4381952"/>
                  <a:gd name="connsiteY8342" fmla="*/ 4850074 h 7571038"/>
                  <a:gd name="connsiteX8343" fmla="*/ 2910606 w 4381952"/>
                  <a:gd name="connsiteY8343" fmla="*/ 4801746 h 7571038"/>
                  <a:gd name="connsiteX8344" fmla="*/ 2911841 w 4381952"/>
                  <a:gd name="connsiteY8344" fmla="*/ 218454 h 7571038"/>
                  <a:gd name="connsiteX8345" fmla="*/ 2873867 w 4381952"/>
                  <a:gd name="connsiteY8345" fmla="*/ 180481 h 7571038"/>
                  <a:gd name="connsiteX8346" fmla="*/ 2835896 w 4381952"/>
                  <a:gd name="connsiteY8346" fmla="*/ 218454 h 7571038"/>
                  <a:gd name="connsiteX8347" fmla="*/ 2873867 w 4381952"/>
                  <a:gd name="connsiteY8347" fmla="*/ 256424 h 7571038"/>
                  <a:gd name="connsiteX8348" fmla="*/ 2911841 w 4381952"/>
                  <a:gd name="connsiteY8348" fmla="*/ 218454 h 7571038"/>
                  <a:gd name="connsiteX8349" fmla="*/ 2914309 w 4381952"/>
                  <a:gd name="connsiteY8349" fmla="*/ 3945389 h 7571038"/>
                  <a:gd name="connsiteX8350" fmla="*/ 2877816 w 4381952"/>
                  <a:gd name="connsiteY8350" fmla="*/ 3908895 h 7571038"/>
                  <a:gd name="connsiteX8351" fmla="*/ 2841322 w 4381952"/>
                  <a:gd name="connsiteY8351" fmla="*/ 3945389 h 7571038"/>
                  <a:gd name="connsiteX8352" fmla="*/ 2877816 w 4381952"/>
                  <a:gd name="connsiteY8352" fmla="*/ 3981882 h 7571038"/>
                  <a:gd name="connsiteX8353" fmla="*/ 2914309 w 4381952"/>
                  <a:gd name="connsiteY8353" fmla="*/ 3945389 h 7571038"/>
                  <a:gd name="connsiteX8354" fmla="*/ 2917268 w 4381952"/>
                  <a:gd name="connsiteY8354" fmla="*/ 3059209 h 7571038"/>
                  <a:gd name="connsiteX8355" fmla="*/ 2908882 w 4381952"/>
                  <a:gd name="connsiteY8355" fmla="*/ 3050826 h 7571038"/>
                  <a:gd name="connsiteX8356" fmla="*/ 2900501 w 4381952"/>
                  <a:gd name="connsiteY8356" fmla="*/ 3059209 h 7571038"/>
                  <a:gd name="connsiteX8357" fmla="*/ 2908882 w 4381952"/>
                  <a:gd name="connsiteY8357" fmla="*/ 3067593 h 7571038"/>
                  <a:gd name="connsiteX8358" fmla="*/ 2917268 w 4381952"/>
                  <a:gd name="connsiteY8358" fmla="*/ 3059209 h 7571038"/>
                  <a:gd name="connsiteX8359" fmla="*/ 2922937 w 4381952"/>
                  <a:gd name="connsiteY8359" fmla="*/ 3679333 h 7571038"/>
                  <a:gd name="connsiteX8360" fmla="*/ 2884225 w 4381952"/>
                  <a:gd name="connsiteY8360" fmla="*/ 3640621 h 7571038"/>
                  <a:gd name="connsiteX8361" fmla="*/ 2845514 w 4381952"/>
                  <a:gd name="connsiteY8361" fmla="*/ 3679333 h 7571038"/>
                  <a:gd name="connsiteX8362" fmla="*/ 2884225 w 4381952"/>
                  <a:gd name="connsiteY8362" fmla="*/ 3718045 h 7571038"/>
                  <a:gd name="connsiteX8363" fmla="*/ 2922937 w 4381952"/>
                  <a:gd name="connsiteY8363" fmla="*/ 3679333 h 7571038"/>
                  <a:gd name="connsiteX8364" fmla="*/ 2934772 w 4381952"/>
                  <a:gd name="connsiteY8364" fmla="*/ 3330929 h 7571038"/>
                  <a:gd name="connsiteX8365" fmla="*/ 2898033 w 4381952"/>
                  <a:gd name="connsiteY8365" fmla="*/ 3294192 h 7571038"/>
                  <a:gd name="connsiteX8366" fmla="*/ 2861294 w 4381952"/>
                  <a:gd name="connsiteY8366" fmla="*/ 3330929 h 7571038"/>
                  <a:gd name="connsiteX8367" fmla="*/ 2898033 w 4381952"/>
                  <a:gd name="connsiteY8367" fmla="*/ 3367671 h 7571038"/>
                  <a:gd name="connsiteX8368" fmla="*/ 2934772 w 4381952"/>
                  <a:gd name="connsiteY8368" fmla="*/ 3330929 h 7571038"/>
                  <a:gd name="connsiteX8369" fmla="*/ 2939704 w 4381952"/>
                  <a:gd name="connsiteY8369" fmla="*/ 4092597 h 7571038"/>
                  <a:gd name="connsiteX8370" fmla="*/ 2901734 w 4381952"/>
                  <a:gd name="connsiteY8370" fmla="*/ 4054622 h 7571038"/>
                  <a:gd name="connsiteX8371" fmla="*/ 2863759 w 4381952"/>
                  <a:gd name="connsiteY8371" fmla="*/ 4092597 h 7571038"/>
                  <a:gd name="connsiteX8372" fmla="*/ 2901734 w 4381952"/>
                  <a:gd name="connsiteY8372" fmla="*/ 4130568 h 7571038"/>
                  <a:gd name="connsiteX8373" fmla="*/ 2939704 w 4381952"/>
                  <a:gd name="connsiteY8373" fmla="*/ 4092597 h 7571038"/>
                  <a:gd name="connsiteX8374" fmla="*/ 2945871 w 4381952"/>
                  <a:gd name="connsiteY8374" fmla="*/ 2908065 h 7571038"/>
                  <a:gd name="connsiteX8375" fmla="*/ 2938472 w 4381952"/>
                  <a:gd name="connsiteY8375" fmla="*/ 2900667 h 7571038"/>
                  <a:gd name="connsiteX8376" fmla="*/ 2931076 w 4381952"/>
                  <a:gd name="connsiteY8376" fmla="*/ 2908065 h 7571038"/>
                  <a:gd name="connsiteX8377" fmla="*/ 2938472 w 4381952"/>
                  <a:gd name="connsiteY8377" fmla="*/ 2915462 h 7571038"/>
                  <a:gd name="connsiteX8378" fmla="*/ 2945871 w 4381952"/>
                  <a:gd name="connsiteY8378" fmla="*/ 2908065 h 7571038"/>
                  <a:gd name="connsiteX8379" fmla="*/ 2946607 w 4381952"/>
                  <a:gd name="connsiteY8379" fmla="*/ 3564429 h 7571038"/>
                  <a:gd name="connsiteX8380" fmla="*/ 2907651 w 4381952"/>
                  <a:gd name="connsiteY8380" fmla="*/ 3525469 h 7571038"/>
                  <a:gd name="connsiteX8381" fmla="*/ 2868690 w 4381952"/>
                  <a:gd name="connsiteY8381" fmla="*/ 3564429 h 7571038"/>
                  <a:gd name="connsiteX8382" fmla="*/ 2907651 w 4381952"/>
                  <a:gd name="connsiteY8382" fmla="*/ 3603388 h 7571038"/>
                  <a:gd name="connsiteX8383" fmla="*/ 2946607 w 4381952"/>
                  <a:gd name="connsiteY8383" fmla="*/ 3564429 h 7571038"/>
                  <a:gd name="connsiteX8384" fmla="*/ 2950553 w 4381952"/>
                  <a:gd name="connsiteY8384" fmla="*/ 3447315 h 7571038"/>
                  <a:gd name="connsiteX8385" fmla="*/ 2912087 w 4381952"/>
                  <a:gd name="connsiteY8385" fmla="*/ 3408851 h 7571038"/>
                  <a:gd name="connsiteX8386" fmla="*/ 2873621 w 4381952"/>
                  <a:gd name="connsiteY8386" fmla="*/ 3447315 h 7571038"/>
                  <a:gd name="connsiteX8387" fmla="*/ 2912087 w 4381952"/>
                  <a:gd name="connsiteY8387" fmla="*/ 3485771 h 7571038"/>
                  <a:gd name="connsiteX8388" fmla="*/ 2950553 w 4381952"/>
                  <a:gd name="connsiteY8388" fmla="*/ 3447315 h 7571038"/>
                  <a:gd name="connsiteX8389" fmla="*/ 2959430 w 4381952"/>
                  <a:gd name="connsiteY8389" fmla="*/ 4232157 h 7571038"/>
                  <a:gd name="connsiteX8390" fmla="*/ 2918992 w 4381952"/>
                  <a:gd name="connsiteY8390" fmla="*/ 4191718 h 7571038"/>
                  <a:gd name="connsiteX8391" fmla="*/ 2878553 w 4381952"/>
                  <a:gd name="connsiteY8391" fmla="*/ 4232157 h 7571038"/>
                  <a:gd name="connsiteX8392" fmla="*/ 2918992 w 4381952"/>
                  <a:gd name="connsiteY8392" fmla="*/ 4272596 h 7571038"/>
                  <a:gd name="connsiteX8393" fmla="*/ 2959430 w 4381952"/>
                  <a:gd name="connsiteY8393" fmla="*/ 4232157 h 7571038"/>
                  <a:gd name="connsiteX8394" fmla="*/ 2964116 w 4381952"/>
                  <a:gd name="connsiteY8394" fmla="*/ 1128193 h 7571038"/>
                  <a:gd name="connsiteX8395" fmla="*/ 2925650 w 4381952"/>
                  <a:gd name="connsiteY8395" fmla="*/ 1089730 h 7571038"/>
                  <a:gd name="connsiteX8396" fmla="*/ 2887430 w 4381952"/>
                  <a:gd name="connsiteY8396" fmla="*/ 1128193 h 7571038"/>
                  <a:gd name="connsiteX8397" fmla="*/ 2925650 w 4381952"/>
                  <a:gd name="connsiteY8397" fmla="*/ 1166415 h 7571038"/>
                  <a:gd name="connsiteX8398" fmla="*/ 2964116 w 4381952"/>
                  <a:gd name="connsiteY8398" fmla="*/ 1128193 h 7571038"/>
                  <a:gd name="connsiteX8399" fmla="*/ 2964856 w 4381952"/>
                  <a:gd name="connsiteY8399" fmla="*/ 902117 h 7571038"/>
                  <a:gd name="connsiteX8400" fmla="*/ 2926883 w 4381952"/>
                  <a:gd name="connsiteY8400" fmla="*/ 864145 h 7571038"/>
                  <a:gd name="connsiteX8401" fmla="*/ 2888910 w 4381952"/>
                  <a:gd name="connsiteY8401" fmla="*/ 902117 h 7571038"/>
                  <a:gd name="connsiteX8402" fmla="*/ 2926883 w 4381952"/>
                  <a:gd name="connsiteY8402" fmla="*/ 940087 h 7571038"/>
                  <a:gd name="connsiteX8403" fmla="*/ 2964856 w 4381952"/>
                  <a:gd name="connsiteY8403" fmla="*/ 902117 h 7571038"/>
                  <a:gd name="connsiteX8404" fmla="*/ 2966580 w 4381952"/>
                  <a:gd name="connsiteY8404" fmla="*/ 3844293 h 7571038"/>
                  <a:gd name="connsiteX8405" fmla="*/ 2936499 w 4381952"/>
                  <a:gd name="connsiteY8405" fmla="*/ 3813964 h 7571038"/>
                  <a:gd name="connsiteX8406" fmla="*/ 2906169 w 4381952"/>
                  <a:gd name="connsiteY8406" fmla="*/ 3844293 h 7571038"/>
                  <a:gd name="connsiteX8407" fmla="*/ 2936499 w 4381952"/>
                  <a:gd name="connsiteY8407" fmla="*/ 3874620 h 7571038"/>
                  <a:gd name="connsiteX8408" fmla="*/ 2966580 w 4381952"/>
                  <a:gd name="connsiteY8408" fmla="*/ 3844293 h 7571038"/>
                  <a:gd name="connsiteX8409" fmla="*/ 2967569 w 4381952"/>
                  <a:gd name="connsiteY8409" fmla="*/ 1014788 h 7571038"/>
                  <a:gd name="connsiteX8410" fmla="*/ 2925895 w 4381952"/>
                  <a:gd name="connsiteY8410" fmla="*/ 973113 h 7571038"/>
                  <a:gd name="connsiteX8411" fmla="*/ 2884225 w 4381952"/>
                  <a:gd name="connsiteY8411" fmla="*/ 1014788 h 7571038"/>
                  <a:gd name="connsiteX8412" fmla="*/ 2925895 w 4381952"/>
                  <a:gd name="connsiteY8412" fmla="*/ 1056443 h 7571038"/>
                  <a:gd name="connsiteX8413" fmla="*/ 2967569 w 4381952"/>
                  <a:gd name="connsiteY8413" fmla="*/ 1014788 h 7571038"/>
                  <a:gd name="connsiteX8414" fmla="*/ 2968061 w 4381952"/>
                  <a:gd name="connsiteY8414" fmla="*/ 564824 h 7571038"/>
                  <a:gd name="connsiteX8415" fmla="*/ 2926883 w 4381952"/>
                  <a:gd name="connsiteY8415" fmla="*/ 523647 h 7571038"/>
                  <a:gd name="connsiteX8416" fmla="*/ 2885703 w 4381952"/>
                  <a:gd name="connsiteY8416" fmla="*/ 564824 h 7571038"/>
                  <a:gd name="connsiteX8417" fmla="*/ 2926883 w 4381952"/>
                  <a:gd name="connsiteY8417" fmla="*/ 606002 h 7571038"/>
                  <a:gd name="connsiteX8418" fmla="*/ 2968061 w 4381952"/>
                  <a:gd name="connsiteY8418" fmla="*/ 564824 h 7571038"/>
                  <a:gd name="connsiteX8419" fmla="*/ 2968555 w 4381952"/>
                  <a:gd name="connsiteY8419" fmla="*/ 3164251 h 7571038"/>
                  <a:gd name="connsiteX8420" fmla="*/ 2960170 w 4381952"/>
                  <a:gd name="connsiteY8420" fmla="*/ 3155869 h 7571038"/>
                  <a:gd name="connsiteX8421" fmla="*/ 2951788 w 4381952"/>
                  <a:gd name="connsiteY8421" fmla="*/ 3164251 h 7571038"/>
                  <a:gd name="connsiteX8422" fmla="*/ 2960170 w 4381952"/>
                  <a:gd name="connsiteY8422" fmla="*/ 3172637 h 7571038"/>
                  <a:gd name="connsiteX8423" fmla="*/ 2968555 w 4381952"/>
                  <a:gd name="connsiteY8423" fmla="*/ 3164251 h 7571038"/>
                  <a:gd name="connsiteX8424" fmla="*/ 2968801 w 4381952"/>
                  <a:gd name="connsiteY8424" fmla="*/ 676785 h 7571038"/>
                  <a:gd name="connsiteX8425" fmla="*/ 2926882 w 4381952"/>
                  <a:gd name="connsiteY8425" fmla="*/ 634831 h 7571038"/>
                  <a:gd name="connsiteX8426" fmla="*/ 2884965 w 4381952"/>
                  <a:gd name="connsiteY8426" fmla="*/ 676785 h 7571038"/>
                  <a:gd name="connsiteX8427" fmla="*/ 2926882 w 4381952"/>
                  <a:gd name="connsiteY8427" fmla="*/ 718699 h 7571038"/>
                  <a:gd name="connsiteX8428" fmla="*/ 2968801 w 4381952"/>
                  <a:gd name="connsiteY8428" fmla="*/ 676785 h 7571038"/>
                  <a:gd name="connsiteX8429" fmla="*/ 2969787 w 4381952"/>
                  <a:gd name="connsiteY8429" fmla="*/ 1356243 h 7571038"/>
                  <a:gd name="connsiteX8430" fmla="*/ 2924418 w 4381952"/>
                  <a:gd name="connsiteY8430" fmla="*/ 1310875 h 7571038"/>
                  <a:gd name="connsiteX8431" fmla="*/ 2879048 w 4381952"/>
                  <a:gd name="connsiteY8431" fmla="*/ 1356243 h 7571038"/>
                  <a:gd name="connsiteX8432" fmla="*/ 2924418 w 4381952"/>
                  <a:gd name="connsiteY8432" fmla="*/ 1401613 h 7571038"/>
                  <a:gd name="connsiteX8433" fmla="*/ 2969787 w 4381952"/>
                  <a:gd name="connsiteY8433" fmla="*/ 1356243 h 7571038"/>
                  <a:gd name="connsiteX8434" fmla="*/ 2970034 w 4381952"/>
                  <a:gd name="connsiteY8434" fmla="*/ 1241851 h 7571038"/>
                  <a:gd name="connsiteX8435" fmla="*/ 2925158 w 4381952"/>
                  <a:gd name="connsiteY8435" fmla="*/ 1196974 h 7571038"/>
                  <a:gd name="connsiteX8436" fmla="*/ 2880279 w 4381952"/>
                  <a:gd name="connsiteY8436" fmla="*/ 1241851 h 7571038"/>
                  <a:gd name="connsiteX8437" fmla="*/ 2925158 w 4381952"/>
                  <a:gd name="connsiteY8437" fmla="*/ 1286711 h 7571038"/>
                  <a:gd name="connsiteX8438" fmla="*/ 2970034 w 4381952"/>
                  <a:gd name="connsiteY8438" fmla="*/ 1241851 h 7571038"/>
                  <a:gd name="connsiteX8439" fmla="*/ 2970281 w 4381952"/>
                  <a:gd name="connsiteY8439" fmla="*/ 789451 h 7571038"/>
                  <a:gd name="connsiteX8440" fmla="*/ 2927130 w 4381952"/>
                  <a:gd name="connsiteY8440" fmla="*/ 746302 h 7571038"/>
                  <a:gd name="connsiteX8441" fmla="*/ 2883978 w 4381952"/>
                  <a:gd name="connsiteY8441" fmla="*/ 789451 h 7571038"/>
                  <a:gd name="connsiteX8442" fmla="*/ 2927130 w 4381952"/>
                  <a:gd name="connsiteY8442" fmla="*/ 832606 h 7571038"/>
                  <a:gd name="connsiteX8443" fmla="*/ 2970281 w 4381952"/>
                  <a:gd name="connsiteY8443" fmla="*/ 789451 h 7571038"/>
                  <a:gd name="connsiteX8444" fmla="*/ 2972005 w 4381952"/>
                  <a:gd name="connsiteY8444" fmla="*/ 2208566 h 7571038"/>
                  <a:gd name="connsiteX8445" fmla="*/ 2959679 w 4381952"/>
                  <a:gd name="connsiteY8445" fmla="*/ 2196236 h 7571038"/>
                  <a:gd name="connsiteX8446" fmla="*/ 2947348 w 4381952"/>
                  <a:gd name="connsiteY8446" fmla="*/ 2208566 h 7571038"/>
                  <a:gd name="connsiteX8447" fmla="*/ 2959679 w 4381952"/>
                  <a:gd name="connsiteY8447" fmla="*/ 2220894 h 7571038"/>
                  <a:gd name="connsiteX8448" fmla="*/ 2972005 w 4381952"/>
                  <a:gd name="connsiteY8448" fmla="*/ 2208566 h 7571038"/>
                  <a:gd name="connsiteX8449" fmla="*/ 2973483 w 4381952"/>
                  <a:gd name="connsiteY8449" fmla="*/ 2763821 h 7571038"/>
                  <a:gd name="connsiteX8450" fmla="*/ 2958937 w 4381952"/>
                  <a:gd name="connsiteY8450" fmla="*/ 2749273 h 7571038"/>
                  <a:gd name="connsiteX8451" fmla="*/ 2944389 w 4381952"/>
                  <a:gd name="connsiteY8451" fmla="*/ 2763821 h 7571038"/>
                  <a:gd name="connsiteX8452" fmla="*/ 2958937 w 4381952"/>
                  <a:gd name="connsiteY8452" fmla="*/ 2778370 h 7571038"/>
                  <a:gd name="connsiteX8453" fmla="*/ 2973483 w 4381952"/>
                  <a:gd name="connsiteY8453" fmla="*/ 2763821 h 7571038"/>
                  <a:gd name="connsiteX8454" fmla="*/ 2974719 w 4381952"/>
                  <a:gd name="connsiteY8454" fmla="*/ 2084783 h 7571038"/>
                  <a:gd name="connsiteX8455" fmla="*/ 2963379 w 4381952"/>
                  <a:gd name="connsiteY8455" fmla="*/ 2073441 h 7571038"/>
                  <a:gd name="connsiteX8456" fmla="*/ 2952034 w 4381952"/>
                  <a:gd name="connsiteY8456" fmla="*/ 2084783 h 7571038"/>
                  <a:gd name="connsiteX8457" fmla="*/ 2963379 w 4381952"/>
                  <a:gd name="connsiteY8457" fmla="*/ 2096127 h 7571038"/>
                  <a:gd name="connsiteX8458" fmla="*/ 2974719 w 4381952"/>
                  <a:gd name="connsiteY8458" fmla="*/ 2084783 h 7571038"/>
                  <a:gd name="connsiteX8459" fmla="*/ 2976688 w 4381952"/>
                  <a:gd name="connsiteY8459" fmla="*/ 1842957 h 7571038"/>
                  <a:gd name="connsiteX8460" fmla="*/ 2968061 w 4381952"/>
                  <a:gd name="connsiteY8460" fmla="*/ 1834323 h 7571038"/>
                  <a:gd name="connsiteX8461" fmla="*/ 2959430 w 4381952"/>
                  <a:gd name="connsiteY8461" fmla="*/ 1842957 h 7571038"/>
                  <a:gd name="connsiteX8462" fmla="*/ 2968061 w 4381952"/>
                  <a:gd name="connsiteY8462" fmla="*/ 1851581 h 7571038"/>
                  <a:gd name="connsiteX8463" fmla="*/ 2976688 w 4381952"/>
                  <a:gd name="connsiteY8463" fmla="*/ 1842957 h 7571038"/>
                  <a:gd name="connsiteX8464" fmla="*/ 2979896 w 4381952"/>
                  <a:gd name="connsiteY8464" fmla="*/ 4497472 h 7571038"/>
                  <a:gd name="connsiteX8465" fmla="*/ 2941431 w 4381952"/>
                  <a:gd name="connsiteY8465" fmla="*/ 4459006 h 7571038"/>
                  <a:gd name="connsiteX8466" fmla="*/ 2902965 w 4381952"/>
                  <a:gd name="connsiteY8466" fmla="*/ 4497472 h 7571038"/>
                  <a:gd name="connsiteX8467" fmla="*/ 2941431 w 4381952"/>
                  <a:gd name="connsiteY8467" fmla="*/ 4535938 h 7571038"/>
                  <a:gd name="connsiteX8468" fmla="*/ 2979896 w 4381952"/>
                  <a:gd name="connsiteY8468" fmla="*/ 4497472 h 7571038"/>
                  <a:gd name="connsiteX8469" fmla="*/ 2979897 w 4381952"/>
                  <a:gd name="connsiteY8469" fmla="*/ 5345198 h 7571038"/>
                  <a:gd name="connsiteX8470" fmla="*/ 2979648 w 4381952"/>
                  <a:gd name="connsiteY8470" fmla="*/ 5344952 h 7571038"/>
                  <a:gd name="connsiteX8471" fmla="*/ 2979401 w 4381952"/>
                  <a:gd name="connsiteY8471" fmla="*/ 5345198 h 7571038"/>
                  <a:gd name="connsiteX8472" fmla="*/ 2979648 w 4381952"/>
                  <a:gd name="connsiteY8472" fmla="*/ 5345447 h 7571038"/>
                  <a:gd name="connsiteX8473" fmla="*/ 2979897 w 4381952"/>
                  <a:gd name="connsiteY8473" fmla="*/ 5345198 h 7571038"/>
                  <a:gd name="connsiteX8474" fmla="*/ 2979899 w 4381952"/>
                  <a:gd name="connsiteY8474" fmla="*/ 4624706 h 7571038"/>
                  <a:gd name="connsiteX8475" fmla="*/ 2949075 w 4381952"/>
                  <a:gd name="connsiteY8475" fmla="*/ 4593884 h 7571038"/>
                  <a:gd name="connsiteX8476" fmla="*/ 2918253 w 4381952"/>
                  <a:gd name="connsiteY8476" fmla="*/ 4624706 h 7571038"/>
                  <a:gd name="connsiteX8477" fmla="*/ 2949075 w 4381952"/>
                  <a:gd name="connsiteY8477" fmla="*/ 4655529 h 7571038"/>
                  <a:gd name="connsiteX8478" fmla="*/ 2979899 w 4381952"/>
                  <a:gd name="connsiteY8478" fmla="*/ 4624706 h 7571038"/>
                  <a:gd name="connsiteX8479" fmla="*/ 2980141 w 4381952"/>
                  <a:gd name="connsiteY8479" fmla="*/ 2625499 h 7571038"/>
                  <a:gd name="connsiteX8480" fmla="*/ 2973733 w 4381952"/>
                  <a:gd name="connsiteY8480" fmla="*/ 2619087 h 7571038"/>
                  <a:gd name="connsiteX8481" fmla="*/ 2967320 w 4381952"/>
                  <a:gd name="connsiteY8481" fmla="*/ 2625499 h 7571038"/>
                  <a:gd name="connsiteX8482" fmla="*/ 2973733 w 4381952"/>
                  <a:gd name="connsiteY8482" fmla="*/ 2631909 h 7571038"/>
                  <a:gd name="connsiteX8483" fmla="*/ 2980141 w 4381952"/>
                  <a:gd name="connsiteY8483" fmla="*/ 2625499 h 7571038"/>
                  <a:gd name="connsiteX8484" fmla="*/ 2981620 w 4381952"/>
                  <a:gd name="connsiteY8484" fmla="*/ 5461828 h 7571038"/>
                  <a:gd name="connsiteX8485" fmla="*/ 2981375 w 4381952"/>
                  <a:gd name="connsiteY8485" fmla="*/ 5461581 h 7571038"/>
                  <a:gd name="connsiteX8486" fmla="*/ 2981129 w 4381952"/>
                  <a:gd name="connsiteY8486" fmla="*/ 5461828 h 7571038"/>
                  <a:gd name="connsiteX8487" fmla="*/ 2981375 w 4381952"/>
                  <a:gd name="connsiteY8487" fmla="*/ 5462077 h 7571038"/>
                  <a:gd name="connsiteX8488" fmla="*/ 2981620 w 4381952"/>
                  <a:gd name="connsiteY8488" fmla="*/ 5461828 h 7571038"/>
                  <a:gd name="connsiteX8489" fmla="*/ 2981622 w 4381952"/>
                  <a:gd name="connsiteY8489" fmla="*/ 4366786 h 7571038"/>
                  <a:gd name="connsiteX8490" fmla="*/ 2931813 w 4381952"/>
                  <a:gd name="connsiteY8490" fmla="*/ 4317224 h 7571038"/>
                  <a:gd name="connsiteX8491" fmla="*/ 2882252 w 4381952"/>
                  <a:gd name="connsiteY8491" fmla="*/ 4366786 h 7571038"/>
                  <a:gd name="connsiteX8492" fmla="*/ 2931813 w 4381952"/>
                  <a:gd name="connsiteY8492" fmla="*/ 4416595 h 7571038"/>
                  <a:gd name="connsiteX8493" fmla="*/ 2981622 w 4381952"/>
                  <a:gd name="connsiteY8493" fmla="*/ 4366786 h 7571038"/>
                  <a:gd name="connsiteX8494" fmla="*/ 2982117 w 4381952"/>
                  <a:gd name="connsiteY8494" fmla="*/ 1962990 h 7571038"/>
                  <a:gd name="connsiteX8495" fmla="*/ 2966087 w 4381952"/>
                  <a:gd name="connsiteY8495" fmla="*/ 1946968 h 7571038"/>
                  <a:gd name="connsiteX8496" fmla="*/ 2950061 w 4381952"/>
                  <a:gd name="connsiteY8496" fmla="*/ 1962990 h 7571038"/>
                  <a:gd name="connsiteX8497" fmla="*/ 2966087 w 4381952"/>
                  <a:gd name="connsiteY8497" fmla="*/ 1979013 h 7571038"/>
                  <a:gd name="connsiteX8498" fmla="*/ 2982117 w 4381952"/>
                  <a:gd name="connsiteY8498" fmla="*/ 1962990 h 7571038"/>
                  <a:gd name="connsiteX8499" fmla="*/ 2986801 w 4381952"/>
                  <a:gd name="connsiteY8499" fmla="*/ 5108734 h 7571038"/>
                  <a:gd name="connsiteX8500" fmla="*/ 2974965 w 4381952"/>
                  <a:gd name="connsiteY8500" fmla="*/ 5097144 h 7571038"/>
                  <a:gd name="connsiteX8501" fmla="*/ 2963375 w 4381952"/>
                  <a:gd name="connsiteY8501" fmla="*/ 5108734 h 7571038"/>
                  <a:gd name="connsiteX8502" fmla="*/ 2974965 w 4381952"/>
                  <a:gd name="connsiteY8502" fmla="*/ 5120570 h 7571038"/>
                  <a:gd name="connsiteX8503" fmla="*/ 2986801 w 4381952"/>
                  <a:gd name="connsiteY8503" fmla="*/ 5108734 h 7571038"/>
                  <a:gd name="connsiteX8504" fmla="*/ 2990994 w 4381952"/>
                  <a:gd name="connsiteY8504" fmla="*/ 2491369 h 7571038"/>
                  <a:gd name="connsiteX8505" fmla="*/ 2984828 w 4381952"/>
                  <a:gd name="connsiteY8505" fmla="*/ 2485206 h 7571038"/>
                  <a:gd name="connsiteX8506" fmla="*/ 2978664 w 4381952"/>
                  <a:gd name="connsiteY8506" fmla="*/ 2491369 h 7571038"/>
                  <a:gd name="connsiteX8507" fmla="*/ 2984828 w 4381952"/>
                  <a:gd name="connsiteY8507" fmla="*/ 2497535 h 7571038"/>
                  <a:gd name="connsiteX8508" fmla="*/ 2990994 w 4381952"/>
                  <a:gd name="connsiteY8508" fmla="*/ 2491369 h 7571038"/>
                  <a:gd name="connsiteX8509" fmla="*/ 2991732 w 4381952"/>
                  <a:gd name="connsiteY8509" fmla="*/ 5920458 h 7571038"/>
                  <a:gd name="connsiteX8510" fmla="*/ 2989513 w 4381952"/>
                  <a:gd name="connsiteY8510" fmla="*/ 5918240 h 7571038"/>
                  <a:gd name="connsiteX8511" fmla="*/ 2987294 w 4381952"/>
                  <a:gd name="connsiteY8511" fmla="*/ 5920458 h 7571038"/>
                  <a:gd name="connsiteX8512" fmla="*/ 2989513 w 4381952"/>
                  <a:gd name="connsiteY8512" fmla="*/ 5922676 h 7571038"/>
                  <a:gd name="connsiteX8513" fmla="*/ 2991732 w 4381952"/>
                  <a:gd name="connsiteY8513" fmla="*/ 5920458 h 7571038"/>
                  <a:gd name="connsiteX8514" fmla="*/ 2991978 w 4381952"/>
                  <a:gd name="connsiteY8514" fmla="*/ 6034624 h 7571038"/>
                  <a:gd name="connsiteX8515" fmla="*/ 2988773 w 4381952"/>
                  <a:gd name="connsiteY8515" fmla="*/ 6031419 h 7571038"/>
                  <a:gd name="connsiteX8516" fmla="*/ 2985568 w 4381952"/>
                  <a:gd name="connsiteY8516" fmla="*/ 6034624 h 7571038"/>
                  <a:gd name="connsiteX8517" fmla="*/ 2988773 w 4381952"/>
                  <a:gd name="connsiteY8517" fmla="*/ 6037832 h 7571038"/>
                  <a:gd name="connsiteX8518" fmla="*/ 2991978 w 4381952"/>
                  <a:gd name="connsiteY8518" fmla="*/ 6034624 h 7571038"/>
                  <a:gd name="connsiteX8519" fmla="*/ 2991978 w 4381952"/>
                  <a:gd name="connsiteY8519" fmla="*/ 6260981 h 7571038"/>
                  <a:gd name="connsiteX8520" fmla="*/ 2990006 w 4381952"/>
                  <a:gd name="connsiteY8520" fmla="*/ 6259008 h 7571038"/>
                  <a:gd name="connsiteX8521" fmla="*/ 2988033 w 4381952"/>
                  <a:gd name="connsiteY8521" fmla="*/ 6260981 h 7571038"/>
                  <a:gd name="connsiteX8522" fmla="*/ 2990006 w 4381952"/>
                  <a:gd name="connsiteY8522" fmla="*/ 6262954 h 7571038"/>
                  <a:gd name="connsiteX8523" fmla="*/ 2991978 w 4381952"/>
                  <a:gd name="connsiteY8523" fmla="*/ 6260981 h 7571038"/>
                  <a:gd name="connsiteX8524" fmla="*/ 2992470 w 4381952"/>
                  <a:gd name="connsiteY8524" fmla="*/ 6148049 h 7571038"/>
                  <a:gd name="connsiteX8525" fmla="*/ 2989265 w 4381952"/>
                  <a:gd name="connsiteY8525" fmla="*/ 6144843 h 7571038"/>
                  <a:gd name="connsiteX8526" fmla="*/ 2986059 w 4381952"/>
                  <a:gd name="connsiteY8526" fmla="*/ 6148049 h 7571038"/>
                  <a:gd name="connsiteX8527" fmla="*/ 2989265 w 4381952"/>
                  <a:gd name="connsiteY8527" fmla="*/ 6151256 h 7571038"/>
                  <a:gd name="connsiteX8528" fmla="*/ 2992470 w 4381952"/>
                  <a:gd name="connsiteY8528" fmla="*/ 6148049 h 7571038"/>
                  <a:gd name="connsiteX8529" fmla="*/ 2992718 w 4381952"/>
                  <a:gd name="connsiteY8529" fmla="*/ 5690896 h 7571038"/>
                  <a:gd name="connsiteX8530" fmla="*/ 2989512 w 4381952"/>
                  <a:gd name="connsiteY8530" fmla="*/ 5687690 h 7571038"/>
                  <a:gd name="connsiteX8531" fmla="*/ 2986306 w 4381952"/>
                  <a:gd name="connsiteY8531" fmla="*/ 5690896 h 7571038"/>
                  <a:gd name="connsiteX8532" fmla="*/ 2989512 w 4381952"/>
                  <a:gd name="connsiteY8532" fmla="*/ 5694104 h 7571038"/>
                  <a:gd name="connsiteX8533" fmla="*/ 2992718 w 4381952"/>
                  <a:gd name="connsiteY8533" fmla="*/ 5690896 h 7571038"/>
                  <a:gd name="connsiteX8534" fmla="*/ 2992718 w 4381952"/>
                  <a:gd name="connsiteY8534" fmla="*/ 6373417 h 7571038"/>
                  <a:gd name="connsiteX8535" fmla="*/ 2990254 w 4381952"/>
                  <a:gd name="connsiteY8535" fmla="*/ 6370952 h 7571038"/>
                  <a:gd name="connsiteX8536" fmla="*/ 2987787 w 4381952"/>
                  <a:gd name="connsiteY8536" fmla="*/ 6373417 h 7571038"/>
                  <a:gd name="connsiteX8537" fmla="*/ 2990254 w 4381952"/>
                  <a:gd name="connsiteY8537" fmla="*/ 6375884 h 7571038"/>
                  <a:gd name="connsiteX8538" fmla="*/ 2992718 w 4381952"/>
                  <a:gd name="connsiteY8538" fmla="*/ 6373417 h 7571038"/>
                  <a:gd name="connsiteX8539" fmla="*/ 2992967 w 4381952"/>
                  <a:gd name="connsiteY8539" fmla="*/ 5227333 h 7571038"/>
                  <a:gd name="connsiteX8540" fmla="*/ 2977924 w 4381952"/>
                  <a:gd name="connsiteY8540" fmla="*/ 5212292 h 7571038"/>
                  <a:gd name="connsiteX8541" fmla="*/ 2962883 w 4381952"/>
                  <a:gd name="connsiteY8541" fmla="*/ 5227333 h 7571038"/>
                  <a:gd name="connsiteX8542" fmla="*/ 2977924 w 4381952"/>
                  <a:gd name="connsiteY8542" fmla="*/ 5242376 h 7571038"/>
                  <a:gd name="connsiteX8543" fmla="*/ 2992967 w 4381952"/>
                  <a:gd name="connsiteY8543" fmla="*/ 5227333 h 7571038"/>
                  <a:gd name="connsiteX8544" fmla="*/ 2993210 w 4381952"/>
                  <a:gd name="connsiteY8544" fmla="*/ 5575501 h 7571038"/>
                  <a:gd name="connsiteX8545" fmla="*/ 2988773 w 4381952"/>
                  <a:gd name="connsiteY8545" fmla="*/ 5571061 h 7571038"/>
                  <a:gd name="connsiteX8546" fmla="*/ 2984087 w 4381952"/>
                  <a:gd name="connsiteY8546" fmla="*/ 5575501 h 7571038"/>
                  <a:gd name="connsiteX8547" fmla="*/ 2988773 w 4381952"/>
                  <a:gd name="connsiteY8547" fmla="*/ 5579937 h 7571038"/>
                  <a:gd name="connsiteX8548" fmla="*/ 2993210 w 4381952"/>
                  <a:gd name="connsiteY8548" fmla="*/ 5575501 h 7571038"/>
                  <a:gd name="connsiteX8549" fmla="*/ 2995678 w 4381952"/>
                  <a:gd name="connsiteY8549" fmla="*/ 2361181 h 7571038"/>
                  <a:gd name="connsiteX8550" fmla="*/ 2993211 w 4381952"/>
                  <a:gd name="connsiteY8550" fmla="*/ 2358721 h 7571038"/>
                  <a:gd name="connsiteX8551" fmla="*/ 2990746 w 4381952"/>
                  <a:gd name="connsiteY8551" fmla="*/ 2361181 h 7571038"/>
                  <a:gd name="connsiteX8552" fmla="*/ 2993211 w 4381952"/>
                  <a:gd name="connsiteY8552" fmla="*/ 2363653 h 7571038"/>
                  <a:gd name="connsiteX8553" fmla="*/ 2995678 w 4381952"/>
                  <a:gd name="connsiteY8553" fmla="*/ 2361181 h 7571038"/>
                  <a:gd name="connsiteX8554" fmla="*/ 2996665 w 4381952"/>
                  <a:gd name="connsiteY8554" fmla="*/ 6708761 h 7571038"/>
                  <a:gd name="connsiteX8555" fmla="*/ 2995184 w 4381952"/>
                  <a:gd name="connsiteY8555" fmla="*/ 6707282 h 7571038"/>
                  <a:gd name="connsiteX8556" fmla="*/ 2993705 w 4381952"/>
                  <a:gd name="connsiteY8556" fmla="*/ 6708761 h 7571038"/>
                  <a:gd name="connsiteX8557" fmla="*/ 2995184 w 4381952"/>
                  <a:gd name="connsiteY8557" fmla="*/ 6710242 h 7571038"/>
                  <a:gd name="connsiteX8558" fmla="*/ 2996665 w 4381952"/>
                  <a:gd name="connsiteY8558" fmla="*/ 6708761 h 7571038"/>
                  <a:gd name="connsiteX8559" fmla="*/ 2997650 w 4381952"/>
                  <a:gd name="connsiteY8559" fmla="*/ 5806047 h 7571038"/>
                  <a:gd name="connsiteX8560" fmla="*/ 2989268 w 4381952"/>
                  <a:gd name="connsiteY8560" fmla="*/ 5797664 h 7571038"/>
                  <a:gd name="connsiteX8561" fmla="*/ 2980882 w 4381952"/>
                  <a:gd name="connsiteY8561" fmla="*/ 5806047 h 7571038"/>
                  <a:gd name="connsiteX8562" fmla="*/ 2989268 w 4381952"/>
                  <a:gd name="connsiteY8562" fmla="*/ 5814432 h 7571038"/>
                  <a:gd name="connsiteX8563" fmla="*/ 2997650 w 4381952"/>
                  <a:gd name="connsiteY8563" fmla="*/ 5806047 h 7571038"/>
                  <a:gd name="connsiteX8564" fmla="*/ 2997650 w 4381952"/>
                  <a:gd name="connsiteY8564" fmla="*/ 6484378 h 7571038"/>
                  <a:gd name="connsiteX8565" fmla="*/ 2995678 w 4381952"/>
                  <a:gd name="connsiteY8565" fmla="*/ 6482405 h 7571038"/>
                  <a:gd name="connsiteX8566" fmla="*/ 2993705 w 4381952"/>
                  <a:gd name="connsiteY8566" fmla="*/ 6484378 h 7571038"/>
                  <a:gd name="connsiteX8567" fmla="*/ 2995678 w 4381952"/>
                  <a:gd name="connsiteY8567" fmla="*/ 6486351 h 7571038"/>
                  <a:gd name="connsiteX8568" fmla="*/ 2997650 w 4381952"/>
                  <a:gd name="connsiteY8568" fmla="*/ 6484378 h 7571038"/>
                  <a:gd name="connsiteX8569" fmla="*/ 2997650 w 4381952"/>
                  <a:gd name="connsiteY8569" fmla="*/ 6596570 h 7571038"/>
                  <a:gd name="connsiteX8570" fmla="*/ 2995678 w 4381952"/>
                  <a:gd name="connsiteY8570" fmla="*/ 6594597 h 7571038"/>
                  <a:gd name="connsiteX8571" fmla="*/ 2993705 w 4381952"/>
                  <a:gd name="connsiteY8571" fmla="*/ 6596570 h 7571038"/>
                  <a:gd name="connsiteX8572" fmla="*/ 2995678 w 4381952"/>
                  <a:gd name="connsiteY8572" fmla="*/ 6598543 h 7571038"/>
                  <a:gd name="connsiteX8573" fmla="*/ 2997650 w 4381952"/>
                  <a:gd name="connsiteY8573" fmla="*/ 6596570 h 7571038"/>
                  <a:gd name="connsiteX8574" fmla="*/ 2997650 w 4381952"/>
                  <a:gd name="connsiteY8574" fmla="*/ 6820216 h 7571038"/>
                  <a:gd name="connsiteX8575" fmla="*/ 2995926 w 4381952"/>
                  <a:gd name="connsiteY8575" fmla="*/ 6818488 h 7571038"/>
                  <a:gd name="connsiteX8576" fmla="*/ 2994199 w 4381952"/>
                  <a:gd name="connsiteY8576" fmla="*/ 6820216 h 7571038"/>
                  <a:gd name="connsiteX8577" fmla="*/ 2995926 w 4381952"/>
                  <a:gd name="connsiteY8577" fmla="*/ 6821940 h 7571038"/>
                  <a:gd name="connsiteX8578" fmla="*/ 2997650 w 4381952"/>
                  <a:gd name="connsiteY8578" fmla="*/ 6820216 h 7571038"/>
                  <a:gd name="connsiteX8579" fmla="*/ 2999377 w 4381952"/>
                  <a:gd name="connsiteY8579" fmla="*/ 6931916 h 7571038"/>
                  <a:gd name="connsiteX8580" fmla="*/ 2995924 w 4381952"/>
                  <a:gd name="connsiteY8580" fmla="*/ 6928462 h 7571038"/>
                  <a:gd name="connsiteX8581" fmla="*/ 2992472 w 4381952"/>
                  <a:gd name="connsiteY8581" fmla="*/ 6931916 h 7571038"/>
                  <a:gd name="connsiteX8582" fmla="*/ 2995924 w 4381952"/>
                  <a:gd name="connsiteY8582" fmla="*/ 6935367 h 7571038"/>
                  <a:gd name="connsiteX8583" fmla="*/ 2999377 w 4381952"/>
                  <a:gd name="connsiteY8583" fmla="*/ 6931916 h 7571038"/>
                  <a:gd name="connsiteX8584" fmla="*/ 3000609 w 4381952"/>
                  <a:gd name="connsiteY8584" fmla="*/ 7043119 h 7571038"/>
                  <a:gd name="connsiteX8585" fmla="*/ 2996169 w 4381952"/>
                  <a:gd name="connsiteY8585" fmla="*/ 7038929 h 7571038"/>
                  <a:gd name="connsiteX8586" fmla="*/ 2991978 w 4381952"/>
                  <a:gd name="connsiteY8586" fmla="*/ 7043119 h 7571038"/>
                  <a:gd name="connsiteX8587" fmla="*/ 2996169 w 4381952"/>
                  <a:gd name="connsiteY8587" fmla="*/ 7047311 h 7571038"/>
                  <a:gd name="connsiteX8588" fmla="*/ 3000609 w 4381952"/>
                  <a:gd name="connsiteY8588" fmla="*/ 7043119 h 7571038"/>
                  <a:gd name="connsiteX8589" fmla="*/ 3001598 w 4381952"/>
                  <a:gd name="connsiteY8589" fmla="*/ 4867581 h 7571038"/>
                  <a:gd name="connsiteX8590" fmla="*/ 2967815 w 4381952"/>
                  <a:gd name="connsiteY8590" fmla="*/ 4833801 h 7571038"/>
                  <a:gd name="connsiteX8591" fmla="*/ 2934035 w 4381952"/>
                  <a:gd name="connsiteY8591" fmla="*/ 4867581 h 7571038"/>
                  <a:gd name="connsiteX8592" fmla="*/ 2967815 w 4381952"/>
                  <a:gd name="connsiteY8592" fmla="*/ 4901361 h 7571038"/>
                  <a:gd name="connsiteX8593" fmla="*/ 3001598 w 4381952"/>
                  <a:gd name="connsiteY8593" fmla="*/ 4867581 h 7571038"/>
                  <a:gd name="connsiteX8594" fmla="*/ 3002087 w 4381952"/>
                  <a:gd name="connsiteY8594" fmla="*/ 7154080 h 7571038"/>
                  <a:gd name="connsiteX8595" fmla="*/ 2996664 w 4381952"/>
                  <a:gd name="connsiteY8595" fmla="*/ 7148654 h 7571038"/>
                  <a:gd name="connsiteX8596" fmla="*/ 2991237 w 4381952"/>
                  <a:gd name="connsiteY8596" fmla="*/ 7154080 h 7571038"/>
                  <a:gd name="connsiteX8597" fmla="*/ 2996664 w 4381952"/>
                  <a:gd name="connsiteY8597" fmla="*/ 7159504 h 7571038"/>
                  <a:gd name="connsiteX8598" fmla="*/ 3002087 w 4381952"/>
                  <a:gd name="connsiteY8598" fmla="*/ 7154080 h 7571038"/>
                  <a:gd name="connsiteX8599" fmla="*/ 3004062 w 4381952"/>
                  <a:gd name="connsiteY8599" fmla="*/ 3736292 h 7571038"/>
                  <a:gd name="connsiteX8600" fmla="*/ 2980142 w 4381952"/>
                  <a:gd name="connsiteY8600" fmla="*/ 3712375 h 7571038"/>
                  <a:gd name="connsiteX8601" fmla="*/ 2956225 w 4381952"/>
                  <a:gd name="connsiteY8601" fmla="*/ 3736292 h 7571038"/>
                  <a:gd name="connsiteX8602" fmla="*/ 2980142 w 4381952"/>
                  <a:gd name="connsiteY8602" fmla="*/ 3760209 h 7571038"/>
                  <a:gd name="connsiteX8603" fmla="*/ 3004062 w 4381952"/>
                  <a:gd name="connsiteY8603" fmla="*/ 3736292 h 7571038"/>
                  <a:gd name="connsiteX8604" fmla="*/ 3004308 w 4381952"/>
                  <a:gd name="connsiteY8604" fmla="*/ 7375255 h 7571038"/>
                  <a:gd name="connsiteX8605" fmla="*/ 3000363 w 4381952"/>
                  <a:gd name="connsiteY8605" fmla="*/ 7371310 h 7571038"/>
                  <a:gd name="connsiteX8606" fmla="*/ 2996417 w 4381952"/>
                  <a:gd name="connsiteY8606" fmla="*/ 7375255 h 7571038"/>
                  <a:gd name="connsiteX8607" fmla="*/ 3000363 w 4381952"/>
                  <a:gd name="connsiteY8607" fmla="*/ 7379200 h 7571038"/>
                  <a:gd name="connsiteX8608" fmla="*/ 3004308 w 4381952"/>
                  <a:gd name="connsiteY8608" fmla="*/ 7375255 h 7571038"/>
                  <a:gd name="connsiteX8609" fmla="*/ 3004309 w 4381952"/>
                  <a:gd name="connsiteY8609" fmla="*/ 3004968 h 7571038"/>
                  <a:gd name="connsiteX8610" fmla="*/ 3002828 w 4381952"/>
                  <a:gd name="connsiteY8610" fmla="*/ 3003489 h 7571038"/>
                  <a:gd name="connsiteX8611" fmla="*/ 3001349 w 4381952"/>
                  <a:gd name="connsiteY8611" fmla="*/ 3004968 h 7571038"/>
                  <a:gd name="connsiteX8612" fmla="*/ 3002828 w 4381952"/>
                  <a:gd name="connsiteY8612" fmla="*/ 3006447 h 7571038"/>
                  <a:gd name="connsiteX8613" fmla="*/ 3004309 w 4381952"/>
                  <a:gd name="connsiteY8613" fmla="*/ 3004968 h 7571038"/>
                  <a:gd name="connsiteX8614" fmla="*/ 3005540 w 4381952"/>
                  <a:gd name="connsiteY8614" fmla="*/ 7485722 h 7571038"/>
                  <a:gd name="connsiteX8615" fmla="*/ 3000609 w 4381952"/>
                  <a:gd name="connsiteY8615" fmla="*/ 7480790 h 7571038"/>
                  <a:gd name="connsiteX8616" fmla="*/ 2995677 w 4381952"/>
                  <a:gd name="connsiteY8616" fmla="*/ 7485722 h 7571038"/>
                  <a:gd name="connsiteX8617" fmla="*/ 3000609 w 4381952"/>
                  <a:gd name="connsiteY8617" fmla="*/ 7490653 h 7571038"/>
                  <a:gd name="connsiteX8618" fmla="*/ 3005540 w 4381952"/>
                  <a:gd name="connsiteY8618" fmla="*/ 7485722 h 7571038"/>
                  <a:gd name="connsiteX8619" fmla="*/ 3005786 w 4381952"/>
                  <a:gd name="connsiteY8619" fmla="*/ 3275209 h 7571038"/>
                  <a:gd name="connsiteX8620" fmla="*/ 2996418 w 4381952"/>
                  <a:gd name="connsiteY8620" fmla="*/ 3265841 h 7571038"/>
                  <a:gd name="connsiteX8621" fmla="*/ 2987046 w 4381952"/>
                  <a:gd name="connsiteY8621" fmla="*/ 3275209 h 7571038"/>
                  <a:gd name="connsiteX8622" fmla="*/ 2996418 w 4381952"/>
                  <a:gd name="connsiteY8622" fmla="*/ 3284580 h 7571038"/>
                  <a:gd name="connsiteX8623" fmla="*/ 3005786 w 4381952"/>
                  <a:gd name="connsiteY8623" fmla="*/ 3275209 h 7571038"/>
                  <a:gd name="connsiteX8624" fmla="*/ 3006526 w 4381952"/>
                  <a:gd name="connsiteY8624" fmla="*/ 7264049 h 7571038"/>
                  <a:gd name="connsiteX8625" fmla="*/ 3000608 w 4381952"/>
                  <a:gd name="connsiteY8625" fmla="*/ 7257884 h 7571038"/>
                  <a:gd name="connsiteX8626" fmla="*/ 2994445 w 4381952"/>
                  <a:gd name="connsiteY8626" fmla="*/ 7264049 h 7571038"/>
                  <a:gd name="connsiteX8627" fmla="*/ 3000608 w 4381952"/>
                  <a:gd name="connsiteY8627" fmla="*/ 7270216 h 7571038"/>
                  <a:gd name="connsiteX8628" fmla="*/ 3006526 w 4381952"/>
                  <a:gd name="connsiteY8628" fmla="*/ 7264049 h 7571038"/>
                  <a:gd name="connsiteX8629" fmla="*/ 3007266 w 4381952"/>
                  <a:gd name="connsiteY8629" fmla="*/ 4988897 h 7571038"/>
                  <a:gd name="connsiteX8630" fmla="*/ 2971761 w 4381952"/>
                  <a:gd name="connsiteY8630" fmla="*/ 4953390 h 7571038"/>
                  <a:gd name="connsiteX8631" fmla="*/ 2936253 w 4381952"/>
                  <a:gd name="connsiteY8631" fmla="*/ 4988897 h 7571038"/>
                  <a:gd name="connsiteX8632" fmla="*/ 2971761 w 4381952"/>
                  <a:gd name="connsiteY8632" fmla="*/ 5024404 h 7571038"/>
                  <a:gd name="connsiteX8633" fmla="*/ 3007266 w 4381952"/>
                  <a:gd name="connsiteY8633" fmla="*/ 4988897 h 7571038"/>
                  <a:gd name="connsiteX8634" fmla="*/ 3008994 w 4381952"/>
                  <a:gd name="connsiteY8634" fmla="*/ 1724083 h 7571038"/>
                  <a:gd name="connsiteX8635" fmla="*/ 2969293 w 4381952"/>
                  <a:gd name="connsiteY8635" fmla="*/ 1684396 h 7571038"/>
                  <a:gd name="connsiteX8636" fmla="*/ 2929594 w 4381952"/>
                  <a:gd name="connsiteY8636" fmla="*/ 1724083 h 7571038"/>
                  <a:gd name="connsiteX8637" fmla="*/ 2969293 w 4381952"/>
                  <a:gd name="connsiteY8637" fmla="*/ 1763807 h 7571038"/>
                  <a:gd name="connsiteX8638" fmla="*/ 3008994 w 4381952"/>
                  <a:gd name="connsiteY8638" fmla="*/ 1724083 h 7571038"/>
                  <a:gd name="connsiteX8639" fmla="*/ 3008994 w 4381952"/>
                  <a:gd name="connsiteY8639" fmla="*/ 3999635 h 7571038"/>
                  <a:gd name="connsiteX8640" fmla="*/ 2972006 w 4381952"/>
                  <a:gd name="connsiteY8640" fmla="*/ 3962895 h 7571038"/>
                  <a:gd name="connsiteX8641" fmla="*/ 2935266 w 4381952"/>
                  <a:gd name="connsiteY8641" fmla="*/ 3999635 h 7571038"/>
                  <a:gd name="connsiteX8642" fmla="*/ 2972006 w 4381952"/>
                  <a:gd name="connsiteY8642" fmla="*/ 4036623 h 7571038"/>
                  <a:gd name="connsiteX8643" fmla="*/ 3008994 w 4381952"/>
                  <a:gd name="connsiteY8643" fmla="*/ 3999635 h 7571038"/>
                  <a:gd name="connsiteX8644" fmla="*/ 3012936 w 4381952"/>
                  <a:gd name="connsiteY8644" fmla="*/ 4744293 h 7571038"/>
                  <a:gd name="connsiteX8645" fmla="*/ 2963621 w 4381952"/>
                  <a:gd name="connsiteY8645" fmla="*/ 4694978 h 7571038"/>
                  <a:gd name="connsiteX8646" fmla="*/ 2914306 w 4381952"/>
                  <a:gd name="connsiteY8646" fmla="*/ 4744293 h 7571038"/>
                  <a:gd name="connsiteX8647" fmla="*/ 2963621 w 4381952"/>
                  <a:gd name="connsiteY8647" fmla="*/ 4793608 h 7571038"/>
                  <a:gd name="connsiteX8648" fmla="*/ 3012936 w 4381952"/>
                  <a:gd name="connsiteY8648" fmla="*/ 4744293 h 7571038"/>
                  <a:gd name="connsiteX8649" fmla="*/ 3016390 w 4381952"/>
                  <a:gd name="connsiteY8649" fmla="*/ 1606739 h 7571038"/>
                  <a:gd name="connsiteX8650" fmla="*/ 2971266 w 4381952"/>
                  <a:gd name="connsiteY8650" fmla="*/ 1561613 h 7571038"/>
                  <a:gd name="connsiteX8651" fmla="*/ 2926142 w 4381952"/>
                  <a:gd name="connsiteY8651" fmla="*/ 1606739 h 7571038"/>
                  <a:gd name="connsiteX8652" fmla="*/ 2971266 w 4381952"/>
                  <a:gd name="connsiteY8652" fmla="*/ 1651862 h 7571038"/>
                  <a:gd name="connsiteX8653" fmla="*/ 3016390 w 4381952"/>
                  <a:gd name="connsiteY8653" fmla="*/ 1606739 h 7571038"/>
                  <a:gd name="connsiteX8654" fmla="*/ 3017130 w 4381952"/>
                  <a:gd name="connsiteY8654" fmla="*/ 1489629 h 7571038"/>
                  <a:gd name="connsiteX8655" fmla="*/ 2972006 w 4381952"/>
                  <a:gd name="connsiteY8655" fmla="*/ 1444504 h 7571038"/>
                  <a:gd name="connsiteX8656" fmla="*/ 2927130 w 4381952"/>
                  <a:gd name="connsiteY8656" fmla="*/ 1489629 h 7571038"/>
                  <a:gd name="connsiteX8657" fmla="*/ 2972006 w 4381952"/>
                  <a:gd name="connsiteY8657" fmla="*/ 1534755 h 7571038"/>
                  <a:gd name="connsiteX8658" fmla="*/ 3017130 w 4381952"/>
                  <a:gd name="connsiteY8658" fmla="*/ 1489629 h 7571038"/>
                  <a:gd name="connsiteX8659" fmla="*/ 3022800 w 4381952"/>
                  <a:gd name="connsiteY8659" fmla="*/ 21490 h 7571038"/>
                  <a:gd name="connsiteX8660" fmla="*/ 3013879 w 4381952"/>
                  <a:gd name="connsiteY8660" fmla="*/ 0 h 7571038"/>
                  <a:gd name="connsiteX8661" fmla="*/ 2959229 w 4381952"/>
                  <a:gd name="connsiteY8661" fmla="*/ 0 h 7571038"/>
                  <a:gd name="connsiteX8662" fmla="*/ 2950308 w 4381952"/>
                  <a:gd name="connsiteY8662" fmla="*/ 21490 h 7571038"/>
                  <a:gd name="connsiteX8663" fmla="*/ 2986556 w 4381952"/>
                  <a:gd name="connsiteY8663" fmla="*/ 57735 h 7571038"/>
                  <a:gd name="connsiteX8664" fmla="*/ 3022800 w 4381952"/>
                  <a:gd name="connsiteY8664" fmla="*/ 21490 h 7571038"/>
                  <a:gd name="connsiteX8665" fmla="*/ 3023293 w 4381952"/>
                  <a:gd name="connsiteY8665" fmla="*/ 132915 h 7571038"/>
                  <a:gd name="connsiteX8666" fmla="*/ 2986555 w 4381952"/>
                  <a:gd name="connsiteY8666" fmla="*/ 96178 h 7571038"/>
                  <a:gd name="connsiteX8667" fmla="*/ 2949815 w 4381952"/>
                  <a:gd name="connsiteY8667" fmla="*/ 132915 h 7571038"/>
                  <a:gd name="connsiteX8668" fmla="*/ 2986555 w 4381952"/>
                  <a:gd name="connsiteY8668" fmla="*/ 169655 h 7571038"/>
                  <a:gd name="connsiteX8669" fmla="*/ 3023293 w 4381952"/>
                  <a:gd name="connsiteY8669" fmla="*/ 132915 h 7571038"/>
                  <a:gd name="connsiteX8670" fmla="*/ 3023786 w 4381952"/>
                  <a:gd name="connsiteY8670" fmla="*/ 356261 h 7571038"/>
                  <a:gd name="connsiteX8671" fmla="*/ 2987047 w 4381952"/>
                  <a:gd name="connsiteY8671" fmla="*/ 319524 h 7571038"/>
                  <a:gd name="connsiteX8672" fmla="*/ 2950308 w 4381952"/>
                  <a:gd name="connsiteY8672" fmla="*/ 356261 h 7571038"/>
                  <a:gd name="connsiteX8673" fmla="*/ 2987047 w 4381952"/>
                  <a:gd name="connsiteY8673" fmla="*/ 392999 h 7571038"/>
                  <a:gd name="connsiteX8674" fmla="*/ 3023786 w 4381952"/>
                  <a:gd name="connsiteY8674" fmla="*/ 356261 h 7571038"/>
                  <a:gd name="connsiteX8675" fmla="*/ 3023786 w 4381952"/>
                  <a:gd name="connsiteY8675" fmla="*/ 468432 h 7571038"/>
                  <a:gd name="connsiteX8676" fmla="*/ 2987047 w 4381952"/>
                  <a:gd name="connsiteY8676" fmla="*/ 431694 h 7571038"/>
                  <a:gd name="connsiteX8677" fmla="*/ 2950308 w 4381952"/>
                  <a:gd name="connsiteY8677" fmla="*/ 468432 h 7571038"/>
                  <a:gd name="connsiteX8678" fmla="*/ 2987047 w 4381952"/>
                  <a:gd name="connsiteY8678" fmla="*/ 505172 h 7571038"/>
                  <a:gd name="connsiteX8679" fmla="*/ 3023786 w 4381952"/>
                  <a:gd name="connsiteY8679" fmla="*/ 468432 h 7571038"/>
                  <a:gd name="connsiteX8680" fmla="*/ 3026252 w 4381952"/>
                  <a:gd name="connsiteY8680" fmla="*/ 244588 h 7571038"/>
                  <a:gd name="connsiteX8681" fmla="*/ 2987294 w 4381952"/>
                  <a:gd name="connsiteY8681" fmla="*/ 205632 h 7571038"/>
                  <a:gd name="connsiteX8682" fmla="*/ 2948335 w 4381952"/>
                  <a:gd name="connsiteY8682" fmla="*/ 244588 h 7571038"/>
                  <a:gd name="connsiteX8683" fmla="*/ 2987294 w 4381952"/>
                  <a:gd name="connsiteY8683" fmla="*/ 283547 h 7571038"/>
                  <a:gd name="connsiteX8684" fmla="*/ 3026252 w 4381952"/>
                  <a:gd name="connsiteY8684" fmla="*/ 244588 h 7571038"/>
                  <a:gd name="connsiteX8685" fmla="*/ 3026748 w 4381952"/>
                  <a:gd name="connsiteY8685" fmla="*/ 3622867 h 7571038"/>
                  <a:gd name="connsiteX8686" fmla="*/ 3008502 w 4381952"/>
                  <a:gd name="connsiteY8686" fmla="*/ 3604619 h 7571038"/>
                  <a:gd name="connsiteX8687" fmla="*/ 2990253 w 4381952"/>
                  <a:gd name="connsiteY8687" fmla="*/ 3622867 h 7571038"/>
                  <a:gd name="connsiteX8688" fmla="*/ 3008502 w 4381952"/>
                  <a:gd name="connsiteY8688" fmla="*/ 3641113 h 7571038"/>
                  <a:gd name="connsiteX8689" fmla="*/ 3026748 w 4381952"/>
                  <a:gd name="connsiteY8689" fmla="*/ 3622867 h 7571038"/>
                  <a:gd name="connsiteX8690" fmla="*/ 3027734 w 4381952"/>
                  <a:gd name="connsiteY8690" fmla="*/ 3390116 h 7571038"/>
                  <a:gd name="connsiteX8691" fmla="*/ 3016636 w 4381952"/>
                  <a:gd name="connsiteY8691" fmla="*/ 3379019 h 7571038"/>
                  <a:gd name="connsiteX8692" fmla="*/ 3005540 w 4381952"/>
                  <a:gd name="connsiteY8692" fmla="*/ 3390116 h 7571038"/>
                  <a:gd name="connsiteX8693" fmla="*/ 3016636 w 4381952"/>
                  <a:gd name="connsiteY8693" fmla="*/ 3401211 h 7571038"/>
                  <a:gd name="connsiteX8694" fmla="*/ 3027734 w 4381952"/>
                  <a:gd name="connsiteY8694" fmla="*/ 3390116 h 7571038"/>
                  <a:gd name="connsiteX8695" fmla="*/ 3034390 w 4381952"/>
                  <a:gd name="connsiteY8695" fmla="*/ 3506729 h 7571038"/>
                  <a:gd name="connsiteX8696" fmla="*/ 3020581 w 4381952"/>
                  <a:gd name="connsiteY8696" fmla="*/ 3492921 h 7571038"/>
                  <a:gd name="connsiteX8697" fmla="*/ 3006773 w 4381952"/>
                  <a:gd name="connsiteY8697" fmla="*/ 3506729 h 7571038"/>
                  <a:gd name="connsiteX8698" fmla="*/ 3020581 w 4381952"/>
                  <a:gd name="connsiteY8698" fmla="*/ 3520538 h 7571038"/>
                  <a:gd name="connsiteX8699" fmla="*/ 3034390 w 4381952"/>
                  <a:gd name="connsiteY8699" fmla="*/ 3506729 h 7571038"/>
                  <a:gd name="connsiteX8700" fmla="*/ 3036609 w 4381952"/>
                  <a:gd name="connsiteY8700" fmla="*/ 4146843 h 7571038"/>
                  <a:gd name="connsiteX8701" fmla="*/ 2997652 w 4381952"/>
                  <a:gd name="connsiteY8701" fmla="*/ 4107883 h 7571038"/>
                  <a:gd name="connsiteX8702" fmla="*/ 2958692 w 4381952"/>
                  <a:gd name="connsiteY8702" fmla="*/ 4146843 h 7571038"/>
                  <a:gd name="connsiteX8703" fmla="*/ 2997652 w 4381952"/>
                  <a:gd name="connsiteY8703" fmla="*/ 4185800 h 7571038"/>
                  <a:gd name="connsiteX8704" fmla="*/ 3036609 w 4381952"/>
                  <a:gd name="connsiteY8704" fmla="*/ 4146843 h 7571038"/>
                  <a:gd name="connsiteX8705" fmla="*/ 3045733 w 4381952"/>
                  <a:gd name="connsiteY8705" fmla="*/ 2853330 h 7571038"/>
                  <a:gd name="connsiteX8706" fmla="*/ 3032911 w 4381952"/>
                  <a:gd name="connsiteY8706" fmla="*/ 2840508 h 7571038"/>
                  <a:gd name="connsiteX8707" fmla="*/ 3020089 w 4381952"/>
                  <a:gd name="connsiteY8707" fmla="*/ 2853330 h 7571038"/>
                  <a:gd name="connsiteX8708" fmla="*/ 3032911 w 4381952"/>
                  <a:gd name="connsiteY8708" fmla="*/ 2866151 h 7571038"/>
                  <a:gd name="connsiteX8709" fmla="*/ 3045733 w 4381952"/>
                  <a:gd name="connsiteY8709" fmla="*/ 2853330 h 7571038"/>
                  <a:gd name="connsiteX8710" fmla="*/ 3055105 w 4381952"/>
                  <a:gd name="connsiteY8710" fmla="*/ 3109025 h 7571038"/>
                  <a:gd name="connsiteX8711" fmla="*/ 3054856 w 4381952"/>
                  <a:gd name="connsiteY8711" fmla="*/ 3109025 h 7571038"/>
                  <a:gd name="connsiteX8712" fmla="*/ 3054610 w 4381952"/>
                  <a:gd name="connsiteY8712" fmla="*/ 3109025 h 7571038"/>
                  <a:gd name="connsiteX8713" fmla="*/ 3054856 w 4381952"/>
                  <a:gd name="connsiteY8713" fmla="*/ 3109269 h 7571038"/>
                  <a:gd name="connsiteX8714" fmla="*/ 3058305 w 4381952"/>
                  <a:gd name="connsiteY8714" fmla="*/ 2708103 h 7571038"/>
                  <a:gd name="connsiteX8715" fmla="*/ 3054610 w 4381952"/>
                  <a:gd name="connsiteY8715" fmla="*/ 2704404 h 7571038"/>
                  <a:gd name="connsiteX8716" fmla="*/ 3050910 w 4381952"/>
                  <a:gd name="connsiteY8716" fmla="*/ 2708103 h 7571038"/>
                  <a:gd name="connsiteX8717" fmla="*/ 3054610 w 4381952"/>
                  <a:gd name="connsiteY8717" fmla="*/ 2711803 h 7571038"/>
                  <a:gd name="connsiteX8718" fmla="*/ 3058305 w 4381952"/>
                  <a:gd name="connsiteY8718" fmla="*/ 2708103 h 7571038"/>
                  <a:gd name="connsiteX8719" fmla="*/ 3061268 w 4381952"/>
                  <a:gd name="connsiteY8719" fmla="*/ 4288127 h 7571038"/>
                  <a:gd name="connsiteX8720" fmla="*/ 3016636 w 4381952"/>
                  <a:gd name="connsiteY8720" fmla="*/ 4243498 h 7571038"/>
                  <a:gd name="connsiteX8721" fmla="*/ 2972006 w 4381952"/>
                  <a:gd name="connsiteY8721" fmla="*/ 4288127 h 7571038"/>
                  <a:gd name="connsiteX8722" fmla="*/ 3016636 w 4381952"/>
                  <a:gd name="connsiteY8722" fmla="*/ 4332756 h 7571038"/>
                  <a:gd name="connsiteX8723" fmla="*/ 3061268 w 4381952"/>
                  <a:gd name="connsiteY8723" fmla="*/ 4288127 h 7571038"/>
                  <a:gd name="connsiteX8724" fmla="*/ 3064965 w 4381952"/>
                  <a:gd name="connsiteY8724" fmla="*/ 4424240 h 7571038"/>
                  <a:gd name="connsiteX8725" fmla="*/ 3030935 w 4381952"/>
                  <a:gd name="connsiteY8725" fmla="*/ 4390211 h 7571038"/>
                  <a:gd name="connsiteX8726" fmla="*/ 2996909 w 4381952"/>
                  <a:gd name="connsiteY8726" fmla="*/ 4424240 h 7571038"/>
                  <a:gd name="connsiteX8727" fmla="*/ 3030935 w 4381952"/>
                  <a:gd name="connsiteY8727" fmla="*/ 4458266 h 7571038"/>
                  <a:gd name="connsiteX8728" fmla="*/ 3064965 w 4381952"/>
                  <a:gd name="connsiteY8728" fmla="*/ 4424240 h 7571038"/>
                  <a:gd name="connsiteX8729" fmla="*/ 3065705 w 4381952"/>
                  <a:gd name="connsiteY8729" fmla="*/ 3899033 h 7571038"/>
                  <a:gd name="connsiteX8730" fmla="*/ 3030445 w 4381952"/>
                  <a:gd name="connsiteY8730" fmla="*/ 3863771 h 7571038"/>
                  <a:gd name="connsiteX8731" fmla="*/ 2995183 w 4381952"/>
                  <a:gd name="connsiteY8731" fmla="*/ 3899033 h 7571038"/>
                  <a:gd name="connsiteX8732" fmla="*/ 3030445 w 4381952"/>
                  <a:gd name="connsiteY8732" fmla="*/ 3934293 h 7571038"/>
                  <a:gd name="connsiteX8733" fmla="*/ 3065705 w 4381952"/>
                  <a:gd name="connsiteY8733" fmla="*/ 3899033 h 7571038"/>
                  <a:gd name="connsiteX8734" fmla="*/ 3066197 w 4381952"/>
                  <a:gd name="connsiteY8734" fmla="*/ 2273409 h 7571038"/>
                  <a:gd name="connsiteX8735" fmla="*/ 3056583 w 4381952"/>
                  <a:gd name="connsiteY8735" fmla="*/ 2263795 h 7571038"/>
                  <a:gd name="connsiteX8736" fmla="*/ 3046965 w 4381952"/>
                  <a:gd name="connsiteY8736" fmla="*/ 2273409 h 7571038"/>
                  <a:gd name="connsiteX8737" fmla="*/ 3056583 w 4381952"/>
                  <a:gd name="connsiteY8737" fmla="*/ 2283029 h 7571038"/>
                  <a:gd name="connsiteX8738" fmla="*/ 3066197 w 4381952"/>
                  <a:gd name="connsiteY8738" fmla="*/ 2273409 h 7571038"/>
                  <a:gd name="connsiteX8739" fmla="*/ 3072115 w 4381952"/>
                  <a:gd name="connsiteY8739" fmla="*/ 4556650 h 7571038"/>
                  <a:gd name="connsiteX8740" fmla="*/ 3042280 w 4381952"/>
                  <a:gd name="connsiteY8740" fmla="*/ 4526815 h 7571038"/>
                  <a:gd name="connsiteX8741" fmla="*/ 3012444 w 4381952"/>
                  <a:gd name="connsiteY8741" fmla="*/ 4556650 h 7571038"/>
                  <a:gd name="connsiteX8742" fmla="*/ 3042280 w 4381952"/>
                  <a:gd name="connsiteY8742" fmla="*/ 4586485 h 7571038"/>
                  <a:gd name="connsiteX8743" fmla="*/ 3072115 w 4381952"/>
                  <a:gd name="connsiteY8743" fmla="*/ 4556650 h 7571038"/>
                  <a:gd name="connsiteX8744" fmla="*/ 3072363 w 4381952"/>
                  <a:gd name="connsiteY8744" fmla="*/ 2145447 h 7571038"/>
                  <a:gd name="connsiteX8745" fmla="*/ 3062746 w 4381952"/>
                  <a:gd name="connsiteY8745" fmla="*/ 2135827 h 7571038"/>
                  <a:gd name="connsiteX8746" fmla="*/ 3052883 w 4381952"/>
                  <a:gd name="connsiteY8746" fmla="*/ 2145447 h 7571038"/>
                  <a:gd name="connsiteX8747" fmla="*/ 3062746 w 4381952"/>
                  <a:gd name="connsiteY8747" fmla="*/ 2155310 h 7571038"/>
                  <a:gd name="connsiteX8748" fmla="*/ 3072363 w 4381952"/>
                  <a:gd name="connsiteY8748" fmla="*/ 2145447 h 7571038"/>
                  <a:gd name="connsiteX8749" fmla="*/ 3075322 w 4381952"/>
                  <a:gd name="connsiteY8749" fmla="*/ 1165675 h 7571038"/>
                  <a:gd name="connsiteX8750" fmla="*/ 3035621 w 4381952"/>
                  <a:gd name="connsiteY8750" fmla="*/ 1126224 h 7571038"/>
                  <a:gd name="connsiteX8751" fmla="*/ 2995923 w 4381952"/>
                  <a:gd name="connsiteY8751" fmla="*/ 1165675 h 7571038"/>
                  <a:gd name="connsiteX8752" fmla="*/ 3035621 w 4381952"/>
                  <a:gd name="connsiteY8752" fmla="*/ 1205373 h 7571038"/>
                  <a:gd name="connsiteX8753" fmla="*/ 3075322 w 4381952"/>
                  <a:gd name="connsiteY8753" fmla="*/ 1165675 h 7571038"/>
                  <a:gd name="connsiteX8754" fmla="*/ 3077049 w 4381952"/>
                  <a:gd name="connsiteY8754" fmla="*/ 936639 h 7571038"/>
                  <a:gd name="connsiteX8755" fmla="*/ 3037843 w 4381952"/>
                  <a:gd name="connsiteY8755" fmla="*/ 897431 h 7571038"/>
                  <a:gd name="connsiteX8756" fmla="*/ 2998636 w 4381952"/>
                  <a:gd name="connsiteY8756" fmla="*/ 936639 h 7571038"/>
                  <a:gd name="connsiteX8757" fmla="*/ 3037843 w 4381952"/>
                  <a:gd name="connsiteY8757" fmla="*/ 975848 h 7571038"/>
                  <a:gd name="connsiteX8758" fmla="*/ 3077049 w 4381952"/>
                  <a:gd name="connsiteY8758" fmla="*/ 936639 h 7571038"/>
                  <a:gd name="connsiteX8759" fmla="*/ 3078526 w 4381952"/>
                  <a:gd name="connsiteY8759" fmla="*/ 2568299 h 7571038"/>
                  <a:gd name="connsiteX8760" fmla="*/ 3071130 w 4381952"/>
                  <a:gd name="connsiteY8760" fmla="*/ 2560902 h 7571038"/>
                  <a:gd name="connsiteX8761" fmla="*/ 3063731 w 4381952"/>
                  <a:gd name="connsiteY8761" fmla="*/ 2568299 h 7571038"/>
                  <a:gd name="connsiteX8762" fmla="*/ 3071130 w 4381952"/>
                  <a:gd name="connsiteY8762" fmla="*/ 2575695 h 7571038"/>
                  <a:gd name="connsiteX8763" fmla="*/ 3078526 w 4381952"/>
                  <a:gd name="connsiteY8763" fmla="*/ 2568299 h 7571038"/>
                  <a:gd name="connsiteX8764" fmla="*/ 3078773 w 4381952"/>
                  <a:gd name="connsiteY8764" fmla="*/ 1050784 h 7571038"/>
                  <a:gd name="connsiteX8765" fmla="*/ 3036362 w 4381952"/>
                  <a:gd name="connsiteY8765" fmla="*/ 1008375 h 7571038"/>
                  <a:gd name="connsiteX8766" fmla="*/ 2993950 w 4381952"/>
                  <a:gd name="connsiteY8766" fmla="*/ 1050784 h 7571038"/>
                  <a:gd name="connsiteX8767" fmla="*/ 3036362 w 4381952"/>
                  <a:gd name="connsiteY8767" fmla="*/ 1093198 h 7571038"/>
                  <a:gd name="connsiteX8768" fmla="*/ 3078773 w 4381952"/>
                  <a:gd name="connsiteY8768" fmla="*/ 1050784 h 7571038"/>
                  <a:gd name="connsiteX8769" fmla="*/ 3079265 w 4381952"/>
                  <a:gd name="connsiteY8769" fmla="*/ 1397669 h 7571038"/>
                  <a:gd name="connsiteX8770" fmla="*/ 3033649 w 4381952"/>
                  <a:gd name="connsiteY8770" fmla="*/ 1352051 h 7571038"/>
                  <a:gd name="connsiteX8771" fmla="*/ 2988033 w 4381952"/>
                  <a:gd name="connsiteY8771" fmla="*/ 1397669 h 7571038"/>
                  <a:gd name="connsiteX8772" fmla="*/ 3033649 w 4381952"/>
                  <a:gd name="connsiteY8772" fmla="*/ 1443285 h 7571038"/>
                  <a:gd name="connsiteX8773" fmla="*/ 3079265 w 4381952"/>
                  <a:gd name="connsiteY8773" fmla="*/ 1397669 h 7571038"/>
                  <a:gd name="connsiteX8774" fmla="*/ 3080008 w 4381952"/>
                  <a:gd name="connsiteY8774" fmla="*/ 1281299 h 7571038"/>
                  <a:gd name="connsiteX8775" fmla="*/ 3034884 w 4381952"/>
                  <a:gd name="connsiteY8775" fmla="*/ 1236180 h 7571038"/>
                  <a:gd name="connsiteX8776" fmla="*/ 2989759 w 4381952"/>
                  <a:gd name="connsiteY8776" fmla="*/ 1281299 h 7571038"/>
                  <a:gd name="connsiteX8777" fmla="*/ 3034884 w 4381952"/>
                  <a:gd name="connsiteY8777" fmla="*/ 1326420 h 7571038"/>
                  <a:gd name="connsiteX8778" fmla="*/ 3080008 w 4381952"/>
                  <a:gd name="connsiteY8778" fmla="*/ 1281299 h 7571038"/>
                  <a:gd name="connsiteX8779" fmla="*/ 3080994 w 4381952"/>
                  <a:gd name="connsiteY8779" fmla="*/ 595642 h 7571038"/>
                  <a:gd name="connsiteX8780" fmla="*/ 3038583 w 4381952"/>
                  <a:gd name="connsiteY8780" fmla="*/ 553233 h 7571038"/>
                  <a:gd name="connsiteX8781" fmla="*/ 2996171 w 4381952"/>
                  <a:gd name="connsiteY8781" fmla="*/ 595642 h 7571038"/>
                  <a:gd name="connsiteX8782" fmla="*/ 3038583 w 4381952"/>
                  <a:gd name="connsiteY8782" fmla="*/ 638052 h 7571038"/>
                  <a:gd name="connsiteX8783" fmla="*/ 3080994 w 4381952"/>
                  <a:gd name="connsiteY8783" fmla="*/ 595642 h 7571038"/>
                  <a:gd name="connsiteX8784" fmla="*/ 3081240 w 4381952"/>
                  <a:gd name="connsiteY8784" fmla="*/ 708839 h 7571038"/>
                  <a:gd name="connsiteX8785" fmla="*/ 3038334 w 4381952"/>
                  <a:gd name="connsiteY8785" fmla="*/ 665938 h 7571038"/>
                  <a:gd name="connsiteX8786" fmla="*/ 2995431 w 4381952"/>
                  <a:gd name="connsiteY8786" fmla="*/ 708839 h 7571038"/>
                  <a:gd name="connsiteX8787" fmla="*/ 3038334 w 4381952"/>
                  <a:gd name="connsiteY8787" fmla="*/ 751749 h 7571038"/>
                  <a:gd name="connsiteX8788" fmla="*/ 3081240 w 4381952"/>
                  <a:gd name="connsiteY8788" fmla="*/ 708839 h 7571038"/>
                  <a:gd name="connsiteX8789" fmla="*/ 3081486 w 4381952"/>
                  <a:gd name="connsiteY8789" fmla="*/ 1896937 h 7571038"/>
                  <a:gd name="connsiteX8790" fmla="*/ 3071128 w 4381952"/>
                  <a:gd name="connsiteY8790" fmla="*/ 1886583 h 7571038"/>
                  <a:gd name="connsiteX8791" fmla="*/ 3060773 w 4381952"/>
                  <a:gd name="connsiteY8791" fmla="*/ 1896937 h 7571038"/>
                  <a:gd name="connsiteX8792" fmla="*/ 3071128 w 4381952"/>
                  <a:gd name="connsiteY8792" fmla="*/ 1907289 h 7571038"/>
                  <a:gd name="connsiteX8793" fmla="*/ 3081486 w 4381952"/>
                  <a:gd name="connsiteY8793" fmla="*/ 1896937 h 7571038"/>
                  <a:gd name="connsiteX8794" fmla="*/ 3081980 w 4381952"/>
                  <a:gd name="connsiteY8794" fmla="*/ 822740 h 7571038"/>
                  <a:gd name="connsiteX8795" fmla="*/ 3038088 w 4381952"/>
                  <a:gd name="connsiteY8795" fmla="*/ 778849 h 7571038"/>
                  <a:gd name="connsiteX8796" fmla="*/ 2994199 w 4381952"/>
                  <a:gd name="connsiteY8796" fmla="*/ 822740 h 7571038"/>
                  <a:gd name="connsiteX8797" fmla="*/ 3038088 w 4381952"/>
                  <a:gd name="connsiteY8797" fmla="*/ 866631 h 7571038"/>
                  <a:gd name="connsiteX8798" fmla="*/ 3081980 w 4381952"/>
                  <a:gd name="connsiteY8798" fmla="*/ 822740 h 7571038"/>
                  <a:gd name="connsiteX8799" fmla="*/ 3084691 w 4381952"/>
                  <a:gd name="connsiteY8799" fmla="*/ 2020182 h 7571038"/>
                  <a:gd name="connsiteX8800" fmla="*/ 3067431 w 4381952"/>
                  <a:gd name="connsiteY8800" fmla="*/ 2002923 h 7571038"/>
                  <a:gd name="connsiteX8801" fmla="*/ 3050170 w 4381952"/>
                  <a:gd name="connsiteY8801" fmla="*/ 2020182 h 7571038"/>
                  <a:gd name="connsiteX8802" fmla="*/ 3067431 w 4381952"/>
                  <a:gd name="connsiteY8802" fmla="*/ 2037443 h 7571038"/>
                  <a:gd name="connsiteX8803" fmla="*/ 3084691 w 4381952"/>
                  <a:gd name="connsiteY8803" fmla="*/ 2020182 h 7571038"/>
                  <a:gd name="connsiteX8804" fmla="*/ 3087158 w 4381952"/>
                  <a:gd name="connsiteY8804" fmla="*/ 2432937 h 7571038"/>
                  <a:gd name="connsiteX8805" fmla="*/ 3083704 w 4381952"/>
                  <a:gd name="connsiteY8805" fmla="*/ 2429485 h 7571038"/>
                  <a:gd name="connsiteX8806" fmla="*/ 3080254 w 4381952"/>
                  <a:gd name="connsiteY8806" fmla="*/ 2432937 h 7571038"/>
                  <a:gd name="connsiteX8807" fmla="*/ 3083704 w 4381952"/>
                  <a:gd name="connsiteY8807" fmla="*/ 2436392 h 7571038"/>
                  <a:gd name="connsiteX8808" fmla="*/ 3087158 w 4381952"/>
                  <a:gd name="connsiteY8808" fmla="*/ 2432937 h 7571038"/>
                  <a:gd name="connsiteX8809" fmla="*/ 3087158 w 4381952"/>
                  <a:gd name="connsiteY8809" fmla="*/ 5296375 h 7571038"/>
                  <a:gd name="connsiteX8810" fmla="*/ 3084694 w 4381952"/>
                  <a:gd name="connsiteY8810" fmla="*/ 5293910 h 7571038"/>
                  <a:gd name="connsiteX8811" fmla="*/ 3082226 w 4381952"/>
                  <a:gd name="connsiteY8811" fmla="*/ 5296375 h 7571038"/>
                  <a:gd name="connsiteX8812" fmla="*/ 3084694 w 4381952"/>
                  <a:gd name="connsiteY8812" fmla="*/ 5298842 h 7571038"/>
                  <a:gd name="connsiteX8813" fmla="*/ 3087158 w 4381952"/>
                  <a:gd name="connsiteY8813" fmla="*/ 5296375 h 7571038"/>
                  <a:gd name="connsiteX8814" fmla="*/ 3088387 w 4381952"/>
                  <a:gd name="connsiteY8814" fmla="*/ 5415475 h 7571038"/>
                  <a:gd name="connsiteX8815" fmla="*/ 3087650 w 4381952"/>
                  <a:gd name="connsiteY8815" fmla="*/ 5414734 h 7571038"/>
                  <a:gd name="connsiteX8816" fmla="*/ 3086909 w 4381952"/>
                  <a:gd name="connsiteY8816" fmla="*/ 5415475 h 7571038"/>
                  <a:gd name="connsiteX8817" fmla="*/ 3087650 w 4381952"/>
                  <a:gd name="connsiteY8817" fmla="*/ 5416212 h 7571038"/>
                  <a:gd name="connsiteX8818" fmla="*/ 3088387 w 4381952"/>
                  <a:gd name="connsiteY8818" fmla="*/ 5415475 h 7571038"/>
                  <a:gd name="connsiteX8819" fmla="*/ 3094061 w 4381952"/>
                  <a:gd name="connsiteY8819" fmla="*/ 5054733 h 7571038"/>
                  <a:gd name="connsiteX8820" fmla="*/ 3077541 w 4381952"/>
                  <a:gd name="connsiteY8820" fmla="*/ 5038211 h 7571038"/>
                  <a:gd name="connsiteX8821" fmla="*/ 3061018 w 4381952"/>
                  <a:gd name="connsiteY8821" fmla="*/ 5054733 h 7571038"/>
                  <a:gd name="connsiteX8822" fmla="*/ 3077541 w 4381952"/>
                  <a:gd name="connsiteY8822" fmla="*/ 5071251 h 7571038"/>
                  <a:gd name="connsiteX8823" fmla="*/ 3094061 w 4381952"/>
                  <a:gd name="connsiteY8823" fmla="*/ 5054733 h 7571038"/>
                  <a:gd name="connsiteX8824" fmla="*/ 3095789 w 4381952"/>
                  <a:gd name="connsiteY8824" fmla="*/ 3218752 h 7571038"/>
                  <a:gd name="connsiteX8825" fmla="*/ 3093570 w 4381952"/>
                  <a:gd name="connsiteY8825" fmla="*/ 3216286 h 7571038"/>
                  <a:gd name="connsiteX8826" fmla="*/ 3091103 w 4381952"/>
                  <a:gd name="connsiteY8826" fmla="*/ 3218752 h 7571038"/>
                  <a:gd name="connsiteX8827" fmla="*/ 3093570 w 4381952"/>
                  <a:gd name="connsiteY8827" fmla="*/ 3221217 h 7571038"/>
                  <a:gd name="connsiteX8828" fmla="*/ 3095789 w 4381952"/>
                  <a:gd name="connsiteY8828" fmla="*/ 3218752 h 7571038"/>
                  <a:gd name="connsiteX8829" fmla="*/ 3099976 w 4381952"/>
                  <a:gd name="connsiteY8829" fmla="*/ 5176048 h 7571038"/>
                  <a:gd name="connsiteX8830" fmla="*/ 3081977 w 4381952"/>
                  <a:gd name="connsiteY8830" fmla="*/ 5158048 h 7571038"/>
                  <a:gd name="connsiteX8831" fmla="*/ 3063977 w 4381952"/>
                  <a:gd name="connsiteY8831" fmla="*/ 5176048 h 7571038"/>
                  <a:gd name="connsiteX8832" fmla="*/ 3081977 w 4381952"/>
                  <a:gd name="connsiteY8832" fmla="*/ 5194047 h 7571038"/>
                  <a:gd name="connsiteX8833" fmla="*/ 3099976 w 4381952"/>
                  <a:gd name="connsiteY8833" fmla="*/ 5176048 h 7571038"/>
                  <a:gd name="connsiteX8834" fmla="*/ 3100963 w 4381952"/>
                  <a:gd name="connsiteY8834" fmla="*/ 5881255 h 7571038"/>
                  <a:gd name="connsiteX8835" fmla="*/ 3098990 w 4381952"/>
                  <a:gd name="connsiteY8835" fmla="*/ 5879282 h 7571038"/>
                  <a:gd name="connsiteX8836" fmla="*/ 3096772 w 4381952"/>
                  <a:gd name="connsiteY8836" fmla="*/ 5881255 h 7571038"/>
                  <a:gd name="connsiteX8837" fmla="*/ 3098990 w 4381952"/>
                  <a:gd name="connsiteY8837" fmla="*/ 5883473 h 7571038"/>
                  <a:gd name="connsiteX8838" fmla="*/ 3100963 w 4381952"/>
                  <a:gd name="connsiteY8838" fmla="*/ 5881255 h 7571038"/>
                  <a:gd name="connsiteX8839" fmla="*/ 3100966 w 4381952"/>
                  <a:gd name="connsiteY8839" fmla="*/ 5648242 h 7571038"/>
                  <a:gd name="connsiteX8840" fmla="*/ 3098007 w 4381952"/>
                  <a:gd name="connsiteY8840" fmla="*/ 5645282 h 7571038"/>
                  <a:gd name="connsiteX8841" fmla="*/ 3095048 w 4381952"/>
                  <a:gd name="connsiteY8841" fmla="*/ 5648242 h 7571038"/>
                  <a:gd name="connsiteX8842" fmla="*/ 3098007 w 4381952"/>
                  <a:gd name="connsiteY8842" fmla="*/ 5651201 h 7571038"/>
                  <a:gd name="connsiteX8843" fmla="*/ 3100966 w 4381952"/>
                  <a:gd name="connsiteY8843" fmla="*/ 5648242 h 7571038"/>
                  <a:gd name="connsiteX8844" fmla="*/ 3100966 w 4381952"/>
                  <a:gd name="connsiteY8844" fmla="*/ 5530624 h 7571038"/>
                  <a:gd name="connsiteX8845" fmla="*/ 3096281 w 4381952"/>
                  <a:gd name="connsiteY8845" fmla="*/ 5525937 h 7571038"/>
                  <a:gd name="connsiteX8846" fmla="*/ 3091594 w 4381952"/>
                  <a:gd name="connsiteY8846" fmla="*/ 5530624 h 7571038"/>
                  <a:gd name="connsiteX8847" fmla="*/ 3096281 w 4381952"/>
                  <a:gd name="connsiteY8847" fmla="*/ 5535309 h 7571038"/>
                  <a:gd name="connsiteX8848" fmla="*/ 3100966 w 4381952"/>
                  <a:gd name="connsiteY8848" fmla="*/ 5530624 h 7571038"/>
                  <a:gd name="connsiteX8849" fmla="*/ 3101704 w 4381952"/>
                  <a:gd name="connsiteY8849" fmla="*/ 5997144 h 7571038"/>
                  <a:gd name="connsiteX8850" fmla="*/ 3098745 w 4381952"/>
                  <a:gd name="connsiteY8850" fmla="*/ 5994431 h 7571038"/>
                  <a:gd name="connsiteX8851" fmla="*/ 3095786 w 4381952"/>
                  <a:gd name="connsiteY8851" fmla="*/ 5997144 h 7571038"/>
                  <a:gd name="connsiteX8852" fmla="*/ 3098745 w 4381952"/>
                  <a:gd name="connsiteY8852" fmla="*/ 6000102 h 7571038"/>
                  <a:gd name="connsiteX8853" fmla="*/ 3101704 w 4381952"/>
                  <a:gd name="connsiteY8853" fmla="*/ 5997144 h 7571038"/>
                  <a:gd name="connsiteX8854" fmla="*/ 3102199 w 4381952"/>
                  <a:gd name="connsiteY8854" fmla="*/ 6226459 h 7571038"/>
                  <a:gd name="connsiteX8855" fmla="*/ 3100718 w 4381952"/>
                  <a:gd name="connsiteY8855" fmla="*/ 6224980 h 7571038"/>
                  <a:gd name="connsiteX8856" fmla="*/ 3099239 w 4381952"/>
                  <a:gd name="connsiteY8856" fmla="*/ 6226459 h 7571038"/>
                  <a:gd name="connsiteX8857" fmla="*/ 3100718 w 4381952"/>
                  <a:gd name="connsiteY8857" fmla="*/ 6227940 h 7571038"/>
                  <a:gd name="connsiteX8858" fmla="*/ 3102199 w 4381952"/>
                  <a:gd name="connsiteY8858" fmla="*/ 6226459 h 7571038"/>
                  <a:gd name="connsiteX8859" fmla="*/ 3102444 w 4381952"/>
                  <a:gd name="connsiteY8859" fmla="*/ 6112049 h 7571038"/>
                  <a:gd name="connsiteX8860" fmla="*/ 3099485 w 4381952"/>
                  <a:gd name="connsiteY8860" fmla="*/ 6109090 h 7571038"/>
                  <a:gd name="connsiteX8861" fmla="*/ 3096526 w 4381952"/>
                  <a:gd name="connsiteY8861" fmla="*/ 6112049 h 7571038"/>
                  <a:gd name="connsiteX8862" fmla="*/ 3099485 w 4381952"/>
                  <a:gd name="connsiteY8862" fmla="*/ 6115008 h 7571038"/>
                  <a:gd name="connsiteX8863" fmla="*/ 3102444 w 4381952"/>
                  <a:gd name="connsiteY8863" fmla="*/ 6112049 h 7571038"/>
                  <a:gd name="connsiteX8864" fmla="*/ 3103185 w 4381952"/>
                  <a:gd name="connsiteY8864" fmla="*/ 6340378 h 7571038"/>
                  <a:gd name="connsiteX8865" fmla="*/ 3101212 w 4381952"/>
                  <a:gd name="connsiteY8865" fmla="*/ 6338405 h 7571038"/>
                  <a:gd name="connsiteX8866" fmla="*/ 3099239 w 4381952"/>
                  <a:gd name="connsiteY8866" fmla="*/ 6340378 h 7571038"/>
                  <a:gd name="connsiteX8867" fmla="*/ 3101212 w 4381952"/>
                  <a:gd name="connsiteY8867" fmla="*/ 6342350 h 7571038"/>
                  <a:gd name="connsiteX8868" fmla="*/ 3103185 w 4381952"/>
                  <a:gd name="connsiteY8868" fmla="*/ 6340378 h 7571038"/>
                  <a:gd name="connsiteX8869" fmla="*/ 3103679 w 4381952"/>
                  <a:gd name="connsiteY8869" fmla="*/ 4053390 h 7571038"/>
                  <a:gd name="connsiteX8870" fmla="*/ 3066445 w 4381952"/>
                  <a:gd name="connsiteY8870" fmla="*/ 4016156 h 7571038"/>
                  <a:gd name="connsiteX8871" fmla="*/ 3029211 w 4381952"/>
                  <a:gd name="connsiteY8871" fmla="*/ 4053390 h 7571038"/>
                  <a:gd name="connsiteX8872" fmla="*/ 3066445 w 4381952"/>
                  <a:gd name="connsiteY8872" fmla="*/ 4090624 h 7571038"/>
                  <a:gd name="connsiteX8873" fmla="*/ 3103679 w 4381952"/>
                  <a:gd name="connsiteY8873" fmla="*/ 4053390 h 7571038"/>
                  <a:gd name="connsiteX8874" fmla="*/ 3107379 w 4381952"/>
                  <a:gd name="connsiteY8874" fmla="*/ 5765364 h 7571038"/>
                  <a:gd name="connsiteX8875" fmla="*/ 3098253 w 4381952"/>
                  <a:gd name="connsiteY8875" fmla="*/ 5756240 h 7571038"/>
                  <a:gd name="connsiteX8876" fmla="*/ 3089130 w 4381952"/>
                  <a:gd name="connsiteY8876" fmla="*/ 5765364 h 7571038"/>
                  <a:gd name="connsiteX8877" fmla="*/ 3098253 w 4381952"/>
                  <a:gd name="connsiteY8877" fmla="*/ 5774489 h 7571038"/>
                  <a:gd name="connsiteX8878" fmla="*/ 3107379 w 4381952"/>
                  <a:gd name="connsiteY8878" fmla="*/ 5765364 h 7571038"/>
                  <a:gd name="connsiteX8879" fmla="*/ 3108116 w 4381952"/>
                  <a:gd name="connsiteY8879" fmla="*/ 4806680 h 7571038"/>
                  <a:gd name="connsiteX8880" fmla="*/ 3067183 w 4381952"/>
                  <a:gd name="connsiteY8880" fmla="*/ 4765746 h 7571038"/>
                  <a:gd name="connsiteX8881" fmla="*/ 3026252 w 4381952"/>
                  <a:gd name="connsiteY8881" fmla="*/ 4806680 h 7571038"/>
                  <a:gd name="connsiteX8882" fmla="*/ 3067183 w 4381952"/>
                  <a:gd name="connsiteY8882" fmla="*/ 4847609 h 7571038"/>
                  <a:gd name="connsiteX8883" fmla="*/ 3108116 w 4381952"/>
                  <a:gd name="connsiteY8883" fmla="*/ 4806680 h 7571038"/>
                  <a:gd name="connsiteX8884" fmla="*/ 3108362 w 4381952"/>
                  <a:gd name="connsiteY8884" fmla="*/ 2950233 h 7571038"/>
                  <a:gd name="connsiteX8885" fmla="*/ 3096527 w 4381952"/>
                  <a:gd name="connsiteY8885" fmla="*/ 2938398 h 7571038"/>
                  <a:gd name="connsiteX8886" fmla="*/ 3084691 w 4381952"/>
                  <a:gd name="connsiteY8886" fmla="*/ 2950233 h 7571038"/>
                  <a:gd name="connsiteX8887" fmla="*/ 3096527 w 4381952"/>
                  <a:gd name="connsiteY8887" fmla="*/ 2962069 h 7571038"/>
                  <a:gd name="connsiteX8888" fmla="*/ 3108362 w 4381952"/>
                  <a:gd name="connsiteY8888" fmla="*/ 2950233 h 7571038"/>
                  <a:gd name="connsiteX8889" fmla="*/ 3108611 w 4381952"/>
                  <a:gd name="connsiteY8889" fmla="*/ 3791771 h 7571038"/>
                  <a:gd name="connsiteX8890" fmla="*/ 3075814 w 4381952"/>
                  <a:gd name="connsiteY8890" fmla="*/ 3758977 h 7571038"/>
                  <a:gd name="connsiteX8891" fmla="*/ 3043020 w 4381952"/>
                  <a:gd name="connsiteY8891" fmla="*/ 3791771 h 7571038"/>
                  <a:gd name="connsiteX8892" fmla="*/ 3075814 w 4381952"/>
                  <a:gd name="connsiteY8892" fmla="*/ 3824565 h 7571038"/>
                  <a:gd name="connsiteX8893" fmla="*/ 3108611 w 4381952"/>
                  <a:gd name="connsiteY8893" fmla="*/ 3791771 h 7571038"/>
                  <a:gd name="connsiteX8894" fmla="*/ 3109347 w 4381952"/>
                  <a:gd name="connsiteY8894" fmla="*/ 6452079 h 7571038"/>
                  <a:gd name="connsiteX8895" fmla="*/ 3107624 w 4381952"/>
                  <a:gd name="connsiteY8895" fmla="*/ 6450351 h 7571038"/>
                  <a:gd name="connsiteX8896" fmla="*/ 3105897 w 4381952"/>
                  <a:gd name="connsiteY8896" fmla="*/ 6452079 h 7571038"/>
                  <a:gd name="connsiteX8897" fmla="*/ 3107624 w 4381952"/>
                  <a:gd name="connsiteY8897" fmla="*/ 6453805 h 7571038"/>
                  <a:gd name="connsiteX8898" fmla="*/ 3109347 w 4381952"/>
                  <a:gd name="connsiteY8898" fmla="*/ 6452079 h 7571038"/>
                  <a:gd name="connsiteX8899" fmla="*/ 3109595 w 4381952"/>
                  <a:gd name="connsiteY8899" fmla="*/ 6565258 h 7571038"/>
                  <a:gd name="connsiteX8900" fmla="*/ 3107871 w 4381952"/>
                  <a:gd name="connsiteY8900" fmla="*/ 6563531 h 7571038"/>
                  <a:gd name="connsiteX8901" fmla="*/ 3106144 w 4381952"/>
                  <a:gd name="connsiteY8901" fmla="*/ 6565258 h 7571038"/>
                  <a:gd name="connsiteX8902" fmla="*/ 3107871 w 4381952"/>
                  <a:gd name="connsiteY8902" fmla="*/ 6566982 h 7571038"/>
                  <a:gd name="connsiteX8903" fmla="*/ 3109595 w 4381952"/>
                  <a:gd name="connsiteY8903" fmla="*/ 6565258 h 7571038"/>
                  <a:gd name="connsiteX8904" fmla="*/ 3109598 w 4381952"/>
                  <a:gd name="connsiteY8904" fmla="*/ 6791119 h 7571038"/>
                  <a:gd name="connsiteX8905" fmla="*/ 3108117 w 4381952"/>
                  <a:gd name="connsiteY8905" fmla="*/ 6789639 h 7571038"/>
                  <a:gd name="connsiteX8906" fmla="*/ 3106638 w 4381952"/>
                  <a:gd name="connsiteY8906" fmla="*/ 6791119 h 7571038"/>
                  <a:gd name="connsiteX8907" fmla="*/ 3108117 w 4381952"/>
                  <a:gd name="connsiteY8907" fmla="*/ 6792600 h 7571038"/>
                  <a:gd name="connsiteX8908" fmla="*/ 3109598 w 4381952"/>
                  <a:gd name="connsiteY8908" fmla="*/ 6791119 h 7571038"/>
                  <a:gd name="connsiteX8909" fmla="*/ 3110088 w 4381952"/>
                  <a:gd name="connsiteY8909" fmla="*/ 4678950 h 7571038"/>
                  <a:gd name="connsiteX8910" fmla="*/ 3060525 w 4381952"/>
                  <a:gd name="connsiteY8910" fmla="*/ 4629388 h 7571038"/>
                  <a:gd name="connsiteX8911" fmla="*/ 3010963 w 4381952"/>
                  <a:gd name="connsiteY8911" fmla="*/ 4678950 h 7571038"/>
                  <a:gd name="connsiteX8912" fmla="*/ 3060525 w 4381952"/>
                  <a:gd name="connsiteY8912" fmla="*/ 4728513 h 7571038"/>
                  <a:gd name="connsiteX8913" fmla="*/ 3110088 w 4381952"/>
                  <a:gd name="connsiteY8913" fmla="*/ 4678950 h 7571038"/>
                  <a:gd name="connsiteX8914" fmla="*/ 3110582 w 4381952"/>
                  <a:gd name="connsiteY8914" fmla="*/ 6678679 h 7571038"/>
                  <a:gd name="connsiteX8915" fmla="*/ 3107376 w 4381952"/>
                  <a:gd name="connsiteY8915" fmla="*/ 6675228 h 7571038"/>
                  <a:gd name="connsiteX8916" fmla="*/ 3104170 w 4381952"/>
                  <a:gd name="connsiteY8916" fmla="*/ 6678679 h 7571038"/>
                  <a:gd name="connsiteX8917" fmla="*/ 3107376 w 4381952"/>
                  <a:gd name="connsiteY8917" fmla="*/ 6681887 h 7571038"/>
                  <a:gd name="connsiteX8918" fmla="*/ 3110582 w 4381952"/>
                  <a:gd name="connsiteY8918" fmla="*/ 6678679 h 7571038"/>
                  <a:gd name="connsiteX8919" fmla="*/ 3111816 w 4381952"/>
                  <a:gd name="connsiteY8919" fmla="*/ 6903309 h 7571038"/>
                  <a:gd name="connsiteX8920" fmla="*/ 3108362 w 4381952"/>
                  <a:gd name="connsiteY8920" fmla="*/ 6899856 h 7571038"/>
                  <a:gd name="connsiteX8921" fmla="*/ 3104911 w 4381952"/>
                  <a:gd name="connsiteY8921" fmla="*/ 6903309 h 7571038"/>
                  <a:gd name="connsiteX8922" fmla="*/ 3108362 w 4381952"/>
                  <a:gd name="connsiteY8922" fmla="*/ 6906761 h 7571038"/>
                  <a:gd name="connsiteX8923" fmla="*/ 3111816 w 4381952"/>
                  <a:gd name="connsiteY8923" fmla="*/ 6903309 h 7571038"/>
                  <a:gd name="connsiteX8924" fmla="*/ 3112062 w 4381952"/>
                  <a:gd name="connsiteY8924" fmla="*/ 4931446 h 7571038"/>
                  <a:gd name="connsiteX8925" fmla="*/ 3072856 w 4381952"/>
                  <a:gd name="connsiteY8925" fmla="*/ 4892239 h 7571038"/>
                  <a:gd name="connsiteX8926" fmla="*/ 3033649 w 4381952"/>
                  <a:gd name="connsiteY8926" fmla="*/ 4931446 h 7571038"/>
                  <a:gd name="connsiteX8927" fmla="*/ 3072856 w 4381952"/>
                  <a:gd name="connsiteY8927" fmla="*/ 4970652 h 7571038"/>
                  <a:gd name="connsiteX8928" fmla="*/ 3112062 w 4381952"/>
                  <a:gd name="connsiteY8928" fmla="*/ 4931446 h 7571038"/>
                  <a:gd name="connsiteX8929" fmla="*/ 3113293 w 4381952"/>
                  <a:gd name="connsiteY8929" fmla="*/ 7015501 h 7571038"/>
                  <a:gd name="connsiteX8930" fmla="*/ 3108853 w 4381952"/>
                  <a:gd name="connsiteY8930" fmla="*/ 7011063 h 7571038"/>
                  <a:gd name="connsiteX8931" fmla="*/ 3104417 w 4381952"/>
                  <a:gd name="connsiteY8931" fmla="*/ 7015501 h 7571038"/>
                  <a:gd name="connsiteX8932" fmla="*/ 3108853 w 4381952"/>
                  <a:gd name="connsiteY8932" fmla="*/ 7019941 h 7571038"/>
                  <a:gd name="connsiteX8933" fmla="*/ 3113293 w 4381952"/>
                  <a:gd name="connsiteY8933" fmla="*/ 7015501 h 7571038"/>
                  <a:gd name="connsiteX8934" fmla="*/ 3115020 w 4381952"/>
                  <a:gd name="connsiteY8934" fmla="*/ 7127201 h 7571038"/>
                  <a:gd name="connsiteX8935" fmla="*/ 3109351 w 4381952"/>
                  <a:gd name="connsiteY8935" fmla="*/ 7121529 h 7571038"/>
                  <a:gd name="connsiteX8936" fmla="*/ 3103679 w 4381952"/>
                  <a:gd name="connsiteY8936" fmla="*/ 7127201 h 7571038"/>
                  <a:gd name="connsiteX8937" fmla="*/ 3109351 w 4381952"/>
                  <a:gd name="connsiteY8937" fmla="*/ 7132873 h 7571038"/>
                  <a:gd name="connsiteX8938" fmla="*/ 3115020 w 4381952"/>
                  <a:gd name="connsiteY8938" fmla="*/ 7127201 h 7571038"/>
                  <a:gd name="connsiteX8939" fmla="*/ 3115758 w 4381952"/>
                  <a:gd name="connsiteY8939" fmla="*/ 1774665 h 7571038"/>
                  <a:gd name="connsiteX8940" fmla="*/ 3073596 w 4381952"/>
                  <a:gd name="connsiteY8940" fmla="*/ 1732475 h 7571038"/>
                  <a:gd name="connsiteX8941" fmla="*/ 3031430 w 4381952"/>
                  <a:gd name="connsiteY8941" fmla="*/ 1774665 h 7571038"/>
                  <a:gd name="connsiteX8942" fmla="*/ 3073596 w 4381952"/>
                  <a:gd name="connsiteY8942" fmla="*/ 1816835 h 7571038"/>
                  <a:gd name="connsiteX8943" fmla="*/ 3115758 w 4381952"/>
                  <a:gd name="connsiteY8943" fmla="*/ 1774665 h 7571038"/>
                  <a:gd name="connsiteX8944" fmla="*/ 3117978 w 4381952"/>
                  <a:gd name="connsiteY8944" fmla="*/ 7349611 h 7571038"/>
                  <a:gd name="connsiteX8945" fmla="*/ 3114033 w 4381952"/>
                  <a:gd name="connsiteY8945" fmla="*/ 7345420 h 7571038"/>
                  <a:gd name="connsiteX8946" fmla="*/ 3109842 w 4381952"/>
                  <a:gd name="connsiteY8946" fmla="*/ 7349611 h 7571038"/>
                  <a:gd name="connsiteX8947" fmla="*/ 3114033 w 4381952"/>
                  <a:gd name="connsiteY8947" fmla="*/ 7353803 h 7571038"/>
                  <a:gd name="connsiteX8948" fmla="*/ 3117978 w 4381952"/>
                  <a:gd name="connsiteY8948" fmla="*/ 7349611 h 7571038"/>
                  <a:gd name="connsiteX8949" fmla="*/ 3119459 w 4381952"/>
                  <a:gd name="connsiteY8949" fmla="*/ 7461063 h 7571038"/>
                  <a:gd name="connsiteX8950" fmla="*/ 3114280 w 4381952"/>
                  <a:gd name="connsiteY8950" fmla="*/ 7455886 h 7571038"/>
                  <a:gd name="connsiteX8951" fmla="*/ 3109102 w 4381952"/>
                  <a:gd name="connsiteY8951" fmla="*/ 7461063 h 7571038"/>
                  <a:gd name="connsiteX8952" fmla="*/ 3114280 w 4381952"/>
                  <a:gd name="connsiteY8952" fmla="*/ 7466240 h 7571038"/>
                  <a:gd name="connsiteX8953" fmla="*/ 3119459 w 4381952"/>
                  <a:gd name="connsiteY8953" fmla="*/ 7461063 h 7571038"/>
                  <a:gd name="connsiteX8954" fmla="*/ 3120443 w 4381952"/>
                  <a:gd name="connsiteY8954" fmla="*/ 7238162 h 7571038"/>
                  <a:gd name="connsiteX8955" fmla="*/ 3114034 w 4381952"/>
                  <a:gd name="connsiteY8955" fmla="*/ 7231750 h 7571038"/>
                  <a:gd name="connsiteX8956" fmla="*/ 3107621 w 4381952"/>
                  <a:gd name="connsiteY8956" fmla="*/ 7238162 h 7571038"/>
                  <a:gd name="connsiteX8957" fmla="*/ 3114034 w 4381952"/>
                  <a:gd name="connsiteY8957" fmla="*/ 7244572 h 7571038"/>
                  <a:gd name="connsiteX8958" fmla="*/ 3120443 w 4381952"/>
                  <a:gd name="connsiteY8958" fmla="*/ 7238162 h 7571038"/>
                  <a:gd name="connsiteX8959" fmla="*/ 3122664 w 4381952"/>
                  <a:gd name="connsiteY8959" fmla="*/ 1535495 h 7571038"/>
                  <a:gd name="connsiteX8960" fmla="*/ 3078527 w 4381952"/>
                  <a:gd name="connsiteY8960" fmla="*/ 1491355 h 7571038"/>
                  <a:gd name="connsiteX8961" fmla="*/ 3034388 w 4381952"/>
                  <a:gd name="connsiteY8961" fmla="*/ 1535495 h 7571038"/>
                  <a:gd name="connsiteX8962" fmla="*/ 3078527 w 4381952"/>
                  <a:gd name="connsiteY8962" fmla="*/ 1579631 h 7571038"/>
                  <a:gd name="connsiteX8963" fmla="*/ 3122664 w 4381952"/>
                  <a:gd name="connsiteY8963" fmla="*/ 1535495 h 7571038"/>
                  <a:gd name="connsiteX8964" fmla="*/ 3122910 w 4381952"/>
                  <a:gd name="connsiteY8964" fmla="*/ 1654571 h 7571038"/>
                  <a:gd name="connsiteX8965" fmla="*/ 3076554 w 4381952"/>
                  <a:gd name="connsiteY8965" fmla="*/ 1608217 h 7571038"/>
                  <a:gd name="connsiteX8966" fmla="*/ 3030197 w 4381952"/>
                  <a:gd name="connsiteY8966" fmla="*/ 1654571 h 7571038"/>
                  <a:gd name="connsiteX8967" fmla="*/ 3076554 w 4381952"/>
                  <a:gd name="connsiteY8967" fmla="*/ 1700931 h 7571038"/>
                  <a:gd name="connsiteX8968" fmla="*/ 3122910 w 4381952"/>
                  <a:gd name="connsiteY8968" fmla="*/ 1654571 h 7571038"/>
                  <a:gd name="connsiteX8969" fmla="*/ 3123897 w 4381952"/>
                  <a:gd name="connsiteY8969" fmla="*/ 4201086 h 7571038"/>
                  <a:gd name="connsiteX8970" fmla="*/ 3093322 w 4381952"/>
                  <a:gd name="connsiteY8970" fmla="*/ 4170511 h 7571038"/>
                  <a:gd name="connsiteX8971" fmla="*/ 3062746 w 4381952"/>
                  <a:gd name="connsiteY8971" fmla="*/ 4201086 h 7571038"/>
                  <a:gd name="connsiteX8972" fmla="*/ 3093322 w 4381952"/>
                  <a:gd name="connsiteY8972" fmla="*/ 4231661 h 7571038"/>
                  <a:gd name="connsiteX8973" fmla="*/ 3123897 w 4381952"/>
                  <a:gd name="connsiteY8973" fmla="*/ 4201086 h 7571038"/>
                  <a:gd name="connsiteX8974" fmla="*/ 3128336 w 4381952"/>
                  <a:gd name="connsiteY8974" fmla="*/ 3332418 h 7571038"/>
                  <a:gd name="connsiteX8975" fmla="*/ 3118473 w 4381952"/>
                  <a:gd name="connsiteY8975" fmla="*/ 3322558 h 7571038"/>
                  <a:gd name="connsiteX8976" fmla="*/ 3108610 w 4381952"/>
                  <a:gd name="connsiteY8976" fmla="*/ 3332418 h 7571038"/>
                  <a:gd name="connsiteX8977" fmla="*/ 3118473 w 4381952"/>
                  <a:gd name="connsiteY8977" fmla="*/ 3342282 h 7571038"/>
                  <a:gd name="connsiteX8978" fmla="*/ 3128336 w 4381952"/>
                  <a:gd name="connsiteY8978" fmla="*/ 3332418 h 7571038"/>
                  <a:gd name="connsiteX8979" fmla="*/ 3130309 w 4381952"/>
                  <a:gd name="connsiteY8979" fmla="*/ 2798596 h 7571038"/>
                  <a:gd name="connsiteX8980" fmla="*/ 3127102 w 4381952"/>
                  <a:gd name="connsiteY8980" fmla="*/ 2795145 h 7571038"/>
                  <a:gd name="connsiteX8981" fmla="*/ 3123651 w 4381952"/>
                  <a:gd name="connsiteY8981" fmla="*/ 2798596 h 7571038"/>
                  <a:gd name="connsiteX8982" fmla="*/ 3127102 w 4381952"/>
                  <a:gd name="connsiteY8982" fmla="*/ 2801803 h 7571038"/>
                  <a:gd name="connsiteX8983" fmla="*/ 3130309 w 4381952"/>
                  <a:gd name="connsiteY8983" fmla="*/ 2798596 h 7571038"/>
                  <a:gd name="connsiteX8984" fmla="*/ 3135484 w 4381952"/>
                  <a:gd name="connsiteY8984" fmla="*/ 4343361 h 7571038"/>
                  <a:gd name="connsiteX8985" fmla="*/ 3113540 w 4381952"/>
                  <a:gd name="connsiteY8985" fmla="*/ 4321415 h 7571038"/>
                  <a:gd name="connsiteX8986" fmla="*/ 3091594 w 4381952"/>
                  <a:gd name="connsiteY8986" fmla="*/ 4343361 h 7571038"/>
                  <a:gd name="connsiteX8987" fmla="*/ 3113540 w 4381952"/>
                  <a:gd name="connsiteY8987" fmla="*/ 4365305 h 7571038"/>
                  <a:gd name="connsiteX8988" fmla="*/ 3135484 w 4381952"/>
                  <a:gd name="connsiteY8988" fmla="*/ 4343361 h 7571038"/>
                  <a:gd name="connsiteX8989" fmla="*/ 3136223 w 4381952"/>
                  <a:gd name="connsiteY8989" fmla="*/ 49598 h 7571038"/>
                  <a:gd name="connsiteX8990" fmla="*/ 3099239 w 4381952"/>
                  <a:gd name="connsiteY8990" fmla="*/ 12613 h 7571038"/>
                  <a:gd name="connsiteX8991" fmla="*/ 3062251 w 4381952"/>
                  <a:gd name="connsiteY8991" fmla="*/ 49598 h 7571038"/>
                  <a:gd name="connsiteX8992" fmla="*/ 3099239 w 4381952"/>
                  <a:gd name="connsiteY8992" fmla="*/ 86582 h 7571038"/>
                  <a:gd name="connsiteX8993" fmla="*/ 3136223 w 4381952"/>
                  <a:gd name="connsiteY8993" fmla="*/ 49598 h 7571038"/>
                  <a:gd name="connsiteX8994" fmla="*/ 3136719 w 4381952"/>
                  <a:gd name="connsiteY8994" fmla="*/ 162010 h 7571038"/>
                  <a:gd name="connsiteX8995" fmla="*/ 3099239 w 4381952"/>
                  <a:gd name="connsiteY8995" fmla="*/ 124533 h 7571038"/>
                  <a:gd name="connsiteX8996" fmla="*/ 3061759 w 4381952"/>
                  <a:gd name="connsiteY8996" fmla="*/ 162010 h 7571038"/>
                  <a:gd name="connsiteX8997" fmla="*/ 3099239 w 4381952"/>
                  <a:gd name="connsiteY8997" fmla="*/ 199488 h 7571038"/>
                  <a:gd name="connsiteX8998" fmla="*/ 3136719 w 4381952"/>
                  <a:gd name="connsiteY8998" fmla="*/ 162010 h 7571038"/>
                  <a:gd name="connsiteX8999" fmla="*/ 3136719 w 4381952"/>
                  <a:gd name="connsiteY8999" fmla="*/ 500731 h 7571038"/>
                  <a:gd name="connsiteX9000" fmla="*/ 3098993 w 4381952"/>
                  <a:gd name="connsiteY9000" fmla="*/ 463007 h 7571038"/>
                  <a:gd name="connsiteX9001" fmla="*/ 3061267 w 4381952"/>
                  <a:gd name="connsiteY9001" fmla="*/ 500731 h 7571038"/>
                  <a:gd name="connsiteX9002" fmla="*/ 3098993 w 4381952"/>
                  <a:gd name="connsiteY9002" fmla="*/ 538459 h 7571038"/>
                  <a:gd name="connsiteX9003" fmla="*/ 3136719 w 4381952"/>
                  <a:gd name="connsiteY9003" fmla="*/ 500731 h 7571038"/>
                  <a:gd name="connsiteX9004" fmla="*/ 3136965 w 4381952"/>
                  <a:gd name="connsiteY9004" fmla="*/ 387331 h 7571038"/>
                  <a:gd name="connsiteX9005" fmla="*/ 3099240 w 4381952"/>
                  <a:gd name="connsiteY9005" fmla="*/ 349607 h 7571038"/>
                  <a:gd name="connsiteX9006" fmla="*/ 3061514 w 4381952"/>
                  <a:gd name="connsiteY9006" fmla="*/ 387331 h 7571038"/>
                  <a:gd name="connsiteX9007" fmla="*/ 3099240 w 4381952"/>
                  <a:gd name="connsiteY9007" fmla="*/ 425058 h 7571038"/>
                  <a:gd name="connsiteX9008" fmla="*/ 3136965 w 4381952"/>
                  <a:gd name="connsiteY9008" fmla="*/ 387331 h 7571038"/>
                  <a:gd name="connsiteX9009" fmla="*/ 3138200 w 4381952"/>
                  <a:gd name="connsiteY9009" fmla="*/ 3679827 h 7571038"/>
                  <a:gd name="connsiteX9010" fmla="*/ 3107870 w 4381952"/>
                  <a:gd name="connsiteY9010" fmla="*/ 3649497 h 7571038"/>
                  <a:gd name="connsiteX9011" fmla="*/ 3077541 w 4381952"/>
                  <a:gd name="connsiteY9011" fmla="*/ 3679827 h 7571038"/>
                  <a:gd name="connsiteX9012" fmla="*/ 3107870 w 4381952"/>
                  <a:gd name="connsiteY9012" fmla="*/ 3710153 h 7571038"/>
                  <a:gd name="connsiteX9013" fmla="*/ 3138200 w 4381952"/>
                  <a:gd name="connsiteY9013" fmla="*/ 3679827 h 7571038"/>
                  <a:gd name="connsiteX9014" fmla="*/ 3139430 w 4381952"/>
                  <a:gd name="connsiteY9014" fmla="*/ 274670 h 7571038"/>
                  <a:gd name="connsiteX9015" fmla="*/ 3099485 w 4381952"/>
                  <a:gd name="connsiteY9015" fmla="*/ 234728 h 7571038"/>
                  <a:gd name="connsiteX9016" fmla="*/ 3059540 w 4381952"/>
                  <a:gd name="connsiteY9016" fmla="*/ 274670 h 7571038"/>
                  <a:gd name="connsiteX9017" fmla="*/ 3099485 w 4381952"/>
                  <a:gd name="connsiteY9017" fmla="*/ 314615 h 7571038"/>
                  <a:gd name="connsiteX9018" fmla="*/ 3139430 w 4381952"/>
                  <a:gd name="connsiteY9018" fmla="*/ 274670 h 7571038"/>
                  <a:gd name="connsiteX9019" fmla="*/ 3147076 w 4381952"/>
                  <a:gd name="connsiteY9019" fmla="*/ 3448313 h 7571038"/>
                  <a:gd name="connsiteX9020" fmla="*/ 3129074 w 4381952"/>
                  <a:gd name="connsiteY9020" fmla="*/ 3430315 h 7571038"/>
                  <a:gd name="connsiteX9021" fmla="*/ 3111075 w 4381952"/>
                  <a:gd name="connsiteY9021" fmla="*/ 3448313 h 7571038"/>
                  <a:gd name="connsiteX9022" fmla="*/ 3129074 w 4381952"/>
                  <a:gd name="connsiteY9022" fmla="*/ 3466291 h 7571038"/>
                  <a:gd name="connsiteX9023" fmla="*/ 3147076 w 4381952"/>
                  <a:gd name="connsiteY9023" fmla="*/ 3448313 h 7571038"/>
                  <a:gd name="connsiteX9024" fmla="*/ 3151513 w 4381952"/>
                  <a:gd name="connsiteY9024" fmla="*/ 3564675 h 7571038"/>
                  <a:gd name="connsiteX9025" fmla="*/ 3125623 w 4381952"/>
                  <a:gd name="connsiteY9025" fmla="*/ 3538785 h 7571038"/>
                  <a:gd name="connsiteX9026" fmla="*/ 3099733 w 4381952"/>
                  <a:gd name="connsiteY9026" fmla="*/ 3564675 h 7571038"/>
                  <a:gd name="connsiteX9027" fmla="*/ 3125623 w 4381952"/>
                  <a:gd name="connsiteY9027" fmla="*/ 3590568 h 7571038"/>
                  <a:gd name="connsiteX9028" fmla="*/ 3151513 w 4381952"/>
                  <a:gd name="connsiteY9028" fmla="*/ 3564675 h 7571038"/>
                  <a:gd name="connsiteX9029" fmla="*/ 3155704 w 4381952"/>
                  <a:gd name="connsiteY9029" fmla="*/ 2345664 h 7571038"/>
                  <a:gd name="connsiteX9030" fmla="*/ 3148308 w 4381952"/>
                  <a:gd name="connsiteY9030" fmla="*/ 2338261 h 7571038"/>
                  <a:gd name="connsiteX9031" fmla="*/ 3140909 w 4381952"/>
                  <a:gd name="connsiteY9031" fmla="*/ 2345664 h 7571038"/>
                  <a:gd name="connsiteX9032" fmla="*/ 3148308 w 4381952"/>
                  <a:gd name="connsiteY9032" fmla="*/ 2353057 h 7571038"/>
                  <a:gd name="connsiteX9033" fmla="*/ 3155704 w 4381952"/>
                  <a:gd name="connsiteY9033" fmla="*/ 2345664 h 7571038"/>
                  <a:gd name="connsiteX9034" fmla="*/ 3158414 w 4381952"/>
                  <a:gd name="connsiteY9034" fmla="*/ 4480951 h 7571038"/>
                  <a:gd name="connsiteX9035" fmla="*/ 3129566 w 4381952"/>
                  <a:gd name="connsiteY9035" fmla="*/ 4452102 h 7571038"/>
                  <a:gd name="connsiteX9036" fmla="*/ 3100717 w 4381952"/>
                  <a:gd name="connsiteY9036" fmla="*/ 4480951 h 7571038"/>
                  <a:gd name="connsiteX9037" fmla="*/ 3129566 w 4381952"/>
                  <a:gd name="connsiteY9037" fmla="*/ 4509799 h 7571038"/>
                  <a:gd name="connsiteX9038" fmla="*/ 3158414 w 4381952"/>
                  <a:gd name="connsiteY9038" fmla="*/ 4480951 h 7571038"/>
                  <a:gd name="connsiteX9039" fmla="*/ 3159157 w 4381952"/>
                  <a:gd name="connsiteY9039" fmla="*/ 3952785 h 7571038"/>
                  <a:gd name="connsiteX9040" fmla="*/ 3124636 w 4381952"/>
                  <a:gd name="connsiteY9040" fmla="*/ 3918264 h 7571038"/>
                  <a:gd name="connsiteX9041" fmla="*/ 3090115 w 4381952"/>
                  <a:gd name="connsiteY9041" fmla="*/ 3952785 h 7571038"/>
                  <a:gd name="connsiteX9042" fmla="*/ 3124636 w 4381952"/>
                  <a:gd name="connsiteY9042" fmla="*/ 3987305 h 7571038"/>
                  <a:gd name="connsiteX9043" fmla="*/ 3159157 w 4381952"/>
                  <a:gd name="connsiteY9043" fmla="*/ 3952785 h 7571038"/>
                  <a:gd name="connsiteX9044" fmla="*/ 3159404 w 4381952"/>
                  <a:gd name="connsiteY9044" fmla="*/ 2652627 h 7571038"/>
                  <a:gd name="connsiteX9045" fmla="*/ 3150033 w 4381952"/>
                  <a:gd name="connsiteY9045" fmla="*/ 2643260 h 7571038"/>
                  <a:gd name="connsiteX9046" fmla="*/ 3140664 w 4381952"/>
                  <a:gd name="connsiteY9046" fmla="*/ 2652627 h 7571038"/>
                  <a:gd name="connsiteX9047" fmla="*/ 3150033 w 4381952"/>
                  <a:gd name="connsiteY9047" fmla="*/ 2661999 h 7571038"/>
                  <a:gd name="connsiteX9048" fmla="*/ 3159404 w 4381952"/>
                  <a:gd name="connsiteY9048" fmla="*/ 2652627 h 7571038"/>
                  <a:gd name="connsiteX9049" fmla="*/ 3161127 w 4381952"/>
                  <a:gd name="connsiteY9049" fmla="*/ 3053797 h 7571038"/>
                  <a:gd name="connsiteX9050" fmla="*/ 3149046 w 4381952"/>
                  <a:gd name="connsiteY9050" fmla="*/ 3041715 h 7571038"/>
                  <a:gd name="connsiteX9051" fmla="*/ 3136964 w 4381952"/>
                  <a:gd name="connsiteY9051" fmla="*/ 3053797 h 7571038"/>
                  <a:gd name="connsiteX9052" fmla="*/ 3149046 w 4381952"/>
                  <a:gd name="connsiteY9052" fmla="*/ 3065881 h 7571038"/>
                  <a:gd name="connsiteX9053" fmla="*/ 3161127 w 4381952"/>
                  <a:gd name="connsiteY9053" fmla="*/ 3053797 h 7571038"/>
                  <a:gd name="connsiteX9054" fmla="*/ 3165813 w 4381952"/>
                  <a:gd name="connsiteY9054" fmla="*/ 2213505 h 7571038"/>
                  <a:gd name="connsiteX9055" fmla="*/ 3157677 w 4381952"/>
                  <a:gd name="connsiteY9055" fmla="*/ 2205368 h 7571038"/>
                  <a:gd name="connsiteX9056" fmla="*/ 3149540 w 4381952"/>
                  <a:gd name="connsiteY9056" fmla="*/ 2213505 h 7571038"/>
                  <a:gd name="connsiteX9057" fmla="*/ 3157677 w 4381952"/>
                  <a:gd name="connsiteY9057" fmla="*/ 2221644 h 7571038"/>
                  <a:gd name="connsiteX9058" fmla="*/ 3165813 w 4381952"/>
                  <a:gd name="connsiteY9058" fmla="*/ 2213505 h 7571038"/>
                  <a:gd name="connsiteX9059" fmla="*/ 3169512 w 4381952"/>
                  <a:gd name="connsiteY9059" fmla="*/ 2511839 h 7571038"/>
                  <a:gd name="connsiteX9060" fmla="*/ 3168034 w 4381952"/>
                  <a:gd name="connsiteY9060" fmla="*/ 2510360 h 7571038"/>
                  <a:gd name="connsiteX9061" fmla="*/ 3166553 w 4381952"/>
                  <a:gd name="connsiteY9061" fmla="*/ 2511839 h 7571038"/>
                  <a:gd name="connsiteX9062" fmla="*/ 3168034 w 4381952"/>
                  <a:gd name="connsiteY9062" fmla="*/ 2513320 h 7571038"/>
                  <a:gd name="connsiteX9063" fmla="*/ 3169512 w 4381952"/>
                  <a:gd name="connsiteY9063" fmla="*/ 2511839 h 7571038"/>
                  <a:gd name="connsiteX9064" fmla="*/ 3182829 w 4381952"/>
                  <a:gd name="connsiteY9064" fmla="*/ 1956838 h 7571038"/>
                  <a:gd name="connsiteX9065" fmla="*/ 3170252 w 4381952"/>
                  <a:gd name="connsiteY9065" fmla="*/ 1944266 h 7571038"/>
                  <a:gd name="connsiteX9066" fmla="*/ 3157676 w 4381952"/>
                  <a:gd name="connsiteY9066" fmla="*/ 1956838 h 7571038"/>
                  <a:gd name="connsiteX9067" fmla="*/ 3170252 w 4381952"/>
                  <a:gd name="connsiteY9067" fmla="*/ 1969407 h 7571038"/>
                  <a:gd name="connsiteX9068" fmla="*/ 3182829 w 4381952"/>
                  <a:gd name="connsiteY9068" fmla="*/ 1956838 h 7571038"/>
                  <a:gd name="connsiteX9069" fmla="*/ 3183320 w 4381952"/>
                  <a:gd name="connsiteY9069" fmla="*/ 2084054 h 7571038"/>
                  <a:gd name="connsiteX9070" fmla="*/ 3164580 w 4381952"/>
                  <a:gd name="connsiteY9070" fmla="*/ 2065312 h 7571038"/>
                  <a:gd name="connsiteX9071" fmla="*/ 3145841 w 4381952"/>
                  <a:gd name="connsiteY9071" fmla="*/ 2084054 h 7571038"/>
                  <a:gd name="connsiteX9072" fmla="*/ 3164580 w 4381952"/>
                  <a:gd name="connsiteY9072" fmla="*/ 2102795 h 7571038"/>
                  <a:gd name="connsiteX9073" fmla="*/ 3183320 w 4381952"/>
                  <a:gd name="connsiteY9073" fmla="*/ 2084054 h 7571038"/>
                  <a:gd name="connsiteX9074" fmla="*/ 3184556 w 4381952"/>
                  <a:gd name="connsiteY9074" fmla="*/ 1208825 h 7571038"/>
                  <a:gd name="connsiteX9075" fmla="*/ 3143870 w 4381952"/>
                  <a:gd name="connsiteY9075" fmla="*/ 1168139 h 7571038"/>
                  <a:gd name="connsiteX9076" fmla="*/ 3102938 w 4381952"/>
                  <a:gd name="connsiteY9076" fmla="*/ 1208825 h 7571038"/>
                  <a:gd name="connsiteX9077" fmla="*/ 3143870 w 4381952"/>
                  <a:gd name="connsiteY9077" fmla="*/ 1249510 h 7571038"/>
                  <a:gd name="connsiteX9078" fmla="*/ 3184556 w 4381952"/>
                  <a:gd name="connsiteY9078" fmla="*/ 1208825 h 7571038"/>
                  <a:gd name="connsiteX9079" fmla="*/ 3185539 w 4381952"/>
                  <a:gd name="connsiteY9079" fmla="*/ 4106896 h 7571038"/>
                  <a:gd name="connsiteX9080" fmla="*/ 3160881 w 4381952"/>
                  <a:gd name="connsiteY9080" fmla="*/ 4082238 h 7571038"/>
                  <a:gd name="connsiteX9081" fmla="*/ 3136224 w 4381952"/>
                  <a:gd name="connsiteY9081" fmla="*/ 4106896 h 7571038"/>
                  <a:gd name="connsiteX9082" fmla="*/ 3160881 w 4381952"/>
                  <a:gd name="connsiteY9082" fmla="*/ 4131553 h 7571038"/>
                  <a:gd name="connsiteX9083" fmla="*/ 3185539 w 4381952"/>
                  <a:gd name="connsiteY9083" fmla="*/ 4106896 h 7571038"/>
                  <a:gd name="connsiteX9084" fmla="*/ 3186280 w 4381952"/>
                  <a:gd name="connsiteY9084" fmla="*/ 1444766 h 7571038"/>
                  <a:gd name="connsiteX9085" fmla="*/ 3140419 w 4381952"/>
                  <a:gd name="connsiteY9085" fmla="*/ 1398903 h 7571038"/>
                  <a:gd name="connsiteX9086" fmla="*/ 3094553 w 4381952"/>
                  <a:gd name="connsiteY9086" fmla="*/ 1444766 h 7571038"/>
                  <a:gd name="connsiteX9087" fmla="*/ 3140419 w 4381952"/>
                  <a:gd name="connsiteY9087" fmla="*/ 1490629 h 7571038"/>
                  <a:gd name="connsiteX9088" fmla="*/ 3186280 w 4381952"/>
                  <a:gd name="connsiteY9088" fmla="*/ 1444766 h 7571038"/>
                  <a:gd name="connsiteX9089" fmla="*/ 3187269 w 4381952"/>
                  <a:gd name="connsiteY9089" fmla="*/ 976091 h 7571038"/>
                  <a:gd name="connsiteX9090" fmla="*/ 3147076 w 4381952"/>
                  <a:gd name="connsiteY9090" fmla="*/ 935896 h 7571038"/>
                  <a:gd name="connsiteX9091" fmla="*/ 3106883 w 4381952"/>
                  <a:gd name="connsiteY9091" fmla="*/ 976091 h 7571038"/>
                  <a:gd name="connsiteX9092" fmla="*/ 3147076 w 4381952"/>
                  <a:gd name="connsiteY9092" fmla="*/ 1016287 h 7571038"/>
                  <a:gd name="connsiteX9093" fmla="*/ 3187269 w 4381952"/>
                  <a:gd name="connsiteY9093" fmla="*/ 976091 h 7571038"/>
                  <a:gd name="connsiteX9094" fmla="*/ 3187512 w 4381952"/>
                  <a:gd name="connsiteY9094" fmla="*/ 1326172 h 7571038"/>
                  <a:gd name="connsiteX9095" fmla="*/ 3142142 w 4381952"/>
                  <a:gd name="connsiteY9095" fmla="*/ 1280805 h 7571038"/>
                  <a:gd name="connsiteX9096" fmla="*/ 3096772 w 4381952"/>
                  <a:gd name="connsiteY9096" fmla="*/ 1326172 h 7571038"/>
                  <a:gd name="connsiteX9097" fmla="*/ 3142142 w 4381952"/>
                  <a:gd name="connsiteY9097" fmla="*/ 1371548 h 7571038"/>
                  <a:gd name="connsiteX9098" fmla="*/ 3187512 w 4381952"/>
                  <a:gd name="connsiteY9098" fmla="*/ 1326172 h 7571038"/>
                  <a:gd name="connsiteX9099" fmla="*/ 3188501 w 4381952"/>
                  <a:gd name="connsiteY9099" fmla="*/ 1091966 h 7571038"/>
                  <a:gd name="connsiteX9100" fmla="*/ 3145349 w 4381952"/>
                  <a:gd name="connsiteY9100" fmla="*/ 1048811 h 7571038"/>
                  <a:gd name="connsiteX9101" fmla="*/ 3102198 w 4381952"/>
                  <a:gd name="connsiteY9101" fmla="*/ 1091966 h 7571038"/>
                  <a:gd name="connsiteX9102" fmla="*/ 3145349 w 4381952"/>
                  <a:gd name="connsiteY9102" fmla="*/ 1135115 h 7571038"/>
                  <a:gd name="connsiteX9103" fmla="*/ 3188501 w 4381952"/>
                  <a:gd name="connsiteY9103" fmla="*/ 1091966 h 7571038"/>
                  <a:gd name="connsiteX9104" fmla="*/ 3191460 w 4381952"/>
                  <a:gd name="connsiteY9104" fmla="*/ 5241883 h 7571038"/>
                  <a:gd name="connsiteX9105" fmla="*/ 3186775 w 4381952"/>
                  <a:gd name="connsiteY9105" fmla="*/ 5236951 h 7571038"/>
                  <a:gd name="connsiteX9106" fmla="*/ 3181842 w 4381952"/>
                  <a:gd name="connsiteY9106" fmla="*/ 5241883 h 7571038"/>
                  <a:gd name="connsiteX9107" fmla="*/ 3186775 w 4381952"/>
                  <a:gd name="connsiteY9107" fmla="*/ 5246814 h 7571038"/>
                  <a:gd name="connsiteX9108" fmla="*/ 3191460 w 4381952"/>
                  <a:gd name="connsiteY9108" fmla="*/ 5241883 h 7571038"/>
                  <a:gd name="connsiteX9109" fmla="*/ 3191706 w 4381952"/>
                  <a:gd name="connsiteY9109" fmla="*/ 745335 h 7571038"/>
                  <a:gd name="connsiteX9110" fmla="*/ 3148308 w 4381952"/>
                  <a:gd name="connsiteY9110" fmla="*/ 701937 h 7571038"/>
                  <a:gd name="connsiteX9111" fmla="*/ 3104911 w 4381952"/>
                  <a:gd name="connsiteY9111" fmla="*/ 745335 h 7571038"/>
                  <a:gd name="connsiteX9112" fmla="*/ 3148308 w 4381952"/>
                  <a:gd name="connsiteY9112" fmla="*/ 788731 h 7571038"/>
                  <a:gd name="connsiteX9113" fmla="*/ 3191706 w 4381952"/>
                  <a:gd name="connsiteY9113" fmla="*/ 745335 h 7571038"/>
                  <a:gd name="connsiteX9114" fmla="*/ 3191951 w 4381952"/>
                  <a:gd name="connsiteY9114" fmla="*/ 2895748 h 7571038"/>
                  <a:gd name="connsiteX9115" fmla="*/ 3189978 w 4381952"/>
                  <a:gd name="connsiteY9115" fmla="*/ 2893776 h 7571038"/>
                  <a:gd name="connsiteX9116" fmla="*/ 3188005 w 4381952"/>
                  <a:gd name="connsiteY9116" fmla="*/ 2895748 h 7571038"/>
                  <a:gd name="connsiteX9117" fmla="*/ 3189978 w 4381952"/>
                  <a:gd name="connsiteY9117" fmla="*/ 2897721 h 7571038"/>
                  <a:gd name="connsiteX9118" fmla="*/ 3191951 w 4381952"/>
                  <a:gd name="connsiteY9118" fmla="*/ 2895748 h 7571038"/>
                  <a:gd name="connsiteX9119" fmla="*/ 3191952 w 4381952"/>
                  <a:gd name="connsiteY9119" fmla="*/ 630659 h 7571038"/>
                  <a:gd name="connsiteX9120" fmla="*/ 3149049 w 4381952"/>
                  <a:gd name="connsiteY9120" fmla="*/ 587755 h 7571038"/>
                  <a:gd name="connsiteX9121" fmla="*/ 3106144 w 4381952"/>
                  <a:gd name="connsiteY9121" fmla="*/ 630659 h 7571038"/>
                  <a:gd name="connsiteX9122" fmla="*/ 3149049 w 4381952"/>
                  <a:gd name="connsiteY9122" fmla="*/ 673595 h 7571038"/>
                  <a:gd name="connsiteX9123" fmla="*/ 3191952 w 4381952"/>
                  <a:gd name="connsiteY9123" fmla="*/ 630659 h 7571038"/>
                  <a:gd name="connsiteX9124" fmla="*/ 3192197 w 4381952"/>
                  <a:gd name="connsiteY9124" fmla="*/ 860463 h 7571038"/>
                  <a:gd name="connsiteX9125" fmla="*/ 3147814 w 4381952"/>
                  <a:gd name="connsiteY9125" fmla="*/ 816082 h 7571038"/>
                  <a:gd name="connsiteX9126" fmla="*/ 3103430 w 4381952"/>
                  <a:gd name="connsiteY9126" fmla="*/ 860463 h 7571038"/>
                  <a:gd name="connsiteX9127" fmla="*/ 3147814 w 4381952"/>
                  <a:gd name="connsiteY9127" fmla="*/ 904837 h 7571038"/>
                  <a:gd name="connsiteX9128" fmla="*/ 3192197 w 4381952"/>
                  <a:gd name="connsiteY9128" fmla="*/ 860463 h 7571038"/>
                  <a:gd name="connsiteX9129" fmla="*/ 3192200 w 4381952"/>
                  <a:gd name="connsiteY9129" fmla="*/ 5363691 h 7571038"/>
                  <a:gd name="connsiteX9130" fmla="*/ 3190964 w 4381952"/>
                  <a:gd name="connsiteY9130" fmla="*/ 5362459 h 7571038"/>
                  <a:gd name="connsiteX9131" fmla="*/ 3189487 w 4381952"/>
                  <a:gd name="connsiteY9131" fmla="*/ 5363691 h 7571038"/>
                  <a:gd name="connsiteX9132" fmla="*/ 3190964 w 4381952"/>
                  <a:gd name="connsiteY9132" fmla="*/ 5364924 h 7571038"/>
                  <a:gd name="connsiteX9133" fmla="*/ 3192200 w 4381952"/>
                  <a:gd name="connsiteY9133" fmla="*/ 5363691 h 7571038"/>
                  <a:gd name="connsiteX9134" fmla="*/ 3198115 w 4381952"/>
                  <a:gd name="connsiteY9134" fmla="*/ 4994074 h 7571038"/>
                  <a:gd name="connsiteX9135" fmla="*/ 3176665 w 4381952"/>
                  <a:gd name="connsiteY9135" fmla="*/ 4972621 h 7571038"/>
                  <a:gd name="connsiteX9136" fmla="*/ 3155213 w 4381952"/>
                  <a:gd name="connsiteY9136" fmla="*/ 4994074 h 7571038"/>
                  <a:gd name="connsiteX9137" fmla="*/ 3176665 w 4381952"/>
                  <a:gd name="connsiteY9137" fmla="*/ 5015527 h 7571038"/>
                  <a:gd name="connsiteX9138" fmla="*/ 3198115 w 4381952"/>
                  <a:gd name="connsiteY9138" fmla="*/ 4994074 h 7571038"/>
                  <a:gd name="connsiteX9139" fmla="*/ 3200088 w 4381952"/>
                  <a:gd name="connsiteY9139" fmla="*/ 4606460 h 7571038"/>
                  <a:gd name="connsiteX9140" fmla="*/ 3152008 w 4381952"/>
                  <a:gd name="connsiteY9140" fmla="*/ 4558376 h 7571038"/>
                  <a:gd name="connsiteX9141" fmla="*/ 3103925 w 4381952"/>
                  <a:gd name="connsiteY9141" fmla="*/ 4606460 h 7571038"/>
                  <a:gd name="connsiteX9142" fmla="*/ 3152008 w 4381952"/>
                  <a:gd name="connsiteY9142" fmla="*/ 4654540 h 7571038"/>
                  <a:gd name="connsiteX9143" fmla="*/ 3200088 w 4381952"/>
                  <a:gd name="connsiteY9143" fmla="*/ 4606460 h 7571038"/>
                  <a:gd name="connsiteX9144" fmla="*/ 3203292 w 4381952"/>
                  <a:gd name="connsiteY9144" fmla="*/ 3162291 h 7571038"/>
                  <a:gd name="connsiteX9145" fmla="*/ 3189979 w 4381952"/>
                  <a:gd name="connsiteY9145" fmla="*/ 3149223 h 7571038"/>
                  <a:gd name="connsiteX9146" fmla="*/ 3176663 w 4381952"/>
                  <a:gd name="connsiteY9146" fmla="*/ 3162291 h 7571038"/>
                  <a:gd name="connsiteX9147" fmla="*/ 3189979 w 4381952"/>
                  <a:gd name="connsiteY9147" fmla="*/ 3175607 h 7571038"/>
                  <a:gd name="connsiteX9148" fmla="*/ 3203292 w 4381952"/>
                  <a:gd name="connsiteY9148" fmla="*/ 3162291 h 7571038"/>
                  <a:gd name="connsiteX9149" fmla="*/ 3203295 w 4381952"/>
                  <a:gd name="connsiteY9149" fmla="*/ 3846511 h 7571038"/>
                  <a:gd name="connsiteX9150" fmla="*/ 3171485 w 4381952"/>
                  <a:gd name="connsiteY9150" fmla="*/ 3814704 h 7571038"/>
                  <a:gd name="connsiteX9151" fmla="*/ 3139678 w 4381952"/>
                  <a:gd name="connsiteY9151" fmla="*/ 3846511 h 7571038"/>
                  <a:gd name="connsiteX9152" fmla="*/ 3171485 w 4381952"/>
                  <a:gd name="connsiteY9152" fmla="*/ 3878322 h 7571038"/>
                  <a:gd name="connsiteX9153" fmla="*/ 3203295 w 4381952"/>
                  <a:gd name="connsiteY9153" fmla="*/ 3846511 h 7571038"/>
                  <a:gd name="connsiteX9154" fmla="*/ 3203295 w 4381952"/>
                  <a:gd name="connsiteY9154" fmla="*/ 5118843 h 7571038"/>
                  <a:gd name="connsiteX9155" fmla="*/ 3182583 w 4381952"/>
                  <a:gd name="connsiteY9155" fmla="*/ 5098130 h 7571038"/>
                  <a:gd name="connsiteX9156" fmla="*/ 3161870 w 4381952"/>
                  <a:gd name="connsiteY9156" fmla="*/ 5118843 h 7571038"/>
                  <a:gd name="connsiteX9157" fmla="*/ 3182583 w 4381952"/>
                  <a:gd name="connsiteY9157" fmla="*/ 5139555 h 7571038"/>
                  <a:gd name="connsiteX9158" fmla="*/ 3203295 w 4381952"/>
                  <a:gd name="connsiteY9158" fmla="*/ 5118843 h 7571038"/>
                  <a:gd name="connsiteX9159" fmla="*/ 3206500 w 4381952"/>
                  <a:gd name="connsiteY9159" fmla="*/ 5480568 h 7571038"/>
                  <a:gd name="connsiteX9160" fmla="*/ 3201569 w 4381952"/>
                  <a:gd name="connsiteY9160" fmla="*/ 5475390 h 7571038"/>
                  <a:gd name="connsiteX9161" fmla="*/ 3196391 w 4381952"/>
                  <a:gd name="connsiteY9161" fmla="*/ 5480568 h 7571038"/>
                  <a:gd name="connsiteX9162" fmla="*/ 3201569 w 4381952"/>
                  <a:gd name="connsiteY9162" fmla="*/ 5485499 h 7571038"/>
                  <a:gd name="connsiteX9163" fmla="*/ 3206500 w 4381952"/>
                  <a:gd name="connsiteY9163" fmla="*/ 5480568 h 7571038"/>
                  <a:gd name="connsiteX9164" fmla="*/ 3206746 w 4381952"/>
                  <a:gd name="connsiteY9164" fmla="*/ 5600158 h 7571038"/>
                  <a:gd name="connsiteX9165" fmla="*/ 3204033 w 4381952"/>
                  <a:gd name="connsiteY9165" fmla="*/ 5597445 h 7571038"/>
                  <a:gd name="connsiteX9166" fmla="*/ 3201320 w 4381952"/>
                  <a:gd name="connsiteY9166" fmla="*/ 5600158 h 7571038"/>
                  <a:gd name="connsiteX9167" fmla="*/ 3204033 w 4381952"/>
                  <a:gd name="connsiteY9167" fmla="*/ 5602871 h 7571038"/>
                  <a:gd name="connsiteX9168" fmla="*/ 3206746 w 4381952"/>
                  <a:gd name="connsiteY9168" fmla="*/ 5600158 h 7571038"/>
                  <a:gd name="connsiteX9169" fmla="*/ 3208719 w 4381952"/>
                  <a:gd name="connsiteY9169" fmla="*/ 5837609 h 7571038"/>
                  <a:gd name="connsiteX9170" fmla="*/ 3206497 w 4381952"/>
                  <a:gd name="connsiteY9170" fmla="*/ 5835391 h 7571038"/>
                  <a:gd name="connsiteX9171" fmla="*/ 3204279 w 4381952"/>
                  <a:gd name="connsiteY9171" fmla="*/ 5837609 h 7571038"/>
                  <a:gd name="connsiteX9172" fmla="*/ 3206497 w 4381952"/>
                  <a:gd name="connsiteY9172" fmla="*/ 5839827 h 7571038"/>
                  <a:gd name="connsiteX9173" fmla="*/ 3208719 w 4381952"/>
                  <a:gd name="connsiteY9173" fmla="*/ 5837609 h 7571038"/>
                  <a:gd name="connsiteX9174" fmla="*/ 3208720 w 4381952"/>
                  <a:gd name="connsiteY9174" fmla="*/ 4738622 h 7571038"/>
                  <a:gd name="connsiteX9175" fmla="*/ 3161623 w 4381952"/>
                  <a:gd name="connsiteY9175" fmla="*/ 4691525 h 7571038"/>
                  <a:gd name="connsiteX9176" fmla="*/ 3114525 w 4381952"/>
                  <a:gd name="connsiteY9176" fmla="*/ 4738622 h 7571038"/>
                  <a:gd name="connsiteX9177" fmla="*/ 3161623 w 4381952"/>
                  <a:gd name="connsiteY9177" fmla="*/ 4785719 h 7571038"/>
                  <a:gd name="connsiteX9178" fmla="*/ 3208720 w 4381952"/>
                  <a:gd name="connsiteY9178" fmla="*/ 4738622 h 7571038"/>
                  <a:gd name="connsiteX9179" fmla="*/ 3208965 w 4381952"/>
                  <a:gd name="connsiteY9179" fmla="*/ 4255088 h 7571038"/>
                  <a:gd name="connsiteX9180" fmla="*/ 3188499 w 4381952"/>
                  <a:gd name="connsiteY9180" fmla="*/ 4234375 h 7571038"/>
                  <a:gd name="connsiteX9181" fmla="*/ 3167786 w 4381952"/>
                  <a:gd name="connsiteY9181" fmla="*/ 4255088 h 7571038"/>
                  <a:gd name="connsiteX9182" fmla="*/ 3188499 w 4381952"/>
                  <a:gd name="connsiteY9182" fmla="*/ 4275800 h 7571038"/>
                  <a:gd name="connsiteX9183" fmla="*/ 3208965 w 4381952"/>
                  <a:gd name="connsiteY9183" fmla="*/ 4255088 h 7571038"/>
                  <a:gd name="connsiteX9184" fmla="*/ 3209460 w 4381952"/>
                  <a:gd name="connsiteY9184" fmla="*/ 5955227 h 7571038"/>
                  <a:gd name="connsiteX9185" fmla="*/ 3206746 w 4381952"/>
                  <a:gd name="connsiteY9185" fmla="*/ 5952515 h 7571038"/>
                  <a:gd name="connsiteX9186" fmla="*/ 3204033 w 4381952"/>
                  <a:gd name="connsiteY9186" fmla="*/ 5955227 h 7571038"/>
                  <a:gd name="connsiteX9187" fmla="*/ 3206746 w 4381952"/>
                  <a:gd name="connsiteY9187" fmla="*/ 5957938 h 7571038"/>
                  <a:gd name="connsiteX9188" fmla="*/ 3209460 w 4381952"/>
                  <a:gd name="connsiteY9188" fmla="*/ 5955227 h 7571038"/>
                  <a:gd name="connsiteX9189" fmla="*/ 3210691 w 4381952"/>
                  <a:gd name="connsiteY9189" fmla="*/ 6071860 h 7571038"/>
                  <a:gd name="connsiteX9190" fmla="*/ 3208226 w 4381952"/>
                  <a:gd name="connsiteY9190" fmla="*/ 6069392 h 7571038"/>
                  <a:gd name="connsiteX9191" fmla="*/ 3205513 w 4381952"/>
                  <a:gd name="connsiteY9191" fmla="*/ 6071860 h 7571038"/>
                  <a:gd name="connsiteX9192" fmla="*/ 3208226 w 4381952"/>
                  <a:gd name="connsiteY9192" fmla="*/ 6074325 h 7571038"/>
                  <a:gd name="connsiteX9193" fmla="*/ 3210691 w 4381952"/>
                  <a:gd name="connsiteY9193" fmla="*/ 6071860 h 7571038"/>
                  <a:gd name="connsiteX9194" fmla="*/ 3210691 w 4381952"/>
                  <a:gd name="connsiteY9194" fmla="*/ 6187500 h 7571038"/>
                  <a:gd name="connsiteX9195" fmla="*/ 3209705 w 4381952"/>
                  <a:gd name="connsiteY9195" fmla="*/ 6186514 h 7571038"/>
                  <a:gd name="connsiteX9196" fmla="*/ 3208719 w 4381952"/>
                  <a:gd name="connsiteY9196" fmla="*/ 6187500 h 7571038"/>
                  <a:gd name="connsiteX9197" fmla="*/ 3209705 w 4381952"/>
                  <a:gd name="connsiteY9197" fmla="*/ 6188487 h 7571038"/>
                  <a:gd name="connsiteX9198" fmla="*/ 3210691 w 4381952"/>
                  <a:gd name="connsiteY9198" fmla="*/ 6187500 h 7571038"/>
                  <a:gd name="connsiteX9199" fmla="*/ 3212414 w 4381952"/>
                  <a:gd name="connsiteY9199" fmla="*/ 4867336 h 7571038"/>
                  <a:gd name="connsiteX9200" fmla="*/ 3169758 w 4381952"/>
                  <a:gd name="connsiteY9200" fmla="*/ 4824678 h 7571038"/>
                  <a:gd name="connsiteX9201" fmla="*/ 3127101 w 4381952"/>
                  <a:gd name="connsiteY9201" fmla="*/ 4867336 h 7571038"/>
                  <a:gd name="connsiteX9202" fmla="*/ 3169758 w 4381952"/>
                  <a:gd name="connsiteY9202" fmla="*/ 4909992 h 7571038"/>
                  <a:gd name="connsiteX9203" fmla="*/ 3212414 w 4381952"/>
                  <a:gd name="connsiteY9203" fmla="*/ 4867336 h 7571038"/>
                  <a:gd name="connsiteX9204" fmla="*/ 3212418 w 4381952"/>
                  <a:gd name="connsiteY9204" fmla="*/ 6302649 h 7571038"/>
                  <a:gd name="connsiteX9205" fmla="*/ 3210691 w 4381952"/>
                  <a:gd name="connsiteY9205" fmla="*/ 6301171 h 7571038"/>
                  <a:gd name="connsiteX9206" fmla="*/ 3209213 w 4381952"/>
                  <a:gd name="connsiteY9206" fmla="*/ 6302649 h 7571038"/>
                  <a:gd name="connsiteX9207" fmla="*/ 3210691 w 4381952"/>
                  <a:gd name="connsiteY9207" fmla="*/ 6304376 h 7571038"/>
                  <a:gd name="connsiteX9208" fmla="*/ 3212418 w 4381952"/>
                  <a:gd name="connsiteY9208" fmla="*/ 6302649 h 7571038"/>
                  <a:gd name="connsiteX9209" fmla="*/ 3214883 w 4381952"/>
                  <a:gd name="connsiteY9209" fmla="*/ 5719502 h 7571038"/>
                  <a:gd name="connsiteX9210" fmla="*/ 3205020 w 4381952"/>
                  <a:gd name="connsiteY9210" fmla="*/ 5709884 h 7571038"/>
                  <a:gd name="connsiteX9211" fmla="*/ 3195402 w 4381952"/>
                  <a:gd name="connsiteY9211" fmla="*/ 5719502 h 7571038"/>
                  <a:gd name="connsiteX9212" fmla="*/ 3205020 w 4381952"/>
                  <a:gd name="connsiteY9212" fmla="*/ 5729365 h 7571038"/>
                  <a:gd name="connsiteX9213" fmla="*/ 3214883 w 4381952"/>
                  <a:gd name="connsiteY9213" fmla="*/ 5719502 h 7571038"/>
                  <a:gd name="connsiteX9214" fmla="*/ 3219567 w 4381952"/>
                  <a:gd name="connsiteY9214" fmla="*/ 6415337 h 7571038"/>
                  <a:gd name="connsiteX9215" fmla="*/ 3218090 w 4381952"/>
                  <a:gd name="connsiteY9215" fmla="*/ 6413858 h 7571038"/>
                  <a:gd name="connsiteX9216" fmla="*/ 3216608 w 4381952"/>
                  <a:gd name="connsiteY9216" fmla="*/ 6415337 h 7571038"/>
                  <a:gd name="connsiteX9217" fmla="*/ 3218090 w 4381952"/>
                  <a:gd name="connsiteY9217" fmla="*/ 6416818 h 7571038"/>
                  <a:gd name="connsiteX9218" fmla="*/ 3219567 w 4381952"/>
                  <a:gd name="connsiteY9218" fmla="*/ 6415337 h 7571038"/>
                  <a:gd name="connsiteX9219" fmla="*/ 3220060 w 4381952"/>
                  <a:gd name="connsiteY9219" fmla="*/ 6529995 h 7571038"/>
                  <a:gd name="connsiteX9220" fmla="*/ 3218580 w 4381952"/>
                  <a:gd name="connsiteY9220" fmla="*/ 6528516 h 7571038"/>
                  <a:gd name="connsiteX9221" fmla="*/ 3217101 w 4381952"/>
                  <a:gd name="connsiteY9221" fmla="*/ 6529995 h 7571038"/>
                  <a:gd name="connsiteX9222" fmla="*/ 3218580 w 4381952"/>
                  <a:gd name="connsiteY9222" fmla="*/ 6531476 h 7571038"/>
                  <a:gd name="connsiteX9223" fmla="*/ 3220060 w 4381952"/>
                  <a:gd name="connsiteY9223" fmla="*/ 6529995 h 7571038"/>
                  <a:gd name="connsiteX9224" fmla="*/ 3220306 w 4381952"/>
                  <a:gd name="connsiteY9224" fmla="*/ 1831876 h 7571038"/>
                  <a:gd name="connsiteX9225" fmla="*/ 3174690 w 4381952"/>
                  <a:gd name="connsiteY9225" fmla="*/ 1786234 h 7571038"/>
                  <a:gd name="connsiteX9226" fmla="*/ 3129074 w 4381952"/>
                  <a:gd name="connsiteY9226" fmla="*/ 1831876 h 7571038"/>
                  <a:gd name="connsiteX9227" fmla="*/ 3174690 w 4381952"/>
                  <a:gd name="connsiteY9227" fmla="*/ 1877481 h 7571038"/>
                  <a:gd name="connsiteX9228" fmla="*/ 3220306 w 4381952"/>
                  <a:gd name="connsiteY9228" fmla="*/ 1831876 h 7571038"/>
                  <a:gd name="connsiteX9229" fmla="*/ 3221295 w 4381952"/>
                  <a:gd name="connsiteY9229" fmla="*/ 6644404 h 7571038"/>
                  <a:gd name="connsiteX9230" fmla="*/ 3218336 w 4381952"/>
                  <a:gd name="connsiteY9230" fmla="*/ 6641445 h 7571038"/>
                  <a:gd name="connsiteX9231" fmla="*/ 3215377 w 4381952"/>
                  <a:gd name="connsiteY9231" fmla="*/ 6644404 h 7571038"/>
                  <a:gd name="connsiteX9232" fmla="*/ 3218336 w 4381952"/>
                  <a:gd name="connsiteY9232" fmla="*/ 6647363 h 7571038"/>
                  <a:gd name="connsiteX9233" fmla="*/ 3221295 w 4381952"/>
                  <a:gd name="connsiteY9233" fmla="*/ 6644404 h 7571038"/>
                  <a:gd name="connsiteX9234" fmla="*/ 3223021 w 4381952"/>
                  <a:gd name="connsiteY9234" fmla="*/ 6757829 h 7571038"/>
                  <a:gd name="connsiteX9235" fmla="*/ 3219569 w 4381952"/>
                  <a:gd name="connsiteY9235" fmla="*/ 6754378 h 7571038"/>
                  <a:gd name="connsiteX9236" fmla="*/ 3216118 w 4381952"/>
                  <a:gd name="connsiteY9236" fmla="*/ 6757829 h 7571038"/>
                  <a:gd name="connsiteX9237" fmla="*/ 3219569 w 4381952"/>
                  <a:gd name="connsiteY9237" fmla="*/ 6761282 h 7571038"/>
                  <a:gd name="connsiteX9238" fmla="*/ 3223021 w 4381952"/>
                  <a:gd name="connsiteY9238" fmla="*/ 6757829 h 7571038"/>
                  <a:gd name="connsiteX9239" fmla="*/ 3223513 w 4381952"/>
                  <a:gd name="connsiteY9239" fmla="*/ 6871254 h 7571038"/>
                  <a:gd name="connsiteX9240" fmla="*/ 3220060 w 4381952"/>
                  <a:gd name="connsiteY9240" fmla="*/ 6867803 h 7571038"/>
                  <a:gd name="connsiteX9241" fmla="*/ 3216608 w 4381952"/>
                  <a:gd name="connsiteY9241" fmla="*/ 6871254 h 7571038"/>
                  <a:gd name="connsiteX9242" fmla="*/ 3220060 w 4381952"/>
                  <a:gd name="connsiteY9242" fmla="*/ 6874708 h 7571038"/>
                  <a:gd name="connsiteX9243" fmla="*/ 3223513 w 4381952"/>
                  <a:gd name="connsiteY9243" fmla="*/ 6871254 h 7571038"/>
                  <a:gd name="connsiteX9244" fmla="*/ 3224254 w 4381952"/>
                  <a:gd name="connsiteY9244" fmla="*/ 1587022 h 7571038"/>
                  <a:gd name="connsiteX9245" fmla="*/ 3182089 w 4381952"/>
                  <a:gd name="connsiteY9245" fmla="*/ 1544861 h 7571038"/>
                  <a:gd name="connsiteX9246" fmla="*/ 3139923 w 4381952"/>
                  <a:gd name="connsiteY9246" fmla="*/ 1587022 h 7571038"/>
                  <a:gd name="connsiteX9247" fmla="*/ 3182089 w 4381952"/>
                  <a:gd name="connsiteY9247" fmla="*/ 1629189 h 7571038"/>
                  <a:gd name="connsiteX9248" fmla="*/ 3224254 w 4381952"/>
                  <a:gd name="connsiteY9248" fmla="*/ 1587022 h 7571038"/>
                  <a:gd name="connsiteX9249" fmla="*/ 3224992 w 4381952"/>
                  <a:gd name="connsiteY9249" fmla="*/ 6984187 h 7571038"/>
                  <a:gd name="connsiteX9250" fmla="*/ 3220555 w 4381952"/>
                  <a:gd name="connsiteY9250" fmla="*/ 6979748 h 7571038"/>
                  <a:gd name="connsiteX9251" fmla="*/ 3215868 w 4381952"/>
                  <a:gd name="connsiteY9251" fmla="*/ 6984187 h 7571038"/>
                  <a:gd name="connsiteX9252" fmla="*/ 3220555 w 4381952"/>
                  <a:gd name="connsiteY9252" fmla="*/ 6988870 h 7571038"/>
                  <a:gd name="connsiteX9253" fmla="*/ 3224992 w 4381952"/>
                  <a:gd name="connsiteY9253" fmla="*/ 6984187 h 7571038"/>
                  <a:gd name="connsiteX9254" fmla="*/ 3225090 w 4381952"/>
                  <a:gd name="connsiteY9254" fmla="*/ 0 h 7571038"/>
                  <a:gd name="connsiteX9255" fmla="*/ 3196343 w 4381952"/>
                  <a:gd name="connsiteY9255" fmla="*/ 0 h 7571038"/>
                  <a:gd name="connsiteX9256" fmla="*/ 3210692 w 4381952"/>
                  <a:gd name="connsiteY9256" fmla="*/ 5978 h 7571038"/>
                  <a:gd name="connsiteX9257" fmla="*/ 3225486 w 4381952"/>
                  <a:gd name="connsiteY9257" fmla="*/ 1708809 h 7571038"/>
                  <a:gd name="connsiteX9258" fmla="*/ 3179130 w 4381952"/>
                  <a:gd name="connsiteY9258" fmla="*/ 1662464 h 7571038"/>
                  <a:gd name="connsiteX9259" fmla="*/ 3132773 w 4381952"/>
                  <a:gd name="connsiteY9259" fmla="*/ 1708809 h 7571038"/>
                  <a:gd name="connsiteX9260" fmla="*/ 3179130 w 4381952"/>
                  <a:gd name="connsiteY9260" fmla="*/ 1755188 h 7571038"/>
                  <a:gd name="connsiteX9261" fmla="*/ 3225486 w 4381952"/>
                  <a:gd name="connsiteY9261" fmla="*/ 1708809 h 7571038"/>
                  <a:gd name="connsiteX9262" fmla="*/ 3227213 w 4381952"/>
                  <a:gd name="connsiteY9262" fmla="*/ 7097121 h 7571038"/>
                  <a:gd name="connsiteX9263" fmla="*/ 3221295 w 4381952"/>
                  <a:gd name="connsiteY9263" fmla="*/ 7091202 h 7571038"/>
                  <a:gd name="connsiteX9264" fmla="*/ 3215377 w 4381952"/>
                  <a:gd name="connsiteY9264" fmla="*/ 7097121 h 7571038"/>
                  <a:gd name="connsiteX9265" fmla="*/ 3221295 w 4381952"/>
                  <a:gd name="connsiteY9265" fmla="*/ 7103038 h 7571038"/>
                  <a:gd name="connsiteX9266" fmla="*/ 3227213 w 4381952"/>
                  <a:gd name="connsiteY9266" fmla="*/ 7097121 h 7571038"/>
                  <a:gd name="connsiteX9267" fmla="*/ 3230909 w 4381952"/>
                  <a:gd name="connsiteY9267" fmla="*/ 7320762 h 7571038"/>
                  <a:gd name="connsiteX9268" fmla="*/ 3226717 w 4381952"/>
                  <a:gd name="connsiteY9268" fmla="*/ 7316571 h 7571038"/>
                  <a:gd name="connsiteX9269" fmla="*/ 3222526 w 4381952"/>
                  <a:gd name="connsiteY9269" fmla="*/ 7320762 h 7571038"/>
                  <a:gd name="connsiteX9270" fmla="*/ 3226717 w 4381952"/>
                  <a:gd name="connsiteY9270" fmla="*/ 7324953 h 7571038"/>
                  <a:gd name="connsiteX9271" fmla="*/ 3230909 w 4381952"/>
                  <a:gd name="connsiteY9271" fmla="*/ 7320762 h 7571038"/>
                  <a:gd name="connsiteX9272" fmla="*/ 3232391 w 4381952"/>
                  <a:gd name="connsiteY9272" fmla="*/ 7432955 h 7571038"/>
                  <a:gd name="connsiteX9273" fmla="*/ 3226967 w 4381952"/>
                  <a:gd name="connsiteY9273" fmla="*/ 7427529 h 7571038"/>
                  <a:gd name="connsiteX9274" fmla="*/ 3221540 w 4381952"/>
                  <a:gd name="connsiteY9274" fmla="*/ 7432955 h 7571038"/>
                  <a:gd name="connsiteX9275" fmla="*/ 3226967 w 4381952"/>
                  <a:gd name="connsiteY9275" fmla="*/ 7438379 h 7571038"/>
                  <a:gd name="connsiteX9276" fmla="*/ 3232391 w 4381952"/>
                  <a:gd name="connsiteY9276" fmla="*/ 7432955 h 7571038"/>
                  <a:gd name="connsiteX9277" fmla="*/ 3232636 w 4381952"/>
                  <a:gd name="connsiteY9277" fmla="*/ 2743861 h 7571038"/>
                  <a:gd name="connsiteX9278" fmla="*/ 3221292 w 4381952"/>
                  <a:gd name="connsiteY9278" fmla="*/ 2732521 h 7571038"/>
                  <a:gd name="connsiteX9279" fmla="*/ 3209951 w 4381952"/>
                  <a:gd name="connsiteY9279" fmla="*/ 2743861 h 7571038"/>
                  <a:gd name="connsiteX9280" fmla="*/ 3221292 w 4381952"/>
                  <a:gd name="connsiteY9280" fmla="*/ 2755205 h 7571038"/>
                  <a:gd name="connsiteX9281" fmla="*/ 3232636 w 4381952"/>
                  <a:gd name="connsiteY9281" fmla="*/ 2743861 h 7571038"/>
                  <a:gd name="connsiteX9282" fmla="*/ 3233376 w 4381952"/>
                  <a:gd name="connsiteY9282" fmla="*/ 7208324 h 7571038"/>
                  <a:gd name="connsiteX9283" fmla="*/ 3226472 w 4381952"/>
                  <a:gd name="connsiteY9283" fmla="*/ 7201420 h 7571038"/>
                  <a:gd name="connsiteX9284" fmla="*/ 3219567 w 4381952"/>
                  <a:gd name="connsiteY9284" fmla="*/ 7208324 h 7571038"/>
                  <a:gd name="connsiteX9285" fmla="*/ 3226472 w 4381952"/>
                  <a:gd name="connsiteY9285" fmla="*/ 7215228 h 7571038"/>
                  <a:gd name="connsiteX9286" fmla="*/ 3233376 w 4381952"/>
                  <a:gd name="connsiteY9286" fmla="*/ 7208324 h 7571038"/>
                  <a:gd name="connsiteX9287" fmla="*/ 3233868 w 4381952"/>
                  <a:gd name="connsiteY9287" fmla="*/ 3274975 h 7571038"/>
                  <a:gd name="connsiteX9288" fmla="*/ 3218579 w 4381952"/>
                  <a:gd name="connsiteY9288" fmla="*/ 3259689 h 7571038"/>
                  <a:gd name="connsiteX9289" fmla="*/ 3203292 w 4381952"/>
                  <a:gd name="connsiteY9289" fmla="*/ 3274975 h 7571038"/>
                  <a:gd name="connsiteX9290" fmla="*/ 3218579 w 4381952"/>
                  <a:gd name="connsiteY9290" fmla="*/ 3290265 h 7571038"/>
                  <a:gd name="connsiteX9291" fmla="*/ 3233868 w 4381952"/>
                  <a:gd name="connsiteY9291" fmla="*/ 3274975 h 7571038"/>
                  <a:gd name="connsiteX9292" fmla="*/ 3234609 w 4381952"/>
                  <a:gd name="connsiteY9292" fmla="*/ 3735801 h 7571038"/>
                  <a:gd name="connsiteX9293" fmla="*/ 3206006 w 4381952"/>
                  <a:gd name="connsiteY9293" fmla="*/ 3707197 h 7571038"/>
                  <a:gd name="connsiteX9294" fmla="*/ 3177403 w 4381952"/>
                  <a:gd name="connsiteY9294" fmla="*/ 3735801 h 7571038"/>
                  <a:gd name="connsiteX9295" fmla="*/ 3206006 w 4381952"/>
                  <a:gd name="connsiteY9295" fmla="*/ 3764403 h 7571038"/>
                  <a:gd name="connsiteX9296" fmla="*/ 3234609 w 4381952"/>
                  <a:gd name="connsiteY9296" fmla="*/ 3735801 h 7571038"/>
                  <a:gd name="connsiteX9297" fmla="*/ 3237816 w 4381952"/>
                  <a:gd name="connsiteY9297" fmla="*/ 4398348 h 7571038"/>
                  <a:gd name="connsiteX9298" fmla="*/ 3210200 w 4381952"/>
                  <a:gd name="connsiteY9298" fmla="*/ 4370730 h 7571038"/>
                  <a:gd name="connsiteX9299" fmla="*/ 3182582 w 4381952"/>
                  <a:gd name="connsiteY9299" fmla="*/ 4398348 h 7571038"/>
                  <a:gd name="connsiteX9300" fmla="*/ 3210200 w 4381952"/>
                  <a:gd name="connsiteY9300" fmla="*/ 4425964 h 7571038"/>
                  <a:gd name="connsiteX9301" fmla="*/ 3237816 w 4381952"/>
                  <a:gd name="connsiteY9301" fmla="*/ 4398348 h 7571038"/>
                  <a:gd name="connsiteX9302" fmla="*/ 3239294 w 4381952"/>
                  <a:gd name="connsiteY9302" fmla="*/ 2424804 h 7571038"/>
                  <a:gd name="connsiteX9303" fmla="*/ 3234114 w 4381952"/>
                  <a:gd name="connsiteY9303" fmla="*/ 2419630 h 7571038"/>
                  <a:gd name="connsiteX9304" fmla="*/ 3228936 w 4381952"/>
                  <a:gd name="connsiteY9304" fmla="*/ 2424804 h 7571038"/>
                  <a:gd name="connsiteX9305" fmla="*/ 3234114 w 4381952"/>
                  <a:gd name="connsiteY9305" fmla="*/ 2429985 h 7571038"/>
                  <a:gd name="connsiteX9306" fmla="*/ 3239294 w 4381952"/>
                  <a:gd name="connsiteY9306" fmla="*/ 2424804 h 7571038"/>
                  <a:gd name="connsiteX9307" fmla="*/ 3239541 w 4381952"/>
                  <a:gd name="connsiteY9307" fmla="*/ 4006785 h 7571038"/>
                  <a:gd name="connsiteX9308" fmla="*/ 3218828 w 4381952"/>
                  <a:gd name="connsiteY9308" fmla="*/ 3986072 h 7571038"/>
                  <a:gd name="connsiteX9309" fmla="*/ 3198115 w 4381952"/>
                  <a:gd name="connsiteY9309" fmla="*/ 4006785 h 7571038"/>
                  <a:gd name="connsiteX9310" fmla="*/ 3218828 w 4381952"/>
                  <a:gd name="connsiteY9310" fmla="*/ 4027497 h 7571038"/>
                  <a:gd name="connsiteX9311" fmla="*/ 3239541 w 4381952"/>
                  <a:gd name="connsiteY9311" fmla="*/ 4006785 h 7571038"/>
                  <a:gd name="connsiteX9312" fmla="*/ 3245461 w 4381952"/>
                  <a:gd name="connsiteY9312" fmla="*/ 2998819 h 7571038"/>
                  <a:gd name="connsiteX9313" fmla="*/ 3243239 w 4381952"/>
                  <a:gd name="connsiteY9313" fmla="*/ 2996352 h 7571038"/>
                  <a:gd name="connsiteX9314" fmla="*/ 3240774 w 4381952"/>
                  <a:gd name="connsiteY9314" fmla="*/ 2998819 h 7571038"/>
                  <a:gd name="connsiteX9315" fmla="*/ 3243239 w 4381952"/>
                  <a:gd name="connsiteY9315" fmla="*/ 3001037 h 7571038"/>
                  <a:gd name="connsiteX9316" fmla="*/ 3245461 w 4381952"/>
                  <a:gd name="connsiteY9316" fmla="*/ 2998819 h 7571038"/>
                  <a:gd name="connsiteX9317" fmla="*/ 3246690 w 4381952"/>
                  <a:gd name="connsiteY9317" fmla="*/ 2597405 h 7571038"/>
                  <a:gd name="connsiteX9318" fmla="*/ 3245209 w 4381952"/>
                  <a:gd name="connsiteY9318" fmla="*/ 2595925 h 7571038"/>
                  <a:gd name="connsiteX9319" fmla="*/ 3243730 w 4381952"/>
                  <a:gd name="connsiteY9319" fmla="*/ 2597405 h 7571038"/>
                  <a:gd name="connsiteX9320" fmla="*/ 3245209 w 4381952"/>
                  <a:gd name="connsiteY9320" fmla="*/ 2598883 h 7571038"/>
                  <a:gd name="connsiteX9321" fmla="*/ 3246690 w 4381952"/>
                  <a:gd name="connsiteY9321" fmla="*/ 2597405 h 7571038"/>
                  <a:gd name="connsiteX9322" fmla="*/ 3248416 w 4381952"/>
                  <a:gd name="connsiteY9322" fmla="*/ 536979 h 7571038"/>
                  <a:gd name="connsiteX9323" fmla="*/ 3209704 w 4381952"/>
                  <a:gd name="connsiteY9323" fmla="*/ 498268 h 7571038"/>
                  <a:gd name="connsiteX9324" fmla="*/ 3170992 w 4381952"/>
                  <a:gd name="connsiteY9324" fmla="*/ 536979 h 7571038"/>
                  <a:gd name="connsiteX9325" fmla="*/ 3209704 w 4381952"/>
                  <a:gd name="connsiteY9325" fmla="*/ 575688 h 7571038"/>
                  <a:gd name="connsiteX9326" fmla="*/ 3248416 w 4381952"/>
                  <a:gd name="connsiteY9326" fmla="*/ 536979 h 7571038"/>
                  <a:gd name="connsiteX9327" fmla="*/ 3248417 w 4381952"/>
                  <a:gd name="connsiteY9327" fmla="*/ 422344 h 7571038"/>
                  <a:gd name="connsiteX9328" fmla="*/ 3209951 w 4381952"/>
                  <a:gd name="connsiteY9328" fmla="*/ 383879 h 7571038"/>
                  <a:gd name="connsiteX9329" fmla="*/ 3171485 w 4381952"/>
                  <a:gd name="connsiteY9329" fmla="*/ 422344 h 7571038"/>
                  <a:gd name="connsiteX9330" fmla="*/ 3209951 w 4381952"/>
                  <a:gd name="connsiteY9330" fmla="*/ 461054 h 7571038"/>
                  <a:gd name="connsiteX9331" fmla="*/ 3248417 w 4381952"/>
                  <a:gd name="connsiteY9331" fmla="*/ 422344 h 7571038"/>
                  <a:gd name="connsiteX9332" fmla="*/ 3248663 w 4381952"/>
                  <a:gd name="connsiteY9332" fmla="*/ 81405 h 7571038"/>
                  <a:gd name="connsiteX9333" fmla="*/ 3210692 w 4381952"/>
                  <a:gd name="connsiteY9333" fmla="*/ 43435 h 7571038"/>
                  <a:gd name="connsiteX9334" fmla="*/ 3172717 w 4381952"/>
                  <a:gd name="connsiteY9334" fmla="*/ 81405 h 7571038"/>
                  <a:gd name="connsiteX9335" fmla="*/ 3210692 w 4381952"/>
                  <a:gd name="connsiteY9335" fmla="*/ 119377 h 7571038"/>
                  <a:gd name="connsiteX9336" fmla="*/ 3248663 w 4381952"/>
                  <a:gd name="connsiteY9336" fmla="*/ 81405 h 7571038"/>
                  <a:gd name="connsiteX9337" fmla="*/ 3248910 w 4381952"/>
                  <a:gd name="connsiteY9337" fmla="*/ 194557 h 7571038"/>
                  <a:gd name="connsiteX9338" fmla="*/ 3210445 w 4381952"/>
                  <a:gd name="connsiteY9338" fmla="*/ 156093 h 7571038"/>
                  <a:gd name="connsiteX9339" fmla="*/ 3171979 w 4381952"/>
                  <a:gd name="connsiteY9339" fmla="*/ 194557 h 7571038"/>
                  <a:gd name="connsiteX9340" fmla="*/ 3210445 w 4381952"/>
                  <a:gd name="connsiteY9340" fmla="*/ 233021 h 7571038"/>
                  <a:gd name="connsiteX9341" fmla="*/ 3248910 w 4381952"/>
                  <a:gd name="connsiteY9341" fmla="*/ 194557 h 7571038"/>
                  <a:gd name="connsiteX9342" fmla="*/ 3251624 w 4381952"/>
                  <a:gd name="connsiteY9342" fmla="*/ 308449 h 7571038"/>
                  <a:gd name="connsiteX9343" fmla="*/ 3210692 w 4381952"/>
                  <a:gd name="connsiteY9343" fmla="*/ 267520 h 7571038"/>
                  <a:gd name="connsiteX9344" fmla="*/ 3170007 w 4381952"/>
                  <a:gd name="connsiteY9344" fmla="*/ 308449 h 7571038"/>
                  <a:gd name="connsiteX9345" fmla="*/ 3210692 w 4381952"/>
                  <a:gd name="connsiteY9345" fmla="*/ 349379 h 7571038"/>
                  <a:gd name="connsiteX9346" fmla="*/ 3251624 w 4381952"/>
                  <a:gd name="connsiteY9346" fmla="*/ 308449 h 7571038"/>
                  <a:gd name="connsiteX9347" fmla="*/ 3252611 w 4381952"/>
                  <a:gd name="connsiteY9347" fmla="*/ 3389882 h 7571038"/>
                  <a:gd name="connsiteX9348" fmla="*/ 3234363 w 4381952"/>
                  <a:gd name="connsiteY9348" fmla="*/ 3371628 h 7571038"/>
                  <a:gd name="connsiteX9349" fmla="*/ 3216118 w 4381952"/>
                  <a:gd name="connsiteY9349" fmla="*/ 3389882 h 7571038"/>
                  <a:gd name="connsiteX9350" fmla="*/ 3234363 w 4381952"/>
                  <a:gd name="connsiteY9350" fmla="*/ 3408128 h 7571038"/>
                  <a:gd name="connsiteX9351" fmla="*/ 3252611 w 4381952"/>
                  <a:gd name="connsiteY9351" fmla="*/ 3389882 h 7571038"/>
                  <a:gd name="connsiteX9352" fmla="*/ 3253102 w 4381952"/>
                  <a:gd name="connsiteY9352" fmla="*/ 3621881 h 7571038"/>
                  <a:gd name="connsiteX9353" fmla="*/ 3228196 w 4381952"/>
                  <a:gd name="connsiteY9353" fmla="*/ 3596977 h 7571038"/>
                  <a:gd name="connsiteX9354" fmla="*/ 3203292 w 4381952"/>
                  <a:gd name="connsiteY9354" fmla="*/ 3621881 h 7571038"/>
                  <a:gd name="connsiteX9355" fmla="*/ 3228196 w 4381952"/>
                  <a:gd name="connsiteY9355" fmla="*/ 3646787 h 7571038"/>
                  <a:gd name="connsiteX9356" fmla="*/ 3253102 w 4381952"/>
                  <a:gd name="connsiteY9356" fmla="*/ 3621881 h 7571038"/>
                  <a:gd name="connsiteX9357" fmla="*/ 3253842 w 4381952"/>
                  <a:gd name="connsiteY9357" fmla="*/ 2287971 h 7571038"/>
                  <a:gd name="connsiteX9358" fmla="*/ 3247184 w 4381952"/>
                  <a:gd name="connsiteY9358" fmla="*/ 2281310 h 7571038"/>
                  <a:gd name="connsiteX9359" fmla="*/ 3240526 w 4381952"/>
                  <a:gd name="connsiteY9359" fmla="*/ 2287971 h 7571038"/>
                  <a:gd name="connsiteX9360" fmla="*/ 3247184 w 4381952"/>
                  <a:gd name="connsiteY9360" fmla="*/ 2294628 h 7571038"/>
                  <a:gd name="connsiteX9361" fmla="*/ 3253842 w 4381952"/>
                  <a:gd name="connsiteY9361" fmla="*/ 2287971 h 7571038"/>
                  <a:gd name="connsiteX9362" fmla="*/ 3258774 w 4381952"/>
                  <a:gd name="connsiteY9362" fmla="*/ 3505991 h 7571038"/>
                  <a:gd name="connsiteX9363" fmla="*/ 3237570 w 4381952"/>
                  <a:gd name="connsiteY9363" fmla="*/ 3484784 h 7571038"/>
                  <a:gd name="connsiteX9364" fmla="*/ 3216363 w 4381952"/>
                  <a:gd name="connsiteY9364" fmla="*/ 3505991 h 7571038"/>
                  <a:gd name="connsiteX9365" fmla="*/ 3237570 w 4381952"/>
                  <a:gd name="connsiteY9365" fmla="*/ 3527195 h 7571038"/>
                  <a:gd name="connsiteX9366" fmla="*/ 3258774 w 4381952"/>
                  <a:gd name="connsiteY9366" fmla="*/ 3505991 h 7571038"/>
                  <a:gd name="connsiteX9367" fmla="*/ 3275292 w 4381952"/>
                  <a:gd name="connsiteY9367" fmla="*/ 4160894 h 7571038"/>
                  <a:gd name="connsiteX9368" fmla="*/ 3255320 w 4381952"/>
                  <a:gd name="connsiteY9368" fmla="*/ 4140922 h 7571038"/>
                  <a:gd name="connsiteX9369" fmla="*/ 3235349 w 4381952"/>
                  <a:gd name="connsiteY9369" fmla="*/ 4160894 h 7571038"/>
                  <a:gd name="connsiteX9370" fmla="*/ 3255320 w 4381952"/>
                  <a:gd name="connsiteY9370" fmla="*/ 4180869 h 7571038"/>
                  <a:gd name="connsiteX9371" fmla="*/ 3275292 w 4381952"/>
                  <a:gd name="connsiteY9371" fmla="*/ 4160894 h 7571038"/>
                  <a:gd name="connsiteX9372" fmla="*/ 3277267 w 4381952"/>
                  <a:gd name="connsiteY9372" fmla="*/ 2154333 h 7571038"/>
                  <a:gd name="connsiteX9373" fmla="*/ 3257295 w 4381952"/>
                  <a:gd name="connsiteY9373" fmla="*/ 2134359 h 7571038"/>
                  <a:gd name="connsiteX9374" fmla="*/ 3237075 w 4381952"/>
                  <a:gd name="connsiteY9374" fmla="*/ 2154333 h 7571038"/>
                  <a:gd name="connsiteX9375" fmla="*/ 3257295 w 4381952"/>
                  <a:gd name="connsiteY9375" fmla="*/ 2174309 h 7571038"/>
                  <a:gd name="connsiteX9376" fmla="*/ 3277267 w 4381952"/>
                  <a:gd name="connsiteY9376" fmla="*/ 2154333 h 7571038"/>
                  <a:gd name="connsiteX9377" fmla="*/ 3280224 w 4381952"/>
                  <a:gd name="connsiteY9377" fmla="*/ 2023399 h 7571038"/>
                  <a:gd name="connsiteX9378" fmla="*/ 3265678 w 4381952"/>
                  <a:gd name="connsiteY9378" fmla="*/ 2008851 h 7571038"/>
                  <a:gd name="connsiteX9379" fmla="*/ 3251375 w 4381952"/>
                  <a:gd name="connsiteY9379" fmla="*/ 2023399 h 7571038"/>
                  <a:gd name="connsiteX9380" fmla="*/ 3265678 w 4381952"/>
                  <a:gd name="connsiteY9380" fmla="*/ 2037701 h 7571038"/>
                  <a:gd name="connsiteX9381" fmla="*/ 3280224 w 4381952"/>
                  <a:gd name="connsiteY9381" fmla="*/ 2023399 h 7571038"/>
                  <a:gd name="connsiteX9382" fmla="*/ 3283678 w 4381952"/>
                  <a:gd name="connsiteY9382" fmla="*/ 3901251 h 7571038"/>
                  <a:gd name="connsiteX9383" fmla="*/ 3266665 w 4381952"/>
                  <a:gd name="connsiteY9383" fmla="*/ 3884237 h 7571038"/>
                  <a:gd name="connsiteX9384" fmla="*/ 3249652 w 4381952"/>
                  <a:gd name="connsiteY9384" fmla="*/ 3901251 h 7571038"/>
                  <a:gd name="connsiteX9385" fmla="*/ 3266665 w 4381952"/>
                  <a:gd name="connsiteY9385" fmla="*/ 3918267 h 7571038"/>
                  <a:gd name="connsiteX9386" fmla="*/ 3283678 w 4381952"/>
                  <a:gd name="connsiteY9386" fmla="*/ 3901251 h 7571038"/>
                  <a:gd name="connsiteX9387" fmla="*/ 3284418 w 4381952"/>
                  <a:gd name="connsiteY9387" fmla="*/ 4526813 h 7571038"/>
                  <a:gd name="connsiteX9388" fmla="*/ 3237567 w 4381952"/>
                  <a:gd name="connsiteY9388" fmla="*/ 4480210 h 7571038"/>
                  <a:gd name="connsiteX9389" fmla="*/ 3190964 w 4381952"/>
                  <a:gd name="connsiteY9389" fmla="*/ 4526813 h 7571038"/>
                  <a:gd name="connsiteX9390" fmla="*/ 3237567 w 4381952"/>
                  <a:gd name="connsiteY9390" fmla="*/ 4573663 h 7571038"/>
                  <a:gd name="connsiteX9391" fmla="*/ 3284418 w 4381952"/>
                  <a:gd name="connsiteY9391" fmla="*/ 4526813 h 7571038"/>
                  <a:gd name="connsiteX9392" fmla="*/ 3287623 w 4381952"/>
                  <a:gd name="connsiteY9392" fmla="*/ 3106325 h 7571038"/>
                  <a:gd name="connsiteX9393" fmla="*/ 3285651 w 4381952"/>
                  <a:gd name="connsiteY9393" fmla="*/ 3104352 h 7571038"/>
                  <a:gd name="connsiteX9394" fmla="*/ 3283678 w 4381952"/>
                  <a:gd name="connsiteY9394" fmla="*/ 3106325 h 7571038"/>
                  <a:gd name="connsiteX9395" fmla="*/ 3285651 w 4381952"/>
                  <a:gd name="connsiteY9395" fmla="*/ 3108297 h 7571038"/>
                  <a:gd name="connsiteX9396" fmla="*/ 3287623 w 4381952"/>
                  <a:gd name="connsiteY9396" fmla="*/ 3106325 h 7571038"/>
                  <a:gd name="connsiteX9397" fmla="*/ 3290581 w 4381952"/>
                  <a:gd name="connsiteY9397" fmla="*/ 1497284 h 7571038"/>
                  <a:gd name="connsiteX9398" fmla="*/ 3244474 w 4381952"/>
                  <a:gd name="connsiteY9398" fmla="*/ 1451173 h 7571038"/>
                  <a:gd name="connsiteX9399" fmla="*/ 3198363 w 4381952"/>
                  <a:gd name="connsiteY9399" fmla="*/ 1497284 h 7571038"/>
                  <a:gd name="connsiteX9400" fmla="*/ 3244474 w 4381952"/>
                  <a:gd name="connsiteY9400" fmla="*/ 1543395 h 7571038"/>
                  <a:gd name="connsiteX9401" fmla="*/ 3290581 w 4381952"/>
                  <a:gd name="connsiteY9401" fmla="*/ 1497284 h 7571038"/>
                  <a:gd name="connsiteX9402" fmla="*/ 3291813 w 4381952"/>
                  <a:gd name="connsiteY9402" fmla="*/ 1256656 h 7571038"/>
                  <a:gd name="connsiteX9403" fmla="*/ 3249652 w 4381952"/>
                  <a:gd name="connsiteY9403" fmla="*/ 1214743 h 7571038"/>
                  <a:gd name="connsiteX9404" fmla="*/ 3207732 w 4381952"/>
                  <a:gd name="connsiteY9404" fmla="*/ 1256656 h 7571038"/>
                  <a:gd name="connsiteX9405" fmla="*/ 3249652 w 4381952"/>
                  <a:gd name="connsiteY9405" fmla="*/ 1298824 h 7571038"/>
                  <a:gd name="connsiteX9406" fmla="*/ 3291813 w 4381952"/>
                  <a:gd name="connsiteY9406" fmla="*/ 1256656 h 7571038"/>
                  <a:gd name="connsiteX9407" fmla="*/ 3292803 w 4381952"/>
                  <a:gd name="connsiteY9407" fmla="*/ 1376480 h 7571038"/>
                  <a:gd name="connsiteX9408" fmla="*/ 3247184 w 4381952"/>
                  <a:gd name="connsiteY9408" fmla="*/ 1330861 h 7571038"/>
                  <a:gd name="connsiteX9409" fmla="*/ 3201569 w 4381952"/>
                  <a:gd name="connsiteY9409" fmla="*/ 1376480 h 7571038"/>
                  <a:gd name="connsiteX9410" fmla="*/ 3247184 w 4381952"/>
                  <a:gd name="connsiteY9410" fmla="*/ 1422098 h 7571038"/>
                  <a:gd name="connsiteX9411" fmla="*/ 3292803 w 4381952"/>
                  <a:gd name="connsiteY9411" fmla="*/ 1376480 h 7571038"/>
                  <a:gd name="connsiteX9412" fmla="*/ 3293788 w 4381952"/>
                  <a:gd name="connsiteY9412" fmla="*/ 5306241 h 7571038"/>
                  <a:gd name="connsiteX9413" fmla="*/ 3291320 w 4381952"/>
                  <a:gd name="connsiteY9413" fmla="*/ 5303773 h 7571038"/>
                  <a:gd name="connsiteX9414" fmla="*/ 3289101 w 4381952"/>
                  <a:gd name="connsiteY9414" fmla="*/ 5306241 h 7571038"/>
                  <a:gd name="connsiteX9415" fmla="*/ 3291320 w 4381952"/>
                  <a:gd name="connsiteY9415" fmla="*/ 5308460 h 7571038"/>
                  <a:gd name="connsiteX9416" fmla="*/ 3293788 w 4381952"/>
                  <a:gd name="connsiteY9416" fmla="*/ 5306241 h 7571038"/>
                  <a:gd name="connsiteX9417" fmla="*/ 3295513 w 4381952"/>
                  <a:gd name="connsiteY9417" fmla="*/ 1020233 h 7571038"/>
                  <a:gd name="connsiteX9418" fmla="*/ 3254335 w 4381952"/>
                  <a:gd name="connsiteY9418" fmla="*/ 979047 h 7571038"/>
                  <a:gd name="connsiteX9419" fmla="*/ 3213156 w 4381952"/>
                  <a:gd name="connsiteY9419" fmla="*/ 1020233 h 7571038"/>
                  <a:gd name="connsiteX9420" fmla="*/ 3254335 w 4381952"/>
                  <a:gd name="connsiteY9420" fmla="*/ 1061403 h 7571038"/>
                  <a:gd name="connsiteX9421" fmla="*/ 3295513 w 4381952"/>
                  <a:gd name="connsiteY9421" fmla="*/ 1020233 h 7571038"/>
                  <a:gd name="connsiteX9422" fmla="*/ 3295758 w 4381952"/>
                  <a:gd name="connsiteY9422" fmla="*/ 1138071 h 7571038"/>
                  <a:gd name="connsiteX9423" fmla="*/ 3252116 w 4381952"/>
                  <a:gd name="connsiteY9423" fmla="*/ 1094430 h 7571038"/>
                  <a:gd name="connsiteX9424" fmla="*/ 3208472 w 4381952"/>
                  <a:gd name="connsiteY9424" fmla="*/ 1138071 h 7571038"/>
                  <a:gd name="connsiteX9425" fmla="*/ 3252116 w 4381952"/>
                  <a:gd name="connsiteY9425" fmla="*/ 1181718 h 7571038"/>
                  <a:gd name="connsiteX9426" fmla="*/ 3295758 w 4381952"/>
                  <a:gd name="connsiteY9426" fmla="*/ 1138071 h 7571038"/>
                  <a:gd name="connsiteX9427" fmla="*/ 3297237 w 4381952"/>
                  <a:gd name="connsiteY9427" fmla="*/ 2841263 h 7571038"/>
                  <a:gd name="connsiteX9428" fmla="*/ 3283678 w 4381952"/>
                  <a:gd name="connsiteY9428" fmla="*/ 2827699 h 7571038"/>
                  <a:gd name="connsiteX9429" fmla="*/ 3270114 w 4381952"/>
                  <a:gd name="connsiteY9429" fmla="*/ 2841263 h 7571038"/>
                  <a:gd name="connsiteX9430" fmla="*/ 3283678 w 4381952"/>
                  <a:gd name="connsiteY9430" fmla="*/ 2854821 h 7571038"/>
                  <a:gd name="connsiteX9431" fmla="*/ 3297237 w 4381952"/>
                  <a:gd name="connsiteY9431" fmla="*/ 2841263 h 7571038"/>
                  <a:gd name="connsiteX9432" fmla="*/ 3297239 w 4381952"/>
                  <a:gd name="connsiteY9432" fmla="*/ 5181720 h 7571038"/>
                  <a:gd name="connsiteX9433" fmla="*/ 3285650 w 4381952"/>
                  <a:gd name="connsiteY9433" fmla="*/ 5170131 h 7571038"/>
                  <a:gd name="connsiteX9434" fmla="*/ 3274060 w 4381952"/>
                  <a:gd name="connsiteY9434" fmla="*/ 5181720 h 7571038"/>
                  <a:gd name="connsiteX9435" fmla="*/ 3285650 w 4381952"/>
                  <a:gd name="connsiteY9435" fmla="*/ 5193310 h 7571038"/>
                  <a:gd name="connsiteX9436" fmla="*/ 3297239 w 4381952"/>
                  <a:gd name="connsiteY9436" fmla="*/ 5181720 h 7571038"/>
                  <a:gd name="connsiteX9437" fmla="*/ 3297977 w 4381952"/>
                  <a:gd name="connsiteY9437" fmla="*/ 4927255 h 7571038"/>
                  <a:gd name="connsiteX9438" fmla="*/ 3271596 w 4381952"/>
                  <a:gd name="connsiteY9438" fmla="*/ 4900870 h 7571038"/>
                  <a:gd name="connsiteX9439" fmla="*/ 3245211 w 4381952"/>
                  <a:gd name="connsiteY9439" fmla="*/ 4927255 h 7571038"/>
                  <a:gd name="connsiteX9440" fmla="*/ 3271596 w 4381952"/>
                  <a:gd name="connsiteY9440" fmla="*/ 4953636 h 7571038"/>
                  <a:gd name="connsiteX9441" fmla="*/ 3297977 w 4381952"/>
                  <a:gd name="connsiteY9441" fmla="*/ 4927255 h 7571038"/>
                  <a:gd name="connsiteX9442" fmla="*/ 3300198 w 4381952"/>
                  <a:gd name="connsiteY9442" fmla="*/ 4663662 h 7571038"/>
                  <a:gd name="connsiteX9443" fmla="*/ 3250883 w 4381952"/>
                  <a:gd name="connsiteY9443" fmla="*/ 4614347 h 7571038"/>
                  <a:gd name="connsiteX9444" fmla="*/ 3201569 w 4381952"/>
                  <a:gd name="connsiteY9444" fmla="*/ 4663662 h 7571038"/>
                  <a:gd name="connsiteX9445" fmla="*/ 3250883 w 4381952"/>
                  <a:gd name="connsiteY9445" fmla="*/ 4712977 h 7571038"/>
                  <a:gd name="connsiteX9446" fmla="*/ 3300198 w 4381952"/>
                  <a:gd name="connsiteY9446" fmla="*/ 4663662 h 7571038"/>
                  <a:gd name="connsiteX9447" fmla="*/ 3300444 w 4381952"/>
                  <a:gd name="connsiteY9447" fmla="*/ 903120 h 7571038"/>
                  <a:gd name="connsiteX9448" fmla="*/ 3255815 w 4381952"/>
                  <a:gd name="connsiteY9448" fmla="*/ 858489 h 7571038"/>
                  <a:gd name="connsiteX9449" fmla="*/ 3211185 w 4381952"/>
                  <a:gd name="connsiteY9449" fmla="*/ 903120 h 7571038"/>
                  <a:gd name="connsiteX9450" fmla="*/ 3255815 w 4381952"/>
                  <a:gd name="connsiteY9450" fmla="*/ 947754 h 7571038"/>
                  <a:gd name="connsiteX9451" fmla="*/ 3300444 w 4381952"/>
                  <a:gd name="connsiteY9451" fmla="*/ 903120 h 7571038"/>
                  <a:gd name="connsiteX9452" fmla="*/ 3300445 w 4381952"/>
                  <a:gd name="connsiteY9452" fmla="*/ 786021 h 7571038"/>
                  <a:gd name="connsiteX9453" fmla="*/ 3256799 w 4381952"/>
                  <a:gd name="connsiteY9453" fmla="*/ 742133 h 7571038"/>
                  <a:gd name="connsiteX9454" fmla="*/ 3212909 w 4381952"/>
                  <a:gd name="connsiteY9454" fmla="*/ 786021 h 7571038"/>
                  <a:gd name="connsiteX9455" fmla="*/ 3256799 w 4381952"/>
                  <a:gd name="connsiteY9455" fmla="*/ 829912 h 7571038"/>
                  <a:gd name="connsiteX9456" fmla="*/ 3300445 w 4381952"/>
                  <a:gd name="connsiteY9456" fmla="*/ 786021 h 7571038"/>
                  <a:gd name="connsiteX9457" fmla="*/ 3301431 w 4381952"/>
                  <a:gd name="connsiteY9457" fmla="*/ 670151 h 7571038"/>
                  <a:gd name="connsiteX9458" fmla="*/ 3258035 w 4381952"/>
                  <a:gd name="connsiteY9458" fmla="*/ 626711 h 7571038"/>
                  <a:gd name="connsiteX9459" fmla="*/ 3214637 w 4381952"/>
                  <a:gd name="connsiteY9459" fmla="*/ 670151 h 7571038"/>
                  <a:gd name="connsiteX9460" fmla="*/ 3258035 w 4381952"/>
                  <a:gd name="connsiteY9460" fmla="*/ 713545 h 7571038"/>
                  <a:gd name="connsiteX9461" fmla="*/ 3301431 w 4381952"/>
                  <a:gd name="connsiteY9461" fmla="*/ 670151 h 7571038"/>
                  <a:gd name="connsiteX9462" fmla="*/ 3303404 w 4381952"/>
                  <a:gd name="connsiteY9462" fmla="*/ 5055225 h 7571038"/>
                  <a:gd name="connsiteX9463" fmla="*/ 3279733 w 4381952"/>
                  <a:gd name="connsiteY9463" fmla="*/ 5031554 h 7571038"/>
                  <a:gd name="connsiteX9464" fmla="*/ 3256061 w 4381952"/>
                  <a:gd name="connsiteY9464" fmla="*/ 5055225 h 7571038"/>
                  <a:gd name="connsiteX9465" fmla="*/ 3279733 w 4381952"/>
                  <a:gd name="connsiteY9465" fmla="*/ 5078896 h 7571038"/>
                  <a:gd name="connsiteX9466" fmla="*/ 3303404 w 4381952"/>
                  <a:gd name="connsiteY9466" fmla="*/ 5055225 h 7571038"/>
                  <a:gd name="connsiteX9467" fmla="*/ 3306854 w 4381952"/>
                  <a:gd name="connsiteY9467" fmla="*/ 4797059 h 7571038"/>
                  <a:gd name="connsiteX9468" fmla="*/ 3262224 w 4381952"/>
                  <a:gd name="connsiteY9468" fmla="*/ 4752430 h 7571038"/>
                  <a:gd name="connsiteX9469" fmla="*/ 3217595 w 4381952"/>
                  <a:gd name="connsiteY9469" fmla="*/ 4797059 h 7571038"/>
                  <a:gd name="connsiteX9470" fmla="*/ 3262224 w 4381952"/>
                  <a:gd name="connsiteY9470" fmla="*/ 4841689 h 7571038"/>
                  <a:gd name="connsiteX9471" fmla="*/ 3306854 w 4381952"/>
                  <a:gd name="connsiteY9471" fmla="*/ 4797059 h 7571038"/>
                  <a:gd name="connsiteX9472" fmla="*/ 3309567 w 4381952"/>
                  <a:gd name="connsiteY9472" fmla="*/ 5424843 h 7571038"/>
                  <a:gd name="connsiteX9473" fmla="*/ 3303899 w 4381952"/>
                  <a:gd name="connsiteY9473" fmla="*/ 5419171 h 7571038"/>
                  <a:gd name="connsiteX9474" fmla="*/ 3298226 w 4381952"/>
                  <a:gd name="connsiteY9474" fmla="*/ 5424843 h 7571038"/>
                  <a:gd name="connsiteX9475" fmla="*/ 3303899 w 4381952"/>
                  <a:gd name="connsiteY9475" fmla="*/ 5430515 h 7571038"/>
                  <a:gd name="connsiteX9476" fmla="*/ 3309567 w 4381952"/>
                  <a:gd name="connsiteY9476" fmla="*/ 5424843 h 7571038"/>
                  <a:gd name="connsiteX9477" fmla="*/ 3309816 w 4381952"/>
                  <a:gd name="connsiteY9477" fmla="*/ 5546899 h 7571038"/>
                  <a:gd name="connsiteX9478" fmla="*/ 3307595 w 4381952"/>
                  <a:gd name="connsiteY9478" fmla="*/ 5544680 h 7571038"/>
                  <a:gd name="connsiteX9479" fmla="*/ 3305376 w 4381952"/>
                  <a:gd name="connsiteY9479" fmla="*/ 5546899 h 7571038"/>
                  <a:gd name="connsiteX9480" fmla="*/ 3307595 w 4381952"/>
                  <a:gd name="connsiteY9480" fmla="*/ 5549366 h 7571038"/>
                  <a:gd name="connsiteX9481" fmla="*/ 3309816 w 4381952"/>
                  <a:gd name="connsiteY9481" fmla="*/ 5546899 h 7571038"/>
                  <a:gd name="connsiteX9482" fmla="*/ 3310307 w 4381952"/>
                  <a:gd name="connsiteY9482" fmla="*/ 4309334 h 7571038"/>
                  <a:gd name="connsiteX9483" fmla="*/ 3283678 w 4381952"/>
                  <a:gd name="connsiteY9483" fmla="*/ 4282704 h 7571038"/>
                  <a:gd name="connsiteX9484" fmla="*/ 3257047 w 4381952"/>
                  <a:gd name="connsiteY9484" fmla="*/ 4309334 h 7571038"/>
                  <a:gd name="connsiteX9485" fmla="*/ 3283678 w 4381952"/>
                  <a:gd name="connsiteY9485" fmla="*/ 4335964 h 7571038"/>
                  <a:gd name="connsiteX9486" fmla="*/ 3310307 w 4381952"/>
                  <a:gd name="connsiteY9486" fmla="*/ 4309334 h 7571038"/>
                  <a:gd name="connsiteX9487" fmla="*/ 3314500 w 4381952"/>
                  <a:gd name="connsiteY9487" fmla="*/ 5788788 h 7571038"/>
                  <a:gd name="connsiteX9488" fmla="*/ 3312032 w 4381952"/>
                  <a:gd name="connsiteY9488" fmla="*/ 5786323 h 7571038"/>
                  <a:gd name="connsiteX9489" fmla="*/ 3309567 w 4381952"/>
                  <a:gd name="connsiteY9489" fmla="*/ 5788788 h 7571038"/>
                  <a:gd name="connsiteX9490" fmla="*/ 3312032 w 4381952"/>
                  <a:gd name="connsiteY9490" fmla="*/ 5791254 h 7571038"/>
                  <a:gd name="connsiteX9491" fmla="*/ 3314500 w 4381952"/>
                  <a:gd name="connsiteY9491" fmla="*/ 5788788 h 7571038"/>
                  <a:gd name="connsiteX9492" fmla="*/ 3315734 w 4381952"/>
                  <a:gd name="connsiteY9492" fmla="*/ 5908625 h 7571038"/>
                  <a:gd name="connsiteX9493" fmla="*/ 3313021 w 4381952"/>
                  <a:gd name="connsiteY9493" fmla="*/ 5905911 h 7571038"/>
                  <a:gd name="connsiteX9494" fmla="*/ 3310307 w 4381952"/>
                  <a:gd name="connsiteY9494" fmla="*/ 5908625 h 7571038"/>
                  <a:gd name="connsiteX9495" fmla="*/ 3313021 w 4381952"/>
                  <a:gd name="connsiteY9495" fmla="*/ 5911338 h 7571038"/>
                  <a:gd name="connsiteX9496" fmla="*/ 3315734 w 4381952"/>
                  <a:gd name="connsiteY9496" fmla="*/ 5908625 h 7571038"/>
                  <a:gd name="connsiteX9497" fmla="*/ 3317458 w 4381952"/>
                  <a:gd name="connsiteY9497" fmla="*/ 2510369 h 7571038"/>
                  <a:gd name="connsiteX9498" fmla="*/ 3313513 w 4381952"/>
                  <a:gd name="connsiteY9498" fmla="*/ 2506423 h 7571038"/>
                  <a:gd name="connsiteX9499" fmla="*/ 3309567 w 4381952"/>
                  <a:gd name="connsiteY9499" fmla="*/ 2510369 h 7571038"/>
                  <a:gd name="connsiteX9500" fmla="*/ 3313513 w 4381952"/>
                  <a:gd name="connsiteY9500" fmla="*/ 2514315 h 7571038"/>
                  <a:gd name="connsiteX9501" fmla="*/ 3317458 w 4381952"/>
                  <a:gd name="connsiteY9501" fmla="*/ 2510369 h 7571038"/>
                  <a:gd name="connsiteX9502" fmla="*/ 3317459 w 4381952"/>
                  <a:gd name="connsiteY9502" fmla="*/ 3791525 h 7571038"/>
                  <a:gd name="connsiteX9503" fmla="*/ 3303404 w 4381952"/>
                  <a:gd name="connsiteY9503" fmla="*/ 3777223 h 7571038"/>
                  <a:gd name="connsiteX9504" fmla="*/ 3289101 w 4381952"/>
                  <a:gd name="connsiteY9504" fmla="*/ 3791525 h 7571038"/>
                  <a:gd name="connsiteX9505" fmla="*/ 3303404 w 4381952"/>
                  <a:gd name="connsiteY9505" fmla="*/ 3805580 h 7571038"/>
                  <a:gd name="connsiteX9506" fmla="*/ 3317459 w 4381952"/>
                  <a:gd name="connsiteY9506" fmla="*/ 3791525 h 7571038"/>
                  <a:gd name="connsiteX9507" fmla="*/ 3317460 w 4381952"/>
                  <a:gd name="connsiteY9507" fmla="*/ 6026734 h 7571038"/>
                  <a:gd name="connsiteX9508" fmla="*/ 3315240 w 4381952"/>
                  <a:gd name="connsiteY9508" fmla="*/ 6024515 h 7571038"/>
                  <a:gd name="connsiteX9509" fmla="*/ 3313021 w 4381952"/>
                  <a:gd name="connsiteY9509" fmla="*/ 6026734 h 7571038"/>
                  <a:gd name="connsiteX9510" fmla="*/ 3315240 w 4381952"/>
                  <a:gd name="connsiteY9510" fmla="*/ 6028951 h 7571038"/>
                  <a:gd name="connsiteX9511" fmla="*/ 3317460 w 4381952"/>
                  <a:gd name="connsiteY9511" fmla="*/ 6026734 h 7571038"/>
                  <a:gd name="connsiteX9512" fmla="*/ 3317949 w 4381952"/>
                  <a:gd name="connsiteY9512" fmla="*/ 6144106 h 7571038"/>
                  <a:gd name="connsiteX9513" fmla="*/ 3317213 w 4381952"/>
                  <a:gd name="connsiteY9513" fmla="*/ 6143365 h 7571038"/>
                  <a:gd name="connsiteX9514" fmla="*/ 3316471 w 4381952"/>
                  <a:gd name="connsiteY9514" fmla="*/ 6144106 h 7571038"/>
                  <a:gd name="connsiteX9515" fmla="*/ 3317213 w 4381952"/>
                  <a:gd name="connsiteY9515" fmla="*/ 6144843 h 7571038"/>
                  <a:gd name="connsiteX9516" fmla="*/ 3317949 w 4381952"/>
                  <a:gd name="connsiteY9516" fmla="*/ 6144106 h 7571038"/>
                  <a:gd name="connsiteX9517" fmla="*/ 3317953 w 4381952"/>
                  <a:gd name="connsiteY9517" fmla="*/ 2689132 h 7571038"/>
                  <a:gd name="connsiteX9518" fmla="*/ 3315240 w 4381952"/>
                  <a:gd name="connsiteY9518" fmla="*/ 2686419 h 7571038"/>
                  <a:gd name="connsiteX9519" fmla="*/ 3312526 w 4381952"/>
                  <a:gd name="connsiteY9519" fmla="*/ 2689132 h 7571038"/>
                  <a:gd name="connsiteX9520" fmla="*/ 3315240 w 4381952"/>
                  <a:gd name="connsiteY9520" fmla="*/ 2691842 h 7571038"/>
                  <a:gd name="connsiteX9521" fmla="*/ 3317953 w 4381952"/>
                  <a:gd name="connsiteY9521" fmla="*/ 2689132 h 7571038"/>
                  <a:gd name="connsiteX9522" fmla="*/ 3319922 w 4381952"/>
                  <a:gd name="connsiteY9522" fmla="*/ 6260981 h 7571038"/>
                  <a:gd name="connsiteX9523" fmla="*/ 3318689 w 4381952"/>
                  <a:gd name="connsiteY9523" fmla="*/ 6259749 h 7571038"/>
                  <a:gd name="connsiteX9524" fmla="*/ 3317458 w 4381952"/>
                  <a:gd name="connsiteY9524" fmla="*/ 6260981 h 7571038"/>
                  <a:gd name="connsiteX9525" fmla="*/ 3318689 w 4381952"/>
                  <a:gd name="connsiteY9525" fmla="*/ 6262217 h 7571038"/>
                  <a:gd name="connsiteX9526" fmla="*/ 3319922 w 4381952"/>
                  <a:gd name="connsiteY9526" fmla="*/ 6260981 h 7571038"/>
                  <a:gd name="connsiteX9527" fmla="*/ 3319925 w 4381952"/>
                  <a:gd name="connsiteY9527" fmla="*/ 1894731 h 7571038"/>
                  <a:gd name="connsiteX9528" fmla="*/ 3272088 w 4381952"/>
                  <a:gd name="connsiteY9528" fmla="*/ 1846912 h 7571038"/>
                  <a:gd name="connsiteX9529" fmla="*/ 3224253 w 4381952"/>
                  <a:gd name="connsiteY9529" fmla="*/ 1894731 h 7571038"/>
                  <a:gd name="connsiteX9530" fmla="*/ 3272088 w 4381952"/>
                  <a:gd name="connsiteY9530" fmla="*/ 1942551 h 7571038"/>
                  <a:gd name="connsiteX9531" fmla="*/ 3319925 w 4381952"/>
                  <a:gd name="connsiteY9531" fmla="*/ 1894731 h 7571038"/>
                  <a:gd name="connsiteX9532" fmla="*/ 3319925 w 4381952"/>
                  <a:gd name="connsiteY9532" fmla="*/ 5668706 h 7571038"/>
                  <a:gd name="connsiteX9533" fmla="*/ 3309567 w 4381952"/>
                  <a:gd name="connsiteY9533" fmla="*/ 5658351 h 7571038"/>
                  <a:gd name="connsiteX9534" fmla="*/ 3299212 w 4381952"/>
                  <a:gd name="connsiteY9534" fmla="*/ 5668706 h 7571038"/>
                  <a:gd name="connsiteX9535" fmla="*/ 3309567 w 4381952"/>
                  <a:gd name="connsiteY9535" fmla="*/ 5679064 h 7571038"/>
                  <a:gd name="connsiteX9536" fmla="*/ 3319925 w 4381952"/>
                  <a:gd name="connsiteY9536" fmla="*/ 5668706 h 7571038"/>
                  <a:gd name="connsiteX9537" fmla="*/ 3320912 w 4381952"/>
                  <a:gd name="connsiteY9537" fmla="*/ 3217779 h 7571038"/>
                  <a:gd name="connsiteX9538" fmla="*/ 3317213 w 4381952"/>
                  <a:gd name="connsiteY9538" fmla="*/ 3214080 h 7571038"/>
                  <a:gd name="connsiteX9539" fmla="*/ 3313513 w 4381952"/>
                  <a:gd name="connsiteY9539" fmla="*/ 3217779 h 7571038"/>
                  <a:gd name="connsiteX9540" fmla="*/ 3317213 w 4381952"/>
                  <a:gd name="connsiteY9540" fmla="*/ 3221479 h 7571038"/>
                  <a:gd name="connsiteX9541" fmla="*/ 3320912 w 4381952"/>
                  <a:gd name="connsiteY9541" fmla="*/ 3217779 h 7571038"/>
                  <a:gd name="connsiteX9542" fmla="*/ 3322143 w 4381952"/>
                  <a:gd name="connsiteY9542" fmla="*/ 1643742 h 7571038"/>
                  <a:gd name="connsiteX9543" fmla="*/ 3282938 w 4381952"/>
                  <a:gd name="connsiteY9543" fmla="*/ 1604533 h 7571038"/>
                  <a:gd name="connsiteX9544" fmla="*/ 3243730 w 4381952"/>
                  <a:gd name="connsiteY9544" fmla="*/ 1643742 h 7571038"/>
                  <a:gd name="connsiteX9545" fmla="*/ 3282938 w 4381952"/>
                  <a:gd name="connsiteY9545" fmla="*/ 1682947 h 7571038"/>
                  <a:gd name="connsiteX9546" fmla="*/ 3322143 w 4381952"/>
                  <a:gd name="connsiteY9546" fmla="*/ 1643742 h 7571038"/>
                  <a:gd name="connsiteX9547" fmla="*/ 3324854 w 4381952"/>
                  <a:gd name="connsiteY9547" fmla="*/ 1768507 h 7571038"/>
                  <a:gd name="connsiteX9548" fmla="*/ 3278252 w 4381952"/>
                  <a:gd name="connsiteY9548" fmla="*/ 1721876 h 7571038"/>
                  <a:gd name="connsiteX9549" fmla="*/ 3231650 w 4381952"/>
                  <a:gd name="connsiteY9549" fmla="*/ 1768507 h 7571038"/>
                  <a:gd name="connsiteX9550" fmla="*/ 3278252 w 4381952"/>
                  <a:gd name="connsiteY9550" fmla="*/ 1815127 h 7571038"/>
                  <a:gd name="connsiteX9551" fmla="*/ 3324854 w 4381952"/>
                  <a:gd name="connsiteY9551" fmla="*/ 1768507 h 7571038"/>
                  <a:gd name="connsiteX9552" fmla="*/ 3330528 w 4381952"/>
                  <a:gd name="connsiteY9552" fmla="*/ 6374652 h 7571038"/>
                  <a:gd name="connsiteX9553" fmla="*/ 3327075 w 4381952"/>
                  <a:gd name="connsiteY9553" fmla="*/ 6371199 h 7571038"/>
                  <a:gd name="connsiteX9554" fmla="*/ 3323623 w 4381952"/>
                  <a:gd name="connsiteY9554" fmla="*/ 6374652 h 7571038"/>
                  <a:gd name="connsiteX9555" fmla="*/ 3327075 w 4381952"/>
                  <a:gd name="connsiteY9555" fmla="*/ 6378103 h 7571038"/>
                  <a:gd name="connsiteX9556" fmla="*/ 3330528 w 4381952"/>
                  <a:gd name="connsiteY9556" fmla="*/ 6374652 h 7571038"/>
                  <a:gd name="connsiteX9557" fmla="*/ 3331020 w 4381952"/>
                  <a:gd name="connsiteY9557" fmla="*/ 6606188 h 7571038"/>
                  <a:gd name="connsiteX9558" fmla="*/ 3328310 w 4381952"/>
                  <a:gd name="connsiteY9558" fmla="*/ 6603475 h 7571038"/>
                  <a:gd name="connsiteX9559" fmla="*/ 3325597 w 4381952"/>
                  <a:gd name="connsiteY9559" fmla="*/ 6606188 h 7571038"/>
                  <a:gd name="connsiteX9560" fmla="*/ 3328310 w 4381952"/>
                  <a:gd name="connsiteY9560" fmla="*/ 6608901 h 7571038"/>
                  <a:gd name="connsiteX9561" fmla="*/ 3331020 w 4381952"/>
                  <a:gd name="connsiteY9561" fmla="*/ 6606188 h 7571038"/>
                  <a:gd name="connsiteX9562" fmla="*/ 3331512 w 4381952"/>
                  <a:gd name="connsiteY9562" fmla="*/ 6490542 h 7571038"/>
                  <a:gd name="connsiteX9563" fmla="*/ 3328059 w 4381952"/>
                  <a:gd name="connsiteY9563" fmla="*/ 6487090 h 7571038"/>
                  <a:gd name="connsiteX9564" fmla="*/ 3324607 w 4381952"/>
                  <a:gd name="connsiteY9564" fmla="*/ 6490542 h 7571038"/>
                  <a:gd name="connsiteX9565" fmla="*/ 3328059 w 4381952"/>
                  <a:gd name="connsiteY9565" fmla="*/ 6493994 h 7571038"/>
                  <a:gd name="connsiteX9566" fmla="*/ 3331512 w 4381952"/>
                  <a:gd name="connsiteY9566" fmla="*/ 6490542 h 7571038"/>
                  <a:gd name="connsiteX9567" fmla="*/ 3332744 w 4381952"/>
                  <a:gd name="connsiteY9567" fmla="*/ 6720845 h 7571038"/>
                  <a:gd name="connsiteX9568" fmla="*/ 3329539 w 4381952"/>
                  <a:gd name="connsiteY9568" fmla="*/ 6717640 h 7571038"/>
                  <a:gd name="connsiteX9569" fmla="*/ 3326334 w 4381952"/>
                  <a:gd name="connsiteY9569" fmla="*/ 6720845 h 7571038"/>
                  <a:gd name="connsiteX9570" fmla="*/ 3329539 w 4381952"/>
                  <a:gd name="connsiteY9570" fmla="*/ 6724050 h 7571038"/>
                  <a:gd name="connsiteX9571" fmla="*/ 3332744 w 4381952"/>
                  <a:gd name="connsiteY9571" fmla="*/ 6720845 h 7571038"/>
                  <a:gd name="connsiteX9572" fmla="*/ 3333239 w 4381952"/>
                  <a:gd name="connsiteY9572" fmla="*/ 4060787 h 7571038"/>
                  <a:gd name="connsiteX9573" fmla="*/ 3313019 w 4381952"/>
                  <a:gd name="connsiteY9573" fmla="*/ 4040567 h 7571038"/>
                  <a:gd name="connsiteX9574" fmla="*/ 3292800 w 4381952"/>
                  <a:gd name="connsiteY9574" fmla="*/ 4060787 h 7571038"/>
                  <a:gd name="connsiteX9575" fmla="*/ 3313019 w 4381952"/>
                  <a:gd name="connsiteY9575" fmla="*/ 4081007 h 7571038"/>
                  <a:gd name="connsiteX9576" fmla="*/ 3333239 w 4381952"/>
                  <a:gd name="connsiteY9576" fmla="*/ 4060787 h 7571038"/>
                  <a:gd name="connsiteX9577" fmla="*/ 3333733 w 4381952"/>
                  <a:gd name="connsiteY9577" fmla="*/ 6835504 h 7571038"/>
                  <a:gd name="connsiteX9578" fmla="*/ 3330280 w 4381952"/>
                  <a:gd name="connsiteY9578" fmla="*/ 6832050 h 7571038"/>
                  <a:gd name="connsiteX9579" fmla="*/ 3326829 w 4381952"/>
                  <a:gd name="connsiteY9579" fmla="*/ 6835504 h 7571038"/>
                  <a:gd name="connsiteX9580" fmla="*/ 3330280 w 4381952"/>
                  <a:gd name="connsiteY9580" fmla="*/ 6838955 h 7571038"/>
                  <a:gd name="connsiteX9581" fmla="*/ 3333733 w 4381952"/>
                  <a:gd name="connsiteY9581" fmla="*/ 6835504 h 7571038"/>
                  <a:gd name="connsiteX9582" fmla="*/ 3335952 w 4381952"/>
                  <a:gd name="connsiteY9582" fmla="*/ 6949664 h 7571038"/>
                  <a:gd name="connsiteX9583" fmla="*/ 3331267 w 4381952"/>
                  <a:gd name="connsiteY9583" fmla="*/ 6944981 h 7571038"/>
                  <a:gd name="connsiteX9584" fmla="*/ 3326580 w 4381952"/>
                  <a:gd name="connsiteY9584" fmla="*/ 6949664 h 7571038"/>
                  <a:gd name="connsiteX9585" fmla="*/ 3331267 w 4381952"/>
                  <a:gd name="connsiteY9585" fmla="*/ 6954350 h 7571038"/>
                  <a:gd name="connsiteX9586" fmla="*/ 3335952 w 4381952"/>
                  <a:gd name="connsiteY9586" fmla="*/ 6949664 h 7571038"/>
                  <a:gd name="connsiteX9587" fmla="*/ 3336939 w 4381952"/>
                  <a:gd name="connsiteY9587" fmla="*/ 2368601 h 7571038"/>
                  <a:gd name="connsiteX9588" fmla="*/ 3331021 w 4381952"/>
                  <a:gd name="connsiteY9588" fmla="*/ 2362680 h 7571038"/>
                  <a:gd name="connsiteX9589" fmla="*/ 3325102 w 4381952"/>
                  <a:gd name="connsiteY9589" fmla="*/ 2368601 h 7571038"/>
                  <a:gd name="connsiteX9590" fmla="*/ 3331021 w 4381952"/>
                  <a:gd name="connsiteY9590" fmla="*/ 2374515 h 7571038"/>
                  <a:gd name="connsiteX9591" fmla="*/ 3336939 w 4381952"/>
                  <a:gd name="connsiteY9591" fmla="*/ 2368601 h 7571038"/>
                  <a:gd name="connsiteX9592" fmla="*/ 3338419 w 4381952"/>
                  <a:gd name="connsiteY9592" fmla="*/ 7063584 h 7571038"/>
                  <a:gd name="connsiteX9593" fmla="*/ 3332253 w 4381952"/>
                  <a:gd name="connsiteY9593" fmla="*/ 7057419 h 7571038"/>
                  <a:gd name="connsiteX9594" fmla="*/ 3326088 w 4381952"/>
                  <a:gd name="connsiteY9594" fmla="*/ 7063584 h 7571038"/>
                  <a:gd name="connsiteX9595" fmla="*/ 3332253 w 4381952"/>
                  <a:gd name="connsiteY9595" fmla="*/ 7069750 h 7571038"/>
                  <a:gd name="connsiteX9596" fmla="*/ 3338419 w 4381952"/>
                  <a:gd name="connsiteY9596" fmla="*/ 7063584 h 7571038"/>
                  <a:gd name="connsiteX9597" fmla="*/ 3340637 w 4381952"/>
                  <a:gd name="connsiteY9597" fmla="*/ 3678349 h 7571038"/>
                  <a:gd name="connsiteX9598" fmla="*/ 3329047 w 4381952"/>
                  <a:gd name="connsiteY9598" fmla="*/ 3666759 h 7571038"/>
                  <a:gd name="connsiteX9599" fmla="*/ 3317458 w 4381952"/>
                  <a:gd name="connsiteY9599" fmla="*/ 3678349 h 7571038"/>
                  <a:gd name="connsiteX9600" fmla="*/ 3329047 w 4381952"/>
                  <a:gd name="connsiteY9600" fmla="*/ 3689939 h 7571038"/>
                  <a:gd name="connsiteX9601" fmla="*/ 3340637 w 4381952"/>
                  <a:gd name="connsiteY9601" fmla="*/ 3678349 h 7571038"/>
                  <a:gd name="connsiteX9602" fmla="*/ 3342607 w 4381952"/>
                  <a:gd name="connsiteY9602" fmla="*/ 7288709 h 7571038"/>
                  <a:gd name="connsiteX9603" fmla="*/ 3338416 w 4381952"/>
                  <a:gd name="connsiteY9603" fmla="*/ 7284517 h 7571038"/>
                  <a:gd name="connsiteX9604" fmla="*/ 3334225 w 4381952"/>
                  <a:gd name="connsiteY9604" fmla="*/ 7288709 h 7571038"/>
                  <a:gd name="connsiteX9605" fmla="*/ 3338416 w 4381952"/>
                  <a:gd name="connsiteY9605" fmla="*/ 7292900 h 7571038"/>
                  <a:gd name="connsiteX9606" fmla="*/ 3342607 w 4381952"/>
                  <a:gd name="connsiteY9606" fmla="*/ 7288709 h 7571038"/>
                  <a:gd name="connsiteX9607" fmla="*/ 3343102 w 4381952"/>
                  <a:gd name="connsiteY9607" fmla="*/ 3331937 h 7571038"/>
                  <a:gd name="connsiteX9608" fmla="*/ 3337432 w 4381952"/>
                  <a:gd name="connsiteY9608" fmla="*/ 3326268 h 7571038"/>
                  <a:gd name="connsiteX9609" fmla="*/ 3331760 w 4381952"/>
                  <a:gd name="connsiteY9609" fmla="*/ 3331937 h 7571038"/>
                  <a:gd name="connsiteX9610" fmla="*/ 3337432 w 4381952"/>
                  <a:gd name="connsiteY9610" fmla="*/ 3337611 h 7571038"/>
                  <a:gd name="connsiteX9611" fmla="*/ 3343102 w 4381952"/>
                  <a:gd name="connsiteY9611" fmla="*/ 3331937 h 7571038"/>
                  <a:gd name="connsiteX9612" fmla="*/ 3344580 w 4381952"/>
                  <a:gd name="connsiteY9612" fmla="*/ 7401640 h 7571038"/>
                  <a:gd name="connsiteX9613" fmla="*/ 3338910 w 4381952"/>
                  <a:gd name="connsiteY9613" fmla="*/ 7395967 h 7571038"/>
                  <a:gd name="connsiteX9614" fmla="*/ 3333238 w 4381952"/>
                  <a:gd name="connsiteY9614" fmla="*/ 7401640 h 7571038"/>
                  <a:gd name="connsiteX9615" fmla="*/ 3338910 w 4381952"/>
                  <a:gd name="connsiteY9615" fmla="*/ 7407312 h 7571038"/>
                  <a:gd name="connsiteX9616" fmla="*/ 3344580 w 4381952"/>
                  <a:gd name="connsiteY9616" fmla="*/ 7401640 h 7571038"/>
                  <a:gd name="connsiteX9617" fmla="*/ 3345324 w 4381952"/>
                  <a:gd name="connsiteY9617" fmla="*/ 7175284 h 7571038"/>
                  <a:gd name="connsiteX9618" fmla="*/ 3338171 w 4381952"/>
                  <a:gd name="connsiteY9618" fmla="*/ 7168134 h 7571038"/>
                  <a:gd name="connsiteX9619" fmla="*/ 3331020 w 4381952"/>
                  <a:gd name="connsiteY9619" fmla="*/ 7175284 h 7571038"/>
                  <a:gd name="connsiteX9620" fmla="*/ 3338171 w 4381952"/>
                  <a:gd name="connsiteY9620" fmla="*/ 7182434 h 7571038"/>
                  <a:gd name="connsiteX9621" fmla="*/ 3345324 w 4381952"/>
                  <a:gd name="connsiteY9621" fmla="*/ 7175284 h 7571038"/>
                  <a:gd name="connsiteX9622" fmla="*/ 3352967 w 4381952"/>
                  <a:gd name="connsiteY9622" fmla="*/ 3563197 h 7571038"/>
                  <a:gd name="connsiteX9623" fmla="*/ 3343350 w 4381952"/>
                  <a:gd name="connsiteY9623" fmla="*/ 3553580 h 7571038"/>
                  <a:gd name="connsiteX9624" fmla="*/ 3333733 w 4381952"/>
                  <a:gd name="connsiteY9624" fmla="*/ 3563197 h 7571038"/>
                  <a:gd name="connsiteX9625" fmla="*/ 3343350 w 4381952"/>
                  <a:gd name="connsiteY9625" fmla="*/ 3572812 h 7571038"/>
                  <a:gd name="connsiteX9626" fmla="*/ 3352967 w 4381952"/>
                  <a:gd name="connsiteY9626" fmla="*/ 3563197 h 7571038"/>
                  <a:gd name="connsiteX9627" fmla="*/ 3353460 w 4381952"/>
                  <a:gd name="connsiteY9627" fmla="*/ 2943593 h 7571038"/>
                  <a:gd name="connsiteX9628" fmla="*/ 3337185 w 4381952"/>
                  <a:gd name="connsiteY9628" fmla="*/ 2927317 h 7571038"/>
                  <a:gd name="connsiteX9629" fmla="*/ 3320912 w 4381952"/>
                  <a:gd name="connsiteY9629" fmla="*/ 2943593 h 7571038"/>
                  <a:gd name="connsiteX9630" fmla="*/ 3337185 w 4381952"/>
                  <a:gd name="connsiteY9630" fmla="*/ 2959866 h 7571038"/>
                  <a:gd name="connsiteX9631" fmla="*/ 3353460 w 4381952"/>
                  <a:gd name="connsiteY9631" fmla="*/ 2943593 h 7571038"/>
                  <a:gd name="connsiteX9632" fmla="*/ 3353705 w 4381952"/>
                  <a:gd name="connsiteY9632" fmla="*/ 3447338 h 7571038"/>
                  <a:gd name="connsiteX9633" fmla="*/ 3346061 w 4381952"/>
                  <a:gd name="connsiteY9633" fmla="*/ 3439694 h 7571038"/>
                  <a:gd name="connsiteX9634" fmla="*/ 3338416 w 4381952"/>
                  <a:gd name="connsiteY9634" fmla="*/ 3447338 h 7571038"/>
                  <a:gd name="connsiteX9635" fmla="*/ 3346061 w 4381952"/>
                  <a:gd name="connsiteY9635" fmla="*/ 3454983 h 7571038"/>
                  <a:gd name="connsiteX9636" fmla="*/ 3353705 w 4381952"/>
                  <a:gd name="connsiteY9636" fmla="*/ 3447338 h 7571038"/>
                  <a:gd name="connsiteX9637" fmla="*/ 3358885 w 4381952"/>
                  <a:gd name="connsiteY9637" fmla="*/ 577661 h 7571038"/>
                  <a:gd name="connsiteX9638" fmla="*/ 3318938 w 4381952"/>
                  <a:gd name="connsiteY9638" fmla="*/ 537964 h 7571038"/>
                  <a:gd name="connsiteX9639" fmla="*/ 3279240 w 4381952"/>
                  <a:gd name="connsiteY9639" fmla="*/ 577661 h 7571038"/>
                  <a:gd name="connsiteX9640" fmla="*/ 3318938 w 4381952"/>
                  <a:gd name="connsiteY9640" fmla="*/ 617359 h 7571038"/>
                  <a:gd name="connsiteX9641" fmla="*/ 3358885 w 4381952"/>
                  <a:gd name="connsiteY9641" fmla="*/ 577661 h 7571038"/>
                  <a:gd name="connsiteX9642" fmla="*/ 3359128 w 4381952"/>
                  <a:gd name="connsiteY9642" fmla="*/ 461794 h 7571038"/>
                  <a:gd name="connsiteX9643" fmla="*/ 3319676 w 4381952"/>
                  <a:gd name="connsiteY9643" fmla="*/ 422344 h 7571038"/>
                  <a:gd name="connsiteX9644" fmla="*/ 3279978 w 4381952"/>
                  <a:gd name="connsiteY9644" fmla="*/ 461794 h 7571038"/>
                  <a:gd name="connsiteX9645" fmla="*/ 3319676 w 4381952"/>
                  <a:gd name="connsiteY9645" fmla="*/ 501245 h 7571038"/>
                  <a:gd name="connsiteX9646" fmla="*/ 3359128 w 4381952"/>
                  <a:gd name="connsiteY9646" fmla="*/ 461794 h 7571038"/>
                  <a:gd name="connsiteX9647" fmla="*/ 3360115 w 4381952"/>
                  <a:gd name="connsiteY9647" fmla="*/ 2527 h 7571038"/>
                  <a:gd name="connsiteX9648" fmla="*/ 3359063 w 4381952"/>
                  <a:gd name="connsiteY9648" fmla="*/ 0 h 7571038"/>
                  <a:gd name="connsiteX9649" fmla="*/ 3283742 w 4381952"/>
                  <a:gd name="connsiteY9649" fmla="*/ 0 h 7571038"/>
                  <a:gd name="connsiteX9650" fmla="*/ 3282691 w 4381952"/>
                  <a:gd name="connsiteY9650" fmla="*/ 2527 h 7571038"/>
                  <a:gd name="connsiteX9651" fmla="*/ 3321402 w 4381952"/>
                  <a:gd name="connsiteY9651" fmla="*/ 41237 h 7571038"/>
                  <a:gd name="connsiteX9652" fmla="*/ 3360115 w 4381952"/>
                  <a:gd name="connsiteY9652" fmla="*/ 2527 h 7571038"/>
                  <a:gd name="connsiteX9653" fmla="*/ 3360115 w 4381952"/>
                  <a:gd name="connsiteY9653" fmla="*/ 116910 h 7571038"/>
                  <a:gd name="connsiteX9654" fmla="*/ 3321402 w 4381952"/>
                  <a:gd name="connsiteY9654" fmla="*/ 78199 h 7571038"/>
                  <a:gd name="connsiteX9655" fmla="*/ 3282691 w 4381952"/>
                  <a:gd name="connsiteY9655" fmla="*/ 116910 h 7571038"/>
                  <a:gd name="connsiteX9656" fmla="*/ 3321402 w 4381952"/>
                  <a:gd name="connsiteY9656" fmla="*/ 155623 h 7571038"/>
                  <a:gd name="connsiteX9657" fmla="*/ 3360115 w 4381952"/>
                  <a:gd name="connsiteY9657" fmla="*/ 116910 h 7571038"/>
                  <a:gd name="connsiteX9658" fmla="*/ 3360117 w 4381952"/>
                  <a:gd name="connsiteY9658" fmla="*/ 231295 h 7571038"/>
                  <a:gd name="connsiteX9659" fmla="*/ 3320912 w 4381952"/>
                  <a:gd name="connsiteY9659" fmla="*/ 192090 h 7571038"/>
                  <a:gd name="connsiteX9660" fmla="*/ 3281704 w 4381952"/>
                  <a:gd name="connsiteY9660" fmla="*/ 231295 h 7571038"/>
                  <a:gd name="connsiteX9661" fmla="*/ 3320912 w 4381952"/>
                  <a:gd name="connsiteY9661" fmla="*/ 270500 h 7571038"/>
                  <a:gd name="connsiteX9662" fmla="*/ 3360117 w 4381952"/>
                  <a:gd name="connsiteY9662" fmla="*/ 231295 h 7571038"/>
                  <a:gd name="connsiteX9663" fmla="*/ 3362089 w 4381952"/>
                  <a:gd name="connsiteY9663" fmla="*/ 346421 h 7571038"/>
                  <a:gd name="connsiteX9664" fmla="*/ 3320665 w 4381952"/>
                  <a:gd name="connsiteY9664" fmla="*/ 304999 h 7571038"/>
                  <a:gd name="connsiteX9665" fmla="*/ 3279240 w 4381952"/>
                  <a:gd name="connsiteY9665" fmla="*/ 346421 h 7571038"/>
                  <a:gd name="connsiteX9666" fmla="*/ 3320665 w 4381952"/>
                  <a:gd name="connsiteY9666" fmla="*/ 387843 h 7571038"/>
                  <a:gd name="connsiteX9667" fmla="*/ 3362089 w 4381952"/>
                  <a:gd name="connsiteY9667" fmla="*/ 346421 h 7571038"/>
                  <a:gd name="connsiteX9668" fmla="*/ 3362090 w 4381952"/>
                  <a:gd name="connsiteY9668" fmla="*/ 4441005 h 7571038"/>
                  <a:gd name="connsiteX9669" fmla="*/ 3316720 w 4381952"/>
                  <a:gd name="connsiteY9669" fmla="*/ 4395634 h 7571038"/>
                  <a:gd name="connsiteX9670" fmla="*/ 3271595 w 4381952"/>
                  <a:gd name="connsiteY9670" fmla="*/ 4441005 h 7571038"/>
                  <a:gd name="connsiteX9671" fmla="*/ 3316720 w 4381952"/>
                  <a:gd name="connsiteY9671" fmla="*/ 4486374 h 7571038"/>
                  <a:gd name="connsiteX9672" fmla="*/ 3362090 w 4381952"/>
                  <a:gd name="connsiteY9672" fmla="*/ 4441005 h 7571038"/>
                  <a:gd name="connsiteX9673" fmla="*/ 3366527 w 4381952"/>
                  <a:gd name="connsiteY9673" fmla="*/ 2230776 h 7571038"/>
                  <a:gd name="connsiteX9674" fmla="*/ 3345077 w 4381952"/>
                  <a:gd name="connsiteY9674" fmla="*/ 2209319 h 7571038"/>
                  <a:gd name="connsiteX9675" fmla="*/ 3323623 w 4381952"/>
                  <a:gd name="connsiteY9675" fmla="*/ 2230776 h 7571038"/>
                  <a:gd name="connsiteX9676" fmla="*/ 3345077 w 4381952"/>
                  <a:gd name="connsiteY9676" fmla="*/ 2252227 h 7571038"/>
                  <a:gd name="connsiteX9677" fmla="*/ 3366527 w 4381952"/>
                  <a:gd name="connsiteY9677" fmla="*/ 2230776 h 7571038"/>
                  <a:gd name="connsiteX9678" fmla="*/ 3372198 w 4381952"/>
                  <a:gd name="connsiteY9678" fmla="*/ 2095900 h 7571038"/>
                  <a:gd name="connsiteX9679" fmla="*/ 3356418 w 4381952"/>
                  <a:gd name="connsiteY9679" fmla="*/ 2080117 h 7571038"/>
                  <a:gd name="connsiteX9680" fmla="*/ 3340637 w 4381952"/>
                  <a:gd name="connsiteY9680" fmla="*/ 2095900 h 7571038"/>
                  <a:gd name="connsiteX9681" fmla="*/ 3356418 w 4381952"/>
                  <a:gd name="connsiteY9681" fmla="*/ 2111683 h 7571038"/>
                  <a:gd name="connsiteX9682" fmla="*/ 3372198 w 4381952"/>
                  <a:gd name="connsiteY9682" fmla="*/ 2095900 h 7571038"/>
                  <a:gd name="connsiteX9683" fmla="*/ 3375159 w 4381952"/>
                  <a:gd name="connsiteY9683" fmla="*/ 4214403 h 7571038"/>
                  <a:gd name="connsiteX9684" fmla="*/ 3349515 w 4381952"/>
                  <a:gd name="connsiteY9684" fmla="*/ 4188759 h 7571038"/>
                  <a:gd name="connsiteX9685" fmla="*/ 3323871 w 4381952"/>
                  <a:gd name="connsiteY9685" fmla="*/ 4214403 h 7571038"/>
                  <a:gd name="connsiteX9686" fmla="*/ 3349515 w 4381952"/>
                  <a:gd name="connsiteY9686" fmla="*/ 4240047 h 7571038"/>
                  <a:gd name="connsiteX9687" fmla="*/ 3375159 w 4381952"/>
                  <a:gd name="connsiteY9687" fmla="*/ 4214403 h 7571038"/>
                  <a:gd name="connsiteX9688" fmla="*/ 3382063 w 4381952"/>
                  <a:gd name="connsiteY9688" fmla="*/ 2786529 h 7571038"/>
                  <a:gd name="connsiteX9689" fmla="*/ 3377378 w 4381952"/>
                  <a:gd name="connsiteY9689" fmla="*/ 2781844 h 7571038"/>
                  <a:gd name="connsiteX9690" fmla="*/ 3372691 w 4381952"/>
                  <a:gd name="connsiteY9690" fmla="*/ 2786529 h 7571038"/>
                  <a:gd name="connsiteX9691" fmla="*/ 3377378 w 4381952"/>
                  <a:gd name="connsiteY9691" fmla="*/ 2791216 h 7571038"/>
                  <a:gd name="connsiteX9692" fmla="*/ 3382063 w 4381952"/>
                  <a:gd name="connsiteY9692" fmla="*/ 2786529 h 7571038"/>
                  <a:gd name="connsiteX9693" fmla="*/ 3382553 w 4381952"/>
                  <a:gd name="connsiteY9693" fmla="*/ 3955743 h 7571038"/>
                  <a:gd name="connsiteX9694" fmla="*/ 3361596 w 4381952"/>
                  <a:gd name="connsiteY9694" fmla="*/ 3934785 h 7571038"/>
                  <a:gd name="connsiteX9695" fmla="*/ 3340637 w 4381952"/>
                  <a:gd name="connsiteY9695" fmla="*/ 3955743 h 7571038"/>
                  <a:gd name="connsiteX9696" fmla="*/ 3361596 w 4381952"/>
                  <a:gd name="connsiteY9696" fmla="*/ 3976701 h 7571038"/>
                  <a:gd name="connsiteX9697" fmla="*/ 3382553 w 4381952"/>
                  <a:gd name="connsiteY9697" fmla="*/ 3955743 h 7571038"/>
                  <a:gd name="connsiteX9698" fmla="*/ 3382800 w 4381952"/>
                  <a:gd name="connsiteY9698" fmla="*/ 4582786 h 7571038"/>
                  <a:gd name="connsiteX9699" fmla="*/ 3334720 w 4381952"/>
                  <a:gd name="connsiteY9699" fmla="*/ 4534703 h 7571038"/>
                  <a:gd name="connsiteX9700" fmla="*/ 3286637 w 4381952"/>
                  <a:gd name="connsiteY9700" fmla="*/ 4582786 h 7571038"/>
                  <a:gd name="connsiteX9701" fmla="*/ 3334720 w 4381952"/>
                  <a:gd name="connsiteY9701" fmla="*/ 4630869 h 7571038"/>
                  <a:gd name="connsiteX9702" fmla="*/ 3382800 w 4381952"/>
                  <a:gd name="connsiteY9702" fmla="*/ 4582786 h 7571038"/>
                  <a:gd name="connsiteX9703" fmla="*/ 3389458 w 4381952"/>
                  <a:gd name="connsiteY9703" fmla="*/ 2601601 h 7571038"/>
                  <a:gd name="connsiteX9704" fmla="*/ 3386004 w 4381952"/>
                  <a:gd name="connsiteY9704" fmla="*/ 2598150 h 7571038"/>
                  <a:gd name="connsiteX9705" fmla="*/ 3382553 w 4381952"/>
                  <a:gd name="connsiteY9705" fmla="*/ 2601601 h 7571038"/>
                  <a:gd name="connsiteX9706" fmla="*/ 3386004 w 4381952"/>
                  <a:gd name="connsiteY9706" fmla="*/ 2605055 h 7571038"/>
                  <a:gd name="connsiteX9707" fmla="*/ 3389458 w 4381952"/>
                  <a:gd name="connsiteY9707" fmla="*/ 2601601 h 7571038"/>
                  <a:gd name="connsiteX9708" fmla="*/ 3390693 w 4381952"/>
                  <a:gd name="connsiteY9708" fmla="*/ 5243610 h 7571038"/>
                  <a:gd name="connsiteX9709" fmla="*/ 3388720 w 4381952"/>
                  <a:gd name="connsiteY9709" fmla="*/ 5241636 h 7571038"/>
                  <a:gd name="connsiteX9710" fmla="*/ 3386747 w 4381952"/>
                  <a:gd name="connsiteY9710" fmla="*/ 5243610 h 7571038"/>
                  <a:gd name="connsiteX9711" fmla="*/ 3388720 w 4381952"/>
                  <a:gd name="connsiteY9711" fmla="*/ 5245582 h 7571038"/>
                  <a:gd name="connsiteX9712" fmla="*/ 3390693 w 4381952"/>
                  <a:gd name="connsiteY9712" fmla="*/ 5243610 h 7571038"/>
                  <a:gd name="connsiteX9713" fmla="*/ 3392171 w 4381952"/>
                  <a:gd name="connsiteY9713" fmla="*/ 1555228 h 7571038"/>
                  <a:gd name="connsiteX9714" fmla="*/ 3345814 w 4381952"/>
                  <a:gd name="connsiteY9714" fmla="*/ 1508873 h 7571038"/>
                  <a:gd name="connsiteX9715" fmla="*/ 3299458 w 4381952"/>
                  <a:gd name="connsiteY9715" fmla="*/ 1555228 h 7571038"/>
                  <a:gd name="connsiteX9716" fmla="*/ 3345814 w 4381952"/>
                  <a:gd name="connsiteY9716" fmla="*/ 1601585 h 7571038"/>
                  <a:gd name="connsiteX9717" fmla="*/ 3392171 w 4381952"/>
                  <a:gd name="connsiteY9717" fmla="*/ 1555228 h 7571038"/>
                  <a:gd name="connsiteX9718" fmla="*/ 3394885 w 4381952"/>
                  <a:gd name="connsiteY9718" fmla="*/ 4854511 h 7571038"/>
                  <a:gd name="connsiteX9719" fmla="*/ 3362088 w 4381952"/>
                  <a:gd name="connsiteY9719" fmla="*/ 4821717 h 7571038"/>
                  <a:gd name="connsiteX9720" fmla="*/ 3329294 w 4381952"/>
                  <a:gd name="connsiteY9720" fmla="*/ 4854511 h 7571038"/>
                  <a:gd name="connsiteX9721" fmla="*/ 3362088 w 4381952"/>
                  <a:gd name="connsiteY9721" fmla="*/ 4887308 h 7571038"/>
                  <a:gd name="connsiteX9722" fmla="*/ 3394885 w 4381952"/>
                  <a:gd name="connsiteY9722" fmla="*/ 4854511 h 7571038"/>
                  <a:gd name="connsiteX9723" fmla="*/ 3395867 w 4381952"/>
                  <a:gd name="connsiteY9723" fmla="*/ 1431710 h 7571038"/>
                  <a:gd name="connsiteX9724" fmla="*/ 3349760 w 4381952"/>
                  <a:gd name="connsiteY9724" fmla="*/ 1385601 h 7571038"/>
                  <a:gd name="connsiteX9725" fmla="*/ 3303650 w 4381952"/>
                  <a:gd name="connsiteY9725" fmla="*/ 1431710 h 7571038"/>
                  <a:gd name="connsiteX9726" fmla="*/ 3349760 w 4381952"/>
                  <a:gd name="connsiteY9726" fmla="*/ 1477571 h 7571038"/>
                  <a:gd name="connsiteX9727" fmla="*/ 3395867 w 4381952"/>
                  <a:gd name="connsiteY9727" fmla="*/ 1431710 h 7571038"/>
                  <a:gd name="connsiteX9728" fmla="*/ 3395871 w 4381952"/>
                  <a:gd name="connsiteY9728" fmla="*/ 4720131 h 7571038"/>
                  <a:gd name="connsiteX9729" fmla="*/ 3349763 w 4381952"/>
                  <a:gd name="connsiteY9729" fmla="*/ 4674266 h 7571038"/>
                  <a:gd name="connsiteX9730" fmla="*/ 3303899 w 4381952"/>
                  <a:gd name="connsiteY9730" fmla="*/ 4720131 h 7571038"/>
                  <a:gd name="connsiteX9731" fmla="*/ 3349763 w 4381952"/>
                  <a:gd name="connsiteY9731" fmla="*/ 4766238 h 7571038"/>
                  <a:gd name="connsiteX9732" fmla="*/ 3395871 w 4381952"/>
                  <a:gd name="connsiteY9732" fmla="*/ 4720131 h 7571038"/>
                  <a:gd name="connsiteX9733" fmla="*/ 3396611 w 4381952"/>
                  <a:gd name="connsiteY9733" fmla="*/ 1309673 h 7571038"/>
                  <a:gd name="connsiteX9734" fmla="*/ 3353459 w 4381952"/>
                  <a:gd name="connsiteY9734" fmla="*/ 1266515 h 7571038"/>
                  <a:gd name="connsiteX9735" fmla="*/ 3310307 w 4381952"/>
                  <a:gd name="connsiteY9735" fmla="*/ 1309673 h 7571038"/>
                  <a:gd name="connsiteX9736" fmla="*/ 3353459 w 4381952"/>
                  <a:gd name="connsiteY9736" fmla="*/ 1352823 h 7571038"/>
                  <a:gd name="connsiteX9737" fmla="*/ 3396611 w 4381952"/>
                  <a:gd name="connsiteY9737" fmla="*/ 1309673 h 7571038"/>
                  <a:gd name="connsiteX9738" fmla="*/ 3399815 w 4381952"/>
                  <a:gd name="connsiteY9738" fmla="*/ 3050607 h 7571038"/>
                  <a:gd name="connsiteX9739" fmla="*/ 3381075 w 4381952"/>
                  <a:gd name="connsiteY9739" fmla="*/ 3031867 h 7571038"/>
                  <a:gd name="connsiteX9740" fmla="*/ 3362336 w 4381952"/>
                  <a:gd name="connsiteY9740" fmla="*/ 3050607 h 7571038"/>
                  <a:gd name="connsiteX9741" fmla="*/ 3381075 w 4381952"/>
                  <a:gd name="connsiteY9741" fmla="*/ 3069347 h 7571038"/>
                  <a:gd name="connsiteX9742" fmla="*/ 3399815 w 4381952"/>
                  <a:gd name="connsiteY9742" fmla="*/ 3050607 h 7571038"/>
                  <a:gd name="connsiteX9743" fmla="*/ 3399816 w 4381952"/>
                  <a:gd name="connsiteY9743" fmla="*/ 4985938 h 7571038"/>
                  <a:gd name="connsiteX9744" fmla="*/ 3372936 w 4381952"/>
                  <a:gd name="connsiteY9744" fmla="*/ 4959061 h 7571038"/>
                  <a:gd name="connsiteX9745" fmla="*/ 3346060 w 4381952"/>
                  <a:gd name="connsiteY9745" fmla="*/ 4985938 h 7571038"/>
                  <a:gd name="connsiteX9746" fmla="*/ 3372936 w 4381952"/>
                  <a:gd name="connsiteY9746" fmla="*/ 5012814 h 7571038"/>
                  <a:gd name="connsiteX9747" fmla="*/ 3399816 w 4381952"/>
                  <a:gd name="connsiteY9747" fmla="*/ 4985938 h 7571038"/>
                  <a:gd name="connsiteX9748" fmla="*/ 3400061 w 4381952"/>
                  <a:gd name="connsiteY9748" fmla="*/ 5116130 h 7571038"/>
                  <a:gd name="connsiteX9749" fmla="*/ 3381076 w 4381952"/>
                  <a:gd name="connsiteY9749" fmla="*/ 5097144 h 7571038"/>
                  <a:gd name="connsiteX9750" fmla="*/ 3362090 w 4381952"/>
                  <a:gd name="connsiteY9750" fmla="*/ 5116130 h 7571038"/>
                  <a:gd name="connsiteX9751" fmla="*/ 3381076 w 4381952"/>
                  <a:gd name="connsiteY9751" fmla="*/ 5135119 h 7571038"/>
                  <a:gd name="connsiteX9752" fmla="*/ 3400061 w 4381952"/>
                  <a:gd name="connsiteY9752" fmla="*/ 5116130 h 7571038"/>
                  <a:gd name="connsiteX9753" fmla="*/ 3401048 w 4381952"/>
                  <a:gd name="connsiteY9753" fmla="*/ 1188868 h 7571038"/>
                  <a:gd name="connsiteX9754" fmla="*/ 3356664 w 4381952"/>
                  <a:gd name="connsiteY9754" fmla="*/ 1144479 h 7571038"/>
                  <a:gd name="connsiteX9755" fmla="*/ 3312281 w 4381952"/>
                  <a:gd name="connsiteY9755" fmla="*/ 1188868 h 7571038"/>
                  <a:gd name="connsiteX9756" fmla="*/ 3356664 w 4381952"/>
                  <a:gd name="connsiteY9756" fmla="*/ 1233254 h 7571038"/>
                  <a:gd name="connsiteX9757" fmla="*/ 3401048 w 4381952"/>
                  <a:gd name="connsiteY9757" fmla="*/ 1188868 h 7571038"/>
                  <a:gd name="connsiteX9758" fmla="*/ 3402034 w 4381952"/>
                  <a:gd name="connsiteY9758" fmla="*/ 1069049 h 7571038"/>
                  <a:gd name="connsiteX9759" fmla="*/ 3359623 w 4381952"/>
                  <a:gd name="connsiteY9759" fmla="*/ 1026638 h 7571038"/>
                  <a:gd name="connsiteX9760" fmla="*/ 3317211 w 4381952"/>
                  <a:gd name="connsiteY9760" fmla="*/ 1069049 h 7571038"/>
                  <a:gd name="connsiteX9761" fmla="*/ 3359623 w 4381952"/>
                  <a:gd name="connsiteY9761" fmla="*/ 1111458 h 7571038"/>
                  <a:gd name="connsiteX9762" fmla="*/ 3402034 w 4381952"/>
                  <a:gd name="connsiteY9762" fmla="*/ 1069049 h 7571038"/>
                  <a:gd name="connsiteX9763" fmla="*/ 3406965 w 4381952"/>
                  <a:gd name="connsiteY9763" fmla="*/ 949972 h 7571038"/>
                  <a:gd name="connsiteX9764" fmla="*/ 3361844 w 4381952"/>
                  <a:gd name="connsiteY9764" fmla="*/ 904837 h 7571038"/>
                  <a:gd name="connsiteX9765" fmla="*/ 3316720 w 4381952"/>
                  <a:gd name="connsiteY9765" fmla="*/ 949972 h 7571038"/>
                  <a:gd name="connsiteX9766" fmla="*/ 3361844 w 4381952"/>
                  <a:gd name="connsiteY9766" fmla="*/ 995097 h 7571038"/>
                  <a:gd name="connsiteX9767" fmla="*/ 3406965 w 4381952"/>
                  <a:gd name="connsiteY9767" fmla="*/ 949972 h 7571038"/>
                  <a:gd name="connsiteX9768" fmla="*/ 3407459 w 4381952"/>
                  <a:gd name="connsiteY9768" fmla="*/ 831390 h 7571038"/>
                  <a:gd name="connsiteX9769" fmla="*/ 3363322 w 4381952"/>
                  <a:gd name="connsiteY9769" fmla="*/ 787003 h 7571038"/>
                  <a:gd name="connsiteX9770" fmla="*/ 3318938 w 4381952"/>
                  <a:gd name="connsiteY9770" fmla="*/ 831390 h 7571038"/>
                  <a:gd name="connsiteX9771" fmla="*/ 3363322 w 4381952"/>
                  <a:gd name="connsiteY9771" fmla="*/ 875517 h 7571038"/>
                  <a:gd name="connsiteX9772" fmla="*/ 3407459 w 4381952"/>
                  <a:gd name="connsiteY9772" fmla="*/ 831390 h 7571038"/>
                  <a:gd name="connsiteX9773" fmla="*/ 3408938 w 4381952"/>
                  <a:gd name="connsiteY9773" fmla="*/ 1963505 h 7571038"/>
                  <a:gd name="connsiteX9774" fmla="*/ 3365787 w 4381952"/>
                  <a:gd name="connsiteY9774" fmla="*/ 1920369 h 7571038"/>
                  <a:gd name="connsiteX9775" fmla="*/ 3322635 w 4381952"/>
                  <a:gd name="connsiteY9775" fmla="*/ 1963505 h 7571038"/>
                  <a:gd name="connsiteX9776" fmla="*/ 3365787 w 4381952"/>
                  <a:gd name="connsiteY9776" fmla="*/ 2006642 h 7571038"/>
                  <a:gd name="connsiteX9777" fmla="*/ 3408938 w 4381952"/>
                  <a:gd name="connsiteY9777" fmla="*/ 1963505 h 7571038"/>
                  <a:gd name="connsiteX9778" fmla="*/ 3409184 w 4381952"/>
                  <a:gd name="connsiteY9778" fmla="*/ 713790 h 7571038"/>
                  <a:gd name="connsiteX9779" fmla="*/ 3365295 w 4381952"/>
                  <a:gd name="connsiteY9779" fmla="*/ 669904 h 7571038"/>
                  <a:gd name="connsiteX9780" fmla="*/ 3321402 w 4381952"/>
                  <a:gd name="connsiteY9780" fmla="*/ 713790 h 7571038"/>
                  <a:gd name="connsiteX9781" fmla="*/ 3365295 w 4381952"/>
                  <a:gd name="connsiteY9781" fmla="*/ 757683 h 7571038"/>
                  <a:gd name="connsiteX9782" fmla="*/ 3409184 w 4381952"/>
                  <a:gd name="connsiteY9782" fmla="*/ 713790 h 7571038"/>
                  <a:gd name="connsiteX9783" fmla="*/ 3409432 w 4381952"/>
                  <a:gd name="connsiteY9783" fmla="*/ 5363938 h 7571038"/>
                  <a:gd name="connsiteX9784" fmla="*/ 3403266 w 4381952"/>
                  <a:gd name="connsiteY9784" fmla="*/ 5357774 h 7571038"/>
                  <a:gd name="connsiteX9785" fmla="*/ 3397101 w 4381952"/>
                  <a:gd name="connsiteY9785" fmla="*/ 5363938 h 7571038"/>
                  <a:gd name="connsiteX9786" fmla="*/ 3403266 w 4381952"/>
                  <a:gd name="connsiteY9786" fmla="*/ 5370104 h 7571038"/>
                  <a:gd name="connsiteX9787" fmla="*/ 3409432 w 4381952"/>
                  <a:gd name="connsiteY9787" fmla="*/ 5363938 h 7571038"/>
                  <a:gd name="connsiteX9788" fmla="*/ 3410170 w 4381952"/>
                  <a:gd name="connsiteY9788" fmla="*/ 5488953 h 7571038"/>
                  <a:gd name="connsiteX9789" fmla="*/ 3408197 w 4381952"/>
                  <a:gd name="connsiteY9789" fmla="*/ 5486980 h 7571038"/>
                  <a:gd name="connsiteX9790" fmla="*/ 3406225 w 4381952"/>
                  <a:gd name="connsiteY9790" fmla="*/ 5488953 h 7571038"/>
                  <a:gd name="connsiteX9791" fmla="*/ 3408197 w 4381952"/>
                  <a:gd name="connsiteY9791" fmla="*/ 5490925 h 7571038"/>
                  <a:gd name="connsiteX9792" fmla="*/ 3410170 w 4381952"/>
                  <a:gd name="connsiteY9792" fmla="*/ 5488953 h 7571038"/>
                  <a:gd name="connsiteX9793" fmla="*/ 3414857 w 4381952"/>
                  <a:gd name="connsiteY9793" fmla="*/ 2455145 h 7571038"/>
                  <a:gd name="connsiteX9794" fmla="*/ 3408938 w 4381952"/>
                  <a:gd name="connsiteY9794" fmla="*/ 2449228 h 7571038"/>
                  <a:gd name="connsiteX9795" fmla="*/ 3403020 w 4381952"/>
                  <a:gd name="connsiteY9795" fmla="*/ 2455145 h 7571038"/>
                  <a:gd name="connsiteX9796" fmla="*/ 3408938 w 4381952"/>
                  <a:gd name="connsiteY9796" fmla="*/ 2461063 h 7571038"/>
                  <a:gd name="connsiteX9797" fmla="*/ 3414857 w 4381952"/>
                  <a:gd name="connsiteY9797" fmla="*/ 2455145 h 7571038"/>
                  <a:gd name="connsiteX9798" fmla="*/ 3417569 w 4381952"/>
                  <a:gd name="connsiteY9798" fmla="*/ 5735528 h 7571038"/>
                  <a:gd name="connsiteX9799" fmla="*/ 3415102 w 4381952"/>
                  <a:gd name="connsiteY9799" fmla="*/ 5733061 h 7571038"/>
                  <a:gd name="connsiteX9800" fmla="*/ 3412637 w 4381952"/>
                  <a:gd name="connsiteY9800" fmla="*/ 5735528 h 7571038"/>
                  <a:gd name="connsiteX9801" fmla="*/ 3415102 w 4381952"/>
                  <a:gd name="connsiteY9801" fmla="*/ 5737992 h 7571038"/>
                  <a:gd name="connsiteX9802" fmla="*/ 3417569 w 4381952"/>
                  <a:gd name="connsiteY9802" fmla="*/ 5735528 h 7571038"/>
                  <a:gd name="connsiteX9803" fmla="*/ 3418802 w 4381952"/>
                  <a:gd name="connsiteY9803" fmla="*/ 1706121 h 7571038"/>
                  <a:gd name="connsiteX9804" fmla="*/ 3380335 w 4381952"/>
                  <a:gd name="connsiteY9804" fmla="*/ 1667653 h 7571038"/>
                  <a:gd name="connsiteX9805" fmla="*/ 3341869 w 4381952"/>
                  <a:gd name="connsiteY9805" fmla="*/ 1706121 h 7571038"/>
                  <a:gd name="connsiteX9806" fmla="*/ 3380335 w 4381952"/>
                  <a:gd name="connsiteY9806" fmla="*/ 1744591 h 7571038"/>
                  <a:gd name="connsiteX9807" fmla="*/ 3418802 w 4381952"/>
                  <a:gd name="connsiteY9807" fmla="*/ 1706121 h 7571038"/>
                  <a:gd name="connsiteX9808" fmla="*/ 3419787 w 4381952"/>
                  <a:gd name="connsiteY9808" fmla="*/ 5857338 h 7571038"/>
                  <a:gd name="connsiteX9809" fmla="*/ 3417073 w 4381952"/>
                  <a:gd name="connsiteY9809" fmla="*/ 5854625 h 7571038"/>
                  <a:gd name="connsiteX9810" fmla="*/ 3414115 w 4381952"/>
                  <a:gd name="connsiteY9810" fmla="*/ 5857338 h 7571038"/>
                  <a:gd name="connsiteX9811" fmla="*/ 3417073 w 4381952"/>
                  <a:gd name="connsiteY9811" fmla="*/ 5860051 h 7571038"/>
                  <a:gd name="connsiteX9812" fmla="*/ 3419787 w 4381952"/>
                  <a:gd name="connsiteY9812" fmla="*/ 5857338 h 7571038"/>
                  <a:gd name="connsiteX9813" fmla="*/ 3420525 w 4381952"/>
                  <a:gd name="connsiteY9813" fmla="*/ 1834109 h 7571038"/>
                  <a:gd name="connsiteX9814" fmla="*/ 3373922 w 4381952"/>
                  <a:gd name="connsiteY9814" fmla="*/ 1787482 h 7571038"/>
                  <a:gd name="connsiteX9815" fmla="*/ 3327320 w 4381952"/>
                  <a:gd name="connsiteY9815" fmla="*/ 1834109 h 7571038"/>
                  <a:gd name="connsiteX9816" fmla="*/ 3373922 w 4381952"/>
                  <a:gd name="connsiteY9816" fmla="*/ 1880696 h 7571038"/>
                  <a:gd name="connsiteX9817" fmla="*/ 3420525 w 4381952"/>
                  <a:gd name="connsiteY9817" fmla="*/ 1834109 h 7571038"/>
                  <a:gd name="connsiteX9818" fmla="*/ 3422006 w 4381952"/>
                  <a:gd name="connsiteY9818" fmla="*/ 5977173 h 7571038"/>
                  <a:gd name="connsiteX9819" fmla="*/ 3420032 w 4381952"/>
                  <a:gd name="connsiteY9819" fmla="*/ 5975200 h 7571038"/>
                  <a:gd name="connsiteX9820" fmla="*/ 3418061 w 4381952"/>
                  <a:gd name="connsiteY9820" fmla="*/ 5977173 h 7571038"/>
                  <a:gd name="connsiteX9821" fmla="*/ 3420032 w 4381952"/>
                  <a:gd name="connsiteY9821" fmla="*/ 5979145 h 7571038"/>
                  <a:gd name="connsiteX9822" fmla="*/ 3422006 w 4381952"/>
                  <a:gd name="connsiteY9822" fmla="*/ 5977173 h 7571038"/>
                  <a:gd name="connsiteX9823" fmla="*/ 3422500 w 4381952"/>
                  <a:gd name="connsiteY9823" fmla="*/ 3846509 h 7571038"/>
                  <a:gd name="connsiteX9824" fmla="*/ 3400310 w 4381952"/>
                  <a:gd name="connsiteY9824" fmla="*/ 3824319 h 7571038"/>
                  <a:gd name="connsiteX9825" fmla="*/ 3378116 w 4381952"/>
                  <a:gd name="connsiteY9825" fmla="*/ 3846509 h 7571038"/>
                  <a:gd name="connsiteX9826" fmla="*/ 3400310 w 4381952"/>
                  <a:gd name="connsiteY9826" fmla="*/ 3868703 h 7571038"/>
                  <a:gd name="connsiteX9827" fmla="*/ 3422500 w 4381952"/>
                  <a:gd name="connsiteY9827" fmla="*/ 3846509 h 7571038"/>
                  <a:gd name="connsiteX9828" fmla="*/ 3422744 w 4381952"/>
                  <a:gd name="connsiteY9828" fmla="*/ 5612978 h 7571038"/>
                  <a:gd name="connsiteX9829" fmla="*/ 3411649 w 4381952"/>
                  <a:gd name="connsiteY9829" fmla="*/ 5601883 h 7571038"/>
                  <a:gd name="connsiteX9830" fmla="*/ 3400553 w 4381952"/>
                  <a:gd name="connsiteY9830" fmla="*/ 5612978 h 7571038"/>
                  <a:gd name="connsiteX9831" fmla="*/ 3411649 w 4381952"/>
                  <a:gd name="connsiteY9831" fmla="*/ 5624077 h 7571038"/>
                  <a:gd name="connsiteX9832" fmla="*/ 3422744 w 4381952"/>
                  <a:gd name="connsiteY9832" fmla="*/ 5612978 h 7571038"/>
                  <a:gd name="connsiteX9833" fmla="*/ 3423733 w 4381952"/>
                  <a:gd name="connsiteY9833" fmla="*/ 6096515 h 7571038"/>
                  <a:gd name="connsiteX9834" fmla="*/ 3422995 w 4381952"/>
                  <a:gd name="connsiteY9834" fmla="*/ 6095774 h 7571038"/>
                  <a:gd name="connsiteX9835" fmla="*/ 3422255 w 4381952"/>
                  <a:gd name="connsiteY9835" fmla="*/ 6096515 h 7571038"/>
                  <a:gd name="connsiteX9836" fmla="*/ 3422995 w 4381952"/>
                  <a:gd name="connsiteY9836" fmla="*/ 6097252 h 7571038"/>
                  <a:gd name="connsiteX9837" fmla="*/ 3423733 w 4381952"/>
                  <a:gd name="connsiteY9837" fmla="*/ 6096515 h 7571038"/>
                  <a:gd name="connsiteX9838" fmla="*/ 3425950 w 4381952"/>
                  <a:gd name="connsiteY9838" fmla="*/ 6214871 h 7571038"/>
                  <a:gd name="connsiteX9839" fmla="*/ 3424964 w 4381952"/>
                  <a:gd name="connsiteY9839" fmla="*/ 6213884 h 7571038"/>
                  <a:gd name="connsiteX9840" fmla="*/ 3423978 w 4381952"/>
                  <a:gd name="connsiteY9840" fmla="*/ 6214871 h 7571038"/>
                  <a:gd name="connsiteX9841" fmla="*/ 3424964 w 4381952"/>
                  <a:gd name="connsiteY9841" fmla="*/ 6215857 h 7571038"/>
                  <a:gd name="connsiteX9842" fmla="*/ 3425950 w 4381952"/>
                  <a:gd name="connsiteY9842" fmla="*/ 6214871 h 7571038"/>
                  <a:gd name="connsiteX9843" fmla="*/ 3431868 w 4381952"/>
                  <a:gd name="connsiteY9843" fmla="*/ 4114540 h 7571038"/>
                  <a:gd name="connsiteX9844" fmla="*/ 3407211 w 4381952"/>
                  <a:gd name="connsiteY9844" fmla="*/ 4089883 h 7571038"/>
                  <a:gd name="connsiteX9845" fmla="*/ 3382553 w 4381952"/>
                  <a:gd name="connsiteY9845" fmla="*/ 4114540 h 7571038"/>
                  <a:gd name="connsiteX9846" fmla="*/ 3407211 w 4381952"/>
                  <a:gd name="connsiteY9846" fmla="*/ 4139198 h 7571038"/>
                  <a:gd name="connsiteX9847" fmla="*/ 3431868 w 4381952"/>
                  <a:gd name="connsiteY9847" fmla="*/ 4114540 h 7571038"/>
                  <a:gd name="connsiteX9848" fmla="*/ 3432609 w 4381952"/>
                  <a:gd name="connsiteY9848" fmla="*/ 4349278 h 7571038"/>
                  <a:gd name="connsiteX9849" fmla="*/ 3388718 w 4381952"/>
                  <a:gd name="connsiteY9849" fmla="*/ 4305389 h 7571038"/>
                  <a:gd name="connsiteX9850" fmla="*/ 3344828 w 4381952"/>
                  <a:gd name="connsiteY9850" fmla="*/ 4349278 h 7571038"/>
                  <a:gd name="connsiteX9851" fmla="*/ 3388718 w 4381952"/>
                  <a:gd name="connsiteY9851" fmla="*/ 4393170 h 7571038"/>
                  <a:gd name="connsiteX9852" fmla="*/ 3432609 w 4381952"/>
                  <a:gd name="connsiteY9852" fmla="*/ 4349278 h 7571038"/>
                  <a:gd name="connsiteX9853" fmla="*/ 3436059 w 4381952"/>
                  <a:gd name="connsiteY9853" fmla="*/ 3161073 h 7571038"/>
                  <a:gd name="connsiteX9854" fmla="*/ 3415102 w 4381952"/>
                  <a:gd name="connsiteY9854" fmla="*/ 3140115 h 7571038"/>
                  <a:gd name="connsiteX9855" fmla="*/ 3394143 w 4381952"/>
                  <a:gd name="connsiteY9855" fmla="*/ 3161073 h 7571038"/>
                  <a:gd name="connsiteX9856" fmla="*/ 3415102 w 4381952"/>
                  <a:gd name="connsiteY9856" fmla="*/ 3182032 h 7571038"/>
                  <a:gd name="connsiteX9857" fmla="*/ 3436059 w 4381952"/>
                  <a:gd name="connsiteY9857" fmla="*/ 3161073 h 7571038"/>
                  <a:gd name="connsiteX9858" fmla="*/ 3437541 w 4381952"/>
                  <a:gd name="connsiteY9858" fmla="*/ 6329775 h 7571038"/>
                  <a:gd name="connsiteX9859" fmla="*/ 3434336 w 4381952"/>
                  <a:gd name="connsiteY9859" fmla="*/ 6326570 h 7571038"/>
                  <a:gd name="connsiteX9860" fmla="*/ 3431131 w 4381952"/>
                  <a:gd name="connsiteY9860" fmla="*/ 6329775 h 7571038"/>
                  <a:gd name="connsiteX9861" fmla="*/ 3434336 w 4381952"/>
                  <a:gd name="connsiteY9861" fmla="*/ 6332983 h 7571038"/>
                  <a:gd name="connsiteX9862" fmla="*/ 3437541 w 4381952"/>
                  <a:gd name="connsiteY9862" fmla="*/ 6329775 h 7571038"/>
                  <a:gd name="connsiteX9863" fmla="*/ 3438035 w 4381952"/>
                  <a:gd name="connsiteY9863" fmla="*/ 2888613 h 7571038"/>
                  <a:gd name="connsiteX9864" fmla="*/ 3431131 w 4381952"/>
                  <a:gd name="connsiteY9864" fmla="*/ 2881710 h 7571038"/>
                  <a:gd name="connsiteX9865" fmla="*/ 3424227 w 4381952"/>
                  <a:gd name="connsiteY9865" fmla="*/ 2888613 h 7571038"/>
                  <a:gd name="connsiteX9866" fmla="*/ 3431131 w 4381952"/>
                  <a:gd name="connsiteY9866" fmla="*/ 2895517 h 7571038"/>
                  <a:gd name="connsiteX9867" fmla="*/ 3438035 w 4381952"/>
                  <a:gd name="connsiteY9867" fmla="*/ 2888613 h 7571038"/>
                  <a:gd name="connsiteX9868" fmla="*/ 3439019 w 4381952"/>
                  <a:gd name="connsiteY9868" fmla="*/ 6447145 h 7571038"/>
                  <a:gd name="connsiteX9869" fmla="*/ 3435814 w 4381952"/>
                  <a:gd name="connsiteY9869" fmla="*/ 6443939 h 7571038"/>
                  <a:gd name="connsiteX9870" fmla="*/ 3432609 w 4381952"/>
                  <a:gd name="connsiteY9870" fmla="*/ 6447145 h 7571038"/>
                  <a:gd name="connsiteX9871" fmla="*/ 3435814 w 4381952"/>
                  <a:gd name="connsiteY9871" fmla="*/ 6450349 h 7571038"/>
                  <a:gd name="connsiteX9872" fmla="*/ 3439019 w 4381952"/>
                  <a:gd name="connsiteY9872" fmla="*/ 6447145 h 7571038"/>
                  <a:gd name="connsiteX9873" fmla="*/ 3439022 w 4381952"/>
                  <a:gd name="connsiteY9873" fmla="*/ 6564271 h 7571038"/>
                  <a:gd name="connsiteX9874" fmla="*/ 3436557 w 4381952"/>
                  <a:gd name="connsiteY9874" fmla="*/ 6561804 h 7571038"/>
                  <a:gd name="connsiteX9875" fmla="*/ 3434090 w 4381952"/>
                  <a:gd name="connsiteY9875" fmla="*/ 6564271 h 7571038"/>
                  <a:gd name="connsiteX9876" fmla="*/ 3436557 w 4381952"/>
                  <a:gd name="connsiteY9876" fmla="*/ 6566736 h 7571038"/>
                  <a:gd name="connsiteX9877" fmla="*/ 3439022 w 4381952"/>
                  <a:gd name="connsiteY9877" fmla="*/ 6564271 h 7571038"/>
                  <a:gd name="connsiteX9878" fmla="*/ 3441486 w 4381952"/>
                  <a:gd name="connsiteY9878" fmla="*/ 6680407 h 7571038"/>
                  <a:gd name="connsiteX9879" fmla="*/ 3438527 w 4381952"/>
                  <a:gd name="connsiteY9879" fmla="*/ 6677447 h 7571038"/>
                  <a:gd name="connsiteX9880" fmla="*/ 3435568 w 4381952"/>
                  <a:gd name="connsiteY9880" fmla="*/ 6680407 h 7571038"/>
                  <a:gd name="connsiteX9881" fmla="*/ 3438527 w 4381952"/>
                  <a:gd name="connsiteY9881" fmla="*/ 6683365 h 7571038"/>
                  <a:gd name="connsiteX9882" fmla="*/ 3441486 w 4381952"/>
                  <a:gd name="connsiteY9882" fmla="*/ 6680407 h 7571038"/>
                  <a:gd name="connsiteX9883" fmla="*/ 3442964 w 4381952"/>
                  <a:gd name="connsiteY9883" fmla="*/ 6796052 h 7571038"/>
                  <a:gd name="connsiteX9884" fmla="*/ 3439513 w 4381952"/>
                  <a:gd name="connsiteY9884" fmla="*/ 6792599 h 7571038"/>
                  <a:gd name="connsiteX9885" fmla="*/ 3435814 w 4381952"/>
                  <a:gd name="connsiteY9885" fmla="*/ 6796052 h 7571038"/>
                  <a:gd name="connsiteX9886" fmla="*/ 3439513 w 4381952"/>
                  <a:gd name="connsiteY9886" fmla="*/ 6799749 h 7571038"/>
                  <a:gd name="connsiteX9887" fmla="*/ 3442964 w 4381952"/>
                  <a:gd name="connsiteY9887" fmla="*/ 6796052 h 7571038"/>
                  <a:gd name="connsiteX9888" fmla="*/ 3445676 w 4381952"/>
                  <a:gd name="connsiteY9888" fmla="*/ 6911447 h 7571038"/>
                  <a:gd name="connsiteX9889" fmla="*/ 3440746 w 4381952"/>
                  <a:gd name="connsiteY9889" fmla="*/ 6906515 h 7571038"/>
                  <a:gd name="connsiteX9890" fmla="*/ 3435814 w 4381952"/>
                  <a:gd name="connsiteY9890" fmla="*/ 6911447 h 7571038"/>
                  <a:gd name="connsiteX9891" fmla="*/ 3440746 w 4381952"/>
                  <a:gd name="connsiteY9891" fmla="*/ 6916378 h 7571038"/>
                  <a:gd name="connsiteX9892" fmla="*/ 3445676 w 4381952"/>
                  <a:gd name="connsiteY9892" fmla="*/ 6911447 h 7571038"/>
                  <a:gd name="connsiteX9893" fmla="*/ 3448635 w 4381952"/>
                  <a:gd name="connsiteY9893" fmla="*/ 7026352 h 7571038"/>
                  <a:gd name="connsiteX9894" fmla="*/ 3441980 w 4381952"/>
                  <a:gd name="connsiteY9894" fmla="*/ 7019694 h 7571038"/>
                  <a:gd name="connsiteX9895" fmla="*/ 3435322 w 4381952"/>
                  <a:gd name="connsiteY9895" fmla="*/ 7026352 h 7571038"/>
                  <a:gd name="connsiteX9896" fmla="*/ 3441980 w 4381952"/>
                  <a:gd name="connsiteY9896" fmla="*/ 7032761 h 7571038"/>
                  <a:gd name="connsiteX9897" fmla="*/ 3448635 w 4381952"/>
                  <a:gd name="connsiteY9897" fmla="*/ 7026352 h 7571038"/>
                  <a:gd name="connsiteX9898" fmla="*/ 3450365 w 4381952"/>
                  <a:gd name="connsiteY9898" fmla="*/ 2312631 h 7571038"/>
                  <a:gd name="connsiteX9899" fmla="*/ 3427432 w 4381952"/>
                  <a:gd name="connsiteY9899" fmla="*/ 2289697 h 7571038"/>
                  <a:gd name="connsiteX9900" fmla="*/ 3404500 w 4381952"/>
                  <a:gd name="connsiteY9900" fmla="*/ 2312631 h 7571038"/>
                  <a:gd name="connsiteX9901" fmla="*/ 3427432 w 4381952"/>
                  <a:gd name="connsiteY9901" fmla="*/ 2335567 h 7571038"/>
                  <a:gd name="connsiteX9902" fmla="*/ 3450365 w 4381952"/>
                  <a:gd name="connsiteY9902" fmla="*/ 2312631 h 7571038"/>
                  <a:gd name="connsiteX9903" fmla="*/ 3452337 w 4381952"/>
                  <a:gd name="connsiteY9903" fmla="*/ 3734319 h 7571038"/>
                  <a:gd name="connsiteX9904" fmla="*/ 3428910 w 4381952"/>
                  <a:gd name="connsiteY9904" fmla="*/ 3710893 h 7571038"/>
                  <a:gd name="connsiteX9905" fmla="*/ 3405485 w 4381952"/>
                  <a:gd name="connsiteY9905" fmla="*/ 3734319 h 7571038"/>
                  <a:gd name="connsiteX9906" fmla="*/ 3428910 w 4381952"/>
                  <a:gd name="connsiteY9906" fmla="*/ 3757745 h 7571038"/>
                  <a:gd name="connsiteX9907" fmla="*/ 3452337 w 4381952"/>
                  <a:gd name="connsiteY9907" fmla="*/ 3734319 h 7571038"/>
                  <a:gd name="connsiteX9908" fmla="*/ 3453567 w 4381952"/>
                  <a:gd name="connsiteY9908" fmla="*/ 7253201 h 7571038"/>
                  <a:gd name="connsiteX9909" fmla="*/ 3449131 w 4381952"/>
                  <a:gd name="connsiteY9909" fmla="*/ 7248762 h 7571038"/>
                  <a:gd name="connsiteX9910" fmla="*/ 3444691 w 4381952"/>
                  <a:gd name="connsiteY9910" fmla="*/ 7253201 h 7571038"/>
                  <a:gd name="connsiteX9911" fmla="*/ 3449131 w 4381952"/>
                  <a:gd name="connsiteY9911" fmla="*/ 7257638 h 7571038"/>
                  <a:gd name="connsiteX9912" fmla="*/ 3453567 w 4381952"/>
                  <a:gd name="connsiteY9912" fmla="*/ 7253201 h 7571038"/>
                  <a:gd name="connsiteX9913" fmla="*/ 3455294 w 4381952"/>
                  <a:gd name="connsiteY9913" fmla="*/ 2698507 h 7571038"/>
                  <a:gd name="connsiteX9914" fmla="*/ 3451103 w 4381952"/>
                  <a:gd name="connsiteY9914" fmla="*/ 2694315 h 7571038"/>
                  <a:gd name="connsiteX9915" fmla="*/ 3446912 w 4381952"/>
                  <a:gd name="connsiteY9915" fmla="*/ 2698507 h 7571038"/>
                  <a:gd name="connsiteX9916" fmla="*/ 3451103 w 4381952"/>
                  <a:gd name="connsiteY9916" fmla="*/ 2702698 h 7571038"/>
                  <a:gd name="connsiteX9917" fmla="*/ 3455294 w 4381952"/>
                  <a:gd name="connsiteY9917" fmla="*/ 2698507 h 7571038"/>
                  <a:gd name="connsiteX9918" fmla="*/ 3455785 w 4381952"/>
                  <a:gd name="connsiteY9918" fmla="*/ 7367119 h 7571038"/>
                  <a:gd name="connsiteX9919" fmla="*/ 3449868 w 4381952"/>
                  <a:gd name="connsiteY9919" fmla="*/ 7361201 h 7571038"/>
                  <a:gd name="connsiteX9920" fmla="*/ 3443950 w 4381952"/>
                  <a:gd name="connsiteY9920" fmla="*/ 7367119 h 7571038"/>
                  <a:gd name="connsiteX9921" fmla="*/ 3449868 w 4381952"/>
                  <a:gd name="connsiteY9921" fmla="*/ 7373036 h 7571038"/>
                  <a:gd name="connsiteX9922" fmla="*/ 3455785 w 4381952"/>
                  <a:gd name="connsiteY9922" fmla="*/ 7367119 h 7571038"/>
                  <a:gd name="connsiteX9923" fmla="*/ 3456278 w 4381952"/>
                  <a:gd name="connsiteY9923" fmla="*/ 7138791 h 7571038"/>
                  <a:gd name="connsiteX9924" fmla="*/ 3448635 w 4381952"/>
                  <a:gd name="connsiteY9924" fmla="*/ 7131146 h 7571038"/>
                  <a:gd name="connsiteX9925" fmla="*/ 3440991 w 4381952"/>
                  <a:gd name="connsiteY9925" fmla="*/ 7138791 h 7571038"/>
                  <a:gd name="connsiteX9926" fmla="*/ 3448635 w 4381952"/>
                  <a:gd name="connsiteY9926" fmla="*/ 7146433 h 7571038"/>
                  <a:gd name="connsiteX9927" fmla="*/ 3456278 w 4381952"/>
                  <a:gd name="connsiteY9927" fmla="*/ 7138791 h 7571038"/>
                  <a:gd name="connsiteX9928" fmla="*/ 3457759 w 4381952"/>
                  <a:gd name="connsiteY9928" fmla="*/ 4495992 h 7571038"/>
                  <a:gd name="connsiteX9929" fmla="*/ 3412389 w 4381952"/>
                  <a:gd name="connsiteY9929" fmla="*/ 4450621 h 7571038"/>
                  <a:gd name="connsiteX9930" fmla="*/ 3367019 w 4381952"/>
                  <a:gd name="connsiteY9930" fmla="*/ 4495992 h 7571038"/>
                  <a:gd name="connsiteX9931" fmla="*/ 3412389 w 4381952"/>
                  <a:gd name="connsiteY9931" fmla="*/ 4541361 h 7571038"/>
                  <a:gd name="connsiteX9932" fmla="*/ 3457759 w 4381952"/>
                  <a:gd name="connsiteY9932" fmla="*/ 4495992 h 7571038"/>
                  <a:gd name="connsiteX9933" fmla="*/ 3459731 w 4381952"/>
                  <a:gd name="connsiteY9933" fmla="*/ 2173581 h 7571038"/>
                  <a:gd name="connsiteX9934" fmla="*/ 3442469 w 4381952"/>
                  <a:gd name="connsiteY9934" fmla="*/ 2156316 h 7571038"/>
                  <a:gd name="connsiteX9935" fmla="*/ 3425210 w 4381952"/>
                  <a:gd name="connsiteY9935" fmla="*/ 2173581 h 7571038"/>
                  <a:gd name="connsiteX9936" fmla="*/ 3442469 w 4381952"/>
                  <a:gd name="connsiteY9936" fmla="*/ 2190837 h 7571038"/>
                  <a:gd name="connsiteX9937" fmla="*/ 3459731 w 4381952"/>
                  <a:gd name="connsiteY9937" fmla="*/ 2173581 h 7571038"/>
                  <a:gd name="connsiteX9938" fmla="*/ 3461952 w 4381952"/>
                  <a:gd name="connsiteY9938" fmla="*/ 3274253 h 7571038"/>
                  <a:gd name="connsiteX9939" fmla="*/ 3438775 w 4381952"/>
                  <a:gd name="connsiteY9939" fmla="*/ 3251072 h 7571038"/>
                  <a:gd name="connsiteX9940" fmla="*/ 3415596 w 4381952"/>
                  <a:gd name="connsiteY9940" fmla="*/ 3274253 h 7571038"/>
                  <a:gd name="connsiteX9941" fmla="*/ 3438775 w 4381952"/>
                  <a:gd name="connsiteY9941" fmla="*/ 3297429 h 7571038"/>
                  <a:gd name="connsiteX9942" fmla="*/ 3461952 w 4381952"/>
                  <a:gd name="connsiteY9942" fmla="*/ 3274253 h 7571038"/>
                  <a:gd name="connsiteX9943" fmla="*/ 3467131 w 4381952"/>
                  <a:gd name="connsiteY9943" fmla="*/ 622289 h 7571038"/>
                  <a:gd name="connsiteX9944" fmla="*/ 3426197 w 4381952"/>
                  <a:gd name="connsiteY9944" fmla="*/ 581606 h 7571038"/>
                  <a:gd name="connsiteX9945" fmla="*/ 3385513 w 4381952"/>
                  <a:gd name="connsiteY9945" fmla="*/ 622289 h 7571038"/>
                  <a:gd name="connsiteX9946" fmla="*/ 3426197 w 4381952"/>
                  <a:gd name="connsiteY9946" fmla="*/ 663016 h 7571038"/>
                  <a:gd name="connsiteX9947" fmla="*/ 3467131 w 4381952"/>
                  <a:gd name="connsiteY9947" fmla="*/ 622289 h 7571038"/>
                  <a:gd name="connsiteX9948" fmla="*/ 3468116 w 4381952"/>
                  <a:gd name="connsiteY9948" fmla="*/ 504695 h 7571038"/>
                  <a:gd name="connsiteX9949" fmla="*/ 3427678 w 4381952"/>
                  <a:gd name="connsiteY9949" fmla="*/ 464258 h 7571038"/>
                  <a:gd name="connsiteX9950" fmla="*/ 3387240 w 4381952"/>
                  <a:gd name="connsiteY9950" fmla="*/ 504695 h 7571038"/>
                  <a:gd name="connsiteX9951" fmla="*/ 3427678 w 4381952"/>
                  <a:gd name="connsiteY9951" fmla="*/ 545133 h 7571038"/>
                  <a:gd name="connsiteX9952" fmla="*/ 3468116 w 4381952"/>
                  <a:gd name="connsiteY9952" fmla="*/ 504695 h 7571038"/>
                  <a:gd name="connsiteX9953" fmla="*/ 3469840 w 4381952"/>
                  <a:gd name="connsiteY9953" fmla="*/ 271732 h 7571038"/>
                  <a:gd name="connsiteX9954" fmla="*/ 3429650 w 4381952"/>
                  <a:gd name="connsiteY9954" fmla="*/ 231541 h 7571038"/>
                  <a:gd name="connsiteX9955" fmla="*/ 3389458 w 4381952"/>
                  <a:gd name="connsiteY9955" fmla="*/ 271732 h 7571038"/>
                  <a:gd name="connsiteX9956" fmla="*/ 3429650 w 4381952"/>
                  <a:gd name="connsiteY9956" fmla="*/ 311922 h 7571038"/>
                  <a:gd name="connsiteX9957" fmla="*/ 3469840 w 4381952"/>
                  <a:gd name="connsiteY9957" fmla="*/ 271732 h 7571038"/>
                  <a:gd name="connsiteX9958" fmla="*/ 3470337 w 4381952"/>
                  <a:gd name="connsiteY9958" fmla="*/ 155865 h 7571038"/>
                  <a:gd name="connsiteX9959" fmla="*/ 3430637 w 4381952"/>
                  <a:gd name="connsiteY9959" fmla="*/ 116170 h 7571038"/>
                  <a:gd name="connsiteX9960" fmla="*/ 3390939 w 4381952"/>
                  <a:gd name="connsiteY9960" fmla="*/ 155865 h 7571038"/>
                  <a:gd name="connsiteX9961" fmla="*/ 3430637 w 4381952"/>
                  <a:gd name="connsiteY9961" fmla="*/ 195565 h 7571038"/>
                  <a:gd name="connsiteX9962" fmla="*/ 3470337 w 4381952"/>
                  <a:gd name="connsiteY9962" fmla="*/ 155865 h 7571038"/>
                  <a:gd name="connsiteX9963" fmla="*/ 3470581 w 4381952"/>
                  <a:gd name="connsiteY9963" fmla="*/ 40500 h 7571038"/>
                  <a:gd name="connsiteX9964" fmla="*/ 3431128 w 4381952"/>
                  <a:gd name="connsiteY9964" fmla="*/ 1049 h 7571038"/>
                  <a:gd name="connsiteX9965" fmla="*/ 3391677 w 4381952"/>
                  <a:gd name="connsiteY9965" fmla="*/ 40500 h 7571038"/>
                  <a:gd name="connsiteX9966" fmla="*/ 3431128 w 4381952"/>
                  <a:gd name="connsiteY9966" fmla="*/ 79949 h 7571038"/>
                  <a:gd name="connsiteX9967" fmla="*/ 3470581 w 4381952"/>
                  <a:gd name="connsiteY9967" fmla="*/ 40500 h 7571038"/>
                  <a:gd name="connsiteX9968" fmla="*/ 3471321 w 4381952"/>
                  <a:gd name="connsiteY9968" fmla="*/ 388089 h 7571038"/>
                  <a:gd name="connsiteX9969" fmla="*/ 3429158 w 4381952"/>
                  <a:gd name="connsiteY9969" fmla="*/ 345926 h 7571038"/>
                  <a:gd name="connsiteX9970" fmla="*/ 3386993 w 4381952"/>
                  <a:gd name="connsiteY9970" fmla="*/ 388089 h 7571038"/>
                  <a:gd name="connsiteX9971" fmla="*/ 3429158 w 4381952"/>
                  <a:gd name="connsiteY9971" fmla="*/ 430253 h 7571038"/>
                  <a:gd name="connsiteX9972" fmla="*/ 3471321 w 4381952"/>
                  <a:gd name="connsiteY9972" fmla="*/ 388089 h 7571038"/>
                  <a:gd name="connsiteX9973" fmla="*/ 3471324 w 4381952"/>
                  <a:gd name="connsiteY9973" fmla="*/ 3620400 h 7571038"/>
                  <a:gd name="connsiteX9974" fmla="*/ 3446912 w 4381952"/>
                  <a:gd name="connsiteY9974" fmla="*/ 3595743 h 7571038"/>
                  <a:gd name="connsiteX9975" fmla="*/ 3422255 w 4381952"/>
                  <a:gd name="connsiteY9975" fmla="*/ 3620400 h 7571038"/>
                  <a:gd name="connsiteX9976" fmla="*/ 3446912 w 4381952"/>
                  <a:gd name="connsiteY9976" fmla="*/ 3644812 h 7571038"/>
                  <a:gd name="connsiteX9977" fmla="*/ 3471324 w 4381952"/>
                  <a:gd name="connsiteY9977" fmla="*/ 3620400 h 7571038"/>
                  <a:gd name="connsiteX9978" fmla="*/ 3477238 w 4381952"/>
                  <a:gd name="connsiteY9978" fmla="*/ 3389405 h 7571038"/>
                  <a:gd name="connsiteX9979" fmla="*/ 3451843 w 4381952"/>
                  <a:gd name="connsiteY9979" fmla="*/ 3364005 h 7571038"/>
                  <a:gd name="connsiteX9980" fmla="*/ 3426692 w 4381952"/>
                  <a:gd name="connsiteY9980" fmla="*/ 3389405 h 7571038"/>
                  <a:gd name="connsiteX9981" fmla="*/ 3451843 w 4381952"/>
                  <a:gd name="connsiteY9981" fmla="*/ 3414553 h 7571038"/>
                  <a:gd name="connsiteX9982" fmla="*/ 3477238 w 4381952"/>
                  <a:gd name="connsiteY9982" fmla="*/ 3389405 h 7571038"/>
                  <a:gd name="connsiteX9983" fmla="*/ 3477980 w 4381952"/>
                  <a:gd name="connsiteY9983" fmla="*/ 4637773 h 7571038"/>
                  <a:gd name="connsiteX9984" fmla="*/ 3431623 w 4381952"/>
                  <a:gd name="connsiteY9984" fmla="*/ 4591663 h 7571038"/>
                  <a:gd name="connsiteX9985" fmla="*/ 3385513 w 4381952"/>
                  <a:gd name="connsiteY9985" fmla="*/ 4637773 h 7571038"/>
                  <a:gd name="connsiteX9986" fmla="*/ 3431623 w 4381952"/>
                  <a:gd name="connsiteY9986" fmla="*/ 4683884 h 7571038"/>
                  <a:gd name="connsiteX9987" fmla="*/ 3477980 w 4381952"/>
                  <a:gd name="connsiteY9987" fmla="*/ 4637773 h 7571038"/>
                  <a:gd name="connsiteX9988" fmla="*/ 3480444 w 4381952"/>
                  <a:gd name="connsiteY9988" fmla="*/ 3505003 h 7571038"/>
                  <a:gd name="connsiteX9989" fmla="*/ 3454555 w 4381952"/>
                  <a:gd name="connsiteY9989" fmla="*/ 3479359 h 7571038"/>
                  <a:gd name="connsiteX9990" fmla="*/ 3428910 w 4381952"/>
                  <a:gd name="connsiteY9990" fmla="*/ 3505003 h 7571038"/>
                  <a:gd name="connsiteX9991" fmla="*/ 3454555 w 4381952"/>
                  <a:gd name="connsiteY9991" fmla="*/ 3530647 h 7571038"/>
                  <a:gd name="connsiteX9992" fmla="*/ 3480444 w 4381952"/>
                  <a:gd name="connsiteY9992" fmla="*/ 3505003 h 7571038"/>
                  <a:gd name="connsiteX9993" fmla="*/ 3480446 w 4381952"/>
                  <a:gd name="connsiteY9993" fmla="*/ 4009989 h 7571038"/>
                  <a:gd name="connsiteX9994" fmla="*/ 3456526 w 4381952"/>
                  <a:gd name="connsiteY9994" fmla="*/ 3986072 h 7571038"/>
                  <a:gd name="connsiteX9995" fmla="*/ 3432609 w 4381952"/>
                  <a:gd name="connsiteY9995" fmla="*/ 4009989 h 7571038"/>
                  <a:gd name="connsiteX9996" fmla="*/ 3456526 w 4381952"/>
                  <a:gd name="connsiteY9996" fmla="*/ 4033909 h 7571038"/>
                  <a:gd name="connsiteX9997" fmla="*/ 3480446 w 4381952"/>
                  <a:gd name="connsiteY9997" fmla="*/ 4009989 h 7571038"/>
                  <a:gd name="connsiteX9998" fmla="*/ 3485870 w 4381952"/>
                  <a:gd name="connsiteY9998" fmla="*/ 2995136 h 7571038"/>
                  <a:gd name="connsiteX9999" fmla="*/ 3476253 w 4381952"/>
                  <a:gd name="connsiteY9999" fmla="*/ 2985519 h 7571038"/>
                  <a:gd name="connsiteX10000" fmla="*/ 3466636 w 4381952"/>
                  <a:gd name="connsiteY10000" fmla="*/ 2995136 h 7571038"/>
                  <a:gd name="connsiteX10001" fmla="*/ 3476253 w 4381952"/>
                  <a:gd name="connsiteY10001" fmla="*/ 3004751 h 7571038"/>
                  <a:gd name="connsiteX10002" fmla="*/ 3485870 w 4381952"/>
                  <a:gd name="connsiteY10002" fmla="*/ 2995136 h 7571038"/>
                  <a:gd name="connsiteX10003" fmla="*/ 3486118 w 4381952"/>
                  <a:gd name="connsiteY10003" fmla="*/ 5175554 h 7571038"/>
                  <a:gd name="connsiteX10004" fmla="*/ 3482419 w 4381952"/>
                  <a:gd name="connsiteY10004" fmla="*/ 5171854 h 7571038"/>
                  <a:gd name="connsiteX10005" fmla="*/ 3478720 w 4381952"/>
                  <a:gd name="connsiteY10005" fmla="*/ 5175554 h 7571038"/>
                  <a:gd name="connsiteX10006" fmla="*/ 3482419 w 4381952"/>
                  <a:gd name="connsiteY10006" fmla="*/ 5179253 h 7571038"/>
                  <a:gd name="connsiteX10007" fmla="*/ 3486118 w 4381952"/>
                  <a:gd name="connsiteY10007" fmla="*/ 5175554 h 7571038"/>
                  <a:gd name="connsiteX10008" fmla="*/ 3486362 w 4381952"/>
                  <a:gd name="connsiteY10008" fmla="*/ 2547367 h 7571038"/>
                  <a:gd name="connsiteX10009" fmla="*/ 3480443 w 4381952"/>
                  <a:gd name="connsiteY10009" fmla="*/ 2541449 h 7571038"/>
                  <a:gd name="connsiteX10010" fmla="*/ 3474526 w 4381952"/>
                  <a:gd name="connsiteY10010" fmla="*/ 2547367 h 7571038"/>
                  <a:gd name="connsiteX10011" fmla="*/ 3480443 w 4381952"/>
                  <a:gd name="connsiteY10011" fmla="*/ 2553283 h 7571038"/>
                  <a:gd name="connsiteX10012" fmla="*/ 3486362 w 4381952"/>
                  <a:gd name="connsiteY10012" fmla="*/ 2547367 h 7571038"/>
                  <a:gd name="connsiteX10013" fmla="*/ 3488335 w 4381952"/>
                  <a:gd name="connsiteY10013" fmla="*/ 4776350 h 7571038"/>
                  <a:gd name="connsiteX10014" fmla="*/ 3447895 w 4381952"/>
                  <a:gd name="connsiteY10014" fmla="*/ 4735911 h 7571038"/>
                  <a:gd name="connsiteX10015" fmla="*/ 3407457 w 4381952"/>
                  <a:gd name="connsiteY10015" fmla="*/ 4776350 h 7571038"/>
                  <a:gd name="connsiteX10016" fmla="*/ 3447895 w 4381952"/>
                  <a:gd name="connsiteY10016" fmla="*/ 4816789 h 7571038"/>
                  <a:gd name="connsiteX10017" fmla="*/ 3488335 w 4381952"/>
                  <a:gd name="connsiteY10017" fmla="*/ 4776350 h 7571038"/>
                  <a:gd name="connsiteX10018" fmla="*/ 3488583 w 4381952"/>
                  <a:gd name="connsiteY10018" fmla="*/ 2037460 h 7571038"/>
                  <a:gd name="connsiteX10019" fmla="*/ 3454800 w 4381952"/>
                  <a:gd name="connsiteY10019" fmla="*/ 2003681 h 7571038"/>
                  <a:gd name="connsiteX10020" fmla="*/ 3421019 w 4381952"/>
                  <a:gd name="connsiteY10020" fmla="*/ 2037460 h 7571038"/>
                  <a:gd name="connsiteX10021" fmla="*/ 3454800 w 4381952"/>
                  <a:gd name="connsiteY10021" fmla="*/ 2071248 h 7571038"/>
                  <a:gd name="connsiteX10022" fmla="*/ 3488583 w 4381952"/>
                  <a:gd name="connsiteY10022" fmla="*/ 2037460 h 7571038"/>
                  <a:gd name="connsiteX10023" fmla="*/ 3490306 w 4381952"/>
                  <a:gd name="connsiteY10023" fmla="*/ 1618107 h 7571038"/>
                  <a:gd name="connsiteX10024" fmla="*/ 3443705 w 4381952"/>
                  <a:gd name="connsiteY10024" fmla="*/ 1571504 h 7571038"/>
                  <a:gd name="connsiteX10025" fmla="*/ 3397101 w 4381952"/>
                  <a:gd name="connsiteY10025" fmla="*/ 1618107 h 7571038"/>
                  <a:gd name="connsiteX10026" fmla="*/ 3443705 w 4381952"/>
                  <a:gd name="connsiteY10026" fmla="*/ 1664708 h 7571038"/>
                  <a:gd name="connsiteX10027" fmla="*/ 3490306 w 4381952"/>
                  <a:gd name="connsiteY10027" fmla="*/ 1618107 h 7571038"/>
                  <a:gd name="connsiteX10028" fmla="*/ 3491787 w 4381952"/>
                  <a:gd name="connsiteY10028" fmla="*/ 4911474 h 7571038"/>
                  <a:gd name="connsiteX10029" fmla="*/ 3461706 w 4381952"/>
                  <a:gd name="connsiteY10029" fmla="*/ 4881390 h 7571038"/>
                  <a:gd name="connsiteX10030" fmla="*/ 3431622 w 4381952"/>
                  <a:gd name="connsiteY10030" fmla="*/ 4911474 h 7571038"/>
                  <a:gd name="connsiteX10031" fmla="*/ 3461706 w 4381952"/>
                  <a:gd name="connsiteY10031" fmla="*/ 4941555 h 7571038"/>
                  <a:gd name="connsiteX10032" fmla="*/ 3491787 w 4381952"/>
                  <a:gd name="connsiteY10032" fmla="*/ 4911474 h 7571038"/>
                  <a:gd name="connsiteX10033" fmla="*/ 3495239 w 4381952"/>
                  <a:gd name="connsiteY10033" fmla="*/ 4252374 h 7571038"/>
                  <a:gd name="connsiteX10034" fmla="*/ 3453567 w 4381952"/>
                  <a:gd name="connsiteY10034" fmla="*/ 4210949 h 7571038"/>
                  <a:gd name="connsiteX10035" fmla="*/ 3411897 w 4381952"/>
                  <a:gd name="connsiteY10035" fmla="*/ 4252374 h 7571038"/>
                  <a:gd name="connsiteX10036" fmla="*/ 3453567 w 4381952"/>
                  <a:gd name="connsiteY10036" fmla="*/ 4293798 h 7571038"/>
                  <a:gd name="connsiteX10037" fmla="*/ 3495239 w 4381952"/>
                  <a:gd name="connsiteY10037" fmla="*/ 4252374 h 7571038"/>
                  <a:gd name="connsiteX10038" fmla="*/ 3495734 w 4381952"/>
                  <a:gd name="connsiteY10038" fmla="*/ 1491875 h 7571038"/>
                  <a:gd name="connsiteX10039" fmla="*/ 3449377 w 4381952"/>
                  <a:gd name="connsiteY10039" fmla="*/ 1445518 h 7571038"/>
                  <a:gd name="connsiteX10040" fmla="*/ 3403020 w 4381952"/>
                  <a:gd name="connsiteY10040" fmla="*/ 1491875 h 7571038"/>
                  <a:gd name="connsiteX10041" fmla="*/ 3449377 w 4381952"/>
                  <a:gd name="connsiteY10041" fmla="*/ 1538231 h 7571038"/>
                  <a:gd name="connsiteX10042" fmla="*/ 3495734 w 4381952"/>
                  <a:gd name="connsiteY10042" fmla="*/ 1491875 h 7571038"/>
                  <a:gd name="connsiteX10043" fmla="*/ 3498446 w 4381952"/>
                  <a:gd name="connsiteY10043" fmla="*/ 5044867 h 7571038"/>
                  <a:gd name="connsiteX10044" fmla="*/ 3472553 w 4381952"/>
                  <a:gd name="connsiteY10044" fmla="*/ 5018977 h 7571038"/>
                  <a:gd name="connsiteX10045" fmla="*/ 3446664 w 4381952"/>
                  <a:gd name="connsiteY10045" fmla="*/ 5044867 h 7571038"/>
                  <a:gd name="connsiteX10046" fmla="*/ 3472553 w 4381952"/>
                  <a:gd name="connsiteY10046" fmla="*/ 5070760 h 7571038"/>
                  <a:gd name="connsiteX10047" fmla="*/ 3498446 w 4381952"/>
                  <a:gd name="connsiteY10047" fmla="*/ 5044867 h 7571038"/>
                  <a:gd name="connsiteX10048" fmla="*/ 3498692 w 4381952"/>
                  <a:gd name="connsiteY10048" fmla="*/ 1367615 h 7571038"/>
                  <a:gd name="connsiteX10049" fmla="*/ 3454307 w 4381952"/>
                  <a:gd name="connsiteY10049" fmla="*/ 1323235 h 7571038"/>
                  <a:gd name="connsiteX10050" fmla="*/ 3409924 w 4381952"/>
                  <a:gd name="connsiteY10050" fmla="*/ 1367615 h 7571038"/>
                  <a:gd name="connsiteX10051" fmla="*/ 3454307 w 4381952"/>
                  <a:gd name="connsiteY10051" fmla="*/ 1412002 h 7571038"/>
                  <a:gd name="connsiteX10052" fmla="*/ 3498692 w 4381952"/>
                  <a:gd name="connsiteY10052" fmla="*/ 1367615 h 7571038"/>
                  <a:gd name="connsiteX10053" fmla="*/ 3501896 w 4381952"/>
                  <a:gd name="connsiteY10053" fmla="*/ 1904603 h 7571038"/>
                  <a:gd name="connsiteX10054" fmla="*/ 3465895 w 4381952"/>
                  <a:gd name="connsiteY10054" fmla="*/ 1868619 h 7571038"/>
                  <a:gd name="connsiteX10055" fmla="*/ 3429896 w 4381952"/>
                  <a:gd name="connsiteY10055" fmla="*/ 1904603 h 7571038"/>
                  <a:gd name="connsiteX10056" fmla="*/ 3465895 w 4381952"/>
                  <a:gd name="connsiteY10056" fmla="*/ 1940591 h 7571038"/>
                  <a:gd name="connsiteX10057" fmla="*/ 3501896 w 4381952"/>
                  <a:gd name="connsiteY10057" fmla="*/ 1904603 h 7571038"/>
                  <a:gd name="connsiteX10058" fmla="*/ 3503872 w 4381952"/>
                  <a:gd name="connsiteY10058" fmla="*/ 1244104 h 7571038"/>
                  <a:gd name="connsiteX10059" fmla="*/ 3458747 w 4381952"/>
                  <a:gd name="connsiteY10059" fmla="*/ 1198977 h 7571038"/>
                  <a:gd name="connsiteX10060" fmla="*/ 3413624 w 4381952"/>
                  <a:gd name="connsiteY10060" fmla="*/ 1244104 h 7571038"/>
                  <a:gd name="connsiteX10061" fmla="*/ 3458747 w 4381952"/>
                  <a:gd name="connsiteY10061" fmla="*/ 1289222 h 7571038"/>
                  <a:gd name="connsiteX10062" fmla="*/ 3503872 w 4381952"/>
                  <a:gd name="connsiteY10062" fmla="*/ 1244104 h 7571038"/>
                  <a:gd name="connsiteX10063" fmla="*/ 3506087 w 4381952"/>
                  <a:gd name="connsiteY10063" fmla="*/ 5298104 h 7571038"/>
                  <a:gd name="connsiteX10064" fmla="*/ 3499432 w 4381952"/>
                  <a:gd name="connsiteY10064" fmla="*/ 5291446 h 7571038"/>
                  <a:gd name="connsiteX10065" fmla="*/ 3492774 w 4381952"/>
                  <a:gd name="connsiteY10065" fmla="*/ 5298104 h 7571038"/>
                  <a:gd name="connsiteX10066" fmla="*/ 3499432 w 4381952"/>
                  <a:gd name="connsiteY10066" fmla="*/ 5304759 h 7571038"/>
                  <a:gd name="connsiteX10067" fmla="*/ 3506087 w 4381952"/>
                  <a:gd name="connsiteY10067" fmla="*/ 5298104 h 7571038"/>
                  <a:gd name="connsiteX10068" fmla="*/ 3506337 w 4381952"/>
                  <a:gd name="connsiteY10068" fmla="*/ 1122560 h 7571038"/>
                  <a:gd name="connsiteX10069" fmla="*/ 3462938 w 4381952"/>
                  <a:gd name="connsiteY10069" fmla="*/ 1079162 h 7571038"/>
                  <a:gd name="connsiteX10070" fmla="*/ 3419542 w 4381952"/>
                  <a:gd name="connsiteY10070" fmla="*/ 1122560 h 7571038"/>
                  <a:gd name="connsiteX10071" fmla="*/ 3462938 w 4381952"/>
                  <a:gd name="connsiteY10071" fmla="*/ 1165954 h 7571038"/>
                  <a:gd name="connsiteX10072" fmla="*/ 3506337 w 4381952"/>
                  <a:gd name="connsiteY10072" fmla="*/ 1122560 h 7571038"/>
                  <a:gd name="connsiteX10073" fmla="*/ 3507814 w 4381952"/>
                  <a:gd name="connsiteY10073" fmla="*/ 5425829 h 7571038"/>
                  <a:gd name="connsiteX10074" fmla="*/ 3506090 w 4381952"/>
                  <a:gd name="connsiteY10074" fmla="*/ 5424102 h 7571038"/>
                  <a:gd name="connsiteX10075" fmla="*/ 3504364 w 4381952"/>
                  <a:gd name="connsiteY10075" fmla="*/ 5425829 h 7571038"/>
                  <a:gd name="connsiteX10076" fmla="*/ 3506090 w 4381952"/>
                  <a:gd name="connsiteY10076" fmla="*/ 5427553 h 7571038"/>
                  <a:gd name="connsiteX10077" fmla="*/ 3507814 w 4381952"/>
                  <a:gd name="connsiteY10077" fmla="*/ 5425829 h 7571038"/>
                  <a:gd name="connsiteX10078" fmla="*/ 3511268 w 4381952"/>
                  <a:gd name="connsiteY10078" fmla="*/ 1001258 h 7571038"/>
                  <a:gd name="connsiteX10079" fmla="*/ 3465898 w 4381952"/>
                  <a:gd name="connsiteY10079" fmla="*/ 955895 h 7571038"/>
                  <a:gd name="connsiteX10080" fmla="*/ 3420528 w 4381952"/>
                  <a:gd name="connsiteY10080" fmla="*/ 1001258 h 7571038"/>
                  <a:gd name="connsiteX10081" fmla="*/ 3465898 w 4381952"/>
                  <a:gd name="connsiteY10081" fmla="*/ 1046631 h 7571038"/>
                  <a:gd name="connsiteX10082" fmla="*/ 3511268 w 4381952"/>
                  <a:gd name="connsiteY10082" fmla="*/ 1001258 h 7571038"/>
                  <a:gd name="connsiteX10083" fmla="*/ 3512994 w 4381952"/>
                  <a:gd name="connsiteY10083" fmla="*/ 880944 h 7571038"/>
                  <a:gd name="connsiteX10084" fmla="*/ 3468365 w 4381952"/>
                  <a:gd name="connsiteY10084" fmla="*/ 836323 h 7571038"/>
                  <a:gd name="connsiteX10085" fmla="*/ 3423487 w 4381952"/>
                  <a:gd name="connsiteY10085" fmla="*/ 880944 h 7571038"/>
                  <a:gd name="connsiteX10086" fmla="*/ 3468365 w 4381952"/>
                  <a:gd name="connsiteY10086" fmla="*/ 925584 h 7571038"/>
                  <a:gd name="connsiteX10087" fmla="*/ 3512994 w 4381952"/>
                  <a:gd name="connsiteY10087" fmla="*/ 880944 h 7571038"/>
                  <a:gd name="connsiteX10088" fmla="*/ 3514721 w 4381952"/>
                  <a:gd name="connsiteY10088" fmla="*/ 2800345 h 7571038"/>
                  <a:gd name="connsiteX10089" fmla="*/ 3508554 w 4381952"/>
                  <a:gd name="connsiteY10089" fmla="*/ 2794183 h 7571038"/>
                  <a:gd name="connsiteX10090" fmla="*/ 3502391 w 4381952"/>
                  <a:gd name="connsiteY10090" fmla="*/ 2800345 h 7571038"/>
                  <a:gd name="connsiteX10091" fmla="*/ 3508554 w 4381952"/>
                  <a:gd name="connsiteY10091" fmla="*/ 2806513 h 7571038"/>
                  <a:gd name="connsiteX10092" fmla="*/ 3514721 w 4381952"/>
                  <a:gd name="connsiteY10092" fmla="*/ 2800345 h 7571038"/>
                  <a:gd name="connsiteX10093" fmla="*/ 3515213 w 4381952"/>
                  <a:gd name="connsiteY10093" fmla="*/ 761382 h 7571038"/>
                  <a:gd name="connsiteX10094" fmla="*/ 3470830 w 4381952"/>
                  <a:gd name="connsiteY10094" fmla="*/ 716995 h 7571038"/>
                  <a:gd name="connsiteX10095" fmla="*/ 3426445 w 4381952"/>
                  <a:gd name="connsiteY10095" fmla="*/ 761382 h 7571038"/>
                  <a:gd name="connsiteX10096" fmla="*/ 3470830 w 4381952"/>
                  <a:gd name="connsiteY10096" fmla="*/ 805765 h 7571038"/>
                  <a:gd name="connsiteX10097" fmla="*/ 3515213 w 4381952"/>
                  <a:gd name="connsiteY10097" fmla="*/ 761382 h 7571038"/>
                  <a:gd name="connsiteX10098" fmla="*/ 3517183 w 4381952"/>
                  <a:gd name="connsiteY10098" fmla="*/ 1773706 h 7571038"/>
                  <a:gd name="connsiteX10099" fmla="*/ 3474527 w 4381952"/>
                  <a:gd name="connsiteY10099" fmla="*/ 1731021 h 7571038"/>
                  <a:gd name="connsiteX10100" fmla="*/ 3431869 w 4381952"/>
                  <a:gd name="connsiteY10100" fmla="*/ 1773706 h 7571038"/>
                  <a:gd name="connsiteX10101" fmla="*/ 3474527 w 4381952"/>
                  <a:gd name="connsiteY10101" fmla="*/ 1816376 h 7571038"/>
                  <a:gd name="connsiteX10102" fmla="*/ 3517183 w 4381952"/>
                  <a:gd name="connsiteY10102" fmla="*/ 1773706 h 7571038"/>
                  <a:gd name="connsiteX10103" fmla="*/ 3518417 w 4381952"/>
                  <a:gd name="connsiteY10103" fmla="*/ 5677336 h 7571038"/>
                  <a:gd name="connsiteX10104" fmla="*/ 3515705 w 4381952"/>
                  <a:gd name="connsiteY10104" fmla="*/ 5674623 h 7571038"/>
                  <a:gd name="connsiteX10105" fmla="*/ 3512991 w 4381952"/>
                  <a:gd name="connsiteY10105" fmla="*/ 5677336 h 7571038"/>
                  <a:gd name="connsiteX10106" fmla="*/ 3515705 w 4381952"/>
                  <a:gd name="connsiteY10106" fmla="*/ 5680049 h 7571038"/>
                  <a:gd name="connsiteX10107" fmla="*/ 3518417 w 4381952"/>
                  <a:gd name="connsiteY10107" fmla="*/ 5677336 h 7571038"/>
                  <a:gd name="connsiteX10108" fmla="*/ 3519899 w 4381952"/>
                  <a:gd name="connsiteY10108" fmla="*/ 3901745 h 7571038"/>
                  <a:gd name="connsiteX10109" fmla="*/ 3496719 w 4381952"/>
                  <a:gd name="connsiteY10109" fmla="*/ 3878565 h 7571038"/>
                  <a:gd name="connsiteX10110" fmla="*/ 3473542 w 4381952"/>
                  <a:gd name="connsiteY10110" fmla="*/ 3901745 h 7571038"/>
                  <a:gd name="connsiteX10111" fmla="*/ 3496719 w 4381952"/>
                  <a:gd name="connsiteY10111" fmla="*/ 3924921 h 7571038"/>
                  <a:gd name="connsiteX10112" fmla="*/ 3519899 w 4381952"/>
                  <a:gd name="connsiteY10112" fmla="*/ 3901745 h 7571038"/>
                  <a:gd name="connsiteX10113" fmla="*/ 3521625 w 4381952"/>
                  <a:gd name="connsiteY10113" fmla="*/ 5801610 h 7571038"/>
                  <a:gd name="connsiteX10114" fmla="*/ 3518912 w 4381952"/>
                  <a:gd name="connsiteY10114" fmla="*/ 5798897 h 7571038"/>
                  <a:gd name="connsiteX10115" fmla="*/ 3516199 w 4381952"/>
                  <a:gd name="connsiteY10115" fmla="*/ 5801610 h 7571038"/>
                  <a:gd name="connsiteX10116" fmla="*/ 3518912 w 4381952"/>
                  <a:gd name="connsiteY10116" fmla="*/ 5804323 h 7571038"/>
                  <a:gd name="connsiteX10117" fmla="*/ 3521625 w 4381952"/>
                  <a:gd name="connsiteY10117" fmla="*/ 5801610 h 7571038"/>
                  <a:gd name="connsiteX10118" fmla="*/ 3522854 w 4381952"/>
                  <a:gd name="connsiteY10118" fmla="*/ 5552571 h 7571038"/>
                  <a:gd name="connsiteX10119" fmla="*/ 3511019 w 4381952"/>
                  <a:gd name="connsiteY10119" fmla="*/ 5540734 h 7571038"/>
                  <a:gd name="connsiteX10120" fmla="*/ 3499183 w 4381952"/>
                  <a:gd name="connsiteY10120" fmla="*/ 5552571 h 7571038"/>
                  <a:gd name="connsiteX10121" fmla="*/ 3511019 w 4381952"/>
                  <a:gd name="connsiteY10121" fmla="*/ 5564406 h 7571038"/>
                  <a:gd name="connsiteX10122" fmla="*/ 3522854 w 4381952"/>
                  <a:gd name="connsiteY10122" fmla="*/ 5552571 h 7571038"/>
                  <a:gd name="connsiteX10123" fmla="*/ 3524336 w 4381952"/>
                  <a:gd name="connsiteY10123" fmla="*/ 3104862 h 7571038"/>
                  <a:gd name="connsiteX10124" fmla="*/ 3512008 w 4381952"/>
                  <a:gd name="connsiteY10124" fmla="*/ 3092533 h 7571038"/>
                  <a:gd name="connsiteX10125" fmla="*/ 3499678 w 4381952"/>
                  <a:gd name="connsiteY10125" fmla="*/ 3104862 h 7571038"/>
                  <a:gd name="connsiteX10126" fmla="*/ 3512008 w 4381952"/>
                  <a:gd name="connsiteY10126" fmla="*/ 3117190 h 7571038"/>
                  <a:gd name="connsiteX10127" fmla="*/ 3524336 w 4381952"/>
                  <a:gd name="connsiteY10127" fmla="*/ 3104862 h 7571038"/>
                  <a:gd name="connsiteX10128" fmla="*/ 3524581 w 4381952"/>
                  <a:gd name="connsiteY10128" fmla="*/ 5923420 h 7571038"/>
                  <a:gd name="connsiteX10129" fmla="*/ 3522858 w 4381952"/>
                  <a:gd name="connsiteY10129" fmla="*/ 5921693 h 7571038"/>
                  <a:gd name="connsiteX10130" fmla="*/ 3521377 w 4381952"/>
                  <a:gd name="connsiteY10130" fmla="*/ 5923420 h 7571038"/>
                  <a:gd name="connsiteX10131" fmla="*/ 3522858 w 4381952"/>
                  <a:gd name="connsiteY10131" fmla="*/ 5925144 h 7571038"/>
                  <a:gd name="connsiteX10132" fmla="*/ 3524581 w 4381952"/>
                  <a:gd name="connsiteY10132" fmla="*/ 5923420 h 7571038"/>
                  <a:gd name="connsiteX10133" fmla="*/ 3526309 w 4381952"/>
                  <a:gd name="connsiteY10133" fmla="*/ 4403527 h 7571038"/>
                  <a:gd name="connsiteX10134" fmla="*/ 3483406 w 4381952"/>
                  <a:gd name="connsiteY10134" fmla="*/ 4360621 h 7571038"/>
                  <a:gd name="connsiteX10135" fmla="*/ 3440500 w 4381952"/>
                  <a:gd name="connsiteY10135" fmla="*/ 4403527 h 7571038"/>
                  <a:gd name="connsiteX10136" fmla="*/ 3483406 w 4381952"/>
                  <a:gd name="connsiteY10136" fmla="*/ 4446430 h 7571038"/>
                  <a:gd name="connsiteX10137" fmla="*/ 3526309 w 4381952"/>
                  <a:gd name="connsiteY10137" fmla="*/ 4403527 h 7571038"/>
                  <a:gd name="connsiteX10138" fmla="*/ 3527049 w 4381952"/>
                  <a:gd name="connsiteY10138" fmla="*/ 6044733 h 7571038"/>
                  <a:gd name="connsiteX10139" fmla="*/ 3526557 w 4381952"/>
                  <a:gd name="connsiteY10139" fmla="*/ 6044241 h 7571038"/>
                  <a:gd name="connsiteX10140" fmla="*/ 3526062 w 4381952"/>
                  <a:gd name="connsiteY10140" fmla="*/ 6044733 h 7571038"/>
                  <a:gd name="connsiteX10141" fmla="*/ 3526557 w 4381952"/>
                  <a:gd name="connsiteY10141" fmla="*/ 6045227 h 7571038"/>
                  <a:gd name="connsiteX10142" fmla="*/ 3527049 w 4381952"/>
                  <a:gd name="connsiteY10142" fmla="*/ 6044733 h 7571038"/>
                  <a:gd name="connsiteX10143" fmla="*/ 3528526 w 4381952"/>
                  <a:gd name="connsiteY10143" fmla="*/ 2400171 h 7571038"/>
                  <a:gd name="connsiteX10144" fmla="*/ 3504118 w 4381952"/>
                  <a:gd name="connsiteY10144" fmla="*/ 2375758 h 7571038"/>
                  <a:gd name="connsiteX10145" fmla="*/ 3479706 w 4381952"/>
                  <a:gd name="connsiteY10145" fmla="*/ 2400171 h 7571038"/>
                  <a:gd name="connsiteX10146" fmla="*/ 3504118 w 4381952"/>
                  <a:gd name="connsiteY10146" fmla="*/ 2424577 h 7571038"/>
                  <a:gd name="connsiteX10147" fmla="*/ 3528526 w 4381952"/>
                  <a:gd name="connsiteY10147" fmla="*/ 2400171 h 7571038"/>
                  <a:gd name="connsiteX10148" fmla="*/ 3530499 w 4381952"/>
                  <a:gd name="connsiteY10148" fmla="*/ 6165064 h 7571038"/>
                  <a:gd name="connsiteX10149" fmla="*/ 3529514 w 4381952"/>
                  <a:gd name="connsiteY10149" fmla="*/ 6164077 h 7571038"/>
                  <a:gd name="connsiteX10150" fmla="*/ 3528526 w 4381952"/>
                  <a:gd name="connsiteY10150" fmla="*/ 6165064 h 7571038"/>
                  <a:gd name="connsiteX10151" fmla="*/ 3529514 w 4381952"/>
                  <a:gd name="connsiteY10151" fmla="*/ 6166050 h 7571038"/>
                  <a:gd name="connsiteX10152" fmla="*/ 3530499 w 4381952"/>
                  <a:gd name="connsiteY10152" fmla="*/ 6165064 h 7571038"/>
                  <a:gd name="connsiteX10153" fmla="*/ 3542830 w 4381952"/>
                  <a:gd name="connsiteY10153" fmla="*/ 2256923 h 7571038"/>
                  <a:gd name="connsiteX10154" fmla="*/ 3523596 w 4381952"/>
                  <a:gd name="connsiteY10154" fmla="*/ 2237689 h 7571038"/>
                  <a:gd name="connsiteX10155" fmla="*/ 3504364 w 4381952"/>
                  <a:gd name="connsiteY10155" fmla="*/ 2256923 h 7571038"/>
                  <a:gd name="connsiteX10156" fmla="*/ 3523596 w 4381952"/>
                  <a:gd name="connsiteY10156" fmla="*/ 2276150 h 7571038"/>
                  <a:gd name="connsiteX10157" fmla="*/ 3542830 w 4381952"/>
                  <a:gd name="connsiteY10157" fmla="*/ 2256923 h 7571038"/>
                  <a:gd name="connsiteX10158" fmla="*/ 3543075 w 4381952"/>
                  <a:gd name="connsiteY10158" fmla="*/ 6280954 h 7571038"/>
                  <a:gd name="connsiteX10159" fmla="*/ 3540116 w 4381952"/>
                  <a:gd name="connsiteY10159" fmla="*/ 6277995 h 7571038"/>
                  <a:gd name="connsiteX10160" fmla="*/ 3537157 w 4381952"/>
                  <a:gd name="connsiteY10160" fmla="*/ 6280954 h 7571038"/>
                  <a:gd name="connsiteX10161" fmla="*/ 3540116 w 4381952"/>
                  <a:gd name="connsiteY10161" fmla="*/ 6283913 h 7571038"/>
                  <a:gd name="connsiteX10162" fmla="*/ 3543075 w 4381952"/>
                  <a:gd name="connsiteY10162" fmla="*/ 6280954 h 7571038"/>
                  <a:gd name="connsiteX10163" fmla="*/ 3545048 w 4381952"/>
                  <a:gd name="connsiteY10163" fmla="*/ 6400051 h 7571038"/>
                  <a:gd name="connsiteX10164" fmla="*/ 3542089 w 4381952"/>
                  <a:gd name="connsiteY10164" fmla="*/ 6397091 h 7571038"/>
                  <a:gd name="connsiteX10165" fmla="*/ 3539130 w 4381952"/>
                  <a:gd name="connsiteY10165" fmla="*/ 6400051 h 7571038"/>
                  <a:gd name="connsiteX10166" fmla="*/ 3542089 w 4381952"/>
                  <a:gd name="connsiteY10166" fmla="*/ 6403009 h 7571038"/>
                  <a:gd name="connsiteX10167" fmla="*/ 3545048 w 4381952"/>
                  <a:gd name="connsiteY10167" fmla="*/ 6400051 h 7571038"/>
                  <a:gd name="connsiteX10168" fmla="*/ 3545542 w 4381952"/>
                  <a:gd name="connsiteY10168" fmla="*/ 6518652 h 7571038"/>
                  <a:gd name="connsiteX10169" fmla="*/ 3543321 w 4381952"/>
                  <a:gd name="connsiteY10169" fmla="*/ 6516434 h 7571038"/>
                  <a:gd name="connsiteX10170" fmla="*/ 3541102 w 4381952"/>
                  <a:gd name="connsiteY10170" fmla="*/ 6518652 h 7571038"/>
                  <a:gd name="connsiteX10171" fmla="*/ 3543321 w 4381952"/>
                  <a:gd name="connsiteY10171" fmla="*/ 6520870 h 7571038"/>
                  <a:gd name="connsiteX10172" fmla="*/ 3545542 w 4381952"/>
                  <a:gd name="connsiteY10172" fmla="*/ 6518652 h 7571038"/>
                  <a:gd name="connsiteX10173" fmla="*/ 3548502 w 4381952"/>
                  <a:gd name="connsiteY10173" fmla="*/ 6636022 h 7571038"/>
                  <a:gd name="connsiteX10174" fmla="*/ 3545789 w 4381952"/>
                  <a:gd name="connsiteY10174" fmla="*/ 6633309 h 7571038"/>
                  <a:gd name="connsiteX10175" fmla="*/ 3543075 w 4381952"/>
                  <a:gd name="connsiteY10175" fmla="*/ 6636022 h 7571038"/>
                  <a:gd name="connsiteX10176" fmla="*/ 3545789 w 4381952"/>
                  <a:gd name="connsiteY10176" fmla="*/ 6638735 h 7571038"/>
                  <a:gd name="connsiteX10177" fmla="*/ 3548502 w 4381952"/>
                  <a:gd name="connsiteY10177" fmla="*/ 6636022 h 7571038"/>
                  <a:gd name="connsiteX10178" fmla="*/ 3549733 w 4381952"/>
                  <a:gd name="connsiteY10178" fmla="*/ 4150540 h 7571038"/>
                  <a:gd name="connsiteX10179" fmla="*/ 3510772 w 4381952"/>
                  <a:gd name="connsiteY10179" fmla="*/ 4111579 h 7571038"/>
                  <a:gd name="connsiteX10180" fmla="*/ 3472060 w 4381952"/>
                  <a:gd name="connsiteY10180" fmla="*/ 4150540 h 7571038"/>
                  <a:gd name="connsiteX10181" fmla="*/ 3510772 w 4381952"/>
                  <a:gd name="connsiteY10181" fmla="*/ 4189252 h 7571038"/>
                  <a:gd name="connsiteX10182" fmla="*/ 3549733 w 4381952"/>
                  <a:gd name="connsiteY10182" fmla="*/ 4150540 h 7571038"/>
                  <a:gd name="connsiteX10183" fmla="*/ 3549978 w 4381952"/>
                  <a:gd name="connsiteY10183" fmla="*/ 3790292 h 7571038"/>
                  <a:gd name="connsiteX10184" fmla="*/ 3527542 w 4381952"/>
                  <a:gd name="connsiteY10184" fmla="*/ 3767853 h 7571038"/>
                  <a:gd name="connsiteX10185" fmla="*/ 3505104 w 4381952"/>
                  <a:gd name="connsiteY10185" fmla="*/ 3790292 h 7571038"/>
                  <a:gd name="connsiteX10186" fmla="*/ 3527542 w 4381952"/>
                  <a:gd name="connsiteY10186" fmla="*/ 3812729 h 7571038"/>
                  <a:gd name="connsiteX10187" fmla="*/ 3549978 w 4381952"/>
                  <a:gd name="connsiteY10187" fmla="*/ 3790292 h 7571038"/>
                  <a:gd name="connsiteX10188" fmla="*/ 3550720 w 4381952"/>
                  <a:gd name="connsiteY10188" fmla="*/ 2644517 h 7571038"/>
                  <a:gd name="connsiteX10189" fmla="*/ 3545048 w 4381952"/>
                  <a:gd name="connsiteY10189" fmla="*/ 2638845 h 7571038"/>
                  <a:gd name="connsiteX10190" fmla="*/ 3539130 w 4381952"/>
                  <a:gd name="connsiteY10190" fmla="*/ 2644517 h 7571038"/>
                  <a:gd name="connsiteX10191" fmla="*/ 3545048 w 4381952"/>
                  <a:gd name="connsiteY10191" fmla="*/ 2650189 h 7571038"/>
                  <a:gd name="connsiteX10192" fmla="*/ 3550720 w 4381952"/>
                  <a:gd name="connsiteY10192" fmla="*/ 2644517 h 7571038"/>
                  <a:gd name="connsiteX10193" fmla="*/ 3550720 w 4381952"/>
                  <a:gd name="connsiteY10193" fmla="*/ 6753393 h 7571038"/>
                  <a:gd name="connsiteX10194" fmla="*/ 3547269 w 4381952"/>
                  <a:gd name="connsiteY10194" fmla="*/ 6749692 h 7571038"/>
                  <a:gd name="connsiteX10195" fmla="*/ 3543570 w 4381952"/>
                  <a:gd name="connsiteY10195" fmla="*/ 6753393 h 7571038"/>
                  <a:gd name="connsiteX10196" fmla="*/ 3547269 w 4381952"/>
                  <a:gd name="connsiteY10196" fmla="*/ 6756843 h 7571038"/>
                  <a:gd name="connsiteX10197" fmla="*/ 3550720 w 4381952"/>
                  <a:gd name="connsiteY10197" fmla="*/ 6753393 h 7571038"/>
                  <a:gd name="connsiteX10198" fmla="*/ 3553431 w 4381952"/>
                  <a:gd name="connsiteY10198" fmla="*/ 3217056 h 7571038"/>
                  <a:gd name="connsiteX10199" fmla="*/ 3538636 w 4381952"/>
                  <a:gd name="connsiteY10199" fmla="*/ 3202262 h 7571038"/>
                  <a:gd name="connsiteX10200" fmla="*/ 3523841 w 4381952"/>
                  <a:gd name="connsiteY10200" fmla="*/ 3217056 h 7571038"/>
                  <a:gd name="connsiteX10201" fmla="*/ 3538636 w 4381952"/>
                  <a:gd name="connsiteY10201" fmla="*/ 3231851 h 7571038"/>
                  <a:gd name="connsiteX10202" fmla="*/ 3553431 w 4381952"/>
                  <a:gd name="connsiteY10202" fmla="*/ 3217056 h 7571038"/>
                  <a:gd name="connsiteX10203" fmla="*/ 3553433 w 4381952"/>
                  <a:gd name="connsiteY10203" fmla="*/ 4549992 h 7571038"/>
                  <a:gd name="connsiteX10204" fmla="*/ 3508063 w 4381952"/>
                  <a:gd name="connsiteY10204" fmla="*/ 4504622 h 7571038"/>
                  <a:gd name="connsiteX10205" fmla="*/ 3462693 w 4381952"/>
                  <a:gd name="connsiteY10205" fmla="*/ 4549992 h 7571038"/>
                  <a:gd name="connsiteX10206" fmla="*/ 3508063 w 4381952"/>
                  <a:gd name="connsiteY10206" fmla="*/ 4595362 h 7571038"/>
                  <a:gd name="connsiteX10207" fmla="*/ 3553433 w 4381952"/>
                  <a:gd name="connsiteY10207" fmla="*/ 4549992 h 7571038"/>
                  <a:gd name="connsiteX10208" fmla="*/ 3553697 w 4381952"/>
                  <a:gd name="connsiteY10208" fmla="*/ 0 h 7571038"/>
                  <a:gd name="connsiteX10209" fmla="*/ 3527133 w 4381952"/>
                  <a:gd name="connsiteY10209" fmla="*/ 0 h 7571038"/>
                  <a:gd name="connsiteX10210" fmla="*/ 3540362 w 4381952"/>
                  <a:gd name="connsiteY10210" fmla="*/ 5508 h 7571038"/>
                  <a:gd name="connsiteX10211" fmla="*/ 3553924 w 4381952"/>
                  <a:gd name="connsiteY10211" fmla="*/ 6869777 h 7571038"/>
                  <a:gd name="connsiteX10212" fmla="*/ 3548992 w 4381952"/>
                  <a:gd name="connsiteY10212" fmla="*/ 6864844 h 7571038"/>
                  <a:gd name="connsiteX10213" fmla="*/ 3544061 w 4381952"/>
                  <a:gd name="connsiteY10213" fmla="*/ 6869777 h 7571038"/>
                  <a:gd name="connsiteX10214" fmla="*/ 3548992 w 4381952"/>
                  <a:gd name="connsiteY10214" fmla="*/ 6874708 h 7571038"/>
                  <a:gd name="connsiteX10215" fmla="*/ 3553924 w 4381952"/>
                  <a:gd name="connsiteY10215" fmla="*/ 6869777 h 7571038"/>
                  <a:gd name="connsiteX10216" fmla="*/ 3557379 w 4381952"/>
                  <a:gd name="connsiteY10216" fmla="*/ 6985668 h 7571038"/>
                  <a:gd name="connsiteX10217" fmla="*/ 3550474 w 4381952"/>
                  <a:gd name="connsiteY10217" fmla="*/ 6978764 h 7571038"/>
                  <a:gd name="connsiteX10218" fmla="*/ 3543570 w 4381952"/>
                  <a:gd name="connsiteY10218" fmla="*/ 6985668 h 7571038"/>
                  <a:gd name="connsiteX10219" fmla="*/ 3550474 w 4381952"/>
                  <a:gd name="connsiteY10219" fmla="*/ 6992572 h 7571038"/>
                  <a:gd name="connsiteX10220" fmla="*/ 3557379 w 4381952"/>
                  <a:gd name="connsiteY10220" fmla="*/ 6985668 h 7571038"/>
                  <a:gd name="connsiteX10221" fmla="*/ 3563047 w 4381952"/>
                  <a:gd name="connsiteY10221" fmla="*/ 2116871 h 7571038"/>
                  <a:gd name="connsiteX10222" fmla="*/ 3539375 w 4381952"/>
                  <a:gd name="connsiteY10222" fmla="*/ 2093196 h 7571038"/>
                  <a:gd name="connsiteX10223" fmla="*/ 3515705 w 4381952"/>
                  <a:gd name="connsiteY10223" fmla="*/ 2116871 h 7571038"/>
                  <a:gd name="connsiteX10224" fmla="*/ 3539375 w 4381952"/>
                  <a:gd name="connsiteY10224" fmla="*/ 2140543 h 7571038"/>
                  <a:gd name="connsiteX10225" fmla="*/ 3563047 w 4381952"/>
                  <a:gd name="connsiteY10225" fmla="*/ 2116871 h 7571038"/>
                  <a:gd name="connsiteX10226" fmla="*/ 3563295 w 4381952"/>
                  <a:gd name="connsiteY10226" fmla="*/ 7214733 h 7571038"/>
                  <a:gd name="connsiteX10227" fmla="*/ 3558855 w 4381952"/>
                  <a:gd name="connsiteY10227" fmla="*/ 7210297 h 7571038"/>
                  <a:gd name="connsiteX10228" fmla="*/ 3554419 w 4381952"/>
                  <a:gd name="connsiteY10228" fmla="*/ 7214733 h 7571038"/>
                  <a:gd name="connsiteX10229" fmla="*/ 3558855 w 4381952"/>
                  <a:gd name="connsiteY10229" fmla="*/ 7219173 h 7571038"/>
                  <a:gd name="connsiteX10230" fmla="*/ 3563295 w 4381952"/>
                  <a:gd name="connsiteY10230" fmla="*/ 7214733 h 7571038"/>
                  <a:gd name="connsiteX10231" fmla="*/ 3566006 w 4381952"/>
                  <a:gd name="connsiteY10231" fmla="*/ 2906128 h 7571038"/>
                  <a:gd name="connsiteX10232" fmla="*/ 3557621 w 4381952"/>
                  <a:gd name="connsiteY10232" fmla="*/ 2897746 h 7571038"/>
                  <a:gd name="connsiteX10233" fmla="*/ 3549238 w 4381952"/>
                  <a:gd name="connsiteY10233" fmla="*/ 2906128 h 7571038"/>
                  <a:gd name="connsiteX10234" fmla="*/ 3557621 w 4381952"/>
                  <a:gd name="connsiteY10234" fmla="*/ 2914513 h 7571038"/>
                  <a:gd name="connsiteX10235" fmla="*/ 3566006 w 4381952"/>
                  <a:gd name="connsiteY10235" fmla="*/ 2906128 h 7571038"/>
                  <a:gd name="connsiteX10236" fmla="*/ 3566006 w 4381952"/>
                  <a:gd name="connsiteY10236" fmla="*/ 7099093 h 7571038"/>
                  <a:gd name="connsiteX10237" fmla="*/ 3557869 w 4381952"/>
                  <a:gd name="connsiteY10237" fmla="*/ 7091202 h 7571038"/>
                  <a:gd name="connsiteX10238" fmla="*/ 3549980 w 4381952"/>
                  <a:gd name="connsiteY10238" fmla="*/ 7099093 h 7571038"/>
                  <a:gd name="connsiteX10239" fmla="*/ 3557869 w 4381952"/>
                  <a:gd name="connsiteY10239" fmla="*/ 7107229 h 7571038"/>
                  <a:gd name="connsiteX10240" fmla="*/ 3566006 w 4381952"/>
                  <a:gd name="connsiteY10240" fmla="*/ 7099093 h 7571038"/>
                  <a:gd name="connsiteX10241" fmla="*/ 3566009 w 4381952"/>
                  <a:gd name="connsiteY10241" fmla="*/ 7329639 h 7571038"/>
                  <a:gd name="connsiteX10242" fmla="*/ 3559843 w 4381952"/>
                  <a:gd name="connsiteY10242" fmla="*/ 7323475 h 7571038"/>
                  <a:gd name="connsiteX10243" fmla="*/ 3553679 w 4381952"/>
                  <a:gd name="connsiteY10243" fmla="*/ 7329639 h 7571038"/>
                  <a:gd name="connsiteX10244" fmla="*/ 3559843 w 4381952"/>
                  <a:gd name="connsiteY10244" fmla="*/ 7335806 h 7571038"/>
                  <a:gd name="connsiteX10245" fmla="*/ 3566009 w 4381952"/>
                  <a:gd name="connsiteY10245" fmla="*/ 7329639 h 7571038"/>
                  <a:gd name="connsiteX10246" fmla="*/ 3567733 w 4381952"/>
                  <a:gd name="connsiteY10246" fmla="*/ 1980523 h 7571038"/>
                  <a:gd name="connsiteX10247" fmla="*/ 3553433 w 4381952"/>
                  <a:gd name="connsiteY10247" fmla="*/ 1966227 h 7571038"/>
                  <a:gd name="connsiteX10248" fmla="*/ 3539130 w 4381952"/>
                  <a:gd name="connsiteY10248" fmla="*/ 1980523 h 7571038"/>
                  <a:gd name="connsiteX10249" fmla="*/ 3553433 w 4381952"/>
                  <a:gd name="connsiteY10249" fmla="*/ 1994818 h 7571038"/>
                  <a:gd name="connsiteX10250" fmla="*/ 3567733 w 4381952"/>
                  <a:gd name="connsiteY10250" fmla="*/ 1980523 h 7571038"/>
                  <a:gd name="connsiteX10251" fmla="*/ 3570693 w 4381952"/>
                  <a:gd name="connsiteY10251" fmla="*/ 3676868 h 7571038"/>
                  <a:gd name="connsiteX10252" fmla="*/ 3548993 w 4381952"/>
                  <a:gd name="connsiteY10252" fmla="*/ 3655169 h 7571038"/>
                  <a:gd name="connsiteX10253" fmla="*/ 3527295 w 4381952"/>
                  <a:gd name="connsiteY10253" fmla="*/ 3676868 h 7571038"/>
                  <a:gd name="connsiteX10254" fmla="*/ 3548993 w 4381952"/>
                  <a:gd name="connsiteY10254" fmla="*/ 3698567 h 7571038"/>
                  <a:gd name="connsiteX10255" fmla="*/ 3570693 w 4381952"/>
                  <a:gd name="connsiteY10255" fmla="*/ 3676868 h 7571038"/>
                  <a:gd name="connsiteX10256" fmla="*/ 3572913 w 4381952"/>
                  <a:gd name="connsiteY10256" fmla="*/ 3331213 h 7571038"/>
                  <a:gd name="connsiteX10257" fmla="*/ 3555650 w 4381952"/>
                  <a:gd name="connsiteY10257" fmla="*/ 3313961 h 7571038"/>
                  <a:gd name="connsiteX10258" fmla="*/ 3538637 w 4381952"/>
                  <a:gd name="connsiteY10258" fmla="*/ 3331213 h 7571038"/>
                  <a:gd name="connsiteX10259" fmla="*/ 3555650 w 4381952"/>
                  <a:gd name="connsiteY10259" fmla="*/ 3348477 h 7571038"/>
                  <a:gd name="connsiteX10260" fmla="*/ 3572913 w 4381952"/>
                  <a:gd name="connsiteY10260" fmla="*/ 3331213 h 7571038"/>
                  <a:gd name="connsiteX10261" fmla="*/ 3573896 w 4381952"/>
                  <a:gd name="connsiteY10261" fmla="*/ 670662 h 7571038"/>
                  <a:gd name="connsiteX10262" fmla="*/ 3531977 w 4381952"/>
                  <a:gd name="connsiteY10262" fmla="*/ 628700 h 7571038"/>
                  <a:gd name="connsiteX10263" fmla="*/ 3490306 w 4381952"/>
                  <a:gd name="connsiteY10263" fmla="*/ 670662 h 7571038"/>
                  <a:gd name="connsiteX10264" fmla="*/ 3531977 w 4381952"/>
                  <a:gd name="connsiteY10264" fmla="*/ 712575 h 7571038"/>
                  <a:gd name="connsiteX10265" fmla="*/ 3573896 w 4381952"/>
                  <a:gd name="connsiteY10265" fmla="*/ 670662 h 7571038"/>
                  <a:gd name="connsiteX10266" fmla="*/ 3574636 w 4381952"/>
                  <a:gd name="connsiteY10266" fmla="*/ 4692760 h 7571038"/>
                  <a:gd name="connsiteX10267" fmla="*/ 3528528 w 4381952"/>
                  <a:gd name="connsiteY10267" fmla="*/ 4646650 h 7571038"/>
                  <a:gd name="connsiteX10268" fmla="*/ 3482419 w 4381952"/>
                  <a:gd name="connsiteY10268" fmla="*/ 4692760 h 7571038"/>
                  <a:gd name="connsiteX10269" fmla="*/ 3528528 w 4381952"/>
                  <a:gd name="connsiteY10269" fmla="*/ 4738868 h 7571038"/>
                  <a:gd name="connsiteX10270" fmla="*/ 3574636 w 4381952"/>
                  <a:gd name="connsiteY10270" fmla="*/ 4692760 h 7571038"/>
                  <a:gd name="connsiteX10271" fmla="*/ 3575622 w 4381952"/>
                  <a:gd name="connsiteY10271" fmla="*/ 551789 h 7571038"/>
                  <a:gd name="connsiteX10272" fmla="*/ 3534198 w 4381952"/>
                  <a:gd name="connsiteY10272" fmla="*/ 510366 h 7571038"/>
                  <a:gd name="connsiteX10273" fmla="*/ 3492774 w 4381952"/>
                  <a:gd name="connsiteY10273" fmla="*/ 551789 h 7571038"/>
                  <a:gd name="connsiteX10274" fmla="*/ 3534198 w 4381952"/>
                  <a:gd name="connsiteY10274" fmla="*/ 593212 h 7571038"/>
                  <a:gd name="connsiteX10275" fmla="*/ 3575622 w 4381952"/>
                  <a:gd name="connsiteY10275" fmla="*/ 551789 h 7571038"/>
                  <a:gd name="connsiteX10276" fmla="*/ 3578090 w 4381952"/>
                  <a:gd name="connsiteY10276" fmla="*/ 315618 h 7571038"/>
                  <a:gd name="connsiteX10277" fmla="*/ 3537157 w 4381952"/>
                  <a:gd name="connsiteY10277" fmla="*/ 274690 h 7571038"/>
                  <a:gd name="connsiteX10278" fmla="*/ 3496227 w 4381952"/>
                  <a:gd name="connsiteY10278" fmla="*/ 315618 h 7571038"/>
                  <a:gd name="connsiteX10279" fmla="*/ 3537157 w 4381952"/>
                  <a:gd name="connsiteY10279" fmla="*/ 356550 h 7571038"/>
                  <a:gd name="connsiteX10280" fmla="*/ 3578090 w 4381952"/>
                  <a:gd name="connsiteY10280" fmla="*/ 315618 h 7571038"/>
                  <a:gd name="connsiteX10281" fmla="*/ 3578581 w 4381952"/>
                  <a:gd name="connsiteY10281" fmla="*/ 5102568 h 7571038"/>
                  <a:gd name="connsiteX10282" fmla="*/ 3572172 w 4381952"/>
                  <a:gd name="connsiteY10282" fmla="*/ 5096158 h 7571038"/>
                  <a:gd name="connsiteX10283" fmla="*/ 3565760 w 4381952"/>
                  <a:gd name="connsiteY10283" fmla="*/ 5102568 h 7571038"/>
                  <a:gd name="connsiteX10284" fmla="*/ 3572172 w 4381952"/>
                  <a:gd name="connsiteY10284" fmla="*/ 5108980 h 7571038"/>
                  <a:gd name="connsiteX10285" fmla="*/ 3578581 w 4381952"/>
                  <a:gd name="connsiteY10285" fmla="*/ 5102568 h 7571038"/>
                  <a:gd name="connsiteX10286" fmla="*/ 3579074 w 4381952"/>
                  <a:gd name="connsiteY10286" fmla="*/ 433457 h 7571038"/>
                  <a:gd name="connsiteX10287" fmla="*/ 3536171 w 4381952"/>
                  <a:gd name="connsiteY10287" fmla="*/ 390802 h 7571038"/>
                  <a:gd name="connsiteX10288" fmla="*/ 3493265 w 4381952"/>
                  <a:gd name="connsiteY10288" fmla="*/ 433457 h 7571038"/>
                  <a:gd name="connsiteX10289" fmla="*/ 3536171 w 4381952"/>
                  <a:gd name="connsiteY10289" fmla="*/ 476361 h 7571038"/>
                  <a:gd name="connsiteX10290" fmla="*/ 3579074 w 4381952"/>
                  <a:gd name="connsiteY10290" fmla="*/ 433457 h 7571038"/>
                  <a:gd name="connsiteX10291" fmla="*/ 3579077 w 4381952"/>
                  <a:gd name="connsiteY10291" fmla="*/ 198769 h 7571038"/>
                  <a:gd name="connsiteX10292" fmla="*/ 3538637 w 4381952"/>
                  <a:gd name="connsiteY10292" fmla="*/ 158333 h 7571038"/>
                  <a:gd name="connsiteX10293" fmla="*/ 3498199 w 4381952"/>
                  <a:gd name="connsiteY10293" fmla="*/ 198769 h 7571038"/>
                  <a:gd name="connsiteX10294" fmla="*/ 3538637 w 4381952"/>
                  <a:gd name="connsiteY10294" fmla="*/ 239206 h 7571038"/>
                  <a:gd name="connsiteX10295" fmla="*/ 3579077 w 4381952"/>
                  <a:gd name="connsiteY10295" fmla="*/ 198769 h 7571038"/>
                  <a:gd name="connsiteX10296" fmla="*/ 3579077 w 4381952"/>
                  <a:gd name="connsiteY10296" fmla="*/ 4831828 h 7571038"/>
                  <a:gd name="connsiteX10297" fmla="*/ 3545789 w 4381952"/>
                  <a:gd name="connsiteY10297" fmla="*/ 4798540 h 7571038"/>
                  <a:gd name="connsiteX10298" fmla="*/ 3512500 w 4381952"/>
                  <a:gd name="connsiteY10298" fmla="*/ 4831828 h 7571038"/>
                  <a:gd name="connsiteX10299" fmla="*/ 3545789 w 4381952"/>
                  <a:gd name="connsiteY10299" fmla="*/ 4865117 h 7571038"/>
                  <a:gd name="connsiteX10300" fmla="*/ 3579077 w 4381952"/>
                  <a:gd name="connsiteY10300" fmla="*/ 4831828 h 7571038"/>
                  <a:gd name="connsiteX10301" fmla="*/ 3579817 w 4381952"/>
                  <a:gd name="connsiteY10301" fmla="*/ 81922 h 7571038"/>
                  <a:gd name="connsiteX10302" fmla="*/ 3539624 w 4381952"/>
                  <a:gd name="connsiteY10302" fmla="*/ 41731 h 7571038"/>
                  <a:gd name="connsiteX10303" fmla="*/ 3499432 w 4381952"/>
                  <a:gd name="connsiteY10303" fmla="*/ 81922 h 7571038"/>
                  <a:gd name="connsiteX10304" fmla="*/ 3539624 w 4381952"/>
                  <a:gd name="connsiteY10304" fmla="*/ 122112 h 7571038"/>
                  <a:gd name="connsiteX10305" fmla="*/ 3579817 w 4381952"/>
                  <a:gd name="connsiteY10305" fmla="*/ 81922 h 7571038"/>
                  <a:gd name="connsiteX10306" fmla="*/ 3581789 w 4381952"/>
                  <a:gd name="connsiteY10306" fmla="*/ 3561962 h 7571038"/>
                  <a:gd name="connsiteX10307" fmla="*/ 3560828 w 4381952"/>
                  <a:gd name="connsiteY10307" fmla="*/ 3541003 h 7571038"/>
                  <a:gd name="connsiteX10308" fmla="*/ 3539870 w 4381952"/>
                  <a:gd name="connsiteY10308" fmla="*/ 3561962 h 7571038"/>
                  <a:gd name="connsiteX10309" fmla="*/ 3560828 w 4381952"/>
                  <a:gd name="connsiteY10309" fmla="*/ 3582923 h 7571038"/>
                  <a:gd name="connsiteX10310" fmla="*/ 3581789 w 4381952"/>
                  <a:gd name="connsiteY10310" fmla="*/ 3561962 h 7571038"/>
                  <a:gd name="connsiteX10311" fmla="*/ 3582772 w 4381952"/>
                  <a:gd name="connsiteY10311" fmla="*/ 3446613 h 7571038"/>
                  <a:gd name="connsiteX10312" fmla="*/ 3563047 w 4381952"/>
                  <a:gd name="connsiteY10312" fmla="*/ 3426889 h 7571038"/>
                  <a:gd name="connsiteX10313" fmla="*/ 3543321 w 4381952"/>
                  <a:gd name="connsiteY10313" fmla="*/ 3446613 h 7571038"/>
                  <a:gd name="connsiteX10314" fmla="*/ 3563047 w 4381952"/>
                  <a:gd name="connsiteY10314" fmla="*/ 3466291 h 7571038"/>
                  <a:gd name="connsiteX10315" fmla="*/ 3582772 w 4381952"/>
                  <a:gd name="connsiteY10315" fmla="*/ 3446613 h 7571038"/>
                  <a:gd name="connsiteX10316" fmla="*/ 3584501 w 4381952"/>
                  <a:gd name="connsiteY10316" fmla="*/ 1686165 h 7571038"/>
                  <a:gd name="connsiteX10317" fmla="*/ 3538393 w 4381952"/>
                  <a:gd name="connsiteY10317" fmla="*/ 1640054 h 7571038"/>
                  <a:gd name="connsiteX10318" fmla="*/ 3492528 w 4381952"/>
                  <a:gd name="connsiteY10318" fmla="*/ 1686165 h 7571038"/>
                  <a:gd name="connsiteX10319" fmla="*/ 3538393 w 4381952"/>
                  <a:gd name="connsiteY10319" fmla="*/ 1732019 h 7571038"/>
                  <a:gd name="connsiteX10320" fmla="*/ 3584501 w 4381952"/>
                  <a:gd name="connsiteY10320" fmla="*/ 1686165 h 7571038"/>
                  <a:gd name="connsiteX10321" fmla="*/ 3586718 w 4381952"/>
                  <a:gd name="connsiteY10321" fmla="*/ 4306378 h 7571038"/>
                  <a:gd name="connsiteX10322" fmla="*/ 3547761 w 4381952"/>
                  <a:gd name="connsiteY10322" fmla="*/ 4267417 h 7571038"/>
                  <a:gd name="connsiteX10323" fmla="*/ 3508800 w 4381952"/>
                  <a:gd name="connsiteY10323" fmla="*/ 4306378 h 7571038"/>
                  <a:gd name="connsiteX10324" fmla="*/ 3547761 w 4381952"/>
                  <a:gd name="connsiteY10324" fmla="*/ 4345335 h 7571038"/>
                  <a:gd name="connsiteX10325" fmla="*/ 3586718 w 4381952"/>
                  <a:gd name="connsiteY10325" fmla="*/ 4306378 h 7571038"/>
                  <a:gd name="connsiteX10326" fmla="*/ 3591156 w 4381952"/>
                  <a:gd name="connsiteY10326" fmla="*/ 4968679 h 7571038"/>
                  <a:gd name="connsiteX10327" fmla="*/ 3559843 w 4381952"/>
                  <a:gd name="connsiteY10327" fmla="*/ 4937363 h 7571038"/>
                  <a:gd name="connsiteX10328" fmla="*/ 3528526 w 4381952"/>
                  <a:gd name="connsiteY10328" fmla="*/ 4968679 h 7571038"/>
                  <a:gd name="connsiteX10329" fmla="*/ 3559843 w 4381952"/>
                  <a:gd name="connsiteY10329" fmla="*/ 4999992 h 7571038"/>
                  <a:gd name="connsiteX10330" fmla="*/ 3591156 w 4381952"/>
                  <a:gd name="connsiteY10330" fmla="*/ 4968679 h 7571038"/>
                  <a:gd name="connsiteX10331" fmla="*/ 3592636 w 4381952"/>
                  <a:gd name="connsiteY10331" fmla="*/ 1557215 h 7571038"/>
                  <a:gd name="connsiteX10332" fmla="*/ 3546034 w 4381952"/>
                  <a:gd name="connsiteY10332" fmla="*/ 1510616 h 7571038"/>
                  <a:gd name="connsiteX10333" fmla="*/ 3499432 w 4381952"/>
                  <a:gd name="connsiteY10333" fmla="*/ 1557215 h 7571038"/>
                  <a:gd name="connsiteX10334" fmla="*/ 3546034 w 4381952"/>
                  <a:gd name="connsiteY10334" fmla="*/ 1603822 h 7571038"/>
                  <a:gd name="connsiteX10335" fmla="*/ 3592636 w 4381952"/>
                  <a:gd name="connsiteY10335" fmla="*/ 1557215 h 7571038"/>
                  <a:gd name="connsiteX10336" fmla="*/ 3592636 w 4381952"/>
                  <a:gd name="connsiteY10336" fmla="*/ 1846204 h 7571038"/>
                  <a:gd name="connsiteX10337" fmla="*/ 3564774 w 4381952"/>
                  <a:gd name="connsiteY10337" fmla="*/ 1818339 h 7571038"/>
                  <a:gd name="connsiteX10338" fmla="*/ 3536911 w 4381952"/>
                  <a:gd name="connsiteY10338" fmla="*/ 1846204 h 7571038"/>
                  <a:gd name="connsiteX10339" fmla="*/ 3564774 w 4381952"/>
                  <a:gd name="connsiteY10339" fmla="*/ 1874057 h 7571038"/>
                  <a:gd name="connsiteX10340" fmla="*/ 3592636 w 4381952"/>
                  <a:gd name="connsiteY10340" fmla="*/ 1846204 h 7571038"/>
                  <a:gd name="connsiteX10341" fmla="*/ 3595594 w 4381952"/>
                  <a:gd name="connsiteY10341" fmla="*/ 4044510 h 7571038"/>
                  <a:gd name="connsiteX10342" fmla="*/ 3559593 w 4381952"/>
                  <a:gd name="connsiteY10342" fmla="*/ 4008511 h 7571038"/>
                  <a:gd name="connsiteX10343" fmla="*/ 3523595 w 4381952"/>
                  <a:gd name="connsiteY10343" fmla="*/ 4044510 h 7571038"/>
                  <a:gd name="connsiteX10344" fmla="*/ 3559593 w 4381952"/>
                  <a:gd name="connsiteY10344" fmla="*/ 4080512 h 7571038"/>
                  <a:gd name="connsiteX10345" fmla="*/ 3595594 w 4381952"/>
                  <a:gd name="connsiteY10345" fmla="*/ 4044510 h 7571038"/>
                  <a:gd name="connsiteX10346" fmla="*/ 3598060 w 4381952"/>
                  <a:gd name="connsiteY10346" fmla="*/ 1430001 h 7571038"/>
                  <a:gd name="connsiteX10347" fmla="*/ 3552444 w 4381952"/>
                  <a:gd name="connsiteY10347" fmla="*/ 1384384 h 7571038"/>
                  <a:gd name="connsiteX10348" fmla="*/ 3506828 w 4381952"/>
                  <a:gd name="connsiteY10348" fmla="*/ 1430001 h 7571038"/>
                  <a:gd name="connsiteX10349" fmla="*/ 3552444 w 4381952"/>
                  <a:gd name="connsiteY10349" fmla="*/ 1475617 h 7571038"/>
                  <a:gd name="connsiteX10350" fmla="*/ 3598060 w 4381952"/>
                  <a:gd name="connsiteY10350" fmla="*/ 1430001 h 7571038"/>
                  <a:gd name="connsiteX10351" fmla="*/ 3599543 w 4381952"/>
                  <a:gd name="connsiteY10351" fmla="*/ 5227091 h 7571038"/>
                  <a:gd name="connsiteX10352" fmla="*/ 3591898 w 4381952"/>
                  <a:gd name="connsiteY10352" fmla="*/ 5219445 h 7571038"/>
                  <a:gd name="connsiteX10353" fmla="*/ 3584253 w 4381952"/>
                  <a:gd name="connsiteY10353" fmla="*/ 5227091 h 7571038"/>
                  <a:gd name="connsiteX10354" fmla="*/ 3591898 w 4381952"/>
                  <a:gd name="connsiteY10354" fmla="*/ 5234732 h 7571038"/>
                  <a:gd name="connsiteX10355" fmla="*/ 3599543 w 4381952"/>
                  <a:gd name="connsiteY10355" fmla="*/ 5227091 h 7571038"/>
                  <a:gd name="connsiteX10356" fmla="*/ 3600281 w 4381952"/>
                  <a:gd name="connsiteY10356" fmla="*/ 2492879 h 7571038"/>
                  <a:gd name="connsiteX10357" fmla="*/ 3574637 w 4381952"/>
                  <a:gd name="connsiteY10357" fmla="*/ 2467234 h 7571038"/>
                  <a:gd name="connsiteX10358" fmla="*/ 3548993 w 4381952"/>
                  <a:gd name="connsiteY10358" fmla="*/ 2492879 h 7571038"/>
                  <a:gd name="connsiteX10359" fmla="*/ 3574637 w 4381952"/>
                  <a:gd name="connsiteY10359" fmla="*/ 2518522 h 7571038"/>
                  <a:gd name="connsiteX10360" fmla="*/ 3600281 w 4381952"/>
                  <a:gd name="connsiteY10360" fmla="*/ 2492879 h 7571038"/>
                  <a:gd name="connsiteX10361" fmla="*/ 3602254 w 4381952"/>
                  <a:gd name="connsiteY10361" fmla="*/ 5358019 h 7571038"/>
                  <a:gd name="connsiteX10362" fmla="*/ 3600773 w 4381952"/>
                  <a:gd name="connsiteY10362" fmla="*/ 5356541 h 7571038"/>
                  <a:gd name="connsiteX10363" fmla="*/ 3599294 w 4381952"/>
                  <a:gd name="connsiteY10363" fmla="*/ 5358019 h 7571038"/>
                  <a:gd name="connsiteX10364" fmla="*/ 3600773 w 4381952"/>
                  <a:gd name="connsiteY10364" fmla="*/ 5359255 h 7571038"/>
                  <a:gd name="connsiteX10365" fmla="*/ 3602254 w 4381952"/>
                  <a:gd name="connsiteY10365" fmla="*/ 5358019 h 7571038"/>
                  <a:gd name="connsiteX10366" fmla="*/ 3603734 w 4381952"/>
                  <a:gd name="connsiteY10366" fmla="*/ 1304510 h 7571038"/>
                  <a:gd name="connsiteX10367" fmla="*/ 3558116 w 4381952"/>
                  <a:gd name="connsiteY10367" fmla="*/ 1258643 h 7571038"/>
                  <a:gd name="connsiteX10368" fmla="*/ 3512500 w 4381952"/>
                  <a:gd name="connsiteY10368" fmla="*/ 1304510 h 7571038"/>
                  <a:gd name="connsiteX10369" fmla="*/ 3558116 w 4381952"/>
                  <a:gd name="connsiteY10369" fmla="*/ 1350128 h 7571038"/>
                  <a:gd name="connsiteX10370" fmla="*/ 3603734 w 4381952"/>
                  <a:gd name="connsiteY10370" fmla="*/ 1304510 h 7571038"/>
                  <a:gd name="connsiteX10371" fmla="*/ 3607924 w 4381952"/>
                  <a:gd name="connsiteY10371" fmla="*/ 2745861 h 7571038"/>
                  <a:gd name="connsiteX10372" fmla="*/ 3602253 w 4381952"/>
                  <a:gd name="connsiteY10372" fmla="*/ 2740189 h 7571038"/>
                  <a:gd name="connsiteX10373" fmla="*/ 3596581 w 4381952"/>
                  <a:gd name="connsiteY10373" fmla="*/ 2745861 h 7571038"/>
                  <a:gd name="connsiteX10374" fmla="*/ 3602253 w 4381952"/>
                  <a:gd name="connsiteY10374" fmla="*/ 2751535 h 7571038"/>
                  <a:gd name="connsiteX10375" fmla="*/ 3607924 w 4381952"/>
                  <a:gd name="connsiteY10375" fmla="*/ 2745861 h 7571038"/>
                  <a:gd name="connsiteX10376" fmla="*/ 3607925 w 4381952"/>
                  <a:gd name="connsiteY10376" fmla="*/ 1180252 h 7571038"/>
                  <a:gd name="connsiteX10377" fmla="*/ 3563541 w 4381952"/>
                  <a:gd name="connsiteY10377" fmla="*/ 1135623 h 7571038"/>
                  <a:gd name="connsiteX10378" fmla="*/ 3518912 w 4381952"/>
                  <a:gd name="connsiteY10378" fmla="*/ 1180252 h 7571038"/>
                  <a:gd name="connsiteX10379" fmla="*/ 3563541 w 4381952"/>
                  <a:gd name="connsiteY10379" fmla="*/ 1224641 h 7571038"/>
                  <a:gd name="connsiteX10380" fmla="*/ 3607925 w 4381952"/>
                  <a:gd name="connsiteY10380" fmla="*/ 1180252 h 7571038"/>
                  <a:gd name="connsiteX10381" fmla="*/ 3608663 w 4381952"/>
                  <a:gd name="connsiteY10381" fmla="*/ 3015611 h 7571038"/>
                  <a:gd name="connsiteX10382" fmla="*/ 3598308 w 4381952"/>
                  <a:gd name="connsiteY10382" fmla="*/ 3005007 h 7571038"/>
                  <a:gd name="connsiteX10383" fmla="*/ 3587705 w 4381952"/>
                  <a:gd name="connsiteY10383" fmla="*/ 3015611 h 7571038"/>
                  <a:gd name="connsiteX10384" fmla="*/ 3598308 w 4381952"/>
                  <a:gd name="connsiteY10384" fmla="*/ 3026215 h 7571038"/>
                  <a:gd name="connsiteX10385" fmla="*/ 3608663 w 4381952"/>
                  <a:gd name="connsiteY10385" fmla="*/ 3015611 h 7571038"/>
                  <a:gd name="connsiteX10386" fmla="*/ 3613594 w 4381952"/>
                  <a:gd name="connsiteY10386" fmla="*/ 1056725 h 7571038"/>
                  <a:gd name="connsiteX10387" fmla="*/ 3567733 w 4381952"/>
                  <a:gd name="connsiteY10387" fmla="*/ 1011125 h 7571038"/>
                  <a:gd name="connsiteX10388" fmla="*/ 3521868 w 4381952"/>
                  <a:gd name="connsiteY10388" fmla="*/ 1056725 h 7571038"/>
                  <a:gd name="connsiteX10389" fmla="*/ 3567733 w 4381952"/>
                  <a:gd name="connsiteY10389" fmla="*/ 1102602 h 7571038"/>
                  <a:gd name="connsiteX10390" fmla="*/ 3613594 w 4381952"/>
                  <a:gd name="connsiteY10390" fmla="*/ 1056725 h 7571038"/>
                  <a:gd name="connsiteX10391" fmla="*/ 3616064 w 4381952"/>
                  <a:gd name="connsiteY10391" fmla="*/ 934454 h 7571038"/>
                  <a:gd name="connsiteX10392" fmla="*/ 3570940 w 4381952"/>
                  <a:gd name="connsiteY10392" fmla="*/ 889333 h 7571038"/>
                  <a:gd name="connsiteX10393" fmla="*/ 3525817 w 4381952"/>
                  <a:gd name="connsiteY10393" fmla="*/ 934454 h 7571038"/>
                  <a:gd name="connsiteX10394" fmla="*/ 3570940 w 4381952"/>
                  <a:gd name="connsiteY10394" fmla="*/ 979579 h 7571038"/>
                  <a:gd name="connsiteX10395" fmla="*/ 3616064 w 4381952"/>
                  <a:gd name="connsiteY10395" fmla="*/ 934454 h 7571038"/>
                  <a:gd name="connsiteX10396" fmla="*/ 3617293 w 4381952"/>
                  <a:gd name="connsiteY10396" fmla="*/ 5614708 h 7571038"/>
                  <a:gd name="connsiteX10397" fmla="*/ 3613596 w 4381952"/>
                  <a:gd name="connsiteY10397" fmla="*/ 5611008 h 7571038"/>
                  <a:gd name="connsiteX10398" fmla="*/ 3609897 w 4381952"/>
                  <a:gd name="connsiteY10398" fmla="*/ 5614708 h 7571038"/>
                  <a:gd name="connsiteX10399" fmla="*/ 3613596 w 4381952"/>
                  <a:gd name="connsiteY10399" fmla="*/ 5618404 h 7571038"/>
                  <a:gd name="connsiteX10400" fmla="*/ 3617293 w 4381952"/>
                  <a:gd name="connsiteY10400" fmla="*/ 5614708 h 7571038"/>
                  <a:gd name="connsiteX10401" fmla="*/ 3619266 w 4381952"/>
                  <a:gd name="connsiteY10401" fmla="*/ 813160 h 7571038"/>
                  <a:gd name="connsiteX10402" fmla="*/ 3574391 w 4381952"/>
                  <a:gd name="connsiteY10402" fmla="*/ 768283 h 7571038"/>
                  <a:gd name="connsiteX10403" fmla="*/ 3529513 w 4381952"/>
                  <a:gd name="connsiteY10403" fmla="*/ 813160 h 7571038"/>
                  <a:gd name="connsiteX10404" fmla="*/ 3574391 w 4381952"/>
                  <a:gd name="connsiteY10404" fmla="*/ 858034 h 7571038"/>
                  <a:gd name="connsiteX10405" fmla="*/ 3619266 w 4381952"/>
                  <a:gd name="connsiteY10405" fmla="*/ 813160 h 7571038"/>
                  <a:gd name="connsiteX10406" fmla="*/ 3620006 w 4381952"/>
                  <a:gd name="connsiteY10406" fmla="*/ 5487474 h 7571038"/>
                  <a:gd name="connsiteX10407" fmla="*/ 3607433 w 4381952"/>
                  <a:gd name="connsiteY10407" fmla="*/ 5474898 h 7571038"/>
                  <a:gd name="connsiteX10408" fmla="*/ 3594857 w 4381952"/>
                  <a:gd name="connsiteY10408" fmla="*/ 5487474 h 7571038"/>
                  <a:gd name="connsiteX10409" fmla="*/ 3607433 w 4381952"/>
                  <a:gd name="connsiteY10409" fmla="*/ 5500050 h 7571038"/>
                  <a:gd name="connsiteX10410" fmla="*/ 3620006 w 4381952"/>
                  <a:gd name="connsiteY10410" fmla="*/ 5487474 h 7571038"/>
                  <a:gd name="connsiteX10411" fmla="*/ 3620502 w 4381952"/>
                  <a:gd name="connsiteY10411" fmla="*/ 2345202 h 7571038"/>
                  <a:gd name="connsiteX10412" fmla="*/ 3599049 w 4381952"/>
                  <a:gd name="connsiteY10412" fmla="*/ 2323734 h 7571038"/>
                  <a:gd name="connsiteX10413" fmla="*/ 3577596 w 4381952"/>
                  <a:gd name="connsiteY10413" fmla="*/ 2345202 h 7571038"/>
                  <a:gd name="connsiteX10414" fmla="*/ 3599049 w 4381952"/>
                  <a:gd name="connsiteY10414" fmla="*/ 2366652 h 7571038"/>
                  <a:gd name="connsiteX10415" fmla="*/ 3620502 w 4381952"/>
                  <a:gd name="connsiteY10415" fmla="*/ 2345202 h 7571038"/>
                  <a:gd name="connsiteX10416" fmla="*/ 3621242 w 4381952"/>
                  <a:gd name="connsiteY10416" fmla="*/ 5741445 h 7571038"/>
                  <a:gd name="connsiteX10417" fmla="*/ 3618283 w 4381952"/>
                  <a:gd name="connsiteY10417" fmla="*/ 5738486 h 7571038"/>
                  <a:gd name="connsiteX10418" fmla="*/ 3615570 w 4381952"/>
                  <a:gd name="connsiteY10418" fmla="*/ 5741445 h 7571038"/>
                  <a:gd name="connsiteX10419" fmla="*/ 3618283 w 4381952"/>
                  <a:gd name="connsiteY10419" fmla="*/ 5744158 h 7571038"/>
                  <a:gd name="connsiteX10420" fmla="*/ 3621242 w 4381952"/>
                  <a:gd name="connsiteY10420" fmla="*/ 5741445 h 7571038"/>
                  <a:gd name="connsiteX10421" fmla="*/ 3621733 w 4381952"/>
                  <a:gd name="connsiteY10421" fmla="*/ 4457280 h 7571038"/>
                  <a:gd name="connsiteX10422" fmla="*/ 3578336 w 4381952"/>
                  <a:gd name="connsiteY10422" fmla="*/ 4413882 h 7571038"/>
                  <a:gd name="connsiteX10423" fmla="*/ 3534938 w 4381952"/>
                  <a:gd name="connsiteY10423" fmla="*/ 4457280 h 7571038"/>
                  <a:gd name="connsiteX10424" fmla="*/ 3578336 w 4381952"/>
                  <a:gd name="connsiteY10424" fmla="*/ 4500677 h 7571038"/>
                  <a:gd name="connsiteX10425" fmla="*/ 3621733 w 4381952"/>
                  <a:gd name="connsiteY10425" fmla="*/ 4457280 h 7571038"/>
                  <a:gd name="connsiteX10426" fmla="*/ 3624445 w 4381952"/>
                  <a:gd name="connsiteY10426" fmla="*/ 5865720 h 7571038"/>
                  <a:gd name="connsiteX10427" fmla="*/ 3623211 w 4381952"/>
                  <a:gd name="connsiteY10427" fmla="*/ 5864488 h 7571038"/>
                  <a:gd name="connsiteX10428" fmla="*/ 3621979 w 4381952"/>
                  <a:gd name="connsiteY10428" fmla="*/ 5865720 h 7571038"/>
                  <a:gd name="connsiteX10429" fmla="*/ 3623211 w 4381952"/>
                  <a:gd name="connsiteY10429" fmla="*/ 5866955 h 7571038"/>
                  <a:gd name="connsiteX10430" fmla="*/ 3624445 w 4381952"/>
                  <a:gd name="connsiteY10430" fmla="*/ 5865720 h 7571038"/>
                  <a:gd name="connsiteX10431" fmla="*/ 3628389 w 4381952"/>
                  <a:gd name="connsiteY10431" fmla="*/ 5988763 h 7571038"/>
                  <a:gd name="connsiteX10432" fmla="*/ 3627896 w 4381952"/>
                  <a:gd name="connsiteY10432" fmla="*/ 5988267 h 7571038"/>
                  <a:gd name="connsiteX10433" fmla="*/ 3627402 w 4381952"/>
                  <a:gd name="connsiteY10433" fmla="*/ 5988763 h 7571038"/>
                  <a:gd name="connsiteX10434" fmla="*/ 3627896 w 4381952"/>
                  <a:gd name="connsiteY10434" fmla="*/ 5989254 h 7571038"/>
                  <a:gd name="connsiteX10435" fmla="*/ 3628389 w 4381952"/>
                  <a:gd name="connsiteY10435" fmla="*/ 5988763 h 7571038"/>
                  <a:gd name="connsiteX10436" fmla="*/ 3632828 w 4381952"/>
                  <a:gd name="connsiteY10436" fmla="*/ 6111063 h 7571038"/>
                  <a:gd name="connsiteX10437" fmla="*/ 3631843 w 4381952"/>
                  <a:gd name="connsiteY10437" fmla="*/ 6110077 h 7571038"/>
                  <a:gd name="connsiteX10438" fmla="*/ 3630856 w 4381952"/>
                  <a:gd name="connsiteY10438" fmla="*/ 6111063 h 7571038"/>
                  <a:gd name="connsiteX10439" fmla="*/ 3631843 w 4381952"/>
                  <a:gd name="connsiteY10439" fmla="*/ 6112049 h 7571038"/>
                  <a:gd name="connsiteX10440" fmla="*/ 3632828 w 4381952"/>
                  <a:gd name="connsiteY10440" fmla="*/ 6111063 h 7571038"/>
                  <a:gd name="connsiteX10441" fmla="*/ 3633075 w 4381952"/>
                  <a:gd name="connsiteY10441" fmla="*/ 3934787 h 7571038"/>
                  <a:gd name="connsiteX10442" fmla="*/ 3599789 w 4381952"/>
                  <a:gd name="connsiteY10442" fmla="*/ 3901499 h 7571038"/>
                  <a:gd name="connsiteX10443" fmla="*/ 3566500 w 4381952"/>
                  <a:gd name="connsiteY10443" fmla="*/ 3934787 h 7571038"/>
                  <a:gd name="connsiteX10444" fmla="*/ 3599789 w 4381952"/>
                  <a:gd name="connsiteY10444" fmla="*/ 3968072 h 7571038"/>
                  <a:gd name="connsiteX10445" fmla="*/ 3633075 w 4381952"/>
                  <a:gd name="connsiteY10445" fmla="*/ 3934787 h 7571038"/>
                  <a:gd name="connsiteX10446" fmla="*/ 3635538 w 4381952"/>
                  <a:gd name="connsiteY10446" fmla="*/ 2201205 h 7571038"/>
                  <a:gd name="connsiteX10447" fmla="*/ 3619020 w 4381952"/>
                  <a:gd name="connsiteY10447" fmla="*/ 2184683 h 7571038"/>
                  <a:gd name="connsiteX10448" fmla="*/ 3602499 w 4381952"/>
                  <a:gd name="connsiteY10448" fmla="*/ 2201205 h 7571038"/>
                  <a:gd name="connsiteX10449" fmla="*/ 3619020 w 4381952"/>
                  <a:gd name="connsiteY10449" fmla="*/ 2217725 h 7571038"/>
                  <a:gd name="connsiteX10450" fmla="*/ 3635538 w 4381952"/>
                  <a:gd name="connsiteY10450" fmla="*/ 2201205 h 7571038"/>
                  <a:gd name="connsiteX10451" fmla="*/ 3639733 w 4381952"/>
                  <a:gd name="connsiteY10451" fmla="*/ 4204538 h 7571038"/>
                  <a:gd name="connsiteX10452" fmla="*/ 3604718 w 4381952"/>
                  <a:gd name="connsiteY10452" fmla="*/ 4169525 h 7571038"/>
                  <a:gd name="connsiteX10453" fmla="*/ 3569705 w 4381952"/>
                  <a:gd name="connsiteY10453" fmla="*/ 4204538 h 7571038"/>
                  <a:gd name="connsiteX10454" fmla="*/ 3604718 w 4381952"/>
                  <a:gd name="connsiteY10454" fmla="*/ 4239553 h 7571038"/>
                  <a:gd name="connsiteX10455" fmla="*/ 3639733 w 4381952"/>
                  <a:gd name="connsiteY10455" fmla="*/ 4204538 h 7571038"/>
                  <a:gd name="connsiteX10456" fmla="*/ 3641211 w 4381952"/>
                  <a:gd name="connsiteY10456" fmla="*/ 2061148 h 7571038"/>
                  <a:gd name="connsiteX10457" fmla="*/ 3636527 w 4381952"/>
                  <a:gd name="connsiteY10457" fmla="*/ 2056461 h 7571038"/>
                  <a:gd name="connsiteX10458" fmla="*/ 3631842 w 4381952"/>
                  <a:gd name="connsiteY10458" fmla="*/ 2061148 h 7571038"/>
                  <a:gd name="connsiteX10459" fmla="*/ 3636527 w 4381952"/>
                  <a:gd name="connsiteY10459" fmla="*/ 2065834 h 7571038"/>
                  <a:gd name="connsiteX10460" fmla="*/ 3641211 w 4381952"/>
                  <a:gd name="connsiteY10460" fmla="*/ 2061148 h 7571038"/>
                  <a:gd name="connsiteX10461" fmla="*/ 3643431 w 4381952"/>
                  <a:gd name="connsiteY10461" fmla="*/ 3127803 h 7571038"/>
                  <a:gd name="connsiteX10462" fmla="*/ 3630361 w 4381952"/>
                  <a:gd name="connsiteY10462" fmla="*/ 3114736 h 7571038"/>
                  <a:gd name="connsiteX10463" fmla="*/ 3617293 w 4381952"/>
                  <a:gd name="connsiteY10463" fmla="*/ 3127803 h 7571038"/>
                  <a:gd name="connsiteX10464" fmla="*/ 3630361 w 4381952"/>
                  <a:gd name="connsiteY10464" fmla="*/ 3140872 h 7571038"/>
                  <a:gd name="connsiteX10465" fmla="*/ 3643431 w 4381952"/>
                  <a:gd name="connsiteY10465" fmla="*/ 3127803 h 7571038"/>
                  <a:gd name="connsiteX10466" fmla="*/ 3646637 w 4381952"/>
                  <a:gd name="connsiteY10466" fmla="*/ 6228187 h 7571038"/>
                  <a:gd name="connsiteX10467" fmla="*/ 3643678 w 4381952"/>
                  <a:gd name="connsiteY10467" fmla="*/ 6225229 h 7571038"/>
                  <a:gd name="connsiteX10468" fmla="*/ 3640965 w 4381952"/>
                  <a:gd name="connsiteY10468" fmla="*/ 6228187 h 7571038"/>
                  <a:gd name="connsiteX10469" fmla="*/ 3643678 w 4381952"/>
                  <a:gd name="connsiteY10469" fmla="*/ 6230901 h 7571038"/>
                  <a:gd name="connsiteX10470" fmla="*/ 3646637 w 4381952"/>
                  <a:gd name="connsiteY10470" fmla="*/ 6228187 h 7571038"/>
                  <a:gd name="connsiteX10471" fmla="*/ 3649350 w 4381952"/>
                  <a:gd name="connsiteY10471" fmla="*/ 6349008 h 7571038"/>
                  <a:gd name="connsiteX10472" fmla="*/ 3646637 w 4381952"/>
                  <a:gd name="connsiteY10472" fmla="*/ 6346294 h 7571038"/>
                  <a:gd name="connsiteX10473" fmla="*/ 3643924 w 4381952"/>
                  <a:gd name="connsiteY10473" fmla="*/ 6349008 h 7571038"/>
                  <a:gd name="connsiteX10474" fmla="*/ 3646637 w 4381952"/>
                  <a:gd name="connsiteY10474" fmla="*/ 6351718 h 7571038"/>
                  <a:gd name="connsiteX10475" fmla="*/ 3649350 w 4381952"/>
                  <a:gd name="connsiteY10475" fmla="*/ 6349008 h 7571038"/>
                  <a:gd name="connsiteX10476" fmla="*/ 3650582 w 4381952"/>
                  <a:gd name="connsiteY10476" fmla="*/ 6469092 h 7571038"/>
                  <a:gd name="connsiteX10477" fmla="*/ 3648610 w 4381952"/>
                  <a:gd name="connsiteY10477" fmla="*/ 6467118 h 7571038"/>
                  <a:gd name="connsiteX10478" fmla="*/ 3646637 w 4381952"/>
                  <a:gd name="connsiteY10478" fmla="*/ 6469092 h 7571038"/>
                  <a:gd name="connsiteX10479" fmla="*/ 3648610 w 4381952"/>
                  <a:gd name="connsiteY10479" fmla="*/ 6471064 h 7571038"/>
                  <a:gd name="connsiteX10480" fmla="*/ 3650582 w 4381952"/>
                  <a:gd name="connsiteY10480" fmla="*/ 6469092 h 7571038"/>
                  <a:gd name="connsiteX10481" fmla="*/ 3650827 w 4381952"/>
                  <a:gd name="connsiteY10481" fmla="*/ 4603991 h 7571038"/>
                  <a:gd name="connsiteX10482" fmla="*/ 3603733 w 4381952"/>
                  <a:gd name="connsiteY10482" fmla="*/ 4557142 h 7571038"/>
                  <a:gd name="connsiteX10483" fmla="*/ 3556883 w 4381952"/>
                  <a:gd name="connsiteY10483" fmla="*/ 4603991 h 7571038"/>
                  <a:gd name="connsiteX10484" fmla="*/ 3603733 w 4381952"/>
                  <a:gd name="connsiteY10484" fmla="*/ 4651087 h 7571038"/>
                  <a:gd name="connsiteX10485" fmla="*/ 3650827 w 4381952"/>
                  <a:gd name="connsiteY10485" fmla="*/ 4603991 h 7571038"/>
                  <a:gd name="connsiteX10486" fmla="*/ 3654036 w 4381952"/>
                  <a:gd name="connsiteY10486" fmla="*/ 6588188 h 7571038"/>
                  <a:gd name="connsiteX10487" fmla="*/ 3651568 w 4381952"/>
                  <a:gd name="connsiteY10487" fmla="*/ 6585720 h 7571038"/>
                  <a:gd name="connsiteX10488" fmla="*/ 3649104 w 4381952"/>
                  <a:gd name="connsiteY10488" fmla="*/ 6588188 h 7571038"/>
                  <a:gd name="connsiteX10489" fmla="*/ 3651568 w 4381952"/>
                  <a:gd name="connsiteY10489" fmla="*/ 6590653 h 7571038"/>
                  <a:gd name="connsiteX10490" fmla="*/ 3654036 w 4381952"/>
                  <a:gd name="connsiteY10490" fmla="*/ 6588188 h 7571038"/>
                  <a:gd name="connsiteX10491" fmla="*/ 3657240 w 4381952"/>
                  <a:gd name="connsiteY10491" fmla="*/ 6706544 h 7571038"/>
                  <a:gd name="connsiteX10492" fmla="*/ 3653540 w 4381952"/>
                  <a:gd name="connsiteY10492" fmla="*/ 6702844 h 7571038"/>
                  <a:gd name="connsiteX10493" fmla="*/ 3649841 w 4381952"/>
                  <a:gd name="connsiteY10493" fmla="*/ 6706544 h 7571038"/>
                  <a:gd name="connsiteX10494" fmla="*/ 3653540 w 4381952"/>
                  <a:gd name="connsiteY10494" fmla="*/ 6710240 h 7571038"/>
                  <a:gd name="connsiteX10495" fmla="*/ 3657240 w 4381952"/>
                  <a:gd name="connsiteY10495" fmla="*/ 6706544 h 7571038"/>
                  <a:gd name="connsiteX10496" fmla="*/ 3658472 w 4381952"/>
                  <a:gd name="connsiteY10496" fmla="*/ 2851149 h 7571038"/>
                  <a:gd name="connsiteX10497" fmla="*/ 3652060 w 4381952"/>
                  <a:gd name="connsiteY10497" fmla="*/ 2844739 h 7571038"/>
                  <a:gd name="connsiteX10498" fmla="*/ 3645650 w 4381952"/>
                  <a:gd name="connsiteY10498" fmla="*/ 2851149 h 7571038"/>
                  <a:gd name="connsiteX10499" fmla="*/ 3652060 w 4381952"/>
                  <a:gd name="connsiteY10499" fmla="*/ 2857560 h 7571038"/>
                  <a:gd name="connsiteX10500" fmla="*/ 3658472 w 4381952"/>
                  <a:gd name="connsiteY10500" fmla="*/ 2851149 h 7571038"/>
                  <a:gd name="connsiteX10501" fmla="*/ 3660936 w 4381952"/>
                  <a:gd name="connsiteY10501" fmla="*/ 6824652 h 7571038"/>
                  <a:gd name="connsiteX10502" fmla="*/ 3655759 w 4381952"/>
                  <a:gd name="connsiteY10502" fmla="*/ 6819474 h 7571038"/>
                  <a:gd name="connsiteX10503" fmla="*/ 3650581 w 4381952"/>
                  <a:gd name="connsiteY10503" fmla="*/ 6824652 h 7571038"/>
                  <a:gd name="connsiteX10504" fmla="*/ 3655759 w 4381952"/>
                  <a:gd name="connsiteY10504" fmla="*/ 6829832 h 7571038"/>
                  <a:gd name="connsiteX10505" fmla="*/ 3660936 w 4381952"/>
                  <a:gd name="connsiteY10505" fmla="*/ 6824652 h 7571038"/>
                  <a:gd name="connsiteX10506" fmla="*/ 3661677 w 4381952"/>
                  <a:gd name="connsiteY10506" fmla="*/ 3822349 h 7571038"/>
                  <a:gd name="connsiteX10507" fmla="*/ 3631350 w 4381952"/>
                  <a:gd name="connsiteY10507" fmla="*/ 3792019 h 7571038"/>
                  <a:gd name="connsiteX10508" fmla="*/ 3601021 w 4381952"/>
                  <a:gd name="connsiteY10508" fmla="*/ 3822349 h 7571038"/>
                  <a:gd name="connsiteX10509" fmla="*/ 3631350 w 4381952"/>
                  <a:gd name="connsiteY10509" fmla="*/ 3852429 h 7571038"/>
                  <a:gd name="connsiteX10510" fmla="*/ 3661677 w 4381952"/>
                  <a:gd name="connsiteY10510" fmla="*/ 3822349 h 7571038"/>
                  <a:gd name="connsiteX10511" fmla="*/ 3662418 w 4381952"/>
                  <a:gd name="connsiteY10511" fmla="*/ 1923103 h 7571038"/>
                  <a:gd name="connsiteX10512" fmla="*/ 3651074 w 4381952"/>
                  <a:gd name="connsiteY10512" fmla="*/ 1911767 h 7571038"/>
                  <a:gd name="connsiteX10513" fmla="*/ 3639978 w 4381952"/>
                  <a:gd name="connsiteY10513" fmla="*/ 1923103 h 7571038"/>
                  <a:gd name="connsiteX10514" fmla="*/ 3651074 w 4381952"/>
                  <a:gd name="connsiteY10514" fmla="*/ 1934443 h 7571038"/>
                  <a:gd name="connsiteX10515" fmla="*/ 3662418 w 4381952"/>
                  <a:gd name="connsiteY10515" fmla="*/ 1923103 h 7571038"/>
                  <a:gd name="connsiteX10516" fmla="*/ 3662418 w 4381952"/>
                  <a:gd name="connsiteY10516" fmla="*/ 4747007 h 7571038"/>
                  <a:gd name="connsiteX10517" fmla="*/ 3625187 w 4381952"/>
                  <a:gd name="connsiteY10517" fmla="*/ 4709773 h 7571038"/>
                  <a:gd name="connsiteX10518" fmla="*/ 3587953 w 4381952"/>
                  <a:gd name="connsiteY10518" fmla="*/ 4747007 h 7571038"/>
                  <a:gd name="connsiteX10519" fmla="*/ 3625187 w 4381952"/>
                  <a:gd name="connsiteY10519" fmla="*/ 4784238 h 7571038"/>
                  <a:gd name="connsiteX10520" fmla="*/ 3662418 w 4381952"/>
                  <a:gd name="connsiteY10520" fmla="*/ 4747007 h 7571038"/>
                  <a:gd name="connsiteX10521" fmla="*/ 3664884 w 4381952"/>
                  <a:gd name="connsiteY10521" fmla="*/ 6941776 h 7571038"/>
                  <a:gd name="connsiteX10522" fmla="*/ 3657731 w 4381952"/>
                  <a:gd name="connsiteY10522" fmla="*/ 6934626 h 7571038"/>
                  <a:gd name="connsiteX10523" fmla="*/ 3650581 w 4381952"/>
                  <a:gd name="connsiteY10523" fmla="*/ 6941776 h 7571038"/>
                  <a:gd name="connsiteX10524" fmla="*/ 3657731 w 4381952"/>
                  <a:gd name="connsiteY10524" fmla="*/ 6948926 h 7571038"/>
                  <a:gd name="connsiteX10525" fmla="*/ 3664884 w 4381952"/>
                  <a:gd name="connsiteY10525" fmla="*/ 6941776 h 7571038"/>
                  <a:gd name="connsiteX10526" fmla="*/ 3665377 w 4381952"/>
                  <a:gd name="connsiteY10526" fmla="*/ 2589786 h 7571038"/>
                  <a:gd name="connsiteX10527" fmla="*/ 3638747 w 4381952"/>
                  <a:gd name="connsiteY10527" fmla="*/ 2563155 h 7571038"/>
                  <a:gd name="connsiteX10528" fmla="*/ 3612116 w 4381952"/>
                  <a:gd name="connsiteY10528" fmla="*/ 2589786 h 7571038"/>
                  <a:gd name="connsiteX10529" fmla="*/ 3638747 w 4381952"/>
                  <a:gd name="connsiteY10529" fmla="*/ 2616418 h 7571038"/>
                  <a:gd name="connsiteX10530" fmla="*/ 3665377 w 4381952"/>
                  <a:gd name="connsiteY10530" fmla="*/ 2589786 h 7571038"/>
                  <a:gd name="connsiteX10531" fmla="*/ 3667349 w 4381952"/>
                  <a:gd name="connsiteY10531" fmla="*/ 5025392 h 7571038"/>
                  <a:gd name="connsiteX10532" fmla="*/ 3657980 w 4381952"/>
                  <a:gd name="connsiteY10532" fmla="*/ 5016021 h 7571038"/>
                  <a:gd name="connsiteX10533" fmla="*/ 3648609 w 4381952"/>
                  <a:gd name="connsiteY10533" fmla="*/ 5025392 h 7571038"/>
                  <a:gd name="connsiteX10534" fmla="*/ 3657980 w 4381952"/>
                  <a:gd name="connsiteY10534" fmla="*/ 5034761 h 7571038"/>
                  <a:gd name="connsiteX10535" fmla="*/ 3667349 w 4381952"/>
                  <a:gd name="connsiteY10535" fmla="*/ 5025392 h 7571038"/>
                  <a:gd name="connsiteX10536" fmla="*/ 3668830 w 4381952"/>
                  <a:gd name="connsiteY10536" fmla="*/ 3242215 h 7571038"/>
                  <a:gd name="connsiteX10537" fmla="*/ 3653295 w 4381952"/>
                  <a:gd name="connsiteY10537" fmla="*/ 3226435 h 7571038"/>
                  <a:gd name="connsiteX10538" fmla="*/ 3637514 w 4381952"/>
                  <a:gd name="connsiteY10538" fmla="*/ 3242215 h 7571038"/>
                  <a:gd name="connsiteX10539" fmla="*/ 3653295 w 4381952"/>
                  <a:gd name="connsiteY10539" fmla="*/ 3257994 h 7571038"/>
                  <a:gd name="connsiteX10540" fmla="*/ 3668830 w 4381952"/>
                  <a:gd name="connsiteY10540" fmla="*/ 3242215 h 7571038"/>
                  <a:gd name="connsiteX10541" fmla="*/ 3672032 w 4381952"/>
                  <a:gd name="connsiteY10541" fmla="*/ 7172571 h 7571038"/>
                  <a:gd name="connsiteX10542" fmla="*/ 3667349 w 4381952"/>
                  <a:gd name="connsiteY10542" fmla="*/ 7167885 h 7571038"/>
                  <a:gd name="connsiteX10543" fmla="*/ 3662664 w 4381952"/>
                  <a:gd name="connsiteY10543" fmla="*/ 7172571 h 7571038"/>
                  <a:gd name="connsiteX10544" fmla="*/ 3667349 w 4381952"/>
                  <a:gd name="connsiteY10544" fmla="*/ 7177256 h 7571038"/>
                  <a:gd name="connsiteX10545" fmla="*/ 3672032 w 4381952"/>
                  <a:gd name="connsiteY10545" fmla="*/ 7172571 h 7571038"/>
                  <a:gd name="connsiteX10546" fmla="*/ 3673267 w 4381952"/>
                  <a:gd name="connsiteY10546" fmla="*/ 1758917 h 7571038"/>
                  <a:gd name="connsiteX10547" fmla="*/ 3629621 w 4381952"/>
                  <a:gd name="connsiteY10547" fmla="*/ 1715237 h 7571038"/>
                  <a:gd name="connsiteX10548" fmla="*/ 3585731 w 4381952"/>
                  <a:gd name="connsiteY10548" fmla="*/ 1758917 h 7571038"/>
                  <a:gd name="connsiteX10549" fmla="*/ 3629621 w 4381952"/>
                  <a:gd name="connsiteY10549" fmla="*/ 1802837 h 7571038"/>
                  <a:gd name="connsiteX10550" fmla="*/ 3673267 w 4381952"/>
                  <a:gd name="connsiteY10550" fmla="*/ 1758917 h 7571038"/>
                  <a:gd name="connsiteX10551" fmla="*/ 3674499 w 4381952"/>
                  <a:gd name="connsiteY10551" fmla="*/ 7056184 h 7571038"/>
                  <a:gd name="connsiteX10552" fmla="*/ 3666117 w 4381952"/>
                  <a:gd name="connsiteY10552" fmla="*/ 7047802 h 7571038"/>
                  <a:gd name="connsiteX10553" fmla="*/ 3657731 w 4381952"/>
                  <a:gd name="connsiteY10553" fmla="*/ 7056184 h 7571038"/>
                  <a:gd name="connsiteX10554" fmla="*/ 3666117 w 4381952"/>
                  <a:gd name="connsiteY10554" fmla="*/ 7064570 h 7571038"/>
                  <a:gd name="connsiteX10555" fmla="*/ 3674499 w 4381952"/>
                  <a:gd name="connsiteY10555" fmla="*/ 7056184 h 7571038"/>
                  <a:gd name="connsiteX10556" fmla="*/ 3675240 w 4381952"/>
                  <a:gd name="connsiteY10556" fmla="*/ 7288954 h 7571038"/>
                  <a:gd name="connsiteX10557" fmla="*/ 3668830 w 4381952"/>
                  <a:gd name="connsiteY10557" fmla="*/ 7282542 h 7571038"/>
                  <a:gd name="connsiteX10558" fmla="*/ 3662418 w 4381952"/>
                  <a:gd name="connsiteY10558" fmla="*/ 7288954 h 7571038"/>
                  <a:gd name="connsiteX10559" fmla="*/ 3668830 w 4381952"/>
                  <a:gd name="connsiteY10559" fmla="*/ 7295119 h 7571038"/>
                  <a:gd name="connsiteX10560" fmla="*/ 3675240 w 4381952"/>
                  <a:gd name="connsiteY10560" fmla="*/ 7288954 h 7571038"/>
                  <a:gd name="connsiteX10561" fmla="*/ 3678939 w 4381952"/>
                  <a:gd name="connsiteY10561" fmla="*/ 723184 h 7571038"/>
                  <a:gd name="connsiteX10562" fmla="*/ 3636036 w 4381952"/>
                  <a:gd name="connsiteY10562" fmla="*/ 680274 h 7571038"/>
                  <a:gd name="connsiteX10563" fmla="*/ 3593130 w 4381952"/>
                  <a:gd name="connsiteY10563" fmla="*/ 723184 h 7571038"/>
                  <a:gd name="connsiteX10564" fmla="*/ 3636036 w 4381952"/>
                  <a:gd name="connsiteY10564" fmla="*/ 766089 h 7571038"/>
                  <a:gd name="connsiteX10565" fmla="*/ 3678939 w 4381952"/>
                  <a:gd name="connsiteY10565" fmla="*/ 723184 h 7571038"/>
                  <a:gd name="connsiteX10566" fmla="*/ 3679430 w 4381952"/>
                  <a:gd name="connsiteY10566" fmla="*/ 4887800 h 7571038"/>
                  <a:gd name="connsiteX10567" fmla="*/ 3642692 w 4381952"/>
                  <a:gd name="connsiteY10567" fmla="*/ 4851060 h 7571038"/>
                  <a:gd name="connsiteX10568" fmla="*/ 3605952 w 4381952"/>
                  <a:gd name="connsiteY10568" fmla="*/ 4887800 h 7571038"/>
                  <a:gd name="connsiteX10569" fmla="*/ 3642692 w 4381952"/>
                  <a:gd name="connsiteY10569" fmla="*/ 4924538 h 7571038"/>
                  <a:gd name="connsiteX10570" fmla="*/ 3679430 w 4381952"/>
                  <a:gd name="connsiteY10570" fmla="*/ 4887800 h 7571038"/>
                  <a:gd name="connsiteX10571" fmla="*/ 3681158 w 4381952"/>
                  <a:gd name="connsiteY10571" fmla="*/ 602584 h 7571038"/>
                  <a:gd name="connsiteX10572" fmla="*/ 3638747 w 4381952"/>
                  <a:gd name="connsiteY10572" fmla="*/ 560175 h 7571038"/>
                  <a:gd name="connsiteX10573" fmla="*/ 3596335 w 4381952"/>
                  <a:gd name="connsiteY10573" fmla="*/ 602584 h 7571038"/>
                  <a:gd name="connsiteX10574" fmla="*/ 3638747 w 4381952"/>
                  <a:gd name="connsiteY10574" fmla="*/ 645027 h 7571038"/>
                  <a:gd name="connsiteX10575" fmla="*/ 3681158 w 4381952"/>
                  <a:gd name="connsiteY10575" fmla="*/ 602584 h 7571038"/>
                  <a:gd name="connsiteX10576" fmla="*/ 3681158 w 4381952"/>
                  <a:gd name="connsiteY10576" fmla="*/ 3707690 h 7571038"/>
                  <a:gd name="connsiteX10577" fmla="*/ 3654036 w 4381952"/>
                  <a:gd name="connsiteY10577" fmla="*/ 3680565 h 7571038"/>
                  <a:gd name="connsiteX10578" fmla="*/ 3626911 w 4381952"/>
                  <a:gd name="connsiteY10578" fmla="*/ 3707690 h 7571038"/>
                  <a:gd name="connsiteX10579" fmla="*/ 3654036 w 4381952"/>
                  <a:gd name="connsiteY10579" fmla="*/ 3734812 h 7571038"/>
                  <a:gd name="connsiteX10580" fmla="*/ 3681158 w 4381952"/>
                  <a:gd name="connsiteY10580" fmla="*/ 3707690 h 7571038"/>
                  <a:gd name="connsiteX10581" fmla="*/ 3681898 w 4381952"/>
                  <a:gd name="connsiteY10581" fmla="*/ 4359882 h 7571038"/>
                  <a:gd name="connsiteX10582" fmla="*/ 3641952 w 4381952"/>
                  <a:gd name="connsiteY10582" fmla="*/ 4319937 h 7571038"/>
                  <a:gd name="connsiteX10583" fmla="*/ 3602008 w 4381952"/>
                  <a:gd name="connsiteY10583" fmla="*/ 4359882 h 7571038"/>
                  <a:gd name="connsiteX10584" fmla="*/ 3641952 w 4381952"/>
                  <a:gd name="connsiteY10584" fmla="*/ 4399829 h 7571038"/>
                  <a:gd name="connsiteX10585" fmla="*/ 3681898 w 4381952"/>
                  <a:gd name="connsiteY10585" fmla="*/ 4359882 h 7571038"/>
                  <a:gd name="connsiteX10586" fmla="*/ 3684609 w 4381952"/>
                  <a:gd name="connsiteY10586" fmla="*/ 4099253 h 7571038"/>
                  <a:gd name="connsiteX10587" fmla="*/ 3654033 w 4381952"/>
                  <a:gd name="connsiteY10587" fmla="*/ 4068676 h 7571038"/>
                  <a:gd name="connsiteX10588" fmla="*/ 3623457 w 4381952"/>
                  <a:gd name="connsiteY10588" fmla="*/ 4099253 h 7571038"/>
                  <a:gd name="connsiteX10589" fmla="*/ 3654033 w 4381952"/>
                  <a:gd name="connsiteY10589" fmla="*/ 4129828 h 7571038"/>
                  <a:gd name="connsiteX10590" fmla="*/ 3684609 w 4381952"/>
                  <a:gd name="connsiteY10590" fmla="*/ 4099253 h 7571038"/>
                  <a:gd name="connsiteX10591" fmla="*/ 3684856 w 4381952"/>
                  <a:gd name="connsiteY10591" fmla="*/ 482770 h 7571038"/>
                  <a:gd name="connsiteX10592" fmla="*/ 3641459 w 4381952"/>
                  <a:gd name="connsiteY10592" fmla="*/ 439375 h 7571038"/>
                  <a:gd name="connsiteX10593" fmla="*/ 3598062 w 4381952"/>
                  <a:gd name="connsiteY10593" fmla="*/ 482770 h 7571038"/>
                  <a:gd name="connsiteX10594" fmla="*/ 3641459 w 4381952"/>
                  <a:gd name="connsiteY10594" fmla="*/ 526165 h 7571038"/>
                  <a:gd name="connsiteX10595" fmla="*/ 3684856 w 4381952"/>
                  <a:gd name="connsiteY10595" fmla="*/ 482770 h 7571038"/>
                  <a:gd name="connsiteX10596" fmla="*/ 3684856 w 4381952"/>
                  <a:gd name="connsiteY10596" fmla="*/ 1627001 h 7571038"/>
                  <a:gd name="connsiteX10597" fmla="*/ 3638995 w 4381952"/>
                  <a:gd name="connsiteY10597" fmla="*/ 1581131 h 7571038"/>
                  <a:gd name="connsiteX10598" fmla="*/ 3593130 w 4381952"/>
                  <a:gd name="connsiteY10598" fmla="*/ 1627001 h 7571038"/>
                  <a:gd name="connsiteX10599" fmla="*/ 3638995 w 4381952"/>
                  <a:gd name="connsiteY10599" fmla="*/ 1672859 h 7571038"/>
                  <a:gd name="connsiteX10600" fmla="*/ 3684856 w 4381952"/>
                  <a:gd name="connsiteY10600" fmla="*/ 1627001 h 7571038"/>
                  <a:gd name="connsiteX10601" fmla="*/ 3685103 w 4381952"/>
                  <a:gd name="connsiteY10601" fmla="*/ 363206 h 7571038"/>
                  <a:gd name="connsiteX10602" fmla="*/ 3643184 w 4381952"/>
                  <a:gd name="connsiteY10602" fmla="*/ 321290 h 7571038"/>
                  <a:gd name="connsiteX10603" fmla="*/ 3601267 w 4381952"/>
                  <a:gd name="connsiteY10603" fmla="*/ 363206 h 7571038"/>
                  <a:gd name="connsiteX10604" fmla="*/ 3643184 w 4381952"/>
                  <a:gd name="connsiteY10604" fmla="*/ 405122 h 7571038"/>
                  <a:gd name="connsiteX10605" fmla="*/ 3685103 w 4381952"/>
                  <a:gd name="connsiteY10605" fmla="*/ 363206 h 7571038"/>
                  <a:gd name="connsiteX10606" fmla="*/ 3685349 w 4381952"/>
                  <a:gd name="connsiteY10606" fmla="*/ 3358351 h 7571038"/>
                  <a:gd name="connsiteX10607" fmla="*/ 3667100 w 4381952"/>
                  <a:gd name="connsiteY10607" fmla="*/ 3340103 h 7571038"/>
                  <a:gd name="connsiteX10608" fmla="*/ 3648855 w 4381952"/>
                  <a:gd name="connsiteY10608" fmla="*/ 3358351 h 7571038"/>
                  <a:gd name="connsiteX10609" fmla="*/ 3667100 w 4381952"/>
                  <a:gd name="connsiteY10609" fmla="*/ 3376599 h 7571038"/>
                  <a:gd name="connsiteX10610" fmla="*/ 3685349 w 4381952"/>
                  <a:gd name="connsiteY10610" fmla="*/ 3358351 h 7571038"/>
                  <a:gd name="connsiteX10611" fmla="*/ 3686583 w 4381952"/>
                  <a:gd name="connsiteY10611" fmla="*/ 244631 h 7571038"/>
                  <a:gd name="connsiteX10612" fmla="*/ 3645159 w 4381952"/>
                  <a:gd name="connsiteY10612" fmla="*/ 203208 h 7571038"/>
                  <a:gd name="connsiteX10613" fmla="*/ 3603734 w 4381952"/>
                  <a:gd name="connsiteY10613" fmla="*/ 244631 h 7571038"/>
                  <a:gd name="connsiteX10614" fmla="*/ 3645159 w 4381952"/>
                  <a:gd name="connsiteY10614" fmla="*/ 286054 h 7571038"/>
                  <a:gd name="connsiteX10615" fmla="*/ 3686583 w 4381952"/>
                  <a:gd name="connsiteY10615" fmla="*/ 244631 h 7571038"/>
                  <a:gd name="connsiteX10616" fmla="*/ 3687567 w 4381952"/>
                  <a:gd name="connsiteY10616" fmla="*/ 126548 h 7571038"/>
                  <a:gd name="connsiteX10617" fmla="*/ 3646637 w 4381952"/>
                  <a:gd name="connsiteY10617" fmla="*/ 85372 h 7571038"/>
                  <a:gd name="connsiteX10618" fmla="*/ 3605458 w 4381952"/>
                  <a:gd name="connsiteY10618" fmla="*/ 126548 h 7571038"/>
                  <a:gd name="connsiteX10619" fmla="*/ 3646637 w 4381952"/>
                  <a:gd name="connsiteY10619" fmla="*/ 167724 h 7571038"/>
                  <a:gd name="connsiteX10620" fmla="*/ 3687567 w 4381952"/>
                  <a:gd name="connsiteY10620" fmla="*/ 126548 h 7571038"/>
                  <a:gd name="connsiteX10621" fmla="*/ 3688553 w 4381952"/>
                  <a:gd name="connsiteY10621" fmla="*/ 9205 h 7571038"/>
                  <a:gd name="connsiteX10622" fmla="*/ 3684735 w 4381952"/>
                  <a:gd name="connsiteY10622" fmla="*/ 0 h 7571038"/>
                  <a:gd name="connsiteX10623" fmla="*/ 3611002 w 4381952"/>
                  <a:gd name="connsiteY10623" fmla="*/ 0 h 7571038"/>
                  <a:gd name="connsiteX10624" fmla="*/ 3607184 w 4381952"/>
                  <a:gd name="connsiteY10624" fmla="*/ 9205 h 7571038"/>
                  <a:gd name="connsiteX10625" fmla="*/ 3647869 w 4381952"/>
                  <a:gd name="connsiteY10625" fmla="*/ 49890 h 7571038"/>
                  <a:gd name="connsiteX10626" fmla="*/ 3688553 w 4381952"/>
                  <a:gd name="connsiteY10626" fmla="*/ 9205 h 7571038"/>
                  <a:gd name="connsiteX10627" fmla="*/ 3689788 w 4381952"/>
                  <a:gd name="connsiteY10627" fmla="*/ 5151636 h 7571038"/>
                  <a:gd name="connsiteX10628" fmla="*/ 3680911 w 4381952"/>
                  <a:gd name="connsiteY10628" fmla="*/ 5142760 h 7571038"/>
                  <a:gd name="connsiteX10629" fmla="*/ 3672034 w 4381952"/>
                  <a:gd name="connsiteY10629" fmla="*/ 5151636 h 7571038"/>
                  <a:gd name="connsiteX10630" fmla="*/ 3680911 w 4381952"/>
                  <a:gd name="connsiteY10630" fmla="*/ 5160513 h 7571038"/>
                  <a:gd name="connsiteX10631" fmla="*/ 3689788 w 4381952"/>
                  <a:gd name="connsiteY10631" fmla="*/ 5151636 h 7571038"/>
                  <a:gd name="connsiteX10632" fmla="*/ 3691265 w 4381952"/>
                  <a:gd name="connsiteY10632" fmla="*/ 3591551 h 7571038"/>
                  <a:gd name="connsiteX10633" fmla="*/ 3667349 w 4381952"/>
                  <a:gd name="connsiteY10633" fmla="*/ 3567634 h 7571038"/>
                  <a:gd name="connsiteX10634" fmla="*/ 3643431 w 4381952"/>
                  <a:gd name="connsiteY10634" fmla="*/ 3591551 h 7571038"/>
                  <a:gd name="connsiteX10635" fmla="*/ 3667349 w 4381952"/>
                  <a:gd name="connsiteY10635" fmla="*/ 3615471 h 7571038"/>
                  <a:gd name="connsiteX10636" fmla="*/ 3691265 w 4381952"/>
                  <a:gd name="connsiteY10636" fmla="*/ 3591551 h 7571038"/>
                  <a:gd name="connsiteX10637" fmla="*/ 3692499 w 4381952"/>
                  <a:gd name="connsiteY10637" fmla="*/ 3474921 h 7571038"/>
                  <a:gd name="connsiteX10638" fmla="*/ 3671787 w 4381952"/>
                  <a:gd name="connsiteY10638" fmla="*/ 3454269 h 7571038"/>
                  <a:gd name="connsiteX10639" fmla="*/ 3650828 w 4381952"/>
                  <a:gd name="connsiteY10639" fmla="*/ 3474921 h 7571038"/>
                  <a:gd name="connsiteX10640" fmla="*/ 3671787 w 4381952"/>
                  <a:gd name="connsiteY10640" fmla="*/ 3495634 h 7571038"/>
                  <a:gd name="connsiteX10641" fmla="*/ 3692499 w 4381952"/>
                  <a:gd name="connsiteY10641" fmla="*/ 3474921 h 7571038"/>
                  <a:gd name="connsiteX10642" fmla="*/ 3692746 w 4381952"/>
                  <a:gd name="connsiteY10642" fmla="*/ 5285528 h 7571038"/>
                  <a:gd name="connsiteX10643" fmla="*/ 3691761 w 4381952"/>
                  <a:gd name="connsiteY10643" fmla="*/ 5284541 h 7571038"/>
                  <a:gd name="connsiteX10644" fmla="*/ 3690774 w 4381952"/>
                  <a:gd name="connsiteY10644" fmla="*/ 5285528 h 7571038"/>
                  <a:gd name="connsiteX10645" fmla="*/ 3691761 w 4381952"/>
                  <a:gd name="connsiteY10645" fmla="*/ 5286513 h 7571038"/>
                  <a:gd name="connsiteX10646" fmla="*/ 3692746 w 4381952"/>
                  <a:gd name="connsiteY10646" fmla="*/ 5285528 h 7571038"/>
                  <a:gd name="connsiteX10647" fmla="*/ 3692747 w 4381952"/>
                  <a:gd name="connsiteY10647" fmla="*/ 2438152 h 7571038"/>
                  <a:gd name="connsiteX10648" fmla="*/ 3668828 w 4381952"/>
                  <a:gd name="connsiteY10648" fmla="*/ 2414233 h 7571038"/>
                  <a:gd name="connsiteX10649" fmla="*/ 3644910 w 4381952"/>
                  <a:gd name="connsiteY10649" fmla="*/ 2438152 h 7571038"/>
                  <a:gd name="connsiteX10650" fmla="*/ 3668828 w 4381952"/>
                  <a:gd name="connsiteY10650" fmla="*/ 2462067 h 7571038"/>
                  <a:gd name="connsiteX10651" fmla="*/ 3692747 w 4381952"/>
                  <a:gd name="connsiteY10651" fmla="*/ 2438152 h 7571038"/>
                  <a:gd name="connsiteX10652" fmla="*/ 3694225 w 4381952"/>
                  <a:gd name="connsiteY10652" fmla="*/ 1497067 h 7571038"/>
                  <a:gd name="connsiteX10653" fmla="*/ 3647374 w 4381952"/>
                  <a:gd name="connsiteY10653" fmla="*/ 1450465 h 7571038"/>
                  <a:gd name="connsiteX10654" fmla="*/ 3600772 w 4381952"/>
                  <a:gd name="connsiteY10654" fmla="*/ 1497067 h 7571038"/>
                  <a:gd name="connsiteX10655" fmla="*/ 3647374 w 4381952"/>
                  <a:gd name="connsiteY10655" fmla="*/ 1543672 h 7571038"/>
                  <a:gd name="connsiteX10656" fmla="*/ 3694225 w 4381952"/>
                  <a:gd name="connsiteY10656" fmla="*/ 1497067 h 7571038"/>
                  <a:gd name="connsiteX10657" fmla="*/ 3701132 w 4381952"/>
                  <a:gd name="connsiteY10657" fmla="*/ 2959890 h 7571038"/>
                  <a:gd name="connsiteX10658" fmla="*/ 3693979 w 4381952"/>
                  <a:gd name="connsiteY10658" fmla="*/ 2952740 h 7571038"/>
                  <a:gd name="connsiteX10659" fmla="*/ 3686829 w 4381952"/>
                  <a:gd name="connsiteY10659" fmla="*/ 2959890 h 7571038"/>
                  <a:gd name="connsiteX10660" fmla="*/ 3693979 w 4381952"/>
                  <a:gd name="connsiteY10660" fmla="*/ 2967042 h 7571038"/>
                  <a:gd name="connsiteX10661" fmla="*/ 3701132 w 4381952"/>
                  <a:gd name="connsiteY10661" fmla="*/ 2959890 h 7571038"/>
                  <a:gd name="connsiteX10662" fmla="*/ 3701378 w 4381952"/>
                  <a:gd name="connsiteY10662" fmla="*/ 1368864 h 7571038"/>
                  <a:gd name="connsiteX10663" fmla="*/ 3655021 w 4381952"/>
                  <a:gd name="connsiteY10663" fmla="*/ 1322506 h 7571038"/>
                  <a:gd name="connsiteX10664" fmla="*/ 3608665 w 4381952"/>
                  <a:gd name="connsiteY10664" fmla="*/ 1368864 h 7571038"/>
                  <a:gd name="connsiteX10665" fmla="*/ 3655021 w 4381952"/>
                  <a:gd name="connsiteY10665" fmla="*/ 1415225 h 7571038"/>
                  <a:gd name="connsiteX10666" fmla="*/ 3701378 w 4381952"/>
                  <a:gd name="connsiteY10666" fmla="*/ 1368864 h 7571038"/>
                  <a:gd name="connsiteX10667" fmla="*/ 3707293 w 4381952"/>
                  <a:gd name="connsiteY10667" fmla="*/ 1242150 h 7571038"/>
                  <a:gd name="connsiteX10668" fmla="*/ 3661677 w 4381952"/>
                  <a:gd name="connsiteY10668" fmla="*/ 1196532 h 7571038"/>
                  <a:gd name="connsiteX10669" fmla="*/ 3616061 w 4381952"/>
                  <a:gd name="connsiteY10669" fmla="*/ 1242150 h 7571038"/>
                  <a:gd name="connsiteX10670" fmla="*/ 3661677 w 4381952"/>
                  <a:gd name="connsiteY10670" fmla="*/ 1287745 h 7571038"/>
                  <a:gd name="connsiteX10671" fmla="*/ 3707293 w 4381952"/>
                  <a:gd name="connsiteY10671" fmla="*/ 1242150 h 7571038"/>
                  <a:gd name="connsiteX10672" fmla="*/ 3708036 w 4381952"/>
                  <a:gd name="connsiteY10672" fmla="*/ 2289968 h 7571038"/>
                  <a:gd name="connsiteX10673" fmla="*/ 3693487 w 4381952"/>
                  <a:gd name="connsiteY10673" fmla="*/ 2275419 h 7571038"/>
                  <a:gd name="connsiteX10674" fmla="*/ 3678939 w 4381952"/>
                  <a:gd name="connsiteY10674" fmla="*/ 2289968 h 7571038"/>
                  <a:gd name="connsiteX10675" fmla="*/ 3693487 w 4381952"/>
                  <a:gd name="connsiteY10675" fmla="*/ 2304521 h 7571038"/>
                  <a:gd name="connsiteX10676" fmla="*/ 3708036 w 4381952"/>
                  <a:gd name="connsiteY10676" fmla="*/ 2289968 h 7571038"/>
                  <a:gd name="connsiteX10677" fmla="*/ 3713211 w 4381952"/>
                  <a:gd name="connsiteY10677" fmla="*/ 1116654 h 7571038"/>
                  <a:gd name="connsiteX10678" fmla="*/ 3667103 w 4381952"/>
                  <a:gd name="connsiteY10678" fmla="*/ 1070550 h 7571038"/>
                  <a:gd name="connsiteX10679" fmla="*/ 3620993 w 4381952"/>
                  <a:gd name="connsiteY10679" fmla="*/ 1116654 h 7571038"/>
                  <a:gd name="connsiteX10680" fmla="*/ 3667103 w 4381952"/>
                  <a:gd name="connsiteY10680" fmla="*/ 1162769 h 7571038"/>
                  <a:gd name="connsiteX10681" fmla="*/ 3713211 w 4381952"/>
                  <a:gd name="connsiteY10681" fmla="*/ 1116654 h 7571038"/>
                  <a:gd name="connsiteX10682" fmla="*/ 3713214 w 4381952"/>
                  <a:gd name="connsiteY10682" fmla="*/ 5547881 h 7571038"/>
                  <a:gd name="connsiteX10683" fmla="*/ 3708774 w 4381952"/>
                  <a:gd name="connsiteY10683" fmla="*/ 5543445 h 7571038"/>
                  <a:gd name="connsiteX10684" fmla="*/ 3704336 w 4381952"/>
                  <a:gd name="connsiteY10684" fmla="*/ 5547881 h 7571038"/>
                  <a:gd name="connsiteX10685" fmla="*/ 3708774 w 4381952"/>
                  <a:gd name="connsiteY10685" fmla="*/ 5552321 h 7571038"/>
                  <a:gd name="connsiteX10686" fmla="*/ 3713214 w 4381952"/>
                  <a:gd name="connsiteY10686" fmla="*/ 5547881 h 7571038"/>
                  <a:gd name="connsiteX10687" fmla="*/ 3713951 w 4381952"/>
                  <a:gd name="connsiteY10687" fmla="*/ 5417938 h 7571038"/>
                  <a:gd name="connsiteX10688" fmla="*/ 3700634 w 4381952"/>
                  <a:gd name="connsiteY10688" fmla="*/ 5404622 h 7571038"/>
                  <a:gd name="connsiteX10689" fmla="*/ 3687321 w 4381952"/>
                  <a:gd name="connsiteY10689" fmla="*/ 5417938 h 7571038"/>
                  <a:gd name="connsiteX10690" fmla="*/ 3700634 w 4381952"/>
                  <a:gd name="connsiteY10690" fmla="*/ 5431252 h 7571038"/>
                  <a:gd name="connsiteX10691" fmla="*/ 3713951 w 4381952"/>
                  <a:gd name="connsiteY10691" fmla="*/ 5417938 h 7571038"/>
                  <a:gd name="connsiteX10692" fmla="*/ 3717156 w 4381952"/>
                  <a:gd name="connsiteY10692" fmla="*/ 992153 h 7571038"/>
                  <a:gd name="connsiteX10693" fmla="*/ 3671540 w 4381952"/>
                  <a:gd name="connsiteY10693" fmla="*/ 946538 h 7571038"/>
                  <a:gd name="connsiteX10694" fmla="*/ 3625924 w 4381952"/>
                  <a:gd name="connsiteY10694" fmla="*/ 992153 h 7571038"/>
                  <a:gd name="connsiteX10695" fmla="*/ 3671540 w 4381952"/>
                  <a:gd name="connsiteY10695" fmla="*/ 1037762 h 7571038"/>
                  <a:gd name="connsiteX10696" fmla="*/ 3717156 w 4381952"/>
                  <a:gd name="connsiteY10696" fmla="*/ 992153 h 7571038"/>
                  <a:gd name="connsiteX10697" fmla="*/ 3717651 w 4381952"/>
                  <a:gd name="connsiteY10697" fmla="*/ 5677090 h 7571038"/>
                  <a:gd name="connsiteX10698" fmla="*/ 3714692 w 4381952"/>
                  <a:gd name="connsiteY10698" fmla="*/ 5674131 h 7571038"/>
                  <a:gd name="connsiteX10699" fmla="*/ 3711733 w 4381952"/>
                  <a:gd name="connsiteY10699" fmla="*/ 5677090 h 7571038"/>
                  <a:gd name="connsiteX10700" fmla="*/ 3714692 w 4381952"/>
                  <a:gd name="connsiteY10700" fmla="*/ 5679804 h 7571038"/>
                  <a:gd name="connsiteX10701" fmla="*/ 3717651 w 4381952"/>
                  <a:gd name="connsiteY10701" fmla="*/ 5677090 h 7571038"/>
                  <a:gd name="connsiteX10702" fmla="*/ 3718634 w 4381952"/>
                  <a:gd name="connsiteY10702" fmla="*/ 4510786 h 7571038"/>
                  <a:gd name="connsiteX10703" fmla="*/ 3673018 w 4381952"/>
                  <a:gd name="connsiteY10703" fmla="*/ 4465170 h 7571038"/>
                  <a:gd name="connsiteX10704" fmla="*/ 3627402 w 4381952"/>
                  <a:gd name="connsiteY10704" fmla="*/ 4510786 h 7571038"/>
                  <a:gd name="connsiteX10705" fmla="*/ 3673018 w 4381952"/>
                  <a:gd name="connsiteY10705" fmla="*/ 4556402 h 7571038"/>
                  <a:gd name="connsiteX10706" fmla="*/ 3718634 w 4381952"/>
                  <a:gd name="connsiteY10706" fmla="*/ 4510786 h 7571038"/>
                  <a:gd name="connsiteX10707" fmla="*/ 3720361 w 4381952"/>
                  <a:gd name="connsiteY10707" fmla="*/ 2146227 h 7571038"/>
                  <a:gd name="connsiteX10708" fmla="*/ 3715184 w 4381952"/>
                  <a:gd name="connsiteY10708" fmla="*/ 2141047 h 7571038"/>
                  <a:gd name="connsiteX10709" fmla="*/ 3710006 w 4381952"/>
                  <a:gd name="connsiteY10709" fmla="*/ 2146227 h 7571038"/>
                  <a:gd name="connsiteX10710" fmla="*/ 3715184 w 4381952"/>
                  <a:gd name="connsiteY10710" fmla="*/ 2151404 h 7571038"/>
                  <a:gd name="connsiteX10711" fmla="*/ 3720361 w 4381952"/>
                  <a:gd name="connsiteY10711" fmla="*/ 2146227 h 7571038"/>
                  <a:gd name="connsiteX10712" fmla="*/ 3721349 w 4381952"/>
                  <a:gd name="connsiteY10712" fmla="*/ 868881 h 7571038"/>
                  <a:gd name="connsiteX10713" fmla="*/ 3675979 w 4381952"/>
                  <a:gd name="connsiteY10713" fmla="*/ 823521 h 7571038"/>
                  <a:gd name="connsiteX10714" fmla="*/ 3630609 w 4381952"/>
                  <a:gd name="connsiteY10714" fmla="*/ 868881 h 7571038"/>
                  <a:gd name="connsiteX10715" fmla="*/ 3675979 w 4381952"/>
                  <a:gd name="connsiteY10715" fmla="*/ 914251 h 7571038"/>
                  <a:gd name="connsiteX10716" fmla="*/ 3721349 w 4381952"/>
                  <a:gd name="connsiteY10716" fmla="*/ 868881 h 7571038"/>
                  <a:gd name="connsiteX10717" fmla="*/ 3721842 w 4381952"/>
                  <a:gd name="connsiteY10717" fmla="*/ 3990017 h 7571038"/>
                  <a:gd name="connsiteX10718" fmla="*/ 3695703 w 4381952"/>
                  <a:gd name="connsiteY10718" fmla="*/ 3964127 h 7571038"/>
                  <a:gd name="connsiteX10719" fmla="*/ 3669814 w 4381952"/>
                  <a:gd name="connsiteY10719" fmla="*/ 3990017 h 7571038"/>
                  <a:gd name="connsiteX10720" fmla="*/ 3695703 w 4381952"/>
                  <a:gd name="connsiteY10720" fmla="*/ 4016156 h 7571038"/>
                  <a:gd name="connsiteX10721" fmla="*/ 3721842 w 4381952"/>
                  <a:gd name="connsiteY10721" fmla="*/ 3990017 h 7571038"/>
                  <a:gd name="connsiteX10722" fmla="*/ 3722336 w 4381952"/>
                  <a:gd name="connsiteY10722" fmla="*/ 5803583 h 7571038"/>
                  <a:gd name="connsiteX10723" fmla="*/ 3721350 w 4381952"/>
                  <a:gd name="connsiteY10723" fmla="*/ 5802597 h 7571038"/>
                  <a:gd name="connsiteX10724" fmla="*/ 3720364 w 4381952"/>
                  <a:gd name="connsiteY10724" fmla="*/ 5803583 h 7571038"/>
                  <a:gd name="connsiteX10725" fmla="*/ 3721350 w 4381952"/>
                  <a:gd name="connsiteY10725" fmla="*/ 5804569 h 7571038"/>
                  <a:gd name="connsiteX10726" fmla="*/ 3722336 w 4381952"/>
                  <a:gd name="connsiteY10726" fmla="*/ 5803583 h 7571038"/>
                  <a:gd name="connsiteX10727" fmla="*/ 3723077 w 4381952"/>
                  <a:gd name="connsiteY10727" fmla="*/ 2690883 h 7571038"/>
                  <a:gd name="connsiteX10728" fmla="*/ 3695952 w 4381952"/>
                  <a:gd name="connsiteY10728" fmla="*/ 2664007 h 7571038"/>
                  <a:gd name="connsiteX10729" fmla="*/ 3668830 w 4381952"/>
                  <a:gd name="connsiteY10729" fmla="*/ 2690883 h 7571038"/>
                  <a:gd name="connsiteX10730" fmla="*/ 3695952 w 4381952"/>
                  <a:gd name="connsiteY10730" fmla="*/ 2718009 h 7571038"/>
                  <a:gd name="connsiteX10731" fmla="*/ 3723077 w 4381952"/>
                  <a:gd name="connsiteY10731" fmla="*/ 2690883 h 7571038"/>
                  <a:gd name="connsiteX10732" fmla="*/ 3727759 w 4381952"/>
                  <a:gd name="connsiteY10732" fmla="*/ 5928844 h 7571038"/>
                  <a:gd name="connsiteX10733" fmla="*/ 3727267 w 4381952"/>
                  <a:gd name="connsiteY10733" fmla="*/ 5928351 h 7571038"/>
                  <a:gd name="connsiteX10734" fmla="*/ 3726773 w 4381952"/>
                  <a:gd name="connsiteY10734" fmla="*/ 5928844 h 7571038"/>
                  <a:gd name="connsiteX10735" fmla="*/ 3727267 w 4381952"/>
                  <a:gd name="connsiteY10735" fmla="*/ 5929338 h 7571038"/>
                  <a:gd name="connsiteX10736" fmla="*/ 3727759 w 4381952"/>
                  <a:gd name="connsiteY10736" fmla="*/ 5928844 h 7571038"/>
                  <a:gd name="connsiteX10737" fmla="*/ 3733185 w 4381952"/>
                  <a:gd name="connsiteY10737" fmla="*/ 6053363 h 7571038"/>
                  <a:gd name="connsiteX10738" fmla="*/ 3732199 w 4381952"/>
                  <a:gd name="connsiteY10738" fmla="*/ 6052377 h 7571038"/>
                  <a:gd name="connsiteX10739" fmla="*/ 3731213 w 4381952"/>
                  <a:gd name="connsiteY10739" fmla="*/ 6053363 h 7571038"/>
                  <a:gd name="connsiteX10740" fmla="*/ 3732199 w 4381952"/>
                  <a:gd name="connsiteY10740" fmla="*/ 6054350 h 7571038"/>
                  <a:gd name="connsiteX10741" fmla="*/ 3733185 w 4381952"/>
                  <a:gd name="connsiteY10741" fmla="*/ 6053363 h 7571038"/>
                  <a:gd name="connsiteX10742" fmla="*/ 3733678 w 4381952"/>
                  <a:gd name="connsiteY10742" fmla="*/ 4258537 h 7571038"/>
                  <a:gd name="connsiteX10743" fmla="*/ 3698911 w 4381952"/>
                  <a:gd name="connsiteY10743" fmla="*/ 4223771 h 7571038"/>
                  <a:gd name="connsiteX10744" fmla="*/ 3664144 w 4381952"/>
                  <a:gd name="connsiteY10744" fmla="*/ 4258537 h 7571038"/>
                  <a:gd name="connsiteX10745" fmla="*/ 3698911 w 4381952"/>
                  <a:gd name="connsiteY10745" fmla="*/ 4293307 h 7571038"/>
                  <a:gd name="connsiteX10746" fmla="*/ 3733678 w 4381952"/>
                  <a:gd name="connsiteY10746" fmla="*/ 4258537 h 7571038"/>
                  <a:gd name="connsiteX10747" fmla="*/ 3734664 w 4381952"/>
                  <a:gd name="connsiteY10747" fmla="*/ 2004935 h 7571038"/>
                  <a:gd name="connsiteX10748" fmla="*/ 3732939 w 4381952"/>
                  <a:gd name="connsiteY10748" fmla="*/ 2003209 h 7571038"/>
                  <a:gd name="connsiteX10749" fmla="*/ 3731213 w 4381952"/>
                  <a:gd name="connsiteY10749" fmla="*/ 2004935 h 7571038"/>
                  <a:gd name="connsiteX10750" fmla="*/ 3732939 w 4381952"/>
                  <a:gd name="connsiteY10750" fmla="*/ 2006658 h 7571038"/>
                  <a:gd name="connsiteX10751" fmla="*/ 3734664 w 4381952"/>
                  <a:gd name="connsiteY10751" fmla="*/ 2004935 h 7571038"/>
                  <a:gd name="connsiteX10752" fmla="*/ 3735649 w 4381952"/>
                  <a:gd name="connsiteY10752" fmla="*/ 3071348 h 7571038"/>
                  <a:gd name="connsiteX10753" fmla="*/ 3727759 w 4381952"/>
                  <a:gd name="connsiteY10753" fmla="*/ 3063211 h 7571038"/>
                  <a:gd name="connsiteX10754" fmla="*/ 3719623 w 4381952"/>
                  <a:gd name="connsiteY10754" fmla="*/ 3071348 h 7571038"/>
                  <a:gd name="connsiteX10755" fmla="*/ 3727759 w 4381952"/>
                  <a:gd name="connsiteY10755" fmla="*/ 3079238 h 7571038"/>
                  <a:gd name="connsiteX10756" fmla="*/ 3735649 w 4381952"/>
                  <a:gd name="connsiteY10756" fmla="*/ 3071348 h 7571038"/>
                  <a:gd name="connsiteX10757" fmla="*/ 3741568 w 4381952"/>
                  <a:gd name="connsiteY10757" fmla="*/ 4657745 h 7571038"/>
                  <a:gd name="connsiteX10758" fmla="*/ 3699157 w 4381952"/>
                  <a:gd name="connsiteY10758" fmla="*/ 4615334 h 7571038"/>
                  <a:gd name="connsiteX10759" fmla="*/ 3656746 w 4381952"/>
                  <a:gd name="connsiteY10759" fmla="*/ 4657745 h 7571038"/>
                  <a:gd name="connsiteX10760" fmla="*/ 3699157 w 4381952"/>
                  <a:gd name="connsiteY10760" fmla="*/ 4700156 h 7571038"/>
                  <a:gd name="connsiteX10761" fmla="*/ 3741568 w 4381952"/>
                  <a:gd name="connsiteY10761" fmla="*/ 4657745 h 7571038"/>
                  <a:gd name="connsiteX10762" fmla="*/ 3748229 w 4381952"/>
                  <a:gd name="connsiteY10762" fmla="*/ 6171228 h 7571038"/>
                  <a:gd name="connsiteX10763" fmla="*/ 3745516 w 4381952"/>
                  <a:gd name="connsiteY10763" fmla="*/ 6168515 h 7571038"/>
                  <a:gd name="connsiteX10764" fmla="*/ 3742802 w 4381952"/>
                  <a:gd name="connsiteY10764" fmla="*/ 6171228 h 7571038"/>
                  <a:gd name="connsiteX10765" fmla="*/ 3745516 w 4381952"/>
                  <a:gd name="connsiteY10765" fmla="*/ 6173941 h 7571038"/>
                  <a:gd name="connsiteX10766" fmla="*/ 3748229 w 4381952"/>
                  <a:gd name="connsiteY10766" fmla="*/ 6171228 h 7571038"/>
                  <a:gd name="connsiteX10767" fmla="*/ 3750939 w 4381952"/>
                  <a:gd name="connsiteY10767" fmla="*/ 3878565 h 7571038"/>
                  <a:gd name="connsiteX10768" fmla="*/ 3729240 w 4381952"/>
                  <a:gd name="connsiteY10768" fmla="*/ 3856867 h 7571038"/>
                  <a:gd name="connsiteX10769" fmla="*/ 3707542 w 4381952"/>
                  <a:gd name="connsiteY10769" fmla="*/ 3878565 h 7571038"/>
                  <a:gd name="connsiteX10770" fmla="*/ 3729240 w 4381952"/>
                  <a:gd name="connsiteY10770" fmla="*/ 3900264 h 7571038"/>
                  <a:gd name="connsiteX10771" fmla="*/ 3750939 w 4381952"/>
                  <a:gd name="connsiteY10771" fmla="*/ 3878565 h 7571038"/>
                  <a:gd name="connsiteX10772" fmla="*/ 3751922 w 4381952"/>
                  <a:gd name="connsiteY10772" fmla="*/ 6294021 h 7571038"/>
                  <a:gd name="connsiteX10773" fmla="*/ 3749212 w 4381952"/>
                  <a:gd name="connsiteY10773" fmla="*/ 6291557 h 7571038"/>
                  <a:gd name="connsiteX10774" fmla="*/ 3746745 w 4381952"/>
                  <a:gd name="connsiteY10774" fmla="*/ 6294021 h 7571038"/>
                  <a:gd name="connsiteX10775" fmla="*/ 3749212 w 4381952"/>
                  <a:gd name="connsiteY10775" fmla="*/ 6296734 h 7571038"/>
                  <a:gd name="connsiteX10776" fmla="*/ 3751922 w 4381952"/>
                  <a:gd name="connsiteY10776" fmla="*/ 6294021 h 7571038"/>
                  <a:gd name="connsiteX10777" fmla="*/ 3752171 w 4381952"/>
                  <a:gd name="connsiteY10777" fmla="*/ 4943036 h 7571038"/>
                  <a:gd name="connsiteX10778" fmla="*/ 3739598 w 4381952"/>
                  <a:gd name="connsiteY10778" fmla="*/ 4930459 h 7571038"/>
                  <a:gd name="connsiteX10779" fmla="*/ 3727021 w 4381952"/>
                  <a:gd name="connsiteY10779" fmla="*/ 4943036 h 7571038"/>
                  <a:gd name="connsiteX10780" fmla="*/ 3739598 w 4381952"/>
                  <a:gd name="connsiteY10780" fmla="*/ 4955612 h 7571038"/>
                  <a:gd name="connsiteX10781" fmla="*/ 3752171 w 4381952"/>
                  <a:gd name="connsiteY10781" fmla="*/ 4943036 h 7571038"/>
                  <a:gd name="connsiteX10782" fmla="*/ 3753652 w 4381952"/>
                  <a:gd name="connsiteY10782" fmla="*/ 6416077 h 7571038"/>
                  <a:gd name="connsiteX10783" fmla="*/ 3751925 w 4381952"/>
                  <a:gd name="connsiteY10783" fmla="*/ 6414350 h 7571038"/>
                  <a:gd name="connsiteX10784" fmla="*/ 3750198 w 4381952"/>
                  <a:gd name="connsiteY10784" fmla="*/ 6416077 h 7571038"/>
                  <a:gd name="connsiteX10785" fmla="*/ 3751925 w 4381952"/>
                  <a:gd name="connsiteY10785" fmla="*/ 6417804 h 7571038"/>
                  <a:gd name="connsiteX10786" fmla="*/ 3753652 w 4381952"/>
                  <a:gd name="connsiteY10786" fmla="*/ 6416077 h 7571038"/>
                  <a:gd name="connsiteX10787" fmla="*/ 3755871 w 4381952"/>
                  <a:gd name="connsiteY10787" fmla="*/ 1836358 h 7571038"/>
                  <a:gd name="connsiteX10788" fmla="*/ 3716664 w 4381952"/>
                  <a:gd name="connsiteY10788" fmla="*/ 1797166 h 7571038"/>
                  <a:gd name="connsiteX10789" fmla="*/ 3677458 w 4381952"/>
                  <a:gd name="connsiteY10789" fmla="*/ 1836358 h 7571038"/>
                  <a:gd name="connsiteX10790" fmla="*/ 3716664 w 4381952"/>
                  <a:gd name="connsiteY10790" fmla="*/ 1875553 h 7571038"/>
                  <a:gd name="connsiteX10791" fmla="*/ 3755871 w 4381952"/>
                  <a:gd name="connsiteY10791" fmla="*/ 1836358 h 7571038"/>
                  <a:gd name="connsiteX10792" fmla="*/ 3757843 w 4381952"/>
                  <a:gd name="connsiteY10792" fmla="*/ 6536652 h 7571038"/>
                  <a:gd name="connsiteX10793" fmla="*/ 3755622 w 4381952"/>
                  <a:gd name="connsiteY10793" fmla="*/ 6534433 h 7571038"/>
                  <a:gd name="connsiteX10794" fmla="*/ 3753403 w 4381952"/>
                  <a:gd name="connsiteY10794" fmla="*/ 6536652 h 7571038"/>
                  <a:gd name="connsiteX10795" fmla="*/ 3755622 w 4381952"/>
                  <a:gd name="connsiteY10795" fmla="*/ 6538873 h 7571038"/>
                  <a:gd name="connsiteX10796" fmla="*/ 3757843 w 4381952"/>
                  <a:gd name="connsiteY10796" fmla="*/ 6536652 h 7571038"/>
                  <a:gd name="connsiteX10797" fmla="*/ 3761540 w 4381952"/>
                  <a:gd name="connsiteY10797" fmla="*/ 2535054 h 7571038"/>
                  <a:gd name="connsiteX10798" fmla="*/ 3732446 w 4381952"/>
                  <a:gd name="connsiteY10798" fmla="*/ 2505709 h 7571038"/>
                  <a:gd name="connsiteX10799" fmla="*/ 3703102 w 4381952"/>
                  <a:gd name="connsiteY10799" fmla="*/ 2535054 h 7571038"/>
                  <a:gd name="connsiteX10800" fmla="*/ 3732446 w 4381952"/>
                  <a:gd name="connsiteY10800" fmla="*/ 2564396 h 7571038"/>
                  <a:gd name="connsiteX10801" fmla="*/ 3761540 w 4381952"/>
                  <a:gd name="connsiteY10801" fmla="*/ 2535054 h 7571038"/>
                  <a:gd name="connsiteX10802" fmla="*/ 3761543 w 4381952"/>
                  <a:gd name="connsiteY10802" fmla="*/ 4802487 h 7571038"/>
                  <a:gd name="connsiteX10803" fmla="*/ 3720856 w 4381952"/>
                  <a:gd name="connsiteY10803" fmla="*/ 4761802 h 7571038"/>
                  <a:gd name="connsiteX10804" fmla="*/ 3680171 w 4381952"/>
                  <a:gd name="connsiteY10804" fmla="*/ 4802487 h 7571038"/>
                  <a:gd name="connsiteX10805" fmla="*/ 3720856 w 4381952"/>
                  <a:gd name="connsiteY10805" fmla="*/ 4843171 h 7571038"/>
                  <a:gd name="connsiteX10806" fmla="*/ 3761543 w 4381952"/>
                  <a:gd name="connsiteY10806" fmla="*/ 4802487 h 7571038"/>
                  <a:gd name="connsiteX10807" fmla="*/ 3762036 w 4381952"/>
                  <a:gd name="connsiteY10807" fmla="*/ 6656735 h 7571038"/>
                  <a:gd name="connsiteX10808" fmla="*/ 3758337 w 4381952"/>
                  <a:gd name="connsiteY10808" fmla="*/ 6653035 h 7571038"/>
                  <a:gd name="connsiteX10809" fmla="*/ 3754638 w 4381952"/>
                  <a:gd name="connsiteY10809" fmla="*/ 6656735 h 7571038"/>
                  <a:gd name="connsiteX10810" fmla="*/ 3758337 w 4381952"/>
                  <a:gd name="connsiteY10810" fmla="*/ 6660434 h 7571038"/>
                  <a:gd name="connsiteX10811" fmla="*/ 3762036 w 4381952"/>
                  <a:gd name="connsiteY10811" fmla="*/ 6656735 h 7571038"/>
                  <a:gd name="connsiteX10812" fmla="*/ 3762280 w 4381952"/>
                  <a:gd name="connsiteY10812" fmla="*/ 3185019 h 7571038"/>
                  <a:gd name="connsiteX10813" fmla="*/ 3753403 w 4381952"/>
                  <a:gd name="connsiteY10813" fmla="*/ 3176143 h 7571038"/>
                  <a:gd name="connsiteX10814" fmla="*/ 3744527 w 4381952"/>
                  <a:gd name="connsiteY10814" fmla="*/ 3185019 h 7571038"/>
                  <a:gd name="connsiteX10815" fmla="*/ 3753403 w 4381952"/>
                  <a:gd name="connsiteY10815" fmla="*/ 3193897 h 7571038"/>
                  <a:gd name="connsiteX10816" fmla="*/ 3762280 w 4381952"/>
                  <a:gd name="connsiteY10816" fmla="*/ 3185019 h 7571038"/>
                  <a:gd name="connsiteX10817" fmla="*/ 3766471 w 4381952"/>
                  <a:gd name="connsiteY10817" fmla="*/ 6776326 h 7571038"/>
                  <a:gd name="connsiteX10818" fmla="*/ 3761048 w 4381952"/>
                  <a:gd name="connsiteY10818" fmla="*/ 6770900 h 7571038"/>
                  <a:gd name="connsiteX10819" fmla="*/ 3755621 w 4381952"/>
                  <a:gd name="connsiteY10819" fmla="*/ 6776326 h 7571038"/>
                  <a:gd name="connsiteX10820" fmla="*/ 3761048 w 4381952"/>
                  <a:gd name="connsiteY10820" fmla="*/ 6781504 h 7571038"/>
                  <a:gd name="connsiteX10821" fmla="*/ 3766471 w 4381952"/>
                  <a:gd name="connsiteY10821" fmla="*/ 6776326 h 7571038"/>
                  <a:gd name="connsiteX10822" fmla="*/ 3770911 w 4381952"/>
                  <a:gd name="connsiteY10822" fmla="*/ 6894928 h 7571038"/>
                  <a:gd name="connsiteX10823" fmla="*/ 3763515 w 4381952"/>
                  <a:gd name="connsiteY10823" fmla="*/ 6887530 h 7571038"/>
                  <a:gd name="connsiteX10824" fmla="*/ 3756117 w 4381952"/>
                  <a:gd name="connsiteY10824" fmla="*/ 6894928 h 7571038"/>
                  <a:gd name="connsiteX10825" fmla="*/ 3763515 w 4381952"/>
                  <a:gd name="connsiteY10825" fmla="*/ 6902324 h 7571038"/>
                  <a:gd name="connsiteX10826" fmla="*/ 3770911 w 4381952"/>
                  <a:gd name="connsiteY10826" fmla="*/ 6894928 h 7571038"/>
                  <a:gd name="connsiteX10827" fmla="*/ 3772389 w 4381952"/>
                  <a:gd name="connsiteY10827" fmla="*/ 3764649 h 7571038"/>
                  <a:gd name="connsiteX10828" fmla="*/ 3754389 w 4381952"/>
                  <a:gd name="connsiteY10828" fmla="*/ 3746649 h 7571038"/>
                  <a:gd name="connsiteX10829" fmla="*/ 3736636 w 4381952"/>
                  <a:gd name="connsiteY10829" fmla="*/ 3764649 h 7571038"/>
                  <a:gd name="connsiteX10830" fmla="*/ 3754389 w 4381952"/>
                  <a:gd name="connsiteY10830" fmla="*/ 3782648 h 7571038"/>
                  <a:gd name="connsiteX10831" fmla="*/ 3772389 w 4381952"/>
                  <a:gd name="connsiteY10831" fmla="*/ 3764649 h 7571038"/>
                  <a:gd name="connsiteX10832" fmla="*/ 3772392 w 4381952"/>
                  <a:gd name="connsiteY10832" fmla="*/ 1701220 h 7571038"/>
                  <a:gd name="connsiteX10833" fmla="*/ 3728746 w 4381952"/>
                  <a:gd name="connsiteY10833" fmla="*/ 1657572 h 7571038"/>
                  <a:gd name="connsiteX10834" fmla="*/ 3685102 w 4381952"/>
                  <a:gd name="connsiteY10834" fmla="*/ 1701220 h 7571038"/>
                  <a:gd name="connsiteX10835" fmla="*/ 3728746 w 4381952"/>
                  <a:gd name="connsiteY10835" fmla="*/ 1744868 h 7571038"/>
                  <a:gd name="connsiteX10836" fmla="*/ 3772392 w 4381952"/>
                  <a:gd name="connsiteY10836" fmla="*/ 1701220 h 7571038"/>
                  <a:gd name="connsiteX10837" fmla="*/ 3773624 w 4381952"/>
                  <a:gd name="connsiteY10837" fmla="*/ 2795678 h 7571038"/>
                  <a:gd name="connsiteX10838" fmla="*/ 3746253 w 4381952"/>
                  <a:gd name="connsiteY10838" fmla="*/ 2768307 h 7571038"/>
                  <a:gd name="connsiteX10839" fmla="*/ 3718883 w 4381952"/>
                  <a:gd name="connsiteY10839" fmla="*/ 2795678 h 7571038"/>
                  <a:gd name="connsiteX10840" fmla="*/ 3746253 w 4381952"/>
                  <a:gd name="connsiteY10840" fmla="*/ 2823049 h 7571038"/>
                  <a:gd name="connsiteX10841" fmla="*/ 3773624 w 4381952"/>
                  <a:gd name="connsiteY10841" fmla="*/ 2795678 h 7571038"/>
                  <a:gd name="connsiteX10842" fmla="*/ 3775842 w 4381952"/>
                  <a:gd name="connsiteY10842" fmla="*/ 5071746 h 7571038"/>
                  <a:gd name="connsiteX10843" fmla="*/ 3765730 w 4381952"/>
                  <a:gd name="connsiteY10843" fmla="*/ 5061637 h 7571038"/>
                  <a:gd name="connsiteX10844" fmla="*/ 3755621 w 4381952"/>
                  <a:gd name="connsiteY10844" fmla="*/ 5071746 h 7571038"/>
                  <a:gd name="connsiteX10845" fmla="*/ 3765730 w 4381952"/>
                  <a:gd name="connsiteY10845" fmla="*/ 5081858 h 7571038"/>
                  <a:gd name="connsiteX10846" fmla="*/ 3775842 w 4381952"/>
                  <a:gd name="connsiteY10846" fmla="*/ 5071746 h 7571038"/>
                  <a:gd name="connsiteX10847" fmla="*/ 3778064 w 4381952"/>
                  <a:gd name="connsiteY10847" fmla="*/ 4413388 h 7571038"/>
                  <a:gd name="connsiteX10848" fmla="*/ 3736390 w 4381952"/>
                  <a:gd name="connsiteY10848" fmla="*/ 4371717 h 7571038"/>
                  <a:gd name="connsiteX10849" fmla="*/ 3694720 w 4381952"/>
                  <a:gd name="connsiteY10849" fmla="*/ 4413388 h 7571038"/>
                  <a:gd name="connsiteX10850" fmla="*/ 3736390 w 4381952"/>
                  <a:gd name="connsiteY10850" fmla="*/ 4455061 h 7571038"/>
                  <a:gd name="connsiteX10851" fmla="*/ 3778064 w 4381952"/>
                  <a:gd name="connsiteY10851" fmla="*/ 4413388 h 7571038"/>
                  <a:gd name="connsiteX10852" fmla="*/ 3778310 w 4381952"/>
                  <a:gd name="connsiteY10852" fmla="*/ 4153253 h 7571038"/>
                  <a:gd name="connsiteX10853" fmla="*/ 3748966 w 4381952"/>
                  <a:gd name="connsiteY10853" fmla="*/ 4123909 h 7571038"/>
                  <a:gd name="connsiteX10854" fmla="*/ 3719623 w 4381952"/>
                  <a:gd name="connsiteY10854" fmla="*/ 4153253 h 7571038"/>
                  <a:gd name="connsiteX10855" fmla="*/ 3748966 w 4381952"/>
                  <a:gd name="connsiteY10855" fmla="*/ 4182596 h 7571038"/>
                  <a:gd name="connsiteX10856" fmla="*/ 3778310 w 4381952"/>
                  <a:gd name="connsiteY10856" fmla="*/ 4153253 h 7571038"/>
                  <a:gd name="connsiteX10857" fmla="*/ 3779296 w 4381952"/>
                  <a:gd name="connsiteY10857" fmla="*/ 7127693 h 7571038"/>
                  <a:gd name="connsiteX10858" fmla="*/ 3774610 w 4381952"/>
                  <a:gd name="connsiteY10858" fmla="*/ 7123010 h 7571038"/>
                  <a:gd name="connsiteX10859" fmla="*/ 3769924 w 4381952"/>
                  <a:gd name="connsiteY10859" fmla="*/ 7127693 h 7571038"/>
                  <a:gd name="connsiteX10860" fmla="*/ 3774610 w 4381952"/>
                  <a:gd name="connsiteY10860" fmla="*/ 7132379 h 7571038"/>
                  <a:gd name="connsiteX10861" fmla="*/ 3779296 w 4381952"/>
                  <a:gd name="connsiteY10861" fmla="*/ 7127693 h 7571038"/>
                  <a:gd name="connsiteX10862" fmla="*/ 3779788 w 4381952"/>
                  <a:gd name="connsiteY10862" fmla="*/ 2383425 h 7571038"/>
                  <a:gd name="connsiteX10863" fmla="*/ 3762526 w 4381952"/>
                  <a:gd name="connsiteY10863" fmla="*/ 2366166 h 7571038"/>
                  <a:gd name="connsiteX10864" fmla="*/ 3745512 w 4381952"/>
                  <a:gd name="connsiteY10864" fmla="*/ 2383425 h 7571038"/>
                  <a:gd name="connsiteX10865" fmla="*/ 3762526 w 4381952"/>
                  <a:gd name="connsiteY10865" fmla="*/ 2400438 h 7571038"/>
                  <a:gd name="connsiteX10866" fmla="*/ 3779788 w 4381952"/>
                  <a:gd name="connsiteY10866" fmla="*/ 2383425 h 7571038"/>
                  <a:gd name="connsiteX10867" fmla="*/ 3780033 w 4381952"/>
                  <a:gd name="connsiteY10867" fmla="*/ 5208597 h 7571038"/>
                  <a:gd name="connsiteX10868" fmla="*/ 3779295 w 4381952"/>
                  <a:gd name="connsiteY10868" fmla="*/ 5207856 h 7571038"/>
                  <a:gd name="connsiteX10869" fmla="*/ 3778555 w 4381952"/>
                  <a:gd name="connsiteY10869" fmla="*/ 5208597 h 7571038"/>
                  <a:gd name="connsiteX10870" fmla="*/ 3779295 w 4381952"/>
                  <a:gd name="connsiteY10870" fmla="*/ 5209334 h 7571038"/>
                  <a:gd name="connsiteX10871" fmla="*/ 3780033 w 4381952"/>
                  <a:gd name="connsiteY10871" fmla="*/ 5208597 h 7571038"/>
                  <a:gd name="connsiteX10872" fmla="*/ 3780034 w 4381952"/>
                  <a:gd name="connsiteY10872" fmla="*/ 3300170 h 7571038"/>
                  <a:gd name="connsiteX10873" fmla="*/ 3770420 w 4381952"/>
                  <a:gd name="connsiteY10873" fmla="*/ 3290554 h 7571038"/>
                  <a:gd name="connsiteX10874" fmla="*/ 3760802 w 4381952"/>
                  <a:gd name="connsiteY10874" fmla="*/ 3300170 h 7571038"/>
                  <a:gd name="connsiteX10875" fmla="*/ 3770420 w 4381952"/>
                  <a:gd name="connsiteY10875" fmla="*/ 3309787 h 7571038"/>
                  <a:gd name="connsiteX10876" fmla="*/ 3780034 w 4381952"/>
                  <a:gd name="connsiteY10876" fmla="*/ 3300170 h 7571038"/>
                  <a:gd name="connsiteX10877" fmla="*/ 3781760 w 4381952"/>
                  <a:gd name="connsiteY10877" fmla="*/ 779647 h 7571038"/>
                  <a:gd name="connsiteX10878" fmla="*/ 3737868 w 4381952"/>
                  <a:gd name="connsiteY10878" fmla="*/ 735754 h 7571038"/>
                  <a:gd name="connsiteX10879" fmla="*/ 3693979 w 4381952"/>
                  <a:gd name="connsiteY10879" fmla="*/ 779647 h 7571038"/>
                  <a:gd name="connsiteX10880" fmla="*/ 3737868 w 4381952"/>
                  <a:gd name="connsiteY10880" fmla="*/ 823541 h 7571038"/>
                  <a:gd name="connsiteX10881" fmla="*/ 3781760 w 4381952"/>
                  <a:gd name="connsiteY10881" fmla="*/ 779647 h 7571038"/>
                  <a:gd name="connsiteX10882" fmla="*/ 3781760 w 4381952"/>
                  <a:gd name="connsiteY10882" fmla="*/ 7009830 h 7571038"/>
                  <a:gd name="connsiteX10883" fmla="*/ 3772883 w 4381952"/>
                  <a:gd name="connsiteY10883" fmla="*/ 7000954 h 7571038"/>
                  <a:gd name="connsiteX10884" fmla="*/ 3764007 w 4381952"/>
                  <a:gd name="connsiteY10884" fmla="*/ 7009830 h 7571038"/>
                  <a:gd name="connsiteX10885" fmla="*/ 3772883 w 4381952"/>
                  <a:gd name="connsiteY10885" fmla="*/ 7018707 h 7571038"/>
                  <a:gd name="connsiteX10886" fmla="*/ 3781760 w 4381952"/>
                  <a:gd name="connsiteY10886" fmla="*/ 7009830 h 7571038"/>
                  <a:gd name="connsiteX10887" fmla="*/ 3782992 w 4381952"/>
                  <a:gd name="connsiteY10887" fmla="*/ 7244817 h 7571038"/>
                  <a:gd name="connsiteX10888" fmla="*/ 3776336 w 4381952"/>
                  <a:gd name="connsiteY10888" fmla="*/ 7238159 h 7571038"/>
                  <a:gd name="connsiteX10889" fmla="*/ 3769679 w 4381952"/>
                  <a:gd name="connsiteY10889" fmla="*/ 7244817 h 7571038"/>
                  <a:gd name="connsiteX10890" fmla="*/ 3776336 w 4381952"/>
                  <a:gd name="connsiteY10890" fmla="*/ 7251475 h 7571038"/>
                  <a:gd name="connsiteX10891" fmla="*/ 3782992 w 4381952"/>
                  <a:gd name="connsiteY10891" fmla="*/ 7244817 h 7571038"/>
                  <a:gd name="connsiteX10892" fmla="*/ 3784965 w 4381952"/>
                  <a:gd name="connsiteY10892" fmla="*/ 657123 h 7571038"/>
                  <a:gd name="connsiteX10893" fmla="*/ 3741567 w 4381952"/>
                  <a:gd name="connsiteY10893" fmla="*/ 613679 h 7571038"/>
                  <a:gd name="connsiteX10894" fmla="*/ 3698170 w 4381952"/>
                  <a:gd name="connsiteY10894" fmla="*/ 657123 h 7571038"/>
                  <a:gd name="connsiteX10895" fmla="*/ 3741567 w 4381952"/>
                  <a:gd name="connsiteY10895" fmla="*/ 700522 h 7571038"/>
                  <a:gd name="connsiteX10896" fmla="*/ 3784965 w 4381952"/>
                  <a:gd name="connsiteY10896" fmla="*/ 657123 h 7571038"/>
                  <a:gd name="connsiteX10897" fmla="*/ 3784965 w 4381952"/>
                  <a:gd name="connsiteY10897" fmla="*/ 3649252 h 7571038"/>
                  <a:gd name="connsiteX10898" fmla="*/ 3770911 w 4381952"/>
                  <a:gd name="connsiteY10898" fmla="*/ 3635197 h 7571038"/>
                  <a:gd name="connsiteX10899" fmla="*/ 3756857 w 4381952"/>
                  <a:gd name="connsiteY10899" fmla="*/ 3649252 h 7571038"/>
                  <a:gd name="connsiteX10900" fmla="*/ 3770911 w 4381952"/>
                  <a:gd name="connsiteY10900" fmla="*/ 3663306 h 7571038"/>
                  <a:gd name="connsiteX10901" fmla="*/ 3784965 w 4381952"/>
                  <a:gd name="connsiteY10901" fmla="*/ 3649252 h 7571038"/>
                  <a:gd name="connsiteX10902" fmla="*/ 3786198 w 4381952"/>
                  <a:gd name="connsiteY10902" fmla="*/ 1568333 h 7571038"/>
                  <a:gd name="connsiteX10903" fmla="*/ 3739349 w 4381952"/>
                  <a:gd name="connsiteY10903" fmla="*/ 1521483 h 7571038"/>
                  <a:gd name="connsiteX10904" fmla="*/ 3692499 w 4381952"/>
                  <a:gd name="connsiteY10904" fmla="*/ 1568333 h 7571038"/>
                  <a:gd name="connsiteX10905" fmla="*/ 3739349 w 4381952"/>
                  <a:gd name="connsiteY10905" fmla="*/ 1615180 h 7571038"/>
                  <a:gd name="connsiteX10906" fmla="*/ 3786198 w 4381952"/>
                  <a:gd name="connsiteY10906" fmla="*/ 1568333 h 7571038"/>
                  <a:gd name="connsiteX10907" fmla="*/ 3789155 w 4381952"/>
                  <a:gd name="connsiteY10907" fmla="*/ 3416555 h 7571038"/>
                  <a:gd name="connsiteX10908" fmla="*/ 3779047 w 4381952"/>
                  <a:gd name="connsiteY10908" fmla="*/ 3406449 h 7571038"/>
                  <a:gd name="connsiteX10909" fmla="*/ 3768938 w 4381952"/>
                  <a:gd name="connsiteY10909" fmla="*/ 3416555 h 7571038"/>
                  <a:gd name="connsiteX10910" fmla="*/ 3779047 w 4381952"/>
                  <a:gd name="connsiteY10910" fmla="*/ 3426663 h 7571038"/>
                  <a:gd name="connsiteX10911" fmla="*/ 3789155 w 4381952"/>
                  <a:gd name="connsiteY10911" fmla="*/ 3416555 h 7571038"/>
                  <a:gd name="connsiteX10912" fmla="*/ 3789158 w 4381952"/>
                  <a:gd name="connsiteY10912" fmla="*/ 535536 h 7571038"/>
                  <a:gd name="connsiteX10913" fmla="*/ 3745020 w 4381952"/>
                  <a:gd name="connsiteY10913" fmla="*/ 491401 h 7571038"/>
                  <a:gd name="connsiteX10914" fmla="*/ 3700883 w 4381952"/>
                  <a:gd name="connsiteY10914" fmla="*/ 535536 h 7571038"/>
                  <a:gd name="connsiteX10915" fmla="*/ 3745020 w 4381952"/>
                  <a:gd name="connsiteY10915" fmla="*/ 579669 h 7571038"/>
                  <a:gd name="connsiteX10916" fmla="*/ 3789158 w 4381952"/>
                  <a:gd name="connsiteY10916" fmla="*/ 535536 h 7571038"/>
                  <a:gd name="connsiteX10917" fmla="*/ 3790145 w 4381952"/>
                  <a:gd name="connsiteY10917" fmla="*/ 414493 h 7571038"/>
                  <a:gd name="connsiteX10918" fmla="*/ 3747486 w 4381952"/>
                  <a:gd name="connsiteY10918" fmla="*/ 371837 h 7571038"/>
                  <a:gd name="connsiteX10919" fmla="*/ 3704828 w 4381952"/>
                  <a:gd name="connsiteY10919" fmla="*/ 414493 h 7571038"/>
                  <a:gd name="connsiteX10920" fmla="*/ 3747486 w 4381952"/>
                  <a:gd name="connsiteY10920" fmla="*/ 457148 h 7571038"/>
                  <a:gd name="connsiteX10921" fmla="*/ 3790145 w 4381952"/>
                  <a:gd name="connsiteY10921" fmla="*/ 414493 h 7571038"/>
                  <a:gd name="connsiteX10922" fmla="*/ 3790636 w 4381952"/>
                  <a:gd name="connsiteY10922" fmla="*/ 3532868 h 7571038"/>
                  <a:gd name="connsiteX10923" fmla="*/ 3779295 w 4381952"/>
                  <a:gd name="connsiteY10923" fmla="*/ 3521278 h 7571038"/>
                  <a:gd name="connsiteX10924" fmla="*/ 3767705 w 4381952"/>
                  <a:gd name="connsiteY10924" fmla="*/ 3532868 h 7571038"/>
                  <a:gd name="connsiteX10925" fmla="*/ 3779295 w 4381952"/>
                  <a:gd name="connsiteY10925" fmla="*/ 3544455 h 7571038"/>
                  <a:gd name="connsiteX10926" fmla="*/ 3790636 w 4381952"/>
                  <a:gd name="connsiteY10926" fmla="*/ 3532868 h 7571038"/>
                  <a:gd name="connsiteX10927" fmla="*/ 3792115 w 4381952"/>
                  <a:gd name="connsiteY10927" fmla="*/ 294435 h 7571038"/>
                  <a:gd name="connsiteX10928" fmla="*/ 3749952 w 4381952"/>
                  <a:gd name="connsiteY10928" fmla="*/ 252272 h 7571038"/>
                  <a:gd name="connsiteX10929" fmla="*/ 3707787 w 4381952"/>
                  <a:gd name="connsiteY10929" fmla="*/ 294435 h 7571038"/>
                  <a:gd name="connsiteX10930" fmla="*/ 3749952 w 4381952"/>
                  <a:gd name="connsiteY10930" fmla="*/ 336599 h 7571038"/>
                  <a:gd name="connsiteX10931" fmla="*/ 3792115 w 4381952"/>
                  <a:gd name="connsiteY10931" fmla="*/ 294435 h 7571038"/>
                  <a:gd name="connsiteX10932" fmla="*/ 3793843 w 4381952"/>
                  <a:gd name="connsiteY10932" fmla="*/ 174874 h 7571038"/>
                  <a:gd name="connsiteX10933" fmla="*/ 3751924 w 4381952"/>
                  <a:gd name="connsiteY10933" fmla="*/ 132957 h 7571038"/>
                  <a:gd name="connsiteX10934" fmla="*/ 3710006 w 4381952"/>
                  <a:gd name="connsiteY10934" fmla="*/ 174874 h 7571038"/>
                  <a:gd name="connsiteX10935" fmla="*/ 3751924 w 4381952"/>
                  <a:gd name="connsiteY10935" fmla="*/ 216788 h 7571038"/>
                  <a:gd name="connsiteX10936" fmla="*/ 3793843 w 4381952"/>
                  <a:gd name="connsiteY10936" fmla="*/ 174874 h 7571038"/>
                  <a:gd name="connsiteX10937" fmla="*/ 3795077 w 4381952"/>
                  <a:gd name="connsiteY10937" fmla="*/ 1437414 h 7571038"/>
                  <a:gd name="connsiteX10938" fmla="*/ 3748720 w 4381952"/>
                  <a:gd name="connsiteY10938" fmla="*/ 1391057 h 7571038"/>
                  <a:gd name="connsiteX10939" fmla="*/ 3702364 w 4381952"/>
                  <a:gd name="connsiteY10939" fmla="*/ 1437414 h 7571038"/>
                  <a:gd name="connsiteX10940" fmla="*/ 3748720 w 4381952"/>
                  <a:gd name="connsiteY10940" fmla="*/ 1483771 h 7571038"/>
                  <a:gd name="connsiteX10941" fmla="*/ 3795077 w 4381952"/>
                  <a:gd name="connsiteY10941" fmla="*/ 1437414 h 7571038"/>
                  <a:gd name="connsiteX10942" fmla="*/ 3795322 w 4381952"/>
                  <a:gd name="connsiteY10942" fmla="*/ 56301 h 7571038"/>
                  <a:gd name="connsiteX10943" fmla="*/ 3753898 w 4381952"/>
                  <a:gd name="connsiteY10943" fmla="*/ 14879 h 7571038"/>
                  <a:gd name="connsiteX10944" fmla="*/ 3712473 w 4381952"/>
                  <a:gd name="connsiteY10944" fmla="*/ 56301 h 7571038"/>
                  <a:gd name="connsiteX10945" fmla="*/ 3753898 w 4381952"/>
                  <a:gd name="connsiteY10945" fmla="*/ 97724 h 7571038"/>
                  <a:gd name="connsiteX10946" fmla="*/ 3795322 w 4381952"/>
                  <a:gd name="connsiteY10946" fmla="*/ 56301 h 7571038"/>
                  <a:gd name="connsiteX10947" fmla="*/ 3796061 w 4381952"/>
                  <a:gd name="connsiteY10947" fmla="*/ 2235489 h 7571038"/>
                  <a:gd name="connsiteX10948" fmla="*/ 3788665 w 4381952"/>
                  <a:gd name="connsiteY10948" fmla="*/ 2227851 h 7571038"/>
                  <a:gd name="connsiteX10949" fmla="*/ 3781020 w 4381952"/>
                  <a:gd name="connsiteY10949" fmla="*/ 2235489 h 7571038"/>
                  <a:gd name="connsiteX10950" fmla="*/ 3788665 w 4381952"/>
                  <a:gd name="connsiteY10950" fmla="*/ 2243142 h 7571038"/>
                  <a:gd name="connsiteX10951" fmla="*/ 3796061 w 4381952"/>
                  <a:gd name="connsiteY10951" fmla="*/ 2235489 h 7571038"/>
                  <a:gd name="connsiteX10952" fmla="*/ 3803954 w 4381952"/>
                  <a:gd name="connsiteY10952" fmla="*/ 1308472 h 7571038"/>
                  <a:gd name="connsiteX10953" fmla="*/ 3757102 w 4381952"/>
                  <a:gd name="connsiteY10953" fmla="*/ 1261864 h 7571038"/>
                  <a:gd name="connsiteX10954" fmla="*/ 3710501 w 4381952"/>
                  <a:gd name="connsiteY10954" fmla="*/ 1308472 h 7571038"/>
                  <a:gd name="connsiteX10955" fmla="*/ 3757102 w 4381952"/>
                  <a:gd name="connsiteY10955" fmla="*/ 1355075 h 7571038"/>
                  <a:gd name="connsiteX10956" fmla="*/ 3803954 w 4381952"/>
                  <a:gd name="connsiteY10956" fmla="*/ 1308472 h 7571038"/>
                  <a:gd name="connsiteX10957" fmla="*/ 3804445 w 4381952"/>
                  <a:gd name="connsiteY10957" fmla="*/ 5343966 h 7571038"/>
                  <a:gd name="connsiteX10958" fmla="*/ 3790391 w 4381952"/>
                  <a:gd name="connsiteY10958" fmla="*/ 5329912 h 7571038"/>
                  <a:gd name="connsiteX10959" fmla="*/ 3776336 w 4381952"/>
                  <a:gd name="connsiteY10959" fmla="*/ 5343966 h 7571038"/>
                  <a:gd name="connsiteX10960" fmla="*/ 3790391 w 4381952"/>
                  <a:gd name="connsiteY10960" fmla="*/ 5358020 h 7571038"/>
                  <a:gd name="connsiteX10961" fmla="*/ 3804445 w 4381952"/>
                  <a:gd name="connsiteY10961" fmla="*/ 5343966 h 7571038"/>
                  <a:gd name="connsiteX10962" fmla="*/ 3805677 w 4381952"/>
                  <a:gd name="connsiteY10962" fmla="*/ 5476868 h 7571038"/>
                  <a:gd name="connsiteX10963" fmla="*/ 3800501 w 4381952"/>
                  <a:gd name="connsiteY10963" fmla="*/ 5471690 h 7571038"/>
                  <a:gd name="connsiteX10964" fmla="*/ 3795323 w 4381952"/>
                  <a:gd name="connsiteY10964" fmla="*/ 5476868 h 7571038"/>
                  <a:gd name="connsiteX10965" fmla="*/ 3800501 w 4381952"/>
                  <a:gd name="connsiteY10965" fmla="*/ 5482044 h 7571038"/>
                  <a:gd name="connsiteX10966" fmla="*/ 3805677 w 4381952"/>
                  <a:gd name="connsiteY10966" fmla="*/ 5476868 h 7571038"/>
                  <a:gd name="connsiteX10967" fmla="*/ 3810609 w 4381952"/>
                  <a:gd name="connsiteY10967" fmla="*/ 1180520 h 7571038"/>
                  <a:gd name="connsiteX10968" fmla="*/ 3764007 w 4381952"/>
                  <a:gd name="connsiteY10968" fmla="*/ 1134165 h 7571038"/>
                  <a:gd name="connsiteX10969" fmla="*/ 3717651 w 4381952"/>
                  <a:gd name="connsiteY10969" fmla="*/ 1180520 h 7571038"/>
                  <a:gd name="connsiteX10970" fmla="*/ 3764007 w 4381952"/>
                  <a:gd name="connsiteY10970" fmla="*/ 1227127 h 7571038"/>
                  <a:gd name="connsiteX10971" fmla="*/ 3810609 w 4381952"/>
                  <a:gd name="connsiteY10971" fmla="*/ 1180520 h 7571038"/>
                  <a:gd name="connsiteX10972" fmla="*/ 3811104 w 4381952"/>
                  <a:gd name="connsiteY10972" fmla="*/ 5608295 h 7571038"/>
                  <a:gd name="connsiteX10973" fmla="*/ 3808390 w 4381952"/>
                  <a:gd name="connsiteY10973" fmla="*/ 5605336 h 7571038"/>
                  <a:gd name="connsiteX10974" fmla="*/ 3805432 w 4381952"/>
                  <a:gd name="connsiteY10974" fmla="*/ 5608295 h 7571038"/>
                  <a:gd name="connsiteX10975" fmla="*/ 3808390 w 4381952"/>
                  <a:gd name="connsiteY10975" fmla="*/ 5611254 h 7571038"/>
                  <a:gd name="connsiteX10976" fmla="*/ 3811104 w 4381952"/>
                  <a:gd name="connsiteY10976" fmla="*/ 5608295 h 7571038"/>
                  <a:gd name="connsiteX10977" fmla="*/ 3813322 w 4381952"/>
                  <a:gd name="connsiteY10977" fmla="*/ 2090753 h 7571038"/>
                  <a:gd name="connsiteX10978" fmla="*/ 3810363 w 4381952"/>
                  <a:gd name="connsiteY10978" fmla="*/ 2087793 h 7571038"/>
                  <a:gd name="connsiteX10979" fmla="*/ 3807404 w 4381952"/>
                  <a:gd name="connsiteY10979" fmla="*/ 2090753 h 7571038"/>
                  <a:gd name="connsiteX10980" fmla="*/ 3810363 w 4381952"/>
                  <a:gd name="connsiteY10980" fmla="*/ 2093712 h 7571038"/>
                  <a:gd name="connsiteX10981" fmla="*/ 3813322 w 4381952"/>
                  <a:gd name="connsiteY10981" fmla="*/ 2090753 h 7571038"/>
                  <a:gd name="connsiteX10982" fmla="*/ 3814799 w 4381952"/>
                  <a:gd name="connsiteY10982" fmla="*/ 4564292 h 7571038"/>
                  <a:gd name="connsiteX10983" fmla="*/ 3767949 w 4381952"/>
                  <a:gd name="connsiteY10983" fmla="*/ 4517444 h 7571038"/>
                  <a:gd name="connsiteX10984" fmla="*/ 3721101 w 4381952"/>
                  <a:gd name="connsiteY10984" fmla="*/ 4564292 h 7571038"/>
                  <a:gd name="connsiteX10985" fmla="*/ 3767949 w 4381952"/>
                  <a:gd name="connsiteY10985" fmla="*/ 4611143 h 7571038"/>
                  <a:gd name="connsiteX10986" fmla="*/ 3814799 w 4381952"/>
                  <a:gd name="connsiteY10986" fmla="*/ 4564292 h 7571038"/>
                  <a:gd name="connsiteX10987" fmla="*/ 3815295 w 4381952"/>
                  <a:gd name="connsiteY10987" fmla="*/ 4045005 h 7571038"/>
                  <a:gd name="connsiteX10988" fmla="*/ 3791624 w 4381952"/>
                  <a:gd name="connsiteY10988" fmla="*/ 4021333 h 7571038"/>
                  <a:gd name="connsiteX10989" fmla="*/ 3767952 w 4381952"/>
                  <a:gd name="connsiteY10989" fmla="*/ 4045005 h 7571038"/>
                  <a:gd name="connsiteX10990" fmla="*/ 3791624 w 4381952"/>
                  <a:gd name="connsiteY10990" fmla="*/ 4068676 h 7571038"/>
                  <a:gd name="connsiteX10991" fmla="*/ 3815295 w 4381952"/>
                  <a:gd name="connsiteY10991" fmla="*/ 4045005 h 7571038"/>
                  <a:gd name="connsiteX10992" fmla="*/ 3815786 w 4381952"/>
                  <a:gd name="connsiteY10992" fmla="*/ 1053802 h 7571038"/>
                  <a:gd name="connsiteX10993" fmla="*/ 3769679 w 4381952"/>
                  <a:gd name="connsiteY10993" fmla="*/ 1007689 h 7571038"/>
                  <a:gd name="connsiteX10994" fmla="*/ 3723568 w 4381952"/>
                  <a:gd name="connsiteY10994" fmla="*/ 1053802 h 7571038"/>
                  <a:gd name="connsiteX10995" fmla="*/ 3769679 w 4381952"/>
                  <a:gd name="connsiteY10995" fmla="*/ 1099908 h 7571038"/>
                  <a:gd name="connsiteX10996" fmla="*/ 3815786 w 4381952"/>
                  <a:gd name="connsiteY10996" fmla="*/ 1053802 h 7571038"/>
                  <a:gd name="connsiteX10997" fmla="*/ 3817264 w 4381952"/>
                  <a:gd name="connsiteY10997" fmla="*/ 5737501 h 7571038"/>
                  <a:gd name="connsiteX10998" fmla="*/ 3816526 w 4381952"/>
                  <a:gd name="connsiteY10998" fmla="*/ 5736760 h 7571038"/>
                  <a:gd name="connsiteX10999" fmla="*/ 3815786 w 4381952"/>
                  <a:gd name="connsiteY10999" fmla="*/ 5737501 h 7571038"/>
                  <a:gd name="connsiteX11000" fmla="*/ 3816526 w 4381952"/>
                  <a:gd name="connsiteY11000" fmla="*/ 5738238 h 7571038"/>
                  <a:gd name="connsiteX11001" fmla="*/ 3817264 w 4381952"/>
                  <a:gd name="connsiteY11001" fmla="*/ 5737501 h 7571038"/>
                  <a:gd name="connsiteX11002" fmla="*/ 3817513 w 4381952"/>
                  <a:gd name="connsiteY11002" fmla="*/ 2903928 h 7571038"/>
                  <a:gd name="connsiteX11003" fmla="*/ 3789402 w 4381952"/>
                  <a:gd name="connsiteY11003" fmla="*/ 2875572 h 7571038"/>
                  <a:gd name="connsiteX11004" fmla="*/ 3761293 w 4381952"/>
                  <a:gd name="connsiteY11004" fmla="*/ 2903928 h 7571038"/>
                  <a:gd name="connsiteX11005" fmla="*/ 3789402 w 4381952"/>
                  <a:gd name="connsiteY11005" fmla="*/ 2932037 h 7571038"/>
                  <a:gd name="connsiteX11006" fmla="*/ 3817513 w 4381952"/>
                  <a:gd name="connsiteY11006" fmla="*/ 2903928 h 7571038"/>
                  <a:gd name="connsiteX11007" fmla="*/ 3821212 w 4381952"/>
                  <a:gd name="connsiteY11007" fmla="*/ 928557 h 7571038"/>
                  <a:gd name="connsiteX11008" fmla="*/ 3775351 w 4381952"/>
                  <a:gd name="connsiteY11008" fmla="*/ 882685 h 7571038"/>
                  <a:gd name="connsiteX11009" fmla="*/ 3729486 w 4381952"/>
                  <a:gd name="connsiteY11009" fmla="*/ 928557 h 7571038"/>
                  <a:gd name="connsiteX11010" fmla="*/ 3775351 w 4381952"/>
                  <a:gd name="connsiteY11010" fmla="*/ 974419 h 7571038"/>
                  <a:gd name="connsiteX11011" fmla="*/ 3821212 w 4381952"/>
                  <a:gd name="connsiteY11011" fmla="*/ 928557 h 7571038"/>
                  <a:gd name="connsiteX11012" fmla="*/ 3824417 w 4381952"/>
                  <a:gd name="connsiteY11012" fmla="*/ 5864980 h 7571038"/>
                  <a:gd name="connsiteX11013" fmla="*/ 3823925 w 4381952"/>
                  <a:gd name="connsiteY11013" fmla="*/ 5864488 h 7571038"/>
                  <a:gd name="connsiteX11014" fmla="*/ 3823430 w 4381952"/>
                  <a:gd name="connsiteY11014" fmla="*/ 5864980 h 7571038"/>
                  <a:gd name="connsiteX11015" fmla="*/ 3823925 w 4381952"/>
                  <a:gd name="connsiteY11015" fmla="*/ 5865474 h 7571038"/>
                  <a:gd name="connsiteX11016" fmla="*/ 3824417 w 4381952"/>
                  <a:gd name="connsiteY11016" fmla="*/ 5864980 h 7571038"/>
                  <a:gd name="connsiteX11017" fmla="*/ 3826392 w 4381952"/>
                  <a:gd name="connsiteY11017" fmla="*/ 2636151 h 7571038"/>
                  <a:gd name="connsiteX11018" fmla="*/ 3789651 w 4381952"/>
                  <a:gd name="connsiteY11018" fmla="*/ 2599410 h 7571038"/>
                  <a:gd name="connsiteX11019" fmla="*/ 3752911 w 4381952"/>
                  <a:gd name="connsiteY11019" fmla="*/ 2636151 h 7571038"/>
                  <a:gd name="connsiteX11020" fmla="*/ 3789651 w 4381952"/>
                  <a:gd name="connsiteY11020" fmla="*/ 2672892 h 7571038"/>
                  <a:gd name="connsiteX11021" fmla="*/ 3826392 w 4381952"/>
                  <a:gd name="connsiteY11021" fmla="*/ 2636151 h 7571038"/>
                  <a:gd name="connsiteX11022" fmla="*/ 3829598 w 4381952"/>
                  <a:gd name="connsiteY11022" fmla="*/ 4312293 h 7571038"/>
                  <a:gd name="connsiteX11023" fmla="*/ 3793105 w 4381952"/>
                  <a:gd name="connsiteY11023" fmla="*/ 4275799 h 7571038"/>
                  <a:gd name="connsiteX11024" fmla="*/ 3756611 w 4381952"/>
                  <a:gd name="connsiteY11024" fmla="*/ 4312293 h 7571038"/>
                  <a:gd name="connsiteX11025" fmla="*/ 3793105 w 4381952"/>
                  <a:gd name="connsiteY11025" fmla="*/ 4348786 h 7571038"/>
                  <a:gd name="connsiteX11026" fmla="*/ 3829598 w 4381952"/>
                  <a:gd name="connsiteY11026" fmla="*/ 4312293 h 7571038"/>
                  <a:gd name="connsiteX11027" fmla="*/ 3831244 w 4381952"/>
                  <a:gd name="connsiteY11027" fmla="*/ 0 h 7571038"/>
                  <a:gd name="connsiteX11028" fmla="*/ 3799840 w 4381952"/>
                  <a:gd name="connsiteY11028" fmla="*/ 0 h 7571038"/>
                  <a:gd name="connsiteX11029" fmla="*/ 3815542 w 4381952"/>
                  <a:gd name="connsiteY11029" fmla="*/ 6520 h 7571038"/>
                  <a:gd name="connsiteX11030" fmla="*/ 3831324 w 4381952"/>
                  <a:gd name="connsiteY11030" fmla="*/ 5991472 h 7571038"/>
                  <a:gd name="connsiteX11031" fmla="*/ 3830089 w 4381952"/>
                  <a:gd name="connsiteY11031" fmla="*/ 5990240 h 7571038"/>
                  <a:gd name="connsiteX11032" fmla="*/ 3828857 w 4381952"/>
                  <a:gd name="connsiteY11032" fmla="*/ 5991472 h 7571038"/>
                  <a:gd name="connsiteX11033" fmla="*/ 3830089 w 4381952"/>
                  <a:gd name="connsiteY11033" fmla="*/ 5992704 h 7571038"/>
                  <a:gd name="connsiteX11034" fmla="*/ 3831324 w 4381952"/>
                  <a:gd name="connsiteY11034" fmla="*/ 5991472 h 7571038"/>
                  <a:gd name="connsiteX11035" fmla="*/ 3832308 w 4381952"/>
                  <a:gd name="connsiteY11035" fmla="*/ 1917941 h 7571038"/>
                  <a:gd name="connsiteX11036" fmla="*/ 3799760 w 4381952"/>
                  <a:gd name="connsiteY11036" fmla="*/ 1885409 h 7571038"/>
                  <a:gd name="connsiteX11037" fmla="*/ 3767211 w 4381952"/>
                  <a:gd name="connsiteY11037" fmla="*/ 1917941 h 7571038"/>
                  <a:gd name="connsiteX11038" fmla="*/ 3799760 w 4381952"/>
                  <a:gd name="connsiteY11038" fmla="*/ 1950475 h 7571038"/>
                  <a:gd name="connsiteX11039" fmla="*/ 3832308 w 4381952"/>
                  <a:gd name="connsiteY11039" fmla="*/ 1917941 h 7571038"/>
                  <a:gd name="connsiteX11040" fmla="*/ 3832308 w 4381952"/>
                  <a:gd name="connsiteY11040" fmla="*/ 4856981 h 7571038"/>
                  <a:gd name="connsiteX11041" fmla="*/ 3816776 w 4381952"/>
                  <a:gd name="connsiteY11041" fmla="*/ 4841446 h 7571038"/>
                  <a:gd name="connsiteX11042" fmla="*/ 3801240 w 4381952"/>
                  <a:gd name="connsiteY11042" fmla="*/ 4856981 h 7571038"/>
                  <a:gd name="connsiteX11043" fmla="*/ 3816776 w 4381952"/>
                  <a:gd name="connsiteY11043" fmla="*/ 4872513 h 7571038"/>
                  <a:gd name="connsiteX11044" fmla="*/ 3832308 w 4381952"/>
                  <a:gd name="connsiteY11044" fmla="*/ 4856981 h 7571038"/>
                  <a:gd name="connsiteX11045" fmla="*/ 3833788 w 4381952"/>
                  <a:gd name="connsiteY11045" fmla="*/ 4712487 h 7571038"/>
                  <a:gd name="connsiteX11046" fmla="*/ 3794087 w 4381952"/>
                  <a:gd name="connsiteY11046" fmla="*/ 4672788 h 7571038"/>
                  <a:gd name="connsiteX11047" fmla="*/ 3754389 w 4381952"/>
                  <a:gd name="connsiteY11047" fmla="*/ 4712487 h 7571038"/>
                  <a:gd name="connsiteX11048" fmla="*/ 3794087 w 4381952"/>
                  <a:gd name="connsiteY11048" fmla="*/ 4752187 h 7571038"/>
                  <a:gd name="connsiteX11049" fmla="*/ 3833788 w 4381952"/>
                  <a:gd name="connsiteY11049" fmla="*/ 4712487 h 7571038"/>
                  <a:gd name="connsiteX11050" fmla="*/ 3844389 w 4381952"/>
                  <a:gd name="connsiteY11050" fmla="*/ 3934293 h 7571038"/>
                  <a:gd name="connsiteX11051" fmla="*/ 3826636 w 4381952"/>
                  <a:gd name="connsiteY11051" fmla="*/ 3916539 h 7571038"/>
                  <a:gd name="connsiteX11052" fmla="*/ 3808882 w 4381952"/>
                  <a:gd name="connsiteY11052" fmla="*/ 3934293 h 7571038"/>
                  <a:gd name="connsiteX11053" fmla="*/ 3826636 w 4381952"/>
                  <a:gd name="connsiteY11053" fmla="*/ 3952047 h 7571038"/>
                  <a:gd name="connsiteX11054" fmla="*/ 3844389 w 4381952"/>
                  <a:gd name="connsiteY11054" fmla="*/ 3934293 h 7571038"/>
                  <a:gd name="connsiteX11055" fmla="*/ 3847349 w 4381952"/>
                  <a:gd name="connsiteY11055" fmla="*/ 6111063 h 7571038"/>
                  <a:gd name="connsiteX11056" fmla="*/ 3844884 w 4381952"/>
                  <a:gd name="connsiteY11056" fmla="*/ 6108596 h 7571038"/>
                  <a:gd name="connsiteX11057" fmla="*/ 3842417 w 4381952"/>
                  <a:gd name="connsiteY11057" fmla="*/ 6111063 h 7571038"/>
                  <a:gd name="connsiteX11058" fmla="*/ 3844884 w 4381952"/>
                  <a:gd name="connsiteY11058" fmla="*/ 6113527 h 7571038"/>
                  <a:gd name="connsiteX11059" fmla="*/ 3847349 w 4381952"/>
                  <a:gd name="connsiteY11059" fmla="*/ 6111063 h 7571038"/>
                  <a:gd name="connsiteX11060" fmla="*/ 3848583 w 4381952"/>
                  <a:gd name="connsiteY11060" fmla="*/ 2480570 h 7571038"/>
                  <a:gd name="connsiteX11061" fmla="*/ 3825898 w 4381952"/>
                  <a:gd name="connsiteY11061" fmla="*/ 2457885 h 7571038"/>
                  <a:gd name="connsiteX11062" fmla="*/ 3803213 w 4381952"/>
                  <a:gd name="connsiteY11062" fmla="*/ 2480570 h 7571038"/>
                  <a:gd name="connsiteX11063" fmla="*/ 3825898 w 4381952"/>
                  <a:gd name="connsiteY11063" fmla="*/ 2503257 h 7571038"/>
                  <a:gd name="connsiteX11064" fmla="*/ 3848583 w 4381952"/>
                  <a:gd name="connsiteY11064" fmla="*/ 2480570 h 7571038"/>
                  <a:gd name="connsiteX11065" fmla="*/ 3852034 w 4381952"/>
                  <a:gd name="connsiteY11065" fmla="*/ 6235584 h 7571038"/>
                  <a:gd name="connsiteX11066" fmla="*/ 3849570 w 4381952"/>
                  <a:gd name="connsiteY11066" fmla="*/ 6233116 h 7571038"/>
                  <a:gd name="connsiteX11067" fmla="*/ 3847102 w 4381952"/>
                  <a:gd name="connsiteY11067" fmla="*/ 6235584 h 7571038"/>
                  <a:gd name="connsiteX11068" fmla="*/ 3849570 w 4381952"/>
                  <a:gd name="connsiteY11068" fmla="*/ 6238047 h 7571038"/>
                  <a:gd name="connsiteX11069" fmla="*/ 3852034 w 4381952"/>
                  <a:gd name="connsiteY11069" fmla="*/ 6235584 h 7571038"/>
                  <a:gd name="connsiteX11070" fmla="*/ 3854255 w 4381952"/>
                  <a:gd name="connsiteY11070" fmla="*/ 1779665 h 7571038"/>
                  <a:gd name="connsiteX11071" fmla="*/ 3814555 w 4381952"/>
                  <a:gd name="connsiteY11071" fmla="*/ 1739933 h 7571038"/>
                  <a:gd name="connsiteX11072" fmla="*/ 3774856 w 4381952"/>
                  <a:gd name="connsiteY11072" fmla="*/ 1779665 h 7571038"/>
                  <a:gd name="connsiteX11073" fmla="*/ 3814555 w 4381952"/>
                  <a:gd name="connsiteY11073" fmla="*/ 1819366 h 7571038"/>
                  <a:gd name="connsiteX11074" fmla="*/ 3854255 w 4381952"/>
                  <a:gd name="connsiteY11074" fmla="*/ 1779665 h 7571038"/>
                  <a:gd name="connsiteX11075" fmla="*/ 3854501 w 4381952"/>
                  <a:gd name="connsiteY11075" fmla="*/ 3014643 h 7571038"/>
                  <a:gd name="connsiteX11076" fmla="*/ 3824912 w 4381952"/>
                  <a:gd name="connsiteY11076" fmla="*/ 2985053 h 7571038"/>
                  <a:gd name="connsiteX11077" fmla="*/ 3795323 w 4381952"/>
                  <a:gd name="connsiteY11077" fmla="*/ 3014643 h 7571038"/>
                  <a:gd name="connsiteX11078" fmla="*/ 3824912 w 4381952"/>
                  <a:gd name="connsiteY11078" fmla="*/ 3044233 h 7571038"/>
                  <a:gd name="connsiteX11079" fmla="*/ 3854501 w 4381952"/>
                  <a:gd name="connsiteY11079" fmla="*/ 3014643 h 7571038"/>
                  <a:gd name="connsiteX11080" fmla="*/ 3855239 w 4381952"/>
                  <a:gd name="connsiteY11080" fmla="*/ 6359363 h 7571038"/>
                  <a:gd name="connsiteX11081" fmla="*/ 3853267 w 4381952"/>
                  <a:gd name="connsiteY11081" fmla="*/ 6357390 h 7571038"/>
                  <a:gd name="connsiteX11082" fmla="*/ 3851293 w 4381952"/>
                  <a:gd name="connsiteY11082" fmla="*/ 6359363 h 7571038"/>
                  <a:gd name="connsiteX11083" fmla="*/ 3853267 w 4381952"/>
                  <a:gd name="connsiteY11083" fmla="*/ 6361336 h 7571038"/>
                  <a:gd name="connsiteX11084" fmla="*/ 3855239 w 4381952"/>
                  <a:gd name="connsiteY11084" fmla="*/ 6359363 h 7571038"/>
                  <a:gd name="connsiteX11085" fmla="*/ 3857705 w 4381952"/>
                  <a:gd name="connsiteY11085" fmla="*/ 4987664 h 7571038"/>
                  <a:gd name="connsiteX11086" fmla="*/ 3846364 w 4381952"/>
                  <a:gd name="connsiteY11086" fmla="*/ 4976074 h 7571038"/>
                  <a:gd name="connsiteX11087" fmla="*/ 3835020 w 4381952"/>
                  <a:gd name="connsiteY11087" fmla="*/ 4987664 h 7571038"/>
                  <a:gd name="connsiteX11088" fmla="*/ 3846364 w 4381952"/>
                  <a:gd name="connsiteY11088" fmla="*/ 4999005 h 7571038"/>
                  <a:gd name="connsiteX11089" fmla="*/ 3857705 w 4381952"/>
                  <a:gd name="connsiteY11089" fmla="*/ 4987664 h 7571038"/>
                  <a:gd name="connsiteX11090" fmla="*/ 3859679 w 4381952"/>
                  <a:gd name="connsiteY11090" fmla="*/ 6481914 h 7571038"/>
                  <a:gd name="connsiteX11091" fmla="*/ 3857705 w 4381952"/>
                  <a:gd name="connsiteY11091" fmla="*/ 6479941 h 7571038"/>
                  <a:gd name="connsiteX11092" fmla="*/ 3855733 w 4381952"/>
                  <a:gd name="connsiteY11092" fmla="*/ 6481914 h 7571038"/>
                  <a:gd name="connsiteX11093" fmla="*/ 3857705 w 4381952"/>
                  <a:gd name="connsiteY11093" fmla="*/ 6483886 h 7571038"/>
                  <a:gd name="connsiteX11094" fmla="*/ 3859679 w 4381952"/>
                  <a:gd name="connsiteY11094" fmla="*/ 6481914 h 7571038"/>
                  <a:gd name="connsiteX11095" fmla="*/ 3863377 w 4381952"/>
                  <a:gd name="connsiteY11095" fmla="*/ 5127720 h 7571038"/>
                  <a:gd name="connsiteX11096" fmla="*/ 3862885 w 4381952"/>
                  <a:gd name="connsiteY11096" fmla="*/ 5127225 h 7571038"/>
                  <a:gd name="connsiteX11097" fmla="*/ 3862391 w 4381952"/>
                  <a:gd name="connsiteY11097" fmla="*/ 5127720 h 7571038"/>
                  <a:gd name="connsiteX11098" fmla="*/ 3862885 w 4381952"/>
                  <a:gd name="connsiteY11098" fmla="*/ 5128211 h 7571038"/>
                  <a:gd name="connsiteX11099" fmla="*/ 3863377 w 4381952"/>
                  <a:gd name="connsiteY11099" fmla="*/ 5127720 h 7571038"/>
                  <a:gd name="connsiteX11100" fmla="*/ 3865104 w 4381952"/>
                  <a:gd name="connsiteY11100" fmla="*/ 6603475 h 7571038"/>
                  <a:gd name="connsiteX11101" fmla="*/ 3861404 w 4381952"/>
                  <a:gd name="connsiteY11101" fmla="*/ 6599774 h 7571038"/>
                  <a:gd name="connsiteX11102" fmla="*/ 3857705 w 4381952"/>
                  <a:gd name="connsiteY11102" fmla="*/ 6603475 h 7571038"/>
                  <a:gd name="connsiteX11103" fmla="*/ 3861404 w 4381952"/>
                  <a:gd name="connsiteY11103" fmla="*/ 6607170 h 7571038"/>
                  <a:gd name="connsiteX11104" fmla="*/ 3865104 w 4381952"/>
                  <a:gd name="connsiteY11104" fmla="*/ 6603475 h 7571038"/>
                  <a:gd name="connsiteX11105" fmla="*/ 3865596 w 4381952"/>
                  <a:gd name="connsiteY11105" fmla="*/ 3821114 h 7571038"/>
                  <a:gd name="connsiteX11106" fmla="*/ 3853760 w 4381952"/>
                  <a:gd name="connsiteY11106" fmla="*/ 3809032 h 7571038"/>
                  <a:gd name="connsiteX11107" fmla="*/ 3841924 w 4381952"/>
                  <a:gd name="connsiteY11107" fmla="*/ 3821114 h 7571038"/>
                  <a:gd name="connsiteX11108" fmla="*/ 3853760 w 4381952"/>
                  <a:gd name="connsiteY11108" fmla="*/ 3832949 h 7571038"/>
                  <a:gd name="connsiteX11109" fmla="*/ 3865596 w 4381952"/>
                  <a:gd name="connsiteY11109" fmla="*/ 3821114 h 7571038"/>
                  <a:gd name="connsiteX11110" fmla="*/ 3868800 w 4381952"/>
                  <a:gd name="connsiteY11110" fmla="*/ 2329180 h 7571038"/>
                  <a:gd name="connsiteX11111" fmla="*/ 3856964 w 4381952"/>
                  <a:gd name="connsiteY11111" fmla="*/ 2317349 h 7571038"/>
                  <a:gd name="connsiteX11112" fmla="*/ 3845129 w 4381952"/>
                  <a:gd name="connsiteY11112" fmla="*/ 2329180 h 7571038"/>
                  <a:gd name="connsiteX11113" fmla="*/ 3856964 w 4381952"/>
                  <a:gd name="connsiteY11113" fmla="*/ 2341029 h 7571038"/>
                  <a:gd name="connsiteX11114" fmla="*/ 3868800 w 4381952"/>
                  <a:gd name="connsiteY11114" fmla="*/ 2329180 h 7571038"/>
                  <a:gd name="connsiteX11115" fmla="*/ 3870282 w 4381952"/>
                  <a:gd name="connsiteY11115" fmla="*/ 6724298 h 7571038"/>
                  <a:gd name="connsiteX11116" fmla="*/ 3864858 w 4381952"/>
                  <a:gd name="connsiteY11116" fmla="*/ 6718872 h 7571038"/>
                  <a:gd name="connsiteX11117" fmla="*/ 3859432 w 4381952"/>
                  <a:gd name="connsiteY11117" fmla="*/ 6724298 h 7571038"/>
                  <a:gd name="connsiteX11118" fmla="*/ 3864858 w 4381952"/>
                  <a:gd name="connsiteY11118" fmla="*/ 6729722 h 7571038"/>
                  <a:gd name="connsiteX11119" fmla="*/ 3870282 w 4381952"/>
                  <a:gd name="connsiteY11119" fmla="*/ 6724298 h 7571038"/>
                  <a:gd name="connsiteX11120" fmla="*/ 3873735 w 4381952"/>
                  <a:gd name="connsiteY11120" fmla="*/ 1644033 h 7571038"/>
                  <a:gd name="connsiteX11121" fmla="*/ 3827625 w 4381952"/>
                  <a:gd name="connsiteY11121" fmla="*/ 1597922 h 7571038"/>
                  <a:gd name="connsiteX11122" fmla="*/ 3781514 w 4381952"/>
                  <a:gd name="connsiteY11122" fmla="*/ 1644033 h 7571038"/>
                  <a:gd name="connsiteX11123" fmla="*/ 3827625 w 4381952"/>
                  <a:gd name="connsiteY11123" fmla="*/ 1690141 h 7571038"/>
                  <a:gd name="connsiteX11124" fmla="*/ 3873735 w 4381952"/>
                  <a:gd name="connsiteY11124" fmla="*/ 1644033 h 7571038"/>
                  <a:gd name="connsiteX11125" fmla="*/ 3874967 w 4381952"/>
                  <a:gd name="connsiteY11125" fmla="*/ 4207499 h 7571038"/>
                  <a:gd name="connsiteX11126" fmla="*/ 3843651 w 4381952"/>
                  <a:gd name="connsiteY11126" fmla="*/ 4176183 h 7571038"/>
                  <a:gd name="connsiteX11127" fmla="*/ 3812089 w 4381952"/>
                  <a:gd name="connsiteY11127" fmla="*/ 4207499 h 7571038"/>
                  <a:gd name="connsiteX11128" fmla="*/ 3843651 w 4381952"/>
                  <a:gd name="connsiteY11128" fmla="*/ 4239061 h 7571038"/>
                  <a:gd name="connsiteX11129" fmla="*/ 3874967 w 4381952"/>
                  <a:gd name="connsiteY11129" fmla="*/ 4207499 h 7571038"/>
                  <a:gd name="connsiteX11130" fmla="*/ 3875456 w 4381952"/>
                  <a:gd name="connsiteY11130" fmla="*/ 6844379 h 7571038"/>
                  <a:gd name="connsiteX11131" fmla="*/ 3867815 w 4381952"/>
                  <a:gd name="connsiteY11131" fmla="*/ 6836734 h 7571038"/>
                  <a:gd name="connsiteX11132" fmla="*/ 3860170 w 4381952"/>
                  <a:gd name="connsiteY11132" fmla="*/ 6844379 h 7571038"/>
                  <a:gd name="connsiteX11133" fmla="*/ 3867815 w 4381952"/>
                  <a:gd name="connsiteY11133" fmla="*/ 6852020 h 7571038"/>
                  <a:gd name="connsiteX11134" fmla="*/ 3875456 w 4381952"/>
                  <a:gd name="connsiteY11134" fmla="*/ 6844379 h 7571038"/>
                  <a:gd name="connsiteX11135" fmla="*/ 3877186 w 4381952"/>
                  <a:gd name="connsiteY11135" fmla="*/ 4466898 h 7571038"/>
                  <a:gd name="connsiteX11136" fmla="*/ 3830829 w 4381952"/>
                  <a:gd name="connsiteY11136" fmla="*/ 4420541 h 7571038"/>
                  <a:gd name="connsiteX11137" fmla="*/ 3784473 w 4381952"/>
                  <a:gd name="connsiteY11137" fmla="*/ 4466898 h 7571038"/>
                  <a:gd name="connsiteX11138" fmla="*/ 3830829 w 4381952"/>
                  <a:gd name="connsiteY11138" fmla="*/ 4513499 h 7571038"/>
                  <a:gd name="connsiteX11139" fmla="*/ 3877186 w 4381952"/>
                  <a:gd name="connsiteY11139" fmla="*/ 4466898 h 7571038"/>
                  <a:gd name="connsiteX11140" fmla="*/ 3880636 w 4381952"/>
                  <a:gd name="connsiteY11140" fmla="*/ 3706457 h 7571038"/>
                  <a:gd name="connsiteX11141" fmla="*/ 3873241 w 4381952"/>
                  <a:gd name="connsiteY11141" fmla="*/ 3699058 h 7571038"/>
                  <a:gd name="connsiteX11142" fmla="*/ 3865842 w 4381952"/>
                  <a:gd name="connsiteY11142" fmla="*/ 3706457 h 7571038"/>
                  <a:gd name="connsiteX11143" fmla="*/ 3873241 w 4381952"/>
                  <a:gd name="connsiteY11143" fmla="*/ 3713852 h 7571038"/>
                  <a:gd name="connsiteX11144" fmla="*/ 3880636 w 4381952"/>
                  <a:gd name="connsiteY11144" fmla="*/ 3706457 h 7571038"/>
                  <a:gd name="connsiteX11145" fmla="*/ 3882363 w 4381952"/>
                  <a:gd name="connsiteY11145" fmla="*/ 1510402 h 7571038"/>
                  <a:gd name="connsiteX11146" fmla="*/ 3839211 w 4381952"/>
                  <a:gd name="connsiteY11146" fmla="*/ 1467252 h 7571038"/>
                  <a:gd name="connsiteX11147" fmla="*/ 3796060 w 4381952"/>
                  <a:gd name="connsiteY11147" fmla="*/ 1510402 h 7571038"/>
                  <a:gd name="connsiteX11148" fmla="*/ 3839211 w 4381952"/>
                  <a:gd name="connsiteY11148" fmla="*/ 1553555 h 7571038"/>
                  <a:gd name="connsiteX11149" fmla="*/ 3882363 w 4381952"/>
                  <a:gd name="connsiteY11149" fmla="*/ 1510402 h 7571038"/>
                  <a:gd name="connsiteX11150" fmla="*/ 3882364 w 4381952"/>
                  <a:gd name="connsiteY11150" fmla="*/ 839818 h 7571038"/>
                  <a:gd name="connsiteX11151" fmla="*/ 3837488 w 4381952"/>
                  <a:gd name="connsiteY11151" fmla="*/ 794934 h 7571038"/>
                  <a:gd name="connsiteX11152" fmla="*/ 3792610 w 4381952"/>
                  <a:gd name="connsiteY11152" fmla="*/ 839818 h 7571038"/>
                  <a:gd name="connsiteX11153" fmla="*/ 3837488 w 4381952"/>
                  <a:gd name="connsiteY11153" fmla="*/ 884687 h 7571038"/>
                  <a:gd name="connsiteX11154" fmla="*/ 3882364 w 4381952"/>
                  <a:gd name="connsiteY11154" fmla="*/ 839818 h 7571038"/>
                  <a:gd name="connsiteX11155" fmla="*/ 3883353 w 4381952"/>
                  <a:gd name="connsiteY11155" fmla="*/ 3127578 h 7571038"/>
                  <a:gd name="connsiteX11156" fmla="*/ 3852529 w 4381952"/>
                  <a:gd name="connsiteY11156" fmla="*/ 3096756 h 7571038"/>
                  <a:gd name="connsiteX11157" fmla="*/ 3821707 w 4381952"/>
                  <a:gd name="connsiteY11157" fmla="*/ 3127578 h 7571038"/>
                  <a:gd name="connsiteX11158" fmla="*/ 3852529 w 4381952"/>
                  <a:gd name="connsiteY11158" fmla="*/ 3158403 h 7571038"/>
                  <a:gd name="connsiteX11159" fmla="*/ 3883353 w 4381952"/>
                  <a:gd name="connsiteY11159" fmla="*/ 3127578 h 7571038"/>
                  <a:gd name="connsiteX11160" fmla="*/ 3884087 w 4381952"/>
                  <a:gd name="connsiteY11160" fmla="*/ 2740455 h 7571038"/>
                  <a:gd name="connsiteX11161" fmla="*/ 3840445 w 4381952"/>
                  <a:gd name="connsiteY11161" fmla="*/ 2696812 h 7571038"/>
                  <a:gd name="connsiteX11162" fmla="*/ 3796801 w 4381952"/>
                  <a:gd name="connsiteY11162" fmla="*/ 2740455 h 7571038"/>
                  <a:gd name="connsiteX11163" fmla="*/ 3840445 w 4381952"/>
                  <a:gd name="connsiteY11163" fmla="*/ 2784100 h 7571038"/>
                  <a:gd name="connsiteX11164" fmla="*/ 3884087 w 4381952"/>
                  <a:gd name="connsiteY11164" fmla="*/ 2740455 h 7571038"/>
                  <a:gd name="connsiteX11165" fmla="*/ 3885076 w 4381952"/>
                  <a:gd name="connsiteY11165" fmla="*/ 7079366 h 7571038"/>
                  <a:gd name="connsiteX11166" fmla="*/ 3880391 w 4381952"/>
                  <a:gd name="connsiteY11166" fmla="*/ 7074681 h 7571038"/>
                  <a:gd name="connsiteX11167" fmla="*/ 3875458 w 4381952"/>
                  <a:gd name="connsiteY11167" fmla="*/ 7079366 h 7571038"/>
                  <a:gd name="connsiteX11168" fmla="*/ 3880391 w 4381952"/>
                  <a:gd name="connsiteY11168" fmla="*/ 7084298 h 7571038"/>
                  <a:gd name="connsiteX11169" fmla="*/ 3885076 w 4381952"/>
                  <a:gd name="connsiteY11169" fmla="*/ 7079366 h 7571038"/>
                  <a:gd name="connsiteX11170" fmla="*/ 3886555 w 4381952"/>
                  <a:gd name="connsiteY11170" fmla="*/ 715313 h 7571038"/>
                  <a:gd name="connsiteX11171" fmla="*/ 3842171 w 4381952"/>
                  <a:gd name="connsiteY11171" fmla="*/ 670933 h 7571038"/>
                  <a:gd name="connsiteX11172" fmla="*/ 3797787 w 4381952"/>
                  <a:gd name="connsiteY11172" fmla="*/ 715313 h 7571038"/>
                  <a:gd name="connsiteX11173" fmla="*/ 3842171 w 4381952"/>
                  <a:gd name="connsiteY11173" fmla="*/ 759695 h 7571038"/>
                  <a:gd name="connsiteX11174" fmla="*/ 3886555 w 4381952"/>
                  <a:gd name="connsiteY11174" fmla="*/ 715313 h 7571038"/>
                  <a:gd name="connsiteX11175" fmla="*/ 3887295 w 4381952"/>
                  <a:gd name="connsiteY11175" fmla="*/ 6960516 h 7571038"/>
                  <a:gd name="connsiteX11176" fmla="*/ 3878170 w 4381952"/>
                  <a:gd name="connsiteY11176" fmla="*/ 6951393 h 7571038"/>
                  <a:gd name="connsiteX11177" fmla="*/ 3869046 w 4381952"/>
                  <a:gd name="connsiteY11177" fmla="*/ 6960516 h 7571038"/>
                  <a:gd name="connsiteX11178" fmla="*/ 3878170 w 4381952"/>
                  <a:gd name="connsiteY11178" fmla="*/ 6969642 h 7571038"/>
                  <a:gd name="connsiteX11179" fmla="*/ 3887295 w 4381952"/>
                  <a:gd name="connsiteY11179" fmla="*/ 6960516 h 7571038"/>
                  <a:gd name="connsiteX11180" fmla="*/ 3889267 w 4381952"/>
                  <a:gd name="connsiteY11180" fmla="*/ 3590319 h 7571038"/>
                  <a:gd name="connsiteX11181" fmla="*/ 3885073 w 4381952"/>
                  <a:gd name="connsiteY11181" fmla="*/ 3586128 h 7571038"/>
                  <a:gd name="connsiteX11182" fmla="*/ 3880882 w 4381952"/>
                  <a:gd name="connsiteY11182" fmla="*/ 3590319 h 7571038"/>
                  <a:gd name="connsiteX11183" fmla="*/ 3885073 w 4381952"/>
                  <a:gd name="connsiteY11183" fmla="*/ 3594511 h 7571038"/>
                  <a:gd name="connsiteX11184" fmla="*/ 3889267 w 4381952"/>
                  <a:gd name="connsiteY11184" fmla="*/ 3590319 h 7571038"/>
                  <a:gd name="connsiteX11185" fmla="*/ 3889267 w 4381952"/>
                  <a:gd name="connsiteY11185" fmla="*/ 7197970 h 7571038"/>
                  <a:gd name="connsiteX11186" fmla="*/ 3882609 w 4381952"/>
                  <a:gd name="connsiteY11186" fmla="*/ 7191311 h 7571038"/>
                  <a:gd name="connsiteX11187" fmla="*/ 3875705 w 4381952"/>
                  <a:gd name="connsiteY11187" fmla="*/ 7197970 h 7571038"/>
                  <a:gd name="connsiteX11188" fmla="*/ 3882609 w 4381952"/>
                  <a:gd name="connsiteY11188" fmla="*/ 7204874 h 7571038"/>
                  <a:gd name="connsiteX11189" fmla="*/ 3889267 w 4381952"/>
                  <a:gd name="connsiteY11189" fmla="*/ 7197970 h 7571038"/>
                  <a:gd name="connsiteX11190" fmla="*/ 3890254 w 4381952"/>
                  <a:gd name="connsiteY11190" fmla="*/ 3473935 h 7571038"/>
                  <a:gd name="connsiteX11191" fmla="*/ 3888529 w 4381952"/>
                  <a:gd name="connsiteY11191" fmla="*/ 3472209 h 7571038"/>
                  <a:gd name="connsiteX11192" fmla="*/ 3886803 w 4381952"/>
                  <a:gd name="connsiteY11192" fmla="*/ 3473935 h 7571038"/>
                  <a:gd name="connsiteX11193" fmla="*/ 3888529 w 4381952"/>
                  <a:gd name="connsiteY11193" fmla="*/ 3475660 h 7571038"/>
                  <a:gd name="connsiteX11194" fmla="*/ 3890254 w 4381952"/>
                  <a:gd name="connsiteY11194" fmla="*/ 3473935 h 7571038"/>
                  <a:gd name="connsiteX11195" fmla="*/ 3891238 w 4381952"/>
                  <a:gd name="connsiteY11195" fmla="*/ 592245 h 7571038"/>
                  <a:gd name="connsiteX11196" fmla="*/ 3846608 w 4381952"/>
                  <a:gd name="connsiteY11196" fmla="*/ 547617 h 7571038"/>
                  <a:gd name="connsiteX11197" fmla="*/ 3801978 w 4381952"/>
                  <a:gd name="connsiteY11197" fmla="*/ 592245 h 7571038"/>
                  <a:gd name="connsiteX11198" fmla="*/ 3846608 w 4381952"/>
                  <a:gd name="connsiteY11198" fmla="*/ 636875 h 7571038"/>
                  <a:gd name="connsiteX11199" fmla="*/ 3891238 w 4381952"/>
                  <a:gd name="connsiteY11199" fmla="*/ 592245 h 7571038"/>
                  <a:gd name="connsiteX11200" fmla="*/ 3891486 w 4381952"/>
                  <a:gd name="connsiteY11200" fmla="*/ 5266048 h 7571038"/>
                  <a:gd name="connsiteX11201" fmla="*/ 3876691 w 4381952"/>
                  <a:gd name="connsiteY11201" fmla="*/ 5251253 h 7571038"/>
                  <a:gd name="connsiteX11202" fmla="*/ 3861896 w 4381952"/>
                  <a:gd name="connsiteY11202" fmla="*/ 5266048 h 7571038"/>
                  <a:gd name="connsiteX11203" fmla="*/ 3876691 w 4381952"/>
                  <a:gd name="connsiteY11203" fmla="*/ 5280842 h 7571038"/>
                  <a:gd name="connsiteX11204" fmla="*/ 3891486 w 4381952"/>
                  <a:gd name="connsiteY11204" fmla="*/ 5266048 h 7571038"/>
                  <a:gd name="connsiteX11205" fmla="*/ 3893461 w 4381952"/>
                  <a:gd name="connsiteY11205" fmla="*/ 469228 h 7571038"/>
                  <a:gd name="connsiteX11206" fmla="*/ 3849815 w 4381952"/>
                  <a:gd name="connsiteY11206" fmla="*/ 425587 h 7571038"/>
                  <a:gd name="connsiteX11207" fmla="*/ 3806172 w 4381952"/>
                  <a:gd name="connsiteY11207" fmla="*/ 469228 h 7571038"/>
                  <a:gd name="connsiteX11208" fmla="*/ 3849815 w 4381952"/>
                  <a:gd name="connsiteY11208" fmla="*/ 512873 h 7571038"/>
                  <a:gd name="connsiteX11209" fmla="*/ 3893461 w 4381952"/>
                  <a:gd name="connsiteY11209" fmla="*/ 469228 h 7571038"/>
                  <a:gd name="connsiteX11210" fmla="*/ 3895186 w 4381952"/>
                  <a:gd name="connsiteY11210" fmla="*/ 5401663 h 7571038"/>
                  <a:gd name="connsiteX11211" fmla="*/ 3889019 w 4381952"/>
                  <a:gd name="connsiteY11211" fmla="*/ 5395499 h 7571038"/>
                  <a:gd name="connsiteX11212" fmla="*/ 3882855 w 4381952"/>
                  <a:gd name="connsiteY11212" fmla="*/ 5401663 h 7571038"/>
                  <a:gd name="connsiteX11213" fmla="*/ 3889019 w 4381952"/>
                  <a:gd name="connsiteY11213" fmla="*/ 5407830 h 7571038"/>
                  <a:gd name="connsiteX11214" fmla="*/ 3895186 w 4381952"/>
                  <a:gd name="connsiteY11214" fmla="*/ 5401663 h 7571038"/>
                  <a:gd name="connsiteX11215" fmla="*/ 3896420 w 4381952"/>
                  <a:gd name="connsiteY11215" fmla="*/ 347447 h 7571038"/>
                  <a:gd name="connsiteX11216" fmla="*/ 3853269 w 4381952"/>
                  <a:gd name="connsiteY11216" fmla="*/ 304298 h 7571038"/>
                  <a:gd name="connsiteX11217" fmla="*/ 3810117 w 4381952"/>
                  <a:gd name="connsiteY11217" fmla="*/ 347447 h 7571038"/>
                  <a:gd name="connsiteX11218" fmla="*/ 3853269 w 4381952"/>
                  <a:gd name="connsiteY11218" fmla="*/ 390596 h 7571038"/>
                  <a:gd name="connsiteX11219" fmla="*/ 3896420 w 4381952"/>
                  <a:gd name="connsiteY11219" fmla="*/ 347447 h 7571038"/>
                  <a:gd name="connsiteX11220" fmla="*/ 3896664 w 4381952"/>
                  <a:gd name="connsiteY11220" fmla="*/ 1378751 h 7571038"/>
                  <a:gd name="connsiteX11221" fmla="*/ 3849570 w 4381952"/>
                  <a:gd name="connsiteY11221" fmla="*/ 1331647 h 7571038"/>
                  <a:gd name="connsiteX11222" fmla="*/ 3802473 w 4381952"/>
                  <a:gd name="connsiteY11222" fmla="*/ 1378751 h 7571038"/>
                  <a:gd name="connsiteX11223" fmla="*/ 3849570 w 4381952"/>
                  <a:gd name="connsiteY11223" fmla="*/ 1425848 h 7571038"/>
                  <a:gd name="connsiteX11224" fmla="*/ 3896664 w 4381952"/>
                  <a:gd name="connsiteY11224" fmla="*/ 1378751 h 7571038"/>
                  <a:gd name="connsiteX11225" fmla="*/ 3897158 w 4381952"/>
                  <a:gd name="connsiteY11225" fmla="*/ 4618788 h 7571038"/>
                  <a:gd name="connsiteX11226" fmla="*/ 3861898 w 4381952"/>
                  <a:gd name="connsiteY11226" fmla="*/ 4583526 h 7571038"/>
                  <a:gd name="connsiteX11227" fmla="*/ 3826636 w 4381952"/>
                  <a:gd name="connsiteY11227" fmla="*/ 4618788 h 7571038"/>
                  <a:gd name="connsiteX11228" fmla="*/ 3861898 w 4381952"/>
                  <a:gd name="connsiteY11228" fmla="*/ 4654048 h 7571038"/>
                  <a:gd name="connsiteX11229" fmla="*/ 3897158 w 4381952"/>
                  <a:gd name="connsiteY11229" fmla="*/ 4618788 h 7571038"/>
                  <a:gd name="connsiteX11230" fmla="*/ 3897649 w 4381952"/>
                  <a:gd name="connsiteY11230" fmla="*/ 2180764 h 7571038"/>
                  <a:gd name="connsiteX11231" fmla="*/ 3883104 w 4381952"/>
                  <a:gd name="connsiteY11231" fmla="*/ 2166457 h 7571038"/>
                  <a:gd name="connsiteX11232" fmla="*/ 3868801 w 4381952"/>
                  <a:gd name="connsiteY11232" fmla="*/ 2180764 h 7571038"/>
                  <a:gd name="connsiteX11233" fmla="*/ 3883104 w 4381952"/>
                  <a:gd name="connsiteY11233" fmla="*/ 2195307 h 7571038"/>
                  <a:gd name="connsiteX11234" fmla="*/ 3897649 w 4381952"/>
                  <a:gd name="connsiteY11234" fmla="*/ 2180764 h 7571038"/>
                  <a:gd name="connsiteX11235" fmla="*/ 3898635 w 4381952"/>
                  <a:gd name="connsiteY11235" fmla="*/ 226652 h 7571038"/>
                  <a:gd name="connsiteX11236" fmla="*/ 3855979 w 4381952"/>
                  <a:gd name="connsiteY11236" fmla="*/ 183997 h 7571038"/>
                  <a:gd name="connsiteX11237" fmla="*/ 3813322 w 4381952"/>
                  <a:gd name="connsiteY11237" fmla="*/ 226652 h 7571038"/>
                  <a:gd name="connsiteX11238" fmla="*/ 3855979 w 4381952"/>
                  <a:gd name="connsiteY11238" fmla="*/ 269307 h 7571038"/>
                  <a:gd name="connsiteX11239" fmla="*/ 3898635 w 4381952"/>
                  <a:gd name="connsiteY11239" fmla="*/ 226652 h 7571038"/>
                  <a:gd name="connsiteX11240" fmla="*/ 3900611 w 4381952"/>
                  <a:gd name="connsiteY11240" fmla="*/ 106352 h 7571038"/>
                  <a:gd name="connsiteX11241" fmla="*/ 3858446 w 4381952"/>
                  <a:gd name="connsiteY11241" fmla="*/ 63943 h 7571038"/>
                  <a:gd name="connsiteX11242" fmla="*/ 3816035 w 4381952"/>
                  <a:gd name="connsiteY11242" fmla="*/ 106352 h 7571038"/>
                  <a:gd name="connsiteX11243" fmla="*/ 3858446 w 4381952"/>
                  <a:gd name="connsiteY11243" fmla="*/ 148515 h 7571038"/>
                  <a:gd name="connsiteX11244" fmla="*/ 3900611 w 4381952"/>
                  <a:gd name="connsiteY11244" fmla="*/ 106352 h 7571038"/>
                  <a:gd name="connsiteX11245" fmla="*/ 3902090 w 4381952"/>
                  <a:gd name="connsiteY11245" fmla="*/ 5535803 h 7571038"/>
                  <a:gd name="connsiteX11246" fmla="*/ 3899130 w 4381952"/>
                  <a:gd name="connsiteY11246" fmla="*/ 5533090 h 7571038"/>
                  <a:gd name="connsiteX11247" fmla="*/ 3896171 w 4381952"/>
                  <a:gd name="connsiteY11247" fmla="*/ 5535803 h 7571038"/>
                  <a:gd name="connsiteX11248" fmla="*/ 3899130 w 4381952"/>
                  <a:gd name="connsiteY11248" fmla="*/ 5538762 h 7571038"/>
                  <a:gd name="connsiteX11249" fmla="*/ 3902090 w 4381952"/>
                  <a:gd name="connsiteY11249" fmla="*/ 5535803 h 7571038"/>
                  <a:gd name="connsiteX11250" fmla="*/ 3902338 w 4381952"/>
                  <a:gd name="connsiteY11250" fmla="*/ 3242237 h 7571038"/>
                  <a:gd name="connsiteX11251" fmla="*/ 3872500 w 4381952"/>
                  <a:gd name="connsiteY11251" fmla="*/ 3212401 h 7571038"/>
                  <a:gd name="connsiteX11252" fmla="*/ 3842664 w 4381952"/>
                  <a:gd name="connsiteY11252" fmla="*/ 3242237 h 7571038"/>
                  <a:gd name="connsiteX11253" fmla="*/ 3872500 w 4381952"/>
                  <a:gd name="connsiteY11253" fmla="*/ 3272075 h 7571038"/>
                  <a:gd name="connsiteX11254" fmla="*/ 3902338 w 4381952"/>
                  <a:gd name="connsiteY11254" fmla="*/ 3242237 h 7571038"/>
                  <a:gd name="connsiteX11255" fmla="*/ 3903567 w 4381952"/>
                  <a:gd name="connsiteY11255" fmla="*/ 2003710 h 7571038"/>
                  <a:gd name="connsiteX11256" fmla="*/ 3878664 w 4381952"/>
                  <a:gd name="connsiteY11256" fmla="*/ 1978818 h 7571038"/>
                  <a:gd name="connsiteX11257" fmla="*/ 3853760 w 4381952"/>
                  <a:gd name="connsiteY11257" fmla="*/ 2003710 h 7571038"/>
                  <a:gd name="connsiteX11258" fmla="*/ 3878664 w 4381952"/>
                  <a:gd name="connsiteY11258" fmla="*/ 2028611 h 7571038"/>
                  <a:gd name="connsiteX11259" fmla="*/ 3903567 w 4381952"/>
                  <a:gd name="connsiteY11259" fmla="*/ 2003710 h 7571038"/>
                  <a:gd name="connsiteX11260" fmla="*/ 3904307 w 4381952"/>
                  <a:gd name="connsiteY11260" fmla="*/ 1248576 h 7571038"/>
                  <a:gd name="connsiteX11261" fmla="*/ 3858200 w 4381952"/>
                  <a:gd name="connsiteY11261" fmla="*/ 1202467 h 7571038"/>
                  <a:gd name="connsiteX11262" fmla="*/ 3812089 w 4381952"/>
                  <a:gd name="connsiteY11262" fmla="*/ 1248576 h 7571038"/>
                  <a:gd name="connsiteX11263" fmla="*/ 3858200 w 4381952"/>
                  <a:gd name="connsiteY11263" fmla="*/ 1294430 h 7571038"/>
                  <a:gd name="connsiteX11264" fmla="*/ 3904307 w 4381952"/>
                  <a:gd name="connsiteY11264" fmla="*/ 1248576 h 7571038"/>
                  <a:gd name="connsiteX11265" fmla="*/ 3907761 w 4381952"/>
                  <a:gd name="connsiteY11265" fmla="*/ 4766484 h 7571038"/>
                  <a:gd name="connsiteX11266" fmla="*/ 3889022 w 4381952"/>
                  <a:gd name="connsiteY11266" fmla="*/ 4747744 h 7571038"/>
                  <a:gd name="connsiteX11267" fmla="*/ 3870282 w 4381952"/>
                  <a:gd name="connsiteY11267" fmla="*/ 4766484 h 7571038"/>
                  <a:gd name="connsiteX11268" fmla="*/ 3889022 w 4381952"/>
                  <a:gd name="connsiteY11268" fmla="*/ 4785224 h 7571038"/>
                  <a:gd name="connsiteX11269" fmla="*/ 3907761 w 4381952"/>
                  <a:gd name="connsiteY11269" fmla="*/ 4766484 h 7571038"/>
                  <a:gd name="connsiteX11270" fmla="*/ 3908253 w 4381952"/>
                  <a:gd name="connsiteY11270" fmla="*/ 4099746 h 7571038"/>
                  <a:gd name="connsiteX11271" fmla="*/ 3887048 w 4381952"/>
                  <a:gd name="connsiteY11271" fmla="*/ 4078539 h 7571038"/>
                  <a:gd name="connsiteX11272" fmla="*/ 3865842 w 4381952"/>
                  <a:gd name="connsiteY11272" fmla="*/ 4099746 h 7571038"/>
                  <a:gd name="connsiteX11273" fmla="*/ 3887048 w 4381952"/>
                  <a:gd name="connsiteY11273" fmla="*/ 4120949 h 7571038"/>
                  <a:gd name="connsiteX11274" fmla="*/ 3908253 w 4381952"/>
                  <a:gd name="connsiteY11274" fmla="*/ 4099746 h 7571038"/>
                  <a:gd name="connsiteX11275" fmla="*/ 3909241 w 4381952"/>
                  <a:gd name="connsiteY11275" fmla="*/ 5667474 h 7571038"/>
                  <a:gd name="connsiteX11276" fmla="*/ 3908993 w 4381952"/>
                  <a:gd name="connsiteY11276" fmla="*/ 5666978 h 7571038"/>
                  <a:gd name="connsiteX11277" fmla="*/ 3908501 w 4381952"/>
                  <a:gd name="connsiteY11277" fmla="*/ 5667474 h 7571038"/>
                  <a:gd name="connsiteX11278" fmla="*/ 3908993 w 4381952"/>
                  <a:gd name="connsiteY11278" fmla="*/ 5667965 h 7571038"/>
                  <a:gd name="connsiteX11279" fmla="*/ 3909241 w 4381952"/>
                  <a:gd name="connsiteY11279" fmla="*/ 5667474 h 7571038"/>
                  <a:gd name="connsiteX11280" fmla="*/ 3909979 w 4381952"/>
                  <a:gd name="connsiteY11280" fmla="*/ 3357879 h 7571038"/>
                  <a:gd name="connsiteX11281" fmla="*/ 3884584 w 4381952"/>
                  <a:gd name="connsiteY11281" fmla="*/ 3332466 h 7571038"/>
                  <a:gd name="connsiteX11282" fmla="*/ 3859186 w 4381952"/>
                  <a:gd name="connsiteY11282" fmla="*/ 3357879 h 7571038"/>
                  <a:gd name="connsiteX11283" fmla="*/ 3884584 w 4381952"/>
                  <a:gd name="connsiteY11283" fmla="*/ 3383273 h 7571038"/>
                  <a:gd name="connsiteX11284" fmla="*/ 3909979 w 4381952"/>
                  <a:gd name="connsiteY11284" fmla="*/ 3357879 h 7571038"/>
                  <a:gd name="connsiteX11285" fmla="*/ 3911707 w 4381952"/>
                  <a:gd name="connsiteY11285" fmla="*/ 2581177 h 7571038"/>
                  <a:gd name="connsiteX11286" fmla="*/ 3883349 w 4381952"/>
                  <a:gd name="connsiteY11286" fmla="*/ 2552819 h 7571038"/>
                  <a:gd name="connsiteX11287" fmla="*/ 3854992 w 4381952"/>
                  <a:gd name="connsiteY11287" fmla="*/ 2581177 h 7571038"/>
                  <a:gd name="connsiteX11288" fmla="*/ 3883349 w 4381952"/>
                  <a:gd name="connsiteY11288" fmla="*/ 2609535 h 7571038"/>
                  <a:gd name="connsiteX11289" fmla="*/ 3911707 w 4381952"/>
                  <a:gd name="connsiteY11289" fmla="*/ 2581177 h 7571038"/>
                  <a:gd name="connsiteX11290" fmla="*/ 3911952 w 4381952"/>
                  <a:gd name="connsiteY11290" fmla="*/ 1119384 h 7571038"/>
                  <a:gd name="connsiteX11291" fmla="*/ 3865351 w 4381952"/>
                  <a:gd name="connsiteY11291" fmla="*/ 1072786 h 7571038"/>
                  <a:gd name="connsiteX11292" fmla="*/ 3818748 w 4381952"/>
                  <a:gd name="connsiteY11292" fmla="*/ 1119384 h 7571038"/>
                  <a:gd name="connsiteX11293" fmla="*/ 3865351 w 4381952"/>
                  <a:gd name="connsiteY11293" fmla="*/ 1165991 h 7571038"/>
                  <a:gd name="connsiteX11294" fmla="*/ 3911952 w 4381952"/>
                  <a:gd name="connsiteY11294" fmla="*/ 1119384 h 7571038"/>
                  <a:gd name="connsiteX11295" fmla="*/ 3918364 w 4381952"/>
                  <a:gd name="connsiteY11295" fmla="*/ 5797420 h 7571038"/>
                  <a:gd name="connsiteX11296" fmla="*/ 3917870 w 4381952"/>
                  <a:gd name="connsiteY11296" fmla="*/ 5796924 h 7571038"/>
                  <a:gd name="connsiteX11297" fmla="*/ 3917378 w 4381952"/>
                  <a:gd name="connsiteY11297" fmla="*/ 5797420 h 7571038"/>
                  <a:gd name="connsiteX11298" fmla="*/ 3917870 w 4381952"/>
                  <a:gd name="connsiteY11298" fmla="*/ 5797911 h 7571038"/>
                  <a:gd name="connsiteX11299" fmla="*/ 3918364 w 4381952"/>
                  <a:gd name="connsiteY11299" fmla="*/ 5797420 h 7571038"/>
                  <a:gd name="connsiteX11300" fmla="*/ 3918611 w 4381952"/>
                  <a:gd name="connsiteY11300" fmla="*/ 991927 h 7571038"/>
                  <a:gd name="connsiteX11301" fmla="*/ 3872254 w 4381952"/>
                  <a:gd name="connsiteY11301" fmla="*/ 945571 h 7571038"/>
                  <a:gd name="connsiteX11302" fmla="*/ 3825898 w 4381952"/>
                  <a:gd name="connsiteY11302" fmla="*/ 991927 h 7571038"/>
                  <a:gd name="connsiteX11303" fmla="*/ 3872254 w 4381952"/>
                  <a:gd name="connsiteY11303" fmla="*/ 1038276 h 7571038"/>
                  <a:gd name="connsiteX11304" fmla="*/ 3918611 w 4381952"/>
                  <a:gd name="connsiteY11304" fmla="*/ 991927 h 7571038"/>
                  <a:gd name="connsiteX11305" fmla="*/ 3926747 w 4381952"/>
                  <a:gd name="connsiteY11305" fmla="*/ 4365800 h 7571038"/>
                  <a:gd name="connsiteX11306" fmla="*/ 3887543 w 4381952"/>
                  <a:gd name="connsiteY11306" fmla="*/ 4326593 h 7571038"/>
                  <a:gd name="connsiteX11307" fmla="*/ 3848337 w 4381952"/>
                  <a:gd name="connsiteY11307" fmla="*/ 4365800 h 7571038"/>
                  <a:gd name="connsiteX11308" fmla="*/ 3887543 w 4381952"/>
                  <a:gd name="connsiteY11308" fmla="*/ 4405006 h 7571038"/>
                  <a:gd name="connsiteX11309" fmla="*/ 3926747 w 4381952"/>
                  <a:gd name="connsiteY11309" fmla="*/ 4365800 h 7571038"/>
                  <a:gd name="connsiteX11310" fmla="*/ 3926747 w 4381952"/>
                  <a:gd name="connsiteY11310" fmla="*/ 5926130 h 7571038"/>
                  <a:gd name="connsiteX11311" fmla="*/ 3925514 w 4381952"/>
                  <a:gd name="connsiteY11311" fmla="*/ 5924898 h 7571038"/>
                  <a:gd name="connsiteX11312" fmla="*/ 3924282 w 4381952"/>
                  <a:gd name="connsiteY11312" fmla="*/ 5926130 h 7571038"/>
                  <a:gd name="connsiteX11313" fmla="*/ 3925514 w 4381952"/>
                  <a:gd name="connsiteY11313" fmla="*/ 5927366 h 7571038"/>
                  <a:gd name="connsiteX11314" fmla="*/ 3926747 w 4381952"/>
                  <a:gd name="connsiteY11314" fmla="*/ 5926130 h 7571038"/>
                  <a:gd name="connsiteX11315" fmla="*/ 3930938 w 4381952"/>
                  <a:gd name="connsiteY11315" fmla="*/ 2848211 h 7571038"/>
                  <a:gd name="connsiteX11316" fmla="*/ 3884336 w 4381952"/>
                  <a:gd name="connsiteY11316" fmla="*/ 2801607 h 7571038"/>
                  <a:gd name="connsiteX11317" fmla="*/ 3837733 w 4381952"/>
                  <a:gd name="connsiteY11317" fmla="*/ 2848211 h 7571038"/>
                  <a:gd name="connsiteX11318" fmla="*/ 3884336 w 4381952"/>
                  <a:gd name="connsiteY11318" fmla="*/ 2894814 h 7571038"/>
                  <a:gd name="connsiteX11319" fmla="*/ 3930938 w 4381952"/>
                  <a:gd name="connsiteY11319" fmla="*/ 2848211 h 7571038"/>
                  <a:gd name="connsiteX11320" fmla="*/ 3931186 w 4381952"/>
                  <a:gd name="connsiteY11320" fmla="*/ 1862505 h 7571038"/>
                  <a:gd name="connsiteX11321" fmla="*/ 3896666 w 4381952"/>
                  <a:gd name="connsiteY11321" fmla="*/ 1828002 h 7571038"/>
                  <a:gd name="connsiteX11322" fmla="*/ 3862145 w 4381952"/>
                  <a:gd name="connsiteY11322" fmla="*/ 1862505 h 7571038"/>
                  <a:gd name="connsiteX11323" fmla="*/ 3896666 w 4381952"/>
                  <a:gd name="connsiteY11323" fmla="*/ 1897009 h 7571038"/>
                  <a:gd name="connsiteX11324" fmla="*/ 3931186 w 4381952"/>
                  <a:gd name="connsiteY11324" fmla="*/ 1862505 h 7571038"/>
                  <a:gd name="connsiteX11325" fmla="*/ 3935378 w 4381952"/>
                  <a:gd name="connsiteY11325" fmla="*/ 4899389 h 7571038"/>
                  <a:gd name="connsiteX11326" fmla="*/ 3922556 w 4381952"/>
                  <a:gd name="connsiteY11326" fmla="*/ 4886567 h 7571038"/>
                  <a:gd name="connsiteX11327" fmla="*/ 3909734 w 4381952"/>
                  <a:gd name="connsiteY11327" fmla="*/ 4899389 h 7571038"/>
                  <a:gd name="connsiteX11328" fmla="*/ 3922556 w 4381952"/>
                  <a:gd name="connsiteY11328" fmla="*/ 4912211 h 7571038"/>
                  <a:gd name="connsiteX11329" fmla="*/ 3935378 w 4381952"/>
                  <a:gd name="connsiteY11329" fmla="*/ 4899389 h 7571038"/>
                  <a:gd name="connsiteX11330" fmla="*/ 3937596 w 4381952"/>
                  <a:gd name="connsiteY11330" fmla="*/ 2426335 h 7571038"/>
                  <a:gd name="connsiteX11331" fmla="*/ 3920091 w 4381952"/>
                  <a:gd name="connsiteY11331" fmla="*/ 2408829 h 7571038"/>
                  <a:gd name="connsiteX11332" fmla="*/ 3902584 w 4381952"/>
                  <a:gd name="connsiteY11332" fmla="*/ 2426335 h 7571038"/>
                  <a:gd name="connsiteX11333" fmla="*/ 3920091 w 4381952"/>
                  <a:gd name="connsiteY11333" fmla="*/ 2443847 h 7571038"/>
                  <a:gd name="connsiteX11334" fmla="*/ 3937596 w 4381952"/>
                  <a:gd name="connsiteY11334" fmla="*/ 2426335 h 7571038"/>
                  <a:gd name="connsiteX11335" fmla="*/ 3942777 w 4381952"/>
                  <a:gd name="connsiteY11335" fmla="*/ 5042651 h 7571038"/>
                  <a:gd name="connsiteX11336" fmla="*/ 3942529 w 4381952"/>
                  <a:gd name="connsiteY11336" fmla="*/ 5042651 h 7571038"/>
                  <a:gd name="connsiteX11337" fmla="*/ 3942282 w 4381952"/>
                  <a:gd name="connsiteY11337" fmla="*/ 5042651 h 7571038"/>
                  <a:gd name="connsiteX11338" fmla="*/ 3942529 w 4381952"/>
                  <a:gd name="connsiteY11338" fmla="*/ 5042897 h 7571038"/>
                  <a:gd name="connsiteX11339" fmla="*/ 3944254 w 4381952"/>
                  <a:gd name="connsiteY11339" fmla="*/ 6046954 h 7571038"/>
                  <a:gd name="connsiteX11340" fmla="*/ 3942033 w 4381952"/>
                  <a:gd name="connsiteY11340" fmla="*/ 6044735 h 7571038"/>
                  <a:gd name="connsiteX11341" fmla="*/ 3939814 w 4381952"/>
                  <a:gd name="connsiteY11341" fmla="*/ 6046954 h 7571038"/>
                  <a:gd name="connsiteX11342" fmla="*/ 3942033 w 4381952"/>
                  <a:gd name="connsiteY11342" fmla="*/ 6049172 h 7571038"/>
                  <a:gd name="connsiteX11343" fmla="*/ 3944254 w 4381952"/>
                  <a:gd name="connsiteY11343" fmla="*/ 6046954 h 7571038"/>
                  <a:gd name="connsiteX11344" fmla="*/ 3944745 w 4381952"/>
                  <a:gd name="connsiteY11344" fmla="*/ 3989526 h 7571038"/>
                  <a:gd name="connsiteX11345" fmla="*/ 3923541 w 4381952"/>
                  <a:gd name="connsiteY11345" fmla="*/ 3968319 h 7571038"/>
                  <a:gd name="connsiteX11346" fmla="*/ 3902335 w 4381952"/>
                  <a:gd name="connsiteY11346" fmla="*/ 3989526 h 7571038"/>
                  <a:gd name="connsiteX11347" fmla="*/ 3923541 w 4381952"/>
                  <a:gd name="connsiteY11347" fmla="*/ 4010729 h 7571038"/>
                  <a:gd name="connsiteX11348" fmla="*/ 3944745 w 4381952"/>
                  <a:gd name="connsiteY11348" fmla="*/ 3989526 h 7571038"/>
                  <a:gd name="connsiteX11349" fmla="*/ 3946964 w 4381952"/>
                  <a:gd name="connsiteY11349" fmla="*/ 4521389 h 7571038"/>
                  <a:gd name="connsiteX11350" fmla="*/ 3924526 w 4381952"/>
                  <a:gd name="connsiteY11350" fmla="*/ 4498950 h 7571038"/>
                  <a:gd name="connsiteX11351" fmla="*/ 3902335 w 4381952"/>
                  <a:gd name="connsiteY11351" fmla="*/ 4521389 h 7571038"/>
                  <a:gd name="connsiteX11352" fmla="*/ 3924526 w 4381952"/>
                  <a:gd name="connsiteY11352" fmla="*/ 4543579 h 7571038"/>
                  <a:gd name="connsiteX11353" fmla="*/ 3946964 w 4381952"/>
                  <a:gd name="connsiteY11353" fmla="*/ 4521389 h 7571038"/>
                  <a:gd name="connsiteX11354" fmla="*/ 3950169 w 4381952"/>
                  <a:gd name="connsiteY11354" fmla="*/ 6173447 h 7571038"/>
                  <a:gd name="connsiteX11355" fmla="*/ 3947951 w 4381952"/>
                  <a:gd name="connsiteY11355" fmla="*/ 6171228 h 7571038"/>
                  <a:gd name="connsiteX11356" fmla="*/ 3945732 w 4381952"/>
                  <a:gd name="connsiteY11356" fmla="*/ 6173447 h 7571038"/>
                  <a:gd name="connsiteX11357" fmla="*/ 3947951 w 4381952"/>
                  <a:gd name="connsiteY11357" fmla="*/ 6175665 h 7571038"/>
                  <a:gd name="connsiteX11358" fmla="*/ 3950169 w 4381952"/>
                  <a:gd name="connsiteY11358" fmla="*/ 6173447 h 7571038"/>
                  <a:gd name="connsiteX11359" fmla="*/ 3954854 w 4381952"/>
                  <a:gd name="connsiteY11359" fmla="*/ 6299444 h 7571038"/>
                  <a:gd name="connsiteX11360" fmla="*/ 3952636 w 4381952"/>
                  <a:gd name="connsiteY11360" fmla="*/ 6297226 h 7571038"/>
                  <a:gd name="connsiteX11361" fmla="*/ 3950418 w 4381952"/>
                  <a:gd name="connsiteY11361" fmla="*/ 6299444 h 7571038"/>
                  <a:gd name="connsiteX11362" fmla="*/ 3952636 w 4381952"/>
                  <a:gd name="connsiteY11362" fmla="*/ 6301662 h 7571038"/>
                  <a:gd name="connsiteX11363" fmla="*/ 3954854 w 4381952"/>
                  <a:gd name="connsiteY11363" fmla="*/ 6299444 h 7571038"/>
                  <a:gd name="connsiteX11364" fmla="*/ 3957569 w 4381952"/>
                  <a:gd name="connsiteY11364" fmla="*/ 1723661 h 7571038"/>
                  <a:gd name="connsiteX11365" fmla="*/ 3912445 w 4381952"/>
                  <a:gd name="connsiteY11365" fmla="*/ 1678548 h 7571038"/>
                  <a:gd name="connsiteX11366" fmla="*/ 3867569 w 4381952"/>
                  <a:gd name="connsiteY11366" fmla="*/ 1723661 h 7571038"/>
                  <a:gd name="connsiteX11367" fmla="*/ 3912445 w 4381952"/>
                  <a:gd name="connsiteY11367" fmla="*/ 1768579 h 7571038"/>
                  <a:gd name="connsiteX11368" fmla="*/ 3957569 w 4381952"/>
                  <a:gd name="connsiteY11368" fmla="*/ 1723661 h 7571038"/>
                  <a:gd name="connsiteX11369" fmla="*/ 3960281 w 4381952"/>
                  <a:gd name="connsiteY11369" fmla="*/ 4261252 h 7571038"/>
                  <a:gd name="connsiteX11370" fmla="*/ 3938336 w 4381952"/>
                  <a:gd name="connsiteY11370" fmla="*/ 4239306 h 7571038"/>
                  <a:gd name="connsiteX11371" fmla="*/ 3916638 w 4381952"/>
                  <a:gd name="connsiteY11371" fmla="*/ 4261252 h 7571038"/>
                  <a:gd name="connsiteX11372" fmla="*/ 3938336 w 4381952"/>
                  <a:gd name="connsiteY11372" fmla="*/ 4283196 h 7571038"/>
                  <a:gd name="connsiteX11373" fmla="*/ 3960281 w 4381952"/>
                  <a:gd name="connsiteY11373" fmla="*/ 4261252 h 7571038"/>
                  <a:gd name="connsiteX11374" fmla="*/ 3960776 w 4381952"/>
                  <a:gd name="connsiteY11374" fmla="*/ 6423227 h 7571038"/>
                  <a:gd name="connsiteX11375" fmla="*/ 3958063 w 4381952"/>
                  <a:gd name="connsiteY11375" fmla="*/ 6420514 h 7571038"/>
                  <a:gd name="connsiteX11376" fmla="*/ 3955350 w 4381952"/>
                  <a:gd name="connsiteY11376" fmla="*/ 6423227 h 7571038"/>
                  <a:gd name="connsiteX11377" fmla="*/ 3958063 w 4381952"/>
                  <a:gd name="connsiteY11377" fmla="*/ 6425940 h 7571038"/>
                  <a:gd name="connsiteX11378" fmla="*/ 3960776 w 4381952"/>
                  <a:gd name="connsiteY11378" fmla="*/ 6423227 h 7571038"/>
                  <a:gd name="connsiteX11379" fmla="*/ 3962254 w 4381952"/>
                  <a:gd name="connsiteY11379" fmla="*/ 16133 h 7571038"/>
                  <a:gd name="connsiteX11380" fmla="*/ 3955579 w 4381952"/>
                  <a:gd name="connsiteY11380" fmla="*/ 0 h 7571038"/>
                  <a:gd name="connsiteX11381" fmla="*/ 3885092 w 4381952"/>
                  <a:gd name="connsiteY11381" fmla="*/ 0 h 7571038"/>
                  <a:gd name="connsiteX11382" fmla="*/ 3878417 w 4381952"/>
                  <a:gd name="connsiteY11382" fmla="*/ 16133 h 7571038"/>
                  <a:gd name="connsiteX11383" fmla="*/ 3920335 w 4381952"/>
                  <a:gd name="connsiteY11383" fmla="*/ 58049 h 7571038"/>
                  <a:gd name="connsiteX11384" fmla="*/ 3962254 w 4381952"/>
                  <a:gd name="connsiteY11384" fmla="*/ 16133 h 7571038"/>
                  <a:gd name="connsiteX11385" fmla="*/ 3964226 w 4381952"/>
                  <a:gd name="connsiteY11385" fmla="*/ 1587081 h 7571038"/>
                  <a:gd name="connsiteX11386" fmla="*/ 3926254 w 4381952"/>
                  <a:gd name="connsiteY11386" fmla="*/ 1549109 h 7571038"/>
                  <a:gd name="connsiteX11387" fmla="*/ 3888281 w 4381952"/>
                  <a:gd name="connsiteY11387" fmla="*/ 1587081 h 7571038"/>
                  <a:gd name="connsiteX11388" fmla="*/ 3926254 w 4381952"/>
                  <a:gd name="connsiteY11388" fmla="*/ 1625057 h 7571038"/>
                  <a:gd name="connsiteX11389" fmla="*/ 3964226 w 4381952"/>
                  <a:gd name="connsiteY11389" fmla="*/ 1587081 h 7571038"/>
                  <a:gd name="connsiteX11390" fmla="*/ 3965950 w 4381952"/>
                  <a:gd name="connsiteY11390" fmla="*/ 2958187 h 7571038"/>
                  <a:gd name="connsiteX11391" fmla="*/ 3921320 w 4381952"/>
                  <a:gd name="connsiteY11391" fmla="*/ 2913557 h 7571038"/>
                  <a:gd name="connsiteX11392" fmla="*/ 3876691 w 4381952"/>
                  <a:gd name="connsiteY11392" fmla="*/ 2958187 h 7571038"/>
                  <a:gd name="connsiteX11393" fmla="*/ 3921320 w 4381952"/>
                  <a:gd name="connsiteY11393" fmla="*/ 3002818 h 7571038"/>
                  <a:gd name="connsiteX11394" fmla="*/ 3965950 w 4381952"/>
                  <a:gd name="connsiteY11394" fmla="*/ 2958187 h 7571038"/>
                  <a:gd name="connsiteX11395" fmla="*/ 3966198 w 4381952"/>
                  <a:gd name="connsiteY11395" fmla="*/ 6546764 h 7571038"/>
                  <a:gd name="connsiteX11396" fmla="*/ 3962499 w 4381952"/>
                  <a:gd name="connsiteY11396" fmla="*/ 6543064 h 7571038"/>
                  <a:gd name="connsiteX11397" fmla="*/ 3958800 w 4381952"/>
                  <a:gd name="connsiteY11397" fmla="*/ 6546764 h 7571038"/>
                  <a:gd name="connsiteX11398" fmla="*/ 3962499 w 4381952"/>
                  <a:gd name="connsiteY11398" fmla="*/ 6550463 h 7571038"/>
                  <a:gd name="connsiteX11399" fmla="*/ 3966198 w 4381952"/>
                  <a:gd name="connsiteY11399" fmla="*/ 6546764 h 7571038"/>
                  <a:gd name="connsiteX11400" fmla="*/ 3967926 w 4381952"/>
                  <a:gd name="connsiteY11400" fmla="*/ 2685232 h 7571038"/>
                  <a:gd name="connsiteX11401" fmla="*/ 3934392 w 4381952"/>
                  <a:gd name="connsiteY11401" fmla="*/ 2651696 h 7571038"/>
                  <a:gd name="connsiteX11402" fmla="*/ 3900857 w 4381952"/>
                  <a:gd name="connsiteY11402" fmla="*/ 2685232 h 7571038"/>
                  <a:gd name="connsiteX11403" fmla="*/ 3934392 w 4381952"/>
                  <a:gd name="connsiteY11403" fmla="*/ 2718767 h 7571038"/>
                  <a:gd name="connsiteX11404" fmla="*/ 3967926 w 4381952"/>
                  <a:gd name="connsiteY11404" fmla="*/ 2685232 h 7571038"/>
                  <a:gd name="connsiteX11405" fmla="*/ 3970390 w 4381952"/>
                  <a:gd name="connsiteY11405" fmla="*/ 2093969 h 7571038"/>
                  <a:gd name="connsiteX11406" fmla="*/ 3952882 w 4381952"/>
                  <a:gd name="connsiteY11406" fmla="*/ 2076457 h 7571038"/>
                  <a:gd name="connsiteX11407" fmla="*/ 3935623 w 4381952"/>
                  <a:gd name="connsiteY11407" fmla="*/ 2093969 h 7571038"/>
                  <a:gd name="connsiteX11408" fmla="*/ 3952882 w 4381952"/>
                  <a:gd name="connsiteY11408" fmla="*/ 2111231 h 7571038"/>
                  <a:gd name="connsiteX11409" fmla="*/ 3970390 w 4381952"/>
                  <a:gd name="connsiteY11409" fmla="*/ 2093969 h 7571038"/>
                  <a:gd name="connsiteX11410" fmla="*/ 3972366 w 4381952"/>
                  <a:gd name="connsiteY11410" fmla="*/ 6669064 h 7571038"/>
                  <a:gd name="connsiteX11411" fmla="*/ 3966694 w 4381952"/>
                  <a:gd name="connsiteY11411" fmla="*/ 6663392 h 7571038"/>
                  <a:gd name="connsiteX11412" fmla="*/ 3961022 w 4381952"/>
                  <a:gd name="connsiteY11412" fmla="*/ 6669064 h 7571038"/>
                  <a:gd name="connsiteX11413" fmla="*/ 3966694 w 4381952"/>
                  <a:gd name="connsiteY11413" fmla="*/ 6674734 h 7571038"/>
                  <a:gd name="connsiteX11414" fmla="*/ 3972366 w 4381952"/>
                  <a:gd name="connsiteY11414" fmla="*/ 6669064 h 7571038"/>
                  <a:gd name="connsiteX11415" fmla="*/ 3974826 w 4381952"/>
                  <a:gd name="connsiteY11415" fmla="*/ 3762921 h 7571038"/>
                  <a:gd name="connsiteX11416" fmla="*/ 3974581 w 4381952"/>
                  <a:gd name="connsiteY11416" fmla="*/ 3762921 h 7571038"/>
                  <a:gd name="connsiteX11417" fmla="*/ 3974581 w 4381952"/>
                  <a:gd name="connsiteY11417" fmla="*/ 3763167 h 7571038"/>
                  <a:gd name="connsiteX11418" fmla="*/ 3974827 w 4381952"/>
                  <a:gd name="connsiteY11418" fmla="*/ 5184185 h 7571038"/>
                  <a:gd name="connsiteX11419" fmla="*/ 3959295 w 4381952"/>
                  <a:gd name="connsiteY11419" fmla="*/ 5168650 h 7571038"/>
                  <a:gd name="connsiteX11420" fmla="*/ 3943760 w 4381952"/>
                  <a:gd name="connsiteY11420" fmla="*/ 5184185 h 7571038"/>
                  <a:gd name="connsiteX11421" fmla="*/ 3959295 w 4381952"/>
                  <a:gd name="connsiteY11421" fmla="*/ 5199717 h 7571038"/>
                  <a:gd name="connsiteX11422" fmla="*/ 3974827 w 4381952"/>
                  <a:gd name="connsiteY11422" fmla="*/ 5184185 h 7571038"/>
                  <a:gd name="connsiteX11423" fmla="*/ 3978282 w 4381952"/>
                  <a:gd name="connsiteY11423" fmla="*/ 4672541 h 7571038"/>
                  <a:gd name="connsiteX11424" fmla="*/ 3956582 w 4381952"/>
                  <a:gd name="connsiteY11424" fmla="*/ 4650841 h 7571038"/>
                  <a:gd name="connsiteX11425" fmla="*/ 3934883 w 4381952"/>
                  <a:gd name="connsiteY11425" fmla="*/ 4672541 h 7571038"/>
                  <a:gd name="connsiteX11426" fmla="*/ 3956582 w 4381952"/>
                  <a:gd name="connsiteY11426" fmla="*/ 4694239 h 7571038"/>
                  <a:gd name="connsiteX11427" fmla="*/ 3978282 w 4381952"/>
                  <a:gd name="connsiteY11427" fmla="*/ 4672541 h 7571038"/>
                  <a:gd name="connsiteX11428" fmla="*/ 3978775 w 4381952"/>
                  <a:gd name="connsiteY11428" fmla="*/ 6790872 h 7571038"/>
                  <a:gd name="connsiteX11429" fmla="*/ 3970638 w 4381952"/>
                  <a:gd name="connsiteY11429" fmla="*/ 6782735 h 7571038"/>
                  <a:gd name="connsiteX11430" fmla="*/ 3962748 w 4381952"/>
                  <a:gd name="connsiteY11430" fmla="*/ 6790872 h 7571038"/>
                  <a:gd name="connsiteX11431" fmla="*/ 3970638 w 4381952"/>
                  <a:gd name="connsiteY11431" fmla="*/ 6798762 h 7571038"/>
                  <a:gd name="connsiteX11432" fmla="*/ 3978775 w 4381952"/>
                  <a:gd name="connsiteY11432" fmla="*/ 6790872 h 7571038"/>
                  <a:gd name="connsiteX11433" fmla="*/ 3980748 w 4381952"/>
                  <a:gd name="connsiteY11433" fmla="*/ 903670 h 7571038"/>
                  <a:gd name="connsiteX11434" fmla="*/ 3934886 w 4381952"/>
                  <a:gd name="connsiteY11434" fmla="*/ 857807 h 7571038"/>
                  <a:gd name="connsiteX11435" fmla="*/ 3889022 w 4381952"/>
                  <a:gd name="connsiteY11435" fmla="*/ 903670 h 7571038"/>
                  <a:gd name="connsiteX11436" fmla="*/ 3934886 w 4381952"/>
                  <a:gd name="connsiteY11436" fmla="*/ 949535 h 7571038"/>
                  <a:gd name="connsiteX11437" fmla="*/ 3980748 w 4381952"/>
                  <a:gd name="connsiteY11437" fmla="*/ 903670 h 7571038"/>
                  <a:gd name="connsiteX11438" fmla="*/ 3981979 w 4381952"/>
                  <a:gd name="connsiteY11438" fmla="*/ 5322514 h 7571038"/>
                  <a:gd name="connsiteX11439" fmla="*/ 3974337 w 4381952"/>
                  <a:gd name="connsiteY11439" fmla="*/ 5314869 h 7571038"/>
                  <a:gd name="connsiteX11440" fmla="*/ 3966693 w 4381952"/>
                  <a:gd name="connsiteY11440" fmla="*/ 5322514 h 7571038"/>
                  <a:gd name="connsiteX11441" fmla="*/ 3974337 w 4381952"/>
                  <a:gd name="connsiteY11441" fmla="*/ 5330155 h 7571038"/>
                  <a:gd name="connsiteX11442" fmla="*/ 3981979 w 4381952"/>
                  <a:gd name="connsiteY11442" fmla="*/ 5322514 h 7571038"/>
                  <a:gd name="connsiteX11443" fmla="*/ 3982226 w 4381952"/>
                  <a:gd name="connsiteY11443" fmla="*/ 2274703 h 7571038"/>
                  <a:gd name="connsiteX11444" fmla="*/ 3950913 w 4381952"/>
                  <a:gd name="connsiteY11444" fmla="*/ 2243399 h 7571038"/>
                  <a:gd name="connsiteX11445" fmla="*/ 3919597 w 4381952"/>
                  <a:gd name="connsiteY11445" fmla="*/ 2274703 h 7571038"/>
                  <a:gd name="connsiteX11446" fmla="*/ 3950913 w 4381952"/>
                  <a:gd name="connsiteY11446" fmla="*/ 2306020 h 7571038"/>
                  <a:gd name="connsiteX11447" fmla="*/ 3982226 w 4381952"/>
                  <a:gd name="connsiteY11447" fmla="*/ 2274703 h 7571038"/>
                  <a:gd name="connsiteX11448" fmla="*/ 3986170 w 4381952"/>
                  <a:gd name="connsiteY11448" fmla="*/ 777203 h 7571038"/>
                  <a:gd name="connsiteX11449" fmla="*/ 3940800 w 4381952"/>
                  <a:gd name="connsiteY11449" fmla="*/ 731827 h 7571038"/>
                  <a:gd name="connsiteX11450" fmla="*/ 3895431 w 4381952"/>
                  <a:gd name="connsiteY11450" fmla="*/ 777203 h 7571038"/>
                  <a:gd name="connsiteX11451" fmla="*/ 3940800 w 4381952"/>
                  <a:gd name="connsiteY11451" fmla="*/ 822577 h 7571038"/>
                  <a:gd name="connsiteX11452" fmla="*/ 3986170 w 4381952"/>
                  <a:gd name="connsiteY11452" fmla="*/ 777203 h 7571038"/>
                  <a:gd name="connsiteX11453" fmla="*/ 3986171 w 4381952"/>
                  <a:gd name="connsiteY11453" fmla="*/ 1452967 h 7571038"/>
                  <a:gd name="connsiteX11454" fmla="*/ 3938829 w 4381952"/>
                  <a:gd name="connsiteY11454" fmla="*/ 1405625 h 7571038"/>
                  <a:gd name="connsiteX11455" fmla="*/ 3891486 w 4381952"/>
                  <a:gd name="connsiteY11455" fmla="*/ 1452967 h 7571038"/>
                  <a:gd name="connsiteX11456" fmla="*/ 3938829 w 4381952"/>
                  <a:gd name="connsiteY11456" fmla="*/ 1500311 h 7571038"/>
                  <a:gd name="connsiteX11457" fmla="*/ 3986171 w 4381952"/>
                  <a:gd name="connsiteY11457" fmla="*/ 1452967 h 7571038"/>
                  <a:gd name="connsiteX11458" fmla="*/ 3987648 w 4381952"/>
                  <a:gd name="connsiteY11458" fmla="*/ 4154237 h 7571038"/>
                  <a:gd name="connsiteX11459" fmla="*/ 3982472 w 4381952"/>
                  <a:gd name="connsiteY11459" fmla="*/ 4149059 h 7571038"/>
                  <a:gd name="connsiteX11460" fmla="*/ 3977294 w 4381952"/>
                  <a:gd name="connsiteY11460" fmla="*/ 4154237 h 7571038"/>
                  <a:gd name="connsiteX11461" fmla="*/ 3982472 w 4381952"/>
                  <a:gd name="connsiteY11461" fmla="*/ 4159413 h 7571038"/>
                  <a:gd name="connsiteX11462" fmla="*/ 3987648 w 4381952"/>
                  <a:gd name="connsiteY11462" fmla="*/ 4154237 h 7571038"/>
                  <a:gd name="connsiteX11463" fmla="*/ 3989625 w 4381952"/>
                  <a:gd name="connsiteY11463" fmla="*/ 7028325 h 7571038"/>
                  <a:gd name="connsiteX11464" fmla="*/ 3984693 w 4381952"/>
                  <a:gd name="connsiteY11464" fmla="*/ 7023393 h 7571038"/>
                  <a:gd name="connsiteX11465" fmla="*/ 3979761 w 4381952"/>
                  <a:gd name="connsiteY11465" fmla="*/ 7028325 h 7571038"/>
                  <a:gd name="connsiteX11466" fmla="*/ 3984693 w 4381952"/>
                  <a:gd name="connsiteY11466" fmla="*/ 7033257 h 7571038"/>
                  <a:gd name="connsiteX11467" fmla="*/ 3989625 w 4381952"/>
                  <a:gd name="connsiteY11467" fmla="*/ 7028325 h 7571038"/>
                  <a:gd name="connsiteX11468" fmla="*/ 3989867 w 4381952"/>
                  <a:gd name="connsiteY11468" fmla="*/ 5459856 h 7571038"/>
                  <a:gd name="connsiteX11469" fmla="*/ 3986663 w 4381952"/>
                  <a:gd name="connsiteY11469" fmla="*/ 5456650 h 7571038"/>
                  <a:gd name="connsiteX11470" fmla="*/ 3983457 w 4381952"/>
                  <a:gd name="connsiteY11470" fmla="*/ 5459856 h 7571038"/>
                  <a:gd name="connsiteX11471" fmla="*/ 3986663 w 4381952"/>
                  <a:gd name="connsiteY11471" fmla="*/ 5463063 h 7571038"/>
                  <a:gd name="connsiteX11472" fmla="*/ 3989867 w 4381952"/>
                  <a:gd name="connsiteY11472" fmla="*/ 5459856 h 7571038"/>
                  <a:gd name="connsiteX11473" fmla="*/ 3990362 w 4381952"/>
                  <a:gd name="connsiteY11473" fmla="*/ 3647771 h 7571038"/>
                  <a:gd name="connsiteX11474" fmla="*/ 3989129 w 4381952"/>
                  <a:gd name="connsiteY11474" fmla="*/ 3646539 h 7571038"/>
                  <a:gd name="connsiteX11475" fmla="*/ 3987897 w 4381952"/>
                  <a:gd name="connsiteY11475" fmla="*/ 3647771 h 7571038"/>
                  <a:gd name="connsiteX11476" fmla="*/ 3989129 w 4381952"/>
                  <a:gd name="connsiteY11476" fmla="*/ 3649006 h 7571038"/>
                  <a:gd name="connsiteX11477" fmla="*/ 3990362 w 4381952"/>
                  <a:gd name="connsiteY11477" fmla="*/ 3647771 h 7571038"/>
                  <a:gd name="connsiteX11478" fmla="*/ 3990365 w 4381952"/>
                  <a:gd name="connsiteY11478" fmla="*/ 3070629 h 7571038"/>
                  <a:gd name="connsiteX11479" fmla="*/ 3950912 w 4381952"/>
                  <a:gd name="connsiteY11479" fmla="*/ 3031177 h 7571038"/>
                  <a:gd name="connsiteX11480" fmla="*/ 3911460 w 4381952"/>
                  <a:gd name="connsiteY11480" fmla="*/ 3070629 h 7571038"/>
                  <a:gd name="connsiteX11481" fmla="*/ 3950912 w 4381952"/>
                  <a:gd name="connsiteY11481" fmla="*/ 3110082 h 7571038"/>
                  <a:gd name="connsiteX11482" fmla="*/ 3990365 w 4381952"/>
                  <a:gd name="connsiteY11482" fmla="*/ 3070629 h 7571038"/>
                  <a:gd name="connsiteX11483" fmla="*/ 3991595 w 4381952"/>
                  <a:gd name="connsiteY11483" fmla="*/ 6907750 h 7571038"/>
                  <a:gd name="connsiteX11484" fmla="*/ 3981980 w 4381952"/>
                  <a:gd name="connsiteY11484" fmla="*/ 6898133 h 7571038"/>
                  <a:gd name="connsiteX11485" fmla="*/ 3972363 w 4381952"/>
                  <a:gd name="connsiteY11485" fmla="*/ 6907750 h 7571038"/>
                  <a:gd name="connsiteX11486" fmla="*/ 3981980 w 4381952"/>
                  <a:gd name="connsiteY11486" fmla="*/ 6917365 h 7571038"/>
                  <a:gd name="connsiteX11487" fmla="*/ 3991595 w 4381952"/>
                  <a:gd name="connsiteY11487" fmla="*/ 6907750 h 7571038"/>
                  <a:gd name="connsiteX11488" fmla="*/ 3991597 w 4381952"/>
                  <a:gd name="connsiteY11488" fmla="*/ 652215 h 7571038"/>
                  <a:gd name="connsiteX11489" fmla="*/ 3946227 w 4381952"/>
                  <a:gd name="connsiteY11489" fmla="*/ 606793 h 7571038"/>
                  <a:gd name="connsiteX11490" fmla="*/ 3900857 w 4381952"/>
                  <a:gd name="connsiteY11490" fmla="*/ 652215 h 7571038"/>
                  <a:gd name="connsiteX11491" fmla="*/ 3946227 w 4381952"/>
                  <a:gd name="connsiteY11491" fmla="*/ 697589 h 7571038"/>
                  <a:gd name="connsiteX11492" fmla="*/ 3991597 w 4381952"/>
                  <a:gd name="connsiteY11492" fmla="*/ 652215 h 7571038"/>
                  <a:gd name="connsiteX11493" fmla="*/ 3992089 w 4381952"/>
                  <a:gd name="connsiteY11493" fmla="*/ 1320080 h 7571038"/>
                  <a:gd name="connsiteX11494" fmla="*/ 3949186 w 4381952"/>
                  <a:gd name="connsiteY11494" fmla="*/ 1277178 h 7571038"/>
                  <a:gd name="connsiteX11495" fmla="*/ 3906280 w 4381952"/>
                  <a:gd name="connsiteY11495" fmla="*/ 1320080 h 7571038"/>
                  <a:gd name="connsiteX11496" fmla="*/ 3949186 w 4381952"/>
                  <a:gd name="connsiteY11496" fmla="*/ 1362979 h 7571038"/>
                  <a:gd name="connsiteX11497" fmla="*/ 3992089 w 4381952"/>
                  <a:gd name="connsiteY11497" fmla="*/ 1320080 h 7571038"/>
                  <a:gd name="connsiteX11498" fmla="*/ 3994801 w 4381952"/>
                  <a:gd name="connsiteY11498" fmla="*/ 7148160 h 7571038"/>
                  <a:gd name="connsiteX11499" fmla="*/ 3987651 w 4381952"/>
                  <a:gd name="connsiteY11499" fmla="*/ 7141255 h 7571038"/>
                  <a:gd name="connsiteX11500" fmla="*/ 3980747 w 4381952"/>
                  <a:gd name="connsiteY11500" fmla="*/ 7148160 h 7571038"/>
                  <a:gd name="connsiteX11501" fmla="*/ 3987651 w 4381952"/>
                  <a:gd name="connsiteY11501" fmla="*/ 7155309 h 7571038"/>
                  <a:gd name="connsiteX11502" fmla="*/ 3994801 w 4381952"/>
                  <a:gd name="connsiteY11502" fmla="*/ 7148160 h 7571038"/>
                  <a:gd name="connsiteX11503" fmla="*/ 3994802 w 4381952"/>
                  <a:gd name="connsiteY11503" fmla="*/ 527417 h 7571038"/>
                  <a:gd name="connsiteX11504" fmla="*/ 3950419 w 4381952"/>
                  <a:gd name="connsiteY11504" fmla="*/ 483035 h 7571038"/>
                  <a:gd name="connsiteX11505" fmla="*/ 3906035 w 4381952"/>
                  <a:gd name="connsiteY11505" fmla="*/ 527417 h 7571038"/>
                  <a:gd name="connsiteX11506" fmla="*/ 3950419 w 4381952"/>
                  <a:gd name="connsiteY11506" fmla="*/ 571799 h 7571038"/>
                  <a:gd name="connsiteX11507" fmla="*/ 3994802 w 4381952"/>
                  <a:gd name="connsiteY11507" fmla="*/ 527417 h 7571038"/>
                  <a:gd name="connsiteX11508" fmla="*/ 3998501 w 4381952"/>
                  <a:gd name="connsiteY11508" fmla="*/ 404155 h 7571038"/>
                  <a:gd name="connsiteX11509" fmla="*/ 3954610 w 4381952"/>
                  <a:gd name="connsiteY11509" fmla="*/ 360269 h 7571038"/>
                  <a:gd name="connsiteX11510" fmla="*/ 3910720 w 4381952"/>
                  <a:gd name="connsiteY11510" fmla="*/ 404155 h 7571038"/>
                  <a:gd name="connsiteX11511" fmla="*/ 3954610 w 4381952"/>
                  <a:gd name="connsiteY11511" fmla="*/ 448045 h 7571038"/>
                  <a:gd name="connsiteX11512" fmla="*/ 3998501 w 4381952"/>
                  <a:gd name="connsiteY11512" fmla="*/ 404155 h 7571038"/>
                  <a:gd name="connsiteX11513" fmla="*/ 3998747 w 4381952"/>
                  <a:gd name="connsiteY11513" fmla="*/ 5593992 h 7571038"/>
                  <a:gd name="connsiteX11514" fmla="*/ 3998501 w 4381952"/>
                  <a:gd name="connsiteY11514" fmla="*/ 5593746 h 7571038"/>
                  <a:gd name="connsiteX11515" fmla="*/ 3998501 w 4381952"/>
                  <a:gd name="connsiteY11515" fmla="*/ 5593992 h 7571038"/>
                  <a:gd name="connsiteX11516" fmla="*/ 3999485 w 4381952"/>
                  <a:gd name="connsiteY11516" fmla="*/ 3531633 h 7571038"/>
                  <a:gd name="connsiteX11517" fmla="*/ 3996280 w 4381952"/>
                  <a:gd name="connsiteY11517" fmla="*/ 3528428 h 7571038"/>
                  <a:gd name="connsiteX11518" fmla="*/ 3993075 w 4381952"/>
                  <a:gd name="connsiteY11518" fmla="*/ 3531633 h 7571038"/>
                  <a:gd name="connsiteX11519" fmla="*/ 3996280 w 4381952"/>
                  <a:gd name="connsiteY11519" fmla="*/ 3534838 h 7571038"/>
                  <a:gd name="connsiteX11520" fmla="*/ 3999485 w 4381952"/>
                  <a:gd name="connsiteY11520" fmla="*/ 3531633 h 7571038"/>
                  <a:gd name="connsiteX11521" fmla="*/ 4001460 w 4381952"/>
                  <a:gd name="connsiteY11521" fmla="*/ 2527185 h 7571038"/>
                  <a:gd name="connsiteX11522" fmla="*/ 3977294 w 4381952"/>
                  <a:gd name="connsiteY11522" fmla="*/ 2503019 h 7571038"/>
                  <a:gd name="connsiteX11523" fmla="*/ 3953131 w 4381952"/>
                  <a:gd name="connsiteY11523" fmla="*/ 2527185 h 7571038"/>
                  <a:gd name="connsiteX11524" fmla="*/ 3977294 w 4381952"/>
                  <a:gd name="connsiteY11524" fmla="*/ 2551350 h 7571038"/>
                  <a:gd name="connsiteX11525" fmla="*/ 4001460 w 4381952"/>
                  <a:gd name="connsiteY11525" fmla="*/ 2527185 h 7571038"/>
                  <a:gd name="connsiteX11526" fmla="*/ 4001706 w 4381952"/>
                  <a:gd name="connsiteY11526" fmla="*/ 281387 h 7571038"/>
                  <a:gd name="connsiteX11527" fmla="*/ 3958062 w 4381952"/>
                  <a:gd name="connsiteY11527" fmla="*/ 237746 h 7571038"/>
                  <a:gd name="connsiteX11528" fmla="*/ 3914665 w 4381952"/>
                  <a:gd name="connsiteY11528" fmla="*/ 281387 h 7571038"/>
                  <a:gd name="connsiteX11529" fmla="*/ 3958062 w 4381952"/>
                  <a:gd name="connsiteY11529" fmla="*/ 325031 h 7571038"/>
                  <a:gd name="connsiteX11530" fmla="*/ 4001706 w 4381952"/>
                  <a:gd name="connsiteY11530" fmla="*/ 281387 h 7571038"/>
                  <a:gd name="connsiteX11531" fmla="*/ 4002938 w 4381952"/>
                  <a:gd name="connsiteY11531" fmla="*/ 1949011 h 7571038"/>
                  <a:gd name="connsiteX11532" fmla="*/ 3974335 w 4381952"/>
                  <a:gd name="connsiteY11532" fmla="*/ 1920423 h 7571038"/>
                  <a:gd name="connsiteX11533" fmla="*/ 3945732 w 4381952"/>
                  <a:gd name="connsiteY11533" fmla="*/ 1949011 h 7571038"/>
                  <a:gd name="connsiteX11534" fmla="*/ 3974335 w 4381952"/>
                  <a:gd name="connsiteY11534" fmla="*/ 1977599 h 7571038"/>
                  <a:gd name="connsiteX11535" fmla="*/ 4002938 w 4381952"/>
                  <a:gd name="connsiteY11535" fmla="*/ 1949011 h 7571038"/>
                  <a:gd name="connsiteX11536" fmla="*/ 4004170 w 4381952"/>
                  <a:gd name="connsiteY11536" fmla="*/ 1188430 h 7571038"/>
                  <a:gd name="connsiteX11537" fmla="*/ 3958308 w 4381952"/>
                  <a:gd name="connsiteY11537" fmla="*/ 1142570 h 7571038"/>
                  <a:gd name="connsiteX11538" fmla="*/ 3912444 w 4381952"/>
                  <a:gd name="connsiteY11538" fmla="*/ 1188430 h 7571038"/>
                  <a:gd name="connsiteX11539" fmla="*/ 3958308 w 4381952"/>
                  <a:gd name="connsiteY11539" fmla="*/ 1234297 h 7571038"/>
                  <a:gd name="connsiteX11540" fmla="*/ 4004170 w 4381952"/>
                  <a:gd name="connsiteY11540" fmla="*/ 1188430 h 7571038"/>
                  <a:gd name="connsiteX11541" fmla="*/ 4004173 w 4381952"/>
                  <a:gd name="connsiteY11541" fmla="*/ 3184549 h 7571038"/>
                  <a:gd name="connsiteX11542" fmla="*/ 3973349 w 4381952"/>
                  <a:gd name="connsiteY11542" fmla="*/ 3153726 h 7571038"/>
                  <a:gd name="connsiteX11543" fmla="*/ 3942528 w 4381952"/>
                  <a:gd name="connsiteY11543" fmla="*/ 3184549 h 7571038"/>
                  <a:gd name="connsiteX11544" fmla="*/ 3973349 w 4381952"/>
                  <a:gd name="connsiteY11544" fmla="*/ 3215373 h 7571038"/>
                  <a:gd name="connsiteX11545" fmla="*/ 4004173 w 4381952"/>
                  <a:gd name="connsiteY11545" fmla="*/ 3184549 h 7571038"/>
                  <a:gd name="connsiteX11546" fmla="*/ 4004419 w 4381952"/>
                  <a:gd name="connsiteY11546" fmla="*/ 159609 h 7571038"/>
                  <a:gd name="connsiteX11547" fmla="*/ 3961267 w 4381952"/>
                  <a:gd name="connsiteY11547" fmla="*/ 116460 h 7571038"/>
                  <a:gd name="connsiteX11548" fmla="*/ 3918116 w 4381952"/>
                  <a:gd name="connsiteY11548" fmla="*/ 159609 h 7571038"/>
                  <a:gd name="connsiteX11549" fmla="*/ 3961267 w 4381952"/>
                  <a:gd name="connsiteY11549" fmla="*/ 202759 h 7571038"/>
                  <a:gd name="connsiteX11550" fmla="*/ 4004419 w 4381952"/>
                  <a:gd name="connsiteY11550" fmla="*/ 159609 h 7571038"/>
                  <a:gd name="connsiteX11551" fmla="*/ 4006885 w 4381952"/>
                  <a:gd name="connsiteY11551" fmla="*/ 3415592 h 7571038"/>
                  <a:gd name="connsiteX11552" fmla="*/ 3996036 w 4381952"/>
                  <a:gd name="connsiteY11552" fmla="*/ 3404743 h 7571038"/>
                  <a:gd name="connsiteX11553" fmla="*/ 3985432 w 4381952"/>
                  <a:gd name="connsiteY11553" fmla="*/ 3415592 h 7571038"/>
                  <a:gd name="connsiteX11554" fmla="*/ 3996036 w 4381952"/>
                  <a:gd name="connsiteY11554" fmla="*/ 3426444 h 7571038"/>
                  <a:gd name="connsiteX11555" fmla="*/ 4006885 w 4381952"/>
                  <a:gd name="connsiteY11555" fmla="*/ 3415592 h 7571038"/>
                  <a:gd name="connsiteX11556" fmla="*/ 4009102 w 4381952"/>
                  <a:gd name="connsiteY11556" fmla="*/ 3299701 h 7571038"/>
                  <a:gd name="connsiteX11557" fmla="*/ 3988389 w 4381952"/>
                  <a:gd name="connsiteY11557" fmla="*/ 3278984 h 7571038"/>
                  <a:gd name="connsiteX11558" fmla="*/ 3967678 w 4381952"/>
                  <a:gd name="connsiteY11558" fmla="*/ 3299701 h 7571038"/>
                  <a:gd name="connsiteX11559" fmla="*/ 3988389 w 4381952"/>
                  <a:gd name="connsiteY11559" fmla="*/ 3320409 h 7571038"/>
                  <a:gd name="connsiteX11560" fmla="*/ 4009102 w 4381952"/>
                  <a:gd name="connsiteY11560" fmla="*/ 3299701 h 7571038"/>
                  <a:gd name="connsiteX11561" fmla="*/ 4009104 w 4381952"/>
                  <a:gd name="connsiteY11561" fmla="*/ 4807418 h 7571038"/>
                  <a:gd name="connsiteX11562" fmla="*/ 3994063 w 4381952"/>
                  <a:gd name="connsiteY11562" fmla="*/ 4792377 h 7571038"/>
                  <a:gd name="connsiteX11563" fmla="*/ 3978775 w 4381952"/>
                  <a:gd name="connsiteY11563" fmla="*/ 4807418 h 7571038"/>
                  <a:gd name="connsiteX11564" fmla="*/ 3994063 w 4381952"/>
                  <a:gd name="connsiteY11564" fmla="*/ 4822461 h 7571038"/>
                  <a:gd name="connsiteX11565" fmla="*/ 4009104 w 4381952"/>
                  <a:gd name="connsiteY11565" fmla="*/ 4807418 h 7571038"/>
                  <a:gd name="connsiteX11566" fmla="*/ 4009597 w 4381952"/>
                  <a:gd name="connsiteY11566" fmla="*/ 5726158 h 7571038"/>
                  <a:gd name="connsiteX11567" fmla="*/ 4009348 w 4381952"/>
                  <a:gd name="connsiteY11567" fmla="*/ 5725911 h 7571038"/>
                  <a:gd name="connsiteX11568" fmla="*/ 4009101 w 4381952"/>
                  <a:gd name="connsiteY11568" fmla="*/ 5726158 h 7571038"/>
                  <a:gd name="connsiteX11569" fmla="*/ 4009348 w 4381952"/>
                  <a:gd name="connsiteY11569" fmla="*/ 5726403 h 7571038"/>
                  <a:gd name="connsiteX11570" fmla="*/ 4009597 w 4381952"/>
                  <a:gd name="connsiteY11570" fmla="*/ 5726158 h 7571038"/>
                  <a:gd name="connsiteX11571" fmla="*/ 4010088 w 4381952"/>
                  <a:gd name="connsiteY11571" fmla="*/ 4420292 h 7571038"/>
                  <a:gd name="connsiteX11572" fmla="*/ 3981485 w 4381952"/>
                  <a:gd name="connsiteY11572" fmla="*/ 4391689 h 7571038"/>
                  <a:gd name="connsiteX11573" fmla="*/ 3952882 w 4381952"/>
                  <a:gd name="connsiteY11573" fmla="*/ 4420292 h 7571038"/>
                  <a:gd name="connsiteX11574" fmla="*/ 3981485 w 4381952"/>
                  <a:gd name="connsiteY11574" fmla="*/ 4448895 h 7571038"/>
                  <a:gd name="connsiteX11575" fmla="*/ 4010088 w 4381952"/>
                  <a:gd name="connsiteY11575" fmla="*/ 4420292 h 7571038"/>
                  <a:gd name="connsiteX11576" fmla="*/ 4013047 w 4381952"/>
                  <a:gd name="connsiteY11576" fmla="*/ 1058992 h 7571038"/>
                  <a:gd name="connsiteX11577" fmla="*/ 3966691 w 4381952"/>
                  <a:gd name="connsiteY11577" fmla="*/ 1012397 h 7571038"/>
                  <a:gd name="connsiteX11578" fmla="*/ 3920088 w 4381952"/>
                  <a:gd name="connsiteY11578" fmla="*/ 1058992 h 7571038"/>
                  <a:gd name="connsiteX11579" fmla="*/ 3966691 w 4381952"/>
                  <a:gd name="connsiteY11579" fmla="*/ 1105599 h 7571038"/>
                  <a:gd name="connsiteX11580" fmla="*/ 4013047 w 4381952"/>
                  <a:gd name="connsiteY11580" fmla="*/ 1058992 h 7571038"/>
                  <a:gd name="connsiteX11581" fmla="*/ 4018228 w 4381952"/>
                  <a:gd name="connsiteY11581" fmla="*/ 4953885 h 7571038"/>
                  <a:gd name="connsiteX11582" fmla="*/ 4017735 w 4381952"/>
                  <a:gd name="connsiteY11582" fmla="*/ 4953390 h 7571038"/>
                  <a:gd name="connsiteX11583" fmla="*/ 4017241 w 4381952"/>
                  <a:gd name="connsiteY11583" fmla="*/ 4953885 h 7571038"/>
                  <a:gd name="connsiteX11584" fmla="*/ 4017735 w 4381952"/>
                  <a:gd name="connsiteY11584" fmla="*/ 4954377 h 7571038"/>
                  <a:gd name="connsiteX11585" fmla="*/ 4018228 w 4381952"/>
                  <a:gd name="connsiteY11585" fmla="*/ 4953885 h 7571038"/>
                  <a:gd name="connsiteX11586" fmla="*/ 4019708 w 4381952"/>
                  <a:gd name="connsiteY11586" fmla="*/ 5857089 h 7571038"/>
                  <a:gd name="connsiteX11587" fmla="*/ 4018473 w 4381952"/>
                  <a:gd name="connsiteY11587" fmla="*/ 5855857 h 7571038"/>
                  <a:gd name="connsiteX11588" fmla="*/ 4017241 w 4381952"/>
                  <a:gd name="connsiteY11588" fmla="*/ 5857089 h 7571038"/>
                  <a:gd name="connsiteX11589" fmla="*/ 4018473 w 4381952"/>
                  <a:gd name="connsiteY11589" fmla="*/ 5858324 h 7571038"/>
                  <a:gd name="connsiteX11590" fmla="*/ 4019708 w 4381952"/>
                  <a:gd name="connsiteY11590" fmla="*/ 5857089 h 7571038"/>
                  <a:gd name="connsiteX11591" fmla="*/ 4019951 w 4381952"/>
                  <a:gd name="connsiteY11591" fmla="*/ 2792249 h 7571038"/>
                  <a:gd name="connsiteX11592" fmla="*/ 3979267 w 4381952"/>
                  <a:gd name="connsiteY11592" fmla="*/ 2751564 h 7571038"/>
                  <a:gd name="connsiteX11593" fmla="*/ 3938582 w 4381952"/>
                  <a:gd name="connsiteY11593" fmla="*/ 2792249 h 7571038"/>
                  <a:gd name="connsiteX11594" fmla="*/ 3979267 w 4381952"/>
                  <a:gd name="connsiteY11594" fmla="*/ 2832935 h 7571038"/>
                  <a:gd name="connsiteX11595" fmla="*/ 4019951 w 4381952"/>
                  <a:gd name="connsiteY11595" fmla="*/ 2792249 h 7571038"/>
                  <a:gd name="connsiteX11596" fmla="*/ 4023650 w 4381952"/>
                  <a:gd name="connsiteY11596" fmla="*/ 4044510 h 7571038"/>
                  <a:gd name="connsiteX11597" fmla="*/ 4020197 w 4381952"/>
                  <a:gd name="connsiteY11597" fmla="*/ 4041059 h 7571038"/>
                  <a:gd name="connsiteX11598" fmla="*/ 4016746 w 4381952"/>
                  <a:gd name="connsiteY11598" fmla="*/ 4044510 h 7571038"/>
                  <a:gd name="connsiteX11599" fmla="*/ 4020197 w 4381952"/>
                  <a:gd name="connsiteY11599" fmla="*/ 4047963 h 7571038"/>
                  <a:gd name="connsiteX11600" fmla="*/ 4023650 w 4381952"/>
                  <a:gd name="connsiteY11600" fmla="*/ 4044510 h 7571038"/>
                  <a:gd name="connsiteX11601" fmla="*/ 4033022 w 4381952"/>
                  <a:gd name="connsiteY11601" fmla="*/ 2187183 h 7571038"/>
                  <a:gd name="connsiteX11602" fmla="*/ 4022418 w 4381952"/>
                  <a:gd name="connsiteY11602" fmla="*/ 2176582 h 7571038"/>
                  <a:gd name="connsiteX11603" fmla="*/ 4011815 w 4381952"/>
                  <a:gd name="connsiteY11603" fmla="*/ 2187183 h 7571038"/>
                  <a:gd name="connsiteX11604" fmla="*/ 4022418 w 4381952"/>
                  <a:gd name="connsiteY11604" fmla="*/ 2197790 h 7571038"/>
                  <a:gd name="connsiteX11605" fmla="*/ 4033022 w 4381952"/>
                  <a:gd name="connsiteY11605" fmla="*/ 2187183 h 7571038"/>
                  <a:gd name="connsiteX11606" fmla="*/ 4036964 w 4381952"/>
                  <a:gd name="connsiteY11606" fmla="*/ 1807053 h 7571038"/>
                  <a:gd name="connsiteX11607" fmla="*/ 3993321 w 4381952"/>
                  <a:gd name="connsiteY11607" fmla="*/ 1763393 h 7571038"/>
                  <a:gd name="connsiteX11608" fmla="*/ 3949678 w 4381952"/>
                  <a:gd name="connsiteY11608" fmla="*/ 1807053 h 7571038"/>
                  <a:gd name="connsiteX11609" fmla="*/ 3993321 w 4381952"/>
                  <a:gd name="connsiteY11609" fmla="*/ 1850695 h 7571038"/>
                  <a:gd name="connsiteX11610" fmla="*/ 4036964 w 4381952"/>
                  <a:gd name="connsiteY11610" fmla="*/ 1807053 h 7571038"/>
                  <a:gd name="connsiteX11611" fmla="*/ 4038694 w 4381952"/>
                  <a:gd name="connsiteY11611" fmla="*/ 5979391 h 7571038"/>
                  <a:gd name="connsiteX11612" fmla="*/ 4036722 w 4381952"/>
                  <a:gd name="connsiteY11612" fmla="*/ 5977417 h 7571038"/>
                  <a:gd name="connsiteX11613" fmla="*/ 4034748 w 4381952"/>
                  <a:gd name="connsiteY11613" fmla="*/ 5979391 h 7571038"/>
                  <a:gd name="connsiteX11614" fmla="*/ 4036722 w 4381952"/>
                  <a:gd name="connsiteY11614" fmla="*/ 5981363 h 7571038"/>
                  <a:gd name="connsiteX11615" fmla="*/ 4038694 w 4381952"/>
                  <a:gd name="connsiteY11615" fmla="*/ 5979391 h 7571038"/>
                  <a:gd name="connsiteX11616" fmla="*/ 4041404 w 4381952"/>
                  <a:gd name="connsiteY11616" fmla="*/ 1667717 h 7571038"/>
                  <a:gd name="connsiteX11617" fmla="*/ 4009842 w 4381952"/>
                  <a:gd name="connsiteY11617" fmla="*/ 1636159 h 7571038"/>
                  <a:gd name="connsiteX11618" fmla="*/ 3978280 w 4381952"/>
                  <a:gd name="connsiteY11618" fmla="*/ 1667717 h 7571038"/>
                  <a:gd name="connsiteX11619" fmla="*/ 4009842 w 4381952"/>
                  <a:gd name="connsiteY11619" fmla="*/ 1699281 h 7571038"/>
                  <a:gd name="connsiteX11620" fmla="*/ 4041404 w 4381952"/>
                  <a:gd name="connsiteY11620" fmla="*/ 1667717 h 7571038"/>
                  <a:gd name="connsiteX11621" fmla="*/ 4044856 w 4381952"/>
                  <a:gd name="connsiteY11621" fmla="*/ 4574896 h 7571038"/>
                  <a:gd name="connsiteX11622" fmla="*/ 4018721 w 4381952"/>
                  <a:gd name="connsiteY11622" fmla="*/ 4548760 h 7571038"/>
                  <a:gd name="connsiteX11623" fmla="*/ 3992582 w 4381952"/>
                  <a:gd name="connsiteY11623" fmla="*/ 4574896 h 7571038"/>
                  <a:gd name="connsiteX11624" fmla="*/ 4018721 w 4381952"/>
                  <a:gd name="connsiteY11624" fmla="*/ 4601035 h 7571038"/>
                  <a:gd name="connsiteX11625" fmla="*/ 4044856 w 4381952"/>
                  <a:gd name="connsiteY11625" fmla="*/ 4574896 h 7571038"/>
                  <a:gd name="connsiteX11626" fmla="*/ 4045844 w 4381952"/>
                  <a:gd name="connsiteY11626" fmla="*/ 6107859 h 7571038"/>
                  <a:gd name="connsiteX11627" fmla="*/ 4043871 w 4381952"/>
                  <a:gd name="connsiteY11627" fmla="*/ 6105886 h 7571038"/>
                  <a:gd name="connsiteX11628" fmla="*/ 4041898 w 4381952"/>
                  <a:gd name="connsiteY11628" fmla="*/ 6107859 h 7571038"/>
                  <a:gd name="connsiteX11629" fmla="*/ 4043871 w 4381952"/>
                  <a:gd name="connsiteY11629" fmla="*/ 6109831 h 7571038"/>
                  <a:gd name="connsiteX11630" fmla="*/ 4045844 w 4381952"/>
                  <a:gd name="connsiteY11630" fmla="*/ 6107859 h 7571038"/>
                  <a:gd name="connsiteX11631" fmla="*/ 4052748 w 4381952"/>
                  <a:gd name="connsiteY11631" fmla="*/ 6235584 h 7571038"/>
                  <a:gd name="connsiteX11632" fmla="*/ 4050035 w 4381952"/>
                  <a:gd name="connsiteY11632" fmla="*/ 6232871 h 7571038"/>
                  <a:gd name="connsiteX11633" fmla="*/ 4047322 w 4381952"/>
                  <a:gd name="connsiteY11633" fmla="*/ 6235584 h 7571038"/>
                  <a:gd name="connsiteX11634" fmla="*/ 4050035 w 4381952"/>
                  <a:gd name="connsiteY11634" fmla="*/ 6238297 h 7571038"/>
                  <a:gd name="connsiteX11635" fmla="*/ 4052748 w 4381952"/>
                  <a:gd name="connsiteY11635" fmla="*/ 6235584 h 7571038"/>
                  <a:gd name="connsiteX11636" fmla="*/ 4053734 w 4381952"/>
                  <a:gd name="connsiteY11636" fmla="*/ 3932813 h 7571038"/>
                  <a:gd name="connsiteX11637" fmla="*/ 4051021 w 4381952"/>
                  <a:gd name="connsiteY11637" fmla="*/ 3930099 h 7571038"/>
                  <a:gd name="connsiteX11638" fmla="*/ 4048062 w 4381952"/>
                  <a:gd name="connsiteY11638" fmla="*/ 3932813 h 7571038"/>
                  <a:gd name="connsiteX11639" fmla="*/ 4051021 w 4381952"/>
                  <a:gd name="connsiteY11639" fmla="*/ 3935525 h 7571038"/>
                  <a:gd name="connsiteX11640" fmla="*/ 4053734 w 4381952"/>
                  <a:gd name="connsiteY11640" fmla="*/ 3932813 h 7571038"/>
                  <a:gd name="connsiteX11641" fmla="*/ 4054226 w 4381952"/>
                  <a:gd name="connsiteY11641" fmla="*/ 5098377 h 7571038"/>
                  <a:gd name="connsiteX11642" fmla="*/ 4037953 w 4381952"/>
                  <a:gd name="connsiteY11642" fmla="*/ 5082101 h 7571038"/>
                  <a:gd name="connsiteX11643" fmla="*/ 4021678 w 4381952"/>
                  <a:gd name="connsiteY11643" fmla="*/ 5098377 h 7571038"/>
                  <a:gd name="connsiteX11644" fmla="*/ 4037953 w 4381952"/>
                  <a:gd name="connsiteY11644" fmla="*/ 5114649 h 7571038"/>
                  <a:gd name="connsiteX11645" fmla="*/ 4054226 w 4381952"/>
                  <a:gd name="connsiteY11645" fmla="*/ 5098377 h 7571038"/>
                  <a:gd name="connsiteX11646" fmla="*/ 4058417 w 4381952"/>
                  <a:gd name="connsiteY11646" fmla="*/ 2371608 h 7571038"/>
                  <a:gd name="connsiteX11647" fmla="*/ 4013541 w 4381952"/>
                  <a:gd name="connsiteY11647" fmla="*/ 2326970 h 7571038"/>
                  <a:gd name="connsiteX11648" fmla="*/ 3968663 w 4381952"/>
                  <a:gd name="connsiteY11648" fmla="*/ 2371608 h 7571038"/>
                  <a:gd name="connsiteX11649" fmla="*/ 4013541 w 4381952"/>
                  <a:gd name="connsiteY11649" fmla="*/ 2416485 h 7571038"/>
                  <a:gd name="connsiteX11650" fmla="*/ 4058417 w 4381952"/>
                  <a:gd name="connsiteY11650" fmla="*/ 2371608 h 7571038"/>
                  <a:gd name="connsiteX11651" fmla="*/ 4059649 w 4381952"/>
                  <a:gd name="connsiteY11651" fmla="*/ 6361584 h 7571038"/>
                  <a:gd name="connsiteX11652" fmla="*/ 4056445 w 4381952"/>
                  <a:gd name="connsiteY11652" fmla="*/ 6358379 h 7571038"/>
                  <a:gd name="connsiteX11653" fmla="*/ 4053239 w 4381952"/>
                  <a:gd name="connsiteY11653" fmla="*/ 6361584 h 7571038"/>
                  <a:gd name="connsiteX11654" fmla="*/ 4056445 w 4381952"/>
                  <a:gd name="connsiteY11654" fmla="*/ 6364792 h 7571038"/>
                  <a:gd name="connsiteX11655" fmla="*/ 4059649 w 4381952"/>
                  <a:gd name="connsiteY11655" fmla="*/ 6361584 h 7571038"/>
                  <a:gd name="connsiteX11656" fmla="*/ 4059652 w 4381952"/>
                  <a:gd name="connsiteY11656" fmla="*/ 2630749 h 7571038"/>
                  <a:gd name="connsiteX11657" fmla="*/ 4028828 w 4381952"/>
                  <a:gd name="connsiteY11657" fmla="*/ 2599926 h 7571038"/>
                  <a:gd name="connsiteX11658" fmla="*/ 3998006 w 4381952"/>
                  <a:gd name="connsiteY11658" fmla="*/ 2630749 h 7571038"/>
                  <a:gd name="connsiteX11659" fmla="*/ 4028828 w 4381952"/>
                  <a:gd name="connsiteY11659" fmla="*/ 2661575 h 7571038"/>
                  <a:gd name="connsiteX11660" fmla="*/ 4059652 w 4381952"/>
                  <a:gd name="connsiteY11660" fmla="*/ 2630749 h 7571038"/>
                  <a:gd name="connsiteX11661" fmla="*/ 4065075 w 4381952"/>
                  <a:gd name="connsiteY11661" fmla="*/ 5239912 h 7571038"/>
                  <a:gd name="connsiteX11662" fmla="*/ 4055706 w 4381952"/>
                  <a:gd name="connsiteY11662" fmla="*/ 5230541 h 7571038"/>
                  <a:gd name="connsiteX11663" fmla="*/ 4046335 w 4381952"/>
                  <a:gd name="connsiteY11663" fmla="*/ 5239912 h 7571038"/>
                  <a:gd name="connsiteX11664" fmla="*/ 4055706 w 4381952"/>
                  <a:gd name="connsiteY11664" fmla="*/ 5249281 h 7571038"/>
                  <a:gd name="connsiteX11665" fmla="*/ 4065075 w 4381952"/>
                  <a:gd name="connsiteY11665" fmla="*/ 5239912 h 7571038"/>
                  <a:gd name="connsiteX11666" fmla="*/ 4066065 w 4381952"/>
                  <a:gd name="connsiteY11666" fmla="*/ 6486845 h 7571038"/>
                  <a:gd name="connsiteX11667" fmla="*/ 4061870 w 4381952"/>
                  <a:gd name="connsiteY11667" fmla="*/ 6482654 h 7571038"/>
                  <a:gd name="connsiteX11668" fmla="*/ 4057679 w 4381952"/>
                  <a:gd name="connsiteY11668" fmla="*/ 6486845 h 7571038"/>
                  <a:gd name="connsiteX11669" fmla="*/ 4061870 w 4381952"/>
                  <a:gd name="connsiteY11669" fmla="*/ 6491039 h 7571038"/>
                  <a:gd name="connsiteX11670" fmla="*/ 4066065 w 4381952"/>
                  <a:gd name="connsiteY11670" fmla="*/ 6486845 h 7571038"/>
                  <a:gd name="connsiteX11671" fmla="*/ 4066310 w 4381952"/>
                  <a:gd name="connsiteY11671" fmla="*/ 69884 h 7571038"/>
                  <a:gd name="connsiteX11672" fmla="*/ 4023404 w 4381952"/>
                  <a:gd name="connsiteY11672" fmla="*/ 26983 h 7571038"/>
                  <a:gd name="connsiteX11673" fmla="*/ 3980501 w 4381952"/>
                  <a:gd name="connsiteY11673" fmla="*/ 69884 h 7571038"/>
                  <a:gd name="connsiteX11674" fmla="*/ 4023404 w 4381952"/>
                  <a:gd name="connsiteY11674" fmla="*/ 112787 h 7571038"/>
                  <a:gd name="connsiteX11675" fmla="*/ 4066310 w 4381952"/>
                  <a:gd name="connsiteY11675" fmla="*/ 69884 h 7571038"/>
                  <a:gd name="connsiteX11676" fmla="*/ 4068774 w 4381952"/>
                  <a:gd name="connsiteY11676" fmla="*/ 2901732 h 7571038"/>
                  <a:gd name="connsiteX11677" fmla="*/ 4017487 w 4381952"/>
                  <a:gd name="connsiteY11677" fmla="*/ 2850443 h 7571038"/>
                  <a:gd name="connsiteX11678" fmla="*/ 3966198 w 4381952"/>
                  <a:gd name="connsiteY11678" fmla="*/ 2901732 h 7571038"/>
                  <a:gd name="connsiteX11679" fmla="*/ 4017487 w 4381952"/>
                  <a:gd name="connsiteY11679" fmla="*/ 2953021 h 7571038"/>
                  <a:gd name="connsiteX11680" fmla="*/ 4068774 w 4381952"/>
                  <a:gd name="connsiteY11680" fmla="*/ 2901732 h 7571038"/>
                  <a:gd name="connsiteX11681" fmla="*/ 4070007 w 4381952"/>
                  <a:gd name="connsiteY11681" fmla="*/ 2039229 h 7571038"/>
                  <a:gd name="connsiteX11682" fmla="*/ 4047814 w 4381952"/>
                  <a:gd name="connsiteY11682" fmla="*/ 2017031 h 7571038"/>
                  <a:gd name="connsiteX11683" fmla="*/ 4025623 w 4381952"/>
                  <a:gd name="connsiteY11683" fmla="*/ 2039229 h 7571038"/>
                  <a:gd name="connsiteX11684" fmla="*/ 4047814 w 4381952"/>
                  <a:gd name="connsiteY11684" fmla="*/ 2061425 h 7571038"/>
                  <a:gd name="connsiteX11685" fmla="*/ 4070007 w 4381952"/>
                  <a:gd name="connsiteY11685" fmla="*/ 2039229 h 7571038"/>
                  <a:gd name="connsiteX11686" fmla="*/ 4071979 w 4381952"/>
                  <a:gd name="connsiteY11686" fmla="*/ 4316239 h 7571038"/>
                  <a:gd name="connsiteX11687" fmla="*/ 4032528 w 4381952"/>
                  <a:gd name="connsiteY11687" fmla="*/ 4276540 h 7571038"/>
                  <a:gd name="connsiteX11688" fmla="*/ 3992829 w 4381952"/>
                  <a:gd name="connsiteY11688" fmla="*/ 4316239 h 7571038"/>
                  <a:gd name="connsiteX11689" fmla="*/ 4032528 w 4381952"/>
                  <a:gd name="connsiteY11689" fmla="*/ 4355690 h 7571038"/>
                  <a:gd name="connsiteX11690" fmla="*/ 4071979 w 4381952"/>
                  <a:gd name="connsiteY11690" fmla="*/ 4316239 h 7571038"/>
                  <a:gd name="connsiteX11691" fmla="*/ 4072474 w 4381952"/>
                  <a:gd name="connsiteY11691" fmla="*/ 1530889 h 7571038"/>
                  <a:gd name="connsiteX11692" fmla="*/ 4024882 w 4381952"/>
                  <a:gd name="connsiteY11692" fmla="*/ 1483295 h 7571038"/>
                  <a:gd name="connsiteX11693" fmla="*/ 3977294 w 4381952"/>
                  <a:gd name="connsiteY11693" fmla="*/ 1530889 h 7571038"/>
                  <a:gd name="connsiteX11694" fmla="*/ 4024882 w 4381952"/>
                  <a:gd name="connsiteY11694" fmla="*/ 1578475 h 7571038"/>
                  <a:gd name="connsiteX11695" fmla="*/ 4072474 w 4381952"/>
                  <a:gd name="connsiteY11695" fmla="*/ 1530889 h 7571038"/>
                  <a:gd name="connsiteX11696" fmla="*/ 4072719 w 4381952"/>
                  <a:gd name="connsiteY11696" fmla="*/ 6610873 h 7571038"/>
                  <a:gd name="connsiteX11697" fmla="*/ 4067050 w 4381952"/>
                  <a:gd name="connsiteY11697" fmla="*/ 6605201 h 7571038"/>
                  <a:gd name="connsiteX11698" fmla="*/ 4061378 w 4381952"/>
                  <a:gd name="connsiteY11698" fmla="*/ 6610873 h 7571038"/>
                  <a:gd name="connsiteX11699" fmla="*/ 4067050 w 4381952"/>
                  <a:gd name="connsiteY11699" fmla="*/ 6616542 h 7571038"/>
                  <a:gd name="connsiteX11700" fmla="*/ 4072719 w 4381952"/>
                  <a:gd name="connsiteY11700" fmla="*/ 6610873 h 7571038"/>
                  <a:gd name="connsiteX11701" fmla="*/ 4072968 w 4381952"/>
                  <a:gd name="connsiteY11701" fmla="*/ 5379719 h 7571038"/>
                  <a:gd name="connsiteX11702" fmla="*/ 4070747 w 4381952"/>
                  <a:gd name="connsiteY11702" fmla="*/ 5377500 h 7571038"/>
                  <a:gd name="connsiteX11703" fmla="*/ 4068528 w 4381952"/>
                  <a:gd name="connsiteY11703" fmla="*/ 5379719 h 7571038"/>
                  <a:gd name="connsiteX11704" fmla="*/ 4070747 w 4381952"/>
                  <a:gd name="connsiteY11704" fmla="*/ 5381937 h 7571038"/>
                  <a:gd name="connsiteX11705" fmla="*/ 4072968 w 4381952"/>
                  <a:gd name="connsiteY11705" fmla="*/ 5379719 h 7571038"/>
                  <a:gd name="connsiteX11706" fmla="*/ 4074200 w 4381952"/>
                  <a:gd name="connsiteY11706" fmla="*/ 1395533 h 7571038"/>
                  <a:gd name="connsiteX11707" fmla="*/ 4037459 w 4381952"/>
                  <a:gd name="connsiteY11707" fmla="*/ 1358791 h 7571038"/>
                  <a:gd name="connsiteX11708" fmla="*/ 4000719 w 4381952"/>
                  <a:gd name="connsiteY11708" fmla="*/ 1395533 h 7571038"/>
                  <a:gd name="connsiteX11709" fmla="*/ 4037459 w 4381952"/>
                  <a:gd name="connsiteY11709" fmla="*/ 1432270 h 7571038"/>
                  <a:gd name="connsiteX11710" fmla="*/ 4074200 w 4381952"/>
                  <a:gd name="connsiteY11710" fmla="*/ 1395533 h 7571038"/>
                  <a:gd name="connsiteX11711" fmla="*/ 4076665 w 4381952"/>
                  <a:gd name="connsiteY11711" fmla="*/ 970989 h 7571038"/>
                  <a:gd name="connsiteX11712" fmla="*/ 4029813 w 4381952"/>
                  <a:gd name="connsiteY11712" fmla="*/ 924390 h 7571038"/>
                  <a:gd name="connsiteX11713" fmla="*/ 3983212 w 4381952"/>
                  <a:gd name="connsiteY11713" fmla="*/ 970989 h 7571038"/>
                  <a:gd name="connsiteX11714" fmla="*/ 4029813 w 4381952"/>
                  <a:gd name="connsiteY11714" fmla="*/ 1017846 h 7571038"/>
                  <a:gd name="connsiteX11715" fmla="*/ 4076665 w 4381952"/>
                  <a:gd name="connsiteY11715" fmla="*/ 970989 h 7571038"/>
                  <a:gd name="connsiteX11716" fmla="*/ 4080118 w 4381952"/>
                  <a:gd name="connsiteY11716" fmla="*/ 4711746 h 7571038"/>
                  <a:gd name="connsiteX11717" fmla="*/ 4060637 w 4381952"/>
                  <a:gd name="connsiteY11717" fmla="*/ 4692265 h 7571038"/>
                  <a:gd name="connsiteX11718" fmla="*/ 4041157 w 4381952"/>
                  <a:gd name="connsiteY11718" fmla="*/ 4711746 h 7571038"/>
                  <a:gd name="connsiteX11719" fmla="*/ 4060637 w 4381952"/>
                  <a:gd name="connsiteY11719" fmla="*/ 4731225 h 7571038"/>
                  <a:gd name="connsiteX11720" fmla="*/ 4080118 w 4381952"/>
                  <a:gd name="connsiteY11720" fmla="*/ 4711746 h 7571038"/>
                  <a:gd name="connsiteX11721" fmla="*/ 4080118 w 4381952"/>
                  <a:gd name="connsiteY11721" fmla="*/ 6733911 h 7571038"/>
                  <a:gd name="connsiteX11722" fmla="*/ 4071733 w 4381952"/>
                  <a:gd name="connsiteY11722" fmla="*/ 6725530 h 7571038"/>
                  <a:gd name="connsiteX11723" fmla="*/ 4063350 w 4381952"/>
                  <a:gd name="connsiteY11723" fmla="*/ 6733911 h 7571038"/>
                  <a:gd name="connsiteX11724" fmla="*/ 4071733 w 4381952"/>
                  <a:gd name="connsiteY11724" fmla="*/ 6742297 h 7571038"/>
                  <a:gd name="connsiteX11725" fmla="*/ 4080118 w 4381952"/>
                  <a:gd name="connsiteY11725" fmla="*/ 6733911 h 7571038"/>
                  <a:gd name="connsiteX11726" fmla="*/ 4080856 w 4381952"/>
                  <a:gd name="connsiteY11726" fmla="*/ 3819142 h 7571038"/>
                  <a:gd name="connsiteX11727" fmla="*/ 4075187 w 4381952"/>
                  <a:gd name="connsiteY11727" fmla="*/ 3813469 h 7571038"/>
                  <a:gd name="connsiteX11728" fmla="*/ 4069515 w 4381952"/>
                  <a:gd name="connsiteY11728" fmla="*/ 3819142 h 7571038"/>
                  <a:gd name="connsiteX11729" fmla="*/ 4075187 w 4381952"/>
                  <a:gd name="connsiteY11729" fmla="*/ 3824814 h 7571038"/>
                  <a:gd name="connsiteX11730" fmla="*/ 4080856 w 4381952"/>
                  <a:gd name="connsiteY11730" fmla="*/ 3819142 h 7571038"/>
                  <a:gd name="connsiteX11731" fmla="*/ 4083322 w 4381952"/>
                  <a:gd name="connsiteY11731" fmla="*/ 842552 h 7571038"/>
                  <a:gd name="connsiteX11732" fmla="*/ 4036966 w 4381952"/>
                  <a:gd name="connsiteY11732" fmla="*/ 796192 h 7571038"/>
                  <a:gd name="connsiteX11733" fmla="*/ 3990610 w 4381952"/>
                  <a:gd name="connsiteY11733" fmla="*/ 842552 h 7571038"/>
                  <a:gd name="connsiteX11734" fmla="*/ 4036966 w 4381952"/>
                  <a:gd name="connsiteY11734" fmla="*/ 888899 h 7571038"/>
                  <a:gd name="connsiteX11735" fmla="*/ 4083322 w 4381952"/>
                  <a:gd name="connsiteY11735" fmla="*/ 842552 h 7571038"/>
                  <a:gd name="connsiteX11736" fmla="*/ 4085787 w 4381952"/>
                  <a:gd name="connsiteY11736" fmla="*/ 5516569 h 7571038"/>
                  <a:gd name="connsiteX11737" fmla="*/ 4085049 w 4381952"/>
                  <a:gd name="connsiteY11737" fmla="*/ 5515828 h 7571038"/>
                  <a:gd name="connsiteX11738" fmla="*/ 4084309 w 4381952"/>
                  <a:gd name="connsiteY11738" fmla="*/ 5516569 h 7571038"/>
                  <a:gd name="connsiteX11739" fmla="*/ 4085049 w 4381952"/>
                  <a:gd name="connsiteY11739" fmla="*/ 5517306 h 7571038"/>
                  <a:gd name="connsiteX11740" fmla="*/ 4085787 w 4381952"/>
                  <a:gd name="connsiteY11740" fmla="*/ 5516569 h 7571038"/>
                  <a:gd name="connsiteX11741" fmla="*/ 4089732 w 4381952"/>
                  <a:gd name="connsiteY11741" fmla="*/ 715335 h 7571038"/>
                  <a:gd name="connsiteX11742" fmla="*/ 4043625 w 4381952"/>
                  <a:gd name="connsiteY11742" fmla="*/ 669226 h 7571038"/>
                  <a:gd name="connsiteX11743" fmla="*/ 3997515 w 4381952"/>
                  <a:gd name="connsiteY11743" fmla="*/ 715335 h 7571038"/>
                  <a:gd name="connsiteX11744" fmla="*/ 4043625 w 4381952"/>
                  <a:gd name="connsiteY11744" fmla="*/ 761443 h 7571038"/>
                  <a:gd name="connsiteX11745" fmla="*/ 4089732 w 4381952"/>
                  <a:gd name="connsiteY11745" fmla="*/ 715335 h 7571038"/>
                  <a:gd name="connsiteX11746" fmla="*/ 4089732 w 4381952"/>
                  <a:gd name="connsiteY11746" fmla="*/ 1261408 h 7571038"/>
                  <a:gd name="connsiteX11747" fmla="*/ 4048308 w 4381952"/>
                  <a:gd name="connsiteY11747" fmla="*/ 1219995 h 7571038"/>
                  <a:gd name="connsiteX11748" fmla="*/ 4006883 w 4381952"/>
                  <a:gd name="connsiteY11748" fmla="*/ 1261408 h 7571038"/>
                  <a:gd name="connsiteX11749" fmla="*/ 4048308 w 4381952"/>
                  <a:gd name="connsiteY11749" fmla="*/ 1302839 h 7571038"/>
                  <a:gd name="connsiteX11750" fmla="*/ 4089732 w 4381952"/>
                  <a:gd name="connsiteY11750" fmla="*/ 1261408 h 7571038"/>
                  <a:gd name="connsiteX11751" fmla="*/ 4090965 w 4381952"/>
                  <a:gd name="connsiteY11751" fmla="*/ 4861418 h 7571038"/>
                  <a:gd name="connsiteX11752" fmla="*/ 4088747 w 4381952"/>
                  <a:gd name="connsiteY11752" fmla="*/ 4859199 h 7571038"/>
                  <a:gd name="connsiteX11753" fmla="*/ 4086528 w 4381952"/>
                  <a:gd name="connsiteY11753" fmla="*/ 4861418 h 7571038"/>
                  <a:gd name="connsiteX11754" fmla="*/ 4088747 w 4381952"/>
                  <a:gd name="connsiteY11754" fmla="*/ 4863636 h 7571038"/>
                  <a:gd name="connsiteX11755" fmla="*/ 4090965 w 4381952"/>
                  <a:gd name="connsiteY11755" fmla="*/ 4861418 h 7571038"/>
                  <a:gd name="connsiteX11756" fmla="*/ 4092446 w 4381952"/>
                  <a:gd name="connsiteY11756" fmla="*/ 6974078 h 7571038"/>
                  <a:gd name="connsiteX11757" fmla="*/ 4087515 w 4381952"/>
                  <a:gd name="connsiteY11757" fmla="*/ 6969146 h 7571038"/>
                  <a:gd name="connsiteX11758" fmla="*/ 4082582 w 4381952"/>
                  <a:gd name="connsiteY11758" fmla="*/ 6974078 h 7571038"/>
                  <a:gd name="connsiteX11759" fmla="*/ 4087515 w 4381952"/>
                  <a:gd name="connsiteY11759" fmla="*/ 6979009 h 7571038"/>
                  <a:gd name="connsiteX11760" fmla="*/ 4092446 w 4381952"/>
                  <a:gd name="connsiteY11760" fmla="*/ 6974078 h 7571038"/>
                  <a:gd name="connsiteX11761" fmla="*/ 4092941 w 4381952"/>
                  <a:gd name="connsiteY11761" fmla="*/ 2284333 h 7571038"/>
                  <a:gd name="connsiteX11762" fmla="*/ 4087022 w 4381952"/>
                  <a:gd name="connsiteY11762" fmla="*/ 2278411 h 7571038"/>
                  <a:gd name="connsiteX11763" fmla="*/ 4081105 w 4381952"/>
                  <a:gd name="connsiteY11763" fmla="*/ 2284333 h 7571038"/>
                  <a:gd name="connsiteX11764" fmla="*/ 4087022 w 4381952"/>
                  <a:gd name="connsiteY11764" fmla="*/ 2290248 h 7571038"/>
                  <a:gd name="connsiteX11765" fmla="*/ 4092941 w 4381952"/>
                  <a:gd name="connsiteY11765" fmla="*/ 2284333 h 7571038"/>
                  <a:gd name="connsiteX11766" fmla="*/ 4094172 w 4381952"/>
                  <a:gd name="connsiteY11766" fmla="*/ 588814 h 7571038"/>
                  <a:gd name="connsiteX11767" fmla="*/ 4048803 w 4381952"/>
                  <a:gd name="connsiteY11767" fmla="*/ 543446 h 7571038"/>
                  <a:gd name="connsiteX11768" fmla="*/ 4003432 w 4381952"/>
                  <a:gd name="connsiteY11768" fmla="*/ 588814 h 7571038"/>
                  <a:gd name="connsiteX11769" fmla="*/ 4048803 w 4381952"/>
                  <a:gd name="connsiteY11769" fmla="*/ 634183 h 7571038"/>
                  <a:gd name="connsiteX11770" fmla="*/ 4094172 w 4381952"/>
                  <a:gd name="connsiteY11770" fmla="*/ 588814 h 7571038"/>
                  <a:gd name="connsiteX11771" fmla="*/ 4094172 w 4381952"/>
                  <a:gd name="connsiteY11771" fmla="*/ 6852022 h 7571038"/>
                  <a:gd name="connsiteX11772" fmla="*/ 4084063 w 4381952"/>
                  <a:gd name="connsiteY11772" fmla="*/ 6841914 h 7571038"/>
                  <a:gd name="connsiteX11773" fmla="*/ 4074200 w 4381952"/>
                  <a:gd name="connsiteY11773" fmla="*/ 6852022 h 7571038"/>
                  <a:gd name="connsiteX11774" fmla="*/ 4084063 w 4381952"/>
                  <a:gd name="connsiteY11774" fmla="*/ 6861886 h 7571038"/>
                  <a:gd name="connsiteX11775" fmla="*/ 4094172 w 4381952"/>
                  <a:gd name="connsiteY11775" fmla="*/ 6852022 h 7571038"/>
                  <a:gd name="connsiteX11776" fmla="*/ 4095401 w 4381952"/>
                  <a:gd name="connsiteY11776" fmla="*/ 3013433 h 7571038"/>
                  <a:gd name="connsiteX11777" fmla="*/ 4048800 w 4381952"/>
                  <a:gd name="connsiteY11777" fmla="*/ 2966830 h 7571038"/>
                  <a:gd name="connsiteX11778" fmla="*/ 4002197 w 4381952"/>
                  <a:gd name="connsiteY11778" fmla="*/ 3013433 h 7571038"/>
                  <a:gd name="connsiteX11779" fmla="*/ 4048800 w 4381952"/>
                  <a:gd name="connsiteY11779" fmla="*/ 3060037 h 7571038"/>
                  <a:gd name="connsiteX11780" fmla="*/ 4095401 w 4381952"/>
                  <a:gd name="connsiteY11780" fmla="*/ 3013433 h 7571038"/>
                  <a:gd name="connsiteX11781" fmla="*/ 4097872 w 4381952"/>
                  <a:gd name="connsiteY11781" fmla="*/ 5651199 h 7571038"/>
                  <a:gd name="connsiteX11782" fmla="*/ 4097623 w 4381952"/>
                  <a:gd name="connsiteY11782" fmla="*/ 5650952 h 7571038"/>
                  <a:gd name="connsiteX11783" fmla="*/ 4097377 w 4381952"/>
                  <a:gd name="connsiteY11783" fmla="*/ 5651199 h 7571038"/>
                  <a:gd name="connsiteX11784" fmla="*/ 4097623 w 4381952"/>
                  <a:gd name="connsiteY11784" fmla="*/ 5651447 h 7571038"/>
                  <a:gd name="connsiteX11785" fmla="*/ 4097872 w 4381952"/>
                  <a:gd name="connsiteY11785" fmla="*/ 5651199 h 7571038"/>
                  <a:gd name="connsiteX11786" fmla="*/ 4098115 w 4381952"/>
                  <a:gd name="connsiteY11786" fmla="*/ 7095394 h 7571038"/>
                  <a:gd name="connsiteX11787" fmla="*/ 4090965 w 4381952"/>
                  <a:gd name="connsiteY11787" fmla="*/ 7088244 h 7571038"/>
                  <a:gd name="connsiteX11788" fmla="*/ 4083815 w 4381952"/>
                  <a:gd name="connsiteY11788" fmla="*/ 7095394 h 7571038"/>
                  <a:gd name="connsiteX11789" fmla="*/ 4090965 w 4381952"/>
                  <a:gd name="connsiteY11789" fmla="*/ 7102544 h 7571038"/>
                  <a:gd name="connsiteX11790" fmla="*/ 4098115 w 4381952"/>
                  <a:gd name="connsiteY11790" fmla="*/ 7095394 h 7571038"/>
                  <a:gd name="connsiteX11791" fmla="*/ 4099104 w 4381952"/>
                  <a:gd name="connsiteY11791" fmla="*/ 463578 h 7571038"/>
                  <a:gd name="connsiteX11792" fmla="*/ 4054226 w 4381952"/>
                  <a:gd name="connsiteY11792" fmla="*/ 418704 h 7571038"/>
                  <a:gd name="connsiteX11793" fmla="*/ 4009350 w 4381952"/>
                  <a:gd name="connsiteY11793" fmla="*/ 463578 h 7571038"/>
                  <a:gd name="connsiteX11794" fmla="*/ 4054226 w 4381952"/>
                  <a:gd name="connsiteY11794" fmla="*/ 508454 h 7571038"/>
                  <a:gd name="connsiteX11795" fmla="*/ 4099104 w 4381952"/>
                  <a:gd name="connsiteY11795" fmla="*/ 463578 h 7571038"/>
                  <a:gd name="connsiteX11796" fmla="*/ 4101814 w 4381952"/>
                  <a:gd name="connsiteY11796" fmla="*/ 3704239 h 7571038"/>
                  <a:gd name="connsiteX11797" fmla="*/ 4092200 w 4381952"/>
                  <a:gd name="connsiteY11797" fmla="*/ 3694621 h 7571038"/>
                  <a:gd name="connsiteX11798" fmla="*/ 4082582 w 4381952"/>
                  <a:gd name="connsiteY11798" fmla="*/ 3704239 h 7571038"/>
                  <a:gd name="connsiteX11799" fmla="*/ 4092200 w 4381952"/>
                  <a:gd name="connsiteY11799" fmla="*/ 3713853 h 7571038"/>
                  <a:gd name="connsiteX11800" fmla="*/ 4101814 w 4381952"/>
                  <a:gd name="connsiteY11800" fmla="*/ 3704239 h 7571038"/>
                  <a:gd name="connsiteX11801" fmla="*/ 4102803 w 4381952"/>
                  <a:gd name="connsiteY11801" fmla="*/ 339331 h 7571038"/>
                  <a:gd name="connsiteX11802" fmla="*/ 4058419 w 4381952"/>
                  <a:gd name="connsiteY11802" fmla="*/ 294949 h 7571038"/>
                  <a:gd name="connsiteX11803" fmla="*/ 4014035 w 4381952"/>
                  <a:gd name="connsiteY11803" fmla="*/ 339331 h 7571038"/>
                  <a:gd name="connsiteX11804" fmla="*/ 4058419 w 4381952"/>
                  <a:gd name="connsiteY11804" fmla="*/ 383712 h 7571038"/>
                  <a:gd name="connsiteX11805" fmla="*/ 4102803 w 4381952"/>
                  <a:gd name="connsiteY11805" fmla="*/ 339331 h 7571038"/>
                  <a:gd name="connsiteX11806" fmla="*/ 4104033 w 4381952"/>
                  <a:gd name="connsiteY11806" fmla="*/ 1129521 h 7571038"/>
                  <a:gd name="connsiteX11807" fmla="*/ 4058417 w 4381952"/>
                  <a:gd name="connsiteY11807" fmla="*/ 1083904 h 7571038"/>
                  <a:gd name="connsiteX11808" fmla="*/ 4012801 w 4381952"/>
                  <a:gd name="connsiteY11808" fmla="*/ 1129521 h 7571038"/>
                  <a:gd name="connsiteX11809" fmla="*/ 4058417 w 4381952"/>
                  <a:gd name="connsiteY11809" fmla="*/ 1175134 h 7571038"/>
                  <a:gd name="connsiteX11810" fmla="*/ 4104033 w 4381952"/>
                  <a:gd name="connsiteY11810" fmla="*/ 1129521 h 7571038"/>
                  <a:gd name="connsiteX11811" fmla="*/ 4106500 w 4381952"/>
                  <a:gd name="connsiteY11811" fmla="*/ 216072 h 7571038"/>
                  <a:gd name="connsiteX11812" fmla="*/ 4062608 w 4381952"/>
                  <a:gd name="connsiteY11812" fmla="*/ 172184 h 7571038"/>
                  <a:gd name="connsiteX11813" fmla="*/ 4018719 w 4381952"/>
                  <a:gd name="connsiteY11813" fmla="*/ 216072 h 7571038"/>
                  <a:gd name="connsiteX11814" fmla="*/ 4062608 w 4381952"/>
                  <a:gd name="connsiteY11814" fmla="*/ 259961 h 7571038"/>
                  <a:gd name="connsiteX11815" fmla="*/ 4106500 w 4381952"/>
                  <a:gd name="connsiteY11815" fmla="*/ 216072 h 7571038"/>
                  <a:gd name="connsiteX11816" fmla="*/ 4110199 w 4381952"/>
                  <a:gd name="connsiteY11816" fmla="*/ 5784348 h 7571038"/>
                  <a:gd name="connsiteX11817" fmla="*/ 4108718 w 4381952"/>
                  <a:gd name="connsiteY11817" fmla="*/ 5783116 h 7571038"/>
                  <a:gd name="connsiteX11818" fmla="*/ 4107486 w 4381952"/>
                  <a:gd name="connsiteY11818" fmla="*/ 5784348 h 7571038"/>
                  <a:gd name="connsiteX11819" fmla="*/ 4108718 w 4381952"/>
                  <a:gd name="connsiteY11819" fmla="*/ 5785829 h 7571038"/>
                  <a:gd name="connsiteX11820" fmla="*/ 4110199 w 4381952"/>
                  <a:gd name="connsiteY11820" fmla="*/ 5784348 h 7571038"/>
                  <a:gd name="connsiteX11821" fmla="*/ 4110444 w 4381952"/>
                  <a:gd name="connsiteY11821" fmla="*/ 4474047 h 7571038"/>
                  <a:gd name="connsiteX11822" fmla="*/ 4075678 w 4381952"/>
                  <a:gd name="connsiteY11822" fmla="*/ 4439280 h 7571038"/>
                  <a:gd name="connsiteX11823" fmla="*/ 4040912 w 4381952"/>
                  <a:gd name="connsiteY11823" fmla="*/ 4474047 h 7571038"/>
                  <a:gd name="connsiteX11824" fmla="*/ 4075678 w 4381952"/>
                  <a:gd name="connsiteY11824" fmla="*/ 4508813 h 7571038"/>
                  <a:gd name="connsiteX11825" fmla="*/ 4110444 w 4381952"/>
                  <a:gd name="connsiteY11825" fmla="*/ 4474047 h 7571038"/>
                  <a:gd name="connsiteX11826" fmla="*/ 4110691 w 4381952"/>
                  <a:gd name="connsiteY11826" fmla="*/ 2737273 h 7571038"/>
                  <a:gd name="connsiteX11827" fmla="*/ 4074198 w 4381952"/>
                  <a:gd name="connsiteY11827" fmla="*/ 2700779 h 7571038"/>
                  <a:gd name="connsiteX11828" fmla="*/ 4037704 w 4381952"/>
                  <a:gd name="connsiteY11828" fmla="*/ 2737273 h 7571038"/>
                  <a:gd name="connsiteX11829" fmla="*/ 4074198 w 4381952"/>
                  <a:gd name="connsiteY11829" fmla="*/ 2773767 h 7571038"/>
                  <a:gd name="connsiteX11830" fmla="*/ 4110691 w 4381952"/>
                  <a:gd name="connsiteY11830" fmla="*/ 2737273 h 7571038"/>
                  <a:gd name="connsiteX11831" fmla="*/ 4112418 w 4381952"/>
                  <a:gd name="connsiteY11831" fmla="*/ 1894316 h 7571038"/>
                  <a:gd name="connsiteX11832" fmla="*/ 4070255 w 4381952"/>
                  <a:gd name="connsiteY11832" fmla="*/ 1852175 h 7571038"/>
                  <a:gd name="connsiteX11833" fmla="*/ 4028090 w 4381952"/>
                  <a:gd name="connsiteY11833" fmla="*/ 1894316 h 7571038"/>
                  <a:gd name="connsiteX11834" fmla="*/ 4070255 w 4381952"/>
                  <a:gd name="connsiteY11834" fmla="*/ 1936457 h 7571038"/>
                  <a:gd name="connsiteX11835" fmla="*/ 4112418 w 4381952"/>
                  <a:gd name="connsiteY11835" fmla="*/ 1894316 h 7571038"/>
                  <a:gd name="connsiteX11836" fmla="*/ 4114145 w 4381952"/>
                  <a:gd name="connsiteY11836" fmla="*/ 3126615 h 7571038"/>
                  <a:gd name="connsiteX11837" fmla="*/ 4073458 w 4381952"/>
                  <a:gd name="connsiteY11837" fmla="*/ 3085930 h 7571038"/>
                  <a:gd name="connsiteX11838" fmla="*/ 4032773 w 4381952"/>
                  <a:gd name="connsiteY11838" fmla="*/ 3126615 h 7571038"/>
                  <a:gd name="connsiteX11839" fmla="*/ 4073458 w 4381952"/>
                  <a:gd name="connsiteY11839" fmla="*/ 3167549 h 7571038"/>
                  <a:gd name="connsiteX11840" fmla="*/ 4114145 w 4381952"/>
                  <a:gd name="connsiteY11840" fmla="*/ 3126615 h 7571038"/>
                  <a:gd name="connsiteX11841" fmla="*/ 4115625 w 4381952"/>
                  <a:gd name="connsiteY11841" fmla="*/ 1752062 h 7571038"/>
                  <a:gd name="connsiteX11842" fmla="*/ 4089732 w 4381952"/>
                  <a:gd name="connsiteY11842" fmla="*/ 1726143 h 7571038"/>
                  <a:gd name="connsiteX11843" fmla="*/ 4063843 w 4381952"/>
                  <a:gd name="connsiteY11843" fmla="*/ 1752062 h 7571038"/>
                  <a:gd name="connsiteX11844" fmla="*/ 4089732 w 4381952"/>
                  <a:gd name="connsiteY11844" fmla="*/ 1777977 h 7571038"/>
                  <a:gd name="connsiteX11845" fmla="*/ 4115625 w 4381952"/>
                  <a:gd name="connsiteY11845" fmla="*/ 1752062 h 7571038"/>
                  <a:gd name="connsiteX11846" fmla="*/ 4116857 w 4381952"/>
                  <a:gd name="connsiteY11846" fmla="*/ 3588841 h 7571038"/>
                  <a:gd name="connsiteX11847" fmla="*/ 4102309 w 4381952"/>
                  <a:gd name="connsiteY11847" fmla="*/ 3574292 h 7571038"/>
                  <a:gd name="connsiteX11848" fmla="*/ 4087760 w 4381952"/>
                  <a:gd name="connsiteY11848" fmla="*/ 3588841 h 7571038"/>
                  <a:gd name="connsiteX11849" fmla="*/ 4102309 w 4381952"/>
                  <a:gd name="connsiteY11849" fmla="*/ 3603386 h 7571038"/>
                  <a:gd name="connsiteX11850" fmla="*/ 4116857 w 4381952"/>
                  <a:gd name="connsiteY11850" fmla="*/ 3588841 h 7571038"/>
                  <a:gd name="connsiteX11851" fmla="*/ 4119323 w 4381952"/>
                  <a:gd name="connsiteY11851" fmla="*/ 2472214 h 7571038"/>
                  <a:gd name="connsiteX11852" fmla="*/ 4070994 w 4381952"/>
                  <a:gd name="connsiteY11852" fmla="*/ 2423877 h 7571038"/>
                  <a:gd name="connsiteX11853" fmla="*/ 4022664 w 4381952"/>
                  <a:gd name="connsiteY11853" fmla="*/ 2472214 h 7571038"/>
                  <a:gd name="connsiteX11854" fmla="*/ 4070994 w 4381952"/>
                  <a:gd name="connsiteY11854" fmla="*/ 2520540 h 7571038"/>
                  <a:gd name="connsiteX11855" fmla="*/ 4119323 w 4381952"/>
                  <a:gd name="connsiteY11855" fmla="*/ 2472214 h 7571038"/>
                  <a:gd name="connsiteX11856" fmla="*/ 4125240 w 4381952"/>
                  <a:gd name="connsiteY11856" fmla="*/ 3241525 h 7571038"/>
                  <a:gd name="connsiteX11857" fmla="*/ 4090968 w 4381952"/>
                  <a:gd name="connsiteY11857" fmla="*/ 3207248 h 7571038"/>
                  <a:gd name="connsiteX11858" fmla="*/ 4056693 w 4381952"/>
                  <a:gd name="connsiteY11858" fmla="*/ 3241525 h 7571038"/>
                  <a:gd name="connsiteX11859" fmla="*/ 4090968 w 4381952"/>
                  <a:gd name="connsiteY11859" fmla="*/ 3275793 h 7571038"/>
                  <a:gd name="connsiteX11860" fmla="*/ 4125240 w 4381952"/>
                  <a:gd name="connsiteY11860" fmla="*/ 3241525 h 7571038"/>
                  <a:gd name="connsiteX11861" fmla="*/ 4125981 w 4381952"/>
                  <a:gd name="connsiteY11861" fmla="*/ 4209469 h 7571038"/>
                  <a:gd name="connsiteX11862" fmla="*/ 4077403 w 4381952"/>
                  <a:gd name="connsiteY11862" fmla="*/ 4160894 h 7571038"/>
                  <a:gd name="connsiteX11863" fmla="*/ 4028828 w 4381952"/>
                  <a:gd name="connsiteY11863" fmla="*/ 4209469 h 7571038"/>
                  <a:gd name="connsiteX11864" fmla="*/ 4077403 w 4381952"/>
                  <a:gd name="connsiteY11864" fmla="*/ 4258047 h 7571038"/>
                  <a:gd name="connsiteX11865" fmla="*/ 4125981 w 4381952"/>
                  <a:gd name="connsiteY11865" fmla="*/ 4209469 h 7571038"/>
                  <a:gd name="connsiteX11866" fmla="*/ 4126471 w 4381952"/>
                  <a:gd name="connsiteY11866" fmla="*/ 3472703 h 7571038"/>
                  <a:gd name="connsiteX11867" fmla="*/ 4105513 w 4381952"/>
                  <a:gd name="connsiteY11867" fmla="*/ 3451846 h 7571038"/>
                  <a:gd name="connsiteX11868" fmla="*/ 4084555 w 4381952"/>
                  <a:gd name="connsiteY11868" fmla="*/ 3472703 h 7571038"/>
                  <a:gd name="connsiteX11869" fmla="*/ 4105513 w 4381952"/>
                  <a:gd name="connsiteY11869" fmla="*/ 3493661 h 7571038"/>
                  <a:gd name="connsiteX11870" fmla="*/ 4126471 w 4381952"/>
                  <a:gd name="connsiteY11870" fmla="*/ 3472703 h 7571038"/>
                  <a:gd name="connsiteX11871" fmla="*/ 4129431 w 4381952"/>
                  <a:gd name="connsiteY11871" fmla="*/ 5009115 h 7571038"/>
                  <a:gd name="connsiteX11872" fmla="*/ 4112418 w 4381952"/>
                  <a:gd name="connsiteY11872" fmla="*/ 4992348 h 7571038"/>
                  <a:gd name="connsiteX11873" fmla="*/ 4095650 w 4381952"/>
                  <a:gd name="connsiteY11873" fmla="*/ 5009115 h 7571038"/>
                  <a:gd name="connsiteX11874" fmla="*/ 4112418 w 4381952"/>
                  <a:gd name="connsiteY11874" fmla="*/ 5026128 h 7571038"/>
                  <a:gd name="connsiteX11875" fmla="*/ 4129431 w 4381952"/>
                  <a:gd name="connsiteY11875" fmla="*/ 5009115 h 7571038"/>
                  <a:gd name="connsiteX11876" fmla="*/ 4129434 w 4381952"/>
                  <a:gd name="connsiteY11876" fmla="*/ 3356919 h 7571038"/>
                  <a:gd name="connsiteX11877" fmla="*/ 4101816 w 4381952"/>
                  <a:gd name="connsiteY11877" fmla="*/ 3329301 h 7571038"/>
                  <a:gd name="connsiteX11878" fmla="*/ 4074200 w 4381952"/>
                  <a:gd name="connsiteY11878" fmla="*/ 3356919 h 7571038"/>
                  <a:gd name="connsiteX11879" fmla="*/ 4101816 w 4381952"/>
                  <a:gd name="connsiteY11879" fmla="*/ 3384525 h 7571038"/>
                  <a:gd name="connsiteX11880" fmla="*/ 4129434 w 4381952"/>
                  <a:gd name="connsiteY11880" fmla="*/ 3356919 h 7571038"/>
                  <a:gd name="connsiteX11881" fmla="*/ 4130663 w 4381952"/>
                  <a:gd name="connsiteY11881" fmla="*/ 5908377 h 7571038"/>
                  <a:gd name="connsiteX11882" fmla="*/ 4128938 w 4381952"/>
                  <a:gd name="connsiteY11882" fmla="*/ 5906404 h 7571038"/>
                  <a:gd name="connsiteX11883" fmla="*/ 4127212 w 4381952"/>
                  <a:gd name="connsiteY11883" fmla="*/ 5908377 h 7571038"/>
                  <a:gd name="connsiteX11884" fmla="*/ 4128938 w 4381952"/>
                  <a:gd name="connsiteY11884" fmla="*/ 5910103 h 7571038"/>
                  <a:gd name="connsiteX11885" fmla="*/ 4130663 w 4381952"/>
                  <a:gd name="connsiteY11885" fmla="*/ 5908377 h 7571038"/>
                  <a:gd name="connsiteX11886" fmla="*/ 4133131 w 4381952"/>
                  <a:gd name="connsiteY11886" fmla="*/ 2133189 h 7571038"/>
                  <a:gd name="connsiteX11887" fmla="*/ 4116857 w 4381952"/>
                  <a:gd name="connsiteY11887" fmla="*/ 2116917 h 7571038"/>
                  <a:gd name="connsiteX11888" fmla="*/ 4100582 w 4381952"/>
                  <a:gd name="connsiteY11888" fmla="*/ 2133189 h 7571038"/>
                  <a:gd name="connsiteX11889" fmla="*/ 4116857 w 4381952"/>
                  <a:gd name="connsiteY11889" fmla="*/ 2149467 h 7571038"/>
                  <a:gd name="connsiteX11890" fmla="*/ 4133131 w 4381952"/>
                  <a:gd name="connsiteY11890" fmla="*/ 2133189 h 7571038"/>
                  <a:gd name="connsiteX11891" fmla="*/ 4139294 w 4381952"/>
                  <a:gd name="connsiteY11891" fmla="*/ 6039064 h 7571038"/>
                  <a:gd name="connsiteX11892" fmla="*/ 4137569 w 4381952"/>
                  <a:gd name="connsiteY11892" fmla="*/ 6037336 h 7571038"/>
                  <a:gd name="connsiteX11893" fmla="*/ 4135843 w 4381952"/>
                  <a:gd name="connsiteY11893" fmla="*/ 6039064 h 7571038"/>
                  <a:gd name="connsiteX11894" fmla="*/ 4137569 w 4381952"/>
                  <a:gd name="connsiteY11894" fmla="*/ 6040791 h 7571038"/>
                  <a:gd name="connsiteX11895" fmla="*/ 4139294 w 4381952"/>
                  <a:gd name="connsiteY11895" fmla="*/ 6039064 h 7571038"/>
                  <a:gd name="connsiteX11896" fmla="*/ 4145214 w 4381952"/>
                  <a:gd name="connsiteY11896" fmla="*/ 5153610 h 7571038"/>
                  <a:gd name="connsiteX11897" fmla="*/ 4133624 w 4381952"/>
                  <a:gd name="connsiteY11897" fmla="*/ 5142020 h 7571038"/>
                  <a:gd name="connsiteX11898" fmla="*/ 4122034 w 4381952"/>
                  <a:gd name="connsiteY11898" fmla="*/ 5153610 h 7571038"/>
                  <a:gd name="connsiteX11899" fmla="*/ 4133624 w 4381952"/>
                  <a:gd name="connsiteY11899" fmla="*/ 5165199 h 7571038"/>
                  <a:gd name="connsiteX11900" fmla="*/ 4145214 w 4381952"/>
                  <a:gd name="connsiteY11900" fmla="*/ 5153610 h 7571038"/>
                  <a:gd name="connsiteX11901" fmla="*/ 4147925 w 4381952"/>
                  <a:gd name="connsiteY11901" fmla="*/ 4612869 h 7571038"/>
                  <a:gd name="connsiteX11902" fmla="*/ 4122281 w 4381952"/>
                  <a:gd name="connsiteY11902" fmla="*/ 4587225 h 7571038"/>
                  <a:gd name="connsiteX11903" fmla="*/ 4096637 w 4381952"/>
                  <a:gd name="connsiteY11903" fmla="*/ 4612869 h 7571038"/>
                  <a:gd name="connsiteX11904" fmla="*/ 4122281 w 4381952"/>
                  <a:gd name="connsiteY11904" fmla="*/ 4638513 h 7571038"/>
                  <a:gd name="connsiteX11905" fmla="*/ 4147925 w 4381952"/>
                  <a:gd name="connsiteY11905" fmla="*/ 4612869 h 7571038"/>
                  <a:gd name="connsiteX11906" fmla="*/ 4147925 w 4381952"/>
                  <a:gd name="connsiteY11906" fmla="*/ 6168762 h 7571038"/>
                  <a:gd name="connsiteX11907" fmla="*/ 4144965 w 4381952"/>
                  <a:gd name="connsiteY11907" fmla="*/ 6165801 h 7571038"/>
                  <a:gd name="connsiteX11908" fmla="*/ 4142006 w 4381952"/>
                  <a:gd name="connsiteY11908" fmla="*/ 6168762 h 7571038"/>
                  <a:gd name="connsiteX11909" fmla="*/ 4144965 w 4381952"/>
                  <a:gd name="connsiteY11909" fmla="*/ 6171720 h 7571038"/>
                  <a:gd name="connsiteX11910" fmla="*/ 4147925 w 4381952"/>
                  <a:gd name="connsiteY11910" fmla="*/ 6168762 h 7571038"/>
                  <a:gd name="connsiteX11911" fmla="*/ 4149651 w 4381952"/>
                  <a:gd name="connsiteY11911" fmla="*/ 2384444 h 7571038"/>
                  <a:gd name="connsiteX11912" fmla="*/ 4146444 w 4381952"/>
                  <a:gd name="connsiteY11912" fmla="*/ 2381233 h 7571038"/>
                  <a:gd name="connsiteX11913" fmla="*/ 4143238 w 4381952"/>
                  <a:gd name="connsiteY11913" fmla="*/ 2384444 h 7571038"/>
                  <a:gd name="connsiteX11914" fmla="*/ 4146444 w 4381952"/>
                  <a:gd name="connsiteY11914" fmla="*/ 2387651 h 7571038"/>
                  <a:gd name="connsiteX11915" fmla="*/ 4149651 w 4381952"/>
                  <a:gd name="connsiteY11915" fmla="*/ 2384444 h 7571038"/>
                  <a:gd name="connsiteX11916" fmla="*/ 4150884 w 4381952"/>
                  <a:gd name="connsiteY11916" fmla="*/ 1474440 h 7571038"/>
                  <a:gd name="connsiteX11917" fmla="*/ 4122529 w 4381952"/>
                  <a:gd name="connsiteY11917" fmla="*/ 1446086 h 7571038"/>
                  <a:gd name="connsiteX11918" fmla="*/ 4094172 w 4381952"/>
                  <a:gd name="connsiteY11918" fmla="*/ 1474440 h 7571038"/>
                  <a:gd name="connsiteX11919" fmla="*/ 4122529 w 4381952"/>
                  <a:gd name="connsiteY11919" fmla="*/ 1502796 h 7571038"/>
                  <a:gd name="connsiteX11920" fmla="*/ 4150884 w 4381952"/>
                  <a:gd name="connsiteY11920" fmla="*/ 1474440 h 7571038"/>
                  <a:gd name="connsiteX11921" fmla="*/ 4153843 w 4381952"/>
                  <a:gd name="connsiteY11921" fmla="*/ 1612504 h 7571038"/>
                  <a:gd name="connsiteX11922" fmla="*/ 4107487 w 4381952"/>
                  <a:gd name="connsiteY11922" fmla="*/ 1565895 h 7571038"/>
                  <a:gd name="connsiteX11923" fmla="*/ 4060884 w 4381952"/>
                  <a:gd name="connsiteY11923" fmla="*/ 1612504 h 7571038"/>
                  <a:gd name="connsiteX11924" fmla="*/ 4107487 w 4381952"/>
                  <a:gd name="connsiteY11924" fmla="*/ 1659100 h 7571038"/>
                  <a:gd name="connsiteX11925" fmla="*/ 4153843 w 4381952"/>
                  <a:gd name="connsiteY11925" fmla="*/ 1612504 h 7571038"/>
                  <a:gd name="connsiteX11926" fmla="*/ 4154338 w 4381952"/>
                  <a:gd name="connsiteY11926" fmla="*/ 6296489 h 7571038"/>
                  <a:gd name="connsiteX11927" fmla="*/ 4152610 w 4381952"/>
                  <a:gd name="connsiteY11927" fmla="*/ 6294761 h 7571038"/>
                  <a:gd name="connsiteX11928" fmla="*/ 4150884 w 4381952"/>
                  <a:gd name="connsiteY11928" fmla="*/ 6296489 h 7571038"/>
                  <a:gd name="connsiteX11929" fmla="*/ 4152610 w 4381952"/>
                  <a:gd name="connsiteY11929" fmla="*/ 6298215 h 7571038"/>
                  <a:gd name="connsiteX11930" fmla="*/ 4154338 w 4381952"/>
                  <a:gd name="connsiteY11930" fmla="*/ 6296489 h 7571038"/>
                  <a:gd name="connsiteX11931" fmla="*/ 4154583 w 4381952"/>
                  <a:gd name="connsiteY11931" fmla="*/ 5296376 h 7571038"/>
                  <a:gd name="connsiteX11932" fmla="*/ 4151378 w 4381952"/>
                  <a:gd name="connsiteY11932" fmla="*/ 5293170 h 7571038"/>
                  <a:gd name="connsiteX11933" fmla="*/ 4148173 w 4381952"/>
                  <a:gd name="connsiteY11933" fmla="*/ 5296376 h 7571038"/>
                  <a:gd name="connsiteX11934" fmla="*/ 4151378 w 4381952"/>
                  <a:gd name="connsiteY11934" fmla="*/ 5299583 h 7571038"/>
                  <a:gd name="connsiteX11935" fmla="*/ 4154583 w 4381952"/>
                  <a:gd name="connsiteY11935" fmla="*/ 5296376 h 7571038"/>
                  <a:gd name="connsiteX11936" fmla="*/ 4155566 w 4381952"/>
                  <a:gd name="connsiteY11936" fmla="*/ 2846264 h 7571038"/>
                  <a:gd name="connsiteX11937" fmla="*/ 4113403 w 4381952"/>
                  <a:gd name="connsiteY11937" fmla="*/ 2804098 h 7571038"/>
                  <a:gd name="connsiteX11938" fmla="*/ 4071238 w 4381952"/>
                  <a:gd name="connsiteY11938" fmla="*/ 2846264 h 7571038"/>
                  <a:gd name="connsiteX11939" fmla="*/ 4113403 w 4381952"/>
                  <a:gd name="connsiteY11939" fmla="*/ 2888429 h 7571038"/>
                  <a:gd name="connsiteX11940" fmla="*/ 4155566 w 4381952"/>
                  <a:gd name="connsiteY11940" fmla="*/ 2846264 h 7571038"/>
                  <a:gd name="connsiteX11941" fmla="*/ 4163459 w 4381952"/>
                  <a:gd name="connsiteY11941" fmla="*/ 4765746 h 7571038"/>
                  <a:gd name="connsiteX11942" fmla="*/ 4154831 w 4381952"/>
                  <a:gd name="connsiteY11942" fmla="*/ 4757115 h 7571038"/>
                  <a:gd name="connsiteX11943" fmla="*/ 4146200 w 4381952"/>
                  <a:gd name="connsiteY11943" fmla="*/ 4765746 h 7571038"/>
                  <a:gd name="connsiteX11944" fmla="*/ 4154831 w 4381952"/>
                  <a:gd name="connsiteY11944" fmla="*/ 4774374 h 7571038"/>
                  <a:gd name="connsiteX11945" fmla="*/ 4163459 w 4381952"/>
                  <a:gd name="connsiteY11945" fmla="*/ 4765746 h 7571038"/>
                  <a:gd name="connsiteX11946" fmla="*/ 4163954 w 4381952"/>
                  <a:gd name="connsiteY11946" fmla="*/ 6423476 h 7571038"/>
                  <a:gd name="connsiteX11947" fmla="*/ 4159268 w 4381952"/>
                  <a:gd name="connsiteY11947" fmla="*/ 6418789 h 7571038"/>
                  <a:gd name="connsiteX11948" fmla="*/ 4154583 w 4381952"/>
                  <a:gd name="connsiteY11948" fmla="*/ 6423476 h 7571038"/>
                  <a:gd name="connsiteX11949" fmla="*/ 4159268 w 4381952"/>
                  <a:gd name="connsiteY11949" fmla="*/ 6428161 h 7571038"/>
                  <a:gd name="connsiteX11950" fmla="*/ 4163954 w 4381952"/>
                  <a:gd name="connsiteY11950" fmla="*/ 6423476 h 7571038"/>
                  <a:gd name="connsiteX11951" fmla="*/ 4165924 w 4381952"/>
                  <a:gd name="connsiteY11951" fmla="*/ 4100487 h 7571038"/>
                  <a:gd name="connsiteX11952" fmla="*/ 4116116 w 4381952"/>
                  <a:gd name="connsiteY11952" fmla="*/ 4050677 h 7571038"/>
                  <a:gd name="connsiteX11953" fmla="*/ 4066307 w 4381952"/>
                  <a:gd name="connsiteY11953" fmla="*/ 4100487 h 7571038"/>
                  <a:gd name="connsiteX11954" fmla="*/ 4116116 w 4381952"/>
                  <a:gd name="connsiteY11954" fmla="*/ 4150293 h 7571038"/>
                  <a:gd name="connsiteX11955" fmla="*/ 4165924 w 4381952"/>
                  <a:gd name="connsiteY11955" fmla="*/ 4100487 h 7571038"/>
                  <a:gd name="connsiteX11956" fmla="*/ 4168640 w 4381952"/>
                  <a:gd name="connsiteY11956" fmla="*/ 127086 h 7571038"/>
                  <a:gd name="connsiteX11957" fmla="*/ 4124994 w 4381952"/>
                  <a:gd name="connsiteY11957" fmla="*/ 83445 h 7571038"/>
                  <a:gd name="connsiteX11958" fmla="*/ 4081105 w 4381952"/>
                  <a:gd name="connsiteY11958" fmla="*/ 127086 h 7571038"/>
                  <a:gd name="connsiteX11959" fmla="*/ 4124994 w 4381952"/>
                  <a:gd name="connsiteY11959" fmla="*/ 170727 h 7571038"/>
                  <a:gd name="connsiteX11960" fmla="*/ 4168640 w 4381952"/>
                  <a:gd name="connsiteY11960" fmla="*/ 127086 h 7571038"/>
                  <a:gd name="connsiteX11961" fmla="*/ 4169131 w 4381952"/>
                  <a:gd name="connsiteY11961" fmla="*/ 1042000 h 7571038"/>
                  <a:gd name="connsiteX11962" fmla="*/ 4122284 w 4381952"/>
                  <a:gd name="connsiteY11962" fmla="*/ 995158 h 7571038"/>
                  <a:gd name="connsiteX11963" fmla="*/ 4075187 w 4381952"/>
                  <a:gd name="connsiteY11963" fmla="*/ 1042000 h 7571038"/>
                  <a:gd name="connsiteX11964" fmla="*/ 4122284 w 4381952"/>
                  <a:gd name="connsiteY11964" fmla="*/ 1088859 h 7571038"/>
                  <a:gd name="connsiteX11965" fmla="*/ 4169131 w 4381952"/>
                  <a:gd name="connsiteY11965" fmla="*/ 1042000 h 7571038"/>
                  <a:gd name="connsiteX11966" fmla="*/ 4169375 w 4381952"/>
                  <a:gd name="connsiteY11966" fmla="*/ 2575772 h 7571038"/>
                  <a:gd name="connsiteX11967" fmla="*/ 4122773 w 4381952"/>
                  <a:gd name="connsiteY11967" fmla="*/ 2529168 h 7571038"/>
                  <a:gd name="connsiteX11968" fmla="*/ 4076170 w 4381952"/>
                  <a:gd name="connsiteY11968" fmla="*/ 2575772 h 7571038"/>
                  <a:gd name="connsiteX11969" fmla="*/ 4122773 w 4381952"/>
                  <a:gd name="connsiteY11969" fmla="*/ 2622375 h 7571038"/>
                  <a:gd name="connsiteX11970" fmla="*/ 4169375 w 4381952"/>
                  <a:gd name="connsiteY11970" fmla="*/ 2575772 h 7571038"/>
                  <a:gd name="connsiteX11971" fmla="*/ 4169869 w 4381952"/>
                  <a:gd name="connsiteY11971" fmla="*/ 5435693 h 7571038"/>
                  <a:gd name="connsiteX11972" fmla="*/ 4168145 w 4381952"/>
                  <a:gd name="connsiteY11972" fmla="*/ 5433965 h 7571038"/>
                  <a:gd name="connsiteX11973" fmla="*/ 4166418 w 4381952"/>
                  <a:gd name="connsiteY11973" fmla="*/ 5435693 h 7571038"/>
                  <a:gd name="connsiteX11974" fmla="*/ 4168145 w 4381952"/>
                  <a:gd name="connsiteY11974" fmla="*/ 5437416 h 7571038"/>
                  <a:gd name="connsiteX11975" fmla="*/ 4169869 w 4381952"/>
                  <a:gd name="connsiteY11975" fmla="*/ 5435693 h 7571038"/>
                  <a:gd name="connsiteX11976" fmla="*/ 4170363 w 4381952"/>
                  <a:gd name="connsiteY11976" fmla="*/ 1337850 h 7571038"/>
                  <a:gd name="connsiteX11977" fmla="*/ 4135348 w 4381952"/>
                  <a:gd name="connsiteY11977" fmla="*/ 1302836 h 7571038"/>
                  <a:gd name="connsiteX11978" fmla="*/ 4100336 w 4381952"/>
                  <a:gd name="connsiteY11978" fmla="*/ 1337850 h 7571038"/>
                  <a:gd name="connsiteX11979" fmla="*/ 4135348 w 4381952"/>
                  <a:gd name="connsiteY11979" fmla="*/ 1372869 h 7571038"/>
                  <a:gd name="connsiteX11980" fmla="*/ 4170363 w 4381952"/>
                  <a:gd name="connsiteY11980" fmla="*/ 1337850 h 7571038"/>
                  <a:gd name="connsiteX11981" fmla="*/ 4171103 w 4381952"/>
                  <a:gd name="connsiteY11981" fmla="*/ 4370239 h 7571038"/>
                  <a:gd name="connsiteX11982" fmla="*/ 4126965 w 4381952"/>
                  <a:gd name="connsiteY11982" fmla="*/ 4326101 h 7571038"/>
                  <a:gd name="connsiteX11983" fmla="*/ 4082828 w 4381952"/>
                  <a:gd name="connsiteY11983" fmla="*/ 4370239 h 7571038"/>
                  <a:gd name="connsiteX11984" fmla="*/ 4126965 w 4381952"/>
                  <a:gd name="connsiteY11984" fmla="*/ 4414373 h 7571038"/>
                  <a:gd name="connsiteX11985" fmla="*/ 4171103 w 4381952"/>
                  <a:gd name="connsiteY11985" fmla="*/ 4370239 h 7571038"/>
                  <a:gd name="connsiteX11986" fmla="*/ 4171596 w 4381952"/>
                  <a:gd name="connsiteY11986" fmla="*/ 6549476 h 7571038"/>
                  <a:gd name="connsiteX11987" fmla="*/ 4165184 w 4381952"/>
                  <a:gd name="connsiteY11987" fmla="*/ 6543064 h 7571038"/>
                  <a:gd name="connsiteX11988" fmla="*/ 4158774 w 4381952"/>
                  <a:gd name="connsiteY11988" fmla="*/ 6549476 h 7571038"/>
                  <a:gd name="connsiteX11989" fmla="*/ 4165184 w 4381952"/>
                  <a:gd name="connsiteY11989" fmla="*/ 6555641 h 7571038"/>
                  <a:gd name="connsiteX11990" fmla="*/ 4171596 w 4381952"/>
                  <a:gd name="connsiteY11990" fmla="*/ 6549476 h 7571038"/>
                  <a:gd name="connsiteX11991" fmla="*/ 4172091 w 4381952"/>
                  <a:gd name="connsiteY11991" fmla="*/ 4325 h 7571038"/>
                  <a:gd name="connsiteX11992" fmla="*/ 4170296 w 4381952"/>
                  <a:gd name="connsiteY11992" fmla="*/ 0 h 7571038"/>
                  <a:gd name="connsiteX11993" fmla="*/ 4087091 w 4381952"/>
                  <a:gd name="connsiteY11993" fmla="*/ 0 h 7571038"/>
                  <a:gd name="connsiteX11994" fmla="*/ 4085296 w 4381952"/>
                  <a:gd name="connsiteY11994" fmla="*/ 4325 h 7571038"/>
                  <a:gd name="connsiteX11995" fmla="*/ 4128693 w 4381952"/>
                  <a:gd name="connsiteY11995" fmla="*/ 47719 h 7571038"/>
                  <a:gd name="connsiteX11996" fmla="*/ 4172091 w 4381952"/>
                  <a:gd name="connsiteY11996" fmla="*/ 4325 h 7571038"/>
                  <a:gd name="connsiteX11997" fmla="*/ 4177762 w 4381952"/>
                  <a:gd name="connsiteY11997" fmla="*/ 911094 h 7571038"/>
                  <a:gd name="connsiteX11998" fmla="*/ 4130912 w 4381952"/>
                  <a:gd name="connsiteY11998" fmla="*/ 864241 h 7571038"/>
                  <a:gd name="connsiteX11999" fmla="*/ 4084063 w 4381952"/>
                  <a:gd name="connsiteY11999" fmla="*/ 911094 h 7571038"/>
                  <a:gd name="connsiteX12000" fmla="*/ 4130912 w 4381952"/>
                  <a:gd name="connsiteY12000" fmla="*/ 957947 h 7571038"/>
                  <a:gd name="connsiteX12001" fmla="*/ 4177762 w 4381952"/>
                  <a:gd name="connsiteY12001" fmla="*/ 911094 h 7571038"/>
                  <a:gd name="connsiteX12002" fmla="*/ 4179734 w 4381952"/>
                  <a:gd name="connsiteY12002" fmla="*/ 6674241 h 7571038"/>
                  <a:gd name="connsiteX12003" fmla="*/ 4170858 w 4381952"/>
                  <a:gd name="connsiteY12003" fmla="*/ 6665365 h 7571038"/>
                  <a:gd name="connsiteX12004" fmla="*/ 4161981 w 4381952"/>
                  <a:gd name="connsiteY12004" fmla="*/ 6674241 h 7571038"/>
                  <a:gd name="connsiteX12005" fmla="*/ 4170858 w 4381952"/>
                  <a:gd name="connsiteY12005" fmla="*/ 6683118 h 7571038"/>
                  <a:gd name="connsiteX12006" fmla="*/ 4179734 w 4381952"/>
                  <a:gd name="connsiteY12006" fmla="*/ 6674241 h 7571038"/>
                  <a:gd name="connsiteX12007" fmla="*/ 4182445 w 4381952"/>
                  <a:gd name="connsiteY12007" fmla="*/ 2957470 h 7571038"/>
                  <a:gd name="connsiteX12008" fmla="*/ 4146446 w 4381952"/>
                  <a:gd name="connsiteY12008" fmla="*/ 2921471 h 7571038"/>
                  <a:gd name="connsiteX12009" fmla="*/ 4110444 w 4381952"/>
                  <a:gd name="connsiteY12009" fmla="*/ 2957470 h 7571038"/>
                  <a:gd name="connsiteX12010" fmla="*/ 4146446 w 4381952"/>
                  <a:gd name="connsiteY12010" fmla="*/ 2993473 h 7571038"/>
                  <a:gd name="connsiteX12011" fmla="*/ 4182445 w 4381952"/>
                  <a:gd name="connsiteY12011" fmla="*/ 2957470 h 7571038"/>
                  <a:gd name="connsiteX12012" fmla="*/ 4183678 w 4381952"/>
                  <a:gd name="connsiteY12012" fmla="*/ 1985003 h 7571038"/>
                  <a:gd name="connsiteX12013" fmla="*/ 4142994 w 4381952"/>
                  <a:gd name="connsiteY12013" fmla="*/ 1944341 h 7571038"/>
                  <a:gd name="connsiteX12014" fmla="*/ 4102309 w 4381952"/>
                  <a:gd name="connsiteY12014" fmla="*/ 1985003 h 7571038"/>
                  <a:gd name="connsiteX12015" fmla="*/ 4142994 w 4381952"/>
                  <a:gd name="connsiteY12015" fmla="*/ 2025677 h 7571038"/>
                  <a:gd name="connsiteX12016" fmla="*/ 4183678 w 4381952"/>
                  <a:gd name="connsiteY12016" fmla="*/ 1985003 h 7571038"/>
                  <a:gd name="connsiteX12017" fmla="*/ 4185653 w 4381952"/>
                  <a:gd name="connsiteY12017" fmla="*/ 782155 h 7571038"/>
                  <a:gd name="connsiteX12018" fmla="*/ 4139048 w 4381952"/>
                  <a:gd name="connsiteY12018" fmla="*/ 735547 h 7571038"/>
                  <a:gd name="connsiteX12019" fmla="*/ 4092200 w 4381952"/>
                  <a:gd name="connsiteY12019" fmla="*/ 782155 h 7571038"/>
                  <a:gd name="connsiteX12020" fmla="*/ 4139048 w 4381952"/>
                  <a:gd name="connsiteY12020" fmla="*/ 828762 h 7571038"/>
                  <a:gd name="connsiteX12021" fmla="*/ 4185653 w 4381952"/>
                  <a:gd name="connsiteY12021" fmla="*/ 782155 h 7571038"/>
                  <a:gd name="connsiteX12022" fmla="*/ 4186145 w 4381952"/>
                  <a:gd name="connsiteY12022" fmla="*/ 1839867 h 7571038"/>
                  <a:gd name="connsiteX12023" fmla="*/ 4165925 w 4381952"/>
                  <a:gd name="connsiteY12023" fmla="*/ 1819655 h 7571038"/>
                  <a:gd name="connsiteX12024" fmla="*/ 4145706 w 4381952"/>
                  <a:gd name="connsiteY12024" fmla="*/ 1839867 h 7571038"/>
                  <a:gd name="connsiteX12025" fmla="*/ 4165925 w 4381952"/>
                  <a:gd name="connsiteY12025" fmla="*/ 1860082 h 7571038"/>
                  <a:gd name="connsiteX12026" fmla="*/ 4186145 w 4381952"/>
                  <a:gd name="connsiteY12026" fmla="*/ 1839867 h 7571038"/>
                  <a:gd name="connsiteX12027" fmla="*/ 4189596 w 4381952"/>
                  <a:gd name="connsiteY12027" fmla="*/ 3989032 h 7571038"/>
                  <a:gd name="connsiteX12028" fmla="*/ 4148665 w 4381952"/>
                  <a:gd name="connsiteY12028" fmla="*/ 3948101 h 7571038"/>
                  <a:gd name="connsiteX12029" fmla="*/ 4107732 w 4381952"/>
                  <a:gd name="connsiteY12029" fmla="*/ 3989032 h 7571038"/>
                  <a:gd name="connsiteX12030" fmla="*/ 4148665 w 4381952"/>
                  <a:gd name="connsiteY12030" fmla="*/ 4029965 h 7571038"/>
                  <a:gd name="connsiteX12031" fmla="*/ 4189596 w 4381952"/>
                  <a:gd name="connsiteY12031" fmla="*/ 3989032 h 7571038"/>
                  <a:gd name="connsiteX12032" fmla="*/ 4190335 w 4381952"/>
                  <a:gd name="connsiteY12032" fmla="*/ 1203491 h 7571038"/>
                  <a:gd name="connsiteX12033" fmla="*/ 4147430 w 4381952"/>
                  <a:gd name="connsiteY12033" fmla="*/ 1160586 h 7571038"/>
                  <a:gd name="connsiteX12034" fmla="*/ 4104527 w 4381952"/>
                  <a:gd name="connsiteY12034" fmla="*/ 1203491 h 7571038"/>
                  <a:gd name="connsiteX12035" fmla="*/ 4147430 w 4381952"/>
                  <a:gd name="connsiteY12035" fmla="*/ 1246397 h 7571038"/>
                  <a:gd name="connsiteX12036" fmla="*/ 4190335 w 4381952"/>
                  <a:gd name="connsiteY12036" fmla="*/ 1203491 h 7571038"/>
                  <a:gd name="connsiteX12037" fmla="*/ 4191571 w 4381952"/>
                  <a:gd name="connsiteY12037" fmla="*/ 653719 h 7571038"/>
                  <a:gd name="connsiteX12038" fmla="*/ 4145460 w 4381952"/>
                  <a:gd name="connsiteY12038" fmla="*/ 607551 h 7571038"/>
                  <a:gd name="connsiteX12039" fmla="*/ 4099350 w 4381952"/>
                  <a:gd name="connsiteY12039" fmla="*/ 653719 h 7571038"/>
                  <a:gd name="connsiteX12040" fmla="*/ 4145460 w 4381952"/>
                  <a:gd name="connsiteY12040" fmla="*/ 699827 h 7571038"/>
                  <a:gd name="connsiteX12041" fmla="*/ 4191571 w 4381952"/>
                  <a:gd name="connsiteY12041" fmla="*/ 653719 h 7571038"/>
                  <a:gd name="connsiteX12042" fmla="*/ 4191817 w 4381952"/>
                  <a:gd name="connsiteY12042" fmla="*/ 2230105 h 7571038"/>
                  <a:gd name="connsiteX12043" fmla="*/ 4180968 w 4381952"/>
                  <a:gd name="connsiteY12043" fmla="*/ 2219260 h 7571038"/>
                  <a:gd name="connsiteX12044" fmla="*/ 4170118 w 4381952"/>
                  <a:gd name="connsiteY12044" fmla="*/ 2230105 h 7571038"/>
                  <a:gd name="connsiteX12045" fmla="*/ 4180968 w 4381952"/>
                  <a:gd name="connsiteY12045" fmla="*/ 2240953 h 7571038"/>
                  <a:gd name="connsiteX12046" fmla="*/ 4191817 w 4381952"/>
                  <a:gd name="connsiteY12046" fmla="*/ 2230105 h 7571038"/>
                  <a:gd name="connsiteX12047" fmla="*/ 4194031 w 4381952"/>
                  <a:gd name="connsiteY12047" fmla="*/ 6916872 h 7571038"/>
                  <a:gd name="connsiteX12048" fmla="*/ 4188855 w 4381952"/>
                  <a:gd name="connsiteY12048" fmla="*/ 6911695 h 7571038"/>
                  <a:gd name="connsiteX12049" fmla="*/ 4183677 w 4381952"/>
                  <a:gd name="connsiteY12049" fmla="*/ 6916872 h 7571038"/>
                  <a:gd name="connsiteX12050" fmla="*/ 4188855 w 4381952"/>
                  <a:gd name="connsiteY12050" fmla="*/ 6922049 h 7571038"/>
                  <a:gd name="connsiteX12051" fmla="*/ 4194031 w 4381952"/>
                  <a:gd name="connsiteY12051" fmla="*/ 6916872 h 7571038"/>
                  <a:gd name="connsiteX12052" fmla="*/ 4194774 w 4381952"/>
                  <a:gd name="connsiteY12052" fmla="*/ 6793336 h 7571038"/>
                  <a:gd name="connsiteX12053" fmla="*/ 4184417 w 4381952"/>
                  <a:gd name="connsiteY12053" fmla="*/ 6782981 h 7571038"/>
                  <a:gd name="connsiteX12054" fmla="*/ 4174062 w 4381952"/>
                  <a:gd name="connsiteY12054" fmla="*/ 6793336 h 7571038"/>
                  <a:gd name="connsiteX12055" fmla="*/ 4184417 w 4381952"/>
                  <a:gd name="connsiteY12055" fmla="*/ 6803694 h 7571038"/>
                  <a:gd name="connsiteX12056" fmla="*/ 4194774 w 4381952"/>
                  <a:gd name="connsiteY12056" fmla="*/ 6793336 h 7571038"/>
                  <a:gd name="connsiteX12057" fmla="*/ 4196994 w 4381952"/>
                  <a:gd name="connsiteY12057" fmla="*/ 3876101 h 7571038"/>
                  <a:gd name="connsiteX12058" fmla="*/ 4174555 w 4381952"/>
                  <a:gd name="connsiteY12058" fmla="*/ 3853661 h 7571038"/>
                  <a:gd name="connsiteX12059" fmla="*/ 4152116 w 4381952"/>
                  <a:gd name="connsiteY12059" fmla="*/ 3876101 h 7571038"/>
                  <a:gd name="connsiteX12060" fmla="*/ 4174555 w 4381952"/>
                  <a:gd name="connsiteY12060" fmla="*/ 3898537 h 7571038"/>
                  <a:gd name="connsiteX12061" fmla="*/ 4196994 w 4381952"/>
                  <a:gd name="connsiteY12061" fmla="*/ 3876101 h 7571038"/>
                  <a:gd name="connsiteX12062" fmla="*/ 4197240 w 4381952"/>
                  <a:gd name="connsiteY12062" fmla="*/ 526698 h 7571038"/>
                  <a:gd name="connsiteX12063" fmla="*/ 4151624 w 4381952"/>
                  <a:gd name="connsiteY12063" fmla="*/ 481083 h 7571038"/>
                  <a:gd name="connsiteX12064" fmla="*/ 4106008 w 4381952"/>
                  <a:gd name="connsiteY12064" fmla="*/ 526698 h 7571038"/>
                  <a:gd name="connsiteX12065" fmla="*/ 4151624 w 4381952"/>
                  <a:gd name="connsiteY12065" fmla="*/ 572315 h 7571038"/>
                  <a:gd name="connsiteX12066" fmla="*/ 4197240 w 4381952"/>
                  <a:gd name="connsiteY12066" fmla="*/ 526698 h 7571038"/>
                  <a:gd name="connsiteX12067" fmla="*/ 4197734 w 4381952"/>
                  <a:gd name="connsiteY12067" fmla="*/ 5708649 h 7571038"/>
                  <a:gd name="connsiteX12068" fmla="*/ 4196256 w 4381952"/>
                  <a:gd name="connsiteY12068" fmla="*/ 5707171 h 7571038"/>
                  <a:gd name="connsiteX12069" fmla="*/ 4194775 w 4381952"/>
                  <a:gd name="connsiteY12069" fmla="*/ 5708649 h 7571038"/>
                  <a:gd name="connsiteX12070" fmla="*/ 4196256 w 4381952"/>
                  <a:gd name="connsiteY12070" fmla="*/ 5710130 h 7571038"/>
                  <a:gd name="connsiteX12071" fmla="*/ 4197734 w 4381952"/>
                  <a:gd name="connsiteY12071" fmla="*/ 5708649 h 7571038"/>
                  <a:gd name="connsiteX12072" fmla="*/ 4198966 w 4381952"/>
                  <a:gd name="connsiteY12072" fmla="*/ 3761936 h 7571038"/>
                  <a:gd name="connsiteX12073" fmla="*/ 4194034 w 4381952"/>
                  <a:gd name="connsiteY12073" fmla="*/ 3757004 h 7571038"/>
                  <a:gd name="connsiteX12074" fmla="*/ 4189349 w 4381952"/>
                  <a:gd name="connsiteY12074" fmla="*/ 3761936 h 7571038"/>
                  <a:gd name="connsiteX12075" fmla="*/ 4194034 w 4381952"/>
                  <a:gd name="connsiteY12075" fmla="*/ 3766621 h 7571038"/>
                  <a:gd name="connsiteX12076" fmla="*/ 4198966 w 4381952"/>
                  <a:gd name="connsiteY12076" fmla="*/ 3761936 h 7571038"/>
                  <a:gd name="connsiteX12077" fmla="*/ 4200199 w 4381952"/>
                  <a:gd name="connsiteY12077" fmla="*/ 4916652 h 7571038"/>
                  <a:gd name="connsiteX12078" fmla="*/ 4182693 w 4381952"/>
                  <a:gd name="connsiteY12078" fmla="*/ 4899143 h 7571038"/>
                  <a:gd name="connsiteX12079" fmla="*/ 4165186 w 4381952"/>
                  <a:gd name="connsiteY12079" fmla="*/ 4916652 h 7571038"/>
                  <a:gd name="connsiteX12080" fmla="*/ 4182693 w 4381952"/>
                  <a:gd name="connsiteY12080" fmla="*/ 4934156 h 7571038"/>
                  <a:gd name="connsiteX12081" fmla="*/ 4200199 w 4381952"/>
                  <a:gd name="connsiteY12081" fmla="*/ 4916652 h 7571038"/>
                  <a:gd name="connsiteX12082" fmla="*/ 4200444 w 4381952"/>
                  <a:gd name="connsiteY12082" fmla="*/ 3070159 h 7571038"/>
                  <a:gd name="connsiteX12083" fmla="*/ 4172828 w 4381952"/>
                  <a:gd name="connsiteY12083" fmla="*/ 3042542 h 7571038"/>
                  <a:gd name="connsiteX12084" fmla="*/ 4145212 w 4381952"/>
                  <a:gd name="connsiteY12084" fmla="*/ 3070159 h 7571038"/>
                  <a:gd name="connsiteX12085" fmla="*/ 4172828 w 4381952"/>
                  <a:gd name="connsiteY12085" fmla="*/ 3097777 h 7571038"/>
                  <a:gd name="connsiteX12086" fmla="*/ 4200444 w 4381952"/>
                  <a:gd name="connsiteY12086" fmla="*/ 3070159 h 7571038"/>
                  <a:gd name="connsiteX12087" fmla="*/ 4200444 w 4381952"/>
                  <a:gd name="connsiteY12087" fmla="*/ 7039669 h 7571038"/>
                  <a:gd name="connsiteX12088" fmla="*/ 4193049 w 4381952"/>
                  <a:gd name="connsiteY12088" fmla="*/ 7032270 h 7571038"/>
                  <a:gd name="connsiteX12089" fmla="*/ 4185650 w 4381952"/>
                  <a:gd name="connsiteY12089" fmla="*/ 7039669 h 7571038"/>
                  <a:gd name="connsiteX12090" fmla="*/ 4193049 w 4381952"/>
                  <a:gd name="connsiteY12090" fmla="*/ 7047064 h 7571038"/>
                  <a:gd name="connsiteX12091" fmla="*/ 4200444 w 4381952"/>
                  <a:gd name="connsiteY12091" fmla="*/ 7039669 h 7571038"/>
                  <a:gd name="connsiteX12092" fmla="*/ 4202171 w 4381952"/>
                  <a:gd name="connsiteY12092" fmla="*/ 400727 h 7571038"/>
                  <a:gd name="connsiteX12093" fmla="*/ 4157049 w 4381952"/>
                  <a:gd name="connsiteY12093" fmla="*/ 355605 h 7571038"/>
                  <a:gd name="connsiteX12094" fmla="*/ 4111925 w 4381952"/>
                  <a:gd name="connsiteY12094" fmla="*/ 400727 h 7571038"/>
                  <a:gd name="connsiteX12095" fmla="*/ 4157049 w 4381952"/>
                  <a:gd name="connsiteY12095" fmla="*/ 445848 h 7571038"/>
                  <a:gd name="connsiteX12096" fmla="*/ 4202171 w 4381952"/>
                  <a:gd name="connsiteY12096" fmla="*/ 400727 h 7571038"/>
                  <a:gd name="connsiteX12097" fmla="*/ 4205379 w 4381952"/>
                  <a:gd name="connsiteY12097" fmla="*/ 2487758 h 7571038"/>
                  <a:gd name="connsiteX12098" fmla="*/ 4200694 w 4381952"/>
                  <a:gd name="connsiteY12098" fmla="*/ 2483074 h 7571038"/>
                  <a:gd name="connsiteX12099" fmla="*/ 4196008 w 4381952"/>
                  <a:gd name="connsiteY12099" fmla="*/ 2487758 h 7571038"/>
                  <a:gd name="connsiteX12100" fmla="*/ 4200694 w 4381952"/>
                  <a:gd name="connsiteY12100" fmla="*/ 2492441 h 7571038"/>
                  <a:gd name="connsiteX12101" fmla="*/ 4205379 w 4381952"/>
                  <a:gd name="connsiteY12101" fmla="*/ 2487758 h 7571038"/>
                  <a:gd name="connsiteX12102" fmla="*/ 4206608 w 4381952"/>
                  <a:gd name="connsiteY12102" fmla="*/ 275740 h 7571038"/>
                  <a:gd name="connsiteX12103" fmla="*/ 4161978 w 4381952"/>
                  <a:gd name="connsiteY12103" fmla="*/ 231113 h 7571038"/>
                  <a:gd name="connsiteX12104" fmla="*/ 4117349 w 4381952"/>
                  <a:gd name="connsiteY12104" fmla="*/ 275740 h 7571038"/>
                  <a:gd name="connsiteX12105" fmla="*/ 4161978 w 4381952"/>
                  <a:gd name="connsiteY12105" fmla="*/ 320370 h 7571038"/>
                  <a:gd name="connsiteX12106" fmla="*/ 4206608 w 4381952"/>
                  <a:gd name="connsiteY12106" fmla="*/ 275740 h 7571038"/>
                  <a:gd name="connsiteX12107" fmla="*/ 4207102 w 4381952"/>
                  <a:gd name="connsiteY12107" fmla="*/ 3646784 h 7571038"/>
                  <a:gd name="connsiteX12108" fmla="*/ 4206856 w 4381952"/>
                  <a:gd name="connsiteY12108" fmla="*/ 3646539 h 7571038"/>
                  <a:gd name="connsiteX12109" fmla="*/ 4206856 w 4381952"/>
                  <a:gd name="connsiteY12109" fmla="*/ 3646784 h 7571038"/>
                  <a:gd name="connsiteX12110" fmla="*/ 4210556 w 4381952"/>
                  <a:gd name="connsiteY12110" fmla="*/ 4510785 h 7571038"/>
                  <a:gd name="connsiteX12111" fmla="*/ 4178746 w 4381952"/>
                  <a:gd name="connsiteY12111" fmla="*/ 4478978 h 7571038"/>
                  <a:gd name="connsiteX12112" fmla="*/ 4146938 w 4381952"/>
                  <a:gd name="connsiteY12112" fmla="*/ 4510785 h 7571038"/>
                  <a:gd name="connsiteX12113" fmla="*/ 4178746 w 4381952"/>
                  <a:gd name="connsiteY12113" fmla="*/ 4542596 h 7571038"/>
                  <a:gd name="connsiteX12114" fmla="*/ 4210556 w 4381952"/>
                  <a:gd name="connsiteY12114" fmla="*/ 4510785 h 7571038"/>
                  <a:gd name="connsiteX12115" fmla="*/ 4211296 w 4381952"/>
                  <a:gd name="connsiteY12115" fmla="*/ 2681805 h 7571038"/>
                  <a:gd name="connsiteX12116" fmla="*/ 4168886 w 4381952"/>
                  <a:gd name="connsiteY12116" fmla="*/ 2639393 h 7571038"/>
                  <a:gd name="connsiteX12117" fmla="*/ 4126474 w 4381952"/>
                  <a:gd name="connsiteY12117" fmla="*/ 2681805 h 7571038"/>
                  <a:gd name="connsiteX12118" fmla="*/ 4168886 w 4381952"/>
                  <a:gd name="connsiteY12118" fmla="*/ 2724218 h 7571038"/>
                  <a:gd name="connsiteX12119" fmla="*/ 4211296 w 4381952"/>
                  <a:gd name="connsiteY12119" fmla="*/ 2681805 h 7571038"/>
                  <a:gd name="connsiteX12120" fmla="*/ 4211297 w 4381952"/>
                  <a:gd name="connsiteY12120" fmla="*/ 3184327 h 7571038"/>
                  <a:gd name="connsiteX12121" fmla="*/ 4192803 w 4381952"/>
                  <a:gd name="connsiteY12121" fmla="*/ 3165833 h 7571038"/>
                  <a:gd name="connsiteX12122" fmla="*/ 4174309 w 4381952"/>
                  <a:gd name="connsiteY12122" fmla="*/ 3184327 h 7571038"/>
                  <a:gd name="connsiteX12123" fmla="*/ 4192803 w 4381952"/>
                  <a:gd name="connsiteY12123" fmla="*/ 3202821 h 7571038"/>
                  <a:gd name="connsiteX12124" fmla="*/ 4211297 w 4381952"/>
                  <a:gd name="connsiteY12124" fmla="*/ 3184327 h 7571038"/>
                  <a:gd name="connsiteX12125" fmla="*/ 4214499 w 4381952"/>
                  <a:gd name="connsiteY12125" fmla="*/ 3530895 h 7571038"/>
                  <a:gd name="connsiteX12126" fmla="*/ 4213266 w 4381952"/>
                  <a:gd name="connsiteY12126" fmla="*/ 3529662 h 7571038"/>
                  <a:gd name="connsiteX12127" fmla="*/ 4212034 w 4381952"/>
                  <a:gd name="connsiteY12127" fmla="*/ 3530895 h 7571038"/>
                  <a:gd name="connsiteX12128" fmla="*/ 4213266 w 4381952"/>
                  <a:gd name="connsiteY12128" fmla="*/ 3532127 h 7571038"/>
                  <a:gd name="connsiteX12129" fmla="*/ 4214499 w 4381952"/>
                  <a:gd name="connsiteY12129" fmla="*/ 3530895 h 7571038"/>
                  <a:gd name="connsiteX12130" fmla="*/ 4215980 w 4381952"/>
                  <a:gd name="connsiteY12130" fmla="*/ 3299481 h 7571038"/>
                  <a:gd name="connsiteX12131" fmla="*/ 4206116 w 4381952"/>
                  <a:gd name="connsiteY12131" fmla="*/ 3289609 h 7571038"/>
                  <a:gd name="connsiteX12132" fmla="*/ 4196253 w 4381952"/>
                  <a:gd name="connsiteY12132" fmla="*/ 3299481 h 7571038"/>
                  <a:gd name="connsiteX12133" fmla="*/ 4206116 w 4381952"/>
                  <a:gd name="connsiteY12133" fmla="*/ 3309341 h 7571038"/>
                  <a:gd name="connsiteX12134" fmla="*/ 4215980 w 4381952"/>
                  <a:gd name="connsiteY12134" fmla="*/ 3299481 h 7571038"/>
                  <a:gd name="connsiteX12135" fmla="*/ 4215980 w 4381952"/>
                  <a:gd name="connsiteY12135" fmla="*/ 3415124 h 7571038"/>
                  <a:gd name="connsiteX12136" fmla="*/ 4213021 w 4381952"/>
                  <a:gd name="connsiteY12136" fmla="*/ 3411918 h 7571038"/>
                  <a:gd name="connsiteX12137" fmla="*/ 4209815 w 4381952"/>
                  <a:gd name="connsiteY12137" fmla="*/ 3415124 h 7571038"/>
                  <a:gd name="connsiteX12138" fmla="*/ 4213021 w 4381952"/>
                  <a:gd name="connsiteY12138" fmla="*/ 3418325 h 7571038"/>
                  <a:gd name="connsiteX12139" fmla="*/ 4215980 w 4381952"/>
                  <a:gd name="connsiteY12139" fmla="*/ 3415124 h 7571038"/>
                  <a:gd name="connsiteX12140" fmla="*/ 4220171 w 4381952"/>
                  <a:gd name="connsiteY12140" fmla="*/ 5833667 h 7571038"/>
                  <a:gd name="connsiteX12141" fmla="*/ 4218446 w 4381952"/>
                  <a:gd name="connsiteY12141" fmla="*/ 5831939 h 7571038"/>
                  <a:gd name="connsiteX12142" fmla="*/ 4216720 w 4381952"/>
                  <a:gd name="connsiteY12142" fmla="*/ 5833667 h 7571038"/>
                  <a:gd name="connsiteX12143" fmla="*/ 4218446 w 4381952"/>
                  <a:gd name="connsiteY12143" fmla="*/ 5835394 h 7571038"/>
                  <a:gd name="connsiteX12144" fmla="*/ 4220171 w 4381952"/>
                  <a:gd name="connsiteY12144" fmla="*/ 5833667 h 7571038"/>
                  <a:gd name="connsiteX12145" fmla="*/ 4221896 w 4381952"/>
                  <a:gd name="connsiteY12145" fmla="*/ 5063610 h 7571038"/>
                  <a:gd name="connsiteX12146" fmla="*/ 4207351 w 4381952"/>
                  <a:gd name="connsiteY12146" fmla="*/ 5049061 h 7571038"/>
                  <a:gd name="connsiteX12147" fmla="*/ 4192802 w 4381952"/>
                  <a:gd name="connsiteY12147" fmla="*/ 5063610 h 7571038"/>
                  <a:gd name="connsiteX12148" fmla="*/ 4207351 w 4381952"/>
                  <a:gd name="connsiteY12148" fmla="*/ 5078158 h 7571038"/>
                  <a:gd name="connsiteX12149" fmla="*/ 4221896 w 4381952"/>
                  <a:gd name="connsiteY12149" fmla="*/ 5063610 h 7571038"/>
                  <a:gd name="connsiteX12150" fmla="*/ 4223870 w 4381952"/>
                  <a:gd name="connsiteY12150" fmla="*/ 4263965 h 7571038"/>
                  <a:gd name="connsiteX12151" fmla="*/ 4172582 w 4381952"/>
                  <a:gd name="connsiteY12151" fmla="*/ 4212677 h 7571038"/>
                  <a:gd name="connsiteX12152" fmla="*/ 4121294 w 4381952"/>
                  <a:gd name="connsiteY12152" fmla="*/ 4263965 h 7571038"/>
                  <a:gd name="connsiteX12153" fmla="*/ 4172582 w 4381952"/>
                  <a:gd name="connsiteY12153" fmla="*/ 4315252 h 7571038"/>
                  <a:gd name="connsiteX12154" fmla="*/ 4223870 w 4381952"/>
                  <a:gd name="connsiteY12154" fmla="*/ 4263965 h 7571038"/>
                  <a:gd name="connsiteX12155" fmla="*/ 4224610 w 4381952"/>
                  <a:gd name="connsiteY12155" fmla="*/ 1556791 h 7571038"/>
                  <a:gd name="connsiteX12156" fmla="*/ 4204143 w 4381952"/>
                  <a:gd name="connsiteY12156" fmla="*/ 1536330 h 7571038"/>
                  <a:gd name="connsiteX12157" fmla="*/ 4183677 w 4381952"/>
                  <a:gd name="connsiteY12157" fmla="*/ 1556791 h 7571038"/>
                  <a:gd name="connsiteX12158" fmla="*/ 4204143 w 4381952"/>
                  <a:gd name="connsiteY12158" fmla="*/ 1577258 h 7571038"/>
                  <a:gd name="connsiteX12159" fmla="*/ 4224610 w 4381952"/>
                  <a:gd name="connsiteY12159" fmla="*/ 1556791 h 7571038"/>
                  <a:gd name="connsiteX12160" fmla="*/ 4230283 w 4381952"/>
                  <a:gd name="connsiteY12160" fmla="*/ 5966816 h 7571038"/>
                  <a:gd name="connsiteX12161" fmla="*/ 4228802 w 4381952"/>
                  <a:gd name="connsiteY12161" fmla="*/ 5965090 h 7571038"/>
                  <a:gd name="connsiteX12162" fmla="*/ 4227323 w 4381952"/>
                  <a:gd name="connsiteY12162" fmla="*/ 5966816 h 7571038"/>
                  <a:gd name="connsiteX12163" fmla="*/ 4228802 w 4381952"/>
                  <a:gd name="connsiteY12163" fmla="*/ 5968294 h 7571038"/>
                  <a:gd name="connsiteX12164" fmla="*/ 4230283 w 4381952"/>
                  <a:gd name="connsiteY12164" fmla="*/ 5966816 h 7571038"/>
                  <a:gd name="connsiteX12165" fmla="*/ 4232006 w 4381952"/>
                  <a:gd name="connsiteY12165" fmla="*/ 1697322 h 7571038"/>
                  <a:gd name="connsiteX12166" fmla="*/ 4186390 w 4381952"/>
                  <a:gd name="connsiteY12166" fmla="*/ 1651704 h 7571038"/>
                  <a:gd name="connsiteX12167" fmla="*/ 4140774 w 4381952"/>
                  <a:gd name="connsiteY12167" fmla="*/ 1697322 h 7571038"/>
                  <a:gd name="connsiteX12168" fmla="*/ 4186390 w 4381952"/>
                  <a:gd name="connsiteY12168" fmla="*/ 1742947 h 7571038"/>
                  <a:gd name="connsiteX12169" fmla="*/ 4232006 w 4381952"/>
                  <a:gd name="connsiteY12169" fmla="*/ 1697322 h 7571038"/>
                  <a:gd name="connsiteX12170" fmla="*/ 4233487 w 4381952"/>
                  <a:gd name="connsiteY12170" fmla="*/ 5209338 h 7571038"/>
                  <a:gd name="connsiteX12171" fmla="*/ 4228555 w 4381952"/>
                  <a:gd name="connsiteY12171" fmla="*/ 5204406 h 7571038"/>
                  <a:gd name="connsiteX12172" fmla="*/ 4223624 w 4381952"/>
                  <a:gd name="connsiteY12172" fmla="*/ 5209338 h 7571038"/>
                  <a:gd name="connsiteX12173" fmla="*/ 4228555 w 4381952"/>
                  <a:gd name="connsiteY12173" fmla="*/ 5214269 h 7571038"/>
                  <a:gd name="connsiteX12174" fmla="*/ 4233487 w 4381952"/>
                  <a:gd name="connsiteY12174" fmla="*/ 5209338 h 7571038"/>
                  <a:gd name="connsiteX12175" fmla="*/ 4234227 w 4381952"/>
                  <a:gd name="connsiteY12175" fmla="*/ 4666868 h 7571038"/>
                  <a:gd name="connsiteX12176" fmla="*/ 4216474 w 4381952"/>
                  <a:gd name="connsiteY12176" fmla="*/ 4649114 h 7571038"/>
                  <a:gd name="connsiteX12177" fmla="*/ 4198720 w 4381952"/>
                  <a:gd name="connsiteY12177" fmla="*/ 4666868 h 7571038"/>
                  <a:gd name="connsiteX12178" fmla="*/ 4216474 w 4381952"/>
                  <a:gd name="connsiteY12178" fmla="*/ 4684622 h 7571038"/>
                  <a:gd name="connsiteX12179" fmla="*/ 4234227 w 4381952"/>
                  <a:gd name="connsiteY12179" fmla="*/ 4666868 h 7571038"/>
                  <a:gd name="connsiteX12180" fmla="*/ 4241131 w 4381952"/>
                  <a:gd name="connsiteY12180" fmla="*/ 6098488 h 7571038"/>
                  <a:gd name="connsiteX12181" fmla="*/ 4237678 w 4381952"/>
                  <a:gd name="connsiteY12181" fmla="*/ 6095037 h 7571038"/>
                  <a:gd name="connsiteX12182" fmla="*/ 4234227 w 4381952"/>
                  <a:gd name="connsiteY12182" fmla="*/ 6098488 h 7571038"/>
                  <a:gd name="connsiteX12183" fmla="*/ 4237678 w 4381952"/>
                  <a:gd name="connsiteY12183" fmla="*/ 6101941 h 7571038"/>
                  <a:gd name="connsiteX12184" fmla="*/ 4241131 w 4381952"/>
                  <a:gd name="connsiteY12184" fmla="*/ 6098488 h 7571038"/>
                  <a:gd name="connsiteX12185" fmla="*/ 4245569 w 4381952"/>
                  <a:gd name="connsiteY12185" fmla="*/ 2790301 h 7571038"/>
                  <a:gd name="connsiteX12186" fmla="*/ 4209077 w 4381952"/>
                  <a:gd name="connsiteY12186" fmla="*/ 2753807 h 7571038"/>
                  <a:gd name="connsiteX12187" fmla="*/ 4172582 w 4381952"/>
                  <a:gd name="connsiteY12187" fmla="*/ 2790301 h 7571038"/>
                  <a:gd name="connsiteX12188" fmla="*/ 4209077 w 4381952"/>
                  <a:gd name="connsiteY12188" fmla="*/ 2826794 h 7571038"/>
                  <a:gd name="connsiteX12189" fmla="*/ 4245569 w 4381952"/>
                  <a:gd name="connsiteY12189" fmla="*/ 2790301 h 7571038"/>
                  <a:gd name="connsiteX12190" fmla="*/ 4247049 w 4381952"/>
                  <a:gd name="connsiteY12190" fmla="*/ 1417501 h 7571038"/>
                  <a:gd name="connsiteX12191" fmla="*/ 4219433 w 4381952"/>
                  <a:gd name="connsiteY12191" fmla="*/ 1389879 h 7571038"/>
                  <a:gd name="connsiteX12192" fmla="*/ 4191816 w 4381952"/>
                  <a:gd name="connsiteY12192" fmla="*/ 1417501 h 7571038"/>
                  <a:gd name="connsiteX12193" fmla="*/ 4219433 w 4381952"/>
                  <a:gd name="connsiteY12193" fmla="*/ 1445112 h 7571038"/>
                  <a:gd name="connsiteX12194" fmla="*/ 4247049 w 4381952"/>
                  <a:gd name="connsiteY12194" fmla="*/ 1417501 h 7571038"/>
                  <a:gd name="connsiteX12195" fmla="*/ 4248773 w 4381952"/>
                  <a:gd name="connsiteY12195" fmla="*/ 6228430 h 7571038"/>
                  <a:gd name="connsiteX12196" fmla="*/ 4246555 w 4381952"/>
                  <a:gd name="connsiteY12196" fmla="*/ 6226212 h 7571038"/>
                  <a:gd name="connsiteX12197" fmla="*/ 4244336 w 4381952"/>
                  <a:gd name="connsiteY12197" fmla="*/ 6228430 h 7571038"/>
                  <a:gd name="connsiteX12198" fmla="*/ 4246555 w 4381952"/>
                  <a:gd name="connsiteY12198" fmla="*/ 6230652 h 7571038"/>
                  <a:gd name="connsiteX12199" fmla="*/ 4248773 w 4381952"/>
                  <a:gd name="connsiteY12199" fmla="*/ 6228430 h 7571038"/>
                  <a:gd name="connsiteX12200" fmla="*/ 4249267 w 4381952"/>
                  <a:gd name="connsiteY12200" fmla="*/ 2330452 h 7571038"/>
                  <a:gd name="connsiteX12201" fmla="*/ 4240390 w 4381952"/>
                  <a:gd name="connsiteY12201" fmla="*/ 2321570 h 7571038"/>
                  <a:gd name="connsiteX12202" fmla="*/ 4231514 w 4381952"/>
                  <a:gd name="connsiteY12202" fmla="*/ 2330452 h 7571038"/>
                  <a:gd name="connsiteX12203" fmla="*/ 4240390 w 4381952"/>
                  <a:gd name="connsiteY12203" fmla="*/ 2339341 h 7571038"/>
                  <a:gd name="connsiteX12204" fmla="*/ 4249267 w 4381952"/>
                  <a:gd name="connsiteY12204" fmla="*/ 2330452 h 7571038"/>
                  <a:gd name="connsiteX12205" fmla="*/ 4250503 w 4381952"/>
                  <a:gd name="connsiteY12205" fmla="*/ 2079196 h 7571038"/>
                  <a:gd name="connsiteX12206" fmla="*/ 4211296 w 4381952"/>
                  <a:gd name="connsiteY12206" fmla="*/ 2039979 h 7571038"/>
                  <a:gd name="connsiteX12207" fmla="*/ 4172090 w 4381952"/>
                  <a:gd name="connsiteY12207" fmla="*/ 2079196 h 7571038"/>
                  <a:gd name="connsiteX12208" fmla="*/ 4211296 w 4381952"/>
                  <a:gd name="connsiteY12208" fmla="*/ 2118412 h 7571038"/>
                  <a:gd name="connsiteX12209" fmla="*/ 4250503 w 4381952"/>
                  <a:gd name="connsiteY12209" fmla="*/ 2079196 h 7571038"/>
                  <a:gd name="connsiteX12210" fmla="*/ 4250503 w 4381952"/>
                  <a:gd name="connsiteY12210" fmla="*/ 5351610 h 7571038"/>
                  <a:gd name="connsiteX12211" fmla="*/ 4247790 w 4381952"/>
                  <a:gd name="connsiteY12211" fmla="*/ 5348897 h 7571038"/>
                  <a:gd name="connsiteX12212" fmla="*/ 4245077 w 4381952"/>
                  <a:gd name="connsiteY12212" fmla="*/ 5351610 h 7571038"/>
                  <a:gd name="connsiteX12213" fmla="*/ 4247790 w 4381952"/>
                  <a:gd name="connsiteY12213" fmla="*/ 5354324 h 7571038"/>
                  <a:gd name="connsiteX12214" fmla="*/ 4250503 w 4381952"/>
                  <a:gd name="connsiteY12214" fmla="*/ 5351610 h 7571038"/>
                  <a:gd name="connsiteX12215" fmla="*/ 4251731 w 4381952"/>
                  <a:gd name="connsiteY12215" fmla="*/ 1931051 h 7571038"/>
                  <a:gd name="connsiteX12216" fmla="*/ 4237924 w 4381952"/>
                  <a:gd name="connsiteY12216" fmla="*/ 1917251 h 7571038"/>
                  <a:gd name="connsiteX12217" fmla="*/ 4223870 w 4381952"/>
                  <a:gd name="connsiteY12217" fmla="*/ 1931051 h 7571038"/>
                  <a:gd name="connsiteX12218" fmla="*/ 4237924 w 4381952"/>
                  <a:gd name="connsiteY12218" fmla="*/ 1945097 h 7571038"/>
                  <a:gd name="connsiteX12219" fmla="*/ 4251731 w 4381952"/>
                  <a:gd name="connsiteY12219" fmla="*/ 1931051 h 7571038"/>
                  <a:gd name="connsiteX12220" fmla="*/ 4259131 w 4381952"/>
                  <a:gd name="connsiteY12220" fmla="*/ 1116222 h 7571038"/>
                  <a:gd name="connsiteX12221" fmla="*/ 4212034 w 4381952"/>
                  <a:gd name="connsiteY12221" fmla="*/ 1069130 h 7571038"/>
                  <a:gd name="connsiteX12222" fmla="*/ 4164937 w 4381952"/>
                  <a:gd name="connsiteY12222" fmla="*/ 1116222 h 7571038"/>
                  <a:gd name="connsiteX12223" fmla="*/ 4212034 w 4381952"/>
                  <a:gd name="connsiteY12223" fmla="*/ 1163322 h 7571038"/>
                  <a:gd name="connsiteX12224" fmla="*/ 4259131 w 4381952"/>
                  <a:gd name="connsiteY12224" fmla="*/ 1116222 h 7571038"/>
                  <a:gd name="connsiteX12225" fmla="*/ 4259377 w 4381952"/>
                  <a:gd name="connsiteY12225" fmla="*/ 6357145 h 7571038"/>
                  <a:gd name="connsiteX12226" fmla="*/ 4254446 w 4381952"/>
                  <a:gd name="connsiteY12226" fmla="*/ 6351966 h 7571038"/>
                  <a:gd name="connsiteX12227" fmla="*/ 4249268 w 4381952"/>
                  <a:gd name="connsiteY12227" fmla="*/ 6357145 h 7571038"/>
                  <a:gd name="connsiteX12228" fmla="*/ 4254446 w 4381952"/>
                  <a:gd name="connsiteY12228" fmla="*/ 6362324 h 7571038"/>
                  <a:gd name="connsiteX12229" fmla="*/ 4259377 w 4381952"/>
                  <a:gd name="connsiteY12229" fmla="*/ 6357145 h 7571038"/>
                  <a:gd name="connsiteX12230" fmla="*/ 4261349 w 4381952"/>
                  <a:gd name="connsiteY12230" fmla="*/ 2593291 h 7571038"/>
                  <a:gd name="connsiteX12231" fmla="*/ 4249513 w 4381952"/>
                  <a:gd name="connsiteY12231" fmla="*/ 2581455 h 7571038"/>
                  <a:gd name="connsiteX12232" fmla="*/ 4237432 w 4381952"/>
                  <a:gd name="connsiteY12232" fmla="*/ 2593291 h 7571038"/>
                  <a:gd name="connsiteX12233" fmla="*/ 4249513 w 4381952"/>
                  <a:gd name="connsiteY12233" fmla="*/ 2605373 h 7571038"/>
                  <a:gd name="connsiteX12234" fmla="*/ 4261349 w 4381952"/>
                  <a:gd name="connsiteY12234" fmla="*/ 2593291 h 7571038"/>
                  <a:gd name="connsiteX12235" fmla="*/ 4264062 w 4381952"/>
                  <a:gd name="connsiteY12235" fmla="*/ 4155225 h 7571038"/>
                  <a:gd name="connsiteX12236" fmla="*/ 4212280 w 4381952"/>
                  <a:gd name="connsiteY12236" fmla="*/ 4103443 h 7571038"/>
                  <a:gd name="connsiteX12237" fmla="*/ 4160500 w 4381952"/>
                  <a:gd name="connsiteY12237" fmla="*/ 4155225 h 7571038"/>
                  <a:gd name="connsiteX12238" fmla="*/ 4212280 w 4381952"/>
                  <a:gd name="connsiteY12238" fmla="*/ 4207005 h 7571038"/>
                  <a:gd name="connsiteX12239" fmla="*/ 4264062 w 4381952"/>
                  <a:gd name="connsiteY12239" fmla="*/ 4155225 h 7571038"/>
                  <a:gd name="connsiteX12240" fmla="*/ 4266280 w 4381952"/>
                  <a:gd name="connsiteY12240" fmla="*/ 5491171 h 7571038"/>
                  <a:gd name="connsiteX12241" fmla="*/ 4265294 w 4381952"/>
                  <a:gd name="connsiteY12241" fmla="*/ 5490184 h 7571038"/>
                  <a:gd name="connsiteX12242" fmla="*/ 4264308 w 4381952"/>
                  <a:gd name="connsiteY12242" fmla="*/ 5491171 h 7571038"/>
                  <a:gd name="connsiteX12243" fmla="*/ 4265294 w 4381952"/>
                  <a:gd name="connsiteY12243" fmla="*/ 5492156 h 7571038"/>
                  <a:gd name="connsiteX12244" fmla="*/ 4266280 w 4381952"/>
                  <a:gd name="connsiteY12244" fmla="*/ 5491171 h 7571038"/>
                  <a:gd name="connsiteX12245" fmla="*/ 4267019 w 4381952"/>
                  <a:gd name="connsiteY12245" fmla="*/ 4820487 h 7571038"/>
                  <a:gd name="connsiteX12246" fmla="*/ 4248528 w 4381952"/>
                  <a:gd name="connsiteY12246" fmla="*/ 4801993 h 7571038"/>
                  <a:gd name="connsiteX12247" fmla="*/ 4230034 w 4381952"/>
                  <a:gd name="connsiteY12247" fmla="*/ 4820487 h 7571038"/>
                  <a:gd name="connsiteX12248" fmla="*/ 4248528 w 4381952"/>
                  <a:gd name="connsiteY12248" fmla="*/ 4838978 h 7571038"/>
                  <a:gd name="connsiteX12249" fmla="*/ 4267019 w 4381952"/>
                  <a:gd name="connsiteY12249" fmla="*/ 4820487 h 7571038"/>
                  <a:gd name="connsiteX12250" fmla="*/ 4267759 w 4381952"/>
                  <a:gd name="connsiteY12250" fmla="*/ 4405992 h 7571038"/>
                  <a:gd name="connsiteX12251" fmla="*/ 4230034 w 4381952"/>
                  <a:gd name="connsiteY12251" fmla="*/ 4368266 h 7571038"/>
                  <a:gd name="connsiteX12252" fmla="*/ 4192308 w 4381952"/>
                  <a:gd name="connsiteY12252" fmla="*/ 4405992 h 7571038"/>
                  <a:gd name="connsiteX12253" fmla="*/ 4230034 w 4381952"/>
                  <a:gd name="connsiteY12253" fmla="*/ 4443717 h 7571038"/>
                  <a:gd name="connsiteX12254" fmla="*/ 4267759 w 4381952"/>
                  <a:gd name="connsiteY12254" fmla="*/ 4405992 h 7571038"/>
                  <a:gd name="connsiteX12255" fmla="*/ 4268499 w 4381952"/>
                  <a:gd name="connsiteY12255" fmla="*/ 6484872 h 7571038"/>
                  <a:gd name="connsiteX12256" fmla="*/ 4261595 w 4381952"/>
                  <a:gd name="connsiteY12256" fmla="*/ 6477722 h 7571038"/>
                  <a:gd name="connsiteX12257" fmla="*/ 4254445 w 4381952"/>
                  <a:gd name="connsiteY12257" fmla="*/ 6484872 h 7571038"/>
                  <a:gd name="connsiteX12258" fmla="*/ 4261595 w 4381952"/>
                  <a:gd name="connsiteY12258" fmla="*/ 6492022 h 7571038"/>
                  <a:gd name="connsiteX12259" fmla="*/ 4268499 w 4381952"/>
                  <a:gd name="connsiteY12259" fmla="*/ 6484872 h 7571038"/>
                  <a:gd name="connsiteX12260" fmla="*/ 4269239 w 4381952"/>
                  <a:gd name="connsiteY12260" fmla="*/ 187001 h 7571038"/>
                  <a:gd name="connsiteX12261" fmla="*/ 4224609 w 4381952"/>
                  <a:gd name="connsiteY12261" fmla="*/ 142375 h 7571038"/>
                  <a:gd name="connsiteX12262" fmla="*/ 4179980 w 4381952"/>
                  <a:gd name="connsiteY12262" fmla="*/ 187001 h 7571038"/>
                  <a:gd name="connsiteX12263" fmla="*/ 4224609 w 4381952"/>
                  <a:gd name="connsiteY12263" fmla="*/ 231629 h 7571038"/>
                  <a:gd name="connsiteX12264" fmla="*/ 4269239 w 4381952"/>
                  <a:gd name="connsiteY12264" fmla="*/ 187001 h 7571038"/>
                  <a:gd name="connsiteX12265" fmla="*/ 4269240 w 4381952"/>
                  <a:gd name="connsiteY12265" fmla="*/ 983339 h 7571038"/>
                  <a:gd name="connsiteX12266" fmla="*/ 4222146 w 4381952"/>
                  <a:gd name="connsiteY12266" fmla="*/ 936243 h 7571038"/>
                  <a:gd name="connsiteX12267" fmla="*/ 4175049 w 4381952"/>
                  <a:gd name="connsiteY12267" fmla="*/ 983339 h 7571038"/>
                  <a:gd name="connsiteX12268" fmla="*/ 4222146 w 4381952"/>
                  <a:gd name="connsiteY12268" fmla="*/ 1030187 h 7571038"/>
                  <a:gd name="connsiteX12269" fmla="*/ 4269240 w 4381952"/>
                  <a:gd name="connsiteY12269" fmla="*/ 983339 h 7571038"/>
                  <a:gd name="connsiteX12270" fmla="*/ 4271952 w 4381952"/>
                  <a:gd name="connsiteY12270" fmla="*/ 1281157 h 7571038"/>
                  <a:gd name="connsiteX12271" fmla="*/ 4233735 w 4381952"/>
                  <a:gd name="connsiteY12271" fmla="*/ 1242949 h 7571038"/>
                  <a:gd name="connsiteX12272" fmla="*/ 4195515 w 4381952"/>
                  <a:gd name="connsiteY12272" fmla="*/ 1281157 h 7571038"/>
                  <a:gd name="connsiteX12273" fmla="*/ 4233735 w 4381952"/>
                  <a:gd name="connsiteY12273" fmla="*/ 1319373 h 7571038"/>
                  <a:gd name="connsiteX12274" fmla="*/ 4271952 w 4381952"/>
                  <a:gd name="connsiteY12274" fmla="*/ 1281157 h 7571038"/>
                  <a:gd name="connsiteX12275" fmla="*/ 4272444 w 4381952"/>
                  <a:gd name="connsiteY12275" fmla="*/ 2900768 h 7571038"/>
                  <a:gd name="connsiteX12276" fmla="*/ 4243347 w 4381952"/>
                  <a:gd name="connsiteY12276" fmla="*/ 2871673 h 7571038"/>
                  <a:gd name="connsiteX12277" fmla="*/ 4214253 w 4381952"/>
                  <a:gd name="connsiteY12277" fmla="*/ 2900768 h 7571038"/>
                  <a:gd name="connsiteX12278" fmla="*/ 4243347 w 4381952"/>
                  <a:gd name="connsiteY12278" fmla="*/ 2929865 h 7571038"/>
                  <a:gd name="connsiteX12279" fmla="*/ 4272444 w 4381952"/>
                  <a:gd name="connsiteY12279" fmla="*/ 2900768 h 7571038"/>
                  <a:gd name="connsiteX12280" fmla="*/ 4273430 w 4381952"/>
                  <a:gd name="connsiteY12280" fmla="*/ 62758 h 7571038"/>
                  <a:gd name="connsiteX12281" fmla="*/ 4229295 w 4381952"/>
                  <a:gd name="connsiteY12281" fmla="*/ 18624 h 7571038"/>
                  <a:gd name="connsiteX12282" fmla="*/ 4185158 w 4381952"/>
                  <a:gd name="connsiteY12282" fmla="*/ 62758 h 7571038"/>
                  <a:gd name="connsiteX12283" fmla="*/ 4229295 w 4381952"/>
                  <a:gd name="connsiteY12283" fmla="*/ 106893 h 7571038"/>
                  <a:gd name="connsiteX12284" fmla="*/ 4273430 w 4381952"/>
                  <a:gd name="connsiteY12284" fmla="*/ 62758 h 7571038"/>
                  <a:gd name="connsiteX12285" fmla="*/ 4277871 w 4381952"/>
                  <a:gd name="connsiteY12285" fmla="*/ 6611613 h 7571038"/>
                  <a:gd name="connsiteX12286" fmla="*/ 4268256 w 4381952"/>
                  <a:gd name="connsiteY12286" fmla="*/ 6601996 h 7571038"/>
                  <a:gd name="connsiteX12287" fmla="*/ 4258639 w 4381952"/>
                  <a:gd name="connsiteY12287" fmla="*/ 6611613 h 7571038"/>
                  <a:gd name="connsiteX12288" fmla="*/ 4268256 w 4381952"/>
                  <a:gd name="connsiteY12288" fmla="*/ 6621228 h 7571038"/>
                  <a:gd name="connsiteX12289" fmla="*/ 4277871 w 4381952"/>
                  <a:gd name="connsiteY12289" fmla="*/ 6611613 h 7571038"/>
                  <a:gd name="connsiteX12290" fmla="*/ 4278362 w 4381952"/>
                  <a:gd name="connsiteY12290" fmla="*/ 851934 h 7571038"/>
                  <a:gd name="connsiteX12291" fmla="*/ 4231760 w 4381952"/>
                  <a:gd name="connsiteY12291" fmla="*/ 805335 h 7571038"/>
                  <a:gd name="connsiteX12292" fmla="*/ 4185158 w 4381952"/>
                  <a:gd name="connsiteY12292" fmla="*/ 851934 h 7571038"/>
                  <a:gd name="connsiteX12293" fmla="*/ 4231760 w 4381952"/>
                  <a:gd name="connsiteY12293" fmla="*/ 898539 h 7571038"/>
                  <a:gd name="connsiteX12294" fmla="*/ 4278362 w 4381952"/>
                  <a:gd name="connsiteY12294" fmla="*/ 851934 h 7571038"/>
                  <a:gd name="connsiteX12295" fmla="*/ 4282062 w 4381952"/>
                  <a:gd name="connsiteY12295" fmla="*/ 5629502 h 7571038"/>
                  <a:gd name="connsiteX12296" fmla="*/ 4280581 w 4381952"/>
                  <a:gd name="connsiteY12296" fmla="*/ 5628021 h 7571038"/>
                  <a:gd name="connsiteX12297" fmla="*/ 4279102 w 4381952"/>
                  <a:gd name="connsiteY12297" fmla="*/ 5629502 h 7571038"/>
                  <a:gd name="connsiteX12298" fmla="*/ 4280581 w 4381952"/>
                  <a:gd name="connsiteY12298" fmla="*/ 5630980 h 7571038"/>
                  <a:gd name="connsiteX12299" fmla="*/ 4282062 w 4381952"/>
                  <a:gd name="connsiteY12299" fmla="*/ 5629502 h 7571038"/>
                  <a:gd name="connsiteX12300" fmla="*/ 4286253 w 4381952"/>
                  <a:gd name="connsiteY12300" fmla="*/ 721517 h 7571038"/>
                  <a:gd name="connsiteX12301" fmla="*/ 4239405 w 4381952"/>
                  <a:gd name="connsiteY12301" fmla="*/ 674668 h 7571038"/>
                  <a:gd name="connsiteX12302" fmla="*/ 4192554 w 4381952"/>
                  <a:gd name="connsiteY12302" fmla="*/ 721517 h 7571038"/>
                  <a:gd name="connsiteX12303" fmla="*/ 4239405 w 4381952"/>
                  <a:gd name="connsiteY12303" fmla="*/ 768371 h 7571038"/>
                  <a:gd name="connsiteX12304" fmla="*/ 4286253 w 4381952"/>
                  <a:gd name="connsiteY12304" fmla="*/ 721517 h 7571038"/>
                  <a:gd name="connsiteX12305" fmla="*/ 4288225 w 4381952"/>
                  <a:gd name="connsiteY12305" fmla="*/ 4044514 h 7571038"/>
                  <a:gd name="connsiteX12306" fmla="*/ 4246062 w 4381952"/>
                  <a:gd name="connsiteY12306" fmla="*/ 4002348 h 7571038"/>
                  <a:gd name="connsiteX12307" fmla="*/ 4203897 w 4381952"/>
                  <a:gd name="connsiteY12307" fmla="*/ 4044514 h 7571038"/>
                  <a:gd name="connsiteX12308" fmla="*/ 4246062 w 4381952"/>
                  <a:gd name="connsiteY12308" fmla="*/ 4086676 h 7571038"/>
                  <a:gd name="connsiteX12309" fmla="*/ 4288225 w 4381952"/>
                  <a:gd name="connsiteY12309" fmla="*/ 4044514 h 7571038"/>
                  <a:gd name="connsiteX12310" fmla="*/ 4292171 w 4381952"/>
                  <a:gd name="connsiteY12310" fmla="*/ 3013213 h 7571038"/>
                  <a:gd name="connsiteX12311" fmla="*/ 4271459 w 4381952"/>
                  <a:gd name="connsiteY12311" fmla="*/ 2992500 h 7571038"/>
                  <a:gd name="connsiteX12312" fmla="*/ 4250746 w 4381952"/>
                  <a:gd name="connsiteY12312" fmla="*/ 3013213 h 7571038"/>
                  <a:gd name="connsiteX12313" fmla="*/ 4271459 w 4381952"/>
                  <a:gd name="connsiteY12313" fmla="*/ 3033926 h 7571038"/>
                  <a:gd name="connsiteX12314" fmla="*/ 4292171 w 4381952"/>
                  <a:gd name="connsiteY12314" fmla="*/ 3013213 h 7571038"/>
                  <a:gd name="connsiteX12315" fmla="*/ 4293652 w 4381952"/>
                  <a:gd name="connsiteY12315" fmla="*/ 592776 h 7571038"/>
                  <a:gd name="connsiteX12316" fmla="*/ 4247050 w 4381952"/>
                  <a:gd name="connsiteY12316" fmla="*/ 546176 h 7571038"/>
                  <a:gd name="connsiteX12317" fmla="*/ 4200447 w 4381952"/>
                  <a:gd name="connsiteY12317" fmla="*/ 592776 h 7571038"/>
                  <a:gd name="connsiteX12318" fmla="*/ 4247050 w 4381952"/>
                  <a:gd name="connsiteY12318" fmla="*/ 639377 h 7571038"/>
                  <a:gd name="connsiteX12319" fmla="*/ 4293652 w 4381952"/>
                  <a:gd name="connsiteY12319" fmla="*/ 592776 h 7571038"/>
                  <a:gd name="connsiteX12320" fmla="*/ 4293897 w 4381952"/>
                  <a:gd name="connsiteY12320" fmla="*/ 6856709 h 7571038"/>
                  <a:gd name="connsiteX12321" fmla="*/ 4288228 w 4381952"/>
                  <a:gd name="connsiteY12321" fmla="*/ 6851282 h 7571038"/>
                  <a:gd name="connsiteX12322" fmla="*/ 4282802 w 4381952"/>
                  <a:gd name="connsiteY12322" fmla="*/ 6856709 h 7571038"/>
                  <a:gd name="connsiteX12323" fmla="*/ 4288228 w 4381952"/>
                  <a:gd name="connsiteY12323" fmla="*/ 6862132 h 7571038"/>
                  <a:gd name="connsiteX12324" fmla="*/ 4293897 w 4381952"/>
                  <a:gd name="connsiteY12324" fmla="*/ 6856709 h 7571038"/>
                  <a:gd name="connsiteX12325" fmla="*/ 4294146 w 4381952"/>
                  <a:gd name="connsiteY12325" fmla="*/ 6731445 h 7571038"/>
                  <a:gd name="connsiteX12326" fmla="*/ 4283048 w 4381952"/>
                  <a:gd name="connsiteY12326" fmla="*/ 6720349 h 7571038"/>
                  <a:gd name="connsiteX12327" fmla="*/ 4271952 w 4381952"/>
                  <a:gd name="connsiteY12327" fmla="*/ 6731445 h 7571038"/>
                  <a:gd name="connsiteX12328" fmla="*/ 4283048 w 4381952"/>
                  <a:gd name="connsiteY12328" fmla="*/ 6742541 h 7571038"/>
                  <a:gd name="connsiteX12329" fmla="*/ 4294146 w 4381952"/>
                  <a:gd name="connsiteY12329" fmla="*/ 6731445 h 7571038"/>
                  <a:gd name="connsiteX12330" fmla="*/ 4294884 w 4381952"/>
                  <a:gd name="connsiteY12330" fmla="*/ 4970898 h 7571038"/>
                  <a:gd name="connsiteX12331" fmla="*/ 4277131 w 4381952"/>
                  <a:gd name="connsiteY12331" fmla="*/ 4953143 h 7571038"/>
                  <a:gd name="connsiteX12332" fmla="*/ 4259377 w 4381952"/>
                  <a:gd name="connsiteY12332" fmla="*/ 4970898 h 7571038"/>
                  <a:gd name="connsiteX12333" fmla="*/ 4277131 w 4381952"/>
                  <a:gd name="connsiteY12333" fmla="*/ 4988651 h 7571038"/>
                  <a:gd name="connsiteX12334" fmla="*/ 4294884 w 4381952"/>
                  <a:gd name="connsiteY12334" fmla="*/ 4970898 h 7571038"/>
                  <a:gd name="connsiteX12335" fmla="*/ 4296362 w 4381952"/>
                  <a:gd name="connsiteY12335" fmla="*/ 1642362 h 7571038"/>
                  <a:gd name="connsiteX12336" fmla="*/ 4282308 w 4381952"/>
                  <a:gd name="connsiteY12336" fmla="*/ 1628303 h 7571038"/>
                  <a:gd name="connsiteX12337" fmla="*/ 4268253 w 4381952"/>
                  <a:gd name="connsiteY12337" fmla="*/ 1642362 h 7571038"/>
                  <a:gd name="connsiteX12338" fmla="*/ 4282308 w 4381952"/>
                  <a:gd name="connsiteY12338" fmla="*/ 1656407 h 7571038"/>
                  <a:gd name="connsiteX12339" fmla="*/ 4296362 w 4381952"/>
                  <a:gd name="connsiteY12339" fmla="*/ 1642362 h 7571038"/>
                  <a:gd name="connsiteX12340" fmla="*/ 4299818 w 4381952"/>
                  <a:gd name="connsiteY12340" fmla="*/ 464833 h 7571038"/>
                  <a:gd name="connsiteX12341" fmla="*/ 4253708 w 4381952"/>
                  <a:gd name="connsiteY12341" fmla="*/ 418725 h 7571038"/>
                  <a:gd name="connsiteX12342" fmla="*/ 4207597 w 4381952"/>
                  <a:gd name="connsiteY12342" fmla="*/ 464833 h 7571038"/>
                  <a:gd name="connsiteX12343" fmla="*/ 4253708 w 4381952"/>
                  <a:gd name="connsiteY12343" fmla="*/ 510941 h 7571038"/>
                  <a:gd name="connsiteX12344" fmla="*/ 4299818 w 4381952"/>
                  <a:gd name="connsiteY12344" fmla="*/ 464833 h 7571038"/>
                  <a:gd name="connsiteX12345" fmla="*/ 4300802 w 4381952"/>
                  <a:gd name="connsiteY12345" fmla="*/ 4564788 h 7571038"/>
                  <a:gd name="connsiteX12346" fmla="*/ 4272939 w 4381952"/>
                  <a:gd name="connsiteY12346" fmla="*/ 4537170 h 7571038"/>
                  <a:gd name="connsiteX12347" fmla="*/ 4245322 w 4381952"/>
                  <a:gd name="connsiteY12347" fmla="*/ 4564788 h 7571038"/>
                  <a:gd name="connsiteX12348" fmla="*/ 4272939 w 4381952"/>
                  <a:gd name="connsiteY12348" fmla="*/ 4592649 h 7571038"/>
                  <a:gd name="connsiteX12349" fmla="*/ 4300802 w 4381952"/>
                  <a:gd name="connsiteY12349" fmla="*/ 4564788 h 7571038"/>
                  <a:gd name="connsiteX12350" fmla="*/ 4300802 w 4381952"/>
                  <a:gd name="connsiteY12350" fmla="*/ 6980983 h 7571038"/>
                  <a:gd name="connsiteX12351" fmla="*/ 4293161 w 4381952"/>
                  <a:gd name="connsiteY12351" fmla="*/ 6973338 h 7571038"/>
                  <a:gd name="connsiteX12352" fmla="*/ 4285515 w 4381952"/>
                  <a:gd name="connsiteY12352" fmla="*/ 6980983 h 7571038"/>
                  <a:gd name="connsiteX12353" fmla="*/ 4293161 w 4381952"/>
                  <a:gd name="connsiteY12353" fmla="*/ 6988624 h 7571038"/>
                  <a:gd name="connsiteX12354" fmla="*/ 4300802 w 4381952"/>
                  <a:gd name="connsiteY12354" fmla="*/ 6980983 h 7571038"/>
                  <a:gd name="connsiteX12355" fmla="*/ 4302528 w 4381952"/>
                  <a:gd name="connsiteY12355" fmla="*/ 3932073 h 7571038"/>
                  <a:gd name="connsiteX12356" fmla="*/ 4273679 w 4381952"/>
                  <a:gd name="connsiteY12356" fmla="*/ 3902977 h 7571038"/>
                  <a:gd name="connsiteX12357" fmla="*/ 4244830 w 4381952"/>
                  <a:gd name="connsiteY12357" fmla="*/ 3932073 h 7571038"/>
                  <a:gd name="connsiteX12358" fmla="*/ 4273679 w 4381952"/>
                  <a:gd name="connsiteY12358" fmla="*/ 3960924 h 7571038"/>
                  <a:gd name="connsiteX12359" fmla="*/ 4302528 w 4381952"/>
                  <a:gd name="connsiteY12359" fmla="*/ 3932073 h 7571038"/>
                  <a:gd name="connsiteX12360" fmla="*/ 4305239 w 4381952"/>
                  <a:gd name="connsiteY12360" fmla="*/ 338121 h 7571038"/>
                  <a:gd name="connsiteX12361" fmla="*/ 4259622 w 4381952"/>
                  <a:gd name="connsiteY12361" fmla="*/ 292507 h 7571038"/>
                  <a:gd name="connsiteX12362" fmla="*/ 4214006 w 4381952"/>
                  <a:gd name="connsiteY12362" fmla="*/ 338121 h 7571038"/>
                  <a:gd name="connsiteX12363" fmla="*/ 4259622 w 4381952"/>
                  <a:gd name="connsiteY12363" fmla="*/ 383737 h 7571038"/>
                  <a:gd name="connsiteX12364" fmla="*/ 4305239 w 4381952"/>
                  <a:gd name="connsiteY12364" fmla="*/ 338121 h 7571038"/>
                  <a:gd name="connsiteX12365" fmla="*/ 4305980 w 4381952"/>
                  <a:gd name="connsiteY12365" fmla="*/ 1785859 h 7571038"/>
                  <a:gd name="connsiteX12366" fmla="*/ 4261596 w 4381952"/>
                  <a:gd name="connsiteY12366" fmla="*/ 1741465 h 7571038"/>
                  <a:gd name="connsiteX12367" fmla="*/ 4217212 w 4381952"/>
                  <a:gd name="connsiteY12367" fmla="*/ 1785859 h 7571038"/>
                  <a:gd name="connsiteX12368" fmla="*/ 4261596 w 4381952"/>
                  <a:gd name="connsiteY12368" fmla="*/ 1830277 h 7571038"/>
                  <a:gd name="connsiteX12369" fmla="*/ 4305980 w 4381952"/>
                  <a:gd name="connsiteY12369" fmla="*/ 1785859 h 7571038"/>
                  <a:gd name="connsiteX12370" fmla="*/ 4306225 w 4381952"/>
                  <a:gd name="connsiteY12370" fmla="*/ 3126887 h 7571038"/>
                  <a:gd name="connsiteX12371" fmla="*/ 4293652 w 4381952"/>
                  <a:gd name="connsiteY12371" fmla="*/ 3114311 h 7571038"/>
                  <a:gd name="connsiteX12372" fmla="*/ 4281075 w 4381952"/>
                  <a:gd name="connsiteY12372" fmla="*/ 3126887 h 7571038"/>
                  <a:gd name="connsiteX12373" fmla="*/ 4293652 w 4381952"/>
                  <a:gd name="connsiteY12373" fmla="*/ 3139463 h 7571038"/>
                  <a:gd name="connsiteX12374" fmla="*/ 4306225 w 4381952"/>
                  <a:gd name="connsiteY12374" fmla="*/ 3126887 h 7571038"/>
                  <a:gd name="connsiteX12375" fmla="*/ 4306473 w 4381952"/>
                  <a:gd name="connsiteY12375" fmla="*/ 5755993 h 7571038"/>
                  <a:gd name="connsiteX12376" fmla="*/ 4304992 w 4381952"/>
                  <a:gd name="connsiteY12376" fmla="*/ 5754514 h 7571038"/>
                  <a:gd name="connsiteX12377" fmla="*/ 4303514 w 4381952"/>
                  <a:gd name="connsiteY12377" fmla="*/ 5755993 h 7571038"/>
                  <a:gd name="connsiteX12378" fmla="*/ 4304992 w 4381952"/>
                  <a:gd name="connsiteY12378" fmla="*/ 5757474 h 7571038"/>
                  <a:gd name="connsiteX12379" fmla="*/ 4306473 w 4381952"/>
                  <a:gd name="connsiteY12379" fmla="*/ 5755993 h 7571038"/>
                  <a:gd name="connsiteX12380" fmla="*/ 4308941 w 4381952"/>
                  <a:gd name="connsiteY12380" fmla="*/ 5119337 h 7571038"/>
                  <a:gd name="connsiteX12381" fmla="*/ 4301543 w 4381952"/>
                  <a:gd name="connsiteY12381" fmla="*/ 5111938 h 7571038"/>
                  <a:gd name="connsiteX12382" fmla="*/ 4294146 w 4381952"/>
                  <a:gd name="connsiteY12382" fmla="*/ 5119337 h 7571038"/>
                  <a:gd name="connsiteX12383" fmla="*/ 4301543 w 4381952"/>
                  <a:gd name="connsiteY12383" fmla="*/ 5126733 h 7571038"/>
                  <a:gd name="connsiteX12384" fmla="*/ 4308941 w 4381952"/>
                  <a:gd name="connsiteY12384" fmla="*/ 5119337 h 7571038"/>
                  <a:gd name="connsiteX12385" fmla="*/ 4310173 w 4381952"/>
                  <a:gd name="connsiteY12385" fmla="*/ 3818401 h 7571038"/>
                  <a:gd name="connsiteX12386" fmla="*/ 4295377 w 4381952"/>
                  <a:gd name="connsiteY12386" fmla="*/ 3803607 h 7571038"/>
                  <a:gd name="connsiteX12387" fmla="*/ 4280583 w 4381952"/>
                  <a:gd name="connsiteY12387" fmla="*/ 3818401 h 7571038"/>
                  <a:gd name="connsiteX12388" fmla="*/ 4295377 w 4381952"/>
                  <a:gd name="connsiteY12388" fmla="*/ 3833196 h 7571038"/>
                  <a:gd name="connsiteX12389" fmla="*/ 4310173 w 4381952"/>
                  <a:gd name="connsiteY12389" fmla="*/ 3818401 h 7571038"/>
                  <a:gd name="connsiteX12390" fmla="*/ 4312883 w 4381952"/>
                  <a:gd name="connsiteY12390" fmla="*/ 2176363 h 7571038"/>
                  <a:gd name="connsiteX12391" fmla="*/ 4275158 w 4381952"/>
                  <a:gd name="connsiteY12391" fmla="*/ 2138630 h 7571038"/>
                  <a:gd name="connsiteX12392" fmla="*/ 4237432 w 4381952"/>
                  <a:gd name="connsiteY12392" fmla="*/ 2176363 h 7571038"/>
                  <a:gd name="connsiteX12393" fmla="*/ 4275158 w 4381952"/>
                  <a:gd name="connsiteY12393" fmla="*/ 2214097 h 7571038"/>
                  <a:gd name="connsiteX12394" fmla="*/ 4312883 w 4381952"/>
                  <a:gd name="connsiteY12394" fmla="*/ 2176363 h 7571038"/>
                  <a:gd name="connsiteX12395" fmla="*/ 4312886 w 4381952"/>
                  <a:gd name="connsiteY12395" fmla="*/ 2025440 h 7571038"/>
                  <a:gd name="connsiteX12396" fmla="*/ 4305733 w 4381952"/>
                  <a:gd name="connsiteY12396" fmla="*/ 2018285 h 7571038"/>
                  <a:gd name="connsiteX12397" fmla="*/ 4298583 w 4381952"/>
                  <a:gd name="connsiteY12397" fmla="*/ 2025440 h 7571038"/>
                  <a:gd name="connsiteX12398" fmla="*/ 4305733 w 4381952"/>
                  <a:gd name="connsiteY12398" fmla="*/ 2032593 h 7571038"/>
                  <a:gd name="connsiteX12399" fmla="*/ 4312886 w 4381952"/>
                  <a:gd name="connsiteY12399" fmla="*/ 2025440 h 7571038"/>
                  <a:gd name="connsiteX12400" fmla="*/ 4314118 w 4381952"/>
                  <a:gd name="connsiteY12400" fmla="*/ 3703495 h 7571038"/>
                  <a:gd name="connsiteX12401" fmla="*/ 4310665 w 4381952"/>
                  <a:gd name="connsiteY12401" fmla="*/ 3700045 h 7571038"/>
                  <a:gd name="connsiteX12402" fmla="*/ 4307214 w 4381952"/>
                  <a:gd name="connsiteY12402" fmla="*/ 3703495 h 7571038"/>
                  <a:gd name="connsiteX12403" fmla="*/ 4310665 w 4381952"/>
                  <a:gd name="connsiteY12403" fmla="*/ 3707195 h 7571038"/>
                  <a:gd name="connsiteX12404" fmla="*/ 4314118 w 4381952"/>
                  <a:gd name="connsiteY12404" fmla="*/ 3703495 h 7571038"/>
                  <a:gd name="connsiteX12405" fmla="*/ 4314365 w 4381952"/>
                  <a:gd name="connsiteY12405" fmla="*/ 2701789 h 7571038"/>
                  <a:gd name="connsiteX12406" fmla="*/ 4292665 w 4381952"/>
                  <a:gd name="connsiteY12406" fmla="*/ 2679842 h 7571038"/>
                  <a:gd name="connsiteX12407" fmla="*/ 4270967 w 4381952"/>
                  <a:gd name="connsiteY12407" fmla="*/ 2701789 h 7571038"/>
                  <a:gd name="connsiteX12408" fmla="*/ 4292665 w 4381952"/>
                  <a:gd name="connsiteY12408" fmla="*/ 2723488 h 7571038"/>
                  <a:gd name="connsiteX12409" fmla="*/ 4314365 w 4381952"/>
                  <a:gd name="connsiteY12409" fmla="*/ 2701789 h 7571038"/>
                  <a:gd name="connsiteX12410" fmla="*/ 4315102 w 4381952"/>
                  <a:gd name="connsiteY12410" fmla="*/ 3241303 h 7571038"/>
                  <a:gd name="connsiteX12411" fmla="*/ 4309433 w 4381952"/>
                  <a:gd name="connsiteY12411" fmla="*/ 3235631 h 7571038"/>
                  <a:gd name="connsiteX12412" fmla="*/ 4303761 w 4381952"/>
                  <a:gd name="connsiteY12412" fmla="*/ 3241303 h 7571038"/>
                  <a:gd name="connsiteX12413" fmla="*/ 4309433 w 4381952"/>
                  <a:gd name="connsiteY12413" fmla="*/ 3246974 h 7571038"/>
                  <a:gd name="connsiteX12414" fmla="*/ 4315102 w 4381952"/>
                  <a:gd name="connsiteY12414" fmla="*/ 3241303 h 7571038"/>
                  <a:gd name="connsiteX12415" fmla="*/ 4316827 w 4381952"/>
                  <a:gd name="connsiteY12415" fmla="*/ 2433278 h 7571038"/>
                  <a:gd name="connsiteX12416" fmla="*/ 4294883 w 4381952"/>
                  <a:gd name="connsiteY12416" fmla="*/ 2411333 h 7571038"/>
                  <a:gd name="connsiteX12417" fmla="*/ 4273184 w 4381952"/>
                  <a:gd name="connsiteY12417" fmla="*/ 2433278 h 7571038"/>
                  <a:gd name="connsiteX12418" fmla="*/ 4294883 w 4381952"/>
                  <a:gd name="connsiteY12418" fmla="*/ 2454971 h 7571038"/>
                  <a:gd name="connsiteX12419" fmla="*/ 4316827 w 4381952"/>
                  <a:gd name="connsiteY12419" fmla="*/ 2433278 h 7571038"/>
                  <a:gd name="connsiteX12420" fmla="*/ 4317323 w 4381952"/>
                  <a:gd name="connsiteY12420" fmla="*/ 4298482 h 7571038"/>
                  <a:gd name="connsiteX12421" fmla="*/ 4275403 w 4381952"/>
                  <a:gd name="connsiteY12421" fmla="*/ 4256565 h 7571038"/>
                  <a:gd name="connsiteX12422" fmla="*/ 4233733 w 4381952"/>
                  <a:gd name="connsiteY12422" fmla="*/ 4298482 h 7571038"/>
                  <a:gd name="connsiteX12423" fmla="*/ 4275403 w 4381952"/>
                  <a:gd name="connsiteY12423" fmla="*/ 4340402 h 7571038"/>
                  <a:gd name="connsiteX12424" fmla="*/ 4317323 w 4381952"/>
                  <a:gd name="connsiteY12424" fmla="*/ 4298482 h 7571038"/>
                  <a:gd name="connsiteX12425" fmla="*/ 4318556 w 4381952"/>
                  <a:gd name="connsiteY12425" fmla="*/ 5891363 h 7571038"/>
                  <a:gd name="connsiteX12426" fmla="*/ 4317075 w 4381952"/>
                  <a:gd name="connsiteY12426" fmla="*/ 5889885 h 7571038"/>
                  <a:gd name="connsiteX12427" fmla="*/ 4315596 w 4381952"/>
                  <a:gd name="connsiteY12427" fmla="*/ 5891363 h 7571038"/>
                  <a:gd name="connsiteX12428" fmla="*/ 4317075 w 4381952"/>
                  <a:gd name="connsiteY12428" fmla="*/ 5892598 h 7571038"/>
                  <a:gd name="connsiteX12429" fmla="*/ 4318556 w 4381952"/>
                  <a:gd name="connsiteY12429" fmla="*/ 5891363 h 7571038"/>
                  <a:gd name="connsiteX12430" fmla="*/ 4320036 w 4381952"/>
                  <a:gd name="connsiteY12430" fmla="*/ 3588101 h 7571038"/>
                  <a:gd name="connsiteX12431" fmla="*/ 4319541 w 4381952"/>
                  <a:gd name="connsiteY12431" fmla="*/ 3587606 h 7571038"/>
                  <a:gd name="connsiteX12432" fmla="*/ 4319295 w 4381952"/>
                  <a:gd name="connsiteY12432" fmla="*/ 3588101 h 7571038"/>
                  <a:gd name="connsiteX12433" fmla="*/ 4319541 w 4381952"/>
                  <a:gd name="connsiteY12433" fmla="*/ 3588593 h 7571038"/>
                  <a:gd name="connsiteX12434" fmla="*/ 4320036 w 4381952"/>
                  <a:gd name="connsiteY12434" fmla="*/ 3588101 h 7571038"/>
                  <a:gd name="connsiteX12435" fmla="*/ 4321265 w 4381952"/>
                  <a:gd name="connsiteY12435" fmla="*/ 1500841 h 7571038"/>
                  <a:gd name="connsiteX12436" fmla="*/ 4300307 w 4381952"/>
                  <a:gd name="connsiteY12436" fmla="*/ 1479877 h 7571038"/>
                  <a:gd name="connsiteX12437" fmla="*/ 4279349 w 4381952"/>
                  <a:gd name="connsiteY12437" fmla="*/ 1500841 h 7571038"/>
                  <a:gd name="connsiteX12438" fmla="*/ 4300307 w 4381952"/>
                  <a:gd name="connsiteY12438" fmla="*/ 1521804 h 7571038"/>
                  <a:gd name="connsiteX12439" fmla="*/ 4321265 w 4381952"/>
                  <a:gd name="connsiteY12439" fmla="*/ 1500841 h 7571038"/>
                  <a:gd name="connsiteX12440" fmla="*/ 4322255 w 4381952"/>
                  <a:gd name="connsiteY12440" fmla="*/ 3356944 h 7571038"/>
                  <a:gd name="connsiteX12441" fmla="*/ 4319047 w 4381952"/>
                  <a:gd name="connsiteY12441" fmla="*/ 3353731 h 7571038"/>
                  <a:gd name="connsiteX12442" fmla="*/ 4315842 w 4381952"/>
                  <a:gd name="connsiteY12442" fmla="*/ 3356944 h 7571038"/>
                  <a:gd name="connsiteX12443" fmla="*/ 4319047 w 4381952"/>
                  <a:gd name="connsiteY12443" fmla="*/ 3360144 h 7571038"/>
                  <a:gd name="connsiteX12444" fmla="*/ 4322255 w 4381952"/>
                  <a:gd name="connsiteY12444" fmla="*/ 3356944 h 7571038"/>
                  <a:gd name="connsiteX12445" fmla="*/ 4322749 w 4381952"/>
                  <a:gd name="connsiteY12445" fmla="*/ 3472211 h 7571038"/>
                  <a:gd name="connsiteX12446" fmla="*/ 4322257 w 4381952"/>
                  <a:gd name="connsiteY12446" fmla="*/ 3471717 h 7571038"/>
                  <a:gd name="connsiteX12447" fmla="*/ 4321762 w 4381952"/>
                  <a:gd name="connsiteY12447" fmla="*/ 3472211 h 7571038"/>
                  <a:gd name="connsiteX12448" fmla="*/ 4322257 w 4381952"/>
                  <a:gd name="connsiteY12448" fmla="*/ 3472703 h 7571038"/>
                  <a:gd name="connsiteX12449" fmla="*/ 4322749 w 4381952"/>
                  <a:gd name="connsiteY12449" fmla="*/ 3472211 h 7571038"/>
                  <a:gd name="connsiteX12450" fmla="*/ 4327431 w 4381952"/>
                  <a:gd name="connsiteY12450" fmla="*/ 5264078 h 7571038"/>
                  <a:gd name="connsiteX12451" fmla="*/ 4323978 w 4381952"/>
                  <a:gd name="connsiteY12451" fmla="*/ 5260625 h 7571038"/>
                  <a:gd name="connsiteX12452" fmla="*/ 4320527 w 4381952"/>
                  <a:gd name="connsiteY12452" fmla="*/ 5264078 h 7571038"/>
                  <a:gd name="connsiteX12453" fmla="*/ 4323978 w 4381952"/>
                  <a:gd name="connsiteY12453" fmla="*/ 5267529 h 7571038"/>
                  <a:gd name="connsiteX12454" fmla="*/ 4327431 w 4381952"/>
                  <a:gd name="connsiteY12454" fmla="*/ 5264078 h 7571038"/>
                  <a:gd name="connsiteX12455" fmla="*/ 4329158 w 4381952"/>
                  <a:gd name="connsiteY12455" fmla="*/ 6025252 h 7571038"/>
                  <a:gd name="connsiteX12456" fmla="*/ 4327680 w 4381952"/>
                  <a:gd name="connsiteY12456" fmla="*/ 6023773 h 7571038"/>
                  <a:gd name="connsiteX12457" fmla="*/ 4325954 w 4381952"/>
                  <a:gd name="connsiteY12457" fmla="*/ 6025252 h 7571038"/>
                  <a:gd name="connsiteX12458" fmla="*/ 4327680 w 4381952"/>
                  <a:gd name="connsiteY12458" fmla="*/ 6026978 h 7571038"/>
                  <a:gd name="connsiteX12459" fmla="*/ 4329158 w 4381952"/>
                  <a:gd name="connsiteY12459" fmla="*/ 6025252 h 7571038"/>
                  <a:gd name="connsiteX12460" fmla="*/ 4329407 w 4381952"/>
                  <a:gd name="connsiteY12460" fmla="*/ 4721609 h 7571038"/>
                  <a:gd name="connsiteX12461" fmla="*/ 4309926 w 4381952"/>
                  <a:gd name="connsiteY12461" fmla="*/ 4702128 h 7571038"/>
                  <a:gd name="connsiteX12462" fmla="*/ 4290446 w 4381952"/>
                  <a:gd name="connsiteY12462" fmla="*/ 4721609 h 7571038"/>
                  <a:gd name="connsiteX12463" fmla="*/ 4309926 w 4381952"/>
                  <a:gd name="connsiteY12463" fmla="*/ 4741085 h 7571038"/>
                  <a:gd name="connsiteX12464" fmla="*/ 4329407 w 4381952"/>
                  <a:gd name="connsiteY12464" fmla="*/ 4721609 h 7571038"/>
                  <a:gd name="connsiteX12465" fmla="*/ 4341240 w 4381952"/>
                  <a:gd name="connsiteY12465" fmla="*/ 6156926 h 7571038"/>
                  <a:gd name="connsiteX12466" fmla="*/ 4338280 w 4381952"/>
                  <a:gd name="connsiteY12466" fmla="*/ 6153966 h 7571038"/>
                  <a:gd name="connsiteX12467" fmla="*/ 4335321 w 4381952"/>
                  <a:gd name="connsiteY12467" fmla="*/ 6156926 h 7571038"/>
                  <a:gd name="connsiteX12468" fmla="*/ 4338280 w 4381952"/>
                  <a:gd name="connsiteY12468" fmla="*/ 6159885 h 7571038"/>
                  <a:gd name="connsiteX12469" fmla="*/ 4341240 w 4381952"/>
                  <a:gd name="connsiteY12469" fmla="*/ 6156926 h 7571038"/>
                  <a:gd name="connsiteX12470" fmla="*/ 4346171 w 4381952"/>
                  <a:gd name="connsiteY12470" fmla="*/ 1193647 h 7571038"/>
                  <a:gd name="connsiteX12471" fmla="*/ 4298829 w 4381952"/>
                  <a:gd name="connsiteY12471" fmla="*/ 1146308 h 7571038"/>
                  <a:gd name="connsiteX12472" fmla="*/ 4251486 w 4381952"/>
                  <a:gd name="connsiteY12472" fmla="*/ 1193647 h 7571038"/>
                  <a:gd name="connsiteX12473" fmla="*/ 4298829 w 4381952"/>
                  <a:gd name="connsiteY12473" fmla="*/ 1240997 h 7571038"/>
                  <a:gd name="connsiteX12474" fmla="*/ 4346171 w 4381952"/>
                  <a:gd name="connsiteY12474" fmla="*/ 1193647 h 7571038"/>
                  <a:gd name="connsiteX12475" fmla="*/ 4346171 w 4381952"/>
                  <a:gd name="connsiteY12475" fmla="*/ 5406595 h 7571038"/>
                  <a:gd name="connsiteX12476" fmla="*/ 4344199 w 4381952"/>
                  <a:gd name="connsiteY12476" fmla="*/ 5404622 h 7571038"/>
                  <a:gd name="connsiteX12477" fmla="*/ 4342226 w 4381952"/>
                  <a:gd name="connsiteY12477" fmla="*/ 5406595 h 7571038"/>
                  <a:gd name="connsiteX12478" fmla="*/ 4344199 w 4381952"/>
                  <a:gd name="connsiteY12478" fmla="*/ 5408567 h 7571038"/>
                  <a:gd name="connsiteX12479" fmla="*/ 4346171 w 4381952"/>
                  <a:gd name="connsiteY12479" fmla="*/ 5406595 h 7571038"/>
                  <a:gd name="connsiteX12480" fmla="*/ 4350365 w 4381952"/>
                  <a:gd name="connsiteY12480" fmla="*/ 1361550 h 7571038"/>
                  <a:gd name="connsiteX12481" fmla="*/ 4316831 w 4381952"/>
                  <a:gd name="connsiteY12481" fmla="*/ 1328007 h 7571038"/>
                  <a:gd name="connsiteX12482" fmla="*/ 4283296 w 4381952"/>
                  <a:gd name="connsiteY12482" fmla="*/ 1361550 h 7571038"/>
                  <a:gd name="connsiteX12483" fmla="*/ 4316831 w 4381952"/>
                  <a:gd name="connsiteY12483" fmla="*/ 1395081 h 7571038"/>
                  <a:gd name="connsiteX12484" fmla="*/ 4350365 w 4381952"/>
                  <a:gd name="connsiteY12484" fmla="*/ 1361550 h 7571038"/>
                  <a:gd name="connsiteX12485" fmla="*/ 4352830 w 4381952"/>
                  <a:gd name="connsiteY12485" fmla="*/ 6288106 h 7571038"/>
                  <a:gd name="connsiteX12486" fmla="*/ 4347407 w 4381952"/>
                  <a:gd name="connsiteY12486" fmla="*/ 6282680 h 7571038"/>
                  <a:gd name="connsiteX12487" fmla="*/ 4341980 w 4381952"/>
                  <a:gd name="connsiteY12487" fmla="*/ 6288106 h 7571038"/>
                  <a:gd name="connsiteX12488" fmla="*/ 4347407 w 4381952"/>
                  <a:gd name="connsiteY12488" fmla="*/ 6293529 h 7571038"/>
                  <a:gd name="connsiteX12489" fmla="*/ 4352830 w 4381952"/>
                  <a:gd name="connsiteY12489" fmla="*/ 6288106 h 7571038"/>
                  <a:gd name="connsiteX12490" fmla="*/ 4357515 w 4381952"/>
                  <a:gd name="connsiteY12490" fmla="*/ 4077553 h 7571038"/>
                  <a:gd name="connsiteX12491" fmla="*/ 4349377 w 4381952"/>
                  <a:gd name="connsiteY12491" fmla="*/ 4069416 h 7571038"/>
                  <a:gd name="connsiteX12492" fmla="*/ 4341240 w 4381952"/>
                  <a:gd name="connsiteY12492" fmla="*/ 4077553 h 7571038"/>
                  <a:gd name="connsiteX12493" fmla="*/ 4349377 w 4381952"/>
                  <a:gd name="connsiteY12493" fmla="*/ 4085693 h 7571038"/>
                  <a:gd name="connsiteX12494" fmla="*/ 4357515 w 4381952"/>
                  <a:gd name="connsiteY12494" fmla="*/ 4077553 h 7571038"/>
                  <a:gd name="connsiteX12495" fmla="*/ 4358008 w 4381952"/>
                  <a:gd name="connsiteY12495" fmla="*/ 1058536 h 7571038"/>
                  <a:gd name="connsiteX12496" fmla="*/ 4310911 w 4381952"/>
                  <a:gd name="connsiteY12496" fmla="*/ 1011451 h 7571038"/>
                  <a:gd name="connsiteX12497" fmla="*/ 4263568 w 4381952"/>
                  <a:gd name="connsiteY12497" fmla="*/ 1058536 h 7571038"/>
                  <a:gd name="connsiteX12498" fmla="*/ 4310911 w 4381952"/>
                  <a:gd name="connsiteY12498" fmla="*/ 1105639 h 7571038"/>
                  <a:gd name="connsiteX12499" fmla="*/ 4358008 w 4381952"/>
                  <a:gd name="connsiteY12499" fmla="*/ 1058536 h 7571038"/>
                  <a:gd name="connsiteX12500" fmla="*/ 4358993 w 4381952"/>
                  <a:gd name="connsiteY12500" fmla="*/ 4189006 h 7571038"/>
                  <a:gd name="connsiteX12501" fmla="*/ 4315350 w 4381952"/>
                  <a:gd name="connsiteY12501" fmla="*/ 4145362 h 7571038"/>
                  <a:gd name="connsiteX12502" fmla="*/ 4271707 w 4381952"/>
                  <a:gd name="connsiteY12502" fmla="*/ 4189006 h 7571038"/>
                  <a:gd name="connsiteX12503" fmla="*/ 4315350 w 4381952"/>
                  <a:gd name="connsiteY12503" fmla="*/ 4232649 h 7571038"/>
                  <a:gd name="connsiteX12504" fmla="*/ 4358993 w 4381952"/>
                  <a:gd name="connsiteY12504" fmla="*/ 4189006 h 7571038"/>
                  <a:gd name="connsiteX12505" fmla="*/ 4359734 w 4381952"/>
                  <a:gd name="connsiteY12505" fmla="*/ 2812012 h 7571038"/>
                  <a:gd name="connsiteX12506" fmla="*/ 4330145 w 4381952"/>
                  <a:gd name="connsiteY12506" fmla="*/ 2782422 h 7571038"/>
                  <a:gd name="connsiteX12507" fmla="*/ 4300555 w 4381952"/>
                  <a:gd name="connsiteY12507" fmla="*/ 2812012 h 7571038"/>
                  <a:gd name="connsiteX12508" fmla="*/ 4330145 w 4381952"/>
                  <a:gd name="connsiteY12508" fmla="*/ 2841603 h 7571038"/>
                  <a:gd name="connsiteX12509" fmla="*/ 4359734 w 4381952"/>
                  <a:gd name="connsiteY12509" fmla="*/ 2812012 h 7571038"/>
                  <a:gd name="connsiteX12510" fmla="*/ 4361955 w 4381952"/>
                  <a:gd name="connsiteY12510" fmla="*/ 4460485 h 7571038"/>
                  <a:gd name="connsiteX12511" fmla="*/ 4324227 w 4381952"/>
                  <a:gd name="connsiteY12511" fmla="*/ 4422758 h 7571038"/>
                  <a:gd name="connsiteX12512" fmla="*/ 4286501 w 4381952"/>
                  <a:gd name="connsiteY12512" fmla="*/ 4460485 h 7571038"/>
                  <a:gd name="connsiteX12513" fmla="*/ 4324227 w 4381952"/>
                  <a:gd name="connsiteY12513" fmla="*/ 4498210 h 7571038"/>
                  <a:gd name="connsiteX12514" fmla="*/ 4361955 w 4381952"/>
                  <a:gd name="connsiteY12514" fmla="*/ 4460485 h 7571038"/>
                  <a:gd name="connsiteX12515" fmla="*/ 4363679 w 4381952"/>
                  <a:gd name="connsiteY12515" fmla="*/ 6417309 h 7571038"/>
                  <a:gd name="connsiteX12516" fmla="*/ 4355788 w 4381952"/>
                  <a:gd name="connsiteY12516" fmla="*/ 6409418 h 7571038"/>
                  <a:gd name="connsiteX12517" fmla="*/ 4347898 w 4381952"/>
                  <a:gd name="connsiteY12517" fmla="*/ 6417309 h 7571038"/>
                  <a:gd name="connsiteX12518" fmla="*/ 4355788 w 4381952"/>
                  <a:gd name="connsiteY12518" fmla="*/ 6425199 h 7571038"/>
                  <a:gd name="connsiteX12519" fmla="*/ 4363679 w 4381952"/>
                  <a:gd name="connsiteY12519" fmla="*/ 6417309 h 7571038"/>
                  <a:gd name="connsiteX12520" fmla="*/ 4363680 w 4381952"/>
                  <a:gd name="connsiteY12520" fmla="*/ 5547142 h 7571038"/>
                  <a:gd name="connsiteX12521" fmla="*/ 4362199 w 4381952"/>
                  <a:gd name="connsiteY12521" fmla="*/ 5545663 h 7571038"/>
                  <a:gd name="connsiteX12522" fmla="*/ 4360720 w 4381952"/>
                  <a:gd name="connsiteY12522" fmla="*/ 5547142 h 7571038"/>
                  <a:gd name="connsiteX12523" fmla="*/ 4362199 w 4381952"/>
                  <a:gd name="connsiteY12523" fmla="*/ 5548623 h 7571038"/>
                  <a:gd name="connsiteX12524" fmla="*/ 4363680 w 4381952"/>
                  <a:gd name="connsiteY12524" fmla="*/ 5547142 h 7571038"/>
                  <a:gd name="connsiteX12525" fmla="*/ 4364419 w 4381952"/>
                  <a:gd name="connsiteY12525" fmla="*/ 4874977 h 7571038"/>
                  <a:gd name="connsiteX12526" fmla="*/ 4342474 w 4381952"/>
                  <a:gd name="connsiteY12526" fmla="*/ 4853278 h 7571038"/>
                  <a:gd name="connsiteX12527" fmla="*/ 4320776 w 4381952"/>
                  <a:gd name="connsiteY12527" fmla="*/ 4874977 h 7571038"/>
                  <a:gd name="connsiteX12528" fmla="*/ 4342474 w 4381952"/>
                  <a:gd name="connsiteY12528" fmla="*/ 4896676 h 7571038"/>
                  <a:gd name="connsiteX12529" fmla="*/ 4364419 w 4381952"/>
                  <a:gd name="connsiteY12529" fmla="*/ 4874977 h 7571038"/>
                  <a:gd name="connsiteX12530" fmla="*/ 4367870 w 4381952"/>
                  <a:gd name="connsiteY12530" fmla="*/ 250121 h 7571038"/>
                  <a:gd name="connsiteX12531" fmla="*/ 4322500 w 4381952"/>
                  <a:gd name="connsiteY12531" fmla="*/ 204753 h 7571038"/>
                  <a:gd name="connsiteX12532" fmla="*/ 4277130 w 4381952"/>
                  <a:gd name="connsiteY12532" fmla="*/ 250121 h 7571038"/>
                  <a:gd name="connsiteX12533" fmla="*/ 4322500 w 4381952"/>
                  <a:gd name="connsiteY12533" fmla="*/ 295488 h 7571038"/>
                  <a:gd name="connsiteX12534" fmla="*/ 4367870 w 4381952"/>
                  <a:gd name="connsiteY12534" fmla="*/ 250121 h 7571038"/>
                  <a:gd name="connsiteX12535" fmla="*/ 4367873 w 4381952"/>
                  <a:gd name="connsiteY12535" fmla="*/ 1731113 h 7571038"/>
                  <a:gd name="connsiteX12536" fmla="*/ 4356774 w 4381952"/>
                  <a:gd name="connsiteY12536" fmla="*/ 1720003 h 7571038"/>
                  <a:gd name="connsiteX12537" fmla="*/ 4345679 w 4381952"/>
                  <a:gd name="connsiteY12537" fmla="*/ 1731113 h 7571038"/>
                  <a:gd name="connsiteX12538" fmla="*/ 4356774 w 4381952"/>
                  <a:gd name="connsiteY12538" fmla="*/ 1742227 h 7571038"/>
                  <a:gd name="connsiteX12539" fmla="*/ 4367873 w 4381952"/>
                  <a:gd name="connsiteY12539" fmla="*/ 1731113 h 7571038"/>
                  <a:gd name="connsiteX12540" fmla="*/ 4368365 w 4381952"/>
                  <a:gd name="connsiteY12540" fmla="*/ 925171 h 7571038"/>
                  <a:gd name="connsiteX12541" fmla="*/ 4322008 w 4381952"/>
                  <a:gd name="connsiteY12541" fmla="*/ 878800 h 7571038"/>
                  <a:gd name="connsiteX12542" fmla="*/ 4275652 w 4381952"/>
                  <a:gd name="connsiteY12542" fmla="*/ 925171 h 7571038"/>
                  <a:gd name="connsiteX12543" fmla="*/ 4322008 w 4381952"/>
                  <a:gd name="connsiteY12543" fmla="*/ 971523 h 7571038"/>
                  <a:gd name="connsiteX12544" fmla="*/ 4368365 w 4381952"/>
                  <a:gd name="connsiteY12544" fmla="*/ 925171 h 7571038"/>
                  <a:gd name="connsiteX12545" fmla="*/ 4370584 w 4381952"/>
                  <a:gd name="connsiteY12545" fmla="*/ 2276465 h 7571038"/>
                  <a:gd name="connsiteX12546" fmla="*/ 4334336 w 4381952"/>
                  <a:gd name="connsiteY12546" fmla="*/ 2240229 h 7571038"/>
                  <a:gd name="connsiteX12547" fmla="*/ 4298089 w 4381952"/>
                  <a:gd name="connsiteY12547" fmla="*/ 2276465 h 7571038"/>
                  <a:gd name="connsiteX12548" fmla="*/ 4334336 w 4381952"/>
                  <a:gd name="connsiteY12548" fmla="*/ 2312715 h 7571038"/>
                  <a:gd name="connsiteX12549" fmla="*/ 4370584 w 4381952"/>
                  <a:gd name="connsiteY12549" fmla="*/ 2276465 h 7571038"/>
                  <a:gd name="connsiteX12550" fmla="*/ 4371323 w 4381952"/>
                  <a:gd name="connsiteY12550" fmla="*/ 2122372 h 7571038"/>
                  <a:gd name="connsiteX12551" fmla="*/ 4369351 w 4381952"/>
                  <a:gd name="connsiteY12551" fmla="*/ 2120399 h 7571038"/>
                  <a:gd name="connsiteX12552" fmla="*/ 4367378 w 4381952"/>
                  <a:gd name="connsiteY12552" fmla="*/ 2122372 h 7571038"/>
                  <a:gd name="connsiteX12553" fmla="*/ 4369351 w 4381952"/>
                  <a:gd name="connsiteY12553" fmla="*/ 2124344 h 7571038"/>
                  <a:gd name="connsiteX12554" fmla="*/ 4371323 w 4381952"/>
                  <a:gd name="connsiteY12554" fmla="*/ 2122372 h 7571038"/>
                  <a:gd name="connsiteX12555" fmla="*/ 4373048 w 4381952"/>
                  <a:gd name="connsiteY12555" fmla="*/ 124155 h 7571038"/>
                  <a:gd name="connsiteX12556" fmla="*/ 4328171 w 4381952"/>
                  <a:gd name="connsiteY12556" fmla="*/ 79279 h 7571038"/>
                  <a:gd name="connsiteX12557" fmla="*/ 4283048 w 4381952"/>
                  <a:gd name="connsiteY12557" fmla="*/ 124155 h 7571038"/>
                  <a:gd name="connsiteX12558" fmla="*/ 4328171 w 4381952"/>
                  <a:gd name="connsiteY12558" fmla="*/ 169273 h 7571038"/>
                  <a:gd name="connsiteX12559" fmla="*/ 4373048 w 4381952"/>
                  <a:gd name="connsiteY12559" fmla="*/ 124155 h 7571038"/>
                  <a:gd name="connsiteX12560" fmla="*/ 4374280 w 4381952"/>
                  <a:gd name="connsiteY12560" fmla="*/ 6545777 h 7571038"/>
                  <a:gd name="connsiteX12561" fmla="*/ 4363679 w 4381952"/>
                  <a:gd name="connsiteY12561" fmla="*/ 6535173 h 7571038"/>
                  <a:gd name="connsiteX12562" fmla="*/ 4353076 w 4381952"/>
                  <a:gd name="connsiteY12562" fmla="*/ 6545777 h 7571038"/>
                  <a:gd name="connsiteX12563" fmla="*/ 4363679 w 4381952"/>
                  <a:gd name="connsiteY12563" fmla="*/ 6556132 h 7571038"/>
                  <a:gd name="connsiteX12564" fmla="*/ 4374280 w 4381952"/>
                  <a:gd name="connsiteY12564" fmla="*/ 6545777 h 7571038"/>
                  <a:gd name="connsiteX12565" fmla="*/ 4376255 w 4381952"/>
                  <a:gd name="connsiteY12565" fmla="*/ 1877349 h 7571038"/>
                  <a:gd name="connsiteX12566" fmla="*/ 4333104 w 4381952"/>
                  <a:gd name="connsiteY12566" fmla="*/ 1834217 h 7571038"/>
                  <a:gd name="connsiteX12567" fmla="*/ 4289952 w 4381952"/>
                  <a:gd name="connsiteY12567" fmla="*/ 1877349 h 7571038"/>
                  <a:gd name="connsiteX12568" fmla="*/ 4333104 w 4381952"/>
                  <a:gd name="connsiteY12568" fmla="*/ 1920472 h 7571038"/>
                  <a:gd name="connsiteX12569" fmla="*/ 4376255 w 4381952"/>
                  <a:gd name="connsiteY12569" fmla="*/ 1877349 h 7571038"/>
                  <a:gd name="connsiteX12570" fmla="*/ 4377032 w 4381952"/>
                  <a:gd name="connsiteY12570" fmla="*/ 0 h 7571038"/>
                  <a:gd name="connsiteX12571" fmla="*/ 4288671 w 4381952"/>
                  <a:gd name="connsiteY12571" fmla="*/ 0 h 7571038"/>
                  <a:gd name="connsiteX12572" fmla="*/ 4301294 w 4381952"/>
                  <a:gd name="connsiteY12572" fmla="*/ 30484 h 7571038"/>
                  <a:gd name="connsiteX12573" fmla="*/ 4332855 w 4381952"/>
                  <a:gd name="connsiteY12573" fmla="*/ 43552 h 7571038"/>
                  <a:gd name="connsiteX12574" fmla="*/ 4364232 w 4381952"/>
                  <a:gd name="connsiteY12574" fmla="*/ 30484 h 7571038"/>
                  <a:gd name="connsiteX12575" fmla="*/ 4378224 w 4381952"/>
                  <a:gd name="connsiteY12575" fmla="*/ 792780 h 7571038"/>
                  <a:gd name="connsiteX12576" fmla="*/ 4331377 w 4381952"/>
                  <a:gd name="connsiteY12576" fmla="*/ 745936 h 7571038"/>
                  <a:gd name="connsiteX12577" fmla="*/ 4284280 w 4381952"/>
                  <a:gd name="connsiteY12577" fmla="*/ 792780 h 7571038"/>
                  <a:gd name="connsiteX12578" fmla="*/ 4331377 w 4381952"/>
                  <a:gd name="connsiteY12578" fmla="*/ 839639 h 7571038"/>
                  <a:gd name="connsiteX12579" fmla="*/ 4378224 w 4381952"/>
                  <a:gd name="connsiteY12579" fmla="*/ 792780 h 7571038"/>
                  <a:gd name="connsiteX12580" fmla="*/ 4380201 w 4381952"/>
                  <a:gd name="connsiteY12580" fmla="*/ 2538812 h 7571038"/>
                  <a:gd name="connsiteX12581" fmla="*/ 4343952 w 4381952"/>
                  <a:gd name="connsiteY12581" fmla="*/ 2502562 h 7571038"/>
                  <a:gd name="connsiteX12582" fmla="*/ 4307705 w 4381952"/>
                  <a:gd name="connsiteY12582" fmla="*/ 2538812 h 7571038"/>
                  <a:gd name="connsiteX12583" fmla="*/ 4343952 w 4381952"/>
                  <a:gd name="connsiteY12583" fmla="*/ 2575058 h 7571038"/>
                  <a:gd name="connsiteX12584" fmla="*/ 4380201 w 4381952"/>
                  <a:gd name="connsiteY12584" fmla="*/ 2538812 h 7571038"/>
                  <a:gd name="connsiteX12585" fmla="*/ 4380692 w 4381952"/>
                  <a:gd name="connsiteY12585" fmla="*/ 5026130 h 7571038"/>
                  <a:gd name="connsiteX12586" fmla="*/ 4370829 w 4381952"/>
                  <a:gd name="connsiteY12586" fmla="*/ 5016267 h 7571038"/>
                  <a:gd name="connsiteX12587" fmla="*/ 4360965 w 4381952"/>
                  <a:gd name="connsiteY12587" fmla="*/ 5026130 h 7571038"/>
                  <a:gd name="connsiteX12588" fmla="*/ 4370829 w 4381952"/>
                  <a:gd name="connsiteY12588" fmla="*/ 5035993 h 7571038"/>
                  <a:gd name="connsiteX12589" fmla="*/ 4380692 w 4381952"/>
                  <a:gd name="connsiteY12589" fmla="*/ 5026130 h 7571038"/>
                  <a:gd name="connsiteX12590" fmla="*/ 4380693 w 4381952"/>
                  <a:gd name="connsiteY12590" fmla="*/ 3964373 h 7571038"/>
                  <a:gd name="connsiteX12591" fmla="*/ 4377733 w 4381952"/>
                  <a:gd name="connsiteY12591" fmla="*/ 3961415 h 7571038"/>
                  <a:gd name="connsiteX12592" fmla="*/ 4374774 w 4381952"/>
                  <a:gd name="connsiteY12592" fmla="*/ 3964373 h 7571038"/>
                  <a:gd name="connsiteX12593" fmla="*/ 4377733 w 4381952"/>
                  <a:gd name="connsiteY12593" fmla="*/ 3967332 h 7571038"/>
                  <a:gd name="connsiteX12594" fmla="*/ 4380693 w 4381952"/>
                  <a:gd name="connsiteY12594" fmla="*/ 3964373 h 7571038"/>
                  <a:gd name="connsiteX12595" fmla="*/ 4381952 w 4381952"/>
                  <a:gd name="connsiteY12595" fmla="*/ 201878 h 7571038"/>
                  <a:gd name="connsiteX12596" fmla="*/ 4381952 w 4381952"/>
                  <a:gd name="connsiteY12596" fmla="*/ 174720 h 7571038"/>
                  <a:gd name="connsiteX12597" fmla="*/ 4379214 w 4381952"/>
                  <a:gd name="connsiteY12597" fmla="*/ 188260 h 7571038"/>
                  <a:gd name="connsiteX12598" fmla="*/ 4381952 w 4381952"/>
                  <a:gd name="connsiteY12598" fmla="*/ 343049 h 7571038"/>
                  <a:gd name="connsiteX12599" fmla="*/ 4381952 w 4381952"/>
                  <a:gd name="connsiteY12599" fmla="*/ 288361 h 7571038"/>
                  <a:gd name="connsiteX12600" fmla="*/ 4375698 w 4381952"/>
                  <a:gd name="connsiteY12600" fmla="*/ 297645 h 7571038"/>
                  <a:gd name="connsiteX12601" fmla="*/ 4372061 w 4381952"/>
                  <a:gd name="connsiteY12601" fmla="*/ 315705 h 7571038"/>
                  <a:gd name="connsiteX12602" fmla="*/ 4375698 w 4381952"/>
                  <a:gd name="connsiteY12602" fmla="*/ 333766 h 7571038"/>
                  <a:gd name="connsiteX12603" fmla="*/ 4381952 w 4381952"/>
                  <a:gd name="connsiteY12603" fmla="*/ 438936 h 7571038"/>
                  <a:gd name="connsiteX12604" fmla="*/ 4381952 w 4381952"/>
                  <a:gd name="connsiteY12604" fmla="*/ 368478 h 7571038"/>
                  <a:gd name="connsiteX12605" fmla="*/ 4355048 w 4381952"/>
                  <a:gd name="connsiteY12605" fmla="*/ 357353 h 7571038"/>
                  <a:gd name="connsiteX12606" fmla="*/ 4308692 w 4381952"/>
                  <a:gd name="connsiteY12606" fmla="*/ 403707 h 7571038"/>
                  <a:gd name="connsiteX12607" fmla="*/ 4355048 w 4381952"/>
                  <a:gd name="connsiteY12607" fmla="*/ 450061 h 7571038"/>
                  <a:gd name="connsiteX12608" fmla="*/ 4381952 w 4381952"/>
                  <a:gd name="connsiteY12608" fmla="*/ 563990 h 7571038"/>
                  <a:gd name="connsiteX12609" fmla="*/ 4381952 w 4381952"/>
                  <a:gd name="connsiteY12609" fmla="*/ 500658 h 7571038"/>
                  <a:gd name="connsiteX12610" fmla="*/ 4381156 w 4381952"/>
                  <a:gd name="connsiteY12610" fmla="*/ 499474 h 7571038"/>
                  <a:gd name="connsiteX12611" fmla="*/ 4348144 w 4381952"/>
                  <a:gd name="connsiteY12611" fmla="*/ 485790 h 7571038"/>
                  <a:gd name="connsiteX12612" fmla="*/ 4301542 w 4381952"/>
                  <a:gd name="connsiteY12612" fmla="*/ 532390 h 7571038"/>
                  <a:gd name="connsiteX12613" fmla="*/ 4348144 w 4381952"/>
                  <a:gd name="connsiteY12613" fmla="*/ 578990 h 7571038"/>
                  <a:gd name="connsiteX12614" fmla="*/ 4381063 w 4381952"/>
                  <a:gd name="connsiteY12614" fmla="*/ 565306 h 7571038"/>
                  <a:gd name="connsiteX12615" fmla="*/ 4381952 w 4381952"/>
                  <a:gd name="connsiteY12615" fmla="*/ 682035 h 7571038"/>
                  <a:gd name="connsiteX12616" fmla="*/ 4381952 w 4381952"/>
                  <a:gd name="connsiteY12616" fmla="*/ 642165 h 7571038"/>
                  <a:gd name="connsiteX12617" fmla="*/ 4373171 w 4381952"/>
                  <a:gd name="connsiteY12617" fmla="*/ 629151 h 7571038"/>
                  <a:gd name="connsiteX12618" fmla="*/ 4340254 w 4381952"/>
                  <a:gd name="connsiteY12618" fmla="*/ 615460 h 7571038"/>
                  <a:gd name="connsiteX12619" fmla="*/ 4293651 w 4381952"/>
                  <a:gd name="connsiteY12619" fmla="*/ 662116 h 7571038"/>
                  <a:gd name="connsiteX12620" fmla="*/ 4340254 w 4381952"/>
                  <a:gd name="connsiteY12620" fmla="*/ 708717 h 7571038"/>
                  <a:gd name="connsiteX12621" fmla="*/ 4373171 w 4381952"/>
                  <a:gd name="connsiteY12621" fmla="*/ 695034 h 7571038"/>
                  <a:gd name="connsiteX12622" fmla="*/ 4381952 w 4381952"/>
                  <a:gd name="connsiteY12622" fmla="*/ 892315 h 7571038"/>
                  <a:gd name="connsiteX12623" fmla="*/ 4381952 w 4381952"/>
                  <a:gd name="connsiteY12623" fmla="*/ 841783 h 7571038"/>
                  <a:gd name="connsiteX12624" fmla="*/ 4377260 w 4381952"/>
                  <a:gd name="connsiteY12624" fmla="*/ 848725 h 7571038"/>
                  <a:gd name="connsiteX12625" fmla="*/ 4373542 w 4381952"/>
                  <a:gd name="connsiteY12625" fmla="*/ 867003 h 7571038"/>
                  <a:gd name="connsiteX12626" fmla="*/ 4377225 w 4381952"/>
                  <a:gd name="connsiteY12626" fmla="*/ 885282 h 7571038"/>
                  <a:gd name="connsiteX12627" fmla="*/ 4381952 w 4381952"/>
                  <a:gd name="connsiteY12627" fmla="*/ 1036154 h 7571038"/>
                  <a:gd name="connsiteX12628" fmla="*/ 4381952 w 4381952"/>
                  <a:gd name="connsiteY12628" fmla="*/ 967063 h 7571038"/>
                  <a:gd name="connsiteX12629" fmla="*/ 4377210 w 4381952"/>
                  <a:gd name="connsiteY12629" fmla="*/ 969032 h 7571038"/>
                  <a:gd name="connsiteX12630" fmla="*/ 4363679 w 4381952"/>
                  <a:gd name="connsiteY12630" fmla="*/ 1001604 h 7571038"/>
                  <a:gd name="connsiteX12631" fmla="*/ 4377210 w 4381952"/>
                  <a:gd name="connsiteY12631" fmla="*/ 1034185 h 7571038"/>
                  <a:gd name="connsiteX12632" fmla="*/ 4381952 w 4381952"/>
                  <a:gd name="connsiteY12632" fmla="*/ 1178180 h 7571038"/>
                  <a:gd name="connsiteX12633" fmla="*/ 4381952 w 4381952"/>
                  <a:gd name="connsiteY12633" fmla="*/ 1095736 h 7571038"/>
                  <a:gd name="connsiteX12634" fmla="*/ 4363247 w 4381952"/>
                  <a:gd name="connsiteY12634" fmla="*/ 1103485 h 7571038"/>
                  <a:gd name="connsiteX12635" fmla="*/ 4349376 w 4381952"/>
                  <a:gd name="connsiteY12635" fmla="*/ 1136954 h 7571038"/>
                  <a:gd name="connsiteX12636" fmla="*/ 4363247 w 4381952"/>
                  <a:gd name="connsiteY12636" fmla="*/ 1170429 h 7571038"/>
                  <a:gd name="connsiteX12637" fmla="*/ 4381952 w 4381952"/>
                  <a:gd name="connsiteY12637" fmla="*/ 1321568 h 7571038"/>
                  <a:gd name="connsiteX12638" fmla="*/ 4381952 w 4381952"/>
                  <a:gd name="connsiteY12638" fmla="*/ 1226986 h 7571038"/>
                  <a:gd name="connsiteX12639" fmla="*/ 4349069 w 4381952"/>
                  <a:gd name="connsiteY12639" fmla="*/ 1240591 h 7571038"/>
                  <a:gd name="connsiteX12640" fmla="*/ 4335076 w 4381952"/>
                  <a:gd name="connsiteY12640" fmla="*/ 1274277 h 7571038"/>
                  <a:gd name="connsiteX12641" fmla="*/ 4349069 w 4381952"/>
                  <a:gd name="connsiteY12641" fmla="*/ 1307873 h 7571038"/>
                  <a:gd name="connsiteX12642" fmla="*/ 4381952 w 4381952"/>
                  <a:gd name="connsiteY12642" fmla="*/ 1468122 h 7571038"/>
                  <a:gd name="connsiteX12643" fmla="*/ 4381952 w 4381952"/>
                  <a:gd name="connsiteY12643" fmla="*/ 1422681 h 7571038"/>
                  <a:gd name="connsiteX12644" fmla="*/ 4376284 w 4381952"/>
                  <a:gd name="connsiteY12644" fmla="*/ 1425041 h 7571038"/>
                  <a:gd name="connsiteX12645" fmla="*/ 4367870 w 4381952"/>
                  <a:gd name="connsiteY12645" fmla="*/ 1445378 h 7571038"/>
                  <a:gd name="connsiteX12646" fmla="*/ 4376376 w 4381952"/>
                  <a:gd name="connsiteY12646" fmla="*/ 1465815 h 7571038"/>
                  <a:gd name="connsiteX12647" fmla="*/ 4381952 w 4381952"/>
                  <a:gd name="connsiteY12647" fmla="*/ 1602157 h 7571038"/>
                  <a:gd name="connsiteX12648" fmla="*/ 4381952 w 4381952"/>
                  <a:gd name="connsiteY12648" fmla="*/ 1571633 h 7571038"/>
                  <a:gd name="connsiteX12649" fmla="*/ 4377733 w 4381952"/>
                  <a:gd name="connsiteY12649" fmla="*/ 1569882 h 7571038"/>
                  <a:gd name="connsiteX12650" fmla="*/ 4360720 w 4381952"/>
                  <a:gd name="connsiteY12650" fmla="*/ 1586886 h 7571038"/>
                  <a:gd name="connsiteX12651" fmla="*/ 4377733 w 4381952"/>
                  <a:gd name="connsiteY12651" fmla="*/ 1603909 h 7571038"/>
                  <a:gd name="connsiteX12652" fmla="*/ 4381952 w 4381952"/>
                  <a:gd name="connsiteY12652" fmla="*/ 2005979 h 7571038"/>
                  <a:gd name="connsiteX12653" fmla="*/ 4381952 w 4381952"/>
                  <a:gd name="connsiteY12653" fmla="*/ 1937468 h 7571038"/>
                  <a:gd name="connsiteX12654" fmla="*/ 4370768 w 4381952"/>
                  <a:gd name="connsiteY12654" fmla="*/ 1942092 h 7571038"/>
                  <a:gd name="connsiteX12655" fmla="*/ 4358501 w 4381952"/>
                  <a:gd name="connsiteY12655" fmla="*/ 1971724 h 7571038"/>
                  <a:gd name="connsiteX12656" fmla="*/ 4370768 w 4381952"/>
                  <a:gd name="connsiteY12656" fmla="*/ 2001355 h 7571038"/>
                  <a:gd name="connsiteX12657" fmla="*/ 4381952 w 4381952"/>
                  <a:gd name="connsiteY12657" fmla="*/ 2410971 h 7571038"/>
                  <a:gd name="connsiteX12658" fmla="*/ 4381952 w 4381952"/>
                  <a:gd name="connsiteY12658" fmla="*/ 2347136 h 7571038"/>
                  <a:gd name="connsiteX12659" fmla="*/ 4364233 w 4381952"/>
                  <a:gd name="connsiteY12659" fmla="*/ 2354459 h 7571038"/>
                  <a:gd name="connsiteX12660" fmla="*/ 4354061 w 4381952"/>
                  <a:gd name="connsiteY12660" fmla="*/ 2379042 h 7571038"/>
                  <a:gd name="connsiteX12661" fmla="*/ 4364233 w 4381952"/>
                  <a:gd name="connsiteY12661" fmla="*/ 2403642 h 7571038"/>
                  <a:gd name="connsiteX12662" fmla="*/ 4381952 w 4381952"/>
                  <a:gd name="connsiteY12662" fmla="*/ 2688009 h 7571038"/>
                  <a:gd name="connsiteX12663" fmla="*/ 4381952 w 4381952"/>
                  <a:gd name="connsiteY12663" fmla="*/ 2605121 h 7571038"/>
                  <a:gd name="connsiteX12664" fmla="*/ 4356836 w 4381952"/>
                  <a:gd name="connsiteY12664" fmla="*/ 2615556 h 7571038"/>
                  <a:gd name="connsiteX12665" fmla="*/ 4343952 w 4381952"/>
                  <a:gd name="connsiteY12665" fmla="*/ 2646564 h 7571038"/>
                  <a:gd name="connsiteX12666" fmla="*/ 4356836 w 4381952"/>
                  <a:gd name="connsiteY12666" fmla="*/ 2677573 h 7571038"/>
                  <a:gd name="connsiteX12667" fmla="*/ 4381952 w 4381952"/>
                  <a:gd name="connsiteY12667" fmla="*/ 2952620 h 7571038"/>
                  <a:gd name="connsiteX12668" fmla="*/ 4381952 w 4381952"/>
                  <a:gd name="connsiteY12668" fmla="*/ 2896290 h 7571038"/>
                  <a:gd name="connsiteX12669" fmla="*/ 4361953 w 4381952"/>
                  <a:gd name="connsiteY12669" fmla="*/ 2887961 h 7571038"/>
                  <a:gd name="connsiteX12670" fmla="*/ 4325459 w 4381952"/>
                  <a:gd name="connsiteY12670" fmla="*/ 2924455 h 7571038"/>
                  <a:gd name="connsiteX12671" fmla="*/ 4361953 w 4381952"/>
                  <a:gd name="connsiteY12671" fmla="*/ 2960949 h 7571038"/>
                  <a:gd name="connsiteX12672" fmla="*/ 4381952 w 4381952"/>
                  <a:gd name="connsiteY12672" fmla="*/ 3078700 h 7571038"/>
                  <a:gd name="connsiteX12673" fmla="*/ 4381952 w 4381952"/>
                  <a:gd name="connsiteY12673" fmla="*/ 2997078 h 7571038"/>
                  <a:gd name="connsiteX12674" fmla="*/ 4357051 w 4381952"/>
                  <a:gd name="connsiteY12674" fmla="*/ 3007430 h 7571038"/>
                  <a:gd name="connsiteX12675" fmla="*/ 4344445 w 4381952"/>
                  <a:gd name="connsiteY12675" fmla="*/ 3037884 h 7571038"/>
                  <a:gd name="connsiteX12676" fmla="*/ 4357144 w 4381952"/>
                  <a:gd name="connsiteY12676" fmla="*/ 3068429 h 7571038"/>
                  <a:gd name="connsiteX12677" fmla="*/ 4381952 w 4381952"/>
                  <a:gd name="connsiteY12677" fmla="*/ 3185424 h 7571038"/>
                  <a:gd name="connsiteX12678" fmla="*/ 4381952 w 4381952"/>
                  <a:gd name="connsiteY12678" fmla="*/ 3120653 h 7571038"/>
                  <a:gd name="connsiteX12679" fmla="*/ 4376994 w 4381952"/>
                  <a:gd name="connsiteY12679" fmla="*/ 3122708 h 7571038"/>
                  <a:gd name="connsiteX12680" fmla="*/ 4364419 w 4381952"/>
                  <a:gd name="connsiteY12680" fmla="*/ 3153040 h 7571038"/>
                  <a:gd name="connsiteX12681" fmla="*/ 4376994 w 4381952"/>
                  <a:gd name="connsiteY12681" fmla="*/ 3183368 h 7571038"/>
                  <a:gd name="connsiteX12682" fmla="*/ 4381952 w 4381952"/>
                  <a:gd name="connsiteY12682" fmla="*/ 4282681 h 7571038"/>
                  <a:gd name="connsiteX12683" fmla="*/ 4381952 w 4381952"/>
                  <a:gd name="connsiteY12683" fmla="*/ 4205828 h 7571038"/>
                  <a:gd name="connsiteX12684" fmla="*/ 4375515 w 4381952"/>
                  <a:gd name="connsiteY12684" fmla="*/ 4208516 h 7571038"/>
                  <a:gd name="connsiteX12685" fmla="*/ 4360720 w 4381952"/>
                  <a:gd name="connsiteY12685" fmla="*/ 4244238 h 7571038"/>
                  <a:gd name="connsiteX12686" fmla="*/ 4375422 w 4381952"/>
                  <a:gd name="connsiteY12686" fmla="*/ 4279962 h 7571038"/>
                  <a:gd name="connsiteX12687" fmla="*/ 4381952 w 4381952"/>
                  <a:gd name="connsiteY12687" fmla="*/ 4394048 h 7571038"/>
                  <a:gd name="connsiteX12688" fmla="*/ 4381952 w 4381952"/>
                  <a:gd name="connsiteY12688" fmla="*/ 4312693 h 7571038"/>
                  <a:gd name="connsiteX12689" fmla="*/ 4370337 w 4381952"/>
                  <a:gd name="connsiteY12689" fmla="*/ 4307855 h 7571038"/>
                  <a:gd name="connsiteX12690" fmla="*/ 4324967 w 4381952"/>
                  <a:gd name="connsiteY12690" fmla="*/ 4353472 h 7571038"/>
                  <a:gd name="connsiteX12691" fmla="*/ 4370337 w 4381952"/>
                  <a:gd name="connsiteY12691" fmla="*/ 4398841 h 7571038"/>
                  <a:gd name="connsiteX12692" fmla="*/ 4381952 w 4381952"/>
                  <a:gd name="connsiteY12692" fmla="*/ 4634231 h 7571038"/>
                  <a:gd name="connsiteX12693" fmla="*/ 4381952 w 4381952"/>
                  <a:gd name="connsiteY12693" fmla="*/ 4605808 h 7571038"/>
                  <a:gd name="connsiteX12694" fmla="*/ 4381557 w 4381952"/>
                  <a:gd name="connsiteY12694" fmla="*/ 4604855 h 7571038"/>
                  <a:gd name="connsiteX12695" fmla="*/ 4366392 w 4381952"/>
                  <a:gd name="connsiteY12695" fmla="*/ 4598566 h 7571038"/>
                  <a:gd name="connsiteX12696" fmla="*/ 4344939 w 4381952"/>
                  <a:gd name="connsiteY12696" fmla="*/ 4620019 h 7571038"/>
                  <a:gd name="connsiteX12697" fmla="*/ 4366392 w 4381952"/>
                  <a:gd name="connsiteY12697" fmla="*/ 4641472 h 7571038"/>
                  <a:gd name="connsiteX12698" fmla="*/ 4381557 w 4381952"/>
                  <a:gd name="connsiteY12698" fmla="*/ 4635184 h 7571038"/>
                  <a:gd name="connsiteX12699" fmla="*/ 4381952 w 4381952"/>
                  <a:gd name="connsiteY12699" fmla="*/ 4785732 h 7571038"/>
                  <a:gd name="connsiteX12700" fmla="*/ 4381952 w 4381952"/>
                  <a:gd name="connsiteY12700" fmla="*/ 4766540 h 7571038"/>
                  <a:gd name="connsiteX12701" fmla="*/ 4377982 w 4381952"/>
                  <a:gd name="connsiteY12701" fmla="*/ 4776101 h 7571038"/>
                  <a:gd name="connsiteX12702" fmla="*/ 4381952 w 4381952"/>
                  <a:gd name="connsiteY12702" fmla="*/ 6677995 h 7571038"/>
                  <a:gd name="connsiteX12703" fmla="*/ 4381952 w 4381952"/>
                  <a:gd name="connsiteY12703" fmla="*/ 6655694 h 7571038"/>
                  <a:gd name="connsiteX12704" fmla="*/ 4379706 w 4381952"/>
                  <a:gd name="connsiteY12704" fmla="*/ 6654762 h 7571038"/>
                  <a:gd name="connsiteX12705" fmla="*/ 4367624 w 4381952"/>
                  <a:gd name="connsiteY12705" fmla="*/ 6666844 h 7571038"/>
                  <a:gd name="connsiteX12706" fmla="*/ 4379706 w 4381952"/>
                  <a:gd name="connsiteY12706" fmla="*/ 6678928 h 7571038"/>
                  <a:gd name="connsiteX12707" fmla="*/ 4381952 w 4381952"/>
                  <a:gd name="connsiteY12707" fmla="*/ 6795583 h 7571038"/>
                  <a:gd name="connsiteX12708" fmla="*/ 4381952 w 4381952"/>
                  <a:gd name="connsiteY12708" fmla="*/ 6791587 h 7571038"/>
                  <a:gd name="connsiteX12709" fmla="*/ 4379954 w 4381952"/>
                  <a:gd name="connsiteY12709" fmla="*/ 6793585 h 7571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Lst>
                <a:rect l="l" t="t" r="r" b="b"/>
                <a:pathLst>
                  <a:path w="4381952" h="7571038">
                    <a:moveTo>
                      <a:pt x="769" y="2652492"/>
                    </a:moveTo>
                    <a:lnTo>
                      <a:pt x="0" y="2650650"/>
                    </a:lnTo>
                    <a:lnTo>
                      <a:pt x="0" y="2654360"/>
                    </a:lnTo>
                    <a:close/>
                    <a:moveTo>
                      <a:pt x="770" y="4780541"/>
                    </a:moveTo>
                    <a:lnTo>
                      <a:pt x="0" y="4778686"/>
                    </a:lnTo>
                    <a:lnTo>
                      <a:pt x="0" y="4782362"/>
                    </a:lnTo>
                    <a:close/>
                    <a:moveTo>
                      <a:pt x="5452" y="1590349"/>
                    </a:moveTo>
                    <a:cubicBezTo>
                      <a:pt x="5452" y="1585417"/>
                      <a:pt x="3418" y="1580917"/>
                      <a:pt x="151" y="1577650"/>
                    </a:cubicBezTo>
                    <a:lnTo>
                      <a:pt x="0" y="1577587"/>
                    </a:lnTo>
                    <a:lnTo>
                      <a:pt x="0" y="1603115"/>
                    </a:lnTo>
                    <a:lnTo>
                      <a:pt x="151" y="1603052"/>
                    </a:lnTo>
                    <a:cubicBezTo>
                      <a:pt x="3418" y="1599784"/>
                      <a:pt x="5452" y="1595282"/>
                      <a:pt x="5452" y="1590349"/>
                    </a:cubicBezTo>
                    <a:close/>
                    <a:moveTo>
                      <a:pt x="5948" y="4250648"/>
                    </a:moveTo>
                    <a:cubicBezTo>
                      <a:pt x="5948" y="4244175"/>
                      <a:pt x="4638" y="4238011"/>
                      <a:pt x="2269" y="4232405"/>
                    </a:cubicBezTo>
                    <a:lnTo>
                      <a:pt x="0" y="4229040"/>
                    </a:lnTo>
                    <a:lnTo>
                      <a:pt x="0" y="4272257"/>
                    </a:lnTo>
                    <a:lnTo>
                      <a:pt x="2269" y="4268892"/>
                    </a:lnTo>
                    <a:cubicBezTo>
                      <a:pt x="4638" y="4263286"/>
                      <a:pt x="5948" y="4257121"/>
                      <a:pt x="5948" y="4250648"/>
                    </a:cubicBezTo>
                    <a:close/>
                    <a:moveTo>
                      <a:pt x="8412" y="5029090"/>
                    </a:moveTo>
                    <a:lnTo>
                      <a:pt x="0" y="5020678"/>
                    </a:lnTo>
                    <a:lnTo>
                      <a:pt x="0" y="5037501"/>
                    </a:lnTo>
                    <a:close/>
                    <a:moveTo>
                      <a:pt x="9398" y="3045040"/>
                    </a:moveTo>
                    <a:cubicBezTo>
                      <a:pt x="9398" y="3036657"/>
                      <a:pt x="6007" y="3029074"/>
                      <a:pt x="521" y="3023587"/>
                    </a:cubicBezTo>
                    <a:lnTo>
                      <a:pt x="0" y="3023371"/>
                    </a:lnTo>
                    <a:lnTo>
                      <a:pt x="0" y="3066745"/>
                    </a:lnTo>
                    <a:lnTo>
                      <a:pt x="613" y="3066493"/>
                    </a:lnTo>
                    <a:cubicBezTo>
                      <a:pt x="6130" y="3061006"/>
                      <a:pt x="9520" y="3053424"/>
                      <a:pt x="9398" y="3045040"/>
                    </a:cubicBezTo>
                    <a:close/>
                    <a:moveTo>
                      <a:pt x="12359" y="3856375"/>
                    </a:moveTo>
                    <a:lnTo>
                      <a:pt x="0" y="3826647"/>
                    </a:lnTo>
                    <a:lnTo>
                      <a:pt x="0" y="3886101"/>
                    </a:lnTo>
                    <a:close/>
                    <a:moveTo>
                      <a:pt x="12605" y="6549473"/>
                    </a:moveTo>
                    <a:cubicBezTo>
                      <a:pt x="12605" y="6547992"/>
                      <a:pt x="11371" y="6546760"/>
                      <a:pt x="9893" y="6546760"/>
                    </a:cubicBezTo>
                    <a:cubicBezTo>
                      <a:pt x="8412" y="6546760"/>
                      <a:pt x="7180" y="6547992"/>
                      <a:pt x="7180" y="6549473"/>
                    </a:cubicBezTo>
                    <a:cubicBezTo>
                      <a:pt x="7180" y="6550951"/>
                      <a:pt x="8412" y="6552186"/>
                      <a:pt x="9893" y="6552186"/>
                    </a:cubicBezTo>
                    <a:cubicBezTo>
                      <a:pt x="11371" y="6552186"/>
                      <a:pt x="12605" y="6550951"/>
                      <a:pt x="12605" y="6549473"/>
                    </a:cubicBezTo>
                    <a:close/>
                    <a:moveTo>
                      <a:pt x="20493" y="6421009"/>
                    </a:moveTo>
                    <a:cubicBezTo>
                      <a:pt x="20493" y="6419282"/>
                      <a:pt x="19014" y="6417804"/>
                      <a:pt x="17288" y="6417804"/>
                    </a:cubicBezTo>
                    <a:cubicBezTo>
                      <a:pt x="15561" y="6417804"/>
                      <a:pt x="14083" y="6419282"/>
                      <a:pt x="14083" y="6421009"/>
                    </a:cubicBezTo>
                    <a:cubicBezTo>
                      <a:pt x="14083" y="6422736"/>
                      <a:pt x="15561" y="6424214"/>
                      <a:pt x="17288" y="6424214"/>
                    </a:cubicBezTo>
                    <a:cubicBezTo>
                      <a:pt x="19014" y="6424214"/>
                      <a:pt x="20246" y="6422736"/>
                      <a:pt x="20493" y="6421009"/>
                    </a:cubicBezTo>
                    <a:close/>
                    <a:moveTo>
                      <a:pt x="21976" y="407411"/>
                    </a:moveTo>
                    <a:cubicBezTo>
                      <a:pt x="21976" y="399272"/>
                      <a:pt x="15318" y="392863"/>
                      <a:pt x="7429" y="392863"/>
                    </a:cubicBezTo>
                    <a:lnTo>
                      <a:pt x="0" y="395967"/>
                    </a:lnTo>
                    <a:lnTo>
                      <a:pt x="0" y="418893"/>
                    </a:lnTo>
                    <a:lnTo>
                      <a:pt x="7429" y="421958"/>
                    </a:lnTo>
                    <a:cubicBezTo>
                      <a:pt x="15564" y="421958"/>
                      <a:pt x="21976" y="415546"/>
                      <a:pt x="21976" y="407411"/>
                    </a:cubicBezTo>
                    <a:close/>
                    <a:moveTo>
                      <a:pt x="26904" y="1734081"/>
                    </a:moveTo>
                    <a:cubicBezTo>
                      <a:pt x="26904" y="1723956"/>
                      <a:pt x="19014" y="1715807"/>
                      <a:pt x="8902" y="1715807"/>
                    </a:cubicBezTo>
                    <a:lnTo>
                      <a:pt x="0" y="1719488"/>
                    </a:lnTo>
                    <a:lnTo>
                      <a:pt x="0" y="1748671"/>
                    </a:lnTo>
                    <a:lnTo>
                      <a:pt x="8902" y="1752352"/>
                    </a:lnTo>
                    <a:cubicBezTo>
                      <a:pt x="18766" y="1752352"/>
                      <a:pt x="26904" y="1744204"/>
                      <a:pt x="26904" y="1734081"/>
                    </a:cubicBezTo>
                    <a:close/>
                    <a:moveTo>
                      <a:pt x="27645" y="6291558"/>
                    </a:moveTo>
                    <a:cubicBezTo>
                      <a:pt x="27645" y="6290322"/>
                      <a:pt x="26660" y="6289090"/>
                      <a:pt x="25179" y="6289090"/>
                    </a:cubicBezTo>
                    <a:cubicBezTo>
                      <a:pt x="23946" y="6289090"/>
                      <a:pt x="22714" y="6290077"/>
                      <a:pt x="22714" y="6291558"/>
                    </a:cubicBezTo>
                    <a:cubicBezTo>
                      <a:pt x="22714" y="6292790"/>
                      <a:pt x="23700" y="6294022"/>
                      <a:pt x="25179" y="6294022"/>
                    </a:cubicBezTo>
                    <a:cubicBezTo>
                      <a:pt x="26660" y="6294022"/>
                      <a:pt x="27645" y="6292790"/>
                      <a:pt x="27645" y="6291558"/>
                    </a:cubicBezTo>
                    <a:close/>
                    <a:moveTo>
                      <a:pt x="29372" y="536093"/>
                    </a:moveTo>
                    <a:cubicBezTo>
                      <a:pt x="29372" y="528200"/>
                      <a:pt x="22960" y="521791"/>
                      <a:pt x="15070" y="521791"/>
                    </a:cubicBezTo>
                    <a:cubicBezTo>
                      <a:pt x="7427" y="521791"/>
                      <a:pt x="1015" y="528200"/>
                      <a:pt x="1015" y="536093"/>
                    </a:cubicBezTo>
                    <a:cubicBezTo>
                      <a:pt x="1015" y="543734"/>
                      <a:pt x="7179" y="550146"/>
                      <a:pt x="15070" y="550146"/>
                    </a:cubicBezTo>
                    <a:cubicBezTo>
                      <a:pt x="22960" y="550146"/>
                      <a:pt x="29123" y="543734"/>
                      <a:pt x="29372" y="536093"/>
                    </a:cubicBezTo>
                    <a:close/>
                    <a:moveTo>
                      <a:pt x="33069" y="2281401"/>
                    </a:moveTo>
                    <a:cubicBezTo>
                      <a:pt x="33069" y="2279921"/>
                      <a:pt x="31836" y="2278931"/>
                      <a:pt x="30602" y="2278931"/>
                    </a:cubicBezTo>
                    <a:cubicBezTo>
                      <a:pt x="29123" y="2278931"/>
                      <a:pt x="28137" y="2280169"/>
                      <a:pt x="28137" y="2281401"/>
                    </a:cubicBezTo>
                    <a:cubicBezTo>
                      <a:pt x="28137" y="2282883"/>
                      <a:pt x="29370" y="2283871"/>
                      <a:pt x="30602" y="2283871"/>
                    </a:cubicBezTo>
                    <a:cubicBezTo>
                      <a:pt x="32083" y="2283871"/>
                      <a:pt x="33069" y="2282883"/>
                      <a:pt x="33069" y="2281401"/>
                    </a:cubicBezTo>
                    <a:close/>
                    <a:moveTo>
                      <a:pt x="33317" y="2931117"/>
                    </a:moveTo>
                    <a:cubicBezTo>
                      <a:pt x="33317" y="2915089"/>
                      <a:pt x="20247" y="2902266"/>
                      <a:pt x="4467" y="2902266"/>
                    </a:cubicBezTo>
                    <a:lnTo>
                      <a:pt x="0" y="2904125"/>
                    </a:lnTo>
                    <a:lnTo>
                      <a:pt x="0" y="2958118"/>
                    </a:lnTo>
                    <a:lnTo>
                      <a:pt x="4467" y="2959966"/>
                    </a:lnTo>
                    <a:cubicBezTo>
                      <a:pt x="20247" y="2959966"/>
                      <a:pt x="33317" y="2946897"/>
                      <a:pt x="33317" y="2931117"/>
                    </a:cubicBezTo>
                    <a:close/>
                    <a:moveTo>
                      <a:pt x="33810" y="4624951"/>
                    </a:moveTo>
                    <a:cubicBezTo>
                      <a:pt x="33810" y="4608676"/>
                      <a:pt x="20495" y="4595362"/>
                      <a:pt x="4220" y="4595362"/>
                    </a:cubicBezTo>
                    <a:lnTo>
                      <a:pt x="0" y="4597117"/>
                    </a:lnTo>
                    <a:lnTo>
                      <a:pt x="0" y="4652786"/>
                    </a:lnTo>
                    <a:lnTo>
                      <a:pt x="4220" y="4654541"/>
                    </a:lnTo>
                    <a:cubicBezTo>
                      <a:pt x="20495" y="4654541"/>
                      <a:pt x="33810" y="4641226"/>
                      <a:pt x="33810" y="4624951"/>
                    </a:cubicBezTo>
                    <a:close/>
                    <a:moveTo>
                      <a:pt x="36276" y="5550352"/>
                    </a:moveTo>
                    <a:cubicBezTo>
                      <a:pt x="36276" y="5535558"/>
                      <a:pt x="24195" y="5523227"/>
                      <a:pt x="9152" y="5523227"/>
                    </a:cubicBezTo>
                    <a:lnTo>
                      <a:pt x="0" y="5527002"/>
                    </a:lnTo>
                    <a:lnTo>
                      <a:pt x="0" y="5573698"/>
                    </a:lnTo>
                    <a:lnTo>
                      <a:pt x="9152" y="5577474"/>
                    </a:lnTo>
                    <a:cubicBezTo>
                      <a:pt x="24195" y="5577474"/>
                      <a:pt x="36276" y="5565146"/>
                      <a:pt x="36276" y="5550352"/>
                    </a:cubicBezTo>
                    <a:close/>
                    <a:moveTo>
                      <a:pt x="37261" y="1880561"/>
                    </a:moveTo>
                    <a:cubicBezTo>
                      <a:pt x="37261" y="1878095"/>
                      <a:pt x="35287" y="1875878"/>
                      <a:pt x="32577" y="1875878"/>
                    </a:cubicBezTo>
                    <a:cubicBezTo>
                      <a:pt x="30111" y="1875878"/>
                      <a:pt x="27892" y="1877849"/>
                      <a:pt x="27892" y="1880561"/>
                    </a:cubicBezTo>
                    <a:cubicBezTo>
                      <a:pt x="27892" y="1883024"/>
                      <a:pt x="29864" y="1885241"/>
                      <a:pt x="32577" y="1885241"/>
                    </a:cubicBezTo>
                    <a:cubicBezTo>
                      <a:pt x="35287" y="1885241"/>
                      <a:pt x="37509" y="1883024"/>
                      <a:pt x="37261" y="1880561"/>
                    </a:cubicBezTo>
                    <a:close/>
                    <a:moveTo>
                      <a:pt x="37755" y="665578"/>
                    </a:moveTo>
                    <a:cubicBezTo>
                      <a:pt x="37755" y="657687"/>
                      <a:pt x="31345" y="651277"/>
                      <a:pt x="23455" y="651277"/>
                    </a:cubicBezTo>
                    <a:cubicBezTo>
                      <a:pt x="15564" y="651277"/>
                      <a:pt x="9152" y="657687"/>
                      <a:pt x="9152" y="665578"/>
                    </a:cubicBezTo>
                    <a:cubicBezTo>
                      <a:pt x="9152" y="673461"/>
                      <a:pt x="15564" y="679873"/>
                      <a:pt x="23455" y="679873"/>
                    </a:cubicBezTo>
                    <a:cubicBezTo>
                      <a:pt x="31345" y="679873"/>
                      <a:pt x="37755" y="673461"/>
                      <a:pt x="37755" y="665578"/>
                    </a:cubicBezTo>
                    <a:close/>
                    <a:moveTo>
                      <a:pt x="39233" y="3970787"/>
                    </a:moveTo>
                    <a:cubicBezTo>
                      <a:pt x="39233" y="3957719"/>
                      <a:pt x="33932" y="3945883"/>
                      <a:pt x="25364" y="3937314"/>
                    </a:cubicBezTo>
                    <a:lnTo>
                      <a:pt x="0" y="3926804"/>
                    </a:lnTo>
                    <a:lnTo>
                      <a:pt x="0" y="4014768"/>
                    </a:lnTo>
                    <a:lnTo>
                      <a:pt x="25364" y="4004258"/>
                    </a:lnTo>
                    <a:cubicBezTo>
                      <a:pt x="33932" y="3995690"/>
                      <a:pt x="39233" y="3983854"/>
                      <a:pt x="39233" y="3970787"/>
                    </a:cubicBezTo>
                    <a:close/>
                    <a:moveTo>
                      <a:pt x="40468" y="2544488"/>
                    </a:moveTo>
                    <a:cubicBezTo>
                      <a:pt x="40468" y="2533885"/>
                      <a:pt x="31837" y="2525500"/>
                      <a:pt x="21480" y="2525500"/>
                    </a:cubicBezTo>
                    <a:cubicBezTo>
                      <a:pt x="11125" y="2525500"/>
                      <a:pt x="2494" y="2534130"/>
                      <a:pt x="2494" y="2544488"/>
                    </a:cubicBezTo>
                    <a:cubicBezTo>
                      <a:pt x="2494" y="2555086"/>
                      <a:pt x="11125" y="2563475"/>
                      <a:pt x="21480" y="2563475"/>
                    </a:cubicBezTo>
                    <a:cubicBezTo>
                      <a:pt x="32084" y="2563475"/>
                      <a:pt x="40468" y="2555086"/>
                      <a:pt x="40468" y="2544488"/>
                    </a:cubicBezTo>
                    <a:close/>
                    <a:moveTo>
                      <a:pt x="43426" y="4359636"/>
                    </a:moveTo>
                    <a:cubicBezTo>
                      <a:pt x="43426" y="4335716"/>
                      <a:pt x="23946" y="4316484"/>
                      <a:pt x="275" y="4316484"/>
                    </a:cubicBezTo>
                    <a:lnTo>
                      <a:pt x="0" y="4316598"/>
                    </a:lnTo>
                    <a:lnTo>
                      <a:pt x="0" y="4402673"/>
                    </a:lnTo>
                    <a:lnTo>
                      <a:pt x="275" y="4402787"/>
                    </a:lnTo>
                    <a:cubicBezTo>
                      <a:pt x="23946" y="4402787"/>
                      <a:pt x="43177" y="4383307"/>
                      <a:pt x="43426" y="4359636"/>
                    </a:cubicBezTo>
                    <a:close/>
                    <a:moveTo>
                      <a:pt x="44658" y="2873"/>
                    </a:moveTo>
                    <a:lnTo>
                      <a:pt x="43457" y="0"/>
                    </a:lnTo>
                    <a:lnTo>
                      <a:pt x="14299" y="0"/>
                    </a:lnTo>
                    <a:lnTo>
                      <a:pt x="13098" y="2873"/>
                    </a:lnTo>
                    <a:cubicBezTo>
                      <a:pt x="13098" y="11503"/>
                      <a:pt x="20001" y="18653"/>
                      <a:pt x="28878" y="18653"/>
                    </a:cubicBezTo>
                    <a:cubicBezTo>
                      <a:pt x="37508" y="18653"/>
                      <a:pt x="44658" y="11749"/>
                      <a:pt x="44658" y="2873"/>
                    </a:cubicBezTo>
                    <a:close/>
                    <a:moveTo>
                      <a:pt x="46632" y="796242"/>
                    </a:moveTo>
                    <a:cubicBezTo>
                      <a:pt x="46632" y="788350"/>
                      <a:pt x="40222" y="781936"/>
                      <a:pt x="32332" y="781936"/>
                    </a:cubicBezTo>
                    <a:cubicBezTo>
                      <a:pt x="24441" y="781936"/>
                      <a:pt x="18029" y="788350"/>
                      <a:pt x="18029" y="796242"/>
                    </a:cubicBezTo>
                    <a:cubicBezTo>
                      <a:pt x="18029" y="804131"/>
                      <a:pt x="24441" y="810541"/>
                      <a:pt x="32332" y="810541"/>
                    </a:cubicBezTo>
                    <a:cubicBezTo>
                      <a:pt x="40222" y="810541"/>
                      <a:pt x="46632" y="804131"/>
                      <a:pt x="46632" y="796242"/>
                    </a:cubicBezTo>
                    <a:close/>
                    <a:moveTo>
                      <a:pt x="49839" y="127855"/>
                    </a:moveTo>
                    <a:cubicBezTo>
                      <a:pt x="49839" y="119225"/>
                      <a:pt x="42935" y="112320"/>
                      <a:pt x="34305" y="112320"/>
                    </a:cubicBezTo>
                    <a:cubicBezTo>
                      <a:pt x="25674" y="112320"/>
                      <a:pt x="18770" y="119225"/>
                      <a:pt x="18770" y="127855"/>
                    </a:cubicBezTo>
                    <a:cubicBezTo>
                      <a:pt x="18770" y="136486"/>
                      <a:pt x="25674" y="143389"/>
                      <a:pt x="34305" y="143389"/>
                    </a:cubicBezTo>
                    <a:cubicBezTo>
                      <a:pt x="42687" y="143389"/>
                      <a:pt x="49839" y="136237"/>
                      <a:pt x="49839" y="127855"/>
                    </a:cubicBezTo>
                    <a:close/>
                    <a:moveTo>
                      <a:pt x="52797" y="4879417"/>
                    </a:moveTo>
                    <a:cubicBezTo>
                      <a:pt x="52797" y="4866100"/>
                      <a:pt x="41948" y="4855005"/>
                      <a:pt x="28386" y="4855005"/>
                    </a:cubicBezTo>
                    <a:cubicBezTo>
                      <a:pt x="14823" y="4855005"/>
                      <a:pt x="3974" y="4865855"/>
                      <a:pt x="3974" y="4879417"/>
                    </a:cubicBezTo>
                    <a:cubicBezTo>
                      <a:pt x="3974" y="4892977"/>
                      <a:pt x="14823" y="4903825"/>
                      <a:pt x="28386" y="4903825"/>
                    </a:cubicBezTo>
                    <a:cubicBezTo>
                      <a:pt x="41948" y="4903825"/>
                      <a:pt x="52797" y="4892730"/>
                      <a:pt x="52797" y="4879417"/>
                    </a:cubicBezTo>
                    <a:close/>
                    <a:moveTo>
                      <a:pt x="54770" y="253824"/>
                    </a:moveTo>
                    <a:cubicBezTo>
                      <a:pt x="54770" y="245442"/>
                      <a:pt x="48113" y="238785"/>
                      <a:pt x="39727" y="238785"/>
                    </a:cubicBezTo>
                    <a:cubicBezTo>
                      <a:pt x="31345" y="238785"/>
                      <a:pt x="24687" y="245442"/>
                      <a:pt x="24687" y="253824"/>
                    </a:cubicBezTo>
                    <a:cubicBezTo>
                      <a:pt x="24687" y="261960"/>
                      <a:pt x="31345" y="268867"/>
                      <a:pt x="39727" y="268867"/>
                    </a:cubicBezTo>
                    <a:cubicBezTo>
                      <a:pt x="47867" y="268867"/>
                      <a:pt x="54770" y="262209"/>
                      <a:pt x="54770" y="253824"/>
                    </a:cubicBezTo>
                    <a:close/>
                    <a:moveTo>
                      <a:pt x="56495" y="5409803"/>
                    </a:moveTo>
                    <a:cubicBezTo>
                      <a:pt x="56495" y="5393528"/>
                      <a:pt x="43178" y="5380213"/>
                      <a:pt x="26906" y="5380213"/>
                    </a:cubicBezTo>
                    <a:cubicBezTo>
                      <a:pt x="18768" y="5380213"/>
                      <a:pt x="11371" y="5383542"/>
                      <a:pt x="6008" y="5388905"/>
                    </a:cubicBezTo>
                    <a:lnTo>
                      <a:pt x="0" y="5403351"/>
                    </a:lnTo>
                    <a:lnTo>
                      <a:pt x="0" y="5416255"/>
                    </a:lnTo>
                    <a:lnTo>
                      <a:pt x="6008" y="5430701"/>
                    </a:lnTo>
                    <a:cubicBezTo>
                      <a:pt x="11371" y="5436064"/>
                      <a:pt x="18768" y="5439392"/>
                      <a:pt x="26906" y="5439392"/>
                    </a:cubicBezTo>
                    <a:cubicBezTo>
                      <a:pt x="43178" y="5439392"/>
                      <a:pt x="56249" y="5426078"/>
                      <a:pt x="56495" y="5409803"/>
                    </a:cubicBezTo>
                    <a:close/>
                    <a:moveTo>
                      <a:pt x="56988" y="928380"/>
                    </a:moveTo>
                    <a:cubicBezTo>
                      <a:pt x="56988" y="920234"/>
                      <a:pt x="50576" y="913825"/>
                      <a:pt x="42440" y="913825"/>
                    </a:cubicBezTo>
                    <a:cubicBezTo>
                      <a:pt x="34304" y="913825"/>
                      <a:pt x="27892" y="920234"/>
                      <a:pt x="27892" y="928380"/>
                    </a:cubicBezTo>
                    <a:cubicBezTo>
                      <a:pt x="27892" y="936267"/>
                      <a:pt x="34549" y="942924"/>
                      <a:pt x="42440" y="942924"/>
                    </a:cubicBezTo>
                    <a:cubicBezTo>
                      <a:pt x="50576" y="942924"/>
                      <a:pt x="56988" y="936267"/>
                      <a:pt x="56988" y="928380"/>
                    </a:cubicBezTo>
                    <a:close/>
                    <a:moveTo>
                      <a:pt x="61179" y="2029635"/>
                    </a:moveTo>
                    <a:cubicBezTo>
                      <a:pt x="61179" y="2028402"/>
                      <a:pt x="60194" y="2027663"/>
                      <a:pt x="59207" y="2027663"/>
                    </a:cubicBezTo>
                    <a:cubicBezTo>
                      <a:pt x="58220" y="2027663"/>
                      <a:pt x="57235" y="2028650"/>
                      <a:pt x="57235" y="2029635"/>
                    </a:cubicBezTo>
                    <a:cubicBezTo>
                      <a:pt x="57235" y="2030868"/>
                      <a:pt x="57975" y="2031608"/>
                      <a:pt x="59207" y="2031608"/>
                    </a:cubicBezTo>
                    <a:cubicBezTo>
                      <a:pt x="60439" y="2031608"/>
                      <a:pt x="61179" y="2030868"/>
                      <a:pt x="61179" y="2029635"/>
                    </a:cubicBezTo>
                    <a:close/>
                    <a:moveTo>
                      <a:pt x="61671" y="6160624"/>
                    </a:moveTo>
                    <a:cubicBezTo>
                      <a:pt x="61671" y="6145584"/>
                      <a:pt x="49344" y="6133253"/>
                      <a:pt x="34304" y="6133253"/>
                    </a:cubicBezTo>
                    <a:cubicBezTo>
                      <a:pt x="19263" y="6133253"/>
                      <a:pt x="6933" y="6145584"/>
                      <a:pt x="6933" y="6160624"/>
                    </a:cubicBezTo>
                    <a:cubicBezTo>
                      <a:pt x="6933" y="6175665"/>
                      <a:pt x="19263" y="6187995"/>
                      <a:pt x="34304" y="6187995"/>
                    </a:cubicBezTo>
                    <a:cubicBezTo>
                      <a:pt x="49344" y="6187995"/>
                      <a:pt x="61425" y="6175665"/>
                      <a:pt x="61671" y="6160624"/>
                    </a:cubicBezTo>
                    <a:close/>
                    <a:moveTo>
                      <a:pt x="62906" y="2818676"/>
                    </a:moveTo>
                    <a:cubicBezTo>
                      <a:pt x="62906" y="2803632"/>
                      <a:pt x="50825" y="2791551"/>
                      <a:pt x="35782" y="2791551"/>
                    </a:cubicBezTo>
                    <a:cubicBezTo>
                      <a:pt x="20741" y="2791551"/>
                      <a:pt x="8660" y="2803632"/>
                      <a:pt x="8660" y="2818676"/>
                    </a:cubicBezTo>
                    <a:cubicBezTo>
                      <a:pt x="8660" y="2833717"/>
                      <a:pt x="20741" y="2845799"/>
                      <a:pt x="35782" y="2845799"/>
                    </a:cubicBezTo>
                    <a:cubicBezTo>
                      <a:pt x="50825" y="2845799"/>
                      <a:pt x="62906" y="2833717"/>
                      <a:pt x="62906" y="2818676"/>
                    </a:cubicBezTo>
                    <a:close/>
                    <a:moveTo>
                      <a:pt x="62907" y="6028214"/>
                    </a:moveTo>
                    <a:cubicBezTo>
                      <a:pt x="62907" y="6017859"/>
                      <a:pt x="54276" y="6009228"/>
                      <a:pt x="43918" y="6009228"/>
                    </a:cubicBezTo>
                    <a:cubicBezTo>
                      <a:pt x="33564" y="6009228"/>
                      <a:pt x="24933" y="6017859"/>
                      <a:pt x="24933" y="6028214"/>
                    </a:cubicBezTo>
                    <a:cubicBezTo>
                      <a:pt x="24933" y="6038572"/>
                      <a:pt x="33564" y="6047202"/>
                      <a:pt x="43918" y="6047202"/>
                    </a:cubicBezTo>
                    <a:cubicBezTo>
                      <a:pt x="54276" y="6047202"/>
                      <a:pt x="62907" y="6038817"/>
                      <a:pt x="62907" y="6028214"/>
                    </a:cubicBezTo>
                    <a:close/>
                    <a:moveTo>
                      <a:pt x="63401" y="1364753"/>
                    </a:moveTo>
                    <a:cubicBezTo>
                      <a:pt x="63401" y="1356370"/>
                      <a:pt x="56743" y="1349715"/>
                      <a:pt x="48358" y="1349715"/>
                    </a:cubicBezTo>
                    <a:cubicBezTo>
                      <a:pt x="39976" y="1349715"/>
                      <a:pt x="33318" y="1356370"/>
                      <a:pt x="33318" y="1364753"/>
                    </a:cubicBezTo>
                    <a:cubicBezTo>
                      <a:pt x="33318" y="1373143"/>
                      <a:pt x="39976" y="1379799"/>
                      <a:pt x="48358" y="1379799"/>
                    </a:cubicBezTo>
                    <a:cubicBezTo>
                      <a:pt x="56743" y="1379799"/>
                      <a:pt x="63401" y="1372896"/>
                      <a:pt x="63401" y="1364753"/>
                    </a:cubicBezTo>
                    <a:close/>
                    <a:moveTo>
                      <a:pt x="67590" y="1062001"/>
                    </a:moveTo>
                    <a:cubicBezTo>
                      <a:pt x="67590" y="1054116"/>
                      <a:pt x="61180" y="1047701"/>
                      <a:pt x="53290" y="1047701"/>
                    </a:cubicBezTo>
                    <a:cubicBezTo>
                      <a:pt x="45399" y="1047701"/>
                      <a:pt x="38987" y="1054116"/>
                      <a:pt x="38987" y="1062001"/>
                    </a:cubicBezTo>
                    <a:cubicBezTo>
                      <a:pt x="38987" y="1070144"/>
                      <a:pt x="45399" y="1076551"/>
                      <a:pt x="53290" y="1076551"/>
                    </a:cubicBezTo>
                    <a:cubicBezTo>
                      <a:pt x="61180" y="1076551"/>
                      <a:pt x="67590" y="1070144"/>
                      <a:pt x="67590" y="1062001"/>
                    </a:cubicBezTo>
                    <a:close/>
                    <a:moveTo>
                      <a:pt x="70055" y="4083963"/>
                    </a:moveTo>
                    <a:cubicBezTo>
                      <a:pt x="70055" y="4056592"/>
                      <a:pt x="47864" y="4034401"/>
                      <a:pt x="20493" y="4034401"/>
                    </a:cubicBezTo>
                    <a:lnTo>
                      <a:pt x="0" y="4042890"/>
                    </a:lnTo>
                    <a:lnTo>
                      <a:pt x="0" y="4125035"/>
                    </a:lnTo>
                    <a:lnTo>
                      <a:pt x="20493" y="4133524"/>
                    </a:lnTo>
                    <a:cubicBezTo>
                      <a:pt x="47618" y="4133524"/>
                      <a:pt x="69808" y="4111334"/>
                      <a:pt x="70055" y="4083963"/>
                    </a:cubicBezTo>
                    <a:close/>
                    <a:moveTo>
                      <a:pt x="71781" y="5759446"/>
                    </a:moveTo>
                    <a:cubicBezTo>
                      <a:pt x="71781" y="5756733"/>
                      <a:pt x="69808" y="5754514"/>
                      <a:pt x="67098" y="5754514"/>
                    </a:cubicBezTo>
                    <a:cubicBezTo>
                      <a:pt x="64630" y="5754514"/>
                      <a:pt x="62412" y="5756733"/>
                      <a:pt x="62412" y="5759446"/>
                    </a:cubicBezTo>
                    <a:cubicBezTo>
                      <a:pt x="62412" y="5762158"/>
                      <a:pt x="64385" y="5764377"/>
                      <a:pt x="67098" y="5764377"/>
                    </a:cubicBezTo>
                    <a:cubicBezTo>
                      <a:pt x="69808" y="5764377"/>
                      <a:pt x="71781" y="5762404"/>
                      <a:pt x="71781" y="5759446"/>
                    </a:cubicBezTo>
                    <a:close/>
                    <a:moveTo>
                      <a:pt x="72274" y="5894818"/>
                    </a:moveTo>
                    <a:cubicBezTo>
                      <a:pt x="72274" y="5885201"/>
                      <a:pt x="64383" y="5877310"/>
                      <a:pt x="54768" y="5877310"/>
                    </a:cubicBezTo>
                    <a:cubicBezTo>
                      <a:pt x="45151" y="5877310"/>
                      <a:pt x="37261" y="5885201"/>
                      <a:pt x="37261" y="5894818"/>
                    </a:cubicBezTo>
                    <a:cubicBezTo>
                      <a:pt x="37261" y="5904435"/>
                      <a:pt x="45151" y="5912326"/>
                      <a:pt x="54768" y="5912326"/>
                    </a:cubicBezTo>
                    <a:cubicBezTo>
                      <a:pt x="64631" y="5912326"/>
                      <a:pt x="72522" y="5904435"/>
                      <a:pt x="72274" y="5894818"/>
                    </a:cubicBezTo>
                    <a:close/>
                    <a:moveTo>
                      <a:pt x="75482" y="5122048"/>
                    </a:moveTo>
                    <a:cubicBezTo>
                      <a:pt x="75482" y="5118348"/>
                      <a:pt x="72521" y="5115389"/>
                      <a:pt x="68824" y="5115389"/>
                    </a:cubicBezTo>
                    <a:cubicBezTo>
                      <a:pt x="65126" y="5115389"/>
                      <a:pt x="62167" y="5118348"/>
                      <a:pt x="62167" y="5122048"/>
                    </a:cubicBezTo>
                    <a:cubicBezTo>
                      <a:pt x="62167" y="5125744"/>
                      <a:pt x="65126" y="5128702"/>
                      <a:pt x="68824" y="5128702"/>
                    </a:cubicBezTo>
                    <a:cubicBezTo>
                      <a:pt x="72276" y="5128702"/>
                      <a:pt x="75233" y="5125744"/>
                      <a:pt x="75482" y="5122048"/>
                    </a:cubicBezTo>
                    <a:close/>
                    <a:moveTo>
                      <a:pt x="79673" y="1197355"/>
                    </a:moveTo>
                    <a:cubicBezTo>
                      <a:pt x="79673" y="1189461"/>
                      <a:pt x="73261" y="1183051"/>
                      <a:pt x="65371" y="1183051"/>
                    </a:cubicBezTo>
                    <a:cubicBezTo>
                      <a:pt x="57480" y="1183051"/>
                      <a:pt x="51071" y="1189461"/>
                      <a:pt x="51071" y="1197355"/>
                    </a:cubicBezTo>
                    <a:cubicBezTo>
                      <a:pt x="51071" y="1205241"/>
                      <a:pt x="57480" y="1211655"/>
                      <a:pt x="65371" y="1211655"/>
                    </a:cubicBezTo>
                    <a:cubicBezTo>
                      <a:pt x="73261" y="1211655"/>
                      <a:pt x="79673" y="1205241"/>
                      <a:pt x="79673" y="1197355"/>
                    </a:cubicBezTo>
                    <a:close/>
                    <a:moveTo>
                      <a:pt x="80906" y="1504053"/>
                    </a:moveTo>
                    <a:cubicBezTo>
                      <a:pt x="80906" y="1495177"/>
                      <a:pt x="73756" y="1487779"/>
                      <a:pt x="64630" y="1487779"/>
                    </a:cubicBezTo>
                    <a:cubicBezTo>
                      <a:pt x="55754" y="1487779"/>
                      <a:pt x="48358" y="1495177"/>
                      <a:pt x="48358" y="1504053"/>
                    </a:cubicBezTo>
                    <a:cubicBezTo>
                      <a:pt x="48358" y="1512931"/>
                      <a:pt x="55508" y="1520329"/>
                      <a:pt x="64630" y="1520329"/>
                    </a:cubicBezTo>
                    <a:cubicBezTo>
                      <a:pt x="73756" y="1520329"/>
                      <a:pt x="80906" y="1512931"/>
                      <a:pt x="80906" y="1504053"/>
                    </a:cubicBezTo>
                    <a:close/>
                    <a:moveTo>
                      <a:pt x="81151" y="4466402"/>
                    </a:moveTo>
                    <a:cubicBezTo>
                      <a:pt x="81151" y="4447417"/>
                      <a:pt x="65617" y="4431882"/>
                      <a:pt x="46632" y="4431882"/>
                    </a:cubicBezTo>
                    <a:cubicBezTo>
                      <a:pt x="27645" y="4431882"/>
                      <a:pt x="12111" y="4447417"/>
                      <a:pt x="12111" y="4466402"/>
                    </a:cubicBezTo>
                    <a:cubicBezTo>
                      <a:pt x="12111" y="4485389"/>
                      <a:pt x="27645" y="4500923"/>
                      <a:pt x="46632" y="4500923"/>
                    </a:cubicBezTo>
                    <a:cubicBezTo>
                      <a:pt x="65617" y="4500923"/>
                      <a:pt x="81151" y="4485389"/>
                      <a:pt x="81151" y="4466402"/>
                    </a:cubicBezTo>
                    <a:close/>
                    <a:moveTo>
                      <a:pt x="83616" y="4726540"/>
                    </a:moveTo>
                    <a:cubicBezTo>
                      <a:pt x="83616" y="4713963"/>
                      <a:pt x="73507" y="4703855"/>
                      <a:pt x="60930" y="4703855"/>
                    </a:cubicBezTo>
                    <a:cubicBezTo>
                      <a:pt x="48355" y="4703855"/>
                      <a:pt x="38246" y="4713963"/>
                      <a:pt x="38246" y="4726540"/>
                    </a:cubicBezTo>
                    <a:cubicBezTo>
                      <a:pt x="38246" y="4739116"/>
                      <a:pt x="48355" y="4749225"/>
                      <a:pt x="60930" y="4749225"/>
                    </a:cubicBezTo>
                    <a:cubicBezTo>
                      <a:pt x="73507" y="4749225"/>
                      <a:pt x="83616" y="4738868"/>
                      <a:pt x="83616" y="4726540"/>
                    </a:cubicBezTo>
                    <a:close/>
                    <a:moveTo>
                      <a:pt x="84357" y="6984928"/>
                    </a:moveTo>
                    <a:cubicBezTo>
                      <a:pt x="84357" y="6983200"/>
                      <a:pt x="83124" y="6981968"/>
                      <a:pt x="81398" y="6981968"/>
                    </a:cubicBezTo>
                    <a:cubicBezTo>
                      <a:pt x="79920" y="6981968"/>
                      <a:pt x="78439" y="6983200"/>
                      <a:pt x="78439" y="6984928"/>
                    </a:cubicBezTo>
                    <a:cubicBezTo>
                      <a:pt x="78439" y="6986406"/>
                      <a:pt x="79671" y="6987887"/>
                      <a:pt x="81398" y="6987887"/>
                    </a:cubicBezTo>
                    <a:cubicBezTo>
                      <a:pt x="83124" y="6987887"/>
                      <a:pt x="84357" y="6986406"/>
                      <a:pt x="84357" y="6984928"/>
                    </a:cubicBezTo>
                    <a:close/>
                    <a:moveTo>
                      <a:pt x="85838" y="2438717"/>
                    </a:moveTo>
                    <a:cubicBezTo>
                      <a:pt x="85838" y="2430323"/>
                      <a:pt x="78933" y="2423414"/>
                      <a:pt x="70549" y="2423414"/>
                    </a:cubicBezTo>
                    <a:cubicBezTo>
                      <a:pt x="62167" y="2423414"/>
                      <a:pt x="55262" y="2430323"/>
                      <a:pt x="55262" y="2438717"/>
                    </a:cubicBezTo>
                    <a:cubicBezTo>
                      <a:pt x="55262" y="2447094"/>
                      <a:pt x="62167" y="2453992"/>
                      <a:pt x="70549" y="2453992"/>
                    </a:cubicBezTo>
                    <a:cubicBezTo>
                      <a:pt x="78933" y="2453992"/>
                      <a:pt x="85838" y="2447341"/>
                      <a:pt x="85838" y="2438717"/>
                    </a:cubicBezTo>
                    <a:close/>
                    <a:moveTo>
                      <a:pt x="86823" y="3479361"/>
                    </a:moveTo>
                    <a:cubicBezTo>
                      <a:pt x="86823" y="3456814"/>
                      <a:pt x="68330" y="3438320"/>
                      <a:pt x="45645" y="3438320"/>
                    </a:cubicBezTo>
                    <a:cubicBezTo>
                      <a:pt x="22960" y="3438320"/>
                      <a:pt x="4467" y="3456814"/>
                      <a:pt x="4467" y="3479361"/>
                    </a:cubicBezTo>
                    <a:cubicBezTo>
                      <a:pt x="4467" y="3502046"/>
                      <a:pt x="22960" y="3520537"/>
                      <a:pt x="45645" y="3520537"/>
                    </a:cubicBezTo>
                    <a:cubicBezTo>
                      <a:pt x="68330" y="3520537"/>
                      <a:pt x="86823" y="3502046"/>
                      <a:pt x="86823" y="3479361"/>
                    </a:cubicBezTo>
                    <a:close/>
                    <a:moveTo>
                      <a:pt x="88550" y="3363601"/>
                    </a:moveTo>
                    <a:cubicBezTo>
                      <a:pt x="88550" y="3341658"/>
                      <a:pt x="70550" y="3323666"/>
                      <a:pt x="48603" y="3323666"/>
                    </a:cubicBezTo>
                    <a:cubicBezTo>
                      <a:pt x="26659" y="3323666"/>
                      <a:pt x="8660" y="3341658"/>
                      <a:pt x="8660" y="3363601"/>
                    </a:cubicBezTo>
                    <a:cubicBezTo>
                      <a:pt x="8660" y="3385548"/>
                      <a:pt x="26659" y="3403556"/>
                      <a:pt x="48603" y="3403556"/>
                    </a:cubicBezTo>
                    <a:cubicBezTo>
                      <a:pt x="70797" y="3403556"/>
                      <a:pt x="88795" y="3385795"/>
                      <a:pt x="88550" y="3363601"/>
                    </a:cubicBezTo>
                    <a:close/>
                    <a:moveTo>
                      <a:pt x="89043" y="6860406"/>
                    </a:moveTo>
                    <a:cubicBezTo>
                      <a:pt x="89043" y="6858681"/>
                      <a:pt x="87564" y="6857200"/>
                      <a:pt x="85838" y="6857200"/>
                    </a:cubicBezTo>
                    <a:cubicBezTo>
                      <a:pt x="84111" y="6857200"/>
                      <a:pt x="82633" y="6858681"/>
                      <a:pt x="82633" y="6860406"/>
                    </a:cubicBezTo>
                    <a:cubicBezTo>
                      <a:pt x="82633" y="6862132"/>
                      <a:pt x="84111" y="6863613"/>
                      <a:pt x="85838" y="6863613"/>
                    </a:cubicBezTo>
                    <a:cubicBezTo>
                      <a:pt x="87564" y="6863613"/>
                      <a:pt x="89043" y="6862132"/>
                      <a:pt x="89043" y="6860406"/>
                    </a:cubicBezTo>
                    <a:close/>
                    <a:moveTo>
                      <a:pt x="90522" y="2181305"/>
                    </a:moveTo>
                    <a:cubicBezTo>
                      <a:pt x="90522" y="2180814"/>
                      <a:pt x="90028" y="2180567"/>
                      <a:pt x="89782" y="2180567"/>
                    </a:cubicBezTo>
                    <a:cubicBezTo>
                      <a:pt x="89288" y="2180567"/>
                      <a:pt x="89042" y="2180814"/>
                      <a:pt x="89042" y="2181305"/>
                    </a:cubicBezTo>
                    <a:cubicBezTo>
                      <a:pt x="89042" y="2181801"/>
                      <a:pt x="89288" y="2182043"/>
                      <a:pt x="89782" y="2182043"/>
                    </a:cubicBezTo>
                    <a:cubicBezTo>
                      <a:pt x="90028" y="2182043"/>
                      <a:pt x="90274" y="2181801"/>
                      <a:pt x="90522" y="2181305"/>
                    </a:cubicBezTo>
                    <a:close/>
                    <a:moveTo>
                      <a:pt x="91507" y="3594756"/>
                    </a:moveTo>
                    <a:cubicBezTo>
                      <a:pt x="91507" y="3571084"/>
                      <a:pt x="72275" y="3552099"/>
                      <a:pt x="48849" y="3552099"/>
                    </a:cubicBezTo>
                    <a:cubicBezTo>
                      <a:pt x="25424" y="3552099"/>
                      <a:pt x="6439" y="3571331"/>
                      <a:pt x="6439" y="3594756"/>
                    </a:cubicBezTo>
                    <a:cubicBezTo>
                      <a:pt x="6439" y="3618427"/>
                      <a:pt x="25424" y="3637413"/>
                      <a:pt x="48849" y="3637413"/>
                    </a:cubicBezTo>
                    <a:cubicBezTo>
                      <a:pt x="72275" y="3637413"/>
                      <a:pt x="91507" y="3618427"/>
                      <a:pt x="91507" y="3594756"/>
                    </a:cubicBezTo>
                    <a:close/>
                    <a:moveTo>
                      <a:pt x="92493" y="6735148"/>
                    </a:moveTo>
                    <a:cubicBezTo>
                      <a:pt x="92493" y="6734162"/>
                      <a:pt x="91755" y="6733421"/>
                      <a:pt x="90769" y="6733421"/>
                    </a:cubicBezTo>
                    <a:cubicBezTo>
                      <a:pt x="89782" y="6733421"/>
                      <a:pt x="89042" y="6734162"/>
                      <a:pt x="89042" y="6735148"/>
                    </a:cubicBezTo>
                    <a:cubicBezTo>
                      <a:pt x="89042" y="6736134"/>
                      <a:pt x="89782" y="6736874"/>
                      <a:pt x="90769" y="6736874"/>
                    </a:cubicBezTo>
                    <a:cubicBezTo>
                      <a:pt x="91755" y="6736874"/>
                      <a:pt x="92493" y="6736134"/>
                      <a:pt x="92493" y="6735148"/>
                    </a:cubicBezTo>
                    <a:close/>
                    <a:moveTo>
                      <a:pt x="96684" y="3248213"/>
                    </a:moveTo>
                    <a:cubicBezTo>
                      <a:pt x="96684" y="3227008"/>
                      <a:pt x="79426" y="3209499"/>
                      <a:pt x="57973" y="3209499"/>
                    </a:cubicBezTo>
                    <a:cubicBezTo>
                      <a:pt x="36768" y="3209499"/>
                      <a:pt x="19261" y="3226759"/>
                      <a:pt x="19261" y="3248213"/>
                    </a:cubicBezTo>
                    <a:cubicBezTo>
                      <a:pt x="19261" y="3269418"/>
                      <a:pt x="36520" y="3286919"/>
                      <a:pt x="57973" y="3286919"/>
                    </a:cubicBezTo>
                    <a:cubicBezTo>
                      <a:pt x="79179" y="3286919"/>
                      <a:pt x="96684" y="3269665"/>
                      <a:pt x="96684" y="3248213"/>
                    </a:cubicBezTo>
                    <a:close/>
                    <a:moveTo>
                      <a:pt x="96687" y="2708207"/>
                    </a:moveTo>
                    <a:cubicBezTo>
                      <a:pt x="96687" y="2695139"/>
                      <a:pt x="86083" y="2684534"/>
                      <a:pt x="73016" y="2684534"/>
                    </a:cubicBezTo>
                    <a:cubicBezTo>
                      <a:pt x="59948" y="2684534"/>
                      <a:pt x="49345" y="2695139"/>
                      <a:pt x="49345" y="2708207"/>
                    </a:cubicBezTo>
                    <a:cubicBezTo>
                      <a:pt x="49345" y="2721275"/>
                      <a:pt x="59948" y="2731877"/>
                      <a:pt x="73016" y="2731877"/>
                    </a:cubicBezTo>
                    <a:cubicBezTo>
                      <a:pt x="86083" y="2731877"/>
                      <a:pt x="96687" y="2721275"/>
                      <a:pt x="96687" y="2708207"/>
                    </a:cubicBezTo>
                    <a:close/>
                    <a:moveTo>
                      <a:pt x="99892" y="4195418"/>
                    </a:moveTo>
                    <a:cubicBezTo>
                      <a:pt x="99892" y="4170512"/>
                      <a:pt x="79673" y="4150293"/>
                      <a:pt x="54770" y="4150293"/>
                    </a:cubicBezTo>
                    <a:cubicBezTo>
                      <a:pt x="29864" y="4150293"/>
                      <a:pt x="9646" y="4170512"/>
                      <a:pt x="9646" y="4195418"/>
                    </a:cubicBezTo>
                    <a:cubicBezTo>
                      <a:pt x="9646" y="4220321"/>
                      <a:pt x="29864" y="4240542"/>
                      <a:pt x="54770" y="4240542"/>
                    </a:cubicBezTo>
                    <a:cubicBezTo>
                      <a:pt x="79673" y="4240542"/>
                      <a:pt x="99892" y="4220321"/>
                      <a:pt x="99892" y="4195418"/>
                    </a:cubicBezTo>
                    <a:close/>
                    <a:moveTo>
                      <a:pt x="100632" y="1645323"/>
                    </a:moveTo>
                    <a:cubicBezTo>
                      <a:pt x="100632" y="1635706"/>
                      <a:pt x="92988" y="1628059"/>
                      <a:pt x="83373" y="1628059"/>
                    </a:cubicBezTo>
                    <a:cubicBezTo>
                      <a:pt x="73756" y="1628059"/>
                      <a:pt x="66111" y="1635706"/>
                      <a:pt x="66111" y="1645323"/>
                    </a:cubicBezTo>
                    <a:cubicBezTo>
                      <a:pt x="66111" y="1654931"/>
                      <a:pt x="73756" y="1662579"/>
                      <a:pt x="83373" y="1662579"/>
                    </a:cubicBezTo>
                    <a:cubicBezTo>
                      <a:pt x="92741" y="1662579"/>
                      <a:pt x="100632" y="1654685"/>
                      <a:pt x="100632" y="1645323"/>
                    </a:cubicBezTo>
                    <a:close/>
                    <a:moveTo>
                      <a:pt x="102111" y="3710153"/>
                    </a:moveTo>
                    <a:cubicBezTo>
                      <a:pt x="102111" y="3685991"/>
                      <a:pt x="82384" y="3666264"/>
                      <a:pt x="58218" y="3666264"/>
                    </a:cubicBezTo>
                    <a:cubicBezTo>
                      <a:pt x="34055" y="3666264"/>
                      <a:pt x="14330" y="3685991"/>
                      <a:pt x="14330" y="3710153"/>
                    </a:cubicBezTo>
                    <a:cubicBezTo>
                      <a:pt x="14330" y="3734319"/>
                      <a:pt x="34055" y="3754045"/>
                      <a:pt x="58218" y="3754045"/>
                    </a:cubicBezTo>
                    <a:cubicBezTo>
                      <a:pt x="82384" y="3754045"/>
                      <a:pt x="102111" y="3734564"/>
                      <a:pt x="102111" y="3710153"/>
                    </a:cubicBezTo>
                    <a:close/>
                    <a:moveTo>
                      <a:pt x="108029" y="6615310"/>
                    </a:moveTo>
                    <a:cubicBezTo>
                      <a:pt x="108029" y="6613829"/>
                      <a:pt x="106796" y="6612597"/>
                      <a:pt x="105315" y="6612597"/>
                    </a:cubicBezTo>
                    <a:cubicBezTo>
                      <a:pt x="103589" y="6612597"/>
                      <a:pt x="102356" y="6613829"/>
                      <a:pt x="102356" y="6615310"/>
                    </a:cubicBezTo>
                    <a:cubicBezTo>
                      <a:pt x="102356" y="6616788"/>
                      <a:pt x="103837" y="6618023"/>
                      <a:pt x="105315" y="6618023"/>
                    </a:cubicBezTo>
                    <a:cubicBezTo>
                      <a:pt x="107042" y="6618023"/>
                      <a:pt x="108274" y="6616788"/>
                      <a:pt x="108029" y="6615310"/>
                    </a:cubicBezTo>
                    <a:close/>
                    <a:moveTo>
                      <a:pt x="109508" y="4975089"/>
                    </a:moveTo>
                    <a:cubicBezTo>
                      <a:pt x="109508" y="4966458"/>
                      <a:pt x="102604" y="4959553"/>
                      <a:pt x="93974" y="4959553"/>
                    </a:cubicBezTo>
                    <a:cubicBezTo>
                      <a:pt x="85343" y="4959553"/>
                      <a:pt x="78439" y="4966458"/>
                      <a:pt x="78439" y="4975089"/>
                    </a:cubicBezTo>
                    <a:cubicBezTo>
                      <a:pt x="78439" y="4983720"/>
                      <a:pt x="85343" y="4990624"/>
                      <a:pt x="93974" y="4990624"/>
                    </a:cubicBezTo>
                    <a:cubicBezTo>
                      <a:pt x="102604" y="4990624"/>
                      <a:pt x="109508" y="4983720"/>
                      <a:pt x="109508" y="4975089"/>
                    </a:cubicBezTo>
                    <a:close/>
                    <a:moveTo>
                      <a:pt x="110742" y="3133553"/>
                    </a:moveTo>
                    <a:cubicBezTo>
                      <a:pt x="110742" y="3112840"/>
                      <a:pt x="93974" y="3096071"/>
                      <a:pt x="73262" y="3096071"/>
                    </a:cubicBezTo>
                    <a:cubicBezTo>
                      <a:pt x="52549" y="3096071"/>
                      <a:pt x="35783" y="3112840"/>
                      <a:pt x="35783" y="3133553"/>
                    </a:cubicBezTo>
                    <a:cubicBezTo>
                      <a:pt x="35783" y="3154266"/>
                      <a:pt x="52549" y="3171033"/>
                      <a:pt x="73262" y="3171033"/>
                    </a:cubicBezTo>
                    <a:cubicBezTo>
                      <a:pt x="94221" y="3171033"/>
                      <a:pt x="110988" y="3154266"/>
                      <a:pt x="110742" y="3133553"/>
                    </a:cubicBezTo>
                    <a:close/>
                    <a:moveTo>
                      <a:pt x="110743" y="1788823"/>
                    </a:moveTo>
                    <a:cubicBezTo>
                      <a:pt x="110743" y="1785120"/>
                      <a:pt x="107782" y="1782195"/>
                      <a:pt x="104085" y="1782195"/>
                    </a:cubicBezTo>
                    <a:cubicBezTo>
                      <a:pt x="100386" y="1782195"/>
                      <a:pt x="97427" y="1785120"/>
                      <a:pt x="97427" y="1788823"/>
                    </a:cubicBezTo>
                    <a:cubicBezTo>
                      <a:pt x="97427" y="1792541"/>
                      <a:pt x="100386" y="1795521"/>
                      <a:pt x="104085" y="1795521"/>
                    </a:cubicBezTo>
                    <a:cubicBezTo>
                      <a:pt x="107782" y="1795521"/>
                      <a:pt x="110743" y="1792541"/>
                      <a:pt x="110743" y="1788823"/>
                    </a:cubicBezTo>
                    <a:close/>
                    <a:moveTo>
                      <a:pt x="114441" y="6488572"/>
                    </a:moveTo>
                    <a:cubicBezTo>
                      <a:pt x="114441" y="6486845"/>
                      <a:pt x="113208" y="6485613"/>
                      <a:pt x="111482" y="6485613"/>
                    </a:cubicBezTo>
                    <a:cubicBezTo>
                      <a:pt x="110004" y="6485613"/>
                      <a:pt x="108523" y="6486845"/>
                      <a:pt x="108523" y="6488572"/>
                    </a:cubicBezTo>
                    <a:cubicBezTo>
                      <a:pt x="108523" y="6490051"/>
                      <a:pt x="109755" y="6491531"/>
                      <a:pt x="111482" y="6491531"/>
                    </a:cubicBezTo>
                    <a:cubicBezTo>
                      <a:pt x="113208" y="6491531"/>
                      <a:pt x="114687" y="6490051"/>
                      <a:pt x="114441" y="6488572"/>
                    </a:cubicBezTo>
                    <a:close/>
                    <a:moveTo>
                      <a:pt x="117151" y="5632461"/>
                    </a:moveTo>
                    <a:cubicBezTo>
                      <a:pt x="117151" y="5617912"/>
                      <a:pt x="105315" y="5605830"/>
                      <a:pt x="90520" y="5605830"/>
                    </a:cubicBezTo>
                    <a:cubicBezTo>
                      <a:pt x="75726" y="5605830"/>
                      <a:pt x="63645" y="5617666"/>
                      <a:pt x="63645" y="5632461"/>
                    </a:cubicBezTo>
                    <a:cubicBezTo>
                      <a:pt x="63645" y="5647255"/>
                      <a:pt x="75726" y="5659336"/>
                      <a:pt x="90520" y="5659336"/>
                    </a:cubicBezTo>
                    <a:cubicBezTo>
                      <a:pt x="105315" y="5659336"/>
                      <a:pt x="117151" y="5647010"/>
                      <a:pt x="117151" y="5632461"/>
                    </a:cubicBezTo>
                    <a:close/>
                    <a:moveTo>
                      <a:pt x="118137" y="341824"/>
                    </a:moveTo>
                    <a:cubicBezTo>
                      <a:pt x="118137" y="333441"/>
                      <a:pt x="111233" y="326537"/>
                      <a:pt x="102851" y="326537"/>
                    </a:cubicBezTo>
                    <a:cubicBezTo>
                      <a:pt x="94467" y="326537"/>
                      <a:pt x="87562" y="333441"/>
                      <a:pt x="87562" y="341824"/>
                    </a:cubicBezTo>
                    <a:cubicBezTo>
                      <a:pt x="87562" y="350208"/>
                      <a:pt x="94467" y="357111"/>
                      <a:pt x="102851" y="357111"/>
                    </a:cubicBezTo>
                    <a:cubicBezTo>
                      <a:pt x="111233" y="357111"/>
                      <a:pt x="118137" y="350208"/>
                      <a:pt x="118137" y="341824"/>
                    </a:cubicBezTo>
                    <a:close/>
                    <a:moveTo>
                      <a:pt x="118877" y="3825059"/>
                    </a:moveTo>
                    <a:cubicBezTo>
                      <a:pt x="118877" y="3800275"/>
                      <a:pt x="98786" y="3780183"/>
                      <a:pt x="74002" y="3780183"/>
                    </a:cubicBezTo>
                    <a:cubicBezTo>
                      <a:pt x="49215" y="3780183"/>
                      <a:pt x="29124" y="3800275"/>
                      <a:pt x="29124" y="3825059"/>
                    </a:cubicBezTo>
                    <a:cubicBezTo>
                      <a:pt x="29124" y="3849847"/>
                      <a:pt x="49215" y="3869937"/>
                      <a:pt x="74002" y="3869937"/>
                    </a:cubicBezTo>
                    <a:cubicBezTo>
                      <a:pt x="98786" y="3869937"/>
                      <a:pt x="118877" y="3849847"/>
                      <a:pt x="118877" y="3825059"/>
                    </a:cubicBezTo>
                    <a:close/>
                    <a:moveTo>
                      <a:pt x="120358" y="6360844"/>
                    </a:moveTo>
                    <a:cubicBezTo>
                      <a:pt x="120358" y="6359857"/>
                      <a:pt x="119617" y="6358871"/>
                      <a:pt x="118385" y="6358871"/>
                    </a:cubicBezTo>
                    <a:cubicBezTo>
                      <a:pt x="117399" y="6358871"/>
                      <a:pt x="116413" y="6359612"/>
                      <a:pt x="116413" y="6360844"/>
                    </a:cubicBezTo>
                    <a:cubicBezTo>
                      <a:pt x="116413" y="6361830"/>
                      <a:pt x="117153" y="6362817"/>
                      <a:pt x="118385" y="6362817"/>
                    </a:cubicBezTo>
                    <a:cubicBezTo>
                      <a:pt x="119372" y="6362817"/>
                      <a:pt x="120358" y="6361830"/>
                      <a:pt x="120358" y="6360844"/>
                    </a:cubicBezTo>
                    <a:close/>
                    <a:moveTo>
                      <a:pt x="121098" y="4570704"/>
                    </a:moveTo>
                    <a:cubicBezTo>
                      <a:pt x="121098" y="4558129"/>
                      <a:pt x="110741" y="4547773"/>
                      <a:pt x="98165" y="4547773"/>
                    </a:cubicBezTo>
                    <a:cubicBezTo>
                      <a:pt x="85589" y="4547773"/>
                      <a:pt x="75234" y="4558129"/>
                      <a:pt x="75234" y="4570704"/>
                    </a:cubicBezTo>
                    <a:cubicBezTo>
                      <a:pt x="75234" y="4583281"/>
                      <a:pt x="85589" y="4593638"/>
                      <a:pt x="98165" y="4593638"/>
                    </a:cubicBezTo>
                    <a:cubicBezTo>
                      <a:pt x="110741" y="4593638"/>
                      <a:pt x="121098" y="4583281"/>
                      <a:pt x="121098" y="4570704"/>
                    </a:cubicBezTo>
                    <a:close/>
                    <a:moveTo>
                      <a:pt x="123564" y="5354570"/>
                    </a:moveTo>
                    <a:cubicBezTo>
                      <a:pt x="123564" y="5354321"/>
                      <a:pt x="123317" y="5354075"/>
                      <a:pt x="123072" y="5354075"/>
                    </a:cubicBezTo>
                    <a:cubicBezTo>
                      <a:pt x="122823" y="5354075"/>
                      <a:pt x="122577" y="5354321"/>
                      <a:pt x="122577" y="5354570"/>
                    </a:cubicBezTo>
                    <a:cubicBezTo>
                      <a:pt x="122577" y="5354816"/>
                      <a:pt x="122823" y="5355061"/>
                      <a:pt x="123072" y="5355061"/>
                    </a:cubicBezTo>
                    <a:cubicBezTo>
                      <a:pt x="123317" y="5355061"/>
                      <a:pt x="123564" y="5354816"/>
                      <a:pt x="123564" y="5354570"/>
                    </a:cubicBezTo>
                    <a:close/>
                    <a:moveTo>
                      <a:pt x="124055" y="468537"/>
                    </a:moveTo>
                    <a:cubicBezTo>
                      <a:pt x="124055" y="460400"/>
                      <a:pt x="117396" y="453742"/>
                      <a:pt x="109260" y="453742"/>
                    </a:cubicBezTo>
                    <a:cubicBezTo>
                      <a:pt x="101123" y="453742"/>
                      <a:pt x="94466" y="460400"/>
                      <a:pt x="94466" y="468537"/>
                    </a:cubicBezTo>
                    <a:cubicBezTo>
                      <a:pt x="94466" y="476672"/>
                      <a:pt x="101123" y="483330"/>
                      <a:pt x="109260" y="483330"/>
                    </a:cubicBezTo>
                    <a:cubicBezTo>
                      <a:pt x="117396" y="483330"/>
                      <a:pt x="124055" y="476672"/>
                      <a:pt x="124055" y="468537"/>
                    </a:cubicBezTo>
                    <a:close/>
                    <a:moveTo>
                      <a:pt x="126276" y="4304651"/>
                    </a:moveTo>
                    <a:cubicBezTo>
                      <a:pt x="126276" y="4287389"/>
                      <a:pt x="112220" y="4273335"/>
                      <a:pt x="94961" y="4273335"/>
                    </a:cubicBezTo>
                    <a:cubicBezTo>
                      <a:pt x="77699" y="4273335"/>
                      <a:pt x="63645" y="4287389"/>
                      <a:pt x="63645" y="4304651"/>
                    </a:cubicBezTo>
                    <a:cubicBezTo>
                      <a:pt x="63645" y="4321910"/>
                      <a:pt x="77699" y="4335964"/>
                      <a:pt x="94961" y="4335964"/>
                    </a:cubicBezTo>
                    <a:cubicBezTo>
                      <a:pt x="112220" y="4335964"/>
                      <a:pt x="126276" y="4321910"/>
                      <a:pt x="126276" y="4304651"/>
                    </a:cubicBezTo>
                    <a:close/>
                    <a:moveTo>
                      <a:pt x="130713" y="596233"/>
                    </a:moveTo>
                    <a:cubicBezTo>
                      <a:pt x="130713" y="588343"/>
                      <a:pt x="124301" y="581931"/>
                      <a:pt x="116411" y="581931"/>
                    </a:cubicBezTo>
                    <a:cubicBezTo>
                      <a:pt x="108520" y="581931"/>
                      <a:pt x="102111" y="588343"/>
                      <a:pt x="102111" y="596233"/>
                    </a:cubicBezTo>
                    <a:cubicBezTo>
                      <a:pt x="102111" y="604123"/>
                      <a:pt x="108520" y="610533"/>
                      <a:pt x="116411" y="610533"/>
                    </a:cubicBezTo>
                    <a:cubicBezTo>
                      <a:pt x="124301" y="610533"/>
                      <a:pt x="130713" y="604123"/>
                      <a:pt x="130713" y="596233"/>
                    </a:cubicBezTo>
                    <a:close/>
                    <a:moveTo>
                      <a:pt x="130716" y="3019629"/>
                    </a:moveTo>
                    <a:cubicBezTo>
                      <a:pt x="130716" y="2999902"/>
                      <a:pt x="114686" y="2983875"/>
                      <a:pt x="94961" y="2983875"/>
                    </a:cubicBezTo>
                    <a:cubicBezTo>
                      <a:pt x="75234" y="2983875"/>
                      <a:pt x="59208" y="2999902"/>
                      <a:pt x="59208" y="3019629"/>
                    </a:cubicBezTo>
                    <a:cubicBezTo>
                      <a:pt x="59208" y="3039356"/>
                      <a:pt x="75234" y="3055383"/>
                      <a:pt x="94961" y="3055383"/>
                    </a:cubicBezTo>
                    <a:cubicBezTo>
                      <a:pt x="114686" y="3055383"/>
                      <a:pt x="130716" y="3039356"/>
                      <a:pt x="130716" y="3019629"/>
                    </a:cubicBezTo>
                    <a:close/>
                    <a:moveTo>
                      <a:pt x="131207" y="1935490"/>
                    </a:moveTo>
                    <a:cubicBezTo>
                      <a:pt x="131207" y="1933272"/>
                      <a:pt x="129481" y="1931301"/>
                      <a:pt x="127014" y="1931301"/>
                    </a:cubicBezTo>
                    <a:cubicBezTo>
                      <a:pt x="124795" y="1931301"/>
                      <a:pt x="122823" y="1933027"/>
                      <a:pt x="122823" y="1935490"/>
                    </a:cubicBezTo>
                    <a:cubicBezTo>
                      <a:pt x="122823" y="1937707"/>
                      <a:pt x="124549" y="1939678"/>
                      <a:pt x="127014" y="1939678"/>
                    </a:cubicBezTo>
                    <a:cubicBezTo>
                      <a:pt x="129235" y="1939678"/>
                      <a:pt x="131207" y="1937707"/>
                      <a:pt x="131207" y="1935490"/>
                    </a:cubicBezTo>
                    <a:close/>
                    <a:moveTo>
                      <a:pt x="134658" y="2599705"/>
                    </a:moveTo>
                    <a:cubicBezTo>
                      <a:pt x="134658" y="2589350"/>
                      <a:pt x="126276" y="2580966"/>
                      <a:pt x="115918" y="2580966"/>
                    </a:cubicBezTo>
                    <a:cubicBezTo>
                      <a:pt x="105563" y="2580966"/>
                      <a:pt x="97179" y="2589350"/>
                      <a:pt x="97179" y="2599705"/>
                    </a:cubicBezTo>
                    <a:cubicBezTo>
                      <a:pt x="97179" y="2610066"/>
                      <a:pt x="105563" y="2618447"/>
                      <a:pt x="115918" y="2618447"/>
                    </a:cubicBezTo>
                    <a:cubicBezTo>
                      <a:pt x="126276" y="2618447"/>
                      <a:pt x="134658" y="2610066"/>
                      <a:pt x="134658" y="2599705"/>
                    </a:cubicBezTo>
                    <a:close/>
                    <a:moveTo>
                      <a:pt x="134904" y="5494624"/>
                    </a:moveTo>
                    <a:cubicBezTo>
                      <a:pt x="134904" y="5478594"/>
                      <a:pt x="121836" y="5465527"/>
                      <a:pt x="105810" y="5465527"/>
                    </a:cubicBezTo>
                    <a:cubicBezTo>
                      <a:pt x="89780" y="5465527"/>
                      <a:pt x="76712" y="5478594"/>
                      <a:pt x="76712" y="5494624"/>
                    </a:cubicBezTo>
                    <a:cubicBezTo>
                      <a:pt x="76712" y="5510650"/>
                      <a:pt x="89780" y="5523718"/>
                      <a:pt x="105810" y="5523718"/>
                    </a:cubicBezTo>
                    <a:cubicBezTo>
                      <a:pt x="121836" y="5523718"/>
                      <a:pt x="134904" y="5510650"/>
                      <a:pt x="134904" y="5494624"/>
                    </a:cubicBezTo>
                    <a:close/>
                    <a:moveTo>
                      <a:pt x="136139" y="2335887"/>
                    </a:moveTo>
                    <a:cubicBezTo>
                      <a:pt x="136139" y="2329464"/>
                      <a:pt x="130958" y="2324281"/>
                      <a:pt x="124549" y="2324281"/>
                    </a:cubicBezTo>
                    <a:cubicBezTo>
                      <a:pt x="118136" y="2324281"/>
                      <a:pt x="112960" y="2329464"/>
                      <a:pt x="112960" y="2335887"/>
                    </a:cubicBezTo>
                    <a:cubicBezTo>
                      <a:pt x="112960" y="2342306"/>
                      <a:pt x="118136" y="2347489"/>
                      <a:pt x="124549" y="2347489"/>
                    </a:cubicBezTo>
                    <a:cubicBezTo>
                      <a:pt x="130958" y="2347489"/>
                      <a:pt x="136385" y="2342059"/>
                      <a:pt x="136139" y="2335887"/>
                    </a:cubicBezTo>
                    <a:close/>
                    <a:moveTo>
                      <a:pt x="138357" y="725217"/>
                    </a:moveTo>
                    <a:cubicBezTo>
                      <a:pt x="138357" y="717574"/>
                      <a:pt x="131945" y="711166"/>
                      <a:pt x="124055" y="711166"/>
                    </a:cubicBezTo>
                    <a:cubicBezTo>
                      <a:pt x="116410" y="711166"/>
                      <a:pt x="110001" y="717328"/>
                      <a:pt x="110001" y="725217"/>
                    </a:cubicBezTo>
                    <a:cubicBezTo>
                      <a:pt x="110001" y="732860"/>
                      <a:pt x="116164" y="739281"/>
                      <a:pt x="124055" y="739281"/>
                    </a:cubicBezTo>
                    <a:cubicBezTo>
                      <a:pt x="131699" y="739281"/>
                      <a:pt x="138108" y="732860"/>
                      <a:pt x="138357" y="725217"/>
                    </a:cubicBezTo>
                    <a:close/>
                    <a:moveTo>
                      <a:pt x="138357" y="4825171"/>
                    </a:moveTo>
                    <a:cubicBezTo>
                      <a:pt x="138357" y="4816540"/>
                      <a:pt x="131207" y="4809390"/>
                      <a:pt x="122577" y="4809390"/>
                    </a:cubicBezTo>
                    <a:cubicBezTo>
                      <a:pt x="113946" y="4809390"/>
                      <a:pt x="106796" y="4816540"/>
                      <a:pt x="106796" y="4825171"/>
                    </a:cubicBezTo>
                    <a:cubicBezTo>
                      <a:pt x="106796" y="4833802"/>
                      <a:pt x="113946" y="4840952"/>
                      <a:pt x="122577" y="4840952"/>
                    </a:cubicBezTo>
                    <a:cubicBezTo>
                      <a:pt x="131207" y="4840952"/>
                      <a:pt x="138111" y="4833802"/>
                      <a:pt x="138357" y="4825171"/>
                    </a:cubicBezTo>
                    <a:close/>
                    <a:moveTo>
                      <a:pt x="141070" y="3938730"/>
                    </a:moveTo>
                    <a:cubicBezTo>
                      <a:pt x="141070" y="3913826"/>
                      <a:pt x="120853" y="3893360"/>
                      <a:pt x="95701" y="3893360"/>
                    </a:cubicBezTo>
                    <a:cubicBezTo>
                      <a:pt x="70551" y="3893360"/>
                      <a:pt x="50085" y="3913577"/>
                      <a:pt x="50085" y="3938730"/>
                    </a:cubicBezTo>
                    <a:cubicBezTo>
                      <a:pt x="50085" y="3963633"/>
                      <a:pt x="70551" y="3984099"/>
                      <a:pt x="95701" y="3984099"/>
                    </a:cubicBezTo>
                    <a:cubicBezTo>
                      <a:pt x="120853" y="3984099"/>
                      <a:pt x="141317" y="3963882"/>
                      <a:pt x="141070" y="3938730"/>
                    </a:cubicBezTo>
                    <a:close/>
                    <a:moveTo>
                      <a:pt x="145754" y="1283879"/>
                    </a:moveTo>
                    <a:cubicBezTo>
                      <a:pt x="145754" y="1275988"/>
                      <a:pt x="139344" y="1269571"/>
                      <a:pt x="131454" y="1269571"/>
                    </a:cubicBezTo>
                    <a:cubicBezTo>
                      <a:pt x="123563" y="1269571"/>
                      <a:pt x="117151" y="1275988"/>
                      <a:pt x="117151" y="1283879"/>
                    </a:cubicBezTo>
                    <a:cubicBezTo>
                      <a:pt x="117151" y="1291762"/>
                      <a:pt x="123563" y="1298181"/>
                      <a:pt x="131454" y="1298181"/>
                    </a:cubicBezTo>
                    <a:cubicBezTo>
                      <a:pt x="139344" y="1298181"/>
                      <a:pt x="145754" y="1291762"/>
                      <a:pt x="145754" y="1283879"/>
                    </a:cubicBezTo>
                    <a:close/>
                    <a:moveTo>
                      <a:pt x="146989" y="855143"/>
                    </a:moveTo>
                    <a:cubicBezTo>
                      <a:pt x="146989" y="847261"/>
                      <a:pt x="140579" y="840854"/>
                      <a:pt x="132689" y="840854"/>
                    </a:cubicBezTo>
                    <a:cubicBezTo>
                      <a:pt x="124798" y="840854"/>
                      <a:pt x="118386" y="847261"/>
                      <a:pt x="118386" y="855143"/>
                    </a:cubicBezTo>
                    <a:cubicBezTo>
                      <a:pt x="118386" y="863036"/>
                      <a:pt x="124798" y="869439"/>
                      <a:pt x="132689" y="869439"/>
                    </a:cubicBezTo>
                    <a:cubicBezTo>
                      <a:pt x="140579" y="869439"/>
                      <a:pt x="146989" y="863036"/>
                      <a:pt x="146989" y="855143"/>
                    </a:cubicBezTo>
                    <a:close/>
                    <a:moveTo>
                      <a:pt x="147232" y="5212293"/>
                    </a:moveTo>
                    <a:cubicBezTo>
                      <a:pt x="147232" y="5209335"/>
                      <a:pt x="145013" y="5207116"/>
                      <a:pt x="142054" y="5207116"/>
                    </a:cubicBezTo>
                    <a:cubicBezTo>
                      <a:pt x="139342" y="5207116"/>
                      <a:pt x="136877" y="5209335"/>
                      <a:pt x="136877" y="5212293"/>
                    </a:cubicBezTo>
                    <a:cubicBezTo>
                      <a:pt x="136877" y="5215252"/>
                      <a:pt x="139095" y="5217470"/>
                      <a:pt x="142054" y="5217470"/>
                    </a:cubicBezTo>
                    <a:cubicBezTo>
                      <a:pt x="144767" y="5217470"/>
                      <a:pt x="147232" y="5215252"/>
                      <a:pt x="147232" y="5212293"/>
                    </a:cubicBezTo>
                    <a:close/>
                    <a:moveTo>
                      <a:pt x="149207" y="66214"/>
                    </a:moveTo>
                    <a:cubicBezTo>
                      <a:pt x="149207" y="57337"/>
                      <a:pt x="141808" y="49942"/>
                      <a:pt x="132935" y="49942"/>
                    </a:cubicBezTo>
                    <a:cubicBezTo>
                      <a:pt x="123809" y="49942"/>
                      <a:pt x="116659" y="57337"/>
                      <a:pt x="116659" y="66214"/>
                    </a:cubicBezTo>
                    <a:cubicBezTo>
                      <a:pt x="116659" y="75338"/>
                      <a:pt x="124058" y="82488"/>
                      <a:pt x="132935" y="82488"/>
                    </a:cubicBezTo>
                    <a:cubicBezTo>
                      <a:pt x="141808" y="82488"/>
                      <a:pt x="148961" y="75338"/>
                      <a:pt x="149207" y="66214"/>
                    </a:cubicBezTo>
                    <a:close/>
                    <a:moveTo>
                      <a:pt x="151917" y="6231884"/>
                    </a:moveTo>
                    <a:cubicBezTo>
                      <a:pt x="151917" y="6217584"/>
                      <a:pt x="140329" y="6205994"/>
                      <a:pt x="126027" y="6205994"/>
                    </a:cubicBezTo>
                    <a:cubicBezTo>
                      <a:pt x="111727" y="6205994"/>
                      <a:pt x="100138" y="6217584"/>
                      <a:pt x="100138" y="6231884"/>
                    </a:cubicBezTo>
                    <a:cubicBezTo>
                      <a:pt x="100138" y="6246187"/>
                      <a:pt x="111727" y="6257774"/>
                      <a:pt x="126027" y="6257774"/>
                    </a:cubicBezTo>
                    <a:cubicBezTo>
                      <a:pt x="140329" y="6257774"/>
                      <a:pt x="151917" y="6246187"/>
                      <a:pt x="151917" y="6231884"/>
                    </a:cubicBezTo>
                    <a:close/>
                    <a:moveTo>
                      <a:pt x="152166" y="6101693"/>
                    </a:moveTo>
                    <a:cubicBezTo>
                      <a:pt x="152166" y="6091829"/>
                      <a:pt x="144029" y="6083938"/>
                      <a:pt x="134166" y="6083938"/>
                    </a:cubicBezTo>
                    <a:cubicBezTo>
                      <a:pt x="124303" y="6083938"/>
                      <a:pt x="116413" y="6091829"/>
                      <a:pt x="116413" y="6101693"/>
                    </a:cubicBezTo>
                    <a:cubicBezTo>
                      <a:pt x="116413" y="6111309"/>
                      <a:pt x="124303" y="6119445"/>
                      <a:pt x="134166" y="6119445"/>
                    </a:cubicBezTo>
                    <a:cubicBezTo>
                      <a:pt x="144029" y="6119445"/>
                      <a:pt x="151919" y="6111309"/>
                      <a:pt x="152166" y="6101693"/>
                    </a:cubicBezTo>
                    <a:close/>
                    <a:moveTo>
                      <a:pt x="152904" y="4411664"/>
                    </a:moveTo>
                    <a:cubicBezTo>
                      <a:pt x="152904" y="4405254"/>
                      <a:pt x="147480" y="4399828"/>
                      <a:pt x="140822" y="4399828"/>
                    </a:cubicBezTo>
                    <a:cubicBezTo>
                      <a:pt x="134412" y="4399828"/>
                      <a:pt x="128986" y="4405005"/>
                      <a:pt x="128986" y="4411664"/>
                    </a:cubicBezTo>
                    <a:cubicBezTo>
                      <a:pt x="128986" y="4418322"/>
                      <a:pt x="134164" y="4423745"/>
                      <a:pt x="140822" y="4423745"/>
                    </a:cubicBezTo>
                    <a:cubicBezTo>
                      <a:pt x="147480" y="4423745"/>
                      <a:pt x="152904" y="4418567"/>
                      <a:pt x="152904" y="4411664"/>
                    </a:cubicBezTo>
                    <a:close/>
                    <a:moveTo>
                      <a:pt x="153152" y="190704"/>
                    </a:moveTo>
                    <a:cubicBezTo>
                      <a:pt x="153152" y="182074"/>
                      <a:pt x="146002" y="174924"/>
                      <a:pt x="137371" y="174924"/>
                    </a:cubicBezTo>
                    <a:cubicBezTo>
                      <a:pt x="128741" y="174924"/>
                      <a:pt x="121591" y="182074"/>
                      <a:pt x="121591" y="190704"/>
                    </a:cubicBezTo>
                    <a:cubicBezTo>
                      <a:pt x="121591" y="199334"/>
                      <a:pt x="128741" y="206484"/>
                      <a:pt x="137371" y="206484"/>
                    </a:cubicBezTo>
                    <a:cubicBezTo>
                      <a:pt x="146002" y="206484"/>
                      <a:pt x="153152" y="199334"/>
                      <a:pt x="153152" y="190704"/>
                    </a:cubicBezTo>
                    <a:close/>
                    <a:moveTo>
                      <a:pt x="153645" y="2084129"/>
                    </a:moveTo>
                    <a:cubicBezTo>
                      <a:pt x="153645" y="2083883"/>
                      <a:pt x="153645" y="2083883"/>
                      <a:pt x="153398" y="2083883"/>
                    </a:cubicBezTo>
                    <a:cubicBezTo>
                      <a:pt x="153152" y="2083883"/>
                      <a:pt x="153152" y="2083883"/>
                      <a:pt x="153152" y="2084129"/>
                    </a:cubicBezTo>
                    <a:cubicBezTo>
                      <a:pt x="153152" y="2084129"/>
                      <a:pt x="153152" y="2084378"/>
                      <a:pt x="153398" y="2084378"/>
                    </a:cubicBezTo>
                    <a:cubicBezTo>
                      <a:pt x="153645" y="2084378"/>
                      <a:pt x="153645" y="2084129"/>
                      <a:pt x="153645" y="2084129"/>
                    </a:cubicBezTo>
                    <a:close/>
                    <a:moveTo>
                      <a:pt x="156110" y="986552"/>
                    </a:moveTo>
                    <a:cubicBezTo>
                      <a:pt x="156110" y="978659"/>
                      <a:pt x="149701" y="972249"/>
                      <a:pt x="141808" y="972249"/>
                    </a:cubicBezTo>
                    <a:cubicBezTo>
                      <a:pt x="133917" y="972249"/>
                      <a:pt x="127508" y="978659"/>
                      <a:pt x="127508" y="986552"/>
                    </a:cubicBezTo>
                    <a:cubicBezTo>
                      <a:pt x="127508" y="994441"/>
                      <a:pt x="133917" y="1000847"/>
                      <a:pt x="141808" y="1000847"/>
                    </a:cubicBezTo>
                    <a:cubicBezTo>
                      <a:pt x="149701" y="1000847"/>
                      <a:pt x="155865" y="994441"/>
                      <a:pt x="156110" y="986552"/>
                    </a:cubicBezTo>
                    <a:close/>
                    <a:moveTo>
                      <a:pt x="156356" y="2907186"/>
                    </a:moveTo>
                    <a:cubicBezTo>
                      <a:pt x="156356" y="2888691"/>
                      <a:pt x="141316" y="2873650"/>
                      <a:pt x="122822" y="2873650"/>
                    </a:cubicBezTo>
                    <a:cubicBezTo>
                      <a:pt x="104082" y="2873650"/>
                      <a:pt x="89042" y="2888691"/>
                      <a:pt x="89042" y="2907186"/>
                    </a:cubicBezTo>
                    <a:cubicBezTo>
                      <a:pt x="89042" y="2925925"/>
                      <a:pt x="104331" y="2940967"/>
                      <a:pt x="122822" y="2940967"/>
                    </a:cubicBezTo>
                    <a:cubicBezTo>
                      <a:pt x="141562" y="2940967"/>
                      <a:pt x="156604" y="2925925"/>
                      <a:pt x="156356" y="2907186"/>
                    </a:cubicBezTo>
                    <a:close/>
                    <a:moveTo>
                      <a:pt x="158575" y="5837114"/>
                    </a:moveTo>
                    <a:cubicBezTo>
                      <a:pt x="158575" y="5834651"/>
                      <a:pt x="156356" y="5832677"/>
                      <a:pt x="153891" y="5832677"/>
                    </a:cubicBezTo>
                    <a:cubicBezTo>
                      <a:pt x="151425" y="5832677"/>
                      <a:pt x="149452" y="5834651"/>
                      <a:pt x="149452" y="5837114"/>
                    </a:cubicBezTo>
                    <a:cubicBezTo>
                      <a:pt x="149452" y="5839827"/>
                      <a:pt x="151425" y="5841800"/>
                      <a:pt x="153891" y="5841800"/>
                    </a:cubicBezTo>
                    <a:cubicBezTo>
                      <a:pt x="156356" y="5841800"/>
                      <a:pt x="158328" y="5839827"/>
                      <a:pt x="158575" y="5837114"/>
                    </a:cubicBezTo>
                    <a:close/>
                    <a:moveTo>
                      <a:pt x="160301" y="1420712"/>
                    </a:moveTo>
                    <a:cubicBezTo>
                      <a:pt x="160301" y="1412573"/>
                      <a:pt x="153644" y="1405915"/>
                      <a:pt x="145507" y="1405915"/>
                    </a:cubicBezTo>
                    <a:cubicBezTo>
                      <a:pt x="137370" y="1405915"/>
                      <a:pt x="130713" y="1412573"/>
                      <a:pt x="130713" y="1420712"/>
                    </a:cubicBezTo>
                    <a:cubicBezTo>
                      <a:pt x="130713" y="1428847"/>
                      <a:pt x="137370" y="1435502"/>
                      <a:pt x="145507" y="1435502"/>
                    </a:cubicBezTo>
                    <a:cubicBezTo>
                      <a:pt x="153644" y="1435502"/>
                      <a:pt x="160301" y="1428847"/>
                      <a:pt x="160301" y="1420712"/>
                    </a:cubicBezTo>
                    <a:close/>
                    <a:moveTo>
                      <a:pt x="160302" y="5970269"/>
                    </a:moveTo>
                    <a:cubicBezTo>
                      <a:pt x="160302" y="5961145"/>
                      <a:pt x="152904" y="5953501"/>
                      <a:pt x="143536" y="5953501"/>
                    </a:cubicBezTo>
                    <a:cubicBezTo>
                      <a:pt x="134413" y="5953501"/>
                      <a:pt x="126768" y="5960900"/>
                      <a:pt x="126768" y="5970269"/>
                    </a:cubicBezTo>
                    <a:cubicBezTo>
                      <a:pt x="126768" y="5979391"/>
                      <a:pt x="134164" y="5987035"/>
                      <a:pt x="143536" y="5987035"/>
                    </a:cubicBezTo>
                    <a:cubicBezTo>
                      <a:pt x="152658" y="5987035"/>
                      <a:pt x="160302" y="5979391"/>
                      <a:pt x="160302" y="5970269"/>
                    </a:cubicBezTo>
                    <a:close/>
                    <a:moveTo>
                      <a:pt x="166220" y="1119675"/>
                    </a:moveTo>
                    <a:cubicBezTo>
                      <a:pt x="166220" y="1112036"/>
                      <a:pt x="159810" y="1105623"/>
                      <a:pt x="152166" y="1105623"/>
                    </a:cubicBezTo>
                    <a:cubicBezTo>
                      <a:pt x="144520" y="1105623"/>
                      <a:pt x="138111" y="1112036"/>
                      <a:pt x="138111" y="1119675"/>
                    </a:cubicBezTo>
                    <a:cubicBezTo>
                      <a:pt x="138111" y="1127571"/>
                      <a:pt x="144520" y="1133736"/>
                      <a:pt x="152166" y="1133736"/>
                    </a:cubicBezTo>
                    <a:cubicBezTo>
                      <a:pt x="159810" y="1133736"/>
                      <a:pt x="166220" y="1127326"/>
                      <a:pt x="166220" y="1119675"/>
                    </a:cubicBezTo>
                    <a:close/>
                    <a:moveTo>
                      <a:pt x="169919" y="4050922"/>
                    </a:moveTo>
                    <a:cubicBezTo>
                      <a:pt x="169919" y="4025525"/>
                      <a:pt x="149207" y="4004811"/>
                      <a:pt x="123809" y="4004811"/>
                    </a:cubicBezTo>
                    <a:cubicBezTo>
                      <a:pt x="98411" y="4004811"/>
                      <a:pt x="77699" y="4025525"/>
                      <a:pt x="77699" y="4050922"/>
                    </a:cubicBezTo>
                    <a:cubicBezTo>
                      <a:pt x="77699" y="4076320"/>
                      <a:pt x="98411" y="4097033"/>
                      <a:pt x="123809" y="4097033"/>
                    </a:cubicBezTo>
                    <a:cubicBezTo>
                      <a:pt x="149207" y="4097033"/>
                      <a:pt x="169919" y="4076320"/>
                      <a:pt x="169919" y="4050922"/>
                    </a:cubicBezTo>
                    <a:close/>
                    <a:moveTo>
                      <a:pt x="171645" y="4672294"/>
                    </a:moveTo>
                    <a:cubicBezTo>
                      <a:pt x="171645" y="4662923"/>
                      <a:pt x="164001" y="4655526"/>
                      <a:pt x="154878" y="4655526"/>
                    </a:cubicBezTo>
                    <a:cubicBezTo>
                      <a:pt x="145507" y="4655526"/>
                      <a:pt x="138111" y="4663172"/>
                      <a:pt x="138111" y="4672294"/>
                    </a:cubicBezTo>
                    <a:cubicBezTo>
                      <a:pt x="138111" y="4681663"/>
                      <a:pt x="145756" y="4689061"/>
                      <a:pt x="154878" y="4689061"/>
                    </a:cubicBezTo>
                    <a:cubicBezTo>
                      <a:pt x="164247" y="4689061"/>
                      <a:pt x="171645" y="4681663"/>
                      <a:pt x="171645" y="4672294"/>
                    </a:cubicBezTo>
                    <a:close/>
                    <a:moveTo>
                      <a:pt x="172878" y="5068046"/>
                    </a:moveTo>
                    <a:cubicBezTo>
                      <a:pt x="172878" y="5063115"/>
                      <a:pt x="168932" y="5059170"/>
                      <a:pt x="164001" y="5059170"/>
                    </a:cubicBezTo>
                    <a:cubicBezTo>
                      <a:pt x="159069" y="5059170"/>
                      <a:pt x="155125" y="5063115"/>
                      <a:pt x="155125" y="5068046"/>
                    </a:cubicBezTo>
                    <a:cubicBezTo>
                      <a:pt x="155125" y="5072732"/>
                      <a:pt x="159069" y="5076677"/>
                      <a:pt x="164001" y="5076677"/>
                    </a:cubicBezTo>
                    <a:cubicBezTo>
                      <a:pt x="168687" y="5076677"/>
                      <a:pt x="172631" y="5072732"/>
                      <a:pt x="172878" y="5068046"/>
                    </a:cubicBezTo>
                    <a:close/>
                    <a:moveTo>
                      <a:pt x="177561" y="2493679"/>
                    </a:moveTo>
                    <a:cubicBezTo>
                      <a:pt x="177561" y="2486529"/>
                      <a:pt x="171643" y="2480606"/>
                      <a:pt x="164493" y="2480606"/>
                    </a:cubicBezTo>
                    <a:cubicBezTo>
                      <a:pt x="157343" y="2480606"/>
                      <a:pt x="151426" y="2486529"/>
                      <a:pt x="151426" y="2493679"/>
                    </a:cubicBezTo>
                    <a:cubicBezTo>
                      <a:pt x="151426" y="2500827"/>
                      <a:pt x="157343" y="2506742"/>
                      <a:pt x="164493" y="2506742"/>
                    </a:cubicBezTo>
                    <a:cubicBezTo>
                      <a:pt x="171643" y="2506742"/>
                      <a:pt x="177561" y="2501076"/>
                      <a:pt x="177561" y="2493679"/>
                    </a:cubicBezTo>
                    <a:close/>
                    <a:moveTo>
                      <a:pt x="177564" y="1559510"/>
                    </a:moveTo>
                    <a:cubicBezTo>
                      <a:pt x="177564" y="1550634"/>
                      <a:pt x="170414" y="1543238"/>
                      <a:pt x="161288" y="1543238"/>
                    </a:cubicBezTo>
                    <a:cubicBezTo>
                      <a:pt x="152411" y="1543238"/>
                      <a:pt x="145016" y="1550386"/>
                      <a:pt x="145016" y="1559510"/>
                    </a:cubicBezTo>
                    <a:cubicBezTo>
                      <a:pt x="145016" y="1568391"/>
                      <a:pt x="152166" y="1575782"/>
                      <a:pt x="161288" y="1575782"/>
                    </a:cubicBezTo>
                    <a:cubicBezTo>
                      <a:pt x="170414" y="1575782"/>
                      <a:pt x="177810" y="1568637"/>
                      <a:pt x="177564" y="1559510"/>
                    </a:cubicBezTo>
                    <a:close/>
                    <a:moveTo>
                      <a:pt x="184960" y="7043118"/>
                    </a:moveTo>
                    <a:cubicBezTo>
                      <a:pt x="184960" y="7041391"/>
                      <a:pt x="183481" y="7039912"/>
                      <a:pt x="181754" y="7039912"/>
                    </a:cubicBezTo>
                    <a:cubicBezTo>
                      <a:pt x="180028" y="7039912"/>
                      <a:pt x="178550" y="7041391"/>
                      <a:pt x="178550" y="7043118"/>
                    </a:cubicBezTo>
                    <a:cubicBezTo>
                      <a:pt x="178550" y="7044844"/>
                      <a:pt x="180028" y="7046325"/>
                      <a:pt x="181754" y="7046325"/>
                    </a:cubicBezTo>
                    <a:cubicBezTo>
                      <a:pt x="183481" y="7046325"/>
                      <a:pt x="184960" y="7044844"/>
                      <a:pt x="184960" y="7043118"/>
                    </a:cubicBezTo>
                    <a:close/>
                    <a:moveTo>
                      <a:pt x="187670" y="1700291"/>
                    </a:moveTo>
                    <a:cubicBezTo>
                      <a:pt x="187670" y="1695603"/>
                      <a:pt x="183726" y="1691659"/>
                      <a:pt x="179041" y="1691659"/>
                    </a:cubicBezTo>
                    <a:cubicBezTo>
                      <a:pt x="174356" y="1691659"/>
                      <a:pt x="170411" y="1695603"/>
                      <a:pt x="170411" y="1700291"/>
                    </a:cubicBezTo>
                    <a:cubicBezTo>
                      <a:pt x="170411" y="1704976"/>
                      <a:pt x="174356" y="1708888"/>
                      <a:pt x="179041" y="1708888"/>
                    </a:cubicBezTo>
                    <a:cubicBezTo>
                      <a:pt x="183973" y="1708888"/>
                      <a:pt x="187918" y="1705221"/>
                      <a:pt x="187670" y="1700291"/>
                    </a:cubicBezTo>
                    <a:close/>
                    <a:moveTo>
                      <a:pt x="188414" y="2796472"/>
                    </a:moveTo>
                    <a:cubicBezTo>
                      <a:pt x="188414" y="2778963"/>
                      <a:pt x="174114" y="2764908"/>
                      <a:pt x="156852" y="2764908"/>
                    </a:cubicBezTo>
                    <a:cubicBezTo>
                      <a:pt x="139345" y="2764908"/>
                      <a:pt x="125290" y="2778963"/>
                      <a:pt x="125290" y="2796472"/>
                    </a:cubicBezTo>
                    <a:cubicBezTo>
                      <a:pt x="125290" y="2813979"/>
                      <a:pt x="139592" y="2828033"/>
                      <a:pt x="156852" y="2828033"/>
                    </a:cubicBezTo>
                    <a:cubicBezTo>
                      <a:pt x="174114" y="2828033"/>
                      <a:pt x="188414" y="2813979"/>
                      <a:pt x="188414" y="2796472"/>
                    </a:cubicBezTo>
                    <a:close/>
                    <a:moveTo>
                      <a:pt x="188660" y="6920570"/>
                    </a:moveTo>
                    <a:cubicBezTo>
                      <a:pt x="188660" y="6918844"/>
                      <a:pt x="187181" y="6917365"/>
                      <a:pt x="185454" y="6917365"/>
                    </a:cubicBezTo>
                    <a:cubicBezTo>
                      <a:pt x="183727" y="6917365"/>
                      <a:pt x="182250" y="6918844"/>
                      <a:pt x="182250" y="6920570"/>
                    </a:cubicBezTo>
                    <a:cubicBezTo>
                      <a:pt x="182250" y="6922297"/>
                      <a:pt x="183727" y="6923778"/>
                      <a:pt x="185454" y="6923778"/>
                    </a:cubicBezTo>
                    <a:cubicBezTo>
                      <a:pt x="187181" y="6923778"/>
                      <a:pt x="188660" y="6922297"/>
                      <a:pt x="188660" y="6920570"/>
                    </a:cubicBezTo>
                    <a:close/>
                    <a:moveTo>
                      <a:pt x="191370" y="6796791"/>
                    </a:moveTo>
                    <a:cubicBezTo>
                      <a:pt x="191370" y="6795804"/>
                      <a:pt x="190632" y="6795063"/>
                      <a:pt x="189645" y="6795063"/>
                    </a:cubicBezTo>
                    <a:cubicBezTo>
                      <a:pt x="188659" y="6795063"/>
                      <a:pt x="187919" y="6795804"/>
                      <a:pt x="187919" y="6796791"/>
                    </a:cubicBezTo>
                    <a:cubicBezTo>
                      <a:pt x="187919" y="6797776"/>
                      <a:pt x="188659" y="6798517"/>
                      <a:pt x="189645" y="6798517"/>
                    </a:cubicBezTo>
                    <a:cubicBezTo>
                      <a:pt x="190632" y="6798517"/>
                      <a:pt x="191370" y="6797776"/>
                      <a:pt x="191370" y="6796791"/>
                    </a:cubicBezTo>
                    <a:close/>
                    <a:moveTo>
                      <a:pt x="191866" y="2235283"/>
                    </a:moveTo>
                    <a:cubicBezTo>
                      <a:pt x="191866" y="2230851"/>
                      <a:pt x="188167" y="2227149"/>
                      <a:pt x="183727" y="2227149"/>
                    </a:cubicBezTo>
                    <a:cubicBezTo>
                      <a:pt x="179290" y="2227149"/>
                      <a:pt x="175591" y="2230851"/>
                      <a:pt x="175591" y="2235283"/>
                    </a:cubicBezTo>
                    <a:cubicBezTo>
                      <a:pt x="175591" y="2239728"/>
                      <a:pt x="179290" y="2243430"/>
                      <a:pt x="183727" y="2243430"/>
                    </a:cubicBezTo>
                    <a:cubicBezTo>
                      <a:pt x="188167" y="2243430"/>
                      <a:pt x="191866" y="2239971"/>
                      <a:pt x="191866" y="2235283"/>
                    </a:cubicBezTo>
                    <a:close/>
                    <a:moveTo>
                      <a:pt x="193591" y="4516455"/>
                    </a:moveTo>
                    <a:cubicBezTo>
                      <a:pt x="193591" y="4515718"/>
                      <a:pt x="193096" y="4514977"/>
                      <a:pt x="192110" y="4514977"/>
                    </a:cubicBezTo>
                    <a:cubicBezTo>
                      <a:pt x="191372" y="4514977"/>
                      <a:pt x="190632" y="4515718"/>
                      <a:pt x="190632" y="4516455"/>
                    </a:cubicBezTo>
                    <a:cubicBezTo>
                      <a:pt x="190632" y="4517196"/>
                      <a:pt x="191372" y="4517936"/>
                      <a:pt x="192110" y="4517936"/>
                    </a:cubicBezTo>
                    <a:cubicBezTo>
                      <a:pt x="193096" y="4517936"/>
                      <a:pt x="193836" y="4517445"/>
                      <a:pt x="193591" y="4516455"/>
                    </a:cubicBezTo>
                    <a:close/>
                    <a:moveTo>
                      <a:pt x="196550" y="3421289"/>
                    </a:moveTo>
                    <a:cubicBezTo>
                      <a:pt x="196550" y="3398358"/>
                      <a:pt x="177812" y="3379615"/>
                      <a:pt x="154879" y="3379615"/>
                    </a:cubicBezTo>
                    <a:cubicBezTo>
                      <a:pt x="131948" y="3379615"/>
                      <a:pt x="113208" y="3398358"/>
                      <a:pt x="113208" y="3421289"/>
                    </a:cubicBezTo>
                    <a:cubicBezTo>
                      <a:pt x="113208" y="3444212"/>
                      <a:pt x="131948" y="3462967"/>
                      <a:pt x="154879" y="3462967"/>
                    </a:cubicBezTo>
                    <a:cubicBezTo>
                      <a:pt x="177812" y="3462967"/>
                      <a:pt x="196550" y="3444212"/>
                      <a:pt x="196550" y="3421289"/>
                    </a:cubicBezTo>
                    <a:close/>
                    <a:moveTo>
                      <a:pt x="197536" y="4920843"/>
                    </a:moveTo>
                    <a:cubicBezTo>
                      <a:pt x="197536" y="4915911"/>
                      <a:pt x="193593" y="4911720"/>
                      <a:pt x="188413" y="4911720"/>
                    </a:cubicBezTo>
                    <a:cubicBezTo>
                      <a:pt x="183482" y="4911720"/>
                      <a:pt x="179291" y="4915665"/>
                      <a:pt x="179291" y="4920843"/>
                    </a:cubicBezTo>
                    <a:cubicBezTo>
                      <a:pt x="179291" y="4925774"/>
                      <a:pt x="183482" y="4929965"/>
                      <a:pt x="188413" y="4929965"/>
                    </a:cubicBezTo>
                    <a:cubicBezTo>
                      <a:pt x="193593" y="4929965"/>
                      <a:pt x="197784" y="4926019"/>
                      <a:pt x="197536" y="4920843"/>
                    </a:cubicBezTo>
                    <a:close/>
                    <a:moveTo>
                      <a:pt x="199262" y="3537058"/>
                    </a:moveTo>
                    <a:cubicBezTo>
                      <a:pt x="199262" y="3512647"/>
                      <a:pt x="179536" y="3492921"/>
                      <a:pt x="155125" y="3492921"/>
                    </a:cubicBezTo>
                    <a:cubicBezTo>
                      <a:pt x="130713" y="3492921"/>
                      <a:pt x="110987" y="3512647"/>
                      <a:pt x="110987" y="3537058"/>
                    </a:cubicBezTo>
                    <a:cubicBezTo>
                      <a:pt x="110987" y="3561467"/>
                      <a:pt x="130713" y="3581196"/>
                      <a:pt x="155125" y="3581196"/>
                    </a:cubicBezTo>
                    <a:cubicBezTo>
                      <a:pt x="179288" y="3581196"/>
                      <a:pt x="199262" y="3561221"/>
                      <a:pt x="199262" y="3537058"/>
                    </a:cubicBezTo>
                    <a:close/>
                    <a:moveTo>
                      <a:pt x="200741" y="3305399"/>
                    </a:moveTo>
                    <a:cubicBezTo>
                      <a:pt x="200741" y="3283692"/>
                      <a:pt x="182986" y="3265953"/>
                      <a:pt x="161288" y="3265953"/>
                    </a:cubicBezTo>
                    <a:cubicBezTo>
                      <a:pt x="139589" y="3265953"/>
                      <a:pt x="121836" y="3283692"/>
                      <a:pt x="121836" y="3305399"/>
                    </a:cubicBezTo>
                    <a:cubicBezTo>
                      <a:pt x="121836" y="3327093"/>
                      <a:pt x="139589" y="3344853"/>
                      <a:pt x="161288" y="3344853"/>
                    </a:cubicBezTo>
                    <a:cubicBezTo>
                      <a:pt x="182986" y="3344853"/>
                      <a:pt x="200741" y="3327093"/>
                      <a:pt x="200741" y="3305399"/>
                    </a:cubicBezTo>
                    <a:close/>
                    <a:moveTo>
                      <a:pt x="201482" y="5711611"/>
                    </a:moveTo>
                    <a:cubicBezTo>
                      <a:pt x="201482" y="5697061"/>
                      <a:pt x="189646" y="5685226"/>
                      <a:pt x="175100" y="5685226"/>
                    </a:cubicBezTo>
                    <a:cubicBezTo>
                      <a:pt x="160551" y="5685226"/>
                      <a:pt x="148716" y="5697061"/>
                      <a:pt x="148716" y="5711611"/>
                    </a:cubicBezTo>
                    <a:cubicBezTo>
                      <a:pt x="148716" y="5726160"/>
                      <a:pt x="160551" y="5737995"/>
                      <a:pt x="175100" y="5737995"/>
                    </a:cubicBezTo>
                    <a:cubicBezTo>
                      <a:pt x="189646" y="5737995"/>
                      <a:pt x="201482" y="5726160"/>
                      <a:pt x="201482" y="5711611"/>
                    </a:cubicBezTo>
                    <a:close/>
                    <a:moveTo>
                      <a:pt x="203699" y="5438651"/>
                    </a:moveTo>
                    <a:cubicBezTo>
                      <a:pt x="203699" y="5438156"/>
                      <a:pt x="203454" y="5437910"/>
                      <a:pt x="202962" y="5437910"/>
                    </a:cubicBezTo>
                    <a:cubicBezTo>
                      <a:pt x="202467" y="5437910"/>
                      <a:pt x="202222" y="5438405"/>
                      <a:pt x="202222" y="5438651"/>
                    </a:cubicBezTo>
                    <a:cubicBezTo>
                      <a:pt x="202222" y="5439143"/>
                      <a:pt x="202467" y="5439388"/>
                      <a:pt x="202962" y="5439388"/>
                    </a:cubicBezTo>
                    <a:cubicBezTo>
                      <a:pt x="203207" y="5439388"/>
                      <a:pt x="203699" y="5439143"/>
                      <a:pt x="203699" y="5438651"/>
                    </a:cubicBezTo>
                    <a:close/>
                    <a:moveTo>
                      <a:pt x="204437" y="4161635"/>
                    </a:moveTo>
                    <a:cubicBezTo>
                      <a:pt x="204437" y="4135991"/>
                      <a:pt x="183479" y="4115033"/>
                      <a:pt x="157835" y="4115033"/>
                    </a:cubicBezTo>
                    <a:cubicBezTo>
                      <a:pt x="132191" y="4115033"/>
                      <a:pt x="111233" y="4135991"/>
                      <a:pt x="111233" y="4161635"/>
                    </a:cubicBezTo>
                    <a:cubicBezTo>
                      <a:pt x="111233" y="4187279"/>
                      <a:pt x="132191" y="4208237"/>
                      <a:pt x="157835" y="4208237"/>
                    </a:cubicBezTo>
                    <a:cubicBezTo>
                      <a:pt x="183479" y="4208237"/>
                      <a:pt x="204437" y="4187279"/>
                      <a:pt x="204437" y="4161635"/>
                    </a:cubicBezTo>
                    <a:close/>
                    <a:moveTo>
                      <a:pt x="205673" y="1844065"/>
                    </a:moveTo>
                    <a:cubicBezTo>
                      <a:pt x="205673" y="1840122"/>
                      <a:pt x="202714" y="1836915"/>
                      <a:pt x="198768" y="1836915"/>
                    </a:cubicBezTo>
                    <a:cubicBezTo>
                      <a:pt x="194823" y="1836915"/>
                      <a:pt x="191618" y="1840122"/>
                      <a:pt x="191618" y="1844065"/>
                    </a:cubicBezTo>
                    <a:cubicBezTo>
                      <a:pt x="191618" y="1847764"/>
                      <a:pt x="194823" y="1850968"/>
                      <a:pt x="198768" y="1850968"/>
                    </a:cubicBezTo>
                    <a:cubicBezTo>
                      <a:pt x="202714" y="1850968"/>
                      <a:pt x="205921" y="1848010"/>
                      <a:pt x="205673" y="1844065"/>
                    </a:cubicBezTo>
                    <a:close/>
                    <a:moveTo>
                      <a:pt x="205918" y="6677942"/>
                    </a:moveTo>
                    <a:cubicBezTo>
                      <a:pt x="205918" y="6676215"/>
                      <a:pt x="204686" y="6674982"/>
                      <a:pt x="202960" y="6674982"/>
                    </a:cubicBezTo>
                    <a:cubicBezTo>
                      <a:pt x="201233" y="6674982"/>
                      <a:pt x="200001" y="6676215"/>
                      <a:pt x="200001" y="6677942"/>
                    </a:cubicBezTo>
                    <a:cubicBezTo>
                      <a:pt x="200001" y="6679669"/>
                      <a:pt x="201233" y="6680901"/>
                      <a:pt x="202960" y="6680901"/>
                    </a:cubicBezTo>
                    <a:cubicBezTo>
                      <a:pt x="204440" y="6680901"/>
                      <a:pt x="205918" y="6679420"/>
                      <a:pt x="205918" y="6677942"/>
                    </a:cubicBezTo>
                    <a:close/>
                    <a:moveTo>
                      <a:pt x="208879" y="3652702"/>
                    </a:moveTo>
                    <a:cubicBezTo>
                      <a:pt x="208879" y="3626567"/>
                      <a:pt x="187673" y="3605359"/>
                      <a:pt x="161538" y="3605359"/>
                    </a:cubicBezTo>
                    <a:cubicBezTo>
                      <a:pt x="135401" y="3605359"/>
                      <a:pt x="114195" y="3626567"/>
                      <a:pt x="114195" y="3652702"/>
                    </a:cubicBezTo>
                    <a:cubicBezTo>
                      <a:pt x="114195" y="3678841"/>
                      <a:pt x="135401" y="3700045"/>
                      <a:pt x="161538" y="3700045"/>
                    </a:cubicBezTo>
                    <a:cubicBezTo>
                      <a:pt x="187673" y="3700045"/>
                      <a:pt x="208879" y="3678841"/>
                      <a:pt x="208879" y="3652702"/>
                    </a:cubicBezTo>
                    <a:close/>
                    <a:moveTo>
                      <a:pt x="211098" y="6552926"/>
                    </a:moveTo>
                    <a:cubicBezTo>
                      <a:pt x="211098" y="6551445"/>
                      <a:pt x="209866" y="6549968"/>
                      <a:pt x="208139" y="6549968"/>
                    </a:cubicBezTo>
                    <a:cubicBezTo>
                      <a:pt x="206658" y="6549968"/>
                      <a:pt x="205180" y="6551200"/>
                      <a:pt x="205180" y="6552926"/>
                    </a:cubicBezTo>
                    <a:cubicBezTo>
                      <a:pt x="205180" y="6554653"/>
                      <a:pt x="206413" y="6555885"/>
                      <a:pt x="208139" y="6555885"/>
                    </a:cubicBezTo>
                    <a:cubicBezTo>
                      <a:pt x="209866" y="6555885"/>
                      <a:pt x="211098" y="6554404"/>
                      <a:pt x="211098" y="6552926"/>
                    </a:cubicBezTo>
                    <a:close/>
                    <a:moveTo>
                      <a:pt x="212085" y="3190252"/>
                    </a:moveTo>
                    <a:cubicBezTo>
                      <a:pt x="212085" y="3169539"/>
                      <a:pt x="195070" y="3152525"/>
                      <a:pt x="174357" y="3152525"/>
                    </a:cubicBezTo>
                    <a:cubicBezTo>
                      <a:pt x="153645" y="3152525"/>
                      <a:pt x="136631" y="3169294"/>
                      <a:pt x="136631" y="3190252"/>
                    </a:cubicBezTo>
                    <a:cubicBezTo>
                      <a:pt x="136631" y="3210965"/>
                      <a:pt x="153645" y="3227979"/>
                      <a:pt x="174357" y="3227979"/>
                    </a:cubicBezTo>
                    <a:cubicBezTo>
                      <a:pt x="195318" y="3227979"/>
                      <a:pt x="212085" y="3211213"/>
                      <a:pt x="212085" y="3190252"/>
                    </a:cubicBezTo>
                    <a:close/>
                    <a:moveTo>
                      <a:pt x="215536" y="6426681"/>
                    </a:moveTo>
                    <a:cubicBezTo>
                      <a:pt x="215536" y="6425695"/>
                      <a:pt x="214798" y="6424954"/>
                      <a:pt x="213811" y="6424954"/>
                    </a:cubicBezTo>
                    <a:cubicBezTo>
                      <a:pt x="212825" y="6424954"/>
                      <a:pt x="212085" y="6425695"/>
                      <a:pt x="212085" y="6426681"/>
                    </a:cubicBezTo>
                    <a:cubicBezTo>
                      <a:pt x="212085" y="6427666"/>
                      <a:pt x="212825" y="6428408"/>
                      <a:pt x="213811" y="6428408"/>
                    </a:cubicBezTo>
                    <a:cubicBezTo>
                      <a:pt x="214549" y="6428408"/>
                      <a:pt x="215289" y="6427666"/>
                      <a:pt x="215536" y="6426681"/>
                    </a:cubicBezTo>
                    <a:close/>
                    <a:moveTo>
                      <a:pt x="216275" y="279195"/>
                    </a:moveTo>
                    <a:cubicBezTo>
                      <a:pt x="216275" y="270319"/>
                      <a:pt x="209123" y="263170"/>
                      <a:pt x="200246" y="263170"/>
                    </a:cubicBezTo>
                    <a:cubicBezTo>
                      <a:pt x="191370" y="263170"/>
                      <a:pt x="184220" y="270319"/>
                      <a:pt x="184220" y="279195"/>
                    </a:cubicBezTo>
                    <a:cubicBezTo>
                      <a:pt x="184220" y="288071"/>
                      <a:pt x="191370" y="295223"/>
                      <a:pt x="200246" y="295223"/>
                    </a:cubicBezTo>
                    <a:cubicBezTo>
                      <a:pt x="209123" y="295223"/>
                      <a:pt x="216275" y="288071"/>
                      <a:pt x="216275" y="279195"/>
                    </a:cubicBezTo>
                    <a:close/>
                    <a:moveTo>
                      <a:pt x="216767" y="5575993"/>
                    </a:moveTo>
                    <a:cubicBezTo>
                      <a:pt x="216767" y="5560212"/>
                      <a:pt x="203945" y="5547390"/>
                      <a:pt x="188164" y="5547390"/>
                    </a:cubicBezTo>
                    <a:cubicBezTo>
                      <a:pt x="172384" y="5547390"/>
                      <a:pt x="159562" y="5560212"/>
                      <a:pt x="159562" y="5575993"/>
                    </a:cubicBezTo>
                    <a:cubicBezTo>
                      <a:pt x="159562" y="5591774"/>
                      <a:pt x="172384" y="5604596"/>
                      <a:pt x="188164" y="5604596"/>
                    </a:cubicBezTo>
                    <a:cubicBezTo>
                      <a:pt x="203945" y="5604596"/>
                      <a:pt x="217013" y="5591774"/>
                      <a:pt x="216767" y="5575993"/>
                    </a:cubicBezTo>
                    <a:close/>
                    <a:moveTo>
                      <a:pt x="221207" y="404181"/>
                    </a:moveTo>
                    <a:cubicBezTo>
                      <a:pt x="221207" y="395551"/>
                      <a:pt x="214303" y="388647"/>
                      <a:pt x="205674" y="388647"/>
                    </a:cubicBezTo>
                    <a:cubicBezTo>
                      <a:pt x="197044" y="388647"/>
                      <a:pt x="190140" y="395551"/>
                      <a:pt x="190140" y="404181"/>
                    </a:cubicBezTo>
                    <a:cubicBezTo>
                      <a:pt x="190140" y="412812"/>
                      <a:pt x="197044" y="419715"/>
                      <a:pt x="205674" y="419715"/>
                    </a:cubicBezTo>
                    <a:cubicBezTo>
                      <a:pt x="214303" y="419715"/>
                      <a:pt x="221455" y="412563"/>
                      <a:pt x="221207" y="404181"/>
                    </a:cubicBezTo>
                    <a:close/>
                    <a:moveTo>
                      <a:pt x="221701" y="2687974"/>
                    </a:moveTo>
                    <a:cubicBezTo>
                      <a:pt x="221701" y="2674164"/>
                      <a:pt x="210604" y="2663069"/>
                      <a:pt x="196795" y="2663069"/>
                    </a:cubicBezTo>
                    <a:cubicBezTo>
                      <a:pt x="182988" y="2663069"/>
                      <a:pt x="171892" y="2674164"/>
                      <a:pt x="171892" y="2687974"/>
                    </a:cubicBezTo>
                    <a:cubicBezTo>
                      <a:pt x="171892" y="2701783"/>
                      <a:pt x="182988" y="2712881"/>
                      <a:pt x="196795" y="2712881"/>
                    </a:cubicBezTo>
                    <a:cubicBezTo>
                      <a:pt x="210358" y="2712881"/>
                      <a:pt x="221701" y="2701783"/>
                      <a:pt x="221701" y="2687974"/>
                    </a:cubicBezTo>
                    <a:close/>
                    <a:moveTo>
                      <a:pt x="222932" y="1989690"/>
                    </a:moveTo>
                    <a:cubicBezTo>
                      <a:pt x="222932" y="1988951"/>
                      <a:pt x="222439" y="1988459"/>
                      <a:pt x="221699" y="1988459"/>
                    </a:cubicBezTo>
                    <a:cubicBezTo>
                      <a:pt x="220961" y="1988459"/>
                      <a:pt x="220467" y="1988951"/>
                      <a:pt x="220467" y="1989690"/>
                    </a:cubicBezTo>
                    <a:cubicBezTo>
                      <a:pt x="220467" y="1990430"/>
                      <a:pt x="220961" y="1990923"/>
                      <a:pt x="221699" y="1990923"/>
                    </a:cubicBezTo>
                    <a:cubicBezTo>
                      <a:pt x="222194" y="1990923"/>
                      <a:pt x="222685" y="1990430"/>
                      <a:pt x="222932" y="1989690"/>
                    </a:cubicBezTo>
                    <a:close/>
                    <a:moveTo>
                      <a:pt x="223425" y="5298844"/>
                    </a:moveTo>
                    <a:cubicBezTo>
                      <a:pt x="223425" y="5296378"/>
                      <a:pt x="221453" y="5294404"/>
                      <a:pt x="218988" y="5294404"/>
                    </a:cubicBezTo>
                    <a:cubicBezTo>
                      <a:pt x="216275" y="5294404"/>
                      <a:pt x="214303" y="5296378"/>
                      <a:pt x="214303" y="5298844"/>
                    </a:cubicBezTo>
                    <a:cubicBezTo>
                      <a:pt x="214303" y="5301554"/>
                      <a:pt x="216521" y="5303527"/>
                      <a:pt x="218988" y="5303527"/>
                    </a:cubicBezTo>
                    <a:cubicBezTo>
                      <a:pt x="221701" y="5303527"/>
                      <a:pt x="223674" y="5301554"/>
                      <a:pt x="223425" y="5298844"/>
                    </a:cubicBezTo>
                    <a:close/>
                    <a:moveTo>
                      <a:pt x="224904" y="3767853"/>
                    </a:moveTo>
                    <a:cubicBezTo>
                      <a:pt x="224904" y="3740237"/>
                      <a:pt x="202467" y="3717797"/>
                      <a:pt x="174851" y="3717797"/>
                    </a:cubicBezTo>
                    <a:cubicBezTo>
                      <a:pt x="147234" y="3717797"/>
                      <a:pt x="124795" y="3740237"/>
                      <a:pt x="124795" y="3767853"/>
                    </a:cubicBezTo>
                    <a:cubicBezTo>
                      <a:pt x="124795" y="3795470"/>
                      <a:pt x="147234" y="3817909"/>
                      <a:pt x="174851" y="3817909"/>
                    </a:cubicBezTo>
                    <a:cubicBezTo>
                      <a:pt x="202467" y="3817909"/>
                      <a:pt x="224904" y="3795470"/>
                      <a:pt x="224904" y="3767853"/>
                    </a:cubicBezTo>
                    <a:close/>
                    <a:moveTo>
                      <a:pt x="225644" y="2390370"/>
                    </a:moveTo>
                    <a:cubicBezTo>
                      <a:pt x="225644" y="2386423"/>
                      <a:pt x="222191" y="2382968"/>
                      <a:pt x="218247" y="2382968"/>
                    </a:cubicBezTo>
                    <a:cubicBezTo>
                      <a:pt x="214300" y="2382968"/>
                      <a:pt x="210849" y="2386178"/>
                      <a:pt x="210849" y="2390370"/>
                    </a:cubicBezTo>
                    <a:cubicBezTo>
                      <a:pt x="210849" y="2394304"/>
                      <a:pt x="214054" y="2397763"/>
                      <a:pt x="218247" y="2397763"/>
                    </a:cubicBezTo>
                    <a:cubicBezTo>
                      <a:pt x="222438" y="2397763"/>
                      <a:pt x="225889" y="2394304"/>
                      <a:pt x="225644" y="2390370"/>
                    </a:cubicBezTo>
                    <a:close/>
                    <a:moveTo>
                      <a:pt x="226878" y="529908"/>
                    </a:moveTo>
                    <a:cubicBezTo>
                      <a:pt x="226878" y="521527"/>
                      <a:pt x="219975" y="514868"/>
                      <a:pt x="211589" y="514868"/>
                    </a:cubicBezTo>
                    <a:cubicBezTo>
                      <a:pt x="203453" y="514868"/>
                      <a:pt x="196550" y="521527"/>
                      <a:pt x="196550" y="529908"/>
                    </a:cubicBezTo>
                    <a:cubicBezTo>
                      <a:pt x="196550" y="538045"/>
                      <a:pt x="203207" y="544948"/>
                      <a:pt x="211589" y="544948"/>
                    </a:cubicBezTo>
                    <a:cubicBezTo>
                      <a:pt x="219975" y="544948"/>
                      <a:pt x="226878" y="538293"/>
                      <a:pt x="226878" y="529908"/>
                    </a:cubicBezTo>
                    <a:close/>
                    <a:moveTo>
                      <a:pt x="230083" y="3076083"/>
                    </a:moveTo>
                    <a:cubicBezTo>
                      <a:pt x="230083" y="3056359"/>
                      <a:pt x="214056" y="3040083"/>
                      <a:pt x="194082" y="3040083"/>
                    </a:cubicBezTo>
                    <a:cubicBezTo>
                      <a:pt x="174359" y="3040083"/>
                      <a:pt x="158083" y="3056110"/>
                      <a:pt x="158083" y="3076083"/>
                    </a:cubicBezTo>
                    <a:cubicBezTo>
                      <a:pt x="158083" y="3095809"/>
                      <a:pt x="174110" y="3112085"/>
                      <a:pt x="194082" y="3112085"/>
                    </a:cubicBezTo>
                    <a:cubicBezTo>
                      <a:pt x="213810" y="3112085"/>
                      <a:pt x="230083" y="3095809"/>
                      <a:pt x="230083" y="3076083"/>
                    </a:cubicBezTo>
                    <a:close/>
                    <a:moveTo>
                      <a:pt x="231316" y="1206457"/>
                    </a:moveTo>
                    <a:cubicBezTo>
                      <a:pt x="231316" y="1198812"/>
                      <a:pt x="225151" y="1192647"/>
                      <a:pt x="217507" y="1192647"/>
                    </a:cubicBezTo>
                    <a:cubicBezTo>
                      <a:pt x="209863" y="1192647"/>
                      <a:pt x="203699" y="1198812"/>
                      <a:pt x="203699" y="1206457"/>
                    </a:cubicBezTo>
                    <a:cubicBezTo>
                      <a:pt x="203699" y="1214104"/>
                      <a:pt x="209863" y="1220266"/>
                      <a:pt x="217507" y="1220266"/>
                    </a:cubicBezTo>
                    <a:cubicBezTo>
                      <a:pt x="224906" y="1220266"/>
                      <a:pt x="231069" y="1213857"/>
                      <a:pt x="231316" y="1206457"/>
                    </a:cubicBezTo>
                    <a:close/>
                    <a:moveTo>
                      <a:pt x="232547" y="4771169"/>
                    </a:moveTo>
                    <a:cubicBezTo>
                      <a:pt x="232547" y="4762538"/>
                      <a:pt x="225397" y="4755388"/>
                      <a:pt x="216767" y="4755388"/>
                    </a:cubicBezTo>
                    <a:cubicBezTo>
                      <a:pt x="208136" y="4755388"/>
                      <a:pt x="200986" y="4762538"/>
                      <a:pt x="200986" y="4771169"/>
                    </a:cubicBezTo>
                    <a:cubicBezTo>
                      <a:pt x="200986" y="4779800"/>
                      <a:pt x="208136" y="4786950"/>
                      <a:pt x="216767" y="4786950"/>
                    </a:cubicBezTo>
                    <a:cubicBezTo>
                      <a:pt x="225397" y="4786950"/>
                      <a:pt x="232547" y="4779800"/>
                      <a:pt x="232547" y="4771169"/>
                    </a:cubicBezTo>
                    <a:close/>
                    <a:moveTo>
                      <a:pt x="232551" y="656927"/>
                    </a:moveTo>
                    <a:cubicBezTo>
                      <a:pt x="232551" y="649030"/>
                      <a:pt x="226139" y="642357"/>
                      <a:pt x="218002" y="642357"/>
                    </a:cubicBezTo>
                    <a:cubicBezTo>
                      <a:pt x="209866" y="642357"/>
                      <a:pt x="203208" y="648783"/>
                      <a:pt x="203208" y="656927"/>
                    </a:cubicBezTo>
                    <a:cubicBezTo>
                      <a:pt x="203208" y="665060"/>
                      <a:pt x="209866" y="671720"/>
                      <a:pt x="218002" y="671720"/>
                    </a:cubicBezTo>
                    <a:cubicBezTo>
                      <a:pt x="226139" y="671720"/>
                      <a:pt x="232797" y="665060"/>
                      <a:pt x="232551" y="656927"/>
                    </a:cubicBezTo>
                    <a:close/>
                    <a:moveTo>
                      <a:pt x="239452" y="785119"/>
                    </a:moveTo>
                    <a:cubicBezTo>
                      <a:pt x="239452" y="777472"/>
                      <a:pt x="233288" y="771065"/>
                      <a:pt x="225398" y="771065"/>
                    </a:cubicBezTo>
                    <a:cubicBezTo>
                      <a:pt x="217753" y="771065"/>
                      <a:pt x="211344" y="777227"/>
                      <a:pt x="211344" y="785119"/>
                    </a:cubicBezTo>
                    <a:cubicBezTo>
                      <a:pt x="211344" y="792759"/>
                      <a:pt x="217507" y="799174"/>
                      <a:pt x="225398" y="799174"/>
                    </a:cubicBezTo>
                    <a:cubicBezTo>
                      <a:pt x="233042" y="799174"/>
                      <a:pt x="239452" y="792759"/>
                      <a:pt x="239452" y="785119"/>
                    </a:cubicBezTo>
                    <a:close/>
                    <a:moveTo>
                      <a:pt x="243151" y="5157555"/>
                    </a:moveTo>
                    <a:cubicBezTo>
                      <a:pt x="243151" y="5154596"/>
                      <a:pt x="240932" y="5152377"/>
                      <a:pt x="237973" y="5152377"/>
                    </a:cubicBezTo>
                    <a:cubicBezTo>
                      <a:pt x="235261" y="5152377"/>
                      <a:pt x="232797" y="5154596"/>
                      <a:pt x="232797" y="5157555"/>
                    </a:cubicBezTo>
                    <a:cubicBezTo>
                      <a:pt x="232797" y="5160267"/>
                      <a:pt x="235015" y="5162732"/>
                      <a:pt x="237973" y="5162732"/>
                    </a:cubicBezTo>
                    <a:cubicBezTo>
                      <a:pt x="240687" y="5162732"/>
                      <a:pt x="243151" y="5160514"/>
                      <a:pt x="243151" y="5157555"/>
                    </a:cubicBezTo>
                    <a:close/>
                    <a:moveTo>
                      <a:pt x="243397" y="1340813"/>
                    </a:moveTo>
                    <a:cubicBezTo>
                      <a:pt x="243397" y="1333176"/>
                      <a:pt x="236987" y="1327001"/>
                      <a:pt x="229343" y="1327001"/>
                    </a:cubicBezTo>
                    <a:cubicBezTo>
                      <a:pt x="221698" y="1327001"/>
                      <a:pt x="215535" y="1332929"/>
                      <a:pt x="215535" y="1340813"/>
                    </a:cubicBezTo>
                    <a:cubicBezTo>
                      <a:pt x="215535" y="1348709"/>
                      <a:pt x="221698" y="1354867"/>
                      <a:pt x="229343" y="1354867"/>
                    </a:cubicBezTo>
                    <a:cubicBezTo>
                      <a:pt x="236987" y="1354867"/>
                      <a:pt x="243397" y="1348462"/>
                      <a:pt x="243397" y="1340813"/>
                    </a:cubicBezTo>
                    <a:close/>
                    <a:moveTo>
                      <a:pt x="243646" y="6171473"/>
                    </a:moveTo>
                    <a:cubicBezTo>
                      <a:pt x="243646" y="6162351"/>
                      <a:pt x="236001" y="6154706"/>
                      <a:pt x="226878" y="6154706"/>
                    </a:cubicBezTo>
                    <a:cubicBezTo>
                      <a:pt x="217510" y="6154706"/>
                      <a:pt x="210112" y="6162105"/>
                      <a:pt x="210112" y="6171473"/>
                    </a:cubicBezTo>
                    <a:cubicBezTo>
                      <a:pt x="210112" y="6180842"/>
                      <a:pt x="217756" y="6188240"/>
                      <a:pt x="226878" y="6188240"/>
                    </a:cubicBezTo>
                    <a:cubicBezTo>
                      <a:pt x="236001" y="6188240"/>
                      <a:pt x="243646" y="6180842"/>
                      <a:pt x="243646" y="6171473"/>
                    </a:cubicBezTo>
                    <a:close/>
                    <a:moveTo>
                      <a:pt x="243892" y="4270130"/>
                    </a:moveTo>
                    <a:cubicBezTo>
                      <a:pt x="243892" y="4244978"/>
                      <a:pt x="223428" y="4224265"/>
                      <a:pt x="198030" y="4224265"/>
                    </a:cubicBezTo>
                    <a:cubicBezTo>
                      <a:pt x="172632" y="4224265"/>
                      <a:pt x="151920" y="4244732"/>
                      <a:pt x="151920" y="4270130"/>
                    </a:cubicBezTo>
                    <a:cubicBezTo>
                      <a:pt x="151920" y="4295280"/>
                      <a:pt x="172632" y="4315992"/>
                      <a:pt x="198030" y="4315992"/>
                    </a:cubicBezTo>
                    <a:cubicBezTo>
                      <a:pt x="223428" y="4315992"/>
                      <a:pt x="243892" y="4295526"/>
                      <a:pt x="243892" y="4270130"/>
                    </a:cubicBezTo>
                    <a:close/>
                    <a:moveTo>
                      <a:pt x="244386" y="6299938"/>
                    </a:moveTo>
                    <a:cubicBezTo>
                      <a:pt x="244386" y="6286377"/>
                      <a:pt x="233537" y="6275527"/>
                      <a:pt x="219975" y="6275527"/>
                    </a:cubicBezTo>
                    <a:cubicBezTo>
                      <a:pt x="206412" y="6275527"/>
                      <a:pt x="195563" y="6286377"/>
                      <a:pt x="195563" y="6299938"/>
                    </a:cubicBezTo>
                    <a:cubicBezTo>
                      <a:pt x="195563" y="6313252"/>
                      <a:pt x="206412" y="6324351"/>
                      <a:pt x="219975" y="6324351"/>
                    </a:cubicBezTo>
                    <a:cubicBezTo>
                      <a:pt x="233537" y="6324351"/>
                      <a:pt x="244386" y="6313252"/>
                      <a:pt x="244386" y="6299938"/>
                    </a:cubicBezTo>
                    <a:close/>
                    <a:moveTo>
                      <a:pt x="245616" y="3882019"/>
                    </a:moveTo>
                    <a:cubicBezTo>
                      <a:pt x="245616" y="3853908"/>
                      <a:pt x="222685" y="3830977"/>
                      <a:pt x="194576" y="3830977"/>
                    </a:cubicBezTo>
                    <a:cubicBezTo>
                      <a:pt x="166466" y="3830977"/>
                      <a:pt x="143535" y="3853908"/>
                      <a:pt x="143535" y="3882019"/>
                    </a:cubicBezTo>
                    <a:cubicBezTo>
                      <a:pt x="143535" y="3910127"/>
                      <a:pt x="166466" y="3933058"/>
                      <a:pt x="194576" y="3933058"/>
                    </a:cubicBezTo>
                    <a:cubicBezTo>
                      <a:pt x="222685" y="3933058"/>
                      <a:pt x="245616" y="3910127"/>
                      <a:pt x="245616" y="3882019"/>
                    </a:cubicBezTo>
                    <a:close/>
                    <a:moveTo>
                      <a:pt x="247097" y="914543"/>
                    </a:moveTo>
                    <a:cubicBezTo>
                      <a:pt x="247097" y="906652"/>
                      <a:pt x="240685" y="900243"/>
                      <a:pt x="232795" y="900243"/>
                    </a:cubicBezTo>
                    <a:cubicBezTo>
                      <a:pt x="225152" y="900243"/>
                      <a:pt x="218740" y="906652"/>
                      <a:pt x="218740" y="914543"/>
                    </a:cubicBezTo>
                    <a:cubicBezTo>
                      <a:pt x="218740" y="922190"/>
                      <a:pt x="224904" y="928604"/>
                      <a:pt x="232795" y="928604"/>
                    </a:cubicBezTo>
                    <a:cubicBezTo>
                      <a:pt x="240685" y="928604"/>
                      <a:pt x="247097" y="922439"/>
                      <a:pt x="247097" y="914543"/>
                    </a:cubicBezTo>
                    <a:close/>
                    <a:moveTo>
                      <a:pt x="247588" y="5911827"/>
                    </a:moveTo>
                    <a:cubicBezTo>
                      <a:pt x="247588" y="5909364"/>
                      <a:pt x="245864" y="5907391"/>
                      <a:pt x="243398" y="5907391"/>
                    </a:cubicBezTo>
                    <a:cubicBezTo>
                      <a:pt x="241179" y="5907391"/>
                      <a:pt x="239207" y="5909364"/>
                      <a:pt x="239207" y="5911827"/>
                    </a:cubicBezTo>
                    <a:cubicBezTo>
                      <a:pt x="239207" y="5914048"/>
                      <a:pt x="240933" y="5916022"/>
                      <a:pt x="243398" y="5916022"/>
                    </a:cubicBezTo>
                    <a:cubicBezTo>
                      <a:pt x="245864" y="5916022"/>
                      <a:pt x="247837" y="5914048"/>
                      <a:pt x="247588" y="5911827"/>
                    </a:cubicBezTo>
                    <a:close/>
                    <a:moveTo>
                      <a:pt x="249069" y="4618294"/>
                    </a:moveTo>
                    <a:lnTo>
                      <a:pt x="248823" y="4618047"/>
                    </a:lnTo>
                    <a:lnTo>
                      <a:pt x="248823" y="4618294"/>
                    </a:lnTo>
                    <a:lnTo>
                      <a:pt x="248823" y="4618542"/>
                    </a:lnTo>
                    <a:close/>
                    <a:moveTo>
                      <a:pt x="250057" y="7779"/>
                    </a:moveTo>
                    <a:lnTo>
                      <a:pt x="246848" y="0"/>
                    </a:lnTo>
                    <a:lnTo>
                      <a:pt x="219541" y="0"/>
                    </a:lnTo>
                    <a:lnTo>
                      <a:pt x="216276" y="7779"/>
                    </a:lnTo>
                    <a:cubicBezTo>
                      <a:pt x="216276" y="16901"/>
                      <a:pt x="223920" y="24544"/>
                      <a:pt x="233289" y="24544"/>
                    </a:cubicBezTo>
                    <a:cubicBezTo>
                      <a:pt x="242660" y="24544"/>
                      <a:pt x="250057" y="16901"/>
                      <a:pt x="250057" y="7779"/>
                    </a:cubicBezTo>
                    <a:close/>
                    <a:moveTo>
                      <a:pt x="251041" y="6042268"/>
                    </a:moveTo>
                    <a:cubicBezTo>
                      <a:pt x="251041" y="6033143"/>
                      <a:pt x="243646" y="6025993"/>
                      <a:pt x="234769" y="6025993"/>
                    </a:cubicBezTo>
                    <a:cubicBezTo>
                      <a:pt x="225644" y="6025993"/>
                      <a:pt x="218494" y="6033391"/>
                      <a:pt x="218494" y="6042268"/>
                    </a:cubicBezTo>
                    <a:cubicBezTo>
                      <a:pt x="218494" y="6051145"/>
                      <a:pt x="225892" y="6058295"/>
                      <a:pt x="234769" y="6058295"/>
                    </a:cubicBezTo>
                    <a:cubicBezTo>
                      <a:pt x="243646" y="6058295"/>
                      <a:pt x="250796" y="6051145"/>
                      <a:pt x="251041" y="6042268"/>
                    </a:cubicBezTo>
                    <a:close/>
                    <a:moveTo>
                      <a:pt x="253509" y="130543"/>
                    </a:moveTo>
                    <a:cubicBezTo>
                      <a:pt x="253509" y="121418"/>
                      <a:pt x="246110" y="114023"/>
                      <a:pt x="236988" y="114023"/>
                    </a:cubicBezTo>
                    <a:cubicBezTo>
                      <a:pt x="227866" y="114023"/>
                      <a:pt x="220467" y="121418"/>
                      <a:pt x="220467" y="130543"/>
                    </a:cubicBezTo>
                    <a:cubicBezTo>
                      <a:pt x="220467" y="139666"/>
                      <a:pt x="227866" y="147061"/>
                      <a:pt x="236988" y="147061"/>
                    </a:cubicBezTo>
                    <a:cubicBezTo>
                      <a:pt x="246110" y="147061"/>
                      <a:pt x="253509" y="139666"/>
                      <a:pt x="253509" y="130543"/>
                    </a:cubicBezTo>
                    <a:close/>
                    <a:moveTo>
                      <a:pt x="253754" y="2138129"/>
                    </a:moveTo>
                    <a:cubicBezTo>
                      <a:pt x="253754" y="2134924"/>
                      <a:pt x="251042" y="2132214"/>
                      <a:pt x="247837" y="2132214"/>
                    </a:cubicBezTo>
                    <a:cubicBezTo>
                      <a:pt x="244878" y="2132214"/>
                      <a:pt x="242166" y="2134924"/>
                      <a:pt x="242166" y="2138129"/>
                    </a:cubicBezTo>
                    <a:cubicBezTo>
                      <a:pt x="242166" y="2141335"/>
                      <a:pt x="244630" y="2144049"/>
                      <a:pt x="247837" y="2144049"/>
                    </a:cubicBezTo>
                    <a:cubicBezTo>
                      <a:pt x="251042" y="2144049"/>
                      <a:pt x="253506" y="2141335"/>
                      <a:pt x="253754" y="2138129"/>
                    </a:cubicBezTo>
                    <a:close/>
                    <a:moveTo>
                      <a:pt x="254741" y="2963148"/>
                    </a:moveTo>
                    <a:cubicBezTo>
                      <a:pt x="254741" y="2944409"/>
                      <a:pt x="239207" y="2928872"/>
                      <a:pt x="220220" y="2928872"/>
                    </a:cubicBezTo>
                    <a:cubicBezTo>
                      <a:pt x="201481" y="2928872"/>
                      <a:pt x="185946" y="2944409"/>
                      <a:pt x="185946" y="2963148"/>
                    </a:cubicBezTo>
                    <a:cubicBezTo>
                      <a:pt x="185946" y="2981889"/>
                      <a:pt x="201235" y="2997424"/>
                      <a:pt x="220220" y="2997424"/>
                    </a:cubicBezTo>
                    <a:cubicBezTo>
                      <a:pt x="239207" y="2997424"/>
                      <a:pt x="254741" y="2981889"/>
                      <a:pt x="254741" y="2963148"/>
                    </a:cubicBezTo>
                    <a:close/>
                    <a:moveTo>
                      <a:pt x="255726" y="1045217"/>
                    </a:moveTo>
                    <a:cubicBezTo>
                      <a:pt x="255726" y="1037562"/>
                      <a:pt x="249316" y="1031155"/>
                      <a:pt x="241671" y="1031155"/>
                    </a:cubicBezTo>
                    <a:cubicBezTo>
                      <a:pt x="234029" y="1031155"/>
                      <a:pt x="227617" y="1037562"/>
                      <a:pt x="227617" y="1045217"/>
                    </a:cubicBezTo>
                    <a:cubicBezTo>
                      <a:pt x="227617" y="1052855"/>
                      <a:pt x="233780" y="1059265"/>
                      <a:pt x="241671" y="1059265"/>
                    </a:cubicBezTo>
                    <a:cubicBezTo>
                      <a:pt x="249316" y="1059265"/>
                      <a:pt x="255726" y="1053098"/>
                      <a:pt x="255726" y="1045217"/>
                    </a:cubicBezTo>
                    <a:close/>
                    <a:moveTo>
                      <a:pt x="258441" y="1476905"/>
                    </a:moveTo>
                    <a:cubicBezTo>
                      <a:pt x="258441" y="1468279"/>
                      <a:pt x="251537" y="1461373"/>
                      <a:pt x="242907" y="1461373"/>
                    </a:cubicBezTo>
                    <a:cubicBezTo>
                      <a:pt x="234276" y="1461373"/>
                      <a:pt x="227371" y="1468279"/>
                      <a:pt x="227371" y="1476905"/>
                    </a:cubicBezTo>
                    <a:cubicBezTo>
                      <a:pt x="227371" y="1485541"/>
                      <a:pt x="234276" y="1492443"/>
                      <a:pt x="242907" y="1492443"/>
                    </a:cubicBezTo>
                    <a:cubicBezTo>
                      <a:pt x="251537" y="1492443"/>
                      <a:pt x="258441" y="1485541"/>
                      <a:pt x="258441" y="1476905"/>
                    </a:cubicBezTo>
                    <a:close/>
                    <a:moveTo>
                      <a:pt x="261891" y="2581697"/>
                    </a:moveTo>
                    <a:cubicBezTo>
                      <a:pt x="261891" y="2571093"/>
                      <a:pt x="253260" y="2562461"/>
                      <a:pt x="242657" y="2562461"/>
                    </a:cubicBezTo>
                    <a:cubicBezTo>
                      <a:pt x="232057" y="2562461"/>
                      <a:pt x="223426" y="2571093"/>
                      <a:pt x="223426" y="2581697"/>
                    </a:cubicBezTo>
                    <a:cubicBezTo>
                      <a:pt x="223426" y="2592299"/>
                      <a:pt x="232057" y="2600929"/>
                      <a:pt x="242657" y="2600929"/>
                    </a:cubicBezTo>
                    <a:cubicBezTo>
                      <a:pt x="253014" y="2600929"/>
                      <a:pt x="261645" y="2592299"/>
                      <a:pt x="261891" y="2581697"/>
                    </a:cubicBezTo>
                    <a:close/>
                    <a:moveTo>
                      <a:pt x="262877" y="4105909"/>
                    </a:moveTo>
                    <a:cubicBezTo>
                      <a:pt x="262877" y="4100730"/>
                      <a:pt x="258932" y="4096538"/>
                      <a:pt x="253751" y="4096538"/>
                    </a:cubicBezTo>
                    <a:cubicBezTo>
                      <a:pt x="248575" y="4096538"/>
                      <a:pt x="244383" y="4100730"/>
                      <a:pt x="244383" y="4105909"/>
                    </a:cubicBezTo>
                    <a:cubicBezTo>
                      <a:pt x="244383" y="4110841"/>
                      <a:pt x="248575" y="4115033"/>
                      <a:pt x="253751" y="4115033"/>
                    </a:cubicBezTo>
                    <a:cubicBezTo>
                      <a:pt x="258685" y="4115033"/>
                      <a:pt x="262877" y="4111087"/>
                      <a:pt x="262877" y="4105909"/>
                    </a:cubicBezTo>
                    <a:close/>
                    <a:moveTo>
                      <a:pt x="262881" y="5013555"/>
                    </a:moveTo>
                    <a:cubicBezTo>
                      <a:pt x="262881" y="5011582"/>
                      <a:pt x="261154" y="5009855"/>
                      <a:pt x="258935" y="5009855"/>
                    </a:cubicBezTo>
                    <a:cubicBezTo>
                      <a:pt x="256963" y="5009855"/>
                      <a:pt x="255236" y="5011333"/>
                      <a:pt x="255236" y="5013555"/>
                    </a:cubicBezTo>
                    <a:cubicBezTo>
                      <a:pt x="255236" y="5015527"/>
                      <a:pt x="256963" y="5017254"/>
                      <a:pt x="258935" y="5017254"/>
                    </a:cubicBezTo>
                    <a:cubicBezTo>
                      <a:pt x="261154" y="5017254"/>
                      <a:pt x="262881" y="5015527"/>
                      <a:pt x="262881" y="5013555"/>
                    </a:cubicBezTo>
                    <a:close/>
                    <a:moveTo>
                      <a:pt x="268553" y="1615221"/>
                    </a:moveTo>
                    <a:cubicBezTo>
                      <a:pt x="268553" y="1609304"/>
                      <a:pt x="263866" y="1604615"/>
                      <a:pt x="257949" y="1604615"/>
                    </a:cubicBezTo>
                    <a:cubicBezTo>
                      <a:pt x="252031" y="1604615"/>
                      <a:pt x="247345" y="1609304"/>
                      <a:pt x="247345" y="1615221"/>
                    </a:cubicBezTo>
                    <a:cubicBezTo>
                      <a:pt x="247345" y="1621136"/>
                      <a:pt x="252031" y="1625822"/>
                      <a:pt x="257949" y="1625822"/>
                    </a:cubicBezTo>
                    <a:cubicBezTo>
                      <a:pt x="263866" y="1625822"/>
                      <a:pt x="268798" y="1621136"/>
                      <a:pt x="268553" y="1615221"/>
                    </a:cubicBezTo>
                    <a:close/>
                    <a:moveTo>
                      <a:pt x="270522" y="3994704"/>
                    </a:moveTo>
                    <a:cubicBezTo>
                      <a:pt x="270522" y="3967335"/>
                      <a:pt x="248331" y="3945143"/>
                      <a:pt x="220960" y="3945143"/>
                    </a:cubicBezTo>
                    <a:cubicBezTo>
                      <a:pt x="193593" y="3945143"/>
                      <a:pt x="171400" y="3967335"/>
                      <a:pt x="171400" y="3994704"/>
                    </a:cubicBezTo>
                    <a:cubicBezTo>
                      <a:pt x="171400" y="4022075"/>
                      <a:pt x="193593" y="4044267"/>
                      <a:pt x="220960" y="4044267"/>
                    </a:cubicBezTo>
                    <a:cubicBezTo>
                      <a:pt x="248331" y="4044267"/>
                      <a:pt x="270522" y="4022075"/>
                      <a:pt x="270522" y="3994704"/>
                    </a:cubicBezTo>
                    <a:close/>
                    <a:moveTo>
                      <a:pt x="279894" y="3479112"/>
                    </a:moveTo>
                    <a:cubicBezTo>
                      <a:pt x="279894" y="3469497"/>
                      <a:pt x="272003" y="3461971"/>
                      <a:pt x="262632" y="3461971"/>
                    </a:cubicBezTo>
                    <a:cubicBezTo>
                      <a:pt x="253017" y="3461971"/>
                      <a:pt x="245373" y="3469744"/>
                      <a:pt x="245373" y="3479112"/>
                    </a:cubicBezTo>
                    <a:cubicBezTo>
                      <a:pt x="245373" y="3488729"/>
                      <a:pt x="253263" y="3496374"/>
                      <a:pt x="262632" y="3496374"/>
                    </a:cubicBezTo>
                    <a:cubicBezTo>
                      <a:pt x="272003" y="3496374"/>
                      <a:pt x="279647" y="3488729"/>
                      <a:pt x="279894" y="3479112"/>
                    </a:cubicBezTo>
                    <a:close/>
                    <a:moveTo>
                      <a:pt x="280631" y="2289751"/>
                    </a:moveTo>
                    <a:cubicBezTo>
                      <a:pt x="280631" y="2288036"/>
                      <a:pt x="279153" y="2286805"/>
                      <a:pt x="277672" y="2286805"/>
                    </a:cubicBezTo>
                    <a:cubicBezTo>
                      <a:pt x="275945" y="2286805"/>
                      <a:pt x="274713" y="2288036"/>
                      <a:pt x="274713" y="2289751"/>
                    </a:cubicBezTo>
                    <a:cubicBezTo>
                      <a:pt x="274713" y="2291491"/>
                      <a:pt x="275945" y="2292721"/>
                      <a:pt x="277672" y="2292721"/>
                    </a:cubicBezTo>
                    <a:cubicBezTo>
                      <a:pt x="279153" y="2292721"/>
                      <a:pt x="280385" y="2291491"/>
                      <a:pt x="280631" y="2289751"/>
                    </a:cubicBezTo>
                    <a:close/>
                    <a:moveTo>
                      <a:pt x="281123" y="3595003"/>
                    </a:moveTo>
                    <a:cubicBezTo>
                      <a:pt x="281123" y="3586621"/>
                      <a:pt x="274219" y="3579962"/>
                      <a:pt x="266082" y="3579962"/>
                    </a:cubicBezTo>
                    <a:cubicBezTo>
                      <a:pt x="257946" y="3579962"/>
                      <a:pt x="251288" y="3586866"/>
                      <a:pt x="251288" y="3595003"/>
                    </a:cubicBezTo>
                    <a:cubicBezTo>
                      <a:pt x="251288" y="3603387"/>
                      <a:pt x="257946" y="3610045"/>
                      <a:pt x="266082" y="3610045"/>
                    </a:cubicBezTo>
                    <a:cubicBezTo>
                      <a:pt x="274467" y="3610045"/>
                      <a:pt x="281123" y="3603387"/>
                      <a:pt x="281123" y="3595003"/>
                    </a:cubicBezTo>
                    <a:close/>
                    <a:moveTo>
                      <a:pt x="284331" y="1756261"/>
                    </a:moveTo>
                    <a:cubicBezTo>
                      <a:pt x="284331" y="1751079"/>
                      <a:pt x="280137" y="1746633"/>
                      <a:pt x="274714" y="1746633"/>
                    </a:cubicBezTo>
                    <a:cubicBezTo>
                      <a:pt x="269536" y="1746633"/>
                      <a:pt x="265096" y="1750829"/>
                      <a:pt x="265096" y="1756261"/>
                    </a:cubicBezTo>
                    <a:cubicBezTo>
                      <a:pt x="265096" y="1761444"/>
                      <a:pt x="269288" y="1765887"/>
                      <a:pt x="274714" y="1765887"/>
                    </a:cubicBezTo>
                    <a:cubicBezTo>
                      <a:pt x="280137" y="1765887"/>
                      <a:pt x="284331" y="1761444"/>
                      <a:pt x="284331" y="1756261"/>
                    </a:cubicBezTo>
                    <a:close/>
                    <a:moveTo>
                      <a:pt x="285072" y="3363329"/>
                    </a:moveTo>
                    <a:cubicBezTo>
                      <a:pt x="285072" y="3352728"/>
                      <a:pt x="276441" y="3344099"/>
                      <a:pt x="265840" y="3344099"/>
                    </a:cubicBezTo>
                    <a:cubicBezTo>
                      <a:pt x="255236" y="3344099"/>
                      <a:pt x="246605" y="3352728"/>
                      <a:pt x="246605" y="3363329"/>
                    </a:cubicBezTo>
                    <a:cubicBezTo>
                      <a:pt x="246605" y="3373923"/>
                      <a:pt x="255236" y="3382561"/>
                      <a:pt x="265840" y="3382561"/>
                    </a:cubicBezTo>
                    <a:cubicBezTo>
                      <a:pt x="276689" y="3382561"/>
                      <a:pt x="285317" y="3373923"/>
                      <a:pt x="285072" y="3363329"/>
                    </a:cubicBezTo>
                    <a:close/>
                    <a:moveTo>
                      <a:pt x="285316" y="2851939"/>
                    </a:moveTo>
                    <a:cubicBezTo>
                      <a:pt x="285316" y="2833937"/>
                      <a:pt x="270768" y="2819144"/>
                      <a:pt x="252769" y="2819144"/>
                    </a:cubicBezTo>
                    <a:cubicBezTo>
                      <a:pt x="234769" y="2819144"/>
                      <a:pt x="219975" y="2833937"/>
                      <a:pt x="219975" y="2851939"/>
                    </a:cubicBezTo>
                    <a:cubicBezTo>
                      <a:pt x="219975" y="2870187"/>
                      <a:pt x="234769" y="2884736"/>
                      <a:pt x="252769" y="2884736"/>
                    </a:cubicBezTo>
                    <a:cubicBezTo>
                      <a:pt x="270768" y="2884736"/>
                      <a:pt x="285562" y="2869939"/>
                      <a:pt x="285316" y="2851939"/>
                    </a:cubicBezTo>
                    <a:close/>
                    <a:moveTo>
                      <a:pt x="287043" y="7099090"/>
                    </a:moveTo>
                    <a:cubicBezTo>
                      <a:pt x="287043" y="7097364"/>
                      <a:pt x="285562" y="7095884"/>
                      <a:pt x="283835" y="7095884"/>
                    </a:cubicBezTo>
                    <a:cubicBezTo>
                      <a:pt x="281863" y="7095884"/>
                      <a:pt x="280385" y="7097364"/>
                      <a:pt x="280385" y="7099090"/>
                    </a:cubicBezTo>
                    <a:cubicBezTo>
                      <a:pt x="280385" y="7100817"/>
                      <a:pt x="281863" y="7102294"/>
                      <a:pt x="283835" y="7102294"/>
                    </a:cubicBezTo>
                    <a:cubicBezTo>
                      <a:pt x="285562" y="7102294"/>
                      <a:pt x="287043" y="7100817"/>
                      <a:pt x="287043" y="7099090"/>
                    </a:cubicBezTo>
                    <a:close/>
                    <a:moveTo>
                      <a:pt x="287289" y="5519281"/>
                    </a:moveTo>
                    <a:cubicBezTo>
                      <a:pt x="287289" y="5518789"/>
                      <a:pt x="286795" y="5518295"/>
                      <a:pt x="286304" y="5518295"/>
                    </a:cubicBezTo>
                    <a:cubicBezTo>
                      <a:pt x="285808" y="5518295"/>
                      <a:pt x="285317" y="5518789"/>
                      <a:pt x="285317" y="5519281"/>
                    </a:cubicBezTo>
                    <a:cubicBezTo>
                      <a:pt x="285317" y="5519773"/>
                      <a:pt x="285808" y="5520267"/>
                      <a:pt x="286304" y="5520267"/>
                    </a:cubicBezTo>
                    <a:cubicBezTo>
                      <a:pt x="286795" y="5520267"/>
                      <a:pt x="287044" y="5519773"/>
                      <a:pt x="287289" y="5519281"/>
                    </a:cubicBezTo>
                    <a:close/>
                    <a:moveTo>
                      <a:pt x="288276" y="5787556"/>
                    </a:moveTo>
                    <a:cubicBezTo>
                      <a:pt x="288276" y="5773501"/>
                      <a:pt x="276686" y="5761912"/>
                      <a:pt x="262632" y="5761912"/>
                    </a:cubicBezTo>
                    <a:cubicBezTo>
                      <a:pt x="248578" y="5761912"/>
                      <a:pt x="236988" y="5773253"/>
                      <a:pt x="236988" y="5787556"/>
                    </a:cubicBezTo>
                    <a:cubicBezTo>
                      <a:pt x="236988" y="5801610"/>
                      <a:pt x="248578" y="5813200"/>
                      <a:pt x="262632" y="5813200"/>
                    </a:cubicBezTo>
                    <a:cubicBezTo>
                      <a:pt x="276935" y="5813200"/>
                      <a:pt x="288276" y="5801610"/>
                      <a:pt x="288276" y="5787556"/>
                    </a:cubicBezTo>
                    <a:close/>
                    <a:moveTo>
                      <a:pt x="288770" y="4376402"/>
                    </a:moveTo>
                    <a:cubicBezTo>
                      <a:pt x="288770" y="4351745"/>
                      <a:pt x="268550" y="4331524"/>
                      <a:pt x="243892" y="4331524"/>
                    </a:cubicBezTo>
                    <a:cubicBezTo>
                      <a:pt x="219235" y="4331524"/>
                      <a:pt x="199017" y="4351745"/>
                      <a:pt x="199017" y="4376402"/>
                    </a:cubicBezTo>
                    <a:cubicBezTo>
                      <a:pt x="199017" y="4401060"/>
                      <a:pt x="219235" y="4421277"/>
                      <a:pt x="243892" y="4421277"/>
                    </a:cubicBezTo>
                    <a:cubicBezTo>
                      <a:pt x="268550" y="4421277"/>
                      <a:pt x="288770" y="4401060"/>
                      <a:pt x="288770" y="4376402"/>
                    </a:cubicBezTo>
                    <a:close/>
                    <a:moveTo>
                      <a:pt x="289263" y="3710649"/>
                    </a:moveTo>
                    <a:cubicBezTo>
                      <a:pt x="289263" y="3703745"/>
                      <a:pt x="283593" y="3698073"/>
                      <a:pt x="276689" y="3698073"/>
                    </a:cubicBezTo>
                    <a:cubicBezTo>
                      <a:pt x="269785" y="3698073"/>
                      <a:pt x="264113" y="3703745"/>
                      <a:pt x="264113" y="3710649"/>
                    </a:cubicBezTo>
                    <a:cubicBezTo>
                      <a:pt x="264113" y="3717553"/>
                      <a:pt x="269785" y="3723222"/>
                      <a:pt x="276689" y="3723222"/>
                    </a:cubicBezTo>
                    <a:cubicBezTo>
                      <a:pt x="283593" y="3723222"/>
                      <a:pt x="289263" y="3717553"/>
                      <a:pt x="289263" y="3710649"/>
                    </a:cubicBezTo>
                    <a:close/>
                    <a:moveTo>
                      <a:pt x="290247" y="6977530"/>
                    </a:moveTo>
                    <a:cubicBezTo>
                      <a:pt x="290247" y="6975556"/>
                      <a:pt x="288769" y="6974078"/>
                      <a:pt x="286794" y="6974078"/>
                    </a:cubicBezTo>
                    <a:cubicBezTo>
                      <a:pt x="284822" y="6974078"/>
                      <a:pt x="283344" y="6975805"/>
                      <a:pt x="283344" y="6977530"/>
                    </a:cubicBezTo>
                    <a:cubicBezTo>
                      <a:pt x="283344" y="6979505"/>
                      <a:pt x="285071" y="6980983"/>
                      <a:pt x="286794" y="6980983"/>
                    </a:cubicBezTo>
                    <a:cubicBezTo>
                      <a:pt x="288769" y="6980983"/>
                      <a:pt x="290247" y="6979505"/>
                      <a:pt x="290247" y="6977530"/>
                    </a:cubicBezTo>
                    <a:close/>
                    <a:moveTo>
                      <a:pt x="291975" y="6855228"/>
                    </a:moveTo>
                    <a:cubicBezTo>
                      <a:pt x="291975" y="6853996"/>
                      <a:pt x="290988" y="6853255"/>
                      <a:pt x="290002" y="6853255"/>
                    </a:cubicBezTo>
                    <a:cubicBezTo>
                      <a:pt x="288769" y="6853255"/>
                      <a:pt x="288029" y="6854241"/>
                      <a:pt x="288029" y="6855228"/>
                    </a:cubicBezTo>
                    <a:cubicBezTo>
                      <a:pt x="288029" y="6856459"/>
                      <a:pt x="289016" y="6857200"/>
                      <a:pt x="290002" y="6857200"/>
                    </a:cubicBezTo>
                    <a:cubicBezTo>
                      <a:pt x="291234" y="6857200"/>
                      <a:pt x="291975" y="6856459"/>
                      <a:pt x="291975" y="6855228"/>
                    </a:cubicBezTo>
                    <a:close/>
                    <a:moveTo>
                      <a:pt x="296414" y="1899001"/>
                    </a:moveTo>
                    <a:cubicBezTo>
                      <a:pt x="296414" y="1897770"/>
                      <a:pt x="295425" y="1896785"/>
                      <a:pt x="294193" y="1896785"/>
                    </a:cubicBezTo>
                    <a:cubicBezTo>
                      <a:pt x="292960" y="1896785"/>
                      <a:pt x="291975" y="1897770"/>
                      <a:pt x="291975" y="1899001"/>
                    </a:cubicBezTo>
                    <a:cubicBezTo>
                      <a:pt x="291975" y="1900234"/>
                      <a:pt x="292960" y="1901221"/>
                      <a:pt x="294193" y="1901221"/>
                    </a:cubicBezTo>
                    <a:cubicBezTo>
                      <a:pt x="295425" y="1901221"/>
                      <a:pt x="296414" y="1900234"/>
                      <a:pt x="296414" y="1899001"/>
                    </a:cubicBezTo>
                    <a:close/>
                    <a:moveTo>
                      <a:pt x="297646" y="3247695"/>
                    </a:moveTo>
                    <a:cubicBezTo>
                      <a:pt x="297646" y="3235858"/>
                      <a:pt x="288029" y="3226241"/>
                      <a:pt x="276194" y="3226241"/>
                    </a:cubicBezTo>
                    <a:cubicBezTo>
                      <a:pt x="264358" y="3226241"/>
                      <a:pt x="254741" y="3235858"/>
                      <a:pt x="254741" y="3247695"/>
                    </a:cubicBezTo>
                    <a:cubicBezTo>
                      <a:pt x="254741" y="3259525"/>
                      <a:pt x="264358" y="3269139"/>
                      <a:pt x="276194" y="3269139"/>
                    </a:cubicBezTo>
                    <a:cubicBezTo>
                      <a:pt x="288029" y="3269139"/>
                      <a:pt x="297646" y="3259525"/>
                      <a:pt x="297646" y="3247695"/>
                    </a:cubicBezTo>
                    <a:close/>
                    <a:moveTo>
                      <a:pt x="298138" y="4866596"/>
                    </a:moveTo>
                    <a:cubicBezTo>
                      <a:pt x="298138" y="4858213"/>
                      <a:pt x="291481" y="4851555"/>
                      <a:pt x="283095" y="4851555"/>
                    </a:cubicBezTo>
                    <a:cubicBezTo>
                      <a:pt x="274713" y="4851555"/>
                      <a:pt x="268055" y="4858459"/>
                      <a:pt x="268055" y="4866596"/>
                    </a:cubicBezTo>
                    <a:cubicBezTo>
                      <a:pt x="268055" y="4874980"/>
                      <a:pt x="274960" y="4881639"/>
                      <a:pt x="283095" y="4881639"/>
                    </a:cubicBezTo>
                    <a:cubicBezTo>
                      <a:pt x="291235" y="4881639"/>
                      <a:pt x="298138" y="4874734"/>
                      <a:pt x="298138" y="4866596"/>
                    </a:cubicBezTo>
                    <a:close/>
                    <a:moveTo>
                      <a:pt x="301589" y="4214895"/>
                    </a:moveTo>
                    <a:cubicBezTo>
                      <a:pt x="301589" y="4209964"/>
                      <a:pt x="297644" y="4206018"/>
                      <a:pt x="292713" y="4206018"/>
                    </a:cubicBezTo>
                    <a:cubicBezTo>
                      <a:pt x="287781" y="4206018"/>
                      <a:pt x="283836" y="4209964"/>
                      <a:pt x="283836" y="4214895"/>
                    </a:cubicBezTo>
                    <a:cubicBezTo>
                      <a:pt x="283836" y="4219827"/>
                      <a:pt x="287781" y="4223771"/>
                      <a:pt x="292713" y="4223771"/>
                    </a:cubicBezTo>
                    <a:cubicBezTo>
                      <a:pt x="297644" y="4223771"/>
                      <a:pt x="301589" y="4219827"/>
                      <a:pt x="301589" y="4214895"/>
                    </a:cubicBezTo>
                    <a:close/>
                    <a:moveTo>
                      <a:pt x="301838" y="5654403"/>
                    </a:moveTo>
                    <a:cubicBezTo>
                      <a:pt x="301838" y="5638871"/>
                      <a:pt x="289263" y="5626294"/>
                      <a:pt x="273727" y="5626294"/>
                    </a:cubicBezTo>
                    <a:cubicBezTo>
                      <a:pt x="258194" y="5626294"/>
                      <a:pt x="245619" y="5638871"/>
                      <a:pt x="245619" y="5654403"/>
                    </a:cubicBezTo>
                    <a:cubicBezTo>
                      <a:pt x="245619" y="5669937"/>
                      <a:pt x="258194" y="5682514"/>
                      <a:pt x="273727" y="5682514"/>
                    </a:cubicBezTo>
                    <a:cubicBezTo>
                      <a:pt x="289263" y="5682514"/>
                      <a:pt x="302085" y="5669937"/>
                      <a:pt x="301838" y="5654403"/>
                    </a:cubicBezTo>
                    <a:close/>
                    <a:moveTo>
                      <a:pt x="303810" y="5382432"/>
                    </a:moveTo>
                    <a:cubicBezTo>
                      <a:pt x="303810" y="5380213"/>
                      <a:pt x="302084" y="5378487"/>
                      <a:pt x="299865" y="5378487"/>
                    </a:cubicBezTo>
                    <a:cubicBezTo>
                      <a:pt x="297647" y="5378487"/>
                      <a:pt x="295920" y="5380213"/>
                      <a:pt x="295920" y="5382432"/>
                    </a:cubicBezTo>
                    <a:cubicBezTo>
                      <a:pt x="295920" y="5384650"/>
                      <a:pt x="297647" y="5386377"/>
                      <a:pt x="299865" y="5386377"/>
                    </a:cubicBezTo>
                    <a:cubicBezTo>
                      <a:pt x="302084" y="5386377"/>
                      <a:pt x="303810" y="5384650"/>
                      <a:pt x="303810" y="5382432"/>
                    </a:cubicBezTo>
                    <a:close/>
                    <a:moveTo>
                      <a:pt x="304548" y="3825304"/>
                    </a:moveTo>
                    <a:cubicBezTo>
                      <a:pt x="304548" y="3819635"/>
                      <a:pt x="299863" y="3814949"/>
                      <a:pt x="294191" y="3814949"/>
                    </a:cubicBezTo>
                    <a:cubicBezTo>
                      <a:pt x="288522" y="3814949"/>
                      <a:pt x="283836" y="3819635"/>
                      <a:pt x="283836" y="3825304"/>
                    </a:cubicBezTo>
                    <a:cubicBezTo>
                      <a:pt x="283836" y="3830976"/>
                      <a:pt x="288522" y="3835661"/>
                      <a:pt x="294191" y="3835661"/>
                    </a:cubicBezTo>
                    <a:cubicBezTo>
                      <a:pt x="299863" y="3835661"/>
                      <a:pt x="304302" y="3830976"/>
                      <a:pt x="304548" y="3825304"/>
                    </a:cubicBezTo>
                    <a:close/>
                    <a:moveTo>
                      <a:pt x="305537" y="6737610"/>
                    </a:moveTo>
                    <a:cubicBezTo>
                      <a:pt x="305537" y="6735884"/>
                      <a:pt x="304056" y="6734406"/>
                      <a:pt x="302329" y="6734406"/>
                    </a:cubicBezTo>
                    <a:cubicBezTo>
                      <a:pt x="300603" y="6734406"/>
                      <a:pt x="299125" y="6735884"/>
                      <a:pt x="299125" y="6737610"/>
                    </a:cubicBezTo>
                    <a:cubicBezTo>
                      <a:pt x="299125" y="6739091"/>
                      <a:pt x="300603" y="6740570"/>
                      <a:pt x="302329" y="6740570"/>
                    </a:cubicBezTo>
                    <a:cubicBezTo>
                      <a:pt x="304056" y="6740570"/>
                      <a:pt x="305537" y="6739337"/>
                      <a:pt x="305537" y="6737610"/>
                    </a:cubicBezTo>
                    <a:close/>
                    <a:moveTo>
                      <a:pt x="308496" y="2477887"/>
                    </a:moveTo>
                    <a:cubicBezTo>
                      <a:pt x="308496" y="2469997"/>
                      <a:pt x="302084" y="2463336"/>
                      <a:pt x="293948" y="2463336"/>
                    </a:cubicBezTo>
                    <a:cubicBezTo>
                      <a:pt x="285812" y="2463336"/>
                      <a:pt x="279399" y="2469747"/>
                      <a:pt x="279399" y="2477887"/>
                    </a:cubicBezTo>
                    <a:cubicBezTo>
                      <a:pt x="279399" y="2486023"/>
                      <a:pt x="285812" y="2492433"/>
                      <a:pt x="293948" y="2492433"/>
                    </a:cubicBezTo>
                    <a:cubicBezTo>
                      <a:pt x="302084" y="2492433"/>
                      <a:pt x="308496" y="2486023"/>
                      <a:pt x="308496" y="2477887"/>
                    </a:cubicBezTo>
                    <a:close/>
                    <a:moveTo>
                      <a:pt x="309728" y="6614324"/>
                    </a:moveTo>
                    <a:cubicBezTo>
                      <a:pt x="309728" y="6612843"/>
                      <a:pt x="308250" y="6611365"/>
                      <a:pt x="306524" y="6611365"/>
                    </a:cubicBezTo>
                    <a:cubicBezTo>
                      <a:pt x="305043" y="6611365"/>
                      <a:pt x="303565" y="6612597"/>
                      <a:pt x="303565" y="6614324"/>
                    </a:cubicBezTo>
                    <a:cubicBezTo>
                      <a:pt x="303565" y="6615802"/>
                      <a:pt x="304797" y="6617283"/>
                      <a:pt x="306524" y="6617283"/>
                    </a:cubicBezTo>
                    <a:cubicBezTo>
                      <a:pt x="308250" y="6617283"/>
                      <a:pt x="309481" y="6615802"/>
                      <a:pt x="309728" y="6614324"/>
                    </a:cubicBezTo>
                    <a:close/>
                    <a:moveTo>
                      <a:pt x="311456" y="4716926"/>
                    </a:moveTo>
                    <a:cubicBezTo>
                      <a:pt x="311456" y="4716678"/>
                      <a:pt x="311209" y="4716431"/>
                      <a:pt x="310960" y="4716431"/>
                    </a:cubicBezTo>
                    <a:cubicBezTo>
                      <a:pt x="310715" y="4716431"/>
                      <a:pt x="310469" y="4716678"/>
                      <a:pt x="310469" y="4716926"/>
                    </a:cubicBezTo>
                    <a:cubicBezTo>
                      <a:pt x="310469" y="4717172"/>
                      <a:pt x="310715" y="4717418"/>
                      <a:pt x="310960" y="4717418"/>
                    </a:cubicBezTo>
                    <a:cubicBezTo>
                      <a:pt x="311209" y="4717418"/>
                      <a:pt x="311209" y="4717172"/>
                      <a:pt x="311456" y="4716926"/>
                    </a:cubicBezTo>
                    <a:close/>
                    <a:moveTo>
                      <a:pt x="312931" y="6489805"/>
                    </a:moveTo>
                    <a:cubicBezTo>
                      <a:pt x="312931" y="6488818"/>
                      <a:pt x="312194" y="6488077"/>
                      <a:pt x="311207" y="6488077"/>
                    </a:cubicBezTo>
                    <a:cubicBezTo>
                      <a:pt x="310220" y="6488077"/>
                      <a:pt x="309480" y="6488818"/>
                      <a:pt x="309480" y="6489805"/>
                    </a:cubicBezTo>
                    <a:cubicBezTo>
                      <a:pt x="309480" y="6490791"/>
                      <a:pt x="310220" y="6491528"/>
                      <a:pt x="311207" y="6491528"/>
                    </a:cubicBezTo>
                    <a:cubicBezTo>
                      <a:pt x="312194" y="6491528"/>
                      <a:pt x="312931" y="6490791"/>
                      <a:pt x="312931" y="6489805"/>
                    </a:cubicBezTo>
                    <a:close/>
                    <a:moveTo>
                      <a:pt x="316384" y="219528"/>
                    </a:moveTo>
                    <a:cubicBezTo>
                      <a:pt x="316384" y="210406"/>
                      <a:pt x="308987" y="202763"/>
                      <a:pt x="299616" y="202763"/>
                    </a:cubicBezTo>
                    <a:cubicBezTo>
                      <a:pt x="290494" y="202763"/>
                      <a:pt x="282850" y="210158"/>
                      <a:pt x="282850" y="219528"/>
                    </a:cubicBezTo>
                    <a:cubicBezTo>
                      <a:pt x="282850" y="228650"/>
                      <a:pt x="290248" y="236295"/>
                      <a:pt x="299616" y="236295"/>
                    </a:cubicBezTo>
                    <a:cubicBezTo>
                      <a:pt x="308987" y="236295"/>
                      <a:pt x="316384" y="228650"/>
                      <a:pt x="316384" y="219528"/>
                    </a:cubicBezTo>
                    <a:close/>
                    <a:moveTo>
                      <a:pt x="316881" y="3133031"/>
                    </a:moveTo>
                    <a:cubicBezTo>
                      <a:pt x="316881" y="3120208"/>
                      <a:pt x="306524" y="3109605"/>
                      <a:pt x="293456" y="3109605"/>
                    </a:cubicBezTo>
                    <a:cubicBezTo>
                      <a:pt x="280634" y="3109605"/>
                      <a:pt x="270031" y="3120208"/>
                      <a:pt x="270031" y="3133031"/>
                    </a:cubicBezTo>
                    <a:cubicBezTo>
                      <a:pt x="270031" y="3145853"/>
                      <a:pt x="280634" y="3156457"/>
                      <a:pt x="293456" y="3156457"/>
                    </a:cubicBezTo>
                    <a:cubicBezTo>
                      <a:pt x="306524" y="3156457"/>
                      <a:pt x="316881" y="3145853"/>
                      <a:pt x="316881" y="3133031"/>
                    </a:cubicBezTo>
                    <a:close/>
                    <a:moveTo>
                      <a:pt x="319838" y="2043916"/>
                    </a:moveTo>
                    <a:cubicBezTo>
                      <a:pt x="319838" y="2041944"/>
                      <a:pt x="318360" y="2040465"/>
                      <a:pt x="316387" y="2040465"/>
                    </a:cubicBezTo>
                    <a:cubicBezTo>
                      <a:pt x="314414" y="2040465"/>
                      <a:pt x="312688" y="2041944"/>
                      <a:pt x="312688" y="2043916"/>
                    </a:cubicBezTo>
                    <a:cubicBezTo>
                      <a:pt x="312688" y="2046138"/>
                      <a:pt x="314414" y="2047617"/>
                      <a:pt x="316387" y="2047617"/>
                    </a:cubicBezTo>
                    <a:cubicBezTo>
                      <a:pt x="318360" y="2047617"/>
                      <a:pt x="320087" y="2046138"/>
                      <a:pt x="319838" y="2043916"/>
                    </a:cubicBezTo>
                    <a:close/>
                    <a:moveTo>
                      <a:pt x="320083" y="5243609"/>
                    </a:moveTo>
                    <a:cubicBezTo>
                      <a:pt x="320083" y="5241391"/>
                      <a:pt x="318110" y="5239417"/>
                      <a:pt x="315892" y="5239417"/>
                    </a:cubicBezTo>
                    <a:cubicBezTo>
                      <a:pt x="313673" y="5239417"/>
                      <a:pt x="311701" y="5241391"/>
                      <a:pt x="311701" y="5243609"/>
                    </a:cubicBezTo>
                    <a:cubicBezTo>
                      <a:pt x="311701" y="5245827"/>
                      <a:pt x="313673" y="5247800"/>
                      <a:pt x="315892" y="5247800"/>
                    </a:cubicBezTo>
                    <a:cubicBezTo>
                      <a:pt x="318110" y="5247800"/>
                      <a:pt x="320083" y="5246076"/>
                      <a:pt x="320083" y="5243609"/>
                    </a:cubicBezTo>
                    <a:close/>
                    <a:moveTo>
                      <a:pt x="320329" y="1132234"/>
                    </a:moveTo>
                    <a:cubicBezTo>
                      <a:pt x="320329" y="1124348"/>
                      <a:pt x="313919" y="1118173"/>
                      <a:pt x="306275" y="1118173"/>
                    </a:cubicBezTo>
                    <a:cubicBezTo>
                      <a:pt x="298384" y="1118173"/>
                      <a:pt x="292221" y="1124597"/>
                      <a:pt x="292221" y="1132234"/>
                    </a:cubicBezTo>
                    <a:cubicBezTo>
                      <a:pt x="292221" y="1140123"/>
                      <a:pt x="298629" y="1146289"/>
                      <a:pt x="306275" y="1146289"/>
                    </a:cubicBezTo>
                    <a:cubicBezTo>
                      <a:pt x="314165" y="1146289"/>
                      <a:pt x="320329" y="1139877"/>
                      <a:pt x="320329" y="1132234"/>
                    </a:cubicBezTo>
                    <a:close/>
                    <a:moveTo>
                      <a:pt x="320575" y="342541"/>
                    </a:moveTo>
                    <a:cubicBezTo>
                      <a:pt x="320575" y="333416"/>
                      <a:pt x="313178" y="326020"/>
                      <a:pt x="304056" y="326020"/>
                    </a:cubicBezTo>
                    <a:cubicBezTo>
                      <a:pt x="294934" y="326020"/>
                      <a:pt x="287535" y="333416"/>
                      <a:pt x="287535" y="342541"/>
                    </a:cubicBezTo>
                    <a:cubicBezTo>
                      <a:pt x="287535" y="351663"/>
                      <a:pt x="294934" y="359061"/>
                      <a:pt x="304056" y="359061"/>
                    </a:cubicBezTo>
                    <a:cubicBezTo>
                      <a:pt x="313178" y="359061"/>
                      <a:pt x="320575" y="351909"/>
                      <a:pt x="320575" y="342541"/>
                    </a:cubicBezTo>
                    <a:close/>
                    <a:moveTo>
                      <a:pt x="322797" y="2742704"/>
                    </a:moveTo>
                    <a:cubicBezTo>
                      <a:pt x="322797" y="2725442"/>
                      <a:pt x="308742" y="2711633"/>
                      <a:pt x="291727" y="2711633"/>
                    </a:cubicBezTo>
                    <a:cubicBezTo>
                      <a:pt x="274467" y="2711633"/>
                      <a:pt x="260660" y="2725688"/>
                      <a:pt x="260660" y="2742704"/>
                    </a:cubicBezTo>
                    <a:cubicBezTo>
                      <a:pt x="260660" y="2759966"/>
                      <a:pt x="274714" y="2773773"/>
                      <a:pt x="291727" y="2773773"/>
                    </a:cubicBezTo>
                    <a:cubicBezTo>
                      <a:pt x="308742" y="2773773"/>
                      <a:pt x="322797" y="2759966"/>
                      <a:pt x="322797" y="2742704"/>
                    </a:cubicBezTo>
                    <a:close/>
                    <a:moveTo>
                      <a:pt x="325015" y="466786"/>
                    </a:moveTo>
                    <a:cubicBezTo>
                      <a:pt x="325015" y="457909"/>
                      <a:pt x="317865" y="450759"/>
                      <a:pt x="308988" y="450759"/>
                    </a:cubicBezTo>
                    <a:cubicBezTo>
                      <a:pt x="300111" y="450759"/>
                      <a:pt x="292962" y="457909"/>
                      <a:pt x="292962" y="466786"/>
                    </a:cubicBezTo>
                    <a:cubicBezTo>
                      <a:pt x="292962" y="475661"/>
                      <a:pt x="300111" y="482813"/>
                      <a:pt x="308988" y="482813"/>
                    </a:cubicBezTo>
                    <a:cubicBezTo>
                      <a:pt x="317865" y="482813"/>
                      <a:pt x="325015" y="475661"/>
                      <a:pt x="325015" y="466786"/>
                    </a:cubicBezTo>
                    <a:close/>
                    <a:moveTo>
                      <a:pt x="326495" y="3938730"/>
                    </a:moveTo>
                    <a:cubicBezTo>
                      <a:pt x="326495" y="3934293"/>
                      <a:pt x="323044" y="3930839"/>
                      <a:pt x="318605" y="3930839"/>
                    </a:cubicBezTo>
                    <a:cubicBezTo>
                      <a:pt x="314165" y="3930839"/>
                      <a:pt x="310715" y="3934293"/>
                      <a:pt x="310715" y="3938730"/>
                    </a:cubicBezTo>
                    <a:cubicBezTo>
                      <a:pt x="310715" y="3942921"/>
                      <a:pt x="314165" y="3946620"/>
                      <a:pt x="318605" y="3946620"/>
                    </a:cubicBezTo>
                    <a:cubicBezTo>
                      <a:pt x="322796" y="3946620"/>
                      <a:pt x="326495" y="3943170"/>
                      <a:pt x="326495" y="3938730"/>
                    </a:cubicBezTo>
                    <a:close/>
                    <a:moveTo>
                      <a:pt x="329700" y="1264369"/>
                    </a:moveTo>
                    <a:cubicBezTo>
                      <a:pt x="329700" y="1256976"/>
                      <a:pt x="323782" y="1251062"/>
                      <a:pt x="316387" y="1251062"/>
                    </a:cubicBezTo>
                    <a:cubicBezTo>
                      <a:pt x="308988" y="1251062"/>
                      <a:pt x="303070" y="1256976"/>
                      <a:pt x="303070" y="1264369"/>
                    </a:cubicBezTo>
                    <a:cubicBezTo>
                      <a:pt x="303070" y="1271773"/>
                      <a:pt x="308988" y="1277697"/>
                      <a:pt x="316387" y="1277697"/>
                    </a:cubicBezTo>
                    <a:cubicBezTo>
                      <a:pt x="323536" y="1277697"/>
                      <a:pt x="329700" y="1271773"/>
                      <a:pt x="329700" y="1264369"/>
                    </a:cubicBezTo>
                    <a:close/>
                    <a:moveTo>
                      <a:pt x="329949" y="592023"/>
                    </a:moveTo>
                    <a:cubicBezTo>
                      <a:pt x="329949" y="583392"/>
                      <a:pt x="323044" y="576489"/>
                      <a:pt x="314414" y="576489"/>
                    </a:cubicBezTo>
                    <a:cubicBezTo>
                      <a:pt x="305784" y="576489"/>
                      <a:pt x="298879" y="583392"/>
                      <a:pt x="298879" y="592023"/>
                    </a:cubicBezTo>
                    <a:cubicBezTo>
                      <a:pt x="298879" y="600651"/>
                      <a:pt x="305784" y="607554"/>
                      <a:pt x="314414" y="607554"/>
                    </a:cubicBezTo>
                    <a:cubicBezTo>
                      <a:pt x="322797" y="607554"/>
                      <a:pt x="329949" y="600651"/>
                      <a:pt x="329949" y="592023"/>
                    </a:cubicBezTo>
                    <a:close/>
                    <a:moveTo>
                      <a:pt x="335372" y="718044"/>
                    </a:moveTo>
                    <a:cubicBezTo>
                      <a:pt x="335372" y="709663"/>
                      <a:pt x="328714" y="703010"/>
                      <a:pt x="320329" y="703010"/>
                    </a:cubicBezTo>
                    <a:cubicBezTo>
                      <a:pt x="311947" y="703010"/>
                      <a:pt x="305289" y="709663"/>
                      <a:pt x="305289" y="718044"/>
                    </a:cubicBezTo>
                    <a:cubicBezTo>
                      <a:pt x="305289" y="726420"/>
                      <a:pt x="311947" y="733087"/>
                      <a:pt x="320329" y="733087"/>
                    </a:cubicBezTo>
                    <a:cubicBezTo>
                      <a:pt x="328714" y="733087"/>
                      <a:pt x="335372" y="726420"/>
                      <a:pt x="335372" y="718044"/>
                    </a:cubicBezTo>
                    <a:close/>
                    <a:moveTo>
                      <a:pt x="335866" y="5102568"/>
                    </a:moveTo>
                    <a:cubicBezTo>
                      <a:pt x="335866" y="5101336"/>
                      <a:pt x="334878" y="5100349"/>
                      <a:pt x="333646" y="5100349"/>
                    </a:cubicBezTo>
                    <a:cubicBezTo>
                      <a:pt x="332413" y="5100349"/>
                      <a:pt x="331428" y="5101336"/>
                      <a:pt x="331428" y="5102568"/>
                    </a:cubicBezTo>
                    <a:cubicBezTo>
                      <a:pt x="331428" y="5103800"/>
                      <a:pt x="332413" y="5104786"/>
                      <a:pt x="333646" y="5104786"/>
                    </a:cubicBezTo>
                    <a:cubicBezTo>
                      <a:pt x="334878" y="5104786"/>
                      <a:pt x="335866" y="5103800"/>
                      <a:pt x="335866" y="5102568"/>
                    </a:cubicBezTo>
                    <a:close/>
                    <a:moveTo>
                      <a:pt x="337591" y="6238543"/>
                    </a:moveTo>
                    <a:cubicBezTo>
                      <a:pt x="337591" y="6229911"/>
                      <a:pt x="330687" y="6223008"/>
                      <a:pt x="322057" y="6223008"/>
                    </a:cubicBezTo>
                    <a:cubicBezTo>
                      <a:pt x="313426" y="6223008"/>
                      <a:pt x="306521" y="6229911"/>
                      <a:pt x="306521" y="6238543"/>
                    </a:cubicBezTo>
                    <a:cubicBezTo>
                      <a:pt x="306521" y="6247171"/>
                      <a:pt x="313426" y="6254075"/>
                      <a:pt x="322057" y="6254075"/>
                    </a:cubicBezTo>
                    <a:cubicBezTo>
                      <a:pt x="330687" y="6254075"/>
                      <a:pt x="337591" y="6246925"/>
                      <a:pt x="337591" y="6238543"/>
                    </a:cubicBezTo>
                    <a:close/>
                    <a:moveTo>
                      <a:pt x="338577" y="4479964"/>
                    </a:moveTo>
                    <a:cubicBezTo>
                      <a:pt x="338577" y="4456293"/>
                      <a:pt x="319097" y="4436813"/>
                      <a:pt x="295426" y="4436813"/>
                    </a:cubicBezTo>
                    <a:cubicBezTo>
                      <a:pt x="271754" y="4436813"/>
                      <a:pt x="252274" y="4456293"/>
                      <a:pt x="252274" y="4479964"/>
                    </a:cubicBezTo>
                    <a:cubicBezTo>
                      <a:pt x="252274" y="4503635"/>
                      <a:pt x="271505" y="4523116"/>
                      <a:pt x="295426" y="4523116"/>
                    </a:cubicBezTo>
                    <a:cubicBezTo>
                      <a:pt x="319343" y="4523116"/>
                      <a:pt x="338577" y="4503635"/>
                      <a:pt x="338577" y="4479964"/>
                    </a:cubicBezTo>
                    <a:close/>
                    <a:moveTo>
                      <a:pt x="339317" y="6364789"/>
                    </a:moveTo>
                    <a:cubicBezTo>
                      <a:pt x="339317" y="6352216"/>
                      <a:pt x="328959" y="6341858"/>
                      <a:pt x="316384" y="6341858"/>
                    </a:cubicBezTo>
                    <a:cubicBezTo>
                      <a:pt x="303810" y="6341858"/>
                      <a:pt x="293453" y="6352216"/>
                      <a:pt x="293453" y="6364789"/>
                    </a:cubicBezTo>
                    <a:cubicBezTo>
                      <a:pt x="293453" y="6377365"/>
                      <a:pt x="303810" y="6387723"/>
                      <a:pt x="316384" y="6387723"/>
                    </a:cubicBezTo>
                    <a:cubicBezTo>
                      <a:pt x="329206" y="6387723"/>
                      <a:pt x="339317" y="6377365"/>
                      <a:pt x="339317" y="6364789"/>
                    </a:cubicBezTo>
                    <a:close/>
                    <a:moveTo>
                      <a:pt x="339812" y="5982350"/>
                    </a:moveTo>
                    <a:cubicBezTo>
                      <a:pt x="339812" y="5979885"/>
                      <a:pt x="337840" y="5978159"/>
                      <a:pt x="335619" y="5978159"/>
                    </a:cubicBezTo>
                    <a:cubicBezTo>
                      <a:pt x="333154" y="5978159"/>
                      <a:pt x="331428" y="5980132"/>
                      <a:pt x="331428" y="5982350"/>
                    </a:cubicBezTo>
                    <a:cubicBezTo>
                      <a:pt x="331428" y="5984571"/>
                      <a:pt x="333400" y="5986541"/>
                      <a:pt x="335619" y="5986541"/>
                    </a:cubicBezTo>
                    <a:cubicBezTo>
                      <a:pt x="337840" y="5986541"/>
                      <a:pt x="339812" y="5984817"/>
                      <a:pt x="339812" y="5982350"/>
                    </a:cubicBezTo>
                    <a:close/>
                    <a:moveTo>
                      <a:pt x="341043" y="845514"/>
                    </a:moveTo>
                    <a:cubicBezTo>
                      <a:pt x="341043" y="837376"/>
                      <a:pt x="334385" y="830965"/>
                      <a:pt x="326496" y="830965"/>
                    </a:cubicBezTo>
                    <a:cubicBezTo>
                      <a:pt x="318359" y="830965"/>
                      <a:pt x="311947" y="837625"/>
                      <a:pt x="311947" y="845514"/>
                    </a:cubicBezTo>
                    <a:cubicBezTo>
                      <a:pt x="311947" y="853641"/>
                      <a:pt x="318605" y="860054"/>
                      <a:pt x="326496" y="860054"/>
                    </a:cubicBezTo>
                    <a:cubicBezTo>
                      <a:pt x="334631" y="860054"/>
                      <a:pt x="341043" y="853641"/>
                      <a:pt x="341043" y="845514"/>
                    </a:cubicBezTo>
                    <a:close/>
                    <a:moveTo>
                      <a:pt x="342275" y="1398005"/>
                    </a:moveTo>
                    <a:cubicBezTo>
                      <a:pt x="342275" y="1390109"/>
                      <a:pt x="335863" y="1383457"/>
                      <a:pt x="327728" y="1383457"/>
                    </a:cubicBezTo>
                    <a:cubicBezTo>
                      <a:pt x="319837" y="1383457"/>
                      <a:pt x="313179" y="1389863"/>
                      <a:pt x="313179" y="1398005"/>
                    </a:cubicBezTo>
                    <a:cubicBezTo>
                      <a:pt x="313179" y="1405894"/>
                      <a:pt x="319591" y="1412553"/>
                      <a:pt x="327728" y="1412553"/>
                    </a:cubicBezTo>
                    <a:cubicBezTo>
                      <a:pt x="335863" y="1412553"/>
                      <a:pt x="342275" y="1406139"/>
                      <a:pt x="342275" y="1398005"/>
                    </a:cubicBezTo>
                    <a:close/>
                    <a:moveTo>
                      <a:pt x="343508" y="3019357"/>
                    </a:moveTo>
                    <a:cubicBezTo>
                      <a:pt x="343508" y="3005302"/>
                      <a:pt x="331918" y="2993712"/>
                      <a:pt x="317865" y="2993712"/>
                    </a:cubicBezTo>
                    <a:cubicBezTo>
                      <a:pt x="303810" y="2993712"/>
                      <a:pt x="292221" y="3005302"/>
                      <a:pt x="292221" y="3019357"/>
                    </a:cubicBezTo>
                    <a:cubicBezTo>
                      <a:pt x="292221" y="3033658"/>
                      <a:pt x="303810" y="3045003"/>
                      <a:pt x="317865" y="3045003"/>
                    </a:cubicBezTo>
                    <a:cubicBezTo>
                      <a:pt x="331918" y="3045003"/>
                      <a:pt x="343262" y="3033411"/>
                      <a:pt x="343508" y="3019357"/>
                    </a:cubicBezTo>
                    <a:close/>
                    <a:moveTo>
                      <a:pt x="343755" y="2192614"/>
                    </a:moveTo>
                    <a:cubicBezTo>
                      <a:pt x="343755" y="2191628"/>
                      <a:pt x="343017" y="2190887"/>
                      <a:pt x="342031" y="2190887"/>
                    </a:cubicBezTo>
                    <a:cubicBezTo>
                      <a:pt x="341044" y="2190887"/>
                      <a:pt x="340304" y="2191628"/>
                      <a:pt x="340304" y="2192614"/>
                    </a:cubicBezTo>
                    <a:cubicBezTo>
                      <a:pt x="340304" y="2193601"/>
                      <a:pt x="341044" y="2194339"/>
                      <a:pt x="342031" y="2194339"/>
                    </a:cubicBezTo>
                    <a:cubicBezTo>
                      <a:pt x="342769" y="2194339"/>
                      <a:pt x="343509" y="2193601"/>
                      <a:pt x="343755" y="2192614"/>
                    </a:cubicBezTo>
                    <a:close/>
                    <a:moveTo>
                      <a:pt x="344003" y="6111063"/>
                    </a:moveTo>
                    <a:cubicBezTo>
                      <a:pt x="344003" y="6102433"/>
                      <a:pt x="337099" y="6095528"/>
                      <a:pt x="328469" y="6095528"/>
                    </a:cubicBezTo>
                    <a:cubicBezTo>
                      <a:pt x="319838" y="6095528"/>
                      <a:pt x="312934" y="6102433"/>
                      <a:pt x="312934" y="6111063"/>
                    </a:cubicBezTo>
                    <a:cubicBezTo>
                      <a:pt x="312934" y="6119694"/>
                      <a:pt x="319838" y="6126599"/>
                      <a:pt x="328469" y="6126599"/>
                    </a:cubicBezTo>
                    <a:cubicBezTo>
                      <a:pt x="337099" y="6126599"/>
                      <a:pt x="344003" y="6119694"/>
                      <a:pt x="344003" y="6111063"/>
                    </a:cubicBezTo>
                    <a:close/>
                    <a:moveTo>
                      <a:pt x="347946" y="974196"/>
                    </a:moveTo>
                    <a:cubicBezTo>
                      <a:pt x="347946" y="966553"/>
                      <a:pt x="341782" y="960148"/>
                      <a:pt x="333892" y="960148"/>
                    </a:cubicBezTo>
                    <a:cubicBezTo>
                      <a:pt x="326250" y="960148"/>
                      <a:pt x="319838" y="966307"/>
                      <a:pt x="319838" y="974196"/>
                    </a:cubicBezTo>
                    <a:cubicBezTo>
                      <a:pt x="319838" y="981843"/>
                      <a:pt x="326001" y="988245"/>
                      <a:pt x="333892" y="988245"/>
                    </a:cubicBezTo>
                    <a:cubicBezTo>
                      <a:pt x="341536" y="988245"/>
                      <a:pt x="347946" y="982090"/>
                      <a:pt x="347946" y="974196"/>
                    </a:cubicBezTo>
                    <a:close/>
                    <a:moveTo>
                      <a:pt x="348440" y="4321662"/>
                    </a:moveTo>
                    <a:cubicBezTo>
                      <a:pt x="348440" y="4315992"/>
                      <a:pt x="343754" y="4311307"/>
                      <a:pt x="338085" y="4311307"/>
                    </a:cubicBezTo>
                    <a:cubicBezTo>
                      <a:pt x="332413" y="4311307"/>
                      <a:pt x="327728" y="4315992"/>
                      <a:pt x="327728" y="4321662"/>
                    </a:cubicBezTo>
                    <a:cubicBezTo>
                      <a:pt x="327728" y="4327334"/>
                      <a:pt x="332413" y="4332020"/>
                      <a:pt x="338085" y="4332020"/>
                    </a:cubicBezTo>
                    <a:cubicBezTo>
                      <a:pt x="343754" y="4332020"/>
                      <a:pt x="348440" y="4327334"/>
                      <a:pt x="348440" y="4321662"/>
                    </a:cubicBezTo>
                    <a:close/>
                    <a:moveTo>
                      <a:pt x="353125" y="1533605"/>
                    </a:moveTo>
                    <a:cubicBezTo>
                      <a:pt x="353125" y="1526705"/>
                      <a:pt x="347453" y="1521031"/>
                      <a:pt x="340550" y="1521031"/>
                    </a:cubicBezTo>
                    <a:cubicBezTo>
                      <a:pt x="333646" y="1521031"/>
                      <a:pt x="327973" y="1526705"/>
                      <a:pt x="327973" y="1533605"/>
                    </a:cubicBezTo>
                    <a:cubicBezTo>
                      <a:pt x="327973" y="1540510"/>
                      <a:pt x="333646" y="1546178"/>
                      <a:pt x="340550" y="1546178"/>
                    </a:cubicBezTo>
                    <a:cubicBezTo>
                      <a:pt x="347453" y="1546178"/>
                      <a:pt x="353125" y="1540510"/>
                      <a:pt x="353125" y="1533605"/>
                    </a:cubicBezTo>
                    <a:close/>
                    <a:moveTo>
                      <a:pt x="355344" y="4050431"/>
                    </a:moveTo>
                    <a:cubicBezTo>
                      <a:pt x="355344" y="4047223"/>
                      <a:pt x="352880" y="4044759"/>
                      <a:pt x="349675" y="4044759"/>
                    </a:cubicBezTo>
                    <a:cubicBezTo>
                      <a:pt x="346468" y="4044759"/>
                      <a:pt x="344003" y="4047223"/>
                      <a:pt x="344003" y="4050431"/>
                    </a:cubicBezTo>
                    <a:cubicBezTo>
                      <a:pt x="344003" y="4053636"/>
                      <a:pt x="346715" y="4056100"/>
                      <a:pt x="349675" y="4056100"/>
                    </a:cubicBezTo>
                    <a:cubicBezTo>
                      <a:pt x="352880" y="4056100"/>
                      <a:pt x="355344" y="4053636"/>
                      <a:pt x="355344" y="4050431"/>
                    </a:cubicBezTo>
                    <a:close/>
                    <a:moveTo>
                      <a:pt x="355591" y="73339"/>
                    </a:moveTo>
                    <a:cubicBezTo>
                      <a:pt x="355591" y="63724"/>
                      <a:pt x="347700" y="56081"/>
                      <a:pt x="338329" y="56081"/>
                    </a:cubicBezTo>
                    <a:cubicBezTo>
                      <a:pt x="328714" y="56081"/>
                      <a:pt x="321070" y="63970"/>
                      <a:pt x="321070" y="73339"/>
                    </a:cubicBezTo>
                    <a:cubicBezTo>
                      <a:pt x="321070" y="82954"/>
                      <a:pt x="328960" y="90598"/>
                      <a:pt x="338329" y="90598"/>
                    </a:cubicBezTo>
                    <a:cubicBezTo>
                      <a:pt x="347700" y="90598"/>
                      <a:pt x="355344" y="82954"/>
                      <a:pt x="355591" y="73339"/>
                    </a:cubicBezTo>
                    <a:close/>
                    <a:moveTo>
                      <a:pt x="362742" y="2377280"/>
                    </a:moveTo>
                    <a:cubicBezTo>
                      <a:pt x="362742" y="2370882"/>
                      <a:pt x="357562" y="2365699"/>
                      <a:pt x="351153" y="2365699"/>
                    </a:cubicBezTo>
                    <a:cubicBezTo>
                      <a:pt x="344740" y="2365699"/>
                      <a:pt x="339563" y="2370882"/>
                      <a:pt x="339563" y="2377280"/>
                    </a:cubicBezTo>
                    <a:cubicBezTo>
                      <a:pt x="339563" y="2383698"/>
                      <a:pt x="344740" y="2388880"/>
                      <a:pt x="351153" y="2388880"/>
                    </a:cubicBezTo>
                    <a:cubicBezTo>
                      <a:pt x="357562" y="2388880"/>
                      <a:pt x="362742" y="2383698"/>
                      <a:pt x="362742" y="2377280"/>
                    </a:cubicBezTo>
                    <a:close/>
                    <a:moveTo>
                      <a:pt x="366193" y="2635935"/>
                    </a:moveTo>
                    <a:cubicBezTo>
                      <a:pt x="366193" y="2619659"/>
                      <a:pt x="352877" y="2606591"/>
                      <a:pt x="336850" y="2606591"/>
                    </a:cubicBezTo>
                    <a:cubicBezTo>
                      <a:pt x="320575" y="2606591"/>
                      <a:pt x="307507" y="2619659"/>
                      <a:pt x="307507" y="2635935"/>
                    </a:cubicBezTo>
                    <a:cubicBezTo>
                      <a:pt x="307507" y="2652209"/>
                      <a:pt x="320575" y="2665279"/>
                      <a:pt x="336850" y="2665279"/>
                    </a:cubicBezTo>
                    <a:cubicBezTo>
                      <a:pt x="353123" y="2665279"/>
                      <a:pt x="366193" y="2652209"/>
                      <a:pt x="366193" y="2635935"/>
                    </a:cubicBezTo>
                    <a:close/>
                    <a:moveTo>
                      <a:pt x="366440" y="1671409"/>
                    </a:moveTo>
                    <a:cubicBezTo>
                      <a:pt x="366440" y="1664760"/>
                      <a:pt x="361016" y="1659583"/>
                      <a:pt x="354604" y="1659583"/>
                    </a:cubicBezTo>
                    <a:cubicBezTo>
                      <a:pt x="347945" y="1659583"/>
                      <a:pt x="342769" y="1665007"/>
                      <a:pt x="342769" y="1671409"/>
                    </a:cubicBezTo>
                    <a:cubicBezTo>
                      <a:pt x="342769" y="1678075"/>
                      <a:pt x="348194" y="1683257"/>
                      <a:pt x="354604" y="1683257"/>
                    </a:cubicBezTo>
                    <a:cubicBezTo>
                      <a:pt x="361016" y="1683257"/>
                      <a:pt x="366194" y="1678075"/>
                      <a:pt x="366440" y="1671409"/>
                    </a:cubicBezTo>
                    <a:close/>
                    <a:moveTo>
                      <a:pt x="368164" y="4958813"/>
                    </a:moveTo>
                    <a:cubicBezTo>
                      <a:pt x="368164" y="4950924"/>
                      <a:pt x="362000" y="4944759"/>
                      <a:pt x="354110" y="4944759"/>
                    </a:cubicBezTo>
                    <a:cubicBezTo>
                      <a:pt x="346219" y="4944759"/>
                      <a:pt x="340056" y="4951169"/>
                      <a:pt x="340056" y="4958813"/>
                    </a:cubicBezTo>
                    <a:cubicBezTo>
                      <a:pt x="340056" y="4966459"/>
                      <a:pt x="346468" y="4972868"/>
                      <a:pt x="354110" y="4972868"/>
                    </a:cubicBezTo>
                    <a:cubicBezTo>
                      <a:pt x="362000" y="4972868"/>
                      <a:pt x="368164" y="4966459"/>
                      <a:pt x="368164" y="4958813"/>
                    </a:cubicBezTo>
                    <a:close/>
                    <a:moveTo>
                      <a:pt x="373838" y="1811499"/>
                    </a:moveTo>
                    <a:cubicBezTo>
                      <a:pt x="373838" y="1809773"/>
                      <a:pt x="372606" y="1808539"/>
                      <a:pt x="370879" y="1808539"/>
                    </a:cubicBezTo>
                    <a:cubicBezTo>
                      <a:pt x="369153" y="1808539"/>
                      <a:pt x="367921" y="1810023"/>
                      <a:pt x="367921" y="1811499"/>
                    </a:cubicBezTo>
                    <a:cubicBezTo>
                      <a:pt x="367921" y="1813237"/>
                      <a:pt x="369398" y="1814461"/>
                      <a:pt x="370879" y="1814461"/>
                    </a:cubicBezTo>
                    <a:cubicBezTo>
                      <a:pt x="372360" y="1814461"/>
                      <a:pt x="373838" y="1813237"/>
                      <a:pt x="373838" y="1811499"/>
                    </a:cubicBezTo>
                    <a:close/>
                    <a:moveTo>
                      <a:pt x="374084" y="5596459"/>
                    </a:moveTo>
                    <a:cubicBezTo>
                      <a:pt x="374084" y="5595721"/>
                      <a:pt x="373592" y="5595227"/>
                      <a:pt x="372852" y="5595227"/>
                    </a:cubicBezTo>
                    <a:cubicBezTo>
                      <a:pt x="372111" y="5595227"/>
                      <a:pt x="371619" y="5595721"/>
                      <a:pt x="371619" y="5596459"/>
                    </a:cubicBezTo>
                    <a:cubicBezTo>
                      <a:pt x="371619" y="5597200"/>
                      <a:pt x="372111" y="5597695"/>
                      <a:pt x="372852" y="5597695"/>
                    </a:cubicBezTo>
                    <a:cubicBezTo>
                      <a:pt x="373346" y="5597695"/>
                      <a:pt x="373837" y="5597200"/>
                      <a:pt x="374084" y="5596459"/>
                    </a:cubicBezTo>
                    <a:close/>
                    <a:moveTo>
                      <a:pt x="376550" y="2907656"/>
                    </a:moveTo>
                    <a:cubicBezTo>
                      <a:pt x="376550" y="2892368"/>
                      <a:pt x="364221" y="2880037"/>
                      <a:pt x="348934" y="2880037"/>
                    </a:cubicBezTo>
                    <a:cubicBezTo>
                      <a:pt x="333648" y="2880037"/>
                      <a:pt x="321318" y="2892368"/>
                      <a:pt x="321318" y="2907656"/>
                    </a:cubicBezTo>
                    <a:cubicBezTo>
                      <a:pt x="321318" y="2922944"/>
                      <a:pt x="333648" y="2935272"/>
                      <a:pt x="348934" y="2935272"/>
                    </a:cubicBezTo>
                    <a:cubicBezTo>
                      <a:pt x="364221" y="2935272"/>
                      <a:pt x="376550" y="2922944"/>
                      <a:pt x="376550" y="2907656"/>
                    </a:cubicBezTo>
                    <a:close/>
                    <a:moveTo>
                      <a:pt x="377537" y="5859802"/>
                    </a:moveTo>
                    <a:cubicBezTo>
                      <a:pt x="377537" y="5846240"/>
                      <a:pt x="366688" y="5835391"/>
                      <a:pt x="353126" y="5835391"/>
                    </a:cubicBezTo>
                    <a:cubicBezTo>
                      <a:pt x="339563" y="5835391"/>
                      <a:pt x="328714" y="5846240"/>
                      <a:pt x="328714" y="5859802"/>
                    </a:cubicBezTo>
                    <a:cubicBezTo>
                      <a:pt x="328714" y="5873362"/>
                      <a:pt x="339563" y="5884211"/>
                      <a:pt x="353126" y="5884211"/>
                    </a:cubicBezTo>
                    <a:cubicBezTo>
                      <a:pt x="366440" y="5884211"/>
                      <a:pt x="377537" y="5873362"/>
                      <a:pt x="377537" y="5859802"/>
                    </a:cubicBezTo>
                    <a:close/>
                    <a:moveTo>
                      <a:pt x="378523" y="4812349"/>
                    </a:moveTo>
                    <a:cubicBezTo>
                      <a:pt x="378523" y="4811853"/>
                      <a:pt x="378275" y="4811608"/>
                      <a:pt x="377783" y="4811608"/>
                    </a:cubicBezTo>
                    <a:cubicBezTo>
                      <a:pt x="377288" y="4811608"/>
                      <a:pt x="377043" y="4811853"/>
                      <a:pt x="377043" y="4812349"/>
                    </a:cubicBezTo>
                    <a:cubicBezTo>
                      <a:pt x="377043" y="4812840"/>
                      <a:pt x="377537" y="4813089"/>
                      <a:pt x="377783" y="4813089"/>
                    </a:cubicBezTo>
                    <a:cubicBezTo>
                      <a:pt x="378275" y="4813089"/>
                      <a:pt x="378523" y="4812840"/>
                      <a:pt x="378523" y="4812349"/>
                    </a:cubicBezTo>
                    <a:close/>
                    <a:moveTo>
                      <a:pt x="387646" y="5462073"/>
                    </a:moveTo>
                    <a:cubicBezTo>
                      <a:pt x="387646" y="5460100"/>
                      <a:pt x="385919" y="5458622"/>
                      <a:pt x="384193" y="5458622"/>
                    </a:cubicBezTo>
                    <a:cubicBezTo>
                      <a:pt x="382220" y="5458622"/>
                      <a:pt x="380743" y="5460100"/>
                      <a:pt x="380743" y="5462073"/>
                    </a:cubicBezTo>
                    <a:cubicBezTo>
                      <a:pt x="380743" y="5464049"/>
                      <a:pt x="382469" y="5465527"/>
                      <a:pt x="384193" y="5465527"/>
                    </a:cubicBezTo>
                    <a:cubicBezTo>
                      <a:pt x="385919" y="5465527"/>
                      <a:pt x="387400" y="5464049"/>
                      <a:pt x="387646" y="5462073"/>
                    </a:cubicBezTo>
                    <a:close/>
                    <a:moveTo>
                      <a:pt x="390113" y="5728870"/>
                    </a:moveTo>
                    <a:cubicBezTo>
                      <a:pt x="390113" y="5713583"/>
                      <a:pt x="377538" y="5701007"/>
                      <a:pt x="362248" y="5701007"/>
                    </a:cubicBezTo>
                    <a:cubicBezTo>
                      <a:pt x="346962" y="5701007"/>
                      <a:pt x="334386" y="5713583"/>
                      <a:pt x="334386" y="5728870"/>
                    </a:cubicBezTo>
                    <a:cubicBezTo>
                      <a:pt x="334386" y="5744404"/>
                      <a:pt x="346962" y="5756735"/>
                      <a:pt x="362248" y="5756735"/>
                    </a:cubicBezTo>
                    <a:cubicBezTo>
                      <a:pt x="377784" y="5756735"/>
                      <a:pt x="390113" y="5744404"/>
                      <a:pt x="390113" y="5728870"/>
                    </a:cubicBezTo>
                    <a:close/>
                    <a:moveTo>
                      <a:pt x="390850" y="7151610"/>
                    </a:moveTo>
                    <a:cubicBezTo>
                      <a:pt x="390850" y="7149638"/>
                      <a:pt x="389370" y="7148160"/>
                      <a:pt x="387397" y="7148160"/>
                    </a:cubicBezTo>
                    <a:cubicBezTo>
                      <a:pt x="385425" y="7148160"/>
                      <a:pt x="383947" y="7149638"/>
                      <a:pt x="383947" y="7151610"/>
                    </a:cubicBezTo>
                    <a:cubicBezTo>
                      <a:pt x="383947" y="7153586"/>
                      <a:pt x="385425" y="7155064"/>
                      <a:pt x="387397" y="7155064"/>
                    </a:cubicBezTo>
                    <a:cubicBezTo>
                      <a:pt x="389370" y="7155064"/>
                      <a:pt x="390850" y="7153586"/>
                      <a:pt x="390850" y="7151610"/>
                    </a:cubicBezTo>
                    <a:close/>
                    <a:moveTo>
                      <a:pt x="392578" y="4159911"/>
                    </a:moveTo>
                    <a:cubicBezTo>
                      <a:pt x="392578" y="4157197"/>
                      <a:pt x="390359" y="4154979"/>
                      <a:pt x="387646" y="4154979"/>
                    </a:cubicBezTo>
                    <a:cubicBezTo>
                      <a:pt x="384933" y="4154979"/>
                      <a:pt x="382715" y="4157197"/>
                      <a:pt x="382715" y="4159911"/>
                    </a:cubicBezTo>
                    <a:cubicBezTo>
                      <a:pt x="382715" y="4162623"/>
                      <a:pt x="384933" y="4164842"/>
                      <a:pt x="387646" y="4164842"/>
                    </a:cubicBezTo>
                    <a:cubicBezTo>
                      <a:pt x="390359" y="4164842"/>
                      <a:pt x="392578" y="4162623"/>
                      <a:pt x="392578" y="4159911"/>
                    </a:cubicBezTo>
                    <a:close/>
                    <a:moveTo>
                      <a:pt x="393070" y="1953696"/>
                    </a:moveTo>
                    <a:cubicBezTo>
                      <a:pt x="393070" y="1951727"/>
                      <a:pt x="391592" y="1950247"/>
                      <a:pt x="389617" y="1950247"/>
                    </a:cubicBezTo>
                    <a:cubicBezTo>
                      <a:pt x="387644" y="1950247"/>
                      <a:pt x="386166" y="1951727"/>
                      <a:pt x="386166" y="1953696"/>
                    </a:cubicBezTo>
                    <a:cubicBezTo>
                      <a:pt x="386166" y="1955669"/>
                      <a:pt x="387644" y="1957146"/>
                      <a:pt x="389617" y="1957146"/>
                    </a:cubicBezTo>
                    <a:cubicBezTo>
                      <a:pt x="391592" y="1957146"/>
                      <a:pt x="393316" y="1955421"/>
                      <a:pt x="393070" y="1953696"/>
                    </a:cubicBezTo>
                    <a:close/>
                    <a:moveTo>
                      <a:pt x="393318" y="7031778"/>
                    </a:moveTo>
                    <a:cubicBezTo>
                      <a:pt x="393318" y="7029802"/>
                      <a:pt x="391840" y="7028324"/>
                      <a:pt x="389865" y="7028324"/>
                    </a:cubicBezTo>
                    <a:cubicBezTo>
                      <a:pt x="387893" y="7028324"/>
                      <a:pt x="386415" y="7029802"/>
                      <a:pt x="386415" y="7031778"/>
                    </a:cubicBezTo>
                    <a:cubicBezTo>
                      <a:pt x="386415" y="7033751"/>
                      <a:pt x="387893" y="7035228"/>
                      <a:pt x="389865" y="7035228"/>
                    </a:cubicBezTo>
                    <a:cubicBezTo>
                      <a:pt x="391591" y="7035228"/>
                      <a:pt x="393318" y="7033502"/>
                      <a:pt x="393318" y="7031778"/>
                    </a:cubicBezTo>
                    <a:close/>
                    <a:moveTo>
                      <a:pt x="394302" y="3536812"/>
                    </a:moveTo>
                    <a:cubicBezTo>
                      <a:pt x="394302" y="3524483"/>
                      <a:pt x="384193" y="3514374"/>
                      <a:pt x="371865" y="3514374"/>
                    </a:cubicBezTo>
                    <a:cubicBezTo>
                      <a:pt x="359535" y="3514374"/>
                      <a:pt x="349426" y="3524483"/>
                      <a:pt x="349426" y="3536812"/>
                    </a:cubicBezTo>
                    <a:cubicBezTo>
                      <a:pt x="349426" y="3549140"/>
                      <a:pt x="359535" y="3559252"/>
                      <a:pt x="371865" y="3559252"/>
                    </a:cubicBezTo>
                    <a:cubicBezTo>
                      <a:pt x="384193" y="3559252"/>
                      <a:pt x="394302" y="3549140"/>
                      <a:pt x="394302" y="3536812"/>
                    </a:cubicBezTo>
                    <a:close/>
                    <a:moveTo>
                      <a:pt x="394303" y="6910955"/>
                    </a:moveTo>
                    <a:cubicBezTo>
                      <a:pt x="394303" y="6909968"/>
                      <a:pt x="393316" y="6908982"/>
                      <a:pt x="392329" y="6908982"/>
                    </a:cubicBezTo>
                    <a:cubicBezTo>
                      <a:pt x="391344" y="6908982"/>
                      <a:pt x="390357" y="6909968"/>
                      <a:pt x="390357" y="6910955"/>
                    </a:cubicBezTo>
                    <a:cubicBezTo>
                      <a:pt x="390357" y="6911941"/>
                      <a:pt x="391344" y="6912927"/>
                      <a:pt x="392329" y="6912927"/>
                    </a:cubicBezTo>
                    <a:cubicBezTo>
                      <a:pt x="393562" y="6912927"/>
                      <a:pt x="394303" y="6912187"/>
                      <a:pt x="394303" y="6910955"/>
                    </a:cubicBezTo>
                    <a:close/>
                    <a:moveTo>
                      <a:pt x="394550" y="4580320"/>
                    </a:moveTo>
                    <a:cubicBezTo>
                      <a:pt x="394550" y="4557142"/>
                      <a:pt x="375810" y="4538402"/>
                      <a:pt x="352631" y="4538402"/>
                    </a:cubicBezTo>
                    <a:cubicBezTo>
                      <a:pt x="329454" y="4538402"/>
                      <a:pt x="310715" y="4557142"/>
                      <a:pt x="310715" y="4580320"/>
                    </a:cubicBezTo>
                    <a:cubicBezTo>
                      <a:pt x="310715" y="4603499"/>
                      <a:pt x="329454" y="4622239"/>
                      <a:pt x="352631" y="4622239"/>
                    </a:cubicBezTo>
                    <a:cubicBezTo>
                      <a:pt x="375810" y="4622239"/>
                      <a:pt x="394550" y="4603499"/>
                      <a:pt x="394550" y="4580320"/>
                    </a:cubicBezTo>
                    <a:close/>
                    <a:moveTo>
                      <a:pt x="397507" y="3652949"/>
                    </a:moveTo>
                    <a:cubicBezTo>
                      <a:pt x="397507" y="3643085"/>
                      <a:pt x="389370" y="3634949"/>
                      <a:pt x="379507" y="3634949"/>
                    </a:cubicBezTo>
                    <a:cubicBezTo>
                      <a:pt x="369644" y="3634949"/>
                      <a:pt x="361508" y="3643085"/>
                      <a:pt x="361508" y="3652949"/>
                    </a:cubicBezTo>
                    <a:cubicBezTo>
                      <a:pt x="361508" y="3662811"/>
                      <a:pt x="369644" y="3670951"/>
                      <a:pt x="379507" y="3670951"/>
                    </a:cubicBezTo>
                    <a:cubicBezTo>
                      <a:pt x="389370" y="3670951"/>
                      <a:pt x="397507" y="3662811"/>
                      <a:pt x="397507" y="3652949"/>
                    </a:cubicBezTo>
                    <a:close/>
                    <a:moveTo>
                      <a:pt x="398496" y="3420772"/>
                    </a:moveTo>
                    <a:cubicBezTo>
                      <a:pt x="398496" y="3406230"/>
                      <a:pt x="386660" y="3394144"/>
                      <a:pt x="371865" y="3394144"/>
                    </a:cubicBezTo>
                    <a:cubicBezTo>
                      <a:pt x="357316" y="3394144"/>
                      <a:pt x="345235" y="3405983"/>
                      <a:pt x="345235" y="3420772"/>
                    </a:cubicBezTo>
                    <a:cubicBezTo>
                      <a:pt x="345235" y="3435327"/>
                      <a:pt x="357071" y="3447401"/>
                      <a:pt x="371865" y="3447401"/>
                    </a:cubicBezTo>
                    <a:cubicBezTo>
                      <a:pt x="386660" y="3447401"/>
                      <a:pt x="398496" y="3435572"/>
                      <a:pt x="398496" y="3420772"/>
                    </a:cubicBezTo>
                    <a:close/>
                    <a:moveTo>
                      <a:pt x="401455" y="5326213"/>
                    </a:moveTo>
                    <a:cubicBezTo>
                      <a:pt x="401455" y="5323994"/>
                      <a:pt x="399728" y="5322267"/>
                      <a:pt x="397510" y="5322267"/>
                    </a:cubicBezTo>
                    <a:cubicBezTo>
                      <a:pt x="395291" y="5322267"/>
                      <a:pt x="393565" y="5323994"/>
                      <a:pt x="393565" y="5326213"/>
                    </a:cubicBezTo>
                    <a:cubicBezTo>
                      <a:pt x="393565" y="5328432"/>
                      <a:pt x="395291" y="5330158"/>
                      <a:pt x="397510" y="5330158"/>
                    </a:cubicBezTo>
                    <a:cubicBezTo>
                      <a:pt x="399728" y="5330158"/>
                      <a:pt x="401455" y="5328432"/>
                      <a:pt x="401455" y="5326213"/>
                    </a:cubicBezTo>
                    <a:close/>
                    <a:moveTo>
                      <a:pt x="403425" y="4425470"/>
                    </a:moveTo>
                    <a:cubicBezTo>
                      <a:pt x="403425" y="4417580"/>
                      <a:pt x="397015" y="4411415"/>
                      <a:pt x="389370" y="4411415"/>
                    </a:cubicBezTo>
                    <a:cubicBezTo>
                      <a:pt x="381728" y="4411415"/>
                      <a:pt x="375316" y="4417825"/>
                      <a:pt x="375316" y="4425470"/>
                    </a:cubicBezTo>
                    <a:cubicBezTo>
                      <a:pt x="375316" y="4433115"/>
                      <a:pt x="381728" y="4439524"/>
                      <a:pt x="389370" y="4439524"/>
                    </a:cubicBezTo>
                    <a:cubicBezTo>
                      <a:pt x="397015" y="4439524"/>
                      <a:pt x="403425" y="4433115"/>
                      <a:pt x="403425" y="4425470"/>
                    </a:cubicBezTo>
                    <a:close/>
                    <a:moveTo>
                      <a:pt x="406632" y="6794078"/>
                    </a:moveTo>
                    <a:cubicBezTo>
                      <a:pt x="406632" y="6792351"/>
                      <a:pt x="405151" y="6790872"/>
                      <a:pt x="403425" y="6790872"/>
                    </a:cubicBezTo>
                    <a:cubicBezTo>
                      <a:pt x="401698" y="6790872"/>
                      <a:pt x="400220" y="6792351"/>
                      <a:pt x="400220" y="6794078"/>
                    </a:cubicBezTo>
                    <a:cubicBezTo>
                      <a:pt x="400220" y="6795804"/>
                      <a:pt x="401698" y="6797282"/>
                      <a:pt x="403425" y="6797282"/>
                    </a:cubicBezTo>
                    <a:cubicBezTo>
                      <a:pt x="405151" y="6797282"/>
                      <a:pt x="406632" y="6795804"/>
                      <a:pt x="406632" y="6794078"/>
                    </a:cubicBezTo>
                    <a:close/>
                    <a:moveTo>
                      <a:pt x="408852" y="3768103"/>
                    </a:moveTo>
                    <a:cubicBezTo>
                      <a:pt x="408852" y="3759963"/>
                      <a:pt x="402195" y="3753553"/>
                      <a:pt x="394305" y="3753553"/>
                    </a:cubicBezTo>
                    <a:cubicBezTo>
                      <a:pt x="386168" y="3753553"/>
                      <a:pt x="379756" y="3760213"/>
                      <a:pt x="379756" y="3768103"/>
                    </a:cubicBezTo>
                    <a:cubicBezTo>
                      <a:pt x="379756" y="3776239"/>
                      <a:pt x="386414" y="3782648"/>
                      <a:pt x="394305" y="3782648"/>
                    </a:cubicBezTo>
                    <a:cubicBezTo>
                      <a:pt x="402195" y="3782648"/>
                      <a:pt x="408603" y="3775992"/>
                      <a:pt x="408852" y="3768103"/>
                    </a:cubicBezTo>
                    <a:close/>
                    <a:moveTo>
                      <a:pt x="409837" y="6672269"/>
                    </a:moveTo>
                    <a:cubicBezTo>
                      <a:pt x="409837" y="6670788"/>
                      <a:pt x="408605" y="6669310"/>
                      <a:pt x="406878" y="6669310"/>
                    </a:cubicBezTo>
                    <a:cubicBezTo>
                      <a:pt x="405151" y="6669310"/>
                      <a:pt x="403673" y="6670543"/>
                      <a:pt x="403673" y="6672269"/>
                    </a:cubicBezTo>
                    <a:cubicBezTo>
                      <a:pt x="403673" y="6673996"/>
                      <a:pt x="405151" y="6675473"/>
                      <a:pt x="406878" y="6675473"/>
                    </a:cubicBezTo>
                    <a:cubicBezTo>
                      <a:pt x="408605" y="6675473"/>
                      <a:pt x="409837" y="6673996"/>
                      <a:pt x="409837" y="6672269"/>
                    </a:cubicBezTo>
                    <a:close/>
                    <a:moveTo>
                      <a:pt x="410331" y="3304878"/>
                    </a:moveTo>
                    <a:cubicBezTo>
                      <a:pt x="410331" y="3287619"/>
                      <a:pt x="396522" y="3273816"/>
                      <a:pt x="379264" y="3273816"/>
                    </a:cubicBezTo>
                    <a:cubicBezTo>
                      <a:pt x="362002" y="3273816"/>
                      <a:pt x="348194" y="3287864"/>
                      <a:pt x="348194" y="3304878"/>
                    </a:cubicBezTo>
                    <a:cubicBezTo>
                      <a:pt x="348194" y="3322143"/>
                      <a:pt x="362248" y="3335945"/>
                      <a:pt x="379264" y="3335945"/>
                    </a:cubicBezTo>
                    <a:cubicBezTo>
                      <a:pt x="396277" y="3335945"/>
                      <a:pt x="410331" y="3321898"/>
                      <a:pt x="410331" y="3304878"/>
                    </a:cubicBezTo>
                    <a:close/>
                    <a:moveTo>
                      <a:pt x="411564" y="2098905"/>
                    </a:moveTo>
                    <a:cubicBezTo>
                      <a:pt x="411564" y="2098658"/>
                      <a:pt x="411564" y="2098658"/>
                      <a:pt x="411318" y="2098658"/>
                    </a:cubicBezTo>
                    <a:cubicBezTo>
                      <a:pt x="411072" y="2098658"/>
                      <a:pt x="411072" y="2098658"/>
                      <a:pt x="411072" y="2098905"/>
                    </a:cubicBezTo>
                    <a:cubicBezTo>
                      <a:pt x="411072" y="2099151"/>
                      <a:pt x="411072" y="2099151"/>
                      <a:pt x="411318" y="2099151"/>
                    </a:cubicBezTo>
                    <a:cubicBezTo>
                      <a:pt x="411318" y="2099151"/>
                      <a:pt x="411564" y="2099151"/>
                      <a:pt x="411564" y="2098905"/>
                    </a:cubicBezTo>
                    <a:close/>
                    <a:moveTo>
                      <a:pt x="412056" y="1061710"/>
                    </a:moveTo>
                    <a:cubicBezTo>
                      <a:pt x="412056" y="1054074"/>
                      <a:pt x="405891" y="1047658"/>
                      <a:pt x="398001" y="1047658"/>
                    </a:cubicBezTo>
                    <a:cubicBezTo>
                      <a:pt x="390356" y="1047658"/>
                      <a:pt x="383947" y="1053825"/>
                      <a:pt x="383947" y="1061710"/>
                    </a:cubicBezTo>
                    <a:cubicBezTo>
                      <a:pt x="383947" y="1069359"/>
                      <a:pt x="390110" y="1075765"/>
                      <a:pt x="398001" y="1075765"/>
                    </a:cubicBezTo>
                    <a:cubicBezTo>
                      <a:pt x="405891" y="1075765"/>
                      <a:pt x="412056" y="1069359"/>
                      <a:pt x="412056" y="1061710"/>
                    </a:cubicBezTo>
                    <a:close/>
                    <a:moveTo>
                      <a:pt x="412301" y="6549720"/>
                    </a:moveTo>
                    <a:cubicBezTo>
                      <a:pt x="412301" y="6548488"/>
                      <a:pt x="411563" y="6547746"/>
                      <a:pt x="410577" y="6547746"/>
                    </a:cubicBezTo>
                    <a:cubicBezTo>
                      <a:pt x="409590" y="6547746"/>
                      <a:pt x="408850" y="6548733"/>
                      <a:pt x="408850" y="6549720"/>
                    </a:cubicBezTo>
                    <a:cubicBezTo>
                      <a:pt x="408850" y="6550706"/>
                      <a:pt x="409590" y="6551447"/>
                      <a:pt x="410577" y="6551447"/>
                    </a:cubicBezTo>
                    <a:cubicBezTo>
                      <a:pt x="411563" y="6551447"/>
                      <a:pt x="412549" y="6550706"/>
                      <a:pt x="412301" y="6549720"/>
                    </a:cubicBezTo>
                    <a:close/>
                    <a:moveTo>
                      <a:pt x="413288" y="5187885"/>
                    </a:moveTo>
                    <a:cubicBezTo>
                      <a:pt x="413288" y="5187389"/>
                      <a:pt x="413042" y="5187144"/>
                      <a:pt x="412550" y="5187144"/>
                    </a:cubicBezTo>
                    <a:cubicBezTo>
                      <a:pt x="412056" y="5187144"/>
                      <a:pt x="411810" y="5187636"/>
                      <a:pt x="411810" y="5187885"/>
                    </a:cubicBezTo>
                    <a:cubicBezTo>
                      <a:pt x="411810" y="5188376"/>
                      <a:pt x="412056" y="5188622"/>
                      <a:pt x="412550" y="5188622"/>
                    </a:cubicBezTo>
                    <a:cubicBezTo>
                      <a:pt x="412796" y="5188622"/>
                      <a:pt x="413288" y="5188376"/>
                      <a:pt x="413288" y="5187885"/>
                    </a:cubicBezTo>
                    <a:close/>
                    <a:moveTo>
                      <a:pt x="415754" y="2532119"/>
                    </a:moveTo>
                    <a:cubicBezTo>
                      <a:pt x="415754" y="2516834"/>
                      <a:pt x="403425" y="2504503"/>
                      <a:pt x="388138" y="2504503"/>
                    </a:cubicBezTo>
                    <a:cubicBezTo>
                      <a:pt x="372852" y="2504503"/>
                      <a:pt x="360522" y="2516834"/>
                      <a:pt x="360522" y="2532119"/>
                    </a:cubicBezTo>
                    <a:cubicBezTo>
                      <a:pt x="360522" y="2547411"/>
                      <a:pt x="372852" y="2559736"/>
                      <a:pt x="388138" y="2559736"/>
                    </a:cubicBezTo>
                    <a:cubicBezTo>
                      <a:pt x="403425" y="2559736"/>
                      <a:pt x="415754" y="2547411"/>
                      <a:pt x="415754" y="2532119"/>
                    </a:cubicBezTo>
                    <a:close/>
                    <a:moveTo>
                      <a:pt x="416494" y="2797925"/>
                    </a:moveTo>
                    <a:cubicBezTo>
                      <a:pt x="416494" y="2781403"/>
                      <a:pt x="403178" y="2768087"/>
                      <a:pt x="386657" y="2768087"/>
                    </a:cubicBezTo>
                    <a:cubicBezTo>
                      <a:pt x="370138" y="2768087"/>
                      <a:pt x="356822" y="2781403"/>
                      <a:pt x="356822" y="2797925"/>
                    </a:cubicBezTo>
                    <a:cubicBezTo>
                      <a:pt x="356822" y="2814445"/>
                      <a:pt x="370138" y="2827761"/>
                      <a:pt x="386657" y="2827761"/>
                    </a:cubicBezTo>
                    <a:cubicBezTo>
                      <a:pt x="403178" y="2827761"/>
                      <a:pt x="416494" y="2814445"/>
                      <a:pt x="416494" y="2797925"/>
                    </a:cubicBezTo>
                    <a:close/>
                    <a:moveTo>
                      <a:pt x="418222" y="162821"/>
                    </a:moveTo>
                    <a:cubicBezTo>
                      <a:pt x="418222" y="153204"/>
                      <a:pt x="410332" y="145314"/>
                      <a:pt x="400715" y="145314"/>
                    </a:cubicBezTo>
                    <a:cubicBezTo>
                      <a:pt x="391097" y="145314"/>
                      <a:pt x="383207" y="153204"/>
                      <a:pt x="383207" y="162821"/>
                    </a:cubicBezTo>
                    <a:cubicBezTo>
                      <a:pt x="383207" y="172437"/>
                      <a:pt x="391097" y="180327"/>
                      <a:pt x="400715" y="180327"/>
                    </a:cubicBezTo>
                    <a:cubicBezTo>
                      <a:pt x="410332" y="180327"/>
                      <a:pt x="418222" y="172437"/>
                      <a:pt x="418222" y="162821"/>
                    </a:cubicBezTo>
                    <a:close/>
                    <a:moveTo>
                      <a:pt x="420194" y="1191394"/>
                    </a:moveTo>
                    <a:cubicBezTo>
                      <a:pt x="420194" y="1183752"/>
                      <a:pt x="414031" y="1177583"/>
                      <a:pt x="406387" y="1177583"/>
                    </a:cubicBezTo>
                    <a:cubicBezTo>
                      <a:pt x="398741" y="1177583"/>
                      <a:pt x="392578" y="1183752"/>
                      <a:pt x="392578" y="1191394"/>
                    </a:cubicBezTo>
                    <a:cubicBezTo>
                      <a:pt x="392578" y="1199040"/>
                      <a:pt x="398741" y="1205204"/>
                      <a:pt x="406387" y="1205204"/>
                    </a:cubicBezTo>
                    <a:cubicBezTo>
                      <a:pt x="413785" y="1205204"/>
                      <a:pt x="419949" y="1199040"/>
                      <a:pt x="420194" y="1191394"/>
                    </a:cubicBezTo>
                    <a:close/>
                    <a:moveTo>
                      <a:pt x="421672" y="284601"/>
                    </a:moveTo>
                    <a:cubicBezTo>
                      <a:pt x="421672" y="274984"/>
                      <a:pt x="414028" y="267340"/>
                      <a:pt x="404410" y="267340"/>
                    </a:cubicBezTo>
                    <a:cubicBezTo>
                      <a:pt x="394796" y="267340"/>
                      <a:pt x="387152" y="274984"/>
                      <a:pt x="387152" y="284601"/>
                    </a:cubicBezTo>
                    <a:cubicBezTo>
                      <a:pt x="387152" y="294215"/>
                      <a:pt x="394796" y="301858"/>
                      <a:pt x="404410" y="301858"/>
                    </a:cubicBezTo>
                    <a:cubicBezTo>
                      <a:pt x="413781" y="301858"/>
                      <a:pt x="421672" y="293968"/>
                      <a:pt x="421672" y="284601"/>
                    </a:cubicBezTo>
                    <a:close/>
                    <a:moveTo>
                      <a:pt x="424139" y="2279636"/>
                    </a:moveTo>
                    <a:cubicBezTo>
                      <a:pt x="424139" y="2273720"/>
                      <a:pt x="419205" y="2269031"/>
                      <a:pt x="413536" y="2269031"/>
                    </a:cubicBezTo>
                    <a:cubicBezTo>
                      <a:pt x="407618" y="2269031"/>
                      <a:pt x="402932" y="2273720"/>
                      <a:pt x="402932" y="2279636"/>
                    </a:cubicBezTo>
                    <a:cubicBezTo>
                      <a:pt x="402932" y="2285561"/>
                      <a:pt x="407618" y="2290241"/>
                      <a:pt x="413536" y="2290241"/>
                    </a:cubicBezTo>
                    <a:cubicBezTo>
                      <a:pt x="419205" y="2290241"/>
                      <a:pt x="423890" y="2285561"/>
                      <a:pt x="424139" y="2279636"/>
                    </a:cubicBezTo>
                    <a:close/>
                    <a:moveTo>
                      <a:pt x="425125" y="407118"/>
                    </a:moveTo>
                    <a:cubicBezTo>
                      <a:pt x="425125" y="397996"/>
                      <a:pt x="417727" y="390352"/>
                      <a:pt x="408358" y="390352"/>
                    </a:cubicBezTo>
                    <a:cubicBezTo>
                      <a:pt x="399236" y="390352"/>
                      <a:pt x="391591" y="397747"/>
                      <a:pt x="391591" y="407118"/>
                    </a:cubicBezTo>
                    <a:cubicBezTo>
                      <a:pt x="391591" y="416241"/>
                      <a:pt x="398987" y="423885"/>
                      <a:pt x="408358" y="423885"/>
                    </a:cubicBezTo>
                    <a:cubicBezTo>
                      <a:pt x="417727" y="423885"/>
                      <a:pt x="425125" y="416241"/>
                      <a:pt x="425125" y="407118"/>
                    </a:cubicBezTo>
                    <a:close/>
                    <a:moveTo>
                      <a:pt x="428330" y="3882019"/>
                    </a:moveTo>
                    <a:cubicBezTo>
                      <a:pt x="428330" y="3875609"/>
                      <a:pt x="423153" y="3870183"/>
                      <a:pt x="416494" y="3870183"/>
                    </a:cubicBezTo>
                    <a:cubicBezTo>
                      <a:pt x="410084" y="3870183"/>
                      <a:pt x="404659" y="3875361"/>
                      <a:pt x="404659" y="3882019"/>
                    </a:cubicBezTo>
                    <a:cubicBezTo>
                      <a:pt x="404659" y="3888431"/>
                      <a:pt x="409836" y="3893855"/>
                      <a:pt x="416494" y="3893855"/>
                    </a:cubicBezTo>
                    <a:cubicBezTo>
                      <a:pt x="423153" y="3893855"/>
                      <a:pt x="428330" y="3888677"/>
                      <a:pt x="428330" y="3882019"/>
                    </a:cubicBezTo>
                    <a:close/>
                    <a:moveTo>
                      <a:pt x="429069" y="530382"/>
                    </a:moveTo>
                    <a:cubicBezTo>
                      <a:pt x="429069" y="521257"/>
                      <a:pt x="421672" y="513861"/>
                      <a:pt x="412550" y="513861"/>
                    </a:cubicBezTo>
                    <a:cubicBezTo>
                      <a:pt x="403425" y="513861"/>
                      <a:pt x="396029" y="521257"/>
                      <a:pt x="396029" y="530382"/>
                    </a:cubicBezTo>
                    <a:cubicBezTo>
                      <a:pt x="396029" y="539504"/>
                      <a:pt x="403425" y="546902"/>
                      <a:pt x="412550" y="546902"/>
                    </a:cubicBezTo>
                    <a:cubicBezTo>
                      <a:pt x="421672" y="546902"/>
                      <a:pt x="429069" y="539504"/>
                      <a:pt x="429069" y="530382"/>
                    </a:cubicBezTo>
                    <a:close/>
                    <a:moveTo>
                      <a:pt x="429071" y="3189488"/>
                    </a:moveTo>
                    <a:cubicBezTo>
                      <a:pt x="429071" y="3170007"/>
                      <a:pt x="413290" y="3154226"/>
                      <a:pt x="393810" y="3154226"/>
                    </a:cubicBezTo>
                    <a:cubicBezTo>
                      <a:pt x="374331" y="3154226"/>
                      <a:pt x="358550" y="3170007"/>
                      <a:pt x="358550" y="3189488"/>
                    </a:cubicBezTo>
                    <a:cubicBezTo>
                      <a:pt x="358550" y="3208969"/>
                      <a:pt x="374331" y="3224749"/>
                      <a:pt x="393810" y="3224749"/>
                    </a:cubicBezTo>
                    <a:cubicBezTo>
                      <a:pt x="413290" y="3224749"/>
                      <a:pt x="429071" y="3208969"/>
                      <a:pt x="429071" y="3189488"/>
                    </a:cubicBezTo>
                    <a:close/>
                    <a:moveTo>
                      <a:pt x="430056" y="1322549"/>
                    </a:moveTo>
                    <a:cubicBezTo>
                      <a:pt x="430056" y="1314665"/>
                      <a:pt x="423644" y="1308248"/>
                      <a:pt x="415754" y="1308248"/>
                    </a:cubicBezTo>
                    <a:cubicBezTo>
                      <a:pt x="407864" y="1308248"/>
                      <a:pt x="401455" y="1314665"/>
                      <a:pt x="401455" y="1322549"/>
                    </a:cubicBezTo>
                    <a:cubicBezTo>
                      <a:pt x="401455" y="1330442"/>
                      <a:pt x="407864" y="1336851"/>
                      <a:pt x="415754" y="1336851"/>
                    </a:cubicBezTo>
                    <a:cubicBezTo>
                      <a:pt x="423644" y="1336851"/>
                      <a:pt x="430056" y="1330442"/>
                      <a:pt x="430056" y="1322549"/>
                    </a:cubicBezTo>
                    <a:close/>
                    <a:moveTo>
                      <a:pt x="433755" y="654686"/>
                    </a:moveTo>
                    <a:cubicBezTo>
                      <a:pt x="433755" y="645791"/>
                      <a:pt x="426603" y="638603"/>
                      <a:pt x="417727" y="638603"/>
                    </a:cubicBezTo>
                    <a:cubicBezTo>
                      <a:pt x="408850" y="638603"/>
                      <a:pt x="401700" y="645791"/>
                      <a:pt x="401700" y="654686"/>
                    </a:cubicBezTo>
                    <a:cubicBezTo>
                      <a:pt x="401700" y="663555"/>
                      <a:pt x="408850" y="670706"/>
                      <a:pt x="417727" y="670706"/>
                    </a:cubicBezTo>
                    <a:cubicBezTo>
                      <a:pt x="426603" y="670706"/>
                      <a:pt x="433755" y="663555"/>
                      <a:pt x="433755" y="654686"/>
                    </a:cubicBezTo>
                    <a:close/>
                    <a:moveTo>
                      <a:pt x="434002" y="6301665"/>
                    </a:moveTo>
                    <a:cubicBezTo>
                      <a:pt x="434002" y="6293528"/>
                      <a:pt x="427344" y="6287117"/>
                      <a:pt x="419454" y="6287117"/>
                    </a:cubicBezTo>
                    <a:cubicBezTo>
                      <a:pt x="411315" y="6287117"/>
                      <a:pt x="404906" y="6293775"/>
                      <a:pt x="404906" y="6301665"/>
                    </a:cubicBezTo>
                    <a:cubicBezTo>
                      <a:pt x="404906" y="6309802"/>
                      <a:pt x="411563" y="6316214"/>
                      <a:pt x="419454" y="6316214"/>
                    </a:cubicBezTo>
                    <a:cubicBezTo>
                      <a:pt x="427344" y="6316214"/>
                      <a:pt x="433753" y="6309802"/>
                      <a:pt x="434002" y="6301665"/>
                    </a:cubicBezTo>
                    <a:close/>
                    <a:moveTo>
                      <a:pt x="434494" y="6049913"/>
                    </a:moveTo>
                    <a:cubicBezTo>
                      <a:pt x="434494" y="6047694"/>
                      <a:pt x="432768" y="6045968"/>
                      <a:pt x="430550" y="6045968"/>
                    </a:cubicBezTo>
                    <a:cubicBezTo>
                      <a:pt x="428331" y="6045968"/>
                      <a:pt x="426604" y="6047694"/>
                      <a:pt x="426604" y="6049913"/>
                    </a:cubicBezTo>
                    <a:cubicBezTo>
                      <a:pt x="426604" y="6052130"/>
                      <a:pt x="428331" y="6053858"/>
                      <a:pt x="430550" y="6053858"/>
                    </a:cubicBezTo>
                    <a:cubicBezTo>
                      <a:pt x="432768" y="6053858"/>
                      <a:pt x="434494" y="6052130"/>
                      <a:pt x="434494" y="6049913"/>
                    </a:cubicBezTo>
                    <a:close/>
                    <a:moveTo>
                      <a:pt x="436467" y="6426188"/>
                    </a:moveTo>
                    <a:cubicBezTo>
                      <a:pt x="436467" y="6414353"/>
                      <a:pt x="426853" y="6404735"/>
                      <a:pt x="415018" y="6404735"/>
                    </a:cubicBezTo>
                    <a:cubicBezTo>
                      <a:pt x="403181" y="6404735"/>
                      <a:pt x="393565" y="6414353"/>
                      <a:pt x="393565" y="6426188"/>
                    </a:cubicBezTo>
                    <a:cubicBezTo>
                      <a:pt x="393565" y="6438269"/>
                      <a:pt x="403181" y="6447887"/>
                      <a:pt x="415018" y="6447887"/>
                    </a:cubicBezTo>
                    <a:cubicBezTo>
                      <a:pt x="426853" y="6447887"/>
                      <a:pt x="436467" y="6438269"/>
                      <a:pt x="436467" y="6426188"/>
                    </a:cubicBezTo>
                    <a:close/>
                    <a:moveTo>
                      <a:pt x="437944" y="780416"/>
                    </a:moveTo>
                    <a:cubicBezTo>
                      <a:pt x="437944" y="771781"/>
                      <a:pt x="431040" y="764879"/>
                      <a:pt x="422658" y="764879"/>
                    </a:cubicBezTo>
                    <a:cubicBezTo>
                      <a:pt x="414027" y="764879"/>
                      <a:pt x="407124" y="772028"/>
                      <a:pt x="407124" y="780416"/>
                    </a:cubicBezTo>
                    <a:cubicBezTo>
                      <a:pt x="407124" y="788795"/>
                      <a:pt x="414274" y="795701"/>
                      <a:pt x="422658" y="795701"/>
                    </a:cubicBezTo>
                    <a:cubicBezTo>
                      <a:pt x="431289" y="795701"/>
                      <a:pt x="437944" y="788795"/>
                      <a:pt x="437944" y="780416"/>
                    </a:cubicBezTo>
                    <a:close/>
                    <a:moveTo>
                      <a:pt x="438442" y="4266924"/>
                    </a:moveTo>
                    <a:cubicBezTo>
                      <a:pt x="438442" y="4263473"/>
                      <a:pt x="435729" y="4260759"/>
                      <a:pt x="432275" y="4260759"/>
                    </a:cubicBezTo>
                    <a:cubicBezTo>
                      <a:pt x="428825" y="4260759"/>
                      <a:pt x="426112" y="4263473"/>
                      <a:pt x="426112" y="4266924"/>
                    </a:cubicBezTo>
                    <a:cubicBezTo>
                      <a:pt x="426112" y="4270377"/>
                      <a:pt x="428825" y="4273090"/>
                      <a:pt x="432275" y="4273090"/>
                    </a:cubicBezTo>
                    <a:cubicBezTo>
                      <a:pt x="435729" y="4273090"/>
                      <a:pt x="438442" y="4270377"/>
                      <a:pt x="438442" y="4266924"/>
                    </a:cubicBezTo>
                    <a:close/>
                    <a:moveTo>
                      <a:pt x="439426" y="6176406"/>
                    </a:moveTo>
                    <a:cubicBezTo>
                      <a:pt x="439426" y="6168269"/>
                      <a:pt x="432768" y="6161611"/>
                      <a:pt x="424631" y="6161611"/>
                    </a:cubicBezTo>
                    <a:cubicBezTo>
                      <a:pt x="416494" y="6161611"/>
                      <a:pt x="409837" y="6168269"/>
                      <a:pt x="409837" y="6176406"/>
                    </a:cubicBezTo>
                    <a:cubicBezTo>
                      <a:pt x="409837" y="6184542"/>
                      <a:pt x="416494" y="6191200"/>
                      <a:pt x="424631" y="6191200"/>
                    </a:cubicBezTo>
                    <a:cubicBezTo>
                      <a:pt x="432768" y="6191200"/>
                      <a:pt x="439426" y="6184542"/>
                      <a:pt x="439426" y="6176406"/>
                    </a:cubicBezTo>
                    <a:close/>
                    <a:moveTo>
                      <a:pt x="440661" y="1455436"/>
                    </a:moveTo>
                    <a:cubicBezTo>
                      <a:pt x="440661" y="1447544"/>
                      <a:pt x="434248" y="1441137"/>
                      <a:pt x="426358" y="1441137"/>
                    </a:cubicBezTo>
                    <a:cubicBezTo>
                      <a:pt x="418467" y="1441137"/>
                      <a:pt x="412058" y="1447544"/>
                      <a:pt x="412058" y="1455436"/>
                    </a:cubicBezTo>
                    <a:cubicBezTo>
                      <a:pt x="412058" y="1463333"/>
                      <a:pt x="418467" y="1469740"/>
                      <a:pt x="426358" y="1469740"/>
                    </a:cubicBezTo>
                    <a:cubicBezTo>
                      <a:pt x="434496" y="1469740"/>
                      <a:pt x="440906" y="1463333"/>
                      <a:pt x="440661" y="1455436"/>
                    </a:cubicBezTo>
                    <a:close/>
                    <a:moveTo>
                      <a:pt x="442879" y="5047335"/>
                    </a:moveTo>
                    <a:cubicBezTo>
                      <a:pt x="442879" y="5040185"/>
                      <a:pt x="436959" y="5034267"/>
                      <a:pt x="429809" y="5034267"/>
                    </a:cubicBezTo>
                    <a:cubicBezTo>
                      <a:pt x="422659" y="5034267"/>
                      <a:pt x="416741" y="5040185"/>
                      <a:pt x="416741" y="5047335"/>
                    </a:cubicBezTo>
                    <a:cubicBezTo>
                      <a:pt x="416741" y="5054488"/>
                      <a:pt x="422659" y="5060405"/>
                      <a:pt x="429809" y="5060405"/>
                    </a:cubicBezTo>
                    <a:cubicBezTo>
                      <a:pt x="436959" y="5060405"/>
                      <a:pt x="442879" y="5054488"/>
                      <a:pt x="442879" y="5047335"/>
                    </a:cubicBezTo>
                    <a:close/>
                    <a:moveTo>
                      <a:pt x="443371" y="906880"/>
                    </a:moveTo>
                    <a:cubicBezTo>
                      <a:pt x="443371" y="898747"/>
                      <a:pt x="436713" y="892091"/>
                      <a:pt x="428577" y="892091"/>
                    </a:cubicBezTo>
                    <a:cubicBezTo>
                      <a:pt x="420440" y="892091"/>
                      <a:pt x="413782" y="898747"/>
                      <a:pt x="413782" y="906880"/>
                    </a:cubicBezTo>
                    <a:cubicBezTo>
                      <a:pt x="413782" y="915015"/>
                      <a:pt x="420440" y="921673"/>
                      <a:pt x="428577" y="921673"/>
                    </a:cubicBezTo>
                    <a:cubicBezTo>
                      <a:pt x="436713" y="921673"/>
                      <a:pt x="443371" y="915015"/>
                      <a:pt x="443371" y="906880"/>
                    </a:cubicBezTo>
                    <a:close/>
                    <a:moveTo>
                      <a:pt x="450521" y="4904075"/>
                    </a:moveTo>
                    <a:cubicBezTo>
                      <a:pt x="450521" y="4903583"/>
                      <a:pt x="450026" y="4903089"/>
                      <a:pt x="449534" y="4903089"/>
                    </a:cubicBezTo>
                    <a:cubicBezTo>
                      <a:pt x="449043" y="4903089"/>
                      <a:pt x="448549" y="4903583"/>
                      <a:pt x="448549" y="4904075"/>
                    </a:cubicBezTo>
                    <a:cubicBezTo>
                      <a:pt x="448549" y="4904566"/>
                      <a:pt x="449043" y="4905061"/>
                      <a:pt x="449534" y="4905061"/>
                    </a:cubicBezTo>
                    <a:cubicBezTo>
                      <a:pt x="450026" y="4905061"/>
                      <a:pt x="450521" y="4904815"/>
                      <a:pt x="450521" y="4904075"/>
                    </a:cubicBezTo>
                    <a:close/>
                    <a:moveTo>
                      <a:pt x="451756" y="1590787"/>
                    </a:moveTo>
                    <a:cubicBezTo>
                      <a:pt x="451756" y="1583136"/>
                      <a:pt x="445592" y="1576979"/>
                      <a:pt x="437947" y="1576979"/>
                    </a:cubicBezTo>
                    <a:cubicBezTo>
                      <a:pt x="430303" y="1576979"/>
                      <a:pt x="424140" y="1583136"/>
                      <a:pt x="424140" y="1590787"/>
                    </a:cubicBezTo>
                    <a:cubicBezTo>
                      <a:pt x="424140" y="1598435"/>
                      <a:pt x="430303" y="1604597"/>
                      <a:pt x="437947" y="1604597"/>
                    </a:cubicBezTo>
                    <a:cubicBezTo>
                      <a:pt x="445592" y="1604597"/>
                      <a:pt x="451756" y="1598435"/>
                      <a:pt x="451756" y="1590787"/>
                    </a:cubicBezTo>
                    <a:close/>
                    <a:moveTo>
                      <a:pt x="455701" y="3075565"/>
                    </a:moveTo>
                    <a:cubicBezTo>
                      <a:pt x="455701" y="3053620"/>
                      <a:pt x="437947" y="3035866"/>
                      <a:pt x="416000" y="3035866"/>
                    </a:cubicBezTo>
                    <a:cubicBezTo>
                      <a:pt x="394056" y="3035866"/>
                      <a:pt x="376303" y="3053620"/>
                      <a:pt x="376303" y="3075565"/>
                    </a:cubicBezTo>
                    <a:cubicBezTo>
                      <a:pt x="376303" y="3097513"/>
                      <a:pt x="394056" y="3115267"/>
                      <a:pt x="416000" y="3115267"/>
                    </a:cubicBezTo>
                    <a:cubicBezTo>
                      <a:pt x="437947" y="3115267"/>
                      <a:pt x="455701" y="3097265"/>
                      <a:pt x="455701" y="3075565"/>
                    </a:cubicBezTo>
                    <a:close/>
                    <a:moveTo>
                      <a:pt x="455702" y="4677717"/>
                    </a:moveTo>
                    <a:cubicBezTo>
                      <a:pt x="455702" y="4655278"/>
                      <a:pt x="437454" y="4637032"/>
                      <a:pt x="415015" y="4637032"/>
                    </a:cubicBezTo>
                    <a:cubicBezTo>
                      <a:pt x="392578" y="4637032"/>
                      <a:pt x="374331" y="4655278"/>
                      <a:pt x="374331" y="4677717"/>
                    </a:cubicBezTo>
                    <a:cubicBezTo>
                      <a:pt x="374331" y="4700156"/>
                      <a:pt x="392578" y="4718401"/>
                      <a:pt x="415015" y="4718401"/>
                    </a:cubicBezTo>
                    <a:cubicBezTo>
                      <a:pt x="437454" y="4718401"/>
                      <a:pt x="455702" y="4700156"/>
                      <a:pt x="455702" y="4677717"/>
                    </a:cubicBezTo>
                    <a:close/>
                    <a:moveTo>
                      <a:pt x="456442" y="3994455"/>
                    </a:moveTo>
                    <a:cubicBezTo>
                      <a:pt x="456442" y="3988785"/>
                      <a:pt x="451756" y="3984099"/>
                      <a:pt x="446084" y="3984099"/>
                    </a:cubicBezTo>
                    <a:cubicBezTo>
                      <a:pt x="440415" y="3984099"/>
                      <a:pt x="435730" y="3988785"/>
                      <a:pt x="435730" y="3994455"/>
                    </a:cubicBezTo>
                    <a:cubicBezTo>
                      <a:pt x="435730" y="4000127"/>
                      <a:pt x="440415" y="4004813"/>
                      <a:pt x="446084" y="4004813"/>
                    </a:cubicBezTo>
                    <a:cubicBezTo>
                      <a:pt x="451756" y="4004813"/>
                      <a:pt x="456442" y="4000127"/>
                      <a:pt x="456442" y="3994455"/>
                    </a:cubicBezTo>
                    <a:close/>
                    <a:moveTo>
                      <a:pt x="457427" y="1727610"/>
                    </a:moveTo>
                    <a:cubicBezTo>
                      <a:pt x="457427" y="1724647"/>
                      <a:pt x="454715" y="1721931"/>
                      <a:pt x="451509" y="1721931"/>
                    </a:cubicBezTo>
                    <a:cubicBezTo>
                      <a:pt x="448551" y="1721931"/>
                      <a:pt x="445838" y="1724401"/>
                      <a:pt x="445838" y="1727610"/>
                    </a:cubicBezTo>
                    <a:cubicBezTo>
                      <a:pt x="445838" y="1730818"/>
                      <a:pt x="448303" y="1733534"/>
                      <a:pt x="451509" y="1733534"/>
                    </a:cubicBezTo>
                    <a:cubicBezTo>
                      <a:pt x="454715" y="1733534"/>
                      <a:pt x="457427" y="1730818"/>
                      <a:pt x="457427" y="1727610"/>
                    </a:cubicBezTo>
                    <a:close/>
                    <a:moveTo>
                      <a:pt x="459397" y="19098"/>
                    </a:moveTo>
                    <a:cubicBezTo>
                      <a:pt x="459397" y="9235"/>
                      <a:pt x="451261" y="1099"/>
                      <a:pt x="441398" y="1099"/>
                    </a:cubicBezTo>
                    <a:cubicBezTo>
                      <a:pt x="431534" y="1099"/>
                      <a:pt x="423399" y="9235"/>
                      <a:pt x="423399" y="19098"/>
                    </a:cubicBezTo>
                    <a:cubicBezTo>
                      <a:pt x="423399" y="28960"/>
                      <a:pt x="431534" y="37095"/>
                      <a:pt x="441398" y="37095"/>
                    </a:cubicBezTo>
                    <a:cubicBezTo>
                      <a:pt x="451261" y="37095"/>
                      <a:pt x="459151" y="29205"/>
                      <a:pt x="459397" y="19098"/>
                    </a:cubicBezTo>
                    <a:close/>
                    <a:moveTo>
                      <a:pt x="463097" y="2690908"/>
                    </a:moveTo>
                    <a:cubicBezTo>
                      <a:pt x="463097" y="2673154"/>
                      <a:pt x="448797" y="2658851"/>
                      <a:pt x="431044" y="2658851"/>
                    </a:cubicBezTo>
                    <a:cubicBezTo>
                      <a:pt x="413290" y="2658851"/>
                      <a:pt x="398988" y="2673154"/>
                      <a:pt x="398988" y="2690908"/>
                    </a:cubicBezTo>
                    <a:cubicBezTo>
                      <a:pt x="398988" y="2708662"/>
                      <a:pt x="413290" y="2722964"/>
                      <a:pt x="431044" y="2722964"/>
                    </a:cubicBezTo>
                    <a:cubicBezTo>
                      <a:pt x="448797" y="2722964"/>
                      <a:pt x="463097" y="2708415"/>
                      <a:pt x="463097" y="2690908"/>
                    </a:cubicBezTo>
                    <a:close/>
                    <a:moveTo>
                      <a:pt x="463837" y="5670184"/>
                    </a:moveTo>
                    <a:cubicBezTo>
                      <a:pt x="463837" y="5669446"/>
                      <a:pt x="463096" y="5668705"/>
                      <a:pt x="462356" y="5668705"/>
                    </a:cubicBezTo>
                    <a:cubicBezTo>
                      <a:pt x="461618" y="5668705"/>
                      <a:pt x="460878" y="5669446"/>
                      <a:pt x="460878" y="5670184"/>
                    </a:cubicBezTo>
                    <a:cubicBezTo>
                      <a:pt x="460878" y="5670924"/>
                      <a:pt x="461618" y="5671665"/>
                      <a:pt x="462356" y="5671665"/>
                    </a:cubicBezTo>
                    <a:cubicBezTo>
                      <a:pt x="463096" y="5671665"/>
                      <a:pt x="463837" y="5670924"/>
                      <a:pt x="463837" y="5670184"/>
                    </a:cubicBezTo>
                    <a:close/>
                    <a:moveTo>
                      <a:pt x="465810" y="4526076"/>
                    </a:moveTo>
                    <a:cubicBezTo>
                      <a:pt x="465810" y="4515472"/>
                      <a:pt x="457179" y="4506841"/>
                      <a:pt x="446575" y="4506841"/>
                    </a:cubicBezTo>
                    <a:cubicBezTo>
                      <a:pt x="435975" y="4506841"/>
                      <a:pt x="427344" y="4515472"/>
                      <a:pt x="427344" y="4526076"/>
                    </a:cubicBezTo>
                    <a:cubicBezTo>
                      <a:pt x="427344" y="4536676"/>
                      <a:pt x="435975" y="4545307"/>
                      <a:pt x="446575" y="4545307"/>
                    </a:cubicBezTo>
                    <a:cubicBezTo>
                      <a:pt x="456934" y="4545307"/>
                      <a:pt x="465564" y="4536676"/>
                      <a:pt x="465810" y="4526076"/>
                    </a:cubicBezTo>
                    <a:close/>
                    <a:moveTo>
                      <a:pt x="469261" y="5928844"/>
                    </a:moveTo>
                    <a:cubicBezTo>
                      <a:pt x="469261" y="5916022"/>
                      <a:pt x="458903" y="5905664"/>
                      <a:pt x="446084" y="5905664"/>
                    </a:cubicBezTo>
                    <a:cubicBezTo>
                      <a:pt x="433262" y="5905664"/>
                      <a:pt x="422904" y="5916022"/>
                      <a:pt x="422904" y="5928844"/>
                    </a:cubicBezTo>
                    <a:cubicBezTo>
                      <a:pt x="422904" y="5941666"/>
                      <a:pt x="433262" y="5952020"/>
                      <a:pt x="446084" y="5952020"/>
                    </a:cubicBezTo>
                    <a:cubicBezTo>
                      <a:pt x="458903" y="5952020"/>
                      <a:pt x="469261" y="5941417"/>
                      <a:pt x="469261" y="5928844"/>
                    </a:cubicBezTo>
                    <a:close/>
                    <a:moveTo>
                      <a:pt x="470494" y="1866945"/>
                    </a:moveTo>
                    <a:cubicBezTo>
                      <a:pt x="470494" y="1865223"/>
                      <a:pt x="469015" y="1863743"/>
                      <a:pt x="467288" y="1863743"/>
                    </a:cubicBezTo>
                    <a:cubicBezTo>
                      <a:pt x="465562" y="1863743"/>
                      <a:pt x="464084" y="1865223"/>
                      <a:pt x="464084" y="1866945"/>
                    </a:cubicBezTo>
                    <a:cubicBezTo>
                      <a:pt x="464084" y="1868671"/>
                      <a:pt x="465562" y="1870152"/>
                      <a:pt x="467288" y="1870152"/>
                    </a:cubicBezTo>
                    <a:cubicBezTo>
                      <a:pt x="469262" y="1870152"/>
                      <a:pt x="470494" y="1868671"/>
                      <a:pt x="470494" y="1866945"/>
                    </a:cubicBezTo>
                    <a:close/>
                    <a:moveTo>
                      <a:pt x="470989" y="2431273"/>
                    </a:moveTo>
                    <a:cubicBezTo>
                      <a:pt x="470989" y="2416972"/>
                      <a:pt x="459399" y="2405385"/>
                      <a:pt x="445097" y="2405385"/>
                    </a:cubicBezTo>
                    <a:cubicBezTo>
                      <a:pt x="430797" y="2405385"/>
                      <a:pt x="419208" y="2416972"/>
                      <a:pt x="419208" y="2431273"/>
                    </a:cubicBezTo>
                    <a:cubicBezTo>
                      <a:pt x="419208" y="2445576"/>
                      <a:pt x="430797" y="2457162"/>
                      <a:pt x="445097" y="2457162"/>
                    </a:cubicBezTo>
                    <a:cubicBezTo>
                      <a:pt x="459399" y="2457162"/>
                      <a:pt x="471235" y="2445576"/>
                      <a:pt x="470989" y="2431273"/>
                    </a:cubicBezTo>
                    <a:close/>
                    <a:moveTo>
                      <a:pt x="474440" y="5538515"/>
                    </a:moveTo>
                    <a:cubicBezTo>
                      <a:pt x="474440" y="5537035"/>
                      <a:pt x="473206" y="5535802"/>
                      <a:pt x="471728" y="5535802"/>
                    </a:cubicBezTo>
                    <a:cubicBezTo>
                      <a:pt x="470247" y="5535802"/>
                      <a:pt x="469015" y="5537035"/>
                      <a:pt x="469015" y="5538515"/>
                    </a:cubicBezTo>
                    <a:cubicBezTo>
                      <a:pt x="469015" y="5539993"/>
                      <a:pt x="470247" y="5541229"/>
                      <a:pt x="471728" y="5541229"/>
                    </a:cubicBezTo>
                    <a:cubicBezTo>
                      <a:pt x="473206" y="5541229"/>
                      <a:pt x="474440" y="5539748"/>
                      <a:pt x="474440" y="5538515"/>
                    </a:cubicBezTo>
                    <a:close/>
                    <a:moveTo>
                      <a:pt x="481098" y="5800132"/>
                    </a:moveTo>
                    <a:cubicBezTo>
                      <a:pt x="481098" y="5785092"/>
                      <a:pt x="468768" y="5772761"/>
                      <a:pt x="453728" y="5772761"/>
                    </a:cubicBezTo>
                    <a:cubicBezTo>
                      <a:pt x="438687" y="5772761"/>
                      <a:pt x="426358" y="5785092"/>
                      <a:pt x="426358" y="5800132"/>
                    </a:cubicBezTo>
                    <a:cubicBezTo>
                      <a:pt x="426358" y="5815173"/>
                      <a:pt x="438687" y="5827503"/>
                      <a:pt x="453728" y="5827503"/>
                    </a:cubicBezTo>
                    <a:cubicBezTo>
                      <a:pt x="468768" y="5827503"/>
                      <a:pt x="481098" y="5815173"/>
                      <a:pt x="481098" y="5800132"/>
                    </a:cubicBezTo>
                    <a:close/>
                    <a:moveTo>
                      <a:pt x="486276" y="5405116"/>
                    </a:moveTo>
                    <a:cubicBezTo>
                      <a:pt x="486276" y="5403143"/>
                      <a:pt x="484798" y="5401665"/>
                      <a:pt x="482823" y="5401665"/>
                    </a:cubicBezTo>
                    <a:cubicBezTo>
                      <a:pt x="480850" y="5401665"/>
                      <a:pt x="479372" y="5403143"/>
                      <a:pt x="479372" y="5405116"/>
                    </a:cubicBezTo>
                    <a:cubicBezTo>
                      <a:pt x="479372" y="5407092"/>
                      <a:pt x="480850" y="5408570"/>
                      <a:pt x="482823" y="5408570"/>
                    </a:cubicBezTo>
                    <a:cubicBezTo>
                      <a:pt x="484798" y="5408570"/>
                      <a:pt x="486276" y="5407092"/>
                      <a:pt x="486276" y="5405116"/>
                    </a:cubicBezTo>
                    <a:close/>
                    <a:moveTo>
                      <a:pt x="486277" y="2008892"/>
                    </a:moveTo>
                    <a:cubicBezTo>
                      <a:pt x="486277" y="2008397"/>
                      <a:pt x="485782" y="2007905"/>
                      <a:pt x="485291" y="2007905"/>
                    </a:cubicBezTo>
                    <a:cubicBezTo>
                      <a:pt x="484796" y="2007905"/>
                      <a:pt x="484305" y="2008397"/>
                      <a:pt x="484305" y="2008892"/>
                    </a:cubicBezTo>
                    <a:cubicBezTo>
                      <a:pt x="484305" y="2009382"/>
                      <a:pt x="484796" y="2009877"/>
                      <a:pt x="485291" y="2009877"/>
                    </a:cubicBezTo>
                    <a:cubicBezTo>
                      <a:pt x="485782" y="2009877"/>
                      <a:pt x="486277" y="2009382"/>
                      <a:pt x="486277" y="2008892"/>
                    </a:cubicBezTo>
                    <a:close/>
                    <a:moveTo>
                      <a:pt x="489727" y="2963124"/>
                    </a:moveTo>
                    <a:cubicBezTo>
                      <a:pt x="489727" y="2938465"/>
                      <a:pt x="469755" y="2918493"/>
                      <a:pt x="445344" y="2918493"/>
                    </a:cubicBezTo>
                    <a:cubicBezTo>
                      <a:pt x="420932" y="2918493"/>
                      <a:pt x="400960" y="2938465"/>
                      <a:pt x="400960" y="2963124"/>
                    </a:cubicBezTo>
                    <a:cubicBezTo>
                      <a:pt x="400960" y="2987535"/>
                      <a:pt x="420932" y="3007509"/>
                      <a:pt x="445344" y="3007509"/>
                    </a:cubicBezTo>
                    <a:cubicBezTo>
                      <a:pt x="469755" y="3007509"/>
                      <a:pt x="489727" y="2987535"/>
                      <a:pt x="489727" y="2963124"/>
                    </a:cubicBezTo>
                    <a:close/>
                    <a:moveTo>
                      <a:pt x="491453" y="2185941"/>
                    </a:moveTo>
                    <a:cubicBezTo>
                      <a:pt x="491453" y="2180275"/>
                      <a:pt x="486768" y="2175587"/>
                      <a:pt x="481096" y="2175587"/>
                    </a:cubicBezTo>
                    <a:cubicBezTo>
                      <a:pt x="475427" y="2175587"/>
                      <a:pt x="470741" y="2180275"/>
                      <a:pt x="470741" y="2185941"/>
                    </a:cubicBezTo>
                    <a:cubicBezTo>
                      <a:pt x="470741" y="2191612"/>
                      <a:pt x="475427" y="2196299"/>
                      <a:pt x="481096" y="2196299"/>
                    </a:cubicBezTo>
                    <a:cubicBezTo>
                      <a:pt x="486768" y="2196299"/>
                      <a:pt x="491453" y="2191612"/>
                      <a:pt x="491453" y="2185941"/>
                    </a:cubicBezTo>
                    <a:close/>
                    <a:moveTo>
                      <a:pt x="491454" y="4371226"/>
                    </a:moveTo>
                    <a:cubicBezTo>
                      <a:pt x="491454" y="4366789"/>
                      <a:pt x="487758" y="4363089"/>
                      <a:pt x="483318" y="4363089"/>
                    </a:cubicBezTo>
                    <a:cubicBezTo>
                      <a:pt x="478880" y="4363089"/>
                      <a:pt x="475181" y="4366789"/>
                      <a:pt x="475181" y="4371226"/>
                    </a:cubicBezTo>
                    <a:cubicBezTo>
                      <a:pt x="475181" y="4375665"/>
                      <a:pt x="478880" y="4379362"/>
                      <a:pt x="483318" y="4379362"/>
                    </a:cubicBezTo>
                    <a:cubicBezTo>
                      <a:pt x="487758" y="4379362"/>
                      <a:pt x="491454" y="4375665"/>
                      <a:pt x="491454" y="4371226"/>
                    </a:cubicBezTo>
                    <a:close/>
                    <a:moveTo>
                      <a:pt x="493181" y="4104675"/>
                    </a:moveTo>
                    <a:cubicBezTo>
                      <a:pt x="493181" y="4099004"/>
                      <a:pt x="488496" y="4094566"/>
                      <a:pt x="482824" y="4094566"/>
                    </a:cubicBezTo>
                    <a:cubicBezTo>
                      <a:pt x="477400" y="4094566"/>
                      <a:pt x="472715" y="4099004"/>
                      <a:pt x="472715" y="4104675"/>
                    </a:cubicBezTo>
                    <a:cubicBezTo>
                      <a:pt x="472715" y="4110101"/>
                      <a:pt x="477155" y="4114784"/>
                      <a:pt x="482824" y="4114784"/>
                    </a:cubicBezTo>
                    <a:cubicBezTo>
                      <a:pt x="488496" y="4114784"/>
                      <a:pt x="492932" y="4110347"/>
                      <a:pt x="493181" y="4104675"/>
                    </a:cubicBezTo>
                    <a:close/>
                    <a:moveTo>
                      <a:pt x="493919" y="7201174"/>
                    </a:moveTo>
                    <a:cubicBezTo>
                      <a:pt x="493919" y="7200436"/>
                      <a:pt x="493178" y="7199695"/>
                      <a:pt x="492438" y="7199695"/>
                    </a:cubicBezTo>
                    <a:cubicBezTo>
                      <a:pt x="491700" y="7199695"/>
                      <a:pt x="490960" y="7200436"/>
                      <a:pt x="490960" y="7201174"/>
                    </a:cubicBezTo>
                    <a:cubicBezTo>
                      <a:pt x="490960" y="7201914"/>
                      <a:pt x="491700" y="7202655"/>
                      <a:pt x="492438" y="7202655"/>
                    </a:cubicBezTo>
                    <a:cubicBezTo>
                      <a:pt x="493425" y="7202655"/>
                      <a:pt x="493919" y="7202163"/>
                      <a:pt x="493919" y="7201174"/>
                    </a:cubicBezTo>
                    <a:close/>
                    <a:moveTo>
                      <a:pt x="495399" y="5269747"/>
                    </a:moveTo>
                    <a:lnTo>
                      <a:pt x="495153" y="5269501"/>
                    </a:lnTo>
                    <a:lnTo>
                      <a:pt x="495153" y="5269747"/>
                    </a:lnTo>
                    <a:close/>
                    <a:moveTo>
                      <a:pt x="495893" y="7082818"/>
                    </a:moveTo>
                    <a:cubicBezTo>
                      <a:pt x="495893" y="7082080"/>
                      <a:pt x="495153" y="7081339"/>
                      <a:pt x="494412" y="7081339"/>
                    </a:cubicBezTo>
                    <a:cubicBezTo>
                      <a:pt x="493674" y="7081339"/>
                      <a:pt x="492934" y="7082080"/>
                      <a:pt x="492934" y="7082818"/>
                    </a:cubicBezTo>
                    <a:cubicBezTo>
                      <a:pt x="492934" y="7083558"/>
                      <a:pt x="493674" y="7084299"/>
                      <a:pt x="494412" y="7084299"/>
                    </a:cubicBezTo>
                    <a:cubicBezTo>
                      <a:pt x="495153" y="7084299"/>
                      <a:pt x="495893" y="7083558"/>
                      <a:pt x="495893" y="7082818"/>
                    </a:cubicBezTo>
                    <a:close/>
                    <a:moveTo>
                      <a:pt x="498359" y="6963475"/>
                    </a:moveTo>
                    <a:cubicBezTo>
                      <a:pt x="498359" y="6962489"/>
                      <a:pt x="497372" y="6961502"/>
                      <a:pt x="496386" y="6961502"/>
                    </a:cubicBezTo>
                    <a:cubicBezTo>
                      <a:pt x="495400" y="6961502"/>
                      <a:pt x="494413" y="6962489"/>
                      <a:pt x="494413" y="6963475"/>
                    </a:cubicBezTo>
                    <a:cubicBezTo>
                      <a:pt x="494413" y="6964461"/>
                      <a:pt x="495153" y="6965448"/>
                      <a:pt x="496386" y="6965448"/>
                    </a:cubicBezTo>
                    <a:cubicBezTo>
                      <a:pt x="497618" y="6965448"/>
                      <a:pt x="498359" y="6964708"/>
                      <a:pt x="498359" y="6963475"/>
                    </a:cubicBezTo>
                    <a:close/>
                    <a:moveTo>
                      <a:pt x="507236" y="994398"/>
                    </a:moveTo>
                    <a:cubicBezTo>
                      <a:pt x="507236" y="986016"/>
                      <a:pt x="500579" y="979355"/>
                      <a:pt x="492193" y="979355"/>
                    </a:cubicBezTo>
                    <a:cubicBezTo>
                      <a:pt x="483811" y="979355"/>
                      <a:pt x="477154" y="986016"/>
                      <a:pt x="477154" y="994398"/>
                    </a:cubicBezTo>
                    <a:cubicBezTo>
                      <a:pt x="477154" y="1002781"/>
                      <a:pt x="483811" y="1009442"/>
                      <a:pt x="492193" y="1009442"/>
                    </a:cubicBezTo>
                    <a:cubicBezTo>
                      <a:pt x="500579" y="1009442"/>
                      <a:pt x="507482" y="1002781"/>
                      <a:pt x="507236" y="994398"/>
                    </a:cubicBezTo>
                    <a:close/>
                    <a:moveTo>
                      <a:pt x="509701" y="6847337"/>
                    </a:moveTo>
                    <a:cubicBezTo>
                      <a:pt x="509701" y="6845364"/>
                      <a:pt x="507974" y="6843886"/>
                      <a:pt x="506248" y="6843886"/>
                    </a:cubicBezTo>
                    <a:cubicBezTo>
                      <a:pt x="504276" y="6843886"/>
                      <a:pt x="502798" y="6845364"/>
                      <a:pt x="502798" y="6847337"/>
                    </a:cubicBezTo>
                    <a:cubicBezTo>
                      <a:pt x="502798" y="6849312"/>
                      <a:pt x="504276" y="6850790"/>
                      <a:pt x="506248" y="6850790"/>
                    </a:cubicBezTo>
                    <a:cubicBezTo>
                      <a:pt x="508221" y="6850790"/>
                      <a:pt x="509701" y="6849312"/>
                      <a:pt x="509701" y="6847337"/>
                    </a:cubicBezTo>
                    <a:close/>
                    <a:moveTo>
                      <a:pt x="512166" y="6727256"/>
                    </a:moveTo>
                    <a:cubicBezTo>
                      <a:pt x="512166" y="6725775"/>
                      <a:pt x="510686" y="6724297"/>
                      <a:pt x="508959" y="6724297"/>
                    </a:cubicBezTo>
                    <a:cubicBezTo>
                      <a:pt x="507235" y="6724297"/>
                      <a:pt x="505754" y="6725530"/>
                      <a:pt x="505754" y="6727256"/>
                    </a:cubicBezTo>
                    <a:cubicBezTo>
                      <a:pt x="505754" y="6728983"/>
                      <a:pt x="507235" y="6730461"/>
                      <a:pt x="508959" y="6730461"/>
                    </a:cubicBezTo>
                    <a:cubicBezTo>
                      <a:pt x="510686" y="6730461"/>
                      <a:pt x="512166" y="6728983"/>
                      <a:pt x="512166" y="6727256"/>
                    </a:cubicBezTo>
                    <a:close/>
                    <a:moveTo>
                      <a:pt x="513398" y="2586603"/>
                    </a:moveTo>
                    <a:cubicBezTo>
                      <a:pt x="513398" y="2569343"/>
                      <a:pt x="499343" y="2555039"/>
                      <a:pt x="481836" y="2555039"/>
                    </a:cubicBezTo>
                    <a:cubicBezTo>
                      <a:pt x="464329" y="2555039"/>
                      <a:pt x="450275" y="2569094"/>
                      <a:pt x="450275" y="2586603"/>
                    </a:cubicBezTo>
                    <a:cubicBezTo>
                      <a:pt x="450275" y="2604111"/>
                      <a:pt x="464329" y="2618165"/>
                      <a:pt x="481836" y="2618165"/>
                    </a:cubicBezTo>
                    <a:cubicBezTo>
                      <a:pt x="499343" y="2618165"/>
                      <a:pt x="513643" y="2603863"/>
                      <a:pt x="513398" y="2586603"/>
                    </a:cubicBezTo>
                    <a:close/>
                    <a:moveTo>
                      <a:pt x="513399" y="1122108"/>
                    </a:moveTo>
                    <a:cubicBezTo>
                      <a:pt x="513399" y="1114214"/>
                      <a:pt x="506989" y="1107804"/>
                      <a:pt x="499099" y="1107804"/>
                    </a:cubicBezTo>
                    <a:cubicBezTo>
                      <a:pt x="491208" y="1107804"/>
                      <a:pt x="484796" y="1114214"/>
                      <a:pt x="484796" y="1122108"/>
                    </a:cubicBezTo>
                    <a:cubicBezTo>
                      <a:pt x="484796" y="1129997"/>
                      <a:pt x="491208" y="1136405"/>
                      <a:pt x="499099" y="1136405"/>
                    </a:cubicBezTo>
                    <a:cubicBezTo>
                      <a:pt x="506989" y="1136405"/>
                      <a:pt x="513399" y="1129997"/>
                      <a:pt x="513399" y="1122108"/>
                    </a:cubicBezTo>
                    <a:close/>
                    <a:moveTo>
                      <a:pt x="513893" y="6606188"/>
                    </a:moveTo>
                    <a:cubicBezTo>
                      <a:pt x="513893" y="6604956"/>
                      <a:pt x="512906" y="6604215"/>
                      <a:pt x="511920" y="6604215"/>
                    </a:cubicBezTo>
                    <a:cubicBezTo>
                      <a:pt x="510688" y="6604215"/>
                      <a:pt x="509948" y="6605201"/>
                      <a:pt x="509948" y="6606188"/>
                    </a:cubicBezTo>
                    <a:cubicBezTo>
                      <a:pt x="509948" y="6607420"/>
                      <a:pt x="510934" y="6608160"/>
                      <a:pt x="511920" y="6608160"/>
                    </a:cubicBezTo>
                    <a:cubicBezTo>
                      <a:pt x="512906" y="6608160"/>
                      <a:pt x="513893" y="6607420"/>
                      <a:pt x="513893" y="6606188"/>
                    </a:cubicBezTo>
                    <a:close/>
                    <a:moveTo>
                      <a:pt x="521043" y="1250549"/>
                    </a:moveTo>
                    <a:cubicBezTo>
                      <a:pt x="521043" y="1242913"/>
                      <a:pt x="514880" y="1236501"/>
                      <a:pt x="506989" y="1236501"/>
                    </a:cubicBezTo>
                    <a:cubicBezTo>
                      <a:pt x="499099" y="1236501"/>
                      <a:pt x="492687" y="1242664"/>
                      <a:pt x="492687" y="1250549"/>
                    </a:cubicBezTo>
                    <a:cubicBezTo>
                      <a:pt x="492687" y="1258433"/>
                      <a:pt x="499099" y="1264840"/>
                      <a:pt x="506989" y="1264840"/>
                    </a:cubicBezTo>
                    <a:cubicBezTo>
                      <a:pt x="514631" y="1264840"/>
                      <a:pt x="521043" y="1258188"/>
                      <a:pt x="521043" y="1250549"/>
                    </a:cubicBezTo>
                    <a:close/>
                    <a:moveTo>
                      <a:pt x="521783" y="5131911"/>
                    </a:moveTo>
                    <a:cubicBezTo>
                      <a:pt x="521783" y="5125007"/>
                      <a:pt x="516111" y="5119580"/>
                      <a:pt x="509455" y="5119580"/>
                    </a:cubicBezTo>
                    <a:cubicBezTo>
                      <a:pt x="502551" y="5119580"/>
                      <a:pt x="497126" y="5125252"/>
                      <a:pt x="497126" y="5131911"/>
                    </a:cubicBezTo>
                    <a:cubicBezTo>
                      <a:pt x="497126" y="5138812"/>
                      <a:pt x="502798" y="5144238"/>
                      <a:pt x="509455" y="5144238"/>
                    </a:cubicBezTo>
                    <a:cubicBezTo>
                      <a:pt x="516111" y="5144238"/>
                      <a:pt x="521783" y="5138812"/>
                      <a:pt x="521783" y="5131911"/>
                    </a:cubicBezTo>
                    <a:close/>
                    <a:moveTo>
                      <a:pt x="521784" y="109317"/>
                    </a:moveTo>
                    <a:cubicBezTo>
                      <a:pt x="521784" y="98960"/>
                      <a:pt x="513647" y="90824"/>
                      <a:pt x="503539" y="90824"/>
                    </a:cubicBezTo>
                    <a:cubicBezTo>
                      <a:pt x="493181" y="90824"/>
                      <a:pt x="485044" y="99208"/>
                      <a:pt x="485044" y="109317"/>
                    </a:cubicBezTo>
                    <a:cubicBezTo>
                      <a:pt x="485044" y="119671"/>
                      <a:pt x="493427" y="127810"/>
                      <a:pt x="503539" y="127810"/>
                    </a:cubicBezTo>
                    <a:cubicBezTo>
                      <a:pt x="513647" y="127810"/>
                      <a:pt x="521784" y="119425"/>
                      <a:pt x="521784" y="109317"/>
                    </a:cubicBezTo>
                    <a:close/>
                    <a:moveTo>
                      <a:pt x="521784" y="4771665"/>
                    </a:moveTo>
                    <a:cubicBezTo>
                      <a:pt x="521784" y="4750212"/>
                      <a:pt x="504277" y="4732704"/>
                      <a:pt x="482827" y="4732704"/>
                    </a:cubicBezTo>
                    <a:cubicBezTo>
                      <a:pt x="461374" y="4732704"/>
                      <a:pt x="443866" y="4750212"/>
                      <a:pt x="443866" y="4771665"/>
                    </a:cubicBezTo>
                    <a:cubicBezTo>
                      <a:pt x="443866" y="4793115"/>
                      <a:pt x="461374" y="4810622"/>
                      <a:pt x="482827" y="4810622"/>
                    </a:cubicBezTo>
                    <a:cubicBezTo>
                      <a:pt x="504277" y="4810622"/>
                      <a:pt x="521784" y="4793115"/>
                      <a:pt x="521784" y="4771665"/>
                    </a:cubicBezTo>
                    <a:close/>
                    <a:moveTo>
                      <a:pt x="524494" y="229614"/>
                    </a:moveTo>
                    <a:cubicBezTo>
                      <a:pt x="524494" y="219751"/>
                      <a:pt x="516358" y="211616"/>
                      <a:pt x="506494" y="211616"/>
                    </a:cubicBezTo>
                    <a:cubicBezTo>
                      <a:pt x="496631" y="211616"/>
                      <a:pt x="488496" y="219751"/>
                      <a:pt x="488496" y="229614"/>
                    </a:cubicBezTo>
                    <a:cubicBezTo>
                      <a:pt x="488496" y="239477"/>
                      <a:pt x="496631" y="247612"/>
                      <a:pt x="506494" y="247612"/>
                    </a:cubicBezTo>
                    <a:cubicBezTo>
                      <a:pt x="516358" y="247612"/>
                      <a:pt x="524494" y="239477"/>
                      <a:pt x="524494" y="229614"/>
                    </a:cubicBezTo>
                    <a:close/>
                    <a:moveTo>
                      <a:pt x="526220" y="2852655"/>
                    </a:moveTo>
                    <a:cubicBezTo>
                      <a:pt x="526220" y="2828243"/>
                      <a:pt x="506248" y="2808271"/>
                      <a:pt x="481837" y="2808271"/>
                    </a:cubicBezTo>
                    <a:cubicBezTo>
                      <a:pt x="457425" y="2808271"/>
                      <a:pt x="437453" y="2828243"/>
                      <a:pt x="437453" y="2852655"/>
                    </a:cubicBezTo>
                    <a:cubicBezTo>
                      <a:pt x="437453" y="2877067"/>
                      <a:pt x="457425" y="2897040"/>
                      <a:pt x="481837" y="2897040"/>
                    </a:cubicBezTo>
                    <a:cubicBezTo>
                      <a:pt x="506494" y="2897040"/>
                      <a:pt x="526220" y="2877314"/>
                      <a:pt x="526220" y="2852655"/>
                    </a:cubicBezTo>
                    <a:close/>
                    <a:moveTo>
                      <a:pt x="527207" y="4992102"/>
                    </a:moveTo>
                    <a:cubicBezTo>
                      <a:pt x="527207" y="4991364"/>
                      <a:pt x="526715" y="4990870"/>
                      <a:pt x="525975" y="4990870"/>
                    </a:cubicBezTo>
                    <a:cubicBezTo>
                      <a:pt x="525234" y="4990870"/>
                      <a:pt x="524743" y="4991364"/>
                      <a:pt x="524743" y="4992102"/>
                    </a:cubicBezTo>
                    <a:cubicBezTo>
                      <a:pt x="524743" y="4992843"/>
                      <a:pt x="525234" y="4993337"/>
                      <a:pt x="525975" y="4993337"/>
                    </a:cubicBezTo>
                    <a:cubicBezTo>
                      <a:pt x="526715" y="4993337"/>
                      <a:pt x="527207" y="4992843"/>
                      <a:pt x="527207" y="4992102"/>
                    </a:cubicBezTo>
                    <a:close/>
                    <a:moveTo>
                      <a:pt x="527456" y="350161"/>
                    </a:moveTo>
                    <a:cubicBezTo>
                      <a:pt x="527456" y="340299"/>
                      <a:pt x="519565" y="332409"/>
                      <a:pt x="509702" y="332409"/>
                    </a:cubicBezTo>
                    <a:cubicBezTo>
                      <a:pt x="499839" y="332409"/>
                      <a:pt x="491949" y="340299"/>
                      <a:pt x="491949" y="350161"/>
                    </a:cubicBezTo>
                    <a:cubicBezTo>
                      <a:pt x="491949" y="360023"/>
                      <a:pt x="500085" y="367913"/>
                      <a:pt x="509702" y="367913"/>
                    </a:cubicBezTo>
                    <a:cubicBezTo>
                      <a:pt x="519319" y="367913"/>
                      <a:pt x="527209" y="360023"/>
                      <a:pt x="527456" y="350161"/>
                    </a:cubicBezTo>
                    <a:close/>
                    <a:moveTo>
                      <a:pt x="529920" y="1381211"/>
                    </a:moveTo>
                    <a:cubicBezTo>
                      <a:pt x="529920" y="1373329"/>
                      <a:pt x="523510" y="1366914"/>
                      <a:pt x="515620" y="1366914"/>
                    </a:cubicBezTo>
                    <a:cubicBezTo>
                      <a:pt x="507729" y="1366914"/>
                      <a:pt x="501317" y="1373329"/>
                      <a:pt x="501317" y="1381211"/>
                    </a:cubicBezTo>
                    <a:cubicBezTo>
                      <a:pt x="501317" y="1389105"/>
                      <a:pt x="507729" y="1395521"/>
                      <a:pt x="515620" y="1395521"/>
                    </a:cubicBezTo>
                    <a:cubicBezTo>
                      <a:pt x="523510" y="1395521"/>
                      <a:pt x="529920" y="1389105"/>
                      <a:pt x="529920" y="1381211"/>
                    </a:cubicBezTo>
                    <a:close/>
                    <a:moveTo>
                      <a:pt x="530412" y="472193"/>
                    </a:moveTo>
                    <a:cubicBezTo>
                      <a:pt x="530412" y="462577"/>
                      <a:pt x="522768" y="454933"/>
                      <a:pt x="513153" y="454933"/>
                    </a:cubicBezTo>
                    <a:cubicBezTo>
                      <a:pt x="503781" y="454933"/>
                      <a:pt x="495891" y="462577"/>
                      <a:pt x="495891" y="472193"/>
                    </a:cubicBezTo>
                    <a:cubicBezTo>
                      <a:pt x="495891" y="481561"/>
                      <a:pt x="503536" y="489451"/>
                      <a:pt x="513153" y="489451"/>
                    </a:cubicBezTo>
                    <a:cubicBezTo>
                      <a:pt x="522521" y="489451"/>
                      <a:pt x="530412" y="481561"/>
                      <a:pt x="530412" y="472193"/>
                    </a:cubicBezTo>
                    <a:close/>
                    <a:moveTo>
                      <a:pt x="531646" y="6114022"/>
                    </a:moveTo>
                    <a:cubicBezTo>
                      <a:pt x="531646" y="6112049"/>
                      <a:pt x="529920" y="6110322"/>
                      <a:pt x="527947" y="6110322"/>
                    </a:cubicBezTo>
                    <a:cubicBezTo>
                      <a:pt x="525975" y="6110322"/>
                      <a:pt x="524249" y="6112049"/>
                      <a:pt x="524249" y="6114022"/>
                    </a:cubicBezTo>
                    <a:cubicBezTo>
                      <a:pt x="524249" y="6115995"/>
                      <a:pt x="525975" y="6117472"/>
                      <a:pt x="527947" y="6117472"/>
                    </a:cubicBezTo>
                    <a:cubicBezTo>
                      <a:pt x="529920" y="6117472"/>
                      <a:pt x="531397" y="6115995"/>
                      <a:pt x="531646" y="6114022"/>
                    </a:cubicBezTo>
                    <a:close/>
                    <a:moveTo>
                      <a:pt x="531895" y="3478622"/>
                    </a:moveTo>
                    <a:cubicBezTo>
                      <a:pt x="531895" y="3449608"/>
                      <a:pt x="508221" y="3426185"/>
                      <a:pt x="479372" y="3426185"/>
                    </a:cubicBezTo>
                    <a:cubicBezTo>
                      <a:pt x="450278" y="3426185"/>
                      <a:pt x="426853" y="3449858"/>
                      <a:pt x="426853" y="3478622"/>
                    </a:cubicBezTo>
                    <a:cubicBezTo>
                      <a:pt x="426853" y="3507719"/>
                      <a:pt x="450524" y="3531141"/>
                      <a:pt x="479372" y="3531141"/>
                    </a:cubicBezTo>
                    <a:cubicBezTo>
                      <a:pt x="508221" y="3531141"/>
                      <a:pt x="531895" y="3507470"/>
                      <a:pt x="531895" y="3478622"/>
                    </a:cubicBezTo>
                    <a:close/>
                    <a:moveTo>
                      <a:pt x="532137" y="2333875"/>
                    </a:moveTo>
                    <a:cubicBezTo>
                      <a:pt x="532137" y="2320307"/>
                      <a:pt x="521289" y="2309465"/>
                      <a:pt x="507974" y="2309465"/>
                    </a:cubicBezTo>
                    <a:cubicBezTo>
                      <a:pt x="494658" y="2309465"/>
                      <a:pt x="483809" y="2320553"/>
                      <a:pt x="483809" y="2333875"/>
                    </a:cubicBezTo>
                    <a:cubicBezTo>
                      <a:pt x="483809" y="2347200"/>
                      <a:pt x="494658" y="2358046"/>
                      <a:pt x="507974" y="2358046"/>
                    </a:cubicBezTo>
                    <a:cubicBezTo>
                      <a:pt x="521289" y="2358046"/>
                      <a:pt x="532137" y="2347200"/>
                      <a:pt x="532137" y="2333875"/>
                    </a:cubicBezTo>
                    <a:close/>
                    <a:moveTo>
                      <a:pt x="532384" y="6361831"/>
                    </a:moveTo>
                    <a:cubicBezTo>
                      <a:pt x="532384" y="6354432"/>
                      <a:pt x="526220" y="6348268"/>
                      <a:pt x="518824" y="6348268"/>
                    </a:cubicBezTo>
                    <a:cubicBezTo>
                      <a:pt x="511425" y="6348268"/>
                      <a:pt x="505262" y="6354432"/>
                      <a:pt x="505262" y="6361831"/>
                    </a:cubicBezTo>
                    <a:cubicBezTo>
                      <a:pt x="505262" y="6369227"/>
                      <a:pt x="511425" y="6375393"/>
                      <a:pt x="518824" y="6375393"/>
                    </a:cubicBezTo>
                    <a:cubicBezTo>
                      <a:pt x="526468" y="6375393"/>
                      <a:pt x="532384" y="6369227"/>
                      <a:pt x="532384" y="6361831"/>
                    </a:cubicBezTo>
                    <a:close/>
                    <a:moveTo>
                      <a:pt x="533373" y="4623473"/>
                    </a:moveTo>
                    <a:cubicBezTo>
                      <a:pt x="533373" y="4610157"/>
                      <a:pt x="522524" y="4599307"/>
                      <a:pt x="509208" y="4599307"/>
                    </a:cubicBezTo>
                    <a:cubicBezTo>
                      <a:pt x="495893" y="4599307"/>
                      <a:pt x="485044" y="4610157"/>
                      <a:pt x="485044" y="4623473"/>
                    </a:cubicBezTo>
                    <a:cubicBezTo>
                      <a:pt x="485044" y="4636788"/>
                      <a:pt x="495893" y="4647636"/>
                      <a:pt x="509208" y="4647636"/>
                    </a:cubicBezTo>
                    <a:cubicBezTo>
                      <a:pt x="522770" y="4647636"/>
                      <a:pt x="533618" y="4636788"/>
                      <a:pt x="533373" y="4623473"/>
                    </a:cubicBezTo>
                    <a:close/>
                    <a:moveTo>
                      <a:pt x="534111" y="3362317"/>
                    </a:moveTo>
                    <a:cubicBezTo>
                      <a:pt x="534111" y="3334201"/>
                      <a:pt x="511180" y="3311532"/>
                      <a:pt x="483318" y="3311532"/>
                    </a:cubicBezTo>
                    <a:cubicBezTo>
                      <a:pt x="455206" y="3311532"/>
                      <a:pt x="432522" y="3334449"/>
                      <a:pt x="432522" y="3362317"/>
                    </a:cubicBezTo>
                    <a:cubicBezTo>
                      <a:pt x="432522" y="3390436"/>
                      <a:pt x="455206" y="3413118"/>
                      <a:pt x="483318" y="3413118"/>
                    </a:cubicBezTo>
                    <a:cubicBezTo>
                      <a:pt x="511180" y="3413118"/>
                      <a:pt x="534111" y="3390436"/>
                      <a:pt x="534111" y="3362317"/>
                    </a:cubicBezTo>
                    <a:close/>
                    <a:moveTo>
                      <a:pt x="534112" y="594468"/>
                    </a:moveTo>
                    <a:cubicBezTo>
                      <a:pt x="534112" y="585099"/>
                      <a:pt x="526469" y="577455"/>
                      <a:pt x="517099" y="577455"/>
                    </a:cubicBezTo>
                    <a:cubicBezTo>
                      <a:pt x="507730" y="577455"/>
                      <a:pt x="500085" y="585099"/>
                      <a:pt x="500085" y="594468"/>
                    </a:cubicBezTo>
                    <a:cubicBezTo>
                      <a:pt x="500085" y="603838"/>
                      <a:pt x="507730" y="611482"/>
                      <a:pt x="517099" y="611482"/>
                    </a:cubicBezTo>
                    <a:cubicBezTo>
                      <a:pt x="526469" y="611482"/>
                      <a:pt x="534112" y="603838"/>
                      <a:pt x="534112" y="594468"/>
                    </a:cubicBezTo>
                    <a:close/>
                    <a:moveTo>
                      <a:pt x="535345" y="6484623"/>
                    </a:moveTo>
                    <a:cubicBezTo>
                      <a:pt x="535345" y="6473774"/>
                      <a:pt x="526468" y="6464651"/>
                      <a:pt x="515371" y="6464651"/>
                    </a:cubicBezTo>
                    <a:cubicBezTo>
                      <a:pt x="504521" y="6464651"/>
                      <a:pt x="495399" y="6473527"/>
                      <a:pt x="495399" y="6484623"/>
                    </a:cubicBezTo>
                    <a:cubicBezTo>
                      <a:pt x="495399" y="6495473"/>
                      <a:pt x="504276" y="6504595"/>
                      <a:pt x="515371" y="6504595"/>
                    </a:cubicBezTo>
                    <a:cubicBezTo>
                      <a:pt x="526468" y="6504595"/>
                      <a:pt x="535591" y="6495722"/>
                      <a:pt x="535345" y="6484623"/>
                    </a:cubicBezTo>
                    <a:close/>
                    <a:moveTo>
                      <a:pt x="536330" y="3594756"/>
                    </a:moveTo>
                    <a:cubicBezTo>
                      <a:pt x="536330" y="3565662"/>
                      <a:pt x="512658" y="3541990"/>
                      <a:pt x="483318" y="3541990"/>
                    </a:cubicBezTo>
                    <a:cubicBezTo>
                      <a:pt x="453974" y="3541990"/>
                      <a:pt x="430303" y="3565662"/>
                      <a:pt x="430303" y="3594756"/>
                    </a:cubicBezTo>
                    <a:cubicBezTo>
                      <a:pt x="430303" y="3624100"/>
                      <a:pt x="454221" y="3647771"/>
                      <a:pt x="483318" y="3647771"/>
                    </a:cubicBezTo>
                    <a:cubicBezTo>
                      <a:pt x="512658" y="3647771"/>
                      <a:pt x="536330" y="3624100"/>
                      <a:pt x="536330" y="3594756"/>
                    </a:cubicBezTo>
                    <a:close/>
                    <a:moveTo>
                      <a:pt x="537070" y="6238296"/>
                    </a:moveTo>
                    <a:cubicBezTo>
                      <a:pt x="537070" y="6230655"/>
                      <a:pt x="530661" y="6224242"/>
                      <a:pt x="523015" y="6224242"/>
                    </a:cubicBezTo>
                    <a:cubicBezTo>
                      <a:pt x="515371" y="6224242"/>
                      <a:pt x="508962" y="6230655"/>
                      <a:pt x="508962" y="6238296"/>
                    </a:cubicBezTo>
                    <a:cubicBezTo>
                      <a:pt x="508962" y="6245942"/>
                      <a:pt x="515371" y="6252350"/>
                      <a:pt x="523015" y="6252350"/>
                    </a:cubicBezTo>
                    <a:cubicBezTo>
                      <a:pt x="530906" y="6252350"/>
                      <a:pt x="537318" y="6246187"/>
                      <a:pt x="537070" y="6238296"/>
                    </a:cubicBezTo>
                    <a:close/>
                    <a:moveTo>
                      <a:pt x="537315" y="718269"/>
                    </a:moveTo>
                    <a:cubicBezTo>
                      <a:pt x="537315" y="709392"/>
                      <a:pt x="530165" y="702002"/>
                      <a:pt x="521043" y="702002"/>
                    </a:cubicBezTo>
                    <a:cubicBezTo>
                      <a:pt x="512166" y="702002"/>
                      <a:pt x="504768" y="709392"/>
                      <a:pt x="504768" y="718269"/>
                    </a:cubicBezTo>
                    <a:cubicBezTo>
                      <a:pt x="504768" y="727144"/>
                      <a:pt x="511918" y="734541"/>
                      <a:pt x="521043" y="734541"/>
                    </a:cubicBezTo>
                    <a:cubicBezTo>
                      <a:pt x="530165" y="734541"/>
                      <a:pt x="537315" y="727144"/>
                      <a:pt x="537315" y="718269"/>
                    </a:cubicBezTo>
                    <a:close/>
                    <a:moveTo>
                      <a:pt x="539290" y="1513613"/>
                    </a:moveTo>
                    <a:cubicBezTo>
                      <a:pt x="539290" y="1505723"/>
                      <a:pt x="532878" y="1499311"/>
                      <a:pt x="524989" y="1499311"/>
                    </a:cubicBezTo>
                    <a:cubicBezTo>
                      <a:pt x="517098" y="1499311"/>
                      <a:pt x="510689" y="1505723"/>
                      <a:pt x="510689" y="1513613"/>
                    </a:cubicBezTo>
                    <a:cubicBezTo>
                      <a:pt x="510689" y="1521507"/>
                      <a:pt x="517098" y="1527917"/>
                      <a:pt x="524989" y="1527917"/>
                    </a:cubicBezTo>
                    <a:cubicBezTo>
                      <a:pt x="532878" y="1527917"/>
                      <a:pt x="539290" y="1521507"/>
                      <a:pt x="539290" y="1513613"/>
                    </a:cubicBezTo>
                    <a:close/>
                    <a:moveTo>
                      <a:pt x="540523" y="3710893"/>
                    </a:moveTo>
                    <a:cubicBezTo>
                      <a:pt x="540523" y="3685991"/>
                      <a:pt x="520302" y="3665769"/>
                      <a:pt x="495399" y="3665769"/>
                    </a:cubicBezTo>
                    <a:cubicBezTo>
                      <a:pt x="470493" y="3665769"/>
                      <a:pt x="450275" y="3685991"/>
                      <a:pt x="450275" y="3710893"/>
                    </a:cubicBezTo>
                    <a:cubicBezTo>
                      <a:pt x="450275" y="3735797"/>
                      <a:pt x="470493" y="3756018"/>
                      <a:pt x="495399" y="3756018"/>
                    </a:cubicBezTo>
                    <a:cubicBezTo>
                      <a:pt x="520302" y="3756018"/>
                      <a:pt x="540523" y="3735552"/>
                      <a:pt x="540523" y="3710893"/>
                    </a:cubicBezTo>
                    <a:close/>
                    <a:moveTo>
                      <a:pt x="540768" y="4212184"/>
                    </a:moveTo>
                    <a:cubicBezTo>
                      <a:pt x="540768" y="4204295"/>
                      <a:pt x="534359" y="4197881"/>
                      <a:pt x="526468" y="4197881"/>
                    </a:cubicBezTo>
                    <a:cubicBezTo>
                      <a:pt x="518579" y="4197881"/>
                      <a:pt x="512166" y="4204295"/>
                      <a:pt x="512166" y="4212184"/>
                    </a:cubicBezTo>
                    <a:cubicBezTo>
                      <a:pt x="512166" y="4220075"/>
                      <a:pt x="518579" y="4226484"/>
                      <a:pt x="526468" y="4226484"/>
                    </a:cubicBezTo>
                    <a:cubicBezTo>
                      <a:pt x="534359" y="4226484"/>
                      <a:pt x="540768" y="4220075"/>
                      <a:pt x="540768" y="4212184"/>
                    </a:cubicBezTo>
                    <a:close/>
                    <a:moveTo>
                      <a:pt x="541509" y="842780"/>
                    </a:moveTo>
                    <a:cubicBezTo>
                      <a:pt x="541509" y="834148"/>
                      <a:pt x="534359" y="826997"/>
                      <a:pt x="525728" y="826997"/>
                    </a:cubicBezTo>
                    <a:cubicBezTo>
                      <a:pt x="517098" y="826997"/>
                      <a:pt x="509948" y="834148"/>
                      <a:pt x="509948" y="842780"/>
                    </a:cubicBezTo>
                    <a:cubicBezTo>
                      <a:pt x="509948" y="851404"/>
                      <a:pt x="517098" y="858548"/>
                      <a:pt x="525728" y="858548"/>
                    </a:cubicBezTo>
                    <a:cubicBezTo>
                      <a:pt x="534359" y="858548"/>
                      <a:pt x="541509" y="851404"/>
                      <a:pt x="541509" y="842780"/>
                    </a:cubicBezTo>
                    <a:close/>
                    <a:moveTo>
                      <a:pt x="543976" y="3246681"/>
                    </a:moveTo>
                    <a:cubicBezTo>
                      <a:pt x="543976" y="3219557"/>
                      <a:pt x="522029" y="3197612"/>
                      <a:pt x="494908" y="3197612"/>
                    </a:cubicBezTo>
                    <a:cubicBezTo>
                      <a:pt x="467783" y="3197612"/>
                      <a:pt x="445838" y="3219557"/>
                      <a:pt x="445838" y="3246681"/>
                    </a:cubicBezTo>
                    <a:cubicBezTo>
                      <a:pt x="445838" y="3273801"/>
                      <a:pt x="467783" y="3295746"/>
                      <a:pt x="494908" y="3295746"/>
                    </a:cubicBezTo>
                    <a:cubicBezTo>
                      <a:pt x="522029" y="3295746"/>
                      <a:pt x="543976" y="3273556"/>
                      <a:pt x="543976" y="3246681"/>
                    </a:cubicBezTo>
                    <a:close/>
                    <a:moveTo>
                      <a:pt x="544961" y="1647732"/>
                    </a:moveTo>
                    <a:cubicBezTo>
                      <a:pt x="544961" y="1642803"/>
                      <a:pt x="541015" y="1638858"/>
                      <a:pt x="536083" y="1638858"/>
                    </a:cubicBezTo>
                    <a:cubicBezTo>
                      <a:pt x="530906" y="1638858"/>
                      <a:pt x="526961" y="1642557"/>
                      <a:pt x="526961" y="1647732"/>
                    </a:cubicBezTo>
                    <a:cubicBezTo>
                      <a:pt x="526961" y="1652907"/>
                      <a:pt x="531152" y="1656851"/>
                      <a:pt x="536083" y="1656851"/>
                    </a:cubicBezTo>
                    <a:cubicBezTo>
                      <a:pt x="541015" y="1656851"/>
                      <a:pt x="544961" y="1652661"/>
                      <a:pt x="544961" y="1647732"/>
                    </a:cubicBezTo>
                    <a:close/>
                    <a:moveTo>
                      <a:pt x="549399" y="3825305"/>
                    </a:moveTo>
                    <a:cubicBezTo>
                      <a:pt x="549399" y="3806319"/>
                      <a:pt x="533865" y="3791030"/>
                      <a:pt x="515125" y="3791030"/>
                    </a:cubicBezTo>
                    <a:cubicBezTo>
                      <a:pt x="496139" y="3791030"/>
                      <a:pt x="480850" y="3806565"/>
                      <a:pt x="480850" y="3825305"/>
                    </a:cubicBezTo>
                    <a:cubicBezTo>
                      <a:pt x="480850" y="3844291"/>
                      <a:pt x="496139" y="3859577"/>
                      <a:pt x="515125" y="3859577"/>
                    </a:cubicBezTo>
                    <a:cubicBezTo>
                      <a:pt x="533865" y="3859577"/>
                      <a:pt x="549399" y="3844291"/>
                      <a:pt x="549399" y="3825305"/>
                    </a:cubicBezTo>
                    <a:close/>
                    <a:moveTo>
                      <a:pt x="552113" y="4472074"/>
                    </a:moveTo>
                    <a:cubicBezTo>
                      <a:pt x="552113" y="4465662"/>
                      <a:pt x="546933" y="4460485"/>
                      <a:pt x="540524" y="4460485"/>
                    </a:cubicBezTo>
                    <a:cubicBezTo>
                      <a:pt x="534111" y="4460485"/>
                      <a:pt x="528934" y="4465662"/>
                      <a:pt x="528934" y="4472074"/>
                    </a:cubicBezTo>
                    <a:cubicBezTo>
                      <a:pt x="528934" y="4478484"/>
                      <a:pt x="534111" y="4483664"/>
                      <a:pt x="540524" y="4483664"/>
                    </a:cubicBezTo>
                    <a:cubicBezTo>
                      <a:pt x="546933" y="4483664"/>
                      <a:pt x="552113" y="4478484"/>
                      <a:pt x="552113" y="4472074"/>
                    </a:cubicBezTo>
                    <a:close/>
                    <a:moveTo>
                      <a:pt x="553096" y="1784094"/>
                    </a:moveTo>
                    <a:cubicBezTo>
                      <a:pt x="553096" y="1781889"/>
                      <a:pt x="551370" y="1780162"/>
                      <a:pt x="549152" y="1780162"/>
                    </a:cubicBezTo>
                    <a:cubicBezTo>
                      <a:pt x="546933" y="1780162"/>
                      <a:pt x="545206" y="1781889"/>
                      <a:pt x="545206" y="1784094"/>
                    </a:cubicBezTo>
                    <a:cubicBezTo>
                      <a:pt x="545206" y="1786288"/>
                      <a:pt x="546933" y="1788023"/>
                      <a:pt x="549152" y="1788023"/>
                    </a:cubicBezTo>
                    <a:cubicBezTo>
                      <a:pt x="551370" y="1788023"/>
                      <a:pt x="553096" y="1786288"/>
                      <a:pt x="553096" y="1784094"/>
                    </a:cubicBezTo>
                    <a:close/>
                    <a:moveTo>
                      <a:pt x="556796" y="5739968"/>
                    </a:moveTo>
                    <a:cubicBezTo>
                      <a:pt x="556796" y="5738982"/>
                      <a:pt x="556058" y="5738241"/>
                      <a:pt x="555071" y="5738241"/>
                    </a:cubicBezTo>
                    <a:cubicBezTo>
                      <a:pt x="554085" y="5738241"/>
                      <a:pt x="553345" y="5738982"/>
                      <a:pt x="553345" y="5739968"/>
                    </a:cubicBezTo>
                    <a:cubicBezTo>
                      <a:pt x="553345" y="5740954"/>
                      <a:pt x="554085" y="5741692"/>
                      <a:pt x="555071" y="5741692"/>
                    </a:cubicBezTo>
                    <a:cubicBezTo>
                      <a:pt x="555809" y="5741692"/>
                      <a:pt x="556796" y="5740954"/>
                      <a:pt x="556796" y="5739968"/>
                    </a:cubicBezTo>
                    <a:close/>
                    <a:moveTo>
                      <a:pt x="561976" y="3132020"/>
                    </a:moveTo>
                    <a:cubicBezTo>
                      <a:pt x="561976" y="3105884"/>
                      <a:pt x="540769" y="3084676"/>
                      <a:pt x="514634" y="3084676"/>
                    </a:cubicBezTo>
                    <a:cubicBezTo>
                      <a:pt x="488498" y="3084676"/>
                      <a:pt x="467291" y="3105884"/>
                      <a:pt x="467291" y="3132020"/>
                    </a:cubicBezTo>
                    <a:cubicBezTo>
                      <a:pt x="467291" y="3158157"/>
                      <a:pt x="488498" y="3179364"/>
                      <a:pt x="514634" y="3179364"/>
                    </a:cubicBezTo>
                    <a:cubicBezTo>
                      <a:pt x="540769" y="3179364"/>
                      <a:pt x="561976" y="3158157"/>
                      <a:pt x="561976" y="3132020"/>
                    </a:cubicBezTo>
                    <a:close/>
                    <a:moveTo>
                      <a:pt x="563700" y="5993939"/>
                    </a:moveTo>
                    <a:cubicBezTo>
                      <a:pt x="563700" y="5981857"/>
                      <a:pt x="553839" y="5971994"/>
                      <a:pt x="541755" y="5971994"/>
                    </a:cubicBezTo>
                    <a:cubicBezTo>
                      <a:pt x="529674" y="5971994"/>
                      <a:pt x="519811" y="5981857"/>
                      <a:pt x="519811" y="5993939"/>
                    </a:cubicBezTo>
                    <a:cubicBezTo>
                      <a:pt x="519811" y="6006024"/>
                      <a:pt x="529674" y="6015883"/>
                      <a:pt x="541755" y="6015883"/>
                    </a:cubicBezTo>
                    <a:cubicBezTo>
                      <a:pt x="553839" y="6015883"/>
                      <a:pt x="563700" y="6006024"/>
                      <a:pt x="563700" y="5993939"/>
                    </a:cubicBezTo>
                    <a:close/>
                    <a:moveTo>
                      <a:pt x="563948" y="2095685"/>
                    </a:moveTo>
                    <a:cubicBezTo>
                      <a:pt x="563948" y="2090015"/>
                      <a:pt x="559263" y="2085329"/>
                      <a:pt x="553590" y="2085329"/>
                    </a:cubicBezTo>
                    <a:cubicBezTo>
                      <a:pt x="547921" y="2085329"/>
                      <a:pt x="543236" y="2090015"/>
                      <a:pt x="543236" y="2095685"/>
                    </a:cubicBezTo>
                    <a:cubicBezTo>
                      <a:pt x="543236" y="2101358"/>
                      <a:pt x="547921" y="2106045"/>
                      <a:pt x="553590" y="2106045"/>
                    </a:cubicBezTo>
                    <a:cubicBezTo>
                      <a:pt x="559263" y="2106045"/>
                      <a:pt x="563948" y="2101358"/>
                      <a:pt x="563948" y="2095685"/>
                    </a:cubicBezTo>
                    <a:close/>
                    <a:moveTo>
                      <a:pt x="564688" y="5610759"/>
                    </a:moveTo>
                    <a:cubicBezTo>
                      <a:pt x="564688" y="5609527"/>
                      <a:pt x="563699" y="5608540"/>
                      <a:pt x="562467" y="5608540"/>
                    </a:cubicBezTo>
                    <a:cubicBezTo>
                      <a:pt x="561235" y="5608540"/>
                      <a:pt x="560249" y="5609527"/>
                      <a:pt x="560249" y="5610759"/>
                    </a:cubicBezTo>
                    <a:cubicBezTo>
                      <a:pt x="560249" y="5611746"/>
                      <a:pt x="561235" y="5612731"/>
                      <a:pt x="562467" y="5612731"/>
                    </a:cubicBezTo>
                    <a:cubicBezTo>
                      <a:pt x="563699" y="5612731"/>
                      <a:pt x="564688" y="5611991"/>
                      <a:pt x="564688" y="5610759"/>
                    </a:cubicBezTo>
                    <a:close/>
                    <a:moveTo>
                      <a:pt x="565180" y="2745146"/>
                    </a:moveTo>
                    <a:cubicBezTo>
                      <a:pt x="565180" y="2723201"/>
                      <a:pt x="547427" y="2705447"/>
                      <a:pt x="525480" y="2705447"/>
                    </a:cubicBezTo>
                    <a:cubicBezTo>
                      <a:pt x="503536" y="2705447"/>
                      <a:pt x="485782" y="2723201"/>
                      <a:pt x="485782" y="2745146"/>
                    </a:cubicBezTo>
                    <a:cubicBezTo>
                      <a:pt x="485782" y="2767095"/>
                      <a:pt x="503536" y="2784847"/>
                      <a:pt x="525480" y="2784847"/>
                    </a:cubicBezTo>
                    <a:cubicBezTo>
                      <a:pt x="547427" y="2784847"/>
                      <a:pt x="565180" y="2767095"/>
                      <a:pt x="565180" y="2745146"/>
                    </a:cubicBezTo>
                    <a:close/>
                    <a:moveTo>
                      <a:pt x="565921" y="3938487"/>
                    </a:moveTo>
                    <a:cubicBezTo>
                      <a:pt x="565921" y="3925663"/>
                      <a:pt x="555564" y="3915307"/>
                      <a:pt x="542742" y="3915307"/>
                    </a:cubicBezTo>
                    <a:cubicBezTo>
                      <a:pt x="529920" y="3915307"/>
                      <a:pt x="519565" y="3925663"/>
                      <a:pt x="519565" y="3938487"/>
                    </a:cubicBezTo>
                    <a:cubicBezTo>
                      <a:pt x="519565" y="3951060"/>
                      <a:pt x="529920" y="3961417"/>
                      <a:pt x="542742" y="3961417"/>
                    </a:cubicBezTo>
                    <a:cubicBezTo>
                      <a:pt x="555318" y="3961417"/>
                      <a:pt x="565676" y="3951060"/>
                      <a:pt x="565921" y="3938487"/>
                    </a:cubicBezTo>
                    <a:close/>
                    <a:moveTo>
                      <a:pt x="566907" y="1922627"/>
                    </a:moveTo>
                    <a:cubicBezTo>
                      <a:pt x="566907" y="1920905"/>
                      <a:pt x="565427" y="1919425"/>
                      <a:pt x="563699" y="1919425"/>
                    </a:cubicBezTo>
                    <a:cubicBezTo>
                      <a:pt x="561730" y="1919425"/>
                      <a:pt x="560249" y="1920905"/>
                      <a:pt x="560249" y="1922627"/>
                    </a:cubicBezTo>
                    <a:cubicBezTo>
                      <a:pt x="560249" y="1924601"/>
                      <a:pt x="561976" y="1926081"/>
                      <a:pt x="563699" y="1926081"/>
                    </a:cubicBezTo>
                    <a:cubicBezTo>
                      <a:pt x="565675" y="1926081"/>
                      <a:pt x="567153" y="1924601"/>
                      <a:pt x="566907" y="1922627"/>
                    </a:cubicBezTo>
                    <a:close/>
                    <a:moveTo>
                      <a:pt x="566907" y="2485509"/>
                    </a:moveTo>
                    <a:cubicBezTo>
                      <a:pt x="566907" y="2470223"/>
                      <a:pt x="554331" y="2457644"/>
                      <a:pt x="539042" y="2457644"/>
                    </a:cubicBezTo>
                    <a:cubicBezTo>
                      <a:pt x="523755" y="2457644"/>
                      <a:pt x="511180" y="2470223"/>
                      <a:pt x="511180" y="2485509"/>
                    </a:cubicBezTo>
                    <a:cubicBezTo>
                      <a:pt x="511180" y="2500795"/>
                      <a:pt x="523755" y="2513371"/>
                      <a:pt x="539042" y="2513371"/>
                    </a:cubicBezTo>
                    <a:cubicBezTo>
                      <a:pt x="554331" y="2513371"/>
                      <a:pt x="566907" y="2500795"/>
                      <a:pt x="566907" y="2485509"/>
                    </a:cubicBezTo>
                    <a:close/>
                    <a:moveTo>
                      <a:pt x="574304" y="5867693"/>
                    </a:moveTo>
                    <a:cubicBezTo>
                      <a:pt x="574304" y="5853145"/>
                      <a:pt x="562468" y="5841308"/>
                      <a:pt x="547919" y="5841308"/>
                    </a:cubicBezTo>
                    <a:cubicBezTo>
                      <a:pt x="533619" y="5841308"/>
                      <a:pt x="521784" y="5853390"/>
                      <a:pt x="521784" y="5867693"/>
                    </a:cubicBezTo>
                    <a:cubicBezTo>
                      <a:pt x="521784" y="5881993"/>
                      <a:pt x="533374" y="5893829"/>
                      <a:pt x="547919" y="5893829"/>
                    </a:cubicBezTo>
                    <a:cubicBezTo>
                      <a:pt x="562468" y="5893829"/>
                      <a:pt x="574304" y="5882242"/>
                      <a:pt x="574304" y="5867693"/>
                    </a:cubicBezTo>
                    <a:close/>
                    <a:moveTo>
                      <a:pt x="574798" y="5480076"/>
                    </a:moveTo>
                    <a:cubicBezTo>
                      <a:pt x="574798" y="5478350"/>
                      <a:pt x="573317" y="5476871"/>
                      <a:pt x="571590" y="5476871"/>
                    </a:cubicBezTo>
                    <a:cubicBezTo>
                      <a:pt x="569864" y="5476871"/>
                      <a:pt x="568386" y="5478350"/>
                      <a:pt x="568386" y="5480076"/>
                    </a:cubicBezTo>
                    <a:cubicBezTo>
                      <a:pt x="568386" y="5481803"/>
                      <a:pt x="569864" y="5483281"/>
                      <a:pt x="571590" y="5483281"/>
                    </a:cubicBezTo>
                    <a:cubicBezTo>
                      <a:pt x="573317" y="5483281"/>
                      <a:pt x="574798" y="5481803"/>
                      <a:pt x="574798" y="5480076"/>
                    </a:cubicBezTo>
                    <a:close/>
                    <a:moveTo>
                      <a:pt x="582193" y="5347419"/>
                    </a:moveTo>
                    <a:cubicBezTo>
                      <a:pt x="582193" y="5347170"/>
                      <a:pt x="581948" y="5346925"/>
                      <a:pt x="581699" y="5346925"/>
                    </a:cubicBezTo>
                    <a:cubicBezTo>
                      <a:pt x="581453" y="5346925"/>
                      <a:pt x="581208" y="5347170"/>
                      <a:pt x="581208" y="5347419"/>
                    </a:cubicBezTo>
                    <a:cubicBezTo>
                      <a:pt x="581208" y="5347666"/>
                      <a:pt x="581453" y="5347911"/>
                      <a:pt x="581699" y="5347911"/>
                    </a:cubicBezTo>
                    <a:cubicBezTo>
                      <a:pt x="581948" y="5347911"/>
                      <a:pt x="582193" y="5347666"/>
                      <a:pt x="582193" y="5347419"/>
                    </a:cubicBezTo>
                    <a:close/>
                    <a:moveTo>
                      <a:pt x="587863" y="3018839"/>
                    </a:moveTo>
                    <a:cubicBezTo>
                      <a:pt x="587863" y="2993689"/>
                      <a:pt x="567399" y="2973223"/>
                      <a:pt x="542247" y="2973223"/>
                    </a:cubicBezTo>
                    <a:cubicBezTo>
                      <a:pt x="517098" y="2973223"/>
                      <a:pt x="496631" y="2993689"/>
                      <a:pt x="496631" y="3018839"/>
                    </a:cubicBezTo>
                    <a:cubicBezTo>
                      <a:pt x="496631" y="3043992"/>
                      <a:pt x="517098" y="3064457"/>
                      <a:pt x="542247" y="3064457"/>
                    </a:cubicBezTo>
                    <a:cubicBezTo>
                      <a:pt x="567399" y="3064457"/>
                      <a:pt x="587863" y="3043992"/>
                      <a:pt x="587863" y="3018839"/>
                    </a:cubicBezTo>
                    <a:close/>
                    <a:moveTo>
                      <a:pt x="591565" y="4861913"/>
                    </a:moveTo>
                    <a:cubicBezTo>
                      <a:pt x="591565" y="4841940"/>
                      <a:pt x="575290" y="4825665"/>
                      <a:pt x="555318" y="4825665"/>
                    </a:cubicBezTo>
                    <a:cubicBezTo>
                      <a:pt x="535346" y="4825665"/>
                      <a:pt x="519071" y="4841940"/>
                      <a:pt x="519071" y="4861913"/>
                    </a:cubicBezTo>
                    <a:cubicBezTo>
                      <a:pt x="519071" y="4881885"/>
                      <a:pt x="535346" y="4898161"/>
                      <a:pt x="555318" y="4898161"/>
                    </a:cubicBezTo>
                    <a:cubicBezTo>
                      <a:pt x="575536" y="4898161"/>
                      <a:pt x="591811" y="4881885"/>
                      <a:pt x="591565" y="4861913"/>
                    </a:cubicBezTo>
                    <a:close/>
                    <a:moveTo>
                      <a:pt x="593781" y="4048950"/>
                    </a:moveTo>
                    <a:cubicBezTo>
                      <a:pt x="593781" y="4040073"/>
                      <a:pt x="586631" y="4032923"/>
                      <a:pt x="578000" y="4032923"/>
                    </a:cubicBezTo>
                    <a:cubicBezTo>
                      <a:pt x="569124" y="4032923"/>
                      <a:pt x="561974" y="4040073"/>
                      <a:pt x="561974" y="4048950"/>
                    </a:cubicBezTo>
                    <a:cubicBezTo>
                      <a:pt x="561974" y="4057827"/>
                      <a:pt x="569124" y="4064977"/>
                      <a:pt x="578000" y="4064977"/>
                    </a:cubicBezTo>
                    <a:cubicBezTo>
                      <a:pt x="586877" y="4064977"/>
                      <a:pt x="593781" y="4058073"/>
                      <a:pt x="593781" y="4048950"/>
                    </a:cubicBezTo>
                    <a:close/>
                    <a:moveTo>
                      <a:pt x="597234" y="4316733"/>
                    </a:moveTo>
                    <a:cubicBezTo>
                      <a:pt x="597234" y="4305636"/>
                      <a:pt x="588112" y="4296512"/>
                      <a:pt x="577014" y="4296512"/>
                    </a:cubicBezTo>
                    <a:cubicBezTo>
                      <a:pt x="565918" y="4296512"/>
                      <a:pt x="556796" y="4305636"/>
                      <a:pt x="556796" y="4316733"/>
                    </a:cubicBezTo>
                    <a:cubicBezTo>
                      <a:pt x="556796" y="4327828"/>
                      <a:pt x="565918" y="4336952"/>
                      <a:pt x="577014" y="4336952"/>
                    </a:cubicBezTo>
                    <a:cubicBezTo>
                      <a:pt x="588358" y="4336952"/>
                      <a:pt x="597481" y="4327828"/>
                      <a:pt x="597234" y="4316733"/>
                    </a:cubicBezTo>
                    <a:close/>
                    <a:moveTo>
                      <a:pt x="598961" y="2239932"/>
                    </a:moveTo>
                    <a:cubicBezTo>
                      <a:pt x="598961" y="2227355"/>
                      <a:pt x="588603" y="2217007"/>
                      <a:pt x="576028" y="2217007"/>
                    </a:cubicBezTo>
                    <a:cubicBezTo>
                      <a:pt x="563455" y="2217007"/>
                      <a:pt x="553097" y="2227355"/>
                      <a:pt x="553097" y="2239932"/>
                    </a:cubicBezTo>
                    <a:cubicBezTo>
                      <a:pt x="553097" y="2252509"/>
                      <a:pt x="563455" y="2262862"/>
                      <a:pt x="576028" y="2262862"/>
                    </a:cubicBezTo>
                    <a:cubicBezTo>
                      <a:pt x="588603" y="2262862"/>
                      <a:pt x="598961" y="2252755"/>
                      <a:pt x="598961" y="2239932"/>
                    </a:cubicBezTo>
                    <a:close/>
                    <a:moveTo>
                      <a:pt x="600684" y="7248268"/>
                    </a:moveTo>
                    <a:cubicBezTo>
                      <a:pt x="600684" y="7247530"/>
                      <a:pt x="599943" y="7246789"/>
                      <a:pt x="598958" y="7246789"/>
                    </a:cubicBezTo>
                    <a:cubicBezTo>
                      <a:pt x="598220" y="7246789"/>
                      <a:pt x="597480" y="7247282"/>
                      <a:pt x="597480" y="7248268"/>
                    </a:cubicBezTo>
                    <a:cubicBezTo>
                      <a:pt x="597480" y="7249008"/>
                      <a:pt x="598220" y="7249749"/>
                      <a:pt x="598958" y="7249749"/>
                    </a:cubicBezTo>
                    <a:cubicBezTo>
                      <a:pt x="599943" y="7249749"/>
                      <a:pt x="600438" y="7249008"/>
                      <a:pt x="600684" y="7248268"/>
                    </a:cubicBezTo>
                    <a:close/>
                    <a:moveTo>
                      <a:pt x="601920" y="7130900"/>
                    </a:moveTo>
                    <a:cubicBezTo>
                      <a:pt x="601920" y="7129914"/>
                      <a:pt x="601179" y="7129173"/>
                      <a:pt x="600193" y="7129173"/>
                    </a:cubicBezTo>
                    <a:cubicBezTo>
                      <a:pt x="599455" y="7129173"/>
                      <a:pt x="598715" y="7129914"/>
                      <a:pt x="598715" y="7130900"/>
                    </a:cubicBezTo>
                    <a:cubicBezTo>
                      <a:pt x="598715" y="7131637"/>
                      <a:pt x="599455" y="7132378"/>
                      <a:pt x="600193" y="7132378"/>
                    </a:cubicBezTo>
                    <a:cubicBezTo>
                      <a:pt x="601179" y="7132378"/>
                      <a:pt x="601920" y="7131637"/>
                      <a:pt x="601920" y="7130900"/>
                    </a:cubicBezTo>
                    <a:close/>
                    <a:moveTo>
                      <a:pt x="602661" y="3536568"/>
                    </a:moveTo>
                    <a:cubicBezTo>
                      <a:pt x="602661" y="3528923"/>
                      <a:pt x="596497" y="3522759"/>
                      <a:pt x="588853" y="3522759"/>
                    </a:cubicBezTo>
                    <a:cubicBezTo>
                      <a:pt x="581208" y="3522759"/>
                      <a:pt x="575044" y="3528923"/>
                      <a:pt x="575044" y="3536568"/>
                    </a:cubicBezTo>
                    <a:cubicBezTo>
                      <a:pt x="575044" y="3544212"/>
                      <a:pt x="581208" y="3550376"/>
                      <a:pt x="588853" y="3550376"/>
                    </a:cubicBezTo>
                    <a:cubicBezTo>
                      <a:pt x="596497" y="3550376"/>
                      <a:pt x="602661" y="3544212"/>
                      <a:pt x="602661" y="3536568"/>
                    </a:cubicBezTo>
                    <a:close/>
                    <a:moveTo>
                      <a:pt x="604139" y="7012792"/>
                    </a:moveTo>
                    <a:cubicBezTo>
                      <a:pt x="604139" y="7011557"/>
                      <a:pt x="603152" y="7010571"/>
                      <a:pt x="601920" y="7010571"/>
                    </a:cubicBezTo>
                    <a:cubicBezTo>
                      <a:pt x="600687" y="7010571"/>
                      <a:pt x="599702" y="7011557"/>
                      <a:pt x="599702" y="7012792"/>
                    </a:cubicBezTo>
                    <a:cubicBezTo>
                      <a:pt x="599702" y="7014025"/>
                      <a:pt x="600687" y="7015011"/>
                      <a:pt x="601920" y="7015011"/>
                    </a:cubicBezTo>
                    <a:cubicBezTo>
                      <a:pt x="602906" y="7015011"/>
                      <a:pt x="603892" y="7014025"/>
                      <a:pt x="604139" y="7012792"/>
                    </a:cubicBezTo>
                    <a:close/>
                    <a:moveTo>
                      <a:pt x="604632" y="5212787"/>
                    </a:moveTo>
                    <a:cubicBezTo>
                      <a:pt x="604632" y="5206623"/>
                      <a:pt x="599455" y="5201446"/>
                      <a:pt x="593289" y="5201446"/>
                    </a:cubicBezTo>
                    <a:cubicBezTo>
                      <a:pt x="587124" y="5201446"/>
                      <a:pt x="581948" y="5206623"/>
                      <a:pt x="581948" y="5212787"/>
                    </a:cubicBezTo>
                    <a:cubicBezTo>
                      <a:pt x="581948" y="5218953"/>
                      <a:pt x="587124" y="5224131"/>
                      <a:pt x="593289" y="5224131"/>
                    </a:cubicBezTo>
                    <a:cubicBezTo>
                      <a:pt x="599455" y="5224131"/>
                      <a:pt x="604632" y="5219199"/>
                      <a:pt x="604632" y="5212787"/>
                    </a:cubicBezTo>
                    <a:close/>
                    <a:moveTo>
                      <a:pt x="604879" y="3653197"/>
                    </a:moveTo>
                    <a:cubicBezTo>
                      <a:pt x="604879" y="3649003"/>
                      <a:pt x="601673" y="3645552"/>
                      <a:pt x="597483" y="3645552"/>
                    </a:cubicBezTo>
                    <a:cubicBezTo>
                      <a:pt x="593538" y="3645552"/>
                      <a:pt x="590084" y="3649003"/>
                      <a:pt x="590084" y="3653197"/>
                    </a:cubicBezTo>
                    <a:cubicBezTo>
                      <a:pt x="590084" y="3657141"/>
                      <a:pt x="593289" y="3660593"/>
                      <a:pt x="597483" y="3660593"/>
                    </a:cubicBezTo>
                    <a:cubicBezTo>
                      <a:pt x="601673" y="3660593"/>
                      <a:pt x="604879" y="3657141"/>
                      <a:pt x="604879" y="3653197"/>
                    </a:cubicBezTo>
                    <a:close/>
                    <a:moveTo>
                      <a:pt x="605370" y="931024"/>
                    </a:moveTo>
                    <a:cubicBezTo>
                      <a:pt x="605370" y="922151"/>
                      <a:pt x="597971" y="914747"/>
                      <a:pt x="589098" y="914747"/>
                    </a:cubicBezTo>
                    <a:cubicBezTo>
                      <a:pt x="580221" y="914747"/>
                      <a:pt x="572822" y="922151"/>
                      <a:pt x="572822" y="931024"/>
                    </a:cubicBezTo>
                    <a:cubicBezTo>
                      <a:pt x="572822" y="939901"/>
                      <a:pt x="579972" y="947302"/>
                      <a:pt x="589098" y="947302"/>
                    </a:cubicBezTo>
                    <a:cubicBezTo>
                      <a:pt x="598220" y="947302"/>
                      <a:pt x="605370" y="939901"/>
                      <a:pt x="605370" y="931024"/>
                    </a:cubicBezTo>
                    <a:close/>
                    <a:moveTo>
                      <a:pt x="606605" y="4716922"/>
                    </a:moveTo>
                    <a:cubicBezTo>
                      <a:pt x="606605" y="4700896"/>
                      <a:pt x="593538" y="4687828"/>
                      <a:pt x="577511" y="4687828"/>
                    </a:cubicBezTo>
                    <a:cubicBezTo>
                      <a:pt x="561481" y="4687828"/>
                      <a:pt x="548414" y="4700896"/>
                      <a:pt x="548414" y="4716922"/>
                    </a:cubicBezTo>
                    <a:cubicBezTo>
                      <a:pt x="548414" y="4732952"/>
                      <a:pt x="561481" y="4746020"/>
                      <a:pt x="577511" y="4746020"/>
                    </a:cubicBezTo>
                    <a:cubicBezTo>
                      <a:pt x="593538" y="4746020"/>
                      <a:pt x="606605" y="4732952"/>
                      <a:pt x="606605" y="4716922"/>
                    </a:cubicBezTo>
                    <a:close/>
                    <a:moveTo>
                      <a:pt x="607346" y="2640595"/>
                    </a:moveTo>
                    <a:cubicBezTo>
                      <a:pt x="607346" y="2623331"/>
                      <a:pt x="593290" y="2609278"/>
                      <a:pt x="576031" y="2609278"/>
                    </a:cubicBezTo>
                    <a:cubicBezTo>
                      <a:pt x="558769" y="2609278"/>
                      <a:pt x="544715" y="2623331"/>
                      <a:pt x="544715" y="2640595"/>
                    </a:cubicBezTo>
                    <a:cubicBezTo>
                      <a:pt x="544715" y="2657854"/>
                      <a:pt x="558769" y="2671907"/>
                      <a:pt x="576031" y="2671907"/>
                    </a:cubicBezTo>
                    <a:cubicBezTo>
                      <a:pt x="593290" y="2671907"/>
                      <a:pt x="607346" y="2657854"/>
                      <a:pt x="607346" y="2640595"/>
                    </a:cubicBezTo>
                    <a:close/>
                    <a:moveTo>
                      <a:pt x="608330" y="5076184"/>
                    </a:moveTo>
                    <a:cubicBezTo>
                      <a:pt x="608330" y="5075446"/>
                      <a:pt x="607589" y="5074705"/>
                      <a:pt x="606849" y="5074705"/>
                    </a:cubicBezTo>
                    <a:cubicBezTo>
                      <a:pt x="606111" y="5074705"/>
                      <a:pt x="605371" y="5075446"/>
                      <a:pt x="605371" y="5076184"/>
                    </a:cubicBezTo>
                    <a:cubicBezTo>
                      <a:pt x="605371" y="5076924"/>
                      <a:pt x="606111" y="5077665"/>
                      <a:pt x="606849" y="5077665"/>
                    </a:cubicBezTo>
                    <a:cubicBezTo>
                      <a:pt x="607589" y="5077665"/>
                      <a:pt x="608330" y="5076924"/>
                      <a:pt x="608330" y="5076184"/>
                    </a:cubicBezTo>
                    <a:close/>
                    <a:moveTo>
                      <a:pt x="610304" y="1056250"/>
                    </a:moveTo>
                    <a:cubicBezTo>
                      <a:pt x="610304" y="1047635"/>
                      <a:pt x="603154" y="1040479"/>
                      <a:pt x="594523" y="1040479"/>
                    </a:cubicBezTo>
                    <a:cubicBezTo>
                      <a:pt x="585893" y="1040479"/>
                      <a:pt x="578989" y="1047635"/>
                      <a:pt x="578989" y="1056250"/>
                    </a:cubicBezTo>
                    <a:cubicBezTo>
                      <a:pt x="578989" y="1064899"/>
                      <a:pt x="585893" y="1072051"/>
                      <a:pt x="594523" y="1072051"/>
                    </a:cubicBezTo>
                    <a:cubicBezTo>
                      <a:pt x="603154" y="1072051"/>
                      <a:pt x="610304" y="1064899"/>
                      <a:pt x="610304" y="1056250"/>
                    </a:cubicBezTo>
                    <a:close/>
                    <a:moveTo>
                      <a:pt x="614250" y="6897886"/>
                    </a:moveTo>
                    <a:cubicBezTo>
                      <a:pt x="614250" y="6895911"/>
                      <a:pt x="612772" y="6894433"/>
                      <a:pt x="610796" y="6894433"/>
                    </a:cubicBezTo>
                    <a:cubicBezTo>
                      <a:pt x="608824" y="6894433"/>
                      <a:pt x="607346" y="6895911"/>
                      <a:pt x="607346" y="6897886"/>
                    </a:cubicBezTo>
                    <a:cubicBezTo>
                      <a:pt x="607346" y="6899859"/>
                      <a:pt x="608824" y="6901337"/>
                      <a:pt x="610796" y="6901337"/>
                    </a:cubicBezTo>
                    <a:cubicBezTo>
                      <a:pt x="612772" y="6901337"/>
                      <a:pt x="614250" y="6899610"/>
                      <a:pt x="614250" y="6897886"/>
                    </a:cubicBezTo>
                    <a:close/>
                    <a:moveTo>
                      <a:pt x="615976" y="1182744"/>
                    </a:moveTo>
                    <a:cubicBezTo>
                      <a:pt x="615976" y="1174361"/>
                      <a:pt x="609073" y="1167705"/>
                      <a:pt x="600933" y="1167705"/>
                    </a:cubicBezTo>
                    <a:cubicBezTo>
                      <a:pt x="592551" y="1167705"/>
                      <a:pt x="585893" y="1174361"/>
                      <a:pt x="585893" y="1182744"/>
                    </a:cubicBezTo>
                    <a:cubicBezTo>
                      <a:pt x="585893" y="1191129"/>
                      <a:pt x="592551" y="1197789"/>
                      <a:pt x="600933" y="1197789"/>
                    </a:cubicBezTo>
                    <a:cubicBezTo>
                      <a:pt x="609073" y="1197789"/>
                      <a:pt x="615727" y="1191129"/>
                      <a:pt x="615976" y="1182744"/>
                    </a:cubicBezTo>
                    <a:close/>
                    <a:moveTo>
                      <a:pt x="615976" y="6779036"/>
                    </a:moveTo>
                    <a:cubicBezTo>
                      <a:pt x="615976" y="6777309"/>
                      <a:pt x="614495" y="6775831"/>
                      <a:pt x="612769" y="6775831"/>
                    </a:cubicBezTo>
                    <a:cubicBezTo>
                      <a:pt x="611045" y="6775831"/>
                      <a:pt x="609564" y="6777309"/>
                      <a:pt x="609564" y="6779036"/>
                    </a:cubicBezTo>
                    <a:cubicBezTo>
                      <a:pt x="609564" y="6780517"/>
                      <a:pt x="611045" y="6781995"/>
                      <a:pt x="612769" y="6781995"/>
                    </a:cubicBezTo>
                    <a:cubicBezTo>
                      <a:pt x="614495" y="6781995"/>
                      <a:pt x="615976" y="6780517"/>
                      <a:pt x="615976" y="6779036"/>
                    </a:cubicBezTo>
                    <a:close/>
                    <a:moveTo>
                      <a:pt x="617206" y="6659448"/>
                    </a:moveTo>
                    <a:cubicBezTo>
                      <a:pt x="617206" y="6658462"/>
                      <a:pt x="616220" y="6657475"/>
                      <a:pt x="615233" y="6657475"/>
                    </a:cubicBezTo>
                    <a:cubicBezTo>
                      <a:pt x="614247" y="6657475"/>
                      <a:pt x="613261" y="6658462"/>
                      <a:pt x="613261" y="6659448"/>
                    </a:cubicBezTo>
                    <a:cubicBezTo>
                      <a:pt x="613261" y="6660434"/>
                      <a:pt x="614247" y="6661420"/>
                      <a:pt x="615233" y="6661420"/>
                    </a:cubicBezTo>
                    <a:cubicBezTo>
                      <a:pt x="616220" y="6661420"/>
                      <a:pt x="617206" y="6660434"/>
                      <a:pt x="617206" y="6659448"/>
                    </a:cubicBezTo>
                    <a:close/>
                    <a:moveTo>
                      <a:pt x="617701" y="3420256"/>
                    </a:moveTo>
                    <a:cubicBezTo>
                      <a:pt x="617701" y="3404231"/>
                      <a:pt x="604633" y="3391411"/>
                      <a:pt x="588852" y="3391411"/>
                    </a:cubicBezTo>
                    <a:cubicBezTo>
                      <a:pt x="572826" y="3391411"/>
                      <a:pt x="560003" y="3404477"/>
                      <a:pt x="560003" y="3420256"/>
                    </a:cubicBezTo>
                    <a:cubicBezTo>
                      <a:pt x="560003" y="3436285"/>
                      <a:pt x="573071" y="3449103"/>
                      <a:pt x="588852" y="3449103"/>
                    </a:cubicBezTo>
                    <a:cubicBezTo>
                      <a:pt x="604633" y="3449103"/>
                      <a:pt x="617701" y="3436039"/>
                      <a:pt x="617701" y="3420256"/>
                    </a:cubicBezTo>
                    <a:close/>
                    <a:moveTo>
                      <a:pt x="618686" y="4569472"/>
                    </a:moveTo>
                    <a:cubicBezTo>
                      <a:pt x="618686" y="4561090"/>
                      <a:pt x="612029" y="4554431"/>
                      <a:pt x="603643" y="4554431"/>
                    </a:cubicBezTo>
                    <a:cubicBezTo>
                      <a:pt x="595261" y="4554431"/>
                      <a:pt x="588603" y="4561090"/>
                      <a:pt x="588603" y="4569472"/>
                    </a:cubicBezTo>
                    <a:cubicBezTo>
                      <a:pt x="588603" y="4577611"/>
                      <a:pt x="595261" y="4584515"/>
                      <a:pt x="603643" y="4584515"/>
                    </a:cubicBezTo>
                    <a:cubicBezTo>
                      <a:pt x="612029" y="4584515"/>
                      <a:pt x="618686" y="4577611"/>
                      <a:pt x="618686" y="4569472"/>
                    </a:cubicBezTo>
                    <a:close/>
                    <a:moveTo>
                      <a:pt x="621154" y="2388360"/>
                    </a:moveTo>
                    <a:cubicBezTo>
                      <a:pt x="621154" y="2377997"/>
                      <a:pt x="612523" y="2369375"/>
                      <a:pt x="601920" y="2369375"/>
                    </a:cubicBezTo>
                    <a:cubicBezTo>
                      <a:pt x="591320" y="2369375"/>
                      <a:pt x="582689" y="2377754"/>
                      <a:pt x="582689" y="2388360"/>
                    </a:cubicBezTo>
                    <a:cubicBezTo>
                      <a:pt x="582689" y="2398713"/>
                      <a:pt x="591320" y="2407345"/>
                      <a:pt x="601920" y="2407345"/>
                    </a:cubicBezTo>
                    <a:cubicBezTo>
                      <a:pt x="612523" y="2407345"/>
                      <a:pt x="621154" y="2398713"/>
                      <a:pt x="621154" y="2388360"/>
                    </a:cubicBezTo>
                    <a:close/>
                    <a:moveTo>
                      <a:pt x="621155" y="2908125"/>
                    </a:moveTo>
                    <a:cubicBezTo>
                      <a:pt x="621155" y="2883961"/>
                      <a:pt x="601428" y="2864234"/>
                      <a:pt x="577262" y="2864234"/>
                    </a:cubicBezTo>
                    <a:cubicBezTo>
                      <a:pt x="553099" y="2864234"/>
                      <a:pt x="533374" y="2883961"/>
                      <a:pt x="533374" y="2908125"/>
                    </a:cubicBezTo>
                    <a:cubicBezTo>
                      <a:pt x="533374" y="2932291"/>
                      <a:pt x="553099" y="2952017"/>
                      <a:pt x="577262" y="2952017"/>
                    </a:cubicBezTo>
                    <a:cubicBezTo>
                      <a:pt x="601674" y="2952017"/>
                      <a:pt x="621400" y="2932291"/>
                      <a:pt x="621155" y="2908125"/>
                    </a:cubicBezTo>
                    <a:close/>
                    <a:moveTo>
                      <a:pt x="621893" y="1310942"/>
                    </a:moveTo>
                    <a:cubicBezTo>
                      <a:pt x="621893" y="1303297"/>
                      <a:pt x="615728" y="1296885"/>
                      <a:pt x="607838" y="1296885"/>
                    </a:cubicBezTo>
                    <a:cubicBezTo>
                      <a:pt x="600196" y="1296885"/>
                      <a:pt x="593784" y="1303049"/>
                      <a:pt x="593784" y="1310942"/>
                    </a:cubicBezTo>
                    <a:cubicBezTo>
                      <a:pt x="593784" y="1318581"/>
                      <a:pt x="599948" y="1324991"/>
                      <a:pt x="607838" y="1324991"/>
                    </a:cubicBezTo>
                    <a:cubicBezTo>
                      <a:pt x="615728" y="1324991"/>
                      <a:pt x="621893" y="1318581"/>
                      <a:pt x="621893" y="1310942"/>
                    </a:cubicBezTo>
                    <a:close/>
                    <a:moveTo>
                      <a:pt x="624602" y="3768345"/>
                    </a:moveTo>
                    <a:cubicBezTo>
                      <a:pt x="624602" y="3762676"/>
                      <a:pt x="620164" y="3758236"/>
                      <a:pt x="614493" y="3758236"/>
                    </a:cubicBezTo>
                    <a:cubicBezTo>
                      <a:pt x="608824" y="3758236"/>
                      <a:pt x="604384" y="3762676"/>
                      <a:pt x="604384" y="3768345"/>
                    </a:cubicBezTo>
                    <a:cubicBezTo>
                      <a:pt x="604384" y="3774017"/>
                      <a:pt x="608824" y="3778457"/>
                      <a:pt x="614493" y="3778457"/>
                    </a:cubicBezTo>
                    <a:cubicBezTo>
                      <a:pt x="619919" y="3778457"/>
                      <a:pt x="624355" y="3774017"/>
                      <a:pt x="624602" y="3768345"/>
                    </a:cubicBezTo>
                    <a:close/>
                    <a:moveTo>
                      <a:pt x="627068" y="59015"/>
                    </a:moveTo>
                    <a:cubicBezTo>
                      <a:pt x="627068" y="48415"/>
                      <a:pt x="618438" y="39785"/>
                      <a:pt x="607834" y="39785"/>
                    </a:cubicBezTo>
                    <a:cubicBezTo>
                      <a:pt x="597234" y="39785"/>
                      <a:pt x="588603" y="48415"/>
                      <a:pt x="588603" y="59015"/>
                    </a:cubicBezTo>
                    <a:cubicBezTo>
                      <a:pt x="588603" y="69618"/>
                      <a:pt x="597234" y="78248"/>
                      <a:pt x="607834" y="78248"/>
                    </a:cubicBezTo>
                    <a:cubicBezTo>
                      <a:pt x="618438" y="78248"/>
                      <a:pt x="627068" y="69618"/>
                      <a:pt x="627068" y="59015"/>
                    </a:cubicBezTo>
                    <a:close/>
                    <a:moveTo>
                      <a:pt x="629042" y="177836"/>
                    </a:moveTo>
                    <a:cubicBezTo>
                      <a:pt x="629042" y="167482"/>
                      <a:pt x="620660" y="159097"/>
                      <a:pt x="610302" y="159097"/>
                    </a:cubicBezTo>
                    <a:cubicBezTo>
                      <a:pt x="599701" y="159097"/>
                      <a:pt x="591317" y="167482"/>
                      <a:pt x="591317" y="177836"/>
                    </a:cubicBezTo>
                    <a:cubicBezTo>
                      <a:pt x="591317" y="188439"/>
                      <a:pt x="599948" y="196821"/>
                      <a:pt x="610302" y="196821"/>
                    </a:cubicBezTo>
                    <a:cubicBezTo>
                      <a:pt x="620660" y="196821"/>
                      <a:pt x="629042" y="188193"/>
                      <a:pt x="629042" y="177836"/>
                    </a:cubicBezTo>
                    <a:close/>
                    <a:moveTo>
                      <a:pt x="629537" y="1440628"/>
                    </a:moveTo>
                    <a:cubicBezTo>
                      <a:pt x="629537" y="1432736"/>
                      <a:pt x="623127" y="1426327"/>
                      <a:pt x="615237" y="1426327"/>
                    </a:cubicBezTo>
                    <a:cubicBezTo>
                      <a:pt x="607346" y="1426327"/>
                      <a:pt x="600934" y="1432736"/>
                      <a:pt x="600934" y="1440628"/>
                    </a:cubicBezTo>
                    <a:cubicBezTo>
                      <a:pt x="600934" y="1448516"/>
                      <a:pt x="607346" y="1454925"/>
                      <a:pt x="615237" y="1454925"/>
                    </a:cubicBezTo>
                    <a:cubicBezTo>
                      <a:pt x="623127" y="1454925"/>
                      <a:pt x="629537" y="1448516"/>
                      <a:pt x="629537" y="1440628"/>
                    </a:cubicBezTo>
                    <a:close/>
                    <a:moveTo>
                      <a:pt x="631017" y="6174185"/>
                    </a:moveTo>
                    <a:cubicBezTo>
                      <a:pt x="631017" y="6172210"/>
                      <a:pt x="629536" y="6170733"/>
                      <a:pt x="627564" y="6170733"/>
                    </a:cubicBezTo>
                    <a:cubicBezTo>
                      <a:pt x="625837" y="6170733"/>
                      <a:pt x="624359" y="6172210"/>
                      <a:pt x="624359" y="6174185"/>
                    </a:cubicBezTo>
                    <a:cubicBezTo>
                      <a:pt x="624359" y="6176159"/>
                      <a:pt x="625837" y="6177637"/>
                      <a:pt x="627564" y="6177637"/>
                    </a:cubicBezTo>
                    <a:cubicBezTo>
                      <a:pt x="629290" y="6177637"/>
                      <a:pt x="630768" y="6176159"/>
                      <a:pt x="631017" y="6174185"/>
                    </a:cubicBezTo>
                    <a:close/>
                    <a:moveTo>
                      <a:pt x="631263" y="297151"/>
                    </a:moveTo>
                    <a:cubicBezTo>
                      <a:pt x="631263" y="287043"/>
                      <a:pt x="622878" y="278658"/>
                      <a:pt x="612770" y="278658"/>
                    </a:cubicBezTo>
                    <a:cubicBezTo>
                      <a:pt x="602658" y="278658"/>
                      <a:pt x="594275" y="287043"/>
                      <a:pt x="594275" y="297151"/>
                    </a:cubicBezTo>
                    <a:cubicBezTo>
                      <a:pt x="594275" y="307260"/>
                      <a:pt x="602658" y="315645"/>
                      <a:pt x="612770" y="315645"/>
                    </a:cubicBezTo>
                    <a:cubicBezTo>
                      <a:pt x="622878" y="315645"/>
                      <a:pt x="631263" y="307260"/>
                      <a:pt x="631263" y="297151"/>
                    </a:cubicBezTo>
                    <a:close/>
                    <a:moveTo>
                      <a:pt x="631754" y="3303873"/>
                    </a:moveTo>
                    <a:cubicBezTo>
                      <a:pt x="631754" y="3284885"/>
                      <a:pt x="616220" y="3269355"/>
                      <a:pt x="597233" y="3269355"/>
                    </a:cubicBezTo>
                    <a:cubicBezTo>
                      <a:pt x="578494" y="3269355"/>
                      <a:pt x="562959" y="3284885"/>
                      <a:pt x="562959" y="3303873"/>
                    </a:cubicBezTo>
                    <a:cubicBezTo>
                      <a:pt x="562959" y="3322863"/>
                      <a:pt x="578248" y="3338395"/>
                      <a:pt x="597233" y="3338395"/>
                    </a:cubicBezTo>
                    <a:cubicBezTo>
                      <a:pt x="616220" y="3338395"/>
                      <a:pt x="631754" y="3322863"/>
                      <a:pt x="631754" y="3303873"/>
                    </a:cubicBezTo>
                    <a:close/>
                    <a:moveTo>
                      <a:pt x="633235" y="6418295"/>
                    </a:moveTo>
                    <a:cubicBezTo>
                      <a:pt x="633235" y="6411145"/>
                      <a:pt x="627564" y="6405473"/>
                      <a:pt x="620414" y="6405473"/>
                    </a:cubicBezTo>
                    <a:cubicBezTo>
                      <a:pt x="613264" y="6405473"/>
                      <a:pt x="607592" y="6411145"/>
                      <a:pt x="607592" y="6418295"/>
                    </a:cubicBezTo>
                    <a:cubicBezTo>
                      <a:pt x="607592" y="6425445"/>
                      <a:pt x="613264" y="6431117"/>
                      <a:pt x="620414" y="6431117"/>
                    </a:cubicBezTo>
                    <a:cubicBezTo>
                      <a:pt x="627564" y="6431117"/>
                      <a:pt x="633235" y="6425445"/>
                      <a:pt x="633235" y="6418295"/>
                    </a:cubicBezTo>
                    <a:close/>
                    <a:moveTo>
                      <a:pt x="633727" y="417206"/>
                    </a:moveTo>
                    <a:cubicBezTo>
                      <a:pt x="633727" y="407098"/>
                      <a:pt x="625591" y="398961"/>
                      <a:pt x="615482" y="398961"/>
                    </a:cubicBezTo>
                    <a:cubicBezTo>
                      <a:pt x="605370" y="398961"/>
                      <a:pt x="597234" y="407098"/>
                      <a:pt x="597234" y="417206"/>
                    </a:cubicBezTo>
                    <a:cubicBezTo>
                      <a:pt x="597234" y="427318"/>
                      <a:pt x="605370" y="435453"/>
                      <a:pt x="615482" y="435453"/>
                    </a:cubicBezTo>
                    <a:cubicBezTo>
                      <a:pt x="625342" y="435453"/>
                      <a:pt x="633727" y="427318"/>
                      <a:pt x="633727" y="417206"/>
                    </a:cubicBezTo>
                    <a:close/>
                    <a:moveTo>
                      <a:pt x="635207" y="4157197"/>
                    </a:moveTo>
                    <a:cubicBezTo>
                      <a:pt x="635207" y="4149304"/>
                      <a:pt x="628795" y="4142894"/>
                      <a:pt x="620905" y="4142894"/>
                    </a:cubicBezTo>
                    <a:cubicBezTo>
                      <a:pt x="613014" y="4142894"/>
                      <a:pt x="606605" y="4149304"/>
                      <a:pt x="606605" y="4157197"/>
                    </a:cubicBezTo>
                    <a:cubicBezTo>
                      <a:pt x="606605" y="4165085"/>
                      <a:pt x="613014" y="4171497"/>
                      <a:pt x="620905" y="4171497"/>
                    </a:cubicBezTo>
                    <a:cubicBezTo>
                      <a:pt x="628795" y="4171497"/>
                      <a:pt x="635207" y="4165085"/>
                      <a:pt x="635207" y="4157197"/>
                    </a:cubicBezTo>
                    <a:close/>
                    <a:moveTo>
                      <a:pt x="635946" y="1572031"/>
                    </a:moveTo>
                    <a:cubicBezTo>
                      <a:pt x="635946" y="1565617"/>
                      <a:pt x="630768" y="1560443"/>
                      <a:pt x="624359" y="1560443"/>
                    </a:cubicBezTo>
                    <a:cubicBezTo>
                      <a:pt x="617946" y="1560443"/>
                      <a:pt x="612770" y="1565617"/>
                      <a:pt x="612770" y="1572031"/>
                    </a:cubicBezTo>
                    <a:cubicBezTo>
                      <a:pt x="612770" y="1578443"/>
                      <a:pt x="617946" y="1583618"/>
                      <a:pt x="624359" y="1583618"/>
                    </a:cubicBezTo>
                    <a:cubicBezTo>
                      <a:pt x="630523" y="1583618"/>
                      <a:pt x="635946" y="1578443"/>
                      <a:pt x="635946" y="1572031"/>
                    </a:cubicBezTo>
                    <a:close/>
                    <a:moveTo>
                      <a:pt x="636195" y="6539364"/>
                    </a:moveTo>
                    <a:cubicBezTo>
                      <a:pt x="636195" y="6529253"/>
                      <a:pt x="628056" y="6520870"/>
                      <a:pt x="617701" y="6520870"/>
                    </a:cubicBezTo>
                    <a:cubicBezTo>
                      <a:pt x="607592" y="6520870"/>
                      <a:pt x="599208" y="6529007"/>
                      <a:pt x="599208" y="6539364"/>
                    </a:cubicBezTo>
                    <a:cubicBezTo>
                      <a:pt x="599208" y="6549719"/>
                      <a:pt x="607344" y="6558104"/>
                      <a:pt x="617701" y="6558104"/>
                    </a:cubicBezTo>
                    <a:cubicBezTo>
                      <a:pt x="628056" y="6558104"/>
                      <a:pt x="636440" y="6549719"/>
                      <a:pt x="636195" y="6539364"/>
                    </a:cubicBezTo>
                    <a:close/>
                    <a:moveTo>
                      <a:pt x="636688" y="538004"/>
                    </a:moveTo>
                    <a:cubicBezTo>
                      <a:pt x="636688" y="528142"/>
                      <a:pt x="628549" y="520005"/>
                      <a:pt x="618686" y="520005"/>
                    </a:cubicBezTo>
                    <a:cubicBezTo>
                      <a:pt x="608823" y="520005"/>
                      <a:pt x="600687" y="528142"/>
                      <a:pt x="600687" y="538004"/>
                    </a:cubicBezTo>
                    <a:cubicBezTo>
                      <a:pt x="600687" y="547867"/>
                      <a:pt x="608823" y="556003"/>
                      <a:pt x="618686" y="556003"/>
                    </a:cubicBezTo>
                    <a:cubicBezTo>
                      <a:pt x="628549" y="556003"/>
                      <a:pt x="636688" y="547867"/>
                      <a:pt x="636688" y="538004"/>
                    </a:cubicBezTo>
                    <a:close/>
                    <a:moveTo>
                      <a:pt x="637180" y="6296734"/>
                    </a:moveTo>
                    <a:cubicBezTo>
                      <a:pt x="637180" y="6289336"/>
                      <a:pt x="631263" y="6283418"/>
                      <a:pt x="623867" y="6283418"/>
                    </a:cubicBezTo>
                    <a:cubicBezTo>
                      <a:pt x="616468" y="6283418"/>
                      <a:pt x="610551" y="6289336"/>
                      <a:pt x="610551" y="6296734"/>
                    </a:cubicBezTo>
                    <a:cubicBezTo>
                      <a:pt x="610551" y="6304130"/>
                      <a:pt x="616468" y="6310048"/>
                      <a:pt x="623867" y="6310048"/>
                    </a:cubicBezTo>
                    <a:cubicBezTo>
                      <a:pt x="631263" y="6310048"/>
                      <a:pt x="637180" y="6304130"/>
                      <a:pt x="637180" y="6296734"/>
                    </a:cubicBezTo>
                    <a:close/>
                    <a:moveTo>
                      <a:pt x="638905" y="659836"/>
                    </a:moveTo>
                    <a:cubicBezTo>
                      <a:pt x="638905" y="650219"/>
                      <a:pt x="631014" y="642561"/>
                      <a:pt x="621646" y="642561"/>
                    </a:cubicBezTo>
                    <a:cubicBezTo>
                      <a:pt x="612029" y="642561"/>
                      <a:pt x="604384" y="650219"/>
                      <a:pt x="604384" y="659836"/>
                    </a:cubicBezTo>
                    <a:cubicBezTo>
                      <a:pt x="604384" y="669454"/>
                      <a:pt x="612029" y="677093"/>
                      <a:pt x="621646" y="677093"/>
                    </a:cubicBezTo>
                    <a:cubicBezTo>
                      <a:pt x="631014" y="677093"/>
                      <a:pt x="638905" y="669454"/>
                      <a:pt x="638905" y="659836"/>
                    </a:cubicBezTo>
                    <a:close/>
                    <a:moveTo>
                      <a:pt x="641126" y="2009373"/>
                    </a:moveTo>
                    <a:cubicBezTo>
                      <a:pt x="641126" y="2003706"/>
                      <a:pt x="636440" y="1999023"/>
                      <a:pt x="630768" y="1999023"/>
                    </a:cubicBezTo>
                    <a:cubicBezTo>
                      <a:pt x="625099" y="1999023"/>
                      <a:pt x="620414" y="2003706"/>
                      <a:pt x="620414" y="2009373"/>
                    </a:cubicBezTo>
                    <a:cubicBezTo>
                      <a:pt x="620414" y="2015043"/>
                      <a:pt x="625099" y="2019727"/>
                      <a:pt x="630768" y="2019727"/>
                    </a:cubicBezTo>
                    <a:cubicBezTo>
                      <a:pt x="636440" y="2019727"/>
                      <a:pt x="641126" y="2015043"/>
                      <a:pt x="641126" y="2009373"/>
                    </a:cubicBezTo>
                    <a:close/>
                    <a:moveTo>
                      <a:pt x="642112" y="782364"/>
                    </a:moveTo>
                    <a:cubicBezTo>
                      <a:pt x="642112" y="772993"/>
                      <a:pt x="634468" y="765600"/>
                      <a:pt x="625345" y="765600"/>
                    </a:cubicBezTo>
                    <a:cubicBezTo>
                      <a:pt x="615977" y="765600"/>
                      <a:pt x="608578" y="773241"/>
                      <a:pt x="608578" y="782364"/>
                    </a:cubicBezTo>
                    <a:cubicBezTo>
                      <a:pt x="608578" y="791733"/>
                      <a:pt x="615977" y="799131"/>
                      <a:pt x="625345" y="799131"/>
                    </a:cubicBezTo>
                    <a:cubicBezTo>
                      <a:pt x="634468" y="799131"/>
                      <a:pt x="642112" y="791733"/>
                      <a:pt x="642112" y="782364"/>
                    </a:cubicBezTo>
                    <a:close/>
                    <a:moveTo>
                      <a:pt x="642852" y="1705167"/>
                    </a:moveTo>
                    <a:cubicBezTo>
                      <a:pt x="642852" y="1700731"/>
                      <a:pt x="639154" y="1697030"/>
                      <a:pt x="634714" y="1697030"/>
                    </a:cubicBezTo>
                    <a:cubicBezTo>
                      <a:pt x="630276" y="1697030"/>
                      <a:pt x="626577" y="1700731"/>
                      <a:pt x="626577" y="1705167"/>
                    </a:cubicBezTo>
                    <a:cubicBezTo>
                      <a:pt x="626577" y="1709578"/>
                      <a:pt x="630276" y="1713279"/>
                      <a:pt x="634714" y="1713279"/>
                    </a:cubicBezTo>
                    <a:cubicBezTo>
                      <a:pt x="639154" y="1713279"/>
                      <a:pt x="642852" y="1709578"/>
                      <a:pt x="642852" y="1705167"/>
                    </a:cubicBezTo>
                    <a:close/>
                    <a:moveTo>
                      <a:pt x="650249" y="3188725"/>
                    </a:moveTo>
                    <a:cubicBezTo>
                      <a:pt x="650249" y="3168753"/>
                      <a:pt x="633974" y="3152476"/>
                      <a:pt x="614002" y="3152476"/>
                    </a:cubicBezTo>
                    <a:cubicBezTo>
                      <a:pt x="594030" y="3152476"/>
                      <a:pt x="577755" y="3168753"/>
                      <a:pt x="577755" y="3188725"/>
                    </a:cubicBezTo>
                    <a:cubicBezTo>
                      <a:pt x="577755" y="3208697"/>
                      <a:pt x="594030" y="3224972"/>
                      <a:pt x="614002" y="3224972"/>
                    </a:cubicBezTo>
                    <a:cubicBezTo>
                      <a:pt x="634219" y="3224972"/>
                      <a:pt x="650495" y="3208697"/>
                      <a:pt x="650249" y="3188725"/>
                    </a:cubicBezTo>
                    <a:close/>
                    <a:moveTo>
                      <a:pt x="651976" y="1840805"/>
                    </a:moveTo>
                    <a:cubicBezTo>
                      <a:pt x="651976" y="1837845"/>
                      <a:pt x="649511" y="1835383"/>
                      <a:pt x="646552" y="1835383"/>
                    </a:cubicBezTo>
                    <a:cubicBezTo>
                      <a:pt x="643592" y="1835383"/>
                      <a:pt x="641126" y="1837845"/>
                      <a:pt x="641126" y="1840805"/>
                    </a:cubicBezTo>
                    <a:cubicBezTo>
                      <a:pt x="641126" y="1843760"/>
                      <a:pt x="643592" y="1846226"/>
                      <a:pt x="646552" y="1846226"/>
                    </a:cubicBezTo>
                    <a:cubicBezTo>
                      <a:pt x="649511" y="1846226"/>
                      <a:pt x="651976" y="1843760"/>
                      <a:pt x="651976" y="1840805"/>
                    </a:cubicBezTo>
                    <a:close/>
                    <a:moveTo>
                      <a:pt x="652468" y="5805802"/>
                    </a:moveTo>
                    <a:cubicBezTo>
                      <a:pt x="652468" y="5804815"/>
                      <a:pt x="651481" y="5803829"/>
                      <a:pt x="650495" y="5803829"/>
                    </a:cubicBezTo>
                    <a:cubicBezTo>
                      <a:pt x="649509" y="5803829"/>
                      <a:pt x="648522" y="5804815"/>
                      <a:pt x="648522" y="5805802"/>
                    </a:cubicBezTo>
                    <a:cubicBezTo>
                      <a:pt x="648522" y="5806788"/>
                      <a:pt x="649509" y="5807774"/>
                      <a:pt x="650495" y="5807774"/>
                    </a:cubicBezTo>
                    <a:cubicBezTo>
                      <a:pt x="651481" y="5807774"/>
                      <a:pt x="652221" y="5807033"/>
                      <a:pt x="652468" y="5805802"/>
                    </a:cubicBezTo>
                    <a:close/>
                    <a:moveTo>
                      <a:pt x="653702" y="3882265"/>
                    </a:moveTo>
                    <a:cubicBezTo>
                      <a:pt x="653702" y="3874621"/>
                      <a:pt x="647539" y="3868457"/>
                      <a:pt x="639895" y="3868457"/>
                    </a:cubicBezTo>
                    <a:cubicBezTo>
                      <a:pt x="632249" y="3868457"/>
                      <a:pt x="626086" y="3874621"/>
                      <a:pt x="626086" y="3882265"/>
                    </a:cubicBezTo>
                    <a:cubicBezTo>
                      <a:pt x="626086" y="3889909"/>
                      <a:pt x="632249" y="3896073"/>
                      <a:pt x="639895" y="3896073"/>
                    </a:cubicBezTo>
                    <a:cubicBezTo>
                      <a:pt x="647539" y="3896073"/>
                      <a:pt x="653702" y="3889664"/>
                      <a:pt x="653702" y="3882265"/>
                    </a:cubicBezTo>
                    <a:close/>
                    <a:moveTo>
                      <a:pt x="653948" y="2539248"/>
                    </a:moveTo>
                    <a:cubicBezTo>
                      <a:pt x="653948" y="2527906"/>
                      <a:pt x="644577" y="2518537"/>
                      <a:pt x="633236" y="2518537"/>
                    </a:cubicBezTo>
                    <a:cubicBezTo>
                      <a:pt x="621892" y="2518537"/>
                      <a:pt x="612770" y="2527906"/>
                      <a:pt x="612770" y="2539248"/>
                    </a:cubicBezTo>
                    <a:cubicBezTo>
                      <a:pt x="612770" y="2550593"/>
                      <a:pt x="621892" y="2559962"/>
                      <a:pt x="633236" y="2559962"/>
                    </a:cubicBezTo>
                    <a:cubicBezTo>
                      <a:pt x="644577" y="2559962"/>
                      <a:pt x="653699" y="2550593"/>
                      <a:pt x="653948" y="2539248"/>
                    </a:cubicBezTo>
                    <a:close/>
                    <a:moveTo>
                      <a:pt x="658386" y="5679064"/>
                    </a:moveTo>
                    <a:cubicBezTo>
                      <a:pt x="658386" y="5678077"/>
                      <a:pt x="657645" y="5677090"/>
                      <a:pt x="656412" y="5677090"/>
                    </a:cubicBezTo>
                    <a:cubicBezTo>
                      <a:pt x="655427" y="5677090"/>
                      <a:pt x="654440" y="5678077"/>
                      <a:pt x="654440" y="5679064"/>
                    </a:cubicBezTo>
                    <a:cubicBezTo>
                      <a:pt x="654440" y="5680049"/>
                      <a:pt x="655427" y="5681036"/>
                      <a:pt x="656412" y="5681036"/>
                    </a:cubicBezTo>
                    <a:cubicBezTo>
                      <a:pt x="657399" y="5681036"/>
                      <a:pt x="658386" y="5680296"/>
                      <a:pt x="658386" y="5679064"/>
                    </a:cubicBezTo>
                    <a:close/>
                    <a:moveTo>
                      <a:pt x="659867" y="4417827"/>
                    </a:moveTo>
                    <a:cubicBezTo>
                      <a:pt x="659867" y="4403773"/>
                      <a:pt x="648277" y="4392183"/>
                      <a:pt x="634223" y="4392183"/>
                    </a:cubicBezTo>
                    <a:cubicBezTo>
                      <a:pt x="620168" y="4392183"/>
                      <a:pt x="608578" y="4403773"/>
                      <a:pt x="608578" y="4417827"/>
                    </a:cubicBezTo>
                    <a:cubicBezTo>
                      <a:pt x="608578" y="4431882"/>
                      <a:pt x="620168" y="4443471"/>
                      <a:pt x="634223" y="4443471"/>
                    </a:cubicBezTo>
                    <a:cubicBezTo>
                      <a:pt x="648526" y="4443471"/>
                      <a:pt x="659867" y="4431882"/>
                      <a:pt x="659867" y="4417827"/>
                    </a:cubicBezTo>
                    <a:close/>
                    <a:moveTo>
                      <a:pt x="660604" y="6055584"/>
                    </a:moveTo>
                    <a:cubicBezTo>
                      <a:pt x="660604" y="6044490"/>
                      <a:pt x="651235" y="6035118"/>
                      <a:pt x="639891" y="6035118"/>
                    </a:cubicBezTo>
                    <a:cubicBezTo>
                      <a:pt x="628301" y="6035118"/>
                      <a:pt x="619179" y="6044241"/>
                      <a:pt x="619179" y="6055584"/>
                    </a:cubicBezTo>
                    <a:cubicBezTo>
                      <a:pt x="619179" y="6067174"/>
                      <a:pt x="628549" y="6076297"/>
                      <a:pt x="639891" y="6076297"/>
                    </a:cubicBezTo>
                    <a:cubicBezTo>
                      <a:pt x="651235" y="6076297"/>
                      <a:pt x="660604" y="6066925"/>
                      <a:pt x="660604" y="6055584"/>
                    </a:cubicBezTo>
                    <a:close/>
                    <a:moveTo>
                      <a:pt x="662084" y="2799877"/>
                    </a:moveTo>
                    <a:cubicBezTo>
                      <a:pt x="662084" y="2776697"/>
                      <a:pt x="643345" y="2757710"/>
                      <a:pt x="619920" y="2757710"/>
                    </a:cubicBezTo>
                    <a:cubicBezTo>
                      <a:pt x="596740" y="2757710"/>
                      <a:pt x="577755" y="2776451"/>
                      <a:pt x="577755" y="2799877"/>
                    </a:cubicBezTo>
                    <a:cubicBezTo>
                      <a:pt x="577755" y="2823056"/>
                      <a:pt x="596494" y="2842040"/>
                      <a:pt x="619920" y="2842040"/>
                    </a:cubicBezTo>
                    <a:cubicBezTo>
                      <a:pt x="643345" y="2842040"/>
                      <a:pt x="662330" y="2823056"/>
                      <a:pt x="662084" y="2799877"/>
                    </a:cubicBezTo>
                    <a:close/>
                    <a:moveTo>
                      <a:pt x="665289" y="4947720"/>
                    </a:moveTo>
                    <a:cubicBezTo>
                      <a:pt x="665289" y="4929967"/>
                      <a:pt x="650740" y="4915418"/>
                      <a:pt x="632742" y="4915418"/>
                    </a:cubicBezTo>
                    <a:cubicBezTo>
                      <a:pt x="614742" y="4915418"/>
                      <a:pt x="600193" y="4929967"/>
                      <a:pt x="600193" y="4947720"/>
                    </a:cubicBezTo>
                    <a:cubicBezTo>
                      <a:pt x="600193" y="4965720"/>
                      <a:pt x="614742" y="4980269"/>
                      <a:pt x="632742" y="4980269"/>
                    </a:cubicBezTo>
                    <a:cubicBezTo>
                      <a:pt x="650495" y="4980269"/>
                      <a:pt x="665043" y="4965720"/>
                      <a:pt x="665289" y="4947720"/>
                    </a:cubicBezTo>
                    <a:close/>
                    <a:moveTo>
                      <a:pt x="666278" y="5550843"/>
                    </a:moveTo>
                    <a:cubicBezTo>
                      <a:pt x="666278" y="5549362"/>
                      <a:pt x="665042" y="5548130"/>
                      <a:pt x="663564" y="5548130"/>
                    </a:cubicBezTo>
                    <a:cubicBezTo>
                      <a:pt x="662084" y="5548130"/>
                      <a:pt x="660852" y="5549362"/>
                      <a:pt x="660852" y="5550843"/>
                    </a:cubicBezTo>
                    <a:cubicBezTo>
                      <a:pt x="660852" y="5552567"/>
                      <a:pt x="662084" y="5553802"/>
                      <a:pt x="663564" y="5553802"/>
                    </a:cubicBezTo>
                    <a:cubicBezTo>
                      <a:pt x="665291" y="5553802"/>
                      <a:pt x="666523" y="5552567"/>
                      <a:pt x="666278" y="5550843"/>
                    </a:cubicBezTo>
                    <a:close/>
                    <a:moveTo>
                      <a:pt x="669480" y="5931307"/>
                    </a:moveTo>
                    <a:cubicBezTo>
                      <a:pt x="669480" y="5917745"/>
                      <a:pt x="658385" y="5906650"/>
                      <a:pt x="644823" y="5906650"/>
                    </a:cubicBezTo>
                    <a:cubicBezTo>
                      <a:pt x="631261" y="5906650"/>
                      <a:pt x="620165" y="5917745"/>
                      <a:pt x="620165" y="5931307"/>
                    </a:cubicBezTo>
                    <a:cubicBezTo>
                      <a:pt x="620165" y="5944869"/>
                      <a:pt x="631261" y="5955964"/>
                      <a:pt x="644823" y="5955964"/>
                    </a:cubicBezTo>
                    <a:cubicBezTo>
                      <a:pt x="658385" y="5955964"/>
                      <a:pt x="669480" y="5944869"/>
                      <a:pt x="669480" y="5931307"/>
                    </a:cubicBezTo>
                    <a:close/>
                    <a:moveTo>
                      <a:pt x="672439" y="5421144"/>
                    </a:moveTo>
                    <a:cubicBezTo>
                      <a:pt x="672439" y="5420649"/>
                      <a:pt x="672193" y="5420403"/>
                      <a:pt x="671701" y="5420403"/>
                    </a:cubicBezTo>
                    <a:cubicBezTo>
                      <a:pt x="671207" y="5420403"/>
                      <a:pt x="670961" y="5420649"/>
                      <a:pt x="670961" y="5421144"/>
                    </a:cubicBezTo>
                    <a:cubicBezTo>
                      <a:pt x="670961" y="5421635"/>
                      <a:pt x="671207" y="5421881"/>
                      <a:pt x="671701" y="5421881"/>
                    </a:cubicBezTo>
                    <a:cubicBezTo>
                      <a:pt x="672193" y="5421881"/>
                      <a:pt x="672439" y="5421635"/>
                      <a:pt x="672439" y="5421144"/>
                    </a:cubicBezTo>
                    <a:close/>
                    <a:moveTo>
                      <a:pt x="677617" y="3074804"/>
                    </a:moveTo>
                    <a:cubicBezTo>
                      <a:pt x="677617" y="3053843"/>
                      <a:pt x="660358" y="3036583"/>
                      <a:pt x="639399" y="3036583"/>
                    </a:cubicBezTo>
                    <a:cubicBezTo>
                      <a:pt x="618439" y="3036583"/>
                      <a:pt x="601180" y="3053598"/>
                      <a:pt x="601180" y="3074804"/>
                    </a:cubicBezTo>
                    <a:cubicBezTo>
                      <a:pt x="601180" y="3095763"/>
                      <a:pt x="618193" y="3113023"/>
                      <a:pt x="639399" y="3113023"/>
                    </a:cubicBezTo>
                    <a:cubicBezTo>
                      <a:pt x="660358" y="3113023"/>
                      <a:pt x="677617" y="3096009"/>
                      <a:pt x="677617" y="3074804"/>
                    </a:cubicBezTo>
                    <a:close/>
                    <a:moveTo>
                      <a:pt x="678358" y="2294662"/>
                    </a:moveTo>
                    <a:cubicBezTo>
                      <a:pt x="678358" y="2290466"/>
                      <a:pt x="674907" y="2287018"/>
                      <a:pt x="670715" y="2287018"/>
                    </a:cubicBezTo>
                    <a:cubicBezTo>
                      <a:pt x="666521" y="2287018"/>
                      <a:pt x="663071" y="2290466"/>
                      <a:pt x="663071" y="2294662"/>
                    </a:cubicBezTo>
                    <a:cubicBezTo>
                      <a:pt x="663071" y="2298853"/>
                      <a:pt x="666521" y="2302301"/>
                      <a:pt x="670715" y="2302301"/>
                    </a:cubicBezTo>
                    <a:cubicBezTo>
                      <a:pt x="674907" y="2302301"/>
                      <a:pt x="678358" y="2298853"/>
                      <a:pt x="678358" y="2294662"/>
                    </a:cubicBezTo>
                    <a:close/>
                    <a:moveTo>
                      <a:pt x="681811" y="2150423"/>
                    </a:moveTo>
                    <a:cubicBezTo>
                      <a:pt x="681811" y="2132422"/>
                      <a:pt x="667262" y="2117872"/>
                      <a:pt x="649263" y="2117872"/>
                    </a:cubicBezTo>
                    <a:cubicBezTo>
                      <a:pt x="631264" y="2117872"/>
                      <a:pt x="616715" y="2132422"/>
                      <a:pt x="616715" y="2150423"/>
                    </a:cubicBezTo>
                    <a:cubicBezTo>
                      <a:pt x="616715" y="2168423"/>
                      <a:pt x="631264" y="2182976"/>
                      <a:pt x="649263" y="2182976"/>
                    </a:cubicBezTo>
                    <a:cubicBezTo>
                      <a:pt x="667262" y="2182976"/>
                      <a:pt x="681811" y="2168423"/>
                      <a:pt x="681811" y="2150423"/>
                    </a:cubicBezTo>
                    <a:close/>
                    <a:moveTo>
                      <a:pt x="682795" y="4806677"/>
                    </a:moveTo>
                    <a:cubicBezTo>
                      <a:pt x="682795" y="4789172"/>
                      <a:pt x="668493" y="4774869"/>
                      <a:pt x="650986" y="4774869"/>
                    </a:cubicBezTo>
                    <a:cubicBezTo>
                      <a:pt x="633481" y="4774869"/>
                      <a:pt x="619179" y="4789172"/>
                      <a:pt x="619179" y="4806677"/>
                    </a:cubicBezTo>
                    <a:cubicBezTo>
                      <a:pt x="619179" y="4824184"/>
                      <a:pt x="633481" y="4838487"/>
                      <a:pt x="650986" y="4838487"/>
                    </a:cubicBezTo>
                    <a:cubicBezTo>
                      <a:pt x="668493" y="4838487"/>
                      <a:pt x="682795" y="4824184"/>
                      <a:pt x="682795" y="4806677"/>
                    </a:cubicBezTo>
                    <a:close/>
                    <a:moveTo>
                      <a:pt x="691179" y="4662676"/>
                    </a:moveTo>
                    <a:cubicBezTo>
                      <a:pt x="691179" y="4652319"/>
                      <a:pt x="682796" y="4643937"/>
                      <a:pt x="672439" y="4643937"/>
                    </a:cubicBezTo>
                    <a:cubicBezTo>
                      <a:pt x="662083" y="4643937"/>
                      <a:pt x="653699" y="4652319"/>
                      <a:pt x="653699" y="4662676"/>
                    </a:cubicBezTo>
                    <a:cubicBezTo>
                      <a:pt x="653699" y="4673031"/>
                      <a:pt x="662083" y="4681416"/>
                      <a:pt x="672439" y="4681416"/>
                    </a:cubicBezTo>
                    <a:cubicBezTo>
                      <a:pt x="682796" y="4681416"/>
                      <a:pt x="691179" y="4673031"/>
                      <a:pt x="691179" y="4662676"/>
                    </a:cubicBezTo>
                    <a:close/>
                    <a:moveTo>
                      <a:pt x="691427" y="5289471"/>
                    </a:moveTo>
                    <a:cubicBezTo>
                      <a:pt x="691427" y="5283801"/>
                      <a:pt x="686742" y="5279116"/>
                      <a:pt x="681070" y="5279116"/>
                    </a:cubicBezTo>
                    <a:cubicBezTo>
                      <a:pt x="675401" y="5279116"/>
                      <a:pt x="670715" y="5283801"/>
                      <a:pt x="670715" y="5289471"/>
                    </a:cubicBezTo>
                    <a:cubicBezTo>
                      <a:pt x="670715" y="5295143"/>
                      <a:pt x="675401" y="5299829"/>
                      <a:pt x="681070" y="5299829"/>
                    </a:cubicBezTo>
                    <a:cubicBezTo>
                      <a:pt x="686742" y="5299829"/>
                      <a:pt x="691427" y="5295143"/>
                      <a:pt x="691427" y="5289471"/>
                    </a:cubicBezTo>
                    <a:close/>
                    <a:moveTo>
                      <a:pt x="692660" y="3993715"/>
                    </a:moveTo>
                    <a:cubicBezTo>
                      <a:pt x="692660" y="3983114"/>
                      <a:pt x="684029" y="3974483"/>
                      <a:pt x="673426" y="3974483"/>
                    </a:cubicBezTo>
                    <a:cubicBezTo>
                      <a:pt x="662825" y="3974483"/>
                      <a:pt x="654195" y="3983114"/>
                      <a:pt x="654195" y="3993715"/>
                    </a:cubicBezTo>
                    <a:cubicBezTo>
                      <a:pt x="654195" y="4004319"/>
                      <a:pt x="662825" y="4012949"/>
                      <a:pt x="673426" y="4012949"/>
                    </a:cubicBezTo>
                    <a:cubicBezTo>
                      <a:pt x="684029" y="4012949"/>
                      <a:pt x="692660" y="4004319"/>
                      <a:pt x="692660" y="3993715"/>
                    </a:cubicBezTo>
                    <a:close/>
                    <a:moveTo>
                      <a:pt x="693646" y="5156077"/>
                    </a:moveTo>
                    <a:cubicBezTo>
                      <a:pt x="693646" y="5155091"/>
                      <a:pt x="692908" y="5154350"/>
                      <a:pt x="691922" y="5154350"/>
                    </a:cubicBezTo>
                    <a:cubicBezTo>
                      <a:pt x="690935" y="5154350"/>
                      <a:pt x="690195" y="5155091"/>
                      <a:pt x="690195" y="5156077"/>
                    </a:cubicBezTo>
                    <a:cubicBezTo>
                      <a:pt x="690195" y="5157063"/>
                      <a:pt x="690935" y="5157801"/>
                      <a:pt x="691922" y="5157801"/>
                    </a:cubicBezTo>
                    <a:cubicBezTo>
                      <a:pt x="692908" y="5157801"/>
                      <a:pt x="693646" y="5156814"/>
                      <a:pt x="693646" y="5156077"/>
                    </a:cubicBezTo>
                    <a:close/>
                    <a:moveTo>
                      <a:pt x="698823" y="3478375"/>
                    </a:moveTo>
                    <a:cubicBezTo>
                      <a:pt x="698823" y="3477140"/>
                      <a:pt x="697591" y="3475907"/>
                      <a:pt x="696356" y="3475907"/>
                    </a:cubicBezTo>
                    <a:cubicBezTo>
                      <a:pt x="695124" y="3475907"/>
                      <a:pt x="693892" y="3476894"/>
                      <a:pt x="693892" y="3478375"/>
                    </a:cubicBezTo>
                    <a:cubicBezTo>
                      <a:pt x="693892" y="3479607"/>
                      <a:pt x="694878" y="3480840"/>
                      <a:pt x="696356" y="3480840"/>
                    </a:cubicBezTo>
                    <a:cubicBezTo>
                      <a:pt x="697591" y="3480840"/>
                      <a:pt x="698823" y="3479853"/>
                      <a:pt x="698823" y="3478375"/>
                    </a:cubicBezTo>
                    <a:close/>
                    <a:moveTo>
                      <a:pt x="700058" y="4262237"/>
                    </a:moveTo>
                    <a:cubicBezTo>
                      <a:pt x="700058" y="4246211"/>
                      <a:pt x="686991" y="4233143"/>
                      <a:pt x="670964" y="4233143"/>
                    </a:cubicBezTo>
                    <a:cubicBezTo>
                      <a:pt x="654935" y="4233143"/>
                      <a:pt x="641867" y="4246211"/>
                      <a:pt x="641867" y="4262237"/>
                    </a:cubicBezTo>
                    <a:cubicBezTo>
                      <a:pt x="641867" y="4278267"/>
                      <a:pt x="654935" y="4291335"/>
                      <a:pt x="670964" y="4291335"/>
                    </a:cubicBezTo>
                    <a:cubicBezTo>
                      <a:pt x="686991" y="4291335"/>
                      <a:pt x="700304" y="4278267"/>
                      <a:pt x="700058" y="4262237"/>
                    </a:cubicBezTo>
                    <a:close/>
                    <a:moveTo>
                      <a:pt x="704248" y="3595003"/>
                    </a:moveTo>
                    <a:cubicBezTo>
                      <a:pt x="704248" y="3593029"/>
                      <a:pt x="702768" y="3591551"/>
                      <a:pt x="700795" y="3591551"/>
                    </a:cubicBezTo>
                    <a:cubicBezTo>
                      <a:pt x="698823" y="3591551"/>
                      <a:pt x="697345" y="3593278"/>
                      <a:pt x="697345" y="3595003"/>
                    </a:cubicBezTo>
                    <a:cubicBezTo>
                      <a:pt x="697345" y="3596977"/>
                      <a:pt x="699072" y="3598456"/>
                      <a:pt x="700795" y="3598456"/>
                    </a:cubicBezTo>
                    <a:cubicBezTo>
                      <a:pt x="702768" y="3598456"/>
                      <a:pt x="704248" y="3596977"/>
                      <a:pt x="704248" y="3595003"/>
                    </a:cubicBezTo>
                    <a:close/>
                    <a:moveTo>
                      <a:pt x="705728" y="3361804"/>
                    </a:moveTo>
                    <a:cubicBezTo>
                      <a:pt x="705728" y="3359093"/>
                      <a:pt x="703509" y="3356878"/>
                      <a:pt x="700796" y="3356878"/>
                    </a:cubicBezTo>
                    <a:cubicBezTo>
                      <a:pt x="698083" y="3356878"/>
                      <a:pt x="695865" y="3359093"/>
                      <a:pt x="695865" y="3361804"/>
                    </a:cubicBezTo>
                    <a:cubicBezTo>
                      <a:pt x="695865" y="3364521"/>
                      <a:pt x="698083" y="3366738"/>
                      <a:pt x="700796" y="3366738"/>
                    </a:cubicBezTo>
                    <a:cubicBezTo>
                      <a:pt x="703509" y="3366738"/>
                      <a:pt x="705728" y="3364521"/>
                      <a:pt x="705728" y="3361804"/>
                    </a:cubicBezTo>
                    <a:close/>
                    <a:moveTo>
                      <a:pt x="705974" y="871099"/>
                    </a:moveTo>
                    <a:cubicBezTo>
                      <a:pt x="705974" y="861486"/>
                      <a:pt x="698083" y="853599"/>
                      <a:pt x="688469" y="853599"/>
                    </a:cubicBezTo>
                    <a:cubicBezTo>
                      <a:pt x="678851" y="853599"/>
                      <a:pt x="670961" y="861486"/>
                      <a:pt x="670961" y="871099"/>
                    </a:cubicBezTo>
                    <a:cubicBezTo>
                      <a:pt x="670961" y="880721"/>
                      <a:pt x="678851" y="888615"/>
                      <a:pt x="688469" y="888615"/>
                    </a:cubicBezTo>
                    <a:cubicBezTo>
                      <a:pt x="698083" y="888615"/>
                      <a:pt x="705974" y="880967"/>
                      <a:pt x="705974" y="871099"/>
                    </a:cubicBezTo>
                    <a:close/>
                    <a:moveTo>
                      <a:pt x="707454" y="2442101"/>
                    </a:moveTo>
                    <a:cubicBezTo>
                      <a:pt x="707454" y="2436186"/>
                      <a:pt x="702768" y="2431252"/>
                      <a:pt x="696605" y="2431252"/>
                    </a:cubicBezTo>
                    <a:cubicBezTo>
                      <a:pt x="690686" y="2431252"/>
                      <a:pt x="685755" y="2436186"/>
                      <a:pt x="685755" y="2442101"/>
                    </a:cubicBezTo>
                    <a:cubicBezTo>
                      <a:pt x="685755" y="2448019"/>
                      <a:pt x="690686" y="2452947"/>
                      <a:pt x="696605" y="2452947"/>
                    </a:cubicBezTo>
                    <a:cubicBezTo>
                      <a:pt x="702523" y="2452947"/>
                      <a:pt x="707454" y="2448019"/>
                      <a:pt x="707454" y="2442101"/>
                    </a:cubicBezTo>
                    <a:close/>
                    <a:moveTo>
                      <a:pt x="708442" y="7291669"/>
                    </a:moveTo>
                    <a:cubicBezTo>
                      <a:pt x="708442" y="7290682"/>
                      <a:pt x="707704" y="7289941"/>
                      <a:pt x="706717" y="7289941"/>
                    </a:cubicBezTo>
                    <a:cubicBezTo>
                      <a:pt x="705730" y="7289941"/>
                      <a:pt x="704990" y="7290682"/>
                      <a:pt x="704990" y="7291669"/>
                    </a:cubicBezTo>
                    <a:cubicBezTo>
                      <a:pt x="704990" y="7292654"/>
                      <a:pt x="705730" y="7293392"/>
                      <a:pt x="706717" y="7293392"/>
                    </a:cubicBezTo>
                    <a:cubicBezTo>
                      <a:pt x="707704" y="7293392"/>
                      <a:pt x="708442" y="7292654"/>
                      <a:pt x="708442" y="7291669"/>
                    </a:cubicBezTo>
                    <a:close/>
                    <a:moveTo>
                      <a:pt x="709178" y="7175530"/>
                    </a:moveTo>
                    <a:cubicBezTo>
                      <a:pt x="709178" y="7174544"/>
                      <a:pt x="708441" y="7173803"/>
                      <a:pt x="707454" y="7173803"/>
                    </a:cubicBezTo>
                    <a:cubicBezTo>
                      <a:pt x="706467" y="7173803"/>
                      <a:pt x="705727" y="7174544"/>
                      <a:pt x="705727" y="7175530"/>
                    </a:cubicBezTo>
                    <a:cubicBezTo>
                      <a:pt x="705727" y="7176516"/>
                      <a:pt x="706467" y="7177254"/>
                      <a:pt x="707454" y="7177254"/>
                    </a:cubicBezTo>
                    <a:cubicBezTo>
                      <a:pt x="708441" y="7177254"/>
                      <a:pt x="709178" y="7176516"/>
                      <a:pt x="709178" y="7175530"/>
                    </a:cubicBezTo>
                    <a:close/>
                    <a:moveTo>
                      <a:pt x="709675" y="994623"/>
                    </a:moveTo>
                    <a:cubicBezTo>
                      <a:pt x="709675" y="985255"/>
                      <a:pt x="702031" y="977610"/>
                      <a:pt x="692660" y="977610"/>
                    </a:cubicBezTo>
                    <a:cubicBezTo>
                      <a:pt x="683291" y="977610"/>
                      <a:pt x="675647" y="985255"/>
                      <a:pt x="675647" y="994623"/>
                    </a:cubicBezTo>
                    <a:cubicBezTo>
                      <a:pt x="675647" y="1003995"/>
                      <a:pt x="683291" y="1011640"/>
                      <a:pt x="692660" y="1011640"/>
                    </a:cubicBezTo>
                    <a:cubicBezTo>
                      <a:pt x="702031" y="1011640"/>
                      <a:pt x="709426" y="1003995"/>
                      <a:pt x="709675" y="994623"/>
                    </a:cubicBezTo>
                    <a:close/>
                    <a:moveTo>
                      <a:pt x="710905" y="2694583"/>
                    </a:moveTo>
                    <a:cubicBezTo>
                      <a:pt x="710905" y="2672146"/>
                      <a:pt x="692660" y="2653899"/>
                      <a:pt x="670220" y="2653899"/>
                    </a:cubicBezTo>
                    <a:cubicBezTo>
                      <a:pt x="647781" y="2653899"/>
                      <a:pt x="629536" y="2672146"/>
                      <a:pt x="629536" y="2694583"/>
                    </a:cubicBezTo>
                    <a:cubicBezTo>
                      <a:pt x="629536" y="2717022"/>
                      <a:pt x="647781" y="2735272"/>
                      <a:pt x="670220" y="2735272"/>
                    </a:cubicBezTo>
                    <a:cubicBezTo>
                      <a:pt x="692414" y="2735272"/>
                      <a:pt x="710658" y="2717022"/>
                      <a:pt x="710905" y="2694583"/>
                    </a:cubicBezTo>
                    <a:close/>
                    <a:moveTo>
                      <a:pt x="710907" y="7058900"/>
                    </a:moveTo>
                    <a:cubicBezTo>
                      <a:pt x="710907" y="7057668"/>
                      <a:pt x="709918" y="7056682"/>
                      <a:pt x="708686" y="7056682"/>
                    </a:cubicBezTo>
                    <a:cubicBezTo>
                      <a:pt x="707454" y="7056682"/>
                      <a:pt x="706468" y="7057668"/>
                      <a:pt x="706468" y="7058900"/>
                    </a:cubicBezTo>
                    <a:cubicBezTo>
                      <a:pt x="706468" y="7060133"/>
                      <a:pt x="707454" y="7061118"/>
                      <a:pt x="708686" y="7061118"/>
                    </a:cubicBezTo>
                    <a:cubicBezTo>
                      <a:pt x="709918" y="7061118"/>
                      <a:pt x="710907" y="7060133"/>
                      <a:pt x="710907" y="7058900"/>
                    </a:cubicBezTo>
                    <a:close/>
                    <a:moveTo>
                      <a:pt x="712139" y="2963101"/>
                    </a:moveTo>
                    <a:cubicBezTo>
                      <a:pt x="712139" y="2941402"/>
                      <a:pt x="694632" y="2923894"/>
                      <a:pt x="672933" y="2923894"/>
                    </a:cubicBezTo>
                    <a:cubicBezTo>
                      <a:pt x="651235" y="2923894"/>
                      <a:pt x="633727" y="2941402"/>
                      <a:pt x="633727" y="2963101"/>
                    </a:cubicBezTo>
                    <a:cubicBezTo>
                      <a:pt x="633727" y="2984801"/>
                      <a:pt x="651235" y="3002309"/>
                      <a:pt x="672933" y="3002309"/>
                    </a:cubicBezTo>
                    <a:cubicBezTo>
                      <a:pt x="694383" y="3002309"/>
                      <a:pt x="712139" y="2984801"/>
                      <a:pt x="712139" y="2963101"/>
                    </a:cubicBezTo>
                    <a:close/>
                    <a:moveTo>
                      <a:pt x="714113" y="1118875"/>
                    </a:moveTo>
                    <a:cubicBezTo>
                      <a:pt x="714113" y="1109757"/>
                      <a:pt x="706468" y="1102356"/>
                      <a:pt x="697591" y="1102356"/>
                    </a:cubicBezTo>
                    <a:cubicBezTo>
                      <a:pt x="688714" y="1102356"/>
                      <a:pt x="681319" y="1110003"/>
                      <a:pt x="681319" y="1118875"/>
                    </a:cubicBezTo>
                    <a:cubicBezTo>
                      <a:pt x="681319" y="1127759"/>
                      <a:pt x="688469" y="1135151"/>
                      <a:pt x="697591" y="1135151"/>
                    </a:cubicBezTo>
                    <a:cubicBezTo>
                      <a:pt x="706716" y="1135151"/>
                      <a:pt x="714113" y="1128004"/>
                      <a:pt x="714113" y="1118875"/>
                    </a:cubicBezTo>
                    <a:close/>
                    <a:moveTo>
                      <a:pt x="716825" y="3710895"/>
                    </a:moveTo>
                    <a:cubicBezTo>
                      <a:pt x="716825" y="3709662"/>
                      <a:pt x="715836" y="3708675"/>
                      <a:pt x="714604" y="3708675"/>
                    </a:cubicBezTo>
                    <a:cubicBezTo>
                      <a:pt x="713372" y="3708675"/>
                      <a:pt x="712386" y="3709662"/>
                      <a:pt x="712386" y="3710895"/>
                    </a:cubicBezTo>
                    <a:cubicBezTo>
                      <a:pt x="712386" y="3712127"/>
                      <a:pt x="713372" y="3713115"/>
                      <a:pt x="714604" y="3713115"/>
                    </a:cubicBezTo>
                    <a:cubicBezTo>
                      <a:pt x="715836" y="3713115"/>
                      <a:pt x="716825" y="3712375"/>
                      <a:pt x="716825" y="3710895"/>
                    </a:cubicBezTo>
                    <a:close/>
                    <a:moveTo>
                      <a:pt x="718304" y="1244374"/>
                    </a:moveTo>
                    <a:cubicBezTo>
                      <a:pt x="718304" y="1235990"/>
                      <a:pt x="711399" y="1229085"/>
                      <a:pt x="703015" y="1229085"/>
                    </a:cubicBezTo>
                    <a:cubicBezTo>
                      <a:pt x="694633" y="1229085"/>
                      <a:pt x="687729" y="1235990"/>
                      <a:pt x="687729" y="1244374"/>
                    </a:cubicBezTo>
                    <a:cubicBezTo>
                      <a:pt x="687729" y="1252750"/>
                      <a:pt x="694633" y="1259651"/>
                      <a:pt x="703015" y="1259651"/>
                    </a:cubicBezTo>
                    <a:cubicBezTo>
                      <a:pt x="711646" y="1259651"/>
                      <a:pt x="718304" y="1252750"/>
                      <a:pt x="718304" y="1244374"/>
                    </a:cubicBezTo>
                    <a:close/>
                    <a:moveTo>
                      <a:pt x="718304" y="6944735"/>
                    </a:moveTo>
                    <a:cubicBezTo>
                      <a:pt x="718304" y="6943998"/>
                      <a:pt x="717563" y="6943257"/>
                      <a:pt x="716826" y="6943257"/>
                    </a:cubicBezTo>
                    <a:cubicBezTo>
                      <a:pt x="716085" y="6943257"/>
                      <a:pt x="715345" y="6943748"/>
                      <a:pt x="715345" y="6944735"/>
                    </a:cubicBezTo>
                    <a:cubicBezTo>
                      <a:pt x="715345" y="6945476"/>
                      <a:pt x="716085" y="6946216"/>
                      <a:pt x="716826" y="6946216"/>
                    </a:cubicBezTo>
                    <a:cubicBezTo>
                      <a:pt x="717563" y="6946216"/>
                      <a:pt x="718304" y="6945476"/>
                      <a:pt x="718304" y="6944735"/>
                    </a:cubicBezTo>
                    <a:close/>
                    <a:moveTo>
                      <a:pt x="721511" y="6827119"/>
                    </a:moveTo>
                    <a:cubicBezTo>
                      <a:pt x="721511" y="6825392"/>
                      <a:pt x="720030" y="6823914"/>
                      <a:pt x="718304" y="6823914"/>
                    </a:cubicBezTo>
                    <a:cubicBezTo>
                      <a:pt x="716580" y="6823914"/>
                      <a:pt x="715099" y="6825392"/>
                      <a:pt x="715099" y="6827119"/>
                    </a:cubicBezTo>
                    <a:cubicBezTo>
                      <a:pt x="715099" y="6828846"/>
                      <a:pt x="716580" y="6830324"/>
                      <a:pt x="718304" y="6830324"/>
                    </a:cubicBezTo>
                    <a:cubicBezTo>
                      <a:pt x="720030" y="6830324"/>
                      <a:pt x="721511" y="6829091"/>
                      <a:pt x="721511" y="6827119"/>
                    </a:cubicBezTo>
                    <a:close/>
                    <a:moveTo>
                      <a:pt x="721757" y="3245917"/>
                    </a:moveTo>
                    <a:cubicBezTo>
                      <a:pt x="721757" y="3241973"/>
                      <a:pt x="718552" y="3238521"/>
                      <a:pt x="714358" y="3238521"/>
                    </a:cubicBezTo>
                    <a:cubicBezTo>
                      <a:pt x="710413" y="3238521"/>
                      <a:pt x="706963" y="3241727"/>
                      <a:pt x="706963" y="3245917"/>
                    </a:cubicBezTo>
                    <a:cubicBezTo>
                      <a:pt x="706963" y="3249863"/>
                      <a:pt x="710167" y="3253315"/>
                      <a:pt x="714358" y="3253315"/>
                    </a:cubicBezTo>
                    <a:cubicBezTo>
                      <a:pt x="718552" y="3253315"/>
                      <a:pt x="721757" y="3249863"/>
                      <a:pt x="721757" y="3245917"/>
                    </a:cubicBezTo>
                    <a:close/>
                    <a:moveTo>
                      <a:pt x="722249" y="6709009"/>
                    </a:moveTo>
                    <a:cubicBezTo>
                      <a:pt x="722249" y="6708022"/>
                      <a:pt x="721263" y="6707035"/>
                      <a:pt x="720030" y="6707035"/>
                    </a:cubicBezTo>
                    <a:cubicBezTo>
                      <a:pt x="719044" y="6707035"/>
                      <a:pt x="718058" y="6707777"/>
                      <a:pt x="718058" y="6709009"/>
                    </a:cubicBezTo>
                    <a:cubicBezTo>
                      <a:pt x="718058" y="6710241"/>
                      <a:pt x="718798" y="6711227"/>
                      <a:pt x="720030" y="6711227"/>
                    </a:cubicBezTo>
                    <a:cubicBezTo>
                      <a:pt x="721263" y="6711227"/>
                      <a:pt x="722003" y="6710489"/>
                      <a:pt x="722249" y="6709009"/>
                    </a:cubicBezTo>
                    <a:close/>
                    <a:moveTo>
                      <a:pt x="723480" y="1371832"/>
                    </a:moveTo>
                    <a:cubicBezTo>
                      <a:pt x="723480" y="1363937"/>
                      <a:pt x="716823" y="1357281"/>
                      <a:pt x="708686" y="1357281"/>
                    </a:cubicBezTo>
                    <a:cubicBezTo>
                      <a:pt x="700550" y="1357281"/>
                      <a:pt x="693892" y="1363688"/>
                      <a:pt x="693892" y="1371832"/>
                    </a:cubicBezTo>
                    <a:cubicBezTo>
                      <a:pt x="693892" y="1379969"/>
                      <a:pt x="700550" y="1386625"/>
                      <a:pt x="708686" y="1386625"/>
                    </a:cubicBezTo>
                    <a:cubicBezTo>
                      <a:pt x="716823" y="1386625"/>
                      <a:pt x="723480" y="1379969"/>
                      <a:pt x="723480" y="1371832"/>
                    </a:cubicBezTo>
                    <a:close/>
                    <a:moveTo>
                      <a:pt x="723975" y="1927544"/>
                    </a:moveTo>
                    <a:cubicBezTo>
                      <a:pt x="723975" y="1921384"/>
                      <a:pt x="719044" y="1916208"/>
                      <a:pt x="712632" y="1916208"/>
                    </a:cubicBezTo>
                    <a:cubicBezTo>
                      <a:pt x="706467" y="1916208"/>
                      <a:pt x="701291" y="1921138"/>
                      <a:pt x="701291" y="1927544"/>
                    </a:cubicBezTo>
                    <a:cubicBezTo>
                      <a:pt x="701291" y="1933707"/>
                      <a:pt x="706222" y="1938883"/>
                      <a:pt x="712632" y="1938883"/>
                    </a:cubicBezTo>
                    <a:cubicBezTo>
                      <a:pt x="718798" y="1938883"/>
                      <a:pt x="723975" y="1933954"/>
                      <a:pt x="723975" y="1927544"/>
                    </a:cubicBezTo>
                    <a:close/>
                    <a:moveTo>
                      <a:pt x="725207" y="4514979"/>
                    </a:moveTo>
                    <a:cubicBezTo>
                      <a:pt x="725207" y="4499939"/>
                      <a:pt x="712877" y="4487609"/>
                      <a:pt x="697837" y="4487609"/>
                    </a:cubicBezTo>
                    <a:cubicBezTo>
                      <a:pt x="682796" y="4487609"/>
                      <a:pt x="670467" y="4499939"/>
                      <a:pt x="670467" y="4514979"/>
                    </a:cubicBezTo>
                    <a:cubicBezTo>
                      <a:pt x="670467" y="4530020"/>
                      <a:pt x="682796" y="4542350"/>
                      <a:pt x="697837" y="4542350"/>
                    </a:cubicBezTo>
                    <a:cubicBezTo>
                      <a:pt x="712877" y="4542350"/>
                      <a:pt x="725207" y="4530020"/>
                      <a:pt x="725207" y="4514979"/>
                    </a:cubicBezTo>
                    <a:close/>
                    <a:moveTo>
                      <a:pt x="729645" y="1500527"/>
                    </a:moveTo>
                    <a:cubicBezTo>
                      <a:pt x="729645" y="1492882"/>
                      <a:pt x="723480" y="1486719"/>
                      <a:pt x="715836" y="1486719"/>
                    </a:cubicBezTo>
                    <a:cubicBezTo>
                      <a:pt x="708192" y="1486719"/>
                      <a:pt x="702029" y="1492882"/>
                      <a:pt x="702029" y="1500527"/>
                    </a:cubicBezTo>
                    <a:cubicBezTo>
                      <a:pt x="702029" y="1507925"/>
                      <a:pt x="708192" y="1514089"/>
                      <a:pt x="715836" y="1514089"/>
                    </a:cubicBezTo>
                    <a:cubicBezTo>
                      <a:pt x="723480" y="1514089"/>
                      <a:pt x="729645" y="1507925"/>
                      <a:pt x="729645" y="1500527"/>
                    </a:cubicBezTo>
                    <a:close/>
                    <a:moveTo>
                      <a:pt x="732606" y="6230652"/>
                    </a:moveTo>
                    <a:cubicBezTo>
                      <a:pt x="732606" y="6228677"/>
                      <a:pt x="731373" y="6227199"/>
                      <a:pt x="729398" y="6227199"/>
                    </a:cubicBezTo>
                    <a:cubicBezTo>
                      <a:pt x="727426" y="6227199"/>
                      <a:pt x="725948" y="6228677"/>
                      <a:pt x="725948" y="6230652"/>
                    </a:cubicBezTo>
                    <a:cubicBezTo>
                      <a:pt x="725948" y="6232625"/>
                      <a:pt x="727675" y="6234103"/>
                      <a:pt x="729398" y="6234103"/>
                    </a:cubicBezTo>
                    <a:cubicBezTo>
                      <a:pt x="731125" y="6234103"/>
                      <a:pt x="732606" y="6232625"/>
                      <a:pt x="732606" y="6230652"/>
                    </a:cubicBezTo>
                    <a:close/>
                    <a:moveTo>
                      <a:pt x="733836" y="11921"/>
                    </a:moveTo>
                    <a:lnTo>
                      <a:pt x="728927" y="0"/>
                    </a:lnTo>
                    <a:lnTo>
                      <a:pt x="698801" y="0"/>
                    </a:lnTo>
                    <a:lnTo>
                      <a:pt x="693892" y="11921"/>
                    </a:lnTo>
                    <a:cubicBezTo>
                      <a:pt x="693892" y="23019"/>
                      <a:pt x="702768" y="31895"/>
                      <a:pt x="713864" y="31895"/>
                    </a:cubicBezTo>
                    <a:cubicBezTo>
                      <a:pt x="724713" y="31895"/>
                      <a:pt x="733836" y="23019"/>
                      <a:pt x="733836" y="11921"/>
                    </a:cubicBezTo>
                    <a:close/>
                    <a:moveTo>
                      <a:pt x="735317" y="129510"/>
                    </a:moveTo>
                    <a:cubicBezTo>
                      <a:pt x="735317" y="118661"/>
                      <a:pt x="726440" y="109785"/>
                      <a:pt x="715591" y="109785"/>
                    </a:cubicBezTo>
                    <a:cubicBezTo>
                      <a:pt x="704742" y="109785"/>
                      <a:pt x="695865" y="118661"/>
                      <a:pt x="695865" y="129510"/>
                    </a:cubicBezTo>
                    <a:cubicBezTo>
                      <a:pt x="695865" y="140359"/>
                      <a:pt x="704742" y="149235"/>
                      <a:pt x="715591" y="149235"/>
                    </a:cubicBezTo>
                    <a:cubicBezTo>
                      <a:pt x="726440" y="149235"/>
                      <a:pt x="735317" y="140359"/>
                      <a:pt x="735317" y="129510"/>
                    </a:cubicBezTo>
                    <a:close/>
                    <a:moveTo>
                      <a:pt x="736057" y="1630703"/>
                    </a:moveTo>
                    <a:cubicBezTo>
                      <a:pt x="736057" y="1624288"/>
                      <a:pt x="730880" y="1618864"/>
                      <a:pt x="724221" y="1618864"/>
                    </a:cubicBezTo>
                    <a:cubicBezTo>
                      <a:pt x="717809" y="1618864"/>
                      <a:pt x="712386" y="1624041"/>
                      <a:pt x="712386" y="1630703"/>
                    </a:cubicBezTo>
                    <a:cubicBezTo>
                      <a:pt x="712386" y="1637114"/>
                      <a:pt x="717809" y="1642541"/>
                      <a:pt x="724221" y="1642541"/>
                    </a:cubicBezTo>
                    <a:cubicBezTo>
                      <a:pt x="730880" y="1642541"/>
                      <a:pt x="736057" y="1637114"/>
                      <a:pt x="736057" y="1630703"/>
                    </a:cubicBezTo>
                    <a:close/>
                    <a:moveTo>
                      <a:pt x="736057" y="6471310"/>
                    </a:moveTo>
                    <a:cubicBezTo>
                      <a:pt x="736057" y="6464654"/>
                      <a:pt x="730631" y="6459227"/>
                      <a:pt x="723973" y="6459227"/>
                    </a:cubicBezTo>
                    <a:cubicBezTo>
                      <a:pt x="717317" y="6459227"/>
                      <a:pt x="711892" y="6464654"/>
                      <a:pt x="711892" y="6471310"/>
                    </a:cubicBezTo>
                    <a:cubicBezTo>
                      <a:pt x="711892" y="6477967"/>
                      <a:pt x="717317" y="6483393"/>
                      <a:pt x="723973" y="6483393"/>
                    </a:cubicBezTo>
                    <a:cubicBezTo>
                      <a:pt x="730631" y="6483393"/>
                      <a:pt x="736057" y="6477967"/>
                      <a:pt x="736057" y="6471310"/>
                    </a:cubicBezTo>
                    <a:close/>
                    <a:moveTo>
                      <a:pt x="737044" y="247347"/>
                    </a:moveTo>
                    <a:cubicBezTo>
                      <a:pt x="737044" y="236499"/>
                      <a:pt x="728167" y="227868"/>
                      <a:pt x="717563" y="227868"/>
                    </a:cubicBezTo>
                    <a:cubicBezTo>
                      <a:pt x="706963" y="227868"/>
                      <a:pt x="698332" y="236744"/>
                      <a:pt x="698332" y="247347"/>
                    </a:cubicBezTo>
                    <a:cubicBezTo>
                      <a:pt x="698332" y="257947"/>
                      <a:pt x="706963" y="266577"/>
                      <a:pt x="717563" y="266577"/>
                    </a:cubicBezTo>
                    <a:cubicBezTo>
                      <a:pt x="728167" y="266577"/>
                      <a:pt x="736797" y="257947"/>
                      <a:pt x="737044" y="247347"/>
                    </a:cubicBezTo>
                    <a:close/>
                    <a:moveTo>
                      <a:pt x="738523" y="365921"/>
                    </a:moveTo>
                    <a:cubicBezTo>
                      <a:pt x="738523" y="355321"/>
                      <a:pt x="730139" y="346690"/>
                      <a:pt x="719535" y="346690"/>
                    </a:cubicBezTo>
                    <a:cubicBezTo>
                      <a:pt x="708935" y="346690"/>
                      <a:pt x="700304" y="355321"/>
                      <a:pt x="700304" y="365921"/>
                    </a:cubicBezTo>
                    <a:cubicBezTo>
                      <a:pt x="700304" y="376277"/>
                      <a:pt x="708935" y="384908"/>
                      <a:pt x="719535" y="384908"/>
                    </a:cubicBezTo>
                    <a:cubicBezTo>
                      <a:pt x="730139" y="384908"/>
                      <a:pt x="738523" y="376524"/>
                      <a:pt x="738523" y="365921"/>
                    </a:cubicBezTo>
                    <a:close/>
                    <a:moveTo>
                      <a:pt x="739017" y="6351476"/>
                    </a:moveTo>
                    <a:cubicBezTo>
                      <a:pt x="739017" y="6344571"/>
                      <a:pt x="733347" y="6338899"/>
                      <a:pt x="726443" y="6338899"/>
                    </a:cubicBezTo>
                    <a:cubicBezTo>
                      <a:pt x="719539" y="6338899"/>
                      <a:pt x="713867" y="6344571"/>
                      <a:pt x="713867" y="6351476"/>
                    </a:cubicBezTo>
                    <a:cubicBezTo>
                      <a:pt x="713867" y="6358380"/>
                      <a:pt x="719539" y="6364049"/>
                      <a:pt x="726443" y="6364049"/>
                    </a:cubicBezTo>
                    <a:cubicBezTo>
                      <a:pt x="733593" y="6364049"/>
                      <a:pt x="739017" y="6358380"/>
                      <a:pt x="739017" y="6351476"/>
                    </a:cubicBezTo>
                    <a:close/>
                    <a:moveTo>
                      <a:pt x="739261" y="3825554"/>
                    </a:moveTo>
                    <a:cubicBezTo>
                      <a:pt x="739261" y="3824321"/>
                      <a:pt x="738276" y="3823581"/>
                      <a:pt x="737289" y="3823581"/>
                    </a:cubicBezTo>
                    <a:cubicBezTo>
                      <a:pt x="736057" y="3823581"/>
                      <a:pt x="735317" y="3824567"/>
                      <a:pt x="735317" y="3825554"/>
                    </a:cubicBezTo>
                    <a:cubicBezTo>
                      <a:pt x="735317" y="3826786"/>
                      <a:pt x="736303" y="3827526"/>
                      <a:pt x="737289" y="3827526"/>
                    </a:cubicBezTo>
                    <a:cubicBezTo>
                      <a:pt x="738521" y="3827526"/>
                      <a:pt x="739261" y="3826539"/>
                      <a:pt x="739261" y="3825554"/>
                    </a:cubicBezTo>
                    <a:close/>
                    <a:moveTo>
                      <a:pt x="739264" y="6590652"/>
                    </a:moveTo>
                    <a:cubicBezTo>
                      <a:pt x="739264" y="6581037"/>
                      <a:pt x="731374" y="6573392"/>
                      <a:pt x="722004" y="6573392"/>
                    </a:cubicBezTo>
                    <a:cubicBezTo>
                      <a:pt x="712635" y="6573392"/>
                      <a:pt x="704990" y="6581283"/>
                      <a:pt x="704990" y="6590652"/>
                    </a:cubicBezTo>
                    <a:cubicBezTo>
                      <a:pt x="704990" y="6600269"/>
                      <a:pt x="712635" y="6607913"/>
                      <a:pt x="722004" y="6607913"/>
                    </a:cubicBezTo>
                    <a:cubicBezTo>
                      <a:pt x="731374" y="6607913"/>
                      <a:pt x="739264" y="6600022"/>
                      <a:pt x="739264" y="6590652"/>
                    </a:cubicBezTo>
                    <a:close/>
                    <a:moveTo>
                      <a:pt x="740989" y="484991"/>
                    </a:moveTo>
                    <a:cubicBezTo>
                      <a:pt x="740989" y="474391"/>
                      <a:pt x="732358" y="466006"/>
                      <a:pt x="722001" y="466006"/>
                    </a:cubicBezTo>
                    <a:cubicBezTo>
                      <a:pt x="711399" y="466006"/>
                      <a:pt x="703015" y="474637"/>
                      <a:pt x="703015" y="484991"/>
                    </a:cubicBezTo>
                    <a:cubicBezTo>
                      <a:pt x="703015" y="495594"/>
                      <a:pt x="711646" y="503977"/>
                      <a:pt x="722001" y="503977"/>
                    </a:cubicBezTo>
                    <a:cubicBezTo>
                      <a:pt x="732358" y="503977"/>
                      <a:pt x="740989" y="495349"/>
                      <a:pt x="740989" y="484991"/>
                    </a:cubicBezTo>
                    <a:close/>
                    <a:moveTo>
                      <a:pt x="740989" y="4102456"/>
                    </a:moveTo>
                    <a:cubicBezTo>
                      <a:pt x="740989" y="4088402"/>
                      <a:pt x="729648" y="4076812"/>
                      <a:pt x="715345" y="4076812"/>
                    </a:cubicBezTo>
                    <a:cubicBezTo>
                      <a:pt x="701291" y="4076812"/>
                      <a:pt x="689701" y="4088153"/>
                      <a:pt x="689701" y="4102456"/>
                    </a:cubicBezTo>
                    <a:cubicBezTo>
                      <a:pt x="689701" y="4116510"/>
                      <a:pt x="701291" y="4128100"/>
                      <a:pt x="715345" y="4128100"/>
                    </a:cubicBezTo>
                    <a:cubicBezTo>
                      <a:pt x="729399" y="4128100"/>
                      <a:pt x="740989" y="4116510"/>
                      <a:pt x="740989" y="4102456"/>
                    </a:cubicBezTo>
                    <a:close/>
                    <a:moveTo>
                      <a:pt x="741729" y="5029584"/>
                    </a:moveTo>
                    <a:cubicBezTo>
                      <a:pt x="741729" y="5014541"/>
                      <a:pt x="729648" y="5002459"/>
                      <a:pt x="714605" y="5002459"/>
                    </a:cubicBezTo>
                    <a:cubicBezTo>
                      <a:pt x="699564" y="5002459"/>
                      <a:pt x="687483" y="5014541"/>
                      <a:pt x="687483" y="5029584"/>
                    </a:cubicBezTo>
                    <a:cubicBezTo>
                      <a:pt x="687483" y="5044624"/>
                      <a:pt x="699813" y="5056706"/>
                      <a:pt x="714605" y="5056706"/>
                    </a:cubicBezTo>
                    <a:cubicBezTo>
                      <a:pt x="729399" y="5056706"/>
                      <a:pt x="741729" y="5044624"/>
                      <a:pt x="741729" y="5029584"/>
                    </a:cubicBezTo>
                    <a:close/>
                    <a:moveTo>
                      <a:pt x="742469" y="605051"/>
                    </a:moveTo>
                    <a:cubicBezTo>
                      <a:pt x="742469" y="595187"/>
                      <a:pt x="734332" y="587052"/>
                      <a:pt x="724221" y="587052"/>
                    </a:cubicBezTo>
                    <a:cubicBezTo>
                      <a:pt x="714113" y="587052"/>
                      <a:pt x="705976" y="594942"/>
                      <a:pt x="705976" y="605051"/>
                    </a:cubicBezTo>
                    <a:cubicBezTo>
                      <a:pt x="705976" y="615158"/>
                      <a:pt x="714113" y="623297"/>
                      <a:pt x="724221" y="623297"/>
                    </a:cubicBezTo>
                    <a:cubicBezTo>
                      <a:pt x="734332" y="623297"/>
                      <a:pt x="742469" y="615158"/>
                      <a:pt x="742469" y="605051"/>
                    </a:cubicBezTo>
                    <a:close/>
                    <a:moveTo>
                      <a:pt x="743702" y="1763363"/>
                    </a:moveTo>
                    <a:cubicBezTo>
                      <a:pt x="743702" y="1757690"/>
                      <a:pt x="739017" y="1753247"/>
                      <a:pt x="733593" y="1753247"/>
                    </a:cubicBezTo>
                    <a:cubicBezTo>
                      <a:pt x="728170" y="1753247"/>
                      <a:pt x="723730" y="1757935"/>
                      <a:pt x="723730" y="1763363"/>
                    </a:cubicBezTo>
                    <a:cubicBezTo>
                      <a:pt x="723730" y="1768793"/>
                      <a:pt x="728170" y="1773232"/>
                      <a:pt x="733593" y="1773232"/>
                    </a:cubicBezTo>
                    <a:cubicBezTo>
                      <a:pt x="739017" y="1773232"/>
                      <a:pt x="743456" y="1768547"/>
                      <a:pt x="743702" y="1763363"/>
                    </a:cubicBezTo>
                    <a:close/>
                    <a:moveTo>
                      <a:pt x="744689" y="725886"/>
                    </a:moveTo>
                    <a:cubicBezTo>
                      <a:pt x="744689" y="716035"/>
                      <a:pt x="736552" y="708142"/>
                      <a:pt x="726935" y="708142"/>
                    </a:cubicBezTo>
                    <a:cubicBezTo>
                      <a:pt x="717071" y="708142"/>
                      <a:pt x="709182" y="716280"/>
                      <a:pt x="709182" y="725886"/>
                    </a:cubicBezTo>
                    <a:cubicBezTo>
                      <a:pt x="709182" y="735757"/>
                      <a:pt x="717071" y="743654"/>
                      <a:pt x="726935" y="743654"/>
                    </a:cubicBezTo>
                    <a:cubicBezTo>
                      <a:pt x="736798" y="743654"/>
                      <a:pt x="744689" y="735510"/>
                      <a:pt x="744689" y="725886"/>
                    </a:cubicBezTo>
                    <a:close/>
                    <a:moveTo>
                      <a:pt x="746658" y="2205649"/>
                    </a:moveTo>
                    <a:cubicBezTo>
                      <a:pt x="746658" y="2204665"/>
                      <a:pt x="745917" y="2203923"/>
                      <a:pt x="744933" y="2203923"/>
                    </a:cubicBezTo>
                    <a:cubicBezTo>
                      <a:pt x="744193" y="2203923"/>
                      <a:pt x="743454" y="2204665"/>
                      <a:pt x="743454" y="2205649"/>
                    </a:cubicBezTo>
                    <a:cubicBezTo>
                      <a:pt x="743454" y="2206386"/>
                      <a:pt x="743948" y="2207124"/>
                      <a:pt x="744933" y="2207124"/>
                    </a:cubicBezTo>
                    <a:cubicBezTo>
                      <a:pt x="745917" y="2207124"/>
                      <a:pt x="746658" y="2206386"/>
                      <a:pt x="746658" y="2205649"/>
                    </a:cubicBezTo>
                    <a:close/>
                    <a:moveTo>
                      <a:pt x="747152" y="3131012"/>
                    </a:moveTo>
                    <a:cubicBezTo>
                      <a:pt x="747152" y="3125341"/>
                      <a:pt x="742715" y="3120903"/>
                      <a:pt x="737044" y="3120903"/>
                    </a:cubicBezTo>
                    <a:cubicBezTo>
                      <a:pt x="731374" y="3120903"/>
                      <a:pt x="726935" y="3125341"/>
                      <a:pt x="726935" y="3131012"/>
                    </a:cubicBezTo>
                    <a:cubicBezTo>
                      <a:pt x="726935" y="3136684"/>
                      <a:pt x="731374" y="3141121"/>
                      <a:pt x="737044" y="3141121"/>
                    </a:cubicBezTo>
                    <a:cubicBezTo>
                      <a:pt x="742715" y="3141121"/>
                      <a:pt x="747152" y="3136684"/>
                      <a:pt x="747152" y="3131012"/>
                    </a:cubicBezTo>
                    <a:close/>
                    <a:moveTo>
                      <a:pt x="750605" y="5867939"/>
                    </a:moveTo>
                    <a:cubicBezTo>
                      <a:pt x="750605" y="5866707"/>
                      <a:pt x="749616" y="5865720"/>
                      <a:pt x="748384" y="5865720"/>
                    </a:cubicBezTo>
                    <a:cubicBezTo>
                      <a:pt x="747151" y="5865720"/>
                      <a:pt x="746166" y="5866707"/>
                      <a:pt x="746166" y="5867939"/>
                    </a:cubicBezTo>
                    <a:cubicBezTo>
                      <a:pt x="746166" y="5869173"/>
                      <a:pt x="747151" y="5870157"/>
                      <a:pt x="748384" y="5870157"/>
                    </a:cubicBezTo>
                    <a:cubicBezTo>
                      <a:pt x="749616" y="5870157"/>
                      <a:pt x="750605" y="5869173"/>
                      <a:pt x="750605" y="5867939"/>
                    </a:cubicBezTo>
                    <a:close/>
                    <a:moveTo>
                      <a:pt x="754304" y="2854360"/>
                    </a:moveTo>
                    <a:cubicBezTo>
                      <a:pt x="754304" y="2832415"/>
                      <a:pt x="736551" y="2814661"/>
                      <a:pt x="714604" y="2814661"/>
                    </a:cubicBezTo>
                    <a:cubicBezTo>
                      <a:pt x="692660" y="2814661"/>
                      <a:pt x="674907" y="2832415"/>
                      <a:pt x="674907" y="2854360"/>
                    </a:cubicBezTo>
                    <a:cubicBezTo>
                      <a:pt x="674907" y="2876307"/>
                      <a:pt x="692660" y="2894061"/>
                      <a:pt x="714604" y="2894061"/>
                    </a:cubicBezTo>
                    <a:cubicBezTo>
                      <a:pt x="736551" y="2894061"/>
                      <a:pt x="754304" y="2876059"/>
                      <a:pt x="754304" y="2854360"/>
                    </a:cubicBezTo>
                    <a:close/>
                    <a:moveTo>
                      <a:pt x="755042" y="5743418"/>
                    </a:moveTo>
                    <a:cubicBezTo>
                      <a:pt x="755042" y="5742432"/>
                      <a:pt x="754057" y="5741445"/>
                      <a:pt x="753070" y="5741445"/>
                    </a:cubicBezTo>
                    <a:cubicBezTo>
                      <a:pt x="752083" y="5741445"/>
                      <a:pt x="751098" y="5742432"/>
                      <a:pt x="751098" y="5743418"/>
                    </a:cubicBezTo>
                    <a:cubicBezTo>
                      <a:pt x="751098" y="5744404"/>
                      <a:pt x="751838" y="5745391"/>
                      <a:pt x="753070" y="5745391"/>
                    </a:cubicBezTo>
                    <a:cubicBezTo>
                      <a:pt x="754057" y="5745391"/>
                      <a:pt x="755042" y="5744404"/>
                      <a:pt x="755042" y="5743418"/>
                    </a:cubicBezTo>
                    <a:close/>
                    <a:moveTo>
                      <a:pt x="759729" y="6113282"/>
                    </a:moveTo>
                    <a:cubicBezTo>
                      <a:pt x="759729" y="6102681"/>
                      <a:pt x="750852" y="6094050"/>
                      <a:pt x="740248" y="6094050"/>
                    </a:cubicBezTo>
                    <a:cubicBezTo>
                      <a:pt x="729648" y="6094050"/>
                      <a:pt x="721017" y="6102681"/>
                      <a:pt x="721017" y="6113282"/>
                    </a:cubicBezTo>
                    <a:cubicBezTo>
                      <a:pt x="721017" y="6124134"/>
                      <a:pt x="729648" y="6132762"/>
                      <a:pt x="740248" y="6132762"/>
                    </a:cubicBezTo>
                    <a:cubicBezTo>
                      <a:pt x="751100" y="6132762"/>
                      <a:pt x="759729" y="6124134"/>
                      <a:pt x="759729" y="6113282"/>
                    </a:cubicBezTo>
                    <a:close/>
                    <a:moveTo>
                      <a:pt x="761209" y="5617664"/>
                    </a:moveTo>
                    <a:cubicBezTo>
                      <a:pt x="761209" y="5616431"/>
                      <a:pt x="760223" y="5615199"/>
                      <a:pt x="758742" y="5615199"/>
                    </a:cubicBezTo>
                    <a:cubicBezTo>
                      <a:pt x="757510" y="5615199"/>
                      <a:pt x="756278" y="5616186"/>
                      <a:pt x="756278" y="5617664"/>
                    </a:cubicBezTo>
                    <a:cubicBezTo>
                      <a:pt x="756278" y="5618899"/>
                      <a:pt x="757263" y="5620131"/>
                      <a:pt x="758742" y="5620131"/>
                    </a:cubicBezTo>
                    <a:cubicBezTo>
                      <a:pt x="760223" y="5620131"/>
                      <a:pt x="761209" y="5619145"/>
                      <a:pt x="761209" y="5617664"/>
                    </a:cubicBezTo>
                    <a:close/>
                    <a:moveTo>
                      <a:pt x="762195" y="4891993"/>
                    </a:moveTo>
                    <a:cubicBezTo>
                      <a:pt x="762195" y="4873994"/>
                      <a:pt x="747401" y="4859199"/>
                      <a:pt x="729399" y="4859199"/>
                    </a:cubicBezTo>
                    <a:cubicBezTo>
                      <a:pt x="711399" y="4859199"/>
                      <a:pt x="696605" y="4873994"/>
                      <a:pt x="696605" y="4891993"/>
                    </a:cubicBezTo>
                    <a:cubicBezTo>
                      <a:pt x="696605" y="4909993"/>
                      <a:pt x="711399" y="4924790"/>
                      <a:pt x="729399" y="4924790"/>
                    </a:cubicBezTo>
                    <a:cubicBezTo>
                      <a:pt x="747401" y="4924790"/>
                      <a:pt x="761947" y="4909993"/>
                      <a:pt x="762195" y="4891993"/>
                    </a:cubicBezTo>
                    <a:close/>
                    <a:moveTo>
                      <a:pt x="766138" y="2593241"/>
                    </a:moveTo>
                    <a:cubicBezTo>
                      <a:pt x="766138" y="2571789"/>
                      <a:pt x="748630" y="2554282"/>
                      <a:pt x="727180" y="2554282"/>
                    </a:cubicBezTo>
                    <a:cubicBezTo>
                      <a:pt x="705727" y="2554282"/>
                      <a:pt x="688220" y="2571789"/>
                      <a:pt x="688220" y="2593241"/>
                    </a:cubicBezTo>
                    <a:cubicBezTo>
                      <a:pt x="688220" y="2614695"/>
                      <a:pt x="705727" y="2632202"/>
                      <a:pt x="727180" y="2632202"/>
                    </a:cubicBezTo>
                    <a:cubicBezTo>
                      <a:pt x="748630" y="2632202"/>
                      <a:pt x="766138" y="2614695"/>
                      <a:pt x="766138" y="2593241"/>
                    </a:cubicBezTo>
                    <a:close/>
                    <a:moveTo>
                      <a:pt x="766384" y="5490430"/>
                    </a:moveTo>
                    <a:cubicBezTo>
                      <a:pt x="766384" y="5489690"/>
                      <a:pt x="765646" y="5489198"/>
                      <a:pt x="765152" y="5489198"/>
                    </a:cubicBezTo>
                    <a:cubicBezTo>
                      <a:pt x="764411" y="5489198"/>
                      <a:pt x="763920" y="5489690"/>
                      <a:pt x="763920" y="5490430"/>
                    </a:cubicBezTo>
                    <a:cubicBezTo>
                      <a:pt x="763920" y="5491171"/>
                      <a:pt x="764411" y="5491662"/>
                      <a:pt x="765152" y="5491662"/>
                    </a:cubicBezTo>
                    <a:cubicBezTo>
                      <a:pt x="765646" y="5491662"/>
                      <a:pt x="766138" y="5491171"/>
                      <a:pt x="766384" y="5490430"/>
                    </a:cubicBezTo>
                    <a:close/>
                    <a:moveTo>
                      <a:pt x="767373" y="5991227"/>
                    </a:moveTo>
                    <a:cubicBezTo>
                      <a:pt x="767373" y="5978426"/>
                      <a:pt x="756995" y="5968050"/>
                      <a:pt x="744193" y="5968050"/>
                    </a:cubicBezTo>
                    <a:cubicBezTo>
                      <a:pt x="731395" y="5968050"/>
                      <a:pt x="721017" y="5978428"/>
                      <a:pt x="721017" y="5991227"/>
                    </a:cubicBezTo>
                    <a:cubicBezTo>
                      <a:pt x="721017" y="6004028"/>
                      <a:pt x="731395" y="6014407"/>
                      <a:pt x="744193" y="6014407"/>
                    </a:cubicBezTo>
                    <a:cubicBezTo>
                      <a:pt x="756995" y="6014407"/>
                      <a:pt x="767373" y="6004028"/>
                      <a:pt x="767373" y="5991227"/>
                    </a:cubicBezTo>
                    <a:close/>
                    <a:moveTo>
                      <a:pt x="769097" y="4751447"/>
                    </a:moveTo>
                    <a:cubicBezTo>
                      <a:pt x="769097" y="4739116"/>
                      <a:pt x="759233" y="4729007"/>
                      <a:pt x="746906" y="4729007"/>
                    </a:cubicBezTo>
                    <a:cubicBezTo>
                      <a:pt x="734576" y="4729007"/>
                      <a:pt x="724467" y="4739116"/>
                      <a:pt x="724467" y="4751447"/>
                    </a:cubicBezTo>
                    <a:cubicBezTo>
                      <a:pt x="724467" y="4763774"/>
                      <a:pt x="734576" y="4773883"/>
                      <a:pt x="746906" y="4773883"/>
                    </a:cubicBezTo>
                    <a:cubicBezTo>
                      <a:pt x="759233" y="4773883"/>
                      <a:pt x="769097" y="4764019"/>
                      <a:pt x="769097" y="4751447"/>
                    </a:cubicBezTo>
                    <a:close/>
                    <a:moveTo>
                      <a:pt x="770578" y="2065096"/>
                    </a:moveTo>
                    <a:cubicBezTo>
                      <a:pt x="770578" y="2041420"/>
                      <a:pt x="751343" y="2022183"/>
                      <a:pt x="727673" y="2022183"/>
                    </a:cubicBezTo>
                    <a:cubicBezTo>
                      <a:pt x="704001" y="2022183"/>
                      <a:pt x="684770" y="2041420"/>
                      <a:pt x="684770" y="2065096"/>
                    </a:cubicBezTo>
                    <a:cubicBezTo>
                      <a:pt x="684770" y="2088772"/>
                      <a:pt x="704001" y="2108007"/>
                      <a:pt x="727673" y="2108007"/>
                    </a:cubicBezTo>
                    <a:cubicBezTo>
                      <a:pt x="751343" y="2108007"/>
                      <a:pt x="770578" y="2088523"/>
                      <a:pt x="770578" y="2065096"/>
                    </a:cubicBezTo>
                    <a:close/>
                    <a:moveTo>
                      <a:pt x="770824" y="3937745"/>
                    </a:moveTo>
                    <a:cubicBezTo>
                      <a:pt x="770824" y="3936758"/>
                      <a:pt x="770086" y="3936017"/>
                      <a:pt x="769100" y="3936017"/>
                    </a:cubicBezTo>
                    <a:cubicBezTo>
                      <a:pt x="768113" y="3936017"/>
                      <a:pt x="767373" y="3936758"/>
                      <a:pt x="767373" y="3937745"/>
                    </a:cubicBezTo>
                    <a:cubicBezTo>
                      <a:pt x="767373" y="3938730"/>
                      <a:pt x="768113" y="3939468"/>
                      <a:pt x="769100" y="3939468"/>
                    </a:cubicBezTo>
                    <a:cubicBezTo>
                      <a:pt x="770086" y="3939468"/>
                      <a:pt x="770824" y="3938730"/>
                      <a:pt x="770824" y="3937745"/>
                    </a:cubicBezTo>
                    <a:close/>
                    <a:moveTo>
                      <a:pt x="771810" y="2348904"/>
                    </a:moveTo>
                    <a:cubicBezTo>
                      <a:pt x="771810" y="2345699"/>
                      <a:pt x="769345" y="2343232"/>
                      <a:pt x="766141" y="2343232"/>
                    </a:cubicBezTo>
                    <a:cubicBezTo>
                      <a:pt x="762933" y="2343232"/>
                      <a:pt x="760469" y="2345947"/>
                      <a:pt x="760469" y="2348904"/>
                    </a:cubicBezTo>
                    <a:cubicBezTo>
                      <a:pt x="760469" y="2352114"/>
                      <a:pt x="763181" y="2354574"/>
                      <a:pt x="766141" y="2354574"/>
                    </a:cubicBezTo>
                    <a:cubicBezTo>
                      <a:pt x="769100" y="2354574"/>
                      <a:pt x="771563" y="2352114"/>
                      <a:pt x="771810" y="2348904"/>
                    </a:cubicBezTo>
                    <a:close/>
                    <a:moveTo>
                      <a:pt x="776004" y="4363580"/>
                    </a:moveTo>
                    <a:cubicBezTo>
                      <a:pt x="776004" y="4337196"/>
                      <a:pt x="754551" y="4315743"/>
                      <a:pt x="728167" y="4315743"/>
                    </a:cubicBezTo>
                    <a:cubicBezTo>
                      <a:pt x="702032" y="4315743"/>
                      <a:pt x="680579" y="4337196"/>
                      <a:pt x="680579" y="4363580"/>
                    </a:cubicBezTo>
                    <a:cubicBezTo>
                      <a:pt x="680579" y="4389717"/>
                      <a:pt x="701785" y="4411170"/>
                      <a:pt x="728167" y="4411170"/>
                    </a:cubicBezTo>
                    <a:cubicBezTo>
                      <a:pt x="754551" y="4411170"/>
                      <a:pt x="776004" y="4389717"/>
                      <a:pt x="776004" y="4363580"/>
                    </a:cubicBezTo>
                    <a:close/>
                    <a:moveTo>
                      <a:pt x="781427" y="3018571"/>
                    </a:moveTo>
                    <a:cubicBezTo>
                      <a:pt x="781427" y="3011421"/>
                      <a:pt x="775755" y="3005749"/>
                      <a:pt x="768605" y="3005749"/>
                    </a:cubicBezTo>
                    <a:cubicBezTo>
                      <a:pt x="761455" y="3005749"/>
                      <a:pt x="755783" y="3011421"/>
                      <a:pt x="755783" y="3018571"/>
                    </a:cubicBezTo>
                    <a:cubicBezTo>
                      <a:pt x="755783" y="3025721"/>
                      <a:pt x="761701" y="3031393"/>
                      <a:pt x="768605" y="3031393"/>
                    </a:cubicBezTo>
                    <a:cubicBezTo>
                      <a:pt x="775755" y="3031393"/>
                      <a:pt x="781427" y="3025721"/>
                      <a:pt x="781427" y="3018571"/>
                    </a:cubicBezTo>
                    <a:close/>
                    <a:moveTo>
                      <a:pt x="781919" y="5361470"/>
                    </a:moveTo>
                    <a:cubicBezTo>
                      <a:pt x="781919" y="5356293"/>
                      <a:pt x="777482" y="5352102"/>
                      <a:pt x="772304" y="5352102"/>
                    </a:cubicBezTo>
                    <a:cubicBezTo>
                      <a:pt x="767124" y="5352102"/>
                      <a:pt x="762933" y="5356293"/>
                      <a:pt x="762933" y="5361470"/>
                    </a:cubicBezTo>
                    <a:cubicBezTo>
                      <a:pt x="762933" y="5366896"/>
                      <a:pt x="767124" y="5371087"/>
                      <a:pt x="772304" y="5371087"/>
                    </a:cubicBezTo>
                    <a:cubicBezTo>
                      <a:pt x="777482" y="5371087"/>
                      <a:pt x="781919" y="5366896"/>
                      <a:pt x="781919" y="5361470"/>
                    </a:cubicBezTo>
                    <a:close/>
                    <a:moveTo>
                      <a:pt x="782907" y="5231282"/>
                    </a:moveTo>
                    <a:cubicBezTo>
                      <a:pt x="782907" y="5230295"/>
                      <a:pt x="781922" y="5229309"/>
                      <a:pt x="780935" y="5229309"/>
                    </a:cubicBezTo>
                    <a:cubicBezTo>
                      <a:pt x="779948" y="5229309"/>
                      <a:pt x="778963" y="5230295"/>
                      <a:pt x="778963" y="5231282"/>
                    </a:cubicBezTo>
                    <a:cubicBezTo>
                      <a:pt x="778963" y="5232267"/>
                      <a:pt x="779703" y="5233254"/>
                      <a:pt x="780935" y="5233254"/>
                    </a:cubicBezTo>
                    <a:cubicBezTo>
                      <a:pt x="781922" y="5233254"/>
                      <a:pt x="782907" y="5232267"/>
                      <a:pt x="782907" y="5231282"/>
                    </a:cubicBezTo>
                    <a:close/>
                    <a:moveTo>
                      <a:pt x="793508" y="4607689"/>
                    </a:moveTo>
                    <a:cubicBezTo>
                      <a:pt x="793508" y="4593389"/>
                      <a:pt x="781673" y="4581800"/>
                      <a:pt x="767370" y="4581800"/>
                    </a:cubicBezTo>
                    <a:cubicBezTo>
                      <a:pt x="752824" y="4581800"/>
                      <a:pt x="741235" y="4593389"/>
                      <a:pt x="741235" y="4607689"/>
                    </a:cubicBezTo>
                    <a:cubicBezTo>
                      <a:pt x="741235" y="4622238"/>
                      <a:pt x="753070" y="4633828"/>
                      <a:pt x="767370" y="4633828"/>
                    </a:cubicBezTo>
                    <a:cubicBezTo>
                      <a:pt x="781673" y="4633828"/>
                      <a:pt x="793508" y="4622238"/>
                      <a:pt x="793508" y="4607689"/>
                    </a:cubicBezTo>
                    <a:close/>
                    <a:moveTo>
                      <a:pt x="796962" y="4207748"/>
                    </a:moveTo>
                    <a:cubicBezTo>
                      <a:pt x="796962" y="4189995"/>
                      <a:pt x="782662" y="4175692"/>
                      <a:pt x="764909" y="4175692"/>
                    </a:cubicBezTo>
                    <a:cubicBezTo>
                      <a:pt x="747154" y="4175692"/>
                      <a:pt x="732852" y="4189995"/>
                      <a:pt x="732852" y="4207748"/>
                    </a:cubicBezTo>
                    <a:cubicBezTo>
                      <a:pt x="732852" y="4225501"/>
                      <a:pt x="747154" y="4239801"/>
                      <a:pt x="764909" y="4239801"/>
                    </a:cubicBezTo>
                    <a:cubicBezTo>
                      <a:pt x="782662" y="4239801"/>
                      <a:pt x="796962" y="4225501"/>
                      <a:pt x="796962" y="4207748"/>
                    </a:cubicBezTo>
                    <a:close/>
                    <a:moveTo>
                      <a:pt x="804112" y="2748823"/>
                    </a:moveTo>
                    <a:cubicBezTo>
                      <a:pt x="804112" y="2726876"/>
                      <a:pt x="786113" y="2708877"/>
                      <a:pt x="764168" y="2708877"/>
                    </a:cubicBezTo>
                    <a:cubicBezTo>
                      <a:pt x="742220" y="2708877"/>
                      <a:pt x="724221" y="2726631"/>
                      <a:pt x="724221" y="2748823"/>
                    </a:cubicBezTo>
                    <a:cubicBezTo>
                      <a:pt x="724221" y="2770768"/>
                      <a:pt x="741975" y="2788767"/>
                      <a:pt x="764168" y="2788767"/>
                    </a:cubicBezTo>
                    <a:cubicBezTo>
                      <a:pt x="786358" y="2788767"/>
                      <a:pt x="804112" y="2770768"/>
                      <a:pt x="804112" y="2748823"/>
                    </a:cubicBezTo>
                    <a:close/>
                    <a:moveTo>
                      <a:pt x="808550" y="815385"/>
                    </a:moveTo>
                    <a:cubicBezTo>
                      <a:pt x="808550" y="805029"/>
                      <a:pt x="800168" y="796646"/>
                      <a:pt x="789812" y="796646"/>
                    </a:cubicBezTo>
                    <a:cubicBezTo>
                      <a:pt x="779454" y="796646"/>
                      <a:pt x="771072" y="805029"/>
                      <a:pt x="771072" y="815385"/>
                    </a:cubicBezTo>
                    <a:cubicBezTo>
                      <a:pt x="771072" y="825744"/>
                      <a:pt x="779454" y="834128"/>
                      <a:pt x="789812" y="834128"/>
                    </a:cubicBezTo>
                    <a:cubicBezTo>
                      <a:pt x="800168" y="834128"/>
                      <a:pt x="808550" y="825744"/>
                      <a:pt x="808550" y="815385"/>
                    </a:cubicBezTo>
                    <a:close/>
                    <a:moveTo>
                      <a:pt x="811016" y="1850153"/>
                    </a:moveTo>
                    <a:cubicBezTo>
                      <a:pt x="811016" y="1843249"/>
                      <a:pt x="805344" y="1837580"/>
                      <a:pt x="798441" y="1837580"/>
                    </a:cubicBezTo>
                    <a:cubicBezTo>
                      <a:pt x="791536" y="1837580"/>
                      <a:pt x="785864" y="1843249"/>
                      <a:pt x="785864" y="1850153"/>
                    </a:cubicBezTo>
                    <a:cubicBezTo>
                      <a:pt x="785864" y="1857055"/>
                      <a:pt x="791536" y="1862725"/>
                      <a:pt x="798441" y="1862725"/>
                    </a:cubicBezTo>
                    <a:cubicBezTo>
                      <a:pt x="805344" y="1862725"/>
                      <a:pt x="811016" y="1857055"/>
                      <a:pt x="811016" y="1850153"/>
                    </a:cubicBezTo>
                    <a:close/>
                    <a:moveTo>
                      <a:pt x="811262" y="936679"/>
                    </a:moveTo>
                    <a:cubicBezTo>
                      <a:pt x="811262" y="926573"/>
                      <a:pt x="803125" y="918428"/>
                      <a:pt x="793014" y="918428"/>
                    </a:cubicBezTo>
                    <a:cubicBezTo>
                      <a:pt x="782905" y="918428"/>
                      <a:pt x="774769" y="926573"/>
                      <a:pt x="774769" y="936679"/>
                    </a:cubicBezTo>
                    <a:cubicBezTo>
                      <a:pt x="774769" y="946788"/>
                      <a:pt x="782905" y="954930"/>
                      <a:pt x="793014" y="954930"/>
                    </a:cubicBezTo>
                    <a:cubicBezTo>
                      <a:pt x="802877" y="954930"/>
                      <a:pt x="811262" y="946788"/>
                      <a:pt x="811262" y="936679"/>
                    </a:cubicBezTo>
                    <a:close/>
                    <a:moveTo>
                      <a:pt x="811757" y="4047225"/>
                    </a:moveTo>
                    <a:cubicBezTo>
                      <a:pt x="811757" y="4046237"/>
                      <a:pt x="810770" y="4045251"/>
                      <a:pt x="809784" y="4045251"/>
                    </a:cubicBezTo>
                    <a:cubicBezTo>
                      <a:pt x="808798" y="4045251"/>
                      <a:pt x="807811" y="4046237"/>
                      <a:pt x="807811" y="4047225"/>
                    </a:cubicBezTo>
                    <a:cubicBezTo>
                      <a:pt x="807811" y="4048210"/>
                      <a:pt x="808798" y="4049197"/>
                      <a:pt x="809784" y="4049197"/>
                    </a:cubicBezTo>
                    <a:cubicBezTo>
                      <a:pt x="810770" y="4049197"/>
                      <a:pt x="811757" y="4048456"/>
                      <a:pt x="811757" y="4047225"/>
                    </a:cubicBezTo>
                    <a:close/>
                    <a:moveTo>
                      <a:pt x="814470" y="1058958"/>
                    </a:moveTo>
                    <a:cubicBezTo>
                      <a:pt x="814470" y="1049096"/>
                      <a:pt x="806579" y="1041203"/>
                      <a:pt x="796716" y="1041203"/>
                    </a:cubicBezTo>
                    <a:cubicBezTo>
                      <a:pt x="786853" y="1041203"/>
                      <a:pt x="778963" y="1049096"/>
                      <a:pt x="778963" y="1058958"/>
                    </a:cubicBezTo>
                    <a:cubicBezTo>
                      <a:pt x="778963" y="1068824"/>
                      <a:pt x="786853" y="1076714"/>
                      <a:pt x="796716" y="1076714"/>
                    </a:cubicBezTo>
                    <a:cubicBezTo>
                      <a:pt x="806579" y="1076714"/>
                      <a:pt x="814716" y="1068824"/>
                      <a:pt x="814470" y="1058958"/>
                    </a:cubicBezTo>
                    <a:close/>
                    <a:moveTo>
                      <a:pt x="817426" y="7332353"/>
                    </a:moveTo>
                    <a:cubicBezTo>
                      <a:pt x="817426" y="7331366"/>
                      <a:pt x="816688" y="7330625"/>
                      <a:pt x="815701" y="7330625"/>
                    </a:cubicBezTo>
                    <a:cubicBezTo>
                      <a:pt x="814715" y="7330625"/>
                      <a:pt x="813975" y="7331366"/>
                      <a:pt x="813975" y="7332353"/>
                    </a:cubicBezTo>
                    <a:cubicBezTo>
                      <a:pt x="813975" y="7333338"/>
                      <a:pt x="814715" y="7334079"/>
                      <a:pt x="815701" y="7334079"/>
                    </a:cubicBezTo>
                    <a:cubicBezTo>
                      <a:pt x="816688" y="7334079"/>
                      <a:pt x="817426" y="7333338"/>
                      <a:pt x="817426" y="7332353"/>
                    </a:cubicBezTo>
                    <a:close/>
                    <a:moveTo>
                      <a:pt x="817672" y="1182230"/>
                    </a:moveTo>
                    <a:cubicBezTo>
                      <a:pt x="817672" y="1173107"/>
                      <a:pt x="810275" y="1165709"/>
                      <a:pt x="801153" y="1165709"/>
                    </a:cubicBezTo>
                    <a:cubicBezTo>
                      <a:pt x="792027" y="1165709"/>
                      <a:pt x="784632" y="1173107"/>
                      <a:pt x="784632" y="1182230"/>
                    </a:cubicBezTo>
                    <a:cubicBezTo>
                      <a:pt x="784632" y="1191353"/>
                      <a:pt x="792027" y="1198752"/>
                      <a:pt x="801153" y="1198752"/>
                    </a:cubicBezTo>
                    <a:cubicBezTo>
                      <a:pt x="810275" y="1198752"/>
                      <a:pt x="817672" y="1191353"/>
                      <a:pt x="817672" y="1182230"/>
                    </a:cubicBezTo>
                    <a:close/>
                    <a:moveTo>
                      <a:pt x="817920" y="7217203"/>
                    </a:moveTo>
                    <a:cubicBezTo>
                      <a:pt x="817920" y="7216217"/>
                      <a:pt x="817180" y="7215476"/>
                      <a:pt x="816194" y="7215476"/>
                    </a:cubicBezTo>
                    <a:cubicBezTo>
                      <a:pt x="814961" y="7215476"/>
                      <a:pt x="814221" y="7216217"/>
                      <a:pt x="814221" y="7217203"/>
                    </a:cubicBezTo>
                    <a:cubicBezTo>
                      <a:pt x="814221" y="7218189"/>
                      <a:pt x="815207" y="7218927"/>
                      <a:pt x="816194" y="7218927"/>
                    </a:cubicBezTo>
                    <a:cubicBezTo>
                      <a:pt x="817180" y="7218927"/>
                      <a:pt x="818166" y="7218189"/>
                      <a:pt x="817920" y="7217203"/>
                    </a:cubicBezTo>
                    <a:close/>
                    <a:moveTo>
                      <a:pt x="819401" y="7101807"/>
                    </a:moveTo>
                    <a:cubicBezTo>
                      <a:pt x="819401" y="7100326"/>
                      <a:pt x="818167" y="7099339"/>
                      <a:pt x="816935" y="7099339"/>
                    </a:cubicBezTo>
                    <a:cubicBezTo>
                      <a:pt x="815702" y="7099339"/>
                      <a:pt x="814716" y="7100571"/>
                      <a:pt x="814716" y="7101807"/>
                    </a:cubicBezTo>
                    <a:cubicBezTo>
                      <a:pt x="814716" y="7103038"/>
                      <a:pt x="815702" y="7104025"/>
                      <a:pt x="816935" y="7104025"/>
                    </a:cubicBezTo>
                    <a:cubicBezTo>
                      <a:pt x="818167" y="7104025"/>
                      <a:pt x="819401" y="7103038"/>
                      <a:pt x="819401" y="7101807"/>
                    </a:cubicBezTo>
                    <a:close/>
                    <a:moveTo>
                      <a:pt x="820879" y="5107007"/>
                    </a:moveTo>
                    <a:cubicBezTo>
                      <a:pt x="820879" y="5095909"/>
                      <a:pt x="811757" y="5086786"/>
                      <a:pt x="800658" y="5086786"/>
                    </a:cubicBezTo>
                    <a:cubicBezTo>
                      <a:pt x="789563" y="5086786"/>
                      <a:pt x="780441" y="5095909"/>
                      <a:pt x="780441" y="5107007"/>
                    </a:cubicBezTo>
                    <a:cubicBezTo>
                      <a:pt x="780441" y="5118102"/>
                      <a:pt x="789563" y="5127226"/>
                      <a:pt x="800658" y="5127226"/>
                    </a:cubicBezTo>
                    <a:cubicBezTo>
                      <a:pt x="811757" y="5127226"/>
                      <a:pt x="820879" y="5118102"/>
                      <a:pt x="820879" y="5107007"/>
                    </a:cubicBezTo>
                    <a:close/>
                    <a:moveTo>
                      <a:pt x="821372" y="1307223"/>
                    </a:moveTo>
                    <a:cubicBezTo>
                      <a:pt x="821372" y="1298351"/>
                      <a:pt x="814220" y="1291197"/>
                      <a:pt x="805344" y="1291197"/>
                    </a:cubicBezTo>
                    <a:cubicBezTo>
                      <a:pt x="796467" y="1291197"/>
                      <a:pt x="789317" y="1298351"/>
                      <a:pt x="789317" y="1307223"/>
                    </a:cubicBezTo>
                    <a:cubicBezTo>
                      <a:pt x="789317" y="1316106"/>
                      <a:pt x="796467" y="1323254"/>
                      <a:pt x="805344" y="1323254"/>
                    </a:cubicBezTo>
                    <a:cubicBezTo>
                      <a:pt x="814220" y="1323254"/>
                      <a:pt x="821372" y="1316106"/>
                      <a:pt x="821372" y="1307223"/>
                    </a:cubicBezTo>
                    <a:close/>
                    <a:moveTo>
                      <a:pt x="825072" y="2909090"/>
                    </a:moveTo>
                    <a:cubicBezTo>
                      <a:pt x="825072" y="2900214"/>
                      <a:pt x="817920" y="2893063"/>
                      <a:pt x="809044" y="2893063"/>
                    </a:cubicBezTo>
                    <a:cubicBezTo>
                      <a:pt x="800167" y="2893063"/>
                      <a:pt x="793017" y="2900214"/>
                      <a:pt x="793017" y="2909090"/>
                    </a:cubicBezTo>
                    <a:cubicBezTo>
                      <a:pt x="793017" y="2917966"/>
                      <a:pt x="800167" y="2925119"/>
                      <a:pt x="809044" y="2925119"/>
                    </a:cubicBezTo>
                    <a:cubicBezTo>
                      <a:pt x="817920" y="2925119"/>
                      <a:pt x="825072" y="2917966"/>
                      <a:pt x="825072" y="2909090"/>
                    </a:cubicBezTo>
                    <a:close/>
                    <a:moveTo>
                      <a:pt x="825561" y="2121066"/>
                    </a:moveTo>
                    <a:cubicBezTo>
                      <a:pt x="825561" y="2120325"/>
                      <a:pt x="825070" y="2119833"/>
                      <a:pt x="824330" y="2119833"/>
                    </a:cubicBezTo>
                    <a:cubicBezTo>
                      <a:pt x="823589" y="2119833"/>
                      <a:pt x="823098" y="2120325"/>
                      <a:pt x="823098" y="2121066"/>
                    </a:cubicBezTo>
                    <a:cubicBezTo>
                      <a:pt x="823098" y="2121806"/>
                      <a:pt x="823589" y="2122299"/>
                      <a:pt x="824330" y="2122299"/>
                    </a:cubicBezTo>
                    <a:cubicBezTo>
                      <a:pt x="825070" y="2122299"/>
                      <a:pt x="825810" y="2121806"/>
                      <a:pt x="825561" y="2121066"/>
                    </a:cubicBezTo>
                    <a:close/>
                    <a:moveTo>
                      <a:pt x="825811" y="6988379"/>
                    </a:moveTo>
                    <a:cubicBezTo>
                      <a:pt x="825811" y="6987392"/>
                      <a:pt x="825073" y="6986652"/>
                      <a:pt x="824087" y="6986652"/>
                    </a:cubicBezTo>
                    <a:cubicBezTo>
                      <a:pt x="823100" y="6986652"/>
                      <a:pt x="822360" y="6987392"/>
                      <a:pt x="822360" y="6988379"/>
                    </a:cubicBezTo>
                    <a:cubicBezTo>
                      <a:pt x="822360" y="6989365"/>
                      <a:pt x="823100" y="6990106"/>
                      <a:pt x="824087" y="6990106"/>
                    </a:cubicBezTo>
                    <a:cubicBezTo>
                      <a:pt x="825073" y="6990106"/>
                      <a:pt x="825811" y="6989365"/>
                      <a:pt x="825811" y="6988379"/>
                    </a:cubicBezTo>
                    <a:close/>
                    <a:moveTo>
                      <a:pt x="825813" y="1433208"/>
                    </a:moveTo>
                    <a:cubicBezTo>
                      <a:pt x="825813" y="1424831"/>
                      <a:pt x="819156" y="1418172"/>
                      <a:pt x="810770" y="1418172"/>
                    </a:cubicBezTo>
                    <a:cubicBezTo>
                      <a:pt x="802388" y="1418172"/>
                      <a:pt x="795730" y="1424831"/>
                      <a:pt x="795730" y="1433208"/>
                    </a:cubicBezTo>
                    <a:cubicBezTo>
                      <a:pt x="795730" y="1441594"/>
                      <a:pt x="802388" y="1448250"/>
                      <a:pt x="810770" y="1448250"/>
                    </a:cubicBezTo>
                    <a:cubicBezTo>
                      <a:pt x="819156" y="1448250"/>
                      <a:pt x="825813" y="1441594"/>
                      <a:pt x="825813" y="1433208"/>
                    </a:cubicBezTo>
                    <a:close/>
                    <a:moveTo>
                      <a:pt x="827538" y="3449329"/>
                    </a:moveTo>
                    <a:cubicBezTo>
                      <a:pt x="827538" y="3437004"/>
                      <a:pt x="817427" y="3426893"/>
                      <a:pt x="805099" y="3426893"/>
                    </a:cubicBezTo>
                    <a:cubicBezTo>
                      <a:pt x="792523" y="3426893"/>
                      <a:pt x="782414" y="3437004"/>
                      <a:pt x="782414" y="3449329"/>
                    </a:cubicBezTo>
                    <a:cubicBezTo>
                      <a:pt x="782414" y="3461909"/>
                      <a:pt x="792768" y="3471963"/>
                      <a:pt x="805099" y="3471963"/>
                    </a:cubicBezTo>
                    <a:cubicBezTo>
                      <a:pt x="817427" y="3471963"/>
                      <a:pt x="827538" y="3461909"/>
                      <a:pt x="827538" y="3449329"/>
                    </a:cubicBezTo>
                    <a:close/>
                    <a:moveTo>
                      <a:pt x="827783" y="3564921"/>
                    </a:moveTo>
                    <a:cubicBezTo>
                      <a:pt x="827783" y="3553577"/>
                      <a:pt x="818660" y="3544455"/>
                      <a:pt x="807563" y="3544455"/>
                    </a:cubicBezTo>
                    <a:cubicBezTo>
                      <a:pt x="796467" y="3544455"/>
                      <a:pt x="787345" y="3553577"/>
                      <a:pt x="787345" y="3564921"/>
                    </a:cubicBezTo>
                    <a:cubicBezTo>
                      <a:pt x="787345" y="3576017"/>
                      <a:pt x="796467" y="3585139"/>
                      <a:pt x="807563" y="3585139"/>
                    </a:cubicBezTo>
                    <a:cubicBezTo>
                      <a:pt x="818660" y="3585139"/>
                      <a:pt x="827783" y="3576017"/>
                      <a:pt x="827783" y="3564921"/>
                    </a:cubicBezTo>
                    <a:close/>
                    <a:moveTo>
                      <a:pt x="828276" y="2496089"/>
                    </a:moveTo>
                    <a:cubicBezTo>
                      <a:pt x="828276" y="2475623"/>
                      <a:pt x="811508" y="2458856"/>
                      <a:pt x="791045" y="2458856"/>
                    </a:cubicBezTo>
                    <a:cubicBezTo>
                      <a:pt x="770578" y="2458856"/>
                      <a:pt x="753811" y="2475623"/>
                      <a:pt x="753811" y="2496089"/>
                    </a:cubicBezTo>
                    <a:cubicBezTo>
                      <a:pt x="753811" y="2516556"/>
                      <a:pt x="770578" y="2533321"/>
                      <a:pt x="791045" y="2533321"/>
                    </a:cubicBezTo>
                    <a:cubicBezTo>
                      <a:pt x="811508" y="2533321"/>
                      <a:pt x="828276" y="2516556"/>
                      <a:pt x="828276" y="2496089"/>
                    </a:cubicBezTo>
                    <a:close/>
                    <a:moveTo>
                      <a:pt x="828278" y="6871995"/>
                    </a:moveTo>
                    <a:cubicBezTo>
                      <a:pt x="828278" y="6870271"/>
                      <a:pt x="826797" y="6868790"/>
                      <a:pt x="825070" y="6868790"/>
                    </a:cubicBezTo>
                    <a:cubicBezTo>
                      <a:pt x="823347" y="6868790"/>
                      <a:pt x="821866" y="6870271"/>
                      <a:pt x="821866" y="6871995"/>
                    </a:cubicBezTo>
                    <a:cubicBezTo>
                      <a:pt x="821866" y="6873722"/>
                      <a:pt x="823347" y="6875203"/>
                      <a:pt x="825070" y="6875203"/>
                    </a:cubicBezTo>
                    <a:cubicBezTo>
                      <a:pt x="826797" y="6875203"/>
                      <a:pt x="828278" y="6873968"/>
                      <a:pt x="828278" y="6871995"/>
                    </a:cubicBezTo>
                    <a:close/>
                    <a:moveTo>
                      <a:pt x="828769" y="6755612"/>
                    </a:moveTo>
                    <a:cubicBezTo>
                      <a:pt x="828769" y="6754379"/>
                      <a:pt x="827783" y="6753393"/>
                      <a:pt x="826548" y="6753393"/>
                    </a:cubicBezTo>
                    <a:cubicBezTo>
                      <a:pt x="825316" y="6753393"/>
                      <a:pt x="824330" y="6754379"/>
                      <a:pt x="824330" y="6755612"/>
                    </a:cubicBezTo>
                    <a:cubicBezTo>
                      <a:pt x="824330" y="6756846"/>
                      <a:pt x="825316" y="6757829"/>
                      <a:pt x="826548" y="6757829"/>
                    </a:cubicBezTo>
                    <a:cubicBezTo>
                      <a:pt x="827535" y="6757829"/>
                      <a:pt x="828520" y="6756846"/>
                      <a:pt x="828769" y="6755612"/>
                    </a:cubicBezTo>
                    <a:close/>
                    <a:moveTo>
                      <a:pt x="831728" y="1560673"/>
                    </a:moveTo>
                    <a:cubicBezTo>
                      <a:pt x="831728" y="1552538"/>
                      <a:pt x="825070" y="1546126"/>
                      <a:pt x="817180" y="1546126"/>
                    </a:cubicBezTo>
                    <a:cubicBezTo>
                      <a:pt x="809044" y="1546126"/>
                      <a:pt x="802632" y="1552785"/>
                      <a:pt x="802632" y="1560673"/>
                    </a:cubicBezTo>
                    <a:cubicBezTo>
                      <a:pt x="802632" y="1568811"/>
                      <a:pt x="809289" y="1575221"/>
                      <a:pt x="817180" y="1575221"/>
                    </a:cubicBezTo>
                    <a:cubicBezTo>
                      <a:pt x="825316" y="1575221"/>
                      <a:pt x="831728" y="1568567"/>
                      <a:pt x="831728" y="1560673"/>
                    </a:cubicBezTo>
                    <a:close/>
                    <a:moveTo>
                      <a:pt x="836659" y="6283172"/>
                    </a:moveTo>
                    <a:cubicBezTo>
                      <a:pt x="836659" y="6281199"/>
                      <a:pt x="835181" y="6279721"/>
                      <a:pt x="833206" y="6279721"/>
                    </a:cubicBezTo>
                    <a:cubicBezTo>
                      <a:pt x="831236" y="6279721"/>
                      <a:pt x="829756" y="6281199"/>
                      <a:pt x="829756" y="6283172"/>
                    </a:cubicBezTo>
                    <a:cubicBezTo>
                      <a:pt x="829756" y="6285148"/>
                      <a:pt x="831482" y="6286625"/>
                      <a:pt x="833206" y="6286625"/>
                    </a:cubicBezTo>
                    <a:cubicBezTo>
                      <a:pt x="834932" y="6286625"/>
                      <a:pt x="836659" y="6285148"/>
                      <a:pt x="836659" y="6283172"/>
                    </a:cubicBezTo>
                    <a:close/>
                    <a:moveTo>
                      <a:pt x="837152" y="3679827"/>
                    </a:moveTo>
                    <a:cubicBezTo>
                      <a:pt x="837152" y="3669963"/>
                      <a:pt x="829261" y="3662073"/>
                      <a:pt x="819398" y="3662073"/>
                    </a:cubicBezTo>
                    <a:cubicBezTo>
                      <a:pt x="809535" y="3662073"/>
                      <a:pt x="801645" y="3669963"/>
                      <a:pt x="801645" y="3679827"/>
                    </a:cubicBezTo>
                    <a:cubicBezTo>
                      <a:pt x="801645" y="3689690"/>
                      <a:pt x="809535" y="3697580"/>
                      <a:pt x="819398" y="3697580"/>
                    </a:cubicBezTo>
                    <a:cubicBezTo>
                      <a:pt x="829261" y="3697580"/>
                      <a:pt x="837398" y="3689443"/>
                      <a:pt x="837152" y="3679827"/>
                    </a:cubicBezTo>
                    <a:close/>
                    <a:moveTo>
                      <a:pt x="837154" y="3333931"/>
                    </a:moveTo>
                    <a:cubicBezTo>
                      <a:pt x="837154" y="3320127"/>
                      <a:pt x="825811" y="3309031"/>
                      <a:pt x="812248" y="3309031"/>
                    </a:cubicBezTo>
                    <a:cubicBezTo>
                      <a:pt x="798441" y="3309031"/>
                      <a:pt x="787345" y="3320127"/>
                      <a:pt x="787345" y="3333931"/>
                    </a:cubicBezTo>
                    <a:cubicBezTo>
                      <a:pt x="787345" y="3347746"/>
                      <a:pt x="798441" y="3358838"/>
                      <a:pt x="812248" y="3358838"/>
                    </a:cubicBezTo>
                    <a:cubicBezTo>
                      <a:pt x="825811" y="3358838"/>
                      <a:pt x="836906" y="3347746"/>
                      <a:pt x="837154" y="3333931"/>
                    </a:cubicBezTo>
                    <a:close/>
                    <a:moveTo>
                      <a:pt x="837400" y="1690110"/>
                    </a:moveTo>
                    <a:cubicBezTo>
                      <a:pt x="837400" y="1682960"/>
                      <a:pt x="831480" y="1677041"/>
                      <a:pt x="824330" y="1677041"/>
                    </a:cubicBezTo>
                    <a:cubicBezTo>
                      <a:pt x="817180" y="1677041"/>
                      <a:pt x="811263" y="1682960"/>
                      <a:pt x="811263" y="1690110"/>
                    </a:cubicBezTo>
                    <a:cubicBezTo>
                      <a:pt x="811263" y="1697260"/>
                      <a:pt x="817180" y="1703183"/>
                      <a:pt x="824330" y="1703183"/>
                    </a:cubicBezTo>
                    <a:cubicBezTo>
                      <a:pt x="831480" y="1703183"/>
                      <a:pt x="837400" y="1697260"/>
                      <a:pt x="837400" y="1690110"/>
                    </a:cubicBezTo>
                    <a:close/>
                    <a:moveTo>
                      <a:pt x="840605" y="6520379"/>
                    </a:moveTo>
                    <a:cubicBezTo>
                      <a:pt x="840605" y="6514213"/>
                      <a:pt x="835673" y="6509035"/>
                      <a:pt x="829264" y="6509035"/>
                    </a:cubicBezTo>
                    <a:cubicBezTo>
                      <a:pt x="822851" y="6509035"/>
                      <a:pt x="817675" y="6513967"/>
                      <a:pt x="817675" y="6520379"/>
                    </a:cubicBezTo>
                    <a:cubicBezTo>
                      <a:pt x="817675" y="6526789"/>
                      <a:pt x="822851" y="6531965"/>
                      <a:pt x="829264" y="6531965"/>
                    </a:cubicBezTo>
                    <a:cubicBezTo>
                      <a:pt x="835673" y="6531965"/>
                      <a:pt x="840605" y="6527035"/>
                      <a:pt x="840605" y="6520379"/>
                    </a:cubicBezTo>
                    <a:close/>
                    <a:moveTo>
                      <a:pt x="841592" y="4460485"/>
                    </a:moveTo>
                    <a:cubicBezTo>
                      <a:pt x="841592" y="4433116"/>
                      <a:pt x="819398" y="4410923"/>
                      <a:pt x="792027" y="4410923"/>
                    </a:cubicBezTo>
                    <a:cubicBezTo>
                      <a:pt x="764660" y="4410923"/>
                      <a:pt x="742467" y="4433116"/>
                      <a:pt x="742467" y="4460485"/>
                    </a:cubicBezTo>
                    <a:cubicBezTo>
                      <a:pt x="742467" y="4487855"/>
                      <a:pt x="764660" y="4510048"/>
                      <a:pt x="792027" y="4510048"/>
                    </a:cubicBezTo>
                    <a:cubicBezTo>
                      <a:pt x="819398" y="4510048"/>
                      <a:pt x="841838" y="4487855"/>
                      <a:pt x="841592" y="4460485"/>
                    </a:cubicBezTo>
                    <a:close/>
                    <a:moveTo>
                      <a:pt x="842824" y="84389"/>
                    </a:moveTo>
                    <a:cubicBezTo>
                      <a:pt x="842824" y="73046"/>
                      <a:pt x="833701" y="63924"/>
                      <a:pt x="822360" y="63924"/>
                    </a:cubicBezTo>
                    <a:cubicBezTo>
                      <a:pt x="811016" y="63924"/>
                      <a:pt x="801894" y="73046"/>
                      <a:pt x="801894" y="84389"/>
                    </a:cubicBezTo>
                    <a:cubicBezTo>
                      <a:pt x="801894" y="95730"/>
                      <a:pt x="811016" y="104852"/>
                      <a:pt x="822360" y="104852"/>
                    </a:cubicBezTo>
                    <a:cubicBezTo>
                      <a:pt x="833701" y="104852"/>
                      <a:pt x="842824" y="95730"/>
                      <a:pt x="842824" y="84389"/>
                    </a:cubicBezTo>
                    <a:close/>
                    <a:moveTo>
                      <a:pt x="843069" y="6402269"/>
                    </a:moveTo>
                    <a:cubicBezTo>
                      <a:pt x="843069" y="6395859"/>
                      <a:pt x="837892" y="6390433"/>
                      <a:pt x="831234" y="6390433"/>
                    </a:cubicBezTo>
                    <a:cubicBezTo>
                      <a:pt x="824824" y="6390433"/>
                      <a:pt x="819398" y="6395610"/>
                      <a:pt x="819398" y="6402269"/>
                    </a:cubicBezTo>
                    <a:cubicBezTo>
                      <a:pt x="819398" y="6408927"/>
                      <a:pt x="824575" y="6414351"/>
                      <a:pt x="831234" y="6414351"/>
                    </a:cubicBezTo>
                    <a:cubicBezTo>
                      <a:pt x="837644" y="6414351"/>
                      <a:pt x="843069" y="6408927"/>
                      <a:pt x="843069" y="6402269"/>
                    </a:cubicBezTo>
                    <a:close/>
                    <a:moveTo>
                      <a:pt x="843812" y="6638240"/>
                    </a:moveTo>
                    <a:cubicBezTo>
                      <a:pt x="843812" y="6629610"/>
                      <a:pt x="836660" y="6622460"/>
                      <a:pt x="828031" y="6622460"/>
                    </a:cubicBezTo>
                    <a:cubicBezTo>
                      <a:pt x="819401" y="6622460"/>
                      <a:pt x="812497" y="6629610"/>
                      <a:pt x="812497" y="6638240"/>
                    </a:cubicBezTo>
                    <a:cubicBezTo>
                      <a:pt x="812497" y="6646872"/>
                      <a:pt x="819401" y="6654022"/>
                      <a:pt x="828031" y="6654022"/>
                    </a:cubicBezTo>
                    <a:cubicBezTo>
                      <a:pt x="836660" y="6654022"/>
                      <a:pt x="843566" y="6647117"/>
                      <a:pt x="843812" y="6638240"/>
                    </a:cubicBezTo>
                    <a:close/>
                    <a:moveTo>
                      <a:pt x="844059" y="200990"/>
                    </a:moveTo>
                    <a:cubicBezTo>
                      <a:pt x="844059" y="189895"/>
                      <a:pt x="834936" y="180773"/>
                      <a:pt x="823838" y="180773"/>
                    </a:cubicBezTo>
                    <a:cubicBezTo>
                      <a:pt x="812742" y="180773"/>
                      <a:pt x="803620" y="189895"/>
                      <a:pt x="803620" y="200990"/>
                    </a:cubicBezTo>
                    <a:cubicBezTo>
                      <a:pt x="803620" y="212088"/>
                      <a:pt x="812742" y="221210"/>
                      <a:pt x="823838" y="221210"/>
                    </a:cubicBezTo>
                    <a:cubicBezTo>
                      <a:pt x="834936" y="221210"/>
                      <a:pt x="844059" y="212088"/>
                      <a:pt x="844059" y="200990"/>
                    </a:cubicBezTo>
                    <a:close/>
                    <a:moveTo>
                      <a:pt x="844303" y="4972621"/>
                    </a:moveTo>
                    <a:cubicBezTo>
                      <a:pt x="844303" y="4955117"/>
                      <a:pt x="830001" y="4940814"/>
                      <a:pt x="812494" y="4940814"/>
                    </a:cubicBezTo>
                    <a:cubicBezTo>
                      <a:pt x="794988" y="4940814"/>
                      <a:pt x="780686" y="4955117"/>
                      <a:pt x="780686" y="4972621"/>
                    </a:cubicBezTo>
                    <a:cubicBezTo>
                      <a:pt x="780686" y="4990129"/>
                      <a:pt x="794988" y="5004432"/>
                      <a:pt x="812494" y="5004432"/>
                    </a:cubicBezTo>
                    <a:cubicBezTo>
                      <a:pt x="830001" y="5004432"/>
                      <a:pt x="844303" y="4990129"/>
                      <a:pt x="844303" y="4972621"/>
                    </a:cubicBezTo>
                    <a:close/>
                    <a:moveTo>
                      <a:pt x="845291" y="318088"/>
                    </a:moveTo>
                    <a:cubicBezTo>
                      <a:pt x="845291" y="306993"/>
                      <a:pt x="836414" y="298117"/>
                      <a:pt x="825317" y="298117"/>
                    </a:cubicBezTo>
                    <a:cubicBezTo>
                      <a:pt x="814221" y="298117"/>
                      <a:pt x="805345" y="306993"/>
                      <a:pt x="805345" y="318088"/>
                    </a:cubicBezTo>
                    <a:cubicBezTo>
                      <a:pt x="805345" y="329183"/>
                      <a:pt x="814221" y="338059"/>
                      <a:pt x="825317" y="338059"/>
                    </a:cubicBezTo>
                    <a:cubicBezTo>
                      <a:pt x="836414" y="338059"/>
                      <a:pt x="845291" y="329183"/>
                      <a:pt x="845291" y="318088"/>
                    </a:cubicBezTo>
                    <a:close/>
                    <a:moveTo>
                      <a:pt x="847014" y="2260623"/>
                    </a:moveTo>
                    <a:cubicBezTo>
                      <a:pt x="847014" y="2257416"/>
                      <a:pt x="844550" y="2254952"/>
                      <a:pt x="841345" y="2254952"/>
                    </a:cubicBezTo>
                    <a:cubicBezTo>
                      <a:pt x="838138" y="2254952"/>
                      <a:pt x="835673" y="2257416"/>
                      <a:pt x="835673" y="2260623"/>
                    </a:cubicBezTo>
                    <a:cubicBezTo>
                      <a:pt x="835673" y="2263824"/>
                      <a:pt x="838138" y="2266287"/>
                      <a:pt x="841345" y="2266287"/>
                    </a:cubicBezTo>
                    <a:cubicBezTo>
                      <a:pt x="844550" y="2266287"/>
                      <a:pt x="847014" y="2263579"/>
                      <a:pt x="847014" y="2260623"/>
                    </a:cubicBezTo>
                    <a:close/>
                    <a:moveTo>
                      <a:pt x="847261" y="435433"/>
                    </a:moveTo>
                    <a:cubicBezTo>
                      <a:pt x="847261" y="424337"/>
                      <a:pt x="838138" y="415461"/>
                      <a:pt x="827289" y="415461"/>
                    </a:cubicBezTo>
                    <a:cubicBezTo>
                      <a:pt x="816194" y="415461"/>
                      <a:pt x="807317" y="424583"/>
                      <a:pt x="807317" y="435433"/>
                    </a:cubicBezTo>
                    <a:cubicBezTo>
                      <a:pt x="807317" y="446530"/>
                      <a:pt x="816439" y="455406"/>
                      <a:pt x="827289" y="455406"/>
                    </a:cubicBezTo>
                    <a:cubicBezTo>
                      <a:pt x="838138" y="455406"/>
                      <a:pt x="847014" y="446530"/>
                      <a:pt x="847261" y="435433"/>
                    </a:cubicBezTo>
                    <a:close/>
                    <a:moveTo>
                      <a:pt x="847757" y="554258"/>
                    </a:moveTo>
                    <a:cubicBezTo>
                      <a:pt x="847757" y="543903"/>
                      <a:pt x="839373" y="535272"/>
                      <a:pt x="828769" y="535272"/>
                    </a:cubicBezTo>
                    <a:cubicBezTo>
                      <a:pt x="818415" y="535272"/>
                      <a:pt x="809784" y="543657"/>
                      <a:pt x="809784" y="554258"/>
                    </a:cubicBezTo>
                    <a:cubicBezTo>
                      <a:pt x="809784" y="564614"/>
                      <a:pt x="818166" y="573245"/>
                      <a:pt x="828769" y="573245"/>
                    </a:cubicBezTo>
                    <a:cubicBezTo>
                      <a:pt x="839127" y="573245"/>
                      <a:pt x="847757" y="564614"/>
                      <a:pt x="847757" y="554258"/>
                    </a:cubicBezTo>
                    <a:close/>
                    <a:moveTo>
                      <a:pt x="849235" y="673374"/>
                    </a:moveTo>
                    <a:cubicBezTo>
                      <a:pt x="849235" y="663268"/>
                      <a:pt x="840851" y="654889"/>
                      <a:pt x="830742" y="654889"/>
                    </a:cubicBezTo>
                    <a:cubicBezTo>
                      <a:pt x="820632" y="654889"/>
                      <a:pt x="812248" y="663021"/>
                      <a:pt x="812248" y="673374"/>
                    </a:cubicBezTo>
                    <a:cubicBezTo>
                      <a:pt x="812248" y="683485"/>
                      <a:pt x="820385" y="691876"/>
                      <a:pt x="830742" y="691876"/>
                    </a:cubicBezTo>
                    <a:cubicBezTo>
                      <a:pt x="841097" y="691876"/>
                      <a:pt x="849235" y="683485"/>
                      <a:pt x="849235" y="673374"/>
                    </a:cubicBezTo>
                    <a:close/>
                    <a:moveTo>
                      <a:pt x="851454" y="5925636"/>
                    </a:moveTo>
                    <a:cubicBezTo>
                      <a:pt x="851454" y="5924158"/>
                      <a:pt x="850222" y="5923172"/>
                      <a:pt x="848987" y="5923172"/>
                    </a:cubicBezTo>
                    <a:cubicBezTo>
                      <a:pt x="847509" y="5923172"/>
                      <a:pt x="846523" y="5924403"/>
                      <a:pt x="846523" y="5925636"/>
                    </a:cubicBezTo>
                    <a:cubicBezTo>
                      <a:pt x="846523" y="5927117"/>
                      <a:pt x="847755" y="5928104"/>
                      <a:pt x="848987" y="5928104"/>
                    </a:cubicBezTo>
                    <a:cubicBezTo>
                      <a:pt x="850468" y="5928104"/>
                      <a:pt x="851454" y="5927117"/>
                      <a:pt x="851454" y="5925636"/>
                    </a:cubicBezTo>
                    <a:close/>
                    <a:moveTo>
                      <a:pt x="852192" y="4836020"/>
                    </a:moveTo>
                    <a:cubicBezTo>
                      <a:pt x="852192" y="4821720"/>
                      <a:pt x="840604" y="4810130"/>
                      <a:pt x="826302" y="4810130"/>
                    </a:cubicBezTo>
                    <a:cubicBezTo>
                      <a:pt x="812003" y="4810130"/>
                      <a:pt x="800413" y="4821720"/>
                      <a:pt x="800413" y="4836020"/>
                    </a:cubicBezTo>
                    <a:cubicBezTo>
                      <a:pt x="800413" y="4850323"/>
                      <a:pt x="812003" y="4861912"/>
                      <a:pt x="826302" y="4861912"/>
                    </a:cubicBezTo>
                    <a:cubicBezTo>
                      <a:pt x="840604" y="4861912"/>
                      <a:pt x="852192" y="4850323"/>
                      <a:pt x="852192" y="4836020"/>
                    </a:cubicBezTo>
                    <a:close/>
                    <a:moveTo>
                      <a:pt x="854413" y="5803338"/>
                    </a:moveTo>
                    <a:cubicBezTo>
                      <a:pt x="854413" y="5802351"/>
                      <a:pt x="853428" y="5801364"/>
                      <a:pt x="852441" y="5801364"/>
                    </a:cubicBezTo>
                    <a:cubicBezTo>
                      <a:pt x="851454" y="5801364"/>
                      <a:pt x="850469" y="5802351"/>
                      <a:pt x="850469" y="5803338"/>
                    </a:cubicBezTo>
                    <a:cubicBezTo>
                      <a:pt x="850469" y="5804570"/>
                      <a:pt x="851454" y="5805310"/>
                      <a:pt x="852441" y="5805310"/>
                    </a:cubicBezTo>
                    <a:cubicBezTo>
                      <a:pt x="853428" y="5805310"/>
                      <a:pt x="854413" y="5804323"/>
                      <a:pt x="854413" y="5803338"/>
                    </a:cubicBezTo>
                    <a:close/>
                    <a:moveTo>
                      <a:pt x="856140" y="3219771"/>
                    </a:moveTo>
                    <a:cubicBezTo>
                      <a:pt x="856140" y="3204731"/>
                      <a:pt x="843810" y="3192649"/>
                      <a:pt x="829016" y="3192649"/>
                    </a:cubicBezTo>
                    <a:cubicBezTo>
                      <a:pt x="813975" y="3192649"/>
                      <a:pt x="801894" y="3204731"/>
                      <a:pt x="801894" y="3219771"/>
                    </a:cubicBezTo>
                    <a:cubicBezTo>
                      <a:pt x="801894" y="3234815"/>
                      <a:pt x="813975" y="3246897"/>
                      <a:pt x="829016" y="3246897"/>
                    </a:cubicBezTo>
                    <a:cubicBezTo>
                      <a:pt x="843810" y="3246897"/>
                      <a:pt x="855894" y="3234815"/>
                      <a:pt x="856140" y="3219771"/>
                    </a:cubicBezTo>
                    <a:close/>
                    <a:moveTo>
                      <a:pt x="856386" y="3793003"/>
                    </a:moveTo>
                    <a:cubicBezTo>
                      <a:pt x="856386" y="3784621"/>
                      <a:pt x="849482" y="3777717"/>
                      <a:pt x="841098" y="3777717"/>
                    </a:cubicBezTo>
                    <a:cubicBezTo>
                      <a:pt x="832716" y="3777717"/>
                      <a:pt x="825811" y="3784621"/>
                      <a:pt x="825811" y="3793003"/>
                    </a:cubicBezTo>
                    <a:cubicBezTo>
                      <a:pt x="825811" y="3801387"/>
                      <a:pt x="832716" y="3808292"/>
                      <a:pt x="841098" y="3808292"/>
                    </a:cubicBezTo>
                    <a:cubicBezTo>
                      <a:pt x="849482" y="3808292"/>
                      <a:pt x="856386" y="3801635"/>
                      <a:pt x="856386" y="3793003"/>
                    </a:cubicBezTo>
                    <a:close/>
                    <a:moveTo>
                      <a:pt x="856634" y="1984223"/>
                    </a:moveTo>
                    <a:cubicBezTo>
                      <a:pt x="856634" y="1958835"/>
                      <a:pt x="835922" y="1938130"/>
                      <a:pt x="810525" y="1938130"/>
                    </a:cubicBezTo>
                    <a:cubicBezTo>
                      <a:pt x="785126" y="1938130"/>
                      <a:pt x="764414" y="1958835"/>
                      <a:pt x="764414" y="1984223"/>
                    </a:cubicBezTo>
                    <a:cubicBezTo>
                      <a:pt x="764414" y="2009611"/>
                      <a:pt x="785126" y="2030321"/>
                      <a:pt x="810525" y="2030321"/>
                    </a:cubicBezTo>
                    <a:cubicBezTo>
                      <a:pt x="835922" y="2030321"/>
                      <a:pt x="856634" y="2009611"/>
                      <a:pt x="856634" y="1984223"/>
                    </a:cubicBezTo>
                    <a:close/>
                    <a:moveTo>
                      <a:pt x="859099" y="5680046"/>
                    </a:moveTo>
                    <a:cubicBezTo>
                      <a:pt x="859099" y="5678814"/>
                      <a:pt x="858110" y="5677827"/>
                      <a:pt x="856878" y="5677827"/>
                    </a:cubicBezTo>
                    <a:cubicBezTo>
                      <a:pt x="855645" y="5677827"/>
                      <a:pt x="854660" y="5678814"/>
                      <a:pt x="854660" y="5680046"/>
                    </a:cubicBezTo>
                    <a:cubicBezTo>
                      <a:pt x="854660" y="5681280"/>
                      <a:pt x="855645" y="5682264"/>
                      <a:pt x="856878" y="5682264"/>
                    </a:cubicBezTo>
                    <a:cubicBezTo>
                      <a:pt x="858110" y="5682264"/>
                      <a:pt x="859099" y="5681280"/>
                      <a:pt x="859099" y="5680046"/>
                    </a:cubicBezTo>
                    <a:close/>
                    <a:moveTo>
                      <a:pt x="860576" y="4309089"/>
                    </a:moveTo>
                    <a:cubicBezTo>
                      <a:pt x="860576" y="4288128"/>
                      <a:pt x="843316" y="4270868"/>
                      <a:pt x="822111" y="4270868"/>
                    </a:cubicBezTo>
                    <a:cubicBezTo>
                      <a:pt x="800904" y="4270868"/>
                      <a:pt x="783645" y="4287881"/>
                      <a:pt x="783645" y="4309089"/>
                    </a:cubicBezTo>
                    <a:cubicBezTo>
                      <a:pt x="783645" y="4330293"/>
                      <a:pt x="800904" y="4347555"/>
                      <a:pt x="822111" y="4347555"/>
                    </a:cubicBezTo>
                    <a:cubicBezTo>
                      <a:pt x="843316" y="4347555"/>
                      <a:pt x="860576" y="4330293"/>
                      <a:pt x="860576" y="4309089"/>
                    </a:cubicBezTo>
                    <a:close/>
                    <a:moveTo>
                      <a:pt x="860823" y="6167281"/>
                    </a:moveTo>
                    <a:cubicBezTo>
                      <a:pt x="860823" y="6157417"/>
                      <a:pt x="852687" y="6149281"/>
                      <a:pt x="842823" y="6149281"/>
                    </a:cubicBezTo>
                    <a:cubicBezTo>
                      <a:pt x="832960" y="6149281"/>
                      <a:pt x="824825" y="6157417"/>
                      <a:pt x="824825" y="6167281"/>
                    </a:cubicBezTo>
                    <a:cubicBezTo>
                      <a:pt x="824825" y="6177144"/>
                      <a:pt x="832960" y="6185279"/>
                      <a:pt x="842823" y="6185279"/>
                    </a:cubicBezTo>
                    <a:cubicBezTo>
                      <a:pt x="852687" y="6185279"/>
                      <a:pt x="860823" y="6177144"/>
                      <a:pt x="860823" y="6167281"/>
                    </a:cubicBezTo>
                    <a:close/>
                    <a:moveTo>
                      <a:pt x="861317" y="2647231"/>
                    </a:moveTo>
                    <a:cubicBezTo>
                      <a:pt x="861317" y="2625285"/>
                      <a:pt x="843564" y="2607286"/>
                      <a:pt x="821373" y="2607286"/>
                    </a:cubicBezTo>
                    <a:cubicBezTo>
                      <a:pt x="799426" y="2607286"/>
                      <a:pt x="781427" y="2625039"/>
                      <a:pt x="781427" y="2647231"/>
                    </a:cubicBezTo>
                    <a:cubicBezTo>
                      <a:pt x="781427" y="2669178"/>
                      <a:pt x="799426" y="2687178"/>
                      <a:pt x="821373" y="2687178"/>
                    </a:cubicBezTo>
                    <a:cubicBezTo>
                      <a:pt x="843319" y="2687178"/>
                      <a:pt x="861317" y="2669178"/>
                      <a:pt x="861317" y="2647231"/>
                    </a:cubicBezTo>
                    <a:close/>
                    <a:moveTo>
                      <a:pt x="863044" y="5555529"/>
                    </a:moveTo>
                    <a:cubicBezTo>
                      <a:pt x="863044" y="5554789"/>
                      <a:pt x="862304" y="5554048"/>
                      <a:pt x="861563" y="5554048"/>
                    </a:cubicBezTo>
                    <a:cubicBezTo>
                      <a:pt x="860825" y="5554048"/>
                      <a:pt x="860085" y="5554789"/>
                      <a:pt x="860085" y="5555529"/>
                    </a:cubicBezTo>
                    <a:cubicBezTo>
                      <a:pt x="860085" y="5556267"/>
                      <a:pt x="860825" y="5557007"/>
                      <a:pt x="861563" y="5557007"/>
                    </a:cubicBezTo>
                    <a:cubicBezTo>
                      <a:pt x="862304" y="5557007"/>
                      <a:pt x="863044" y="5556267"/>
                      <a:pt x="863044" y="5555529"/>
                    </a:cubicBezTo>
                    <a:close/>
                    <a:moveTo>
                      <a:pt x="866495" y="4696211"/>
                    </a:moveTo>
                    <a:cubicBezTo>
                      <a:pt x="866495" y="4683143"/>
                      <a:pt x="855891" y="4672540"/>
                      <a:pt x="842823" y="4672540"/>
                    </a:cubicBezTo>
                    <a:cubicBezTo>
                      <a:pt x="829756" y="4672540"/>
                      <a:pt x="819152" y="4683143"/>
                      <a:pt x="819152" y="4696211"/>
                    </a:cubicBezTo>
                    <a:cubicBezTo>
                      <a:pt x="819152" y="4709279"/>
                      <a:pt x="829756" y="4719882"/>
                      <a:pt x="842823" y="4719882"/>
                    </a:cubicBezTo>
                    <a:cubicBezTo>
                      <a:pt x="855891" y="4719882"/>
                      <a:pt x="866495" y="4709279"/>
                      <a:pt x="866495" y="4696211"/>
                    </a:cubicBezTo>
                    <a:close/>
                    <a:moveTo>
                      <a:pt x="867235" y="6046954"/>
                    </a:moveTo>
                    <a:cubicBezTo>
                      <a:pt x="867235" y="6035119"/>
                      <a:pt x="857619" y="6025501"/>
                      <a:pt x="845783" y="6025501"/>
                    </a:cubicBezTo>
                    <a:cubicBezTo>
                      <a:pt x="833947" y="6025501"/>
                      <a:pt x="824330" y="6035119"/>
                      <a:pt x="824330" y="6046954"/>
                    </a:cubicBezTo>
                    <a:cubicBezTo>
                      <a:pt x="824330" y="6058790"/>
                      <a:pt x="833947" y="6068404"/>
                      <a:pt x="845783" y="6068404"/>
                    </a:cubicBezTo>
                    <a:cubicBezTo>
                      <a:pt x="857619" y="6068404"/>
                      <a:pt x="867235" y="6058790"/>
                      <a:pt x="867235" y="6046954"/>
                    </a:cubicBezTo>
                    <a:close/>
                    <a:moveTo>
                      <a:pt x="869948" y="4153252"/>
                    </a:moveTo>
                    <a:cubicBezTo>
                      <a:pt x="869948" y="4147089"/>
                      <a:pt x="865014" y="4142157"/>
                      <a:pt x="858851" y="4142157"/>
                    </a:cubicBezTo>
                    <a:cubicBezTo>
                      <a:pt x="852687" y="4142157"/>
                      <a:pt x="847755" y="4147089"/>
                      <a:pt x="847755" y="4153252"/>
                    </a:cubicBezTo>
                    <a:cubicBezTo>
                      <a:pt x="847755" y="4159416"/>
                      <a:pt x="852687" y="4164347"/>
                      <a:pt x="858851" y="4164347"/>
                    </a:cubicBezTo>
                    <a:cubicBezTo>
                      <a:pt x="865014" y="4164347"/>
                      <a:pt x="869948" y="4159416"/>
                      <a:pt x="869948" y="4153252"/>
                    </a:cubicBezTo>
                    <a:close/>
                    <a:moveTo>
                      <a:pt x="875863" y="5429283"/>
                    </a:moveTo>
                    <a:cubicBezTo>
                      <a:pt x="875863" y="5424597"/>
                      <a:pt x="871918" y="5420652"/>
                      <a:pt x="867235" y="5420652"/>
                    </a:cubicBezTo>
                    <a:cubicBezTo>
                      <a:pt x="862549" y="5420652"/>
                      <a:pt x="858604" y="5424597"/>
                      <a:pt x="858604" y="5429283"/>
                    </a:cubicBezTo>
                    <a:cubicBezTo>
                      <a:pt x="858604" y="5433966"/>
                      <a:pt x="862549" y="5437910"/>
                      <a:pt x="867235" y="5437910"/>
                    </a:cubicBezTo>
                    <a:cubicBezTo>
                      <a:pt x="871918" y="5437910"/>
                      <a:pt x="875863" y="5433966"/>
                      <a:pt x="875863" y="5429283"/>
                    </a:cubicBezTo>
                    <a:close/>
                    <a:moveTo>
                      <a:pt x="875865" y="5301801"/>
                    </a:moveTo>
                    <a:cubicBezTo>
                      <a:pt x="875865" y="5300569"/>
                      <a:pt x="874876" y="5299582"/>
                      <a:pt x="873644" y="5299582"/>
                    </a:cubicBezTo>
                    <a:cubicBezTo>
                      <a:pt x="872412" y="5299582"/>
                      <a:pt x="871426" y="5300569"/>
                      <a:pt x="871426" y="5301801"/>
                    </a:cubicBezTo>
                    <a:cubicBezTo>
                      <a:pt x="871426" y="5303033"/>
                      <a:pt x="872412" y="5304019"/>
                      <a:pt x="873644" y="5304019"/>
                    </a:cubicBezTo>
                    <a:cubicBezTo>
                      <a:pt x="875125" y="5304019"/>
                      <a:pt x="876111" y="5303033"/>
                      <a:pt x="875865" y="5301801"/>
                    </a:cubicBezTo>
                    <a:close/>
                    <a:moveTo>
                      <a:pt x="877344" y="2803059"/>
                    </a:moveTo>
                    <a:cubicBezTo>
                      <a:pt x="877344" y="2792458"/>
                      <a:pt x="868713" y="2783827"/>
                      <a:pt x="858110" y="2783827"/>
                    </a:cubicBezTo>
                    <a:cubicBezTo>
                      <a:pt x="847510" y="2783827"/>
                      <a:pt x="838879" y="2792458"/>
                      <a:pt x="838879" y="2803059"/>
                    </a:cubicBezTo>
                    <a:cubicBezTo>
                      <a:pt x="838879" y="2813663"/>
                      <a:pt x="847510" y="2822293"/>
                      <a:pt x="858110" y="2822293"/>
                    </a:cubicBezTo>
                    <a:cubicBezTo>
                      <a:pt x="868713" y="2822293"/>
                      <a:pt x="877344" y="2813663"/>
                      <a:pt x="877344" y="2803059"/>
                    </a:cubicBezTo>
                    <a:close/>
                    <a:moveTo>
                      <a:pt x="884495" y="3107331"/>
                    </a:moveTo>
                    <a:cubicBezTo>
                      <a:pt x="884495" y="3091055"/>
                      <a:pt x="871427" y="3077987"/>
                      <a:pt x="855154" y="3077987"/>
                    </a:cubicBezTo>
                    <a:cubicBezTo>
                      <a:pt x="838879" y="3077987"/>
                      <a:pt x="825811" y="3091055"/>
                      <a:pt x="825811" y="3107331"/>
                    </a:cubicBezTo>
                    <a:cubicBezTo>
                      <a:pt x="825811" y="3123603"/>
                      <a:pt x="838879" y="3136674"/>
                      <a:pt x="855154" y="3136674"/>
                    </a:cubicBezTo>
                    <a:cubicBezTo>
                      <a:pt x="871427" y="3136674"/>
                      <a:pt x="884495" y="3123603"/>
                      <a:pt x="884495" y="3107331"/>
                    </a:cubicBezTo>
                    <a:close/>
                    <a:moveTo>
                      <a:pt x="884743" y="3904209"/>
                    </a:moveTo>
                    <a:cubicBezTo>
                      <a:pt x="884743" y="3897305"/>
                      <a:pt x="879071" y="3891633"/>
                      <a:pt x="872167" y="3891633"/>
                    </a:cubicBezTo>
                    <a:cubicBezTo>
                      <a:pt x="865263" y="3891633"/>
                      <a:pt x="859591" y="3897305"/>
                      <a:pt x="859591" y="3904209"/>
                    </a:cubicBezTo>
                    <a:cubicBezTo>
                      <a:pt x="859591" y="3911114"/>
                      <a:pt x="865263" y="3916786"/>
                      <a:pt x="872167" y="3916786"/>
                    </a:cubicBezTo>
                    <a:cubicBezTo>
                      <a:pt x="879071" y="3916786"/>
                      <a:pt x="884743" y="3911114"/>
                      <a:pt x="884743" y="3904209"/>
                    </a:cubicBezTo>
                    <a:close/>
                    <a:moveTo>
                      <a:pt x="896825" y="2403379"/>
                    </a:moveTo>
                    <a:cubicBezTo>
                      <a:pt x="896825" y="2383900"/>
                      <a:pt x="880798" y="2367874"/>
                      <a:pt x="861318" y="2367874"/>
                    </a:cubicBezTo>
                    <a:cubicBezTo>
                      <a:pt x="841838" y="2367874"/>
                      <a:pt x="825811" y="2383900"/>
                      <a:pt x="825811" y="2403379"/>
                    </a:cubicBezTo>
                    <a:cubicBezTo>
                      <a:pt x="825811" y="2422856"/>
                      <a:pt x="841838" y="2438887"/>
                      <a:pt x="861318" y="2438887"/>
                    </a:cubicBezTo>
                    <a:cubicBezTo>
                      <a:pt x="881044" y="2438887"/>
                      <a:pt x="896825" y="2422856"/>
                      <a:pt x="896825" y="2403379"/>
                    </a:cubicBezTo>
                    <a:close/>
                    <a:moveTo>
                      <a:pt x="902002" y="1777661"/>
                    </a:moveTo>
                    <a:cubicBezTo>
                      <a:pt x="902002" y="1770009"/>
                      <a:pt x="896087" y="1763841"/>
                      <a:pt x="888442" y="1763841"/>
                    </a:cubicBezTo>
                    <a:cubicBezTo>
                      <a:pt x="881044" y="1763841"/>
                      <a:pt x="874880" y="1770009"/>
                      <a:pt x="874880" y="1777661"/>
                    </a:cubicBezTo>
                    <a:cubicBezTo>
                      <a:pt x="874880" y="1785039"/>
                      <a:pt x="880798" y="1791211"/>
                      <a:pt x="888442" y="1791211"/>
                    </a:cubicBezTo>
                    <a:cubicBezTo>
                      <a:pt x="896087" y="1791211"/>
                      <a:pt x="902251" y="1785039"/>
                      <a:pt x="902002" y="1777661"/>
                    </a:cubicBezTo>
                    <a:close/>
                    <a:moveTo>
                      <a:pt x="904960" y="5179501"/>
                    </a:moveTo>
                    <a:cubicBezTo>
                      <a:pt x="904960" y="5171608"/>
                      <a:pt x="898797" y="5165198"/>
                      <a:pt x="890906" y="5165198"/>
                    </a:cubicBezTo>
                    <a:cubicBezTo>
                      <a:pt x="883016" y="5165198"/>
                      <a:pt x="876604" y="5171608"/>
                      <a:pt x="876604" y="5179501"/>
                    </a:cubicBezTo>
                    <a:cubicBezTo>
                      <a:pt x="876604" y="5187389"/>
                      <a:pt x="883016" y="5193801"/>
                      <a:pt x="890906" y="5193801"/>
                    </a:cubicBezTo>
                    <a:cubicBezTo>
                      <a:pt x="898548" y="5193801"/>
                      <a:pt x="904960" y="5187389"/>
                      <a:pt x="904960" y="5179501"/>
                    </a:cubicBezTo>
                    <a:close/>
                    <a:moveTo>
                      <a:pt x="911619" y="4553197"/>
                    </a:moveTo>
                    <a:cubicBezTo>
                      <a:pt x="911619" y="4526073"/>
                      <a:pt x="889674" y="4504127"/>
                      <a:pt x="862553" y="4504127"/>
                    </a:cubicBezTo>
                    <a:cubicBezTo>
                      <a:pt x="835428" y="4504127"/>
                      <a:pt x="813483" y="4526073"/>
                      <a:pt x="813483" y="4553197"/>
                    </a:cubicBezTo>
                    <a:cubicBezTo>
                      <a:pt x="813483" y="4580319"/>
                      <a:pt x="835428" y="4602266"/>
                      <a:pt x="862553" y="4602266"/>
                    </a:cubicBezTo>
                    <a:cubicBezTo>
                      <a:pt x="889674" y="4602266"/>
                      <a:pt x="911619" y="4580073"/>
                      <a:pt x="911619" y="4553197"/>
                    </a:cubicBezTo>
                    <a:close/>
                    <a:moveTo>
                      <a:pt x="913099" y="763350"/>
                    </a:moveTo>
                    <a:cubicBezTo>
                      <a:pt x="913099" y="752259"/>
                      <a:pt x="904222" y="743386"/>
                      <a:pt x="893125" y="743386"/>
                    </a:cubicBezTo>
                    <a:cubicBezTo>
                      <a:pt x="882029" y="743386"/>
                      <a:pt x="873153" y="752259"/>
                      <a:pt x="873153" y="763350"/>
                    </a:cubicBezTo>
                    <a:cubicBezTo>
                      <a:pt x="873153" y="774449"/>
                      <a:pt x="882029" y="783328"/>
                      <a:pt x="893125" y="783328"/>
                    </a:cubicBezTo>
                    <a:cubicBezTo>
                      <a:pt x="904222" y="783328"/>
                      <a:pt x="913099" y="774449"/>
                      <a:pt x="913099" y="763350"/>
                    </a:cubicBezTo>
                    <a:close/>
                    <a:moveTo>
                      <a:pt x="915070" y="882920"/>
                    </a:moveTo>
                    <a:cubicBezTo>
                      <a:pt x="915070" y="872315"/>
                      <a:pt x="906441" y="863443"/>
                      <a:pt x="895592" y="863443"/>
                    </a:cubicBezTo>
                    <a:cubicBezTo>
                      <a:pt x="884989" y="863443"/>
                      <a:pt x="876113" y="872069"/>
                      <a:pt x="876113" y="882920"/>
                    </a:cubicBezTo>
                    <a:cubicBezTo>
                      <a:pt x="876113" y="893527"/>
                      <a:pt x="884744" y="902400"/>
                      <a:pt x="895592" y="902400"/>
                    </a:cubicBezTo>
                    <a:cubicBezTo>
                      <a:pt x="906441" y="902400"/>
                      <a:pt x="915070" y="893772"/>
                      <a:pt x="915070" y="882920"/>
                    </a:cubicBezTo>
                    <a:close/>
                    <a:moveTo>
                      <a:pt x="917782" y="1003232"/>
                    </a:moveTo>
                    <a:cubicBezTo>
                      <a:pt x="917782" y="992632"/>
                      <a:pt x="909151" y="984001"/>
                      <a:pt x="898548" y="984001"/>
                    </a:cubicBezTo>
                    <a:cubicBezTo>
                      <a:pt x="887948" y="984001"/>
                      <a:pt x="879317" y="992632"/>
                      <a:pt x="879317" y="1003232"/>
                    </a:cubicBezTo>
                    <a:cubicBezTo>
                      <a:pt x="879317" y="1013839"/>
                      <a:pt x="887948" y="1022471"/>
                      <a:pt x="898548" y="1022471"/>
                    </a:cubicBezTo>
                    <a:cubicBezTo>
                      <a:pt x="909151" y="1022471"/>
                      <a:pt x="917782" y="1013839"/>
                      <a:pt x="917782" y="1003232"/>
                    </a:cubicBezTo>
                    <a:close/>
                    <a:moveTo>
                      <a:pt x="919509" y="1124288"/>
                    </a:moveTo>
                    <a:cubicBezTo>
                      <a:pt x="919509" y="1114420"/>
                      <a:pt x="911372" y="1106531"/>
                      <a:pt x="901756" y="1106531"/>
                    </a:cubicBezTo>
                    <a:cubicBezTo>
                      <a:pt x="892138" y="1106531"/>
                      <a:pt x="884248" y="1114665"/>
                      <a:pt x="884248" y="1124288"/>
                    </a:cubicBezTo>
                    <a:cubicBezTo>
                      <a:pt x="884248" y="1134147"/>
                      <a:pt x="892138" y="1142040"/>
                      <a:pt x="901756" y="1142040"/>
                    </a:cubicBezTo>
                    <a:cubicBezTo>
                      <a:pt x="911372" y="1142040"/>
                      <a:pt x="919263" y="1134147"/>
                      <a:pt x="919509" y="1124288"/>
                    </a:cubicBezTo>
                    <a:close/>
                    <a:moveTo>
                      <a:pt x="921728" y="4012211"/>
                    </a:moveTo>
                    <a:cubicBezTo>
                      <a:pt x="921728" y="4007279"/>
                      <a:pt x="917782" y="4003088"/>
                      <a:pt x="912605" y="4003088"/>
                    </a:cubicBezTo>
                    <a:cubicBezTo>
                      <a:pt x="907674" y="4003088"/>
                      <a:pt x="903482" y="4007033"/>
                      <a:pt x="903482" y="4012211"/>
                    </a:cubicBezTo>
                    <a:cubicBezTo>
                      <a:pt x="903482" y="4017391"/>
                      <a:pt x="907427" y="4021582"/>
                      <a:pt x="912605" y="4021582"/>
                    </a:cubicBezTo>
                    <a:cubicBezTo>
                      <a:pt x="917782" y="4021582"/>
                      <a:pt x="921976" y="4017637"/>
                      <a:pt x="921728" y="4012211"/>
                    </a:cubicBezTo>
                    <a:close/>
                    <a:moveTo>
                      <a:pt x="922220" y="1247065"/>
                    </a:moveTo>
                    <a:cubicBezTo>
                      <a:pt x="922220" y="1237450"/>
                      <a:pt x="914329" y="1229558"/>
                      <a:pt x="904715" y="1229558"/>
                    </a:cubicBezTo>
                    <a:cubicBezTo>
                      <a:pt x="895097" y="1229558"/>
                      <a:pt x="887207" y="1237450"/>
                      <a:pt x="887207" y="1247065"/>
                    </a:cubicBezTo>
                    <a:cubicBezTo>
                      <a:pt x="887207" y="1256674"/>
                      <a:pt x="895097" y="1264559"/>
                      <a:pt x="904715" y="1264559"/>
                    </a:cubicBezTo>
                    <a:cubicBezTo>
                      <a:pt x="914329" y="1264559"/>
                      <a:pt x="922220" y="1256674"/>
                      <a:pt x="922220" y="1247065"/>
                    </a:cubicBezTo>
                    <a:close/>
                    <a:moveTo>
                      <a:pt x="922468" y="2997603"/>
                    </a:moveTo>
                    <a:cubicBezTo>
                      <a:pt x="922468" y="2980095"/>
                      <a:pt x="908413" y="2966041"/>
                      <a:pt x="890907" y="2966041"/>
                    </a:cubicBezTo>
                    <a:cubicBezTo>
                      <a:pt x="873400" y="2966041"/>
                      <a:pt x="859345" y="2980095"/>
                      <a:pt x="859345" y="2997603"/>
                    </a:cubicBezTo>
                    <a:cubicBezTo>
                      <a:pt x="859345" y="3015111"/>
                      <a:pt x="873400" y="3029165"/>
                      <a:pt x="890907" y="3029165"/>
                    </a:cubicBezTo>
                    <a:cubicBezTo>
                      <a:pt x="908413" y="3029165"/>
                      <a:pt x="922468" y="3014863"/>
                      <a:pt x="922468" y="2997603"/>
                    </a:cubicBezTo>
                    <a:close/>
                    <a:moveTo>
                      <a:pt x="923703" y="2041409"/>
                    </a:moveTo>
                    <a:cubicBezTo>
                      <a:pt x="923703" y="2033025"/>
                      <a:pt x="916797" y="2026367"/>
                      <a:pt x="908660" y="2026367"/>
                    </a:cubicBezTo>
                    <a:cubicBezTo>
                      <a:pt x="900278" y="2026367"/>
                      <a:pt x="893620" y="2033271"/>
                      <a:pt x="893620" y="2041409"/>
                    </a:cubicBezTo>
                    <a:cubicBezTo>
                      <a:pt x="893620" y="2049795"/>
                      <a:pt x="900525" y="2056455"/>
                      <a:pt x="908660" y="2056455"/>
                    </a:cubicBezTo>
                    <a:cubicBezTo>
                      <a:pt x="917045" y="2056455"/>
                      <a:pt x="923703" y="2049795"/>
                      <a:pt x="923703" y="2041409"/>
                    </a:cubicBezTo>
                    <a:close/>
                    <a:moveTo>
                      <a:pt x="924932" y="1370579"/>
                    </a:moveTo>
                    <a:cubicBezTo>
                      <a:pt x="924932" y="1361706"/>
                      <a:pt x="917782" y="1354304"/>
                      <a:pt x="908660" y="1354304"/>
                    </a:cubicBezTo>
                    <a:cubicBezTo>
                      <a:pt x="899784" y="1354304"/>
                      <a:pt x="892385" y="1361706"/>
                      <a:pt x="892385" y="1370579"/>
                    </a:cubicBezTo>
                    <a:cubicBezTo>
                      <a:pt x="892385" y="1379455"/>
                      <a:pt x="899535" y="1386854"/>
                      <a:pt x="908660" y="1386854"/>
                    </a:cubicBezTo>
                    <a:cubicBezTo>
                      <a:pt x="917782" y="1386854"/>
                      <a:pt x="924932" y="1379455"/>
                      <a:pt x="924932" y="1370579"/>
                    </a:cubicBezTo>
                    <a:close/>
                    <a:moveTo>
                      <a:pt x="924934" y="3506978"/>
                    </a:moveTo>
                    <a:cubicBezTo>
                      <a:pt x="924934" y="3500812"/>
                      <a:pt x="919758" y="3495634"/>
                      <a:pt x="913591" y="3495634"/>
                    </a:cubicBezTo>
                    <a:cubicBezTo>
                      <a:pt x="907427" y="3495634"/>
                      <a:pt x="902250" y="3500812"/>
                      <a:pt x="902250" y="3506978"/>
                    </a:cubicBezTo>
                    <a:cubicBezTo>
                      <a:pt x="902250" y="3513141"/>
                      <a:pt x="907427" y="3518319"/>
                      <a:pt x="913591" y="3518319"/>
                    </a:cubicBezTo>
                    <a:cubicBezTo>
                      <a:pt x="919758" y="3518319"/>
                      <a:pt x="924689" y="3513141"/>
                      <a:pt x="924934" y="3506978"/>
                    </a:cubicBezTo>
                    <a:close/>
                    <a:moveTo>
                      <a:pt x="925673" y="2550078"/>
                    </a:moveTo>
                    <a:cubicBezTo>
                      <a:pt x="925673" y="2528135"/>
                      <a:pt x="907675" y="2510134"/>
                      <a:pt x="885729" y="2510134"/>
                    </a:cubicBezTo>
                    <a:cubicBezTo>
                      <a:pt x="863782" y="2510134"/>
                      <a:pt x="845783" y="2527887"/>
                      <a:pt x="845783" y="2550078"/>
                    </a:cubicBezTo>
                    <a:cubicBezTo>
                      <a:pt x="845783" y="2572025"/>
                      <a:pt x="863782" y="2590025"/>
                      <a:pt x="885729" y="2590025"/>
                    </a:cubicBezTo>
                    <a:cubicBezTo>
                      <a:pt x="907675" y="2590025"/>
                      <a:pt x="925673" y="2572025"/>
                      <a:pt x="925673" y="2550078"/>
                    </a:cubicBezTo>
                    <a:close/>
                    <a:moveTo>
                      <a:pt x="927646" y="7369586"/>
                    </a:moveTo>
                    <a:cubicBezTo>
                      <a:pt x="927646" y="7368354"/>
                      <a:pt x="926660" y="7367613"/>
                      <a:pt x="925673" y="7367613"/>
                    </a:cubicBezTo>
                    <a:cubicBezTo>
                      <a:pt x="924687" y="7367613"/>
                      <a:pt x="923701" y="7368600"/>
                      <a:pt x="923701" y="7369586"/>
                    </a:cubicBezTo>
                    <a:cubicBezTo>
                      <a:pt x="923701" y="7370818"/>
                      <a:pt x="924687" y="7371559"/>
                      <a:pt x="925673" y="7371559"/>
                    </a:cubicBezTo>
                    <a:cubicBezTo>
                      <a:pt x="926906" y="7371559"/>
                      <a:pt x="927646" y="7370818"/>
                      <a:pt x="927646" y="7369586"/>
                    </a:cubicBezTo>
                    <a:close/>
                    <a:moveTo>
                      <a:pt x="928141" y="7255667"/>
                    </a:moveTo>
                    <a:cubicBezTo>
                      <a:pt x="928141" y="7254680"/>
                      <a:pt x="927154" y="7253693"/>
                      <a:pt x="926168" y="7253693"/>
                    </a:cubicBezTo>
                    <a:cubicBezTo>
                      <a:pt x="925182" y="7253693"/>
                      <a:pt x="924195" y="7254680"/>
                      <a:pt x="924195" y="7255667"/>
                    </a:cubicBezTo>
                    <a:cubicBezTo>
                      <a:pt x="924195" y="7256899"/>
                      <a:pt x="925182" y="7257639"/>
                      <a:pt x="926168" y="7257639"/>
                    </a:cubicBezTo>
                    <a:cubicBezTo>
                      <a:pt x="927154" y="7257639"/>
                      <a:pt x="928141" y="7256653"/>
                      <a:pt x="928141" y="7255667"/>
                    </a:cubicBezTo>
                    <a:close/>
                    <a:moveTo>
                      <a:pt x="928383" y="1908306"/>
                    </a:moveTo>
                    <a:cubicBezTo>
                      <a:pt x="928383" y="1891547"/>
                      <a:pt x="914823" y="1877990"/>
                      <a:pt x="898057" y="1877990"/>
                    </a:cubicBezTo>
                    <a:cubicBezTo>
                      <a:pt x="881289" y="1877990"/>
                      <a:pt x="867727" y="1891547"/>
                      <a:pt x="867727" y="1908306"/>
                    </a:cubicBezTo>
                    <a:cubicBezTo>
                      <a:pt x="867727" y="1925067"/>
                      <a:pt x="881289" y="1938621"/>
                      <a:pt x="898057" y="1938621"/>
                    </a:cubicBezTo>
                    <a:cubicBezTo>
                      <a:pt x="914823" y="1938621"/>
                      <a:pt x="928383" y="1925067"/>
                      <a:pt x="928383" y="1908306"/>
                    </a:cubicBezTo>
                    <a:close/>
                    <a:moveTo>
                      <a:pt x="928387" y="3391383"/>
                    </a:moveTo>
                    <a:cubicBezTo>
                      <a:pt x="928387" y="3384720"/>
                      <a:pt x="922960" y="3379049"/>
                      <a:pt x="916059" y="3379049"/>
                    </a:cubicBezTo>
                    <a:cubicBezTo>
                      <a:pt x="909401" y="3379049"/>
                      <a:pt x="903729" y="3384473"/>
                      <a:pt x="903729" y="3391383"/>
                    </a:cubicBezTo>
                    <a:cubicBezTo>
                      <a:pt x="903729" y="3398035"/>
                      <a:pt x="909154" y="3403709"/>
                      <a:pt x="916059" y="3403709"/>
                    </a:cubicBezTo>
                    <a:cubicBezTo>
                      <a:pt x="922960" y="3403709"/>
                      <a:pt x="928387" y="3398282"/>
                      <a:pt x="928387" y="3391383"/>
                    </a:cubicBezTo>
                    <a:close/>
                    <a:moveTo>
                      <a:pt x="928878" y="7141258"/>
                    </a:moveTo>
                    <a:cubicBezTo>
                      <a:pt x="928878" y="7139777"/>
                      <a:pt x="927646" y="7138791"/>
                      <a:pt x="926413" y="7138791"/>
                    </a:cubicBezTo>
                    <a:cubicBezTo>
                      <a:pt x="924932" y="7138791"/>
                      <a:pt x="923947" y="7140023"/>
                      <a:pt x="923947" y="7141258"/>
                    </a:cubicBezTo>
                    <a:cubicBezTo>
                      <a:pt x="923947" y="7142736"/>
                      <a:pt x="925179" y="7143721"/>
                      <a:pt x="926413" y="7143721"/>
                    </a:cubicBezTo>
                    <a:cubicBezTo>
                      <a:pt x="927891" y="7143721"/>
                      <a:pt x="928878" y="7142490"/>
                      <a:pt x="928878" y="7141258"/>
                    </a:cubicBezTo>
                    <a:close/>
                    <a:moveTo>
                      <a:pt x="929866" y="1495335"/>
                    </a:moveTo>
                    <a:cubicBezTo>
                      <a:pt x="929866" y="1486456"/>
                      <a:pt x="922468" y="1479054"/>
                      <a:pt x="913591" y="1479054"/>
                    </a:cubicBezTo>
                    <a:cubicBezTo>
                      <a:pt x="904715" y="1479054"/>
                      <a:pt x="897319" y="1486456"/>
                      <a:pt x="897319" y="1495335"/>
                    </a:cubicBezTo>
                    <a:cubicBezTo>
                      <a:pt x="897319" y="1504209"/>
                      <a:pt x="904715" y="1511605"/>
                      <a:pt x="913591" y="1511605"/>
                    </a:cubicBezTo>
                    <a:cubicBezTo>
                      <a:pt x="922468" y="1511605"/>
                      <a:pt x="929866" y="1504209"/>
                      <a:pt x="929866" y="1495335"/>
                    </a:cubicBezTo>
                    <a:close/>
                    <a:moveTo>
                      <a:pt x="930850" y="4406483"/>
                    </a:moveTo>
                    <a:cubicBezTo>
                      <a:pt x="930850" y="4381826"/>
                      <a:pt x="910878" y="4361854"/>
                      <a:pt x="886467" y="4361854"/>
                    </a:cubicBezTo>
                    <a:cubicBezTo>
                      <a:pt x="861810" y="4361854"/>
                      <a:pt x="841838" y="4381826"/>
                      <a:pt x="841838" y="4406483"/>
                    </a:cubicBezTo>
                    <a:cubicBezTo>
                      <a:pt x="841838" y="4430895"/>
                      <a:pt x="861810" y="4450867"/>
                      <a:pt x="886467" y="4450867"/>
                    </a:cubicBezTo>
                    <a:cubicBezTo>
                      <a:pt x="911125" y="4450867"/>
                      <a:pt x="931096" y="4430895"/>
                      <a:pt x="930850" y="4406483"/>
                    </a:cubicBezTo>
                    <a:close/>
                    <a:moveTo>
                      <a:pt x="930853" y="5048567"/>
                    </a:moveTo>
                    <a:cubicBezTo>
                      <a:pt x="930853" y="5031554"/>
                      <a:pt x="917045" y="5017745"/>
                      <a:pt x="900029" y="5017745"/>
                    </a:cubicBezTo>
                    <a:cubicBezTo>
                      <a:pt x="883016" y="5017745"/>
                      <a:pt x="869208" y="5031554"/>
                      <a:pt x="869208" y="5048567"/>
                    </a:cubicBezTo>
                    <a:cubicBezTo>
                      <a:pt x="869208" y="5065582"/>
                      <a:pt x="883016" y="5079391"/>
                      <a:pt x="900029" y="5079391"/>
                    </a:cubicBezTo>
                    <a:cubicBezTo>
                      <a:pt x="916797" y="5079391"/>
                      <a:pt x="930604" y="5065582"/>
                      <a:pt x="930853" y="5048567"/>
                    </a:cubicBezTo>
                    <a:close/>
                    <a:moveTo>
                      <a:pt x="933318" y="3622622"/>
                    </a:moveTo>
                    <a:cubicBezTo>
                      <a:pt x="933318" y="3615963"/>
                      <a:pt x="927892" y="3610785"/>
                      <a:pt x="921482" y="3610785"/>
                    </a:cubicBezTo>
                    <a:cubicBezTo>
                      <a:pt x="914823" y="3610785"/>
                      <a:pt x="909647" y="3616212"/>
                      <a:pt x="909647" y="3622622"/>
                    </a:cubicBezTo>
                    <a:cubicBezTo>
                      <a:pt x="909647" y="3629034"/>
                      <a:pt x="915070" y="3634212"/>
                      <a:pt x="921482" y="3634212"/>
                    </a:cubicBezTo>
                    <a:cubicBezTo>
                      <a:pt x="927892" y="3634212"/>
                      <a:pt x="933318" y="3629280"/>
                      <a:pt x="933318" y="3622622"/>
                    </a:cubicBezTo>
                    <a:close/>
                    <a:moveTo>
                      <a:pt x="934058" y="1621808"/>
                    </a:moveTo>
                    <a:cubicBezTo>
                      <a:pt x="934058" y="1613428"/>
                      <a:pt x="927153" y="1606523"/>
                      <a:pt x="918769" y="1606523"/>
                    </a:cubicBezTo>
                    <a:cubicBezTo>
                      <a:pt x="910387" y="1606523"/>
                      <a:pt x="903482" y="1613428"/>
                      <a:pt x="903482" y="1621808"/>
                    </a:cubicBezTo>
                    <a:cubicBezTo>
                      <a:pt x="903482" y="1630195"/>
                      <a:pt x="910387" y="1637101"/>
                      <a:pt x="918769" y="1637101"/>
                    </a:cubicBezTo>
                    <a:cubicBezTo>
                      <a:pt x="927400" y="1637101"/>
                      <a:pt x="934058" y="1630195"/>
                      <a:pt x="934058" y="1621808"/>
                    </a:cubicBezTo>
                    <a:close/>
                    <a:moveTo>
                      <a:pt x="934551" y="7028819"/>
                    </a:moveTo>
                    <a:cubicBezTo>
                      <a:pt x="934551" y="7027833"/>
                      <a:pt x="933813" y="7027092"/>
                      <a:pt x="932826" y="7027092"/>
                    </a:cubicBezTo>
                    <a:cubicBezTo>
                      <a:pt x="931840" y="7027092"/>
                      <a:pt x="931100" y="7027833"/>
                      <a:pt x="931100" y="7028819"/>
                    </a:cubicBezTo>
                    <a:cubicBezTo>
                      <a:pt x="931100" y="7029805"/>
                      <a:pt x="931840" y="7030546"/>
                      <a:pt x="932826" y="7030546"/>
                    </a:cubicBezTo>
                    <a:cubicBezTo>
                      <a:pt x="933813" y="7030546"/>
                      <a:pt x="934799" y="7029805"/>
                      <a:pt x="934551" y="7028819"/>
                    </a:cubicBezTo>
                    <a:close/>
                    <a:moveTo>
                      <a:pt x="936525" y="2177034"/>
                    </a:moveTo>
                    <a:cubicBezTo>
                      <a:pt x="936525" y="2169140"/>
                      <a:pt x="930112" y="2162480"/>
                      <a:pt x="921977" y="2162480"/>
                    </a:cubicBezTo>
                    <a:cubicBezTo>
                      <a:pt x="914086" y="2162480"/>
                      <a:pt x="907428" y="2168895"/>
                      <a:pt x="907428" y="2177034"/>
                    </a:cubicBezTo>
                    <a:cubicBezTo>
                      <a:pt x="907428" y="2184922"/>
                      <a:pt x="913840" y="2191581"/>
                      <a:pt x="921977" y="2191581"/>
                    </a:cubicBezTo>
                    <a:cubicBezTo>
                      <a:pt x="930112" y="2191581"/>
                      <a:pt x="936771" y="2184922"/>
                      <a:pt x="936525" y="2177034"/>
                    </a:cubicBezTo>
                    <a:close/>
                    <a:moveTo>
                      <a:pt x="936525" y="6798516"/>
                    </a:moveTo>
                    <a:cubicBezTo>
                      <a:pt x="936525" y="6797284"/>
                      <a:pt x="935536" y="6796298"/>
                      <a:pt x="934304" y="6796298"/>
                    </a:cubicBezTo>
                    <a:cubicBezTo>
                      <a:pt x="933071" y="6796298"/>
                      <a:pt x="932085" y="6797284"/>
                      <a:pt x="932085" y="6798516"/>
                    </a:cubicBezTo>
                    <a:cubicBezTo>
                      <a:pt x="932085" y="6799749"/>
                      <a:pt x="933071" y="6800734"/>
                      <a:pt x="934304" y="6800734"/>
                    </a:cubicBezTo>
                    <a:cubicBezTo>
                      <a:pt x="935536" y="6800734"/>
                      <a:pt x="936771" y="6799502"/>
                      <a:pt x="936525" y="6798516"/>
                    </a:cubicBezTo>
                    <a:close/>
                    <a:moveTo>
                      <a:pt x="936771" y="6913666"/>
                    </a:moveTo>
                    <a:cubicBezTo>
                      <a:pt x="936771" y="6911939"/>
                      <a:pt x="935290" y="6910461"/>
                      <a:pt x="933563" y="6910461"/>
                    </a:cubicBezTo>
                    <a:cubicBezTo>
                      <a:pt x="931837" y="6910461"/>
                      <a:pt x="930359" y="6911939"/>
                      <a:pt x="930359" y="6913666"/>
                    </a:cubicBezTo>
                    <a:cubicBezTo>
                      <a:pt x="930359" y="6915392"/>
                      <a:pt x="931837" y="6916873"/>
                      <a:pt x="933563" y="6916873"/>
                    </a:cubicBezTo>
                    <a:cubicBezTo>
                      <a:pt x="935290" y="6916873"/>
                      <a:pt x="936771" y="6915392"/>
                      <a:pt x="936771" y="6913666"/>
                    </a:cubicBezTo>
                    <a:close/>
                    <a:moveTo>
                      <a:pt x="937754" y="2701225"/>
                    </a:moveTo>
                    <a:cubicBezTo>
                      <a:pt x="937754" y="2688895"/>
                      <a:pt x="927646" y="2678785"/>
                      <a:pt x="915318" y="2678785"/>
                    </a:cubicBezTo>
                    <a:cubicBezTo>
                      <a:pt x="902988" y="2678785"/>
                      <a:pt x="892879" y="2688895"/>
                      <a:pt x="892879" y="2701225"/>
                    </a:cubicBezTo>
                    <a:cubicBezTo>
                      <a:pt x="892879" y="2713553"/>
                      <a:pt x="902988" y="2723665"/>
                      <a:pt x="915318" y="2723665"/>
                    </a:cubicBezTo>
                    <a:cubicBezTo>
                      <a:pt x="927646" y="2723665"/>
                      <a:pt x="937754" y="2713553"/>
                      <a:pt x="937754" y="2701225"/>
                    </a:cubicBezTo>
                    <a:close/>
                    <a:moveTo>
                      <a:pt x="940221" y="4255087"/>
                    </a:moveTo>
                    <a:cubicBezTo>
                      <a:pt x="940221" y="4241774"/>
                      <a:pt x="929372" y="4230924"/>
                      <a:pt x="916056" y="4230924"/>
                    </a:cubicBezTo>
                    <a:cubicBezTo>
                      <a:pt x="902741" y="4230924"/>
                      <a:pt x="891893" y="4241774"/>
                      <a:pt x="891893" y="4255087"/>
                    </a:cubicBezTo>
                    <a:cubicBezTo>
                      <a:pt x="891893" y="4268404"/>
                      <a:pt x="902741" y="4279254"/>
                      <a:pt x="916056" y="4279254"/>
                    </a:cubicBezTo>
                    <a:cubicBezTo>
                      <a:pt x="929372" y="4279254"/>
                      <a:pt x="940221" y="4268404"/>
                      <a:pt x="940221" y="4255087"/>
                    </a:cubicBezTo>
                    <a:close/>
                    <a:moveTo>
                      <a:pt x="940468" y="4915416"/>
                    </a:moveTo>
                    <a:cubicBezTo>
                      <a:pt x="940468" y="4898897"/>
                      <a:pt x="927153" y="4885581"/>
                      <a:pt x="910878" y="4885581"/>
                    </a:cubicBezTo>
                    <a:cubicBezTo>
                      <a:pt x="894606" y="4885581"/>
                      <a:pt x="881289" y="4899144"/>
                      <a:pt x="881289" y="4915416"/>
                    </a:cubicBezTo>
                    <a:cubicBezTo>
                      <a:pt x="881289" y="4931938"/>
                      <a:pt x="894606" y="4945255"/>
                      <a:pt x="910878" y="4945255"/>
                    </a:cubicBezTo>
                    <a:cubicBezTo>
                      <a:pt x="927153" y="4945255"/>
                      <a:pt x="940468" y="4931938"/>
                      <a:pt x="940468" y="4915416"/>
                    </a:cubicBezTo>
                    <a:close/>
                    <a:moveTo>
                      <a:pt x="942194" y="6331993"/>
                    </a:moveTo>
                    <a:cubicBezTo>
                      <a:pt x="942194" y="6330019"/>
                      <a:pt x="940713" y="6328542"/>
                      <a:pt x="938987" y="6328542"/>
                    </a:cubicBezTo>
                    <a:cubicBezTo>
                      <a:pt x="937014" y="6328542"/>
                      <a:pt x="935536" y="6330268"/>
                      <a:pt x="935536" y="6331993"/>
                    </a:cubicBezTo>
                    <a:cubicBezTo>
                      <a:pt x="935536" y="6333968"/>
                      <a:pt x="937014" y="6335446"/>
                      <a:pt x="938987" y="6335446"/>
                    </a:cubicBezTo>
                    <a:cubicBezTo>
                      <a:pt x="940713" y="6335446"/>
                      <a:pt x="942194" y="6333968"/>
                      <a:pt x="942194" y="6331993"/>
                    </a:cubicBezTo>
                    <a:close/>
                    <a:moveTo>
                      <a:pt x="943922" y="3276476"/>
                    </a:moveTo>
                    <a:cubicBezTo>
                      <a:pt x="943922" y="3268339"/>
                      <a:pt x="937263" y="3261682"/>
                      <a:pt x="929126" y="3261682"/>
                    </a:cubicBezTo>
                    <a:cubicBezTo>
                      <a:pt x="920990" y="3261682"/>
                      <a:pt x="914332" y="3268339"/>
                      <a:pt x="914332" y="3276476"/>
                    </a:cubicBezTo>
                    <a:cubicBezTo>
                      <a:pt x="914332" y="3284609"/>
                      <a:pt x="920990" y="3291270"/>
                      <a:pt x="929126" y="3291270"/>
                    </a:cubicBezTo>
                    <a:cubicBezTo>
                      <a:pt x="937263" y="3291270"/>
                      <a:pt x="943922" y="3284609"/>
                      <a:pt x="943922" y="3276476"/>
                    </a:cubicBezTo>
                    <a:close/>
                    <a:moveTo>
                      <a:pt x="944167" y="4779556"/>
                    </a:moveTo>
                    <a:cubicBezTo>
                      <a:pt x="944167" y="4768212"/>
                      <a:pt x="935044" y="4759088"/>
                      <a:pt x="923703" y="4759088"/>
                    </a:cubicBezTo>
                    <a:cubicBezTo>
                      <a:pt x="912359" y="4759088"/>
                      <a:pt x="903237" y="4768212"/>
                      <a:pt x="903237" y="4779556"/>
                    </a:cubicBezTo>
                    <a:cubicBezTo>
                      <a:pt x="903237" y="4790897"/>
                      <a:pt x="912359" y="4800019"/>
                      <a:pt x="923703" y="4800019"/>
                    </a:cubicBezTo>
                    <a:cubicBezTo>
                      <a:pt x="934799" y="4800019"/>
                      <a:pt x="944167" y="4790897"/>
                      <a:pt x="944167" y="4779556"/>
                    </a:cubicBezTo>
                    <a:close/>
                    <a:moveTo>
                      <a:pt x="947126" y="6566241"/>
                    </a:moveTo>
                    <a:cubicBezTo>
                      <a:pt x="947126" y="6560323"/>
                      <a:pt x="942195" y="6555391"/>
                      <a:pt x="936277" y="6555391"/>
                    </a:cubicBezTo>
                    <a:cubicBezTo>
                      <a:pt x="930359" y="6555391"/>
                      <a:pt x="925428" y="6560323"/>
                      <a:pt x="925428" y="6566241"/>
                    </a:cubicBezTo>
                    <a:cubicBezTo>
                      <a:pt x="925428" y="6572158"/>
                      <a:pt x="930359" y="6577090"/>
                      <a:pt x="936277" y="6577090"/>
                    </a:cubicBezTo>
                    <a:cubicBezTo>
                      <a:pt x="942195" y="6577090"/>
                      <a:pt x="947126" y="6572158"/>
                      <a:pt x="947126" y="6566241"/>
                    </a:cubicBezTo>
                    <a:close/>
                    <a:moveTo>
                      <a:pt x="948852" y="6449362"/>
                    </a:moveTo>
                    <a:cubicBezTo>
                      <a:pt x="948852" y="6443199"/>
                      <a:pt x="943672" y="6438267"/>
                      <a:pt x="937509" y="6438267"/>
                    </a:cubicBezTo>
                    <a:cubicBezTo>
                      <a:pt x="931344" y="6438267"/>
                      <a:pt x="926413" y="6443199"/>
                      <a:pt x="926413" y="6449362"/>
                    </a:cubicBezTo>
                    <a:cubicBezTo>
                      <a:pt x="926413" y="6455775"/>
                      <a:pt x="931344" y="6460707"/>
                      <a:pt x="937509" y="6460707"/>
                    </a:cubicBezTo>
                    <a:cubicBezTo>
                      <a:pt x="943672" y="6460707"/>
                      <a:pt x="948852" y="6455529"/>
                      <a:pt x="948852" y="6449362"/>
                    </a:cubicBezTo>
                    <a:close/>
                    <a:moveTo>
                      <a:pt x="949592" y="6682378"/>
                    </a:moveTo>
                    <a:cubicBezTo>
                      <a:pt x="949592" y="6674491"/>
                      <a:pt x="943180" y="6668078"/>
                      <a:pt x="935290" y="6668078"/>
                    </a:cubicBezTo>
                    <a:cubicBezTo>
                      <a:pt x="927399" y="6668078"/>
                      <a:pt x="920990" y="6674491"/>
                      <a:pt x="920990" y="6682378"/>
                    </a:cubicBezTo>
                    <a:cubicBezTo>
                      <a:pt x="920990" y="6690269"/>
                      <a:pt x="927399" y="6696681"/>
                      <a:pt x="935290" y="6696681"/>
                    </a:cubicBezTo>
                    <a:cubicBezTo>
                      <a:pt x="943180" y="6696681"/>
                      <a:pt x="949592" y="6690269"/>
                      <a:pt x="949592" y="6682378"/>
                    </a:cubicBezTo>
                    <a:close/>
                    <a:moveTo>
                      <a:pt x="951810" y="42966"/>
                    </a:moveTo>
                    <a:cubicBezTo>
                      <a:pt x="951810" y="31131"/>
                      <a:pt x="942441" y="21514"/>
                      <a:pt x="930605" y="21514"/>
                    </a:cubicBezTo>
                    <a:cubicBezTo>
                      <a:pt x="918769" y="21514"/>
                      <a:pt x="909152" y="31131"/>
                      <a:pt x="909152" y="42966"/>
                    </a:cubicBezTo>
                    <a:cubicBezTo>
                      <a:pt x="909152" y="54552"/>
                      <a:pt x="918769" y="64169"/>
                      <a:pt x="930605" y="64169"/>
                    </a:cubicBezTo>
                    <a:cubicBezTo>
                      <a:pt x="942441" y="64169"/>
                      <a:pt x="952055" y="54552"/>
                      <a:pt x="951810" y="42966"/>
                    </a:cubicBezTo>
                    <a:close/>
                    <a:moveTo>
                      <a:pt x="952057" y="3736537"/>
                    </a:moveTo>
                    <a:cubicBezTo>
                      <a:pt x="952057" y="3729883"/>
                      <a:pt x="946385" y="3724457"/>
                      <a:pt x="939730" y="3724457"/>
                    </a:cubicBezTo>
                    <a:cubicBezTo>
                      <a:pt x="932825" y="3724457"/>
                      <a:pt x="927400" y="3729883"/>
                      <a:pt x="927400" y="3736537"/>
                    </a:cubicBezTo>
                    <a:cubicBezTo>
                      <a:pt x="927400" y="3743442"/>
                      <a:pt x="933072" y="3748868"/>
                      <a:pt x="939730" y="3748868"/>
                    </a:cubicBezTo>
                    <a:cubicBezTo>
                      <a:pt x="946385" y="3748868"/>
                      <a:pt x="951811" y="3743196"/>
                      <a:pt x="952057" y="3736537"/>
                    </a:cubicBezTo>
                    <a:close/>
                    <a:moveTo>
                      <a:pt x="952551" y="158086"/>
                    </a:moveTo>
                    <a:cubicBezTo>
                      <a:pt x="952551" y="146500"/>
                      <a:pt x="943180" y="137129"/>
                      <a:pt x="931590" y="137129"/>
                    </a:cubicBezTo>
                    <a:cubicBezTo>
                      <a:pt x="920003" y="137129"/>
                      <a:pt x="910632" y="146500"/>
                      <a:pt x="910632" y="158086"/>
                    </a:cubicBezTo>
                    <a:cubicBezTo>
                      <a:pt x="910632" y="169675"/>
                      <a:pt x="920003" y="179043"/>
                      <a:pt x="931590" y="179043"/>
                    </a:cubicBezTo>
                    <a:cubicBezTo>
                      <a:pt x="943180" y="179043"/>
                      <a:pt x="952796" y="169675"/>
                      <a:pt x="952551" y="158086"/>
                    </a:cubicBezTo>
                    <a:close/>
                    <a:moveTo>
                      <a:pt x="953537" y="273706"/>
                    </a:moveTo>
                    <a:cubicBezTo>
                      <a:pt x="953537" y="262119"/>
                      <a:pt x="944166" y="252748"/>
                      <a:pt x="932577" y="252748"/>
                    </a:cubicBezTo>
                    <a:cubicBezTo>
                      <a:pt x="920990" y="252748"/>
                      <a:pt x="911619" y="262119"/>
                      <a:pt x="911619" y="273706"/>
                    </a:cubicBezTo>
                    <a:cubicBezTo>
                      <a:pt x="911619" y="285295"/>
                      <a:pt x="920990" y="294665"/>
                      <a:pt x="932577" y="294665"/>
                    </a:cubicBezTo>
                    <a:cubicBezTo>
                      <a:pt x="944166" y="294665"/>
                      <a:pt x="953537" y="285295"/>
                      <a:pt x="953537" y="273706"/>
                    </a:cubicBezTo>
                    <a:close/>
                    <a:moveTo>
                      <a:pt x="954770" y="389819"/>
                    </a:moveTo>
                    <a:cubicBezTo>
                      <a:pt x="954770" y="378476"/>
                      <a:pt x="945647" y="369107"/>
                      <a:pt x="934058" y="369107"/>
                    </a:cubicBezTo>
                    <a:cubicBezTo>
                      <a:pt x="922716" y="369107"/>
                      <a:pt x="913346" y="378229"/>
                      <a:pt x="913346" y="389819"/>
                    </a:cubicBezTo>
                    <a:cubicBezTo>
                      <a:pt x="913346" y="401407"/>
                      <a:pt x="922716" y="410776"/>
                      <a:pt x="934058" y="410776"/>
                    </a:cubicBezTo>
                    <a:cubicBezTo>
                      <a:pt x="945647" y="410776"/>
                      <a:pt x="955015" y="401654"/>
                      <a:pt x="954770" y="389819"/>
                    </a:cubicBezTo>
                    <a:close/>
                    <a:moveTo>
                      <a:pt x="954770" y="5979391"/>
                    </a:moveTo>
                    <a:cubicBezTo>
                      <a:pt x="954770" y="5977910"/>
                      <a:pt x="953535" y="5976678"/>
                      <a:pt x="952057" y="5976678"/>
                    </a:cubicBezTo>
                    <a:cubicBezTo>
                      <a:pt x="950576" y="5976678"/>
                      <a:pt x="949344" y="5977910"/>
                      <a:pt x="949344" y="5979391"/>
                    </a:cubicBezTo>
                    <a:cubicBezTo>
                      <a:pt x="949344" y="5980869"/>
                      <a:pt x="950576" y="5982104"/>
                      <a:pt x="952057" y="5982104"/>
                    </a:cubicBezTo>
                    <a:cubicBezTo>
                      <a:pt x="953535" y="5982104"/>
                      <a:pt x="954521" y="5980869"/>
                      <a:pt x="954770" y="5979391"/>
                    </a:cubicBezTo>
                    <a:close/>
                    <a:moveTo>
                      <a:pt x="955016" y="506916"/>
                    </a:moveTo>
                    <a:cubicBezTo>
                      <a:pt x="955016" y="495822"/>
                      <a:pt x="946140" y="486945"/>
                      <a:pt x="935042" y="486945"/>
                    </a:cubicBezTo>
                    <a:cubicBezTo>
                      <a:pt x="923947" y="486945"/>
                      <a:pt x="915070" y="495822"/>
                      <a:pt x="915070" y="506916"/>
                    </a:cubicBezTo>
                    <a:cubicBezTo>
                      <a:pt x="915070" y="518011"/>
                      <a:pt x="923947" y="526887"/>
                      <a:pt x="935042" y="526887"/>
                    </a:cubicBezTo>
                    <a:cubicBezTo>
                      <a:pt x="946140" y="526887"/>
                      <a:pt x="955016" y="518011"/>
                      <a:pt x="955016" y="506916"/>
                    </a:cubicBezTo>
                    <a:close/>
                    <a:moveTo>
                      <a:pt x="956002" y="624512"/>
                    </a:moveTo>
                    <a:cubicBezTo>
                      <a:pt x="956002" y="613663"/>
                      <a:pt x="947371" y="605032"/>
                      <a:pt x="936522" y="605032"/>
                    </a:cubicBezTo>
                    <a:cubicBezTo>
                      <a:pt x="925673" y="605032"/>
                      <a:pt x="917042" y="613663"/>
                      <a:pt x="917042" y="624512"/>
                    </a:cubicBezTo>
                    <a:cubicBezTo>
                      <a:pt x="917042" y="635361"/>
                      <a:pt x="925673" y="644026"/>
                      <a:pt x="936522" y="644026"/>
                    </a:cubicBezTo>
                    <a:cubicBezTo>
                      <a:pt x="947125" y="644026"/>
                      <a:pt x="956002" y="635112"/>
                      <a:pt x="956002" y="624512"/>
                    </a:cubicBezTo>
                    <a:close/>
                    <a:moveTo>
                      <a:pt x="956248" y="5859062"/>
                    </a:moveTo>
                    <a:cubicBezTo>
                      <a:pt x="956248" y="5857830"/>
                      <a:pt x="955262" y="5857089"/>
                      <a:pt x="954275" y="5857089"/>
                    </a:cubicBezTo>
                    <a:cubicBezTo>
                      <a:pt x="953290" y="5857089"/>
                      <a:pt x="952303" y="5858076"/>
                      <a:pt x="952303" y="5859062"/>
                    </a:cubicBezTo>
                    <a:cubicBezTo>
                      <a:pt x="952303" y="5860048"/>
                      <a:pt x="953290" y="5861035"/>
                      <a:pt x="954275" y="5861035"/>
                    </a:cubicBezTo>
                    <a:cubicBezTo>
                      <a:pt x="955507" y="5861035"/>
                      <a:pt x="956248" y="5860048"/>
                      <a:pt x="956248" y="5859062"/>
                    </a:cubicBezTo>
                    <a:close/>
                    <a:moveTo>
                      <a:pt x="959456" y="5737996"/>
                    </a:moveTo>
                    <a:cubicBezTo>
                      <a:pt x="959456" y="5737009"/>
                      <a:pt x="958716" y="5736268"/>
                      <a:pt x="957729" y="5736268"/>
                    </a:cubicBezTo>
                    <a:cubicBezTo>
                      <a:pt x="956497" y="5736268"/>
                      <a:pt x="955757" y="5737009"/>
                      <a:pt x="955757" y="5737996"/>
                    </a:cubicBezTo>
                    <a:cubicBezTo>
                      <a:pt x="955757" y="5738982"/>
                      <a:pt x="956743" y="5739723"/>
                      <a:pt x="957729" y="5739723"/>
                    </a:cubicBezTo>
                    <a:cubicBezTo>
                      <a:pt x="958716" y="5739723"/>
                      <a:pt x="959456" y="5738982"/>
                      <a:pt x="959456" y="5737996"/>
                    </a:cubicBezTo>
                    <a:close/>
                    <a:moveTo>
                      <a:pt x="962905" y="5615694"/>
                    </a:moveTo>
                    <a:cubicBezTo>
                      <a:pt x="962905" y="5614708"/>
                      <a:pt x="962167" y="5613967"/>
                      <a:pt x="961181" y="5613967"/>
                    </a:cubicBezTo>
                    <a:cubicBezTo>
                      <a:pt x="960194" y="5613967"/>
                      <a:pt x="959454" y="5614708"/>
                      <a:pt x="959454" y="5615694"/>
                    </a:cubicBezTo>
                    <a:cubicBezTo>
                      <a:pt x="959454" y="5616680"/>
                      <a:pt x="960194" y="5617418"/>
                      <a:pt x="961181" y="5617418"/>
                    </a:cubicBezTo>
                    <a:cubicBezTo>
                      <a:pt x="962167" y="5617418"/>
                      <a:pt x="962905" y="5616680"/>
                      <a:pt x="962905" y="5615694"/>
                    </a:cubicBezTo>
                    <a:close/>
                    <a:moveTo>
                      <a:pt x="963893" y="6217092"/>
                    </a:moveTo>
                    <a:cubicBezTo>
                      <a:pt x="963893" y="6207968"/>
                      <a:pt x="956494" y="6200571"/>
                      <a:pt x="947372" y="6200571"/>
                    </a:cubicBezTo>
                    <a:cubicBezTo>
                      <a:pt x="938250" y="6200571"/>
                      <a:pt x="930851" y="6207968"/>
                      <a:pt x="930851" y="6217092"/>
                    </a:cubicBezTo>
                    <a:cubicBezTo>
                      <a:pt x="930851" y="6226215"/>
                      <a:pt x="938250" y="6233610"/>
                      <a:pt x="947372" y="6233610"/>
                    </a:cubicBezTo>
                    <a:cubicBezTo>
                      <a:pt x="956494" y="6233610"/>
                      <a:pt x="963893" y="6226215"/>
                      <a:pt x="963893" y="6217092"/>
                    </a:cubicBezTo>
                    <a:close/>
                    <a:moveTo>
                      <a:pt x="968084" y="4116759"/>
                    </a:moveTo>
                    <a:cubicBezTo>
                      <a:pt x="968084" y="4113309"/>
                      <a:pt x="965371" y="4110596"/>
                      <a:pt x="961921" y="4110596"/>
                    </a:cubicBezTo>
                    <a:cubicBezTo>
                      <a:pt x="958715" y="4110596"/>
                      <a:pt x="956003" y="4113309"/>
                      <a:pt x="956003" y="4116759"/>
                    </a:cubicBezTo>
                    <a:cubicBezTo>
                      <a:pt x="956003" y="4119967"/>
                      <a:pt x="958715" y="4122677"/>
                      <a:pt x="961921" y="4122677"/>
                    </a:cubicBezTo>
                    <a:cubicBezTo>
                      <a:pt x="965371" y="4122677"/>
                      <a:pt x="968084" y="4120212"/>
                      <a:pt x="968084" y="4116759"/>
                    </a:cubicBezTo>
                    <a:close/>
                    <a:moveTo>
                      <a:pt x="969565" y="2891081"/>
                    </a:moveTo>
                    <a:cubicBezTo>
                      <a:pt x="969565" y="2872587"/>
                      <a:pt x="954522" y="2857301"/>
                      <a:pt x="935782" y="2857301"/>
                    </a:cubicBezTo>
                    <a:cubicBezTo>
                      <a:pt x="917291" y="2857301"/>
                      <a:pt x="902002" y="2872341"/>
                      <a:pt x="902002" y="2891081"/>
                    </a:cubicBezTo>
                    <a:cubicBezTo>
                      <a:pt x="902002" y="2909576"/>
                      <a:pt x="917042" y="2924865"/>
                      <a:pt x="935782" y="2924865"/>
                    </a:cubicBezTo>
                    <a:cubicBezTo>
                      <a:pt x="954276" y="2924865"/>
                      <a:pt x="969565" y="2909821"/>
                      <a:pt x="969565" y="2891081"/>
                    </a:cubicBezTo>
                    <a:close/>
                    <a:moveTo>
                      <a:pt x="969565" y="6098487"/>
                    </a:moveTo>
                    <a:cubicBezTo>
                      <a:pt x="969565" y="6087392"/>
                      <a:pt x="960688" y="6078515"/>
                      <a:pt x="949591" y="6078515"/>
                    </a:cubicBezTo>
                    <a:cubicBezTo>
                      <a:pt x="938495" y="6078515"/>
                      <a:pt x="929619" y="6087392"/>
                      <a:pt x="929619" y="6098487"/>
                    </a:cubicBezTo>
                    <a:cubicBezTo>
                      <a:pt x="929619" y="6109586"/>
                      <a:pt x="938495" y="6118459"/>
                      <a:pt x="949591" y="6118459"/>
                    </a:cubicBezTo>
                    <a:cubicBezTo>
                      <a:pt x="960688" y="6118459"/>
                      <a:pt x="969565" y="6109586"/>
                      <a:pt x="969565" y="6098487"/>
                    </a:cubicBezTo>
                    <a:close/>
                    <a:moveTo>
                      <a:pt x="971289" y="3163295"/>
                    </a:moveTo>
                    <a:cubicBezTo>
                      <a:pt x="971289" y="3152941"/>
                      <a:pt x="962907" y="3144556"/>
                      <a:pt x="952550" y="3144556"/>
                    </a:cubicBezTo>
                    <a:cubicBezTo>
                      <a:pt x="942194" y="3144556"/>
                      <a:pt x="933810" y="3152941"/>
                      <a:pt x="933810" y="3163295"/>
                    </a:cubicBezTo>
                    <a:cubicBezTo>
                      <a:pt x="933810" y="3173653"/>
                      <a:pt x="942194" y="3182036"/>
                      <a:pt x="952550" y="3182036"/>
                    </a:cubicBezTo>
                    <a:cubicBezTo>
                      <a:pt x="962907" y="3182036"/>
                      <a:pt x="971289" y="3173405"/>
                      <a:pt x="971289" y="3163295"/>
                    </a:cubicBezTo>
                    <a:close/>
                    <a:moveTo>
                      <a:pt x="971291" y="2315843"/>
                    </a:moveTo>
                    <a:cubicBezTo>
                      <a:pt x="971291" y="2297351"/>
                      <a:pt x="956252" y="2282309"/>
                      <a:pt x="937757" y="2282309"/>
                    </a:cubicBezTo>
                    <a:cubicBezTo>
                      <a:pt x="919263" y="2282309"/>
                      <a:pt x="904223" y="2297351"/>
                      <a:pt x="904223" y="2315843"/>
                    </a:cubicBezTo>
                    <a:cubicBezTo>
                      <a:pt x="904223" y="2334337"/>
                      <a:pt x="919263" y="2349387"/>
                      <a:pt x="937757" y="2349387"/>
                    </a:cubicBezTo>
                    <a:cubicBezTo>
                      <a:pt x="956497" y="2349387"/>
                      <a:pt x="971537" y="2334089"/>
                      <a:pt x="971291" y="2315843"/>
                    </a:cubicBezTo>
                    <a:close/>
                    <a:moveTo>
                      <a:pt x="972524" y="5367391"/>
                    </a:moveTo>
                    <a:cubicBezTo>
                      <a:pt x="972524" y="5365910"/>
                      <a:pt x="971538" y="5364924"/>
                      <a:pt x="970057" y="5364924"/>
                    </a:cubicBezTo>
                    <a:cubicBezTo>
                      <a:pt x="968825" y="5364924"/>
                      <a:pt x="967593" y="5365910"/>
                      <a:pt x="967593" y="5367391"/>
                    </a:cubicBezTo>
                    <a:cubicBezTo>
                      <a:pt x="967593" y="5368623"/>
                      <a:pt x="968825" y="5369856"/>
                      <a:pt x="970057" y="5369856"/>
                    </a:cubicBezTo>
                    <a:cubicBezTo>
                      <a:pt x="971538" y="5369856"/>
                      <a:pt x="972524" y="5368869"/>
                      <a:pt x="972524" y="5367391"/>
                    </a:cubicBezTo>
                    <a:close/>
                    <a:moveTo>
                      <a:pt x="972769" y="5492160"/>
                    </a:moveTo>
                    <a:cubicBezTo>
                      <a:pt x="972769" y="5487966"/>
                      <a:pt x="969316" y="5484515"/>
                      <a:pt x="965125" y="5484515"/>
                    </a:cubicBezTo>
                    <a:cubicBezTo>
                      <a:pt x="960931" y="5484515"/>
                      <a:pt x="957481" y="5487966"/>
                      <a:pt x="957481" y="5492160"/>
                    </a:cubicBezTo>
                    <a:cubicBezTo>
                      <a:pt x="957481" y="5496352"/>
                      <a:pt x="960931" y="5499802"/>
                      <a:pt x="965125" y="5499802"/>
                    </a:cubicBezTo>
                    <a:cubicBezTo>
                      <a:pt x="969316" y="5499802"/>
                      <a:pt x="972769" y="5496352"/>
                      <a:pt x="972769" y="5492160"/>
                    </a:cubicBezTo>
                    <a:close/>
                    <a:moveTo>
                      <a:pt x="980907" y="3848485"/>
                    </a:moveTo>
                    <a:cubicBezTo>
                      <a:pt x="980907" y="3841581"/>
                      <a:pt x="975235" y="3835909"/>
                      <a:pt x="968331" y="3835909"/>
                    </a:cubicBezTo>
                    <a:cubicBezTo>
                      <a:pt x="961181" y="3835909"/>
                      <a:pt x="955509" y="3841581"/>
                      <a:pt x="955509" y="3848485"/>
                    </a:cubicBezTo>
                    <a:cubicBezTo>
                      <a:pt x="955509" y="3855635"/>
                      <a:pt x="961426" y="3861307"/>
                      <a:pt x="968331" y="3861307"/>
                    </a:cubicBezTo>
                    <a:cubicBezTo>
                      <a:pt x="975481" y="3861307"/>
                      <a:pt x="981153" y="3855635"/>
                      <a:pt x="980907" y="3848485"/>
                    </a:cubicBezTo>
                    <a:close/>
                    <a:moveTo>
                      <a:pt x="986824" y="4640732"/>
                    </a:moveTo>
                    <a:cubicBezTo>
                      <a:pt x="986824" y="4614348"/>
                      <a:pt x="965371" y="4592895"/>
                      <a:pt x="938987" y="4592895"/>
                    </a:cubicBezTo>
                    <a:cubicBezTo>
                      <a:pt x="912606" y="4592895"/>
                      <a:pt x="891153" y="4614348"/>
                      <a:pt x="891153" y="4640732"/>
                    </a:cubicBezTo>
                    <a:cubicBezTo>
                      <a:pt x="891153" y="4667114"/>
                      <a:pt x="912606" y="4688566"/>
                      <a:pt x="938987" y="4688566"/>
                    </a:cubicBezTo>
                    <a:cubicBezTo>
                      <a:pt x="965371" y="4688566"/>
                      <a:pt x="986824" y="4667114"/>
                      <a:pt x="986824" y="4640732"/>
                    </a:cubicBezTo>
                    <a:close/>
                    <a:moveTo>
                      <a:pt x="994960" y="5247307"/>
                    </a:moveTo>
                    <a:cubicBezTo>
                      <a:pt x="994960" y="5241884"/>
                      <a:pt x="990522" y="5237199"/>
                      <a:pt x="984851" y="5237199"/>
                    </a:cubicBezTo>
                    <a:cubicBezTo>
                      <a:pt x="979428" y="5237199"/>
                      <a:pt x="974743" y="5241884"/>
                      <a:pt x="974743" y="5247307"/>
                    </a:cubicBezTo>
                    <a:cubicBezTo>
                      <a:pt x="974743" y="5252734"/>
                      <a:pt x="979182" y="5257416"/>
                      <a:pt x="984851" y="5257416"/>
                    </a:cubicBezTo>
                    <a:cubicBezTo>
                      <a:pt x="990277" y="5257416"/>
                      <a:pt x="994960" y="5252734"/>
                      <a:pt x="994960" y="5247307"/>
                    </a:cubicBezTo>
                    <a:close/>
                    <a:moveTo>
                      <a:pt x="996932" y="2457859"/>
                    </a:moveTo>
                    <a:cubicBezTo>
                      <a:pt x="996932" y="2435916"/>
                      <a:pt x="978934" y="2417914"/>
                      <a:pt x="956988" y="2417914"/>
                    </a:cubicBezTo>
                    <a:cubicBezTo>
                      <a:pt x="935041" y="2417914"/>
                      <a:pt x="917042" y="2435916"/>
                      <a:pt x="917042" y="2457859"/>
                    </a:cubicBezTo>
                    <a:cubicBezTo>
                      <a:pt x="917042" y="2479805"/>
                      <a:pt x="935041" y="2497805"/>
                      <a:pt x="956988" y="2497805"/>
                    </a:cubicBezTo>
                    <a:cubicBezTo>
                      <a:pt x="978934" y="2497805"/>
                      <a:pt x="996932" y="2479805"/>
                      <a:pt x="996932" y="2457859"/>
                    </a:cubicBezTo>
                    <a:close/>
                    <a:moveTo>
                      <a:pt x="997427" y="1709799"/>
                    </a:moveTo>
                    <a:cubicBezTo>
                      <a:pt x="997427" y="1701442"/>
                      <a:pt x="990769" y="1694537"/>
                      <a:pt x="982384" y="1694537"/>
                    </a:cubicBezTo>
                    <a:cubicBezTo>
                      <a:pt x="974248" y="1694537"/>
                      <a:pt x="967344" y="1701442"/>
                      <a:pt x="967344" y="1709799"/>
                    </a:cubicBezTo>
                    <a:cubicBezTo>
                      <a:pt x="967344" y="1717945"/>
                      <a:pt x="974002" y="1724854"/>
                      <a:pt x="982384" y="1724854"/>
                    </a:cubicBezTo>
                    <a:cubicBezTo>
                      <a:pt x="990769" y="1724854"/>
                      <a:pt x="997427" y="1718190"/>
                      <a:pt x="997427" y="1709799"/>
                    </a:cubicBezTo>
                    <a:close/>
                    <a:moveTo>
                      <a:pt x="1003839" y="1837070"/>
                    </a:moveTo>
                    <a:cubicBezTo>
                      <a:pt x="1003839" y="1829425"/>
                      <a:pt x="997427" y="1823021"/>
                      <a:pt x="989537" y="1823021"/>
                    </a:cubicBezTo>
                    <a:cubicBezTo>
                      <a:pt x="981895" y="1823021"/>
                      <a:pt x="975483" y="1829181"/>
                      <a:pt x="975483" y="1837070"/>
                    </a:cubicBezTo>
                    <a:cubicBezTo>
                      <a:pt x="975483" y="1844957"/>
                      <a:pt x="981646" y="1851368"/>
                      <a:pt x="989537" y="1851368"/>
                    </a:cubicBezTo>
                    <a:cubicBezTo>
                      <a:pt x="997427" y="1851368"/>
                      <a:pt x="1003839" y="1845205"/>
                      <a:pt x="1003839" y="1837070"/>
                    </a:cubicBezTo>
                    <a:close/>
                    <a:moveTo>
                      <a:pt x="1005566" y="2604321"/>
                    </a:moveTo>
                    <a:cubicBezTo>
                      <a:pt x="1005566" y="2590262"/>
                      <a:pt x="994222" y="2578922"/>
                      <a:pt x="980168" y="2578922"/>
                    </a:cubicBezTo>
                    <a:cubicBezTo>
                      <a:pt x="966112" y="2578922"/>
                      <a:pt x="954771" y="2590262"/>
                      <a:pt x="954771" y="2604321"/>
                    </a:cubicBezTo>
                    <a:cubicBezTo>
                      <a:pt x="954771" y="2618374"/>
                      <a:pt x="966112" y="2629715"/>
                      <a:pt x="980168" y="2629715"/>
                    </a:cubicBezTo>
                    <a:cubicBezTo>
                      <a:pt x="994222" y="2629715"/>
                      <a:pt x="1005813" y="2618374"/>
                      <a:pt x="1005566" y="2604321"/>
                    </a:cubicBezTo>
                    <a:close/>
                    <a:moveTo>
                      <a:pt x="1006552" y="4498455"/>
                    </a:moveTo>
                    <a:cubicBezTo>
                      <a:pt x="1006552" y="4471579"/>
                      <a:pt x="984851" y="4449880"/>
                      <a:pt x="957975" y="4449880"/>
                    </a:cubicBezTo>
                    <a:cubicBezTo>
                      <a:pt x="931099" y="4449880"/>
                      <a:pt x="909400" y="4471579"/>
                      <a:pt x="909400" y="4498455"/>
                    </a:cubicBezTo>
                    <a:cubicBezTo>
                      <a:pt x="909400" y="4525332"/>
                      <a:pt x="931099" y="4547033"/>
                      <a:pt x="957975" y="4547033"/>
                    </a:cubicBezTo>
                    <a:cubicBezTo>
                      <a:pt x="984605" y="4547033"/>
                      <a:pt x="1006552" y="4525332"/>
                      <a:pt x="1006552" y="4498455"/>
                    </a:cubicBezTo>
                    <a:close/>
                    <a:moveTo>
                      <a:pt x="1009509" y="3052583"/>
                    </a:moveTo>
                    <a:cubicBezTo>
                      <a:pt x="1009509" y="3039759"/>
                      <a:pt x="999151" y="3029404"/>
                      <a:pt x="986329" y="3029404"/>
                    </a:cubicBezTo>
                    <a:cubicBezTo>
                      <a:pt x="973507" y="3029404"/>
                      <a:pt x="963153" y="3039759"/>
                      <a:pt x="963153" y="3052583"/>
                    </a:cubicBezTo>
                    <a:cubicBezTo>
                      <a:pt x="963153" y="3065405"/>
                      <a:pt x="973507" y="3075760"/>
                      <a:pt x="986329" y="3075760"/>
                    </a:cubicBezTo>
                    <a:cubicBezTo>
                      <a:pt x="999151" y="3075760"/>
                      <a:pt x="1009509" y="3065157"/>
                      <a:pt x="1009509" y="3052583"/>
                    </a:cubicBezTo>
                    <a:close/>
                    <a:moveTo>
                      <a:pt x="1018140" y="4351994"/>
                    </a:moveTo>
                    <a:cubicBezTo>
                      <a:pt x="1018140" y="4331527"/>
                      <a:pt x="1001618" y="4315005"/>
                      <a:pt x="981155" y="4315005"/>
                    </a:cubicBezTo>
                    <a:cubicBezTo>
                      <a:pt x="960688" y="4315005"/>
                      <a:pt x="944167" y="4331527"/>
                      <a:pt x="944167" y="4351994"/>
                    </a:cubicBezTo>
                    <a:cubicBezTo>
                      <a:pt x="944167" y="4372457"/>
                      <a:pt x="960688" y="4388978"/>
                      <a:pt x="981155" y="4388978"/>
                    </a:cubicBezTo>
                    <a:cubicBezTo>
                      <a:pt x="1001372" y="4388978"/>
                      <a:pt x="1017893" y="4372211"/>
                      <a:pt x="1018140" y="4351994"/>
                    </a:cubicBezTo>
                    <a:close/>
                    <a:moveTo>
                      <a:pt x="1019866" y="715521"/>
                    </a:moveTo>
                    <a:cubicBezTo>
                      <a:pt x="1019866" y="703685"/>
                      <a:pt x="1010250" y="694318"/>
                      <a:pt x="998660" y="694318"/>
                    </a:cubicBezTo>
                    <a:cubicBezTo>
                      <a:pt x="986825" y="694318"/>
                      <a:pt x="977456" y="703930"/>
                      <a:pt x="977456" y="715521"/>
                    </a:cubicBezTo>
                    <a:cubicBezTo>
                      <a:pt x="977456" y="727348"/>
                      <a:pt x="987072" y="736721"/>
                      <a:pt x="998660" y="736721"/>
                    </a:cubicBezTo>
                    <a:cubicBezTo>
                      <a:pt x="1010250" y="736721"/>
                      <a:pt x="1019866" y="727348"/>
                      <a:pt x="1019866" y="715521"/>
                    </a:cubicBezTo>
                    <a:close/>
                    <a:moveTo>
                      <a:pt x="1021099" y="833121"/>
                    </a:moveTo>
                    <a:cubicBezTo>
                      <a:pt x="1021099" y="821777"/>
                      <a:pt x="1011975" y="812407"/>
                      <a:pt x="1000386" y="812407"/>
                    </a:cubicBezTo>
                    <a:cubicBezTo>
                      <a:pt x="988799" y="812407"/>
                      <a:pt x="979428" y="821529"/>
                      <a:pt x="979428" y="833121"/>
                    </a:cubicBezTo>
                    <a:cubicBezTo>
                      <a:pt x="979428" y="844710"/>
                      <a:pt x="988799" y="854071"/>
                      <a:pt x="1000386" y="854071"/>
                    </a:cubicBezTo>
                    <a:cubicBezTo>
                      <a:pt x="1011730" y="854071"/>
                      <a:pt x="1021099" y="844955"/>
                      <a:pt x="1021099" y="833121"/>
                    </a:cubicBezTo>
                    <a:close/>
                    <a:moveTo>
                      <a:pt x="1021344" y="5119335"/>
                    </a:moveTo>
                    <a:cubicBezTo>
                      <a:pt x="1021344" y="5103061"/>
                      <a:pt x="1007784" y="5089745"/>
                      <a:pt x="991509" y="5089745"/>
                    </a:cubicBezTo>
                    <a:cubicBezTo>
                      <a:pt x="975237" y="5089745"/>
                      <a:pt x="961921" y="5103061"/>
                      <a:pt x="961921" y="5119335"/>
                    </a:cubicBezTo>
                    <a:cubicBezTo>
                      <a:pt x="961921" y="5135856"/>
                      <a:pt x="975237" y="5149169"/>
                      <a:pt x="991509" y="5149169"/>
                    </a:cubicBezTo>
                    <a:cubicBezTo>
                      <a:pt x="1008030" y="5149169"/>
                      <a:pt x="1021344" y="5135610"/>
                      <a:pt x="1021344" y="5119335"/>
                    </a:cubicBezTo>
                    <a:close/>
                    <a:moveTo>
                      <a:pt x="1021592" y="3957472"/>
                    </a:moveTo>
                    <a:cubicBezTo>
                      <a:pt x="1021592" y="3949582"/>
                      <a:pt x="1015183" y="3943169"/>
                      <a:pt x="1007292" y="3943169"/>
                    </a:cubicBezTo>
                    <a:cubicBezTo>
                      <a:pt x="999402" y="3943169"/>
                      <a:pt x="992990" y="3949582"/>
                      <a:pt x="992990" y="3957472"/>
                    </a:cubicBezTo>
                    <a:cubicBezTo>
                      <a:pt x="992990" y="3965363"/>
                      <a:pt x="999402" y="3971772"/>
                      <a:pt x="1007292" y="3971772"/>
                    </a:cubicBezTo>
                    <a:cubicBezTo>
                      <a:pt x="1015183" y="3971772"/>
                      <a:pt x="1021592" y="3965363"/>
                      <a:pt x="1021592" y="3957472"/>
                    </a:cubicBezTo>
                    <a:close/>
                    <a:moveTo>
                      <a:pt x="1023072" y="951700"/>
                    </a:moveTo>
                    <a:cubicBezTo>
                      <a:pt x="1023072" y="940351"/>
                      <a:pt x="1013700" y="930984"/>
                      <a:pt x="1002359" y="930984"/>
                    </a:cubicBezTo>
                    <a:cubicBezTo>
                      <a:pt x="991016" y="930984"/>
                      <a:pt x="981647" y="940351"/>
                      <a:pt x="981647" y="951700"/>
                    </a:cubicBezTo>
                    <a:cubicBezTo>
                      <a:pt x="981647" y="963041"/>
                      <a:pt x="991016" y="972412"/>
                      <a:pt x="1002359" y="972412"/>
                    </a:cubicBezTo>
                    <a:cubicBezTo>
                      <a:pt x="1013700" y="972412"/>
                      <a:pt x="1023072" y="963041"/>
                      <a:pt x="1023072" y="951700"/>
                    </a:cubicBezTo>
                    <a:close/>
                    <a:moveTo>
                      <a:pt x="1023317" y="4216622"/>
                    </a:moveTo>
                    <a:cubicBezTo>
                      <a:pt x="1023317" y="4214649"/>
                      <a:pt x="1021839" y="4213171"/>
                      <a:pt x="1019863" y="4213171"/>
                    </a:cubicBezTo>
                    <a:cubicBezTo>
                      <a:pt x="1017893" y="4213171"/>
                      <a:pt x="1016413" y="4214649"/>
                      <a:pt x="1016413" y="4216622"/>
                    </a:cubicBezTo>
                    <a:cubicBezTo>
                      <a:pt x="1016413" y="4218598"/>
                      <a:pt x="1018140" y="4220075"/>
                      <a:pt x="1019863" y="4220075"/>
                    </a:cubicBezTo>
                    <a:cubicBezTo>
                      <a:pt x="1021839" y="4220075"/>
                      <a:pt x="1023317" y="4218598"/>
                      <a:pt x="1023317" y="4216622"/>
                    </a:cubicBezTo>
                    <a:close/>
                    <a:moveTo>
                      <a:pt x="1023318" y="1071030"/>
                    </a:moveTo>
                    <a:cubicBezTo>
                      <a:pt x="1023318" y="1060670"/>
                      <a:pt x="1014935" y="1052284"/>
                      <a:pt x="1004578" y="1052284"/>
                    </a:cubicBezTo>
                    <a:cubicBezTo>
                      <a:pt x="994222" y="1052284"/>
                      <a:pt x="985838" y="1060670"/>
                      <a:pt x="985838" y="1071030"/>
                    </a:cubicBezTo>
                    <a:cubicBezTo>
                      <a:pt x="985838" y="1081384"/>
                      <a:pt x="994222" y="1089769"/>
                      <a:pt x="1004578" y="1089769"/>
                    </a:cubicBezTo>
                    <a:cubicBezTo>
                      <a:pt x="1015181" y="1089769"/>
                      <a:pt x="1023563" y="1081137"/>
                      <a:pt x="1023318" y="1071030"/>
                    </a:cubicBezTo>
                    <a:close/>
                    <a:moveTo>
                      <a:pt x="1025289" y="2788752"/>
                    </a:moveTo>
                    <a:cubicBezTo>
                      <a:pt x="1025289" y="2768778"/>
                      <a:pt x="1009017" y="2752751"/>
                      <a:pt x="989288" y="2752751"/>
                    </a:cubicBezTo>
                    <a:cubicBezTo>
                      <a:pt x="969316" y="2752751"/>
                      <a:pt x="953290" y="2769027"/>
                      <a:pt x="953290" y="2788752"/>
                    </a:cubicBezTo>
                    <a:cubicBezTo>
                      <a:pt x="953290" y="2808725"/>
                      <a:pt x="969565" y="2824752"/>
                      <a:pt x="989288" y="2824752"/>
                    </a:cubicBezTo>
                    <a:cubicBezTo>
                      <a:pt x="1009262" y="2824752"/>
                      <a:pt x="1025289" y="2808479"/>
                      <a:pt x="1025289" y="2788752"/>
                    </a:cubicBezTo>
                    <a:close/>
                    <a:moveTo>
                      <a:pt x="1025289" y="3449067"/>
                    </a:moveTo>
                    <a:cubicBezTo>
                      <a:pt x="1025289" y="3447093"/>
                      <a:pt x="1023811" y="3445614"/>
                      <a:pt x="1021836" y="3445614"/>
                    </a:cubicBezTo>
                    <a:cubicBezTo>
                      <a:pt x="1019863" y="3445614"/>
                      <a:pt x="1018385" y="3447093"/>
                      <a:pt x="1018385" y="3449067"/>
                    </a:cubicBezTo>
                    <a:cubicBezTo>
                      <a:pt x="1018385" y="3451040"/>
                      <a:pt x="1019863" y="3452519"/>
                      <a:pt x="1021836" y="3452519"/>
                    </a:cubicBezTo>
                    <a:cubicBezTo>
                      <a:pt x="1023811" y="3452519"/>
                      <a:pt x="1025289" y="3450793"/>
                      <a:pt x="1025289" y="3449067"/>
                    </a:cubicBezTo>
                    <a:close/>
                    <a:moveTo>
                      <a:pt x="1025290" y="1191091"/>
                    </a:moveTo>
                    <a:cubicBezTo>
                      <a:pt x="1025290" y="1180484"/>
                      <a:pt x="1016908" y="1172104"/>
                      <a:pt x="1006550" y="1172104"/>
                    </a:cubicBezTo>
                    <a:cubicBezTo>
                      <a:pt x="995949" y="1172104"/>
                      <a:pt x="987565" y="1180733"/>
                      <a:pt x="987565" y="1191091"/>
                    </a:cubicBezTo>
                    <a:cubicBezTo>
                      <a:pt x="987565" y="1201694"/>
                      <a:pt x="996196" y="1210082"/>
                      <a:pt x="1006550" y="1210082"/>
                    </a:cubicBezTo>
                    <a:cubicBezTo>
                      <a:pt x="1016908" y="1210082"/>
                      <a:pt x="1025537" y="1201694"/>
                      <a:pt x="1025290" y="1191091"/>
                    </a:cubicBezTo>
                    <a:close/>
                    <a:moveTo>
                      <a:pt x="1025537" y="4857718"/>
                    </a:moveTo>
                    <a:cubicBezTo>
                      <a:pt x="1025537" y="4848842"/>
                      <a:pt x="1018385" y="4841692"/>
                      <a:pt x="1009509" y="4841692"/>
                    </a:cubicBezTo>
                    <a:cubicBezTo>
                      <a:pt x="1000632" y="4841692"/>
                      <a:pt x="993482" y="4848842"/>
                      <a:pt x="993482" y="4857718"/>
                    </a:cubicBezTo>
                    <a:cubicBezTo>
                      <a:pt x="993482" y="4866595"/>
                      <a:pt x="1000632" y="4873748"/>
                      <a:pt x="1009509" y="4873748"/>
                    </a:cubicBezTo>
                    <a:cubicBezTo>
                      <a:pt x="1018385" y="4873748"/>
                      <a:pt x="1025537" y="4866595"/>
                      <a:pt x="1025537" y="4857718"/>
                    </a:cubicBezTo>
                    <a:close/>
                    <a:moveTo>
                      <a:pt x="1026771" y="3564922"/>
                    </a:moveTo>
                    <a:cubicBezTo>
                      <a:pt x="1026771" y="3563935"/>
                      <a:pt x="1026030" y="3562949"/>
                      <a:pt x="1024797" y="3562949"/>
                    </a:cubicBezTo>
                    <a:cubicBezTo>
                      <a:pt x="1023812" y="3562949"/>
                      <a:pt x="1022825" y="3563689"/>
                      <a:pt x="1022825" y="3564922"/>
                    </a:cubicBezTo>
                    <a:cubicBezTo>
                      <a:pt x="1022825" y="3565907"/>
                      <a:pt x="1023812" y="3566894"/>
                      <a:pt x="1024797" y="3566894"/>
                    </a:cubicBezTo>
                    <a:cubicBezTo>
                      <a:pt x="1026030" y="3566894"/>
                      <a:pt x="1026771" y="3565907"/>
                      <a:pt x="1026771" y="3564922"/>
                    </a:cubicBezTo>
                    <a:close/>
                    <a:moveTo>
                      <a:pt x="1027014" y="1312638"/>
                    </a:moveTo>
                    <a:cubicBezTo>
                      <a:pt x="1027014" y="1303017"/>
                      <a:pt x="1019123" y="1295123"/>
                      <a:pt x="1009509" y="1295123"/>
                    </a:cubicBezTo>
                    <a:cubicBezTo>
                      <a:pt x="999891" y="1295123"/>
                      <a:pt x="992001" y="1303017"/>
                      <a:pt x="992001" y="1312638"/>
                    </a:cubicBezTo>
                    <a:cubicBezTo>
                      <a:pt x="992001" y="1322249"/>
                      <a:pt x="999891" y="1330139"/>
                      <a:pt x="1009509" y="1330139"/>
                    </a:cubicBezTo>
                    <a:cubicBezTo>
                      <a:pt x="1019123" y="1330139"/>
                      <a:pt x="1027014" y="1322249"/>
                      <a:pt x="1027014" y="1312638"/>
                    </a:cubicBezTo>
                    <a:close/>
                    <a:moveTo>
                      <a:pt x="1030962" y="1434918"/>
                    </a:moveTo>
                    <a:cubicBezTo>
                      <a:pt x="1030962" y="1425059"/>
                      <a:pt x="1022825" y="1416921"/>
                      <a:pt x="1012962" y="1416921"/>
                    </a:cubicBezTo>
                    <a:cubicBezTo>
                      <a:pt x="1003099" y="1416921"/>
                      <a:pt x="994963" y="1425059"/>
                      <a:pt x="994963" y="1434918"/>
                    </a:cubicBezTo>
                    <a:cubicBezTo>
                      <a:pt x="994963" y="1444780"/>
                      <a:pt x="1002853" y="1452918"/>
                      <a:pt x="1012962" y="1452918"/>
                    </a:cubicBezTo>
                    <a:cubicBezTo>
                      <a:pt x="1022825" y="1452918"/>
                      <a:pt x="1030962" y="1444780"/>
                      <a:pt x="1030962" y="1434918"/>
                    </a:cubicBezTo>
                    <a:close/>
                    <a:moveTo>
                      <a:pt x="1032688" y="1966958"/>
                    </a:moveTo>
                    <a:cubicBezTo>
                      <a:pt x="1032688" y="1947487"/>
                      <a:pt x="1016908" y="1931957"/>
                      <a:pt x="997676" y="1931957"/>
                    </a:cubicBezTo>
                    <a:cubicBezTo>
                      <a:pt x="978196" y="1931957"/>
                      <a:pt x="962661" y="1947732"/>
                      <a:pt x="962661" y="1966958"/>
                    </a:cubicBezTo>
                    <a:cubicBezTo>
                      <a:pt x="962661" y="1986431"/>
                      <a:pt x="978441" y="2001960"/>
                      <a:pt x="997676" y="2001960"/>
                    </a:cubicBezTo>
                    <a:cubicBezTo>
                      <a:pt x="1016908" y="2001960"/>
                      <a:pt x="1032688" y="1986431"/>
                      <a:pt x="1032688" y="1966958"/>
                    </a:cubicBezTo>
                    <a:close/>
                    <a:moveTo>
                      <a:pt x="1033428" y="4989637"/>
                    </a:moveTo>
                    <a:cubicBezTo>
                      <a:pt x="1033428" y="4971143"/>
                      <a:pt x="1018385" y="4956102"/>
                      <a:pt x="999894" y="4956102"/>
                    </a:cubicBezTo>
                    <a:cubicBezTo>
                      <a:pt x="981646" y="4956102"/>
                      <a:pt x="966606" y="4971143"/>
                      <a:pt x="966606" y="4989637"/>
                    </a:cubicBezTo>
                    <a:cubicBezTo>
                      <a:pt x="966606" y="5008131"/>
                      <a:pt x="981400" y="5023171"/>
                      <a:pt x="999894" y="5023171"/>
                    </a:cubicBezTo>
                    <a:cubicBezTo>
                      <a:pt x="1018385" y="5023171"/>
                      <a:pt x="1033428" y="5008131"/>
                      <a:pt x="1033428" y="4989637"/>
                    </a:cubicBezTo>
                    <a:close/>
                    <a:moveTo>
                      <a:pt x="1033920" y="1558682"/>
                    </a:moveTo>
                    <a:cubicBezTo>
                      <a:pt x="1033920" y="1549066"/>
                      <a:pt x="1026275" y="1541427"/>
                      <a:pt x="1016659" y="1541427"/>
                    </a:cubicBezTo>
                    <a:cubicBezTo>
                      <a:pt x="1007044" y="1541427"/>
                      <a:pt x="999400" y="1549066"/>
                      <a:pt x="999400" y="1558682"/>
                    </a:cubicBezTo>
                    <a:cubicBezTo>
                      <a:pt x="999400" y="1568302"/>
                      <a:pt x="1007044" y="1575943"/>
                      <a:pt x="1016659" y="1575943"/>
                    </a:cubicBezTo>
                    <a:cubicBezTo>
                      <a:pt x="1026275" y="1575943"/>
                      <a:pt x="1033920" y="1568054"/>
                      <a:pt x="1033920" y="1558682"/>
                    </a:cubicBezTo>
                    <a:close/>
                    <a:moveTo>
                      <a:pt x="1034661" y="2098862"/>
                    </a:moveTo>
                    <a:cubicBezTo>
                      <a:pt x="1034661" y="2084065"/>
                      <a:pt x="1022577" y="2071982"/>
                      <a:pt x="1007782" y="2071982"/>
                    </a:cubicBezTo>
                    <a:cubicBezTo>
                      <a:pt x="992987" y="2071982"/>
                      <a:pt x="980906" y="2084065"/>
                      <a:pt x="980906" y="2098862"/>
                    </a:cubicBezTo>
                    <a:cubicBezTo>
                      <a:pt x="980906" y="2113659"/>
                      <a:pt x="992987" y="2125745"/>
                      <a:pt x="1007782" y="2125745"/>
                    </a:cubicBezTo>
                    <a:cubicBezTo>
                      <a:pt x="1022577" y="2125745"/>
                      <a:pt x="1034661" y="2113659"/>
                      <a:pt x="1034661" y="2098862"/>
                    </a:cubicBezTo>
                    <a:close/>
                    <a:moveTo>
                      <a:pt x="1038853" y="7404107"/>
                    </a:moveTo>
                    <a:cubicBezTo>
                      <a:pt x="1038853" y="7403120"/>
                      <a:pt x="1038112" y="7402134"/>
                      <a:pt x="1036880" y="7402134"/>
                    </a:cubicBezTo>
                    <a:cubicBezTo>
                      <a:pt x="1035894" y="7402134"/>
                      <a:pt x="1034907" y="7402874"/>
                      <a:pt x="1034907" y="7404107"/>
                    </a:cubicBezTo>
                    <a:cubicBezTo>
                      <a:pt x="1034907" y="7405092"/>
                      <a:pt x="1035647" y="7406079"/>
                      <a:pt x="1036880" y="7406079"/>
                    </a:cubicBezTo>
                    <a:cubicBezTo>
                      <a:pt x="1037866" y="7406079"/>
                      <a:pt x="1038853" y="7405092"/>
                      <a:pt x="1038853" y="7404107"/>
                    </a:cubicBezTo>
                    <a:close/>
                    <a:moveTo>
                      <a:pt x="1039098" y="7290927"/>
                    </a:moveTo>
                    <a:cubicBezTo>
                      <a:pt x="1039098" y="7289941"/>
                      <a:pt x="1038112" y="7288954"/>
                      <a:pt x="1036880" y="7288954"/>
                    </a:cubicBezTo>
                    <a:cubicBezTo>
                      <a:pt x="1035893" y="7288954"/>
                      <a:pt x="1034907" y="7289695"/>
                      <a:pt x="1034907" y="7290927"/>
                    </a:cubicBezTo>
                    <a:cubicBezTo>
                      <a:pt x="1034907" y="7291913"/>
                      <a:pt x="1035647" y="7292900"/>
                      <a:pt x="1036880" y="7292900"/>
                    </a:cubicBezTo>
                    <a:cubicBezTo>
                      <a:pt x="1038112" y="7292900"/>
                      <a:pt x="1039098" y="7292160"/>
                      <a:pt x="1039098" y="7290927"/>
                    </a:cubicBezTo>
                    <a:close/>
                    <a:moveTo>
                      <a:pt x="1039344" y="3333421"/>
                    </a:moveTo>
                    <a:cubicBezTo>
                      <a:pt x="1039344" y="3328490"/>
                      <a:pt x="1035399" y="3324546"/>
                      <a:pt x="1030468" y="3324546"/>
                    </a:cubicBezTo>
                    <a:cubicBezTo>
                      <a:pt x="1025535" y="3324546"/>
                      <a:pt x="1021591" y="3328490"/>
                      <a:pt x="1021591" y="3333421"/>
                    </a:cubicBezTo>
                    <a:cubicBezTo>
                      <a:pt x="1021591" y="3338355"/>
                      <a:pt x="1025535" y="3342299"/>
                      <a:pt x="1030468" y="3342299"/>
                    </a:cubicBezTo>
                    <a:cubicBezTo>
                      <a:pt x="1035399" y="3342299"/>
                      <a:pt x="1039344" y="3338355"/>
                      <a:pt x="1039344" y="3333421"/>
                    </a:cubicBezTo>
                    <a:close/>
                    <a:moveTo>
                      <a:pt x="1039592" y="7177506"/>
                    </a:moveTo>
                    <a:cubicBezTo>
                      <a:pt x="1039592" y="7176025"/>
                      <a:pt x="1038606" y="7175038"/>
                      <a:pt x="1037125" y="7175038"/>
                    </a:cubicBezTo>
                    <a:cubicBezTo>
                      <a:pt x="1035893" y="7175038"/>
                      <a:pt x="1034661" y="7176025"/>
                      <a:pt x="1034661" y="7177506"/>
                    </a:cubicBezTo>
                    <a:cubicBezTo>
                      <a:pt x="1034661" y="7178983"/>
                      <a:pt x="1035646" y="7179969"/>
                      <a:pt x="1037125" y="7179969"/>
                    </a:cubicBezTo>
                    <a:cubicBezTo>
                      <a:pt x="1038606" y="7179969"/>
                      <a:pt x="1039592" y="7178983"/>
                      <a:pt x="1039592" y="7177506"/>
                    </a:cubicBezTo>
                    <a:close/>
                    <a:moveTo>
                      <a:pt x="1039593" y="3679581"/>
                    </a:moveTo>
                    <a:cubicBezTo>
                      <a:pt x="1039593" y="3679331"/>
                      <a:pt x="1039346" y="3679086"/>
                      <a:pt x="1039100" y="3679086"/>
                    </a:cubicBezTo>
                    <a:cubicBezTo>
                      <a:pt x="1038852" y="3679086"/>
                      <a:pt x="1038606" y="3679331"/>
                      <a:pt x="1038606" y="3679581"/>
                    </a:cubicBezTo>
                    <a:cubicBezTo>
                      <a:pt x="1038606" y="3679826"/>
                      <a:pt x="1038852" y="3680073"/>
                      <a:pt x="1039100" y="3680073"/>
                    </a:cubicBezTo>
                    <a:cubicBezTo>
                      <a:pt x="1039346" y="3680073"/>
                      <a:pt x="1039593" y="3680073"/>
                      <a:pt x="1039593" y="3679581"/>
                    </a:cubicBezTo>
                    <a:close/>
                    <a:moveTo>
                      <a:pt x="1044770" y="7065559"/>
                    </a:moveTo>
                    <a:cubicBezTo>
                      <a:pt x="1044770" y="7064573"/>
                      <a:pt x="1043784" y="7063586"/>
                      <a:pt x="1042797" y="7063586"/>
                    </a:cubicBezTo>
                    <a:cubicBezTo>
                      <a:pt x="1041565" y="7063586"/>
                      <a:pt x="1040825" y="7064327"/>
                      <a:pt x="1040825" y="7065559"/>
                    </a:cubicBezTo>
                    <a:cubicBezTo>
                      <a:pt x="1040825" y="7066791"/>
                      <a:pt x="1041811" y="7067532"/>
                      <a:pt x="1042797" y="7067532"/>
                    </a:cubicBezTo>
                    <a:cubicBezTo>
                      <a:pt x="1043784" y="7067532"/>
                      <a:pt x="1044770" y="7066545"/>
                      <a:pt x="1044770" y="7065559"/>
                    </a:cubicBezTo>
                    <a:close/>
                    <a:moveTo>
                      <a:pt x="1046002" y="6837477"/>
                    </a:moveTo>
                    <a:cubicBezTo>
                      <a:pt x="1046002" y="6835996"/>
                      <a:pt x="1044770" y="6835009"/>
                      <a:pt x="1043537" y="6835009"/>
                    </a:cubicBezTo>
                    <a:cubicBezTo>
                      <a:pt x="1042056" y="6835009"/>
                      <a:pt x="1041071" y="6836242"/>
                      <a:pt x="1041071" y="6837477"/>
                    </a:cubicBezTo>
                    <a:cubicBezTo>
                      <a:pt x="1041071" y="6838955"/>
                      <a:pt x="1042303" y="6839940"/>
                      <a:pt x="1043537" y="6839940"/>
                    </a:cubicBezTo>
                    <a:cubicBezTo>
                      <a:pt x="1045015" y="6839940"/>
                      <a:pt x="1046002" y="6838955"/>
                      <a:pt x="1046002" y="6837477"/>
                    </a:cubicBezTo>
                    <a:close/>
                    <a:moveTo>
                      <a:pt x="1046496" y="6951639"/>
                    </a:moveTo>
                    <a:cubicBezTo>
                      <a:pt x="1046496" y="6949913"/>
                      <a:pt x="1045015" y="6948434"/>
                      <a:pt x="1043289" y="6948434"/>
                    </a:cubicBezTo>
                    <a:cubicBezTo>
                      <a:pt x="1041565" y="6948434"/>
                      <a:pt x="1040084" y="6949913"/>
                      <a:pt x="1040084" y="6951639"/>
                    </a:cubicBezTo>
                    <a:cubicBezTo>
                      <a:pt x="1040084" y="6953367"/>
                      <a:pt x="1041565" y="6954847"/>
                      <a:pt x="1043289" y="6954847"/>
                    </a:cubicBezTo>
                    <a:cubicBezTo>
                      <a:pt x="1045015" y="6954847"/>
                      <a:pt x="1046247" y="6953367"/>
                      <a:pt x="1046496" y="6951639"/>
                    </a:cubicBezTo>
                    <a:close/>
                    <a:moveTo>
                      <a:pt x="1049701" y="6376625"/>
                    </a:moveTo>
                    <a:cubicBezTo>
                      <a:pt x="1049701" y="6374899"/>
                      <a:pt x="1048468" y="6373420"/>
                      <a:pt x="1046493" y="6373420"/>
                    </a:cubicBezTo>
                    <a:cubicBezTo>
                      <a:pt x="1044521" y="6373420"/>
                      <a:pt x="1043043" y="6374899"/>
                      <a:pt x="1043043" y="6376625"/>
                    </a:cubicBezTo>
                    <a:cubicBezTo>
                      <a:pt x="1043043" y="6378598"/>
                      <a:pt x="1044770" y="6380079"/>
                      <a:pt x="1046493" y="6380079"/>
                    </a:cubicBezTo>
                    <a:cubicBezTo>
                      <a:pt x="1048220" y="6380079"/>
                      <a:pt x="1049701" y="6378598"/>
                      <a:pt x="1049701" y="6376625"/>
                    </a:cubicBezTo>
                    <a:close/>
                    <a:moveTo>
                      <a:pt x="1051428" y="2233238"/>
                    </a:moveTo>
                    <a:cubicBezTo>
                      <a:pt x="1051428" y="2215976"/>
                      <a:pt x="1037372" y="2201925"/>
                      <a:pt x="1020113" y="2201925"/>
                    </a:cubicBezTo>
                    <a:cubicBezTo>
                      <a:pt x="1002851" y="2201925"/>
                      <a:pt x="988797" y="2215976"/>
                      <a:pt x="988797" y="2233238"/>
                    </a:cubicBezTo>
                    <a:cubicBezTo>
                      <a:pt x="988797" y="2250507"/>
                      <a:pt x="1002851" y="2264554"/>
                      <a:pt x="1020113" y="2264554"/>
                    </a:cubicBezTo>
                    <a:cubicBezTo>
                      <a:pt x="1037372" y="2264554"/>
                      <a:pt x="1051180" y="2250755"/>
                      <a:pt x="1051428" y="2233238"/>
                    </a:cubicBezTo>
                    <a:close/>
                    <a:moveTo>
                      <a:pt x="1054878" y="6608160"/>
                    </a:moveTo>
                    <a:cubicBezTo>
                      <a:pt x="1054878" y="6602489"/>
                      <a:pt x="1050441" y="6598051"/>
                      <a:pt x="1044770" y="6598051"/>
                    </a:cubicBezTo>
                    <a:cubicBezTo>
                      <a:pt x="1039100" y="6598051"/>
                      <a:pt x="1034661" y="6602489"/>
                      <a:pt x="1034661" y="6608160"/>
                    </a:cubicBezTo>
                    <a:cubicBezTo>
                      <a:pt x="1034661" y="6613832"/>
                      <a:pt x="1039100" y="6618272"/>
                      <a:pt x="1044770" y="6618272"/>
                    </a:cubicBezTo>
                    <a:cubicBezTo>
                      <a:pt x="1050441" y="6618272"/>
                      <a:pt x="1054878" y="6613587"/>
                      <a:pt x="1054878" y="6608160"/>
                    </a:cubicBezTo>
                    <a:close/>
                    <a:moveTo>
                      <a:pt x="1056114" y="6492517"/>
                    </a:moveTo>
                    <a:cubicBezTo>
                      <a:pt x="1056114" y="6486596"/>
                      <a:pt x="1051428" y="6481912"/>
                      <a:pt x="1045510" y="6481912"/>
                    </a:cubicBezTo>
                    <a:cubicBezTo>
                      <a:pt x="1039593" y="6481912"/>
                      <a:pt x="1034907" y="6486845"/>
                      <a:pt x="1034907" y="6492517"/>
                    </a:cubicBezTo>
                    <a:cubicBezTo>
                      <a:pt x="1034907" y="6498435"/>
                      <a:pt x="1039838" y="6503117"/>
                      <a:pt x="1045510" y="6503117"/>
                    </a:cubicBezTo>
                    <a:cubicBezTo>
                      <a:pt x="1051428" y="6503117"/>
                      <a:pt x="1056114" y="6498435"/>
                      <a:pt x="1056114" y="6492517"/>
                    </a:cubicBezTo>
                    <a:close/>
                    <a:moveTo>
                      <a:pt x="1057098" y="6722817"/>
                    </a:moveTo>
                    <a:cubicBezTo>
                      <a:pt x="1057098" y="6715667"/>
                      <a:pt x="1051181" y="6709995"/>
                      <a:pt x="1044276" y="6709995"/>
                    </a:cubicBezTo>
                    <a:cubicBezTo>
                      <a:pt x="1037126" y="6709995"/>
                      <a:pt x="1031454" y="6715667"/>
                      <a:pt x="1031454" y="6722817"/>
                    </a:cubicBezTo>
                    <a:cubicBezTo>
                      <a:pt x="1031454" y="6729967"/>
                      <a:pt x="1037372" y="6735639"/>
                      <a:pt x="1044276" y="6735639"/>
                    </a:cubicBezTo>
                    <a:cubicBezTo>
                      <a:pt x="1051181" y="6735639"/>
                      <a:pt x="1056852" y="6729967"/>
                      <a:pt x="1057098" y="6722817"/>
                    </a:cubicBezTo>
                    <a:close/>
                    <a:moveTo>
                      <a:pt x="1058333" y="2945569"/>
                    </a:moveTo>
                    <a:cubicBezTo>
                      <a:pt x="1058333" y="2930033"/>
                      <a:pt x="1045757" y="2917211"/>
                      <a:pt x="1029976" y="2917211"/>
                    </a:cubicBezTo>
                    <a:cubicBezTo>
                      <a:pt x="1014441" y="2917211"/>
                      <a:pt x="1001619" y="2929787"/>
                      <a:pt x="1001619" y="2945569"/>
                    </a:cubicBezTo>
                    <a:cubicBezTo>
                      <a:pt x="1001619" y="2961101"/>
                      <a:pt x="1014194" y="2973924"/>
                      <a:pt x="1029976" y="2973924"/>
                    </a:cubicBezTo>
                    <a:cubicBezTo>
                      <a:pt x="1045757" y="2973924"/>
                      <a:pt x="1058333" y="2961101"/>
                      <a:pt x="1058333" y="2945569"/>
                    </a:cubicBezTo>
                    <a:close/>
                    <a:moveTo>
                      <a:pt x="1060056" y="6028461"/>
                    </a:moveTo>
                    <a:cubicBezTo>
                      <a:pt x="1060056" y="6026734"/>
                      <a:pt x="1058824" y="6025501"/>
                      <a:pt x="1057097" y="6025501"/>
                    </a:cubicBezTo>
                    <a:cubicBezTo>
                      <a:pt x="1055371" y="6025501"/>
                      <a:pt x="1054138" y="6026734"/>
                      <a:pt x="1054138" y="6028461"/>
                    </a:cubicBezTo>
                    <a:cubicBezTo>
                      <a:pt x="1054138" y="6030188"/>
                      <a:pt x="1055371" y="6031420"/>
                      <a:pt x="1057097" y="6031420"/>
                    </a:cubicBezTo>
                    <a:cubicBezTo>
                      <a:pt x="1058578" y="6031420"/>
                      <a:pt x="1060056" y="6030188"/>
                      <a:pt x="1060056" y="6028461"/>
                    </a:cubicBezTo>
                    <a:close/>
                    <a:moveTo>
                      <a:pt x="1060550" y="5910103"/>
                    </a:moveTo>
                    <a:cubicBezTo>
                      <a:pt x="1060550" y="5909117"/>
                      <a:pt x="1059565" y="5908131"/>
                      <a:pt x="1058578" y="5908131"/>
                    </a:cubicBezTo>
                    <a:cubicBezTo>
                      <a:pt x="1057346" y="5908131"/>
                      <a:pt x="1056606" y="5909117"/>
                      <a:pt x="1056606" y="5910103"/>
                    </a:cubicBezTo>
                    <a:cubicBezTo>
                      <a:pt x="1056606" y="5911089"/>
                      <a:pt x="1057592" y="5912076"/>
                      <a:pt x="1058578" y="5912076"/>
                    </a:cubicBezTo>
                    <a:cubicBezTo>
                      <a:pt x="1059565" y="5912076"/>
                      <a:pt x="1060550" y="5911336"/>
                      <a:pt x="1060550" y="5910103"/>
                    </a:cubicBezTo>
                    <a:close/>
                    <a:moveTo>
                      <a:pt x="1062277" y="4748"/>
                    </a:moveTo>
                    <a:lnTo>
                      <a:pt x="1060322" y="0"/>
                    </a:lnTo>
                    <a:lnTo>
                      <a:pt x="1019849" y="0"/>
                    </a:lnTo>
                    <a:lnTo>
                      <a:pt x="1017894" y="4748"/>
                    </a:lnTo>
                    <a:cubicBezTo>
                      <a:pt x="1017894" y="17077"/>
                      <a:pt x="1027757" y="26940"/>
                      <a:pt x="1040084" y="26940"/>
                    </a:cubicBezTo>
                    <a:cubicBezTo>
                      <a:pt x="1052415" y="26940"/>
                      <a:pt x="1062277" y="16831"/>
                      <a:pt x="1062277" y="4748"/>
                    </a:cubicBezTo>
                    <a:close/>
                    <a:moveTo>
                      <a:pt x="1062277" y="5791253"/>
                    </a:moveTo>
                    <a:cubicBezTo>
                      <a:pt x="1062277" y="5790515"/>
                      <a:pt x="1061537" y="5789774"/>
                      <a:pt x="1060796" y="5789774"/>
                    </a:cubicBezTo>
                    <a:cubicBezTo>
                      <a:pt x="1060058" y="5789774"/>
                      <a:pt x="1059318" y="5790515"/>
                      <a:pt x="1059318" y="5791253"/>
                    </a:cubicBezTo>
                    <a:cubicBezTo>
                      <a:pt x="1059318" y="5791993"/>
                      <a:pt x="1060058" y="5792734"/>
                      <a:pt x="1060796" y="5792734"/>
                    </a:cubicBezTo>
                    <a:cubicBezTo>
                      <a:pt x="1061783" y="5792734"/>
                      <a:pt x="1062277" y="5791993"/>
                      <a:pt x="1062277" y="5791253"/>
                    </a:cubicBezTo>
                    <a:close/>
                    <a:moveTo>
                      <a:pt x="1062769" y="118639"/>
                    </a:moveTo>
                    <a:cubicBezTo>
                      <a:pt x="1062769" y="106558"/>
                      <a:pt x="1052906" y="96695"/>
                      <a:pt x="1040825" y="96695"/>
                    </a:cubicBezTo>
                    <a:cubicBezTo>
                      <a:pt x="1028990" y="96695"/>
                      <a:pt x="1019126" y="106558"/>
                      <a:pt x="1019126" y="118639"/>
                    </a:cubicBezTo>
                    <a:cubicBezTo>
                      <a:pt x="1019126" y="130720"/>
                      <a:pt x="1028743" y="140586"/>
                      <a:pt x="1040825" y="140586"/>
                    </a:cubicBezTo>
                    <a:cubicBezTo>
                      <a:pt x="1052906" y="140586"/>
                      <a:pt x="1062769" y="130968"/>
                      <a:pt x="1062769" y="118639"/>
                    </a:cubicBezTo>
                    <a:close/>
                    <a:moveTo>
                      <a:pt x="1063264" y="233515"/>
                    </a:moveTo>
                    <a:cubicBezTo>
                      <a:pt x="1063264" y="221680"/>
                      <a:pt x="1053646" y="211818"/>
                      <a:pt x="1041565" y="211818"/>
                    </a:cubicBezTo>
                    <a:cubicBezTo>
                      <a:pt x="1029730" y="211818"/>
                      <a:pt x="1019866" y="221434"/>
                      <a:pt x="1019866" y="233515"/>
                    </a:cubicBezTo>
                    <a:cubicBezTo>
                      <a:pt x="1019866" y="245351"/>
                      <a:pt x="1029483" y="255213"/>
                      <a:pt x="1041565" y="255213"/>
                    </a:cubicBezTo>
                    <a:cubicBezTo>
                      <a:pt x="1053400" y="255213"/>
                      <a:pt x="1063264" y="245351"/>
                      <a:pt x="1063264" y="233515"/>
                    </a:cubicBezTo>
                    <a:close/>
                    <a:moveTo>
                      <a:pt x="1064002" y="463767"/>
                    </a:moveTo>
                    <a:cubicBezTo>
                      <a:pt x="1064002" y="452180"/>
                      <a:pt x="1054633" y="442809"/>
                      <a:pt x="1043043" y="442809"/>
                    </a:cubicBezTo>
                    <a:cubicBezTo>
                      <a:pt x="1031699" y="442809"/>
                      <a:pt x="1022331" y="452180"/>
                      <a:pt x="1022331" y="463767"/>
                    </a:cubicBezTo>
                    <a:cubicBezTo>
                      <a:pt x="1022331" y="475110"/>
                      <a:pt x="1031453" y="484479"/>
                      <a:pt x="1043043" y="484479"/>
                    </a:cubicBezTo>
                    <a:cubicBezTo>
                      <a:pt x="1054384" y="484479"/>
                      <a:pt x="1063755" y="475110"/>
                      <a:pt x="1064002" y="463767"/>
                    </a:cubicBezTo>
                    <a:close/>
                    <a:moveTo>
                      <a:pt x="1064250" y="348395"/>
                    </a:moveTo>
                    <a:cubicBezTo>
                      <a:pt x="1064250" y="336314"/>
                      <a:pt x="1054633" y="326452"/>
                      <a:pt x="1042552" y="326452"/>
                    </a:cubicBezTo>
                    <a:cubicBezTo>
                      <a:pt x="1030471" y="326452"/>
                      <a:pt x="1020607" y="336314"/>
                      <a:pt x="1020607" y="348395"/>
                    </a:cubicBezTo>
                    <a:cubicBezTo>
                      <a:pt x="1020607" y="360230"/>
                      <a:pt x="1030471" y="370092"/>
                      <a:pt x="1042552" y="370092"/>
                    </a:cubicBezTo>
                    <a:cubicBezTo>
                      <a:pt x="1054633" y="370092"/>
                      <a:pt x="1064250" y="360230"/>
                      <a:pt x="1064250" y="348395"/>
                    </a:cubicBezTo>
                    <a:close/>
                    <a:moveTo>
                      <a:pt x="1064250" y="579638"/>
                    </a:moveTo>
                    <a:cubicBezTo>
                      <a:pt x="1064250" y="568295"/>
                      <a:pt x="1055125" y="559173"/>
                      <a:pt x="1043784" y="559173"/>
                    </a:cubicBezTo>
                    <a:cubicBezTo>
                      <a:pt x="1032440" y="559173"/>
                      <a:pt x="1023318" y="568295"/>
                      <a:pt x="1023318" y="579638"/>
                    </a:cubicBezTo>
                    <a:cubicBezTo>
                      <a:pt x="1023318" y="590979"/>
                      <a:pt x="1032440" y="600101"/>
                      <a:pt x="1043784" y="600101"/>
                    </a:cubicBezTo>
                    <a:cubicBezTo>
                      <a:pt x="1055125" y="600101"/>
                      <a:pt x="1064250" y="590979"/>
                      <a:pt x="1064250" y="579638"/>
                    </a:cubicBezTo>
                    <a:close/>
                    <a:moveTo>
                      <a:pt x="1065485" y="5671170"/>
                    </a:moveTo>
                    <a:cubicBezTo>
                      <a:pt x="1065485" y="5669937"/>
                      <a:pt x="1064496" y="5668951"/>
                      <a:pt x="1063264" y="5668951"/>
                    </a:cubicBezTo>
                    <a:cubicBezTo>
                      <a:pt x="1062031" y="5668951"/>
                      <a:pt x="1061046" y="5669937"/>
                      <a:pt x="1061046" y="5671170"/>
                    </a:cubicBezTo>
                    <a:cubicBezTo>
                      <a:pt x="1061046" y="5672402"/>
                      <a:pt x="1062031" y="5673391"/>
                      <a:pt x="1063264" y="5673391"/>
                    </a:cubicBezTo>
                    <a:cubicBezTo>
                      <a:pt x="1064496" y="5673391"/>
                      <a:pt x="1065485" y="5672402"/>
                      <a:pt x="1065485" y="5671170"/>
                    </a:cubicBezTo>
                    <a:close/>
                    <a:moveTo>
                      <a:pt x="1066221" y="3219262"/>
                    </a:moveTo>
                    <a:cubicBezTo>
                      <a:pt x="1066221" y="3210631"/>
                      <a:pt x="1059071" y="3203480"/>
                      <a:pt x="1050442" y="3203480"/>
                    </a:cubicBezTo>
                    <a:cubicBezTo>
                      <a:pt x="1041811" y="3203480"/>
                      <a:pt x="1034661" y="3210631"/>
                      <a:pt x="1034661" y="3219262"/>
                    </a:cubicBezTo>
                    <a:cubicBezTo>
                      <a:pt x="1034661" y="3227893"/>
                      <a:pt x="1041811" y="3235043"/>
                      <a:pt x="1050442" y="3235043"/>
                    </a:cubicBezTo>
                    <a:cubicBezTo>
                      <a:pt x="1059318" y="3235043"/>
                      <a:pt x="1066221" y="3227893"/>
                      <a:pt x="1066221" y="3219262"/>
                    </a:cubicBezTo>
                    <a:close/>
                    <a:moveTo>
                      <a:pt x="1066469" y="3792757"/>
                    </a:moveTo>
                    <a:cubicBezTo>
                      <a:pt x="1066469" y="3792020"/>
                      <a:pt x="1065975" y="3791279"/>
                      <a:pt x="1064988" y="3791279"/>
                    </a:cubicBezTo>
                    <a:cubicBezTo>
                      <a:pt x="1064250" y="3791279"/>
                      <a:pt x="1063510" y="3792020"/>
                      <a:pt x="1063510" y="3792757"/>
                    </a:cubicBezTo>
                    <a:cubicBezTo>
                      <a:pt x="1063510" y="3793497"/>
                      <a:pt x="1064250" y="3794239"/>
                      <a:pt x="1064988" y="3794239"/>
                    </a:cubicBezTo>
                    <a:cubicBezTo>
                      <a:pt x="1065975" y="3794239"/>
                      <a:pt x="1066469" y="3793497"/>
                      <a:pt x="1066469" y="3792757"/>
                    </a:cubicBezTo>
                    <a:close/>
                    <a:moveTo>
                      <a:pt x="1067209" y="4723090"/>
                    </a:moveTo>
                    <a:cubicBezTo>
                      <a:pt x="1067209" y="4697691"/>
                      <a:pt x="1046743" y="4677225"/>
                      <a:pt x="1021347" y="4677225"/>
                    </a:cubicBezTo>
                    <a:cubicBezTo>
                      <a:pt x="996195" y="4677225"/>
                      <a:pt x="975483" y="4697691"/>
                      <a:pt x="975483" y="4723090"/>
                    </a:cubicBezTo>
                    <a:cubicBezTo>
                      <a:pt x="975483" y="4748485"/>
                      <a:pt x="995949" y="4768951"/>
                      <a:pt x="1021347" y="4768951"/>
                    </a:cubicBezTo>
                    <a:cubicBezTo>
                      <a:pt x="1046496" y="4768951"/>
                      <a:pt x="1067209" y="4748240"/>
                      <a:pt x="1067209" y="4723090"/>
                    </a:cubicBezTo>
                    <a:close/>
                    <a:moveTo>
                      <a:pt x="1068935" y="6262706"/>
                    </a:moveTo>
                    <a:cubicBezTo>
                      <a:pt x="1068935" y="6254324"/>
                      <a:pt x="1062031" y="6247665"/>
                      <a:pt x="1053892" y="6247665"/>
                    </a:cubicBezTo>
                    <a:cubicBezTo>
                      <a:pt x="1045509" y="6247665"/>
                      <a:pt x="1038852" y="6254569"/>
                      <a:pt x="1038852" y="6262706"/>
                    </a:cubicBezTo>
                    <a:cubicBezTo>
                      <a:pt x="1038852" y="6271090"/>
                      <a:pt x="1045756" y="6277746"/>
                      <a:pt x="1053892" y="6277746"/>
                    </a:cubicBezTo>
                    <a:cubicBezTo>
                      <a:pt x="1062031" y="6277746"/>
                      <a:pt x="1068935" y="6271090"/>
                      <a:pt x="1068935" y="6262706"/>
                    </a:cubicBezTo>
                    <a:close/>
                    <a:moveTo>
                      <a:pt x="1072386" y="4062267"/>
                    </a:moveTo>
                    <a:cubicBezTo>
                      <a:pt x="1072386" y="4053144"/>
                      <a:pt x="1064987" y="4045745"/>
                      <a:pt x="1055865" y="4045745"/>
                    </a:cubicBezTo>
                    <a:cubicBezTo>
                      <a:pt x="1046743" y="4045745"/>
                      <a:pt x="1039344" y="4053144"/>
                      <a:pt x="1039344" y="4062267"/>
                    </a:cubicBezTo>
                    <a:cubicBezTo>
                      <a:pt x="1039344" y="4071390"/>
                      <a:pt x="1046743" y="4078785"/>
                      <a:pt x="1055865" y="4078785"/>
                    </a:cubicBezTo>
                    <a:cubicBezTo>
                      <a:pt x="1064987" y="4078785"/>
                      <a:pt x="1072386" y="4071390"/>
                      <a:pt x="1072386" y="4062267"/>
                    </a:cubicBezTo>
                    <a:close/>
                    <a:moveTo>
                      <a:pt x="1072389" y="5428047"/>
                    </a:moveTo>
                    <a:cubicBezTo>
                      <a:pt x="1072389" y="5426566"/>
                      <a:pt x="1071155" y="5425334"/>
                      <a:pt x="1069677" y="5425334"/>
                    </a:cubicBezTo>
                    <a:cubicBezTo>
                      <a:pt x="1068196" y="5425334"/>
                      <a:pt x="1066963" y="5426566"/>
                      <a:pt x="1066963" y="5428047"/>
                    </a:cubicBezTo>
                    <a:cubicBezTo>
                      <a:pt x="1066963" y="5429525"/>
                      <a:pt x="1068196" y="5430760"/>
                      <a:pt x="1069677" y="5430760"/>
                    </a:cubicBezTo>
                    <a:cubicBezTo>
                      <a:pt x="1071155" y="5430760"/>
                      <a:pt x="1072389" y="5429525"/>
                      <a:pt x="1072389" y="5428047"/>
                    </a:cubicBezTo>
                    <a:close/>
                    <a:moveTo>
                      <a:pt x="1073374" y="5550103"/>
                    </a:moveTo>
                    <a:cubicBezTo>
                      <a:pt x="1073374" y="5546159"/>
                      <a:pt x="1070167" y="5542953"/>
                      <a:pt x="1066222" y="5542953"/>
                    </a:cubicBezTo>
                    <a:cubicBezTo>
                      <a:pt x="1062277" y="5542953"/>
                      <a:pt x="1059073" y="5546159"/>
                      <a:pt x="1059073" y="5550103"/>
                    </a:cubicBezTo>
                    <a:cubicBezTo>
                      <a:pt x="1059073" y="5554049"/>
                      <a:pt x="1062277" y="5557256"/>
                      <a:pt x="1066222" y="5557256"/>
                    </a:cubicBezTo>
                    <a:cubicBezTo>
                      <a:pt x="1070167" y="5557256"/>
                      <a:pt x="1073374" y="5554049"/>
                      <a:pt x="1073374" y="5550103"/>
                    </a:cubicBezTo>
                    <a:close/>
                    <a:moveTo>
                      <a:pt x="1073618" y="6145831"/>
                    </a:moveTo>
                    <a:cubicBezTo>
                      <a:pt x="1073618" y="6135719"/>
                      <a:pt x="1065481" y="6127582"/>
                      <a:pt x="1055371" y="6127582"/>
                    </a:cubicBezTo>
                    <a:cubicBezTo>
                      <a:pt x="1045262" y="6127582"/>
                      <a:pt x="1037125" y="6135719"/>
                      <a:pt x="1037125" y="6145831"/>
                    </a:cubicBezTo>
                    <a:cubicBezTo>
                      <a:pt x="1037125" y="6155940"/>
                      <a:pt x="1045262" y="6164075"/>
                      <a:pt x="1055371" y="6164075"/>
                    </a:cubicBezTo>
                    <a:cubicBezTo>
                      <a:pt x="1065481" y="6164075"/>
                      <a:pt x="1073618" y="6155940"/>
                      <a:pt x="1073618" y="6145831"/>
                    </a:cubicBezTo>
                    <a:close/>
                    <a:moveTo>
                      <a:pt x="1074605" y="2371065"/>
                    </a:moveTo>
                    <a:cubicBezTo>
                      <a:pt x="1074605" y="2349129"/>
                      <a:pt x="1056606" y="2331117"/>
                      <a:pt x="1034661" y="2331117"/>
                    </a:cubicBezTo>
                    <a:cubicBezTo>
                      <a:pt x="1012713" y="2331117"/>
                      <a:pt x="994715" y="2349129"/>
                      <a:pt x="994715" y="2371065"/>
                    </a:cubicBezTo>
                    <a:cubicBezTo>
                      <a:pt x="994715" y="2393010"/>
                      <a:pt x="1012713" y="2411011"/>
                      <a:pt x="1034661" y="2411011"/>
                    </a:cubicBezTo>
                    <a:cubicBezTo>
                      <a:pt x="1056852" y="2411011"/>
                      <a:pt x="1074605" y="2393010"/>
                      <a:pt x="1074605" y="2371065"/>
                    </a:cubicBezTo>
                    <a:close/>
                    <a:moveTo>
                      <a:pt x="1080525" y="2512589"/>
                    </a:moveTo>
                    <a:cubicBezTo>
                      <a:pt x="1080525" y="2497305"/>
                      <a:pt x="1067950" y="2484728"/>
                      <a:pt x="1052660" y="2484728"/>
                    </a:cubicBezTo>
                    <a:cubicBezTo>
                      <a:pt x="1037374" y="2484728"/>
                      <a:pt x="1024799" y="2497305"/>
                      <a:pt x="1024799" y="2512589"/>
                    </a:cubicBezTo>
                    <a:cubicBezTo>
                      <a:pt x="1024799" y="2527879"/>
                      <a:pt x="1037374" y="2540453"/>
                      <a:pt x="1052660" y="2540453"/>
                    </a:cubicBezTo>
                    <a:cubicBezTo>
                      <a:pt x="1067950" y="2540453"/>
                      <a:pt x="1080525" y="2527879"/>
                      <a:pt x="1080525" y="2512589"/>
                    </a:cubicBezTo>
                    <a:close/>
                    <a:moveTo>
                      <a:pt x="1086689" y="4585007"/>
                    </a:moveTo>
                    <a:cubicBezTo>
                      <a:pt x="1086689" y="4556896"/>
                      <a:pt x="1063756" y="4533965"/>
                      <a:pt x="1035647" y="4533965"/>
                    </a:cubicBezTo>
                    <a:cubicBezTo>
                      <a:pt x="1007537" y="4533965"/>
                      <a:pt x="984606" y="4556896"/>
                      <a:pt x="984606" y="4585007"/>
                    </a:cubicBezTo>
                    <a:cubicBezTo>
                      <a:pt x="984606" y="4613115"/>
                      <a:pt x="1007537" y="4636046"/>
                      <a:pt x="1035647" y="4636046"/>
                    </a:cubicBezTo>
                    <a:cubicBezTo>
                      <a:pt x="1063756" y="4636046"/>
                      <a:pt x="1086689" y="4613115"/>
                      <a:pt x="1086689" y="4585007"/>
                    </a:cubicBezTo>
                    <a:close/>
                    <a:moveTo>
                      <a:pt x="1088661" y="4311307"/>
                    </a:moveTo>
                    <a:cubicBezTo>
                      <a:pt x="1088661" y="4309826"/>
                      <a:pt x="1087427" y="4308593"/>
                      <a:pt x="1085949" y="4308593"/>
                    </a:cubicBezTo>
                    <a:cubicBezTo>
                      <a:pt x="1084468" y="4308593"/>
                      <a:pt x="1083236" y="4309826"/>
                      <a:pt x="1083236" y="4311307"/>
                    </a:cubicBezTo>
                    <a:cubicBezTo>
                      <a:pt x="1083236" y="4312784"/>
                      <a:pt x="1084468" y="4314020"/>
                      <a:pt x="1085949" y="4314020"/>
                    </a:cubicBezTo>
                    <a:cubicBezTo>
                      <a:pt x="1087427" y="4314020"/>
                      <a:pt x="1088661" y="4312784"/>
                      <a:pt x="1088661" y="4311307"/>
                    </a:cubicBezTo>
                    <a:close/>
                    <a:moveTo>
                      <a:pt x="1088908" y="2691351"/>
                    </a:moveTo>
                    <a:cubicBezTo>
                      <a:pt x="1088908" y="2670637"/>
                      <a:pt x="1072140" y="2653870"/>
                      <a:pt x="1051428" y="2653870"/>
                    </a:cubicBezTo>
                    <a:cubicBezTo>
                      <a:pt x="1030715" y="2653870"/>
                      <a:pt x="1013949" y="2670637"/>
                      <a:pt x="1013949" y="2691351"/>
                    </a:cubicBezTo>
                    <a:cubicBezTo>
                      <a:pt x="1013949" y="2712063"/>
                      <a:pt x="1030715" y="2728830"/>
                      <a:pt x="1051428" y="2728830"/>
                    </a:cubicBezTo>
                    <a:cubicBezTo>
                      <a:pt x="1071895" y="2728830"/>
                      <a:pt x="1088908" y="2712063"/>
                      <a:pt x="1088908" y="2691351"/>
                    </a:cubicBezTo>
                    <a:close/>
                    <a:moveTo>
                      <a:pt x="1096304" y="1646949"/>
                    </a:moveTo>
                    <a:cubicBezTo>
                      <a:pt x="1096304" y="1637827"/>
                      <a:pt x="1088908" y="1630181"/>
                      <a:pt x="1079537" y="1630181"/>
                    </a:cubicBezTo>
                    <a:cubicBezTo>
                      <a:pt x="1070168" y="1630181"/>
                      <a:pt x="1062524" y="1637577"/>
                      <a:pt x="1062524" y="1646949"/>
                    </a:cubicBezTo>
                    <a:cubicBezTo>
                      <a:pt x="1062524" y="1656313"/>
                      <a:pt x="1070168" y="1663961"/>
                      <a:pt x="1079537" y="1663961"/>
                    </a:cubicBezTo>
                    <a:cubicBezTo>
                      <a:pt x="1088908" y="1663961"/>
                      <a:pt x="1096550" y="1656563"/>
                      <a:pt x="1096304" y="1646949"/>
                    </a:cubicBezTo>
                    <a:close/>
                    <a:moveTo>
                      <a:pt x="1098276" y="4443471"/>
                    </a:moveTo>
                    <a:cubicBezTo>
                      <a:pt x="1098276" y="4418814"/>
                      <a:pt x="1078055" y="4398593"/>
                      <a:pt x="1053397" y="4398593"/>
                    </a:cubicBezTo>
                    <a:cubicBezTo>
                      <a:pt x="1028740" y="4398593"/>
                      <a:pt x="1008522" y="4418814"/>
                      <a:pt x="1008522" y="4443471"/>
                    </a:cubicBezTo>
                    <a:cubicBezTo>
                      <a:pt x="1008522" y="4468129"/>
                      <a:pt x="1028740" y="4488348"/>
                      <a:pt x="1053397" y="4488348"/>
                    </a:cubicBezTo>
                    <a:cubicBezTo>
                      <a:pt x="1078055" y="4488348"/>
                      <a:pt x="1098276" y="4468129"/>
                      <a:pt x="1098276" y="4443471"/>
                    </a:cubicBezTo>
                    <a:close/>
                    <a:moveTo>
                      <a:pt x="1099511" y="1771719"/>
                    </a:moveTo>
                    <a:cubicBezTo>
                      <a:pt x="1099511" y="1763579"/>
                      <a:pt x="1093098" y="1756917"/>
                      <a:pt x="1084962" y="1756917"/>
                    </a:cubicBezTo>
                    <a:cubicBezTo>
                      <a:pt x="1077071" y="1756917"/>
                      <a:pt x="1070414" y="1763579"/>
                      <a:pt x="1070414" y="1771719"/>
                    </a:cubicBezTo>
                    <a:cubicBezTo>
                      <a:pt x="1070414" y="1779614"/>
                      <a:pt x="1076826" y="1786247"/>
                      <a:pt x="1084962" y="1786247"/>
                    </a:cubicBezTo>
                    <a:cubicBezTo>
                      <a:pt x="1093098" y="1786247"/>
                      <a:pt x="1099756" y="1779861"/>
                      <a:pt x="1099511" y="1771719"/>
                    </a:cubicBezTo>
                    <a:close/>
                    <a:moveTo>
                      <a:pt x="1105429" y="3107562"/>
                    </a:moveTo>
                    <a:cubicBezTo>
                      <a:pt x="1105429" y="3094491"/>
                      <a:pt x="1094825" y="3084136"/>
                      <a:pt x="1082003" y="3084136"/>
                    </a:cubicBezTo>
                    <a:cubicBezTo>
                      <a:pt x="1068936" y="3084136"/>
                      <a:pt x="1058578" y="3094491"/>
                      <a:pt x="1058578" y="3107562"/>
                    </a:cubicBezTo>
                    <a:cubicBezTo>
                      <a:pt x="1058578" y="3120630"/>
                      <a:pt x="1069181" y="3130987"/>
                      <a:pt x="1082003" y="3130987"/>
                    </a:cubicBezTo>
                    <a:cubicBezTo>
                      <a:pt x="1094825" y="3130987"/>
                      <a:pt x="1105429" y="3120630"/>
                      <a:pt x="1105429" y="3107562"/>
                    </a:cubicBezTo>
                    <a:close/>
                    <a:moveTo>
                      <a:pt x="1111591" y="3902239"/>
                    </a:moveTo>
                    <a:cubicBezTo>
                      <a:pt x="1111591" y="3896813"/>
                      <a:pt x="1107153" y="3892622"/>
                      <a:pt x="1101976" y="3892622"/>
                    </a:cubicBezTo>
                    <a:cubicBezTo>
                      <a:pt x="1096550" y="3892622"/>
                      <a:pt x="1092359" y="3897059"/>
                      <a:pt x="1092359" y="3902239"/>
                    </a:cubicBezTo>
                    <a:cubicBezTo>
                      <a:pt x="1092359" y="3907663"/>
                      <a:pt x="1096799" y="3911854"/>
                      <a:pt x="1101976" y="3911854"/>
                    </a:cubicBezTo>
                    <a:cubicBezTo>
                      <a:pt x="1107153" y="3911854"/>
                      <a:pt x="1111591" y="3907663"/>
                      <a:pt x="1111591" y="3902239"/>
                    </a:cubicBezTo>
                    <a:close/>
                    <a:moveTo>
                      <a:pt x="1111839" y="4930213"/>
                    </a:moveTo>
                    <a:cubicBezTo>
                      <a:pt x="1111839" y="4923801"/>
                      <a:pt x="1106659" y="4918623"/>
                      <a:pt x="1100249" y="4918623"/>
                    </a:cubicBezTo>
                    <a:cubicBezTo>
                      <a:pt x="1093591" y="4918623"/>
                      <a:pt x="1088413" y="4923801"/>
                      <a:pt x="1088413" y="4930213"/>
                    </a:cubicBezTo>
                    <a:cubicBezTo>
                      <a:pt x="1088413" y="4936623"/>
                      <a:pt x="1093837" y="4941799"/>
                      <a:pt x="1100249" y="4941799"/>
                    </a:cubicBezTo>
                    <a:cubicBezTo>
                      <a:pt x="1106659" y="4941799"/>
                      <a:pt x="1111839" y="4936623"/>
                      <a:pt x="1111839" y="4930213"/>
                    </a:cubicBezTo>
                    <a:close/>
                    <a:moveTo>
                      <a:pt x="1115537" y="5184926"/>
                    </a:moveTo>
                    <a:cubicBezTo>
                      <a:pt x="1115537" y="5169391"/>
                      <a:pt x="1102962" y="5156569"/>
                      <a:pt x="1087181" y="5156569"/>
                    </a:cubicBezTo>
                    <a:cubicBezTo>
                      <a:pt x="1071646" y="5156569"/>
                      <a:pt x="1058824" y="5169145"/>
                      <a:pt x="1058824" y="5184926"/>
                    </a:cubicBezTo>
                    <a:cubicBezTo>
                      <a:pt x="1058824" y="5200707"/>
                      <a:pt x="1071399" y="5213283"/>
                      <a:pt x="1087181" y="5213283"/>
                    </a:cubicBezTo>
                    <a:cubicBezTo>
                      <a:pt x="1102713" y="5213283"/>
                      <a:pt x="1115537" y="5200458"/>
                      <a:pt x="1115537" y="5184926"/>
                    </a:cubicBezTo>
                    <a:close/>
                    <a:moveTo>
                      <a:pt x="1117016" y="2842743"/>
                    </a:moveTo>
                    <a:cubicBezTo>
                      <a:pt x="1117016" y="2824003"/>
                      <a:pt x="1101730" y="2808963"/>
                      <a:pt x="1083236" y="2808963"/>
                    </a:cubicBezTo>
                    <a:cubicBezTo>
                      <a:pt x="1064496" y="2808963"/>
                      <a:pt x="1049456" y="2824003"/>
                      <a:pt x="1049456" y="2842743"/>
                    </a:cubicBezTo>
                    <a:cubicBezTo>
                      <a:pt x="1049456" y="2861483"/>
                      <a:pt x="1064496" y="2876526"/>
                      <a:pt x="1083236" y="2876526"/>
                    </a:cubicBezTo>
                    <a:cubicBezTo>
                      <a:pt x="1101975" y="2876526"/>
                      <a:pt x="1117016" y="2861483"/>
                      <a:pt x="1117016" y="2842743"/>
                    </a:cubicBezTo>
                    <a:close/>
                    <a:moveTo>
                      <a:pt x="1128356" y="671876"/>
                    </a:moveTo>
                    <a:cubicBezTo>
                      <a:pt x="1128356" y="659548"/>
                      <a:pt x="1118248" y="649435"/>
                      <a:pt x="1105920" y="649435"/>
                    </a:cubicBezTo>
                    <a:cubicBezTo>
                      <a:pt x="1093590" y="649435"/>
                      <a:pt x="1083481" y="659548"/>
                      <a:pt x="1083481" y="671876"/>
                    </a:cubicBezTo>
                    <a:cubicBezTo>
                      <a:pt x="1083481" y="684206"/>
                      <a:pt x="1093590" y="694318"/>
                      <a:pt x="1105920" y="694318"/>
                    </a:cubicBezTo>
                    <a:cubicBezTo>
                      <a:pt x="1118248" y="694318"/>
                      <a:pt x="1128356" y="684206"/>
                      <a:pt x="1128356" y="671876"/>
                    </a:cubicBezTo>
                    <a:close/>
                    <a:moveTo>
                      <a:pt x="1129099" y="787994"/>
                    </a:moveTo>
                    <a:cubicBezTo>
                      <a:pt x="1129099" y="775664"/>
                      <a:pt x="1118991" y="765806"/>
                      <a:pt x="1106910" y="765806"/>
                    </a:cubicBezTo>
                    <a:cubicBezTo>
                      <a:pt x="1094580" y="765806"/>
                      <a:pt x="1084717" y="775910"/>
                      <a:pt x="1084717" y="787994"/>
                    </a:cubicBezTo>
                    <a:cubicBezTo>
                      <a:pt x="1084717" y="800322"/>
                      <a:pt x="1094825" y="810186"/>
                      <a:pt x="1106910" y="810186"/>
                    </a:cubicBezTo>
                    <a:cubicBezTo>
                      <a:pt x="1118991" y="810186"/>
                      <a:pt x="1129099" y="800322"/>
                      <a:pt x="1129099" y="787994"/>
                    </a:cubicBezTo>
                    <a:close/>
                    <a:moveTo>
                      <a:pt x="1129345" y="5058676"/>
                    </a:moveTo>
                    <a:cubicBezTo>
                      <a:pt x="1129345" y="5038950"/>
                      <a:pt x="1113319" y="5022677"/>
                      <a:pt x="1093344" y="5022677"/>
                    </a:cubicBezTo>
                    <a:cubicBezTo>
                      <a:pt x="1073618" y="5022677"/>
                      <a:pt x="1057346" y="5038704"/>
                      <a:pt x="1057346" y="5058676"/>
                    </a:cubicBezTo>
                    <a:cubicBezTo>
                      <a:pt x="1057346" y="5078402"/>
                      <a:pt x="1073372" y="5094677"/>
                      <a:pt x="1093344" y="5094677"/>
                    </a:cubicBezTo>
                    <a:cubicBezTo>
                      <a:pt x="1113073" y="5094677"/>
                      <a:pt x="1129345" y="5078651"/>
                      <a:pt x="1129345" y="5058676"/>
                    </a:cubicBezTo>
                    <a:close/>
                    <a:moveTo>
                      <a:pt x="1129840" y="1021959"/>
                    </a:moveTo>
                    <a:cubicBezTo>
                      <a:pt x="1129840" y="1010861"/>
                      <a:pt x="1120964" y="1001981"/>
                      <a:pt x="1109866" y="1001981"/>
                    </a:cubicBezTo>
                    <a:cubicBezTo>
                      <a:pt x="1098771" y="1001981"/>
                      <a:pt x="1089894" y="1010861"/>
                      <a:pt x="1089894" y="1021959"/>
                    </a:cubicBezTo>
                    <a:cubicBezTo>
                      <a:pt x="1089894" y="1033049"/>
                      <a:pt x="1098771" y="1041925"/>
                      <a:pt x="1109866" y="1041925"/>
                    </a:cubicBezTo>
                    <a:cubicBezTo>
                      <a:pt x="1120964" y="1041925"/>
                      <a:pt x="1129840" y="1032800"/>
                      <a:pt x="1129840" y="1021959"/>
                    </a:cubicBezTo>
                    <a:close/>
                    <a:moveTo>
                      <a:pt x="1130331" y="904594"/>
                    </a:moveTo>
                    <a:cubicBezTo>
                      <a:pt x="1130331" y="892520"/>
                      <a:pt x="1120467" y="882651"/>
                      <a:pt x="1108385" y="882651"/>
                    </a:cubicBezTo>
                    <a:cubicBezTo>
                      <a:pt x="1096304" y="882651"/>
                      <a:pt x="1086441" y="892520"/>
                      <a:pt x="1086441" y="904594"/>
                    </a:cubicBezTo>
                    <a:cubicBezTo>
                      <a:pt x="1086441" y="916680"/>
                      <a:pt x="1096304" y="926554"/>
                      <a:pt x="1108385" y="926554"/>
                    </a:cubicBezTo>
                    <a:cubicBezTo>
                      <a:pt x="1120467" y="926554"/>
                      <a:pt x="1130331" y="916680"/>
                      <a:pt x="1130331" y="904594"/>
                    </a:cubicBezTo>
                    <a:close/>
                    <a:moveTo>
                      <a:pt x="1130581" y="1898186"/>
                    </a:moveTo>
                    <a:cubicBezTo>
                      <a:pt x="1130581" y="1876002"/>
                      <a:pt x="1112827" y="1858255"/>
                      <a:pt x="1090880" y="1858255"/>
                    </a:cubicBezTo>
                    <a:cubicBezTo>
                      <a:pt x="1068936" y="1858255"/>
                      <a:pt x="1051183" y="1876248"/>
                      <a:pt x="1051183" y="1898186"/>
                    </a:cubicBezTo>
                    <a:cubicBezTo>
                      <a:pt x="1051183" y="1920125"/>
                      <a:pt x="1068936" y="1937873"/>
                      <a:pt x="1090880" y="1937873"/>
                    </a:cubicBezTo>
                    <a:cubicBezTo>
                      <a:pt x="1112827" y="1937873"/>
                      <a:pt x="1130827" y="1920125"/>
                      <a:pt x="1130581" y="1898186"/>
                    </a:cubicBezTo>
                    <a:close/>
                    <a:moveTo>
                      <a:pt x="1131071" y="1140293"/>
                    </a:moveTo>
                    <a:cubicBezTo>
                      <a:pt x="1131071" y="1129199"/>
                      <a:pt x="1121948" y="1120074"/>
                      <a:pt x="1110850" y="1120074"/>
                    </a:cubicBezTo>
                    <a:cubicBezTo>
                      <a:pt x="1099754" y="1120074"/>
                      <a:pt x="1090632" y="1129199"/>
                      <a:pt x="1090632" y="1140293"/>
                    </a:cubicBezTo>
                    <a:cubicBezTo>
                      <a:pt x="1090632" y="1151393"/>
                      <a:pt x="1099754" y="1160515"/>
                      <a:pt x="1110850" y="1160515"/>
                    </a:cubicBezTo>
                    <a:cubicBezTo>
                      <a:pt x="1122194" y="1160515"/>
                      <a:pt x="1131317" y="1151393"/>
                      <a:pt x="1131071" y="1140293"/>
                    </a:cubicBezTo>
                    <a:close/>
                    <a:moveTo>
                      <a:pt x="1131565" y="1259367"/>
                    </a:moveTo>
                    <a:cubicBezTo>
                      <a:pt x="1131565" y="1249018"/>
                      <a:pt x="1123183" y="1240637"/>
                      <a:pt x="1112825" y="1240637"/>
                    </a:cubicBezTo>
                    <a:cubicBezTo>
                      <a:pt x="1102470" y="1240637"/>
                      <a:pt x="1094085" y="1249018"/>
                      <a:pt x="1094085" y="1259367"/>
                    </a:cubicBezTo>
                    <a:cubicBezTo>
                      <a:pt x="1094085" y="1269728"/>
                      <a:pt x="1102470" y="1278114"/>
                      <a:pt x="1112825" y="1278114"/>
                    </a:cubicBezTo>
                    <a:cubicBezTo>
                      <a:pt x="1123183" y="1278114"/>
                      <a:pt x="1131565" y="1269728"/>
                      <a:pt x="1131565" y="1259367"/>
                    </a:cubicBezTo>
                    <a:close/>
                    <a:moveTo>
                      <a:pt x="1131811" y="2026359"/>
                    </a:moveTo>
                    <a:cubicBezTo>
                      <a:pt x="1131811" y="2008110"/>
                      <a:pt x="1117016" y="1993075"/>
                      <a:pt x="1098525" y="1993075"/>
                    </a:cubicBezTo>
                    <a:cubicBezTo>
                      <a:pt x="1080277" y="1993075"/>
                      <a:pt x="1065237" y="2007865"/>
                      <a:pt x="1065237" y="2026359"/>
                    </a:cubicBezTo>
                    <a:cubicBezTo>
                      <a:pt x="1065237" y="2044605"/>
                      <a:pt x="1080031" y="2059650"/>
                      <a:pt x="1098525" y="2059650"/>
                    </a:cubicBezTo>
                    <a:cubicBezTo>
                      <a:pt x="1117016" y="2059650"/>
                      <a:pt x="1132059" y="2044605"/>
                      <a:pt x="1131811" y="2026359"/>
                    </a:cubicBezTo>
                    <a:close/>
                    <a:moveTo>
                      <a:pt x="1132305" y="4162375"/>
                    </a:moveTo>
                    <a:cubicBezTo>
                      <a:pt x="1132305" y="4152263"/>
                      <a:pt x="1123921" y="4143881"/>
                      <a:pt x="1113811" y="4143881"/>
                    </a:cubicBezTo>
                    <a:cubicBezTo>
                      <a:pt x="1103700" y="4143881"/>
                      <a:pt x="1095318" y="4152018"/>
                      <a:pt x="1095318" y="4162375"/>
                    </a:cubicBezTo>
                    <a:cubicBezTo>
                      <a:pt x="1095318" y="4172484"/>
                      <a:pt x="1103454" y="4180869"/>
                      <a:pt x="1113811" y="4180869"/>
                    </a:cubicBezTo>
                    <a:cubicBezTo>
                      <a:pt x="1124166" y="4180869"/>
                      <a:pt x="1132551" y="4172484"/>
                      <a:pt x="1132305" y="4162375"/>
                    </a:cubicBezTo>
                    <a:close/>
                    <a:moveTo>
                      <a:pt x="1135262" y="1379193"/>
                    </a:moveTo>
                    <a:cubicBezTo>
                      <a:pt x="1135262" y="1368096"/>
                      <a:pt x="1126385" y="1359221"/>
                      <a:pt x="1115290" y="1359221"/>
                    </a:cubicBezTo>
                    <a:cubicBezTo>
                      <a:pt x="1104194" y="1359221"/>
                      <a:pt x="1095318" y="1368342"/>
                      <a:pt x="1095318" y="1379193"/>
                    </a:cubicBezTo>
                    <a:cubicBezTo>
                      <a:pt x="1095318" y="1390289"/>
                      <a:pt x="1104440" y="1399169"/>
                      <a:pt x="1115290" y="1399169"/>
                    </a:cubicBezTo>
                    <a:cubicBezTo>
                      <a:pt x="1126139" y="1399169"/>
                      <a:pt x="1135015" y="1390289"/>
                      <a:pt x="1135262" y="1379193"/>
                    </a:cubicBezTo>
                    <a:close/>
                    <a:moveTo>
                      <a:pt x="1136495" y="2156799"/>
                    </a:moveTo>
                    <a:cubicBezTo>
                      <a:pt x="1136495" y="2141018"/>
                      <a:pt x="1123673" y="2127950"/>
                      <a:pt x="1107644" y="2127950"/>
                    </a:cubicBezTo>
                    <a:cubicBezTo>
                      <a:pt x="1091864" y="2127950"/>
                      <a:pt x="1078796" y="2140772"/>
                      <a:pt x="1078796" y="2156799"/>
                    </a:cubicBezTo>
                    <a:cubicBezTo>
                      <a:pt x="1078796" y="2172583"/>
                      <a:pt x="1091618" y="2185651"/>
                      <a:pt x="1107644" y="2185651"/>
                    </a:cubicBezTo>
                    <a:cubicBezTo>
                      <a:pt x="1123425" y="2185651"/>
                      <a:pt x="1136495" y="2172829"/>
                      <a:pt x="1136495" y="2156799"/>
                    </a:cubicBezTo>
                    <a:close/>
                    <a:moveTo>
                      <a:pt x="1136987" y="1500495"/>
                    </a:moveTo>
                    <a:cubicBezTo>
                      <a:pt x="1136987" y="1489893"/>
                      <a:pt x="1128356" y="1481259"/>
                      <a:pt x="1117753" y="1481259"/>
                    </a:cubicBezTo>
                    <a:cubicBezTo>
                      <a:pt x="1107153" y="1481259"/>
                      <a:pt x="1098522" y="1489893"/>
                      <a:pt x="1098522" y="1500495"/>
                    </a:cubicBezTo>
                    <a:cubicBezTo>
                      <a:pt x="1098522" y="1511097"/>
                      <a:pt x="1107153" y="1519730"/>
                      <a:pt x="1117753" y="1519730"/>
                    </a:cubicBezTo>
                    <a:cubicBezTo>
                      <a:pt x="1128356" y="1519730"/>
                      <a:pt x="1136987" y="1511097"/>
                      <a:pt x="1136987" y="1500495"/>
                    </a:cubicBezTo>
                    <a:close/>
                    <a:moveTo>
                      <a:pt x="1138468" y="3506728"/>
                    </a:moveTo>
                    <a:cubicBezTo>
                      <a:pt x="1138468" y="3502538"/>
                      <a:pt x="1134771" y="3498839"/>
                      <a:pt x="1130332" y="3498839"/>
                    </a:cubicBezTo>
                    <a:cubicBezTo>
                      <a:pt x="1126141" y="3498839"/>
                      <a:pt x="1122442" y="3502289"/>
                      <a:pt x="1122442" y="3506728"/>
                    </a:cubicBezTo>
                    <a:cubicBezTo>
                      <a:pt x="1122442" y="3511415"/>
                      <a:pt x="1125892" y="3514865"/>
                      <a:pt x="1130332" y="3514865"/>
                    </a:cubicBezTo>
                    <a:cubicBezTo>
                      <a:pt x="1134771" y="3514865"/>
                      <a:pt x="1138468" y="3511415"/>
                      <a:pt x="1138468" y="3506728"/>
                    </a:cubicBezTo>
                    <a:close/>
                    <a:moveTo>
                      <a:pt x="1139704" y="3390868"/>
                    </a:moveTo>
                    <a:cubicBezTo>
                      <a:pt x="1139704" y="3387416"/>
                      <a:pt x="1136990" y="3384702"/>
                      <a:pt x="1133537" y="3384702"/>
                    </a:cubicBezTo>
                    <a:cubicBezTo>
                      <a:pt x="1130087" y="3384702"/>
                      <a:pt x="1127374" y="3387416"/>
                      <a:pt x="1127374" y="3390868"/>
                    </a:cubicBezTo>
                    <a:cubicBezTo>
                      <a:pt x="1127374" y="3394321"/>
                      <a:pt x="1130087" y="3397034"/>
                      <a:pt x="1133537" y="3397034"/>
                    </a:cubicBezTo>
                    <a:cubicBezTo>
                      <a:pt x="1136990" y="3397034"/>
                      <a:pt x="1139704" y="3394075"/>
                      <a:pt x="1139704" y="3390868"/>
                    </a:cubicBezTo>
                    <a:close/>
                    <a:moveTo>
                      <a:pt x="1150304" y="3622618"/>
                    </a:moveTo>
                    <a:cubicBezTo>
                      <a:pt x="1150304" y="3616949"/>
                      <a:pt x="1145618" y="3612263"/>
                      <a:pt x="1139946" y="3612263"/>
                    </a:cubicBezTo>
                    <a:cubicBezTo>
                      <a:pt x="1134277" y="3612263"/>
                      <a:pt x="1129592" y="3616949"/>
                      <a:pt x="1129592" y="3622618"/>
                    </a:cubicBezTo>
                    <a:cubicBezTo>
                      <a:pt x="1129592" y="3628290"/>
                      <a:pt x="1134277" y="3632975"/>
                      <a:pt x="1139946" y="3632975"/>
                    </a:cubicBezTo>
                    <a:cubicBezTo>
                      <a:pt x="1145618" y="3632975"/>
                      <a:pt x="1150304" y="3628290"/>
                      <a:pt x="1150304" y="3622618"/>
                    </a:cubicBezTo>
                    <a:close/>
                    <a:moveTo>
                      <a:pt x="1151044" y="7322735"/>
                    </a:moveTo>
                    <a:cubicBezTo>
                      <a:pt x="1151044" y="7321502"/>
                      <a:pt x="1150058" y="7320516"/>
                      <a:pt x="1148823" y="7320516"/>
                    </a:cubicBezTo>
                    <a:cubicBezTo>
                      <a:pt x="1147590" y="7320516"/>
                      <a:pt x="1146605" y="7321502"/>
                      <a:pt x="1146605" y="7322735"/>
                    </a:cubicBezTo>
                    <a:cubicBezTo>
                      <a:pt x="1146605" y="7323969"/>
                      <a:pt x="1147590" y="7324953"/>
                      <a:pt x="1148823" y="7324953"/>
                    </a:cubicBezTo>
                    <a:cubicBezTo>
                      <a:pt x="1150058" y="7324953"/>
                      <a:pt x="1151044" y="7323969"/>
                      <a:pt x="1151044" y="7322735"/>
                    </a:cubicBezTo>
                    <a:close/>
                    <a:moveTo>
                      <a:pt x="1151044" y="7434928"/>
                    </a:moveTo>
                    <a:cubicBezTo>
                      <a:pt x="1151044" y="7433696"/>
                      <a:pt x="1150058" y="7432709"/>
                      <a:pt x="1148823" y="7432709"/>
                    </a:cubicBezTo>
                    <a:cubicBezTo>
                      <a:pt x="1147590" y="7432709"/>
                      <a:pt x="1146605" y="7433696"/>
                      <a:pt x="1146605" y="7434928"/>
                    </a:cubicBezTo>
                    <a:cubicBezTo>
                      <a:pt x="1146605" y="7436160"/>
                      <a:pt x="1147590" y="7437146"/>
                      <a:pt x="1148823" y="7437146"/>
                    </a:cubicBezTo>
                    <a:cubicBezTo>
                      <a:pt x="1150058" y="7437146"/>
                      <a:pt x="1151044" y="7436160"/>
                      <a:pt x="1151044" y="7434928"/>
                    </a:cubicBezTo>
                    <a:close/>
                    <a:moveTo>
                      <a:pt x="1151290" y="7210545"/>
                    </a:moveTo>
                    <a:cubicBezTo>
                      <a:pt x="1151290" y="7209310"/>
                      <a:pt x="1150305" y="7208078"/>
                      <a:pt x="1148824" y="7208078"/>
                    </a:cubicBezTo>
                    <a:cubicBezTo>
                      <a:pt x="1147591" y="7208078"/>
                      <a:pt x="1146359" y="7209064"/>
                      <a:pt x="1146359" y="7210545"/>
                    </a:cubicBezTo>
                    <a:cubicBezTo>
                      <a:pt x="1146359" y="7211776"/>
                      <a:pt x="1147345" y="7213009"/>
                      <a:pt x="1148824" y="7213009"/>
                    </a:cubicBezTo>
                    <a:cubicBezTo>
                      <a:pt x="1150305" y="7213009"/>
                      <a:pt x="1151290" y="7211776"/>
                      <a:pt x="1151290" y="7210545"/>
                    </a:cubicBezTo>
                    <a:close/>
                    <a:moveTo>
                      <a:pt x="1152030" y="4799281"/>
                    </a:moveTo>
                    <a:cubicBezTo>
                      <a:pt x="1152030" y="4775361"/>
                      <a:pt x="1132551" y="4756129"/>
                      <a:pt x="1108880" y="4756129"/>
                    </a:cubicBezTo>
                    <a:cubicBezTo>
                      <a:pt x="1084959" y="4756129"/>
                      <a:pt x="1065728" y="4775610"/>
                      <a:pt x="1065728" y="4799281"/>
                    </a:cubicBezTo>
                    <a:cubicBezTo>
                      <a:pt x="1065728" y="4823199"/>
                      <a:pt x="1085208" y="4842433"/>
                      <a:pt x="1108880" y="4842433"/>
                    </a:cubicBezTo>
                    <a:cubicBezTo>
                      <a:pt x="1132551" y="4842433"/>
                      <a:pt x="1152030" y="4823199"/>
                      <a:pt x="1152030" y="4799281"/>
                    </a:cubicBezTo>
                    <a:close/>
                    <a:moveTo>
                      <a:pt x="1154001" y="3275717"/>
                    </a:moveTo>
                    <a:cubicBezTo>
                      <a:pt x="1154001" y="3273251"/>
                      <a:pt x="1151783" y="3271034"/>
                      <a:pt x="1149318" y="3271034"/>
                    </a:cubicBezTo>
                    <a:cubicBezTo>
                      <a:pt x="1146851" y="3271034"/>
                      <a:pt x="1144633" y="3273005"/>
                      <a:pt x="1144633" y="3275717"/>
                    </a:cubicBezTo>
                    <a:cubicBezTo>
                      <a:pt x="1144633" y="3278183"/>
                      <a:pt x="1146605" y="3280401"/>
                      <a:pt x="1149318" y="3280401"/>
                    </a:cubicBezTo>
                    <a:cubicBezTo>
                      <a:pt x="1152028" y="3280401"/>
                      <a:pt x="1154001" y="3278430"/>
                      <a:pt x="1154001" y="3275717"/>
                    </a:cubicBezTo>
                    <a:close/>
                    <a:moveTo>
                      <a:pt x="1154989" y="2999805"/>
                    </a:moveTo>
                    <a:cubicBezTo>
                      <a:pt x="1154989" y="2983039"/>
                      <a:pt x="1141180" y="2969230"/>
                      <a:pt x="1124414" y="2969230"/>
                    </a:cubicBezTo>
                    <a:cubicBezTo>
                      <a:pt x="1107646" y="2969230"/>
                      <a:pt x="1093839" y="2983039"/>
                      <a:pt x="1093839" y="2999805"/>
                    </a:cubicBezTo>
                    <a:cubicBezTo>
                      <a:pt x="1093839" y="3016573"/>
                      <a:pt x="1107646" y="3030381"/>
                      <a:pt x="1124414" y="3030381"/>
                    </a:cubicBezTo>
                    <a:cubicBezTo>
                      <a:pt x="1141180" y="3030381"/>
                      <a:pt x="1154989" y="3016573"/>
                      <a:pt x="1154989" y="2999805"/>
                    </a:cubicBezTo>
                    <a:close/>
                    <a:moveTo>
                      <a:pt x="1155730" y="7099090"/>
                    </a:moveTo>
                    <a:cubicBezTo>
                      <a:pt x="1155730" y="7098104"/>
                      <a:pt x="1154745" y="7097117"/>
                      <a:pt x="1153758" y="7097117"/>
                    </a:cubicBezTo>
                    <a:cubicBezTo>
                      <a:pt x="1152771" y="7097117"/>
                      <a:pt x="1151786" y="7098104"/>
                      <a:pt x="1151786" y="7099090"/>
                    </a:cubicBezTo>
                    <a:cubicBezTo>
                      <a:pt x="1151786" y="7100076"/>
                      <a:pt x="1152526" y="7101063"/>
                      <a:pt x="1153758" y="7101063"/>
                    </a:cubicBezTo>
                    <a:cubicBezTo>
                      <a:pt x="1154990" y="7101063"/>
                      <a:pt x="1155730" y="7100076"/>
                      <a:pt x="1155730" y="7099090"/>
                    </a:cubicBezTo>
                    <a:close/>
                    <a:moveTo>
                      <a:pt x="1156717" y="6873230"/>
                    </a:moveTo>
                    <a:cubicBezTo>
                      <a:pt x="1156717" y="6871748"/>
                      <a:pt x="1155731" y="6870762"/>
                      <a:pt x="1154250" y="6870762"/>
                    </a:cubicBezTo>
                    <a:cubicBezTo>
                      <a:pt x="1153018" y="6870762"/>
                      <a:pt x="1151786" y="6871994"/>
                      <a:pt x="1151786" y="6873230"/>
                    </a:cubicBezTo>
                    <a:cubicBezTo>
                      <a:pt x="1151786" y="6874708"/>
                      <a:pt x="1152771" y="6875694"/>
                      <a:pt x="1154250" y="6875694"/>
                    </a:cubicBezTo>
                    <a:cubicBezTo>
                      <a:pt x="1155484" y="6875694"/>
                      <a:pt x="1156717" y="6874462"/>
                      <a:pt x="1156717" y="6873230"/>
                    </a:cubicBezTo>
                    <a:close/>
                    <a:moveTo>
                      <a:pt x="1157209" y="6986161"/>
                    </a:moveTo>
                    <a:cubicBezTo>
                      <a:pt x="1157209" y="6984434"/>
                      <a:pt x="1155730" y="6982955"/>
                      <a:pt x="1154004" y="6982955"/>
                    </a:cubicBezTo>
                    <a:cubicBezTo>
                      <a:pt x="1152277" y="6982955"/>
                      <a:pt x="1150799" y="6984434"/>
                      <a:pt x="1150799" y="6986161"/>
                    </a:cubicBezTo>
                    <a:cubicBezTo>
                      <a:pt x="1150799" y="6987887"/>
                      <a:pt x="1152277" y="6989368"/>
                      <a:pt x="1154004" y="6989368"/>
                    </a:cubicBezTo>
                    <a:cubicBezTo>
                      <a:pt x="1155730" y="6989368"/>
                      <a:pt x="1157209" y="6988133"/>
                      <a:pt x="1157209" y="6986161"/>
                    </a:cubicBezTo>
                    <a:close/>
                    <a:moveTo>
                      <a:pt x="1158440" y="2289939"/>
                    </a:moveTo>
                    <a:cubicBezTo>
                      <a:pt x="1158440" y="2267995"/>
                      <a:pt x="1140442" y="2250007"/>
                      <a:pt x="1118494" y="2250007"/>
                    </a:cubicBezTo>
                    <a:cubicBezTo>
                      <a:pt x="1096549" y="2250007"/>
                      <a:pt x="1078796" y="2267995"/>
                      <a:pt x="1078796" y="2289939"/>
                    </a:cubicBezTo>
                    <a:cubicBezTo>
                      <a:pt x="1078796" y="2312135"/>
                      <a:pt x="1096549" y="2329884"/>
                      <a:pt x="1118494" y="2329884"/>
                    </a:cubicBezTo>
                    <a:cubicBezTo>
                      <a:pt x="1140442" y="2329884"/>
                      <a:pt x="1158440" y="2312135"/>
                      <a:pt x="1158440" y="2289939"/>
                    </a:cubicBezTo>
                    <a:close/>
                    <a:moveTo>
                      <a:pt x="1158935" y="6417309"/>
                    </a:moveTo>
                    <a:cubicBezTo>
                      <a:pt x="1158935" y="6415583"/>
                      <a:pt x="1157454" y="6414103"/>
                      <a:pt x="1155481" y="6414103"/>
                    </a:cubicBezTo>
                    <a:cubicBezTo>
                      <a:pt x="1153755" y="6414103"/>
                      <a:pt x="1152277" y="6415336"/>
                      <a:pt x="1152277" y="6417309"/>
                    </a:cubicBezTo>
                    <a:cubicBezTo>
                      <a:pt x="1152277" y="6419036"/>
                      <a:pt x="1153509" y="6420514"/>
                      <a:pt x="1155481" y="6420514"/>
                    </a:cubicBezTo>
                    <a:cubicBezTo>
                      <a:pt x="1157454" y="6420514"/>
                      <a:pt x="1158935" y="6419036"/>
                      <a:pt x="1158935" y="6417309"/>
                    </a:cubicBezTo>
                    <a:close/>
                    <a:moveTo>
                      <a:pt x="1160168" y="2599377"/>
                    </a:moveTo>
                    <a:cubicBezTo>
                      <a:pt x="1160168" y="2577927"/>
                      <a:pt x="1142660" y="2560419"/>
                      <a:pt x="1121207" y="2560419"/>
                    </a:cubicBezTo>
                    <a:cubicBezTo>
                      <a:pt x="1099758" y="2560419"/>
                      <a:pt x="1082250" y="2577927"/>
                      <a:pt x="1082250" y="2599377"/>
                    </a:cubicBezTo>
                    <a:cubicBezTo>
                      <a:pt x="1082250" y="2620831"/>
                      <a:pt x="1099758" y="2638339"/>
                      <a:pt x="1121207" y="2638339"/>
                    </a:cubicBezTo>
                    <a:cubicBezTo>
                      <a:pt x="1142660" y="2638339"/>
                      <a:pt x="1160168" y="2620831"/>
                      <a:pt x="1160168" y="2599377"/>
                    </a:cubicBezTo>
                    <a:close/>
                    <a:moveTo>
                      <a:pt x="1161400" y="4400075"/>
                    </a:moveTo>
                    <a:cubicBezTo>
                      <a:pt x="1161400" y="4399089"/>
                      <a:pt x="1160662" y="4398348"/>
                      <a:pt x="1159676" y="4398348"/>
                    </a:cubicBezTo>
                    <a:cubicBezTo>
                      <a:pt x="1158689" y="4398348"/>
                      <a:pt x="1157949" y="4399089"/>
                      <a:pt x="1157949" y="4400075"/>
                    </a:cubicBezTo>
                    <a:cubicBezTo>
                      <a:pt x="1157949" y="4401061"/>
                      <a:pt x="1158689" y="4401799"/>
                      <a:pt x="1159676" y="4401799"/>
                    </a:cubicBezTo>
                    <a:cubicBezTo>
                      <a:pt x="1160414" y="4401799"/>
                      <a:pt x="1161154" y="4401061"/>
                      <a:pt x="1161400" y="4400075"/>
                    </a:cubicBezTo>
                    <a:close/>
                    <a:moveTo>
                      <a:pt x="1162140" y="2427030"/>
                    </a:moveTo>
                    <a:cubicBezTo>
                      <a:pt x="1162140" y="2410263"/>
                      <a:pt x="1148580" y="2396701"/>
                      <a:pt x="1131814" y="2396701"/>
                    </a:cubicBezTo>
                    <a:cubicBezTo>
                      <a:pt x="1115046" y="2396701"/>
                      <a:pt x="1101484" y="2410263"/>
                      <a:pt x="1101484" y="2427030"/>
                    </a:cubicBezTo>
                    <a:cubicBezTo>
                      <a:pt x="1101484" y="2443799"/>
                      <a:pt x="1115046" y="2457355"/>
                      <a:pt x="1131814" y="2457355"/>
                    </a:cubicBezTo>
                    <a:cubicBezTo>
                      <a:pt x="1148580" y="2457355"/>
                      <a:pt x="1162140" y="2443553"/>
                      <a:pt x="1162140" y="2427030"/>
                    </a:cubicBezTo>
                    <a:close/>
                    <a:moveTo>
                      <a:pt x="1164112" y="6646132"/>
                    </a:moveTo>
                    <a:cubicBezTo>
                      <a:pt x="1164112" y="6640954"/>
                      <a:pt x="1159921" y="6636763"/>
                      <a:pt x="1154740" y="6636763"/>
                    </a:cubicBezTo>
                    <a:cubicBezTo>
                      <a:pt x="1149564" y="6636763"/>
                      <a:pt x="1145373" y="6640954"/>
                      <a:pt x="1145373" y="6646132"/>
                    </a:cubicBezTo>
                    <a:cubicBezTo>
                      <a:pt x="1145373" y="6651312"/>
                      <a:pt x="1149564" y="6655503"/>
                      <a:pt x="1154740" y="6655503"/>
                    </a:cubicBezTo>
                    <a:cubicBezTo>
                      <a:pt x="1159921" y="6655503"/>
                      <a:pt x="1164112" y="6651063"/>
                      <a:pt x="1164112" y="6646132"/>
                    </a:cubicBezTo>
                    <a:close/>
                    <a:moveTo>
                      <a:pt x="1164853" y="6531720"/>
                    </a:moveTo>
                    <a:cubicBezTo>
                      <a:pt x="1164853" y="6526295"/>
                      <a:pt x="1160416" y="6521857"/>
                      <a:pt x="1154990" y="6521857"/>
                    </a:cubicBezTo>
                    <a:cubicBezTo>
                      <a:pt x="1149567" y="6521857"/>
                      <a:pt x="1145127" y="6526295"/>
                      <a:pt x="1145127" y="6531720"/>
                    </a:cubicBezTo>
                    <a:cubicBezTo>
                      <a:pt x="1145127" y="6537144"/>
                      <a:pt x="1149567" y="6541583"/>
                      <a:pt x="1154990" y="6541583"/>
                    </a:cubicBezTo>
                    <a:cubicBezTo>
                      <a:pt x="1160416" y="6541583"/>
                      <a:pt x="1164853" y="6537144"/>
                      <a:pt x="1164853" y="6531720"/>
                    </a:cubicBezTo>
                    <a:close/>
                    <a:moveTo>
                      <a:pt x="1165839" y="6759556"/>
                    </a:moveTo>
                    <a:cubicBezTo>
                      <a:pt x="1165839" y="6753393"/>
                      <a:pt x="1160662" y="6748215"/>
                      <a:pt x="1154496" y="6748215"/>
                    </a:cubicBezTo>
                    <a:cubicBezTo>
                      <a:pt x="1148331" y="6748215"/>
                      <a:pt x="1143400" y="6753393"/>
                      <a:pt x="1143400" y="6759556"/>
                    </a:cubicBezTo>
                    <a:cubicBezTo>
                      <a:pt x="1143400" y="6765722"/>
                      <a:pt x="1148331" y="6770900"/>
                      <a:pt x="1154496" y="6770900"/>
                    </a:cubicBezTo>
                    <a:cubicBezTo>
                      <a:pt x="1160662" y="6770900"/>
                      <a:pt x="1165593" y="6765968"/>
                      <a:pt x="1165839" y="6759556"/>
                    </a:cubicBezTo>
                    <a:close/>
                    <a:moveTo>
                      <a:pt x="1166826" y="5956952"/>
                    </a:moveTo>
                    <a:cubicBezTo>
                      <a:pt x="1166826" y="5955966"/>
                      <a:pt x="1166085" y="5954979"/>
                      <a:pt x="1164852" y="5954979"/>
                    </a:cubicBezTo>
                    <a:cubicBezTo>
                      <a:pt x="1163867" y="5954979"/>
                      <a:pt x="1162880" y="5955720"/>
                      <a:pt x="1162880" y="5956952"/>
                    </a:cubicBezTo>
                    <a:cubicBezTo>
                      <a:pt x="1162880" y="5957938"/>
                      <a:pt x="1163620" y="5958925"/>
                      <a:pt x="1164852" y="5958925"/>
                    </a:cubicBezTo>
                    <a:cubicBezTo>
                      <a:pt x="1166085" y="5958925"/>
                      <a:pt x="1166826" y="5957938"/>
                      <a:pt x="1166826" y="5956952"/>
                    </a:cubicBezTo>
                    <a:close/>
                    <a:moveTo>
                      <a:pt x="1167072" y="6073336"/>
                    </a:moveTo>
                    <a:cubicBezTo>
                      <a:pt x="1167072" y="6071609"/>
                      <a:pt x="1165593" y="6070131"/>
                      <a:pt x="1163867" y="6070131"/>
                    </a:cubicBezTo>
                    <a:cubicBezTo>
                      <a:pt x="1162140" y="6070131"/>
                      <a:pt x="1160662" y="6071609"/>
                      <a:pt x="1160662" y="6073336"/>
                    </a:cubicBezTo>
                    <a:cubicBezTo>
                      <a:pt x="1160662" y="6075063"/>
                      <a:pt x="1162140" y="6076544"/>
                      <a:pt x="1163867" y="6076544"/>
                    </a:cubicBezTo>
                    <a:cubicBezTo>
                      <a:pt x="1165593" y="6076544"/>
                      <a:pt x="1167072" y="6075063"/>
                      <a:pt x="1167072" y="6073336"/>
                    </a:cubicBezTo>
                    <a:close/>
                    <a:moveTo>
                      <a:pt x="1170030" y="5839829"/>
                    </a:moveTo>
                    <a:cubicBezTo>
                      <a:pt x="1170030" y="5837854"/>
                      <a:pt x="1168552" y="5836376"/>
                      <a:pt x="1166577" y="5836376"/>
                    </a:cubicBezTo>
                    <a:cubicBezTo>
                      <a:pt x="1164605" y="5836376"/>
                      <a:pt x="1163127" y="5837854"/>
                      <a:pt x="1163127" y="5839829"/>
                    </a:cubicBezTo>
                    <a:cubicBezTo>
                      <a:pt x="1163127" y="5841803"/>
                      <a:pt x="1164605" y="5843281"/>
                      <a:pt x="1166577" y="5843281"/>
                    </a:cubicBezTo>
                    <a:cubicBezTo>
                      <a:pt x="1168552" y="5843281"/>
                      <a:pt x="1170030" y="5841554"/>
                      <a:pt x="1170030" y="5839829"/>
                    </a:cubicBezTo>
                    <a:close/>
                    <a:moveTo>
                      <a:pt x="1170522" y="5721969"/>
                    </a:moveTo>
                    <a:cubicBezTo>
                      <a:pt x="1170522" y="5720604"/>
                      <a:pt x="1169420" y="5719501"/>
                      <a:pt x="1168056" y="5719501"/>
                    </a:cubicBezTo>
                    <a:cubicBezTo>
                      <a:pt x="1166694" y="5719501"/>
                      <a:pt x="1165591" y="5720604"/>
                      <a:pt x="1165591" y="5721969"/>
                    </a:cubicBezTo>
                    <a:cubicBezTo>
                      <a:pt x="1165591" y="5723329"/>
                      <a:pt x="1166694" y="5724432"/>
                      <a:pt x="1168056" y="5724432"/>
                    </a:cubicBezTo>
                    <a:cubicBezTo>
                      <a:pt x="1169420" y="5724432"/>
                      <a:pt x="1170522" y="5723329"/>
                      <a:pt x="1170522" y="5721969"/>
                    </a:cubicBezTo>
                    <a:close/>
                    <a:moveTo>
                      <a:pt x="1171511" y="4666130"/>
                    </a:moveTo>
                    <a:cubicBezTo>
                      <a:pt x="1171511" y="4637527"/>
                      <a:pt x="1148331" y="4614101"/>
                      <a:pt x="1119483" y="4614101"/>
                    </a:cubicBezTo>
                    <a:cubicBezTo>
                      <a:pt x="1090880" y="4614101"/>
                      <a:pt x="1067455" y="4637281"/>
                      <a:pt x="1067455" y="4666130"/>
                    </a:cubicBezTo>
                    <a:cubicBezTo>
                      <a:pt x="1067455" y="4694732"/>
                      <a:pt x="1090634" y="4718158"/>
                      <a:pt x="1119483" y="4718158"/>
                    </a:cubicBezTo>
                    <a:cubicBezTo>
                      <a:pt x="1148331" y="4718158"/>
                      <a:pt x="1171757" y="4694732"/>
                      <a:pt x="1171511" y="4666130"/>
                    </a:cubicBezTo>
                    <a:close/>
                    <a:moveTo>
                      <a:pt x="1173976" y="83133"/>
                    </a:moveTo>
                    <a:cubicBezTo>
                      <a:pt x="1173976" y="70558"/>
                      <a:pt x="1163867" y="60450"/>
                      <a:pt x="1151291" y="60450"/>
                    </a:cubicBezTo>
                    <a:cubicBezTo>
                      <a:pt x="1138715" y="60450"/>
                      <a:pt x="1128606" y="70558"/>
                      <a:pt x="1128606" y="83133"/>
                    </a:cubicBezTo>
                    <a:cubicBezTo>
                      <a:pt x="1128606" y="95709"/>
                      <a:pt x="1138715" y="105817"/>
                      <a:pt x="1151291" y="105817"/>
                    </a:cubicBezTo>
                    <a:cubicBezTo>
                      <a:pt x="1163867" y="105817"/>
                      <a:pt x="1173976" y="95709"/>
                      <a:pt x="1173976" y="83133"/>
                    </a:cubicBezTo>
                    <a:close/>
                    <a:moveTo>
                      <a:pt x="1174221" y="196532"/>
                    </a:moveTo>
                    <a:cubicBezTo>
                      <a:pt x="1174221" y="183957"/>
                      <a:pt x="1164112" y="173848"/>
                      <a:pt x="1151537" y="173848"/>
                    </a:cubicBezTo>
                    <a:cubicBezTo>
                      <a:pt x="1138961" y="173848"/>
                      <a:pt x="1128852" y="183957"/>
                      <a:pt x="1128852" y="196532"/>
                    </a:cubicBezTo>
                    <a:cubicBezTo>
                      <a:pt x="1128852" y="209107"/>
                      <a:pt x="1138961" y="219215"/>
                      <a:pt x="1151537" y="219215"/>
                    </a:cubicBezTo>
                    <a:cubicBezTo>
                      <a:pt x="1164112" y="219215"/>
                      <a:pt x="1174221" y="209107"/>
                      <a:pt x="1174221" y="196532"/>
                    </a:cubicBezTo>
                    <a:close/>
                    <a:moveTo>
                      <a:pt x="1174221" y="424565"/>
                    </a:moveTo>
                    <a:cubicBezTo>
                      <a:pt x="1174221" y="412729"/>
                      <a:pt x="1164604" y="402867"/>
                      <a:pt x="1152523" y="402867"/>
                    </a:cubicBezTo>
                    <a:cubicBezTo>
                      <a:pt x="1140687" y="402867"/>
                      <a:pt x="1130824" y="412483"/>
                      <a:pt x="1130824" y="424565"/>
                    </a:cubicBezTo>
                    <a:cubicBezTo>
                      <a:pt x="1130824" y="436400"/>
                      <a:pt x="1140440" y="446263"/>
                      <a:pt x="1152523" y="446263"/>
                    </a:cubicBezTo>
                    <a:cubicBezTo>
                      <a:pt x="1164358" y="446263"/>
                      <a:pt x="1174221" y="436400"/>
                      <a:pt x="1174221" y="424565"/>
                    </a:cubicBezTo>
                    <a:close/>
                    <a:moveTo>
                      <a:pt x="1174468" y="538952"/>
                    </a:moveTo>
                    <a:cubicBezTo>
                      <a:pt x="1174468" y="527117"/>
                      <a:pt x="1164853" y="517500"/>
                      <a:pt x="1153017" y="517500"/>
                    </a:cubicBezTo>
                    <a:cubicBezTo>
                      <a:pt x="1141427" y="517500"/>
                      <a:pt x="1131811" y="527117"/>
                      <a:pt x="1131811" y="538952"/>
                    </a:cubicBezTo>
                    <a:cubicBezTo>
                      <a:pt x="1131811" y="550787"/>
                      <a:pt x="1141181" y="560402"/>
                      <a:pt x="1153017" y="560402"/>
                    </a:cubicBezTo>
                    <a:cubicBezTo>
                      <a:pt x="1164605" y="560402"/>
                      <a:pt x="1174221" y="550787"/>
                      <a:pt x="1174468" y="538952"/>
                    </a:cubicBezTo>
                    <a:close/>
                    <a:moveTo>
                      <a:pt x="1174961" y="310177"/>
                    </a:moveTo>
                    <a:cubicBezTo>
                      <a:pt x="1174961" y="297602"/>
                      <a:pt x="1164852" y="287493"/>
                      <a:pt x="1152277" y="287493"/>
                    </a:cubicBezTo>
                    <a:cubicBezTo>
                      <a:pt x="1139701" y="287493"/>
                      <a:pt x="1129592" y="297602"/>
                      <a:pt x="1129592" y="310177"/>
                    </a:cubicBezTo>
                    <a:cubicBezTo>
                      <a:pt x="1129592" y="322753"/>
                      <a:pt x="1139701" y="332862"/>
                      <a:pt x="1152277" y="332862"/>
                    </a:cubicBezTo>
                    <a:cubicBezTo>
                      <a:pt x="1164852" y="332862"/>
                      <a:pt x="1174961" y="322753"/>
                      <a:pt x="1174961" y="310177"/>
                    </a:cubicBezTo>
                    <a:close/>
                    <a:moveTo>
                      <a:pt x="1174962" y="3736537"/>
                    </a:moveTo>
                    <a:cubicBezTo>
                      <a:pt x="1174962" y="3729387"/>
                      <a:pt x="1169290" y="3723715"/>
                      <a:pt x="1162140" y="3723715"/>
                    </a:cubicBezTo>
                    <a:cubicBezTo>
                      <a:pt x="1154990" y="3723715"/>
                      <a:pt x="1149318" y="3729387"/>
                      <a:pt x="1149318" y="3736537"/>
                    </a:cubicBezTo>
                    <a:cubicBezTo>
                      <a:pt x="1149318" y="3743687"/>
                      <a:pt x="1154990" y="3749359"/>
                      <a:pt x="1162140" y="3749359"/>
                    </a:cubicBezTo>
                    <a:cubicBezTo>
                      <a:pt x="1169290" y="3749359"/>
                      <a:pt x="1174962" y="3743687"/>
                      <a:pt x="1174962" y="3736537"/>
                    </a:cubicBezTo>
                    <a:close/>
                    <a:moveTo>
                      <a:pt x="1174962" y="4007775"/>
                    </a:moveTo>
                    <a:cubicBezTo>
                      <a:pt x="1174962" y="3993966"/>
                      <a:pt x="1163621" y="3982622"/>
                      <a:pt x="1149812" y="3982622"/>
                    </a:cubicBezTo>
                    <a:cubicBezTo>
                      <a:pt x="1136004" y="3982622"/>
                      <a:pt x="1124661" y="3993966"/>
                      <a:pt x="1124661" y="4007775"/>
                    </a:cubicBezTo>
                    <a:cubicBezTo>
                      <a:pt x="1124661" y="4021582"/>
                      <a:pt x="1136004" y="4032923"/>
                      <a:pt x="1149812" y="4032923"/>
                    </a:cubicBezTo>
                    <a:cubicBezTo>
                      <a:pt x="1163621" y="4032923"/>
                      <a:pt x="1174962" y="4021828"/>
                      <a:pt x="1174962" y="4007775"/>
                    </a:cubicBezTo>
                    <a:close/>
                    <a:moveTo>
                      <a:pt x="1175208" y="5483526"/>
                    </a:moveTo>
                    <a:cubicBezTo>
                      <a:pt x="1175208" y="5481800"/>
                      <a:pt x="1173976" y="5480568"/>
                      <a:pt x="1172249" y="5480568"/>
                    </a:cubicBezTo>
                    <a:cubicBezTo>
                      <a:pt x="1170522" y="5480568"/>
                      <a:pt x="1169290" y="5481800"/>
                      <a:pt x="1169290" y="5483526"/>
                    </a:cubicBezTo>
                    <a:cubicBezTo>
                      <a:pt x="1169290" y="5485007"/>
                      <a:pt x="1170522" y="5486485"/>
                      <a:pt x="1172249" y="5486485"/>
                    </a:cubicBezTo>
                    <a:cubicBezTo>
                      <a:pt x="1173976" y="5486485"/>
                      <a:pt x="1175454" y="5485007"/>
                      <a:pt x="1175208" y="5483526"/>
                    </a:cubicBezTo>
                    <a:close/>
                    <a:moveTo>
                      <a:pt x="1175700" y="6304379"/>
                    </a:moveTo>
                    <a:cubicBezTo>
                      <a:pt x="1175700" y="6296980"/>
                      <a:pt x="1169536" y="6291062"/>
                      <a:pt x="1162140" y="6291062"/>
                    </a:cubicBezTo>
                    <a:cubicBezTo>
                      <a:pt x="1154741" y="6291062"/>
                      <a:pt x="1148578" y="6296980"/>
                      <a:pt x="1148578" y="6304379"/>
                    </a:cubicBezTo>
                    <a:cubicBezTo>
                      <a:pt x="1148578" y="6311775"/>
                      <a:pt x="1154741" y="6317939"/>
                      <a:pt x="1162140" y="6317939"/>
                    </a:cubicBezTo>
                    <a:cubicBezTo>
                      <a:pt x="1169536" y="6317939"/>
                      <a:pt x="1175453" y="6312020"/>
                      <a:pt x="1175700" y="6304379"/>
                    </a:cubicBezTo>
                    <a:close/>
                    <a:moveTo>
                      <a:pt x="1176688" y="5603118"/>
                    </a:moveTo>
                    <a:cubicBezTo>
                      <a:pt x="1176688" y="5599418"/>
                      <a:pt x="1173729" y="5596459"/>
                      <a:pt x="1170030" y="5596459"/>
                    </a:cubicBezTo>
                    <a:cubicBezTo>
                      <a:pt x="1166331" y="5596459"/>
                      <a:pt x="1163372" y="5599418"/>
                      <a:pt x="1163372" y="5603118"/>
                    </a:cubicBezTo>
                    <a:cubicBezTo>
                      <a:pt x="1163372" y="5606814"/>
                      <a:pt x="1166331" y="5609776"/>
                      <a:pt x="1170030" y="5609776"/>
                    </a:cubicBezTo>
                    <a:cubicBezTo>
                      <a:pt x="1173729" y="5609776"/>
                      <a:pt x="1176688" y="5606814"/>
                      <a:pt x="1176688" y="5603118"/>
                    </a:cubicBezTo>
                    <a:close/>
                    <a:moveTo>
                      <a:pt x="1178659" y="4529279"/>
                    </a:moveTo>
                    <a:cubicBezTo>
                      <a:pt x="1178659" y="4503882"/>
                      <a:pt x="1157949" y="4483169"/>
                      <a:pt x="1132552" y="4483169"/>
                    </a:cubicBezTo>
                    <a:cubicBezTo>
                      <a:pt x="1107153" y="4483169"/>
                      <a:pt x="1086441" y="4503882"/>
                      <a:pt x="1086441" y="4529279"/>
                    </a:cubicBezTo>
                    <a:cubicBezTo>
                      <a:pt x="1086441" y="4554675"/>
                      <a:pt x="1107153" y="4575390"/>
                      <a:pt x="1132552" y="4575390"/>
                    </a:cubicBezTo>
                    <a:cubicBezTo>
                      <a:pt x="1158195" y="4575390"/>
                      <a:pt x="1178659" y="4554675"/>
                      <a:pt x="1178659" y="4529279"/>
                    </a:cubicBezTo>
                    <a:close/>
                    <a:moveTo>
                      <a:pt x="1179153" y="6189228"/>
                    </a:moveTo>
                    <a:cubicBezTo>
                      <a:pt x="1179153" y="6180350"/>
                      <a:pt x="1172003" y="6172952"/>
                      <a:pt x="1162880" y="6172952"/>
                    </a:cubicBezTo>
                    <a:cubicBezTo>
                      <a:pt x="1154004" y="6172952"/>
                      <a:pt x="1146605" y="6180101"/>
                      <a:pt x="1146605" y="6189228"/>
                    </a:cubicBezTo>
                    <a:cubicBezTo>
                      <a:pt x="1146605" y="6198104"/>
                      <a:pt x="1154004" y="6205500"/>
                      <a:pt x="1162880" y="6205500"/>
                    </a:cubicBezTo>
                    <a:cubicBezTo>
                      <a:pt x="1172003" y="6205500"/>
                      <a:pt x="1179153" y="6198104"/>
                      <a:pt x="1179153" y="6189228"/>
                    </a:cubicBezTo>
                    <a:close/>
                    <a:moveTo>
                      <a:pt x="1181373" y="3163031"/>
                    </a:moveTo>
                    <a:cubicBezTo>
                      <a:pt x="1181373" y="3161061"/>
                      <a:pt x="1179895" y="3159581"/>
                      <a:pt x="1177920" y="3159581"/>
                    </a:cubicBezTo>
                    <a:cubicBezTo>
                      <a:pt x="1175948" y="3159581"/>
                      <a:pt x="1174470" y="3161061"/>
                      <a:pt x="1174470" y="3163031"/>
                    </a:cubicBezTo>
                    <a:cubicBezTo>
                      <a:pt x="1174470" y="3165007"/>
                      <a:pt x="1175948" y="3166485"/>
                      <a:pt x="1177920" y="3166485"/>
                    </a:cubicBezTo>
                    <a:cubicBezTo>
                      <a:pt x="1179647" y="3166485"/>
                      <a:pt x="1181373" y="3165007"/>
                      <a:pt x="1181373" y="3163031"/>
                    </a:cubicBezTo>
                    <a:close/>
                    <a:moveTo>
                      <a:pt x="1183839" y="2745595"/>
                    </a:moveTo>
                    <a:cubicBezTo>
                      <a:pt x="1183839" y="2724386"/>
                      <a:pt x="1166580" y="2707372"/>
                      <a:pt x="1145621" y="2707372"/>
                    </a:cubicBezTo>
                    <a:cubicBezTo>
                      <a:pt x="1124661" y="2707372"/>
                      <a:pt x="1107647" y="2724632"/>
                      <a:pt x="1107647" y="2745595"/>
                    </a:cubicBezTo>
                    <a:cubicBezTo>
                      <a:pt x="1107647" y="2766552"/>
                      <a:pt x="1124661" y="2783564"/>
                      <a:pt x="1145621" y="2783564"/>
                    </a:cubicBezTo>
                    <a:cubicBezTo>
                      <a:pt x="1166826" y="2783564"/>
                      <a:pt x="1183839" y="2766552"/>
                      <a:pt x="1183839" y="2745595"/>
                    </a:cubicBezTo>
                    <a:close/>
                    <a:moveTo>
                      <a:pt x="1198633" y="1589986"/>
                    </a:moveTo>
                    <a:cubicBezTo>
                      <a:pt x="1198633" y="1579878"/>
                      <a:pt x="1190494" y="1571493"/>
                      <a:pt x="1180139" y="1571493"/>
                    </a:cubicBezTo>
                    <a:cubicBezTo>
                      <a:pt x="1170030" y="1571493"/>
                      <a:pt x="1161646" y="1579631"/>
                      <a:pt x="1161646" y="1589986"/>
                    </a:cubicBezTo>
                    <a:cubicBezTo>
                      <a:pt x="1161646" y="1600097"/>
                      <a:pt x="1169782" y="1608482"/>
                      <a:pt x="1180139" y="1608482"/>
                    </a:cubicBezTo>
                    <a:cubicBezTo>
                      <a:pt x="1190494" y="1608482"/>
                      <a:pt x="1198879" y="1600097"/>
                      <a:pt x="1198633" y="1589986"/>
                    </a:cubicBezTo>
                    <a:close/>
                    <a:moveTo>
                      <a:pt x="1199126" y="1711762"/>
                    </a:moveTo>
                    <a:cubicBezTo>
                      <a:pt x="1199126" y="1703647"/>
                      <a:pt x="1192469" y="1696741"/>
                      <a:pt x="1184086" y="1696741"/>
                    </a:cubicBezTo>
                    <a:cubicBezTo>
                      <a:pt x="1175701" y="1696741"/>
                      <a:pt x="1168798" y="1703402"/>
                      <a:pt x="1168798" y="1711762"/>
                    </a:cubicBezTo>
                    <a:cubicBezTo>
                      <a:pt x="1168798" y="1719907"/>
                      <a:pt x="1175701" y="1726816"/>
                      <a:pt x="1184086" y="1726816"/>
                    </a:cubicBezTo>
                    <a:cubicBezTo>
                      <a:pt x="1192469" y="1726816"/>
                      <a:pt x="1199126" y="1719907"/>
                      <a:pt x="1199126" y="1711762"/>
                    </a:cubicBezTo>
                    <a:close/>
                    <a:moveTo>
                      <a:pt x="1201837" y="4256815"/>
                    </a:moveTo>
                    <a:cubicBezTo>
                      <a:pt x="1201837" y="4245225"/>
                      <a:pt x="1192467" y="4235608"/>
                      <a:pt x="1180633" y="4235608"/>
                    </a:cubicBezTo>
                    <a:cubicBezTo>
                      <a:pt x="1169043" y="4235608"/>
                      <a:pt x="1159427" y="4245225"/>
                      <a:pt x="1159427" y="4256815"/>
                    </a:cubicBezTo>
                    <a:cubicBezTo>
                      <a:pt x="1159427" y="4268402"/>
                      <a:pt x="1168795" y="4278018"/>
                      <a:pt x="1180633" y="4278018"/>
                    </a:cubicBezTo>
                    <a:cubicBezTo>
                      <a:pt x="1192467" y="4278018"/>
                      <a:pt x="1201837" y="4268402"/>
                      <a:pt x="1201837" y="4256815"/>
                    </a:cubicBezTo>
                    <a:close/>
                    <a:moveTo>
                      <a:pt x="1203071" y="4996787"/>
                    </a:moveTo>
                    <a:cubicBezTo>
                      <a:pt x="1203071" y="4992593"/>
                      <a:pt x="1199620" y="4989142"/>
                      <a:pt x="1195429" y="4989142"/>
                    </a:cubicBezTo>
                    <a:cubicBezTo>
                      <a:pt x="1191234" y="4989142"/>
                      <a:pt x="1187784" y="4992593"/>
                      <a:pt x="1187784" y="4996787"/>
                    </a:cubicBezTo>
                    <a:cubicBezTo>
                      <a:pt x="1187784" y="5000978"/>
                      <a:pt x="1191234" y="5004429"/>
                      <a:pt x="1195429" y="5004429"/>
                    </a:cubicBezTo>
                    <a:cubicBezTo>
                      <a:pt x="1199620" y="5004429"/>
                      <a:pt x="1203071" y="5000978"/>
                      <a:pt x="1203071" y="4996787"/>
                    </a:cubicBezTo>
                    <a:close/>
                    <a:moveTo>
                      <a:pt x="1211950" y="3847499"/>
                    </a:moveTo>
                    <a:cubicBezTo>
                      <a:pt x="1211950" y="3839117"/>
                      <a:pt x="1205292" y="3832458"/>
                      <a:pt x="1196906" y="3832458"/>
                    </a:cubicBezTo>
                    <a:cubicBezTo>
                      <a:pt x="1188771" y="3832458"/>
                      <a:pt x="1181867" y="3839117"/>
                      <a:pt x="1181867" y="3847499"/>
                    </a:cubicBezTo>
                    <a:cubicBezTo>
                      <a:pt x="1181867" y="3855637"/>
                      <a:pt x="1188524" y="3862542"/>
                      <a:pt x="1196906" y="3862542"/>
                    </a:cubicBezTo>
                    <a:cubicBezTo>
                      <a:pt x="1205292" y="3862542"/>
                      <a:pt x="1212196" y="3855637"/>
                      <a:pt x="1211950" y="3847499"/>
                    </a:cubicBezTo>
                    <a:close/>
                    <a:moveTo>
                      <a:pt x="1212193" y="5244841"/>
                    </a:moveTo>
                    <a:cubicBezTo>
                      <a:pt x="1212193" y="5230541"/>
                      <a:pt x="1200605" y="5218951"/>
                      <a:pt x="1186303" y="5218951"/>
                    </a:cubicBezTo>
                    <a:cubicBezTo>
                      <a:pt x="1172003" y="5218951"/>
                      <a:pt x="1160414" y="5230541"/>
                      <a:pt x="1160414" y="5244841"/>
                    </a:cubicBezTo>
                    <a:cubicBezTo>
                      <a:pt x="1160414" y="5259144"/>
                      <a:pt x="1172003" y="5270734"/>
                      <a:pt x="1186303" y="5270734"/>
                    </a:cubicBezTo>
                    <a:cubicBezTo>
                      <a:pt x="1200605" y="5270734"/>
                      <a:pt x="1212193" y="5259144"/>
                      <a:pt x="1212193" y="5244841"/>
                    </a:cubicBezTo>
                    <a:close/>
                    <a:moveTo>
                      <a:pt x="1214167" y="2896983"/>
                    </a:moveTo>
                    <a:cubicBezTo>
                      <a:pt x="1214167" y="2876765"/>
                      <a:pt x="1197646" y="2860244"/>
                      <a:pt x="1177426" y="2860244"/>
                    </a:cubicBezTo>
                    <a:cubicBezTo>
                      <a:pt x="1157208" y="2860244"/>
                      <a:pt x="1140687" y="2876765"/>
                      <a:pt x="1140687" y="2896983"/>
                    </a:cubicBezTo>
                    <a:cubicBezTo>
                      <a:pt x="1140687" y="2917204"/>
                      <a:pt x="1157208" y="2933725"/>
                      <a:pt x="1177426" y="2933725"/>
                    </a:cubicBezTo>
                    <a:cubicBezTo>
                      <a:pt x="1197646" y="2933725"/>
                      <a:pt x="1214167" y="2917204"/>
                      <a:pt x="1214167" y="2896983"/>
                    </a:cubicBezTo>
                    <a:close/>
                    <a:moveTo>
                      <a:pt x="1219342" y="1835086"/>
                    </a:moveTo>
                    <a:cubicBezTo>
                      <a:pt x="1219342" y="1817823"/>
                      <a:pt x="1205288" y="1803771"/>
                      <a:pt x="1188029" y="1803771"/>
                    </a:cubicBezTo>
                    <a:cubicBezTo>
                      <a:pt x="1170768" y="1803771"/>
                      <a:pt x="1156714" y="1817823"/>
                      <a:pt x="1156714" y="1835086"/>
                    </a:cubicBezTo>
                    <a:cubicBezTo>
                      <a:pt x="1156714" y="1852339"/>
                      <a:pt x="1170768" y="1866389"/>
                      <a:pt x="1188029" y="1866389"/>
                    </a:cubicBezTo>
                    <a:cubicBezTo>
                      <a:pt x="1205536" y="1866389"/>
                      <a:pt x="1219591" y="1852094"/>
                      <a:pt x="1219342" y="1835086"/>
                    </a:cubicBezTo>
                    <a:close/>
                    <a:moveTo>
                      <a:pt x="1222798" y="3054294"/>
                    </a:moveTo>
                    <a:cubicBezTo>
                      <a:pt x="1222798" y="3052076"/>
                      <a:pt x="1221072" y="3050349"/>
                      <a:pt x="1218854" y="3050349"/>
                    </a:cubicBezTo>
                    <a:cubicBezTo>
                      <a:pt x="1216635" y="3050349"/>
                      <a:pt x="1214908" y="3052076"/>
                      <a:pt x="1214908" y="3054294"/>
                    </a:cubicBezTo>
                    <a:cubicBezTo>
                      <a:pt x="1214908" y="3056513"/>
                      <a:pt x="1216635" y="3058239"/>
                      <a:pt x="1218854" y="3058239"/>
                    </a:cubicBezTo>
                    <a:cubicBezTo>
                      <a:pt x="1220826" y="3058239"/>
                      <a:pt x="1222798" y="3056513"/>
                      <a:pt x="1222798" y="3054294"/>
                    </a:cubicBezTo>
                    <a:close/>
                    <a:moveTo>
                      <a:pt x="1226744" y="2086273"/>
                    </a:moveTo>
                    <a:cubicBezTo>
                      <a:pt x="1226744" y="2071477"/>
                      <a:pt x="1214908" y="2059640"/>
                      <a:pt x="1200114" y="2059640"/>
                    </a:cubicBezTo>
                    <a:cubicBezTo>
                      <a:pt x="1185565" y="2059640"/>
                      <a:pt x="1173484" y="2071477"/>
                      <a:pt x="1173484" y="2086273"/>
                    </a:cubicBezTo>
                    <a:cubicBezTo>
                      <a:pt x="1173484" y="2101070"/>
                      <a:pt x="1185320" y="2112907"/>
                      <a:pt x="1200114" y="2112907"/>
                    </a:cubicBezTo>
                    <a:cubicBezTo>
                      <a:pt x="1214663" y="2112907"/>
                      <a:pt x="1226744" y="2101070"/>
                      <a:pt x="1226744" y="2086273"/>
                    </a:cubicBezTo>
                    <a:close/>
                    <a:moveTo>
                      <a:pt x="1227236" y="5121802"/>
                    </a:moveTo>
                    <a:cubicBezTo>
                      <a:pt x="1227236" y="5101585"/>
                      <a:pt x="1210714" y="5085063"/>
                      <a:pt x="1190493" y="5085063"/>
                    </a:cubicBezTo>
                    <a:cubicBezTo>
                      <a:pt x="1170276" y="5085063"/>
                      <a:pt x="1153755" y="5101585"/>
                      <a:pt x="1153755" y="5121802"/>
                    </a:cubicBezTo>
                    <a:cubicBezTo>
                      <a:pt x="1153755" y="5142022"/>
                      <a:pt x="1170276" y="5158541"/>
                      <a:pt x="1190493" y="5158541"/>
                    </a:cubicBezTo>
                    <a:cubicBezTo>
                      <a:pt x="1210961" y="5158541"/>
                      <a:pt x="1227482" y="5142022"/>
                      <a:pt x="1227236" y="5121802"/>
                    </a:cubicBezTo>
                    <a:close/>
                    <a:moveTo>
                      <a:pt x="1227482" y="1959551"/>
                    </a:moveTo>
                    <a:cubicBezTo>
                      <a:pt x="1227482" y="1940817"/>
                      <a:pt x="1212441" y="1925780"/>
                      <a:pt x="1193701" y="1925780"/>
                    </a:cubicBezTo>
                    <a:cubicBezTo>
                      <a:pt x="1174961" y="1925780"/>
                      <a:pt x="1159921" y="1941065"/>
                      <a:pt x="1159921" y="1959551"/>
                    </a:cubicBezTo>
                    <a:cubicBezTo>
                      <a:pt x="1159921" y="1978285"/>
                      <a:pt x="1175210" y="1993321"/>
                      <a:pt x="1193701" y="1993321"/>
                    </a:cubicBezTo>
                    <a:cubicBezTo>
                      <a:pt x="1212195" y="1993321"/>
                      <a:pt x="1227482" y="1978285"/>
                      <a:pt x="1227482" y="1959551"/>
                    </a:cubicBezTo>
                    <a:close/>
                    <a:moveTo>
                      <a:pt x="1238088" y="632384"/>
                    </a:moveTo>
                    <a:cubicBezTo>
                      <a:pt x="1238088" y="619317"/>
                      <a:pt x="1227730" y="608714"/>
                      <a:pt x="1214663" y="608714"/>
                    </a:cubicBezTo>
                    <a:cubicBezTo>
                      <a:pt x="1201841" y="608714"/>
                      <a:pt x="1191237" y="619317"/>
                      <a:pt x="1191237" y="632384"/>
                    </a:cubicBezTo>
                    <a:cubicBezTo>
                      <a:pt x="1191237" y="645235"/>
                      <a:pt x="1201592" y="655854"/>
                      <a:pt x="1214663" y="655854"/>
                    </a:cubicBezTo>
                    <a:cubicBezTo>
                      <a:pt x="1227730" y="655854"/>
                      <a:pt x="1238333" y="645235"/>
                      <a:pt x="1238088" y="632384"/>
                    </a:cubicBezTo>
                    <a:close/>
                    <a:moveTo>
                      <a:pt x="1238330" y="977573"/>
                    </a:moveTo>
                    <a:cubicBezTo>
                      <a:pt x="1238330" y="965983"/>
                      <a:pt x="1228713" y="956371"/>
                      <a:pt x="1217126" y="956371"/>
                    </a:cubicBezTo>
                    <a:cubicBezTo>
                      <a:pt x="1205291" y="956371"/>
                      <a:pt x="1195920" y="965983"/>
                      <a:pt x="1195920" y="977573"/>
                    </a:cubicBezTo>
                    <a:cubicBezTo>
                      <a:pt x="1195920" y="989403"/>
                      <a:pt x="1205536" y="998774"/>
                      <a:pt x="1217126" y="998774"/>
                    </a:cubicBezTo>
                    <a:cubicBezTo>
                      <a:pt x="1228959" y="998774"/>
                      <a:pt x="1238330" y="989156"/>
                      <a:pt x="1238330" y="977573"/>
                    </a:cubicBezTo>
                    <a:close/>
                    <a:moveTo>
                      <a:pt x="1238579" y="747060"/>
                    </a:moveTo>
                    <a:cubicBezTo>
                      <a:pt x="1238579" y="734233"/>
                      <a:pt x="1227976" y="723640"/>
                      <a:pt x="1215154" y="723640"/>
                    </a:cubicBezTo>
                    <a:cubicBezTo>
                      <a:pt x="1202332" y="723640"/>
                      <a:pt x="1191729" y="734233"/>
                      <a:pt x="1191729" y="747060"/>
                    </a:cubicBezTo>
                    <a:cubicBezTo>
                      <a:pt x="1191729" y="759881"/>
                      <a:pt x="1202332" y="770488"/>
                      <a:pt x="1215154" y="770488"/>
                    </a:cubicBezTo>
                    <a:cubicBezTo>
                      <a:pt x="1228222" y="770488"/>
                      <a:pt x="1238579" y="759881"/>
                      <a:pt x="1238579" y="747060"/>
                    </a:cubicBezTo>
                    <a:close/>
                    <a:moveTo>
                      <a:pt x="1238579" y="1211045"/>
                    </a:moveTo>
                    <a:cubicBezTo>
                      <a:pt x="1238579" y="1199949"/>
                      <a:pt x="1229703" y="1191073"/>
                      <a:pt x="1218605" y="1191073"/>
                    </a:cubicBezTo>
                    <a:cubicBezTo>
                      <a:pt x="1207510" y="1191073"/>
                      <a:pt x="1198633" y="1199949"/>
                      <a:pt x="1198633" y="1211045"/>
                    </a:cubicBezTo>
                    <a:cubicBezTo>
                      <a:pt x="1198633" y="1222143"/>
                      <a:pt x="1207510" y="1231021"/>
                      <a:pt x="1218605" y="1231021"/>
                    </a:cubicBezTo>
                    <a:cubicBezTo>
                      <a:pt x="1229703" y="1231021"/>
                      <a:pt x="1238579" y="1222143"/>
                      <a:pt x="1238579" y="1211045"/>
                    </a:cubicBezTo>
                    <a:close/>
                    <a:moveTo>
                      <a:pt x="1238826" y="2513569"/>
                    </a:moveTo>
                    <a:cubicBezTo>
                      <a:pt x="1238826" y="2491378"/>
                      <a:pt x="1220578" y="2473131"/>
                      <a:pt x="1198387" y="2473131"/>
                    </a:cubicBezTo>
                    <a:cubicBezTo>
                      <a:pt x="1175948" y="2473131"/>
                      <a:pt x="1157949" y="2491378"/>
                      <a:pt x="1157949" y="2513569"/>
                    </a:cubicBezTo>
                    <a:cubicBezTo>
                      <a:pt x="1157949" y="2535761"/>
                      <a:pt x="1176194" y="2554008"/>
                      <a:pt x="1198387" y="2554008"/>
                    </a:cubicBezTo>
                    <a:cubicBezTo>
                      <a:pt x="1220578" y="2554008"/>
                      <a:pt x="1238826" y="2535761"/>
                      <a:pt x="1238826" y="2513569"/>
                    </a:cubicBezTo>
                    <a:close/>
                    <a:moveTo>
                      <a:pt x="1239317" y="1093940"/>
                    </a:moveTo>
                    <a:cubicBezTo>
                      <a:pt x="1239317" y="1081858"/>
                      <a:pt x="1229454" y="1072241"/>
                      <a:pt x="1217618" y="1072241"/>
                    </a:cubicBezTo>
                    <a:cubicBezTo>
                      <a:pt x="1205536" y="1072241"/>
                      <a:pt x="1195920" y="1082104"/>
                      <a:pt x="1195920" y="1093940"/>
                    </a:cubicBezTo>
                    <a:cubicBezTo>
                      <a:pt x="1195920" y="1106020"/>
                      <a:pt x="1205783" y="1115636"/>
                      <a:pt x="1217618" y="1115636"/>
                    </a:cubicBezTo>
                    <a:cubicBezTo>
                      <a:pt x="1229454" y="1115636"/>
                      <a:pt x="1239070" y="1106020"/>
                      <a:pt x="1239317" y="1093940"/>
                    </a:cubicBezTo>
                    <a:close/>
                    <a:moveTo>
                      <a:pt x="1239566" y="861945"/>
                    </a:moveTo>
                    <a:cubicBezTo>
                      <a:pt x="1239566" y="849127"/>
                      <a:pt x="1228963" y="838528"/>
                      <a:pt x="1216140" y="838528"/>
                    </a:cubicBezTo>
                    <a:cubicBezTo>
                      <a:pt x="1203318" y="838528"/>
                      <a:pt x="1192715" y="849127"/>
                      <a:pt x="1192715" y="861945"/>
                    </a:cubicBezTo>
                    <a:cubicBezTo>
                      <a:pt x="1192715" y="874764"/>
                      <a:pt x="1203318" y="885372"/>
                      <a:pt x="1216140" y="885372"/>
                    </a:cubicBezTo>
                    <a:cubicBezTo>
                      <a:pt x="1229208" y="885372"/>
                      <a:pt x="1239566" y="874764"/>
                      <a:pt x="1239566" y="861945"/>
                    </a:cubicBezTo>
                    <a:close/>
                    <a:moveTo>
                      <a:pt x="1240058" y="3448316"/>
                    </a:moveTo>
                    <a:cubicBezTo>
                      <a:pt x="1240058" y="3447577"/>
                      <a:pt x="1239564" y="3447083"/>
                      <a:pt x="1238824" y="3447083"/>
                    </a:cubicBezTo>
                    <a:cubicBezTo>
                      <a:pt x="1238086" y="3447083"/>
                      <a:pt x="1237591" y="3447577"/>
                      <a:pt x="1237591" y="3448316"/>
                    </a:cubicBezTo>
                    <a:cubicBezTo>
                      <a:pt x="1237591" y="3449055"/>
                      <a:pt x="1238086" y="3449550"/>
                      <a:pt x="1238824" y="3449550"/>
                    </a:cubicBezTo>
                    <a:cubicBezTo>
                      <a:pt x="1239564" y="3449550"/>
                      <a:pt x="1240058" y="3449055"/>
                      <a:pt x="1240058" y="3448316"/>
                    </a:cubicBezTo>
                    <a:close/>
                    <a:moveTo>
                      <a:pt x="1241044" y="4482678"/>
                    </a:moveTo>
                    <a:cubicBezTo>
                      <a:pt x="1241044" y="4482182"/>
                      <a:pt x="1240798" y="4481937"/>
                      <a:pt x="1240306" y="4481937"/>
                    </a:cubicBezTo>
                    <a:cubicBezTo>
                      <a:pt x="1239811" y="4481937"/>
                      <a:pt x="1239566" y="4482182"/>
                      <a:pt x="1239566" y="4482678"/>
                    </a:cubicBezTo>
                    <a:cubicBezTo>
                      <a:pt x="1239566" y="4483169"/>
                      <a:pt x="1240060" y="4483414"/>
                      <a:pt x="1240306" y="4483414"/>
                    </a:cubicBezTo>
                    <a:cubicBezTo>
                      <a:pt x="1240798" y="4483414"/>
                      <a:pt x="1241044" y="4482923"/>
                      <a:pt x="1241044" y="4482678"/>
                    </a:cubicBezTo>
                    <a:close/>
                    <a:moveTo>
                      <a:pt x="1241290" y="4869800"/>
                    </a:moveTo>
                    <a:cubicBezTo>
                      <a:pt x="1241290" y="4847855"/>
                      <a:pt x="1223539" y="4830102"/>
                      <a:pt x="1201592" y="4830102"/>
                    </a:cubicBezTo>
                    <a:cubicBezTo>
                      <a:pt x="1179648" y="4830102"/>
                      <a:pt x="1161894" y="4847855"/>
                      <a:pt x="1161894" y="4869800"/>
                    </a:cubicBezTo>
                    <a:cubicBezTo>
                      <a:pt x="1161894" y="4891747"/>
                      <a:pt x="1179648" y="4909501"/>
                      <a:pt x="1201592" y="4909501"/>
                    </a:cubicBezTo>
                    <a:cubicBezTo>
                      <a:pt x="1223539" y="4909501"/>
                      <a:pt x="1241290" y="4891747"/>
                      <a:pt x="1241290" y="4869800"/>
                    </a:cubicBezTo>
                    <a:close/>
                    <a:moveTo>
                      <a:pt x="1241785" y="1328891"/>
                    </a:moveTo>
                    <a:cubicBezTo>
                      <a:pt x="1241785" y="1317055"/>
                      <a:pt x="1232168" y="1307190"/>
                      <a:pt x="1220086" y="1307190"/>
                    </a:cubicBezTo>
                    <a:cubicBezTo>
                      <a:pt x="1208004" y="1307190"/>
                      <a:pt x="1198387" y="1316811"/>
                      <a:pt x="1198387" y="1328891"/>
                    </a:cubicBezTo>
                    <a:cubicBezTo>
                      <a:pt x="1198387" y="1340971"/>
                      <a:pt x="1208251" y="1350590"/>
                      <a:pt x="1220086" y="1350590"/>
                    </a:cubicBezTo>
                    <a:cubicBezTo>
                      <a:pt x="1232168" y="1350590"/>
                      <a:pt x="1241785" y="1340724"/>
                      <a:pt x="1241785" y="1328891"/>
                    </a:cubicBezTo>
                    <a:close/>
                    <a:moveTo>
                      <a:pt x="1242770" y="1447479"/>
                    </a:moveTo>
                    <a:cubicBezTo>
                      <a:pt x="1242770" y="1435646"/>
                      <a:pt x="1233153" y="1426277"/>
                      <a:pt x="1221566" y="1426277"/>
                    </a:cubicBezTo>
                    <a:cubicBezTo>
                      <a:pt x="1209727" y="1426277"/>
                      <a:pt x="1200360" y="1435890"/>
                      <a:pt x="1200360" y="1447479"/>
                    </a:cubicBezTo>
                    <a:cubicBezTo>
                      <a:pt x="1200360" y="1459317"/>
                      <a:pt x="1209976" y="1468687"/>
                      <a:pt x="1221566" y="1468687"/>
                    </a:cubicBezTo>
                    <a:cubicBezTo>
                      <a:pt x="1233401" y="1468687"/>
                      <a:pt x="1242770" y="1459317"/>
                      <a:pt x="1242770" y="1447479"/>
                    </a:cubicBezTo>
                    <a:close/>
                    <a:moveTo>
                      <a:pt x="1245235" y="4108128"/>
                    </a:moveTo>
                    <a:cubicBezTo>
                      <a:pt x="1245235" y="4087416"/>
                      <a:pt x="1228468" y="4070649"/>
                      <a:pt x="1207756" y="4070649"/>
                    </a:cubicBezTo>
                    <a:cubicBezTo>
                      <a:pt x="1187043" y="4070649"/>
                      <a:pt x="1170277" y="4087416"/>
                      <a:pt x="1170277" y="4108128"/>
                    </a:cubicBezTo>
                    <a:cubicBezTo>
                      <a:pt x="1170277" y="4128840"/>
                      <a:pt x="1187043" y="4145608"/>
                      <a:pt x="1207756" y="4145608"/>
                    </a:cubicBezTo>
                    <a:cubicBezTo>
                      <a:pt x="1228468" y="4145608"/>
                      <a:pt x="1245235" y="4128840"/>
                      <a:pt x="1245235" y="4108128"/>
                    </a:cubicBezTo>
                    <a:close/>
                    <a:moveTo>
                      <a:pt x="1247701" y="2215481"/>
                    </a:moveTo>
                    <a:cubicBezTo>
                      <a:pt x="1247701" y="2193532"/>
                      <a:pt x="1229948" y="2175780"/>
                      <a:pt x="1208001" y="2175780"/>
                    </a:cubicBezTo>
                    <a:cubicBezTo>
                      <a:pt x="1186057" y="2175780"/>
                      <a:pt x="1168303" y="2193532"/>
                      <a:pt x="1168303" y="2215481"/>
                    </a:cubicBezTo>
                    <a:cubicBezTo>
                      <a:pt x="1168303" y="2237425"/>
                      <a:pt x="1186057" y="2255178"/>
                      <a:pt x="1208001" y="2255178"/>
                    </a:cubicBezTo>
                    <a:cubicBezTo>
                      <a:pt x="1229699" y="2255178"/>
                      <a:pt x="1247453" y="2237425"/>
                      <a:pt x="1247701" y="2215481"/>
                    </a:cubicBezTo>
                    <a:close/>
                    <a:moveTo>
                      <a:pt x="1250167" y="2347638"/>
                    </a:moveTo>
                    <a:cubicBezTo>
                      <a:pt x="1250167" y="2329629"/>
                      <a:pt x="1235375" y="2314838"/>
                      <a:pt x="1217373" y="2314838"/>
                    </a:cubicBezTo>
                    <a:cubicBezTo>
                      <a:pt x="1199373" y="2314838"/>
                      <a:pt x="1184579" y="2329629"/>
                      <a:pt x="1184579" y="2347638"/>
                    </a:cubicBezTo>
                    <a:cubicBezTo>
                      <a:pt x="1184579" y="2365634"/>
                      <a:pt x="1199373" y="2380427"/>
                      <a:pt x="1217373" y="2380427"/>
                    </a:cubicBezTo>
                    <a:cubicBezTo>
                      <a:pt x="1235620" y="2380427"/>
                      <a:pt x="1250167" y="2365634"/>
                      <a:pt x="1250167" y="2347638"/>
                    </a:cubicBezTo>
                    <a:close/>
                    <a:moveTo>
                      <a:pt x="1259042" y="2654111"/>
                    </a:moveTo>
                    <a:cubicBezTo>
                      <a:pt x="1259042" y="2630685"/>
                      <a:pt x="1240057" y="2611699"/>
                      <a:pt x="1216632" y="2611699"/>
                    </a:cubicBezTo>
                    <a:cubicBezTo>
                      <a:pt x="1193207" y="2611699"/>
                      <a:pt x="1174221" y="2630685"/>
                      <a:pt x="1174221" y="2654111"/>
                    </a:cubicBezTo>
                    <a:cubicBezTo>
                      <a:pt x="1174221" y="2677536"/>
                      <a:pt x="1193207" y="2696522"/>
                      <a:pt x="1216632" y="2696522"/>
                    </a:cubicBezTo>
                    <a:cubicBezTo>
                      <a:pt x="1240057" y="2696522"/>
                      <a:pt x="1259042" y="2677536"/>
                      <a:pt x="1259042" y="2654111"/>
                    </a:cubicBezTo>
                    <a:close/>
                    <a:moveTo>
                      <a:pt x="1261016" y="4740349"/>
                    </a:moveTo>
                    <a:cubicBezTo>
                      <a:pt x="1261016" y="4711746"/>
                      <a:pt x="1237839" y="4688320"/>
                      <a:pt x="1208991" y="4688320"/>
                    </a:cubicBezTo>
                    <a:cubicBezTo>
                      <a:pt x="1180388" y="4688320"/>
                      <a:pt x="1156962" y="4711500"/>
                      <a:pt x="1156962" y="4740349"/>
                    </a:cubicBezTo>
                    <a:cubicBezTo>
                      <a:pt x="1156962" y="4769198"/>
                      <a:pt x="1180139" y="4792623"/>
                      <a:pt x="1208991" y="4792623"/>
                    </a:cubicBezTo>
                    <a:cubicBezTo>
                      <a:pt x="1237839" y="4792623"/>
                      <a:pt x="1261264" y="4769198"/>
                      <a:pt x="1261016" y="4740349"/>
                    </a:cubicBezTo>
                    <a:close/>
                    <a:moveTo>
                      <a:pt x="1261262" y="3953525"/>
                    </a:moveTo>
                    <a:cubicBezTo>
                      <a:pt x="1261262" y="3943908"/>
                      <a:pt x="1253371" y="3936017"/>
                      <a:pt x="1243757" y="3936017"/>
                    </a:cubicBezTo>
                    <a:cubicBezTo>
                      <a:pt x="1234139" y="3936017"/>
                      <a:pt x="1226249" y="3943908"/>
                      <a:pt x="1226249" y="3953525"/>
                    </a:cubicBezTo>
                    <a:cubicBezTo>
                      <a:pt x="1226249" y="3963142"/>
                      <a:pt x="1234139" y="3971030"/>
                      <a:pt x="1243757" y="3971030"/>
                    </a:cubicBezTo>
                    <a:cubicBezTo>
                      <a:pt x="1253371" y="3971030"/>
                      <a:pt x="1261262" y="3963142"/>
                      <a:pt x="1261262" y="3953525"/>
                    </a:cubicBezTo>
                    <a:close/>
                    <a:moveTo>
                      <a:pt x="1262743" y="4608430"/>
                    </a:moveTo>
                    <a:cubicBezTo>
                      <a:pt x="1262743" y="4584019"/>
                      <a:pt x="1242771" y="4564047"/>
                      <a:pt x="1218359" y="4564047"/>
                    </a:cubicBezTo>
                    <a:cubicBezTo>
                      <a:pt x="1193948" y="4564047"/>
                      <a:pt x="1173976" y="4584019"/>
                      <a:pt x="1173976" y="4608430"/>
                    </a:cubicBezTo>
                    <a:cubicBezTo>
                      <a:pt x="1173976" y="4632842"/>
                      <a:pt x="1193948" y="4652814"/>
                      <a:pt x="1218359" y="4652814"/>
                    </a:cubicBezTo>
                    <a:cubicBezTo>
                      <a:pt x="1243017" y="4652814"/>
                      <a:pt x="1262743" y="4632842"/>
                      <a:pt x="1262743" y="4608430"/>
                    </a:cubicBezTo>
                    <a:close/>
                    <a:moveTo>
                      <a:pt x="1263729" y="7351583"/>
                    </a:moveTo>
                    <a:cubicBezTo>
                      <a:pt x="1263729" y="7350351"/>
                      <a:pt x="1262742" y="7349365"/>
                      <a:pt x="1261510" y="7349365"/>
                    </a:cubicBezTo>
                    <a:cubicBezTo>
                      <a:pt x="1260029" y="7349365"/>
                      <a:pt x="1259043" y="7350351"/>
                      <a:pt x="1259043" y="7351583"/>
                    </a:cubicBezTo>
                    <a:cubicBezTo>
                      <a:pt x="1259043" y="7352816"/>
                      <a:pt x="1260276" y="7353801"/>
                      <a:pt x="1261510" y="7353801"/>
                    </a:cubicBezTo>
                    <a:cubicBezTo>
                      <a:pt x="1262989" y="7353801"/>
                      <a:pt x="1263974" y="7352816"/>
                      <a:pt x="1263729" y="7351583"/>
                    </a:cubicBezTo>
                    <a:close/>
                    <a:moveTo>
                      <a:pt x="1263977" y="7463036"/>
                    </a:moveTo>
                    <a:cubicBezTo>
                      <a:pt x="1263977" y="7461804"/>
                      <a:pt x="1262988" y="7460818"/>
                      <a:pt x="1261756" y="7460818"/>
                    </a:cubicBezTo>
                    <a:cubicBezTo>
                      <a:pt x="1260523" y="7460818"/>
                      <a:pt x="1259538" y="7461804"/>
                      <a:pt x="1259538" y="7463036"/>
                    </a:cubicBezTo>
                    <a:cubicBezTo>
                      <a:pt x="1259538" y="7464271"/>
                      <a:pt x="1260523" y="7465254"/>
                      <a:pt x="1261756" y="7465254"/>
                    </a:cubicBezTo>
                    <a:cubicBezTo>
                      <a:pt x="1262988" y="7465254"/>
                      <a:pt x="1263977" y="7464022"/>
                      <a:pt x="1263977" y="7463036"/>
                    </a:cubicBezTo>
                    <a:close/>
                    <a:moveTo>
                      <a:pt x="1264223" y="7239639"/>
                    </a:moveTo>
                    <a:cubicBezTo>
                      <a:pt x="1264223" y="7238159"/>
                      <a:pt x="1262989" y="7236926"/>
                      <a:pt x="1261511" y="7236926"/>
                    </a:cubicBezTo>
                    <a:cubicBezTo>
                      <a:pt x="1260030" y="7236926"/>
                      <a:pt x="1258798" y="7238159"/>
                      <a:pt x="1258798" y="7239639"/>
                    </a:cubicBezTo>
                    <a:cubicBezTo>
                      <a:pt x="1258798" y="7241117"/>
                      <a:pt x="1260030" y="7242353"/>
                      <a:pt x="1261511" y="7242353"/>
                    </a:cubicBezTo>
                    <a:cubicBezTo>
                      <a:pt x="1262989" y="7242353"/>
                      <a:pt x="1263974" y="7241364"/>
                      <a:pt x="1264223" y="7239639"/>
                    </a:cubicBezTo>
                    <a:close/>
                    <a:moveTo>
                      <a:pt x="1264961" y="3332423"/>
                    </a:moveTo>
                    <a:cubicBezTo>
                      <a:pt x="1264961" y="3324041"/>
                      <a:pt x="1258057" y="3317137"/>
                      <a:pt x="1249675" y="3317137"/>
                    </a:cubicBezTo>
                    <a:cubicBezTo>
                      <a:pt x="1241289" y="3317137"/>
                      <a:pt x="1234386" y="3324041"/>
                      <a:pt x="1234386" y="3332423"/>
                    </a:cubicBezTo>
                    <a:cubicBezTo>
                      <a:pt x="1234386" y="3340807"/>
                      <a:pt x="1241289" y="3347711"/>
                      <a:pt x="1249675" y="3347711"/>
                    </a:cubicBezTo>
                    <a:cubicBezTo>
                      <a:pt x="1258057" y="3347711"/>
                      <a:pt x="1264961" y="3340807"/>
                      <a:pt x="1264961" y="3332423"/>
                    </a:cubicBezTo>
                    <a:close/>
                    <a:moveTo>
                      <a:pt x="1267920" y="7129176"/>
                    </a:moveTo>
                    <a:cubicBezTo>
                      <a:pt x="1267920" y="7127942"/>
                      <a:pt x="1266933" y="7126955"/>
                      <a:pt x="1265701" y="7126955"/>
                    </a:cubicBezTo>
                    <a:cubicBezTo>
                      <a:pt x="1264469" y="7126955"/>
                      <a:pt x="1263483" y="7127942"/>
                      <a:pt x="1263483" y="7129176"/>
                    </a:cubicBezTo>
                    <a:cubicBezTo>
                      <a:pt x="1263483" y="7130408"/>
                      <a:pt x="1264469" y="7131395"/>
                      <a:pt x="1265701" y="7131395"/>
                    </a:cubicBezTo>
                    <a:cubicBezTo>
                      <a:pt x="1266933" y="7131395"/>
                      <a:pt x="1267920" y="7130408"/>
                      <a:pt x="1267920" y="7129176"/>
                    </a:cubicBezTo>
                    <a:close/>
                    <a:moveTo>
                      <a:pt x="1268169" y="6905283"/>
                    </a:moveTo>
                    <a:cubicBezTo>
                      <a:pt x="1268169" y="6904049"/>
                      <a:pt x="1267183" y="6902816"/>
                      <a:pt x="1265702" y="6902816"/>
                    </a:cubicBezTo>
                    <a:cubicBezTo>
                      <a:pt x="1264470" y="6902816"/>
                      <a:pt x="1263238" y="6903802"/>
                      <a:pt x="1263238" y="6905283"/>
                    </a:cubicBezTo>
                    <a:cubicBezTo>
                      <a:pt x="1263238" y="6906515"/>
                      <a:pt x="1264223" y="6907747"/>
                      <a:pt x="1265702" y="6907747"/>
                    </a:cubicBezTo>
                    <a:cubicBezTo>
                      <a:pt x="1267183" y="6907747"/>
                      <a:pt x="1268415" y="6906515"/>
                      <a:pt x="1268169" y="6905283"/>
                    </a:cubicBezTo>
                    <a:close/>
                    <a:moveTo>
                      <a:pt x="1268909" y="7017228"/>
                    </a:moveTo>
                    <a:cubicBezTo>
                      <a:pt x="1268909" y="7015501"/>
                      <a:pt x="1267428" y="7014023"/>
                      <a:pt x="1265701" y="7014023"/>
                    </a:cubicBezTo>
                    <a:cubicBezTo>
                      <a:pt x="1263978" y="7014023"/>
                      <a:pt x="1262497" y="7015501"/>
                      <a:pt x="1262497" y="7017228"/>
                    </a:cubicBezTo>
                    <a:cubicBezTo>
                      <a:pt x="1262497" y="7018954"/>
                      <a:pt x="1263978" y="7020435"/>
                      <a:pt x="1265701" y="7020435"/>
                    </a:cubicBezTo>
                    <a:cubicBezTo>
                      <a:pt x="1267428" y="7020435"/>
                      <a:pt x="1268909" y="7018954"/>
                      <a:pt x="1268909" y="7017228"/>
                    </a:cubicBezTo>
                    <a:close/>
                    <a:moveTo>
                      <a:pt x="1269401" y="6453557"/>
                    </a:moveTo>
                    <a:cubicBezTo>
                      <a:pt x="1269401" y="6451832"/>
                      <a:pt x="1267920" y="6450351"/>
                      <a:pt x="1266193" y="6450351"/>
                    </a:cubicBezTo>
                    <a:cubicBezTo>
                      <a:pt x="1264467" y="6450351"/>
                      <a:pt x="1262989" y="6451832"/>
                      <a:pt x="1262989" y="6453557"/>
                    </a:cubicBezTo>
                    <a:cubicBezTo>
                      <a:pt x="1262989" y="6455529"/>
                      <a:pt x="1264467" y="6457010"/>
                      <a:pt x="1266193" y="6457010"/>
                    </a:cubicBezTo>
                    <a:cubicBezTo>
                      <a:pt x="1267920" y="6457010"/>
                      <a:pt x="1269401" y="6455529"/>
                      <a:pt x="1269401" y="6453557"/>
                    </a:cubicBezTo>
                    <a:close/>
                    <a:moveTo>
                      <a:pt x="1274578" y="6679915"/>
                    </a:moveTo>
                    <a:cubicBezTo>
                      <a:pt x="1274578" y="6675229"/>
                      <a:pt x="1270879" y="6671284"/>
                      <a:pt x="1265948" y="6671284"/>
                    </a:cubicBezTo>
                    <a:cubicBezTo>
                      <a:pt x="1261016" y="6671284"/>
                      <a:pt x="1257071" y="6674983"/>
                      <a:pt x="1257071" y="6679915"/>
                    </a:cubicBezTo>
                    <a:cubicBezTo>
                      <a:pt x="1257071" y="6684845"/>
                      <a:pt x="1261016" y="6688791"/>
                      <a:pt x="1265948" y="6688791"/>
                    </a:cubicBezTo>
                    <a:cubicBezTo>
                      <a:pt x="1270633" y="6688791"/>
                      <a:pt x="1274578" y="6684845"/>
                      <a:pt x="1274578" y="6679915"/>
                    </a:cubicBezTo>
                    <a:close/>
                    <a:moveTo>
                      <a:pt x="1275073" y="6566982"/>
                    </a:moveTo>
                    <a:cubicBezTo>
                      <a:pt x="1275073" y="6562050"/>
                      <a:pt x="1270880" y="6557859"/>
                      <a:pt x="1265948" y="6557859"/>
                    </a:cubicBezTo>
                    <a:cubicBezTo>
                      <a:pt x="1260771" y="6557859"/>
                      <a:pt x="1256826" y="6562050"/>
                      <a:pt x="1256826" y="6566982"/>
                    </a:cubicBezTo>
                    <a:cubicBezTo>
                      <a:pt x="1256826" y="6571913"/>
                      <a:pt x="1261017" y="6576103"/>
                      <a:pt x="1265948" y="6576103"/>
                    </a:cubicBezTo>
                    <a:cubicBezTo>
                      <a:pt x="1270880" y="6576103"/>
                      <a:pt x="1275073" y="6571913"/>
                      <a:pt x="1275073" y="6566982"/>
                    </a:cubicBezTo>
                    <a:close/>
                    <a:moveTo>
                      <a:pt x="1275564" y="5998625"/>
                    </a:moveTo>
                    <a:cubicBezTo>
                      <a:pt x="1275564" y="5997393"/>
                      <a:pt x="1274576" y="5996406"/>
                      <a:pt x="1273343" y="5996406"/>
                    </a:cubicBezTo>
                    <a:cubicBezTo>
                      <a:pt x="1272111" y="5996406"/>
                      <a:pt x="1271125" y="5997393"/>
                      <a:pt x="1271125" y="5998625"/>
                    </a:cubicBezTo>
                    <a:cubicBezTo>
                      <a:pt x="1271125" y="5999857"/>
                      <a:pt x="1272111" y="6000843"/>
                      <a:pt x="1273343" y="6000843"/>
                    </a:cubicBezTo>
                    <a:cubicBezTo>
                      <a:pt x="1274576" y="6000843"/>
                      <a:pt x="1275564" y="5999857"/>
                      <a:pt x="1275564" y="5998625"/>
                    </a:cubicBezTo>
                    <a:close/>
                    <a:moveTo>
                      <a:pt x="1275565" y="5883471"/>
                    </a:moveTo>
                    <a:cubicBezTo>
                      <a:pt x="1275565" y="5882733"/>
                      <a:pt x="1274825" y="5881992"/>
                      <a:pt x="1274084" y="5881992"/>
                    </a:cubicBezTo>
                    <a:cubicBezTo>
                      <a:pt x="1273346" y="5881992"/>
                      <a:pt x="1272606" y="5882733"/>
                      <a:pt x="1272606" y="5883471"/>
                    </a:cubicBezTo>
                    <a:cubicBezTo>
                      <a:pt x="1272606" y="5884211"/>
                      <a:pt x="1273346" y="5884952"/>
                      <a:pt x="1274084" y="5884952"/>
                    </a:cubicBezTo>
                    <a:cubicBezTo>
                      <a:pt x="1275073" y="5884952"/>
                      <a:pt x="1275811" y="5884211"/>
                      <a:pt x="1275565" y="5883471"/>
                    </a:cubicBezTo>
                    <a:close/>
                    <a:moveTo>
                      <a:pt x="1275811" y="2950729"/>
                    </a:moveTo>
                    <a:cubicBezTo>
                      <a:pt x="1275811" y="2948264"/>
                      <a:pt x="1273838" y="2946292"/>
                      <a:pt x="1271371" y="2946292"/>
                    </a:cubicBezTo>
                    <a:cubicBezTo>
                      <a:pt x="1268907" y="2946292"/>
                      <a:pt x="1266934" y="2948264"/>
                      <a:pt x="1266934" y="2950729"/>
                    </a:cubicBezTo>
                    <a:cubicBezTo>
                      <a:pt x="1266934" y="2953195"/>
                      <a:pt x="1268907" y="2955169"/>
                      <a:pt x="1271371" y="2955169"/>
                    </a:cubicBezTo>
                    <a:cubicBezTo>
                      <a:pt x="1273838" y="2955169"/>
                      <a:pt x="1275811" y="2953195"/>
                      <a:pt x="1275811" y="2950729"/>
                    </a:cubicBezTo>
                    <a:close/>
                    <a:moveTo>
                      <a:pt x="1275813" y="6792596"/>
                    </a:moveTo>
                    <a:cubicBezTo>
                      <a:pt x="1275813" y="6786927"/>
                      <a:pt x="1271373" y="6782487"/>
                      <a:pt x="1265702" y="6782487"/>
                    </a:cubicBezTo>
                    <a:cubicBezTo>
                      <a:pt x="1260033" y="6782487"/>
                      <a:pt x="1255593" y="6786927"/>
                      <a:pt x="1255593" y="6792596"/>
                    </a:cubicBezTo>
                    <a:cubicBezTo>
                      <a:pt x="1255593" y="6798022"/>
                      <a:pt x="1260033" y="6802708"/>
                      <a:pt x="1265702" y="6802708"/>
                    </a:cubicBezTo>
                    <a:cubicBezTo>
                      <a:pt x="1271373" y="6802708"/>
                      <a:pt x="1275813" y="6798268"/>
                      <a:pt x="1275813" y="6792596"/>
                    </a:cubicBezTo>
                    <a:close/>
                    <a:moveTo>
                      <a:pt x="1276056" y="6113529"/>
                    </a:moveTo>
                    <a:cubicBezTo>
                      <a:pt x="1276056" y="6111555"/>
                      <a:pt x="1274578" y="6110077"/>
                      <a:pt x="1272602" y="6110077"/>
                    </a:cubicBezTo>
                    <a:cubicBezTo>
                      <a:pt x="1270630" y="6110077"/>
                      <a:pt x="1269152" y="6111555"/>
                      <a:pt x="1269152" y="6113529"/>
                    </a:cubicBezTo>
                    <a:cubicBezTo>
                      <a:pt x="1269152" y="6115503"/>
                      <a:pt x="1270630" y="6116981"/>
                      <a:pt x="1272602" y="6116981"/>
                    </a:cubicBezTo>
                    <a:cubicBezTo>
                      <a:pt x="1274578" y="6116981"/>
                      <a:pt x="1276056" y="6115503"/>
                      <a:pt x="1276056" y="6113529"/>
                    </a:cubicBezTo>
                    <a:close/>
                    <a:moveTo>
                      <a:pt x="1277785" y="5767585"/>
                    </a:moveTo>
                    <a:cubicBezTo>
                      <a:pt x="1277785" y="5766104"/>
                      <a:pt x="1276551" y="5764871"/>
                      <a:pt x="1275073" y="5764871"/>
                    </a:cubicBezTo>
                    <a:cubicBezTo>
                      <a:pt x="1273592" y="5764871"/>
                      <a:pt x="1272360" y="5766104"/>
                      <a:pt x="1272360" y="5767585"/>
                    </a:cubicBezTo>
                    <a:cubicBezTo>
                      <a:pt x="1272360" y="5769063"/>
                      <a:pt x="1273592" y="5770298"/>
                      <a:pt x="1275073" y="5770298"/>
                    </a:cubicBezTo>
                    <a:cubicBezTo>
                      <a:pt x="1276551" y="5770298"/>
                      <a:pt x="1277785" y="5769063"/>
                      <a:pt x="1277785" y="5767585"/>
                    </a:cubicBezTo>
                    <a:close/>
                    <a:moveTo>
                      <a:pt x="1280002" y="4344595"/>
                    </a:moveTo>
                    <a:cubicBezTo>
                      <a:pt x="1280002" y="4331527"/>
                      <a:pt x="1269152" y="4320677"/>
                      <a:pt x="1255839" y="4320677"/>
                    </a:cubicBezTo>
                    <a:cubicBezTo>
                      <a:pt x="1242521" y="4320677"/>
                      <a:pt x="1231673" y="4331282"/>
                      <a:pt x="1231673" y="4344595"/>
                    </a:cubicBezTo>
                    <a:cubicBezTo>
                      <a:pt x="1231673" y="4357911"/>
                      <a:pt x="1242521" y="4368761"/>
                      <a:pt x="1255839" y="4368761"/>
                    </a:cubicBezTo>
                    <a:cubicBezTo>
                      <a:pt x="1268907" y="4368761"/>
                      <a:pt x="1279755" y="4357911"/>
                      <a:pt x="1280002" y="4344595"/>
                    </a:cubicBezTo>
                    <a:close/>
                    <a:moveTo>
                      <a:pt x="1280989" y="5533337"/>
                    </a:moveTo>
                    <a:cubicBezTo>
                      <a:pt x="1280989" y="5531612"/>
                      <a:pt x="1279510" y="5530131"/>
                      <a:pt x="1277783" y="5530131"/>
                    </a:cubicBezTo>
                    <a:cubicBezTo>
                      <a:pt x="1276057" y="5530131"/>
                      <a:pt x="1274579" y="5531363"/>
                      <a:pt x="1274579" y="5533337"/>
                    </a:cubicBezTo>
                    <a:cubicBezTo>
                      <a:pt x="1274579" y="5535063"/>
                      <a:pt x="1276057" y="5536544"/>
                      <a:pt x="1277783" y="5536544"/>
                    </a:cubicBezTo>
                    <a:cubicBezTo>
                      <a:pt x="1279510" y="5536544"/>
                      <a:pt x="1280989" y="5535309"/>
                      <a:pt x="1280989" y="5533337"/>
                    </a:cubicBezTo>
                    <a:close/>
                    <a:moveTo>
                      <a:pt x="1282715" y="5650703"/>
                    </a:moveTo>
                    <a:cubicBezTo>
                      <a:pt x="1282715" y="5647006"/>
                      <a:pt x="1279756" y="5644293"/>
                      <a:pt x="1276305" y="5644293"/>
                    </a:cubicBezTo>
                    <a:cubicBezTo>
                      <a:pt x="1272606" y="5644293"/>
                      <a:pt x="1269893" y="5647252"/>
                      <a:pt x="1269893" y="5650703"/>
                    </a:cubicBezTo>
                    <a:cubicBezTo>
                      <a:pt x="1269893" y="5654156"/>
                      <a:pt x="1272852" y="5657115"/>
                      <a:pt x="1276305" y="5657115"/>
                    </a:cubicBezTo>
                    <a:cubicBezTo>
                      <a:pt x="1279756" y="5657115"/>
                      <a:pt x="1282715" y="5654402"/>
                      <a:pt x="1282715" y="5650703"/>
                    </a:cubicBezTo>
                    <a:close/>
                    <a:moveTo>
                      <a:pt x="1283454" y="2799587"/>
                    </a:moveTo>
                    <a:cubicBezTo>
                      <a:pt x="1283454" y="2775666"/>
                      <a:pt x="1263974" y="2756434"/>
                      <a:pt x="1240304" y="2756434"/>
                    </a:cubicBezTo>
                    <a:cubicBezTo>
                      <a:pt x="1216383" y="2756434"/>
                      <a:pt x="1197152" y="2775666"/>
                      <a:pt x="1197152" y="2799587"/>
                    </a:cubicBezTo>
                    <a:cubicBezTo>
                      <a:pt x="1197152" y="2823504"/>
                      <a:pt x="1216632" y="2842738"/>
                      <a:pt x="1240304" y="2842738"/>
                    </a:cubicBezTo>
                    <a:cubicBezTo>
                      <a:pt x="1264220" y="2842738"/>
                      <a:pt x="1283454" y="2823259"/>
                      <a:pt x="1283454" y="2799587"/>
                    </a:cubicBezTo>
                    <a:close/>
                    <a:moveTo>
                      <a:pt x="1283702" y="6341858"/>
                    </a:moveTo>
                    <a:cubicBezTo>
                      <a:pt x="1283702" y="6335202"/>
                      <a:pt x="1278278" y="6329776"/>
                      <a:pt x="1271620" y="6329776"/>
                    </a:cubicBezTo>
                    <a:cubicBezTo>
                      <a:pt x="1265210" y="6329776"/>
                      <a:pt x="1259784" y="6335202"/>
                      <a:pt x="1259784" y="6341858"/>
                    </a:cubicBezTo>
                    <a:cubicBezTo>
                      <a:pt x="1259784" y="6348516"/>
                      <a:pt x="1264962" y="6353942"/>
                      <a:pt x="1271620" y="6353942"/>
                    </a:cubicBezTo>
                    <a:cubicBezTo>
                      <a:pt x="1278278" y="6353942"/>
                      <a:pt x="1283702" y="6348516"/>
                      <a:pt x="1283702" y="6341858"/>
                    </a:cubicBezTo>
                    <a:close/>
                    <a:moveTo>
                      <a:pt x="1285920" y="389058"/>
                    </a:moveTo>
                    <a:cubicBezTo>
                      <a:pt x="1285920" y="376483"/>
                      <a:pt x="1275811" y="366374"/>
                      <a:pt x="1263234" y="366374"/>
                    </a:cubicBezTo>
                    <a:cubicBezTo>
                      <a:pt x="1250659" y="366374"/>
                      <a:pt x="1240550" y="376483"/>
                      <a:pt x="1240550" y="389058"/>
                    </a:cubicBezTo>
                    <a:cubicBezTo>
                      <a:pt x="1240550" y="401634"/>
                      <a:pt x="1250659" y="411741"/>
                      <a:pt x="1263234" y="411741"/>
                    </a:cubicBezTo>
                    <a:cubicBezTo>
                      <a:pt x="1275811" y="411741"/>
                      <a:pt x="1285920" y="401634"/>
                      <a:pt x="1285920" y="389058"/>
                    </a:cubicBezTo>
                    <a:close/>
                    <a:moveTo>
                      <a:pt x="1285920" y="502461"/>
                    </a:moveTo>
                    <a:cubicBezTo>
                      <a:pt x="1285920" y="490131"/>
                      <a:pt x="1275811" y="480268"/>
                      <a:pt x="1263483" y="480268"/>
                    </a:cubicBezTo>
                    <a:cubicBezTo>
                      <a:pt x="1251153" y="480268"/>
                      <a:pt x="1241290" y="490131"/>
                      <a:pt x="1241290" y="502461"/>
                    </a:cubicBezTo>
                    <a:cubicBezTo>
                      <a:pt x="1241290" y="514542"/>
                      <a:pt x="1251153" y="524650"/>
                      <a:pt x="1263483" y="524650"/>
                    </a:cubicBezTo>
                    <a:cubicBezTo>
                      <a:pt x="1275811" y="524650"/>
                      <a:pt x="1285673" y="514788"/>
                      <a:pt x="1285920" y="502461"/>
                    </a:cubicBezTo>
                    <a:close/>
                    <a:moveTo>
                      <a:pt x="1286166" y="51327"/>
                    </a:moveTo>
                    <a:cubicBezTo>
                      <a:pt x="1286166" y="38506"/>
                      <a:pt x="1275811" y="27903"/>
                      <a:pt x="1262743" y="27903"/>
                    </a:cubicBezTo>
                    <a:cubicBezTo>
                      <a:pt x="1249921" y="27903"/>
                      <a:pt x="1239318" y="38259"/>
                      <a:pt x="1239318" y="51327"/>
                    </a:cubicBezTo>
                    <a:cubicBezTo>
                      <a:pt x="1239318" y="64148"/>
                      <a:pt x="1249672" y="74751"/>
                      <a:pt x="1262743" y="74751"/>
                    </a:cubicBezTo>
                    <a:cubicBezTo>
                      <a:pt x="1275811" y="74751"/>
                      <a:pt x="1286414" y="64148"/>
                      <a:pt x="1286166" y="51327"/>
                    </a:cubicBezTo>
                    <a:close/>
                    <a:moveTo>
                      <a:pt x="1286662" y="163493"/>
                    </a:moveTo>
                    <a:cubicBezTo>
                      <a:pt x="1286662" y="150671"/>
                      <a:pt x="1276059" y="140069"/>
                      <a:pt x="1262991" y="140069"/>
                    </a:cubicBezTo>
                    <a:cubicBezTo>
                      <a:pt x="1250169" y="140069"/>
                      <a:pt x="1239566" y="150424"/>
                      <a:pt x="1239566" y="163493"/>
                    </a:cubicBezTo>
                    <a:cubicBezTo>
                      <a:pt x="1239566" y="176560"/>
                      <a:pt x="1249920" y="187163"/>
                      <a:pt x="1262991" y="187163"/>
                    </a:cubicBezTo>
                    <a:cubicBezTo>
                      <a:pt x="1275813" y="187163"/>
                      <a:pt x="1286413" y="176560"/>
                      <a:pt x="1286662" y="163493"/>
                    </a:cubicBezTo>
                    <a:close/>
                    <a:moveTo>
                      <a:pt x="1286662" y="6227942"/>
                    </a:moveTo>
                    <a:cubicBezTo>
                      <a:pt x="1286662" y="6219805"/>
                      <a:pt x="1280004" y="6213393"/>
                      <a:pt x="1272114" y="6213393"/>
                    </a:cubicBezTo>
                    <a:cubicBezTo>
                      <a:pt x="1263978" y="6213393"/>
                      <a:pt x="1257565" y="6220052"/>
                      <a:pt x="1257565" y="6227942"/>
                    </a:cubicBezTo>
                    <a:cubicBezTo>
                      <a:pt x="1257565" y="6236078"/>
                      <a:pt x="1264223" y="6242487"/>
                      <a:pt x="1272114" y="6242487"/>
                    </a:cubicBezTo>
                    <a:cubicBezTo>
                      <a:pt x="1280250" y="6242487"/>
                      <a:pt x="1286662" y="6235832"/>
                      <a:pt x="1286662" y="6227942"/>
                    </a:cubicBezTo>
                    <a:close/>
                    <a:moveTo>
                      <a:pt x="1287154" y="276152"/>
                    </a:moveTo>
                    <a:cubicBezTo>
                      <a:pt x="1287154" y="263084"/>
                      <a:pt x="1276551" y="252482"/>
                      <a:pt x="1263483" y="252482"/>
                    </a:cubicBezTo>
                    <a:cubicBezTo>
                      <a:pt x="1250416" y="252482"/>
                      <a:pt x="1239812" y="263084"/>
                      <a:pt x="1239812" y="276152"/>
                    </a:cubicBezTo>
                    <a:cubicBezTo>
                      <a:pt x="1239812" y="289220"/>
                      <a:pt x="1250416" y="299822"/>
                      <a:pt x="1263483" y="299822"/>
                    </a:cubicBezTo>
                    <a:cubicBezTo>
                      <a:pt x="1276551" y="299822"/>
                      <a:pt x="1287154" y="289220"/>
                      <a:pt x="1287154" y="276152"/>
                    </a:cubicBezTo>
                    <a:close/>
                    <a:moveTo>
                      <a:pt x="1293810" y="3218752"/>
                    </a:moveTo>
                    <a:cubicBezTo>
                      <a:pt x="1293810" y="3208151"/>
                      <a:pt x="1285179" y="3199520"/>
                      <a:pt x="1274576" y="3199520"/>
                    </a:cubicBezTo>
                    <a:cubicBezTo>
                      <a:pt x="1263975" y="3199520"/>
                      <a:pt x="1255345" y="3208151"/>
                      <a:pt x="1255345" y="3218752"/>
                    </a:cubicBezTo>
                    <a:cubicBezTo>
                      <a:pt x="1255345" y="3229357"/>
                      <a:pt x="1263975" y="3237986"/>
                      <a:pt x="1274576" y="3237986"/>
                    </a:cubicBezTo>
                    <a:cubicBezTo>
                      <a:pt x="1285179" y="3237986"/>
                      <a:pt x="1293810" y="3229357"/>
                      <a:pt x="1293810" y="3218752"/>
                    </a:cubicBezTo>
                    <a:close/>
                    <a:moveTo>
                      <a:pt x="1298249" y="5057198"/>
                    </a:moveTo>
                    <a:cubicBezTo>
                      <a:pt x="1298249" y="5055224"/>
                      <a:pt x="1296770" y="5053747"/>
                      <a:pt x="1294796" y="5053747"/>
                    </a:cubicBezTo>
                    <a:cubicBezTo>
                      <a:pt x="1292824" y="5053747"/>
                      <a:pt x="1291346" y="5055224"/>
                      <a:pt x="1291346" y="5057198"/>
                    </a:cubicBezTo>
                    <a:cubicBezTo>
                      <a:pt x="1291346" y="5059173"/>
                      <a:pt x="1292824" y="5060651"/>
                      <a:pt x="1294796" y="5060651"/>
                    </a:cubicBezTo>
                    <a:cubicBezTo>
                      <a:pt x="1296770" y="5060651"/>
                      <a:pt x="1298249" y="5058924"/>
                      <a:pt x="1298249" y="5057198"/>
                    </a:cubicBezTo>
                    <a:close/>
                    <a:moveTo>
                      <a:pt x="1302194" y="1657040"/>
                    </a:moveTo>
                    <a:cubicBezTo>
                      <a:pt x="1302194" y="1648412"/>
                      <a:pt x="1295044" y="1641510"/>
                      <a:pt x="1286414" y="1641510"/>
                    </a:cubicBezTo>
                    <a:cubicBezTo>
                      <a:pt x="1277783" y="1641510"/>
                      <a:pt x="1270633" y="1648412"/>
                      <a:pt x="1270633" y="1657040"/>
                    </a:cubicBezTo>
                    <a:cubicBezTo>
                      <a:pt x="1270633" y="1665669"/>
                      <a:pt x="1277783" y="1672820"/>
                      <a:pt x="1286414" y="1672820"/>
                    </a:cubicBezTo>
                    <a:cubicBezTo>
                      <a:pt x="1295044" y="1672820"/>
                      <a:pt x="1301948" y="1665917"/>
                      <a:pt x="1302194" y="1657040"/>
                    </a:cubicBezTo>
                    <a:close/>
                    <a:moveTo>
                      <a:pt x="1303922" y="1538207"/>
                    </a:moveTo>
                    <a:cubicBezTo>
                      <a:pt x="1303922" y="1527112"/>
                      <a:pt x="1294799" y="1517988"/>
                      <a:pt x="1283701" y="1517988"/>
                    </a:cubicBezTo>
                    <a:cubicBezTo>
                      <a:pt x="1272605" y="1517988"/>
                      <a:pt x="1263483" y="1527112"/>
                      <a:pt x="1263483" y="1538207"/>
                    </a:cubicBezTo>
                    <a:cubicBezTo>
                      <a:pt x="1263483" y="1549302"/>
                      <a:pt x="1272605" y="1558422"/>
                      <a:pt x="1283701" y="1558422"/>
                    </a:cubicBezTo>
                    <a:cubicBezTo>
                      <a:pt x="1294799" y="1558422"/>
                      <a:pt x="1303922" y="1549302"/>
                      <a:pt x="1303922" y="1538207"/>
                    </a:cubicBezTo>
                    <a:close/>
                    <a:moveTo>
                      <a:pt x="1307375" y="1777627"/>
                    </a:moveTo>
                    <a:cubicBezTo>
                      <a:pt x="1307375" y="1767510"/>
                      <a:pt x="1299236" y="1759120"/>
                      <a:pt x="1288881" y="1759120"/>
                    </a:cubicBezTo>
                    <a:cubicBezTo>
                      <a:pt x="1278770" y="1759120"/>
                      <a:pt x="1270388" y="1767510"/>
                      <a:pt x="1270388" y="1777627"/>
                    </a:cubicBezTo>
                    <a:cubicBezTo>
                      <a:pt x="1270388" y="1787718"/>
                      <a:pt x="1278770" y="1796129"/>
                      <a:pt x="1288881" y="1796129"/>
                    </a:cubicBezTo>
                    <a:cubicBezTo>
                      <a:pt x="1299236" y="1796129"/>
                      <a:pt x="1307620" y="1787963"/>
                      <a:pt x="1307375" y="1777627"/>
                    </a:cubicBezTo>
                    <a:close/>
                    <a:moveTo>
                      <a:pt x="1312058" y="5299090"/>
                    </a:moveTo>
                    <a:cubicBezTo>
                      <a:pt x="1312058" y="5286268"/>
                      <a:pt x="1301701" y="5275665"/>
                      <a:pt x="1288633" y="5275665"/>
                    </a:cubicBezTo>
                    <a:cubicBezTo>
                      <a:pt x="1275811" y="5275665"/>
                      <a:pt x="1265208" y="5286020"/>
                      <a:pt x="1265208" y="5299090"/>
                    </a:cubicBezTo>
                    <a:cubicBezTo>
                      <a:pt x="1265208" y="5312159"/>
                      <a:pt x="1275565" y="5322762"/>
                      <a:pt x="1288633" y="5322762"/>
                    </a:cubicBezTo>
                    <a:cubicBezTo>
                      <a:pt x="1301701" y="5322762"/>
                      <a:pt x="1312304" y="5312159"/>
                      <a:pt x="1312058" y="5299090"/>
                    </a:cubicBezTo>
                    <a:close/>
                    <a:moveTo>
                      <a:pt x="1316989" y="4202074"/>
                    </a:moveTo>
                    <a:cubicBezTo>
                      <a:pt x="1316989" y="4179143"/>
                      <a:pt x="1298495" y="4160649"/>
                      <a:pt x="1275564" y="4160649"/>
                    </a:cubicBezTo>
                    <a:cubicBezTo>
                      <a:pt x="1252633" y="4160649"/>
                      <a:pt x="1234140" y="4179143"/>
                      <a:pt x="1234140" y="4202074"/>
                    </a:cubicBezTo>
                    <a:cubicBezTo>
                      <a:pt x="1234140" y="4225004"/>
                      <a:pt x="1252633" y="4243498"/>
                      <a:pt x="1275564" y="4243498"/>
                    </a:cubicBezTo>
                    <a:cubicBezTo>
                      <a:pt x="1298495" y="4243498"/>
                      <a:pt x="1316989" y="4224758"/>
                      <a:pt x="1316989" y="4202074"/>
                    </a:cubicBezTo>
                    <a:close/>
                    <a:moveTo>
                      <a:pt x="1321673" y="2022405"/>
                    </a:moveTo>
                    <a:cubicBezTo>
                      <a:pt x="1321673" y="2008844"/>
                      <a:pt x="1310577" y="1997997"/>
                      <a:pt x="1297264" y="1997997"/>
                    </a:cubicBezTo>
                    <a:cubicBezTo>
                      <a:pt x="1283701" y="1997997"/>
                      <a:pt x="1272852" y="2009089"/>
                      <a:pt x="1272852" y="2022405"/>
                    </a:cubicBezTo>
                    <a:cubicBezTo>
                      <a:pt x="1272852" y="2035968"/>
                      <a:pt x="1283948" y="2046817"/>
                      <a:pt x="1297264" y="2046817"/>
                    </a:cubicBezTo>
                    <a:cubicBezTo>
                      <a:pt x="1310577" y="2046817"/>
                      <a:pt x="1321426" y="2035720"/>
                      <a:pt x="1321673" y="2022405"/>
                    </a:cubicBezTo>
                    <a:close/>
                    <a:moveTo>
                      <a:pt x="1321921" y="4053881"/>
                    </a:moveTo>
                    <a:cubicBezTo>
                      <a:pt x="1321921" y="4042785"/>
                      <a:pt x="1313045" y="4033909"/>
                      <a:pt x="1301949" y="4033909"/>
                    </a:cubicBezTo>
                    <a:cubicBezTo>
                      <a:pt x="1290854" y="4033909"/>
                      <a:pt x="1281977" y="4042785"/>
                      <a:pt x="1281977" y="4053881"/>
                    </a:cubicBezTo>
                    <a:cubicBezTo>
                      <a:pt x="1281977" y="4064977"/>
                      <a:pt x="1291100" y="4073853"/>
                      <a:pt x="1301949" y="4073853"/>
                    </a:cubicBezTo>
                    <a:cubicBezTo>
                      <a:pt x="1312798" y="4073853"/>
                      <a:pt x="1321921" y="4064977"/>
                      <a:pt x="1321921" y="4053881"/>
                    </a:cubicBezTo>
                    <a:close/>
                    <a:moveTo>
                      <a:pt x="1322907" y="2434419"/>
                    </a:moveTo>
                    <a:cubicBezTo>
                      <a:pt x="1322907" y="2412225"/>
                      <a:pt x="1304659" y="2393981"/>
                      <a:pt x="1282469" y="2393981"/>
                    </a:cubicBezTo>
                    <a:cubicBezTo>
                      <a:pt x="1260276" y="2393981"/>
                      <a:pt x="1242030" y="2412225"/>
                      <a:pt x="1242030" y="2434419"/>
                    </a:cubicBezTo>
                    <a:cubicBezTo>
                      <a:pt x="1242030" y="2456613"/>
                      <a:pt x="1260276" y="2474857"/>
                      <a:pt x="1282469" y="2474857"/>
                    </a:cubicBezTo>
                    <a:cubicBezTo>
                      <a:pt x="1304908" y="2474857"/>
                      <a:pt x="1322907" y="2456858"/>
                      <a:pt x="1322907" y="2434419"/>
                    </a:cubicBezTo>
                    <a:close/>
                    <a:moveTo>
                      <a:pt x="1325371" y="1899159"/>
                    </a:moveTo>
                    <a:cubicBezTo>
                      <a:pt x="1325371" y="1881164"/>
                      <a:pt x="1310823" y="1866620"/>
                      <a:pt x="1292824" y="1866620"/>
                    </a:cubicBezTo>
                    <a:cubicBezTo>
                      <a:pt x="1274824" y="1866620"/>
                      <a:pt x="1260276" y="1881164"/>
                      <a:pt x="1260276" y="1899159"/>
                    </a:cubicBezTo>
                    <a:cubicBezTo>
                      <a:pt x="1260276" y="1917152"/>
                      <a:pt x="1274824" y="1931697"/>
                      <a:pt x="1292824" y="1931697"/>
                    </a:cubicBezTo>
                    <a:cubicBezTo>
                      <a:pt x="1310823" y="1931697"/>
                      <a:pt x="1325371" y="1917152"/>
                      <a:pt x="1325371" y="1899159"/>
                    </a:cubicBezTo>
                    <a:close/>
                    <a:moveTo>
                      <a:pt x="1328332" y="5178759"/>
                    </a:moveTo>
                    <a:cubicBezTo>
                      <a:pt x="1328332" y="5158542"/>
                      <a:pt x="1311811" y="5142020"/>
                      <a:pt x="1291591" y="5142020"/>
                    </a:cubicBezTo>
                    <a:cubicBezTo>
                      <a:pt x="1271373" y="5142020"/>
                      <a:pt x="1254852" y="5158542"/>
                      <a:pt x="1254852" y="5178759"/>
                    </a:cubicBezTo>
                    <a:cubicBezTo>
                      <a:pt x="1254852" y="5198979"/>
                      <a:pt x="1271373" y="5215498"/>
                      <a:pt x="1291591" y="5215498"/>
                    </a:cubicBezTo>
                    <a:cubicBezTo>
                      <a:pt x="1311811" y="5215498"/>
                      <a:pt x="1328332" y="5199226"/>
                      <a:pt x="1328332" y="5178759"/>
                    </a:cubicBezTo>
                    <a:close/>
                    <a:moveTo>
                      <a:pt x="1334742" y="3109026"/>
                    </a:moveTo>
                    <a:cubicBezTo>
                      <a:pt x="1334742" y="3097191"/>
                      <a:pt x="1325126" y="3087574"/>
                      <a:pt x="1313290" y="3087574"/>
                    </a:cubicBezTo>
                    <a:cubicBezTo>
                      <a:pt x="1301454" y="3087574"/>
                      <a:pt x="1291837" y="3097191"/>
                      <a:pt x="1291837" y="3109026"/>
                    </a:cubicBezTo>
                    <a:cubicBezTo>
                      <a:pt x="1291837" y="3120863"/>
                      <a:pt x="1301454" y="3130480"/>
                      <a:pt x="1313290" y="3130480"/>
                    </a:cubicBezTo>
                    <a:cubicBezTo>
                      <a:pt x="1325126" y="3130480"/>
                      <a:pt x="1334742" y="3120617"/>
                      <a:pt x="1334742" y="3109026"/>
                    </a:cubicBezTo>
                    <a:close/>
                    <a:moveTo>
                      <a:pt x="1335236" y="4933665"/>
                    </a:moveTo>
                    <a:cubicBezTo>
                      <a:pt x="1335236" y="4913446"/>
                      <a:pt x="1318714" y="4897171"/>
                      <a:pt x="1298742" y="4897171"/>
                    </a:cubicBezTo>
                    <a:cubicBezTo>
                      <a:pt x="1278524" y="4897171"/>
                      <a:pt x="1262249" y="4913693"/>
                      <a:pt x="1262249" y="4933665"/>
                    </a:cubicBezTo>
                    <a:cubicBezTo>
                      <a:pt x="1262249" y="4953885"/>
                      <a:pt x="1278770" y="4970158"/>
                      <a:pt x="1298742" y="4970158"/>
                    </a:cubicBezTo>
                    <a:cubicBezTo>
                      <a:pt x="1318714" y="4970158"/>
                      <a:pt x="1335236" y="4953885"/>
                      <a:pt x="1335236" y="4933665"/>
                    </a:cubicBezTo>
                    <a:close/>
                    <a:moveTo>
                      <a:pt x="1337701" y="3899032"/>
                    </a:moveTo>
                    <a:lnTo>
                      <a:pt x="1337701" y="3898786"/>
                    </a:lnTo>
                    <a:lnTo>
                      <a:pt x="1337456" y="3898786"/>
                    </a:lnTo>
                    <a:close/>
                    <a:moveTo>
                      <a:pt x="1340661" y="2853827"/>
                    </a:moveTo>
                    <a:cubicBezTo>
                      <a:pt x="1340661" y="2850619"/>
                      <a:pt x="1337950" y="2848155"/>
                      <a:pt x="1334991" y="2848155"/>
                    </a:cubicBezTo>
                    <a:cubicBezTo>
                      <a:pt x="1332032" y="2848155"/>
                      <a:pt x="1329566" y="2850867"/>
                      <a:pt x="1329566" y="2853827"/>
                    </a:cubicBezTo>
                    <a:cubicBezTo>
                      <a:pt x="1329566" y="2856785"/>
                      <a:pt x="1332032" y="2859250"/>
                      <a:pt x="1334991" y="2859250"/>
                    </a:cubicBezTo>
                    <a:cubicBezTo>
                      <a:pt x="1337950" y="2859250"/>
                      <a:pt x="1340661" y="2856785"/>
                      <a:pt x="1340661" y="2853827"/>
                    </a:cubicBezTo>
                    <a:close/>
                    <a:moveTo>
                      <a:pt x="1341153" y="2569780"/>
                    </a:moveTo>
                    <a:cubicBezTo>
                      <a:pt x="1341153" y="2544631"/>
                      <a:pt x="1320689" y="2524165"/>
                      <a:pt x="1295537" y="2524165"/>
                    </a:cubicBezTo>
                    <a:cubicBezTo>
                      <a:pt x="1270388" y="2524165"/>
                      <a:pt x="1249921" y="2544631"/>
                      <a:pt x="1249921" y="2569780"/>
                    </a:cubicBezTo>
                    <a:cubicBezTo>
                      <a:pt x="1249921" y="2594933"/>
                      <a:pt x="1270388" y="2615397"/>
                      <a:pt x="1295537" y="2615397"/>
                    </a:cubicBezTo>
                    <a:cubicBezTo>
                      <a:pt x="1320689" y="2615397"/>
                      <a:pt x="1341153" y="2594933"/>
                      <a:pt x="1341153" y="2569780"/>
                    </a:cubicBezTo>
                    <a:close/>
                    <a:moveTo>
                      <a:pt x="1341892" y="2147422"/>
                    </a:moveTo>
                    <a:cubicBezTo>
                      <a:pt x="1341892" y="2125722"/>
                      <a:pt x="1324139" y="2107966"/>
                      <a:pt x="1302441" y="2107966"/>
                    </a:cubicBezTo>
                    <a:cubicBezTo>
                      <a:pt x="1280742" y="2107966"/>
                      <a:pt x="1262989" y="2125722"/>
                      <a:pt x="1262989" y="2147422"/>
                    </a:cubicBezTo>
                    <a:cubicBezTo>
                      <a:pt x="1262989" y="2169121"/>
                      <a:pt x="1280742" y="2186873"/>
                      <a:pt x="1302441" y="2186873"/>
                    </a:cubicBezTo>
                    <a:cubicBezTo>
                      <a:pt x="1324385" y="2186873"/>
                      <a:pt x="1341892" y="2169121"/>
                      <a:pt x="1341892" y="2147422"/>
                    </a:cubicBezTo>
                    <a:close/>
                    <a:moveTo>
                      <a:pt x="1344114" y="2275138"/>
                    </a:moveTo>
                    <a:cubicBezTo>
                      <a:pt x="1344114" y="2255662"/>
                      <a:pt x="1328333" y="2239880"/>
                      <a:pt x="1308853" y="2239880"/>
                    </a:cubicBezTo>
                    <a:cubicBezTo>
                      <a:pt x="1289373" y="2239880"/>
                      <a:pt x="1273592" y="2255662"/>
                      <a:pt x="1273592" y="2275138"/>
                    </a:cubicBezTo>
                    <a:cubicBezTo>
                      <a:pt x="1273592" y="2294619"/>
                      <a:pt x="1289373" y="2310399"/>
                      <a:pt x="1308853" y="2310399"/>
                    </a:cubicBezTo>
                    <a:cubicBezTo>
                      <a:pt x="1328333" y="2310399"/>
                      <a:pt x="1344360" y="2294619"/>
                      <a:pt x="1344114" y="2275138"/>
                    </a:cubicBezTo>
                    <a:close/>
                    <a:moveTo>
                      <a:pt x="1347810" y="1167895"/>
                    </a:moveTo>
                    <a:cubicBezTo>
                      <a:pt x="1347810" y="1156305"/>
                      <a:pt x="1338439" y="1146691"/>
                      <a:pt x="1326606" y="1146691"/>
                    </a:cubicBezTo>
                    <a:cubicBezTo>
                      <a:pt x="1315016" y="1146691"/>
                      <a:pt x="1305399" y="1156305"/>
                      <a:pt x="1305399" y="1167895"/>
                    </a:cubicBezTo>
                    <a:cubicBezTo>
                      <a:pt x="1305399" y="1179479"/>
                      <a:pt x="1315016" y="1189101"/>
                      <a:pt x="1326606" y="1189101"/>
                    </a:cubicBezTo>
                    <a:cubicBezTo>
                      <a:pt x="1338439" y="1189101"/>
                      <a:pt x="1347810" y="1179726"/>
                      <a:pt x="1347810" y="1167895"/>
                    </a:cubicBezTo>
                    <a:close/>
                    <a:moveTo>
                      <a:pt x="1348797" y="938120"/>
                    </a:moveTo>
                    <a:cubicBezTo>
                      <a:pt x="1348797" y="925794"/>
                      <a:pt x="1338688" y="915676"/>
                      <a:pt x="1326360" y="915676"/>
                    </a:cubicBezTo>
                    <a:cubicBezTo>
                      <a:pt x="1314030" y="915676"/>
                      <a:pt x="1303922" y="925794"/>
                      <a:pt x="1303922" y="938120"/>
                    </a:cubicBezTo>
                    <a:cubicBezTo>
                      <a:pt x="1303922" y="950202"/>
                      <a:pt x="1314030" y="960314"/>
                      <a:pt x="1326360" y="960314"/>
                    </a:cubicBezTo>
                    <a:cubicBezTo>
                      <a:pt x="1338688" y="960314"/>
                      <a:pt x="1348550" y="950202"/>
                      <a:pt x="1348797" y="938120"/>
                    </a:cubicBezTo>
                    <a:close/>
                    <a:moveTo>
                      <a:pt x="1349045" y="1052758"/>
                    </a:moveTo>
                    <a:cubicBezTo>
                      <a:pt x="1349045" y="1040183"/>
                      <a:pt x="1338935" y="1029828"/>
                      <a:pt x="1326112" y="1029828"/>
                    </a:cubicBezTo>
                    <a:cubicBezTo>
                      <a:pt x="1313536" y="1029828"/>
                      <a:pt x="1303182" y="1039935"/>
                      <a:pt x="1303182" y="1052758"/>
                    </a:cubicBezTo>
                    <a:cubicBezTo>
                      <a:pt x="1303182" y="1065339"/>
                      <a:pt x="1313536" y="1075694"/>
                      <a:pt x="1326112" y="1075694"/>
                    </a:cubicBezTo>
                    <a:cubicBezTo>
                      <a:pt x="1338688" y="1075694"/>
                      <a:pt x="1349045" y="1065583"/>
                      <a:pt x="1349045" y="1052758"/>
                    </a:cubicBezTo>
                    <a:close/>
                    <a:moveTo>
                      <a:pt x="1349538" y="597124"/>
                    </a:moveTo>
                    <a:cubicBezTo>
                      <a:pt x="1349538" y="583562"/>
                      <a:pt x="1338442" y="572468"/>
                      <a:pt x="1324880" y="572468"/>
                    </a:cubicBezTo>
                    <a:cubicBezTo>
                      <a:pt x="1311318" y="572468"/>
                      <a:pt x="1300223" y="583562"/>
                      <a:pt x="1300223" y="597124"/>
                    </a:cubicBezTo>
                    <a:cubicBezTo>
                      <a:pt x="1300223" y="610686"/>
                      <a:pt x="1311318" y="621781"/>
                      <a:pt x="1324880" y="621781"/>
                    </a:cubicBezTo>
                    <a:cubicBezTo>
                      <a:pt x="1338689" y="621781"/>
                      <a:pt x="1349783" y="610686"/>
                      <a:pt x="1349538" y="597124"/>
                    </a:cubicBezTo>
                    <a:close/>
                    <a:moveTo>
                      <a:pt x="1349783" y="710320"/>
                    </a:moveTo>
                    <a:cubicBezTo>
                      <a:pt x="1349783" y="696766"/>
                      <a:pt x="1338688" y="685665"/>
                      <a:pt x="1325126" y="685665"/>
                    </a:cubicBezTo>
                    <a:cubicBezTo>
                      <a:pt x="1311564" y="685665"/>
                      <a:pt x="1300468" y="696766"/>
                      <a:pt x="1300468" y="710320"/>
                    </a:cubicBezTo>
                    <a:cubicBezTo>
                      <a:pt x="1300468" y="723889"/>
                      <a:pt x="1311564" y="734975"/>
                      <a:pt x="1325126" y="734975"/>
                    </a:cubicBezTo>
                    <a:cubicBezTo>
                      <a:pt x="1338688" y="734975"/>
                      <a:pt x="1349783" y="723889"/>
                      <a:pt x="1349783" y="710320"/>
                    </a:cubicBezTo>
                    <a:close/>
                    <a:moveTo>
                      <a:pt x="1350524" y="4680925"/>
                    </a:moveTo>
                    <a:cubicBezTo>
                      <a:pt x="1350524" y="4658731"/>
                      <a:pt x="1332526" y="4640485"/>
                      <a:pt x="1310086" y="4640485"/>
                    </a:cubicBezTo>
                    <a:cubicBezTo>
                      <a:pt x="1287895" y="4640485"/>
                      <a:pt x="1269648" y="4658485"/>
                      <a:pt x="1269648" y="4680925"/>
                    </a:cubicBezTo>
                    <a:cubicBezTo>
                      <a:pt x="1269648" y="4703115"/>
                      <a:pt x="1287646" y="4721363"/>
                      <a:pt x="1310086" y="4721363"/>
                    </a:cubicBezTo>
                    <a:cubicBezTo>
                      <a:pt x="1332277" y="4721363"/>
                      <a:pt x="1350524" y="4703115"/>
                      <a:pt x="1350524" y="4680925"/>
                    </a:cubicBezTo>
                    <a:close/>
                    <a:moveTo>
                      <a:pt x="1350770" y="823730"/>
                    </a:moveTo>
                    <a:cubicBezTo>
                      <a:pt x="1350770" y="809921"/>
                      <a:pt x="1339674" y="798825"/>
                      <a:pt x="1325866" y="798825"/>
                    </a:cubicBezTo>
                    <a:cubicBezTo>
                      <a:pt x="1312058" y="798825"/>
                      <a:pt x="1300963" y="809921"/>
                      <a:pt x="1300963" y="823730"/>
                    </a:cubicBezTo>
                    <a:cubicBezTo>
                      <a:pt x="1300963" y="837541"/>
                      <a:pt x="1312058" y="848633"/>
                      <a:pt x="1325866" y="848633"/>
                    </a:cubicBezTo>
                    <a:cubicBezTo>
                      <a:pt x="1339429" y="848633"/>
                      <a:pt x="1350523" y="837541"/>
                      <a:pt x="1350770" y="823730"/>
                    </a:cubicBezTo>
                    <a:close/>
                    <a:moveTo>
                      <a:pt x="1350770" y="1283770"/>
                    </a:moveTo>
                    <a:cubicBezTo>
                      <a:pt x="1350770" y="1270948"/>
                      <a:pt x="1340169" y="1260341"/>
                      <a:pt x="1327347" y="1260341"/>
                    </a:cubicBezTo>
                    <a:cubicBezTo>
                      <a:pt x="1314525" y="1260341"/>
                      <a:pt x="1303922" y="1270948"/>
                      <a:pt x="1303922" y="1283770"/>
                    </a:cubicBezTo>
                    <a:cubicBezTo>
                      <a:pt x="1303922" y="1296591"/>
                      <a:pt x="1314525" y="1307193"/>
                      <a:pt x="1327347" y="1307193"/>
                    </a:cubicBezTo>
                    <a:cubicBezTo>
                      <a:pt x="1340414" y="1307193"/>
                      <a:pt x="1351018" y="1296591"/>
                      <a:pt x="1350770" y="1283770"/>
                    </a:cubicBezTo>
                    <a:close/>
                    <a:moveTo>
                      <a:pt x="1351264" y="1400139"/>
                    </a:moveTo>
                    <a:cubicBezTo>
                      <a:pt x="1351264" y="1387313"/>
                      <a:pt x="1340909" y="1376960"/>
                      <a:pt x="1328088" y="1376960"/>
                    </a:cubicBezTo>
                    <a:cubicBezTo>
                      <a:pt x="1315263" y="1376960"/>
                      <a:pt x="1304908" y="1387313"/>
                      <a:pt x="1304908" y="1400139"/>
                    </a:cubicBezTo>
                    <a:cubicBezTo>
                      <a:pt x="1304908" y="1412961"/>
                      <a:pt x="1315263" y="1423319"/>
                      <a:pt x="1328088" y="1423319"/>
                    </a:cubicBezTo>
                    <a:cubicBezTo>
                      <a:pt x="1340909" y="1423319"/>
                      <a:pt x="1351264" y="1412961"/>
                      <a:pt x="1351264" y="1400139"/>
                    </a:cubicBezTo>
                    <a:close/>
                    <a:moveTo>
                      <a:pt x="1355950" y="4808404"/>
                    </a:moveTo>
                    <a:cubicBezTo>
                      <a:pt x="1355950" y="4779555"/>
                      <a:pt x="1332524" y="4756129"/>
                      <a:pt x="1303676" y="4756129"/>
                    </a:cubicBezTo>
                    <a:cubicBezTo>
                      <a:pt x="1275073" y="4756129"/>
                      <a:pt x="1251648" y="4779555"/>
                      <a:pt x="1251648" y="4808404"/>
                    </a:cubicBezTo>
                    <a:cubicBezTo>
                      <a:pt x="1251648" y="4837253"/>
                      <a:pt x="1274824" y="4860678"/>
                      <a:pt x="1303676" y="4860678"/>
                    </a:cubicBezTo>
                    <a:cubicBezTo>
                      <a:pt x="1332524" y="4860678"/>
                      <a:pt x="1355950" y="4837253"/>
                      <a:pt x="1355950" y="4808404"/>
                    </a:cubicBezTo>
                    <a:close/>
                    <a:moveTo>
                      <a:pt x="1360882" y="2708844"/>
                    </a:moveTo>
                    <a:cubicBezTo>
                      <a:pt x="1360882" y="2682213"/>
                      <a:pt x="1339183" y="2660515"/>
                      <a:pt x="1312554" y="2660515"/>
                    </a:cubicBezTo>
                    <a:cubicBezTo>
                      <a:pt x="1285923" y="2660515"/>
                      <a:pt x="1264224" y="2682213"/>
                      <a:pt x="1264224" y="2708844"/>
                    </a:cubicBezTo>
                    <a:cubicBezTo>
                      <a:pt x="1264224" y="2735475"/>
                      <a:pt x="1285923" y="2757173"/>
                      <a:pt x="1312554" y="2757173"/>
                    </a:cubicBezTo>
                    <a:cubicBezTo>
                      <a:pt x="1339183" y="2757173"/>
                      <a:pt x="1360882" y="2735720"/>
                      <a:pt x="1360882" y="2708844"/>
                    </a:cubicBezTo>
                    <a:close/>
                    <a:moveTo>
                      <a:pt x="1365319" y="4425470"/>
                    </a:moveTo>
                    <a:cubicBezTo>
                      <a:pt x="1365319" y="4410675"/>
                      <a:pt x="1353234" y="4398593"/>
                      <a:pt x="1338440" y="4398593"/>
                    </a:cubicBezTo>
                    <a:cubicBezTo>
                      <a:pt x="1323645" y="4398593"/>
                      <a:pt x="1311564" y="4410675"/>
                      <a:pt x="1311564" y="4425470"/>
                    </a:cubicBezTo>
                    <a:cubicBezTo>
                      <a:pt x="1311564" y="4440265"/>
                      <a:pt x="1323645" y="4452349"/>
                      <a:pt x="1338440" y="4452349"/>
                    </a:cubicBezTo>
                    <a:cubicBezTo>
                      <a:pt x="1353234" y="4452349"/>
                      <a:pt x="1365319" y="4440265"/>
                      <a:pt x="1365319" y="4425470"/>
                    </a:cubicBezTo>
                    <a:close/>
                    <a:moveTo>
                      <a:pt x="1377154" y="3506729"/>
                    </a:moveTo>
                    <a:cubicBezTo>
                      <a:pt x="1377154" y="3490209"/>
                      <a:pt x="1363840" y="3476894"/>
                      <a:pt x="1347319" y="3476894"/>
                    </a:cubicBezTo>
                    <a:cubicBezTo>
                      <a:pt x="1330797" y="3476894"/>
                      <a:pt x="1317484" y="3490457"/>
                      <a:pt x="1317484" y="3506729"/>
                    </a:cubicBezTo>
                    <a:cubicBezTo>
                      <a:pt x="1317484" y="3523251"/>
                      <a:pt x="1330797" y="3536565"/>
                      <a:pt x="1347319" y="3536565"/>
                    </a:cubicBezTo>
                    <a:cubicBezTo>
                      <a:pt x="1363840" y="3536565"/>
                      <a:pt x="1377154" y="3523251"/>
                      <a:pt x="1377154" y="3506729"/>
                    </a:cubicBezTo>
                    <a:close/>
                    <a:moveTo>
                      <a:pt x="1377645" y="7376736"/>
                    </a:moveTo>
                    <a:cubicBezTo>
                      <a:pt x="1377645" y="7375255"/>
                      <a:pt x="1376413" y="7374269"/>
                      <a:pt x="1375181" y="7374269"/>
                    </a:cubicBezTo>
                    <a:cubicBezTo>
                      <a:pt x="1373700" y="7374269"/>
                      <a:pt x="1372714" y="7375501"/>
                      <a:pt x="1372714" y="7376736"/>
                    </a:cubicBezTo>
                    <a:cubicBezTo>
                      <a:pt x="1372714" y="7378214"/>
                      <a:pt x="1373700" y="7379200"/>
                      <a:pt x="1375181" y="7379200"/>
                    </a:cubicBezTo>
                    <a:cubicBezTo>
                      <a:pt x="1376413" y="7379200"/>
                      <a:pt x="1377645" y="7377968"/>
                      <a:pt x="1377645" y="7376736"/>
                    </a:cubicBezTo>
                    <a:close/>
                    <a:moveTo>
                      <a:pt x="1377648" y="7265778"/>
                    </a:moveTo>
                    <a:cubicBezTo>
                      <a:pt x="1377648" y="7264297"/>
                      <a:pt x="1376414" y="7263064"/>
                      <a:pt x="1374936" y="7263064"/>
                    </a:cubicBezTo>
                    <a:cubicBezTo>
                      <a:pt x="1373455" y="7263064"/>
                      <a:pt x="1372223" y="7264297"/>
                      <a:pt x="1372223" y="7265778"/>
                    </a:cubicBezTo>
                    <a:cubicBezTo>
                      <a:pt x="1372223" y="7267256"/>
                      <a:pt x="1373455" y="7268491"/>
                      <a:pt x="1374936" y="7268491"/>
                    </a:cubicBezTo>
                    <a:cubicBezTo>
                      <a:pt x="1376414" y="7268491"/>
                      <a:pt x="1377648" y="7267256"/>
                      <a:pt x="1377648" y="7265778"/>
                    </a:cubicBezTo>
                    <a:close/>
                    <a:moveTo>
                      <a:pt x="1377894" y="7487450"/>
                    </a:moveTo>
                    <a:cubicBezTo>
                      <a:pt x="1377894" y="7485969"/>
                      <a:pt x="1376662" y="7484983"/>
                      <a:pt x="1375427" y="7484983"/>
                    </a:cubicBezTo>
                    <a:cubicBezTo>
                      <a:pt x="1373948" y="7484983"/>
                      <a:pt x="1372963" y="7485969"/>
                      <a:pt x="1372963" y="7487450"/>
                    </a:cubicBezTo>
                    <a:cubicBezTo>
                      <a:pt x="1372963" y="7488928"/>
                      <a:pt x="1373948" y="7489915"/>
                      <a:pt x="1375427" y="7489915"/>
                    </a:cubicBezTo>
                    <a:cubicBezTo>
                      <a:pt x="1376662" y="7489915"/>
                      <a:pt x="1377894" y="7488682"/>
                      <a:pt x="1377894" y="7487450"/>
                    </a:cubicBezTo>
                    <a:close/>
                    <a:moveTo>
                      <a:pt x="1381099" y="3390118"/>
                    </a:moveTo>
                    <a:cubicBezTo>
                      <a:pt x="1381099" y="3373841"/>
                      <a:pt x="1367785" y="3360527"/>
                      <a:pt x="1351510" y="3360527"/>
                    </a:cubicBezTo>
                    <a:cubicBezTo>
                      <a:pt x="1335238" y="3360527"/>
                      <a:pt x="1321921" y="3373841"/>
                      <a:pt x="1321921" y="3390118"/>
                    </a:cubicBezTo>
                    <a:cubicBezTo>
                      <a:pt x="1321921" y="3406393"/>
                      <a:pt x="1335238" y="3419707"/>
                      <a:pt x="1351510" y="3419707"/>
                    </a:cubicBezTo>
                    <a:cubicBezTo>
                      <a:pt x="1367785" y="3419707"/>
                      <a:pt x="1381099" y="3406393"/>
                      <a:pt x="1381099" y="3390118"/>
                    </a:cubicBezTo>
                    <a:close/>
                    <a:moveTo>
                      <a:pt x="1381099" y="7155555"/>
                    </a:moveTo>
                    <a:cubicBezTo>
                      <a:pt x="1381099" y="7154322"/>
                      <a:pt x="1379865" y="7153336"/>
                      <a:pt x="1378633" y="7153336"/>
                    </a:cubicBezTo>
                    <a:cubicBezTo>
                      <a:pt x="1377401" y="7153336"/>
                      <a:pt x="1376414" y="7154322"/>
                      <a:pt x="1376414" y="7155555"/>
                    </a:cubicBezTo>
                    <a:cubicBezTo>
                      <a:pt x="1376414" y="7157036"/>
                      <a:pt x="1377401" y="7158023"/>
                      <a:pt x="1378633" y="7158023"/>
                    </a:cubicBezTo>
                    <a:cubicBezTo>
                      <a:pt x="1379865" y="7158023"/>
                      <a:pt x="1381099" y="7157036"/>
                      <a:pt x="1381099" y="7155555"/>
                    </a:cubicBezTo>
                    <a:close/>
                    <a:moveTo>
                      <a:pt x="1381101" y="6933146"/>
                    </a:moveTo>
                    <a:cubicBezTo>
                      <a:pt x="1381101" y="6931665"/>
                      <a:pt x="1379867" y="6930433"/>
                      <a:pt x="1378389" y="6930433"/>
                    </a:cubicBezTo>
                    <a:cubicBezTo>
                      <a:pt x="1376908" y="6930433"/>
                      <a:pt x="1375676" y="6931665"/>
                      <a:pt x="1375676" y="6933146"/>
                    </a:cubicBezTo>
                    <a:cubicBezTo>
                      <a:pt x="1375676" y="6934624"/>
                      <a:pt x="1376908" y="6935859"/>
                      <a:pt x="1378389" y="6935859"/>
                    </a:cubicBezTo>
                    <a:cubicBezTo>
                      <a:pt x="1379867" y="6935859"/>
                      <a:pt x="1381101" y="6934624"/>
                      <a:pt x="1381101" y="6933146"/>
                    </a:cubicBezTo>
                    <a:close/>
                    <a:moveTo>
                      <a:pt x="1381344" y="6485859"/>
                    </a:moveTo>
                    <a:cubicBezTo>
                      <a:pt x="1381344" y="6484133"/>
                      <a:pt x="1379617" y="6482654"/>
                      <a:pt x="1377891" y="6482654"/>
                    </a:cubicBezTo>
                    <a:cubicBezTo>
                      <a:pt x="1375919" y="6482654"/>
                      <a:pt x="1374441" y="6484133"/>
                      <a:pt x="1374441" y="6485859"/>
                    </a:cubicBezTo>
                    <a:cubicBezTo>
                      <a:pt x="1374441" y="6487832"/>
                      <a:pt x="1376167" y="6489313"/>
                      <a:pt x="1377891" y="6489313"/>
                    </a:cubicBezTo>
                    <a:cubicBezTo>
                      <a:pt x="1379866" y="6489313"/>
                      <a:pt x="1381344" y="6487832"/>
                      <a:pt x="1381344" y="6485859"/>
                    </a:cubicBezTo>
                    <a:close/>
                    <a:moveTo>
                      <a:pt x="1381592" y="7044598"/>
                    </a:moveTo>
                    <a:cubicBezTo>
                      <a:pt x="1381592" y="7042873"/>
                      <a:pt x="1380113" y="7041392"/>
                      <a:pt x="1378386" y="7041392"/>
                    </a:cubicBezTo>
                    <a:cubicBezTo>
                      <a:pt x="1376660" y="7041392"/>
                      <a:pt x="1375182" y="7042873"/>
                      <a:pt x="1375182" y="7044598"/>
                    </a:cubicBezTo>
                    <a:cubicBezTo>
                      <a:pt x="1375182" y="7046324"/>
                      <a:pt x="1376660" y="7047805"/>
                      <a:pt x="1378386" y="7047805"/>
                    </a:cubicBezTo>
                    <a:cubicBezTo>
                      <a:pt x="1380359" y="7047805"/>
                      <a:pt x="1381592" y="7046324"/>
                      <a:pt x="1381592" y="7044598"/>
                    </a:cubicBezTo>
                    <a:close/>
                    <a:moveTo>
                      <a:pt x="1384550" y="6149281"/>
                    </a:moveTo>
                    <a:cubicBezTo>
                      <a:pt x="1384550" y="6148543"/>
                      <a:pt x="1383809" y="6147802"/>
                      <a:pt x="1383069" y="6147802"/>
                    </a:cubicBezTo>
                    <a:cubicBezTo>
                      <a:pt x="1382331" y="6147802"/>
                      <a:pt x="1381591" y="6148294"/>
                      <a:pt x="1381591" y="6149281"/>
                    </a:cubicBezTo>
                    <a:cubicBezTo>
                      <a:pt x="1381591" y="6150020"/>
                      <a:pt x="1382331" y="6150762"/>
                      <a:pt x="1383069" y="6150762"/>
                    </a:cubicBezTo>
                    <a:cubicBezTo>
                      <a:pt x="1384057" y="6150762"/>
                      <a:pt x="1384550" y="6150270"/>
                      <a:pt x="1384550" y="6149281"/>
                    </a:cubicBezTo>
                    <a:close/>
                    <a:moveTo>
                      <a:pt x="1385537" y="5922186"/>
                    </a:moveTo>
                    <a:cubicBezTo>
                      <a:pt x="1385537" y="5921199"/>
                      <a:pt x="1384799" y="5920458"/>
                      <a:pt x="1383813" y="5920458"/>
                    </a:cubicBezTo>
                    <a:cubicBezTo>
                      <a:pt x="1382826" y="5920458"/>
                      <a:pt x="1382086" y="5921199"/>
                      <a:pt x="1382086" y="5922186"/>
                    </a:cubicBezTo>
                    <a:cubicBezTo>
                      <a:pt x="1382086" y="5923172"/>
                      <a:pt x="1382826" y="5923913"/>
                      <a:pt x="1383813" y="5923913"/>
                    </a:cubicBezTo>
                    <a:cubicBezTo>
                      <a:pt x="1384799" y="5923913"/>
                      <a:pt x="1385537" y="5923172"/>
                      <a:pt x="1385537" y="5922186"/>
                    </a:cubicBezTo>
                    <a:close/>
                    <a:moveTo>
                      <a:pt x="1385785" y="6035855"/>
                    </a:moveTo>
                    <a:cubicBezTo>
                      <a:pt x="1385785" y="6034623"/>
                      <a:pt x="1384551" y="6033637"/>
                      <a:pt x="1383318" y="6033637"/>
                    </a:cubicBezTo>
                    <a:cubicBezTo>
                      <a:pt x="1382086" y="6033637"/>
                      <a:pt x="1381099" y="6034623"/>
                      <a:pt x="1381099" y="6035855"/>
                    </a:cubicBezTo>
                    <a:cubicBezTo>
                      <a:pt x="1381099" y="6037336"/>
                      <a:pt x="1382086" y="6038323"/>
                      <a:pt x="1383318" y="6038323"/>
                    </a:cubicBezTo>
                    <a:cubicBezTo>
                      <a:pt x="1384551" y="6038323"/>
                      <a:pt x="1385785" y="6037336"/>
                      <a:pt x="1385785" y="6035855"/>
                    </a:cubicBezTo>
                    <a:close/>
                    <a:moveTo>
                      <a:pt x="1386279" y="6709995"/>
                    </a:moveTo>
                    <a:cubicBezTo>
                      <a:pt x="1386279" y="6705559"/>
                      <a:pt x="1382580" y="6701859"/>
                      <a:pt x="1378141" y="6701859"/>
                    </a:cubicBezTo>
                    <a:cubicBezTo>
                      <a:pt x="1373703" y="6701859"/>
                      <a:pt x="1370004" y="6705559"/>
                      <a:pt x="1370004" y="6709995"/>
                    </a:cubicBezTo>
                    <a:cubicBezTo>
                      <a:pt x="1370004" y="6714435"/>
                      <a:pt x="1373703" y="6718135"/>
                      <a:pt x="1378141" y="6718135"/>
                    </a:cubicBezTo>
                    <a:cubicBezTo>
                      <a:pt x="1382580" y="6718135"/>
                      <a:pt x="1386279" y="6714682"/>
                      <a:pt x="1386279" y="6709995"/>
                    </a:cubicBezTo>
                    <a:close/>
                    <a:moveTo>
                      <a:pt x="1386523" y="6598048"/>
                    </a:moveTo>
                    <a:cubicBezTo>
                      <a:pt x="1386523" y="6593365"/>
                      <a:pt x="1382823" y="6589666"/>
                      <a:pt x="1378138" y="6589666"/>
                    </a:cubicBezTo>
                    <a:cubicBezTo>
                      <a:pt x="1373454" y="6589666"/>
                      <a:pt x="1369755" y="6593365"/>
                      <a:pt x="1369755" y="6598048"/>
                    </a:cubicBezTo>
                    <a:cubicBezTo>
                      <a:pt x="1369755" y="6602734"/>
                      <a:pt x="1373454" y="6606433"/>
                      <a:pt x="1378138" y="6606433"/>
                    </a:cubicBezTo>
                    <a:cubicBezTo>
                      <a:pt x="1382577" y="6606433"/>
                      <a:pt x="1386276" y="6602734"/>
                      <a:pt x="1386523" y="6598048"/>
                    </a:cubicBezTo>
                    <a:close/>
                    <a:moveTo>
                      <a:pt x="1387017" y="5577721"/>
                    </a:moveTo>
                    <a:cubicBezTo>
                      <a:pt x="1387017" y="5576983"/>
                      <a:pt x="1386277" y="5576242"/>
                      <a:pt x="1385536" y="5576242"/>
                    </a:cubicBezTo>
                    <a:cubicBezTo>
                      <a:pt x="1384798" y="5576242"/>
                      <a:pt x="1384058" y="5576983"/>
                      <a:pt x="1384058" y="5577721"/>
                    </a:cubicBezTo>
                    <a:cubicBezTo>
                      <a:pt x="1384058" y="5578707"/>
                      <a:pt x="1384798" y="5579202"/>
                      <a:pt x="1385536" y="5579202"/>
                    </a:cubicBezTo>
                    <a:cubicBezTo>
                      <a:pt x="1386277" y="5579202"/>
                      <a:pt x="1386772" y="5578461"/>
                      <a:pt x="1387017" y="5577721"/>
                    </a:cubicBezTo>
                    <a:close/>
                    <a:moveTo>
                      <a:pt x="1387509" y="5808020"/>
                    </a:moveTo>
                    <a:cubicBezTo>
                      <a:pt x="1387509" y="5806293"/>
                      <a:pt x="1386031" y="5804815"/>
                      <a:pt x="1384304" y="5804815"/>
                    </a:cubicBezTo>
                    <a:cubicBezTo>
                      <a:pt x="1382577" y="5804815"/>
                      <a:pt x="1381099" y="5806293"/>
                      <a:pt x="1381099" y="5808020"/>
                    </a:cubicBezTo>
                    <a:cubicBezTo>
                      <a:pt x="1381099" y="5809501"/>
                      <a:pt x="1382577" y="5810979"/>
                      <a:pt x="1384304" y="5810979"/>
                    </a:cubicBezTo>
                    <a:cubicBezTo>
                      <a:pt x="1386031" y="5810979"/>
                      <a:pt x="1387263" y="5809501"/>
                      <a:pt x="1387509" y="5808020"/>
                    </a:cubicBezTo>
                    <a:close/>
                    <a:moveTo>
                      <a:pt x="1387510" y="6821694"/>
                    </a:moveTo>
                    <a:cubicBezTo>
                      <a:pt x="1387510" y="6816515"/>
                      <a:pt x="1383319" y="6812324"/>
                      <a:pt x="1378140" y="6812324"/>
                    </a:cubicBezTo>
                    <a:cubicBezTo>
                      <a:pt x="1372963" y="6812324"/>
                      <a:pt x="1368772" y="6816515"/>
                      <a:pt x="1368772" y="6821694"/>
                    </a:cubicBezTo>
                    <a:cubicBezTo>
                      <a:pt x="1368772" y="6826872"/>
                      <a:pt x="1372963" y="6831064"/>
                      <a:pt x="1378140" y="6831064"/>
                    </a:cubicBezTo>
                    <a:cubicBezTo>
                      <a:pt x="1383319" y="6831064"/>
                      <a:pt x="1387510" y="6826872"/>
                      <a:pt x="1387510" y="6821694"/>
                    </a:cubicBezTo>
                    <a:close/>
                    <a:moveTo>
                      <a:pt x="1387754" y="3004726"/>
                    </a:moveTo>
                    <a:cubicBezTo>
                      <a:pt x="1387754" y="2992396"/>
                      <a:pt x="1377645" y="2982287"/>
                      <a:pt x="1365318" y="2982287"/>
                    </a:cubicBezTo>
                    <a:cubicBezTo>
                      <a:pt x="1352988" y="2982287"/>
                      <a:pt x="1342879" y="2992396"/>
                      <a:pt x="1342879" y="3004726"/>
                    </a:cubicBezTo>
                    <a:cubicBezTo>
                      <a:pt x="1342879" y="3017054"/>
                      <a:pt x="1352988" y="3027163"/>
                      <a:pt x="1365318" y="3027163"/>
                    </a:cubicBezTo>
                    <a:cubicBezTo>
                      <a:pt x="1377645" y="3027163"/>
                      <a:pt x="1387754" y="3017054"/>
                      <a:pt x="1387754" y="3004726"/>
                    </a:cubicBezTo>
                    <a:close/>
                    <a:moveTo>
                      <a:pt x="1389236" y="3622867"/>
                    </a:moveTo>
                    <a:cubicBezTo>
                      <a:pt x="1389236" y="3606593"/>
                      <a:pt x="1375923" y="3593278"/>
                      <a:pt x="1359648" y="3593278"/>
                    </a:cubicBezTo>
                    <a:cubicBezTo>
                      <a:pt x="1343374" y="3593278"/>
                      <a:pt x="1330058" y="3606593"/>
                      <a:pt x="1330058" y="3622867"/>
                    </a:cubicBezTo>
                    <a:cubicBezTo>
                      <a:pt x="1330058" y="3639143"/>
                      <a:pt x="1343374" y="3652457"/>
                      <a:pt x="1359648" y="3652457"/>
                    </a:cubicBezTo>
                    <a:cubicBezTo>
                      <a:pt x="1375923" y="3652457"/>
                      <a:pt x="1389236" y="3639143"/>
                      <a:pt x="1389236" y="3622867"/>
                    </a:cubicBezTo>
                    <a:close/>
                    <a:moveTo>
                      <a:pt x="1390716" y="5693117"/>
                    </a:moveTo>
                    <a:cubicBezTo>
                      <a:pt x="1390716" y="5689912"/>
                      <a:pt x="1388003" y="5687199"/>
                      <a:pt x="1384798" y="5687199"/>
                    </a:cubicBezTo>
                    <a:cubicBezTo>
                      <a:pt x="1381593" y="5687199"/>
                      <a:pt x="1378881" y="5689912"/>
                      <a:pt x="1378881" y="5693117"/>
                    </a:cubicBezTo>
                    <a:cubicBezTo>
                      <a:pt x="1378881" y="5696322"/>
                      <a:pt x="1381593" y="5699035"/>
                      <a:pt x="1384798" y="5699035"/>
                    </a:cubicBezTo>
                    <a:cubicBezTo>
                      <a:pt x="1388003" y="5699035"/>
                      <a:pt x="1390716" y="5696322"/>
                      <a:pt x="1390716" y="5693117"/>
                    </a:cubicBezTo>
                    <a:close/>
                    <a:moveTo>
                      <a:pt x="1392935" y="4147335"/>
                    </a:moveTo>
                    <a:cubicBezTo>
                      <a:pt x="1392935" y="4135005"/>
                      <a:pt x="1383072" y="4125141"/>
                      <a:pt x="1370741" y="4125141"/>
                    </a:cubicBezTo>
                    <a:cubicBezTo>
                      <a:pt x="1358414" y="4125141"/>
                      <a:pt x="1348551" y="4135005"/>
                      <a:pt x="1348551" y="4147335"/>
                    </a:cubicBezTo>
                    <a:cubicBezTo>
                      <a:pt x="1348551" y="4159662"/>
                      <a:pt x="1358414" y="4169525"/>
                      <a:pt x="1370741" y="4169525"/>
                    </a:cubicBezTo>
                    <a:cubicBezTo>
                      <a:pt x="1383072" y="4169525"/>
                      <a:pt x="1392935" y="4159662"/>
                      <a:pt x="1392935" y="4147335"/>
                    </a:cubicBezTo>
                    <a:close/>
                    <a:moveTo>
                      <a:pt x="1393182" y="6374899"/>
                    </a:moveTo>
                    <a:cubicBezTo>
                      <a:pt x="1393182" y="6369228"/>
                      <a:pt x="1388496" y="6364543"/>
                      <a:pt x="1382826" y="6364543"/>
                    </a:cubicBezTo>
                    <a:cubicBezTo>
                      <a:pt x="1376908" y="6364543"/>
                      <a:pt x="1372223" y="6369228"/>
                      <a:pt x="1372223" y="6374899"/>
                    </a:cubicBezTo>
                    <a:cubicBezTo>
                      <a:pt x="1372223" y="6380820"/>
                      <a:pt x="1376908" y="6385502"/>
                      <a:pt x="1382826" y="6385502"/>
                    </a:cubicBezTo>
                    <a:cubicBezTo>
                      <a:pt x="1388496" y="6385502"/>
                      <a:pt x="1393182" y="6380820"/>
                      <a:pt x="1393182" y="6374899"/>
                    </a:cubicBezTo>
                    <a:close/>
                    <a:moveTo>
                      <a:pt x="1393675" y="4288868"/>
                    </a:moveTo>
                    <a:cubicBezTo>
                      <a:pt x="1393675" y="4266183"/>
                      <a:pt x="1374935" y="4247689"/>
                      <a:pt x="1352250" y="4247689"/>
                    </a:cubicBezTo>
                    <a:cubicBezTo>
                      <a:pt x="1329566" y="4247689"/>
                      <a:pt x="1311072" y="4266183"/>
                      <a:pt x="1311072" y="4288868"/>
                    </a:cubicBezTo>
                    <a:cubicBezTo>
                      <a:pt x="1311072" y="4311552"/>
                      <a:pt x="1329566" y="4330043"/>
                      <a:pt x="1352250" y="4330043"/>
                    </a:cubicBezTo>
                    <a:cubicBezTo>
                      <a:pt x="1374935" y="4330043"/>
                      <a:pt x="1393675" y="4311552"/>
                      <a:pt x="1393675" y="4288868"/>
                    </a:cubicBezTo>
                    <a:close/>
                    <a:moveTo>
                      <a:pt x="1395399" y="6262214"/>
                    </a:moveTo>
                    <a:cubicBezTo>
                      <a:pt x="1395399" y="6255309"/>
                      <a:pt x="1389729" y="6249637"/>
                      <a:pt x="1382826" y="6249637"/>
                    </a:cubicBezTo>
                    <a:cubicBezTo>
                      <a:pt x="1375922" y="6249637"/>
                      <a:pt x="1370250" y="6255309"/>
                      <a:pt x="1370250" y="6262214"/>
                    </a:cubicBezTo>
                    <a:cubicBezTo>
                      <a:pt x="1370250" y="6269118"/>
                      <a:pt x="1375922" y="6274787"/>
                      <a:pt x="1382826" y="6274787"/>
                    </a:cubicBezTo>
                    <a:cubicBezTo>
                      <a:pt x="1389976" y="6274787"/>
                      <a:pt x="1395399" y="6269118"/>
                      <a:pt x="1395399" y="6262214"/>
                    </a:cubicBezTo>
                    <a:close/>
                    <a:moveTo>
                      <a:pt x="1398112" y="3999635"/>
                    </a:moveTo>
                    <a:cubicBezTo>
                      <a:pt x="1398112" y="3998403"/>
                      <a:pt x="1397125" y="3997416"/>
                      <a:pt x="1395893" y="3997416"/>
                    </a:cubicBezTo>
                    <a:cubicBezTo>
                      <a:pt x="1394660" y="3997416"/>
                      <a:pt x="1393675" y="3998403"/>
                      <a:pt x="1393675" y="3999635"/>
                    </a:cubicBezTo>
                    <a:cubicBezTo>
                      <a:pt x="1393675" y="4000867"/>
                      <a:pt x="1394660" y="4001853"/>
                      <a:pt x="1395893" y="4001853"/>
                    </a:cubicBezTo>
                    <a:cubicBezTo>
                      <a:pt x="1397125" y="4001853"/>
                      <a:pt x="1398112" y="4000621"/>
                      <a:pt x="1398112" y="3999635"/>
                    </a:cubicBezTo>
                    <a:close/>
                    <a:moveTo>
                      <a:pt x="1398358" y="469913"/>
                    </a:moveTo>
                    <a:cubicBezTo>
                      <a:pt x="1398358" y="457092"/>
                      <a:pt x="1388003" y="446735"/>
                      <a:pt x="1375182" y="446735"/>
                    </a:cubicBezTo>
                    <a:cubicBezTo>
                      <a:pt x="1362357" y="446735"/>
                      <a:pt x="1352002" y="457092"/>
                      <a:pt x="1352002" y="469913"/>
                    </a:cubicBezTo>
                    <a:cubicBezTo>
                      <a:pt x="1352002" y="482735"/>
                      <a:pt x="1362357" y="493089"/>
                      <a:pt x="1375182" y="493089"/>
                    </a:cubicBezTo>
                    <a:cubicBezTo>
                      <a:pt x="1388003" y="493089"/>
                      <a:pt x="1398358" y="482735"/>
                      <a:pt x="1398358" y="469913"/>
                    </a:cubicBezTo>
                    <a:close/>
                    <a:moveTo>
                      <a:pt x="1398853" y="357744"/>
                    </a:moveTo>
                    <a:cubicBezTo>
                      <a:pt x="1398853" y="344677"/>
                      <a:pt x="1388248" y="334073"/>
                      <a:pt x="1375181" y="334073"/>
                    </a:cubicBezTo>
                    <a:cubicBezTo>
                      <a:pt x="1362113" y="334073"/>
                      <a:pt x="1351510" y="344677"/>
                      <a:pt x="1351510" y="357744"/>
                    </a:cubicBezTo>
                    <a:cubicBezTo>
                      <a:pt x="1351510" y="370811"/>
                      <a:pt x="1362113" y="381414"/>
                      <a:pt x="1375181" y="381414"/>
                    </a:cubicBezTo>
                    <a:cubicBezTo>
                      <a:pt x="1388248" y="381414"/>
                      <a:pt x="1398853" y="370811"/>
                      <a:pt x="1398853" y="357744"/>
                    </a:cubicBezTo>
                    <a:close/>
                    <a:moveTo>
                      <a:pt x="1399593" y="134396"/>
                    </a:moveTo>
                    <a:cubicBezTo>
                      <a:pt x="1399593" y="120835"/>
                      <a:pt x="1388744" y="109986"/>
                      <a:pt x="1375181" y="109986"/>
                    </a:cubicBezTo>
                    <a:cubicBezTo>
                      <a:pt x="1361619" y="109986"/>
                      <a:pt x="1350770" y="120835"/>
                      <a:pt x="1350770" y="134396"/>
                    </a:cubicBezTo>
                    <a:cubicBezTo>
                      <a:pt x="1350770" y="147958"/>
                      <a:pt x="1361619" y="158805"/>
                      <a:pt x="1375181" y="158805"/>
                    </a:cubicBezTo>
                    <a:cubicBezTo>
                      <a:pt x="1388744" y="158805"/>
                      <a:pt x="1399838" y="147709"/>
                      <a:pt x="1399593" y="134396"/>
                    </a:cubicBezTo>
                    <a:close/>
                    <a:moveTo>
                      <a:pt x="1399839" y="22726"/>
                    </a:moveTo>
                    <a:cubicBezTo>
                      <a:pt x="1399839" y="15945"/>
                      <a:pt x="1397065" y="9842"/>
                      <a:pt x="1392627" y="5435"/>
                    </a:cubicBezTo>
                    <a:lnTo>
                      <a:pt x="1379500" y="0"/>
                    </a:lnTo>
                    <a:lnTo>
                      <a:pt x="1371390" y="0"/>
                    </a:lnTo>
                    <a:lnTo>
                      <a:pt x="1358138" y="5527"/>
                    </a:lnTo>
                    <a:cubicBezTo>
                      <a:pt x="1353731" y="9965"/>
                      <a:pt x="1351019" y="16068"/>
                      <a:pt x="1351019" y="22726"/>
                    </a:cubicBezTo>
                    <a:cubicBezTo>
                      <a:pt x="1351019" y="36285"/>
                      <a:pt x="1361867" y="47134"/>
                      <a:pt x="1375430" y="47134"/>
                    </a:cubicBezTo>
                    <a:cubicBezTo>
                      <a:pt x="1388744" y="47134"/>
                      <a:pt x="1399593" y="36285"/>
                      <a:pt x="1399839" y="22726"/>
                    </a:cubicBezTo>
                    <a:close/>
                    <a:moveTo>
                      <a:pt x="1400084" y="5110952"/>
                    </a:moveTo>
                    <a:cubicBezTo>
                      <a:pt x="1400084" y="5109471"/>
                      <a:pt x="1399098" y="5108239"/>
                      <a:pt x="1397619" y="5108239"/>
                    </a:cubicBezTo>
                    <a:cubicBezTo>
                      <a:pt x="1396139" y="5108239"/>
                      <a:pt x="1394907" y="5109471"/>
                      <a:pt x="1394907" y="5110952"/>
                    </a:cubicBezTo>
                    <a:cubicBezTo>
                      <a:pt x="1394907" y="5112430"/>
                      <a:pt x="1396139" y="5113666"/>
                      <a:pt x="1397619" y="5113666"/>
                    </a:cubicBezTo>
                    <a:cubicBezTo>
                      <a:pt x="1399098" y="5113666"/>
                      <a:pt x="1400333" y="5112430"/>
                      <a:pt x="1400084" y="5110952"/>
                    </a:cubicBezTo>
                    <a:close/>
                    <a:moveTo>
                      <a:pt x="1400334" y="245824"/>
                    </a:moveTo>
                    <a:cubicBezTo>
                      <a:pt x="1400334" y="232261"/>
                      <a:pt x="1389238" y="221167"/>
                      <a:pt x="1375676" y="221167"/>
                    </a:cubicBezTo>
                    <a:cubicBezTo>
                      <a:pt x="1362114" y="221167"/>
                      <a:pt x="1351019" y="232261"/>
                      <a:pt x="1351019" y="245824"/>
                    </a:cubicBezTo>
                    <a:cubicBezTo>
                      <a:pt x="1351019" y="259386"/>
                      <a:pt x="1362114" y="270480"/>
                      <a:pt x="1375676" y="270480"/>
                    </a:cubicBezTo>
                    <a:cubicBezTo>
                      <a:pt x="1389238" y="270480"/>
                      <a:pt x="1400334" y="259386"/>
                      <a:pt x="1400334" y="245824"/>
                    </a:cubicBezTo>
                    <a:close/>
                    <a:moveTo>
                      <a:pt x="1401074" y="3274967"/>
                    </a:moveTo>
                    <a:cubicBezTo>
                      <a:pt x="1401074" y="3258690"/>
                      <a:pt x="1387757" y="3245623"/>
                      <a:pt x="1371731" y="3245623"/>
                    </a:cubicBezTo>
                    <a:cubicBezTo>
                      <a:pt x="1355455" y="3245623"/>
                      <a:pt x="1342388" y="3258937"/>
                      <a:pt x="1342388" y="3274967"/>
                    </a:cubicBezTo>
                    <a:cubicBezTo>
                      <a:pt x="1342388" y="3291237"/>
                      <a:pt x="1355704" y="3304308"/>
                      <a:pt x="1371731" y="3304308"/>
                    </a:cubicBezTo>
                    <a:cubicBezTo>
                      <a:pt x="1387757" y="3304308"/>
                      <a:pt x="1400825" y="3291237"/>
                      <a:pt x="1401074" y="3274967"/>
                    </a:cubicBezTo>
                    <a:close/>
                    <a:moveTo>
                      <a:pt x="1407484" y="1726557"/>
                    </a:moveTo>
                    <a:cubicBezTo>
                      <a:pt x="1407484" y="1718661"/>
                      <a:pt x="1401074" y="1712245"/>
                      <a:pt x="1393184" y="1712245"/>
                    </a:cubicBezTo>
                    <a:cubicBezTo>
                      <a:pt x="1385293" y="1712245"/>
                      <a:pt x="1378881" y="1718661"/>
                      <a:pt x="1378881" y="1726557"/>
                    </a:cubicBezTo>
                    <a:cubicBezTo>
                      <a:pt x="1378881" y="1734452"/>
                      <a:pt x="1385293" y="1740866"/>
                      <a:pt x="1393184" y="1740866"/>
                    </a:cubicBezTo>
                    <a:cubicBezTo>
                      <a:pt x="1401074" y="1740866"/>
                      <a:pt x="1407484" y="1734452"/>
                      <a:pt x="1407484" y="1726557"/>
                    </a:cubicBezTo>
                    <a:close/>
                    <a:moveTo>
                      <a:pt x="1408469" y="1608961"/>
                    </a:moveTo>
                    <a:cubicBezTo>
                      <a:pt x="1408469" y="1599591"/>
                      <a:pt x="1400825" y="1591947"/>
                      <a:pt x="1391454" y="1591947"/>
                    </a:cubicBezTo>
                    <a:cubicBezTo>
                      <a:pt x="1382085" y="1591947"/>
                      <a:pt x="1374441" y="1599591"/>
                      <a:pt x="1374441" y="1608961"/>
                    </a:cubicBezTo>
                    <a:cubicBezTo>
                      <a:pt x="1374441" y="1618331"/>
                      <a:pt x="1382085" y="1625973"/>
                      <a:pt x="1391454" y="1625973"/>
                    </a:cubicBezTo>
                    <a:cubicBezTo>
                      <a:pt x="1400825" y="1625973"/>
                      <a:pt x="1408469" y="1618331"/>
                      <a:pt x="1408469" y="1608961"/>
                    </a:cubicBezTo>
                    <a:close/>
                    <a:moveTo>
                      <a:pt x="1411921" y="1492341"/>
                    </a:moveTo>
                    <a:cubicBezTo>
                      <a:pt x="1411921" y="1480258"/>
                      <a:pt x="1402058" y="1470397"/>
                      <a:pt x="1389976" y="1470397"/>
                    </a:cubicBezTo>
                    <a:cubicBezTo>
                      <a:pt x="1377895" y="1470397"/>
                      <a:pt x="1368032" y="1480258"/>
                      <a:pt x="1368032" y="1492341"/>
                    </a:cubicBezTo>
                    <a:cubicBezTo>
                      <a:pt x="1368032" y="1504423"/>
                      <a:pt x="1377895" y="1514287"/>
                      <a:pt x="1389976" y="1514287"/>
                    </a:cubicBezTo>
                    <a:cubicBezTo>
                      <a:pt x="1402058" y="1514287"/>
                      <a:pt x="1411921" y="1504423"/>
                      <a:pt x="1411921" y="1492341"/>
                    </a:cubicBezTo>
                    <a:close/>
                    <a:moveTo>
                      <a:pt x="1413153" y="2362667"/>
                    </a:moveTo>
                    <a:cubicBezTo>
                      <a:pt x="1413153" y="2340475"/>
                      <a:pt x="1395153" y="2322223"/>
                      <a:pt x="1372714" y="2322223"/>
                    </a:cubicBezTo>
                    <a:cubicBezTo>
                      <a:pt x="1350523" y="2322223"/>
                      <a:pt x="1332276" y="2340229"/>
                      <a:pt x="1332276" y="2362667"/>
                    </a:cubicBezTo>
                    <a:cubicBezTo>
                      <a:pt x="1332276" y="2384859"/>
                      <a:pt x="1350275" y="2403103"/>
                      <a:pt x="1372714" y="2403103"/>
                    </a:cubicBezTo>
                    <a:cubicBezTo>
                      <a:pt x="1395153" y="2403103"/>
                      <a:pt x="1413398" y="2385103"/>
                      <a:pt x="1413153" y="2362667"/>
                    </a:cubicBezTo>
                    <a:close/>
                    <a:moveTo>
                      <a:pt x="1415128" y="5347170"/>
                    </a:moveTo>
                    <a:cubicBezTo>
                      <a:pt x="1415128" y="5335581"/>
                      <a:pt x="1405511" y="5326212"/>
                      <a:pt x="1393921" y="5326212"/>
                    </a:cubicBezTo>
                    <a:cubicBezTo>
                      <a:pt x="1382332" y="5326212"/>
                      <a:pt x="1372963" y="5335581"/>
                      <a:pt x="1372963" y="5347170"/>
                    </a:cubicBezTo>
                    <a:cubicBezTo>
                      <a:pt x="1372963" y="5359006"/>
                      <a:pt x="1382332" y="5368378"/>
                      <a:pt x="1393921" y="5368378"/>
                    </a:cubicBezTo>
                    <a:cubicBezTo>
                      <a:pt x="1405757" y="5368378"/>
                      <a:pt x="1415128" y="5359006"/>
                      <a:pt x="1415128" y="5347170"/>
                    </a:cubicBezTo>
                    <a:close/>
                    <a:moveTo>
                      <a:pt x="1416114" y="3736292"/>
                    </a:moveTo>
                    <a:cubicBezTo>
                      <a:pt x="1416114" y="3720511"/>
                      <a:pt x="1403290" y="3707935"/>
                      <a:pt x="1387758" y="3707935"/>
                    </a:cubicBezTo>
                    <a:cubicBezTo>
                      <a:pt x="1371976" y="3707935"/>
                      <a:pt x="1359401" y="3720757"/>
                      <a:pt x="1359401" y="3736292"/>
                    </a:cubicBezTo>
                    <a:cubicBezTo>
                      <a:pt x="1359401" y="3751824"/>
                      <a:pt x="1372223" y="3764399"/>
                      <a:pt x="1387758" y="3764399"/>
                    </a:cubicBezTo>
                    <a:cubicBezTo>
                      <a:pt x="1403290" y="3764399"/>
                      <a:pt x="1416114" y="3751824"/>
                      <a:pt x="1416114" y="3736292"/>
                    </a:cubicBezTo>
                    <a:close/>
                    <a:moveTo>
                      <a:pt x="1417838" y="2764070"/>
                    </a:moveTo>
                    <a:cubicBezTo>
                      <a:pt x="1417838" y="2759140"/>
                      <a:pt x="1413892" y="2755193"/>
                      <a:pt x="1408961" y="2755193"/>
                    </a:cubicBezTo>
                    <a:cubicBezTo>
                      <a:pt x="1404029" y="2755193"/>
                      <a:pt x="1400085" y="2759140"/>
                      <a:pt x="1400085" y="2764070"/>
                    </a:cubicBezTo>
                    <a:cubicBezTo>
                      <a:pt x="1400085" y="2769000"/>
                      <a:pt x="1404029" y="2772946"/>
                      <a:pt x="1408961" y="2772946"/>
                    </a:cubicBezTo>
                    <a:cubicBezTo>
                      <a:pt x="1413647" y="2772946"/>
                      <a:pt x="1417838" y="2769000"/>
                      <a:pt x="1417838" y="2764070"/>
                    </a:cubicBezTo>
                    <a:close/>
                    <a:moveTo>
                      <a:pt x="1420304" y="1965210"/>
                    </a:moveTo>
                    <a:cubicBezTo>
                      <a:pt x="1420304" y="1953131"/>
                      <a:pt x="1410440" y="1943272"/>
                      <a:pt x="1398358" y="1943272"/>
                    </a:cubicBezTo>
                    <a:cubicBezTo>
                      <a:pt x="1386277" y="1943272"/>
                      <a:pt x="1376414" y="1953131"/>
                      <a:pt x="1376414" y="1965210"/>
                    </a:cubicBezTo>
                    <a:cubicBezTo>
                      <a:pt x="1376414" y="1977289"/>
                      <a:pt x="1386277" y="1987149"/>
                      <a:pt x="1398358" y="1987149"/>
                    </a:cubicBezTo>
                    <a:cubicBezTo>
                      <a:pt x="1410440" y="1987149"/>
                      <a:pt x="1420304" y="1977289"/>
                      <a:pt x="1420304" y="1965210"/>
                    </a:cubicBezTo>
                    <a:close/>
                    <a:moveTo>
                      <a:pt x="1423510" y="4625937"/>
                    </a:moveTo>
                    <a:cubicBezTo>
                      <a:pt x="1423510" y="4624459"/>
                      <a:pt x="1422278" y="4623472"/>
                      <a:pt x="1421046" y="4623472"/>
                    </a:cubicBezTo>
                    <a:cubicBezTo>
                      <a:pt x="1419565" y="4623472"/>
                      <a:pt x="1418579" y="4624705"/>
                      <a:pt x="1418579" y="4625937"/>
                    </a:cubicBezTo>
                    <a:cubicBezTo>
                      <a:pt x="1418579" y="4627418"/>
                      <a:pt x="1419811" y="4628404"/>
                      <a:pt x="1421046" y="4628404"/>
                    </a:cubicBezTo>
                    <a:cubicBezTo>
                      <a:pt x="1422278" y="4628404"/>
                      <a:pt x="1423510" y="4627418"/>
                      <a:pt x="1423510" y="4625937"/>
                    </a:cubicBezTo>
                    <a:close/>
                    <a:moveTo>
                      <a:pt x="1425237" y="1845173"/>
                    </a:moveTo>
                    <a:cubicBezTo>
                      <a:pt x="1425237" y="1828902"/>
                      <a:pt x="1411923" y="1815585"/>
                      <a:pt x="1395648" y="1815585"/>
                    </a:cubicBezTo>
                    <a:cubicBezTo>
                      <a:pt x="1379372" y="1815585"/>
                      <a:pt x="1366059" y="1828902"/>
                      <a:pt x="1366059" y="1845173"/>
                    </a:cubicBezTo>
                    <a:cubicBezTo>
                      <a:pt x="1366059" y="1861443"/>
                      <a:pt x="1379372" y="1874754"/>
                      <a:pt x="1395648" y="1874754"/>
                    </a:cubicBezTo>
                    <a:cubicBezTo>
                      <a:pt x="1411923" y="1874754"/>
                      <a:pt x="1425237" y="1861443"/>
                      <a:pt x="1425237" y="1845173"/>
                    </a:cubicBezTo>
                    <a:close/>
                    <a:moveTo>
                      <a:pt x="1428195" y="2492602"/>
                    </a:moveTo>
                    <a:cubicBezTo>
                      <a:pt x="1428195" y="2466959"/>
                      <a:pt x="1407238" y="2446247"/>
                      <a:pt x="1381839" y="2446247"/>
                    </a:cubicBezTo>
                    <a:cubicBezTo>
                      <a:pt x="1356195" y="2446247"/>
                      <a:pt x="1335483" y="2466959"/>
                      <a:pt x="1335483" y="2492602"/>
                    </a:cubicBezTo>
                    <a:cubicBezTo>
                      <a:pt x="1335483" y="2518247"/>
                      <a:pt x="1356195" y="2538960"/>
                      <a:pt x="1381839" y="2538960"/>
                    </a:cubicBezTo>
                    <a:cubicBezTo>
                      <a:pt x="1407238" y="2538960"/>
                      <a:pt x="1427950" y="2518247"/>
                      <a:pt x="1428195" y="2492602"/>
                    </a:cubicBezTo>
                    <a:close/>
                    <a:moveTo>
                      <a:pt x="1430414" y="5229801"/>
                    </a:moveTo>
                    <a:cubicBezTo>
                      <a:pt x="1430414" y="5210816"/>
                      <a:pt x="1414879" y="5195280"/>
                      <a:pt x="1395894" y="5195280"/>
                    </a:cubicBezTo>
                    <a:cubicBezTo>
                      <a:pt x="1376907" y="5195280"/>
                      <a:pt x="1361373" y="5210567"/>
                      <a:pt x="1361373" y="5229801"/>
                    </a:cubicBezTo>
                    <a:cubicBezTo>
                      <a:pt x="1361373" y="5248786"/>
                      <a:pt x="1376907" y="5264322"/>
                      <a:pt x="1395894" y="5264322"/>
                    </a:cubicBezTo>
                    <a:cubicBezTo>
                      <a:pt x="1414879" y="5264322"/>
                      <a:pt x="1430414" y="5249032"/>
                      <a:pt x="1430414" y="5229801"/>
                    </a:cubicBezTo>
                    <a:close/>
                    <a:moveTo>
                      <a:pt x="1433128" y="4990869"/>
                    </a:moveTo>
                    <a:cubicBezTo>
                      <a:pt x="1433128" y="4972623"/>
                      <a:pt x="1418332" y="4957829"/>
                      <a:pt x="1400085" y="4957829"/>
                    </a:cubicBezTo>
                    <a:cubicBezTo>
                      <a:pt x="1381839" y="4957829"/>
                      <a:pt x="1367045" y="4972623"/>
                      <a:pt x="1367045" y="4990869"/>
                    </a:cubicBezTo>
                    <a:cubicBezTo>
                      <a:pt x="1367045" y="5009117"/>
                      <a:pt x="1381839" y="5023911"/>
                      <a:pt x="1400085" y="5023911"/>
                    </a:cubicBezTo>
                    <a:cubicBezTo>
                      <a:pt x="1418332" y="5023911"/>
                      <a:pt x="1433128" y="5009117"/>
                      <a:pt x="1433128" y="4990869"/>
                    </a:cubicBezTo>
                    <a:close/>
                    <a:moveTo>
                      <a:pt x="1435592" y="3164006"/>
                    </a:moveTo>
                    <a:cubicBezTo>
                      <a:pt x="1435592" y="3148719"/>
                      <a:pt x="1423019" y="3136143"/>
                      <a:pt x="1407729" y="3136143"/>
                    </a:cubicBezTo>
                    <a:cubicBezTo>
                      <a:pt x="1392443" y="3136143"/>
                      <a:pt x="1379867" y="3148719"/>
                      <a:pt x="1379867" y="3164006"/>
                    </a:cubicBezTo>
                    <a:cubicBezTo>
                      <a:pt x="1379867" y="3179295"/>
                      <a:pt x="1392443" y="3191871"/>
                      <a:pt x="1407729" y="3191871"/>
                    </a:cubicBezTo>
                    <a:cubicBezTo>
                      <a:pt x="1423264" y="3191871"/>
                      <a:pt x="1435592" y="3179295"/>
                      <a:pt x="1435592" y="3164006"/>
                    </a:cubicBezTo>
                    <a:close/>
                    <a:moveTo>
                      <a:pt x="1440772" y="2086512"/>
                    </a:moveTo>
                    <a:cubicBezTo>
                      <a:pt x="1440772" y="2065059"/>
                      <a:pt x="1423264" y="2047549"/>
                      <a:pt x="1401814" y="2047549"/>
                    </a:cubicBezTo>
                    <a:cubicBezTo>
                      <a:pt x="1380362" y="2047549"/>
                      <a:pt x="1362854" y="2065059"/>
                      <a:pt x="1362854" y="2086512"/>
                    </a:cubicBezTo>
                    <a:cubicBezTo>
                      <a:pt x="1362854" y="2107967"/>
                      <a:pt x="1380362" y="2125477"/>
                      <a:pt x="1401814" y="2125477"/>
                    </a:cubicBezTo>
                    <a:cubicBezTo>
                      <a:pt x="1423264" y="2125477"/>
                      <a:pt x="1440772" y="2107967"/>
                      <a:pt x="1440772" y="2086512"/>
                    </a:cubicBezTo>
                    <a:close/>
                    <a:moveTo>
                      <a:pt x="1442004" y="4746018"/>
                    </a:moveTo>
                    <a:cubicBezTo>
                      <a:pt x="1442004" y="4726786"/>
                      <a:pt x="1426223" y="4711005"/>
                      <a:pt x="1406988" y="4711005"/>
                    </a:cubicBezTo>
                    <a:cubicBezTo>
                      <a:pt x="1387757" y="4711005"/>
                      <a:pt x="1371976" y="4726786"/>
                      <a:pt x="1371976" y="4746018"/>
                    </a:cubicBezTo>
                    <a:cubicBezTo>
                      <a:pt x="1371976" y="4765252"/>
                      <a:pt x="1387511" y="4781033"/>
                      <a:pt x="1406988" y="4781033"/>
                    </a:cubicBezTo>
                    <a:cubicBezTo>
                      <a:pt x="1426469" y="4781033"/>
                      <a:pt x="1442004" y="4765252"/>
                      <a:pt x="1442004" y="4746018"/>
                    </a:cubicBezTo>
                    <a:close/>
                    <a:moveTo>
                      <a:pt x="1442251" y="2210045"/>
                    </a:moveTo>
                    <a:cubicBezTo>
                      <a:pt x="1442251" y="2189823"/>
                      <a:pt x="1425978" y="2173554"/>
                      <a:pt x="1405757" y="2173554"/>
                    </a:cubicBezTo>
                    <a:cubicBezTo>
                      <a:pt x="1385539" y="2173554"/>
                      <a:pt x="1369264" y="2189823"/>
                      <a:pt x="1369264" y="2210045"/>
                    </a:cubicBezTo>
                    <a:cubicBezTo>
                      <a:pt x="1369264" y="2230263"/>
                      <a:pt x="1385539" y="2246543"/>
                      <a:pt x="1405757" y="2246543"/>
                    </a:cubicBezTo>
                    <a:cubicBezTo>
                      <a:pt x="1425978" y="2246543"/>
                      <a:pt x="1442251" y="2230263"/>
                      <a:pt x="1442251" y="2210045"/>
                    </a:cubicBezTo>
                    <a:close/>
                    <a:moveTo>
                      <a:pt x="1444717" y="2626241"/>
                    </a:moveTo>
                    <a:cubicBezTo>
                      <a:pt x="1444717" y="2597884"/>
                      <a:pt x="1421787" y="2574953"/>
                      <a:pt x="1393429" y="2574953"/>
                    </a:cubicBezTo>
                    <a:cubicBezTo>
                      <a:pt x="1365073" y="2574953"/>
                      <a:pt x="1342142" y="2597884"/>
                      <a:pt x="1342142" y="2626241"/>
                    </a:cubicBezTo>
                    <a:cubicBezTo>
                      <a:pt x="1342142" y="2654599"/>
                      <a:pt x="1365073" y="2677530"/>
                      <a:pt x="1393429" y="2677530"/>
                    </a:cubicBezTo>
                    <a:cubicBezTo>
                      <a:pt x="1421787" y="2677530"/>
                      <a:pt x="1444963" y="2654354"/>
                      <a:pt x="1444717" y="2626241"/>
                    </a:cubicBezTo>
                    <a:close/>
                    <a:moveTo>
                      <a:pt x="1452853" y="2907819"/>
                    </a:moveTo>
                    <a:cubicBezTo>
                      <a:pt x="1452853" y="2895243"/>
                      <a:pt x="1442495" y="2884888"/>
                      <a:pt x="1429920" y="2884888"/>
                    </a:cubicBezTo>
                    <a:cubicBezTo>
                      <a:pt x="1417347" y="2884888"/>
                      <a:pt x="1406989" y="2895243"/>
                      <a:pt x="1406989" y="2907819"/>
                    </a:cubicBezTo>
                    <a:cubicBezTo>
                      <a:pt x="1406989" y="2920395"/>
                      <a:pt x="1417347" y="2930753"/>
                      <a:pt x="1429920" y="2930753"/>
                    </a:cubicBezTo>
                    <a:cubicBezTo>
                      <a:pt x="1442495" y="2930753"/>
                      <a:pt x="1452853" y="2920395"/>
                      <a:pt x="1452853" y="2907819"/>
                    </a:cubicBezTo>
                    <a:close/>
                    <a:moveTo>
                      <a:pt x="1453840" y="4869308"/>
                    </a:moveTo>
                    <a:cubicBezTo>
                      <a:pt x="1453840" y="4841197"/>
                      <a:pt x="1431154" y="4818512"/>
                      <a:pt x="1403047" y="4818512"/>
                    </a:cubicBezTo>
                    <a:cubicBezTo>
                      <a:pt x="1374935" y="4818512"/>
                      <a:pt x="1352251" y="4841197"/>
                      <a:pt x="1352251" y="4869308"/>
                    </a:cubicBezTo>
                    <a:cubicBezTo>
                      <a:pt x="1352251" y="4897417"/>
                      <a:pt x="1374935" y="4920101"/>
                      <a:pt x="1403047" y="4920101"/>
                    </a:cubicBezTo>
                    <a:cubicBezTo>
                      <a:pt x="1431154" y="4920101"/>
                      <a:pt x="1453840" y="4897417"/>
                      <a:pt x="1453840" y="4869308"/>
                    </a:cubicBezTo>
                    <a:close/>
                    <a:moveTo>
                      <a:pt x="1457044" y="4498455"/>
                    </a:moveTo>
                    <a:cubicBezTo>
                      <a:pt x="1457044" y="4482429"/>
                      <a:pt x="1443976" y="4469361"/>
                      <a:pt x="1427947" y="4469361"/>
                    </a:cubicBezTo>
                    <a:cubicBezTo>
                      <a:pt x="1411920" y="4469361"/>
                      <a:pt x="1398853" y="4482429"/>
                      <a:pt x="1398853" y="4498455"/>
                    </a:cubicBezTo>
                    <a:cubicBezTo>
                      <a:pt x="1398853" y="4514485"/>
                      <a:pt x="1411920" y="4527553"/>
                      <a:pt x="1427947" y="4527553"/>
                    </a:cubicBezTo>
                    <a:cubicBezTo>
                      <a:pt x="1444222" y="4527553"/>
                      <a:pt x="1457290" y="4514485"/>
                      <a:pt x="1457044" y="4498455"/>
                    </a:cubicBezTo>
                    <a:close/>
                    <a:moveTo>
                      <a:pt x="1457536" y="3844291"/>
                    </a:moveTo>
                    <a:cubicBezTo>
                      <a:pt x="1457536" y="3829991"/>
                      <a:pt x="1445949" y="3818401"/>
                      <a:pt x="1431647" y="3818401"/>
                    </a:cubicBezTo>
                    <a:cubicBezTo>
                      <a:pt x="1417347" y="3818401"/>
                      <a:pt x="1405757" y="3829991"/>
                      <a:pt x="1405757" y="3844291"/>
                    </a:cubicBezTo>
                    <a:cubicBezTo>
                      <a:pt x="1405757" y="3858593"/>
                      <a:pt x="1417347" y="3870183"/>
                      <a:pt x="1431647" y="3870183"/>
                    </a:cubicBezTo>
                    <a:cubicBezTo>
                      <a:pt x="1445949" y="3870183"/>
                      <a:pt x="1457536" y="3858593"/>
                      <a:pt x="1457536" y="3844291"/>
                    </a:cubicBezTo>
                    <a:close/>
                    <a:moveTo>
                      <a:pt x="1459017" y="1129923"/>
                    </a:moveTo>
                    <a:cubicBezTo>
                      <a:pt x="1459017" y="1117588"/>
                      <a:pt x="1448908" y="1107481"/>
                      <a:pt x="1436581" y="1107481"/>
                    </a:cubicBezTo>
                    <a:cubicBezTo>
                      <a:pt x="1424251" y="1107481"/>
                      <a:pt x="1414142" y="1117588"/>
                      <a:pt x="1414142" y="1129923"/>
                    </a:cubicBezTo>
                    <a:cubicBezTo>
                      <a:pt x="1414142" y="1142251"/>
                      <a:pt x="1424251" y="1152358"/>
                      <a:pt x="1436581" y="1152358"/>
                    </a:cubicBezTo>
                    <a:cubicBezTo>
                      <a:pt x="1448908" y="1152358"/>
                      <a:pt x="1459017" y="1142251"/>
                      <a:pt x="1459017" y="1129923"/>
                    </a:cubicBezTo>
                    <a:close/>
                    <a:moveTo>
                      <a:pt x="1460497" y="903105"/>
                    </a:moveTo>
                    <a:cubicBezTo>
                      <a:pt x="1460497" y="890286"/>
                      <a:pt x="1449894" y="879681"/>
                      <a:pt x="1437072" y="879681"/>
                    </a:cubicBezTo>
                    <a:cubicBezTo>
                      <a:pt x="1424250" y="879681"/>
                      <a:pt x="1413647" y="890037"/>
                      <a:pt x="1413647" y="903105"/>
                    </a:cubicBezTo>
                    <a:cubicBezTo>
                      <a:pt x="1413647" y="915923"/>
                      <a:pt x="1424001" y="926536"/>
                      <a:pt x="1437072" y="926536"/>
                    </a:cubicBezTo>
                    <a:cubicBezTo>
                      <a:pt x="1449894" y="926536"/>
                      <a:pt x="1460497" y="916172"/>
                      <a:pt x="1460497" y="903105"/>
                    </a:cubicBezTo>
                    <a:close/>
                    <a:moveTo>
                      <a:pt x="1460990" y="1016517"/>
                    </a:moveTo>
                    <a:cubicBezTo>
                      <a:pt x="1460990" y="1002949"/>
                      <a:pt x="1450140" y="992101"/>
                      <a:pt x="1436581" y="992101"/>
                    </a:cubicBezTo>
                    <a:cubicBezTo>
                      <a:pt x="1423018" y="992101"/>
                      <a:pt x="1412169" y="1002949"/>
                      <a:pt x="1412169" y="1016517"/>
                    </a:cubicBezTo>
                    <a:cubicBezTo>
                      <a:pt x="1412169" y="1030074"/>
                      <a:pt x="1423018" y="1040921"/>
                      <a:pt x="1436581" y="1040921"/>
                    </a:cubicBezTo>
                    <a:cubicBezTo>
                      <a:pt x="1449894" y="1040921"/>
                      <a:pt x="1460990" y="1029825"/>
                      <a:pt x="1460990" y="1016517"/>
                    </a:cubicBezTo>
                    <a:close/>
                    <a:moveTo>
                      <a:pt x="1461975" y="1358465"/>
                    </a:moveTo>
                    <a:cubicBezTo>
                      <a:pt x="1461975" y="1344657"/>
                      <a:pt x="1450878" y="1333318"/>
                      <a:pt x="1437069" y="1333318"/>
                    </a:cubicBezTo>
                    <a:cubicBezTo>
                      <a:pt x="1423261" y="1333318"/>
                      <a:pt x="1411920" y="1344657"/>
                      <a:pt x="1411920" y="1358465"/>
                    </a:cubicBezTo>
                    <a:cubicBezTo>
                      <a:pt x="1411920" y="1372277"/>
                      <a:pt x="1423261" y="1383618"/>
                      <a:pt x="1437069" y="1383618"/>
                    </a:cubicBezTo>
                    <a:cubicBezTo>
                      <a:pt x="1450878" y="1383618"/>
                      <a:pt x="1461975" y="1372523"/>
                      <a:pt x="1461975" y="1358465"/>
                    </a:cubicBezTo>
                    <a:close/>
                    <a:moveTo>
                      <a:pt x="1462222" y="1244073"/>
                    </a:moveTo>
                    <a:cubicBezTo>
                      <a:pt x="1462222" y="1230265"/>
                      <a:pt x="1450881" y="1218923"/>
                      <a:pt x="1436826" y="1218923"/>
                    </a:cubicBezTo>
                    <a:cubicBezTo>
                      <a:pt x="1423018" y="1218923"/>
                      <a:pt x="1411675" y="1230265"/>
                      <a:pt x="1411675" y="1244073"/>
                    </a:cubicBezTo>
                    <a:cubicBezTo>
                      <a:pt x="1411675" y="1257874"/>
                      <a:pt x="1423018" y="1269215"/>
                      <a:pt x="1436826" y="1269215"/>
                    </a:cubicBezTo>
                    <a:cubicBezTo>
                      <a:pt x="1450881" y="1269215"/>
                      <a:pt x="1462222" y="1257874"/>
                      <a:pt x="1462222" y="1244073"/>
                    </a:cubicBezTo>
                    <a:close/>
                    <a:moveTo>
                      <a:pt x="1462467" y="566055"/>
                    </a:moveTo>
                    <a:cubicBezTo>
                      <a:pt x="1462467" y="551756"/>
                      <a:pt x="1450880" y="540167"/>
                      <a:pt x="1436578" y="540167"/>
                    </a:cubicBezTo>
                    <a:cubicBezTo>
                      <a:pt x="1422278" y="540167"/>
                      <a:pt x="1410688" y="551756"/>
                      <a:pt x="1410688" y="566055"/>
                    </a:cubicBezTo>
                    <a:cubicBezTo>
                      <a:pt x="1410688" y="580357"/>
                      <a:pt x="1422278" y="591944"/>
                      <a:pt x="1436578" y="591944"/>
                    </a:cubicBezTo>
                    <a:cubicBezTo>
                      <a:pt x="1450880" y="591944"/>
                      <a:pt x="1462467" y="580357"/>
                      <a:pt x="1462467" y="566055"/>
                    </a:cubicBezTo>
                    <a:close/>
                    <a:moveTo>
                      <a:pt x="1462467" y="678262"/>
                    </a:moveTo>
                    <a:cubicBezTo>
                      <a:pt x="1462467" y="663966"/>
                      <a:pt x="1450880" y="652380"/>
                      <a:pt x="1436578" y="652380"/>
                    </a:cubicBezTo>
                    <a:cubicBezTo>
                      <a:pt x="1422278" y="652380"/>
                      <a:pt x="1410688" y="663966"/>
                      <a:pt x="1410688" y="678262"/>
                    </a:cubicBezTo>
                    <a:cubicBezTo>
                      <a:pt x="1410688" y="692572"/>
                      <a:pt x="1422278" y="704159"/>
                      <a:pt x="1436578" y="704159"/>
                    </a:cubicBezTo>
                    <a:cubicBezTo>
                      <a:pt x="1450880" y="704159"/>
                      <a:pt x="1462467" y="692572"/>
                      <a:pt x="1462467" y="678262"/>
                    </a:cubicBezTo>
                    <a:close/>
                    <a:moveTo>
                      <a:pt x="1463208" y="790441"/>
                    </a:moveTo>
                    <a:cubicBezTo>
                      <a:pt x="1463208" y="776138"/>
                      <a:pt x="1451372" y="764302"/>
                      <a:pt x="1436823" y="764302"/>
                    </a:cubicBezTo>
                    <a:cubicBezTo>
                      <a:pt x="1422523" y="764302"/>
                      <a:pt x="1410688" y="775893"/>
                      <a:pt x="1410688" y="790441"/>
                    </a:cubicBezTo>
                    <a:cubicBezTo>
                      <a:pt x="1410688" y="804989"/>
                      <a:pt x="1422278" y="816825"/>
                      <a:pt x="1436823" y="816825"/>
                    </a:cubicBezTo>
                    <a:cubicBezTo>
                      <a:pt x="1451372" y="816825"/>
                      <a:pt x="1462962" y="804989"/>
                      <a:pt x="1463208" y="790441"/>
                    </a:cubicBezTo>
                    <a:close/>
                    <a:moveTo>
                      <a:pt x="1471839" y="4092347"/>
                    </a:moveTo>
                    <a:cubicBezTo>
                      <a:pt x="1471839" y="4089143"/>
                      <a:pt x="1469375" y="4086675"/>
                      <a:pt x="1466170" y="4086675"/>
                    </a:cubicBezTo>
                    <a:cubicBezTo>
                      <a:pt x="1462963" y="4086675"/>
                      <a:pt x="1460498" y="4089143"/>
                      <a:pt x="1460498" y="4092347"/>
                    </a:cubicBezTo>
                    <a:cubicBezTo>
                      <a:pt x="1460498" y="4095552"/>
                      <a:pt x="1462963" y="4098019"/>
                      <a:pt x="1466170" y="4098019"/>
                    </a:cubicBezTo>
                    <a:cubicBezTo>
                      <a:pt x="1469375" y="4098019"/>
                      <a:pt x="1471839" y="4095552"/>
                      <a:pt x="1471839" y="4092347"/>
                    </a:cubicBezTo>
                    <a:close/>
                    <a:moveTo>
                      <a:pt x="1474057" y="4232648"/>
                    </a:moveTo>
                    <a:cubicBezTo>
                      <a:pt x="1474057" y="4219086"/>
                      <a:pt x="1462962" y="4207990"/>
                      <a:pt x="1449400" y="4207990"/>
                    </a:cubicBezTo>
                    <a:cubicBezTo>
                      <a:pt x="1435838" y="4207990"/>
                      <a:pt x="1424742" y="4219086"/>
                      <a:pt x="1424742" y="4232648"/>
                    </a:cubicBezTo>
                    <a:cubicBezTo>
                      <a:pt x="1424742" y="4246210"/>
                      <a:pt x="1435838" y="4257305"/>
                      <a:pt x="1449400" y="4257305"/>
                    </a:cubicBezTo>
                    <a:cubicBezTo>
                      <a:pt x="1462962" y="4257305"/>
                      <a:pt x="1474057" y="4246210"/>
                      <a:pt x="1474057" y="4232648"/>
                    </a:cubicBezTo>
                    <a:close/>
                    <a:moveTo>
                      <a:pt x="1476278" y="4367527"/>
                    </a:moveTo>
                    <a:cubicBezTo>
                      <a:pt x="1476278" y="4345827"/>
                      <a:pt x="1458771" y="4328320"/>
                      <a:pt x="1437072" y="4328320"/>
                    </a:cubicBezTo>
                    <a:cubicBezTo>
                      <a:pt x="1415373" y="4328320"/>
                      <a:pt x="1397866" y="4345827"/>
                      <a:pt x="1397866" y="4367527"/>
                    </a:cubicBezTo>
                    <a:cubicBezTo>
                      <a:pt x="1397866" y="4389225"/>
                      <a:pt x="1415619" y="4406730"/>
                      <a:pt x="1437072" y="4406730"/>
                    </a:cubicBezTo>
                    <a:cubicBezTo>
                      <a:pt x="1458771" y="4406730"/>
                      <a:pt x="1476278" y="4389225"/>
                      <a:pt x="1476278" y="4367527"/>
                    </a:cubicBezTo>
                    <a:close/>
                    <a:moveTo>
                      <a:pt x="1485645" y="3059214"/>
                    </a:moveTo>
                    <a:cubicBezTo>
                      <a:pt x="1485645" y="3044665"/>
                      <a:pt x="1473812" y="3032829"/>
                      <a:pt x="1459263" y="3032829"/>
                    </a:cubicBezTo>
                    <a:cubicBezTo>
                      <a:pt x="1444714" y="3032829"/>
                      <a:pt x="1432879" y="3044665"/>
                      <a:pt x="1432879" y="3059214"/>
                    </a:cubicBezTo>
                    <a:cubicBezTo>
                      <a:pt x="1432879" y="3073762"/>
                      <a:pt x="1444714" y="3085596"/>
                      <a:pt x="1459263" y="3085596"/>
                    </a:cubicBezTo>
                    <a:cubicBezTo>
                      <a:pt x="1473812" y="3085596"/>
                      <a:pt x="1485645" y="3073513"/>
                      <a:pt x="1485645" y="3059214"/>
                    </a:cubicBezTo>
                    <a:close/>
                    <a:moveTo>
                      <a:pt x="1491810" y="7398681"/>
                    </a:moveTo>
                    <a:cubicBezTo>
                      <a:pt x="1491810" y="7397200"/>
                      <a:pt x="1490825" y="7395967"/>
                      <a:pt x="1489346" y="7395967"/>
                    </a:cubicBezTo>
                    <a:cubicBezTo>
                      <a:pt x="1488112" y="7395967"/>
                      <a:pt x="1486879" y="7397200"/>
                      <a:pt x="1486879" y="7398681"/>
                    </a:cubicBezTo>
                    <a:cubicBezTo>
                      <a:pt x="1486879" y="7400160"/>
                      <a:pt x="1487865" y="7401145"/>
                      <a:pt x="1489346" y="7401145"/>
                    </a:cubicBezTo>
                    <a:cubicBezTo>
                      <a:pt x="1490825" y="7401145"/>
                      <a:pt x="1492057" y="7399912"/>
                      <a:pt x="1491810" y="7398681"/>
                    </a:cubicBezTo>
                    <a:close/>
                    <a:moveTo>
                      <a:pt x="1492057" y="7508903"/>
                    </a:moveTo>
                    <a:cubicBezTo>
                      <a:pt x="1492057" y="7507668"/>
                      <a:pt x="1491071" y="7506436"/>
                      <a:pt x="1489592" y="7506436"/>
                    </a:cubicBezTo>
                    <a:cubicBezTo>
                      <a:pt x="1488358" y="7506436"/>
                      <a:pt x="1487126" y="7507422"/>
                      <a:pt x="1487126" y="7508903"/>
                    </a:cubicBezTo>
                    <a:cubicBezTo>
                      <a:pt x="1487126" y="7510135"/>
                      <a:pt x="1488112" y="7511366"/>
                      <a:pt x="1489592" y="7511366"/>
                    </a:cubicBezTo>
                    <a:cubicBezTo>
                      <a:pt x="1491071" y="7511366"/>
                      <a:pt x="1492304" y="7510135"/>
                      <a:pt x="1492057" y="7508903"/>
                    </a:cubicBezTo>
                    <a:close/>
                    <a:moveTo>
                      <a:pt x="1492059" y="7288463"/>
                    </a:moveTo>
                    <a:cubicBezTo>
                      <a:pt x="1492059" y="7286982"/>
                      <a:pt x="1490579" y="7285750"/>
                      <a:pt x="1489100" y="7285750"/>
                    </a:cubicBezTo>
                    <a:cubicBezTo>
                      <a:pt x="1487620" y="7285750"/>
                      <a:pt x="1486388" y="7286982"/>
                      <a:pt x="1486388" y="7288463"/>
                    </a:cubicBezTo>
                    <a:cubicBezTo>
                      <a:pt x="1486388" y="7289941"/>
                      <a:pt x="1487620" y="7291176"/>
                      <a:pt x="1489100" y="7291176"/>
                    </a:cubicBezTo>
                    <a:cubicBezTo>
                      <a:pt x="1490827" y="7291176"/>
                      <a:pt x="1492059" y="7289941"/>
                      <a:pt x="1492059" y="7288463"/>
                    </a:cubicBezTo>
                    <a:close/>
                    <a:moveTo>
                      <a:pt x="1493291" y="3448550"/>
                    </a:moveTo>
                    <a:cubicBezTo>
                      <a:pt x="1493291" y="3427837"/>
                      <a:pt x="1476525" y="3411071"/>
                      <a:pt x="1455813" y="3411071"/>
                    </a:cubicBezTo>
                    <a:cubicBezTo>
                      <a:pt x="1435100" y="3411071"/>
                      <a:pt x="1418333" y="3427837"/>
                      <a:pt x="1418333" y="3448550"/>
                    </a:cubicBezTo>
                    <a:cubicBezTo>
                      <a:pt x="1418333" y="3469003"/>
                      <a:pt x="1435100" y="3485771"/>
                      <a:pt x="1455813" y="3485771"/>
                    </a:cubicBezTo>
                    <a:cubicBezTo>
                      <a:pt x="1476525" y="3485771"/>
                      <a:pt x="1493291" y="3469003"/>
                      <a:pt x="1493291" y="3448550"/>
                    </a:cubicBezTo>
                    <a:close/>
                    <a:moveTo>
                      <a:pt x="1494278" y="6513967"/>
                    </a:moveTo>
                    <a:cubicBezTo>
                      <a:pt x="1494278" y="6512240"/>
                      <a:pt x="1492797" y="6510761"/>
                      <a:pt x="1491070" y="6510761"/>
                    </a:cubicBezTo>
                    <a:cubicBezTo>
                      <a:pt x="1489347" y="6510761"/>
                      <a:pt x="1487866" y="6512240"/>
                      <a:pt x="1487866" y="6513967"/>
                    </a:cubicBezTo>
                    <a:cubicBezTo>
                      <a:pt x="1487866" y="6515939"/>
                      <a:pt x="1489098" y="6517420"/>
                      <a:pt x="1491070" y="6517420"/>
                    </a:cubicBezTo>
                    <a:cubicBezTo>
                      <a:pt x="1492797" y="6517420"/>
                      <a:pt x="1494278" y="6515939"/>
                      <a:pt x="1494278" y="6513967"/>
                    </a:cubicBezTo>
                    <a:close/>
                    <a:moveTo>
                      <a:pt x="1494524" y="6957803"/>
                    </a:moveTo>
                    <a:cubicBezTo>
                      <a:pt x="1494524" y="6956322"/>
                      <a:pt x="1493289" y="6955090"/>
                      <a:pt x="1491811" y="6955090"/>
                    </a:cubicBezTo>
                    <a:cubicBezTo>
                      <a:pt x="1490330" y="6955090"/>
                      <a:pt x="1489098" y="6956322"/>
                      <a:pt x="1489098" y="6957803"/>
                    </a:cubicBezTo>
                    <a:cubicBezTo>
                      <a:pt x="1489098" y="6959281"/>
                      <a:pt x="1490330" y="6960516"/>
                      <a:pt x="1491811" y="6960516"/>
                    </a:cubicBezTo>
                    <a:cubicBezTo>
                      <a:pt x="1493289" y="6960516"/>
                      <a:pt x="1494524" y="6959281"/>
                      <a:pt x="1494524" y="6957803"/>
                    </a:cubicBezTo>
                    <a:close/>
                    <a:moveTo>
                      <a:pt x="1494769" y="7178737"/>
                    </a:moveTo>
                    <a:cubicBezTo>
                      <a:pt x="1494769" y="7177256"/>
                      <a:pt x="1493783" y="7176270"/>
                      <a:pt x="1492305" y="7176270"/>
                    </a:cubicBezTo>
                    <a:cubicBezTo>
                      <a:pt x="1491070" y="7176270"/>
                      <a:pt x="1489838" y="7177256"/>
                      <a:pt x="1489838" y="7178737"/>
                    </a:cubicBezTo>
                    <a:cubicBezTo>
                      <a:pt x="1489838" y="7180216"/>
                      <a:pt x="1490824" y="7181201"/>
                      <a:pt x="1492305" y="7181201"/>
                    </a:cubicBezTo>
                    <a:cubicBezTo>
                      <a:pt x="1493537" y="7181201"/>
                      <a:pt x="1494769" y="7179969"/>
                      <a:pt x="1494769" y="7178737"/>
                    </a:cubicBezTo>
                    <a:close/>
                    <a:moveTo>
                      <a:pt x="1495263" y="7068270"/>
                    </a:moveTo>
                    <a:cubicBezTo>
                      <a:pt x="1495263" y="7066543"/>
                      <a:pt x="1493784" y="7065064"/>
                      <a:pt x="1492057" y="7065064"/>
                    </a:cubicBezTo>
                    <a:cubicBezTo>
                      <a:pt x="1490330" y="7065064"/>
                      <a:pt x="1488853" y="7066543"/>
                      <a:pt x="1488853" y="7068270"/>
                    </a:cubicBezTo>
                    <a:cubicBezTo>
                      <a:pt x="1488853" y="7069996"/>
                      <a:pt x="1490330" y="7071474"/>
                      <a:pt x="1492057" y="7071474"/>
                    </a:cubicBezTo>
                    <a:cubicBezTo>
                      <a:pt x="1493784" y="7071474"/>
                      <a:pt x="1495263" y="7069996"/>
                      <a:pt x="1495263" y="7068270"/>
                    </a:cubicBezTo>
                    <a:close/>
                    <a:moveTo>
                      <a:pt x="1496743" y="6180351"/>
                    </a:moveTo>
                    <a:cubicBezTo>
                      <a:pt x="1496743" y="6179364"/>
                      <a:pt x="1496006" y="6178624"/>
                      <a:pt x="1495019" y="6178624"/>
                    </a:cubicBezTo>
                    <a:cubicBezTo>
                      <a:pt x="1494032" y="6178624"/>
                      <a:pt x="1493292" y="6179364"/>
                      <a:pt x="1493292" y="6180351"/>
                    </a:cubicBezTo>
                    <a:cubicBezTo>
                      <a:pt x="1493292" y="6181337"/>
                      <a:pt x="1494032" y="6182078"/>
                      <a:pt x="1495019" y="6182078"/>
                    </a:cubicBezTo>
                    <a:cubicBezTo>
                      <a:pt x="1496006" y="6182078"/>
                      <a:pt x="1496743" y="6181337"/>
                      <a:pt x="1496743" y="6180351"/>
                    </a:cubicBezTo>
                    <a:close/>
                    <a:moveTo>
                      <a:pt x="1496989" y="5955969"/>
                    </a:moveTo>
                    <a:cubicBezTo>
                      <a:pt x="1496989" y="5954982"/>
                      <a:pt x="1496002" y="5953995"/>
                      <a:pt x="1495016" y="5953995"/>
                    </a:cubicBezTo>
                    <a:cubicBezTo>
                      <a:pt x="1494030" y="5953995"/>
                      <a:pt x="1493044" y="5954982"/>
                      <a:pt x="1493044" y="5955969"/>
                    </a:cubicBezTo>
                    <a:cubicBezTo>
                      <a:pt x="1493044" y="5956954"/>
                      <a:pt x="1494030" y="5957941"/>
                      <a:pt x="1495016" y="5957941"/>
                    </a:cubicBezTo>
                    <a:cubicBezTo>
                      <a:pt x="1496002" y="5957941"/>
                      <a:pt x="1496989" y="5956954"/>
                      <a:pt x="1496989" y="5955969"/>
                    </a:cubicBezTo>
                    <a:close/>
                    <a:moveTo>
                      <a:pt x="1497235" y="5616434"/>
                    </a:moveTo>
                    <a:cubicBezTo>
                      <a:pt x="1497235" y="5615448"/>
                      <a:pt x="1496497" y="5614707"/>
                      <a:pt x="1495510" y="5614707"/>
                    </a:cubicBezTo>
                    <a:cubicBezTo>
                      <a:pt x="1494524" y="5614707"/>
                      <a:pt x="1493784" y="5615448"/>
                      <a:pt x="1493784" y="5616434"/>
                    </a:cubicBezTo>
                    <a:cubicBezTo>
                      <a:pt x="1493784" y="5617420"/>
                      <a:pt x="1494524" y="5618158"/>
                      <a:pt x="1495510" y="5618158"/>
                    </a:cubicBezTo>
                    <a:cubicBezTo>
                      <a:pt x="1496497" y="5618158"/>
                      <a:pt x="1497235" y="5617420"/>
                      <a:pt x="1497235" y="5616434"/>
                    </a:cubicBezTo>
                    <a:close/>
                    <a:moveTo>
                      <a:pt x="1497237" y="6068157"/>
                    </a:moveTo>
                    <a:cubicBezTo>
                      <a:pt x="1497237" y="6066680"/>
                      <a:pt x="1496251" y="6065693"/>
                      <a:pt x="1494772" y="6065693"/>
                    </a:cubicBezTo>
                    <a:cubicBezTo>
                      <a:pt x="1493291" y="6065693"/>
                      <a:pt x="1492306" y="6066925"/>
                      <a:pt x="1492306" y="6068157"/>
                    </a:cubicBezTo>
                    <a:cubicBezTo>
                      <a:pt x="1492306" y="6069638"/>
                      <a:pt x="1493291" y="6070625"/>
                      <a:pt x="1494772" y="6070625"/>
                    </a:cubicBezTo>
                    <a:cubicBezTo>
                      <a:pt x="1496251" y="6070625"/>
                      <a:pt x="1497483" y="6069638"/>
                      <a:pt x="1497237" y="6068157"/>
                    </a:cubicBezTo>
                    <a:close/>
                    <a:moveTo>
                      <a:pt x="1498468" y="5843035"/>
                    </a:moveTo>
                    <a:cubicBezTo>
                      <a:pt x="1498468" y="5841060"/>
                      <a:pt x="1496990" y="5839582"/>
                      <a:pt x="1495015" y="5839582"/>
                    </a:cubicBezTo>
                    <a:cubicBezTo>
                      <a:pt x="1493043" y="5839582"/>
                      <a:pt x="1491565" y="5841060"/>
                      <a:pt x="1491565" y="5843035"/>
                    </a:cubicBezTo>
                    <a:cubicBezTo>
                      <a:pt x="1491565" y="5845008"/>
                      <a:pt x="1493043" y="5846486"/>
                      <a:pt x="1495015" y="5846486"/>
                    </a:cubicBezTo>
                    <a:cubicBezTo>
                      <a:pt x="1496990" y="5846486"/>
                      <a:pt x="1498468" y="5845008"/>
                      <a:pt x="1498468" y="5843035"/>
                    </a:cubicBezTo>
                    <a:close/>
                    <a:moveTo>
                      <a:pt x="1498961" y="6736134"/>
                    </a:moveTo>
                    <a:cubicBezTo>
                      <a:pt x="1498961" y="6731941"/>
                      <a:pt x="1495510" y="6728735"/>
                      <a:pt x="1491566" y="6728735"/>
                    </a:cubicBezTo>
                    <a:cubicBezTo>
                      <a:pt x="1487372" y="6728735"/>
                      <a:pt x="1484167" y="6732188"/>
                      <a:pt x="1484167" y="6736134"/>
                    </a:cubicBezTo>
                    <a:cubicBezTo>
                      <a:pt x="1484167" y="6740076"/>
                      <a:pt x="1487372" y="6743529"/>
                      <a:pt x="1491566" y="6743529"/>
                    </a:cubicBezTo>
                    <a:cubicBezTo>
                      <a:pt x="1495510" y="6743529"/>
                      <a:pt x="1498715" y="6740325"/>
                      <a:pt x="1498961" y="6736134"/>
                    </a:cubicBezTo>
                    <a:close/>
                    <a:moveTo>
                      <a:pt x="1498963" y="6625173"/>
                    </a:moveTo>
                    <a:cubicBezTo>
                      <a:pt x="1498963" y="6620979"/>
                      <a:pt x="1495510" y="6617528"/>
                      <a:pt x="1491319" y="6617528"/>
                    </a:cubicBezTo>
                    <a:cubicBezTo>
                      <a:pt x="1487125" y="6617528"/>
                      <a:pt x="1483675" y="6620979"/>
                      <a:pt x="1483675" y="6625173"/>
                    </a:cubicBezTo>
                    <a:cubicBezTo>
                      <a:pt x="1483675" y="6629364"/>
                      <a:pt x="1487125" y="6632814"/>
                      <a:pt x="1491319" y="6632814"/>
                    </a:cubicBezTo>
                    <a:cubicBezTo>
                      <a:pt x="1495510" y="6632814"/>
                      <a:pt x="1498963" y="6629364"/>
                      <a:pt x="1498963" y="6625173"/>
                    </a:cubicBezTo>
                    <a:close/>
                    <a:moveTo>
                      <a:pt x="1499949" y="6847091"/>
                    </a:moveTo>
                    <a:cubicBezTo>
                      <a:pt x="1499949" y="6842406"/>
                      <a:pt x="1496250" y="6838706"/>
                      <a:pt x="1491565" y="6838706"/>
                    </a:cubicBezTo>
                    <a:cubicBezTo>
                      <a:pt x="1486881" y="6838706"/>
                      <a:pt x="1483182" y="6842406"/>
                      <a:pt x="1483182" y="6847091"/>
                    </a:cubicBezTo>
                    <a:cubicBezTo>
                      <a:pt x="1483182" y="6851777"/>
                      <a:pt x="1486881" y="6855473"/>
                      <a:pt x="1491565" y="6855473"/>
                    </a:cubicBezTo>
                    <a:cubicBezTo>
                      <a:pt x="1496250" y="6855473"/>
                      <a:pt x="1499949" y="6851777"/>
                      <a:pt x="1499949" y="6847091"/>
                    </a:cubicBezTo>
                    <a:close/>
                    <a:moveTo>
                      <a:pt x="1500688" y="3565662"/>
                    </a:moveTo>
                    <a:cubicBezTo>
                      <a:pt x="1500688" y="3543717"/>
                      <a:pt x="1482689" y="3525718"/>
                      <a:pt x="1460742" y="3525718"/>
                    </a:cubicBezTo>
                    <a:cubicBezTo>
                      <a:pt x="1438797" y="3525718"/>
                      <a:pt x="1420798" y="3543717"/>
                      <a:pt x="1420798" y="3565662"/>
                    </a:cubicBezTo>
                    <a:cubicBezTo>
                      <a:pt x="1420798" y="3587609"/>
                      <a:pt x="1438797" y="3605608"/>
                      <a:pt x="1460742" y="3605608"/>
                    </a:cubicBezTo>
                    <a:cubicBezTo>
                      <a:pt x="1482689" y="3605608"/>
                      <a:pt x="1500688" y="3587609"/>
                      <a:pt x="1500688" y="3565662"/>
                    </a:cubicBezTo>
                    <a:close/>
                    <a:moveTo>
                      <a:pt x="1500936" y="5729858"/>
                    </a:moveTo>
                    <a:cubicBezTo>
                      <a:pt x="1500936" y="5726654"/>
                      <a:pt x="1498223" y="5724186"/>
                      <a:pt x="1495265" y="5724186"/>
                    </a:cubicBezTo>
                    <a:cubicBezTo>
                      <a:pt x="1492059" y="5724186"/>
                      <a:pt x="1489592" y="5726900"/>
                      <a:pt x="1489592" y="5729858"/>
                    </a:cubicBezTo>
                    <a:cubicBezTo>
                      <a:pt x="1489592" y="5733063"/>
                      <a:pt x="1492305" y="5735527"/>
                      <a:pt x="1495265" y="5735527"/>
                    </a:cubicBezTo>
                    <a:cubicBezTo>
                      <a:pt x="1498223" y="5735527"/>
                      <a:pt x="1500936" y="5733063"/>
                      <a:pt x="1500936" y="5729858"/>
                    </a:cubicBezTo>
                    <a:close/>
                    <a:moveTo>
                      <a:pt x="1504386" y="6403748"/>
                    </a:moveTo>
                    <a:cubicBezTo>
                      <a:pt x="1504386" y="6398574"/>
                      <a:pt x="1500193" y="6394378"/>
                      <a:pt x="1495018" y="6394378"/>
                    </a:cubicBezTo>
                    <a:cubicBezTo>
                      <a:pt x="1489843" y="6394378"/>
                      <a:pt x="1485647" y="6398574"/>
                      <a:pt x="1485647" y="6403748"/>
                    </a:cubicBezTo>
                    <a:cubicBezTo>
                      <a:pt x="1485647" y="6408923"/>
                      <a:pt x="1489843" y="6413117"/>
                      <a:pt x="1495018" y="6413117"/>
                    </a:cubicBezTo>
                    <a:cubicBezTo>
                      <a:pt x="1500193" y="6413117"/>
                      <a:pt x="1504386" y="6408923"/>
                      <a:pt x="1504386" y="6403748"/>
                    </a:cubicBezTo>
                    <a:close/>
                    <a:moveTo>
                      <a:pt x="1504632" y="5158049"/>
                    </a:moveTo>
                    <a:cubicBezTo>
                      <a:pt x="1504632" y="5157555"/>
                      <a:pt x="1504387" y="5157308"/>
                      <a:pt x="1503894" y="5157308"/>
                    </a:cubicBezTo>
                    <a:cubicBezTo>
                      <a:pt x="1503649" y="5157308"/>
                      <a:pt x="1503155" y="5157555"/>
                      <a:pt x="1503155" y="5158049"/>
                    </a:cubicBezTo>
                    <a:cubicBezTo>
                      <a:pt x="1503155" y="5158542"/>
                      <a:pt x="1503400" y="5159036"/>
                      <a:pt x="1503894" y="5159036"/>
                    </a:cubicBezTo>
                    <a:cubicBezTo>
                      <a:pt x="1504387" y="5159036"/>
                      <a:pt x="1504632" y="5158542"/>
                      <a:pt x="1504632" y="5158049"/>
                    </a:cubicBezTo>
                    <a:close/>
                    <a:moveTo>
                      <a:pt x="1504634" y="3331919"/>
                    </a:moveTo>
                    <a:cubicBezTo>
                      <a:pt x="1504634" y="3312689"/>
                      <a:pt x="1489100" y="3297153"/>
                      <a:pt x="1469866" y="3297153"/>
                    </a:cubicBezTo>
                    <a:cubicBezTo>
                      <a:pt x="1450634" y="3297153"/>
                      <a:pt x="1435100" y="3312689"/>
                      <a:pt x="1435100" y="3331919"/>
                    </a:cubicBezTo>
                    <a:cubicBezTo>
                      <a:pt x="1435100" y="3351153"/>
                      <a:pt x="1450634" y="3366689"/>
                      <a:pt x="1469866" y="3366689"/>
                    </a:cubicBezTo>
                    <a:cubicBezTo>
                      <a:pt x="1489100" y="3366689"/>
                      <a:pt x="1504634" y="3351153"/>
                      <a:pt x="1504634" y="3331919"/>
                    </a:cubicBezTo>
                    <a:close/>
                    <a:moveTo>
                      <a:pt x="1505619" y="6292298"/>
                    </a:moveTo>
                    <a:cubicBezTo>
                      <a:pt x="1505619" y="6286379"/>
                      <a:pt x="1500934" y="6281693"/>
                      <a:pt x="1495016" y="6281693"/>
                    </a:cubicBezTo>
                    <a:cubicBezTo>
                      <a:pt x="1489098" y="6281693"/>
                      <a:pt x="1484167" y="6286379"/>
                      <a:pt x="1484167" y="6292298"/>
                    </a:cubicBezTo>
                    <a:cubicBezTo>
                      <a:pt x="1484167" y="6298215"/>
                      <a:pt x="1489098" y="6302900"/>
                      <a:pt x="1495016" y="6302900"/>
                    </a:cubicBezTo>
                    <a:cubicBezTo>
                      <a:pt x="1500934" y="6302900"/>
                      <a:pt x="1505619" y="6297969"/>
                      <a:pt x="1505619" y="6292298"/>
                    </a:cubicBezTo>
                    <a:close/>
                    <a:moveTo>
                      <a:pt x="1507346" y="2683195"/>
                    </a:moveTo>
                    <a:cubicBezTo>
                      <a:pt x="1507346" y="2674749"/>
                      <a:pt x="1500500" y="2667906"/>
                      <a:pt x="1492059" y="2667906"/>
                    </a:cubicBezTo>
                    <a:cubicBezTo>
                      <a:pt x="1483615" y="2667906"/>
                      <a:pt x="1476770" y="2674749"/>
                      <a:pt x="1476770" y="2683195"/>
                    </a:cubicBezTo>
                    <a:cubicBezTo>
                      <a:pt x="1476770" y="2691636"/>
                      <a:pt x="1483615" y="2698481"/>
                      <a:pt x="1492059" y="2698481"/>
                    </a:cubicBezTo>
                    <a:cubicBezTo>
                      <a:pt x="1500500" y="2698481"/>
                      <a:pt x="1507346" y="2691636"/>
                      <a:pt x="1507346" y="2683195"/>
                    </a:cubicBezTo>
                    <a:close/>
                    <a:moveTo>
                      <a:pt x="1509567" y="2298801"/>
                    </a:moveTo>
                    <a:cubicBezTo>
                      <a:pt x="1509567" y="2276364"/>
                      <a:pt x="1491319" y="2258119"/>
                      <a:pt x="1468879" y="2258119"/>
                    </a:cubicBezTo>
                    <a:cubicBezTo>
                      <a:pt x="1446443" y="2258119"/>
                      <a:pt x="1428195" y="2276364"/>
                      <a:pt x="1428195" y="2298801"/>
                    </a:cubicBezTo>
                    <a:cubicBezTo>
                      <a:pt x="1428195" y="2320990"/>
                      <a:pt x="1446443" y="2339240"/>
                      <a:pt x="1468879" y="2339240"/>
                    </a:cubicBezTo>
                    <a:cubicBezTo>
                      <a:pt x="1491073" y="2339240"/>
                      <a:pt x="1509318" y="2320990"/>
                      <a:pt x="1509567" y="2298801"/>
                    </a:cubicBezTo>
                    <a:close/>
                    <a:moveTo>
                      <a:pt x="1512277" y="441804"/>
                    </a:moveTo>
                    <a:cubicBezTo>
                      <a:pt x="1512277" y="428491"/>
                      <a:pt x="1501428" y="417641"/>
                      <a:pt x="1488112" y="417641"/>
                    </a:cubicBezTo>
                    <a:cubicBezTo>
                      <a:pt x="1474797" y="417641"/>
                      <a:pt x="1463948" y="428491"/>
                      <a:pt x="1463948" y="441804"/>
                    </a:cubicBezTo>
                    <a:cubicBezTo>
                      <a:pt x="1463948" y="455119"/>
                      <a:pt x="1474797" y="465969"/>
                      <a:pt x="1488112" y="465969"/>
                    </a:cubicBezTo>
                    <a:cubicBezTo>
                      <a:pt x="1501428" y="465969"/>
                      <a:pt x="1512277" y="455119"/>
                      <a:pt x="1512277" y="441804"/>
                    </a:cubicBezTo>
                    <a:close/>
                    <a:moveTo>
                      <a:pt x="1512523" y="3945389"/>
                    </a:moveTo>
                    <a:cubicBezTo>
                      <a:pt x="1512523" y="3933058"/>
                      <a:pt x="1502415" y="3922949"/>
                      <a:pt x="1490087" y="3922949"/>
                    </a:cubicBezTo>
                    <a:cubicBezTo>
                      <a:pt x="1477757" y="3922949"/>
                      <a:pt x="1467648" y="3933058"/>
                      <a:pt x="1467648" y="3945389"/>
                    </a:cubicBezTo>
                    <a:cubicBezTo>
                      <a:pt x="1467648" y="3957715"/>
                      <a:pt x="1477757" y="3967825"/>
                      <a:pt x="1490087" y="3967825"/>
                    </a:cubicBezTo>
                    <a:cubicBezTo>
                      <a:pt x="1502660" y="3967825"/>
                      <a:pt x="1512523" y="3957715"/>
                      <a:pt x="1512523" y="3945389"/>
                    </a:cubicBezTo>
                    <a:close/>
                    <a:moveTo>
                      <a:pt x="1512769" y="330869"/>
                    </a:moveTo>
                    <a:cubicBezTo>
                      <a:pt x="1512769" y="317307"/>
                      <a:pt x="1501919" y="306458"/>
                      <a:pt x="1488360" y="306458"/>
                    </a:cubicBezTo>
                    <a:cubicBezTo>
                      <a:pt x="1475044" y="306458"/>
                      <a:pt x="1463948" y="317307"/>
                      <a:pt x="1463948" y="330869"/>
                    </a:cubicBezTo>
                    <a:cubicBezTo>
                      <a:pt x="1463948" y="344431"/>
                      <a:pt x="1474797" y="355277"/>
                      <a:pt x="1488360" y="355277"/>
                    </a:cubicBezTo>
                    <a:cubicBezTo>
                      <a:pt x="1501919" y="355277"/>
                      <a:pt x="1512769" y="344182"/>
                      <a:pt x="1512769" y="330869"/>
                    </a:cubicBezTo>
                    <a:close/>
                    <a:moveTo>
                      <a:pt x="1513073" y="0"/>
                    </a:moveTo>
                    <a:lnTo>
                      <a:pt x="1464159" y="0"/>
                    </a:lnTo>
                    <a:lnTo>
                      <a:pt x="1470854" y="16067"/>
                    </a:lnTo>
                    <a:cubicBezTo>
                      <a:pt x="1475416" y="20628"/>
                      <a:pt x="1481704" y="23464"/>
                      <a:pt x="1488609" y="23464"/>
                    </a:cubicBezTo>
                    <a:cubicBezTo>
                      <a:pt x="1495636" y="23464"/>
                      <a:pt x="1501984" y="20628"/>
                      <a:pt x="1506545" y="16067"/>
                    </a:cubicBezTo>
                    <a:close/>
                    <a:moveTo>
                      <a:pt x="1514003" y="108754"/>
                    </a:moveTo>
                    <a:cubicBezTo>
                      <a:pt x="1514003" y="94701"/>
                      <a:pt x="1502660" y="83358"/>
                      <a:pt x="1488606" y="83358"/>
                    </a:cubicBezTo>
                    <a:cubicBezTo>
                      <a:pt x="1474552" y="83358"/>
                      <a:pt x="1463208" y="94701"/>
                      <a:pt x="1463208" y="108754"/>
                    </a:cubicBezTo>
                    <a:cubicBezTo>
                      <a:pt x="1463208" y="122807"/>
                      <a:pt x="1474552" y="134151"/>
                      <a:pt x="1488606" y="134151"/>
                    </a:cubicBezTo>
                    <a:cubicBezTo>
                      <a:pt x="1502660" y="134151"/>
                      <a:pt x="1514003" y="122807"/>
                      <a:pt x="1514003" y="108754"/>
                    </a:cubicBezTo>
                    <a:close/>
                    <a:moveTo>
                      <a:pt x="1514497" y="219687"/>
                    </a:moveTo>
                    <a:cubicBezTo>
                      <a:pt x="1514497" y="205633"/>
                      <a:pt x="1502907" y="194044"/>
                      <a:pt x="1488853" y="194044"/>
                    </a:cubicBezTo>
                    <a:cubicBezTo>
                      <a:pt x="1474798" y="194044"/>
                      <a:pt x="1463208" y="205633"/>
                      <a:pt x="1463208" y="219687"/>
                    </a:cubicBezTo>
                    <a:cubicBezTo>
                      <a:pt x="1463208" y="233740"/>
                      <a:pt x="1474798" y="245330"/>
                      <a:pt x="1488853" y="245330"/>
                    </a:cubicBezTo>
                    <a:cubicBezTo>
                      <a:pt x="1502907" y="245330"/>
                      <a:pt x="1514497" y="233740"/>
                      <a:pt x="1514497" y="219687"/>
                    </a:cubicBezTo>
                    <a:close/>
                    <a:moveTo>
                      <a:pt x="1515237" y="1681933"/>
                    </a:moveTo>
                    <a:cubicBezTo>
                      <a:pt x="1515237" y="1673549"/>
                      <a:pt x="1508581" y="1666891"/>
                      <a:pt x="1500196" y="1666891"/>
                    </a:cubicBezTo>
                    <a:cubicBezTo>
                      <a:pt x="1491813" y="1666891"/>
                      <a:pt x="1485156" y="1673549"/>
                      <a:pt x="1485156" y="1681933"/>
                    </a:cubicBezTo>
                    <a:cubicBezTo>
                      <a:pt x="1485156" y="1690318"/>
                      <a:pt x="1491813" y="1696976"/>
                      <a:pt x="1500196" y="1696976"/>
                    </a:cubicBezTo>
                    <a:cubicBezTo>
                      <a:pt x="1508332" y="1696976"/>
                      <a:pt x="1515237" y="1690318"/>
                      <a:pt x="1515237" y="1681933"/>
                    </a:cubicBezTo>
                    <a:close/>
                    <a:moveTo>
                      <a:pt x="1517949" y="1566547"/>
                    </a:moveTo>
                    <a:cubicBezTo>
                      <a:pt x="1517949" y="1556436"/>
                      <a:pt x="1509565" y="1548055"/>
                      <a:pt x="1499456" y="1548055"/>
                    </a:cubicBezTo>
                    <a:cubicBezTo>
                      <a:pt x="1489346" y="1548055"/>
                      <a:pt x="1480962" y="1556436"/>
                      <a:pt x="1480962" y="1566547"/>
                    </a:cubicBezTo>
                    <a:cubicBezTo>
                      <a:pt x="1480962" y="1576657"/>
                      <a:pt x="1489346" y="1585041"/>
                      <a:pt x="1499456" y="1585041"/>
                    </a:cubicBezTo>
                    <a:cubicBezTo>
                      <a:pt x="1509565" y="1585041"/>
                      <a:pt x="1517949" y="1576657"/>
                      <a:pt x="1517949" y="1566547"/>
                    </a:cubicBezTo>
                    <a:close/>
                    <a:moveTo>
                      <a:pt x="1519181" y="2423561"/>
                    </a:moveTo>
                    <a:cubicBezTo>
                      <a:pt x="1519181" y="2398903"/>
                      <a:pt x="1499209" y="2378932"/>
                      <a:pt x="1474552" y="2378932"/>
                    </a:cubicBezTo>
                    <a:cubicBezTo>
                      <a:pt x="1449894" y="2378932"/>
                      <a:pt x="1429922" y="2398903"/>
                      <a:pt x="1429922" y="2423561"/>
                    </a:cubicBezTo>
                    <a:cubicBezTo>
                      <a:pt x="1429922" y="2448219"/>
                      <a:pt x="1449894" y="2468193"/>
                      <a:pt x="1474552" y="2468193"/>
                    </a:cubicBezTo>
                    <a:cubicBezTo>
                      <a:pt x="1499209" y="2468193"/>
                      <a:pt x="1519181" y="2448219"/>
                      <a:pt x="1519181" y="2423561"/>
                    </a:cubicBezTo>
                    <a:close/>
                    <a:moveTo>
                      <a:pt x="1520168" y="5389581"/>
                    </a:moveTo>
                    <a:cubicBezTo>
                      <a:pt x="1520168" y="5379472"/>
                      <a:pt x="1512031" y="5371336"/>
                      <a:pt x="1501922" y="5371336"/>
                    </a:cubicBezTo>
                    <a:cubicBezTo>
                      <a:pt x="1491810" y="5371336"/>
                      <a:pt x="1483675" y="5379472"/>
                      <a:pt x="1483675" y="5389581"/>
                    </a:cubicBezTo>
                    <a:cubicBezTo>
                      <a:pt x="1483675" y="5399693"/>
                      <a:pt x="1491810" y="5407830"/>
                      <a:pt x="1501922" y="5407830"/>
                    </a:cubicBezTo>
                    <a:cubicBezTo>
                      <a:pt x="1512031" y="5407830"/>
                      <a:pt x="1520168" y="5399693"/>
                      <a:pt x="1520168" y="5389581"/>
                    </a:cubicBezTo>
                    <a:close/>
                    <a:moveTo>
                      <a:pt x="1522141" y="1452148"/>
                    </a:moveTo>
                    <a:cubicBezTo>
                      <a:pt x="1522141" y="1439081"/>
                      <a:pt x="1511537" y="1428481"/>
                      <a:pt x="1498469" y="1428481"/>
                    </a:cubicBezTo>
                    <a:cubicBezTo>
                      <a:pt x="1485401" y="1428481"/>
                      <a:pt x="1474798" y="1439081"/>
                      <a:pt x="1474798" y="1452148"/>
                    </a:cubicBezTo>
                    <a:cubicBezTo>
                      <a:pt x="1474798" y="1465220"/>
                      <a:pt x="1485401" y="1475821"/>
                      <a:pt x="1498469" y="1475821"/>
                    </a:cubicBezTo>
                    <a:cubicBezTo>
                      <a:pt x="1511537" y="1475821"/>
                      <a:pt x="1522141" y="1465220"/>
                      <a:pt x="1522141" y="1452148"/>
                    </a:cubicBezTo>
                    <a:close/>
                    <a:moveTo>
                      <a:pt x="1522881" y="1914921"/>
                    </a:moveTo>
                    <a:cubicBezTo>
                      <a:pt x="1522881" y="1904075"/>
                      <a:pt x="1514004" y="1895201"/>
                      <a:pt x="1503155" y="1895201"/>
                    </a:cubicBezTo>
                    <a:cubicBezTo>
                      <a:pt x="1492306" y="1895201"/>
                      <a:pt x="1483429" y="1904075"/>
                      <a:pt x="1483429" y="1914921"/>
                    </a:cubicBezTo>
                    <a:cubicBezTo>
                      <a:pt x="1483429" y="1925768"/>
                      <a:pt x="1492306" y="1934642"/>
                      <a:pt x="1503155" y="1934642"/>
                    </a:cubicBezTo>
                    <a:cubicBezTo>
                      <a:pt x="1514250" y="1934642"/>
                      <a:pt x="1523127" y="1925768"/>
                      <a:pt x="1522881" y="1914921"/>
                    </a:cubicBezTo>
                    <a:close/>
                    <a:moveTo>
                      <a:pt x="1524851" y="4686102"/>
                    </a:moveTo>
                    <a:cubicBezTo>
                      <a:pt x="1524851" y="4683143"/>
                      <a:pt x="1522632" y="4680924"/>
                      <a:pt x="1519673" y="4680924"/>
                    </a:cubicBezTo>
                    <a:cubicBezTo>
                      <a:pt x="1516963" y="4680924"/>
                      <a:pt x="1514497" y="4683143"/>
                      <a:pt x="1514497" y="4686102"/>
                    </a:cubicBezTo>
                    <a:cubicBezTo>
                      <a:pt x="1514497" y="4688814"/>
                      <a:pt x="1516714" y="4691278"/>
                      <a:pt x="1519673" y="4691278"/>
                    </a:cubicBezTo>
                    <a:cubicBezTo>
                      <a:pt x="1522632" y="4691278"/>
                      <a:pt x="1524851" y="4689060"/>
                      <a:pt x="1524851" y="4686102"/>
                    </a:cubicBezTo>
                    <a:close/>
                    <a:moveTo>
                      <a:pt x="1526331" y="3680567"/>
                    </a:moveTo>
                    <a:cubicBezTo>
                      <a:pt x="1526331" y="3657387"/>
                      <a:pt x="1507346" y="3638402"/>
                      <a:pt x="1484166" y="3638402"/>
                    </a:cubicBezTo>
                    <a:cubicBezTo>
                      <a:pt x="1460741" y="3638402"/>
                      <a:pt x="1441755" y="3657387"/>
                      <a:pt x="1441755" y="3680567"/>
                    </a:cubicBezTo>
                    <a:cubicBezTo>
                      <a:pt x="1441755" y="3703745"/>
                      <a:pt x="1460741" y="3722730"/>
                      <a:pt x="1484166" y="3722730"/>
                    </a:cubicBezTo>
                    <a:cubicBezTo>
                      <a:pt x="1507346" y="3722730"/>
                      <a:pt x="1526331" y="3703745"/>
                      <a:pt x="1526331" y="3680567"/>
                    </a:cubicBezTo>
                    <a:close/>
                    <a:moveTo>
                      <a:pt x="1527812" y="1797842"/>
                    </a:moveTo>
                    <a:cubicBezTo>
                      <a:pt x="1527812" y="1783519"/>
                      <a:pt x="1516222" y="1771689"/>
                      <a:pt x="1501677" y="1771689"/>
                    </a:cubicBezTo>
                    <a:cubicBezTo>
                      <a:pt x="1487374" y="1771689"/>
                      <a:pt x="1475538" y="1783519"/>
                      <a:pt x="1475538" y="1797842"/>
                    </a:cubicBezTo>
                    <a:cubicBezTo>
                      <a:pt x="1475538" y="1812129"/>
                      <a:pt x="1487128" y="1823971"/>
                      <a:pt x="1501677" y="1823971"/>
                    </a:cubicBezTo>
                    <a:cubicBezTo>
                      <a:pt x="1515977" y="1823971"/>
                      <a:pt x="1527812" y="1812370"/>
                      <a:pt x="1527812" y="1797842"/>
                    </a:cubicBezTo>
                    <a:close/>
                    <a:moveTo>
                      <a:pt x="1529044" y="2819298"/>
                    </a:moveTo>
                    <a:cubicBezTo>
                      <a:pt x="1529044" y="2806230"/>
                      <a:pt x="1518441" y="2795871"/>
                      <a:pt x="1505619" y="2795871"/>
                    </a:cubicBezTo>
                    <a:cubicBezTo>
                      <a:pt x="1492797" y="2795871"/>
                      <a:pt x="1482194" y="2806476"/>
                      <a:pt x="1482194" y="2819298"/>
                    </a:cubicBezTo>
                    <a:cubicBezTo>
                      <a:pt x="1482194" y="2832365"/>
                      <a:pt x="1492797" y="2842723"/>
                      <a:pt x="1505619" y="2842723"/>
                    </a:cubicBezTo>
                    <a:cubicBezTo>
                      <a:pt x="1518441" y="2842723"/>
                      <a:pt x="1529044" y="2832365"/>
                      <a:pt x="1529044" y="2819298"/>
                    </a:cubicBezTo>
                    <a:close/>
                    <a:moveTo>
                      <a:pt x="1532990" y="3219481"/>
                    </a:moveTo>
                    <a:cubicBezTo>
                      <a:pt x="1532990" y="3202713"/>
                      <a:pt x="1519430" y="3189151"/>
                      <a:pt x="1502663" y="3189151"/>
                    </a:cubicBezTo>
                    <a:cubicBezTo>
                      <a:pt x="1485896" y="3189151"/>
                      <a:pt x="1472334" y="3202713"/>
                      <a:pt x="1472334" y="3219481"/>
                    </a:cubicBezTo>
                    <a:cubicBezTo>
                      <a:pt x="1472334" y="3236247"/>
                      <a:pt x="1485896" y="3249807"/>
                      <a:pt x="1502663" y="3249807"/>
                    </a:cubicBezTo>
                    <a:cubicBezTo>
                      <a:pt x="1519430" y="3249807"/>
                      <a:pt x="1532990" y="3236247"/>
                      <a:pt x="1532990" y="3219481"/>
                    </a:cubicBezTo>
                    <a:close/>
                    <a:moveTo>
                      <a:pt x="1533976" y="5274187"/>
                    </a:moveTo>
                    <a:cubicBezTo>
                      <a:pt x="1533976" y="5256925"/>
                      <a:pt x="1519922" y="5243116"/>
                      <a:pt x="1502906" y="5243116"/>
                    </a:cubicBezTo>
                    <a:cubicBezTo>
                      <a:pt x="1485647" y="5243116"/>
                      <a:pt x="1471839" y="5257171"/>
                      <a:pt x="1471839" y="5274187"/>
                    </a:cubicBezTo>
                    <a:cubicBezTo>
                      <a:pt x="1471839" y="5291446"/>
                      <a:pt x="1485894" y="5305253"/>
                      <a:pt x="1502906" y="5305253"/>
                    </a:cubicBezTo>
                    <a:cubicBezTo>
                      <a:pt x="1519922" y="5305253"/>
                      <a:pt x="1533730" y="5291446"/>
                      <a:pt x="1533976" y="5274187"/>
                    </a:cubicBezTo>
                    <a:close/>
                    <a:moveTo>
                      <a:pt x="1534224" y="2551527"/>
                    </a:moveTo>
                    <a:cubicBezTo>
                      <a:pt x="1534224" y="2522924"/>
                      <a:pt x="1510799" y="2499500"/>
                      <a:pt x="1482197" y="2499500"/>
                    </a:cubicBezTo>
                    <a:cubicBezTo>
                      <a:pt x="1453594" y="2499500"/>
                      <a:pt x="1430169" y="2522679"/>
                      <a:pt x="1430169" y="2551527"/>
                    </a:cubicBezTo>
                    <a:cubicBezTo>
                      <a:pt x="1430169" y="2580130"/>
                      <a:pt x="1453348" y="2603556"/>
                      <a:pt x="1482197" y="2603556"/>
                    </a:cubicBezTo>
                    <a:cubicBezTo>
                      <a:pt x="1510799" y="2603556"/>
                      <a:pt x="1534224" y="2580377"/>
                      <a:pt x="1534224" y="2551527"/>
                    </a:cubicBezTo>
                    <a:close/>
                    <a:moveTo>
                      <a:pt x="1534716" y="5041171"/>
                    </a:moveTo>
                    <a:cubicBezTo>
                      <a:pt x="1534716" y="5024898"/>
                      <a:pt x="1521402" y="5011582"/>
                      <a:pt x="1505127" y="5011582"/>
                    </a:cubicBezTo>
                    <a:cubicBezTo>
                      <a:pt x="1488855" y="5011582"/>
                      <a:pt x="1475538" y="5024898"/>
                      <a:pt x="1475538" y="5041171"/>
                    </a:cubicBezTo>
                    <a:cubicBezTo>
                      <a:pt x="1475538" y="5057446"/>
                      <a:pt x="1488855" y="5070760"/>
                      <a:pt x="1505127" y="5070760"/>
                    </a:cubicBezTo>
                    <a:cubicBezTo>
                      <a:pt x="1521402" y="5070760"/>
                      <a:pt x="1534716" y="5057446"/>
                      <a:pt x="1534716" y="5041171"/>
                    </a:cubicBezTo>
                    <a:close/>
                    <a:moveTo>
                      <a:pt x="1537182" y="4802980"/>
                    </a:moveTo>
                    <a:cubicBezTo>
                      <a:pt x="1537182" y="4787199"/>
                      <a:pt x="1524360" y="4774623"/>
                      <a:pt x="1508828" y="4774623"/>
                    </a:cubicBezTo>
                    <a:cubicBezTo>
                      <a:pt x="1493292" y="4774623"/>
                      <a:pt x="1480470" y="4787445"/>
                      <a:pt x="1480470" y="4802980"/>
                    </a:cubicBezTo>
                    <a:cubicBezTo>
                      <a:pt x="1480470" y="4818761"/>
                      <a:pt x="1493292" y="4831337"/>
                      <a:pt x="1508828" y="4831337"/>
                    </a:cubicBezTo>
                    <a:cubicBezTo>
                      <a:pt x="1524360" y="4831337"/>
                      <a:pt x="1537182" y="4818761"/>
                      <a:pt x="1537182" y="4802980"/>
                    </a:cubicBezTo>
                    <a:close/>
                    <a:moveTo>
                      <a:pt x="1542853" y="2033000"/>
                    </a:moveTo>
                    <a:cubicBezTo>
                      <a:pt x="1542853" y="2012286"/>
                      <a:pt x="1526085" y="1995523"/>
                      <a:pt x="1505373" y="1995523"/>
                    </a:cubicBezTo>
                    <a:cubicBezTo>
                      <a:pt x="1484660" y="1995523"/>
                      <a:pt x="1467894" y="2012286"/>
                      <a:pt x="1467894" y="2033000"/>
                    </a:cubicBezTo>
                    <a:cubicBezTo>
                      <a:pt x="1467894" y="2053714"/>
                      <a:pt x="1484660" y="2070483"/>
                      <a:pt x="1505373" y="2070483"/>
                    </a:cubicBezTo>
                    <a:cubicBezTo>
                      <a:pt x="1526085" y="2070483"/>
                      <a:pt x="1542853" y="2053714"/>
                      <a:pt x="1542853" y="2033000"/>
                    </a:cubicBezTo>
                    <a:close/>
                    <a:moveTo>
                      <a:pt x="1545317" y="2152837"/>
                    </a:moveTo>
                    <a:cubicBezTo>
                      <a:pt x="1545317" y="2132124"/>
                      <a:pt x="1528304" y="2115109"/>
                      <a:pt x="1507591" y="2115109"/>
                    </a:cubicBezTo>
                    <a:cubicBezTo>
                      <a:pt x="1486879" y="2115109"/>
                      <a:pt x="1469866" y="2132124"/>
                      <a:pt x="1469866" y="2152837"/>
                    </a:cubicBezTo>
                    <a:cubicBezTo>
                      <a:pt x="1469866" y="2173551"/>
                      <a:pt x="1486879" y="2190562"/>
                      <a:pt x="1507591" y="2190562"/>
                    </a:cubicBezTo>
                    <a:cubicBezTo>
                      <a:pt x="1528304" y="2190562"/>
                      <a:pt x="1545317" y="2173551"/>
                      <a:pt x="1545317" y="2152837"/>
                    </a:cubicBezTo>
                    <a:close/>
                    <a:moveTo>
                      <a:pt x="1549263" y="2962306"/>
                    </a:moveTo>
                    <a:cubicBezTo>
                      <a:pt x="1549263" y="2948744"/>
                      <a:pt x="1538167" y="2937649"/>
                      <a:pt x="1524605" y="2937649"/>
                    </a:cubicBezTo>
                    <a:cubicBezTo>
                      <a:pt x="1511043" y="2937649"/>
                      <a:pt x="1499948" y="2948744"/>
                      <a:pt x="1499948" y="2962306"/>
                    </a:cubicBezTo>
                    <a:cubicBezTo>
                      <a:pt x="1499948" y="2975868"/>
                      <a:pt x="1511043" y="2986964"/>
                      <a:pt x="1524605" y="2986964"/>
                    </a:cubicBezTo>
                    <a:cubicBezTo>
                      <a:pt x="1538167" y="2986964"/>
                      <a:pt x="1549263" y="2975868"/>
                      <a:pt x="1549263" y="2962306"/>
                    </a:cubicBezTo>
                    <a:close/>
                    <a:moveTo>
                      <a:pt x="1555183" y="4563309"/>
                    </a:moveTo>
                    <a:cubicBezTo>
                      <a:pt x="1555183" y="4546047"/>
                      <a:pt x="1541126" y="4531992"/>
                      <a:pt x="1523868" y="4531992"/>
                    </a:cubicBezTo>
                    <a:cubicBezTo>
                      <a:pt x="1506606" y="4531992"/>
                      <a:pt x="1492551" y="4546047"/>
                      <a:pt x="1492551" y="4563309"/>
                    </a:cubicBezTo>
                    <a:cubicBezTo>
                      <a:pt x="1492551" y="4580567"/>
                      <a:pt x="1506606" y="4594625"/>
                      <a:pt x="1523868" y="4594625"/>
                    </a:cubicBezTo>
                    <a:cubicBezTo>
                      <a:pt x="1541126" y="4594625"/>
                      <a:pt x="1555183" y="4580567"/>
                      <a:pt x="1555183" y="4563309"/>
                    </a:cubicBezTo>
                    <a:close/>
                    <a:moveTo>
                      <a:pt x="1555428" y="4922565"/>
                    </a:moveTo>
                    <a:cubicBezTo>
                      <a:pt x="1555428" y="4895690"/>
                      <a:pt x="1533484" y="4873745"/>
                      <a:pt x="1506606" y="4873745"/>
                    </a:cubicBezTo>
                    <a:cubicBezTo>
                      <a:pt x="1479729" y="4873745"/>
                      <a:pt x="1457785" y="4895690"/>
                      <a:pt x="1457785" y="4922565"/>
                    </a:cubicBezTo>
                    <a:cubicBezTo>
                      <a:pt x="1457785" y="4949445"/>
                      <a:pt x="1479729" y="4971389"/>
                      <a:pt x="1506606" y="4971389"/>
                    </a:cubicBezTo>
                    <a:cubicBezTo>
                      <a:pt x="1533484" y="4971389"/>
                      <a:pt x="1555428" y="4949445"/>
                      <a:pt x="1555428" y="4922565"/>
                    </a:cubicBezTo>
                    <a:close/>
                    <a:moveTo>
                      <a:pt x="1560112" y="4175934"/>
                    </a:moveTo>
                    <a:cubicBezTo>
                      <a:pt x="1560112" y="4168784"/>
                      <a:pt x="1554194" y="4162866"/>
                      <a:pt x="1547044" y="4162866"/>
                    </a:cubicBezTo>
                    <a:cubicBezTo>
                      <a:pt x="1539894" y="4162866"/>
                      <a:pt x="1533976" y="4168784"/>
                      <a:pt x="1533976" y="4175934"/>
                    </a:cubicBezTo>
                    <a:cubicBezTo>
                      <a:pt x="1533976" y="4183087"/>
                      <a:pt x="1539894" y="4189002"/>
                      <a:pt x="1547044" y="4189002"/>
                    </a:cubicBezTo>
                    <a:cubicBezTo>
                      <a:pt x="1554443" y="4189002"/>
                      <a:pt x="1560360" y="4183087"/>
                      <a:pt x="1560112" y="4175934"/>
                    </a:cubicBezTo>
                    <a:close/>
                    <a:moveTo>
                      <a:pt x="1563812" y="4309086"/>
                    </a:moveTo>
                    <a:cubicBezTo>
                      <a:pt x="1563812" y="4294291"/>
                      <a:pt x="1551729" y="4282209"/>
                      <a:pt x="1536935" y="4282209"/>
                    </a:cubicBezTo>
                    <a:cubicBezTo>
                      <a:pt x="1522140" y="4282209"/>
                      <a:pt x="1510059" y="4294291"/>
                      <a:pt x="1510059" y="4309086"/>
                    </a:cubicBezTo>
                    <a:cubicBezTo>
                      <a:pt x="1510059" y="4323881"/>
                      <a:pt x="1522140" y="4335965"/>
                      <a:pt x="1536935" y="4335965"/>
                    </a:cubicBezTo>
                    <a:cubicBezTo>
                      <a:pt x="1551729" y="4335965"/>
                      <a:pt x="1563812" y="4323881"/>
                      <a:pt x="1563812" y="4309086"/>
                    </a:cubicBezTo>
                    <a:close/>
                    <a:moveTo>
                      <a:pt x="1564552" y="4437552"/>
                    </a:moveTo>
                    <a:cubicBezTo>
                      <a:pt x="1564552" y="4418320"/>
                      <a:pt x="1548771" y="4402539"/>
                      <a:pt x="1529537" y="4402539"/>
                    </a:cubicBezTo>
                    <a:cubicBezTo>
                      <a:pt x="1510305" y="4402539"/>
                      <a:pt x="1494525" y="4418320"/>
                      <a:pt x="1494525" y="4437552"/>
                    </a:cubicBezTo>
                    <a:cubicBezTo>
                      <a:pt x="1494525" y="4457031"/>
                      <a:pt x="1510305" y="4472567"/>
                      <a:pt x="1529537" y="4472567"/>
                    </a:cubicBezTo>
                    <a:cubicBezTo>
                      <a:pt x="1548771" y="4472567"/>
                      <a:pt x="1564306" y="4457031"/>
                      <a:pt x="1564552" y="4437552"/>
                    </a:cubicBezTo>
                    <a:close/>
                    <a:moveTo>
                      <a:pt x="1569483" y="3790045"/>
                    </a:moveTo>
                    <a:cubicBezTo>
                      <a:pt x="1569483" y="3765881"/>
                      <a:pt x="1550003" y="3746401"/>
                      <a:pt x="1525837" y="3746401"/>
                    </a:cubicBezTo>
                    <a:cubicBezTo>
                      <a:pt x="1501674" y="3746401"/>
                      <a:pt x="1482194" y="3765881"/>
                      <a:pt x="1482194" y="3790045"/>
                    </a:cubicBezTo>
                    <a:cubicBezTo>
                      <a:pt x="1482194" y="3814209"/>
                      <a:pt x="1501674" y="3833691"/>
                      <a:pt x="1525837" y="3833691"/>
                    </a:cubicBezTo>
                    <a:cubicBezTo>
                      <a:pt x="1549757" y="3833691"/>
                      <a:pt x="1569483" y="3814209"/>
                      <a:pt x="1569483" y="3790045"/>
                    </a:cubicBezTo>
                    <a:close/>
                    <a:moveTo>
                      <a:pt x="1571947" y="1097372"/>
                    </a:moveTo>
                    <a:cubicBezTo>
                      <a:pt x="1571947" y="1084305"/>
                      <a:pt x="1561344" y="1073700"/>
                      <a:pt x="1548276" y="1073700"/>
                    </a:cubicBezTo>
                    <a:cubicBezTo>
                      <a:pt x="1535209" y="1073700"/>
                      <a:pt x="1524605" y="1084305"/>
                      <a:pt x="1524605" y="1097372"/>
                    </a:cubicBezTo>
                    <a:cubicBezTo>
                      <a:pt x="1524605" y="1110439"/>
                      <a:pt x="1535209" y="1121043"/>
                      <a:pt x="1548276" y="1121043"/>
                    </a:cubicBezTo>
                    <a:cubicBezTo>
                      <a:pt x="1561098" y="1121043"/>
                      <a:pt x="1571947" y="1110439"/>
                      <a:pt x="1571947" y="1097372"/>
                    </a:cubicBezTo>
                    <a:close/>
                    <a:moveTo>
                      <a:pt x="1573920" y="873261"/>
                    </a:moveTo>
                    <a:cubicBezTo>
                      <a:pt x="1573920" y="859704"/>
                      <a:pt x="1562825" y="848613"/>
                      <a:pt x="1549263" y="848613"/>
                    </a:cubicBezTo>
                    <a:cubicBezTo>
                      <a:pt x="1535701" y="848613"/>
                      <a:pt x="1524605" y="859704"/>
                      <a:pt x="1524605" y="873261"/>
                    </a:cubicBezTo>
                    <a:cubicBezTo>
                      <a:pt x="1524605" y="886830"/>
                      <a:pt x="1535701" y="897927"/>
                      <a:pt x="1549263" y="897927"/>
                    </a:cubicBezTo>
                    <a:cubicBezTo>
                      <a:pt x="1562825" y="897927"/>
                      <a:pt x="1573920" y="886830"/>
                      <a:pt x="1573920" y="873261"/>
                    </a:cubicBezTo>
                    <a:close/>
                    <a:moveTo>
                      <a:pt x="1574166" y="984951"/>
                    </a:moveTo>
                    <a:cubicBezTo>
                      <a:pt x="1574166" y="970651"/>
                      <a:pt x="1562578" y="959064"/>
                      <a:pt x="1548276" y="959064"/>
                    </a:cubicBezTo>
                    <a:cubicBezTo>
                      <a:pt x="1533976" y="959064"/>
                      <a:pt x="1522387" y="970651"/>
                      <a:pt x="1522387" y="984951"/>
                    </a:cubicBezTo>
                    <a:cubicBezTo>
                      <a:pt x="1522387" y="999254"/>
                      <a:pt x="1533976" y="1010843"/>
                      <a:pt x="1548276" y="1010843"/>
                    </a:cubicBezTo>
                    <a:cubicBezTo>
                      <a:pt x="1562578" y="1010843"/>
                      <a:pt x="1574166" y="999254"/>
                      <a:pt x="1574166" y="984951"/>
                    </a:cubicBezTo>
                    <a:close/>
                    <a:moveTo>
                      <a:pt x="1574909" y="1322708"/>
                    </a:moveTo>
                    <a:cubicBezTo>
                      <a:pt x="1574909" y="1307668"/>
                      <a:pt x="1562579" y="1295584"/>
                      <a:pt x="1547785" y="1295584"/>
                    </a:cubicBezTo>
                    <a:cubicBezTo>
                      <a:pt x="1532990" y="1295584"/>
                      <a:pt x="1520909" y="1307915"/>
                      <a:pt x="1520909" y="1322708"/>
                    </a:cubicBezTo>
                    <a:cubicBezTo>
                      <a:pt x="1520909" y="1337501"/>
                      <a:pt x="1532990" y="1349588"/>
                      <a:pt x="1547785" y="1349588"/>
                    </a:cubicBezTo>
                    <a:cubicBezTo>
                      <a:pt x="1562825" y="1349588"/>
                      <a:pt x="1574909" y="1337501"/>
                      <a:pt x="1574909" y="1322708"/>
                    </a:cubicBezTo>
                    <a:close/>
                    <a:moveTo>
                      <a:pt x="1575400" y="1209549"/>
                    </a:moveTo>
                    <a:cubicBezTo>
                      <a:pt x="1575400" y="1194507"/>
                      <a:pt x="1563071" y="1182425"/>
                      <a:pt x="1548278" y="1182425"/>
                    </a:cubicBezTo>
                    <a:cubicBezTo>
                      <a:pt x="1533235" y="1182425"/>
                      <a:pt x="1521154" y="1194754"/>
                      <a:pt x="1521154" y="1209549"/>
                    </a:cubicBezTo>
                    <a:cubicBezTo>
                      <a:pt x="1521154" y="1224592"/>
                      <a:pt x="1533235" y="1236675"/>
                      <a:pt x="1548278" y="1236675"/>
                    </a:cubicBezTo>
                    <a:cubicBezTo>
                      <a:pt x="1563071" y="1236675"/>
                      <a:pt x="1575155" y="1224592"/>
                      <a:pt x="1575400" y="1209549"/>
                    </a:cubicBezTo>
                    <a:close/>
                    <a:moveTo>
                      <a:pt x="1576387" y="539429"/>
                    </a:moveTo>
                    <a:cubicBezTo>
                      <a:pt x="1576387" y="524387"/>
                      <a:pt x="1564306" y="512306"/>
                      <a:pt x="1549263" y="512306"/>
                    </a:cubicBezTo>
                    <a:cubicBezTo>
                      <a:pt x="1534222" y="512306"/>
                      <a:pt x="1522141" y="524387"/>
                      <a:pt x="1522141" y="539429"/>
                    </a:cubicBezTo>
                    <a:cubicBezTo>
                      <a:pt x="1522141" y="554470"/>
                      <a:pt x="1534222" y="566551"/>
                      <a:pt x="1549263" y="566551"/>
                    </a:cubicBezTo>
                    <a:cubicBezTo>
                      <a:pt x="1564306" y="566551"/>
                      <a:pt x="1576387" y="554470"/>
                      <a:pt x="1576387" y="539429"/>
                    </a:cubicBezTo>
                    <a:close/>
                    <a:moveTo>
                      <a:pt x="1576389" y="650404"/>
                    </a:moveTo>
                    <a:cubicBezTo>
                      <a:pt x="1576389" y="635572"/>
                      <a:pt x="1564059" y="623242"/>
                      <a:pt x="1549019" y="623242"/>
                    </a:cubicBezTo>
                    <a:cubicBezTo>
                      <a:pt x="1533978" y="623242"/>
                      <a:pt x="1521649" y="635323"/>
                      <a:pt x="1521649" y="650404"/>
                    </a:cubicBezTo>
                    <a:cubicBezTo>
                      <a:pt x="1521649" y="665444"/>
                      <a:pt x="1533978" y="677767"/>
                      <a:pt x="1549019" y="677767"/>
                    </a:cubicBezTo>
                    <a:cubicBezTo>
                      <a:pt x="1564059" y="677767"/>
                      <a:pt x="1576389" y="665444"/>
                      <a:pt x="1576389" y="650404"/>
                    </a:cubicBezTo>
                    <a:close/>
                    <a:moveTo>
                      <a:pt x="1576881" y="761837"/>
                    </a:moveTo>
                    <a:cubicBezTo>
                      <a:pt x="1576881" y="746551"/>
                      <a:pt x="1564552" y="734216"/>
                      <a:pt x="1549265" y="734216"/>
                    </a:cubicBezTo>
                    <a:cubicBezTo>
                      <a:pt x="1533978" y="734216"/>
                      <a:pt x="1521649" y="746551"/>
                      <a:pt x="1521649" y="761837"/>
                    </a:cubicBezTo>
                    <a:cubicBezTo>
                      <a:pt x="1521649" y="777126"/>
                      <a:pt x="1533978" y="789454"/>
                      <a:pt x="1549265" y="789454"/>
                    </a:cubicBezTo>
                    <a:cubicBezTo>
                      <a:pt x="1564306" y="789454"/>
                      <a:pt x="1576881" y="776876"/>
                      <a:pt x="1576881" y="761837"/>
                    </a:cubicBezTo>
                    <a:close/>
                    <a:moveTo>
                      <a:pt x="1577128" y="3113453"/>
                    </a:moveTo>
                    <a:cubicBezTo>
                      <a:pt x="1577128" y="3100138"/>
                      <a:pt x="1566278" y="3089289"/>
                      <a:pt x="1552965" y="3089289"/>
                    </a:cubicBezTo>
                    <a:cubicBezTo>
                      <a:pt x="1539647" y="3089289"/>
                      <a:pt x="1528799" y="3100138"/>
                      <a:pt x="1528799" y="3113453"/>
                    </a:cubicBezTo>
                    <a:cubicBezTo>
                      <a:pt x="1528799" y="3126768"/>
                      <a:pt x="1539647" y="3137618"/>
                      <a:pt x="1552965" y="3137618"/>
                    </a:cubicBezTo>
                    <a:cubicBezTo>
                      <a:pt x="1566278" y="3137618"/>
                      <a:pt x="1577128" y="3126768"/>
                      <a:pt x="1577128" y="3113453"/>
                    </a:cubicBezTo>
                    <a:close/>
                    <a:moveTo>
                      <a:pt x="1580332" y="4037363"/>
                    </a:moveTo>
                    <a:cubicBezTo>
                      <a:pt x="1580332" y="4027251"/>
                      <a:pt x="1572196" y="4019115"/>
                      <a:pt x="1562087" y="4019115"/>
                    </a:cubicBezTo>
                    <a:cubicBezTo>
                      <a:pt x="1551976" y="4019115"/>
                      <a:pt x="1543840" y="4027251"/>
                      <a:pt x="1543840" y="4037363"/>
                    </a:cubicBezTo>
                    <a:cubicBezTo>
                      <a:pt x="1543840" y="4047472"/>
                      <a:pt x="1551976" y="4055608"/>
                      <a:pt x="1562087" y="4055608"/>
                    </a:cubicBezTo>
                    <a:cubicBezTo>
                      <a:pt x="1572196" y="4055608"/>
                      <a:pt x="1580332" y="4047472"/>
                      <a:pt x="1580332" y="4037363"/>
                    </a:cubicBezTo>
                    <a:close/>
                    <a:moveTo>
                      <a:pt x="1604250" y="3420435"/>
                    </a:moveTo>
                    <a:cubicBezTo>
                      <a:pt x="1604250" y="3399477"/>
                      <a:pt x="1587237" y="3382463"/>
                      <a:pt x="1566275" y="3382463"/>
                    </a:cubicBezTo>
                    <a:cubicBezTo>
                      <a:pt x="1545317" y="3382463"/>
                      <a:pt x="1528304" y="3399477"/>
                      <a:pt x="1528304" y="3420435"/>
                    </a:cubicBezTo>
                    <a:cubicBezTo>
                      <a:pt x="1528304" y="3441396"/>
                      <a:pt x="1545317" y="3458408"/>
                      <a:pt x="1566275" y="3458408"/>
                    </a:cubicBezTo>
                    <a:cubicBezTo>
                      <a:pt x="1587482" y="3458408"/>
                      <a:pt x="1604496" y="3441396"/>
                      <a:pt x="1604250" y="3420435"/>
                    </a:cubicBezTo>
                    <a:close/>
                    <a:moveTo>
                      <a:pt x="1606716" y="3535086"/>
                    </a:moveTo>
                    <a:cubicBezTo>
                      <a:pt x="1606716" y="3512893"/>
                      <a:pt x="1588717" y="3494647"/>
                      <a:pt x="1566278" y="3494647"/>
                    </a:cubicBezTo>
                    <a:cubicBezTo>
                      <a:pt x="1544087" y="3494647"/>
                      <a:pt x="1525840" y="3512647"/>
                      <a:pt x="1525840" y="3535086"/>
                    </a:cubicBezTo>
                    <a:cubicBezTo>
                      <a:pt x="1525840" y="3557277"/>
                      <a:pt x="1543839" y="3575525"/>
                      <a:pt x="1566278" y="3575525"/>
                    </a:cubicBezTo>
                    <a:cubicBezTo>
                      <a:pt x="1588717" y="3575525"/>
                      <a:pt x="1606962" y="3557277"/>
                      <a:pt x="1606716" y="3535086"/>
                    </a:cubicBezTo>
                    <a:close/>
                    <a:moveTo>
                      <a:pt x="1606962" y="7307450"/>
                    </a:moveTo>
                    <a:cubicBezTo>
                      <a:pt x="1606962" y="7305721"/>
                      <a:pt x="1605481" y="7304490"/>
                      <a:pt x="1604003" y="7304490"/>
                    </a:cubicBezTo>
                    <a:cubicBezTo>
                      <a:pt x="1602277" y="7304490"/>
                      <a:pt x="1601044" y="7305721"/>
                      <a:pt x="1601044" y="7307450"/>
                    </a:cubicBezTo>
                    <a:cubicBezTo>
                      <a:pt x="1601044" y="7309176"/>
                      <a:pt x="1602522" y="7310408"/>
                      <a:pt x="1604003" y="7310408"/>
                    </a:cubicBezTo>
                    <a:cubicBezTo>
                      <a:pt x="1605481" y="7310408"/>
                      <a:pt x="1606962" y="7309176"/>
                      <a:pt x="1606962" y="7307450"/>
                    </a:cubicBezTo>
                    <a:close/>
                    <a:moveTo>
                      <a:pt x="1606962" y="7417174"/>
                    </a:moveTo>
                    <a:cubicBezTo>
                      <a:pt x="1606962" y="7415693"/>
                      <a:pt x="1605728" y="7414461"/>
                      <a:pt x="1604250" y="7414461"/>
                    </a:cubicBezTo>
                    <a:cubicBezTo>
                      <a:pt x="1602769" y="7414461"/>
                      <a:pt x="1601537" y="7415693"/>
                      <a:pt x="1601537" y="7417174"/>
                    </a:cubicBezTo>
                    <a:cubicBezTo>
                      <a:pt x="1601537" y="7418652"/>
                      <a:pt x="1602769" y="7419886"/>
                      <a:pt x="1604250" y="7419886"/>
                    </a:cubicBezTo>
                    <a:cubicBezTo>
                      <a:pt x="1605728" y="7419886"/>
                      <a:pt x="1606962" y="7418652"/>
                      <a:pt x="1606962" y="7417174"/>
                    </a:cubicBezTo>
                    <a:close/>
                    <a:moveTo>
                      <a:pt x="1606963" y="2611932"/>
                    </a:moveTo>
                    <a:cubicBezTo>
                      <a:pt x="1606963" y="2599110"/>
                      <a:pt x="1596608" y="2588506"/>
                      <a:pt x="1583540" y="2588506"/>
                    </a:cubicBezTo>
                    <a:cubicBezTo>
                      <a:pt x="1570718" y="2588506"/>
                      <a:pt x="1560115" y="2598862"/>
                      <a:pt x="1560115" y="2611932"/>
                    </a:cubicBezTo>
                    <a:cubicBezTo>
                      <a:pt x="1560115" y="2624755"/>
                      <a:pt x="1570469" y="2635355"/>
                      <a:pt x="1583540" y="2635355"/>
                    </a:cubicBezTo>
                    <a:cubicBezTo>
                      <a:pt x="1596608" y="2635355"/>
                      <a:pt x="1606963" y="2624755"/>
                      <a:pt x="1606963" y="2611932"/>
                    </a:cubicBezTo>
                    <a:close/>
                    <a:moveTo>
                      <a:pt x="1607211" y="7526653"/>
                    </a:moveTo>
                    <a:cubicBezTo>
                      <a:pt x="1607211" y="7525172"/>
                      <a:pt x="1605976" y="7523940"/>
                      <a:pt x="1604499" y="7523940"/>
                    </a:cubicBezTo>
                    <a:cubicBezTo>
                      <a:pt x="1603018" y="7523940"/>
                      <a:pt x="1601785" y="7525172"/>
                      <a:pt x="1601785" y="7526653"/>
                    </a:cubicBezTo>
                    <a:cubicBezTo>
                      <a:pt x="1601785" y="7528131"/>
                      <a:pt x="1603018" y="7529367"/>
                      <a:pt x="1604499" y="7529367"/>
                    </a:cubicBezTo>
                    <a:cubicBezTo>
                      <a:pt x="1605976" y="7529367"/>
                      <a:pt x="1607211" y="7528131"/>
                      <a:pt x="1607211" y="7526653"/>
                    </a:cubicBezTo>
                    <a:close/>
                    <a:moveTo>
                      <a:pt x="1608194" y="6537887"/>
                    </a:moveTo>
                    <a:cubicBezTo>
                      <a:pt x="1608194" y="6535912"/>
                      <a:pt x="1606716" y="6534433"/>
                      <a:pt x="1604990" y="6534433"/>
                    </a:cubicBezTo>
                    <a:cubicBezTo>
                      <a:pt x="1603263" y="6534433"/>
                      <a:pt x="1601785" y="6536160"/>
                      <a:pt x="1601785" y="6537887"/>
                    </a:cubicBezTo>
                    <a:cubicBezTo>
                      <a:pt x="1601785" y="6539611"/>
                      <a:pt x="1603263" y="6541092"/>
                      <a:pt x="1604990" y="6541092"/>
                    </a:cubicBezTo>
                    <a:cubicBezTo>
                      <a:pt x="1606962" y="6541092"/>
                      <a:pt x="1608443" y="6539611"/>
                      <a:pt x="1608194" y="6537887"/>
                    </a:cubicBezTo>
                    <a:close/>
                    <a:moveTo>
                      <a:pt x="1608690" y="6978270"/>
                    </a:moveTo>
                    <a:cubicBezTo>
                      <a:pt x="1608690" y="6976543"/>
                      <a:pt x="1607454" y="6975310"/>
                      <a:pt x="1605976" y="6975310"/>
                    </a:cubicBezTo>
                    <a:cubicBezTo>
                      <a:pt x="1604250" y="6975310"/>
                      <a:pt x="1603018" y="6976789"/>
                      <a:pt x="1603018" y="6978270"/>
                    </a:cubicBezTo>
                    <a:cubicBezTo>
                      <a:pt x="1603018" y="6979996"/>
                      <a:pt x="1604496" y="6981228"/>
                      <a:pt x="1605976" y="6981228"/>
                    </a:cubicBezTo>
                    <a:cubicBezTo>
                      <a:pt x="1607703" y="6981228"/>
                      <a:pt x="1608935" y="6979996"/>
                      <a:pt x="1608690" y="6978270"/>
                    </a:cubicBezTo>
                    <a:close/>
                    <a:moveTo>
                      <a:pt x="1609181" y="5649225"/>
                    </a:moveTo>
                    <a:cubicBezTo>
                      <a:pt x="1609181" y="5648239"/>
                      <a:pt x="1608194" y="5647252"/>
                      <a:pt x="1607208" y="5647252"/>
                    </a:cubicBezTo>
                    <a:cubicBezTo>
                      <a:pt x="1606222" y="5647252"/>
                      <a:pt x="1605236" y="5648239"/>
                      <a:pt x="1605236" y="5649225"/>
                    </a:cubicBezTo>
                    <a:cubicBezTo>
                      <a:pt x="1605236" y="5650458"/>
                      <a:pt x="1606222" y="5651198"/>
                      <a:pt x="1607208" y="5651198"/>
                    </a:cubicBezTo>
                    <a:cubicBezTo>
                      <a:pt x="1608440" y="5651198"/>
                      <a:pt x="1609181" y="5650458"/>
                      <a:pt x="1609181" y="5649225"/>
                    </a:cubicBezTo>
                    <a:close/>
                    <a:moveTo>
                      <a:pt x="1609182" y="5873119"/>
                    </a:moveTo>
                    <a:cubicBezTo>
                      <a:pt x="1609182" y="5872132"/>
                      <a:pt x="1608444" y="5871391"/>
                      <a:pt x="1607457" y="5871391"/>
                    </a:cubicBezTo>
                    <a:cubicBezTo>
                      <a:pt x="1606471" y="5871391"/>
                      <a:pt x="1605731" y="5872132"/>
                      <a:pt x="1605731" y="5873119"/>
                    </a:cubicBezTo>
                    <a:cubicBezTo>
                      <a:pt x="1605731" y="5874104"/>
                      <a:pt x="1606471" y="5874842"/>
                      <a:pt x="1607457" y="5874842"/>
                    </a:cubicBezTo>
                    <a:cubicBezTo>
                      <a:pt x="1608444" y="5874842"/>
                      <a:pt x="1609182" y="5873859"/>
                      <a:pt x="1609182" y="5873119"/>
                    </a:cubicBezTo>
                    <a:close/>
                    <a:moveTo>
                      <a:pt x="1609183" y="7197969"/>
                    </a:moveTo>
                    <a:cubicBezTo>
                      <a:pt x="1609183" y="7196488"/>
                      <a:pt x="1607949" y="7195255"/>
                      <a:pt x="1606471" y="7195255"/>
                    </a:cubicBezTo>
                    <a:cubicBezTo>
                      <a:pt x="1604990" y="7195255"/>
                      <a:pt x="1603758" y="7196488"/>
                      <a:pt x="1603758" y="7197969"/>
                    </a:cubicBezTo>
                    <a:cubicBezTo>
                      <a:pt x="1603758" y="7199447"/>
                      <a:pt x="1604990" y="7200682"/>
                      <a:pt x="1606471" y="7200682"/>
                    </a:cubicBezTo>
                    <a:cubicBezTo>
                      <a:pt x="1607949" y="7200682"/>
                      <a:pt x="1609183" y="7199447"/>
                      <a:pt x="1609183" y="7197969"/>
                    </a:cubicBezTo>
                    <a:close/>
                    <a:moveTo>
                      <a:pt x="1609428" y="7088487"/>
                    </a:moveTo>
                    <a:cubicBezTo>
                      <a:pt x="1609428" y="7086763"/>
                      <a:pt x="1607949" y="7085282"/>
                      <a:pt x="1606222" y="7085282"/>
                    </a:cubicBezTo>
                    <a:cubicBezTo>
                      <a:pt x="1604496" y="7085282"/>
                      <a:pt x="1603018" y="7086763"/>
                      <a:pt x="1603018" y="7088487"/>
                    </a:cubicBezTo>
                    <a:cubicBezTo>
                      <a:pt x="1603018" y="7090214"/>
                      <a:pt x="1604496" y="7091695"/>
                      <a:pt x="1606222" y="7091695"/>
                    </a:cubicBezTo>
                    <a:cubicBezTo>
                      <a:pt x="1608195" y="7091695"/>
                      <a:pt x="1609428" y="7090214"/>
                      <a:pt x="1609428" y="7088487"/>
                    </a:cubicBezTo>
                    <a:close/>
                    <a:moveTo>
                      <a:pt x="1609675" y="2242835"/>
                    </a:moveTo>
                    <a:cubicBezTo>
                      <a:pt x="1609675" y="2220885"/>
                      <a:pt x="1591677" y="2202886"/>
                      <a:pt x="1569729" y="2202886"/>
                    </a:cubicBezTo>
                    <a:cubicBezTo>
                      <a:pt x="1547784" y="2202886"/>
                      <a:pt x="1529785" y="2220885"/>
                      <a:pt x="1529785" y="2242835"/>
                    </a:cubicBezTo>
                    <a:cubicBezTo>
                      <a:pt x="1529785" y="2264773"/>
                      <a:pt x="1547784" y="2282774"/>
                      <a:pt x="1569729" y="2282774"/>
                    </a:cubicBezTo>
                    <a:cubicBezTo>
                      <a:pt x="1591922" y="2282774"/>
                      <a:pt x="1609675" y="2264773"/>
                      <a:pt x="1609675" y="2242835"/>
                    </a:cubicBezTo>
                    <a:close/>
                    <a:moveTo>
                      <a:pt x="1609921" y="5984569"/>
                    </a:moveTo>
                    <a:cubicBezTo>
                      <a:pt x="1609921" y="5983336"/>
                      <a:pt x="1608932" y="5982350"/>
                      <a:pt x="1607700" y="5982350"/>
                    </a:cubicBezTo>
                    <a:cubicBezTo>
                      <a:pt x="1606468" y="5982350"/>
                      <a:pt x="1605482" y="5983336"/>
                      <a:pt x="1605482" y="5984569"/>
                    </a:cubicBezTo>
                    <a:cubicBezTo>
                      <a:pt x="1605482" y="5985801"/>
                      <a:pt x="1606468" y="5986786"/>
                      <a:pt x="1607700" y="5986786"/>
                    </a:cubicBezTo>
                    <a:cubicBezTo>
                      <a:pt x="1608932" y="5986786"/>
                      <a:pt x="1609921" y="5985801"/>
                      <a:pt x="1609921" y="5984569"/>
                    </a:cubicBezTo>
                    <a:close/>
                    <a:moveTo>
                      <a:pt x="1609922" y="6206735"/>
                    </a:moveTo>
                    <a:cubicBezTo>
                      <a:pt x="1609922" y="6205749"/>
                      <a:pt x="1609181" y="6204762"/>
                      <a:pt x="1607949" y="6204762"/>
                    </a:cubicBezTo>
                    <a:cubicBezTo>
                      <a:pt x="1606963" y="6204762"/>
                      <a:pt x="1605976" y="6205749"/>
                      <a:pt x="1605976" y="6206735"/>
                    </a:cubicBezTo>
                    <a:cubicBezTo>
                      <a:pt x="1605976" y="6207721"/>
                      <a:pt x="1606716" y="6208708"/>
                      <a:pt x="1607949" y="6208708"/>
                    </a:cubicBezTo>
                    <a:cubicBezTo>
                      <a:pt x="1609181" y="6208708"/>
                      <a:pt x="1609922" y="6207721"/>
                      <a:pt x="1609922" y="6206735"/>
                    </a:cubicBezTo>
                    <a:close/>
                    <a:moveTo>
                      <a:pt x="1610415" y="6095528"/>
                    </a:moveTo>
                    <a:cubicBezTo>
                      <a:pt x="1610415" y="6094047"/>
                      <a:pt x="1609181" y="6092815"/>
                      <a:pt x="1607703" y="6092815"/>
                    </a:cubicBezTo>
                    <a:cubicBezTo>
                      <a:pt x="1606222" y="6092815"/>
                      <a:pt x="1604990" y="6094047"/>
                      <a:pt x="1604990" y="6095528"/>
                    </a:cubicBezTo>
                    <a:cubicBezTo>
                      <a:pt x="1604990" y="6097006"/>
                      <a:pt x="1606222" y="6098241"/>
                      <a:pt x="1607703" y="6098241"/>
                    </a:cubicBezTo>
                    <a:cubicBezTo>
                      <a:pt x="1609181" y="6098241"/>
                      <a:pt x="1610415" y="6097006"/>
                      <a:pt x="1610415" y="6095528"/>
                    </a:cubicBezTo>
                    <a:close/>
                    <a:moveTo>
                      <a:pt x="1611429" y="0"/>
                    </a:moveTo>
                    <a:lnTo>
                      <a:pt x="1594563" y="0"/>
                    </a:lnTo>
                    <a:lnTo>
                      <a:pt x="1603018" y="3492"/>
                    </a:lnTo>
                    <a:close/>
                    <a:moveTo>
                      <a:pt x="1612140" y="6648104"/>
                    </a:moveTo>
                    <a:cubicBezTo>
                      <a:pt x="1612140" y="6644159"/>
                      <a:pt x="1608935" y="6641200"/>
                      <a:pt x="1605237" y="6641200"/>
                    </a:cubicBezTo>
                    <a:cubicBezTo>
                      <a:pt x="1601291" y="6641200"/>
                      <a:pt x="1598332" y="6644159"/>
                      <a:pt x="1598332" y="6648104"/>
                    </a:cubicBezTo>
                    <a:cubicBezTo>
                      <a:pt x="1598332" y="6652050"/>
                      <a:pt x="1601537" y="6655008"/>
                      <a:pt x="1605237" y="6655008"/>
                    </a:cubicBezTo>
                    <a:cubicBezTo>
                      <a:pt x="1609181" y="6655008"/>
                      <a:pt x="1612140" y="6652050"/>
                      <a:pt x="1612140" y="6648104"/>
                    </a:cubicBezTo>
                    <a:close/>
                    <a:moveTo>
                      <a:pt x="1612143" y="6758325"/>
                    </a:moveTo>
                    <a:cubicBezTo>
                      <a:pt x="1612143" y="6754625"/>
                      <a:pt x="1609184" y="6751666"/>
                      <a:pt x="1605484" y="6751666"/>
                    </a:cubicBezTo>
                    <a:cubicBezTo>
                      <a:pt x="1601785" y="6751666"/>
                      <a:pt x="1598827" y="6754625"/>
                      <a:pt x="1598827" y="6758325"/>
                    </a:cubicBezTo>
                    <a:cubicBezTo>
                      <a:pt x="1598827" y="6762024"/>
                      <a:pt x="1601785" y="6764982"/>
                      <a:pt x="1605484" y="6764982"/>
                    </a:cubicBezTo>
                    <a:cubicBezTo>
                      <a:pt x="1609184" y="6764982"/>
                      <a:pt x="1612389" y="6762024"/>
                      <a:pt x="1612143" y="6758325"/>
                    </a:cubicBezTo>
                    <a:close/>
                    <a:moveTo>
                      <a:pt x="1612631" y="5761418"/>
                    </a:moveTo>
                    <a:cubicBezTo>
                      <a:pt x="1612631" y="5758459"/>
                      <a:pt x="1610412" y="5756240"/>
                      <a:pt x="1607453" y="5756240"/>
                    </a:cubicBezTo>
                    <a:cubicBezTo>
                      <a:pt x="1604495" y="5756240"/>
                      <a:pt x="1602277" y="5758459"/>
                      <a:pt x="1602277" y="5761418"/>
                    </a:cubicBezTo>
                    <a:cubicBezTo>
                      <a:pt x="1602277" y="5764377"/>
                      <a:pt x="1604495" y="5766598"/>
                      <a:pt x="1607453" y="5766598"/>
                    </a:cubicBezTo>
                    <a:cubicBezTo>
                      <a:pt x="1610167" y="5766598"/>
                      <a:pt x="1612631" y="5764130"/>
                      <a:pt x="1612631" y="5761418"/>
                    </a:cubicBezTo>
                    <a:close/>
                    <a:moveTo>
                      <a:pt x="1613374" y="6868299"/>
                    </a:moveTo>
                    <a:cubicBezTo>
                      <a:pt x="1613374" y="6864107"/>
                      <a:pt x="1609921" y="6860653"/>
                      <a:pt x="1605730" y="6860653"/>
                    </a:cubicBezTo>
                    <a:cubicBezTo>
                      <a:pt x="1601536" y="6860653"/>
                      <a:pt x="1598086" y="6864107"/>
                      <a:pt x="1598086" y="6868299"/>
                    </a:cubicBezTo>
                    <a:cubicBezTo>
                      <a:pt x="1598086" y="6872490"/>
                      <a:pt x="1601536" y="6875939"/>
                      <a:pt x="1605730" y="6875939"/>
                    </a:cubicBezTo>
                    <a:cubicBezTo>
                      <a:pt x="1609921" y="6875939"/>
                      <a:pt x="1613374" y="6872735"/>
                      <a:pt x="1613374" y="6868299"/>
                    </a:cubicBezTo>
                    <a:close/>
                    <a:moveTo>
                      <a:pt x="1614113" y="2363150"/>
                    </a:moveTo>
                    <a:cubicBezTo>
                      <a:pt x="1614113" y="2340713"/>
                      <a:pt x="1595868" y="2322215"/>
                      <a:pt x="1573182" y="2322215"/>
                    </a:cubicBezTo>
                    <a:cubicBezTo>
                      <a:pt x="1550497" y="2322215"/>
                      <a:pt x="1532004" y="2340466"/>
                      <a:pt x="1532004" y="2363150"/>
                    </a:cubicBezTo>
                    <a:cubicBezTo>
                      <a:pt x="1532004" y="2385834"/>
                      <a:pt x="1550497" y="2404327"/>
                      <a:pt x="1573182" y="2404327"/>
                    </a:cubicBezTo>
                    <a:cubicBezTo>
                      <a:pt x="1595868" y="2404327"/>
                      <a:pt x="1614113" y="2386083"/>
                      <a:pt x="1614113" y="2363150"/>
                    </a:cubicBezTo>
                    <a:close/>
                    <a:moveTo>
                      <a:pt x="1616331" y="2741132"/>
                    </a:moveTo>
                    <a:cubicBezTo>
                      <a:pt x="1616331" y="2727570"/>
                      <a:pt x="1605236" y="2716475"/>
                      <a:pt x="1591673" y="2716475"/>
                    </a:cubicBezTo>
                    <a:cubicBezTo>
                      <a:pt x="1578111" y="2716475"/>
                      <a:pt x="1567016" y="2727570"/>
                      <a:pt x="1567016" y="2741132"/>
                    </a:cubicBezTo>
                    <a:cubicBezTo>
                      <a:pt x="1567016" y="2754696"/>
                      <a:pt x="1578111" y="2765791"/>
                      <a:pt x="1591673" y="2765791"/>
                    </a:cubicBezTo>
                    <a:cubicBezTo>
                      <a:pt x="1605236" y="2765791"/>
                      <a:pt x="1616331" y="2754696"/>
                      <a:pt x="1616331" y="2741132"/>
                    </a:cubicBezTo>
                    <a:close/>
                    <a:moveTo>
                      <a:pt x="1616579" y="6427913"/>
                    </a:moveTo>
                    <a:cubicBezTo>
                      <a:pt x="1616579" y="6423227"/>
                      <a:pt x="1612880" y="6419527"/>
                      <a:pt x="1608194" y="6419527"/>
                    </a:cubicBezTo>
                    <a:cubicBezTo>
                      <a:pt x="1603511" y="6419527"/>
                      <a:pt x="1599812" y="6423227"/>
                      <a:pt x="1599812" y="6427913"/>
                    </a:cubicBezTo>
                    <a:cubicBezTo>
                      <a:pt x="1599812" y="6432598"/>
                      <a:pt x="1603511" y="6436295"/>
                      <a:pt x="1608194" y="6436295"/>
                    </a:cubicBezTo>
                    <a:cubicBezTo>
                      <a:pt x="1612880" y="6436295"/>
                      <a:pt x="1616579" y="6432598"/>
                      <a:pt x="1616579" y="6427913"/>
                    </a:cubicBezTo>
                    <a:close/>
                    <a:moveTo>
                      <a:pt x="1617566" y="6317447"/>
                    </a:moveTo>
                    <a:cubicBezTo>
                      <a:pt x="1617566" y="6312267"/>
                      <a:pt x="1613375" y="6308075"/>
                      <a:pt x="1608197" y="6308075"/>
                    </a:cubicBezTo>
                    <a:cubicBezTo>
                      <a:pt x="1603018" y="6308075"/>
                      <a:pt x="1598827" y="6312267"/>
                      <a:pt x="1598827" y="6317447"/>
                    </a:cubicBezTo>
                    <a:cubicBezTo>
                      <a:pt x="1598827" y="6322624"/>
                      <a:pt x="1603018" y="6326815"/>
                      <a:pt x="1608197" y="6326815"/>
                    </a:cubicBezTo>
                    <a:cubicBezTo>
                      <a:pt x="1613129" y="6326815"/>
                      <a:pt x="1617320" y="6322624"/>
                      <a:pt x="1617566" y="6317447"/>
                    </a:cubicBezTo>
                    <a:close/>
                    <a:moveTo>
                      <a:pt x="1622743" y="3307751"/>
                    </a:moveTo>
                    <a:cubicBezTo>
                      <a:pt x="1622743" y="3288271"/>
                      <a:pt x="1606716" y="3272246"/>
                      <a:pt x="1587237" y="3272246"/>
                    </a:cubicBezTo>
                    <a:cubicBezTo>
                      <a:pt x="1567756" y="3272246"/>
                      <a:pt x="1551729" y="3288271"/>
                      <a:pt x="1551729" y="3307751"/>
                    </a:cubicBezTo>
                    <a:cubicBezTo>
                      <a:pt x="1551729" y="3327232"/>
                      <a:pt x="1567756" y="3343259"/>
                      <a:pt x="1587237" y="3343259"/>
                    </a:cubicBezTo>
                    <a:cubicBezTo>
                      <a:pt x="1606962" y="3343259"/>
                      <a:pt x="1622743" y="3327478"/>
                      <a:pt x="1622743" y="3307751"/>
                    </a:cubicBezTo>
                    <a:close/>
                    <a:moveTo>
                      <a:pt x="1625455" y="1643963"/>
                    </a:moveTo>
                    <a:cubicBezTo>
                      <a:pt x="1625455" y="1635332"/>
                      <a:pt x="1618305" y="1628180"/>
                      <a:pt x="1609675" y="1628180"/>
                    </a:cubicBezTo>
                    <a:cubicBezTo>
                      <a:pt x="1601044" y="1628180"/>
                      <a:pt x="1593894" y="1635332"/>
                      <a:pt x="1593894" y="1643963"/>
                    </a:cubicBezTo>
                    <a:cubicBezTo>
                      <a:pt x="1593894" y="1652591"/>
                      <a:pt x="1601044" y="1659740"/>
                      <a:pt x="1609675" y="1659740"/>
                    </a:cubicBezTo>
                    <a:cubicBezTo>
                      <a:pt x="1618305" y="1659740"/>
                      <a:pt x="1625455" y="1652591"/>
                      <a:pt x="1625455" y="1643963"/>
                    </a:cubicBezTo>
                    <a:close/>
                    <a:moveTo>
                      <a:pt x="1625456" y="2875511"/>
                    </a:moveTo>
                    <a:cubicBezTo>
                      <a:pt x="1625456" y="2862935"/>
                      <a:pt x="1615347" y="2852826"/>
                      <a:pt x="1602772" y="2852826"/>
                    </a:cubicBezTo>
                    <a:cubicBezTo>
                      <a:pt x="1590196" y="2852826"/>
                      <a:pt x="1580087" y="2862935"/>
                      <a:pt x="1580087" y="2875511"/>
                    </a:cubicBezTo>
                    <a:cubicBezTo>
                      <a:pt x="1580087" y="2888087"/>
                      <a:pt x="1590196" y="2898196"/>
                      <a:pt x="1602772" y="2898196"/>
                    </a:cubicBezTo>
                    <a:cubicBezTo>
                      <a:pt x="1615347" y="2898196"/>
                      <a:pt x="1625456" y="2888087"/>
                      <a:pt x="1625456" y="2875511"/>
                    </a:cubicBezTo>
                    <a:close/>
                    <a:moveTo>
                      <a:pt x="1627183" y="417891"/>
                    </a:moveTo>
                    <a:cubicBezTo>
                      <a:pt x="1627183" y="404080"/>
                      <a:pt x="1615840" y="392739"/>
                      <a:pt x="1602031" y="392739"/>
                    </a:cubicBezTo>
                    <a:cubicBezTo>
                      <a:pt x="1588469" y="392739"/>
                      <a:pt x="1577128" y="404080"/>
                      <a:pt x="1577128" y="417891"/>
                    </a:cubicBezTo>
                    <a:cubicBezTo>
                      <a:pt x="1577128" y="431695"/>
                      <a:pt x="1588223" y="443038"/>
                      <a:pt x="1602031" y="443038"/>
                    </a:cubicBezTo>
                    <a:cubicBezTo>
                      <a:pt x="1616087" y="443038"/>
                      <a:pt x="1627183" y="431944"/>
                      <a:pt x="1627183" y="417891"/>
                    </a:cubicBezTo>
                    <a:close/>
                    <a:moveTo>
                      <a:pt x="1627428" y="5425334"/>
                    </a:moveTo>
                    <a:cubicBezTo>
                      <a:pt x="1627428" y="5416952"/>
                      <a:pt x="1620524" y="5410047"/>
                      <a:pt x="1612139" y="5410047"/>
                    </a:cubicBezTo>
                    <a:cubicBezTo>
                      <a:pt x="1603757" y="5410047"/>
                      <a:pt x="1596853" y="5416952"/>
                      <a:pt x="1596853" y="5425334"/>
                    </a:cubicBezTo>
                    <a:cubicBezTo>
                      <a:pt x="1596853" y="5433719"/>
                      <a:pt x="1603757" y="5440623"/>
                      <a:pt x="1612139" y="5440623"/>
                    </a:cubicBezTo>
                    <a:cubicBezTo>
                      <a:pt x="1620770" y="5440623"/>
                      <a:pt x="1627674" y="5433965"/>
                      <a:pt x="1627428" y="5425334"/>
                    </a:cubicBezTo>
                    <a:close/>
                    <a:moveTo>
                      <a:pt x="1627674" y="307692"/>
                    </a:moveTo>
                    <a:cubicBezTo>
                      <a:pt x="1627674" y="293636"/>
                      <a:pt x="1616331" y="282296"/>
                      <a:pt x="1602277" y="282296"/>
                    </a:cubicBezTo>
                    <a:cubicBezTo>
                      <a:pt x="1588222" y="282296"/>
                      <a:pt x="1576879" y="293636"/>
                      <a:pt x="1576879" y="307692"/>
                    </a:cubicBezTo>
                    <a:cubicBezTo>
                      <a:pt x="1576879" y="321746"/>
                      <a:pt x="1588222" y="333087"/>
                      <a:pt x="1602277" y="333087"/>
                    </a:cubicBezTo>
                    <a:cubicBezTo>
                      <a:pt x="1616331" y="333087"/>
                      <a:pt x="1627674" y="321746"/>
                      <a:pt x="1627674" y="307692"/>
                    </a:cubicBezTo>
                    <a:close/>
                    <a:moveTo>
                      <a:pt x="1627675" y="2485939"/>
                    </a:moveTo>
                    <a:cubicBezTo>
                      <a:pt x="1627675" y="2458322"/>
                      <a:pt x="1605237" y="2435884"/>
                      <a:pt x="1577620" y="2435884"/>
                    </a:cubicBezTo>
                    <a:cubicBezTo>
                      <a:pt x="1550003" y="2435884"/>
                      <a:pt x="1527564" y="2458322"/>
                      <a:pt x="1527564" y="2485939"/>
                    </a:cubicBezTo>
                    <a:cubicBezTo>
                      <a:pt x="1527564" y="2513555"/>
                      <a:pt x="1550003" y="2535992"/>
                      <a:pt x="1577620" y="2535992"/>
                    </a:cubicBezTo>
                    <a:cubicBezTo>
                      <a:pt x="1605237" y="2535992"/>
                      <a:pt x="1627675" y="2513802"/>
                      <a:pt x="1627675" y="2485939"/>
                    </a:cubicBezTo>
                    <a:close/>
                    <a:moveTo>
                      <a:pt x="1628907" y="87549"/>
                    </a:moveTo>
                    <a:cubicBezTo>
                      <a:pt x="1628907" y="73249"/>
                      <a:pt x="1617318" y="61414"/>
                      <a:pt x="1602769" y="61414"/>
                    </a:cubicBezTo>
                    <a:cubicBezTo>
                      <a:pt x="1588469" y="61414"/>
                      <a:pt x="1576634" y="73003"/>
                      <a:pt x="1576634" y="87549"/>
                    </a:cubicBezTo>
                    <a:cubicBezTo>
                      <a:pt x="1576634" y="101851"/>
                      <a:pt x="1588223" y="113685"/>
                      <a:pt x="1602769" y="113685"/>
                    </a:cubicBezTo>
                    <a:cubicBezTo>
                      <a:pt x="1617318" y="113685"/>
                      <a:pt x="1628907" y="101851"/>
                      <a:pt x="1628907" y="87549"/>
                    </a:cubicBezTo>
                    <a:close/>
                    <a:moveTo>
                      <a:pt x="1629155" y="3647524"/>
                    </a:moveTo>
                    <a:cubicBezTo>
                      <a:pt x="1629155" y="3624593"/>
                      <a:pt x="1610413" y="3605853"/>
                      <a:pt x="1587482" y="3605853"/>
                    </a:cubicBezTo>
                    <a:cubicBezTo>
                      <a:pt x="1564552" y="3605853"/>
                      <a:pt x="1545812" y="3624593"/>
                      <a:pt x="1545812" y="3647524"/>
                    </a:cubicBezTo>
                    <a:cubicBezTo>
                      <a:pt x="1545812" y="3670455"/>
                      <a:pt x="1564552" y="3689198"/>
                      <a:pt x="1587482" y="3689198"/>
                    </a:cubicBezTo>
                    <a:cubicBezTo>
                      <a:pt x="1610413" y="3689198"/>
                      <a:pt x="1629155" y="3670455"/>
                      <a:pt x="1629155" y="3647524"/>
                    </a:cubicBezTo>
                    <a:close/>
                    <a:moveTo>
                      <a:pt x="1629155" y="3891387"/>
                    </a:moveTo>
                    <a:cubicBezTo>
                      <a:pt x="1629155" y="3866730"/>
                      <a:pt x="1609181" y="3846758"/>
                      <a:pt x="1584524" y="3846758"/>
                    </a:cubicBezTo>
                    <a:cubicBezTo>
                      <a:pt x="1559866" y="3846758"/>
                      <a:pt x="1539894" y="3866730"/>
                      <a:pt x="1539894" y="3891387"/>
                    </a:cubicBezTo>
                    <a:cubicBezTo>
                      <a:pt x="1539894" y="3916045"/>
                      <a:pt x="1559866" y="3936017"/>
                      <a:pt x="1584524" y="3936017"/>
                    </a:cubicBezTo>
                    <a:cubicBezTo>
                      <a:pt x="1609181" y="3936017"/>
                      <a:pt x="1629155" y="3916045"/>
                      <a:pt x="1629155" y="3891387"/>
                    </a:cubicBezTo>
                    <a:close/>
                    <a:moveTo>
                      <a:pt x="1629156" y="1872030"/>
                    </a:moveTo>
                    <a:cubicBezTo>
                      <a:pt x="1629156" y="1862169"/>
                      <a:pt x="1621265" y="1854282"/>
                      <a:pt x="1611402" y="1854282"/>
                    </a:cubicBezTo>
                    <a:cubicBezTo>
                      <a:pt x="1601539" y="1854282"/>
                      <a:pt x="1593649" y="1862169"/>
                      <a:pt x="1593649" y="1872030"/>
                    </a:cubicBezTo>
                    <a:cubicBezTo>
                      <a:pt x="1593649" y="1881891"/>
                      <a:pt x="1601539" y="1889779"/>
                      <a:pt x="1611402" y="1889779"/>
                    </a:cubicBezTo>
                    <a:cubicBezTo>
                      <a:pt x="1621019" y="1889779"/>
                      <a:pt x="1629156" y="1881891"/>
                      <a:pt x="1629156" y="1872030"/>
                    </a:cubicBezTo>
                    <a:close/>
                    <a:moveTo>
                      <a:pt x="1629400" y="1530549"/>
                    </a:moveTo>
                    <a:cubicBezTo>
                      <a:pt x="1629400" y="1519454"/>
                      <a:pt x="1620523" y="1510576"/>
                      <a:pt x="1609428" y="1510576"/>
                    </a:cubicBezTo>
                    <a:cubicBezTo>
                      <a:pt x="1598332" y="1510576"/>
                      <a:pt x="1589456" y="1519454"/>
                      <a:pt x="1589456" y="1530549"/>
                    </a:cubicBezTo>
                    <a:cubicBezTo>
                      <a:pt x="1589456" y="1541648"/>
                      <a:pt x="1598332" y="1550522"/>
                      <a:pt x="1609428" y="1550522"/>
                    </a:cubicBezTo>
                    <a:cubicBezTo>
                      <a:pt x="1620523" y="1550522"/>
                      <a:pt x="1629400" y="1541648"/>
                      <a:pt x="1629400" y="1530549"/>
                    </a:cubicBezTo>
                    <a:close/>
                    <a:moveTo>
                      <a:pt x="1629646" y="197497"/>
                    </a:moveTo>
                    <a:cubicBezTo>
                      <a:pt x="1629646" y="182703"/>
                      <a:pt x="1617565" y="170869"/>
                      <a:pt x="1603017" y="170869"/>
                    </a:cubicBezTo>
                    <a:cubicBezTo>
                      <a:pt x="1588222" y="170869"/>
                      <a:pt x="1576387" y="182950"/>
                      <a:pt x="1576387" y="197497"/>
                    </a:cubicBezTo>
                    <a:cubicBezTo>
                      <a:pt x="1576387" y="212291"/>
                      <a:pt x="1588468" y="224126"/>
                      <a:pt x="1603017" y="224126"/>
                    </a:cubicBezTo>
                    <a:cubicBezTo>
                      <a:pt x="1617565" y="224126"/>
                      <a:pt x="1629401" y="212045"/>
                      <a:pt x="1629646" y="197497"/>
                    </a:cubicBezTo>
                    <a:close/>
                    <a:moveTo>
                      <a:pt x="1632115" y="1757629"/>
                    </a:moveTo>
                    <a:cubicBezTo>
                      <a:pt x="1632115" y="1745543"/>
                      <a:pt x="1622252" y="1735920"/>
                      <a:pt x="1610416" y="1735920"/>
                    </a:cubicBezTo>
                    <a:cubicBezTo>
                      <a:pt x="1598581" y="1735920"/>
                      <a:pt x="1588718" y="1745788"/>
                      <a:pt x="1588718" y="1757629"/>
                    </a:cubicBezTo>
                    <a:cubicBezTo>
                      <a:pt x="1588718" y="1769718"/>
                      <a:pt x="1598334" y="1779337"/>
                      <a:pt x="1610416" y="1779337"/>
                    </a:cubicBezTo>
                    <a:cubicBezTo>
                      <a:pt x="1622498" y="1779337"/>
                      <a:pt x="1632115" y="1769470"/>
                      <a:pt x="1632115" y="1757629"/>
                    </a:cubicBezTo>
                    <a:close/>
                    <a:moveTo>
                      <a:pt x="1634330" y="1417881"/>
                    </a:moveTo>
                    <a:cubicBezTo>
                      <a:pt x="1634330" y="1403822"/>
                      <a:pt x="1622989" y="1392480"/>
                      <a:pt x="1608934" y="1392480"/>
                    </a:cubicBezTo>
                    <a:cubicBezTo>
                      <a:pt x="1594880" y="1392480"/>
                      <a:pt x="1583537" y="1403822"/>
                      <a:pt x="1583537" y="1417881"/>
                    </a:cubicBezTo>
                    <a:cubicBezTo>
                      <a:pt x="1583537" y="1431932"/>
                      <a:pt x="1594880" y="1443272"/>
                      <a:pt x="1608934" y="1443272"/>
                    </a:cubicBezTo>
                    <a:cubicBezTo>
                      <a:pt x="1622989" y="1443272"/>
                      <a:pt x="1634330" y="1431932"/>
                      <a:pt x="1634330" y="1417881"/>
                    </a:cubicBezTo>
                    <a:close/>
                    <a:moveTo>
                      <a:pt x="1635565" y="4852047"/>
                    </a:moveTo>
                    <a:cubicBezTo>
                      <a:pt x="1635565" y="4840706"/>
                      <a:pt x="1626194" y="4831334"/>
                      <a:pt x="1614853" y="4831334"/>
                    </a:cubicBezTo>
                    <a:cubicBezTo>
                      <a:pt x="1603509" y="4831334"/>
                      <a:pt x="1594141" y="4840706"/>
                      <a:pt x="1594141" y="4852047"/>
                    </a:cubicBezTo>
                    <a:cubicBezTo>
                      <a:pt x="1594141" y="4863390"/>
                      <a:pt x="1603509" y="4872759"/>
                      <a:pt x="1614853" y="4872759"/>
                    </a:cubicBezTo>
                    <a:cubicBezTo>
                      <a:pt x="1626194" y="4872759"/>
                      <a:pt x="1635565" y="4863390"/>
                      <a:pt x="1635565" y="4852047"/>
                    </a:cubicBezTo>
                    <a:close/>
                    <a:moveTo>
                      <a:pt x="1635811" y="4737635"/>
                    </a:moveTo>
                    <a:cubicBezTo>
                      <a:pt x="1635811" y="4730485"/>
                      <a:pt x="1630140" y="4724813"/>
                      <a:pt x="1622990" y="4724813"/>
                    </a:cubicBezTo>
                    <a:cubicBezTo>
                      <a:pt x="1615840" y="4724813"/>
                      <a:pt x="1610168" y="4730485"/>
                      <a:pt x="1610168" y="4737635"/>
                    </a:cubicBezTo>
                    <a:cubicBezTo>
                      <a:pt x="1610168" y="4744785"/>
                      <a:pt x="1615840" y="4750457"/>
                      <a:pt x="1622990" y="4750457"/>
                    </a:cubicBezTo>
                    <a:cubicBezTo>
                      <a:pt x="1630140" y="4750457"/>
                      <a:pt x="1635811" y="4744540"/>
                      <a:pt x="1635811" y="4737635"/>
                    </a:cubicBezTo>
                    <a:close/>
                    <a:moveTo>
                      <a:pt x="1637044" y="3017043"/>
                    </a:moveTo>
                    <a:cubicBezTo>
                      <a:pt x="1637044" y="3007426"/>
                      <a:pt x="1629156" y="2999535"/>
                      <a:pt x="1619539" y="2999535"/>
                    </a:cubicBezTo>
                    <a:cubicBezTo>
                      <a:pt x="1609921" y="2999535"/>
                      <a:pt x="1602031" y="3007426"/>
                      <a:pt x="1602031" y="3017043"/>
                    </a:cubicBezTo>
                    <a:cubicBezTo>
                      <a:pt x="1602031" y="3026658"/>
                      <a:pt x="1609921" y="3034548"/>
                      <a:pt x="1619539" y="3034548"/>
                    </a:cubicBezTo>
                    <a:cubicBezTo>
                      <a:pt x="1629156" y="3034548"/>
                      <a:pt x="1637044" y="3026658"/>
                      <a:pt x="1637044" y="3017043"/>
                    </a:cubicBezTo>
                    <a:close/>
                    <a:moveTo>
                      <a:pt x="1638033" y="5312159"/>
                    </a:moveTo>
                    <a:cubicBezTo>
                      <a:pt x="1638033" y="5298104"/>
                      <a:pt x="1626443" y="5286514"/>
                      <a:pt x="1612389" y="5286514"/>
                    </a:cubicBezTo>
                    <a:cubicBezTo>
                      <a:pt x="1598334" y="5286514"/>
                      <a:pt x="1586744" y="5298104"/>
                      <a:pt x="1586744" y="5312159"/>
                    </a:cubicBezTo>
                    <a:cubicBezTo>
                      <a:pt x="1586744" y="5326213"/>
                      <a:pt x="1598334" y="5337803"/>
                      <a:pt x="1612389" y="5337803"/>
                    </a:cubicBezTo>
                    <a:cubicBezTo>
                      <a:pt x="1626688" y="5337803"/>
                      <a:pt x="1638033" y="5326460"/>
                      <a:pt x="1638033" y="5312159"/>
                    </a:cubicBezTo>
                    <a:close/>
                    <a:moveTo>
                      <a:pt x="1639511" y="5083828"/>
                    </a:moveTo>
                    <a:cubicBezTo>
                      <a:pt x="1639511" y="5069528"/>
                      <a:pt x="1627921" y="5057692"/>
                      <a:pt x="1613372" y="5057692"/>
                    </a:cubicBezTo>
                    <a:cubicBezTo>
                      <a:pt x="1599072" y="5057692"/>
                      <a:pt x="1587237" y="5069282"/>
                      <a:pt x="1587237" y="5083828"/>
                    </a:cubicBezTo>
                    <a:cubicBezTo>
                      <a:pt x="1587237" y="5098131"/>
                      <a:pt x="1598827" y="5109967"/>
                      <a:pt x="1613372" y="5109967"/>
                    </a:cubicBezTo>
                    <a:cubicBezTo>
                      <a:pt x="1627675" y="5109967"/>
                      <a:pt x="1639511" y="5098377"/>
                      <a:pt x="1639511" y="5083828"/>
                    </a:cubicBezTo>
                    <a:close/>
                    <a:moveTo>
                      <a:pt x="1648386" y="1987385"/>
                    </a:moveTo>
                    <a:cubicBezTo>
                      <a:pt x="1648386" y="1967663"/>
                      <a:pt x="1632360" y="1951395"/>
                      <a:pt x="1612385" y="1951395"/>
                    </a:cubicBezTo>
                    <a:cubicBezTo>
                      <a:pt x="1592659" y="1951395"/>
                      <a:pt x="1576387" y="1967418"/>
                      <a:pt x="1576387" y="1987385"/>
                    </a:cubicBezTo>
                    <a:cubicBezTo>
                      <a:pt x="1576387" y="2007109"/>
                      <a:pt x="1592413" y="2023380"/>
                      <a:pt x="1612385" y="2023380"/>
                    </a:cubicBezTo>
                    <a:cubicBezTo>
                      <a:pt x="1632360" y="2023380"/>
                      <a:pt x="1648386" y="2007109"/>
                      <a:pt x="1648386" y="1987385"/>
                    </a:cubicBezTo>
                    <a:close/>
                    <a:moveTo>
                      <a:pt x="1652333" y="2103520"/>
                    </a:moveTo>
                    <a:cubicBezTo>
                      <a:pt x="1652333" y="2082065"/>
                      <a:pt x="1634825" y="2064557"/>
                      <a:pt x="1613375" y="2064557"/>
                    </a:cubicBezTo>
                    <a:cubicBezTo>
                      <a:pt x="1591922" y="2064557"/>
                      <a:pt x="1574415" y="2082065"/>
                      <a:pt x="1574415" y="2103520"/>
                    </a:cubicBezTo>
                    <a:cubicBezTo>
                      <a:pt x="1574415" y="2124972"/>
                      <a:pt x="1591922" y="2142481"/>
                      <a:pt x="1613375" y="2142481"/>
                    </a:cubicBezTo>
                    <a:cubicBezTo>
                      <a:pt x="1634825" y="2142481"/>
                      <a:pt x="1652333" y="2124972"/>
                      <a:pt x="1652333" y="2103520"/>
                    </a:cubicBezTo>
                    <a:close/>
                    <a:moveTo>
                      <a:pt x="1658250" y="4498213"/>
                    </a:moveTo>
                    <a:cubicBezTo>
                      <a:pt x="1658250" y="4481692"/>
                      <a:pt x="1644687" y="4468129"/>
                      <a:pt x="1628169" y="4468129"/>
                    </a:cubicBezTo>
                    <a:cubicBezTo>
                      <a:pt x="1611648" y="4468129"/>
                      <a:pt x="1598086" y="4481692"/>
                      <a:pt x="1598086" y="4498213"/>
                    </a:cubicBezTo>
                    <a:cubicBezTo>
                      <a:pt x="1598086" y="4514732"/>
                      <a:pt x="1611648" y="4528294"/>
                      <a:pt x="1628169" y="4528294"/>
                    </a:cubicBezTo>
                    <a:cubicBezTo>
                      <a:pt x="1644687" y="4528294"/>
                      <a:pt x="1658250" y="4514977"/>
                      <a:pt x="1658250" y="4498213"/>
                    </a:cubicBezTo>
                    <a:close/>
                    <a:moveTo>
                      <a:pt x="1658742" y="4619034"/>
                    </a:moveTo>
                    <a:cubicBezTo>
                      <a:pt x="1658742" y="4600539"/>
                      <a:pt x="1643702" y="4585498"/>
                      <a:pt x="1625208" y="4585498"/>
                    </a:cubicBezTo>
                    <a:cubicBezTo>
                      <a:pt x="1606713" y="4585498"/>
                      <a:pt x="1591673" y="4600539"/>
                      <a:pt x="1591673" y="4619034"/>
                    </a:cubicBezTo>
                    <a:cubicBezTo>
                      <a:pt x="1591673" y="4637528"/>
                      <a:pt x="1606713" y="4652568"/>
                      <a:pt x="1625208" y="4652568"/>
                    </a:cubicBezTo>
                    <a:cubicBezTo>
                      <a:pt x="1643702" y="4652568"/>
                      <a:pt x="1658987" y="4637281"/>
                      <a:pt x="1658742" y="4619034"/>
                    </a:cubicBezTo>
                    <a:close/>
                    <a:moveTo>
                      <a:pt x="1659236" y="4249170"/>
                    </a:moveTo>
                    <a:cubicBezTo>
                      <a:pt x="1659236" y="4237089"/>
                      <a:pt x="1649619" y="4227471"/>
                      <a:pt x="1637784" y="4227471"/>
                    </a:cubicBezTo>
                    <a:cubicBezTo>
                      <a:pt x="1625947" y="4227471"/>
                      <a:pt x="1616331" y="4237334"/>
                      <a:pt x="1616331" y="4249170"/>
                    </a:cubicBezTo>
                    <a:cubicBezTo>
                      <a:pt x="1616331" y="4261005"/>
                      <a:pt x="1625947" y="4270623"/>
                      <a:pt x="1637784" y="4270623"/>
                    </a:cubicBezTo>
                    <a:cubicBezTo>
                      <a:pt x="1649619" y="4270623"/>
                      <a:pt x="1659236" y="4260759"/>
                      <a:pt x="1659236" y="4249170"/>
                    </a:cubicBezTo>
                    <a:close/>
                    <a:moveTo>
                      <a:pt x="1659977" y="4968430"/>
                    </a:moveTo>
                    <a:cubicBezTo>
                      <a:pt x="1659977" y="4943033"/>
                      <a:pt x="1639264" y="4922320"/>
                      <a:pt x="1613866" y="4922320"/>
                    </a:cubicBezTo>
                    <a:cubicBezTo>
                      <a:pt x="1588468" y="4922320"/>
                      <a:pt x="1567756" y="4943033"/>
                      <a:pt x="1567756" y="4968430"/>
                    </a:cubicBezTo>
                    <a:cubicBezTo>
                      <a:pt x="1567756" y="4994074"/>
                      <a:pt x="1588468" y="5014787"/>
                      <a:pt x="1613866" y="5014787"/>
                    </a:cubicBezTo>
                    <a:cubicBezTo>
                      <a:pt x="1639511" y="5014787"/>
                      <a:pt x="1660223" y="4994074"/>
                      <a:pt x="1659977" y="4968430"/>
                    </a:cubicBezTo>
                    <a:close/>
                    <a:moveTo>
                      <a:pt x="1660223" y="4118483"/>
                    </a:moveTo>
                    <a:cubicBezTo>
                      <a:pt x="1660223" y="4110593"/>
                      <a:pt x="1654056" y="4104183"/>
                      <a:pt x="1646168" y="4104183"/>
                    </a:cubicBezTo>
                    <a:cubicBezTo>
                      <a:pt x="1638275" y="4104183"/>
                      <a:pt x="1631866" y="4110593"/>
                      <a:pt x="1631866" y="4118483"/>
                    </a:cubicBezTo>
                    <a:cubicBezTo>
                      <a:pt x="1631866" y="4126374"/>
                      <a:pt x="1638275" y="4132786"/>
                      <a:pt x="1646168" y="4132786"/>
                    </a:cubicBezTo>
                    <a:cubicBezTo>
                      <a:pt x="1654056" y="4132786"/>
                      <a:pt x="1660223" y="4126374"/>
                      <a:pt x="1660223" y="4118483"/>
                    </a:cubicBezTo>
                    <a:close/>
                    <a:moveTo>
                      <a:pt x="1661455" y="3201231"/>
                    </a:moveTo>
                    <a:cubicBezTo>
                      <a:pt x="1661455" y="3183232"/>
                      <a:pt x="1646906" y="3168683"/>
                      <a:pt x="1628907" y="3168683"/>
                    </a:cubicBezTo>
                    <a:cubicBezTo>
                      <a:pt x="1610908" y="3168683"/>
                      <a:pt x="1596359" y="3183232"/>
                      <a:pt x="1596359" y="3201231"/>
                    </a:cubicBezTo>
                    <a:cubicBezTo>
                      <a:pt x="1596359" y="3219231"/>
                      <a:pt x="1610908" y="3233780"/>
                      <a:pt x="1628907" y="3233780"/>
                    </a:cubicBezTo>
                    <a:cubicBezTo>
                      <a:pt x="1646906" y="3233780"/>
                      <a:pt x="1661455" y="3218985"/>
                      <a:pt x="1661455" y="3201231"/>
                    </a:cubicBezTo>
                    <a:close/>
                    <a:moveTo>
                      <a:pt x="1661455" y="4375417"/>
                    </a:moveTo>
                    <a:cubicBezTo>
                      <a:pt x="1661455" y="4359387"/>
                      <a:pt x="1648387" y="4346320"/>
                      <a:pt x="1632357" y="4346320"/>
                    </a:cubicBezTo>
                    <a:cubicBezTo>
                      <a:pt x="1616331" y="4346320"/>
                      <a:pt x="1603263" y="4359387"/>
                      <a:pt x="1603263" y="4375417"/>
                    </a:cubicBezTo>
                    <a:cubicBezTo>
                      <a:pt x="1603263" y="4391443"/>
                      <a:pt x="1616331" y="4404511"/>
                      <a:pt x="1632357" y="4404511"/>
                    </a:cubicBezTo>
                    <a:cubicBezTo>
                      <a:pt x="1648387" y="4404511"/>
                      <a:pt x="1661455" y="4391443"/>
                      <a:pt x="1661455" y="4375417"/>
                    </a:cubicBezTo>
                    <a:close/>
                    <a:moveTo>
                      <a:pt x="1671566" y="3754046"/>
                    </a:moveTo>
                    <a:cubicBezTo>
                      <a:pt x="1671566" y="3730621"/>
                      <a:pt x="1652578" y="3711389"/>
                      <a:pt x="1628906" y="3711389"/>
                    </a:cubicBezTo>
                    <a:cubicBezTo>
                      <a:pt x="1605481" y="3711389"/>
                      <a:pt x="1586250" y="3730374"/>
                      <a:pt x="1586250" y="3754046"/>
                    </a:cubicBezTo>
                    <a:cubicBezTo>
                      <a:pt x="1586250" y="3777717"/>
                      <a:pt x="1605236" y="3796952"/>
                      <a:pt x="1628906" y="3796952"/>
                    </a:cubicBezTo>
                    <a:cubicBezTo>
                      <a:pt x="1652332" y="3796952"/>
                      <a:pt x="1671566" y="3777717"/>
                      <a:pt x="1671566" y="3754046"/>
                    </a:cubicBezTo>
                    <a:close/>
                    <a:moveTo>
                      <a:pt x="1683153" y="3477635"/>
                    </a:moveTo>
                    <a:cubicBezTo>
                      <a:pt x="1683153" y="3471642"/>
                      <a:pt x="1678297" y="3466785"/>
                      <a:pt x="1672305" y="3466785"/>
                    </a:cubicBezTo>
                    <a:cubicBezTo>
                      <a:pt x="1666311" y="3466785"/>
                      <a:pt x="1661455" y="3471642"/>
                      <a:pt x="1661455" y="3477635"/>
                    </a:cubicBezTo>
                    <a:cubicBezTo>
                      <a:pt x="1661455" y="3483628"/>
                      <a:pt x="1666311" y="3488485"/>
                      <a:pt x="1672305" y="3488485"/>
                    </a:cubicBezTo>
                    <a:cubicBezTo>
                      <a:pt x="1678297" y="3488485"/>
                      <a:pt x="1683153" y="3483628"/>
                      <a:pt x="1683153" y="3477635"/>
                    </a:cubicBezTo>
                    <a:close/>
                    <a:moveTo>
                      <a:pt x="1685372" y="3363719"/>
                    </a:moveTo>
                    <a:cubicBezTo>
                      <a:pt x="1685372" y="3363473"/>
                      <a:pt x="1685126" y="3363227"/>
                      <a:pt x="1684880" y="3363227"/>
                    </a:cubicBezTo>
                    <a:cubicBezTo>
                      <a:pt x="1684631" y="3363227"/>
                      <a:pt x="1684386" y="3363473"/>
                      <a:pt x="1684386" y="3363719"/>
                    </a:cubicBezTo>
                    <a:cubicBezTo>
                      <a:pt x="1684386" y="3363967"/>
                      <a:pt x="1684631" y="3364213"/>
                      <a:pt x="1684880" y="3364213"/>
                    </a:cubicBezTo>
                    <a:cubicBezTo>
                      <a:pt x="1685372" y="3364213"/>
                      <a:pt x="1685618" y="3363967"/>
                      <a:pt x="1685372" y="3363719"/>
                    </a:cubicBezTo>
                    <a:close/>
                    <a:moveTo>
                      <a:pt x="1686115" y="1070005"/>
                    </a:moveTo>
                    <a:cubicBezTo>
                      <a:pt x="1686115" y="1056181"/>
                      <a:pt x="1675018" y="1045100"/>
                      <a:pt x="1661209" y="1045100"/>
                    </a:cubicBezTo>
                    <a:cubicBezTo>
                      <a:pt x="1647401" y="1045100"/>
                      <a:pt x="1636306" y="1056181"/>
                      <a:pt x="1636306" y="1070005"/>
                    </a:cubicBezTo>
                    <a:cubicBezTo>
                      <a:pt x="1636306" y="1083812"/>
                      <a:pt x="1647401" y="1094910"/>
                      <a:pt x="1661209" y="1094910"/>
                    </a:cubicBezTo>
                    <a:cubicBezTo>
                      <a:pt x="1675018" y="1094910"/>
                      <a:pt x="1686115" y="1083567"/>
                      <a:pt x="1686115" y="1070005"/>
                    </a:cubicBezTo>
                    <a:close/>
                    <a:moveTo>
                      <a:pt x="1688331" y="848120"/>
                    </a:moveTo>
                    <a:cubicBezTo>
                      <a:pt x="1688331" y="833822"/>
                      <a:pt x="1676743" y="822230"/>
                      <a:pt x="1662441" y="822230"/>
                    </a:cubicBezTo>
                    <a:cubicBezTo>
                      <a:pt x="1648141" y="822230"/>
                      <a:pt x="1636552" y="833822"/>
                      <a:pt x="1636552" y="848120"/>
                    </a:cubicBezTo>
                    <a:cubicBezTo>
                      <a:pt x="1636552" y="862421"/>
                      <a:pt x="1648141" y="874003"/>
                      <a:pt x="1662441" y="874003"/>
                    </a:cubicBezTo>
                    <a:cubicBezTo>
                      <a:pt x="1676743" y="874003"/>
                      <a:pt x="1688331" y="862421"/>
                      <a:pt x="1688331" y="848120"/>
                    </a:cubicBezTo>
                    <a:close/>
                    <a:moveTo>
                      <a:pt x="1688579" y="959064"/>
                    </a:moveTo>
                    <a:cubicBezTo>
                      <a:pt x="1688579" y="944018"/>
                      <a:pt x="1676498" y="931933"/>
                      <a:pt x="1661457" y="931933"/>
                    </a:cubicBezTo>
                    <a:cubicBezTo>
                      <a:pt x="1646414" y="931933"/>
                      <a:pt x="1634333" y="944018"/>
                      <a:pt x="1634333" y="959064"/>
                    </a:cubicBezTo>
                    <a:cubicBezTo>
                      <a:pt x="1634333" y="974101"/>
                      <a:pt x="1646414" y="986184"/>
                      <a:pt x="1661457" y="986184"/>
                    </a:cubicBezTo>
                    <a:cubicBezTo>
                      <a:pt x="1676498" y="986184"/>
                      <a:pt x="1688824" y="973855"/>
                      <a:pt x="1688579" y="959064"/>
                    </a:cubicBezTo>
                    <a:close/>
                    <a:moveTo>
                      <a:pt x="1689320" y="1292624"/>
                    </a:moveTo>
                    <a:cubicBezTo>
                      <a:pt x="1689320" y="1276848"/>
                      <a:pt x="1676498" y="1263773"/>
                      <a:pt x="1660469" y="1263773"/>
                    </a:cubicBezTo>
                    <a:cubicBezTo>
                      <a:pt x="1644688" y="1263773"/>
                      <a:pt x="1631621" y="1276600"/>
                      <a:pt x="1631621" y="1292624"/>
                    </a:cubicBezTo>
                    <a:cubicBezTo>
                      <a:pt x="1631621" y="1308408"/>
                      <a:pt x="1644443" y="1321475"/>
                      <a:pt x="1660469" y="1321475"/>
                    </a:cubicBezTo>
                    <a:cubicBezTo>
                      <a:pt x="1676498" y="1321475"/>
                      <a:pt x="1689320" y="1308408"/>
                      <a:pt x="1689320" y="1292624"/>
                    </a:cubicBezTo>
                    <a:close/>
                    <a:moveTo>
                      <a:pt x="1689809" y="1180946"/>
                    </a:moveTo>
                    <a:cubicBezTo>
                      <a:pt x="1689809" y="1164920"/>
                      <a:pt x="1676989" y="1152099"/>
                      <a:pt x="1660960" y="1152099"/>
                    </a:cubicBezTo>
                    <a:cubicBezTo>
                      <a:pt x="1644934" y="1152099"/>
                      <a:pt x="1632112" y="1164920"/>
                      <a:pt x="1632112" y="1180946"/>
                    </a:cubicBezTo>
                    <a:cubicBezTo>
                      <a:pt x="1632112" y="1196976"/>
                      <a:pt x="1644934" y="1209797"/>
                      <a:pt x="1660960" y="1209797"/>
                    </a:cubicBezTo>
                    <a:cubicBezTo>
                      <a:pt x="1676989" y="1209797"/>
                      <a:pt x="1689809" y="1196976"/>
                      <a:pt x="1689809" y="1180946"/>
                    </a:cubicBezTo>
                    <a:close/>
                    <a:moveTo>
                      <a:pt x="1691291" y="517237"/>
                    </a:moveTo>
                    <a:cubicBezTo>
                      <a:pt x="1691291" y="501703"/>
                      <a:pt x="1678469" y="488881"/>
                      <a:pt x="1662937" y="488881"/>
                    </a:cubicBezTo>
                    <a:cubicBezTo>
                      <a:pt x="1647401" y="488881"/>
                      <a:pt x="1634579" y="501703"/>
                      <a:pt x="1634579" y="517237"/>
                    </a:cubicBezTo>
                    <a:cubicBezTo>
                      <a:pt x="1634579" y="532769"/>
                      <a:pt x="1647401" y="545590"/>
                      <a:pt x="1662937" y="545590"/>
                    </a:cubicBezTo>
                    <a:cubicBezTo>
                      <a:pt x="1678469" y="545590"/>
                      <a:pt x="1691291" y="532769"/>
                      <a:pt x="1691291" y="517237"/>
                    </a:cubicBezTo>
                    <a:close/>
                    <a:moveTo>
                      <a:pt x="1691292" y="627187"/>
                    </a:moveTo>
                    <a:cubicBezTo>
                      <a:pt x="1691292" y="611407"/>
                      <a:pt x="1678470" y="598586"/>
                      <a:pt x="1662690" y="598586"/>
                    </a:cubicBezTo>
                    <a:cubicBezTo>
                      <a:pt x="1646909" y="598586"/>
                      <a:pt x="1634087" y="611407"/>
                      <a:pt x="1634087" y="627187"/>
                    </a:cubicBezTo>
                    <a:cubicBezTo>
                      <a:pt x="1634087" y="642998"/>
                      <a:pt x="1646909" y="655830"/>
                      <a:pt x="1662690" y="655830"/>
                    </a:cubicBezTo>
                    <a:cubicBezTo>
                      <a:pt x="1678470" y="655830"/>
                      <a:pt x="1691292" y="642998"/>
                      <a:pt x="1691292" y="627187"/>
                    </a:cubicBezTo>
                    <a:close/>
                    <a:moveTo>
                      <a:pt x="1691784" y="737670"/>
                    </a:moveTo>
                    <a:cubicBezTo>
                      <a:pt x="1691784" y="721643"/>
                      <a:pt x="1678717" y="708573"/>
                      <a:pt x="1662690" y="708573"/>
                    </a:cubicBezTo>
                    <a:cubicBezTo>
                      <a:pt x="1646660" y="708573"/>
                      <a:pt x="1633593" y="721643"/>
                      <a:pt x="1633593" y="737670"/>
                    </a:cubicBezTo>
                    <a:cubicBezTo>
                      <a:pt x="1633593" y="753700"/>
                      <a:pt x="1646660" y="766769"/>
                      <a:pt x="1662690" y="766769"/>
                    </a:cubicBezTo>
                    <a:cubicBezTo>
                      <a:pt x="1678717" y="766769"/>
                      <a:pt x="1691784" y="753700"/>
                      <a:pt x="1691784" y="737670"/>
                    </a:cubicBezTo>
                    <a:close/>
                    <a:moveTo>
                      <a:pt x="1703372" y="3982127"/>
                    </a:moveTo>
                    <a:cubicBezTo>
                      <a:pt x="1703372" y="3957470"/>
                      <a:pt x="1683400" y="3937498"/>
                      <a:pt x="1658743" y="3937498"/>
                    </a:cubicBezTo>
                    <a:cubicBezTo>
                      <a:pt x="1634085" y="3937498"/>
                      <a:pt x="1614113" y="3957470"/>
                      <a:pt x="1614113" y="3982127"/>
                    </a:cubicBezTo>
                    <a:cubicBezTo>
                      <a:pt x="1614113" y="4006785"/>
                      <a:pt x="1634085" y="4026760"/>
                      <a:pt x="1658743" y="4026760"/>
                    </a:cubicBezTo>
                    <a:cubicBezTo>
                      <a:pt x="1683400" y="4026760"/>
                      <a:pt x="1703372" y="4006785"/>
                      <a:pt x="1703372" y="3982127"/>
                    </a:cubicBezTo>
                    <a:close/>
                    <a:moveTo>
                      <a:pt x="1712004" y="2932467"/>
                    </a:moveTo>
                    <a:cubicBezTo>
                      <a:pt x="1712004" y="2926300"/>
                      <a:pt x="1706827" y="2921123"/>
                      <a:pt x="1700661" y="2921123"/>
                    </a:cubicBezTo>
                    <a:cubicBezTo>
                      <a:pt x="1694497" y="2921123"/>
                      <a:pt x="1689320" y="2926300"/>
                      <a:pt x="1689320" y="2932467"/>
                    </a:cubicBezTo>
                    <a:cubicBezTo>
                      <a:pt x="1689320" y="2938631"/>
                      <a:pt x="1694497" y="2943807"/>
                      <a:pt x="1700661" y="2943807"/>
                    </a:cubicBezTo>
                    <a:cubicBezTo>
                      <a:pt x="1707073" y="2943807"/>
                      <a:pt x="1712004" y="2938876"/>
                      <a:pt x="1712004" y="2932467"/>
                    </a:cubicBezTo>
                    <a:close/>
                    <a:moveTo>
                      <a:pt x="1712989" y="2673572"/>
                    </a:moveTo>
                    <a:cubicBezTo>
                      <a:pt x="1712989" y="2659023"/>
                      <a:pt x="1701155" y="2647187"/>
                      <a:pt x="1686607" y="2647187"/>
                    </a:cubicBezTo>
                    <a:cubicBezTo>
                      <a:pt x="1672058" y="2647187"/>
                      <a:pt x="1660223" y="2659023"/>
                      <a:pt x="1660223" y="2673572"/>
                    </a:cubicBezTo>
                    <a:cubicBezTo>
                      <a:pt x="1660223" y="2688121"/>
                      <a:pt x="1672058" y="2699954"/>
                      <a:pt x="1686607" y="2699954"/>
                    </a:cubicBezTo>
                    <a:cubicBezTo>
                      <a:pt x="1700907" y="2699954"/>
                      <a:pt x="1712742" y="2688367"/>
                      <a:pt x="1712989" y="2673572"/>
                    </a:cubicBezTo>
                    <a:close/>
                    <a:moveTo>
                      <a:pt x="1713483" y="2800309"/>
                    </a:moveTo>
                    <a:cubicBezTo>
                      <a:pt x="1713483" y="2788473"/>
                      <a:pt x="1703865" y="2779102"/>
                      <a:pt x="1692279" y="2779102"/>
                    </a:cubicBezTo>
                    <a:cubicBezTo>
                      <a:pt x="1680443" y="2779102"/>
                      <a:pt x="1671072" y="2788719"/>
                      <a:pt x="1671072" y="2800309"/>
                    </a:cubicBezTo>
                    <a:cubicBezTo>
                      <a:pt x="1671072" y="2812142"/>
                      <a:pt x="1680689" y="2821513"/>
                      <a:pt x="1692279" y="2821513"/>
                    </a:cubicBezTo>
                    <a:cubicBezTo>
                      <a:pt x="1703865" y="2821513"/>
                      <a:pt x="1713236" y="2812142"/>
                      <a:pt x="1713483" y="2800309"/>
                    </a:cubicBezTo>
                    <a:close/>
                    <a:moveTo>
                      <a:pt x="1713730" y="2312109"/>
                    </a:moveTo>
                    <a:cubicBezTo>
                      <a:pt x="1713730" y="2291892"/>
                      <a:pt x="1697211" y="2275368"/>
                      <a:pt x="1676990" y="2275368"/>
                    </a:cubicBezTo>
                    <a:cubicBezTo>
                      <a:pt x="1656772" y="2275368"/>
                      <a:pt x="1640252" y="2291892"/>
                      <a:pt x="1640252" y="2312109"/>
                    </a:cubicBezTo>
                    <a:cubicBezTo>
                      <a:pt x="1640252" y="2332575"/>
                      <a:pt x="1656772" y="2349101"/>
                      <a:pt x="1676990" y="2349101"/>
                    </a:cubicBezTo>
                    <a:cubicBezTo>
                      <a:pt x="1697211" y="2349101"/>
                      <a:pt x="1713730" y="2332575"/>
                      <a:pt x="1713730" y="2312109"/>
                    </a:cubicBezTo>
                    <a:close/>
                    <a:moveTo>
                      <a:pt x="1713975" y="2195488"/>
                    </a:moveTo>
                    <a:cubicBezTo>
                      <a:pt x="1713975" y="2174036"/>
                      <a:pt x="1696716" y="2156775"/>
                      <a:pt x="1675263" y="2156775"/>
                    </a:cubicBezTo>
                    <a:cubicBezTo>
                      <a:pt x="1653810" y="2156775"/>
                      <a:pt x="1636552" y="2174036"/>
                      <a:pt x="1636552" y="2195488"/>
                    </a:cubicBezTo>
                    <a:cubicBezTo>
                      <a:pt x="1636552" y="2216944"/>
                      <a:pt x="1653810" y="2234198"/>
                      <a:pt x="1675263" y="2234198"/>
                    </a:cubicBezTo>
                    <a:cubicBezTo>
                      <a:pt x="1696470" y="2234198"/>
                      <a:pt x="1713975" y="2216944"/>
                      <a:pt x="1713975" y="2195488"/>
                    </a:cubicBezTo>
                    <a:close/>
                    <a:moveTo>
                      <a:pt x="1714223" y="2550783"/>
                    </a:moveTo>
                    <a:cubicBezTo>
                      <a:pt x="1714223" y="2533030"/>
                      <a:pt x="1699923" y="2518727"/>
                      <a:pt x="1682170" y="2518727"/>
                    </a:cubicBezTo>
                    <a:cubicBezTo>
                      <a:pt x="1664416" y="2518727"/>
                      <a:pt x="1650114" y="2533030"/>
                      <a:pt x="1650114" y="2550783"/>
                    </a:cubicBezTo>
                    <a:cubicBezTo>
                      <a:pt x="1650114" y="2568534"/>
                      <a:pt x="1664416" y="2582837"/>
                      <a:pt x="1682170" y="2582837"/>
                    </a:cubicBezTo>
                    <a:cubicBezTo>
                      <a:pt x="1699923" y="2582837"/>
                      <a:pt x="1714223" y="2568534"/>
                      <a:pt x="1714223" y="2550783"/>
                    </a:cubicBezTo>
                    <a:close/>
                    <a:moveTo>
                      <a:pt x="1717677" y="3591551"/>
                    </a:moveTo>
                    <a:cubicBezTo>
                      <a:pt x="1717677" y="3573552"/>
                      <a:pt x="1702880" y="3558757"/>
                      <a:pt x="1684881" y="3558757"/>
                    </a:cubicBezTo>
                    <a:cubicBezTo>
                      <a:pt x="1666881" y="3558757"/>
                      <a:pt x="1652087" y="3573552"/>
                      <a:pt x="1652087" y="3591551"/>
                    </a:cubicBezTo>
                    <a:cubicBezTo>
                      <a:pt x="1652087" y="3609551"/>
                      <a:pt x="1666881" y="3624349"/>
                      <a:pt x="1684881" y="3624349"/>
                    </a:cubicBezTo>
                    <a:cubicBezTo>
                      <a:pt x="1703128" y="3624349"/>
                      <a:pt x="1717677" y="3609551"/>
                      <a:pt x="1717677" y="3591551"/>
                    </a:cubicBezTo>
                    <a:close/>
                    <a:moveTo>
                      <a:pt x="1718906" y="3104079"/>
                    </a:moveTo>
                    <a:cubicBezTo>
                      <a:pt x="1718906" y="3087807"/>
                      <a:pt x="1705592" y="3074490"/>
                      <a:pt x="1689317" y="3074490"/>
                    </a:cubicBezTo>
                    <a:cubicBezTo>
                      <a:pt x="1673045" y="3074490"/>
                      <a:pt x="1659728" y="3087807"/>
                      <a:pt x="1659728" y="3104079"/>
                    </a:cubicBezTo>
                    <a:cubicBezTo>
                      <a:pt x="1659728" y="3120355"/>
                      <a:pt x="1673045" y="3133668"/>
                      <a:pt x="1689317" y="3133668"/>
                    </a:cubicBezTo>
                    <a:cubicBezTo>
                      <a:pt x="1705592" y="3133668"/>
                      <a:pt x="1718906" y="3120355"/>
                      <a:pt x="1718906" y="3104079"/>
                    </a:cubicBezTo>
                    <a:close/>
                    <a:moveTo>
                      <a:pt x="1722359" y="7322985"/>
                    </a:moveTo>
                    <a:cubicBezTo>
                      <a:pt x="1722359" y="7321257"/>
                      <a:pt x="1721127" y="7320025"/>
                      <a:pt x="1719401" y="7320025"/>
                    </a:cubicBezTo>
                    <a:cubicBezTo>
                      <a:pt x="1717674" y="7320025"/>
                      <a:pt x="1716442" y="7321257"/>
                      <a:pt x="1716442" y="7322985"/>
                    </a:cubicBezTo>
                    <a:cubicBezTo>
                      <a:pt x="1716442" y="7324711"/>
                      <a:pt x="1717674" y="7325944"/>
                      <a:pt x="1719401" y="7325944"/>
                    </a:cubicBezTo>
                    <a:cubicBezTo>
                      <a:pt x="1721127" y="7325944"/>
                      <a:pt x="1722359" y="7324711"/>
                      <a:pt x="1722359" y="7322985"/>
                    </a:cubicBezTo>
                    <a:close/>
                    <a:moveTo>
                      <a:pt x="1722359" y="7432218"/>
                    </a:moveTo>
                    <a:cubicBezTo>
                      <a:pt x="1722359" y="7430737"/>
                      <a:pt x="1721125" y="7429505"/>
                      <a:pt x="1719647" y="7429505"/>
                    </a:cubicBezTo>
                    <a:cubicBezTo>
                      <a:pt x="1717921" y="7429505"/>
                      <a:pt x="1716688" y="7430737"/>
                      <a:pt x="1716688" y="7432218"/>
                    </a:cubicBezTo>
                    <a:cubicBezTo>
                      <a:pt x="1716688" y="7433941"/>
                      <a:pt x="1718166" y="7435177"/>
                      <a:pt x="1719647" y="7435177"/>
                    </a:cubicBezTo>
                    <a:cubicBezTo>
                      <a:pt x="1721125" y="7435177"/>
                      <a:pt x="1722359" y="7433941"/>
                      <a:pt x="1722359" y="7432218"/>
                    </a:cubicBezTo>
                    <a:close/>
                    <a:moveTo>
                      <a:pt x="1722608" y="7541697"/>
                    </a:moveTo>
                    <a:cubicBezTo>
                      <a:pt x="1722608" y="7540216"/>
                      <a:pt x="1721374" y="7538984"/>
                      <a:pt x="1719896" y="7538984"/>
                    </a:cubicBezTo>
                    <a:cubicBezTo>
                      <a:pt x="1718415" y="7538984"/>
                      <a:pt x="1717183" y="7540216"/>
                      <a:pt x="1717183" y="7541697"/>
                    </a:cubicBezTo>
                    <a:cubicBezTo>
                      <a:pt x="1717183" y="7543175"/>
                      <a:pt x="1718415" y="7544411"/>
                      <a:pt x="1719896" y="7544411"/>
                    </a:cubicBezTo>
                    <a:cubicBezTo>
                      <a:pt x="1721374" y="7544411"/>
                      <a:pt x="1722608" y="7542930"/>
                      <a:pt x="1722608" y="7541697"/>
                    </a:cubicBezTo>
                    <a:close/>
                    <a:moveTo>
                      <a:pt x="1722854" y="5676350"/>
                    </a:moveTo>
                    <a:cubicBezTo>
                      <a:pt x="1722854" y="5675118"/>
                      <a:pt x="1721865" y="5674131"/>
                      <a:pt x="1720633" y="5674131"/>
                    </a:cubicBezTo>
                    <a:cubicBezTo>
                      <a:pt x="1719401" y="5674131"/>
                      <a:pt x="1718415" y="5675118"/>
                      <a:pt x="1718415" y="5676350"/>
                    </a:cubicBezTo>
                    <a:cubicBezTo>
                      <a:pt x="1718415" y="5677583"/>
                      <a:pt x="1719401" y="5678568"/>
                      <a:pt x="1720633" y="5678568"/>
                    </a:cubicBezTo>
                    <a:cubicBezTo>
                      <a:pt x="1722114" y="5678568"/>
                      <a:pt x="1723099" y="5677583"/>
                      <a:pt x="1722854" y="5676350"/>
                    </a:cubicBezTo>
                    <a:close/>
                    <a:moveTo>
                      <a:pt x="1723098" y="6557364"/>
                    </a:moveTo>
                    <a:cubicBezTo>
                      <a:pt x="1723098" y="6555637"/>
                      <a:pt x="1721866" y="6554159"/>
                      <a:pt x="1719893" y="6554159"/>
                    </a:cubicBezTo>
                    <a:cubicBezTo>
                      <a:pt x="1718166" y="6554159"/>
                      <a:pt x="1716688" y="6555637"/>
                      <a:pt x="1716688" y="6557364"/>
                    </a:cubicBezTo>
                    <a:cubicBezTo>
                      <a:pt x="1716688" y="6559091"/>
                      <a:pt x="1718166" y="6560569"/>
                      <a:pt x="1719893" y="6560569"/>
                    </a:cubicBezTo>
                    <a:cubicBezTo>
                      <a:pt x="1721620" y="6560569"/>
                      <a:pt x="1723098" y="6559091"/>
                      <a:pt x="1723098" y="6557364"/>
                    </a:cubicBezTo>
                    <a:close/>
                    <a:moveTo>
                      <a:pt x="1723346" y="5897528"/>
                    </a:moveTo>
                    <a:cubicBezTo>
                      <a:pt x="1723346" y="5896541"/>
                      <a:pt x="1722360" y="5895554"/>
                      <a:pt x="1721374" y="5895554"/>
                    </a:cubicBezTo>
                    <a:cubicBezTo>
                      <a:pt x="1720387" y="5895554"/>
                      <a:pt x="1719402" y="5896541"/>
                      <a:pt x="1719402" y="5897528"/>
                    </a:cubicBezTo>
                    <a:cubicBezTo>
                      <a:pt x="1719402" y="5898513"/>
                      <a:pt x="1720387" y="5899500"/>
                      <a:pt x="1721374" y="5899500"/>
                    </a:cubicBezTo>
                    <a:cubicBezTo>
                      <a:pt x="1722360" y="5899500"/>
                      <a:pt x="1723346" y="5898760"/>
                      <a:pt x="1723346" y="5897528"/>
                    </a:cubicBezTo>
                    <a:close/>
                    <a:moveTo>
                      <a:pt x="1723838" y="6995283"/>
                    </a:moveTo>
                    <a:cubicBezTo>
                      <a:pt x="1723838" y="6993556"/>
                      <a:pt x="1722606" y="6992324"/>
                      <a:pt x="1720880" y="6992324"/>
                    </a:cubicBezTo>
                    <a:cubicBezTo>
                      <a:pt x="1719153" y="6992324"/>
                      <a:pt x="1717921" y="6993556"/>
                      <a:pt x="1717921" y="6995283"/>
                    </a:cubicBezTo>
                    <a:cubicBezTo>
                      <a:pt x="1717921" y="6997010"/>
                      <a:pt x="1719153" y="6998243"/>
                      <a:pt x="1720880" y="6998243"/>
                    </a:cubicBezTo>
                    <a:cubicBezTo>
                      <a:pt x="1722606" y="6998243"/>
                      <a:pt x="1723838" y="6997010"/>
                      <a:pt x="1723838" y="6995283"/>
                    </a:cubicBezTo>
                    <a:close/>
                    <a:moveTo>
                      <a:pt x="1724084" y="6228185"/>
                    </a:moveTo>
                    <a:cubicBezTo>
                      <a:pt x="1724084" y="6226953"/>
                      <a:pt x="1723097" y="6225966"/>
                      <a:pt x="1721865" y="6225966"/>
                    </a:cubicBezTo>
                    <a:cubicBezTo>
                      <a:pt x="1720633" y="6225966"/>
                      <a:pt x="1719647" y="6226953"/>
                      <a:pt x="1719647" y="6228185"/>
                    </a:cubicBezTo>
                    <a:cubicBezTo>
                      <a:pt x="1719647" y="6229417"/>
                      <a:pt x="1720633" y="6230403"/>
                      <a:pt x="1721865" y="6230403"/>
                    </a:cubicBezTo>
                    <a:cubicBezTo>
                      <a:pt x="1723346" y="6230403"/>
                      <a:pt x="1724332" y="6229417"/>
                      <a:pt x="1724084" y="6228185"/>
                    </a:cubicBezTo>
                    <a:close/>
                    <a:moveTo>
                      <a:pt x="1724086" y="6007997"/>
                    </a:moveTo>
                    <a:cubicBezTo>
                      <a:pt x="1724086" y="6006516"/>
                      <a:pt x="1722854" y="6005529"/>
                      <a:pt x="1721622" y="6005529"/>
                    </a:cubicBezTo>
                    <a:cubicBezTo>
                      <a:pt x="1720141" y="6005529"/>
                      <a:pt x="1719155" y="6006762"/>
                      <a:pt x="1719155" y="6007997"/>
                    </a:cubicBezTo>
                    <a:cubicBezTo>
                      <a:pt x="1719155" y="6009475"/>
                      <a:pt x="1720141" y="6010461"/>
                      <a:pt x="1721622" y="6010461"/>
                    </a:cubicBezTo>
                    <a:cubicBezTo>
                      <a:pt x="1722854" y="6010461"/>
                      <a:pt x="1723840" y="6009229"/>
                      <a:pt x="1724086" y="6007997"/>
                    </a:cubicBezTo>
                    <a:close/>
                    <a:moveTo>
                      <a:pt x="1724086" y="7214244"/>
                    </a:moveTo>
                    <a:cubicBezTo>
                      <a:pt x="1724086" y="7212763"/>
                      <a:pt x="1722852" y="7211530"/>
                      <a:pt x="1721374" y="7211530"/>
                    </a:cubicBezTo>
                    <a:cubicBezTo>
                      <a:pt x="1719893" y="7211530"/>
                      <a:pt x="1718661" y="7212763"/>
                      <a:pt x="1718661" y="7214244"/>
                    </a:cubicBezTo>
                    <a:cubicBezTo>
                      <a:pt x="1718661" y="7215721"/>
                      <a:pt x="1719893" y="7216957"/>
                      <a:pt x="1721374" y="7216957"/>
                    </a:cubicBezTo>
                    <a:cubicBezTo>
                      <a:pt x="1722852" y="7216957"/>
                      <a:pt x="1724086" y="7215721"/>
                      <a:pt x="1724086" y="7214244"/>
                    </a:cubicBezTo>
                    <a:close/>
                    <a:moveTo>
                      <a:pt x="1724333" y="7104762"/>
                    </a:moveTo>
                    <a:cubicBezTo>
                      <a:pt x="1724333" y="7103036"/>
                      <a:pt x="1722852" y="7101557"/>
                      <a:pt x="1721125" y="7101557"/>
                    </a:cubicBezTo>
                    <a:cubicBezTo>
                      <a:pt x="1719402" y="7101557"/>
                      <a:pt x="1717921" y="7103036"/>
                      <a:pt x="1717921" y="7104762"/>
                    </a:cubicBezTo>
                    <a:cubicBezTo>
                      <a:pt x="1717921" y="7106489"/>
                      <a:pt x="1719402" y="7107970"/>
                      <a:pt x="1721125" y="7107970"/>
                    </a:cubicBezTo>
                    <a:cubicBezTo>
                      <a:pt x="1722852" y="7107970"/>
                      <a:pt x="1724333" y="7106735"/>
                      <a:pt x="1724333" y="7104762"/>
                    </a:cubicBezTo>
                    <a:close/>
                    <a:moveTo>
                      <a:pt x="1724335" y="6118213"/>
                    </a:moveTo>
                    <a:cubicBezTo>
                      <a:pt x="1724335" y="6116732"/>
                      <a:pt x="1723100" y="6115500"/>
                      <a:pt x="1721623" y="6115500"/>
                    </a:cubicBezTo>
                    <a:cubicBezTo>
                      <a:pt x="1720142" y="6115500"/>
                      <a:pt x="1718909" y="6116732"/>
                      <a:pt x="1718909" y="6118213"/>
                    </a:cubicBezTo>
                    <a:cubicBezTo>
                      <a:pt x="1718909" y="6119691"/>
                      <a:pt x="1720142" y="6120926"/>
                      <a:pt x="1721623" y="6120926"/>
                    </a:cubicBezTo>
                    <a:cubicBezTo>
                      <a:pt x="1723346" y="6120926"/>
                      <a:pt x="1724335" y="6119691"/>
                      <a:pt x="1724335" y="6118213"/>
                    </a:cubicBezTo>
                    <a:close/>
                    <a:moveTo>
                      <a:pt x="1724579" y="3255229"/>
                    </a:moveTo>
                    <a:cubicBezTo>
                      <a:pt x="1724579" y="3254242"/>
                      <a:pt x="1723841" y="3253501"/>
                      <a:pt x="1722855" y="3253501"/>
                    </a:cubicBezTo>
                    <a:cubicBezTo>
                      <a:pt x="1721868" y="3253501"/>
                      <a:pt x="1721128" y="3254242"/>
                      <a:pt x="1721128" y="3255229"/>
                    </a:cubicBezTo>
                    <a:cubicBezTo>
                      <a:pt x="1721128" y="3256215"/>
                      <a:pt x="1721868" y="3256952"/>
                      <a:pt x="1722855" y="3256952"/>
                    </a:cubicBezTo>
                    <a:cubicBezTo>
                      <a:pt x="1723841" y="3256952"/>
                      <a:pt x="1724579" y="3256215"/>
                      <a:pt x="1724579" y="3255229"/>
                    </a:cubicBezTo>
                    <a:close/>
                    <a:moveTo>
                      <a:pt x="1725318" y="5231527"/>
                    </a:moveTo>
                    <a:cubicBezTo>
                      <a:pt x="1725318" y="5231035"/>
                      <a:pt x="1724824" y="5230541"/>
                      <a:pt x="1724332" y="5230541"/>
                    </a:cubicBezTo>
                    <a:cubicBezTo>
                      <a:pt x="1723840" y="5230541"/>
                      <a:pt x="1723346" y="5231035"/>
                      <a:pt x="1723346" y="5231527"/>
                    </a:cubicBezTo>
                    <a:cubicBezTo>
                      <a:pt x="1723346" y="5232019"/>
                      <a:pt x="1723840" y="5232513"/>
                      <a:pt x="1724332" y="5232513"/>
                    </a:cubicBezTo>
                    <a:cubicBezTo>
                      <a:pt x="1724824" y="5232513"/>
                      <a:pt x="1725318" y="5232019"/>
                      <a:pt x="1725318" y="5231527"/>
                    </a:cubicBezTo>
                    <a:close/>
                    <a:moveTo>
                      <a:pt x="1725813" y="5787062"/>
                    </a:moveTo>
                    <a:cubicBezTo>
                      <a:pt x="1725813" y="5784349"/>
                      <a:pt x="1723840" y="5782130"/>
                      <a:pt x="1721127" y="5782130"/>
                    </a:cubicBezTo>
                    <a:cubicBezTo>
                      <a:pt x="1718660" y="5782130"/>
                      <a:pt x="1716442" y="5784349"/>
                      <a:pt x="1716442" y="5787062"/>
                    </a:cubicBezTo>
                    <a:cubicBezTo>
                      <a:pt x="1716442" y="5789527"/>
                      <a:pt x="1718414" y="5791748"/>
                      <a:pt x="1721127" y="5791748"/>
                    </a:cubicBezTo>
                    <a:cubicBezTo>
                      <a:pt x="1723592" y="5791748"/>
                      <a:pt x="1725813" y="5789774"/>
                      <a:pt x="1725813" y="5787062"/>
                    </a:cubicBezTo>
                    <a:close/>
                    <a:moveTo>
                      <a:pt x="1726305" y="6776569"/>
                    </a:moveTo>
                    <a:cubicBezTo>
                      <a:pt x="1726305" y="6773119"/>
                      <a:pt x="1723592" y="6770406"/>
                      <a:pt x="1720387" y="6770406"/>
                    </a:cubicBezTo>
                    <a:cubicBezTo>
                      <a:pt x="1717182" y="6770406"/>
                      <a:pt x="1714470" y="6773364"/>
                      <a:pt x="1714470" y="6776569"/>
                    </a:cubicBezTo>
                    <a:cubicBezTo>
                      <a:pt x="1714470" y="6779777"/>
                      <a:pt x="1716936" y="6782487"/>
                      <a:pt x="1720387" y="6782487"/>
                    </a:cubicBezTo>
                    <a:cubicBezTo>
                      <a:pt x="1723840" y="6782487"/>
                      <a:pt x="1726305" y="6780022"/>
                      <a:pt x="1726305" y="6776569"/>
                    </a:cubicBezTo>
                    <a:close/>
                    <a:moveTo>
                      <a:pt x="1726308" y="6666844"/>
                    </a:moveTo>
                    <a:cubicBezTo>
                      <a:pt x="1726308" y="6663392"/>
                      <a:pt x="1723595" y="6660679"/>
                      <a:pt x="1720142" y="6660679"/>
                    </a:cubicBezTo>
                    <a:cubicBezTo>
                      <a:pt x="1716691" y="6660679"/>
                      <a:pt x="1713978" y="6663392"/>
                      <a:pt x="1713978" y="6666844"/>
                    </a:cubicBezTo>
                    <a:cubicBezTo>
                      <a:pt x="1713978" y="6670297"/>
                      <a:pt x="1716691" y="6673010"/>
                      <a:pt x="1720142" y="6673010"/>
                    </a:cubicBezTo>
                    <a:cubicBezTo>
                      <a:pt x="1723595" y="6673010"/>
                      <a:pt x="1726308" y="6670297"/>
                      <a:pt x="1726308" y="6666844"/>
                    </a:cubicBezTo>
                    <a:close/>
                    <a:moveTo>
                      <a:pt x="1726799" y="2430459"/>
                    </a:moveTo>
                    <a:cubicBezTo>
                      <a:pt x="1726799" y="2404324"/>
                      <a:pt x="1705593" y="2382869"/>
                      <a:pt x="1679209" y="2382869"/>
                    </a:cubicBezTo>
                    <a:cubicBezTo>
                      <a:pt x="1653073" y="2382869"/>
                      <a:pt x="1631621" y="2404078"/>
                      <a:pt x="1631621" y="2430459"/>
                    </a:cubicBezTo>
                    <a:cubicBezTo>
                      <a:pt x="1631621" y="2456596"/>
                      <a:pt x="1652827" y="2478051"/>
                      <a:pt x="1679209" y="2478051"/>
                    </a:cubicBezTo>
                    <a:cubicBezTo>
                      <a:pt x="1705593" y="2478051"/>
                      <a:pt x="1726799" y="2456842"/>
                      <a:pt x="1726799" y="2430459"/>
                    </a:cubicBezTo>
                    <a:close/>
                    <a:moveTo>
                      <a:pt x="1727292" y="6886052"/>
                    </a:moveTo>
                    <a:cubicBezTo>
                      <a:pt x="1727292" y="6882352"/>
                      <a:pt x="1724333" y="6879393"/>
                      <a:pt x="1720636" y="6879393"/>
                    </a:cubicBezTo>
                    <a:cubicBezTo>
                      <a:pt x="1716937" y="6879393"/>
                      <a:pt x="1713978" y="6882352"/>
                      <a:pt x="1713978" y="6886052"/>
                    </a:cubicBezTo>
                    <a:cubicBezTo>
                      <a:pt x="1713978" y="6889748"/>
                      <a:pt x="1716937" y="6892706"/>
                      <a:pt x="1720636" y="6892706"/>
                    </a:cubicBezTo>
                    <a:cubicBezTo>
                      <a:pt x="1724333" y="6892706"/>
                      <a:pt x="1727540" y="6889748"/>
                      <a:pt x="1727292" y="6886052"/>
                    </a:cubicBezTo>
                    <a:close/>
                    <a:moveTo>
                      <a:pt x="1729756" y="6447887"/>
                    </a:moveTo>
                    <a:cubicBezTo>
                      <a:pt x="1729756" y="6443693"/>
                      <a:pt x="1726305" y="6440488"/>
                      <a:pt x="1722360" y="6440488"/>
                    </a:cubicBezTo>
                    <a:cubicBezTo>
                      <a:pt x="1718166" y="6440488"/>
                      <a:pt x="1714962" y="6443693"/>
                      <a:pt x="1714962" y="6447887"/>
                    </a:cubicBezTo>
                    <a:cubicBezTo>
                      <a:pt x="1714962" y="6452078"/>
                      <a:pt x="1718412" y="6455282"/>
                      <a:pt x="1722360" y="6455282"/>
                    </a:cubicBezTo>
                    <a:cubicBezTo>
                      <a:pt x="1726305" y="6455282"/>
                      <a:pt x="1729756" y="6452078"/>
                      <a:pt x="1729756" y="6447887"/>
                    </a:cubicBezTo>
                    <a:close/>
                    <a:moveTo>
                      <a:pt x="1730251" y="6338159"/>
                    </a:moveTo>
                    <a:cubicBezTo>
                      <a:pt x="1730251" y="6333723"/>
                      <a:pt x="1726555" y="6330023"/>
                      <a:pt x="1722115" y="6330023"/>
                    </a:cubicBezTo>
                    <a:cubicBezTo>
                      <a:pt x="1717677" y="6330023"/>
                      <a:pt x="1713978" y="6333723"/>
                      <a:pt x="1713978" y="6338159"/>
                    </a:cubicBezTo>
                    <a:cubicBezTo>
                      <a:pt x="1713978" y="6342599"/>
                      <a:pt x="1717677" y="6346299"/>
                      <a:pt x="1722115" y="6346299"/>
                    </a:cubicBezTo>
                    <a:cubicBezTo>
                      <a:pt x="1726555" y="6346299"/>
                      <a:pt x="1730251" y="6342599"/>
                      <a:pt x="1730251" y="6338159"/>
                    </a:cubicBezTo>
                    <a:close/>
                    <a:moveTo>
                      <a:pt x="1731976" y="3851195"/>
                    </a:moveTo>
                    <a:cubicBezTo>
                      <a:pt x="1731976" y="3827769"/>
                      <a:pt x="1712989" y="3808537"/>
                      <a:pt x="1689317" y="3808537"/>
                    </a:cubicBezTo>
                    <a:cubicBezTo>
                      <a:pt x="1665892" y="3808537"/>
                      <a:pt x="1646660" y="3827523"/>
                      <a:pt x="1646660" y="3851195"/>
                    </a:cubicBezTo>
                    <a:cubicBezTo>
                      <a:pt x="1646660" y="3874620"/>
                      <a:pt x="1665646" y="3893851"/>
                      <a:pt x="1689317" y="3893851"/>
                    </a:cubicBezTo>
                    <a:cubicBezTo>
                      <a:pt x="1712742" y="3893851"/>
                      <a:pt x="1731976" y="3874865"/>
                      <a:pt x="1731976" y="3851195"/>
                    </a:cubicBezTo>
                    <a:close/>
                    <a:moveTo>
                      <a:pt x="1736662" y="5454927"/>
                    </a:moveTo>
                    <a:cubicBezTo>
                      <a:pt x="1736662" y="5448268"/>
                      <a:pt x="1731236" y="5442596"/>
                      <a:pt x="1724335" y="5442596"/>
                    </a:cubicBezTo>
                    <a:cubicBezTo>
                      <a:pt x="1717677" y="5442596"/>
                      <a:pt x="1712005" y="5448022"/>
                      <a:pt x="1712005" y="5454927"/>
                    </a:cubicBezTo>
                    <a:cubicBezTo>
                      <a:pt x="1712005" y="5461581"/>
                      <a:pt x="1717430" y="5467253"/>
                      <a:pt x="1724335" y="5467253"/>
                    </a:cubicBezTo>
                    <a:cubicBezTo>
                      <a:pt x="1731236" y="5467253"/>
                      <a:pt x="1736662" y="5461828"/>
                      <a:pt x="1736662" y="5454927"/>
                    </a:cubicBezTo>
                    <a:close/>
                    <a:moveTo>
                      <a:pt x="1737400" y="4892731"/>
                    </a:moveTo>
                    <a:cubicBezTo>
                      <a:pt x="1737400" y="4885581"/>
                      <a:pt x="1731483" y="4879663"/>
                      <a:pt x="1724333" y="4879663"/>
                    </a:cubicBezTo>
                    <a:cubicBezTo>
                      <a:pt x="1717183" y="4879663"/>
                      <a:pt x="1711265" y="4885581"/>
                      <a:pt x="1711265" y="4892731"/>
                    </a:cubicBezTo>
                    <a:cubicBezTo>
                      <a:pt x="1711265" y="4899881"/>
                      <a:pt x="1717183" y="4905799"/>
                      <a:pt x="1724333" y="4905799"/>
                    </a:cubicBezTo>
                    <a:cubicBezTo>
                      <a:pt x="1731483" y="4905799"/>
                      <a:pt x="1737400" y="4899881"/>
                      <a:pt x="1737400" y="4892731"/>
                    </a:cubicBezTo>
                    <a:close/>
                    <a:moveTo>
                      <a:pt x="1737894" y="1612647"/>
                    </a:moveTo>
                    <a:cubicBezTo>
                      <a:pt x="1737894" y="1603274"/>
                      <a:pt x="1730495" y="1595879"/>
                      <a:pt x="1721373" y="1595879"/>
                    </a:cubicBezTo>
                    <a:cubicBezTo>
                      <a:pt x="1712005" y="1595879"/>
                      <a:pt x="1704606" y="1603523"/>
                      <a:pt x="1704606" y="1612647"/>
                    </a:cubicBezTo>
                    <a:cubicBezTo>
                      <a:pt x="1704606" y="1621766"/>
                      <a:pt x="1712251" y="1629167"/>
                      <a:pt x="1721373" y="1629167"/>
                    </a:cubicBezTo>
                    <a:cubicBezTo>
                      <a:pt x="1730495" y="1629167"/>
                      <a:pt x="1737894" y="1622012"/>
                      <a:pt x="1737894" y="1612647"/>
                    </a:cubicBezTo>
                    <a:close/>
                    <a:moveTo>
                      <a:pt x="1737895" y="1836530"/>
                    </a:moveTo>
                    <a:cubicBezTo>
                      <a:pt x="1737895" y="1827901"/>
                      <a:pt x="1730745" y="1820752"/>
                      <a:pt x="1722114" y="1820752"/>
                    </a:cubicBezTo>
                    <a:cubicBezTo>
                      <a:pt x="1713483" y="1820752"/>
                      <a:pt x="1706333" y="1827901"/>
                      <a:pt x="1706333" y="1836530"/>
                    </a:cubicBezTo>
                    <a:cubicBezTo>
                      <a:pt x="1706333" y="1845160"/>
                      <a:pt x="1713483" y="1852309"/>
                      <a:pt x="1722114" y="1852309"/>
                    </a:cubicBezTo>
                    <a:cubicBezTo>
                      <a:pt x="1730745" y="1852309"/>
                      <a:pt x="1737895" y="1845160"/>
                      <a:pt x="1737895" y="1836530"/>
                    </a:cubicBezTo>
                    <a:close/>
                    <a:moveTo>
                      <a:pt x="1739126" y="1724322"/>
                    </a:moveTo>
                    <a:cubicBezTo>
                      <a:pt x="1739126" y="1714701"/>
                      <a:pt x="1731236" y="1707070"/>
                      <a:pt x="1721865" y="1707070"/>
                    </a:cubicBezTo>
                    <a:cubicBezTo>
                      <a:pt x="1712251" y="1707070"/>
                      <a:pt x="1704606" y="1714701"/>
                      <a:pt x="1704606" y="1724322"/>
                    </a:cubicBezTo>
                    <a:cubicBezTo>
                      <a:pt x="1704606" y="1733943"/>
                      <a:pt x="1712496" y="1741592"/>
                      <a:pt x="1721865" y="1741592"/>
                    </a:cubicBezTo>
                    <a:cubicBezTo>
                      <a:pt x="1731236" y="1741592"/>
                      <a:pt x="1738880" y="1733697"/>
                      <a:pt x="1739126" y="1724322"/>
                    </a:cubicBezTo>
                    <a:close/>
                    <a:moveTo>
                      <a:pt x="1742826" y="398653"/>
                    </a:moveTo>
                    <a:cubicBezTo>
                      <a:pt x="1742826" y="384354"/>
                      <a:pt x="1731236" y="372765"/>
                      <a:pt x="1716934" y="372765"/>
                    </a:cubicBezTo>
                    <a:cubicBezTo>
                      <a:pt x="1702634" y="372765"/>
                      <a:pt x="1691044" y="384354"/>
                      <a:pt x="1691044" y="398653"/>
                    </a:cubicBezTo>
                    <a:cubicBezTo>
                      <a:pt x="1691044" y="412955"/>
                      <a:pt x="1702634" y="424545"/>
                      <a:pt x="1716934" y="424545"/>
                    </a:cubicBezTo>
                    <a:cubicBezTo>
                      <a:pt x="1731236" y="424545"/>
                      <a:pt x="1742826" y="412710"/>
                      <a:pt x="1742826" y="398653"/>
                    </a:cubicBezTo>
                    <a:close/>
                    <a:moveTo>
                      <a:pt x="1743565" y="288705"/>
                    </a:moveTo>
                    <a:cubicBezTo>
                      <a:pt x="1743565" y="274156"/>
                      <a:pt x="1731731" y="262321"/>
                      <a:pt x="1717183" y="262321"/>
                    </a:cubicBezTo>
                    <a:cubicBezTo>
                      <a:pt x="1702634" y="262321"/>
                      <a:pt x="1690799" y="274156"/>
                      <a:pt x="1690799" y="288705"/>
                    </a:cubicBezTo>
                    <a:cubicBezTo>
                      <a:pt x="1690799" y="303251"/>
                      <a:pt x="1702634" y="315085"/>
                      <a:pt x="1717183" y="315085"/>
                    </a:cubicBezTo>
                    <a:cubicBezTo>
                      <a:pt x="1731731" y="315085"/>
                      <a:pt x="1743318" y="303251"/>
                      <a:pt x="1743565" y="288705"/>
                    </a:cubicBezTo>
                    <a:close/>
                    <a:moveTo>
                      <a:pt x="1743809" y="1500961"/>
                    </a:moveTo>
                    <a:cubicBezTo>
                      <a:pt x="1743809" y="1488631"/>
                      <a:pt x="1733701" y="1478520"/>
                      <a:pt x="1721373" y="1478520"/>
                    </a:cubicBezTo>
                    <a:cubicBezTo>
                      <a:pt x="1709043" y="1478520"/>
                      <a:pt x="1698934" y="1488631"/>
                      <a:pt x="1698934" y="1500961"/>
                    </a:cubicBezTo>
                    <a:cubicBezTo>
                      <a:pt x="1698934" y="1513043"/>
                      <a:pt x="1709043" y="1523153"/>
                      <a:pt x="1721373" y="1523153"/>
                    </a:cubicBezTo>
                    <a:cubicBezTo>
                      <a:pt x="1733701" y="1523153"/>
                      <a:pt x="1743809" y="1513288"/>
                      <a:pt x="1743809" y="1500961"/>
                    </a:cubicBezTo>
                    <a:close/>
                    <a:moveTo>
                      <a:pt x="1744550" y="5343228"/>
                    </a:moveTo>
                    <a:cubicBezTo>
                      <a:pt x="1744550" y="5332131"/>
                      <a:pt x="1735428" y="5323007"/>
                      <a:pt x="1724333" y="5323007"/>
                    </a:cubicBezTo>
                    <a:cubicBezTo>
                      <a:pt x="1713234" y="5323007"/>
                      <a:pt x="1704112" y="5332131"/>
                      <a:pt x="1704112" y="5343228"/>
                    </a:cubicBezTo>
                    <a:cubicBezTo>
                      <a:pt x="1704112" y="5354324"/>
                      <a:pt x="1713234" y="5363447"/>
                      <a:pt x="1724333" y="5363447"/>
                    </a:cubicBezTo>
                    <a:cubicBezTo>
                      <a:pt x="1735428" y="5363447"/>
                      <a:pt x="1744305" y="5354570"/>
                      <a:pt x="1744550" y="5343228"/>
                    </a:cubicBezTo>
                    <a:close/>
                    <a:moveTo>
                      <a:pt x="1744799" y="69799"/>
                    </a:moveTo>
                    <a:cubicBezTo>
                      <a:pt x="1744799" y="54757"/>
                      <a:pt x="1732717" y="42675"/>
                      <a:pt x="1717677" y="42675"/>
                    </a:cubicBezTo>
                    <a:cubicBezTo>
                      <a:pt x="1702633" y="42675"/>
                      <a:pt x="1690552" y="54757"/>
                      <a:pt x="1690552" y="69799"/>
                    </a:cubicBezTo>
                    <a:cubicBezTo>
                      <a:pt x="1690552" y="84839"/>
                      <a:pt x="1702633" y="96920"/>
                      <a:pt x="1717677" y="96920"/>
                    </a:cubicBezTo>
                    <a:cubicBezTo>
                      <a:pt x="1732471" y="96920"/>
                      <a:pt x="1744552" y="84839"/>
                      <a:pt x="1744799" y="69799"/>
                    </a:cubicBezTo>
                    <a:close/>
                    <a:moveTo>
                      <a:pt x="1745290" y="179250"/>
                    </a:moveTo>
                    <a:cubicBezTo>
                      <a:pt x="1745290" y="164210"/>
                      <a:pt x="1732715" y="151880"/>
                      <a:pt x="1717674" y="151880"/>
                    </a:cubicBezTo>
                    <a:cubicBezTo>
                      <a:pt x="1702387" y="151880"/>
                      <a:pt x="1690058" y="164210"/>
                      <a:pt x="1690058" y="179250"/>
                    </a:cubicBezTo>
                    <a:cubicBezTo>
                      <a:pt x="1690058" y="194536"/>
                      <a:pt x="1702387" y="206866"/>
                      <a:pt x="1717674" y="206866"/>
                    </a:cubicBezTo>
                    <a:cubicBezTo>
                      <a:pt x="1732961" y="206866"/>
                      <a:pt x="1745290" y="194536"/>
                      <a:pt x="1745290" y="179250"/>
                    </a:cubicBezTo>
                    <a:close/>
                    <a:moveTo>
                      <a:pt x="1746771" y="5119089"/>
                    </a:moveTo>
                    <a:cubicBezTo>
                      <a:pt x="1746771" y="5106759"/>
                      <a:pt x="1736662" y="5096404"/>
                      <a:pt x="1724087" y="5096404"/>
                    </a:cubicBezTo>
                    <a:cubicBezTo>
                      <a:pt x="1711511" y="5096404"/>
                      <a:pt x="1701402" y="5106513"/>
                      <a:pt x="1701402" y="5119089"/>
                    </a:cubicBezTo>
                    <a:cubicBezTo>
                      <a:pt x="1701402" y="5131665"/>
                      <a:pt x="1711511" y="5141774"/>
                      <a:pt x="1724087" y="5141774"/>
                    </a:cubicBezTo>
                    <a:cubicBezTo>
                      <a:pt x="1736662" y="5141774"/>
                      <a:pt x="1746771" y="5131417"/>
                      <a:pt x="1746771" y="5119089"/>
                    </a:cubicBezTo>
                    <a:close/>
                    <a:moveTo>
                      <a:pt x="1748250" y="1389766"/>
                    </a:moveTo>
                    <a:cubicBezTo>
                      <a:pt x="1748250" y="1374727"/>
                      <a:pt x="1736168" y="1362639"/>
                      <a:pt x="1721128" y="1362639"/>
                    </a:cubicBezTo>
                    <a:cubicBezTo>
                      <a:pt x="1706084" y="1362639"/>
                      <a:pt x="1694003" y="1374727"/>
                      <a:pt x="1694003" y="1389766"/>
                    </a:cubicBezTo>
                    <a:cubicBezTo>
                      <a:pt x="1694003" y="1404809"/>
                      <a:pt x="1706084" y="1416892"/>
                      <a:pt x="1721128" y="1416892"/>
                    </a:cubicBezTo>
                    <a:cubicBezTo>
                      <a:pt x="1736168" y="1416892"/>
                      <a:pt x="1748250" y="1404809"/>
                      <a:pt x="1748250" y="1389766"/>
                    </a:cubicBezTo>
                    <a:close/>
                    <a:moveTo>
                      <a:pt x="1750962" y="4187279"/>
                    </a:moveTo>
                    <a:cubicBezTo>
                      <a:pt x="1750962" y="4181609"/>
                      <a:pt x="1746277" y="4176924"/>
                      <a:pt x="1740605" y="4176924"/>
                    </a:cubicBezTo>
                    <a:cubicBezTo>
                      <a:pt x="1734936" y="4176924"/>
                      <a:pt x="1730250" y="4181609"/>
                      <a:pt x="1730250" y="4187279"/>
                    </a:cubicBezTo>
                    <a:cubicBezTo>
                      <a:pt x="1730250" y="4192951"/>
                      <a:pt x="1734936" y="4197637"/>
                      <a:pt x="1740605" y="4197637"/>
                    </a:cubicBezTo>
                    <a:cubicBezTo>
                      <a:pt x="1746277" y="4197637"/>
                      <a:pt x="1750716" y="4192951"/>
                      <a:pt x="1750962" y="4187279"/>
                    </a:cubicBezTo>
                    <a:close/>
                    <a:moveTo>
                      <a:pt x="1752441" y="4780047"/>
                    </a:moveTo>
                    <a:cubicBezTo>
                      <a:pt x="1752441" y="4767965"/>
                      <a:pt x="1742578" y="4758102"/>
                      <a:pt x="1730496" y="4758102"/>
                    </a:cubicBezTo>
                    <a:cubicBezTo>
                      <a:pt x="1718415" y="4758102"/>
                      <a:pt x="1708552" y="4767965"/>
                      <a:pt x="1708552" y="4780047"/>
                    </a:cubicBezTo>
                    <a:cubicBezTo>
                      <a:pt x="1708552" y="4792131"/>
                      <a:pt x="1718415" y="4801991"/>
                      <a:pt x="1730496" y="4801991"/>
                    </a:cubicBezTo>
                    <a:cubicBezTo>
                      <a:pt x="1742578" y="4801991"/>
                      <a:pt x="1752441" y="4792377"/>
                      <a:pt x="1752441" y="4780047"/>
                    </a:cubicBezTo>
                    <a:close/>
                    <a:moveTo>
                      <a:pt x="1757374" y="1949423"/>
                    </a:moveTo>
                    <a:cubicBezTo>
                      <a:pt x="1757374" y="1930195"/>
                      <a:pt x="1741840" y="1914665"/>
                      <a:pt x="1722606" y="1914665"/>
                    </a:cubicBezTo>
                    <a:cubicBezTo>
                      <a:pt x="1703374" y="1914665"/>
                      <a:pt x="1687840" y="1930195"/>
                      <a:pt x="1687840" y="1949423"/>
                    </a:cubicBezTo>
                    <a:cubicBezTo>
                      <a:pt x="1687840" y="1968405"/>
                      <a:pt x="1703374" y="1983936"/>
                      <a:pt x="1722606" y="1983936"/>
                    </a:cubicBezTo>
                    <a:cubicBezTo>
                      <a:pt x="1741594" y="1983936"/>
                      <a:pt x="1757374" y="1968405"/>
                      <a:pt x="1757374" y="1949423"/>
                    </a:cubicBezTo>
                    <a:close/>
                    <a:moveTo>
                      <a:pt x="1757374" y="4548511"/>
                    </a:moveTo>
                    <a:cubicBezTo>
                      <a:pt x="1757374" y="4534948"/>
                      <a:pt x="1746279" y="4523607"/>
                      <a:pt x="1732471" y="4523607"/>
                    </a:cubicBezTo>
                    <a:cubicBezTo>
                      <a:pt x="1718661" y="4523607"/>
                      <a:pt x="1707320" y="4534703"/>
                      <a:pt x="1707320" y="4548511"/>
                    </a:cubicBezTo>
                    <a:cubicBezTo>
                      <a:pt x="1707320" y="4562319"/>
                      <a:pt x="1718661" y="4573663"/>
                      <a:pt x="1732471" y="4573663"/>
                    </a:cubicBezTo>
                    <a:cubicBezTo>
                      <a:pt x="1746279" y="4573663"/>
                      <a:pt x="1757620" y="4562568"/>
                      <a:pt x="1757374" y="4548511"/>
                    </a:cubicBezTo>
                    <a:close/>
                    <a:moveTo>
                      <a:pt x="1758852" y="3699553"/>
                    </a:moveTo>
                    <a:cubicBezTo>
                      <a:pt x="1758852" y="3679578"/>
                      <a:pt x="1742577" y="3663551"/>
                      <a:pt x="1722854" y="3663551"/>
                    </a:cubicBezTo>
                    <a:cubicBezTo>
                      <a:pt x="1702880" y="3663551"/>
                      <a:pt x="1686853" y="3679827"/>
                      <a:pt x="1686853" y="3699553"/>
                    </a:cubicBezTo>
                    <a:cubicBezTo>
                      <a:pt x="1686853" y="3719279"/>
                      <a:pt x="1703128" y="3735552"/>
                      <a:pt x="1722854" y="3735552"/>
                    </a:cubicBezTo>
                    <a:cubicBezTo>
                      <a:pt x="1742826" y="3735552"/>
                      <a:pt x="1758852" y="3719525"/>
                      <a:pt x="1758852" y="3699553"/>
                    </a:cubicBezTo>
                    <a:close/>
                    <a:moveTo>
                      <a:pt x="1762306" y="2062829"/>
                    </a:moveTo>
                    <a:cubicBezTo>
                      <a:pt x="1762306" y="2041128"/>
                      <a:pt x="1744552" y="2023374"/>
                      <a:pt x="1722854" y="2023374"/>
                    </a:cubicBezTo>
                    <a:cubicBezTo>
                      <a:pt x="1701155" y="2023374"/>
                      <a:pt x="1683402" y="2041128"/>
                      <a:pt x="1683402" y="2062829"/>
                    </a:cubicBezTo>
                    <a:cubicBezTo>
                      <a:pt x="1683402" y="2084530"/>
                      <a:pt x="1701155" y="2102285"/>
                      <a:pt x="1722854" y="2102285"/>
                    </a:cubicBezTo>
                    <a:cubicBezTo>
                      <a:pt x="1744552" y="2102285"/>
                      <a:pt x="1762306" y="2084775"/>
                      <a:pt x="1762306" y="2062829"/>
                    </a:cubicBezTo>
                    <a:close/>
                    <a:moveTo>
                      <a:pt x="1764770" y="4310321"/>
                    </a:moveTo>
                    <a:cubicBezTo>
                      <a:pt x="1764770" y="4294786"/>
                      <a:pt x="1752195" y="4282209"/>
                      <a:pt x="1736659" y="4282209"/>
                    </a:cubicBezTo>
                    <a:cubicBezTo>
                      <a:pt x="1721127" y="4282209"/>
                      <a:pt x="1708552" y="4294786"/>
                      <a:pt x="1708552" y="4310321"/>
                    </a:cubicBezTo>
                    <a:cubicBezTo>
                      <a:pt x="1708552" y="4325853"/>
                      <a:pt x="1721127" y="4338429"/>
                      <a:pt x="1736659" y="4338429"/>
                    </a:cubicBezTo>
                    <a:cubicBezTo>
                      <a:pt x="1752195" y="4338429"/>
                      <a:pt x="1764770" y="4325853"/>
                      <a:pt x="1764770" y="4310321"/>
                    </a:cubicBezTo>
                    <a:close/>
                    <a:moveTo>
                      <a:pt x="1766003" y="4430649"/>
                    </a:moveTo>
                    <a:cubicBezTo>
                      <a:pt x="1766003" y="4413145"/>
                      <a:pt x="1751703" y="4398842"/>
                      <a:pt x="1734196" y="4398842"/>
                    </a:cubicBezTo>
                    <a:cubicBezTo>
                      <a:pt x="1716936" y="4398842"/>
                      <a:pt x="1702634" y="4413145"/>
                      <a:pt x="1702634" y="4430649"/>
                    </a:cubicBezTo>
                    <a:cubicBezTo>
                      <a:pt x="1702634" y="4448157"/>
                      <a:pt x="1716688" y="4462460"/>
                      <a:pt x="1734196" y="4462460"/>
                    </a:cubicBezTo>
                    <a:cubicBezTo>
                      <a:pt x="1751703" y="4462460"/>
                      <a:pt x="1766003" y="4448157"/>
                      <a:pt x="1766003" y="4430649"/>
                    </a:cubicBezTo>
                    <a:close/>
                    <a:moveTo>
                      <a:pt x="1766744" y="5006159"/>
                    </a:moveTo>
                    <a:cubicBezTo>
                      <a:pt x="1766744" y="4982733"/>
                      <a:pt x="1747758" y="4963748"/>
                      <a:pt x="1724333" y="4963748"/>
                    </a:cubicBezTo>
                    <a:cubicBezTo>
                      <a:pt x="1700908" y="4963748"/>
                      <a:pt x="1681922" y="4982733"/>
                      <a:pt x="1681922" y="5006159"/>
                    </a:cubicBezTo>
                    <a:cubicBezTo>
                      <a:pt x="1681922" y="5029584"/>
                      <a:pt x="1700908" y="5048570"/>
                      <a:pt x="1724333" y="5048570"/>
                    </a:cubicBezTo>
                    <a:cubicBezTo>
                      <a:pt x="1747512" y="5048570"/>
                      <a:pt x="1766498" y="5029584"/>
                      <a:pt x="1766744" y="5006159"/>
                    </a:cubicBezTo>
                    <a:close/>
                    <a:moveTo>
                      <a:pt x="1767235" y="4664894"/>
                    </a:moveTo>
                    <a:cubicBezTo>
                      <a:pt x="1767235" y="4644922"/>
                      <a:pt x="1750962" y="4628896"/>
                      <a:pt x="1731236" y="4628896"/>
                    </a:cubicBezTo>
                    <a:cubicBezTo>
                      <a:pt x="1711262" y="4628896"/>
                      <a:pt x="1695235" y="4645169"/>
                      <a:pt x="1695235" y="4664894"/>
                    </a:cubicBezTo>
                    <a:cubicBezTo>
                      <a:pt x="1695235" y="4684869"/>
                      <a:pt x="1711511" y="4700896"/>
                      <a:pt x="1731236" y="4700896"/>
                    </a:cubicBezTo>
                    <a:cubicBezTo>
                      <a:pt x="1751208" y="4700896"/>
                      <a:pt x="1767235" y="4684869"/>
                      <a:pt x="1767235" y="4664894"/>
                    </a:cubicBezTo>
                    <a:close/>
                    <a:moveTo>
                      <a:pt x="1788934" y="4059800"/>
                    </a:moveTo>
                    <a:cubicBezTo>
                      <a:pt x="1788934" y="4036375"/>
                      <a:pt x="1769948" y="4017388"/>
                      <a:pt x="1746523" y="4017388"/>
                    </a:cubicBezTo>
                    <a:cubicBezTo>
                      <a:pt x="1723097" y="4017388"/>
                      <a:pt x="1704112" y="4036375"/>
                      <a:pt x="1704112" y="4059800"/>
                    </a:cubicBezTo>
                    <a:cubicBezTo>
                      <a:pt x="1704112" y="4083225"/>
                      <a:pt x="1723097" y="4102210"/>
                      <a:pt x="1746523" y="4102210"/>
                    </a:cubicBezTo>
                    <a:cubicBezTo>
                      <a:pt x="1769948" y="4102210"/>
                      <a:pt x="1788934" y="4083225"/>
                      <a:pt x="1788934" y="4059800"/>
                    </a:cubicBezTo>
                    <a:close/>
                    <a:moveTo>
                      <a:pt x="1790415" y="3158321"/>
                    </a:moveTo>
                    <a:cubicBezTo>
                      <a:pt x="1790415" y="3154623"/>
                      <a:pt x="1787702" y="3151909"/>
                      <a:pt x="1784005" y="3151909"/>
                    </a:cubicBezTo>
                    <a:cubicBezTo>
                      <a:pt x="1780306" y="3151909"/>
                      <a:pt x="1777593" y="3154868"/>
                      <a:pt x="1777593" y="3158321"/>
                    </a:cubicBezTo>
                    <a:cubicBezTo>
                      <a:pt x="1777593" y="3162018"/>
                      <a:pt x="1780552" y="3164731"/>
                      <a:pt x="1784005" y="3164731"/>
                    </a:cubicBezTo>
                    <a:cubicBezTo>
                      <a:pt x="1787456" y="3164731"/>
                      <a:pt x="1790415" y="3162018"/>
                      <a:pt x="1790415" y="3158321"/>
                    </a:cubicBezTo>
                    <a:close/>
                    <a:moveTo>
                      <a:pt x="1793126" y="3019257"/>
                    </a:moveTo>
                    <a:cubicBezTo>
                      <a:pt x="1793126" y="3004462"/>
                      <a:pt x="1781044" y="2992381"/>
                      <a:pt x="1766250" y="2992381"/>
                    </a:cubicBezTo>
                    <a:cubicBezTo>
                      <a:pt x="1751455" y="2992381"/>
                      <a:pt x="1739374" y="3004462"/>
                      <a:pt x="1739374" y="3019257"/>
                    </a:cubicBezTo>
                    <a:cubicBezTo>
                      <a:pt x="1739374" y="3034052"/>
                      <a:pt x="1751455" y="3046136"/>
                      <a:pt x="1766250" y="3046136"/>
                    </a:cubicBezTo>
                    <a:cubicBezTo>
                      <a:pt x="1781044" y="3046136"/>
                      <a:pt x="1793126" y="3034052"/>
                      <a:pt x="1793126" y="3019257"/>
                    </a:cubicBezTo>
                    <a:close/>
                    <a:moveTo>
                      <a:pt x="1799786" y="3363471"/>
                    </a:moveTo>
                    <a:cubicBezTo>
                      <a:pt x="1799786" y="3361990"/>
                      <a:pt x="1798552" y="3360758"/>
                      <a:pt x="1797074" y="3360758"/>
                    </a:cubicBezTo>
                    <a:cubicBezTo>
                      <a:pt x="1795593" y="3360758"/>
                      <a:pt x="1794361" y="3361990"/>
                      <a:pt x="1794361" y="3363471"/>
                    </a:cubicBezTo>
                    <a:cubicBezTo>
                      <a:pt x="1794361" y="3364949"/>
                      <a:pt x="1795593" y="3366184"/>
                      <a:pt x="1797074" y="3366184"/>
                    </a:cubicBezTo>
                    <a:cubicBezTo>
                      <a:pt x="1798552" y="3366184"/>
                      <a:pt x="1799786" y="3364949"/>
                      <a:pt x="1799786" y="3363471"/>
                    </a:cubicBezTo>
                    <a:close/>
                    <a:moveTo>
                      <a:pt x="1801510" y="1047811"/>
                    </a:moveTo>
                    <a:cubicBezTo>
                      <a:pt x="1801510" y="1033508"/>
                      <a:pt x="1789674" y="1021679"/>
                      <a:pt x="1775371" y="1021679"/>
                    </a:cubicBezTo>
                    <a:cubicBezTo>
                      <a:pt x="1761071" y="1021679"/>
                      <a:pt x="1749236" y="1033508"/>
                      <a:pt x="1749236" y="1047811"/>
                    </a:cubicBezTo>
                    <a:cubicBezTo>
                      <a:pt x="1749236" y="1062358"/>
                      <a:pt x="1761071" y="1073949"/>
                      <a:pt x="1775371" y="1073949"/>
                    </a:cubicBezTo>
                    <a:cubicBezTo>
                      <a:pt x="1789920" y="1073949"/>
                      <a:pt x="1801510" y="1062358"/>
                      <a:pt x="1801510" y="1047811"/>
                    </a:cubicBezTo>
                    <a:close/>
                    <a:moveTo>
                      <a:pt x="1802002" y="2861947"/>
                    </a:moveTo>
                    <a:cubicBezTo>
                      <a:pt x="1802002" y="2857753"/>
                      <a:pt x="1798551" y="2854301"/>
                      <a:pt x="1794360" y="2854301"/>
                    </a:cubicBezTo>
                    <a:cubicBezTo>
                      <a:pt x="1790165" y="2854301"/>
                      <a:pt x="1786715" y="2857753"/>
                      <a:pt x="1786715" y="2861947"/>
                    </a:cubicBezTo>
                    <a:cubicBezTo>
                      <a:pt x="1786715" y="2866138"/>
                      <a:pt x="1790165" y="2869588"/>
                      <a:pt x="1794360" y="2869588"/>
                    </a:cubicBezTo>
                    <a:cubicBezTo>
                      <a:pt x="1798551" y="2869588"/>
                      <a:pt x="1802002" y="2866138"/>
                      <a:pt x="1802002" y="2861947"/>
                    </a:cubicBezTo>
                    <a:close/>
                    <a:moveTo>
                      <a:pt x="1803977" y="828149"/>
                    </a:moveTo>
                    <a:cubicBezTo>
                      <a:pt x="1803977" y="813353"/>
                      <a:pt x="1791647" y="801269"/>
                      <a:pt x="1776853" y="801269"/>
                    </a:cubicBezTo>
                    <a:cubicBezTo>
                      <a:pt x="1762058" y="801269"/>
                      <a:pt x="1749977" y="813353"/>
                      <a:pt x="1749977" y="828149"/>
                    </a:cubicBezTo>
                    <a:cubicBezTo>
                      <a:pt x="1749977" y="842945"/>
                      <a:pt x="1762058" y="855021"/>
                      <a:pt x="1776853" y="855021"/>
                    </a:cubicBezTo>
                    <a:cubicBezTo>
                      <a:pt x="1791893" y="855021"/>
                      <a:pt x="1803977" y="842945"/>
                      <a:pt x="1803977" y="828149"/>
                    </a:cubicBezTo>
                    <a:close/>
                    <a:moveTo>
                      <a:pt x="1804469" y="937855"/>
                    </a:moveTo>
                    <a:cubicBezTo>
                      <a:pt x="1804469" y="922075"/>
                      <a:pt x="1791647" y="909252"/>
                      <a:pt x="1775867" y="909252"/>
                    </a:cubicBezTo>
                    <a:cubicBezTo>
                      <a:pt x="1760086" y="909252"/>
                      <a:pt x="1747264" y="922075"/>
                      <a:pt x="1747264" y="937855"/>
                    </a:cubicBezTo>
                    <a:cubicBezTo>
                      <a:pt x="1747264" y="953640"/>
                      <a:pt x="1760086" y="966458"/>
                      <a:pt x="1775867" y="966458"/>
                    </a:cubicBezTo>
                    <a:cubicBezTo>
                      <a:pt x="1791647" y="966458"/>
                      <a:pt x="1804469" y="953640"/>
                      <a:pt x="1804469" y="937855"/>
                    </a:cubicBezTo>
                    <a:close/>
                    <a:moveTo>
                      <a:pt x="1805213" y="1268459"/>
                    </a:moveTo>
                    <a:cubicBezTo>
                      <a:pt x="1805213" y="1251450"/>
                      <a:pt x="1791404" y="1237644"/>
                      <a:pt x="1774388" y="1237644"/>
                    </a:cubicBezTo>
                    <a:cubicBezTo>
                      <a:pt x="1757374" y="1237644"/>
                      <a:pt x="1743567" y="1251450"/>
                      <a:pt x="1743567" y="1268459"/>
                    </a:cubicBezTo>
                    <a:cubicBezTo>
                      <a:pt x="1743567" y="1285470"/>
                      <a:pt x="1757374" y="1299289"/>
                      <a:pt x="1774388" y="1299289"/>
                    </a:cubicBezTo>
                    <a:cubicBezTo>
                      <a:pt x="1791649" y="1299289"/>
                      <a:pt x="1805458" y="1285222"/>
                      <a:pt x="1805213" y="1268459"/>
                    </a:cubicBezTo>
                    <a:close/>
                    <a:moveTo>
                      <a:pt x="1805701" y="1158014"/>
                    </a:moveTo>
                    <a:cubicBezTo>
                      <a:pt x="1805701" y="1141247"/>
                      <a:pt x="1792139" y="1127441"/>
                      <a:pt x="1775126" y="1127441"/>
                    </a:cubicBezTo>
                    <a:cubicBezTo>
                      <a:pt x="1758358" y="1127441"/>
                      <a:pt x="1744550" y="1141247"/>
                      <a:pt x="1744550" y="1158014"/>
                    </a:cubicBezTo>
                    <a:cubicBezTo>
                      <a:pt x="1744550" y="1174781"/>
                      <a:pt x="1758358" y="1188591"/>
                      <a:pt x="1775126" y="1188591"/>
                    </a:cubicBezTo>
                    <a:cubicBezTo>
                      <a:pt x="1792139" y="1188591"/>
                      <a:pt x="1805701" y="1175028"/>
                      <a:pt x="1805701" y="1158014"/>
                    </a:cubicBezTo>
                    <a:close/>
                    <a:moveTo>
                      <a:pt x="1806934" y="608942"/>
                    </a:moveTo>
                    <a:cubicBezTo>
                      <a:pt x="1806934" y="592422"/>
                      <a:pt x="1793620" y="579108"/>
                      <a:pt x="1777099" y="579108"/>
                    </a:cubicBezTo>
                    <a:cubicBezTo>
                      <a:pt x="1760580" y="579108"/>
                      <a:pt x="1747264" y="592422"/>
                      <a:pt x="1747264" y="608942"/>
                    </a:cubicBezTo>
                    <a:cubicBezTo>
                      <a:pt x="1747264" y="625463"/>
                      <a:pt x="1760580" y="638776"/>
                      <a:pt x="1777099" y="638776"/>
                    </a:cubicBezTo>
                    <a:cubicBezTo>
                      <a:pt x="1793374" y="638776"/>
                      <a:pt x="1806934" y="625217"/>
                      <a:pt x="1806934" y="608942"/>
                    </a:cubicBezTo>
                    <a:close/>
                    <a:moveTo>
                      <a:pt x="1806936" y="499237"/>
                    </a:moveTo>
                    <a:cubicBezTo>
                      <a:pt x="1806936" y="482965"/>
                      <a:pt x="1793623" y="469650"/>
                      <a:pt x="1777347" y="469650"/>
                    </a:cubicBezTo>
                    <a:cubicBezTo>
                      <a:pt x="1761071" y="469650"/>
                      <a:pt x="1747758" y="482965"/>
                      <a:pt x="1747758" y="499237"/>
                    </a:cubicBezTo>
                    <a:cubicBezTo>
                      <a:pt x="1747758" y="515512"/>
                      <a:pt x="1761071" y="528826"/>
                      <a:pt x="1777347" y="528826"/>
                    </a:cubicBezTo>
                    <a:cubicBezTo>
                      <a:pt x="1793623" y="528826"/>
                      <a:pt x="1806936" y="515758"/>
                      <a:pt x="1806936" y="499237"/>
                    </a:cubicBezTo>
                    <a:close/>
                    <a:moveTo>
                      <a:pt x="1807676" y="718435"/>
                    </a:moveTo>
                    <a:cubicBezTo>
                      <a:pt x="1807676" y="701428"/>
                      <a:pt x="1793868" y="687864"/>
                      <a:pt x="1777101" y="687864"/>
                    </a:cubicBezTo>
                    <a:cubicBezTo>
                      <a:pt x="1760333" y="687864"/>
                      <a:pt x="1746771" y="701674"/>
                      <a:pt x="1746771" y="718435"/>
                    </a:cubicBezTo>
                    <a:cubicBezTo>
                      <a:pt x="1746771" y="735448"/>
                      <a:pt x="1760333" y="749015"/>
                      <a:pt x="1777101" y="749015"/>
                    </a:cubicBezTo>
                    <a:cubicBezTo>
                      <a:pt x="1793868" y="749015"/>
                      <a:pt x="1807430" y="735201"/>
                      <a:pt x="1807676" y="718435"/>
                    </a:cubicBezTo>
                    <a:close/>
                    <a:moveTo>
                      <a:pt x="1808415" y="3935771"/>
                    </a:moveTo>
                    <a:cubicBezTo>
                      <a:pt x="1808415" y="3912592"/>
                      <a:pt x="1789429" y="3893605"/>
                      <a:pt x="1766252" y="3893605"/>
                    </a:cubicBezTo>
                    <a:cubicBezTo>
                      <a:pt x="1743072" y="3893605"/>
                      <a:pt x="1724087" y="3912592"/>
                      <a:pt x="1724087" y="3935771"/>
                    </a:cubicBezTo>
                    <a:cubicBezTo>
                      <a:pt x="1724087" y="3958948"/>
                      <a:pt x="1743072" y="3977933"/>
                      <a:pt x="1766252" y="3977933"/>
                    </a:cubicBezTo>
                    <a:cubicBezTo>
                      <a:pt x="1789677" y="3977933"/>
                      <a:pt x="1808415" y="3958948"/>
                      <a:pt x="1808415" y="3935771"/>
                    </a:cubicBezTo>
                    <a:close/>
                    <a:moveTo>
                      <a:pt x="1810882" y="2738414"/>
                    </a:moveTo>
                    <a:cubicBezTo>
                      <a:pt x="1810882" y="2727565"/>
                      <a:pt x="1802005" y="2718689"/>
                      <a:pt x="1791155" y="2718689"/>
                    </a:cubicBezTo>
                    <a:cubicBezTo>
                      <a:pt x="1780306" y="2718689"/>
                      <a:pt x="1771430" y="2727565"/>
                      <a:pt x="1771430" y="2738414"/>
                    </a:cubicBezTo>
                    <a:cubicBezTo>
                      <a:pt x="1771430" y="2749264"/>
                      <a:pt x="1780306" y="2758140"/>
                      <a:pt x="1791155" y="2758140"/>
                    </a:cubicBezTo>
                    <a:cubicBezTo>
                      <a:pt x="1802005" y="2758140"/>
                      <a:pt x="1810882" y="2749264"/>
                      <a:pt x="1810882" y="2738414"/>
                    </a:cubicBezTo>
                    <a:close/>
                    <a:moveTo>
                      <a:pt x="1816799" y="2618336"/>
                    </a:moveTo>
                    <a:cubicBezTo>
                      <a:pt x="1816799" y="2603050"/>
                      <a:pt x="1804224" y="2590473"/>
                      <a:pt x="1788934" y="2590473"/>
                    </a:cubicBezTo>
                    <a:cubicBezTo>
                      <a:pt x="1773648" y="2590473"/>
                      <a:pt x="1761072" y="2603050"/>
                      <a:pt x="1761072" y="2618336"/>
                    </a:cubicBezTo>
                    <a:cubicBezTo>
                      <a:pt x="1761072" y="2633871"/>
                      <a:pt x="1773402" y="2646447"/>
                      <a:pt x="1788934" y="2646447"/>
                    </a:cubicBezTo>
                    <a:cubicBezTo>
                      <a:pt x="1804224" y="2646447"/>
                      <a:pt x="1816799" y="2633871"/>
                      <a:pt x="1816799" y="2618336"/>
                    </a:cubicBezTo>
                    <a:close/>
                    <a:moveTo>
                      <a:pt x="1817291" y="2270929"/>
                    </a:moveTo>
                    <a:cubicBezTo>
                      <a:pt x="1817291" y="2252933"/>
                      <a:pt x="1802742" y="2238383"/>
                      <a:pt x="1784743" y="2238383"/>
                    </a:cubicBezTo>
                    <a:cubicBezTo>
                      <a:pt x="1766498" y="2238383"/>
                      <a:pt x="1751949" y="2252933"/>
                      <a:pt x="1751949" y="2270929"/>
                    </a:cubicBezTo>
                    <a:cubicBezTo>
                      <a:pt x="1751949" y="2288931"/>
                      <a:pt x="1766743" y="2303479"/>
                      <a:pt x="1784743" y="2303479"/>
                    </a:cubicBezTo>
                    <a:cubicBezTo>
                      <a:pt x="1802742" y="2303479"/>
                      <a:pt x="1817539" y="2288931"/>
                      <a:pt x="1817291" y="2270929"/>
                    </a:cubicBezTo>
                    <a:close/>
                    <a:moveTo>
                      <a:pt x="1817540" y="3796703"/>
                    </a:moveTo>
                    <a:cubicBezTo>
                      <a:pt x="1817540" y="3778209"/>
                      <a:pt x="1802499" y="3763168"/>
                      <a:pt x="1784005" y="3763168"/>
                    </a:cubicBezTo>
                    <a:cubicBezTo>
                      <a:pt x="1765511" y="3763168"/>
                      <a:pt x="1750471" y="3778209"/>
                      <a:pt x="1750471" y="3796703"/>
                    </a:cubicBezTo>
                    <a:cubicBezTo>
                      <a:pt x="1750471" y="3814949"/>
                      <a:pt x="1765511" y="3829991"/>
                      <a:pt x="1784005" y="3829991"/>
                    </a:cubicBezTo>
                    <a:cubicBezTo>
                      <a:pt x="1802499" y="3829991"/>
                      <a:pt x="1817294" y="3814949"/>
                      <a:pt x="1817540" y="3796703"/>
                    </a:cubicBezTo>
                    <a:close/>
                    <a:moveTo>
                      <a:pt x="1820742" y="2157515"/>
                    </a:moveTo>
                    <a:cubicBezTo>
                      <a:pt x="1820742" y="2137049"/>
                      <a:pt x="1804223" y="2120527"/>
                      <a:pt x="1784002" y="2120527"/>
                    </a:cubicBezTo>
                    <a:cubicBezTo>
                      <a:pt x="1763784" y="2120527"/>
                      <a:pt x="1747264" y="2137296"/>
                      <a:pt x="1747264" y="2157515"/>
                    </a:cubicBezTo>
                    <a:cubicBezTo>
                      <a:pt x="1747264" y="2177736"/>
                      <a:pt x="1763784" y="2194256"/>
                      <a:pt x="1784002" y="2194256"/>
                    </a:cubicBezTo>
                    <a:cubicBezTo>
                      <a:pt x="1804469" y="2194256"/>
                      <a:pt x="1820990" y="2177736"/>
                      <a:pt x="1820742" y="2157515"/>
                    </a:cubicBezTo>
                    <a:close/>
                    <a:moveTo>
                      <a:pt x="1826908" y="2500970"/>
                    </a:moveTo>
                    <a:cubicBezTo>
                      <a:pt x="1826908" y="2479025"/>
                      <a:pt x="1809157" y="2461273"/>
                      <a:pt x="1787210" y="2461273"/>
                    </a:cubicBezTo>
                    <a:cubicBezTo>
                      <a:pt x="1765265" y="2461273"/>
                      <a:pt x="1747512" y="2479025"/>
                      <a:pt x="1747512" y="2500970"/>
                    </a:cubicBezTo>
                    <a:cubicBezTo>
                      <a:pt x="1747512" y="2522918"/>
                      <a:pt x="1765265" y="2540671"/>
                      <a:pt x="1787210" y="2540671"/>
                    </a:cubicBezTo>
                    <a:cubicBezTo>
                      <a:pt x="1809157" y="2540671"/>
                      <a:pt x="1826908" y="2522918"/>
                      <a:pt x="1826908" y="2500970"/>
                    </a:cubicBezTo>
                    <a:close/>
                    <a:moveTo>
                      <a:pt x="1831345" y="2385334"/>
                    </a:moveTo>
                    <a:cubicBezTo>
                      <a:pt x="1831345" y="2360430"/>
                      <a:pt x="1811126" y="2339967"/>
                      <a:pt x="1785974" y="2339967"/>
                    </a:cubicBezTo>
                    <a:cubicBezTo>
                      <a:pt x="1761071" y="2339967"/>
                      <a:pt x="1740605" y="2360430"/>
                      <a:pt x="1740605" y="2385334"/>
                    </a:cubicBezTo>
                    <a:cubicBezTo>
                      <a:pt x="1740605" y="2410238"/>
                      <a:pt x="1760826" y="2430703"/>
                      <a:pt x="1785974" y="2430703"/>
                    </a:cubicBezTo>
                    <a:cubicBezTo>
                      <a:pt x="1810878" y="2430703"/>
                      <a:pt x="1831345" y="2410238"/>
                      <a:pt x="1831345" y="2385334"/>
                    </a:cubicBezTo>
                    <a:close/>
                    <a:moveTo>
                      <a:pt x="1838004" y="5697311"/>
                    </a:moveTo>
                    <a:cubicBezTo>
                      <a:pt x="1838004" y="5696076"/>
                      <a:pt x="1837017" y="5694843"/>
                      <a:pt x="1835539" y="5694843"/>
                    </a:cubicBezTo>
                    <a:cubicBezTo>
                      <a:pt x="1834305" y="5694843"/>
                      <a:pt x="1833072" y="5696076"/>
                      <a:pt x="1833072" y="5697311"/>
                    </a:cubicBezTo>
                    <a:cubicBezTo>
                      <a:pt x="1833072" y="5698789"/>
                      <a:pt x="1834058" y="5699775"/>
                      <a:pt x="1835539" y="5699775"/>
                    </a:cubicBezTo>
                    <a:cubicBezTo>
                      <a:pt x="1836771" y="5699775"/>
                      <a:pt x="1838004" y="5698789"/>
                      <a:pt x="1838004" y="5697311"/>
                    </a:cubicBezTo>
                    <a:close/>
                    <a:moveTo>
                      <a:pt x="1838249" y="5916762"/>
                    </a:moveTo>
                    <a:cubicBezTo>
                      <a:pt x="1838249" y="5915529"/>
                      <a:pt x="1837263" y="5914543"/>
                      <a:pt x="1836030" y="5914543"/>
                    </a:cubicBezTo>
                    <a:cubicBezTo>
                      <a:pt x="1834798" y="5914543"/>
                      <a:pt x="1833812" y="5915529"/>
                      <a:pt x="1833812" y="5916762"/>
                    </a:cubicBezTo>
                    <a:cubicBezTo>
                      <a:pt x="1833812" y="5917993"/>
                      <a:pt x="1834798" y="5918979"/>
                      <a:pt x="1836030" y="5918979"/>
                    </a:cubicBezTo>
                    <a:cubicBezTo>
                      <a:pt x="1837263" y="5918979"/>
                      <a:pt x="1838249" y="5917993"/>
                      <a:pt x="1838249" y="5916762"/>
                    </a:cubicBezTo>
                    <a:close/>
                    <a:moveTo>
                      <a:pt x="1838249" y="7335311"/>
                    </a:moveTo>
                    <a:cubicBezTo>
                      <a:pt x="1838249" y="7333830"/>
                      <a:pt x="1837017" y="7332352"/>
                      <a:pt x="1835290" y="7332352"/>
                    </a:cubicBezTo>
                    <a:cubicBezTo>
                      <a:pt x="1833812" y="7332352"/>
                      <a:pt x="1832331" y="7333584"/>
                      <a:pt x="1832331" y="7335311"/>
                    </a:cubicBezTo>
                    <a:cubicBezTo>
                      <a:pt x="1832331" y="7336789"/>
                      <a:pt x="1833564" y="7338270"/>
                      <a:pt x="1835290" y="7338270"/>
                    </a:cubicBezTo>
                    <a:cubicBezTo>
                      <a:pt x="1836771" y="7338270"/>
                      <a:pt x="1838249" y="7337038"/>
                      <a:pt x="1838249" y="7335311"/>
                    </a:cubicBezTo>
                    <a:close/>
                    <a:moveTo>
                      <a:pt x="1838249" y="7444051"/>
                    </a:moveTo>
                    <a:cubicBezTo>
                      <a:pt x="1838249" y="7442324"/>
                      <a:pt x="1837017" y="7441091"/>
                      <a:pt x="1835290" y="7441091"/>
                    </a:cubicBezTo>
                    <a:cubicBezTo>
                      <a:pt x="1833564" y="7441091"/>
                      <a:pt x="1832331" y="7442324"/>
                      <a:pt x="1832331" y="7444051"/>
                    </a:cubicBezTo>
                    <a:cubicBezTo>
                      <a:pt x="1832331" y="7445778"/>
                      <a:pt x="1833564" y="7447010"/>
                      <a:pt x="1835290" y="7447010"/>
                    </a:cubicBezTo>
                    <a:cubicBezTo>
                      <a:pt x="1837017" y="7447010"/>
                      <a:pt x="1838249" y="7445778"/>
                      <a:pt x="1838249" y="7444051"/>
                    </a:cubicBezTo>
                    <a:close/>
                    <a:moveTo>
                      <a:pt x="1838495" y="6572405"/>
                    </a:moveTo>
                    <a:cubicBezTo>
                      <a:pt x="1838495" y="6570679"/>
                      <a:pt x="1837017" y="6569200"/>
                      <a:pt x="1835290" y="6569200"/>
                    </a:cubicBezTo>
                    <a:cubicBezTo>
                      <a:pt x="1833564" y="6569200"/>
                      <a:pt x="1832086" y="6570679"/>
                      <a:pt x="1832086" y="6572405"/>
                    </a:cubicBezTo>
                    <a:cubicBezTo>
                      <a:pt x="1832086" y="6574132"/>
                      <a:pt x="1833564" y="6575613"/>
                      <a:pt x="1835290" y="6575613"/>
                    </a:cubicBezTo>
                    <a:cubicBezTo>
                      <a:pt x="1837263" y="6575613"/>
                      <a:pt x="1838743" y="6574132"/>
                      <a:pt x="1838495" y="6572405"/>
                    </a:cubicBezTo>
                    <a:close/>
                    <a:moveTo>
                      <a:pt x="1838498" y="7553037"/>
                    </a:moveTo>
                    <a:cubicBezTo>
                      <a:pt x="1838498" y="7551311"/>
                      <a:pt x="1837266" y="7550079"/>
                      <a:pt x="1835539" y="7550079"/>
                    </a:cubicBezTo>
                    <a:cubicBezTo>
                      <a:pt x="1833812" y="7550079"/>
                      <a:pt x="1832580" y="7551556"/>
                      <a:pt x="1832580" y="7553037"/>
                    </a:cubicBezTo>
                    <a:cubicBezTo>
                      <a:pt x="1832580" y="7554764"/>
                      <a:pt x="1833812" y="7555996"/>
                      <a:pt x="1835539" y="7555996"/>
                    </a:cubicBezTo>
                    <a:cubicBezTo>
                      <a:pt x="1837266" y="7555996"/>
                      <a:pt x="1838498" y="7554518"/>
                      <a:pt x="1838498" y="7553037"/>
                    </a:cubicBezTo>
                    <a:close/>
                    <a:moveTo>
                      <a:pt x="1838992" y="6026241"/>
                    </a:moveTo>
                    <a:cubicBezTo>
                      <a:pt x="1838992" y="6024760"/>
                      <a:pt x="1837758" y="6023528"/>
                      <a:pt x="1836280" y="6023528"/>
                    </a:cubicBezTo>
                    <a:cubicBezTo>
                      <a:pt x="1834799" y="6023528"/>
                      <a:pt x="1833567" y="6024760"/>
                      <a:pt x="1833567" y="6026241"/>
                    </a:cubicBezTo>
                    <a:cubicBezTo>
                      <a:pt x="1833567" y="6027719"/>
                      <a:pt x="1834799" y="6028954"/>
                      <a:pt x="1836280" y="6028954"/>
                    </a:cubicBezTo>
                    <a:cubicBezTo>
                      <a:pt x="1837758" y="6028954"/>
                      <a:pt x="1838992" y="6027719"/>
                      <a:pt x="1838992" y="6026241"/>
                    </a:cubicBezTo>
                    <a:close/>
                    <a:moveTo>
                      <a:pt x="1839235" y="6244955"/>
                    </a:moveTo>
                    <a:cubicBezTo>
                      <a:pt x="1839235" y="6243720"/>
                      <a:pt x="1838249" y="6242487"/>
                      <a:pt x="1836770" y="6242487"/>
                    </a:cubicBezTo>
                    <a:cubicBezTo>
                      <a:pt x="1835536" y="6242487"/>
                      <a:pt x="1834304" y="6243474"/>
                      <a:pt x="1834304" y="6244955"/>
                    </a:cubicBezTo>
                    <a:cubicBezTo>
                      <a:pt x="1834304" y="6246433"/>
                      <a:pt x="1835289" y="6247418"/>
                      <a:pt x="1836770" y="6247418"/>
                    </a:cubicBezTo>
                    <a:cubicBezTo>
                      <a:pt x="1838249" y="6247418"/>
                      <a:pt x="1839235" y="6246433"/>
                      <a:pt x="1839235" y="6244955"/>
                    </a:cubicBezTo>
                    <a:close/>
                    <a:moveTo>
                      <a:pt x="1839238" y="7008600"/>
                    </a:moveTo>
                    <a:cubicBezTo>
                      <a:pt x="1839238" y="7006872"/>
                      <a:pt x="1838006" y="7005640"/>
                      <a:pt x="1836279" y="7005640"/>
                    </a:cubicBezTo>
                    <a:cubicBezTo>
                      <a:pt x="1834798" y="7005640"/>
                      <a:pt x="1833320" y="7006872"/>
                      <a:pt x="1833320" y="7008600"/>
                    </a:cubicBezTo>
                    <a:cubicBezTo>
                      <a:pt x="1833320" y="7010327"/>
                      <a:pt x="1834552" y="7011559"/>
                      <a:pt x="1836279" y="7011559"/>
                    </a:cubicBezTo>
                    <a:cubicBezTo>
                      <a:pt x="1838006" y="7011559"/>
                      <a:pt x="1839238" y="7010327"/>
                      <a:pt x="1839238" y="7008600"/>
                    </a:cubicBezTo>
                    <a:close/>
                    <a:moveTo>
                      <a:pt x="1839484" y="6135476"/>
                    </a:moveTo>
                    <a:cubicBezTo>
                      <a:pt x="1839484" y="6133749"/>
                      <a:pt x="1838007" y="6132516"/>
                      <a:pt x="1836526" y="6132516"/>
                    </a:cubicBezTo>
                    <a:cubicBezTo>
                      <a:pt x="1834799" y="6132516"/>
                      <a:pt x="1833567" y="6133995"/>
                      <a:pt x="1833567" y="6135476"/>
                    </a:cubicBezTo>
                    <a:cubicBezTo>
                      <a:pt x="1833567" y="6137203"/>
                      <a:pt x="1834799" y="6138435"/>
                      <a:pt x="1836526" y="6138435"/>
                    </a:cubicBezTo>
                    <a:cubicBezTo>
                      <a:pt x="1838007" y="6138435"/>
                      <a:pt x="1839484" y="6137203"/>
                      <a:pt x="1839484" y="6135476"/>
                    </a:cubicBezTo>
                    <a:close/>
                    <a:moveTo>
                      <a:pt x="1839484" y="7226323"/>
                    </a:moveTo>
                    <a:cubicBezTo>
                      <a:pt x="1839484" y="7224596"/>
                      <a:pt x="1838252" y="7223364"/>
                      <a:pt x="1836526" y="7223364"/>
                    </a:cubicBezTo>
                    <a:cubicBezTo>
                      <a:pt x="1834799" y="7223364"/>
                      <a:pt x="1833567" y="7224842"/>
                      <a:pt x="1833567" y="7226323"/>
                    </a:cubicBezTo>
                    <a:cubicBezTo>
                      <a:pt x="1833567" y="7228050"/>
                      <a:pt x="1835045" y="7229282"/>
                      <a:pt x="1836526" y="7229282"/>
                    </a:cubicBezTo>
                    <a:cubicBezTo>
                      <a:pt x="1838252" y="7229282"/>
                      <a:pt x="1839484" y="7228050"/>
                      <a:pt x="1839484" y="7226323"/>
                    </a:cubicBezTo>
                    <a:close/>
                    <a:moveTo>
                      <a:pt x="1839730" y="5257417"/>
                    </a:moveTo>
                    <a:cubicBezTo>
                      <a:pt x="1839730" y="5256185"/>
                      <a:pt x="1838743" y="5255198"/>
                      <a:pt x="1837511" y="5255198"/>
                    </a:cubicBezTo>
                    <a:cubicBezTo>
                      <a:pt x="1836279" y="5255198"/>
                      <a:pt x="1835293" y="5256185"/>
                      <a:pt x="1835293" y="5257417"/>
                    </a:cubicBezTo>
                    <a:cubicBezTo>
                      <a:pt x="1835293" y="5258649"/>
                      <a:pt x="1836279" y="5259638"/>
                      <a:pt x="1837511" y="5259638"/>
                    </a:cubicBezTo>
                    <a:cubicBezTo>
                      <a:pt x="1838743" y="5259638"/>
                      <a:pt x="1839730" y="5258649"/>
                      <a:pt x="1839730" y="5257417"/>
                    </a:cubicBezTo>
                    <a:close/>
                    <a:moveTo>
                      <a:pt x="1839730" y="7117584"/>
                    </a:moveTo>
                    <a:cubicBezTo>
                      <a:pt x="1839730" y="7115857"/>
                      <a:pt x="1838251" y="7114379"/>
                      <a:pt x="1836525" y="7114379"/>
                    </a:cubicBezTo>
                    <a:cubicBezTo>
                      <a:pt x="1834798" y="7114379"/>
                      <a:pt x="1833320" y="7115857"/>
                      <a:pt x="1833320" y="7117584"/>
                    </a:cubicBezTo>
                    <a:cubicBezTo>
                      <a:pt x="1833320" y="7119311"/>
                      <a:pt x="1834798" y="7120789"/>
                      <a:pt x="1836525" y="7120789"/>
                    </a:cubicBezTo>
                    <a:cubicBezTo>
                      <a:pt x="1838251" y="7120789"/>
                      <a:pt x="1839730" y="7119311"/>
                      <a:pt x="1839730" y="7117584"/>
                    </a:cubicBezTo>
                    <a:close/>
                    <a:moveTo>
                      <a:pt x="1840224" y="5807033"/>
                    </a:moveTo>
                    <a:cubicBezTo>
                      <a:pt x="1840224" y="5804570"/>
                      <a:pt x="1838251" y="5802597"/>
                      <a:pt x="1835785" y="5802597"/>
                    </a:cubicBezTo>
                    <a:cubicBezTo>
                      <a:pt x="1833320" y="5802597"/>
                      <a:pt x="1831348" y="5804570"/>
                      <a:pt x="1831348" y="5807033"/>
                    </a:cubicBezTo>
                    <a:cubicBezTo>
                      <a:pt x="1831348" y="5809501"/>
                      <a:pt x="1833320" y="5811473"/>
                      <a:pt x="1835785" y="5811473"/>
                    </a:cubicBezTo>
                    <a:cubicBezTo>
                      <a:pt x="1838251" y="5811473"/>
                      <a:pt x="1840224" y="5809501"/>
                      <a:pt x="1840224" y="5807033"/>
                    </a:cubicBezTo>
                    <a:close/>
                    <a:moveTo>
                      <a:pt x="1840962" y="6681641"/>
                    </a:moveTo>
                    <a:cubicBezTo>
                      <a:pt x="1840962" y="6678682"/>
                      <a:pt x="1838495" y="6676215"/>
                      <a:pt x="1835539" y="6676215"/>
                    </a:cubicBezTo>
                    <a:cubicBezTo>
                      <a:pt x="1832579" y="6676215"/>
                      <a:pt x="1830113" y="6678682"/>
                      <a:pt x="1830113" y="6681641"/>
                    </a:cubicBezTo>
                    <a:cubicBezTo>
                      <a:pt x="1830113" y="6684598"/>
                      <a:pt x="1832579" y="6687065"/>
                      <a:pt x="1835539" y="6687065"/>
                    </a:cubicBezTo>
                    <a:cubicBezTo>
                      <a:pt x="1838495" y="6687065"/>
                      <a:pt x="1840962" y="6684598"/>
                      <a:pt x="1840962" y="6681641"/>
                    </a:cubicBezTo>
                    <a:close/>
                    <a:moveTo>
                      <a:pt x="1841210" y="6790626"/>
                    </a:moveTo>
                    <a:cubicBezTo>
                      <a:pt x="1841210" y="6787668"/>
                      <a:pt x="1838743" y="6785200"/>
                      <a:pt x="1835785" y="6785200"/>
                    </a:cubicBezTo>
                    <a:cubicBezTo>
                      <a:pt x="1832826" y="6785200"/>
                      <a:pt x="1830361" y="6787668"/>
                      <a:pt x="1830361" y="6790626"/>
                    </a:cubicBezTo>
                    <a:cubicBezTo>
                      <a:pt x="1830361" y="6793583"/>
                      <a:pt x="1832826" y="6796050"/>
                      <a:pt x="1835785" y="6796050"/>
                    </a:cubicBezTo>
                    <a:cubicBezTo>
                      <a:pt x="1838743" y="6796050"/>
                      <a:pt x="1841210" y="6793583"/>
                      <a:pt x="1841210" y="6790626"/>
                    </a:cubicBezTo>
                    <a:close/>
                    <a:moveTo>
                      <a:pt x="1841948" y="6899610"/>
                    </a:moveTo>
                    <a:cubicBezTo>
                      <a:pt x="1841948" y="6896406"/>
                      <a:pt x="1839235" y="6893693"/>
                      <a:pt x="1836030" y="6893693"/>
                    </a:cubicBezTo>
                    <a:cubicBezTo>
                      <a:pt x="1832826" y="6893693"/>
                      <a:pt x="1830113" y="6896406"/>
                      <a:pt x="1830113" y="6899610"/>
                    </a:cubicBezTo>
                    <a:cubicBezTo>
                      <a:pt x="1830113" y="6902816"/>
                      <a:pt x="1832826" y="6905528"/>
                      <a:pt x="1836030" y="6905528"/>
                    </a:cubicBezTo>
                    <a:cubicBezTo>
                      <a:pt x="1839235" y="6905528"/>
                      <a:pt x="1841948" y="6902816"/>
                      <a:pt x="1841948" y="6899610"/>
                    </a:cubicBezTo>
                    <a:close/>
                    <a:moveTo>
                      <a:pt x="1843675" y="4924295"/>
                    </a:moveTo>
                    <a:cubicBezTo>
                      <a:pt x="1843675" y="4920349"/>
                      <a:pt x="1840470" y="4917391"/>
                      <a:pt x="1836771" y="4917391"/>
                    </a:cubicBezTo>
                    <a:cubicBezTo>
                      <a:pt x="1832826" y="4917391"/>
                      <a:pt x="1829867" y="4920596"/>
                      <a:pt x="1829867" y="4924295"/>
                    </a:cubicBezTo>
                    <a:cubicBezTo>
                      <a:pt x="1829867" y="4928240"/>
                      <a:pt x="1833071" y="4931199"/>
                      <a:pt x="1836771" y="4931199"/>
                    </a:cubicBezTo>
                    <a:cubicBezTo>
                      <a:pt x="1840470" y="4931199"/>
                      <a:pt x="1843429" y="4927994"/>
                      <a:pt x="1843675" y="4924295"/>
                    </a:cubicBezTo>
                    <a:close/>
                    <a:moveTo>
                      <a:pt x="1843676" y="6463419"/>
                    </a:moveTo>
                    <a:cubicBezTo>
                      <a:pt x="1843676" y="6459969"/>
                      <a:pt x="1840717" y="6457255"/>
                      <a:pt x="1837266" y="6457255"/>
                    </a:cubicBezTo>
                    <a:cubicBezTo>
                      <a:pt x="1833567" y="6457255"/>
                      <a:pt x="1830854" y="6459969"/>
                      <a:pt x="1830854" y="6463419"/>
                    </a:cubicBezTo>
                    <a:cubicBezTo>
                      <a:pt x="1830854" y="6466873"/>
                      <a:pt x="1833812" y="6469832"/>
                      <a:pt x="1837266" y="6469832"/>
                    </a:cubicBezTo>
                    <a:cubicBezTo>
                      <a:pt x="1840717" y="6469832"/>
                      <a:pt x="1843429" y="6466873"/>
                      <a:pt x="1843676" y="6463419"/>
                    </a:cubicBezTo>
                    <a:close/>
                    <a:moveTo>
                      <a:pt x="1843920" y="6354186"/>
                    </a:moveTo>
                    <a:cubicBezTo>
                      <a:pt x="1843920" y="6350487"/>
                      <a:pt x="1840716" y="6347281"/>
                      <a:pt x="1837017" y="6347281"/>
                    </a:cubicBezTo>
                    <a:cubicBezTo>
                      <a:pt x="1833317" y="6347281"/>
                      <a:pt x="1830113" y="6350487"/>
                      <a:pt x="1830113" y="6354186"/>
                    </a:cubicBezTo>
                    <a:cubicBezTo>
                      <a:pt x="1830113" y="6358131"/>
                      <a:pt x="1833317" y="6361090"/>
                      <a:pt x="1837017" y="6361090"/>
                    </a:cubicBezTo>
                    <a:cubicBezTo>
                      <a:pt x="1840716" y="6361090"/>
                      <a:pt x="1843920" y="6358131"/>
                      <a:pt x="1843920" y="6354186"/>
                    </a:cubicBezTo>
                    <a:close/>
                    <a:moveTo>
                      <a:pt x="1847867" y="5477857"/>
                    </a:moveTo>
                    <a:cubicBezTo>
                      <a:pt x="1847867" y="5472432"/>
                      <a:pt x="1843429" y="5467994"/>
                      <a:pt x="1838004" y="5467994"/>
                    </a:cubicBezTo>
                    <a:cubicBezTo>
                      <a:pt x="1832331" y="5467994"/>
                      <a:pt x="1827895" y="5472432"/>
                      <a:pt x="1827895" y="5477857"/>
                    </a:cubicBezTo>
                    <a:cubicBezTo>
                      <a:pt x="1827895" y="5483530"/>
                      <a:pt x="1832580" y="5487966"/>
                      <a:pt x="1838004" y="5487966"/>
                    </a:cubicBezTo>
                    <a:cubicBezTo>
                      <a:pt x="1843429" y="5487966"/>
                      <a:pt x="1847867" y="5483530"/>
                      <a:pt x="1847867" y="5477857"/>
                    </a:cubicBezTo>
                    <a:close/>
                    <a:moveTo>
                      <a:pt x="1848360" y="1698441"/>
                    </a:moveTo>
                    <a:cubicBezTo>
                      <a:pt x="1848360" y="1691043"/>
                      <a:pt x="1842442" y="1685127"/>
                      <a:pt x="1835044" y="1685127"/>
                    </a:cubicBezTo>
                    <a:cubicBezTo>
                      <a:pt x="1827648" y="1685127"/>
                      <a:pt x="1821730" y="1691043"/>
                      <a:pt x="1821730" y="1698441"/>
                    </a:cubicBezTo>
                    <a:cubicBezTo>
                      <a:pt x="1821730" y="1705838"/>
                      <a:pt x="1827648" y="1711739"/>
                      <a:pt x="1835044" y="1711739"/>
                    </a:cubicBezTo>
                    <a:cubicBezTo>
                      <a:pt x="1842442" y="1711739"/>
                      <a:pt x="1848360" y="1705593"/>
                      <a:pt x="1848360" y="1698441"/>
                    </a:cubicBezTo>
                    <a:close/>
                    <a:moveTo>
                      <a:pt x="1849099" y="1808917"/>
                    </a:moveTo>
                    <a:cubicBezTo>
                      <a:pt x="1849099" y="1801277"/>
                      <a:pt x="1842689" y="1794861"/>
                      <a:pt x="1835045" y="1794861"/>
                    </a:cubicBezTo>
                    <a:cubicBezTo>
                      <a:pt x="1827399" y="1794861"/>
                      <a:pt x="1820990" y="1801277"/>
                      <a:pt x="1820990" y="1808917"/>
                    </a:cubicBezTo>
                    <a:cubicBezTo>
                      <a:pt x="1820990" y="1816565"/>
                      <a:pt x="1827399" y="1822971"/>
                      <a:pt x="1835045" y="1822971"/>
                    </a:cubicBezTo>
                    <a:cubicBezTo>
                      <a:pt x="1842935" y="1822971"/>
                      <a:pt x="1849099" y="1816565"/>
                      <a:pt x="1849099" y="1808917"/>
                    </a:cubicBezTo>
                    <a:close/>
                    <a:moveTo>
                      <a:pt x="1851071" y="4242265"/>
                    </a:moveTo>
                    <a:cubicBezTo>
                      <a:pt x="1851071" y="4238072"/>
                      <a:pt x="1847866" y="4234867"/>
                      <a:pt x="1843676" y="4234867"/>
                    </a:cubicBezTo>
                    <a:cubicBezTo>
                      <a:pt x="1839481" y="4234867"/>
                      <a:pt x="1836277" y="4238072"/>
                      <a:pt x="1836277" y="4242265"/>
                    </a:cubicBezTo>
                    <a:cubicBezTo>
                      <a:pt x="1836277" y="4246456"/>
                      <a:pt x="1839481" y="4249661"/>
                      <a:pt x="1843676" y="4249661"/>
                    </a:cubicBezTo>
                    <a:cubicBezTo>
                      <a:pt x="1847620" y="4249661"/>
                      <a:pt x="1851071" y="4246456"/>
                      <a:pt x="1851071" y="4242265"/>
                    </a:cubicBezTo>
                    <a:close/>
                    <a:moveTo>
                      <a:pt x="1852305" y="5367637"/>
                    </a:moveTo>
                    <a:cubicBezTo>
                      <a:pt x="1852305" y="5359498"/>
                      <a:pt x="1845893" y="5353088"/>
                      <a:pt x="1837758" y="5353088"/>
                    </a:cubicBezTo>
                    <a:cubicBezTo>
                      <a:pt x="1829867" y="5353088"/>
                      <a:pt x="1823209" y="5359498"/>
                      <a:pt x="1823209" y="5367637"/>
                    </a:cubicBezTo>
                    <a:cubicBezTo>
                      <a:pt x="1823209" y="5375527"/>
                      <a:pt x="1829618" y="5382182"/>
                      <a:pt x="1837758" y="5382182"/>
                    </a:cubicBezTo>
                    <a:cubicBezTo>
                      <a:pt x="1845648" y="5382182"/>
                      <a:pt x="1852305" y="5375773"/>
                      <a:pt x="1852305" y="5367637"/>
                    </a:cubicBezTo>
                    <a:close/>
                    <a:moveTo>
                      <a:pt x="1852307" y="1587985"/>
                    </a:moveTo>
                    <a:cubicBezTo>
                      <a:pt x="1852307" y="1578371"/>
                      <a:pt x="1844417" y="1570480"/>
                      <a:pt x="1834799" y="1570480"/>
                    </a:cubicBezTo>
                    <a:cubicBezTo>
                      <a:pt x="1825181" y="1570480"/>
                      <a:pt x="1817292" y="1578371"/>
                      <a:pt x="1817292" y="1587985"/>
                    </a:cubicBezTo>
                    <a:cubicBezTo>
                      <a:pt x="1817292" y="1597607"/>
                      <a:pt x="1825181" y="1605495"/>
                      <a:pt x="1834799" y="1605495"/>
                    </a:cubicBezTo>
                    <a:cubicBezTo>
                      <a:pt x="1844417" y="1605495"/>
                      <a:pt x="1852058" y="1597607"/>
                      <a:pt x="1852307" y="1587985"/>
                    </a:cubicBezTo>
                    <a:close/>
                    <a:moveTo>
                      <a:pt x="1852552" y="3258923"/>
                    </a:moveTo>
                    <a:cubicBezTo>
                      <a:pt x="1852552" y="3254729"/>
                      <a:pt x="1849101" y="3251278"/>
                      <a:pt x="1844910" y="3251278"/>
                    </a:cubicBezTo>
                    <a:cubicBezTo>
                      <a:pt x="1840716" y="3251278"/>
                      <a:pt x="1837266" y="3254729"/>
                      <a:pt x="1837266" y="3258923"/>
                    </a:cubicBezTo>
                    <a:cubicBezTo>
                      <a:pt x="1837266" y="3263114"/>
                      <a:pt x="1840716" y="3266567"/>
                      <a:pt x="1844910" y="3266567"/>
                    </a:cubicBezTo>
                    <a:cubicBezTo>
                      <a:pt x="1849101" y="3266567"/>
                      <a:pt x="1852552" y="3263114"/>
                      <a:pt x="1852552" y="3258923"/>
                    </a:cubicBezTo>
                    <a:close/>
                    <a:moveTo>
                      <a:pt x="1857730" y="5146706"/>
                    </a:moveTo>
                    <a:cubicBezTo>
                      <a:pt x="1857730" y="5135362"/>
                      <a:pt x="1848607" y="5126239"/>
                      <a:pt x="1837266" y="5126239"/>
                    </a:cubicBezTo>
                    <a:cubicBezTo>
                      <a:pt x="1825921" y="5126239"/>
                      <a:pt x="1816799" y="5135362"/>
                      <a:pt x="1816799" y="5146706"/>
                    </a:cubicBezTo>
                    <a:cubicBezTo>
                      <a:pt x="1816799" y="5158047"/>
                      <a:pt x="1825921" y="5167173"/>
                      <a:pt x="1837266" y="5167173"/>
                    </a:cubicBezTo>
                    <a:cubicBezTo>
                      <a:pt x="1848607" y="5167173"/>
                      <a:pt x="1857730" y="5158047"/>
                      <a:pt x="1857730" y="5146706"/>
                    </a:cubicBezTo>
                    <a:close/>
                    <a:moveTo>
                      <a:pt x="1859210" y="383368"/>
                    </a:moveTo>
                    <a:cubicBezTo>
                      <a:pt x="1859210" y="368575"/>
                      <a:pt x="1847126" y="356493"/>
                      <a:pt x="1832331" y="356493"/>
                    </a:cubicBezTo>
                    <a:cubicBezTo>
                      <a:pt x="1817536" y="356493"/>
                      <a:pt x="1805455" y="368575"/>
                      <a:pt x="1805455" y="383368"/>
                    </a:cubicBezTo>
                    <a:cubicBezTo>
                      <a:pt x="1805455" y="398162"/>
                      <a:pt x="1817536" y="410246"/>
                      <a:pt x="1832331" y="410246"/>
                    </a:cubicBezTo>
                    <a:cubicBezTo>
                      <a:pt x="1847126" y="410246"/>
                      <a:pt x="1859210" y="398162"/>
                      <a:pt x="1859210" y="383368"/>
                    </a:cubicBezTo>
                    <a:close/>
                    <a:moveTo>
                      <a:pt x="1859701" y="274157"/>
                    </a:moveTo>
                    <a:cubicBezTo>
                      <a:pt x="1859701" y="259117"/>
                      <a:pt x="1847620" y="247036"/>
                      <a:pt x="1832579" y="247036"/>
                    </a:cubicBezTo>
                    <a:cubicBezTo>
                      <a:pt x="1817536" y="247036"/>
                      <a:pt x="1805455" y="259117"/>
                      <a:pt x="1805455" y="274157"/>
                    </a:cubicBezTo>
                    <a:cubicBezTo>
                      <a:pt x="1805455" y="288954"/>
                      <a:pt x="1817536" y="301281"/>
                      <a:pt x="1832579" y="301281"/>
                    </a:cubicBezTo>
                    <a:cubicBezTo>
                      <a:pt x="1847620" y="301281"/>
                      <a:pt x="1859701" y="289200"/>
                      <a:pt x="1859701" y="274157"/>
                    </a:cubicBezTo>
                    <a:close/>
                    <a:moveTo>
                      <a:pt x="1859702" y="1477780"/>
                    </a:moveTo>
                    <a:cubicBezTo>
                      <a:pt x="1859702" y="1464221"/>
                      <a:pt x="1848607" y="1453124"/>
                      <a:pt x="1835045" y="1453124"/>
                    </a:cubicBezTo>
                    <a:cubicBezTo>
                      <a:pt x="1821483" y="1453124"/>
                      <a:pt x="1810387" y="1464221"/>
                      <a:pt x="1810387" y="1477780"/>
                    </a:cubicBezTo>
                    <a:cubicBezTo>
                      <a:pt x="1810387" y="1491344"/>
                      <a:pt x="1821483" y="1502439"/>
                      <a:pt x="1835045" y="1502439"/>
                    </a:cubicBezTo>
                    <a:cubicBezTo>
                      <a:pt x="1848607" y="1502439"/>
                      <a:pt x="1859702" y="1491344"/>
                      <a:pt x="1859702" y="1477780"/>
                    </a:cubicBezTo>
                    <a:close/>
                    <a:moveTo>
                      <a:pt x="1860936" y="56234"/>
                    </a:moveTo>
                    <a:cubicBezTo>
                      <a:pt x="1860936" y="40948"/>
                      <a:pt x="1848361" y="28373"/>
                      <a:pt x="1832826" y="28373"/>
                    </a:cubicBezTo>
                    <a:cubicBezTo>
                      <a:pt x="1817539" y="28373"/>
                      <a:pt x="1804964" y="40703"/>
                      <a:pt x="1804964" y="56234"/>
                    </a:cubicBezTo>
                    <a:cubicBezTo>
                      <a:pt x="1804964" y="71522"/>
                      <a:pt x="1817294" y="84098"/>
                      <a:pt x="1832826" y="84098"/>
                    </a:cubicBezTo>
                    <a:cubicBezTo>
                      <a:pt x="1848361" y="84098"/>
                      <a:pt x="1860936" y="71522"/>
                      <a:pt x="1860936" y="56234"/>
                    </a:cubicBezTo>
                    <a:close/>
                    <a:moveTo>
                      <a:pt x="1860936" y="4588458"/>
                    </a:moveTo>
                    <a:cubicBezTo>
                      <a:pt x="1860936" y="4577609"/>
                      <a:pt x="1852060" y="4568732"/>
                      <a:pt x="1841211" y="4568732"/>
                    </a:cubicBezTo>
                    <a:cubicBezTo>
                      <a:pt x="1830361" y="4568732"/>
                      <a:pt x="1821485" y="4577609"/>
                      <a:pt x="1821485" y="4588458"/>
                    </a:cubicBezTo>
                    <a:cubicBezTo>
                      <a:pt x="1821485" y="4599308"/>
                      <a:pt x="1830361" y="4608185"/>
                      <a:pt x="1841211" y="4608185"/>
                    </a:cubicBezTo>
                    <a:cubicBezTo>
                      <a:pt x="1852060" y="4608185"/>
                      <a:pt x="1860936" y="4599308"/>
                      <a:pt x="1860936" y="4588458"/>
                    </a:cubicBezTo>
                    <a:close/>
                    <a:moveTo>
                      <a:pt x="1861674" y="164950"/>
                    </a:moveTo>
                    <a:cubicBezTo>
                      <a:pt x="1861674" y="149416"/>
                      <a:pt x="1848852" y="136595"/>
                      <a:pt x="1833072" y="136595"/>
                    </a:cubicBezTo>
                    <a:cubicBezTo>
                      <a:pt x="1817292" y="136595"/>
                      <a:pt x="1804469" y="149170"/>
                      <a:pt x="1804469" y="164950"/>
                    </a:cubicBezTo>
                    <a:cubicBezTo>
                      <a:pt x="1804469" y="180731"/>
                      <a:pt x="1817292" y="193552"/>
                      <a:pt x="1833072" y="193552"/>
                    </a:cubicBezTo>
                    <a:cubicBezTo>
                      <a:pt x="1848852" y="193552"/>
                      <a:pt x="1861674" y="180731"/>
                      <a:pt x="1861674" y="164950"/>
                    </a:cubicBezTo>
                    <a:close/>
                    <a:moveTo>
                      <a:pt x="1863647" y="1367817"/>
                    </a:moveTo>
                    <a:cubicBezTo>
                      <a:pt x="1863647" y="1351792"/>
                      <a:pt x="1850579" y="1338970"/>
                      <a:pt x="1834798" y="1338970"/>
                    </a:cubicBezTo>
                    <a:cubicBezTo>
                      <a:pt x="1818771" y="1338970"/>
                      <a:pt x="1805949" y="1352037"/>
                      <a:pt x="1805949" y="1367817"/>
                    </a:cubicBezTo>
                    <a:cubicBezTo>
                      <a:pt x="1805949" y="1383847"/>
                      <a:pt x="1819017" y="1396673"/>
                      <a:pt x="1834798" y="1396673"/>
                    </a:cubicBezTo>
                    <a:cubicBezTo>
                      <a:pt x="1850579" y="1396673"/>
                      <a:pt x="1863647" y="1383600"/>
                      <a:pt x="1863647" y="1367817"/>
                    </a:cubicBezTo>
                    <a:close/>
                    <a:moveTo>
                      <a:pt x="1868333" y="1919843"/>
                    </a:moveTo>
                    <a:cubicBezTo>
                      <a:pt x="1868333" y="1901599"/>
                      <a:pt x="1853538" y="1886807"/>
                      <a:pt x="1835293" y="1886807"/>
                    </a:cubicBezTo>
                    <a:cubicBezTo>
                      <a:pt x="1817045" y="1886807"/>
                      <a:pt x="1802251" y="1901599"/>
                      <a:pt x="1802251" y="1919843"/>
                    </a:cubicBezTo>
                    <a:cubicBezTo>
                      <a:pt x="1802251" y="1938084"/>
                      <a:pt x="1817045" y="1952875"/>
                      <a:pt x="1835293" y="1952875"/>
                    </a:cubicBezTo>
                    <a:cubicBezTo>
                      <a:pt x="1853538" y="1952875"/>
                      <a:pt x="1868333" y="1938084"/>
                      <a:pt x="1868333" y="1919843"/>
                    </a:cubicBezTo>
                    <a:close/>
                    <a:moveTo>
                      <a:pt x="1871786" y="4813581"/>
                    </a:moveTo>
                    <a:cubicBezTo>
                      <a:pt x="1871786" y="4796560"/>
                      <a:pt x="1857986" y="4782759"/>
                      <a:pt x="1840962" y="4782759"/>
                    </a:cubicBezTo>
                    <a:cubicBezTo>
                      <a:pt x="1823942" y="4782759"/>
                      <a:pt x="1810142" y="4796560"/>
                      <a:pt x="1810142" y="4813581"/>
                    </a:cubicBezTo>
                    <a:cubicBezTo>
                      <a:pt x="1810142" y="4830604"/>
                      <a:pt x="1823942" y="4844402"/>
                      <a:pt x="1840962" y="4844402"/>
                    </a:cubicBezTo>
                    <a:cubicBezTo>
                      <a:pt x="1857986" y="4844402"/>
                      <a:pt x="1871786" y="4830604"/>
                      <a:pt x="1871786" y="4813581"/>
                    </a:cubicBezTo>
                    <a:close/>
                    <a:moveTo>
                      <a:pt x="1874743" y="4359145"/>
                    </a:moveTo>
                    <a:cubicBezTo>
                      <a:pt x="1874743" y="4341390"/>
                      <a:pt x="1860196" y="4326842"/>
                      <a:pt x="1842443" y="4326842"/>
                    </a:cubicBezTo>
                    <a:cubicBezTo>
                      <a:pt x="1824690" y="4326842"/>
                      <a:pt x="1810142" y="4341390"/>
                      <a:pt x="1810142" y="4359145"/>
                    </a:cubicBezTo>
                    <a:cubicBezTo>
                      <a:pt x="1810142" y="4376898"/>
                      <a:pt x="1824690" y="4391443"/>
                      <a:pt x="1842443" y="4391443"/>
                    </a:cubicBezTo>
                    <a:cubicBezTo>
                      <a:pt x="1860196" y="4391443"/>
                      <a:pt x="1874496" y="4377143"/>
                      <a:pt x="1874743" y="4359145"/>
                    </a:cubicBezTo>
                    <a:close/>
                    <a:moveTo>
                      <a:pt x="1874991" y="2031021"/>
                    </a:moveTo>
                    <a:cubicBezTo>
                      <a:pt x="1874991" y="2009075"/>
                      <a:pt x="1857238" y="1991324"/>
                      <a:pt x="1835290" y="1991324"/>
                    </a:cubicBezTo>
                    <a:cubicBezTo>
                      <a:pt x="1813346" y="1991324"/>
                      <a:pt x="1795593" y="2009075"/>
                      <a:pt x="1795593" y="2031021"/>
                    </a:cubicBezTo>
                    <a:cubicBezTo>
                      <a:pt x="1795593" y="2052968"/>
                      <a:pt x="1813346" y="2070723"/>
                      <a:pt x="1835290" y="2070723"/>
                    </a:cubicBezTo>
                    <a:cubicBezTo>
                      <a:pt x="1856989" y="2070723"/>
                      <a:pt x="1874742" y="2052968"/>
                      <a:pt x="1874991" y="2031021"/>
                    </a:cubicBezTo>
                    <a:close/>
                    <a:moveTo>
                      <a:pt x="1875483" y="5035745"/>
                    </a:moveTo>
                    <a:cubicBezTo>
                      <a:pt x="1875483" y="5014540"/>
                      <a:pt x="1858222" y="4997279"/>
                      <a:pt x="1837018" y="4997279"/>
                    </a:cubicBezTo>
                    <a:cubicBezTo>
                      <a:pt x="1815811" y="4997279"/>
                      <a:pt x="1798552" y="5014540"/>
                      <a:pt x="1798552" y="5035745"/>
                    </a:cubicBezTo>
                    <a:cubicBezTo>
                      <a:pt x="1798552" y="5056951"/>
                      <a:pt x="1815811" y="5074210"/>
                      <a:pt x="1837018" y="5074210"/>
                    </a:cubicBezTo>
                    <a:cubicBezTo>
                      <a:pt x="1858222" y="5074210"/>
                      <a:pt x="1875483" y="5056951"/>
                      <a:pt x="1875483" y="5035745"/>
                    </a:cubicBezTo>
                    <a:close/>
                    <a:moveTo>
                      <a:pt x="1875975" y="4474541"/>
                    </a:moveTo>
                    <a:cubicBezTo>
                      <a:pt x="1875975" y="4455556"/>
                      <a:pt x="1860689" y="4440266"/>
                      <a:pt x="1841703" y="4440266"/>
                    </a:cubicBezTo>
                    <a:cubicBezTo>
                      <a:pt x="1822715" y="4440266"/>
                      <a:pt x="1807428" y="4455556"/>
                      <a:pt x="1807428" y="4474541"/>
                    </a:cubicBezTo>
                    <a:cubicBezTo>
                      <a:pt x="1807428" y="4493526"/>
                      <a:pt x="1822715" y="4508813"/>
                      <a:pt x="1841703" y="4508813"/>
                    </a:cubicBezTo>
                    <a:cubicBezTo>
                      <a:pt x="1860689" y="4508813"/>
                      <a:pt x="1875975" y="4493526"/>
                      <a:pt x="1875975" y="4474541"/>
                    </a:cubicBezTo>
                    <a:close/>
                    <a:moveTo>
                      <a:pt x="1878444" y="4122677"/>
                    </a:moveTo>
                    <a:cubicBezTo>
                      <a:pt x="1878444" y="4104429"/>
                      <a:pt x="1863650" y="4089634"/>
                      <a:pt x="1845402" y="4089634"/>
                    </a:cubicBezTo>
                    <a:cubicBezTo>
                      <a:pt x="1827402" y="4089634"/>
                      <a:pt x="1812608" y="4104429"/>
                      <a:pt x="1812608" y="4122677"/>
                    </a:cubicBezTo>
                    <a:cubicBezTo>
                      <a:pt x="1812608" y="4140922"/>
                      <a:pt x="1827157" y="4155717"/>
                      <a:pt x="1845402" y="4155717"/>
                    </a:cubicBezTo>
                    <a:cubicBezTo>
                      <a:pt x="1863650" y="4155717"/>
                      <a:pt x="1878444" y="4140922"/>
                      <a:pt x="1878444" y="4122677"/>
                    </a:cubicBezTo>
                    <a:close/>
                    <a:moveTo>
                      <a:pt x="1879427" y="4701391"/>
                    </a:moveTo>
                    <a:cubicBezTo>
                      <a:pt x="1879427" y="4680429"/>
                      <a:pt x="1862169" y="4663171"/>
                      <a:pt x="1841210" y="4663171"/>
                    </a:cubicBezTo>
                    <a:cubicBezTo>
                      <a:pt x="1820249" y="4663171"/>
                      <a:pt x="1802991" y="4680429"/>
                      <a:pt x="1802991" y="4701391"/>
                    </a:cubicBezTo>
                    <a:cubicBezTo>
                      <a:pt x="1802991" y="4722349"/>
                      <a:pt x="1820249" y="4739608"/>
                      <a:pt x="1841210" y="4739608"/>
                    </a:cubicBezTo>
                    <a:cubicBezTo>
                      <a:pt x="1862169" y="4739608"/>
                      <a:pt x="1879427" y="4722594"/>
                      <a:pt x="1879427" y="4701391"/>
                    </a:cubicBezTo>
                    <a:close/>
                    <a:moveTo>
                      <a:pt x="1881895" y="2950215"/>
                    </a:moveTo>
                    <a:cubicBezTo>
                      <a:pt x="1881895" y="2936899"/>
                      <a:pt x="1870800" y="2926049"/>
                      <a:pt x="1857483" y="2926049"/>
                    </a:cubicBezTo>
                    <a:cubicBezTo>
                      <a:pt x="1844169" y="2926049"/>
                      <a:pt x="1833320" y="2936899"/>
                      <a:pt x="1833320" y="2950215"/>
                    </a:cubicBezTo>
                    <a:cubicBezTo>
                      <a:pt x="1833320" y="2963775"/>
                      <a:pt x="1844169" y="2974624"/>
                      <a:pt x="1857483" y="2974624"/>
                    </a:cubicBezTo>
                    <a:cubicBezTo>
                      <a:pt x="1870800" y="2974624"/>
                      <a:pt x="1881895" y="2963775"/>
                      <a:pt x="1881895" y="2950215"/>
                    </a:cubicBezTo>
                    <a:close/>
                    <a:moveTo>
                      <a:pt x="1881895" y="3077444"/>
                    </a:moveTo>
                    <a:cubicBezTo>
                      <a:pt x="1881895" y="3068076"/>
                      <a:pt x="1874251" y="3060677"/>
                      <a:pt x="1865128" y="3060677"/>
                    </a:cubicBezTo>
                    <a:cubicBezTo>
                      <a:pt x="1855760" y="3060677"/>
                      <a:pt x="1848361" y="3068321"/>
                      <a:pt x="1848361" y="3077444"/>
                    </a:cubicBezTo>
                    <a:cubicBezTo>
                      <a:pt x="1848361" y="3086813"/>
                      <a:pt x="1856005" y="3094211"/>
                      <a:pt x="1865128" y="3094211"/>
                    </a:cubicBezTo>
                    <a:cubicBezTo>
                      <a:pt x="1874251" y="3094211"/>
                      <a:pt x="1881895" y="3086813"/>
                      <a:pt x="1881895" y="3077444"/>
                    </a:cubicBezTo>
                    <a:close/>
                    <a:moveTo>
                      <a:pt x="1895704" y="3877580"/>
                    </a:moveTo>
                    <a:cubicBezTo>
                      <a:pt x="1895704" y="3860567"/>
                      <a:pt x="1881895" y="3846758"/>
                      <a:pt x="1864879" y="3846758"/>
                    </a:cubicBezTo>
                    <a:cubicBezTo>
                      <a:pt x="1847866" y="3846758"/>
                      <a:pt x="1834058" y="3860567"/>
                      <a:pt x="1834058" y="3877580"/>
                    </a:cubicBezTo>
                    <a:cubicBezTo>
                      <a:pt x="1834058" y="3894595"/>
                      <a:pt x="1847866" y="3908404"/>
                      <a:pt x="1864879" y="3908404"/>
                    </a:cubicBezTo>
                    <a:cubicBezTo>
                      <a:pt x="1881895" y="3908404"/>
                      <a:pt x="1895949" y="3894595"/>
                      <a:pt x="1895704" y="3877580"/>
                    </a:cubicBezTo>
                    <a:close/>
                    <a:moveTo>
                      <a:pt x="1898170" y="4004813"/>
                    </a:moveTo>
                    <a:cubicBezTo>
                      <a:pt x="1898170" y="3982376"/>
                      <a:pt x="1879922" y="3964127"/>
                      <a:pt x="1857483" y="3964127"/>
                    </a:cubicBezTo>
                    <a:cubicBezTo>
                      <a:pt x="1835045" y="3964127"/>
                      <a:pt x="1816799" y="3982376"/>
                      <a:pt x="1816799" y="4004813"/>
                    </a:cubicBezTo>
                    <a:cubicBezTo>
                      <a:pt x="1816799" y="4027251"/>
                      <a:pt x="1835045" y="4045499"/>
                      <a:pt x="1857483" y="4045499"/>
                    </a:cubicBezTo>
                    <a:cubicBezTo>
                      <a:pt x="1879922" y="4045499"/>
                      <a:pt x="1898416" y="4027251"/>
                      <a:pt x="1898170" y="4004813"/>
                    </a:cubicBezTo>
                    <a:close/>
                    <a:moveTo>
                      <a:pt x="1904826" y="2807205"/>
                    </a:moveTo>
                    <a:cubicBezTo>
                      <a:pt x="1904826" y="2803505"/>
                      <a:pt x="1901621" y="2800300"/>
                      <a:pt x="1897923" y="2800300"/>
                    </a:cubicBezTo>
                    <a:cubicBezTo>
                      <a:pt x="1894223" y="2800300"/>
                      <a:pt x="1891018" y="2803505"/>
                      <a:pt x="1891018" y="2807205"/>
                    </a:cubicBezTo>
                    <a:cubicBezTo>
                      <a:pt x="1891018" y="2810903"/>
                      <a:pt x="1894223" y="2814109"/>
                      <a:pt x="1897923" y="2814109"/>
                    </a:cubicBezTo>
                    <a:cubicBezTo>
                      <a:pt x="1901867" y="2814109"/>
                      <a:pt x="1904826" y="2811150"/>
                      <a:pt x="1904826" y="2807205"/>
                    </a:cubicBezTo>
                    <a:close/>
                    <a:moveTo>
                      <a:pt x="1916169" y="2690826"/>
                    </a:moveTo>
                    <a:cubicBezTo>
                      <a:pt x="1916169" y="2680468"/>
                      <a:pt x="1907785" y="2672331"/>
                      <a:pt x="1897676" y="2672331"/>
                    </a:cubicBezTo>
                    <a:cubicBezTo>
                      <a:pt x="1887564" y="2672331"/>
                      <a:pt x="1879182" y="2680714"/>
                      <a:pt x="1879182" y="2690826"/>
                    </a:cubicBezTo>
                    <a:cubicBezTo>
                      <a:pt x="1879182" y="2701180"/>
                      <a:pt x="1887564" y="2709320"/>
                      <a:pt x="1897676" y="2709320"/>
                    </a:cubicBezTo>
                    <a:cubicBezTo>
                      <a:pt x="1908030" y="2709320"/>
                      <a:pt x="1916169" y="2700935"/>
                      <a:pt x="1916169" y="2690826"/>
                    </a:cubicBezTo>
                    <a:close/>
                    <a:moveTo>
                      <a:pt x="1917896" y="1031536"/>
                    </a:moveTo>
                    <a:cubicBezTo>
                      <a:pt x="1917896" y="1016501"/>
                      <a:pt x="1905566" y="1004167"/>
                      <a:pt x="1890526" y="1004167"/>
                    </a:cubicBezTo>
                    <a:cubicBezTo>
                      <a:pt x="1875485" y="1004167"/>
                      <a:pt x="1863155" y="1016501"/>
                      <a:pt x="1863155" y="1031536"/>
                    </a:cubicBezTo>
                    <a:cubicBezTo>
                      <a:pt x="1863155" y="1046579"/>
                      <a:pt x="1875485" y="1058904"/>
                      <a:pt x="1890526" y="1058904"/>
                    </a:cubicBezTo>
                    <a:cubicBezTo>
                      <a:pt x="1905566" y="1058904"/>
                      <a:pt x="1917896" y="1046579"/>
                      <a:pt x="1917896" y="1031536"/>
                    </a:cubicBezTo>
                    <a:close/>
                    <a:moveTo>
                      <a:pt x="1920112" y="813107"/>
                    </a:moveTo>
                    <a:cubicBezTo>
                      <a:pt x="1920112" y="797576"/>
                      <a:pt x="1907536" y="784997"/>
                      <a:pt x="1892004" y="784997"/>
                    </a:cubicBezTo>
                    <a:cubicBezTo>
                      <a:pt x="1876469" y="784997"/>
                      <a:pt x="1863893" y="797576"/>
                      <a:pt x="1863893" y="813107"/>
                    </a:cubicBezTo>
                    <a:cubicBezTo>
                      <a:pt x="1863893" y="828643"/>
                      <a:pt x="1876469" y="841222"/>
                      <a:pt x="1892004" y="841222"/>
                    </a:cubicBezTo>
                    <a:cubicBezTo>
                      <a:pt x="1907536" y="841222"/>
                      <a:pt x="1920112" y="828643"/>
                      <a:pt x="1920112" y="813107"/>
                    </a:cubicBezTo>
                    <a:close/>
                    <a:moveTo>
                      <a:pt x="1921101" y="922321"/>
                    </a:moveTo>
                    <a:cubicBezTo>
                      <a:pt x="1921101" y="905796"/>
                      <a:pt x="1907539" y="892237"/>
                      <a:pt x="1891018" y="892237"/>
                    </a:cubicBezTo>
                    <a:cubicBezTo>
                      <a:pt x="1874745" y="892237"/>
                      <a:pt x="1861183" y="905796"/>
                      <a:pt x="1861183" y="922321"/>
                    </a:cubicBezTo>
                    <a:cubicBezTo>
                      <a:pt x="1861183" y="938837"/>
                      <a:pt x="1874496" y="952158"/>
                      <a:pt x="1891018" y="952158"/>
                    </a:cubicBezTo>
                    <a:cubicBezTo>
                      <a:pt x="1907539" y="952158"/>
                      <a:pt x="1921101" y="938837"/>
                      <a:pt x="1921101" y="922321"/>
                    </a:cubicBezTo>
                    <a:close/>
                    <a:moveTo>
                      <a:pt x="1922579" y="1250217"/>
                    </a:moveTo>
                    <a:cubicBezTo>
                      <a:pt x="1922579" y="1232221"/>
                      <a:pt x="1907785" y="1217425"/>
                      <a:pt x="1889783" y="1217425"/>
                    </a:cubicBezTo>
                    <a:cubicBezTo>
                      <a:pt x="1871783" y="1217425"/>
                      <a:pt x="1856989" y="1232221"/>
                      <a:pt x="1856989" y="1250217"/>
                    </a:cubicBezTo>
                    <a:cubicBezTo>
                      <a:pt x="1856989" y="1268216"/>
                      <a:pt x="1871783" y="1283017"/>
                      <a:pt x="1889783" y="1283017"/>
                    </a:cubicBezTo>
                    <a:cubicBezTo>
                      <a:pt x="1907785" y="1283017"/>
                      <a:pt x="1922579" y="1268216"/>
                      <a:pt x="1922579" y="1250217"/>
                    </a:cubicBezTo>
                    <a:close/>
                    <a:moveTo>
                      <a:pt x="1922826" y="1140507"/>
                    </a:moveTo>
                    <a:cubicBezTo>
                      <a:pt x="1922826" y="1122510"/>
                      <a:pt x="1908277" y="1107960"/>
                      <a:pt x="1890277" y="1107960"/>
                    </a:cubicBezTo>
                    <a:cubicBezTo>
                      <a:pt x="1872279" y="1107960"/>
                      <a:pt x="1857730" y="1122510"/>
                      <a:pt x="1857730" y="1140507"/>
                    </a:cubicBezTo>
                    <a:cubicBezTo>
                      <a:pt x="1857730" y="1158506"/>
                      <a:pt x="1872279" y="1173055"/>
                      <a:pt x="1890277" y="1173055"/>
                    </a:cubicBezTo>
                    <a:cubicBezTo>
                      <a:pt x="1908277" y="1173055"/>
                      <a:pt x="1922826" y="1158506"/>
                      <a:pt x="1922826" y="1140507"/>
                    </a:cubicBezTo>
                    <a:close/>
                    <a:moveTo>
                      <a:pt x="1923319" y="485922"/>
                    </a:moveTo>
                    <a:cubicBezTo>
                      <a:pt x="1923319" y="468909"/>
                      <a:pt x="1909511" y="455101"/>
                      <a:pt x="1892495" y="455101"/>
                    </a:cubicBezTo>
                    <a:cubicBezTo>
                      <a:pt x="1875482" y="455101"/>
                      <a:pt x="1861674" y="468909"/>
                      <a:pt x="1861674" y="485922"/>
                    </a:cubicBezTo>
                    <a:cubicBezTo>
                      <a:pt x="1861674" y="502936"/>
                      <a:pt x="1875482" y="516745"/>
                      <a:pt x="1892495" y="516745"/>
                    </a:cubicBezTo>
                    <a:cubicBezTo>
                      <a:pt x="1909263" y="516745"/>
                      <a:pt x="1923070" y="502936"/>
                      <a:pt x="1923319" y="485922"/>
                    </a:cubicBezTo>
                    <a:close/>
                    <a:moveTo>
                      <a:pt x="1923320" y="595133"/>
                    </a:moveTo>
                    <a:cubicBezTo>
                      <a:pt x="1923320" y="578121"/>
                      <a:pt x="1909512" y="564068"/>
                      <a:pt x="1892251" y="564068"/>
                    </a:cubicBezTo>
                    <a:cubicBezTo>
                      <a:pt x="1875237" y="564068"/>
                      <a:pt x="1861183" y="577876"/>
                      <a:pt x="1861183" y="595133"/>
                    </a:cubicBezTo>
                    <a:cubicBezTo>
                      <a:pt x="1861183" y="612149"/>
                      <a:pt x="1874991" y="626203"/>
                      <a:pt x="1892251" y="626203"/>
                    </a:cubicBezTo>
                    <a:cubicBezTo>
                      <a:pt x="1909266" y="626203"/>
                      <a:pt x="1923320" y="612149"/>
                      <a:pt x="1923320" y="595133"/>
                    </a:cubicBezTo>
                    <a:close/>
                    <a:moveTo>
                      <a:pt x="1924059" y="704136"/>
                    </a:moveTo>
                    <a:cubicBezTo>
                      <a:pt x="1924059" y="686630"/>
                      <a:pt x="1909757" y="672326"/>
                      <a:pt x="1892250" y="672326"/>
                    </a:cubicBezTo>
                    <a:cubicBezTo>
                      <a:pt x="1874744" y="672326"/>
                      <a:pt x="1860442" y="686630"/>
                      <a:pt x="1860442" y="704136"/>
                    </a:cubicBezTo>
                    <a:cubicBezTo>
                      <a:pt x="1860442" y="721643"/>
                      <a:pt x="1874744" y="735940"/>
                      <a:pt x="1892250" y="735940"/>
                    </a:cubicBezTo>
                    <a:cubicBezTo>
                      <a:pt x="1909757" y="735940"/>
                      <a:pt x="1924059" y="721643"/>
                      <a:pt x="1924059" y="704136"/>
                    </a:cubicBezTo>
                    <a:close/>
                    <a:moveTo>
                      <a:pt x="1924797" y="2239618"/>
                    </a:moveTo>
                    <a:cubicBezTo>
                      <a:pt x="1924797" y="2223838"/>
                      <a:pt x="1911975" y="2211014"/>
                      <a:pt x="1896195" y="2211014"/>
                    </a:cubicBezTo>
                    <a:cubicBezTo>
                      <a:pt x="1880414" y="2211014"/>
                      <a:pt x="1867592" y="2223838"/>
                      <a:pt x="1867592" y="2239618"/>
                    </a:cubicBezTo>
                    <a:cubicBezTo>
                      <a:pt x="1867592" y="2255153"/>
                      <a:pt x="1880414" y="2267971"/>
                      <a:pt x="1896195" y="2267971"/>
                    </a:cubicBezTo>
                    <a:cubicBezTo>
                      <a:pt x="1911975" y="2267971"/>
                      <a:pt x="1924551" y="2255399"/>
                      <a:pt x="1924797" y="2239618"/>
                    </a:cubicBezTo>
                    <a:close/>
                    <a:moveTo>
                      <a:pt x="1927017" y="2576420"/>
                    </a:moveTo>
                    <a:cubicBezTo>
                      <a:pt x="1927017" y="2560145"/>
                      <a:pt x="1913702" y="2546831"/>
                      <a:pt x="1897427" y="2546831"/>
                    </a:cubicBezTo>
                    <a:cubicBezTo>
                      <a:pt x="1881155" y="2546831"/>
                      <a:pt x="1867839" y="2560145"/>
                      <a:pt x="1867839" y="2576420"/>
                    </a:cubicBezTo>
                    <a:cubicBezTo>
                      <a:pt x="1867839" y="2592695"/>
                      <a:pt x="1881155" y="2606009"/>
                      <a:pt x="1897427" y="2606009"/>
                    </a:cubicBezTo>
                    <a:cubicBezTo>
                      <a:pt x="1913702" y="2606009"/>
                      <a:pt x="1927017" y="2592695"/>
                      <a:pt x="1927017" y="2576420"/>
                    </a:cubicBezTo>
                    <a:close/>
                    <a:moveTo>
                      <a:pt x="1930469" y="2128415"/>
                    </a:moveTo>
                    <a:cubicBezTo>
                      <a:pt x="1930469" y="2109676"/>
                      <a:pt x="1914935" y="2094140"/>
                      <a:pt x="1895948" y="2094140"/>
                    </a:cubicBezTo>
                    <a:cubicBezTo>
                      <a:pt x="1877209" y="2094140"/>
                      <a:pt x="1861674" y="2109428"/>
                      <a:pt x="1861674" y="2128415"/>
                    </a:cubicBezTo>
                    <a:cubicBezTo>
                      <a:pt x="1861674" y="2147403"/>
                      <a:pt x="1876963" y="2162936"/>
                      <a:pt x="1895948" y="2162936"/>
                    </a:cubicBezTo>
                    <a:cubicBezTo>
                      <a:pt x="1914935" y="2162936"/>
                      <a:pt x="1930220" y="2147403"/>
                      <a:pt x="1930469" y="2128415"/>
                    </a:cubicBezTo>
                    <a:close/>
                    <a:moveTo>
                      <a:pt x="1937619" y="3172374"/>
                    </a:moveTo>
                    <a:cubicBezTo>
                      <a:pt x="1937619" y="3163005"/>
                      <a:pt x="1929975" y="3155115"/>
                      <a:pt x="1920358" y="3155115"/>
                    </a:cubicBezTo>
                    <a:cubicBezTo>
                      <a:pt x="1910989" y="3155115"/>
                      <a:pt x="1903099" y="3162759"/>
                      <a:pt x="1903099" y="3172374"/>
                    </a:cubicBezTo>
                    <a:cubicBezTo>
                      <a:pt x="1903099" y="3181990"/>
                      <a:pt x="1910744" y="3189635"/>
                      <a:pt x="1920358" y="3189635"/>
                    </a:cubicBezTo>
                    <a:cubicBezTo>
                      <a:pt x="1929729" y="3189635"/>
                      <a:pt x="1937619" y="3181745"/>
                      <a:pt x="1937619" y="3172374"/>
                    </a:cubicBezTo>
                    <a:close/>
                    <a:moveTo>
                      <a:pt x="1939840" y="2351068"/>
                    </a:moveTo>
                    <a:cubicBezTo>
                      <a:pt x="1939840" y="2327388"/>
                      <a:pt x="1920360" y="2307909"/>
                      <a:pt x="1896443" y="2307909"/>
                    </a:cubicBezTo>
                    <a:cubicBezTo>
                      <a:pt x="1872772" y="2307909"/>
                      <a:pt x="1853292" y="2327141"/>
                      <a:pt x="1853292" y="2351068"/>
                    </a:cubicBezTo>
                    <a:cubicBezTo>
                      <a:pt x="1853292" y="2374981"/>
                      <a:pt x="1872523" y="2394459"/>
                      <a:pt x="1896443" y="2394459"/>
                    </a:cubicBezTo>
                    <a:cubicBezTo>
                      <a:pt x="1920360" y="2394459"/>
                      <a:pt x="1939840" y="2374981"/>
                      <a:pt x="1939840" y="2351068"/>
                    </a:cubicBezTo>
                    <a:close/>
                    <a:moveTo>
                      <a:pt x="1941811" y="2463248"/>
                    </a:moveTo>
                    <a:cubicBezTo>
                      <a:pt x="1941811" y="2438590"/>
                      <a:pt x="1921593" y="2418371"/>
                      <a:pt x="1896936" y="2418371"/>
                    </a:cubicBezTo>
                    <a:cubicBezTo>
                      <a:pt x="1872030" y="2418371"/>
                      <a:pt x="1852058" y="2438590"/>
                      <a:pt x="1852058" y="2463248"/>
                    </a:cubicBezTo>
                    <a:cubicBezTo>
                      <a:pt x="1852058" y="2488151"/>
                      <a:pt x="1872279" y="2508122"/>
                      <a:pt x="1896936" y="2508122"/>
                    </a:cubicBezTo>
                    <a:cubicBezTo>
                      <a:pt x="1921593" y="2508122"/>
                      <a:pt x="1941811" y="2487905"/>
                      <a:pt x="1941811" y="2463248"/>
                    </a:cubicBezTo>
                    <a:close/>
                    <a:moveTo>
                      <a:pt x="1953401" y="4946978"/>
                    </a:moveTo>
                    <a:cubicBezTo>
                      <a:pt x="1953401" y="4945746"/>
                      <a:pt x="1952414" y="4944759"/>
                      <a:pt x="1951182" y="4944759"/>
                    </a:cubicBezTo>
                    <a:cubicBezTo>
                      <a:pt x="1949950" y="4944759"/>
                      <a:pt x="1948964" y="4945746"/>
                      <a:pt x="1948964" y="4946978"/>
                    </a:cubicBezTo>
                    <a:cubicBezTo>
                      <a:pt x="1948964" y="4948210"/>
                      <a:pt x="1949950" y="4949196"/>
                      <a:pt x="1951182" y="4949196"/>
                    </a:cubicBezTo>
                    <a:cubicBezTo>
                      <a:pt x="1952414" y="4949196"/>
                      <a:pt x="1953401" y="4948210"/>
                      <a:pt x="1953401" y="4946978"/>
                    </a:cubicBezTo>
                    <a:close/>
                    <a:moveTo>
                      <a:pt x="1953895" y="5712351"/>
                    </a:moveTo>
                    <a:cubicBezTo>
                      <a:pt x="1953895" y="5710870"/>
                      <a:pt x="1952661" y="5709638"/>
                      <a:pt x="1951183" y="5709638"/>
                    </a:cubicBezTo>
                    <a:cubicBezTo>
                      <a:pt x="1949702" y="5709638"/>
                      <a:pt x="1948470" y="5710870"/>
                      <a:pt x="1948470" y="5712351"/>
                    </a:cubicBezTo>
                    <a:cubicBezTo>
                      <a:pt x="1948470" y="5713829"/>
                      <a:pt x="1949702" y="5715064"/>
                      <a:pt x="1951183" y="5715064"/>
                    </a:cubicBezTo>
                    <a:cubicBezTo>
                      <a:pt x="1952661" y="5715064"/>
                      <a:pt x="1953895" y="5713829"/>
                      <a:pt x="1953895" y="5712351"/>
                    </a:cubicBezTo>
                    <a:close/>
                    <a:moveTo>
                      <a:pt x="1954388" y="7452682"/>
                    </a:moveTo>
                    <a:cubicBezTo>
                      <a:pt x="1954388" y="7451201"/>
                      <a:pt x="1953155" y="7449722"/>
                      <a:pt x="1951429" y="7449722"/>
                    </a:cubicBezTo>
                    <a:cubicBezTo>
                      <a:pt x="1949948" y="7449722"/>
                      <a:pt x="1948470" y="7450954"/>
                      <a:pt x="1948470" y="7452682"/>
                    </a:cubicBezTo>
                    <a:cubicBezTo>
                      <a:pt x="1948470" y="7454160"/>
                      <a:pt x="1949702" y="7455641"/>
                      <a:pt x="1951429" y="7455641"/>
                    </a:cubicBezTo>
                    <a:cubicBezTo>
                      <a:pt x="1953155" y="7455641"/>
                      <a:pt x="1954388" y="7454160"/>
                      <a:pt x="1954388" y="7452682"/>
                    </a:cubicBezTo>
                    <a:close/>
                    <a:moveTo>
                      <a:pt x="1954390" y="5930075"/>
                    </a:moveTo>
                    <a:cubicBezTo>
                      <a:pt x="1954390" y="5928594"/>
                      <a:pt x="1953155" y="5927363"/>
                      <a:pt x="1951677" y="5927363"/>
                    </a:cubicBezTo>
                    <a:cubicBezTo>
                      <a:pt x="1950196" y="5927363"/>
                      <a:pt x="1948964" y="5928594"/>
                      <a:pt x="1948964" y="5930075"/>
                    </a:cubicBezTo>
                    <a:cubicBezTo>
                      <a:pt x="1948964" y="5931554"/>
                      <a:pt x="1950196" y="5932789"/>
                      <a:pt x="1951677" y="5932789"/>
                    </a:cubicBezTo>
                    <a:cubicBezTo>
                      <a:pt x="1953155" y="5932789"/>
                      <a:pt x="1954390" y="5931800"/>
                      <a:pt x="1954390" y="5930075"/>
                    </a:cubicBezTo>
                    <a:close/>
                    <a:moveTo>
                      <a:pt x="1954390" y="6583254"/>
                    </a:moveTo>
                    <a:cubicBezTo>
                      <a:pt x="1954390" y="6581527"/>
                      <a:pt x="1952909" y="6580048"/>
                      <a:pt x="1951182" y="6580048"/>
                    </a:cubicBezTo>
                    <a:cubicBezTo>
                      <a:pt x="1949455" y="6580048"/>
                      <a:pt x="1947978" y="6581527"/>
                      <a:pt x="1947978" y="6583254"/>
                    </a:cubicBezTo>
                    <a:cubicBezTo>
                      <a:pt x="1947978" y="6584980"/>
                      <a:pt x="1949455" y="6586461"/>
                      <a:pt x="1951182" y="6586461"/>
                    </a:cubicBezTo>
                    <a:cubicBezTo>
                      <a:pt x="1953154" y="6586461"/>
                      <a:pt x="1954635" y="6584980"/>
                      <a:pt x="1954390" y="6583254"/>
                    </a:cubicBezTo>
                    <a:close/>
                    <a:moveTo>
                      <a:pt x="1954390" y="7343942"/>
                    </a:moveTo>
                    <a:cubicBezTo>
                      <a:pt x="1954390" y="7342216"/>
                      <a:pt x="1952909" y="7340737"/>
                      <a:pt x="1951182" y="7340737"/>
                    </a:cubicBezTo>
                    <a:cubicBezTo>
                      <a:pt x="1949455" y="7340737"/>
                      <a:pt x="1947978" y="7342216"/>
                      <a:pt x="1947978" y="7343942"/>
                    </a:cubicBezTo>
                    <a:cubicBezTo>
                      <a:pt x="1947978" y="7345669"/>
                      <a:pt x="1949455" y="7347150"/>
                      <a:pt x="1951182" y="7347150"/>
                    </a:cubicBezTo>
                    <a:cubicBezTo>
                      <a:pt x="1952909" y="7347150"/>
                      <a:pt x="1954390" y="7345669"/>
                      <a:pt x="1954390" y="7343942"/>
                    </a:cubicBezTo>
                    <a:close/>
                    <a:moveTo>
                      <a:pt x="1954633" y="7561175"/>
                    </a:moveTo>
                    <a:cubicBezTo>
                      <a:pt x="1954633" y="7559447"/>
                      <a:pt x="1953401" y="7558215"/>
                      <a:pt x="1951674" y="7558215"/>
                    </a:cubicBezTo>
                    <a:cubicBezTo>
                      <a:pt x="1950193" y="7558215"/>
                      <a:pt x="1948715" y="7559447"/>
                      <a:pt x="1948715" y="7561175"/>
                    </a:cubicBezTo>
                    <a:cubicBezTo>
                      <a:pt x="1948715" y="7562653"/>
                      <a:pt x="1949948" y="7564134"/>
                      <a:pt x="1951674" y="7564134"/>
                    </a:cubicBezTo>
                    <a:cubicBezTo>
                      <a:pt x="1953401" y="7564134"/>
                      <a:pt x="1954633" y="7562902"/>
                      <a:pt x="1954633" y="7561175"/>
                    </a:cubicBezTo>
                    <a:close/>
                    <a:moveTo>
                      <a:pt x="1954881" y="6039064"/>
                    </a:moveTo>
                    <a:cubicBezTo>
                      <a:pt x="1954881" y="6037336"/>
                      <a:pt x="1953401" y="6036104"/>
                      <a:pt x="1951922" y="6036104"/>
                    </a:cubicBezTo>
                    <a:cubicBezTo>
                      <a:pt x="1950442" y="6036104"/>
                      <a:pt x="1949210" y="6037583"/>
                      <a:pt x="1949210" y="6039064"/>
                    </a:cubicBezTo>
                    <a:cubicBezTo>
                      <a:pt x="1949210" y="6040791"/>
                      <a:pt x="1950442" y="6042023"/>
                      <a:pt x="1951922" y="6042023"/>
                    </a:cubicBezTo>
                    <a:cubicBezTo>
                      <a:pt x="1953401" y="6042023"/>
                      <a:pt x="1954635" y="6040791"/>
                      <a:pt x="1954881" y="6039064"/>
                    </a:cubicBezTo>
                    <a:close/>
                    <a:moveTo>
                      <a:pt x="1954881" y="6257036"/>
                    </a:moveTo>
                    <a:cubicBezTo>
                      <a:pt x="1954881" y="6255309"/>
                      <a:pt x="1953647" y="6254077"/>
                      <a:pt x="1952169" y="6254077"/>
                    </a:cubicBezTo>
                    <a:cubicBezTo>
                      <a:pt x="1950688" y="6254077"/>
                      <a:pt x="1949455" y="6255555"/>
                      <a:pt x="1949455" y="6257036"/>
                    </a:cubicBezTo>
                    <a:cubicBezTo>
                      <a:pt x="1949455" y="6258514"/>
                      <a:pt x="1950688" y="6259749"/>
                      <a:pt x="1952169" y="6259749"/>
                    </a:cubicBezTo>
                    <a:cubicBezTo>
                      <a:pt x="1953647" y="6259749"/>
                      <a:pt x="1954881" y="6258514"/>
                      <a:pt x="1954881" y="6257036"/>
                    </a:cubicBezTo>
                    <a:close/>
                    <a:moveTo>
                      <a:pt x="1954882" y="6148050"/>
                    </a:moveTo>
                    <a:cubicBezTo>
                      <a:pt x="1954882" y="6146569"/>
                      <a:pt x="1953650" y="6145090"/>
                      <a:pt x="1951923" y="6145090"/>
                    </a:cubicBezTo>
                    <a:cubicBezTo>
                      <a:pt x="1950196" y="6145090"/>
                      <a:pt x="1948964" y="6146321"/>
                      <a:pt x="1948964" y="6148050"/>
                    </a:cubicBezTo>
                    <a:cubicBezTo>
                      <a:pt x="1948964" y="6149776"/>
                      <a:pt x="1950196" y="6151008"/>
                      <a:pt x="1951923" y="6151008"/>
                    </a:cubicBezTo>
                    <a:cubicBezTo>
                      <a:pt x="1953650" y="6151008"/>
                      <a:pt x="1955128" y="6149776"/>
                      <a:pt x="1954882" y="6148050"/>
                    </a:cubicBezTo>
                    <a:close/>
                    <a:moveTo>
                      <a:pt x="1955127" y="7017967"/>
                    </a:moveTo>
                    <a:cubicBezTo>
                      <a:pt x="1955127" y="7016241"/>
                      <a:pt x="1953647" y="7014762"/>
                      <a:pt x="1951920" y="7014762"/>
                    </a:cubicBezTo>
                    <a:cubicBezTo>
                      <a:pt x="1950193" y="7014762"/>
                      <a:pt x="1948715" y="7016241"/>
                      <a:pt x="1948715" y="7017967"/>
                    </a:cubicBezTo>
                    <a:cubicBezTo>
                      <a:pt x="1948715" y="7019695"/>
                      <a:pt x="1950193" y="7021176"/>
                      <a:pt x="1951920" y="7021176"/>
                    </a:cubicBezTo>
                    <a:cubicBezTo>
                      <a:pt x="1953647" y="7021176"/>
                      <a:pt x="1955127" y="7019695"/>
                      <a:pt x="1955127" y="7017967"/>
                    </a:cubicBezTo>
                    <a:close/>
                    <a:moveTo>
                      <a:pt x="1955127" y="7235448"/>
                    </a:moveTo>
                    <a:cubicBezTo>
                      <a:pt x="1955127" y="7233970"/>
                      <a:pt x="1953895" y="7232489"/>
                      <a:pt x="1952169" y="7232489"/>
                    </a:cubicBezTo>
                    <a:cubicBezTo>
                      <a:pt x="1950442" y="7232489"/>
                      <a:pt x="1949210" y="7233722"/>
                      <a:pt x="1949210" y="7235448"/>
                    </a:cubicBezTo>
                    <a:cubicBezTo>
                      <a:pt x="1949210" y="7236929"/>
                      <a:pt x="1950442" y="7238407"/>
                      <a:pt x="1952169" y="7238407"/>
                    </a:cubicBezTo>
                    <a:cubicBezTo>
                      <a:pt x="1953895" y="7238407"/>
                      <a:pt x="1955374" y="7236929"/>
                      <a:pt x="1955127" y="7235448"/>
                    </a:cubicBezTo>
                    <a:close/>
                    <a:moveTo>
                      <a:pt x="1955374" y="5275911"/>
                    </a:moveTo>
                    <a:cubicBezTo>
                      <a:pt x="1955374" y="5274185"/>
                      <a:pt x="1953895" y="5272706"/>
                      <a:pt x="1952169" y="5272706"/>
                    </a:cubicBezTo>
                    <a:cubicBezTo>
                      <a:pt x="1950442" y="5272706"/>
                      <a:pt x="1948964" y="5274185"/>
                      <a:pt x="1948964" y="5275911"/>
                    </a:cubicBezTo>
                    <a:cubicBezTo>
                      <a:pt x="1948964" y="5277638"/>
                      <a:pt x="1950442" y="5279116"/>
                      <a:pt x="1952169" y="5279116"/>
                    </a:cubicBezTo>
                    <a:cubicBezTo>
                      <a:pt x="1953895" y="5279116"/>
                      <a:pt x="1955374" y="5277638"/>
                      <a:pt x="1955374" y="5275911"/>
                    </a:cubicBezTo>
                    <a:close/>
                    <a:moveTo>
                      <a:pt x="1955374" y="5821336"/>
                    </a:moveTo>
                    <a:cubicBezTo>
                      <a:pt x="1955374" y="5818872"/>
                      <a:pt x="1953650" y="5817145"/>
                      <a:pt x="1951429" y="5817145"/>
                    </a:cubicBezTo>
                    <a:cubicBezTo>
                      <a:pt x="1948964" y="5817145"/>
                      <a:pt x="1947238" y="5819118"/>
                      <a:pt x="1947238" y="5821336"/>
                    </a:cubicBezTo>
                    <a:cubicBezTo>
                      <a:pt x="1947238" y="5823558"/>
                      <a:pt x="1949210" y="5825282"/>
                      <a:pt x="1951429" y="5825282"/>
                    </a:cubicBezTo>
                    <a:cubicBezTo>
                      <a:pt x="1953650" y="5825282"/>
                      <a:pt x="1955374" y="5823558"/>
                      <a:pt x="1955374" y="5821336"/>
                    </a:cubicBezTo>
                    <a:close/>
                    <a:moveTo>
                      <a:pt x="1955374" y="7126708"/>
                    </a:moveTo>
                    <a:cubicBezTo>
                      <a:pt x="1955374" y="7124981"/>
                      <a:pt x="1953895" y="7123502"/>
                      <a:pt x="1952169" y="7123502"/>
                    </a:cubicBezTo>
                    <a:cubicBezTo>
                      <a:pt x="1950442" y="7123502"/>
                      <a:pt x="1948964" y="7124981"/>
                      <a:pt x="1948964" y="7126708"/>
                    </a:cubicBezTo>
                    <a:cubicBezTo>
                      <a:pt x="1948964" y="7128434"/>
                      <a:pt x="1950442" y="7129915"/>
                      <a:pt x="1952169" y="7129915"/>
                    </a:cubicBezTo>
                    <a:cubicBezTo>
                      <a:pt x="1953895" y="7129915"/>
                      <a:pt x="1955374" y="7128434"/>
                      <a:pt x="1955374" y="7126708"/>
                    </a:cubicBezTo>
                    <a:close/>
                    <a:moveTo>
                      <a:pt x="1956114" y="6691997"/>
                    </a:moveTo>
                    <a:cubicBezTo>
                      <a:pt x="1956114" y="6689529"/>
                      <a:pt x="1954142" y="6687310"/>
                      <a:pt x="1951429" y="6687310"/>
                    </a:cubicBezTo>
                    <a:cubicBezTo>
                      <a:pt x="1948961" y="6687310"/>
                      <a:pt x="1946743" y="6689283"/>
                      <a:pt x="1946743" y="6691997"/>
                    </a:cubicBezTo>
                    <a:cubicBezTo>
                      <a:pt x="1946743" y="6694461"/>
                      <a:pt x="1948715" y="6696682"/>
                      <a:pt x="1951429" y="6696682"/>
                    </a:cubicBezTo>
                    <a:cubicBezTo>
                      <a:pt x="1954142" y="6696682"/>
                      <a:pt x="1956114" y="6694461"/>
                      <a:pt x="1956114" y="6691997"/>
                    </a:cubicBezTo>
                    <a:close/>
                    <a:moveTo>
                      <a:pt x="1956360" y="6800490"/>
                    </a:moveTo>
                    <a:cubicBezTo>
                      <a:pt x="1956360" y="6797776"/>
                      <a:pt x="1954141" y="6795803"/>
                      <a:pt x="1951676" y="6795803"/>
                    </a:cubicBezTo>
                    <a:cubicBezTo>
                      <a:pt x="1948963" y="6795803"/>
                      <a:pt x="1946991" y="6798022"/>
                      <a:pt x="1946991" y="6800490"/>
                    </a:cubicBezTo>
                    <a:cubicBezTo>
                      <a:pt x="1946991" y="6802954"/>
                      <a:pt x="1949209" y="6805175"/>
                      <a:pt x="1951676" y="6805175"/>
                    </a:cubicBezTo>
                    <a:cubicBezTo>
                      <a:pt x="1954141" y="6805175"/>
                      <a:pt x="1956360" y="6803201"/>
                      <a:pt x="1956360" y="6800490"/>
                    </a:cubicBezTo>
                    <a:close/>
                    <a:moveTo>
                      <a:pt x="1956853" y="6909475"/>
                    </a:moveTo>
                    <a:cubicBezTo>
                      <a:pt x="1956853" y="6906762"/>
                      <a:pt x="1954635" y="6904543"/>
                      <a:pt x="1951922" y="6904543"/>
                    </a:cubicBezTo>
                    <a:cubicBezTo>
                      <a:pt x="1949209" y="6904543"/>
                      <a:pt x="1946991" y="6906762"/>
                      <a:pt x="1946991" y="6909475"/>
                    </a:cubicBezTo>
                    <a:cubicBezTo>
                      <a:pt x="1946991" y="6912187"/>
                      <a:pt x="1949209" y="6914406"/>
                      <a:pt x="1951922" y="6914406"/>
                    </a:cubicBezTo>
                    <a:cubicBezTo>
                      <a:pt x="1954635" y="6914406"/>
                      <a:pt x="1956853" y="6912187"/>
                      <a:pt x="1956853" y="6909475"/>
                    </a:cubicBezTo>
                    <a:close/>
                    <a:moveTo>
                      <a:pt x="1957594" y="6474764"/>
                    </a:moveTo>
                    <a:cubicBezTo>
                      <a:pt x="1957594" y="6471805"/>
                      <a:pt x="1955372" y="6469338"/>
                      <a:pt x="1952416" y="6469338"/>
                    </a:cubicBezTo>
                    <a:cubicBezTo>
                      <a:pt x="1949455" y="6469338"/>
                      <a:pt x="1946991" y="6471805"/>
                      <a:pt x="1946991" y="6474764"/>
                    </a:cubicBezTo>
                    <a:cubicBezTo>
                      <a:pt x="1946991" y="6477474"/>
                      <a:pt x="1949455" y="6479942"/>
                      <a:pt x="1952416" y="6479942"/>
                    </a:cubicBezTo>
                    <a:cubicBezTo>
                      <a:pt x="1955372" y="6479942"/>
                      <a:pt x="1957840" y="6477474"/>
                      <a:pt x="1957594" y="6474764"/>
                    </a:cubicBezTo>
                    <a:close/>
                    <a:moveTo>
                      <a:pt x="1958086" y="6365776"/>
                    </a:moveTo>
                    <a:cubicBezTo>
                      <a:pt x="1958086" y="6362568"/>
                      <a:pt x="1955620" y="6360104"/>
                      <a:pt x="1952415" y="6360104"/>
                    </a:cubicBezTo>
                    <a:cubicBezTo>
                      <a:pt x="1949210" y="6360104"/>
                      <a:pt x="1946743" y="6362568"/>
                      <a:pt x="1946743" y="6365776"/>
                    </a:cubicBezTo>
                    <a:cubicBezTo>
                      <a:pt x="1946743" y="6368980"/>
                      <a:pt x="1949210" y="6371445"/>
                      <a:pt x="1952415" y="6371445"/>
                    </a:cubicBezTo>
                    <a:cubicBezTo>
                      <a:pt x="1955620" y="6371445"/>
                      <a:pt x="1958086" y="6368980"/>
                      <a:pt x="1958086" y="6365776"/>
                    </a:cubicBezTo>
                    <a:close/>
                    <a:moveTo>
                      <a:pt x="1959319" y="4282212"/>
                    </a:moveTo>
                    <a:cubicBezTo>
                      <a:pt x="1959319" y="4279007"/>
                      <a:pt x="1956605" y="4276294"/>
                      <a:pt x="1953401" y="4276294"/>
                    </a:cubicBezTo>
                    <a:cubicBezTo>
                      <a:pt x="1950196" y="4276294"/>
                      <a:pt x="1947483" y="4279007"/>
                      <a:pt x="1947483" y="4282212"/>
                    </a:cubicBezTo>
                    <a:cubicBezTo>
                      <a:pt x="1947483" y="4285417"/>
                      <a:pt x="1950196" y="4288130"/>
                      <a:pt x="1953401" y="4288130"/>
                    </a:cubicBezTo>
                    <a:cubicBezTo>
                      <a:pt x="1956605" y="4288130"/>
                      <a:pt x="1959073" y="4285666"/>
                      <a:pt x="1959319" y="4282212"/>
                    </a:cubicBezTo>
                    <a:close/>
                    <a:moveTo>
                      <a:pt x="1959320" y="1679700"/>
                    </a:moveTo>
                    <a:cubicBezTo>
                      <a:pt x="1959320" y="1674272"/>
                      <a:pt x="1954882" y="1670080"/>
                      <a:pt x="1949705" y="1670080"/>
                    </a:cubicBezTo>
                    <a:cubicBezTo>
                      <a:pt x="1944279" y="1670080"/>
                      <a:pt x="1940088" y="1674521"/>
                      <a:pt x="1940088" y="1679700"/>
                    </a:cubicBezTo>
                    <a:cubicBezTo>
                      <a:pt x="1940088" y="1684879"/>
                      <a:pt x="1944524" y="1689071"/>
                      <a:pt x="1949705" y="1689071"/>
                    </a:cubicBezTo>
                    <a:cubicBezTo>
                      <a:pt x="1954882" y="1689071"/>
                      <a:pt x="1959073" y="1684879"/>
                      <a:pt x="1959320" y="1679700"/>
                    </a:cubicBezTo>
                    <a:close/>
                    <a:moveTo>
                      <a:pt x="1960308" y="5494378"/>
                    </a:moveTo>
                    <a:cubicBezTo>
                      <a:pt x="1960308" y="5489939"/>
                      <a:pt x="1956854" y="5486487"/>
                      <a:pt x="1952663" y="5486487"/>
                    </a:cubicBezTo>
                    <a:cubicBezTo>
                      <a:pt x="1948223" y="5486487"/>
                      <a:pt x="1944773" y="5490187"/>
                      <a:pt x="1944773" y="5494378"/>
                    </a:cubicBezTo>
                    <a:cubicBezTo>
                      <a:pt x="1944773" y="5498569"/>
                      <a:pt x="1948472" y="5502023"/>
                      <a:pt x="1952663" y="5502023"/>
                    </a:cubicBezTo>
                    <a:cubicBezTo>
                      <a:pt x="1956854" y="5502023"/>
                      <a:pt x="1960554" y="5498569"/>
                      <a:pt x="1960308" y="5494378"/>
                    </a:cubicBezTo>
                    <a:close/>
                    <a:moveTo>
                      <a:pt x="1961540" y="5385144"/>
                    </a:moveTo>
                    <a:cubicBezTo>
                      <a:pt x="1961540" y="5379965"/>
                      <a:pt x="1957595" y="5375773"/>
                      <a:pt x="1952417" y="5375773"/>
                    </a:cubicBezTo>
                    <a:cubicBezTo>
                      <a:pt x="1947238" y="5375773"/>
                      <a:pt x="1943046" y="5379965"/>
                      <a:pt x="1943046" y="5385144"/>
                    </a:cubicBezTo>
                    <a:cubicBezTo>
                      <a:pt x="1943046" y="5390322"/>
                      <a:pt x="1947238" y="5394513"/>
                      <a:pt x="1952417" y="5394513"/>
                    </a:cubicBezTo>
                    <a:cubicBezTo>
                      <a:pt x="1957595" y="5394513"/>
                      <a:pt x="1961540" y="5390322"/>
                      <a:pt x="1961540" y="5385144"/>
                    </a:cubicBezTo>
                    <a:close/>
                    <a:moveTo>
                      <a:pt x="1962769" y="1788927"/>
                    </a:moveTo>
                    <a:cubicBezTo>
                      <a:pt x="1962769" y="1781781"/>
                      <a:pt x="1956851" y="1775869"/>
                      <a:pt x="1949701" y="1775869"/>
                    </a:cubicBezTo>
                    <a:cubicBezTo>
                      <a:pt x="1942551" y="1775869"/>
                      <a:pt x="1936633" y="1781781"/>
                      <a:pt x="1936633" y="1788927"/>
                    </a:cubicBezTo>
                    <a:cubicBezTo>
                      <a:pt x="1936633" y="1796345"/>
                      <a:pt x="1942551" y="1802262"/>
                      <a:pt x="1949701" y="1802262"/>
                    </a:cubicBezTo>
                    <a:cubicBezTo>
                      <a:pt x="1957100" y="1802262"/>
                      <a:pt x="1963017" y="1796345"/>
                      <a:pt x="1962769" y="1788927"/>
                    </a:cubicBezTo>
                    <a:close/>
                    <a:moveTo>
                      <a:pt x="1968687" y="4617061"/>
                    </a:moveTo>
                    <a:cubicBezTo>
                      <a:pt x="1968687" y="4608925"/>
                      <a:pt x="1962032" y="4602020"/>
                      <a:pt x="1953647" y="4602020"/>
                    </a:cubicBezTo>
                    <a:cubicBezTo>
                      <a:pt x="1945264" y="4602020"/>
                      <a:pt x="1938607" y="4608679"/>
                      <a:pt x="1938607" y="4617061"/>
                    </a:cubicBezTo>
                    <a:cubicBezTo>
                      <a:pt x="1938607" y="4625446"/>
                      <a:pt x="1945264" y="4632104"/>
                      <a:pt x="1953647" y="4632104"/>
                    </a:cubicBezTo>
                    <a:cubicBezTo>
                      <a:pt x="1962032" y="4632104"/>
                      <a:pt x="1968687" y="4625446"/>
                      <a:pt x="1968687" y="4617061"/>
                    </a:cubicBezTo>
                    <a:close/>
                    <a:moveTo>
                      <a:pt x="1968937" y="1570480"/>
                    </a:moveTo>
                    <a:cubicBezTo>
                      <a:pt x="1968937" y="1559630"/>
                      <a:pt x="1960061" y="1551001"/>
                      <a:pt x="1949457" y="1551001"/>
                    </a:cubicBezTo>
                    <a:cubicBezTo>
                      <a:pt x="1938609" y="1551001"/>
                      <a:pt x="1929978" y="1559630"/>
                      <a:pt x="1929978" y="1570480"/>
                    </a:cubicBezTo>
                    <a:cubicBezTo>
                      <a:pt x="1929978" y="1581325"/>
                      <a:pt x="1938609" y="1589955"/>
                      <a:pt x="1949457" y="1589955"/>
                    </a:cubicBezTo>
                    <a:cubicBezTo>
                      <a:pt x="1960061" y="1589955"/>
                      <a:pt x="1968937" y="1581325"/>
                      <a:pt x="1968937" y="1570480"/>
                    </a:cubicBezTo>
                    <a:close/>
                    <a:moveTo>
                      <a:pt x="1970416" y="5166432"/>
                    </a:moveTo>
                    <a:cubicBezTo>
                      <a:pt x="1970416" y="5156323"/>
                      <a:pt x="1962032" y="5147938"/>
                      <a:pt x="1951923" y="5147938"/>
                    </a:cubicBezTo>
                    <a:cubicBezTo>
                      <a:pt x="1941811" y="5147938"/>
                      <a:pt x="1933429" y="5156323"/>
                      <a:pt x="1933429" y="5166432"/>
                    </a:cubicBezTo>
                    <a:cubicBezTo>
                      <a:pt x="1933429" y="5176786"/>
                      <a:pt x="1941811" y="5184926"/>
                      <a:pt x="1951923" y="5184926"/>
                    </a:cubicBezTo>
                    <a:cubicBezTo>
                      <a:pt x="1962032" y="5184926"/>
                      <a:pt x="1970416" y="5176541"/>
                      <a:pt x="1970416" y="5166432"/>
                    </a:cubicBezTo>
                    <a:close/>
                    <a:moveTo>
                      <a:pt x="1976086" y="372273"/>
                    </a:moveTo>
                    <a:cubicBezTo>
                      <a:pt x="1976086" y="356987"/>
                      <a:pt x="1963513" y="344412"/>
                      <a:pt x="1948223" y="344412"/>
                    </a:cubicBezTo>
                    <a:cubicBezTo>
                      <a:pt x="1932937" y="344412"/>
                      <a:pt x="1920361" y="356987"/>
                      <a:pt x="1920361" y="372273"/>
                    </a:cubicBezTo>
                    <a:cubicBezTo>
                      <a:pt x="1920361" y="387561"/>
                      <a:pt x="1932937" y="400134"/>
                      <a:pt x="1948223" y="400134"/>
                    </a:cubicBezTo>
                    <a:cubicBezTo>
                      <a:pt x="1963758" y="400134"/>
                      <a:pt x="1976086" y="387807"/>
                      <a:pt x="1976086" y="372273"/>
                    </a:cubicBezTo>
                    <a:close/>
                    <a:moveTo>
                      <a:pt x="1976579" y="263554"/>
                    </a:moveTo>
                    <a:cubicBezTo>
                      <a:pt x="1976579" y="248022"/>
                      <a:pt x="1964004" y="235447"/>
                      <a:pt x="1948469" y="235447"/>
                    </a:cubicBezTo>
                    <a:cubicBezTo>
                      <a:pt x="1932937" y="235447"/>
                      <a:pt x="1920361" y="248022"/>
                      <a:pt x="1920361" y="263554"/>
                    </a:cubicBezTo>
                    <a:cubicBezTo>
                      <a:pt x="1920361" y="279089"/>
                      <a:pt x="1932937" y="291664"/>
                      <a:pt x="1948469" y="291664"/>
                    </a:cubicBezTo>
                    <a:cubicBezTo>
                      <a:pt x="1964004" y="291664"/>
                      <a:pt x="1976579" y="279089"/>
                      <a:pt x="1976579" y="263554"/>
                    </a:cubicBezTo>
                    <a:close/>
                    <a:moveTo>
                      <a:pt x="1976826" y="1461015"/>
                    </a:moveTo>
                    <a:cubicBezTo>
                      <a:pt x="1976826" y="1445976"/>
                      <a:pt x="1964496" y="1433891"/>
                      <a:pt x="1949704" y="1433891"/>
                    </a:cubicBezTo>
                    <a:cubicBezTo>
                      <a:pt x="1934661" y="1433891"/>
                      <a:pt x="1922580" y="1446221"/>
                      <a:pt x="1922580" y="1461015"/>
                    </a:cubicBezTo>
                    <a:cubicBezTo>
                      <a:pt x="1922580" y="1476055"/>
                      <a:pt x="1934910" y="1488137"/>
                      <a:pt x="1949704" y="1488137"/>
                    </a:cubicBezTo>
                    <a:cubicBezTo>
                      <a:pt x="1964496" y="1488137"/>
                      <a:pt x="1976826" y="1476055"/>
                      <a:pt x="1976826" y="1461015"/>
                    </a:cubicBezTo>
                    <a:close/>
                    <a:moveTo>
                      <a:pt x="1977564" y="46371"/>
                    </a:moveTo>
                    <a:cubicBezTo>
                      <a:pt x="1977564" y="30591"/>
                      <a:pt x="1964744" y="17523"/>
                      <a:pt x="1948715" y="17523"/>
                    </a:cubicBezTo>
                    <a:cubicBezTo>
                      <a:pt x="1932935" y="17523"/>
                      <a:pt x="1919867" y="30345"/>
                      <a:pt x="1919867" y="46371"/>
                    </a:cubicBezTo>
                    <a:cubicBezTo>
                      <a:pt x="1919867" y="62399"/>
                      <a:pt x="1932689" y="75220"/>
                      <a:pt x="1948715" y="75220"/>
                    </a:cubicBezTo>
                    <a:cubicBezTo>
                      <a:pt x="1964496" y="75220"/>
                      <a:pt x="1977564" y="62150"/>
                      <a:pt x="1977564" y="46371"/>
                    </a:cubicBezTo>
                    <a:close/>
                    <a:moveTo>
                      <a:pt x="1978060" y="4168785"/>
                    </a:moveTo>
                    <a:cubicBezTo>
                      <a:pt x="1978060" y="4154977"/>
                      <a:pt x="1966963" y="4143881"/>
                      <a:pt x="1953154" y="4143881"/>
                    </a:cubicBezTo>
                    <a:cubicBezTo>
                      <a:pt x="1939347" y="4143881"/>
                      <a:pt x="1928251" y="4154977"/>
                      <a:pt x="1928251" y="4168785"/>
                    </a:cubicBezTo>
                    <a:cubicBezTo>
                      <a:pt x="1928251" y="4182593"/>
                      <a:pt x="1939347" y="4193688"/>
                      <a:pt x="1953154" y="4193688"/>
                    </a:cubicBezTo>
                    <a:cubicBezTo>
                      <a:pt x="1966963" y="4193688"/>
                      <a:pt x="1978306" y="4182593"/>
                      <a:pt x="1978060" y="4168785"/>
                    </a:cubicBezTo>
                    <a:close/>
                    <a:moveTo>
                      <a:pt x="1978306" y="155087"/>
                    </a:moveTo>
                    <a:cubicBezTo>
                      <a:pt x="1978306" y="139058"/>
                      <a:pt x="1965236" y="125745"/>
                      <a:pt x="1948963" y="125745"/>
                    </a:cubicBezTo>
                    <a:cubicBezTo>
                      <a:pt x="1932934" y="125745"/>
                      <a:pt x="1919620" y="138813"/>
                      <a:pt x="1919620" y="155087"/>
                    </a:cubicBezTo>
                    <a:cubicBezTo>
                      <a:pt x="1919620" y="171113"/>
                      <a:pt x="1932688" y="184427"/>
                      <a:pt x="1948963" y="184427"/>
                    </a:cubicBezTo>
                    <a:cubicBezTo>
                      <a:pt x="1965236" y="184427"/>
                      <a:pt x="1978306" y="171113"/>
                      <a:pt x="1978306" y="155087"/>
                    </a:cubicBezTo>
                    <a:close/>
                    <a:moveTo>
                      <a:pt x="1979784" y="1352287"/>
                    </a:moveTo>
                    <a:cubicBezTo>
                      <a:pt x="1979784" y="1335521"/>
                      <a:pt x="1966222" y="1321959"/>
                      <a:pt x="1949455" y="1321959"/>
                    </a:cubicBezTo>
                    <a:cubicBezTo>
                      <a:pt x="1932688" y="1321959"/>
                      <a:pt x="1919126" y="1335521"/>
                      <a:pt x="1919126" y="1352287"/>
                    </a:cubicBezTo>
                    <a:cubicBezTo>
                      <a:pt x="1919126" y="1369054"/>
                      <a:pt x="1932688" y="1382617"/>
                      <a:pt x="1949455" y="1382617"/>
                    </a:cubicBezTo>
                    <a:cubicBezTo>
                      <a:pt x="1966222" y="1382617"/>
                      <a:pt x="1979784" y="1368805"/>
                      <a:pt x="1979784" y="1352287"/>
                    </a:cubicBezTo>
                    <a:close/>
                    <a:moveTo>
                      <a:pt x="1980771" y="1898392"/>
                    </a:moveTo>
                    <a:cubicBezTo>
                      <a:pt x="1980771" y="1881384"/>
                      <a:pt x="1966963" y="1867578"/>
                      <a:pt x="1949947" y="1867578"/>
                    </a:cubicBezTo>
                    <a:cubicBezTo>
                      <a:pt x="1932934" y="1867578"/>
                      <a:pt x="1919126" y="1881384"/>
                      <a:pt x="1919126" y="1898392"/>
                    </a:cubicBezTo>
                    <a:cubicBezTo>
                      <a:pt x="1919126" y="1915404"/>
                      <a:pt x="1932934" y="1929210"/>
                      <a:pt x="1949947" y="1929210"/>
                    </a:cubicBezTo>
                    <a:cubicBezTo>
                      <a:pt x="1966714" y="1929210"/>
                      <a:pt x="1980522" y="1915404"/>
                      <a:pt x="1980771" y="1898392"/>
                    </a:cubicBezTo>
                    <a:close/>
                    <a:moveTo>
                      <a:pt x="1985948" y="2899173"/>
                    </a:moveTo>
                    <a:cubicBezTo>
                      <a:pt x="1985948" y="2884874"/>
                      <a:pt x="1974358" y="2873037"/>
                      <a:pt x="1959813" y="2873037"/>
                    </a:cubicBezTo>
                    <a:cubicBezTo>
                      <a:pt x="1945510" y="2873037"/>
                      <a:pt x="1933675" y="2884627"/>
                      <a:pt x="1933675" y="2899173"/>
                    </a:cubicBezTo>
                    <a:cubicBezTo>
                      <a:pt x="1933675" y="2913475"/>
                      <a:pt x="1945264" y="2925312"/>
                      <a:pt x="1959813" y="2925312"/>
                    </a:cubicBezTo>
                    <a:cubicBezTo>
                      <a:pt x="1974358" y="2925312"/>
                      <a:pt x="1985948" y="2913722"/>
                      <a:pt x="1985948" y="2899173"/>
                    </a:cubicBezTo>
                    <a:close/>
                    <a:moveTo>
                      <a:pt x="1986195" y="5056951"/>
                    </a:moveTo>
                    <a:cubicBezTo>
                      <a:pt x="1986195" y="5037966"/>
                      <a:pt x="1970660" y="5022430"/>
                      <a:pt x="1951674" y="5022430"/>
                    </a:cubicBezTo>
                    <a:cubicBezTo>
                      <a:pt x="1932688" y="5022430"/>
                      <a:pt x="1917154" y="5037966"/>
                      <a:pt x="1917154" y="5056951"/>
                    </a:cubicBezTo>
                    <a:cubicBezTo>
                      <a:pt x="1917154" y="5075937"/>
                      <a:pt x="1932688" y="5091472"/>
                      <a:pt x="1951674" y="5091472"/>
                    </a:cubicBezTo>
                    <a:cubicBezTo>
                      <a:pt x="1970660" y="5091472"/>
                      <a:pt x="1986195" y="5075937"/>
                      <a:pt x="1986195" y="5056951"/>
                    </a:cubicBezTo>
                    <a:close/>
                    <a:moveTo>
                      <a:pt x="1988664" y="4394651"/>
                    </a:moveTo>
                    <a:cubicBezTo>
                      <a:pt x="1988664" y="4375170"/>
                      <a:pt x="1972883" y="4359389"/>
                      <a:pt x="1953403" y="4359389"/>
                    </a:cubicBezTo>
                    <a:cubicBezTo>
                      <a:pt x="1933923" y="4359389"/>
                      <a:pt x="1918142" y="4375170"/>
                      <a:pt x="1918142" y="4394651"/>
                    </a:cubicBezTo>
                    <a:cubicBezTo>
                      <a:pt x="1918142" y="4414131"/>
                      <a:pt x="1933923" y="4429911"/>
                      <a:pt x="1953403" y="4429911"/>
                    </a:cubicBezTo>
                    <a:cubicBezTo>
                      <a:pt x="1972635" y="4429911"/>
                      <a:pt x="1988415" y="4414131"/>
                      <a:pt x="1988664" y="4394651"/>
                    </a:cubicBezTo>
                    <a:close/>
                    <a:moveTo>
                      <a:pt x="1989648" y="2008085"/>
                    </a:moveTo>
                    <a:cubicBezTo>
                      <a:pt x="1989648" y="1986145"/>
                      <a:pt x="1971649" y="1968394"/>
                      <a:pt x="1949702" y="1968394"/>
                    </a:cubicBezTo>
                    <a:cubicBezTo>
                      <a:pt x="1927757" y="1968394"/>
                      <a:pt x="1910004" y="1986145"/>
                      <a:pt x="1910004" y="2008085"/>
                    </a:cubicBezTo>
                    <a:cubicBezTo>
                      <a:pt x="1910004" y="2030033"/>
                      <a:pt x="1927757" y="2048034"/>
                      <a:pt x="1949702" y="2048034"/>
                    </a:cubicBezTo>
                    <a:cubicBezTo>
                      <a:pt x="1971649" y="2048034"/>
                      <a:pt x="1989402" y="2030279"/>
                      <a:pt x="1989648" y="2008085"/>
                    </a:cubicBezTo>
                    <a:close/>
                    <a:moveTo>
                      <a:pt x="1989648" y="3016293"/>
                    </a:moveTo>
                    <a:cubicBezTo>
                      <a:pt x="1989648" y="3001007"/>
                      <a:pt x="1977320" y="2988677"/>
                      <a:pt x="1962032" y="2988677"/>
                    </a:cubicBezTo>
                    <a:cubicBezTo>
                      <a:pt x="1946745" y="2988677"/>
                      <a:pt x="1934415" y="3001007"/>
                      <a:pt x="1934415" y="3016293"/>
                    </a:cubicBezTo>
                    <a:cubicBezTo>
                      <a:pt x="1934415" y="3031582"/>
                      <a:pt x="1946745" y="3043910"/>
                      <a:pt x="1962032" y="3043910"/>
                    </a:cubicBezTo>
                    <a:cubicBezTo>
                      <a:pt x="1977320" y="3043910"/>
                      <a:pt x="1989648" y="3031582"/>
                      <a:pt x="1989648" y="3016293"/>
                    </a:cubicBezTo>
                    <a:close/>
                    <a:moveTo>
                      <a:pt x="1990142" y="3938485"/>
                    </a:moveTo>
                    <a:cubicBezTo>
                      <a:pt x="1990142" y="3922703"/>
                      <a:pt x="1977318" y="3910127"/>
                      <a:pt x="1961786" y="3910127"/>
                    </a:cubicBezTo>
                    <a:cubicBezTo>
                      <a:pt x="1946004" y="3910127"/>
                      <a:pt x="1933429" y="3922949"/>
                      <a:pt x="1933429" y="3938485"/>
                    </a:cubicBezTo>
                    <a:cubicBezTo>
                      <a:pt x="1933429" y="3954265"/>
                      <a:pt x="1946251" y="3966842"/>
                      <a:pt x="1961786" y="3966842"/>
                    </a:cubicBezTo>
                    <a:cubicBezTo>
                      <a:pt x="1977567" y="3966842"/>
                      <a:pt x="1990142" y="3954265"/>
                      <a:pt x="1990142" y="3938485"/>
                    </a:cubicBezTo>
                    <a:close/>
                    <a:moveTo>
                      <a:pt x="1990388" y="4506104"/>
                    </a:moveTo>
                    <a:cubicBezTo>
                      <a:pt x="1990388" y="4485637"/>
                      <a:pt x="1973866" y="4469116"/>
                      <a:pt x="1953403" y="4469116"/>
                    </a:cubicBezTo>
                    <a:cubicBezTo>
                      <a:pt x="1932937" y="4469116"/>
                      <a:pt x="1916416" y="4485637"/>
                      <a:pt x="1916416" y="4506104"/>
                    </a:cubicBezTo>
                    <a:cubicBezTo>
                      <a:pt x="1916416" y="4526567"/>
                      <a:pt x="1932937" y="4543088"/>
                      <a:pt x="1953403" y="4543088"/>
                    </a:cubicBezTo>
                    <a:cubicBezTo>
                      <a:pt x="1973866" y="4543088"/>
                      <a:pt x="1990388" y="4526567"/>
                      <a:pt x="1990388" y="4506104"/>
                    </a:cubicBezTo>
                    <a:close/>
                    <a:moveTo>
                      <a:pt x="1993347" y="4837502"/>
                    </a:moveTo>
                    <a:cubicBezTo>
                      <a:pt x="1993347" y="4815803"/>
                      <a:pt x="1975594" y="4798049"/>
                      <a:pt x="1953895" y="4798049"/>
                    </a:cubicBezTo>
                    <a:cubicBezTo>
                      <a:pt x="1932197" y="4798049"/>
                      <a:pt x="1914443" y="4815803"/>
                      <a:pt x="1914443" y="4837502"/>
                    </a:cubicBezTo>
                    <a:cubicBezTo>
                      <a:pt x="1914443" y="4859200"/>
                      <a:pt x="1932197" y="4876953"/>
                      <a:pt x="1953895" y="4876953"/>
                    </a:cubicBezTo>
                    <a:cubicBezTo>
                      <a:pt x="1975594" y="4876953"/>
                      <a:pt x="1993347" y="4859446"/>
                      <a:pt x="1993347" y="4837502"/>
                    </a:cubicBezTo>
                    <a:close/>
                    <a:moveTo>
                      <a:pt x="1994087" y="4727527"/>
                    </a:moveTo>
                    <a:cubicBezTo>
                      <a:pt x="1994087" y="4705334"/>
                      <a:pt x="1976085" y="4687334"/>
                      <a:pt x="1953895" y="4687334"/>
                    </a:cubicBezTo>
                    <a:cubicBezTo>
                      <a:pt x="1931701" y="4687334"/>
                      <a:pt x="1913702" y="4705334"/>
                      <a:pt x="1913702" y="4727527"/>
                    </a:cubicBezTo>
                    <a:cubicBezTo>
                      <a:pt x="1913702" y="4749717"/>
                      <a:pt x="1931701" y="4767716"/>
                      <a:pt x="1953895" y="4767716"/>
                    </a:cubicBezTo>
                    <a:cubicBezTo>
                      <a:pt x="1976085" y="4767716"/>
                      <a:pt x="1994087" y="4749717"/>
                      <a:pt x="1994087" y="4727527"/>
                    </a:cubicBezTo>
                    <a:close/>
                    <a:moveTo>
                      <a:pt x="1997785" y="4055854"/>
                    </a:moveTo>
                    <a:cubicBezTo>
                      <a:pt x="1997785" y="4035141"/>
                      <a:pt x="1980772" y="4018128"/>
                      <a:pt x="1960059" y="4018128"/>
                    </a:cubicBezTo>
                    <a:cubicBezTo>
                      <a:pt x="1939347" y="4018128"/>
                      <a:pt x="1922333" y="4035141"/>
                      <a:pt x="1922333" y="4055854"/>
                    </a:cubicBezTo>
                    <a:cubicBezTo>
                      <a:pt x="1922333" y="4076566"/>
                      <a:pt x="1939347" y="4093580"/>
                      <a:pt x="1960059" y="4093580"/>
                    </a:cubicBezTo>
                    <a:cubicBezTo>
                      <a:pt x="1980772" y="4093580"/>
                      <a:pt x="1997538" y="4076815"/>
                      <a:pt x="1997785" y="4055854"/>
                    </a:cubicBezTo>
                    <a:close/>
                    <a:moveTo>
                      <a:pt x="2020469" y="2769973"/>
                    </a:moveTo>
                    <a:cubicBezTo>
                      <a:pt x="2020469" y="2763807"/>
                      <a:pt x="2015292" y="2758629"/>
                      <a:pt x="2009128" y="2758629"/>
                    </a:cubicBezTo>
                    <a:cubicBezTo>
                      <a:pt x="2002961" y="2758629"/>
                      <a:pt x="1997785" y="2763807"/>
                      <a:pt x="1997785" y="2769973"/>
                    </a:cubicBezTo>
                    <a:cubicBezTo>
                      <a:pt x="1997785" y="2776137"/>
                      <a:pt x="2002961" y="2781314"/>
                      <a:pt x="2009128" y="2781314"/>
                    </a:cubicBezTo>
                    <a:cubicBezTo>
                      <a:pt x="2015292" y="2781314"/>
                      <a:pt x="2020469" y="2776137"/>
                      <a:pt x="2020469" y="2769973"/>
                    </a:cubicBezTo>
                    <a:close/>
                    <a:moveTo>
                      <a:pt x="2028608" y="2658526"/>
                    </a:moveTo>
                    <a:cubicBezTo>
                      <a:pt x="2028608" y="2648414"/>
                      <a:pt x="2020223" y="2640032"/>
                      <a:pt x="2010114" y="2640032"/>
                    </a:cubicBezTo>
                    <a:cubicBezTo>
                      <a:pt x="2000003" y="2640032"/>
                      <a:pt x="1991620" y="2648414"/>
                      <a:pt x="1991620" y="2658526"/>
                    </a:cubicBezTo>
                    <a:cubicBezTo>
                      <a:pt x="1991620" y="2668635"/>
                      <a:pt x="2000003" y="2677020"/>
                      <a:pt x="2010114" y="2677020"/>
                    </a:cubicBezTo>
                    <a:cubicBezTo>
                      <a:pt x="2020223" y="2677020"/>
                      <a:pt x="2028608" y="2668881"/>
                      <a:pt x="2028608" y="2658526"/>
                    </a:cubicBezTo>
                    <a:close/>
                    <a:moveTo>
                      <a:pt x="2034032" y="2218659"/>
                    </a:moveTo>
                    <a:cubicBezTo>
                      <a:pt x="2034032" y="2205344"/>
                      <a:pt x="2023182" y="2194493"/>
                      <a:pt x="2009869" y="2194493"/>
                    </a:cubicBezTo>
                    <a:cubicBezTo>
                      <a:pt x="1996551" y="2194493"/>
                      <a:pt x="1985703" y="2205344"/>
                      <a:pt x="1985703" y="2218659"/>
                    </a:cubicBezTo>
                    <a:cubicBezTo>
                      <a:pt x="1985703" y="2231972"/>
                      <a:pt x="1996551" y="2242824"/>
                      <a:pt x="2009869" y="2242824"/>
                    </a:cubicBezTo>
                    <a:cubicBezTo>
                      <a:pt x="2023182" y="2242824"/>
                      <a:pt x="2034032" y="2231972"/>
                      <a:pt x="2034032" y="2218659"/>
                    </a:cubicBezTo>
                    <a:close/>
                    <a:moveTo>
                      <a:pt x="2035018" y="1020445"/>
                    </a:moveTo>
                    <a:cubicBezTo>
                      <a:pt x="2035018" y="1004659"/>
                      <a:pt x="2022196" y="991838"/>
                      <a:pt x="2006416" y="991838"/>
                    </a:cubicBezTo>
                    <a:cubicBezTo>
                      <a:pt x="1990635" y="991838"/>
                      <a:pt x="1977813" y="1004659"/>
                      <a:pt x="1977813" y="1020445"/>
                    </a:cubicBezTo>
                    <a:cubicBezTo>
                      <a:pt x="1977813" y="1036217"/>
                      <a:pt x="1990635" y="1049041"/>
                      <a:pt x="2006416" y="1049041"/>
                    </a:cubicBezTo>
                    <a:cubicBezTo>
                      <a:pt x="2022196" y="1049041"/>
                      <a:pt x="2035018" y="1036217"/>
                      <a:pt x="2035018" y="1020445"/>
                    </a:cubicBezTo>
                    <a:close/>
                    <a:moveTo>
                      <a:pt x="2036991" y="802996"/>
                    </a:moveTo>
                    <a:cubicBezTo>
                      <a:pt x="2036991" y="786722"/>
                      <a:pt x="2023923" y="773653"/>
                      <a:pt x="2007650" y="773653"/>
                    </a:cubicBezTo>
                    <a:cubicBezTo>
                      <a:pt x="1991375" y="773653"/>
                      <a:pt x="1978307" y="786722"/>
                      <a:pt x="1978307" y="802996"/>
                    </a:cubicBezTo>
                    <a:cubicBezTo>
                      <a:pt x="1978307" y="819271"/>
                      <a:pt x="1991375" y="832340"/>
                      <a:pt x="2007650" y="832340"/>
                    </a:cubicBezTo>
                    <a:cubicBezTo>
                      <a:pt x="2023923" y="832340"/>
                      <a:pt x="2036991" y="819271"/>
                      <a:pt x="2036991" y="802996"/>
                    </a:cubicBezTo>
                    <a:close/>
                    <a:moveTo>
                      <a:pt x="2037976" y="911720"/>
                    </a:moveTo>
                    <a:cubicBezTo>
                      <a:pt x="2037976" y="894453"/>
                      <a:pt x="2023920" y="880397"/>
                      <a:pt x="2006661" y="880397"/>
                    </a:cubicBezTo>
                    <a:cubicBezTo>
                      <a:pt x="1989399" y="880397"/>
                      <a:pt x="1975345" y="894453"/>
                      <a:pt x="1975345" y="911720"/>
                    </a:cubicBezTo>
                    <a:cubicBezTo>
                      <a:pt x="1975345" y="928976"/>
                      <a:pt x="1989399" y="943032"/>
                      <a:pt x="2006661" y="943032"/>
                    </a:cubicBezTo>
                    <a:cubicBezTo>
                      <a:pt x="2024166" y="943032"/>
                      <a:pt x="2037976" y="928976"/>
                      <a:pt x="2037976" y="911720"/>
                    </a:cubicBezTo>
                    <a:close/>
                    <a:moveTo>
                      <a:pt x="2039949" y="477044"/>
                    </a:moveTo>
                    <a:cubicBezTo>
                      <a:pt x="2039949" y="459294"/>
                      <a:pt x="2025400" y="444992"/>
                      <a:pt x="2007896" y="444992"/>
                    </a:cubicBezTo>
                    <a:cubicBezTo>
                      <a:pt x="1990141" y="444992"/>
                      <a:pt x="1975839" y="459294"/>
                      <a:pt x="1975839" y="477044"/>
                    </a:cubicBezTo>
                    <a:cubicBezTo>
                      <a:pt x="1975839" y="494801"/>
                      <a:pt x="1990388" y="509099"/>
                      <a:pt x="2007896" y="509099"/>
                    </a:cubicBezTo>
                    <a:cubicBezTo>
                      <a:pt x="2025649" y="509099"/>
                      <a:pt x="2039949" y="494552"/>
                      <a:pt x="2039949" y="477044"/>
                    </a:cubicBezTo>
                    <a:close/>
                    <a:moveTo>
                      <a:pt x="2039950" y="585766"/>
                    </a:moveTo>
                    <a:cubicBezTo>
                      <a:pt x="2039950" y="568013"/>
                      <a:pt x="2025401" y="553465"/>
                      <a:pt x="2007647" y="553465"/>
                    </a:cubicBezTo>
                    <a:cubicBezTo>
                      <a:pt x="1989894" y="553465"/>
                      <a:pt x="1975345" y="567765"/>
                      <a:pt x="1975345" y="585766"/>
                    </a:cubicBezTo>
                    <a:cubicBezTo>
                      <a:pt x="1975345" y="603519"/>
                      <a:pt x="1989894" y="618064"/>
                      <a:pt x="2007647" y="618064"/>
                    </a:cubicBezTo>
                    <a:cubicBezTo>
                      <a:pt x="2025647" y="618064"/>
                      <a:pt x="2040195" y="603519"/>
                      <a:pt x="2039950" y="585766"/>
                    </a:cubicBezTo>
                    <a:close/>
                    <a:moveTo>
                      <a:pt x="2040441" y="1237893"/>
                    </a:moveTo>
                    <a:cubicBezTo>
                      <a:pt x="2040441" y="1218660"/>
                      <a:pt x="2024909" y="1203124"/>
                      <a:pt x="2005675" y="1203124"/>
                    </a:cubicBezTo>
                    <a:cubicBezTo>
                      <a:pt x="1986443" y="1203124"/>
                      <a:pt x="1970908" y="1218660"/>
                      <a:pt x="1970908" y="1237893"/>
                    </a:cubicBezTo>
                    <a:cubicBezTo>
                      <a:pt x="1970908" y="1257121"/>
                      <a:pt x="1986443" y="1272651"/>
                      <a:pt x="2005675" y="1272651"/>
                    </a:cubicBezTo>
                    <a:cubicBezTo>
                      <a:pt x="2024909" y="1272651"/>
                      <a:pt x="2040441" y="1257121"/>
                      <a:pt x="2040441" y="1237893"/>
                    </a:cubicBezTo>
                    <a:close/>
                    <a:moveTo>
                      <a:pt x="2040442" y="1129166"/>
                    </a:moveTo>
                    <a:cubicBezTo>
                      <a:pt x="2040442" y="1110178"/>
                      <a:pt x="2025155" y="1094892"/>
                      <a:pt x="2006170" y="1094892"/>
                    </a:cubicBezTo>
                    <a:cubicBezTo>
                      <a:pt x="1987182" y="1094892"/>
                      <a:pt x="1971895" y="1110178"/>
                      <a:pt x="1971895" y="1129166"/>
                    </a:cubicBezTo>
                    <a:cubicBezTo>
                      <a:pt x="1971895" y="1148153"/>
                      <a:pt x="1987182" y="1163441"/>
                      <a:pt x="2006170" y="1163441"/>
                    </a:cubicBezTo>
                    <a:cubicBezTo>
                      <a:pt x="2025155" y="1163441"/>
                      <a:pt x="2040442" y="1147907"/>
                      <a:pt x="2040442" y="1129166"/>
                    </a:cubicBezTo>
                    <a:close/>
                    <a:moveTo>
                      <a:pt x="2040936" y="2109185"/>
                    </a:moveTo>
                    <a:cubicBezTo>
                      <a:pt x="2040936" y="2092168"/>
                      <a:pt x="2027128" y="2078113"/>
                      <a:pt x="2009869" y="2078113"/>
                    </a:cubicBezTo>
                    <a:cubicBezTo>
                      <a:pt x="1992854" y="2078113"/>
                      <a:pt x="1978799" y="2091921"/>
                      <a:pt x="1978799" y="2109185"/>
                    </a:cubicBezTo>
                    <a:cubicBezTo>
                      <a:pt x="1978799" y="2126199"/>
                      <a:pt x="1992607" y="2140253"/>
                      <a:pt x="2009869" y="2140253"/>
                    </a:cubicBezTo>
                    <a:cubicBezTo>
                      <a:pt x="2026882" y="2140253"/>
                      <a:pt x="2040936" y="2126445"/>
                      <a:pt x="2040936" y="2109185"/>
                    </a:cubicBezTo>
                    <a:close/>
                    <a:moveTo>
                      <a:pt x="2041181" y="694280"/>
                    </a:moveTo>
                    <a:cubicBezTo>
                      <a:pt x="2041181" y="675782"/>
                      <a:pt x="2026140" y="660987"/>
                      <a:pt x="2007896" y="660987"/>
                    </a:cubicBezTo>
                    <a:cubicBezTo>
                      <a:pt x="1989401" y="660987"/>
                      <a:pt x="1974607" y="676027"/>
                      <a:pt x="1974607" y="694280"/>
                    </a:cubicBezTo>
                    <a:cubicBezTo>
                      <a:pt x="1974607" y="712518"/>
                      <a:pt x="1989647" y="727556"/>
                      <a:pt x="2007896" y="727556"/>
                    </a:cubicBezTo>
                    <a:cubicBezTo>
                      <a:pt x="2026140" y="727556"/>
                      <a:pt x="2040934" y="712766"/>
                      <a:pt x="2041181" y="694280"/>
                    </a:cubicBezTo>
                    <a:close/>
                    <a:moveTo>
                      <a:pt x="2041674" y="2547817"/>
                    </a:moveTo>
                    <a:cubicBezTo>
                      <a:pt x="2041674" y="2530555"/>
                      <a:pt x="2027620" y="2516500"/>
                      <a:pt x="2010361" y="2516500"/>
                    </a:cubicBezTo>
                    <a:cubicBezTo>
                      <a:pt x="1993099" y="2516500"/>
                      <a:pt x="1979045" y="2530555"/>
                      <a:pt x="1979045" y="2547817"/>
                    </a:cubicBezTo>
                    <a:cubicBezTo>
                      <a:pt x="1979045" y="2565075"/>
                      <a:pt x="1993099" y="2579130"/>
                      <a:pt x="2010361" y="2579130"/>
                    </a:cubicBezTo>
                    <a:cubicBezTo>
                      <a:pt x="2027620" y="2579130"/>
                      <a:pt x="2041428" y="2565075"/>
                      <a:pt x="2041674" y="2547817"/>
                    </a:cubicBezTo>
                    <a:close/>
                    <a:moveTo>
                      <a:pt x="2043154" y="3110239"/>
                    </a:moveTo>
                    <a:cubicBezTo>
                      <a:pt x="2043154" y="3095690"/>
                      <a:pt x="2031321" y="3083855"/>
                      <a:pt x="2016772" y="3083855"/>
                    </a:cubicBezTo>
                    <a:cubicBezTo>
                      <a:pt x="2002224" y="3083855"/>
                      <a:pt x="1990388" y="3095690"/>
                      <a:pt x="1990388" y="3110239"/>
                    </a:cubicBezTo>
                    <a:cubicBezTo>
                      <a:pt x="1990388" y="3124787"/>
                      <a:pt x="2002224" y="3136621"/>
                      <a:pt x="2016772" y="3136621"/>
                    </a:cubicBezTo>
                    <a:cubicBezTo>
                      <a:pt x="2031321" y="3136621"/>
                      <a:pt x="2043154" y="3124787"/>
                      <a:pt x="2043154" y="3110239"/>
                    </a:cubicBezTo>
                    <a:close/>
                    <a:moveTo>
                      <a:pt x="2050553" y="2328126"/>
                    </a:moveTo>
                    <a:cubicBezTo>
                      <a:pt x="2050553" y="2305936"/>
                      <a:pt x="2032305" y="2287692"/>
                      <a:pt x="2010114" y="2287692"/>
                    </a:cubicBezTo>
                    <a:cubicBezTo>
                      <a:pt x="1987924" y="2287692"/>
                      <a:pt x="1969676" y="2305936"/>
                      <a:pt x="1969676" y="2328126"/>
                    </a:cubicBezTo>
                    <a:cubicBezTo>
                      <a:pt x="1969676" y="2350325"/>
                      <a:pt x="1987924" y="2368569"/>
                      <a:pt x="2010114" y="2368569"/>
                    </a:cubicBezTo>
                    <a:cubicBezTo>
                      <a:pt x="2032305" y="2368569"/>
                      <a:pt x="2050553" y="2350325"/>
                      <a:pt x="2050553" y="2328126"/>
                    </a:cubicBezTo>
                    <a:close/>
                    <a:moveTo>
                      <a:pt x="2056962" y="2437847"/>
                    </a:moveTo>
                    <a:cubicBezTo>
                      <a:pt x="2056962" y="2411957"/>
                      <a:pt x="2036004" y="2390999"/>
                      <a:pt x="2010111" y="2390999"/>
                    </a:cubicBezTo>
                    <a:cubicBezTo>
                      <a:pt x="1984222" y="2390999"/>
                      <a:pt x="1963264" y="2411957"/>
                      <a:pt x="1963264" y="2437847"/>
                    </a:cubicBezTo>
                    <a:cubicBezTo>
                      <a:pt x="1963264" y="2463739"/>
                      <a:pt x="1984222" y="2484697"/>
                      <a:pt x="2010111" y="2484697"/>
                    </a:cubicBezTo>
                    <a:cubicBezTo>
                      <a:pt x="2036004" y="2484697"/>
                      <a:pt x="2056962" y="2463739"/>
                      <a:pt x="2056962" y="2437847"/>
                    </a:cubicBezTo>
                    <a:close/>
                    <a:moveTo>
                      <a:pt x="2068306" y="4960789"/>
                    </a:moveTo>
                    <a:cubicBezTo>
                      <a:pt x="2068306" y="4960294"/>
                      <a:pt x="2067812" y="4959802"/>
                      <a:pt x="2067319" y="4959802"/>
                    </a:cubicBezTo>
                    <a:cubicBezTo>
                      <a:pt x="2066828" y="4959802"/>
                      <a:pt x="2066334" y="4960294"/>
                      <a:pt x="2066334" y="4960789"/>
                    </a:cubicBezTo>
                    <a:cubicBezTo>
                      <a:pt x="2066334" y="4961280"/>
                      <a:pt x="2066828" y="4961774"/>
                      <a:pt x="2067319" y="4961774"/>
                    </a:cubicBezTo>
                    <a:cubicBezTo>
                      <a:pt x="2067812" y="4961774"/>
                      <a:pt x="2068306" y="4961280"/>
                      <a:pt x="2068306" y="4960789"/>
                    </a:cubicBezTo>
                    <a:close/>
                    <a:moveTo>
                      <a:pt x="2070031" y="5286760"/>
                    </a:moveTo>
                    <a:cubicBezTo>
                      <a:pt x="2070031" y="5285528"/>
                      <a:pt x="2069044" y="5284541"/>
                      <a:pt x="2067812" y="5284541"/>
                    </a:cubicBezTo>
                    <a:cubicBezTo>
                      <a:pt x="2066579" y="5284541"/>
                      <a:pt x="2065594" y="5285528"/>
                      <a:pt x="2065594" y="5286760"/>
                    </a:cubicBezTo>
                    <a:cubicBezTo>
                      <a:pt x="2065594" y="5287992"/>
                      <a:pt x="2066579" y="5288978"/>
                      <a:pt x="2067812" y="5288978"/>
                    </a:cubicBezTo>
                    <a:cubicBezTo>
                      <a:pt x="2069044" y="5288978"/>
                      <a:pt x="2070031" y="5287992"/>
                      <a:pt x="2070031" y="5286760"/>
                    </a:cubicBezTo>
                    <a:close/>
                    <a:moveTo>
                      <a:pt x="2070279" y="5721473"/>
                    </a:moveTo>
                    <a:cubicBezTo>
                      <a:pt x="2070279" y="5719992"/>
                      <a:pt x="2069047" y="5718514"/>
                      <a:pt x="2067320" y="5718514"/>
                    </a:cubicBezTo>
                    <a:cubicBezTo>
                      <a:pt x="2065839" y="5718514"/>
                      <a:pt x="2064362" y="5719747"/>
                      <a:pt x="2064362" y="5721473"/>
                    </a:cubicBezTo>
                    <a:cubicBezTo>
                      <a:pt x="2064362" y="5723200"/>
                      <a:pt x="2065594" y="5724432"/>
                      <a:pt x="2067320" y="5724432"/>
                    </a:cubicBezTo>
                    <a:cubicBezTo>
                      <a:pt x="2069047" y="5724432"/>
                      <a:pt x="2070526" y="5722951"/>
                      <a:pt x="2070279" y="5721473"/>
                    </a:cubicBezTo>
                    <a:close/>
                    <a:moveTo>
                      <a:pt x="2070770" y="5938461"/>
                    </a:moveTo>
                    <a:cubicBezTo>
                      <a:pt x="2070770" y="5936734"/>
                      <a:pt x="2069538" y="5935501"/>
                      <a:pt x="2067812" y="5935501"/>
                    </a:cubicBezTo>
                    <a:cubicBezTo>
                      <a:pt x="2066085" y="5935501"/>
                      <a:pt x="2064853" y="5936734"/>
                      <a:pt x="2064853" y="5938461"/>
                    </a:cubicBezTo>
                    <a:cubicBezTo>
                      <a:pt x="2064853" y="5940188"/>
                      <a:pt x="2066085" y="5941420"/>
                      <a:pt x="2067812" y="5941420"/>
                    </a:cubicBezTo>
                    <a:cubicBezTo>
                      <a:pt x="2069290" y="5941420"/>
                      <a:pt x="2070770" y="5940188"/>
                      <a:pt x="2070770" y="5938461"/>
                    </a:cubicBezTo>
                    <a:close/>
                    <a:moveTo>
                      <a:pt x="2070770" y="6046953"/>
                    </a:moveTo>
                    <a:cubicBezTo>
                      <a:pt x="2070770" y="6045472"/>
                      <a:pt x="2069538" y="6043994"/>
                      <a:pt x="2067812" y="6043994"/>
                    </a:cubicBezTo>
                    <a:cubicBezTo>
                      <a:pt x="2066085" y="6043994"/>
                      <a:pt x="2064607" y="6045226"/>
                      <a:pt x="2064607" y="6046953"/>
                    </a:cubicBezTo>
                    <a:cubicBezTo>
                      <a:pt x="2064607" y="6048680"/>
                      <a:pt x="2066085" y="6050158"/>
                      <a:pt x="2067812" y="6050158"/>
                    </a:cubicBezTo>
                    <a:cubicBezTo>
                      <a:pt x="2069538" y="6050158"/>
                      <a:pt x="2070770" y="6048680"/>
                      <a:pt x="2070770" y="6046953"/>
                    </a:cubicBezTo>
                    <a:close/>
                    <a:moveTo>
                      <a:pt x="2070774" y="6589666"/>
                    </a:moveTo>
                    <a:cubicBezTo>
                      <a:pt x="2070774" y="6587940"/>
                      <a:pt x="2069293" y="6586461"/>
                      <a:pt x="2067566" y="6586461"/>
                    </a:cubicBezTo>
                    <a:cubicBezTo>
                      <a:pt x="2065839" y="6586461"/>
                      <a:pt x="2064362" y="6587940"/>
                      <a:pt x="2064362" y="6589666"/>
                    </a:cubicBezTo>
                    <a:cubicBezTo>
                      <a:pt x="2064362" y="6591394"/>
                      <a:pt x="2065839" y="6592875"/>
                      <a:pt x="2067566" y="6592875"/>
                    </a:cubicBezTo>
                    <a:cubicBezTo>
                      <a:pt x="2069293" y="6592875"/>
                      <a:pt x="2070774" y="6591394"/>
                      <a:pt x="2070774" y="6589666"/>
                    </a:cubicBezTo>
                    <a:close/>
                    <a:moveTo>
                      <a:pt x="2070774" y="7349120"/>
                    </a:moveTo>
                    <a:cubicBezTo>
                      <a:pt x="2070774" y="7347394"/>
                      <a:pt x="2069293" y="7345915"/>
                      <a:pt x="2067566" y="7345915"/>
                    </a:cubicBezTo>
                    <a:cubicBezTo>
                      <a:pt x="2065839" y="7345915"/>
                      <a:pt x="2064362" y="7347394"/>
                      <a:pt x="2064362" y="7349120"/>
                    </a:cubicBezTo>
                    <a:cubicBezTo>
                      <a:pt x="2064362" y="7350846"/>
                      <a:pt x="2065839" y="7352327"/>
                      <a:pt x="2067566" y="7352327"/>
                    </a:cubicBezTo>
                    <a:cubicBezTo>
                      <a:pt x="2069293" y="7352327"/>
                      <a:pt x="2070774" y="7350846"/>
                      <a:pt x="2070774" y="7349120"/>
                    </a:cubicBezTo>
                    <a:close/>
                    <a:moveTo>
                      <a:pt x="2071017" y="6155445"/>
                    </a:moveTo>
                    <a:cubicBezTo>
                      <a:pt x="2071017" y="6153718"/>
                      <a:pt x="2069538" y="6152240"/>
                      <a:pt x="2067812" y="6152240"/>
                    </a:cubicBezTo>
                    <a:cubicBezTo>
                      <a:pt x="2066085" y="6152240"/>
                      <a:pt x="2064607" y="6153718"/>
                      <a:pt x="2064607" y="6155445"/>
                    </a:cubicBezTo>
                    <a:cubicBezTo>
                      <a:pt x="2064607" y="6157172"/>
                      <a:pt x="2066085" y="6158653"/>
                      <a:pt x="2067812" y="6158653"/>
                    </a:cubicBezTo>
                    <a:cubicBezTo>
                      <a:pt x="2069538" y="6158653"/>
                      <a:pt x="2071017" y="6157417"/>
                      <a:pt x="2071017" y="6155445"/>
                    </a:cubicBezTo>
                    <a:close/>
                    <a:moveTo>
                      <a:pt x="2071017" y="6264187"/>
                    </a:moveTo>
                    <a:cubicBezTo>
                      <a:pt x="2071017" y="6262459"/>
                      <a:pt x="2069785" y="6261227"/>
                      <a:pt x="2068058" y="6261227"/>
                    </a:cubicBezTo>
                    <a:cubicBezTo>
                      <a:pt x="2066577" y="6261227"/>
                      <a:pt x="2065099" y="6262459"/>
                      <a:pt x="2065099" y="6264187"/>
                    </a:cubicBezTo>
                    <a:cubicBezTo>
                      <a:pt x="2065099" y="6265665"/>
                      <a:pt x="2066332" y="6267146"/>
                      <a:pt x="2068058" y="6267146"/>
                    </a:cubicBezTo>
                    <a:cubicBezTo>
                      <a:pt x="2069785" y="6267146"/>
                      <a:pt x="2071017" y="6265914"/>
                      <a:pt x="2071017" y="6264187"/>
                    </a:cubicBezTo>
                    <a:close/>
                    <a:moveTo>
                      <a:pt x="2071017" y="7457613"/>
                    </a:moveTo>
                    <a:cubicBezTo>
                      <a:pt x="2071017" y="7455889"/>
                      <a:pt x="2069538" y="7454408"/>
                      <a:pt x="2067812" y="7454408"/>
                    </a:cubicBezTo>
                    <a:cubicBezTo>
                      <a:pt x="2066085" y="7454408"/>
                      <a:pt x="2064607" y="7455889"/>
                      <a:pt x="2064607" y="7457613"/>
                    </a:cubicBezTo>
                    <a:cubicBezTo>
                      <a:pt x="2064607" y="7459340"/>
                      <a:pt x="2066085" y="7460821"/>
                      <a:pt x="2067812" y="7460821"/>
                    </a:cubicBezTo>
                    <a:cubicBezTo>
                      <a:pt x="2069538" y="7460821"/>
                      <a:pt x="2070770" y="7459340"/>
                      <a:pt x="2071017" y="7457613"/>
                    </a:cubicBezTo>
                    <a:close/>
                    <a:moveTo>
                      <a:pt x="2071017" y="7566106"/>
                    </a:moveTo>
                    <a:cubicBezTo>
                      <a:pt x="2071017" y="7564380"/>
                      <a:pt x="2069538" y="7562900"/>
                      <a:pt x="2067812" y="7562900"/>
                    </a:cubicBezTo>
                    <a:cubicBezTo>
                      <a:pt x="2066085" y="7562900"/>
                      <a:pt x="2064607" y="7564380"/>
                      <a:pt x="2064607" y="7566106"/>
                    </a:cubicBezTo>
                    <a:cubicBezTo>
                      <a:pt x="2064607" y="7567833"/>
                      <a:pt x="2066085" y="7569310"/>
                      <a:pt x="2067812" y="7569310"/>
                    </a:cubicBezTo>
                    <a:cubicBezTo>
                      <a:pt x="2069538" y="7569310"/>
                      <a:pt x="2071017" y="7567833"/>
                      <a:pt x="2071017" y="7566106"/>
                    </a:cubicBezTo>
                    <a:close/>
                    <a:moveTo>
                      <a:pt x="2071263" y="7023640"/>
                    </a:moveTo>
                    <a:cubicBezTo>
                      <a:pt x="2071263" y="7021913"/>
                      <a:pt x="2069784" y="7020435"/>
                      <a:pt x="2068057" y="7020435"/>
                    </a:cubicBezTo>
                    <a:cubicBezTo>
                      <a:pt x="2066331" y="7020435"/>
                      <a:pt x="2064853" y="7021913"/>
                      <a:pt x="2064853" y="7023640"/>
                    </a:cubicBezTo>
                    <a:cubicBezTo>
                      <a:pt x="2064853" y="7025367"/>
                      <a:pt x="2066331" y="7026844"/>
                      <a:pt x="2068057" y="7026844"/>
                    </a:cubicBezTo>
                    <a:cubicBezTo>
                      <a:pt x="2069784" y="7026844"/>
                      <a:pt x="2071016" y="7025367"/>
                      <a:pt x="2071263" y="7023640"/>
                    </a:cubicBezTo>
                    <a:close/>
                    <a:moveTo>
                      <a:pt x="2071263" y="7132133"/>
                    </a:moveTo>
                    <a:cubicBezTo>
                      <a:pt x="2071263" y="7130406"/>
                      <a:pt x="2069784" y="7128927"/>
                      <a:pt x="2068057" y="7128927"/>
                    </a:cubicBezTo>
                    <a:cubicBezTo>
                      <a:pt x="2066331" y="7128927"/>
                      <a:pt x="2064853" y="7130406"/>
                      <a:pt x="2064853" y="7132133"/>
                    </a:cubicBezTo>
                    <a:cubicBezTo>
                      <a:pt x="2064853" y="7133860"/>
                      <a:pt x="2066331" y="7135341"/>
                      <a:pt x="2068057" y="7135341"/>
                    </a:cubicBezTo>
                    <a:cubicBezTo>
                      <a:pt x="2069784" y="7135341"/>
                      <a:pt x="2071263" y="7133860"/>
                      <a:pt x="2071263" y="7132133"/>
                    </a:cubicBezTo>
                    <a:close/>
                    <a:moveTo>
                      <a:pt x="2071263" y="7240626"/>
                    </a:moveTo>
                    <a:cubicBezTo>
                      <a:pt x="2071263" y="7238899"/>
                      <a:pt x="2069784" y="7237421"/>
                      <a:pt x="2068057" y="7237421"/>
                    </a:cubicBezTo>
                    <a:cubicBezTo>
                      <a:pt x="2066331" y="7237421"/>
                      <a:pt x="2064853" y="7238899"/>
                      <a:pt x="2064853" y="7240626"/>
                    </a:cubicBezTo>
                    <a:cubicBezTo>
                      <a:pt x="2064853" y="7242353"/>
                      <a:pt x="2066331" y="7243834"/>
                      <a:pt x="2068057" y="7243834"/>
                    </a:cubicBezTo>
                    <a:cubicBezTo>
                      <a:pt x="2069784" y="7243834"/>
                      <a:pt x="2071263" y="7242353"/>
                      <a:pt x="2071263" y="7240626"/>
                    </a:cubicBezTo>
                    <a:close/>
                    <a:moveTo>
                      <a:pt x="2071265" y="1668357"/>
                    </a:moveTo>
                    <a:cubicBezTo>
                      <a:pt x="2071265" y="1665151"/>
                      <a:pt x="2068552" y="1662439"/>
                      <a:pt x="2065347" y="1662439"/>
                    </a:cubicBezTo>
                    <a:cubicBezTo>
                      <a:pt x="2062143" y="1662439"/>
                      <a:pt x="2059429" y="1665151"/>
                      <a:pt x="2059429" y="1668357"/>
                    </a:cubicBezTo>
                    <a:cubicBezTo>
                      <a:pt x="2059429" y="1671558"/>
                      <a:pt x="2062143" y="1674272"/>
                      <a:pt x="2065347" y="1674272"/>
                    </a:cubicBezTo>
                    <a:cubicBezTo>
                      <a:pt x="2068552" y="1674272"/>
                      <a:pt x="2071019" y="1671558"/>
                      <a:pt x="2071265" y="1668357"/>
                    </a:cubicBezTo>
                    <a:close/>
                    <a:moveTo>
                      <a:pt x="2071265" y="5829967"/>
                    </a:moveTo>
                    <a:cubicBezTo>
                      <a:pt x="2071265" y="5827994"/>
                      <a:pt x="2069538" y="5826267"/>
                      <a:pt x="2067566" y="5826267"/>
                    </a:cubicBezTo>
                    <a:cubicBezTo>
                      <a:pt x="2065594" y="5826267"/>
                      <a:pt x="2063867" y="5827994"/>
                      <a:pt x="2063867" y="5829967"/>
                    </a:cubicBezTo>
                    <a:cubicBezTo>
                      <a:pt x="2063867" y="5831939"/>
                      <a:pt x="2065594" y="5833666"/>
                      <a:pt x="2067566" y="5833666"/>
                    </a:cubicBezTo>
                    <a:cubicBezTo>
                      <a:pt x="2069538" y="5833666"/>
                      <a:pt x="2071265" y="5831939"/>
                      <a:pt x="2071265" y="5829967"/>
                    </a:cubicBezTo>
                    <a:close/>
                    <a:moveTo>
                      <a:pt x="2071757" y="6698160"/>
                    </a:moveTo>
                    <a:cubicBezTo>
                      <a:pt x="2071757" y="6695941"/>
                      <a:pt x="2070031" y="6694215"/>
                      <a:pt x="2067812" y="6694215"/>
                    </a:cubicBezTo>
                    <a:cubicBezTo>
                      <a:pt x="2065594" y="6694215"/>
                      <a:pt x="2063867" y="6695941"/>
                      <a:pt x="2063867" y="6698160"/>
                    </a:cubicBezTo>
                    <a:cubicBezTo>
                      <a:pt x="2063867" y="6700378"/>
                      <a:pt x="2065594" y="6702104"/>
                      <a:pt x="2067812" y="6702104"/>
                    </a:cubicBezTo>
                    <a:cubicBezTo>
                      <a:pt x="2070031" y="6702104"/>
                      <a:pt x="2071757" y="6700378"/>
                      <a:pt x="2071757" y="6698160"/>
                    </a:cubicBezTo>
                    <a:close/>
                    <a:moveTo>
                      <a:pt x="2071757" y="6806653"/>
                    </a:moveTo>
                    <a:cubicBezTo>
                      <a:pt x="2071757" y="6804434"/>
                      <a:pt x="2070031" y="6802708"/>
                      <a:pt x="2067812" y="6802708"/>
                    </a:cubicBezTo>
                    <a:cubicBezTo>
                      <a:pt x="2065594" y="6802708"/>
                      <a:pt x="2063867" y="6804434"/>
                      <a:pt x="2063867" y="6806653"/>
                    </a:cubicBezTo>
                    <a:cubicBezTo>
                      <a:pt x="2063867" y="6808871"/>
                      <a:pt x="2065594" y="6810597"/>
                      <a:pt x="2067812" y="6810597"/>
                    </a:cubicBezTo>
                    <a:cubicBezTo>
                      <a:pt x="2070031" y="6810597"/>
                      <a:pt x="2071757" y="6808871"/>
                      <a:pt x="2071757" y="6806653"/>
                    </a:cubicBezTo>
                    <a:close/>
                    <a:moveTo>
                      <a:pt x="2072003" y="6915146"/>
                    </a:moveTo>
                    <a:cubicBezTo>
                      <a:pt x="2072003" y="6912928"/>
                      <a:pt x="2070029" y="6910955"/>
                      <a:pt x="2067812" y="6910955"/>
                    </a:cubicBezTo>
                    <a:cubicBezTo>
                      <a:pt x="2065593" y="6910955"/>
                      <a:pt x="2063621" y="6912928"/>
                      <a:pt x="2063621" y="6915146"/>
                    </a:cubicBezTo>
                    <a:cubicBezTo>
                      <a:pt x="2063621" y="6917365"/>
                      <a:pt x="2065593" y="6919337"/>
                      <a:pt x="2067812" y="6919337"/>
                    </a:cubicBezTo>
                    <a:cubicBezTo>
                      <a:pt x="2070029" y="6919337"/>
                      <a:pt x="2072003" y="6917365"/>
                      <a:pt x="2072003" y="6915146"/>
                    </a:cubicBezTo>
                    <a:close/>
                    <a:moveTo>
                      <a:pt x="2072497" y="6372676"/>
                    </a:moveTo>
                    <a:cubicBezTo>
                      <a:pt x="2072497" y="6370213"/>
                      <a:pt x="2070524" y="6368240"/>
                      <a:pt x="2068060" y="6368240"/>
                    </a:cubicBezTo>
                    <a:cubicBezTo>
                      <a:pt x="2065593" y="6368240"/>
                      <a:pt x="2063621" y="6370213"/>
                      <a:pt x="2063621" y="6372676"/>
                    </a:cubicBezTo>
                    <a:cubicBezTo>
                      <a:pt x="2063621" y="6375144"/>
                      <a:pt x="2065593" y="6377117"/>
                      <a:pt x="2068060" y="6377117"/>
                    </a:cubicBezTo>
                    <a:cubicBezTo>
                      <a:pt x="2070524" y="6377117"/>
                      <a:pt x="2072497" y="6375144"/>
                      <a:pt x="2072497" y="6372676"/>
                    </a:cubicBezTo>
                    <a:close/>
                    <a:moveTo>
                      <a:pt x="2072497" y="6481173"/>
                    </a:moveTo>
                    <a:cubicBezTo>
                      <a:pt x="2072497" y="6478955"/>
                      <a:pt x="2070525" y="6476982"/>
                      <a:pt x="2068058" y="6476982"/>
                    </a:cubicBezTo>
                    <a:cubicBezTo>
                      <a:pt x="2065839" y="6476982"/>
                      <a:pt x="2063867" y="6478955"/>
                      <a:pt x="2063867" y="6481173"/>
                    </a:cubicBezTo>
                    <a:cubicBezTo>
                      <a:pt x="2063867" y="6483393"/>
                      <a:pt x="2065594" y="6485364"/>
                      <a:pt x="2068058" y="6485364"/>
                    </a:cubicBezTo>
                    <a:cubicBezTo>
                      <a:pt x="2070525" y="6485364"/>
                      <a:pt x="2072497" y="6483393"/>
                      <a:pt x="2072497" y="6481173"/>
                    </a:cubicBezTo>
                    <a:close/>
                    <a:moveTo>
                      <a:pt x="2073238" y="4306375"/>
                    </a:moveTo>
                    <a:cubicBezTo>
                      <a:pt x="2073238" y="4303171"/>
                      <a:pt x="2070525" y="4300703"/>
                      <a:pt x="2067568" y="4300703"/>
                    </a:cubicBezTo>
                    <a:cubicBezTo>
                      <a:pt x="2064609" y="4300703"/>
                      <a:pt x="2062143" y="4303417"/>
                      <a:pt x="2062143" y="4306375"/>
                    </a:cubicBezTo>
                    <a:cubicBezTo>
                      <a:pt x="2062143" y="4309580"/>
                      <a:pt x="2064609" y="4312048"/>
                      <a:pt x="2067568" y="4312048"/>
                    </a:cubicBezTo>
                    <a:cubicBezTo>
                      <a:pt x="2070525" y="4312048"/>
                      <a:pt x="2072991" y="4309580"/>
                      <a:pt x="2073238" y="4306375"/>
                    </a:cubicBezTo>
                    <a:close/>
                    <a:moveTo>
                      <a:pt x="2073485" y="5504241"/>
                    </a:moveTo>
                    <a:cubicBezTo>
                      <a:pt x="2073485" y="5501280"/>
                      <a:pt x="2071017" y="5498815"/>
                      <a:pt x="2068060" y="5498815"/>
                    </a:cubicBezTo>
                    <a:cubicBezTo>
                      <a:pt x="2065099" y="5498815"/>
                      <a:pt x="2062635" y="5501280"/>
                      <a:pt x="2062635" y="5504241"/>
                    </a:cubicBezTo>
                    <a:cubicBezTo>
                      <a:pt x="2062635" y="5507198"/>
                      <a:pt x="2065099" y="5509665"/>
                      <a:pt x="2068060" y="5509665"/>
                    </a:cubicBezTo>
                    <a:cubicBezTo>
                      <a:pt x="2071266" y="5509665"/>
                      <a:pt x="2073730" y="5507198"/>
                      <a:pt x="2073485" y="5504241"/>
                    </a:cubicBezTo>
                    <a:close/>
                    <a:moveTo>
                      <a:pt x="2073731" y="5395502"/>
                    </a:moveTo>
                    <a:cubicBezTo>
                      <a:pt x="2073731" y="5392294"/>
                      <a:pt x="2071019" y="5389830"/>
                      <a:pt x="2068060" y="5389830"/>
                    </a:cubicBezTo>
                    <a:cubicBezTo>
                      <a:pt x="2064855" y="5389830"/>
                      <a:pt x="2062388" y="5392543"/>
                      <a:pt x="2062388" y="5395502"/>
                    </a:cubicBezTo>
                    <a:cubicBezTo>
                      <a:pt x="2062388" y="5398706"/>
                      <a:pt x="2065100" y="5401171"/>
                      <a:pt x="2068060" y="5401171"/>
                    </a:cubicBezTo>
                    <a:cubicBezTo>
                      <a:pt x="2071019" y="5401171"/>
                      <a:pt x="2073483" y="5398706"/>
                      <a:pt x="2073731" y="5395502"/>
                    </a:cubicBezTo>
                    <a:close/>
                    <a:moveTo>
                      <a:pt x="2077924" y="1777105"/>
                    </a:moveTo>
                    <a:cubicBezTo>
                      <a:pt x="2077924" y="1770197"/>
                      <a:pt x="2072497" y="1764771"/>
                      <a:pt x="2065596" y="1764771"/>
                    </a:cubicBezTo>
                    <a:cubicBezTo>
                      <a:pt x="2058691" y="1764771"/>
                      <a:pt x="2053266" y="1770445"/>
                      <a:pt x="2053266" y="1777105"/>
                    </a:cubicBezTo>
                    <a:cubicBezTo>
                      <a:pt x="2053266" y="1783999"/>
                      <a:pt x="2058938" y="1789422"/>
                      <a:pt x="2065596" y="1789422"/>
                    </a:cubicBezTo>
                    <a:cubicBezTo>
                      <a:pt x="2072251" y="1789422"/>
                      <a:pt x="2077677" y="1783756"/>
                      <a:pt x="2077924" y="1777105"/>
                    </a:cubicBezTo>
                    <a:close/>
                    <a:moveTo>
                      <a:pt x="2080387" y="4634320"/>
                    </a:moveTo>
                    <a:cubicBezTo>
                      <a:pt x="2080387" y="4627664"/>
                      <a:pt x="2074962" y="4622238"/>
                      <a:pt x="2068303" y="4622238"/>
                    </a:cubicBezTo>
                    <a:cubicBezTo>
                      <a:pt x="2061647" y="4622238"/>
                      <a:pt x="2056222" y="4627664"/>
                      <a:pt x="2056222" y="4634320"/>
                    </a:cubicBezTo>
                    <a:cubicBezTo>
                      <a:pt x="2056222" y="4640978"/>
                      <a:pt x="2061647" y="4646401"/>
                      <a:pt x="2068303" y="4646401"/>
                    </a:cubicBezTo>
                    <a:cubicBezTo>
                      <a:pt x="2074962" y="4646401"/>
                      <a:pt x="2080387" y="4640978"/>
                      <a:pt x="2080387" y="4634320"/>
                    </a:cubicBezTo>
                    <a:close/>
                    <a:moveTo>
                      <a:pt x="2085070" y="4196896"/>
                    </a:moveTo>
                    <a:cubicBezTo>
                      <a:pt x="2085070" y="4187033"/>
                      <a:pt x="2076934" y="4178896"/>
                      <a:pt x="2067071" y="4178896"/>
                    </a:cubicBezTo>
                    <a:cubicBezTo>
                      <a:pt x="2057207" y="4178896"/>
                      <a:pt x="2049072" y="4187033"/>
                      <a:pt x="2049072" y="4196896"/>
                    </a:cubicBezTo>
                    <a:cubicBezTo>
                      <a:pt x="2049072" y="4206759"/>
                      <a:pt x="2057207" y="4214895"/>
                      <a:pt x="2067071" y="4214895"/>
                    </a:cubicBezTo>
                    <a:cubicBezTo>
                      <a:pt x="2076934" y="4214895"/>
                      <a:pt x="2085070" y="4206759"/>
                      <a:pt x="2085070" y="4196896"/>
                    </a:cubicBezTo>
                    <a:close/>
                    <a:moveTo>
                      <a:pt x="2085568" y="5178020"/>
                    </a:moveTo>
                    <a:cubicBezTo>
                      <a:pt x="2085568" y="5168404"/>
                      <a:pt x="2077678" y="5160513"/>
                      <a:pt x="2067815" y="5160513"/>
                    </a:cubicBezTo>
                    <a:cubicBezTo>
                      <a:pt x="2058197" y="5160513"/>
                      <a:pt x="2050307" y="5168404"/>
                      <a:pt x="2050307" y="5178020"/>
                    </a:cubicBezTo>
                    <a:cubicBezTo>
                      <a:pt x="2050307" y="5187884"/>
                      <a:pt x="2058197" y="5195775"/>
                      <a:pt x="2067815" y="5195775"/>
                    </a:cubicBezTo>
                    <a:cubicBezTo>
                      <a:pt x="2077429" y="5195775"/>
                      <a:pt x="2085319" y="5187884"/>
                      <a:pt x="2085568" y="5178020"/>
                    </a:cubicBezTo>
                    <a:close/>
                    <a:moveTo>
                      <a:pt x="2086306" y="1559879"/>
                    </a:moveTo>
                    <a:cubicBezTo>
                      <a:pt x="2086306" y="1548043"/>
                      <a:pt x="2076691" y="1538427"/>
                      <a:pt x="2064856" y="1538427"/>
                    </a:cubicBezTo>
                    <a:cubicBezTo>
                      <a:pt x="2053019" y="1538427"/>
                      <a:pt x="2043403" y="1548043"/>
                      <a:pt x="2043403" y="1559879"/>
                    </a:cubicBezTo>
                    <a:cubicBezTo>
                      <a:pt x="2043403" y="1571714"/>
                      <a:pt x="2053019" y="1581325"/>
                      <a:pt x="2064856" y="1581325"/>
                    </a:cubicBezTo>
                    <a:cubicBezTo>
                      <a:pt x="2076691" y="1581325"/>
                      <a:pt x="2086306" y="1571714"/>
                      <a:pt x="2086306" y="1559879"/>
                    </a:cubicBezTo>
                    <a:close/>
                    <a:moveTo>
                      <a:pt x="2093456" y="257146"/>
                    </a:moveTo>
                    <a:cubicBezTo>
                      <a:pt x="2093456" y="241118"/>
                      <a:pt x="2080634" y="228050"/>
                      <a:pt x="2064607" y="228050"/>
                    </a:cubicBezTo>
                    <a:cubicBezTo>
                      <a:pt x="2048578" y="228050"/>
                      <a:pt x="2035510" y="241118"/>
                      <a:pt x="2035510" y="257146"/>
                    </a:cubicBezTo>
                    <a:cubicBezTo>
                      <a:pt x="2035510" y="273173"/>
                      <a:pt x="2048578" y="286239"/>
                      <a:pt x="2064607" y="286239"/>
                    </a:cubicBezTo>
                    <a:cubicBezTo>
                      <a:pt x="2080634" y="286239"/>
                      <a:pt x="2093701" y="273418"/>
                      <a:pt x="2093456" y="257146"/>
                    </a:cubicBezTo>
                    <a:close/>
                    <a:moveTo>
                      <a:pt x="2093458" y="365615"/>
                    </a:moveTo>
                    <a:cubicBezTo>
                      <a:pt x="2093458" y="349588"/>
                      <a:pt x="2080388" y="336767"/>
                      <a:pt x="2064607" y="336767"/>
                    </a:cubicBezTo>
                    <a:cubicBezTo>
                      <a:pt x="2048581" y="336767"/>
                      <a:pt x="2035759" y="349834"/>
                      <a:pt x="2035759" y="365615"/>
                    </a:cubicBezTo>
                    <a:cubicBezTo>
                      <a:pt x="2035759" y="381640"/>
                      <a:pt x="2048826" y="394464"/>
                      <a:pt x="2064607" y="394464"/>
                    </a:cubicBezTo>
                    <a:cubicBezTo>
                      <a:pt x="2080388" y="394464"/>
                      <a:pt x="2093209" y="381640"/>
                      <a:pt x="2093458" y="365615"/>
                    </a:cubicBezTo>
                    <a:close/>
                    <a:moveTo>
                      <a:pt x="2094196" y="1885822"/>
                    </a:moveTo>
                    <a:cubicBezTo>
                      <a:pt x="2094196" y="1870291"/>
                      <a:pt x="2081620" y="1857471"/>
                      <a:pt x="2065839" y="1857471"/>
                    </a:cubicBezTo>
                    <a:cubicBezTo>
                      <a:pt x="2050059" y="1857471"/>
                      <a:pt x="2037236" y="1870044"/>
                      <a:pt x="2037236" y="1885822"/>
                    </a:cubicBezTo>
                    <a:cubicBezTo>
                      <a:pt x="2037236" y="1901354"/>
                      <a:pt x="2050059" y="1914173"/>
                      <a:pt x="2065839" y="1914173"/>
                    </a:cubicBezTo>
                    <a:cubicBezTo>
                      <a:pt x="2081374" y="1914173"/>
                      <a:pt x="2094196" y="1901354"/>
                      <a:pt x="2094196" y="1885822"/>
                    </a:cubicBezTo>
                    <a:close/>
                    <a:moveTo>
                      <a:pt x="2094442" y="40207"/>
                    </a:moveTo>
                    <a:cubicBezTo>
                      <a:pt x="2094442" y="23686"/>
                      <a:pt x="2080882" y="10373"/>
                      <a:pt x="2064607" y="10373"/>
                    </a:cubicBezTo>
                    <a:cubicBezTo>
                      <a:pt x="2048085" y="10373"/>
                      <a:pt x="2034772" y="23686"/>
                      <a:pt x="2034772" y="40207"/>
                    </a:cubicBezTo>
                    <a:cubicBezTo>
                      <a:pt x="2034772" y="56728"/>
                      <a:pt x="2048085" y="70043"/>
                      <a:pt x="2064607" y="70043"/>
                    </a:cubicBezTo>
                    <a:cubicBezTo>
                      <a:pt x="2081128" y="70043"/>
                      <a:pt x="2094442" y="56728"/>
                      <a:pt x="2094442" y="40207"/>
                    </a:cubicBezTo>
                    <a:close/>
                    <a:moveTo>
                      <a:pt x="2094444" y="1451147"/>
                    </a:moveTo>
                    <a:cubicBezTo>
                      <a:pt x="2094444" y="1434874"/>
                      <a:pt x="2081375" y="1421809"/>
                      <a:pt x="2065101" y="1421809"/>
                    </a:cubicBezTo>
                    <a:cubicBezTo>
                      <a:pt x="2048826" y="1421809"/>
                      <a:pt x="2035759" y="1434874"/>
                      <a:pt x="2035759" y="1451147"/>
                    </a:cubicBezTo>
                    <a:cubicBezTo>
                      <a:pt x="2035759" y="1467425"/>
                      <a:pt x="2048826" y="1480491"/>
                      <a:pt x="2065101" y="1480491"/>
                    </a:cubicBezTo>
                    <a:cubicBezTo>
                      <a:pt x="2081375" y="1480491"/>
                      <a:pt x="2094444" y="1467425"/>
                      <a:pt x="2094444" y="1451147"/>
                    </a:cubicBezTo>
                    <a:close/>
                    <a:moveTo>
                      <a:pt x="2095182" y="148923"/>
                    </a:moveTo>
                    <a:cubicBezTo>
                      <a:pt x="2095182" y="132157"/>
                      <a:pt x="2081622" y="118595"/>
                      <a:pt x="2064856" y="118595"/>
                    </a:cubicBezTo>
                    <a:cubicBezTo>
                      <a:pt x="2048088" y="118595"/>
                      <a:pt x="2034526" y="132157"/>
                      <a:pt x="2034526" y="148923"/>
                    </a:cubicBezTo>
                    <a:cubicBezTo>
                      <a:pt x="2034526" y="165690"/>
                      <a:pt x="2048088" y="179251"/>
                      <a:pt x="2064856" y="179251"/>
                    </a:cubicBezTo>
                    <a:cubicBezTo>
                      <a:pt x="2081622" y="179251"/>
                      <a:pt x="2095431" y="165441"/>
                      <a:pt x="2095182" y="148923"/>
                    </a:cubicBezTo>
                    <a:close/>
                    <a:moveTo>
                      <a:pt x="2095675" y="3976704"/>
                    </a:moveTo>
                    <a:cubicBezTo>
                      <a:pt x="2095675" y="3962650"/>
                      <a:pt x="2084085" y="3951060"/>
                      <a:pt x="2070031" y="3951060"/>
                    </a:cubicBezTo>
                    <a:cubicBezTo>
                      <a:pt x="2055976" y="3951060"/>
                      <a:pt x="2044386" y="3962650"/>
                      <a:pt x="2044386" y="3976704"/>
                    </a:cubicBezTo>
                    <a:cubicBezTo>
                      <a:pt x="2044386" y="3990759"/>
                      <a:pt x="2055976" y="4002348"/>
                      <a:pt x="2070031" y="4002348"/>
                    </a:cubicBezTo>
                    <a:cubicBezTo>
                      <a:pt x="2084330" y="4002348"/>
                      <a:pt x="2095675" y="3990759"/>
                      <a:pt x="2095675" y="3976704"/>
                    </a:cubicBezTo>
                    <a:close/>
                    <a:moveTo>
                      <a:pt x="2096909" y="1342671"/>
                    </a:moveTo>
                    <a:cubicBezTo>
                      <a:pt x="2096909" y="1324915"/>
                      <a:pt x="2082609" y="1310617"/>
                      <a:pt x="2064856" y="1310617"/>
                    </a:cubicBezTo>
                    <a:cubicBezTo>
                      <a:pt x="2047102" y="1310617"/>
                      <a:pt x="2032800" y="1324915"/>
                      <a:pt x="2032800" y="1342671"/>
                    </a:cubicBezTo>
                    <a:cubicBezTo>
                      <a:pt x="2032800" y="1360424"/>
                      <a:pt x="2047102" y="1374729"/>
                      <a:pt x="2064856" y="1374729"/>
                    </a:cubicBezTo>
                    <a:cubicBezTo>
                      <a:pt x="2082609" y="1374729"/>
                      <a:pt x="2096909" y="1360424"/>
                      <a:pt x="2096909" y="1342671"/>
                    </a:cubicBezTo>
                    <a:close/>
                    <a:moveTo>
                      <a:pt x="2098141" y="5069527"/>
                    </a:moveTo>
                    <a:cubicBezTo>
                      <a:pt x="2098141" y="5052761"/>
                      <a:pt x="2084334" y="5038952"/>
                      <a:pt x="2067566" y="5038952"/>
                    </a:cubicBezTo>
                    <a:cubicBezTo>
                      <a:pt x="2050798" y="5038952"/>
                      <a:pt x="2036991" y="5052514"/>
                      <a:pt x="2036991" y="5069527"/>
                    </a:cubicBezTo>
                    <a:cubicBezTo>
                      <a:pt x="2036991" y="5086295"/>
                      <a:pt x="2050553" y="5100103"/>
                      <a:pt x="2067566" y="5100103"/>
                    </a:cubicBezTo>
                    <a:cubicBezTo>
                      <a:pt x="2084334" y="5100103"/>
                      <a:pt x="2098141" y="5086295"/>
                      <a:pt x="2098141" y="5069527"/>
                    </a:cubicBezTo>
                    <a:close/>
                    <a:moveTo>
                      <a:pt x="2098881" y="2867611"/>
                    </a:moveTo>
                    <a:cubicBezTo>
                      <a:pt x="2098881" y="2851584"/>
                      <a:pt x="2085813" y="2838517"/>
                      <a:pt x="2069784" y="2838517"/>
                    </a:cubicBezTo>
                    <a:cubicBezTo>
                      <a:pt x="2053757" y="2838517"/>
                      <a:pt x="2040690" y="2851584"/>
                      <a:pt x="2040690" y="2867611"/>
                    </a:cubicBezTo>
                    <a:cubicBezTo>
                      <a:pt x="2040690" y="2883641"/>
                      <a:pt x="2053757" y="2896708"/>
                      <a:pt x="2069784" y="2896708"/>
                    </a:cubicBezTo>
                    <a:cubicBezTo>
                      <a:pt x="2085813" y="2896708"/>
                      <a:pt x="2098881" y="2883887"/>
                      <a:pt x="2098881" y="2867611"/>
                    </a:cubicBezTo>
                    <a:close/>
                    <a:moveTo>
                      <a:pt x="2104058" y="4087171"/>
                    </a:moveTo>
                    <a:cubicBezTo>
                      <a:pt x="2104058" y="4068428"/>
                      <a:pt x="2088769" y="4053141"/>
                      <a:pt x="2070029" y="4053141"/>
                    </a:cubicBezTo>
                    <a:cubicBezTo>
                      <a:pt x="2051535" y="4053141"/>
                      <a:pt x="2036250" y="4068428"/>
                      <a:pt x="2036250" y="4087171"/>
                    </a:cubicBezTo>
                    <a:cubicBezTo>
                      <a:pt x="2036250" y="4105907"/>
                      <a:pt x="2051290" y="4121197"/>
                      <a:pt x="2070029" y="4121197"/>
                    </a:cubicBezTo>
                    <a:cubicBezTo>
                      <a:pt x="2088769" y="4121197"/>
                      <a:pt x="2103812" y="4105907"/>
                      <a:pt x="2104058" y="4087171"/>
                    </a:cubicBezTo>
                    <a:close/>
                    <a:moveTo>
                      <a:pt x="2104551" y="4415855"/>
                    </a:moveTo>
                    <a:cubicBezTo>
                      <a:pt x="2104551" y="4395637"/>
                      <a:pt x="2088032" y="4379116"/>
                      <a:pt x="2067812" y="4379116"/>
                    </a:cubicBezTo>
                    <a:cubicBezTo>
                      <a:pt x="2047840" y="4379116"/>
                      <a:pt x="2031319" y="4395637"/>
                      <a:pt x="2031319" y="4415855"/>
                    </a:cubicBezTo>
                    <a:cubicBezTo>
                      <a:pt x="2031319" y="4436075"/>
                      <a:pt x="2047594" y="4452594"/>
                      <a:pt x="2067812" y="4452594"/>
                    </a:cubicBezTo>
                    <a:cubicBezTo>
                      <a:pt x="2088032" y="4452594"/>
                      <a:pt x="2104305" y="4436075"/>
                      <a:pt x="2104551" y="4415855"/>
                    </a:cubicBezTo>
                    <a:close/>
                    <a:moveTo>
                      <a:pt x="2104798" y="1994529"/>
                    </a:moveTo>
                    <a:cubicBezTo>
                      <a:pt x="2104798" y="1972833"/>
                      <a:pt x="2087292" y="1955330"/>
                      <a:pt x="2065594" y="1955330"/>
                    </a:cubicBezTo>
                    <a:cubicBezTo>
                      <a:pt x="2043895" y="1955330"/>
                      <a:pt x="2026388" y="1972833"/>
                      <a:pt x="2026388" y="1994529"/>
                    </a:cubicBezTo>
                    <a:cubicBezTo>
                      <a:pt x="2026388" y="2016224"/>
                      <a:pt x="2043895" y="2033732"/>
                      <a:pt x="2065594" y="2033732"/>
                    </a:cubicBezTo>
                    <a:cubicBezTo>
                      <a:pt x="2087292" y="2033732"/>
                      <a:pt x="2104798" y="2016224"/>
                      <a:pt x="2104798" y="1994529"/>
                    </a:cubicBezTo>
                    <a:close/>
                    <a:moveTo>
                      <a:pt x="2105539" y="2978322"/>
                    </a:moveTo>
                    <a:cubicBezTo>
                      <a:pt x="2105539" y="2958596"/>
                      <a:pt x="2089512" y="2942815"/>
                      <a:pt x="2070033" y="2942815"/>
                    </a:cubicBezTo>
                    <a:cubicBezTo>
                      <a:pt x="2050553" y="2942815"/>
                      <a:pt x="2034772" y="2958842"/>
                      <a:pt x="2034772" y="2978322"/>
                    </a:cubicBezTo>
                    <a:cubicBezTo>
                      <a:pt x="2034772" y="2998048"/>
                      <a:pt x="2050553" y="3013829"/>
                      <a:pt x="2070033" y="3013829"/>
                    </a:cubicBezTo>
                    <a:cubicBezTo>
                      <a:pt x="2089758" y="3013829"/>
                      <a:pt x="2105539" y="2998048"/>
                      <a:pt x="2105539" y="2978322"/>
                    </a:cubicBezTo>
                    <a:close/>
                    <a:moveTo>
                      <a:pt x="2107758" y="4525086"/>
                    </a:moveTo>
                    <a:cubicBezTo>
                      <a:pt x="2107758" y="4503141"/>
                      <a:pt x="2090005" y="4485388"/>
                      <a:pt x="2068057" y="4485388"/>
                    </a:cubicBezTo>
                    <a:cubicBezTo>
                      <a:pt x="2046113" y="4485388"/>
                      <a:pt x="2028360" y="4503141"/>
                      <a:pt x="2028360" y="4525086"/>
                    </a:cubicBezTo>
                    <a:cubicBezTo>
                      <a:pt x="2028360" y="4547033"/>
                      <a:pt x="2046113" y="4564786"/>
                      <a:pt x="2068057" y="4564786"/>
                    </a:cubicBezTo>
                    <a:cubicBezTo>
                      <a:pt x="2089756" y="4564786"/>
                      <a:pt x="2107509" y="4547033"/>
                      <a:pt x="2107758" y="4525086"/>
                    </a:cubicBezTo>
                    <a:close/>
                    <a:moveTo>
                      <a:pt x="2109239" y="4743307"/>
                    </a:moveTo>
                    <a:cubicBezTo>
                      <a:pt x="2109239" y="4720871"/>
                      <a:pt x="2090991" y="4702622"/>
                      <a:pt x="2068552" y="4702622"/>
                    </a:cubicBezTo>
                    <a:cubicBezTo>
                      <a:pt x="2046115" y="4702622"/>
                      <a:pt x="2027868" y="4720871"/>
                      <a:pt x="2027868" y="4743307"/>
                    </a:cubicBezTo>
                    <a:cubicBezTo>
                      <a:pt x="2027868" y="4765746"/>
                      <a:pt x="2046115" y="4783994"/>
                      <a:pt x="2068552" y="4783994"/>
                    </a:cubicBezTo>
                    <a:cubicBezTo>
                      <a:pt x="2090746" y="4783994"/>
                      <a:pt x="2108990" y="4765746"/>
                      <a:pt x="2109239" y="4743307"/>
                    </a:cubicBezTo>
                    <a:close/>
                    <a:moveTo>
                      <a:pt x="2113922" y="4852047"/>
                    </a:moveTo>
                    <a:cubicBezTo>
                      <a:pt x="2113922" y="4827143"/>
                      <a:pt x="2093703" y="4806677"/>
                      <a:pt x="2068552" y="4806677"/>
                    </a:cubicBezTo>
                    <a:cubicBezTo>
                      <a:pt x="2043648" y="4806677"/>
                      <a:pt x="2023182" y="4826897"/>
                      <a:pt x="2023182" y="4852047"/>
                    </a:cubicBezTo>
                    <a:cubicBezTo>
                      <a:pt x="2023182" y="4876950"/>
                      <a:pt x="2043403" y="4897417"/>
                      <a:pt x="2068552" y="4897417"/>
                    </a:cubicBezTo>
                    <a:cubicBezTo>
                      <a:pt x="2093703" y="4897417"/>
                      <a:pt x="2114168" y="4877199"/>
                      <a:pt x="2113922" y="4852047"/>
                    </a:cubicBezTo>
                    <a:close/>
                    <a:moveTo>
                      <a:pt x="2142033" y="2751232"/>
                    </a:moveTo>
                    <a:cubicBezTo>
                      <a:pt x="2142033" y="2741863"/>
                      <a:pt x="2134388" y="2734219"/>
                      <a:pt x="2125018" y="2734219"/>
                    </a:cubicBezTo>
                    <a:cubicBezTo>
                      <a:pt x="2115649" y="2734219"/>
                      <a:pt x="2108004" y="2741863"/>
                      <a:pt x="2108004" y="2751232"/>
                    </a:cubicBezTo>
                    <a:cubicBezTo>
                      <a:pt x="2108004" y="2760603"/>
                      <a:pt x="2115649" y="2768247"/>
                      <a:pt x="2125018" y="2768247"/>
                    </a:cubicBezTo>
                    <a:cubicBezTo>
                      <a:pt x="2134388" y="2768247"/>
                      <a:pt x="2141784" y="2760603"/>
                      <a:pt x="2142033" y="2751232"/>
                    </a:cubicBezTo>
                    <a:close/>
                    <a:moveTo>
                      <a:pt x="2144497" y="2208055"/>
                    </a:moveTo>
                    <a:cubicBezTo>
                      <a:pt x="2144497" y="2197207"/>
                      <a:pt x="2135621" y="2188576"/>
                      <a:pt x="2125018" y="2188576"/>
                    </a:cubicBezTo>
                    <a:cubicBezTo>
                      <a:pt x="2114169" y="2188576"/>
                      <a:pt x="2105538" y="2197207"/>
                      <a:pt x="2105538" y="2208055"/>
                    </a:cubicBezTo>
                    <a:cubicBezTo>
                      <a:pt x="2105538" y="2218906"/>
                      <a:pt x="2114169" y="2227535"/>
                      <a:pt x="2125018" y="2227535"/>
                    </a:cubicBezTo>
                    <a:cubicBezTo>
                      <a:pt x="2135866" y="2227535"/>
                      <a:pt x="2144497" y="2218906"/>
                      <a:pt x="2144497" y="2208055"/>
                    </a:cubicBezTo>
                    <a:close/>
                    <a:moveTo>
                      <a:pt x="2144497" y="2642496"/>
                    </a:moveTo>
                    <a:cubicBezTo>
                      <a:pt x="2144497" y="2632139"/>
                      <a:pt x="2136115" y="2623757"/>
                      <a:pt x="2125757" y="2623757"/>
                    </a:cubicBezTo>
                    <a:cubicBezTo>
                      <a:pt x="2115402" y="2623757"/>
                      <a:pt x="2107018" y="2632139"/>
                      <a:pt x="2107018" y="2642496"/>
                    </a:cubicBezTo>
                    <a:cubicBezTo>
                      <a:pt x="2107018" y="2652854"/>
                      <a:pt x="2115402" y="2661236"/>
                      <a:pt x="2125757" y="2661236"/>
                    </a:cubicBezTo>
                    <a:cubicBezTo>
                      <a:pt x="2136115" y="2661236"/>
                      <a:pt x="2144497" y="2652854"/>
                      <a:pt x="2144497" y="2642496"/>
                    </a:cubicBezTo>
                    <a:close/>
                    <a:moveTo>
                      <a:pt x="2152143" y="2099567"/>
                    </a:moveTo>
                    <a:cubicBezTo>
                      <a:pt x="2152143" y="2084525"/>
                      <a:pt x="2139812" y="2072194"/>
                      <a:pt x="2124772" y="2072194"/>
                    </a:cubicBezTo>
                    <a:cubicBezTo>
                      <a:pt x="2109731" y="2072194"/>
                      <a:pt x="2097401" y="2084525"/>
                      <a:pt x="2097401" y="2099567"/>
                    </a:cubicBezTo>
                    <a:cubicBezTo>
                      <a:pt x="2097401" y="2114609"/>
                      <a:pt x="2109731" y="2126936"/>
                      <a:pt x="2124772" y="2126936"/>
                    </a:cubicBezTo>
                    <a:cubicBezTo>
                      <a:pt x="2140058" y="2126936"/>
                      <a:pt x="2152388" y="2114609"/>
                      <a:pt x="2152143" y="2099567"/>
                    </a:cubicBezTo>
                    <a:close/>
                    <a:moveTo>
                      <a:pt x="2152388" y="1014772"/>
                    </a:moveTo>
                    <a:cubicBezTo>
                      <a:pt x="2152388" y="998249"/>
                      <a:pt x="2139074" y="984934"/>
                      <a:pt x="2122553" y="984934"/>
                    </a:cubicBezTo>
                    <a:cubicBezTo>
                      <a:pt x="2106031" y="984934"/>
                      <a:pt x="2092718" y="998249"/>
                      <a:pt x="2092718" y="1014772"/>
                    </a:cubicBezTo>
                    <a:cubicBezTo>
                      <a:pt x="2092718" y="1031288"/>
                      <a:pt x="2106031" y="1044606"/>
                      <a:pt x="2122553" y="1044606"/>
                    </a:cubicBezTo>
                    <a:cubicBezTo>
                      <a:pt x="2139074" y="1044606"/>
                      <a:pt x="2152388" y="1031288"/>
                      <a:pt x="2152388" y="1014772"/>
                    </a:cubicBezTo>
                    <a:close/>
                    <a:moveTo>
                      <a:pt x="2154360" y="797819"/>
                    </a:moveTo>
                    <a:cubicBezTo>
                      <a:pt x="2154360" y="781051"/>
                      <a:pt x="2140552" y="767241"/>
                      <a:pt x="2123785" y="767241"/>
                    </a:cubicBezTo>
                    <a:cubicBezTo>
                      <a:pt x="2107018" y="767241"/>
                      <a:pt x="2093210" y="781051"/>
                      <a:pt x="2093210" y="797819"/>
                    </a:cubicBezTo>
                    <a:cubicBezTo>
                      <a:pt x="2093210" y="814585"/>
                      <a:pt x="2107018" y="828395"/>
                      <a:pt x="2123785" y="828395"/>
                    </a:cubicBezTo>
                    <a:cubicBezTo>
                      <a:pt x="2140552" y="828395"/>
                      <a:pt x="2154360" y="814832"/>
                      <a:pt x="2154360" y="797819"/>
                    </a:cubicBezTo>
                    <a:close/>
                    <a:moveTo>
                      <a:pt x="2155594" y="906285"/>
                    </a:moveTo>
                    <a:cubicBezTo>
                      <a:pt x="2155594" y="888290"/>
                      <a:pt x="2140798" y="873491"/>
                      <a:pt x="2122800" y="873491"/>
                    </a:cubicBezTo>
                    <a:cubicBezTo>
                      <a:pt x="2104800" y="873491"/>
                      <a:pt x="2090006" y="888290"/>
                      <a:pt x="2090006" y="906285"/>
                    </a:cubicBezTo>
                    <a:cubicBezTo>
                      <a:pt x="2090006" y="924296"/>
                      <a:pt x="2104800" y="939082"/>
                      <a:pt x="2122800" y="939082"/>
                    </a:cubicBezTo>
                    <a:cubicBezTo>
                      <a:pt x="2141047" y="939082"/>
                      <a:pt x="2155594" y="924296"/>
                      <a:pt x="2155594" y="906285"/>
                    </a:cubicBezTo>
                    <a:close/>
                    <a:moveTo>
                      <a:pt x="2157073" y="472607"/>
                    </a:moveTo>
                    <a:cubicBezTo>
                      <a:pt x="2157073" y="454223"/>
                      <a:pt x="2142169" y="439320"/>
                      <a:pt x="2123785" y="439320"/>
                    </a:cubicBezTo>
                    <a:cubicBezTo>
                      <a:pt x="2105400" y="439320"/>
                      <a:pt x="2090497" y="454223"/>
                      <a:pt x="2090497" y="472607"/>
                    </a:cubicBezTo>
                    <a:cubicBezTo>
                      <a:pt x="2090497" y="490989"/>
                      <a:pt x="2105400" y="505892"/>
                      <a:pt x="2123785" y="505892"/>
                    </a:cubicBezTo>
                    <a:cubicBezTo>
                      <a:pt x="2142169" y="505892"/>
                      <a:pt x="2157073" y="490989"/>
                      <a:pt x="2157073" y="472607"/>
                    </a:cubicBezTo>
                    <a:close/>
                    <a:moveTo>
                      <a:pt x="2157319" y="580835"/>
                    </a:moveTo>
                    <a:cubicBezTo>
                      <a:pt x="2157319" y="562341"/>
                      <a:pt x="2142031" y="547301"/>
                      <a:pt x="2123537" y="547301"/>
                    </a:cubicBezTo>
                    <a:cubicBezTo>
                      <a:pt x="2104797" y="547301"/>
                      <a:pt x="2089757" y="562341"/>
                      <a:pt x="2089757" y="580835"/>
                    </a:cubicBezTo>
                    <a:cubicBezTo>
                      <a:pt x="2089757" y="599574"/>
                      <a:pt x="2105045" y="614614"/>
                      <a:pt x="2123537" y="614614"/>
                    </a:cubicBezTo>
                    <a:cubicBezTo>
                      <a:pt x="2142031" y="614614"/>
                      <a:pt x="2157319" y="599574"/>
                      <a:pt x="2157319" y="580835"/>
                    </a:cubicBezTo>
                    <a:close/>
                    <a:moveTo>
                      <a:pt x="2157814" y="3078183"/>
                    </a:moveTo>
                    <a:cubicBezTo>
                      <a:pt x="2157814" y="3061169"/>
                      <a:pt x="2144003" y="3047362"/>
                      <a:pt x="2126990" y="3047362"/>
                    </a:cubicBezTo>
                    <a:cubicBezTo>
                      <a:pt x="2109977" y="3047362"/>
                      <a:pt x="2096169" y="3061169"/>
                      <a:pt x="2096169" y="3078183"/>
                    </a:cubicBezTo>
                    <a:cubicBezTo>
                      <a:pt x="2096169" y="3095196"/>
                      <a:pt x="2109977" y="3109007"/>
                      <a:pt x="2126990" y="3109007"/>
                    </a:cubicBezTo>
                    <a:cubicBezTo>
                      <a:pt x="2144003" y="3109007"/>
                      <a:pt x="2157814" y="3095196"/>
                      <a:pt x="2157814" y="3078183"/>
                    </a:cubicBezTo>
                    <a:close/>
                    <a:moveTo>
                      <a:pt x="2158057" y="2533762"/>
                    </a:moveTo>
                    <a:cubicBezTo>
                      <a:pt x="2158057" y="2516007"/>
                      <a:pt x="2143511" y="2501459"/>
                      <a:pt x="2125757" y="2501459"/>
                    </a:cubicBezTo>
                    <a:cubicBezTo>
                      <a:pt x="2108004" y="2501459"/>
                      <a:pt x="2093456" y="2516007"/>
                      <a:pt x="2093456" y="2533762"/>
                    </a:cubicBezTo>
                    <a:cubicBezTo>
                      <a:pt x="2093456" y="2551516"/>
                      <a:pt x="2108004" y="2566063"/>
                      <a:pt x="2125757" y="2566063"/>
                    </a:cubicBezTo>
                    <a:cubicBezTo>
                      <a:pt x="2143757" y="2566063"/>
                      <a:pt x="2158057" y="2551516"/>
                      <a:pt x="2158057" y="2533762"/>
                    </a:cubicBezTo>
                    <a:close/>
                    <a:moveTo>
                      <a:pt x="2158551" y="1123249"/>
                    </a:moveTo>
                    <a:cubicBezTo>
                      <a:pt x="2158551" y="1103524"/>
                      <a:pt x="2142524" y="1087250"/>
                      <a:pt x="2122550" y="1087250"/>
                    </a:cubicBezTo>
                    <a:cubicBezTo>
                      <a:pt x="2102824" y="1087250"/>
                      <a:pt x="2086551" y="1103276"/>
                      <a:pt x="2086551" y="1123249"/>
                    </a:cubicBezTo>
                    <a:cubicBezTo>
                      <a:pt x="2086551" y="1142975"/>
                      <a:pt x="2102578" y="1159247"/>
                      <a:pt x="2122550" y="1159247"/>
                    </a:cubicBezTo>
                    <a:cubicBezTo>
                      <a:pt x="2142524" y="1159247"/>
                      <a:pt x="2158551" y="1143221"/>
                      <a:pt x="2158551" y="1123249"/>
                    </a:cubicBezTo>
                    <a:close/>
                    <a:moveTo>
                      <a:pt x="2158554" y="689343"/>
                    </a:moveTo>
                    <a:cubicBezTo>
                      <a:pt x="2158554" y="670111"/>
                      <a:pt x="2143019" y="654580"/>
                      <a:pt x="2123785" y="654580"/>
                    </a:cubicBezTo>
                    <a:cubicBezTo>
                      <a:pt x="2104553" y="654580"/>
                      <a:pt x="2089019" y="670356"/>
                      <a:pt x="2089019" y="689343"/>
                    </a:cubicBezTo>
                    <a:cubicBezTo>
                      <a:pt x="2089019" y="708572"/>
                      <a:pt x="2104553" y="724108"/>
                      <a:pt x="2123785" y="724108"/>
                    </a:cubicBezTo>
                    <a:cubicBezTo>
                      <a:pt x="2142773" y="724108"/>
                      <a:pt x="2158305" y="708572"/>
                      <a:pt x="2158554" y="689343"/>
                    </a:cubicBezTo>
                    <a:close/>
                    <a:moveTo>
                      <a:pt x="2158797" y="1231726"/>
                    </a:moveTo>
                    <a:cubicBezTo>
                      <a:pt x="2158797" y="1211508"/>
                      <a:pt x="2142278" y="1194984"/>
                      <a:pt x="2122058" y="1194984"/>
                    </a:cubicBezTo>
                    <a:cubicBezTo>
                      <a:pt x="2101840" y="1194984"/>
                      <a:pt x="2085319" y="1211508"/>
                      <a:pt x="2085319" y="1231726"/>
                    </a:cubicBezTo>
                    <a:cubicBezTo>
                      <a:pt x="2085319" y="1251944"/>
                      <a:pt x="2101840" y="1268459"/>
                      <a:pt x="2122058" y="1268459"/>
                    </a:cubicBezTo>
                    <a:cubicBezTo>
                      <a:pt x="2142278" y="1268459"/>
                      <a:pt x="2158797" y="1251944"/>
                      <a:pt x="2158797" y="1231726"/>
                    </a:cubicBezTo>
                    <a:close/>
                    <a:moveTo>
                      <a:pt x="2162743" y="2316788"/>
                    </a:moveTo>
                    <a:cubicBezTo>
                      <a:pt x="2162743" y="2295829"/>
                      <a:pt x="2145976" y="2279061"/>
                      <a:pt x="2125263" y="2279061"/>
                    </a:cubicBezTo>
                    <a:cubicBezTo>
                      <a:pt x="2104305" y="2279061"/>
                      <a:pt x="2087538" y="2296074"/>
                      <a:pt x="2087538" y="2316788"/>
                    </a:cubicBezTo>
                    <a:cubicBezTo>
                      <a:pt x="2087538" y="2337500"/>
                      <a:pt x="2104551" y="2354271"/>
                      <a:pt x="2125263" y="2354271"/>
                    </a:cubicBezTo>
                    <a:cubicBezTo>
                      <a:pt x="2145976" y="2354271"/>
                      <a:pt x="2162989" y="2337254"/>
                      <a:pt x="2162743" y="2316788"/>
                    </a:cubicBezTo>
                    <a:close/>
                    <a:moveTo>
                      <a:pt x="2171868" y="2425027"/>
                    </a:moveTo>
                    <a:cubicBezTo>
                      <a:pt x="2171868" y="2399384"/>
                      <a:pt x="2151156" y="2378672"/>
                      <a:pt x="2125512" y="2378672"/>
                    </a:cubicBezTo>
                    <a:cubicBezTo>
                      <a:pt x="2099868" y="2378672"/>
                      <a:pt x="2079156" y="2399384"/>
                      <a:pt x="2079156" y="2425027"/>
                    </a:cubicBezTo>
                    <a:cubicBezTo>
                      <a:pt x="2079156" y="2450671"/>
                      <a:pt x="2099868" y="2471384"/>
                      <a:pt x="2125512" y="2471384"/>
                    </a:cubicBezTo>
                    <a:cubicBezTo>
                      <a:pt x="2151156" y="2471384"/>
                      <a:pt x="2171868" y="2450671"/>
                      <a:pt x="2171868" y="2425027"/>
                    </a:cubicBezTo>
                    <a:close/>
                    <a:moveTo>
                      <a:pt x="2185182" y="1664413"/>
                    </a:moveTo>
                    <a:cubicBezTo>
                      <a:pt x="2185182" y="1662192"/>
                      <a:pt x="2183458" y="1660713"/>
                      <a:pt x="2181482" y="1660713"/>
                    </a:cubicBezTo>
                    <a:cubicBezTo>
                      <a:pt x="2179510" y="1660713"/>
                      <a:pt x="2178032" y="1662441"/>
                      <a:pt x="2178032" y="1664413"/>
                    </a:cubicBezTo>
                    <a:cubicBezTo>
                      <a:pt x="2178032" y="1666385"/>
                      <a:pt x="2179510" y="1668113"/>
                      <a:pt x="2181482" y="1668113"/>
                    </a:cubicBezTo>
                    <a:cubicBezTo>
                      <a:pt x="2183458" y="1668113"/>
                      <a:pt x="2184936" y="1666632"/>
                      <a:pt x="2185182" y="1664413"/>
                    </a:cubicBezTo>
                    <a:close/>
                    <a:moveTo>
                      <a:pt x="2187153" y="5290706"/>
                    </a:moveTo>
                    <a:cubicBezTo>
                      <a:pt x="2187153" y="5288979"/>
                      <a:pt x="2185676" y="5287500"/>
                      <a:pt x="2183949" y="5287500"/>
                    </a:cubicBezTo>
                    <a:cubicBezTo>
                      <a:pt x="2182222" y="5287500"/>
                      <a:pt x="2180744" y="5288979"/>
                      <a:pt x="2180744" y="5290706"/>
                    </a:cubicBezTo>
                    <a:cubicBezTo>
                      <a:pt x="2180744" y="5292432"/>
                      <a:pt x="2182222" y="5293913"/>
                      <a:pt x="2183949" y="5293913"/>
                    </a:cubicBezTo>
                    <a:cubicBezTo>
                      <a:pt x="2185921" y="5293913"/>
                      <a:pt x="2187402" y="5292432"/>
                      <a:pt x="2187153" y="5290706"/>
                    </a:cubicBezTo>
                    <a:close/>
                    <a:moveTo>
                      <a:pt x="2187153" y="5399200"/>
                    </a:moveTo>
                    <a:cubicBezTo>
                      <a:pt x="2187153" y="5397473"/>
                      <a:pt x="2185676" y="5395994"/>
                      <a:pt x="2183949" y="5395994"/>
                    </a:cubicBezTo>
                    <a:cubicBezTo>
                      <a:pt x="2182222" y="5395994"/>
                      <a:pt x="2180744" y="5397473"/>
                      <a:pt x="2180744" y="5399200"/>
                    </a:cubicBezTo>
                    <a:cubicBezTo>
                      <a:pt x="2180744" y="5400926"/>
                      <a:pt x="2182222" y="5402404"/>
                      <a:pt x="2183949" y="5402404"/>
                    </a:cubicBezTo>
                    <a:cubicBezTo>
                      <a:pt x="2185921" y="5402404"/>
                      <a:pt x="2187402" y="5400926"/>
                      <a:pt x="2187153" y="5399200"/>
                    </a:cubicBezTo>
                    <a:close/>
                    <a:moveTo>
                      <a:pt x="2187153" y="5507447"/>
                    </a:moveTo>
                    <a:cubicBezTo>
                      <a:pt x="2187153" y="5505720"/>
                      <a:pt x="2185676" y="5504241"/>
                      <a:pt x="2183949" y="5504241"/>
                    </a:cubicBezTo>
                    <a:cubicBezTo>
                      <a:pt x="2182222" y="5504241"/>
                      <a:pt x="2180744" y="5505720"/>
                      <a:pt x="2180744" y="5507447"/>
                    </a:cubicBezTo>
                    <a:cubicBezTo>
                      <a:pt x="2180744" y="5509174"/>
                      <a:pt x="2182222" y="5510651"/>
                      <a:pt x="2183949" y="5510651"/>
                    </a:cubicBezTo>
                    <a:cubicBezTo>
                      <a:pt x="2185921" y="5510651"/>
                      <a:pt x="2187402" y="5509174"/>
                      <a:pt x="2187153" y="5507447"/>
                    </a:cubicBezTo>
                    <a:close/>
                    <a:moveTo>
                      <a:pt x="2187153" y="5724433"/>
                    </a:moveTo>
                    <a:cubicBezTo>
                      <a:pt x="2187153" y="5722706"/>
                      <a:pt x="2185676" y="5721228"/>
                      <a:pt x="2183949" y="5721228"/>
                    </a:cubicBezTo>
                    <a:cubicBezTo>
                      <a:pt x="2182222" y="5721228"/>
                      <a:pt x="2180744" y="5722706"/>
                      <a:pt x="2180744" y="5724433"/>
                    </a:cubicBezTo>
                    <a:cubicBezTo>
                      <a:pt x="2180744" y="5726160"/>
                      <a:pt x="2182222" y="5727638"/>
                      <a:pt x="2183949" y="5727638"/>
                    </a:cubicBezTo>
                    <a:cubicBezTo>
                      <a:pt x="2185921" y="5727638"/>
                      <a:pt x="2187402" y="5726160"/>
                      <a:pt x="2187153" y="5724433"/>
                    </a:cubicBezTo>
                    <a:close/>
                    <a:moveTo>
                      <a:pt x="2187153" y="5832926"/>
                    </a:moveTo>
                    <a:cubicBezTo>
                      <a:pt x="2187153" y="5831199"/>
                      <a:pt x="2185676" y="5829721"/>
                      <a:pt x="2183949" y="5829721"/>
                    </a:cubicBezTo>
                    <a:cubicBezTo>
                      <a:pt x="2182222" y="5829721"/>
                      <a:pt x="2180744" y="5831199"/>
                      <a:pt x="2180744" y="5832926"/>
                    </a:cubicBezTo>
                    <a:cubicBezTo>
                      <a:pt x="2180744" y="5834653"/>
                      <a:pt x="2182222" y="5836134"/>
                      <a:pt x="2183949" y="5836134"/>
                    </a:cubicBezTo>
                    <a:cubicBezTo>
                      <a:pt x="2185921" y="5836134"/>
                      <a:pt x="2187402" y="5834653"/>
                      <a:pt x="2187153" y="5832926"/>
                    </a:cubicBezTo>
                    <a:close/>
                    <a:moveTo>
                      <a:pt x="2187153" y="5941171"/>
                    </a:moveTo>
                    <a:cubicBezTo>
                      <a:pt x="2187153" y="5939446"/>
                      <a:pt x="2185676" y="5937965"/>
                      <a:pt x="2183949" y="5937965"/>
                    </a:cubicBezTo>
                    <a:cubicBezTo>
                      <a:pt x="2182222" y="5937965"/>
                      <a:pt x="2180744" y="5939446"/>
                      <a:pt x="2180744" y="5941171"/>
                    </a:cubicBezTo>
                    <a:cubicBezTo>
                      <a:pt x="2180744" y="5942898"/>
                      <a:pt x="2182222" y="5944379"/>
                      <a:pt x="2183949" y="5944379"/>
                    </a:cubicBezTo>
                    <a:cubicBezTo>
                      <a:pt x="2185921" y="5944379"/>
                      <a:pt x="2187402" y="5942898"/>
                      <a:pt x="2187153" y="5941171"/>
                    </a:cubicBezTo>
                    <a:close/>
                    <a:moveTo>
                      <a:pt x="2187153" y="6049664"/>
                    </a:moveTo>
                    <a:cubicBezTo>
                      <a:pt x="2187153" y="6047938"/>
                      <a:pt x="2185676" y="6046459"/>
                      <a:pt x="2183949" y="6046459"/>
                    </a:cubicBezTo>
                    <a:cubicBezTo>
                      <a:pt x="2182222" y="6046459"/>
                      <a:pt x="2180744" y="6047938"/>
                      <a:pt x="2180744" y="6049664"/>
                    </a:cubicBezTo>
                    <a:cubicBezTo>
                      <a:pt x="2180744" y="6051391"/>
                      <a:pt x="2182222" y="6052869"/>
                      <a:pt x="2183949" y="6052869"/>
                    </a:cubicBezTo>
                    <a:cubicBezTo>
                      <a:pt x="2185921" y="6052869"/>
                      <a:pt x="2187402" y="6051391"/>
                      <a:pt x="2187153" y="6049664"/>
                    </a:cubicBezTo>
                    <a:close/>
                    <a:moveTo>
                      <a:pt x="2187153" y="6158157"/>
                    </a:moveTo>
                    <a:cubicBezTo>
                      <a:pt x="2187153" y="6156430"/>
                      <a:pt x="2185676" y="6154952"/>
                      <a:pt x="2183949" y="6154952"/>
                    </a:cubicBezTo>
                    <a:cubicBezTo>
                      <a:pt x="2182222" y="6154952"/>
                      <a:pt x="2180744" y="6156430"/>
                      <a:pt x="2180744" y="6158157"/>
                    </a:cubicBezTo>
                    <a:cubicBezTo>
                      <a:pt x="2180744" y="6159884"/>
                      <a:pt x="2182222" y="6161365"/>
                      <a:pt x="2183949" y="6161365"/>
                    </a:cubicBezTo>
                    <a:cubicBezTo>
                      <a:pt x="2185921" y="6161365"/>
                      <a:pt x="2187402" y="6159884"/>
                      <a:pt x="2187153" y="6158157"/>
                    </a:cubicBezTo>
                    <a:close/>
                    <a:moveTo>
                      <a:pt x="2187153" y="6266651"/>
                    </a:moveTo>
                    <a:cubicBezTo>
                      <a:pt x="2187153" y="6264925"/>
                      <a:pt x="2185676" y="6263446"/>
                      <a:pt x="2183949" y="6263446"/>
                    </a:cubicBezTo>
                    <a:cubicBezTo>
                      <a:pt x="2182222" y="6263446"/>
                      <a:pt x="2180744" y="6264925"/>
                      <a:pt x="2180744" y="6266651"/>
                    </a:cubicBezTo>
                    <a:cubicBezTo>
                      <a:pt x="2180744" y="6268378"/>
                      <a:pt x="2182222" y="6269858"/>
                      <a:pt x="2183949" y="6269858"/>
                    </a:cubicBezTo>
                    <a:cubicBezTo>
                      <a:pt x="2185921" y="6269858"/>
                      <a:pt x="2187402" y="6268378"/>
                      <a:pt x="2187153" y="6266651"/>
                    </a:cubicBezTo>
                    <a:close/>
                    <a:moveTo>
                      <a:pt x="2187153" y="6374899"/>
                    </a:moveTo>
                    <a:cubicBezTo>
                      <a:pt x="2187153" y="6373172"/>
                      <a:pt x="2185676" y="6371693"/>
                      <a:pt x="2183949" y="6371693"/>
                    </a:cubicBezTo>
                    <a:cubicBezTo>
                      <a:pt x="2182222" y="6371693"/>
                      <a:pt x="2180744" y="6373172"/>
                      <a:pt x="2180744" y="6374899"/>
                    </a:cubicBezTo>
                    <a:cubicBezTo>
                      <a:pt x="2180744" y="6376625"/>
                      <a:pt x="2182222" y="6378103"/>
                      <a:pt x="2183949" y="6378103"/>
                    </a:cubicBezTo>
                    <a:cubicBezTo>
                      <a:pt x="2185921" y="6378103"/>
                      <a:pt x="2187402" y="6376625"/>
                      <a:pt x="2187153" y="6374899"/>
                    </a:cubicBezTo>
                    <a:close/>
                    <a:moveTo>
                      <a:pt x="2187153" y="6483392"/>
                    </a:moveTo>
                    <a:cubicBezTo>
                      <a:pt x="2187153" y="6481665"/>
                      <a:pt x="2185676" y="6480186"/>
                      <a:pt x="2183949" y="6480186"/>
                    </a:cubicBezTo>
                    <a:cubicBezTo>
                      <a:pt x="2182222" y="6480186"/>
                      <a:pt x="2180744" y="6481665"/>
                      <a:pt x="2180744" y="6483392"/>
                    </a:cubicBezTo>
                    <a:cubicBezTo>
                      <a:pt x="2180744" y="6485118"/>
                      <a:pt x="2182222" y="6486596"/>
                      <a:pt x="2183949" y="6486596"/>
                    </a:cubicBezTo>
                    <a:cubicBezTo>
                      <a:pt x="2185921" y="6486596"/>
                      <a:pt x="2187402" y="6485118"/>
                      <a:pt x="2187153" y="6483392"/>
                    </a:cubicBezTo>
                    <a:close/>
                    <a:moveTo>
                      <a:pt x="2187153" y="6591884"/>
                    </a:moveTo>
                    <a:cubicBezTo>
                      <a:pt x="2187153" y="6590158"/>
                      <a:pt x="2185676" y="6588679"/>
                      <a:pt x="2183949" y="6588679"/>
                    </a:cubicBezTo>
                    <a:cubicBezTo>
                      <a:pt x="2182222" y="6588679"/>
                      <a:pt x="2180744" y="6590158"/>
                      <a:pt x="2180744" y="6591884"/>
                    </a:cubicBezTo>
                    <a:cubicBezTo>
                      <a:pt x="2180744" y="6593611"/>
                      <a:pt x="2182222" y="6595092"/>
                      <a:pt x="2183949" y="6595092"/>
                    </a:cubicBezTo>
                    <a:cubicBezTo>
                      <a:pt x="2185921" y="6595092"/>
                      <a:pt x="2187402" y="6593611"/>
                      <a:pt x="2187153" y="6591884"/>
                    </a:cubicBezTo>
                    <a:close/>
                    <a:moveTo>
                      <a:pt x="2187153" y="6700379"/>
                    </a:moveTo>
                    <a:cubicBezTo>
                      <a:pt x="2187153" y="6698652"/>
                      <a:pt x="2185676" y="6697173"/>
                      <a:pt x="2183949" y="6697173"/>
                    </a:cubicBezTo>
                    <a:cubicBezTo>
                      <a:pt x="2182222" y="6697173"/>
                      <a:pt x="2180744" y="6698652"/>
                      <a:pt x="2180744" y="6700379"/>
                    </a:cubicBezTo>
                    <a:cubicBezTo>
                      <a:pt x="2180744" y="6702105"/>
                      <a:pt x="2182222" y="6703586"/>
                      <a:pt x="2183949" y="6703586"/>
                    </a:cubicBezTo>
                    <a:cubicBezTo>
                      <a:pt x="2185921" y="6703586"/>
                      <a:pt x="2187402" y="6702105"/>
                      <a:pt x="2187153" y="6700379"/>
                    </a:cubicBezTo>
                    <a:close/>
                    <a:moveTo>
                      <a:pt x="2187153" y="6808626"/>
                    </a:moveTo>
                    <a:cubicBezTo>
                      <a:pt x="2187153" y="6806900"/>
                      <a:pt x="2185676" y="6805421"/>
                      <a:pt x="2183949" y="6805421"/>
                    </a:cubicBezTo>
                    <a:cubicBezTo>
                      <a:pt x="2182222" y="6805421"/>
                      <a:pt x="2180744" y="6806900"/>
                      <a:pt x="2180744" y="6808626"/>
                    </a:cubicBezTo>
                    <a:cubicBezTo>
                      <a:pt x="2180744" y="6810353"/>
                      <a:pt x="2182222" y="6811831"/>
                      <a:pt x="2183949" y="6811831"/>
                    </a:cubicBezTo>
                    <a:cubicBezTo>
                      <a:pt x="2185921" y="6811831"/>
                      <a:pt x="2187402" y="6810353"/>
                      <a:pt x="2187153" y="6808626"/>
                    </a:cubicBezTo>
                    <a:close/>
                    <a:moveTo>
                      <a:pt x="2187153" y="6917119"/>
                    </a:moveTo>
                    <a:cubicBezTo>
                      <a:pt x="2187153" y="6915392"/>
                      <a:pt x="2185676" y="6913914"/>
                      <a:pt x="2183949" y="6913914"/>
                    </a:cubicBezTo>
                    <a:cubicBezTo>
                      <a:pt x="2182222" y="6913914"/>
                      <a:pt x="2180744" y="6915392"/>
                      <a:pt x="2180744" y="6917119"/>
                    </a:cubicBezTo>
                    <a:cubicBezTo>
                      <a:pt x="2180744" y="6918846"/>
                      <a:pt x="2182222" y="6920327"/>
                      <a:pt x="2183949" y="6920327"/>
                    </a:cubicBezTo>
                    <a:cubicBezTo>
                      <a:pt x="2185921" y="6920327"/>
                      <a:pt x="2187402" y="6918846"/>
                      <a:pt x="2187153" y="6917119"/>
                    </a:cubicBezTo>
                    <a:close/>
                    <a:moveTo>
                      <a:pt x="2187153" y="7025612"/>
                    </a:moveTo>
                    <a:cubicBezTo>
                      <a:pt x="2187153" y="7023886"/>
                      <a:pt x="2185676" y="7022407"/>
                      <a:pt x="2183949" y="7022407"/>
                    </a:cubicBezTo>
                    <a:cubicBezTo>
                      <a:pt x="2182222" y="7022407"/>
                      <a:pt x="2180744" y="7023886"/>
                      <a:pt x="2180744" y="7025612"/>
                    </a:cubicBezTo>
                    <a:cubicBezTo>
                      <a:pt x="2180744" y="7027338"/>
                      <a:pt x="2182222" y="7028819"/>
                      <a:pt x="2183949" y="7028819"/>
                    </a:cubicBezTo>
                    <a:cubicBezTo>
                      <a:pt x="2185921" y="7028819"/>
                      <a:pt x="2187402" y="7027338"/>
                      <a:pt x="2187153" y="7025612"/>
                    </a:cubicBezTo>
                    <a:close/>
                    <a:moveTo>
                      <a:pt x="2187153" y="7134105"/>
                    </a:moveTo>
                    <a:cubicBezTo>
                      <a:pt x="2187153" y="7132379"/>
                      <a:pt x="2185676" y="7130900"/>
                      <a:pt x="2183949" y="7130900"/>
                    </a:cubicBezTo>
                    <a:cubicBezTo>
                      <a:pt x="2182222" y="7130900"/>
                      <a:pt x="2180744" y="7132379"/>
                      <a:pt x="2180744" y="7134105"/>
                    </a:cubicBezTo>
                    <a:cubicBezTo>
                      <a:pt x="2180744" y="7135832"/>
                      <a:pt x="2182222" y="7137313"/>
                      <a:pt x="2183949" y="7137313"/>
                    </a:cubicBezTo>
                    <a:cubicBezTo>
                      <a:pt x="2185921" y="7137313"/>
                      <a:pt x="2187402" y="7135832"/>
                      <a:pt x="2187153" y="7134105"/>
                    </a:cubicBezTo>
                    <a:close/>
                    <a:moveTo>
                      <a:pt x="2187153" y="7242353"/>
                    </a:moveTo>
                    <a:cubicBezTo>
                      <a:pt x="2187153" y="7240626"/>
                      <a:pt x="2185676" y="7239147"/>
                      <a:pt x="2183949" y="7239147"/>
                    </a:cubicBezTo>
                    <a:cubicBezTo>
                      <a:pt x="2182222" y="7239147"/>
                      <a:pt x="2180744" y="7240626"/>
                      <a:pt x="2180744" y="7242353"/>
                    </a:cubicBezTo>
                    <a:cubicBezTo>
                      <a:pt x="2180744" y="7244079"/>
                      <a:pt x="2182222" y="7245557"/>
                      <a:pt x="2183949" y="7245557"/>
                    </a:cubicBezTo>
                    <a:cubicBezTo>
                      <a:pt x="2185921" y="7245557"/>
                      <a:pt x="2187402" y="7244079"/>
                      <a:pt x="2187153" y="7242353"/>
                    </a:cubicBezTo>
                    <a:close/>
                    <a:moveTo>
                      <a:pt x="2187153" y="7350846"/>
                    </a:moveTo>
                    <a:cubicBezTo>
                      <a:pt x="2187153" y="7349120"/>
                      <a:pt x="2185676" y="7347641"/>
                      <a:pt x="2183949" y="7347641"/>
                    </a:cubicBezTo>
                    <a:cubicBezTo>
                      <a:pt x="2182222" y="7347641"/>
                      <a:pt x="2180744" y="7349120"/>
                      <a:pt x="2180744" y="7350846"/>
                    </a:cubicBezTo>
                    <a:cubicBezTo>
                      <a:pt x="2180744" y="7352573"/>
                      <a:pt x="2182222" y="7354054"/>
                      <a:pt x="2183949" y="7354054"/>
                    </a:cubicBezTo>
                    <a:cubicBezTo>
                      <a:pt x="2185921" y="7354054"/>
                      <a:pt x="2187402" y="7352573"/>
                      <a:pt x="2187153" y="7350846"/>
                    </a:cubicBezTo>
                    <a:close/>
                    <a:moveTo>
                      <a:pt x="2187153" y="7459337"/>
                    </a:moveTo>
                    <a:cubicBezTo>
                      <a:pt x="2187153" y="7457610"/>
                      <a:pt x="2185676" y="7456131"/>
                      <a:pt x="2183949" y="7456131"/>
                    </a:cubicBezTo>
                    <a:cubicBezTo>
                      <a:pt x="2182222" y="7456131"/>
                      <a:pt x="2180744" y="7457610"/>
                      <a:pt x="2180744" y="7459337"/>
                    </a:cubicBezTo>
                    <a:cubicBezTo>
                      <a:pt x="2180744" y="7461063"/>
                      <a:pt x="2182222" y="7462544"/>
                      <a:pt x="2183949" y="7462544"/>
                    </a:cubicBezTo>
                    <a:cubicBezTo>
                      <a:pt x="2185921" y="7462544"/>
                      <a:pt x="2187402" y="7461063"/>
                      <a:pt x="2187153" y="7459337"/>
                    </a:cubicBezTo>
                    <a:close/>
                    <a:moveTo>
                      <a:pt x="2187153" y="7567831"/>
                    </a:moveTo>
                    <a:cubicBezTo>
                      <a:pt x="2187153" y="7566104"/>
                      <a:pt x="2185676" y="7564625"/>
                      <a:pt x="2183949" y="7564625"/>
                    </a:cubicBezTo>
                    <a:cubicBezTo>
                      <a:pt x="2182222" y="7564625"/>
                      <a:pt x="2180744" y="7566104"/>
                      <a:pt x="2180744" y="7567831"/>
                    </a:cubicBezTo>
                    <a:cubicBezTo>
                      <a:pt x="2180744" y="7569557"/>
                      <a:pt x="2182222" y="7571038"/>
                      <a:pt x="2183949" y="7571038"/>
                    </a:cubicBezTo>
                    <a:cubicBezTo>
                      <a:pt x="2185921" y="7571038"/>
                      <a:pt x="2187402" y="7569557"/>
                      <a:pt x="2187153" y="7567831"/>
                    </a:cubicBezTo>
                    <a:close/>
                    <a:moveTo>
                      <a:pt x="2190360" y="4314515"/>
                    </a:moveTo>
                    <a:cubicBezTo>
                      <a:pt x="2190360" y="4311061"/>
                      <a:pt x="2187401" y="4308102"/>
                      <a:pt x="2183950" y="4308102"/>
                    </a:cubicBezTo>
                    <a:cubicBezTo>
                      <a:pt x="2180497" y="4308102"/>
                      <a:pt x="2177538" y="4311061"/>
                      <a:pt x="2177538" y="4314515"/>
                    </a:cubicBezTo>
                    <a:cubicBezTo>
                      <a:pt x="2177538" y="4317965"/>
                      <a:pt x="2180497" y="4320924"/>
                      <a:pt x="2183950" y="4320924"/>
                    </a:cubicBezTo>
                    <a:cubicBezTo>
                      <a:pt x="2187647" y="4320924"/>
                      <a:pt x="2190360" y="4318211"/>
                      <a:pt x="2190360" y="4314515"/>
                    </a:cubicBezTo>
                    <a:close/>
                    <a:moveTo>
                      <a:pt x="2193072" y="1773152"/>
                    </a:moveTo>
                    <a:cubicBezTo>
                      <a:pt x="2193072" y="1766989"/>
                      <a:pt x="2187895" y="1761809"/>
                      <a:pt x="2181731" y="1761809"/>
                    </a:cubicBezTo>
                    <a:cubicBezTo>
                      <a:pt x="2175565" y="1761809"/>
                      <a:pt x="2170388" y="1766989"/>
                      <a:pt x="2170388" y="1773152"/>
                    </a:cubicBezTo>
                    <a:cubicBezTo>
                      <a:pt x="2170388" y="1779320"/>
                      <a:pt x="2175565" y="1784494"/>
                      <a:pt x="2181731" y="1784494"/>
                    </a:cubicBezTo>
                    <a:cubicBezTo>
                      <a:pt x="2188141" y="1784494"/>
                      <a:pt x="2193072" y="1779320"/>
                      <a:pt x="2193072" y="1773152"/>
                    </a:cubicBezTo>
                    <a:close/>
                    <a:moveTo>
                      <a:pt x="2194306" y="4639746"/>
                    </a:moveTo>
                    <a:cubicBezTo>
                      <a:pt x="2194306" y="4634322"/>
                      <a:pt x="2189621" y="4629637"/>
                      <a:pt x="2183949" y="4629637"/>
                    </a:cubicBezTo>
                    <a:cubicBezTo>
                      <a:pt x="2178280" y="4629637"/>
                      <a:pt x="2173595" y="4634074"/>
                      <a:pt x="2173595" y="4639746"/>
                    </a:cubicBezTo>
                    <a:cubicBezTo>
                      <a:pt x="2173595" y="4645419"/>
                      <a:pt x="2178280" y="4650104"/>
                      <a:pt x="2183949" y="4650104"/>
                    </a:cubicBezTo>
                    <a:cubicBezTo>
                      <a:pt x="2189621" y="4650104"/>
                      <a:pt x="2194306" y="4645664"/>
                      <a:pt x="2194306" y="4639746"/>
                    </a:cubicBezTo>
                    <a:close/>
                    <a:moveTo>
                      <a:pt x="2197017" y="4206264"/>
                    </a:moveTo>
                    <a:cubicBezTo>
                      <a:pt x="2197017" y="4199114"/>
                      <a:pt x="2191100" y="4193196"/>
                      <a:pt x="2183950" y="4193196"/>
                    </a:cubicBezTo>
                    <a:cubicBezTo>
                      <a:pt x="2176800" y="4193196"/>
                      <a:pt x="2170882" y="4199114"/>
                      <a:pt x="2170882" y="4206264"/>
                    </a:cubicBezTo>
                    <a:cubicBezTo>
                      <a:pt x="2170882" y="4213414"/>
                      <a:pt x="2176800" y="4219331"/>
                      <a:pt x="2183950" y="4219331"/>
                    </a:cubicBezTo>
                    <a:cubicBezTo>
                      <a:pt x="2191349" y="4219331"/>
                      <a:pt x="2197266" y="4213414"/>
                      <a:pt x="2197017" y="4206264"/>
                    </a:cubicBezTo>
                    <a:close/>
                    <a:moveTo>
                      <a:pt x="2200716" y="5182213"/>
                    </a:moveTo>
                    <a:cubicBezTo>
                      <a:pt x="2200716" y="5173089"/>
                      <a:pt x="2193318" y="5165445"/>
                      <a:pt x="2183949" y="5165445"/>
                    </a:cubicBezTo>
                    <a:cubicBezTo>
                      <a:pt x="2174827" y="5165445"/>
                      <a:pt x="2167182" y="5172844"/>
                      <a:pt x="2167182" y="5182213"/>
                    </a:cubicBezTo>
                    <a:cubicBezTo>
                      <a:pt x="2167182" y="5191335"/>
                      <a:pt x="2174581" y="5198979"/>
                      <a:pt x="2183949" y="5198979"/>
                    </a:cubicBezTo>
                    <a:cubicBezTo>
                      <a:pt x="2193318" y="5198979"/>
                      <a:pt x="2200962" y="5191335"/>
                      <a:pt x="2200716" y="5182213"/>
                    </a:cubicBezTo>
                    <a:close/>
                    <a:moveTo>
                      <a:pt x="2204168" y="1556178"/>
                    </a:moveTo>
                    <a:cubicBezTo>
                      <a:pt x="2204168" y="1543359"/>
                      <a:pt x="2193567" y="1532756"/>
                      <a:pt x="2180744" y="1532756"/>
                    </a:cubicBezTo>
                    <a:cubicBezTo>
                      <a:pt x="2167922" y="1532756"/>
                      <a:pt x="2157319" y="1543359"/>
                      <a:pt x="2157319" y="1556178"/>
                    </a:cubicBezTo>
                    <a:cubicBezTo>
                      <a:pt x="2157319" y="1569002"/>
                      <a:pt x="2167922" y="1579605"/>
                      <a:pt x="2180744" y="1579605"/>
                    </a:cubicBezTo>
                    <a:cubicBezTo>
                      <a:pt x="2193812" y="1579605"/>
                      <a:pt x="2204168" y="1569002"/>
                      <a:pt x="2204168" y="1556178"/>
                    </a:cubicBezTo>
                    <a:close/>
                    <a:moveTo>
                      <a:pt x="2207129" y="3989279"/>
                    </a:moveTo>
                    <a:cubicBezTo>
                      <a:pt x="2207129" y="3976455"/>
                      <a:pt x="2196772" y="3966100"/>
                      <a:pt x="2183953" y="3966100"/>
                    </a:cubicBezTo>
                    <a:cubicBezTo>
                      <a:pt x="2171128" y="3966100"/>
                      <a:pt x="2160773" y="3976455"/>
                      <a:pt x="2160773" y="3989279"/>
                    </a:cubicBezTo>
                    <a:cubicBezTo>
                      <a:pt x="2160773" y="4002101"/>
                      <a:pt x="2171128" y="4012456"/>
                      <a:pt x="2183953" y="4012456"/>
                    </a:cubicBezTo>
                    <a:cubicBezTo>
                      <a:pt x="2196772" y="4012456"/>
                      <a:pt x="2207129" y="4002101"/>
                      <a:pt x="2207129" y="3989279"/>
                    </a:cubicBezTo>
                    <a:close/>
                    <a:moveTo>
                      <a:pt x="2208361" y="1881629"/>
                    </a:moveTo>
                    <a:cubicBezTo>
                      <a:pt x="2208361" y="1867333"/>
                      <a:pt x="2196525" y="1855499"/>
                      <a:pt x="2182222" y="1855499"/>
                    </a:cubicBezTo>
                    <a:cubicBezTo>
                      <a:pt x="2167922" y="1855499"/>
                      <a:pt x="2156087" y="1867333"/>
                      <a:pt x="2156087" y="1881629"/>
                    </a:cubicBezTo>
                    <a:cubicBezTo>
                      <a:pt x="2156087" y="1895929"/>
                      <a:pt x="2167922" y="1907762"/>
                      <a:pt x="2182222" y="1907762"/>
                    </a:cubicBezTo>
                    <a:cubicBezTo>
                      <a:pt x="2196525" y="1907762"/>
                      <a:pt x="2208361" y="1895929"/>
                      <a:pt x="2208361" y="1881629"/>
                    </a:cubicBezTo>
                    <a:close/>
                    <a:moveTo>
                      <a:pt x="2210579" y="5073720"/>
                    </a:moveTo>
                    <a:cubicBezTo>
                      <a:pt x="2210579" y="5059171"/>
                      <a:pt x="2198743" y="5047089"/>
                      <a:pt x="2183949" y="5047089"/>
                    </a:cubicBezTo>
                    <a:cubicBezTo>
                      <a:pt x="2169400" y="5047089"/>
                      <a:pt x="2157319" y="5058924"/>
                      <a:pt x="2157319" y="5073720"/>
                    </a:cubicBezTo>
                    <a:cubicBezTo>
                      <a:pt x="2157319" y="5088268"/>
                      <a:pt x="2169155" y="5100349"/>
                      <a:pt x="2183949" y="5100349"/>
                    </a:cubicBezTo>
                    <a:cubicBezTo>
                      <a:pt x="2198743" y="5100349"/>
                      <a:pt x="2210824" y="5088514"/>
                      <a:pt x="2210579" y="5073720"/>
                    </a:cubicBezTo>
                    <a:close/>
                    <a:moveTo>
                      <a:pt x="2210580" y="363642"/>
                    </a:moveTo>
                    <a:cubicBezTo>
                      <a:pt x="2210580" y="347369"/>
                      <a:pt x="2197265" y="334054"/>
                      <a:pt x="2180990" y="334054"/>
                    </a:cubicBezTo>
                    <a:cubicBezTo>
                      <a:pt x="2164718" y="334054"/>
                      <a:pt x="2151402" y="347369"/>
                      <a:pt x="2151402" y="363642"/>
                    </a:cubicBezTo>
                    <a:cubicBezTo>
                      <a:pt x="2151402" y="379917"/>
                      <a:pt x="2164718" y="393230"/>
                      <a:pt x="2180990" y="393230"/>
                    </a:cubicBezTo>
                    <a:cubicBezTo>
                      <a:pt x="2197265" y="393230"/>
                      <a:pt x="2210580" y="379917"/>
                      <a:pt x="2210580" y="363642"/>
                    </a:cubicBezTo>
                    <a:close/>
                    <a:moveTo>
                      <a:pt x="2210826" y="255171"/>
                    </a:moveTo>
                    <a:cubicBezTo>
                      <a:pt x="2210826" y="238653"/>
                      <a:pt x="2197512" y="225337"/>
                      <a:pt x="2180991" y="225337"/>
                    </a:cubicBezTo>
                    <a:cubicBezTo>
                      <a:pt x="2164469" y="225337"/>
                      <a:pt x="2151156" y="238653"/>
                      <a:pt x="2151156" y="255171"/>
                    </a:cubicBezTo>
                    <a:cubicBezTo>
                      <a:pt x="2151156" y="271692"/>
                      <a:pt x="2164469" y="285008"/>
                      <a:pt x="2180991" y="285008"/>
                    </a:cubicBezTo>
                    <a:cubicBezTo>
                      <a:pt x="2197512" y="285008"/>
                      <a:pt x="2210826" y="271692"/>
                      <a:pt x="2210826" y="255171"/>
                    </a:cubicBezTo>
                    <a:close/>
                    <a:moveTo>
                      <a:pt x="2211320" y="38481"/>
                    </a:moveTo>
                    <a:cubicBezTo>
                      <a:pt x="2211320" y="21715"/>
                      <a:pt x="2197512" y="7906"/>
                      <a:pt x="2180744" y="7906"/>
                    </a:cubicBezTo>
                    <a:cubicBezTo>
                      <a:pt x="2163977" y="7906"/>
                      <a:pt x="2150169" y="21715"/>
                      <a:pt x="2150169" y="38481"/>
                    </a:cubicBezTo>
                    <a:cubicBezTo>
                      <a:pt x="2150169" y="55247"/>
                      <a:pt x="2163731" y="69055"/>
                      <a:pt x="2180744" y="69055"/>
                    </a:cubicBezTo>
                    <a:cubicBezTo>
                      <a:pt x="2197757" y="69055"/>
                      <a:pt x="2211565" y="55247"/>
                      <a:pt x="2211320" y="38481"/>
                    </a:cubicBezTo>
                    <a:close/>
                    <a:moveTo>
                      <a:pt x="2212552" y="146705"/>
                    </a:moveTo>
                    <a:cubicBezTo>
                      <a:pt x="2212552" y="129445"/>
                      <a:pt x="2198495" y="115390"/>
                      <a:pt x="2181237" y="115390"/>
                    </a:cubicBezTo>
                    <a:cubicBezTo>
                      <a:pt x="2163975" y="115390"/>
                      <a:pt x="2149921" y="129445"/>
                      <a:pt x="2149921" y="146705"/>
                    </a:cubicBezTo>
                    <a:cubicBezTo>
                      <a:pt x="2149921" y="163963"/>
                      <a:pt x="2163975" y="178020"/>
                      <a:pt x="2181237" y="178020"/>
                    </a:cubicBezTo>
                    <a:cubicBezTo>
                      <a:pt x="2198495" y="178020"/>
                      <a:pt x="2212552" y="163963"/>
                      <a:pt x="2212552" y="146705"/>
                    </a:cubicBezTo>
                    <a:close/>
                    <a:moveTo>
                      <a:pt x="2212800" y="1447695"/>
                    </a:moveTo>
                    <a:cubicBezTo>
                      <a:pt x="2212800" y="1430193"/>
                      <a:pt x="2198499" y="1415891"/>
                      <a:pt x="2180991" y="1415891"/>
                    </a:cubicBezTo>
                    <a:cubicBezTo>
                      <a:pt x="2163486" y="1415891"/>
                      <a:pt x="2149184" y="1430193"/>
                      <a:pt x="2149184" y="1447695"/>
                    </a:cubicBezTo>
                    <a:cubicBezTo>
                      <a:pt x="2149184" y="1465207"/>
                      <a:pt x="2163486" y="1479506"/>
                      <a:pt x="2180991" y="1479506"/>
                    </a:cubicBezTo>
                    <a:cubicBezTo>
                      <a:pt x="2198499" y="1479506"/>
                      <a:pt x="2212800" y="1465207"/>
                      <a:pt x="2212800" y="1447695"/>
                    </a:cubicBezTo>
                    <a:close/>
                    <a:moveTo>
                      <a:pt x="2213539" y="4097774"/>
                    </a:moveTo>
                    <a:cubicBezTo>
                      <a:pt x="2213539" y="4081498"/>
                      <a:pt x="2200225" y="4068184"/>
                      <a:pt x="2183950" y="4068184"/>
                    </a:cubicBezTo>
                    <a:cubicBezTo>
                      <a:pt x="2167674" y="4068184"/>
                      <a:pt x="2154360" y="4081498"/>
                      <a:pt x="2154360" y="4097774"/>
                    </a:cubicBezTo>
                    <a:cubicBezTo>
                      <a:pt x="2154360" y="4114049"/>
                      <a:pt x="2167674" y="4127363"/>
                      <a:pt x="2183950" y="4127363"/>
                    </a:cubicBezTo>
                    <a:cubicBezTo>
                      <a:pt x="2200225" y="4127363"/>
                      <a:pt x="2213539" y="4114049"/>
                      <a:pt x="2213539" y="4097774"/>
                    </a:cubicBezTo>
                    <a:close/>
                    <a:moveTo>
                      <a:pt x="2214279" y="1339214"/>
                    </a:moveTo>
                    <a:cubicBezTo>
                      <a:pt x="2214279" y="1320475"/>
                      <a:pt x="2199235" y="1305434"/>
                      <a:pt x="2180496" y="1305434"/>
                    </a:cubicBezTo>
                    <a:cubicBezTo>
                      <a:pt x="2161756" y="1305434"/>
                      <a:pt x="2146716" y="1320723"/>
                      <a:pt x="2146716" y="1339214"/>
                    </a:cubicBezTo>
                    <a:cubicBezTo>
                      <a:pt x="2146716" y="1357955"/>
                      <a:pt x="2162005" y="1373001"/>
                      <a:pt x="2180496" y="1373001"/>
                    </a:cubicBezTo>
                    <a:cubicBezTo>
                      <a:pt x="2199235" y="1373001"/>
                      <a:pt x="2214279" y="1357955"/>
                      <a:pt x="2214279" y="1339214"/>
                    </a:cubicBezTo>
                    <a:close/>
                    <a:moveTo>
                      <a:pt x="2215265" y="2857256"/>
                    </a:moveTo>
                    <a:cubicBezTo>
                      <a:pt x="2215265" y="2839749"/>
                      <a:pt x="2201211" y="2825695"/>
                      <a:pt x="2183703" y="2825695"/>
                    </a:cubicBezTo>
                    <a:cubicBezTo>
                      <a:pt x="2166445" y="2825695"/>
                      <a:pt x="2152143" y="2839749"/>
                      <a:pt x="2152143" y="2857256"/>
                    </a:cubicBezTo>
                    <a:cubicBezTo>
                      <a:pt x="2152143" y="2874764"/>
                      <a:pt x="2166197" y="2888817"/>
                      <a:pt x="2183703" y="2888817"/>
                    </a:cubicBezTo>
                    <a:cubicBezTo>
                      <a:pt x="2201211" y="2888817"/>
                      <a:pt x="2215511" y="2874764"/>
                      <a:pt x="2215265" y="2857256"/>
                    </a:cubicBezTo>
                    <a:close/>
                    <a:moveTo>
                      <a:pt x="2218471" y="1989844"/>
                    </a:moveTo>
                    <a:cubicBezTo>
                      <a:pt x="2218471" y="1969876"/>
                      <a:pt x="2202195" y="1953604"/>
                      <a:pt x="2182223" y="1953604"/>
                    </a:cubicBezTo>
                    <a:cubicBezTo>
                      <a:pt x="2162251" y="1953604"/>
                      <a:pt x="2145976" y="1969876"/>
                      <a:pt x="2145976" y="1989844"/>
                    </a:cubicBezTo>
                    <a:cubicBezTo>
                      <a:pt x="2145976" y="2009812"/>
                      <a:pt x="2162251" y="2026087"/>
                      <a:pt x="2182223" y="2026087"/>
                    </a:cubicBezTo>
                    <a:cubicBezTo>
                      <a:pt x="2202441" y="2026087"/>
                      <a:pt x="2218716" y="2009812"/>
                      <a:pt x="2218471" y="1989844"/>
                    </a:cubicBezTo>
                    <a:close/>
                    <a:moveTo>
                      <a:pt x="2221428" y="4423005"/>
                    </a:moveTo>
                    <a:cubicBezTo>
                      <a:pt x="2221428" y="4402293"/>
                      <a:pt x="2204662" y="4385526"/>
                      <a:pt x="2183950" y="4385526"/>
                    </a:cubicBezTo>
                    <a:cubicBezTo>
                      <a:pt x="2163237" y="4385526"/>
                      <a:pt x="2146470" y="4402293"/>
                      <a:pt x="2146470" y="4423005"/>
                    </a:cubicBezTo>
                    <a:cubicBezTo>
                      <a:pt x="2146470" y="4443718"/>
                      <a:pt x="2163237" y="4460485"/>
                      <a:pt x="2183950" y="4460485"/>
                    </a:cubicBezTo>
                    <a:cubicBezTo>
                      <a:pt x="2204662" y="4460485"/>
                      <a:pt x="2221428" y="4443718"/>
                      <a:pt x="2221428" y="4423005"/>
                    </a:cubicBezTo>
                    <a:close/>
                    <a:moveTo>
                      <a:pt x="2222415" y="2965745"/>
                    </a:moveTo>
                    <a:cubicBezTo>
                      <a:pt x="2222415" y="2944538"/>
                      <a:pt x="2205153" y="2927280"/>
                      <a:pt x="2183949" y="2927280"/>
                    </a:cubicBezTo>
                    <a:cubicBezTo>
                      <a:pt x="2162743" y="2927280"/>
                      <a:pt x="2145484" y="2944538"/>
                      <a:pt x="2145484" y="2965745"/>
                    </a:cubicBezTo>
                    <a:cubicBezTo>
                      <a:pt x="2145484" y="2986949"/>
                      <a:pt x="2162743" y="3004210"/>
                      <a:pt x="2183949" y="3004210"/>
                    </a:cubicBezTo>
                    <a:cubicBezTo>
                      <a:pt x="2205402" y="3004210"/>
                      <a:pt x="2222660" y="2986949"/>
                      <a:pt x="2222415" y="2965745"/>
                    </a:cubicBezTo>
                    <a:close/>
                    <a:moveTo>
                      <a:pt x="2222910" y="4748487"/>
                    </a:moveTo>
                    <a:cubicBezTo>
                      <a:pt x="2222910" y="4727034"/>
                      <a:pt x="2205403" y="4709527"/>
                      <a:pt x="2183953" y="4709527"/>
                    </a:cubicBezTo>
                    <a:cubicBezTo>
                      <a:pt x="2162500" y="4709527"/>
                      <a:pt x="2144993" y="4727034"/>
                      <a:pt x="2144993" y="4748487"/>
                    </a:cubicBezTo>
                    <a:cubicBezTo>
                      <a:pt x="2144993" y="4769937"/>
                      <a:pt x="2162500" y="4787445"/>
                      <a:pt x="2183953" y="4787445"/>
                    </a:cubicBezTo>
                    <a:cubicBezTo>
                      <a:pt x="2205648" y="4787445"/>
                      <a:pt x="2223157" y="4769937"/>
                      <a:pt x="2222910" y="4748487"/>
                    </a:cubicBezTo>
                    <a:close/>
                    <a:moveTo>
                      <a:pt x="2226112" y="4531501"/>
                    </a:moveTo>
                    <a:cubicBezTo>
                      <a:pt x="2226112" y="4508322"/>
                      <a:pt x="2207126" y="4489335"/>
                      <a:pt x="2183950" y="4489335"/>
                    </a:cubicBezTo>
                    <a:cubicBezTo>
                      <a:pt x="2160770" y="4489335"/>
                      <a:pt x="2141785" y="4508322"/>
                      <a:pt x="2141785" y="4531501"/>
                    </a:cubicBezTo>
                    <a:cubicBezTo>
                      <a:pt x="2141785" y="4554678"/>
                      <a:pt x="2160770" y="4573663"/>
                      <a:pt x="2183950" y="4573663"/>
                    </a:cubicBezTo>
                    <a:cubicBezTo>
                      <a:pt x="2207375" y="4573663"/>
                      <a:pt x="2226360" y="4554926"/>
                      <a:pt x="2226112" y="4531501"/>
                    </a:cubicBezTo>
                    <a:close/>
                    <a:moveTo>
                      <a:pt x="2233265" y="4856732"/>
                    </a:moveTo>
                    <a:cubicBezTo>
                      <a:pt x="2233265" y="4829610"/>
                      <a:pt x="2211072" y="4807417"/>
                      <a:pt x="2183950" y="4807417"/>
                    </a:cubicBezTo>
                    <a:cubicBezTo>
                      <a:pt x="2156825" y="4807417"/>
                      <a:pt x="2134635" y="4829610"/>
                      <a:pt x="2134635" y="4856732"/>
                    </a:cubicBezTo>
                    <a:cubicBezTo>
                      <a:pt x="2134635" y="4883857"/>
                      <a:pt x="2156825" y="4906046"/>
                      <a:pt x="2183950" y="4906046"/>
                    </a:cubicBezTo>
                    <a:cubicBezTo>
                      <a:pt x="2211321" y="4906046"/>
                      <a:pt x="2233265" y="4884102"/>
                      <a:pt x="2233265" y="4856732"/>
                    </a:cubicBezTo>
                    <a:close/>
                    <a:moveTo>
                      <a:pt x="2255703" y="2207809"/>
                    </a:moveTo>
                    <a:cubicBezTo>
                      <a:pt x="2255703" y="2199425"/>
                      <a:pt x="2249045" y="2192767"/>
                      <a:pt x="2240661" y="2192767"/>
                    </a:cubicBezTo>
                    <a:cubicBezTo>
                      <a:pt x="2232278" y="2192767"/>
                      <a:pt x="2225620" y="2199671"/>
                      <a:pt x="2225620" y="2207809"/>
                    </a:cubicBezTo>
                    <a:cubicBezTo>
                      <a:pt x="2225620" y="2216194"/>
                      <a:pt x="2232525" y="2222850"/>
                      <a:pt x="2240661" y="2222850"/>
                    </a:cubicBezTo>
                    <a:cubicBezTo>
                      <a:pt x="2249045" y="2222850"/>
                      <a:pt x="2255703" y="2216194"/>
                      <a:pt x="2255703" y="2207809"/>
                    </a:cubicBezTo>
                    <a:close/>
                    <a:moveTo>
                      <a:pt x="2260881" y="2642251"/>
                    </a:moveTo>
                    <a:cubicBezTo>
                      <a:pt x="2260881" y="2632139"/>
                      <a:pt x="2252497" y="2624002"/>
                      <a:pt x="2242388" y="2624002"/>
                    </a:cubicBezTo>
                    <a:cubicBezTo>
                      <a:pt x="2232276" y="2624002"/>
                      <a:pt x="2223894" y="2632139"/>
                      <a:pt x="2223894" y="2642251"/>
                    </a:cubicBezTo>
                    <a:cubicBezTo>
                      <a:pt x="2223894" y="2652605"/>
                      <a:pt x="2232276" y="2660742"/>
                      <a:pt x="2242388" y="2660742"/>
                    </a:cubicBezTo>
                    <a:cubicBezTo>
                      <a:pt x="2252497" y="2660742"/>
                      <a:pt x="2260881" y="2652605"/>
                      <a:pt x="2260881" y="2642251"/>
                    </a:cubicBezTo>
                    <a:close/>
                    <a:moveTo>
                      <a:pt x="2262359" y="2751231"/>
                    </a:moveTo>
                    <a:cubicBezTo>
                      <a:pt x="2262359" y="2740135"/>
                      <a:pt x="2253237" y="2731013"/>
                      <a:pt x="2242141" y="2731013"/>
                    </a:cubicBezTo>
                    <a:cubicBezTo>
                      <a:pt x="2231043" y="2731013"/>
                      <a:pt x="2221921" y="2740135"/>
                      <a:pt x="2221921" y="2751231"/>
                    </a:cubicBezTo>
                    <a:cubicBezTo>
                      <a:pt x="2221921" y="2762329"/>
                      <a:pt x="2231043" y="2771451"/>
                      <a:pt x="2242141" y="2771451"/>
                    </a:cubicBezTo>
                    <a:cubicBezTo>
                      <a:pt x="2253237" y="2771451"/>
                      <a:pt x="2262359" y="2762329"/>
                      <a:pt x="2262359" y="2751231"/>
                    </a:cubicBezTo>
                    <a:close/>
                    <a:moveTo>
                      <a:pt x="2264086" y="2099565"/>
                    </a:moveTo>
                    <a:cubicBezTo>
                      <a:pt x="2264086" y="2086495"/>
                      <a:pt x="2253484" y="2075891"/>
                      <a:pt x="2240414" y="2075891"/>
                    </a:cubicBezTo>
                    <a:cubicBezTo>
                      <a:pt x="2227100" y="2075891"/>
                      <a:pt x="2216497" y="2086495"/>
                      <a:pt x="2216497" y="2099565"/>
                    </a:cubicBezTo>
                    <a:cubicBezTo>
                      <a:pt x="2216497" y="2112633"/>
                      <a:pt x="2227346" y="2123237"/>
                      <a:pt x="2240414" y="2123237"/>
                    </a:cubicBezTo>
                    <a:cubicBezTo>
                      <a:pt x="2253484" y="2123237"/>
                      <a:pt x="2264086" y="2112633"/>
                      <a:pt x="2264086" y="2099565"/>
                    </a:cubicBezTo>
                    <a:close/>
                    <a:moveTo>
                      <a:pt x="2270005" y="1014528"/>
                    </a:moveTo>
                    <a:cubicBezTo>
                      <a:pt x="2270005" y="997262"/>
                      <a:pt x="2255950" y="983455"/>
                      <a:pt x="2238935" y="983455"/>
                    </a:cubicBezTo>
                    <a:cubicBezTo>
                      <a:pt x="2221675" y="983455"/>
                      <a:pt x="2207867" y="997509"/>
                      <a:pt x="2207867" y="1014528"/>
                    </a:cubicBezTo>
                    <a:cubicBezTo>
                      <a:pt x="2207867" y="1031782"/>
                      <a:pt x="2221922" y="1045594"/>
                      <a:pt x="2238935" y="1045594"/>
                    </a:cubicBezTo>
                    <a:cubicBezTo>
                      <a:pt x="2256196" y="1045594"/>
                      <a:pt x="2270005" y="1031782"/>
                      <a:pt x="2270005" y="1014528"/>
                    </a:cubicBezTo>
                    <a:close/>
                    <a:moveTo>
                      <a:pt x="2271486" y="797823"/>
                    </a:moveTo>
                    <a:cubicBezTo>
                      <a:pt x="2271486" y="780314"/>
                      <a:pt x="2257431" y="766259"/>
                      <a:pt x="2239924" y="766259"/>
                    </a:cubicBezTo>
                    <a:cubicBezTo>
                      <a:pt x="2222664" y="766259"/>
                      <a:pt x="2208362" y="780314"/>
                      <a:pt x="2208362" y="797823"/>
                    </a:cubicBezTo>
                    <a:cubicBezTo>
                      <a:pt x="2208362" y="815079"/>
                      <a:pt x="2222416" y="829383"/>
                      <a:pt x="2239924" y="829383"/>
                    </a:cubicBezTo>
                    <a:cubicBezTo>
                      <a:pt x="2257431" y="829383"/>
                      <a:pt x="2271486" y="815328"/>
                      <a:pt x="2271486" y="797823"/>
                    </a:cubicBezTo>
                    <a:close/>
                    <a:moveTo>
                      <a:pt x="2272716" y="3078183"/>
                    </a:moveTo>
                    <a:cubicBezTo>
                      <a:pt x="2272716" y="3061169"/>
                      <a:pt x="2258909" y="3047361"/>
                      <a:pt x="2241893" y="3047361"/>
                    </a:cubicBezTo>
                    <a:cubicBezTo>
                      <a:pt x="2224879" y="3047361"/>
                      <a:pt x="2211072" y="3061169"/>
                      <a:pt x="2211072" y="3078183"/>
                    </a:cubicBezTo>
                    <a:cubicBezTo>
                      <a:pt x="2211072" y="3095196"/>
                      <a:pt x="2224879" y="3109007"/>
                      <a:pt x="2241893" y="3109007"/>
                    </a:cubicBezTo>
                    <a:cubicBezTo>
                      <a:pt x="2258909" y="3109007"/>
                      <a:pt x="2272716" y="3095196"/>
                      <a:pt x="2272716" y="3078183"/>
                    </a:cubicBezTo>
                    <a:close/>
                    <a:moveTo>
                      <a:pt x="2273211" y="906285"/>
                    </a:moveTo>
                    <a:cubicBezTo>
                      <a:pt x="2273211" y="887549"/>
                      <a:pt x="2257922" y="872259"/>
                      <a:pt x="2239183" y="872259"/>
                    </a:cubicBezTo>
                    <a:cubicBezTo>
                      <a:pt x="2220443" y="872259"/>
                      <a:pt x="2205156" y="887549"/>
                      <a:pt x="2205156" y="906285"/>
                    </a:cubicBezTo>
                    <a:cubicBezTo>
                      <a:pt x="2205156" y="925034"/>
                      <a:pt x="2220443" y="940315"/>
                      <a:pt x="2239183" y="940315"/>
                    </a:cubicBezTo>
                    <a:cubicBezTo>
                      <a:pt x="2257922" y="940315"/>
                      <a:pt x="2273211" y="925034"/>
                      <a:pt x="2273211" y="906285"/>
                    </a:cubicBezTo>
                    <a:close/>
                    <a:moveTo>
                      <a:pt x="2273702" y="472607"/>
                    </a:moveTo>
                    <a:cubicBezTo>
                      <a:pt x="2273702" y="453622"/>
                      <a:pt x="2258415" y="438333"/>
                      <a:pt x="2239430" y="438333"/>
                    </a:cubicBezTo>
                    <a:cubicBezTo>
                      <a:pt x="2220443" y="438333"/>
                      <a:pt x="2205156" y="453622"/>
                      <a:pt x="2205156" y="472607"/>
                    </a:cubicBezTo>
                    <a:cubicBezTo>
                      <a:pt x="2205156" y="491346"/>
                      <a:pt x="2220443" y="506881"/>
                      <a:pt x="2239430" y="506881"/>
                    </a:cubicBezTo>
                    <a:cubicBezTo>
                      <a:pt x="2258415" y="506881"/>
                      <a:pt x="2273951" y="491346"/>
                      <a:pt x="2273702" y="472607"/>
                    </a:cubicBezTo>
                    <a:close/>
                    <a:moveTo>
                      <a:pt x="2274443" y="580835"/>
                    </a:moveTo>
                    <a:cubicBezTo>
                      <a:pt x="2274443" y="561355"/>
                      <a:pt x="2258662" y="545821"/>
                      <a:pt x="2239428" y="545821"/>
                    </a:cubicBezTo>
                    <a:cubicBezTo>
                      <a:pt x="2219951" y="545821"/>
                      <a:pt x="2204416" y="561355"/>
                      <a:pt x="2204416" y="580835"/>
                    </a:cubicBezTo>
                    <a:cubicBezTo>
                      <a:pt x="2204416" y="600311"/>
                      <a:pt x="2220197" y="615846"/>
                      <a:pt x="2239428" y="615846"/>
                    </a:cubicBezTo>
                    <a:cubicBezTo>
                      <a:pt x="2258662" y="615846"/>
                      <a:pt x="2274443" y="600311"/>
                      <a:pt x="2274443" y="580835"/>
                    </a:cubicBezTo>
                    <a:close/>
                    <a:moveTo>
                      <a:pt x="2275184" y="2316538"/>
                    </a:moveTo>
                    <a:cubicBezTo>
                      <a:pt x="2275184" y="2297799"/>
                      <a:pt x="2259895" y="2282513"/>
                      <a:pt x="2241156" y="2282513"/>
                    </a:cubicBezTo>
                    <a:cubicBezTo>
                      <a:pt x="2222416" y="2282513"/>
                      <a:pt x="2207129" y="2297799"/>
                      <a:pt x="2207129" y="2316538"/>
                    </a:cubicBezTo>
                    <a:cubicBezTo>
                      <a:pt x="2207129" y="2335279"/>
                      <a:pt x="2222416" y="2350571"/>
                      <a:pt x="2241156" y="2350571"/>
                    </a:cubicBezTo>
                    <a:cubicBezTo>
                      <a:pt x="2260144" y="2350571"/>
                      <a:pt x="2275431" y="2335279"/>
                      <a:pt x="2275184" y="2316538"/>
                    </a:cubicBezTo>
                    <a:close/>
                    <a:moveTo>
                      <a:pt x="2275427" y="2533761"/>
                    </a:moveTo>
                    <a:cubicBezTo>
                      <a:pt x="2275427" y="2515513"/>
                      <a:pt x="2260634" y="2500472"/>
                      <a:pt x="2242141" y="2500472"/>
                    </a:cubicBezTo>
                    <a:cubicBezTo>
                      <a:pt x="2223893" y="2500472"/>
                      <a:pt x="2208853" y="2515267"/>
                      <a:pt x="2208853" y="2533761"/>
                    </a:cubicBezTo>
                    <a:cubicBezTo>
                      <a:pt x="2208853" y="2552007"/>
                      <a:pt x="2223647" y="2567046"/>
                      <a:pt x="2242141" y="2567046"/>
                    </a:cubicBezTo>
                    <a:cubicBezTo>
                      <a:pt x="2260634" y="2567046"/>
                      <a:pt x="2275676" y="2552007"/>
                      <a:pt x="2275427" y="2533761"/>
                    </a:cubicBezTo>
                    <a:close/>
                    <a:moveTo>
                      <a:pt x="2275676" y="689343"/>
                    </a:moveTo>
                    <a:cubicBezTo>
                      <a:pt x="2275676" y="669372"/>
                      <a:pt x="2259400" y="653347"/>
                      <a:pt x="2239675" y="653347"/>
                    </a:cubicBezTo>
                    <a:cubicBezTo>
                      <a:pt x="2219949" y="653347"/>
                      <a:pt x="2203676" y="669617"/>
                      <a:pt x="2203676" y="689343"/>
                    </a:cubicBezTo>
                    <a:cubicBezTo>
                      <a:pt x="2203676" y="709314"/>
                      <a:pt x="2219949" y="725336"/>
                      <a:pt x="2239675" y="725336"/>
                    </a:cubicBezTo>
                    <a:cubicBezTo>
                      <a:pt x="2259649" y="725336"/>
                      <a:pt x="2275676" y="709314"/>
                      <a:pt x="2275676" y="689343"/>
                    </a:cubicBezTo>
                    <a:close/>
                    <a:moveTo>
                      <a:pt x="2276417" y="1123251"/>
                    </a:moveTo>
                    <a:cubicBezTo>
                      <a:pt x="2276417" y="1102535"/>
                      <a:pt x="2259649" y="1085770"/>
                      <a:pt x="2238937" y="1085770"/>
                    </a:cubicBezTo>
                    <a:cubicBezTo>
                      <a:pt x="2218224" y="1085770"/>
                      <a:pt x="2201457" y="1102535"/>
                      <a:pt x="2201457" y="1123251"/>
                    </a:cubicBezTo>
                    <a:cubicBezTo>
                      <a:pt x="2201457" y="1143957"/>
                      <a:pt x="2218224" y="1160728"/>
                      <a:pt x="2238937" y="1160728"/>
                    </a:cubicBezTo>
                    <a:cubicBezTo>
                      <a:pt x="2259649" y="1160728"/>
                      <a:pt x="2276663" y="1143713"/>
                      <a:pt x="2276417" y="1123251"/>
                    </a:cubicBezTo>
                    <a:close/>
                    <a:moveTo>
                      <a:pt x="2277157" y="1231480"/>
                    </a:moveTo>
                    <a:cubicBezTo>
                      <a:pt x="2277157" y="1210272"/>
                      <a:pt x="2259894" y="1193011"/>
                      <a:pt x="2238690" y="1193011"/>
                    </a:cubicBezTo>
                    <a:cubicBezTo>
                      <a:pt x="2217730" y="1193011"/>
                      <a:pt x="2200471" y="1210272"/>
                      <a:pt x="2200471" y="1231480"/>
                    </a:cubicBezTo>
                    <a:cubicBezTo>
                      <a:pt x="2200471" y="1252680"/>
                      <a:pt x="2217484" y="1269943"/>
                      <a:pt x="2238690" y="1269943"/>
                    </a:cubicBezTo>
                    <a:cubicBezTo>
                      <a:pt x="2259894" y="1269943"/>
                      <a:pt x="2277157" y="1252680"/>
                      <a:pt x="2277157" y="1231480"/>
                    </a:cubicBezTo>
                    <a:close/>
                    <a:moveTo>
                      <a:pt x="2286525" y="2425025"/>
                    </a:moveTo>
                    <a:cubicBezTo>
                      <a:pt x="2286525" y="2400369"/>
                      <a:pt x="2266308" y="2380149"/>
                      <a:pt x="2241650" y="2380149"/>
                    </a:cubicBezTo>
                    <a:cubicBezTo>
                      <a:pt x="2216992" y="2380149"/>
                      <a:pt x="2196772" y="2400369"/>
                      <a:pt x="2196772" y="2425025"/>
                    </a:cubicBezTo>
                    <a:cubicBezTo>
                      <a:pt x="2196772" y="2449683"/>
                      <a:pt x="2216992" y="2469904"/>
                      <a:pt x="2241650" y="2469904"/>
                    </a:cubicBezTo>
                    <a:cubicBezTo>
                      <a:pt x="2266553" y="2469904"/>
                      <a:pt x="2286525" y="2449931"/>
                      <a:pt x="2286525" y="2425025"/>
                    </a:cubicBezTo>
                    <a:close/>
                    <a:moveTo>
                      <a:pt x="2301073" y="1668112"/>
                    </a:moveTo>
                    <a:cubicBezTo>
                      <a:pt x="2301073" y="1666139"/>
                      <a:pt x="2299595" y="1664658"/>
                      <a:pt x="2297619" y="1664658"/>
                    </a:cubicBezTo>
                    <a:cubicBezTo>
                      <a:pt x="2295648" y="1664658"/>
                      <a:pt x="2294170" y="1666139"/>
                      <a:pt x="2294170" y="1668112"/>
                    </a:cubicBezTo>
                    <a:cubicBezTo>
                      <a:pt x="2294170" y="1670081"/>
                      <a:pt x="2295648" y="1671559"/>
                      <a:pt x="2297619" y="1671559"/>
                    </a:cubicBezTo>
                    <a:cubicBezTo>
                      <a:pt x="2299346" y="1671559"/>
                      <a:pt x="2301073" y="1670081"/>
                      <a:pt x="2301073" y="1668112"/>
                    </a:cubicBezTo>
                    <a:close/>
                    <a:moveTo>
                      <a:pt x="2307484" y="6155447"/>
                    </a:moveTo>
                    <a:cubicBezTo>
                      <a:pt x="2307484" y="6153814"/>
                      <a:pt x="2306158" y="6152488"/>
                      <a:pt x="2304525" y="6152488"/>
                    </a:cubicBezTo>
                    <a:cubicBezTo>
                      <a:pt x="2302891" y="6152488"/>
                      <a:pt x="2301566" y="6153814"/>
                      <a:pt x="2301566" y="6155447"/>
                    </a:cubicBezTo>
                    <a:cubicBezTo>
                      <a:pt x="2301566" y="6157081"/>
                      <a:pt x="2302891" y="6158406"/>
                      <a:pt x="2304525" y="6158406"/>
                    </a:cubicBezTo>
                    <a:cubicBezTo>
                      <a:pt x="2306158" y="6158406"/>
                      <a:pt x="2307484" y="6157081"/>
                      <a:pt x="2307484" y="6155447"/>
                    </a:cubicBezTo>
                    <a:close/>
                    <a:moveTo>
                      <a:pt x="2307731" y="6263940"/>
                    </a:moveTo>
                    <a:cubicBezTo>
                      <a:pt x="2307731" y="6262214"/>
                      <a:pt x="2306500" y="6260981"/>
                      <a:pt x="2304772" y="6260981"/>
                    </a:cubicBezTo>
                    <a:cubicBezTo>
                      <a:pt x="2303046" y="6260981"/>
                      <a:pt x="2301814" y="6262214"/>
                      <a:pt x="2301814" y="6263940"/>
                    </a:cubicBezTo>
                    <a:cubicBezTo>
                      <a:pt x="2301814" y="6265667"/>
                      <a:pt x="2303046" y="6266899"/>
                      <a:pt x="2304772" y="6266899"/>
                    </a:cubicBezTo>
                    <a:cubicBezTo>
                      <a:pt x="2306500" y="6266899"/>
                      <a:pt x="2307731" y="6265418"/>
                      <a:pt x="2307731" y="6263940"/>
                    </a:cubicBezTo>
                    <a:close/>
                    <a:moveTo>
                      <a:pt x="2307977" y="6372433"/>
                    </a:moveTo>
                    <a:cubicBezTo>
                      <a:pt x="2307977" y="6370707"/>
                      <a:pt x="2306743" y="6369474"/>
                      <a:pt x="2305265" y="6369474"/>
                    </a:cubicBezTo>
                    <a:cubicBezTo>
                      <a:pt x="2303538" y="6369474"/>
                      <a:pt x="2302306" y="6370955"/>
                      <a:pt x="2302306" y="6372433"/>
                    </a:cubicBezTo>
                    <a:cubicBezTo>
                      <a:pt x="2302306" y="6373914"/>
                      <a:pt x="2303784" y="6375147"/>
                      <a:pt x="2305265" y="6375147"/>
                    </a:cubicBezTo>
                    <a:cubicBezTo>
                      <a:pt x="2306743" y="6375147"/>
                      <a:pt x="2307977" y="6373914"/>
                      <a:pt x="2307977" y="6372433"/>
                    </a:cubicBezTo>
                    <a:close/>
                    <a:moveTo>
                      <a:pt x="2308224" y="5503747"/>
                    </a:moveTo>
                    <a:cubicBezTo>
                      <a:pt x="2308224" y="5502761"/>
                      <a:pt x="2307237" y="5501774"/>
                      <a:pt x="2306250" y="5501774"/>
                    </a:cubicBezTo>
                    <a:cubicBezTo>
                      <a:pt x="2305265" y="5501774"/>
                      <a:pt x="2304279" y="5502761"/>
                      <a:pt x="2304279" y="5503747"/>
                    </a:cubicBezTo>
                    <a:cubicBezTo>
                      <a:pt x="2304279" y="5504733"/>
                      <a:pt x="2305019" y="5505719"/>
                      <a:pt x="2306250" y="5505719"/>
                    </a:cubicBezTo>
                    <a:cubicBezTo>
                      <a:pt x="2307237" y="5505719"/>
                      <a:pt x="2308224" y="5504979"/>
                      <a:pt x="2308224" y="5503747"/>
                    </a:cubicBezTo>
                    <a:close/>
                    <a:moveTo>
                      <a:pt x="2308224" y="6480927"/>
                    </a:moveTo>
                    <a:cubicBezTo>
                      <a:pt x="2308224" y="6479200"/>
                      <a:pt x="2306991" y="6477967"/>
                      <a:pt x="2305265" y="6477967"/>
                    </a:cubicBezTo>
                    <a:cubicBezTo>
                      <a:pt x="2303538" y="6477967"/>
                      <a:pt x="2302306" y="6479200"/>
                      <a:pt x="2302306" y="6480927"/>
                    </a:cubicBezTo>
                    <a:cubicBezTo>
                      <a:pt x="2302306" y="6482654"/>
                      <a:pt x="2303784" y="6483886"/>
                      <a:pt x="2305265" y="6483886"/>
                    </a:cubicBezTo>
                    <a:cubicBezTo>
                      <a:pt x="2306991" y="6483886"/>
                      <a:pt x="2308224" y="6482654"/>
                      <a:pt x="2308224" y="6480927"/>
                    </a:cubicBezTo>
                    <a:close/>
                    <a:moveTo>
                      <a:pt x="2308469" y="5286514"/>
                    </a:moveTo>
                    <a:cubicBezTo>
                      <a:pt x="2308469" y="5284788"/>
                      <a:pt x="2306989" y="5283556"/>
                      <a:pt x="2305510" y="5283556"/>
                    </a:cubicBezTo>
                    <a:cubicBezTo>
                      <a:pt x="2303784" y="5283556"/>
                      <a:pt x="2302551" y="5285037"/>
                      <a:pt x="2302551" y="5286514"/>
                    </a:cubicBezTo>
                    <a:cubicBezTo>
                      <a:pt x="2302551" y="5288241"/>
                      <a:pt x="2303784" y="5289473"/>
                      <a:pt x="2305510" y="5289473"/>
                    </a:cubicBezTo>
                    <a:cubicBezTo>
                      <a:pt x="2306989" y="5289473"/>
                      <a:pt x="2308223" y="5288241"/>
                      <a:pt x="2308469" y="5286514"/>
                    </a:cubicBezTo>
                    <a:close/>
                    <a:moveTo>
                      <a:pt x="2308964" y="6806406"/>
                    </a:moveTo>
                    <a:cubicBezTo>
                      <a:pt x="2308964" y="6804680"/>
                      <a:pt x="2307731" y="6803448"/>
                      <a:pt x="2306005" y="6803448"/>
                    </a:cubicBezTo>
                    <a:cubicBezTo>
                      <a:pt x="2304279" y="6803448"/>
                      <a:pt x="2303046" y="6804680"/>
                      <a:pt x="2303046" y="6806406"/>
                    </a:cubicBezTo>
                    <a:cubicBezTo>
                      <a:pt x="2303046" y="6808133"/>
                      <a:pt x="2304279" y="6809365"/>
                      <a:pt x="2306005" y="6809365"/>
                    </a:cubicBezTo>
                    <a:cubicBezTo>
                      <a:pt x="2307483" y="6809365"/>
                      <a:pt x="2308964" y="6808133"/>
                      <a:pt x="2308964" y="6806406"/>
                    </a:cubicBezTo>
                    <a:close/>
                    <a:moveTo>
                      <a:pt x="2309210" y="5395253"/>
                    </a:moveTo>
                    <a:cubicBezTo>
                      <a:pt x="2309210" y="5393527"/>
                      <a:pt x="2307978" y="5392294"/>
                      <a:pt x="2306251" y="5392294"/>
                    </a:cubicBezTo>
                    <a:cubicBezTo>
                      <a:pt x="2304525" y="5392294"/>
                      <a:pt x="2303292" y="5393527"/>
                      <a:pt x="2303292" y="5395253"/>
                    </a:cubicBezTo>
                    <a:cubicBezTo>
                      <a:pt x="2303292" y="5396980"/>
                      <a:pt x="2304525" y="5398212"/>
                      <a:pt x="2306251" y="5398212"/>
                    </a:cubicBezTo>
                    <a:cubicBezTo>
                      <a:pt x="2307978" y="5398212"/>
                      <a:pt x="2309210" y="5396734"/>
                      <a:pt x="2309210" y="5395253"/>
                    </a:cubicBezTo>
                    <a:close/>
                    <a:moveTo>
                      <a:pt x="2309210" y="6046706"/>
                    </a:moveTo>
                    <a:cubicBezTo>
                      <a:pt x="2309210" y="6044981"/>
                      <a:pt x="2307729" y="6043500"/>
                      <a:pt x="2306003" y="6043500"/>
                    </a:cubicBezTo>
                    <a:cubicBezTo>
                      <a:pt x="2304276" y="6043500"/>
                      <a:pt x="2302798" y="6044981"/>
                      <a:pt x="2302798" y="6046706"/>
                    </a:cubicBezTo>
                    <a:cubicBezTo>
                      <a:pt x="2302798" y="6048432"/>
                      <a:pt x="2304276" y="6049913"/>
                      <a:pt x="2306003" y="6049913"/>
                    </a:cubicBezTo>
                    <a:cubicBezTo>
                      <a:pt x="2307729" y="6049913"/>
                      <a:pt x="2309210" y="6048432"/>
                      <a:pt x="2309210" y="6046706"/>
                    </a:cubicBezTo>
                    <a:close/>
                    <a:moveTo>
                      <a:pt x="2309702" y="1776857"/>
                    </a:moveTo>
                    <a:cubicBezTo>
                      <a:pt x="2309702" y="1770439"/>
                      <a:pt x="2304524" y="1765256"/>
                      <a:pt x="2298115" y="1765256"/>
                    </a:cubicBezTo>
                    <a:cubicBezTo>
                      <a:pt x="2291702" y="1765256"/>
                      <a:pt x="2286525" y="1770439"/>
                      <a:pt x="2286525" y="1776857"/>
                    </a:cubicBezTo>
                    <a:cubicBezTo>
                      <a:pt x="2286525" y="1783257"/>
                      <a:pt x="2291702" y="1788433"/>
                      <a:pt x="2298115" y="1788433"/>
                    </a:cubicBezTo>
                    <a:cubicBezTo>
                      <a:pt x="2304524" y="1788433"/>
                      <a:pt x="2309702" y="1783257"/>
                      <a:pt x="2309702" y="1776857"/>
                    </a:cubicBezTo>
                    <a:close/>
                    <a:moveTo>
                      <a:pt x="2309702" y="6589420"/>
                    </a:moveTo>
                    <a:cubicBezTo>
                      <a:pt x="2309702" y="6587939"/>
                      <a:pt x="2308224" y="6586461"/>
                      <a:pt x="2306497" y="6586461"/>
                    </a:cubicBezTo>
                    <a:cubicBezTo>
                      <a:pt x="2305019" y="6586461"/>
                      <a:pt x="2303538" y="6587694"/>
                      <a:pt x="2303538" y="6589420"/>
                    </a:cubicBezTo>
                    <a:cubicBezTo>
                      <a:pt x="2303538" y="6591147"/>
                      <a:pt x="2304770" y="6592625"/>
                      <a:pt x="2306497" y="6592625"/>
                    </a:cubicBezTo>
                    <a:cubicBezTo>
                      <a:pt x="2308224" y="6592625"/>
                      <a:pt x="2309702" y="6591147"/>
                      <a:pt x="2309702" y="6589420"/>
                    </a:cubicBezTo>
                    <a:close/>
                    <a:moveTo>
                      <a:pt x="2309702" y="6697913"/>
                    </a:moveTo>
                    <a:cubicBezTo>
                      <a:pt x="2309702" y="6696432"/>
                      <a:pt x="2308224" y="6694954"/>
                      <a:pt x="2306497" y="6694954"/>
                    </a:cubicBezTo>
                    <a:cubicBezTo>
                      <a:pt x="2305019" y="6694954"/>
                      <a:pt x="2303538" y="6696187"/>
                      <a:pt x="2303538" y="6697913"/>
                    </a:cubicBezTo>
                    <a:cubicBezTo>
                      <a:pt x="2303538" y="6699639"/>
                      <a:pt x="2304770" y="6701118"/>
                      <a:pt x="2306497" y="6701118"/>
                    </a:cubicBezTo>
                    <a:cubicBezTo>
                      <a:pt x="2308224" y="6701118"/>
                      <a:pt x="2309702" y="6699639"/>
                      <a:pt x="2309702" y="6697913"/>
                    </a:cubicBezTo>
                    <a:close/>
                    <a:moveTo>
                      <a:pt x="2309702" y="6915147"/>
                    </a:moveTo>
                    <a:cubicBezTo>
                      <a:pt x="2309702" y="6913666"/>
                      <a:pt x="2308224" y="6912187"/>
                      <a:pt x="2306497" y="6912187"/>
                    </a:cubicBezTo>
                    <a:cubicBezTo>
                      <a:pt x="2304770" y="6912187"/>
                      <a:pt x="2303538" y="6913419"/>
                      <a:pt x="2303538" y="6915147"/>
                    </a:cubicBezTo>
                    <a:cubicBezTo>
                      <a:pt x="2303538" y="6916873"/>
                      <a:pt x="2304770" y="6918106"/>
                      <a:pt x="2306497" y="6918106"/>
                    </a:cubicBezTo>
                    <a:cubicBezTo>
                      <a:pt x="2308224" y="6918106"/>
                      <a:pt x="2309702" y="6916625"/>
                      <a:pt x="2309702" y="6915147"/>
                    </a:cubicBezTo>
                    <a:close/>
                    <a:moveTo>
                      <a:pt x="2309950" y="7023640"/>
                    </a:moveTo>
                    <a:cubicBezTo>
                      <a:pt x="2309950" y="7021913"/>
                      <a:pt x="2308718" y="7020435"/>
                      <a:pt x="2306743" y="7020435"/>
                    </a:cubicBezTo>
                    <a:cubicBezTo>
                      <a:pt x="2304770" y="7020435"/>
                      <a:pt x="2303292" y="7021913"/>
                      <a:pt x="2303292" y="7023640"/>
                    </a:cubicBezTo>
                    <a:cubicBezTo>
                      <a:pt x="2303292" y="7025367"/>
                      <a:pt x="2304770" y="7026844"/>
                      <a:pt x="2306743" y="7026844"/>
                    </a:cubicBezTo>
                    <a:cubicBezTo>
                      <a:pt x="2308469" y="7026844"/>
                      <a:pt x="2309950" y="7025367"/>
                      <a:pt x="2309950" y="7023640"/>
                    </a:cubicBezTo>
                    <a:close/>
                    <a:moveTo>
                      <a:pt x="2310196" y="5938212"/>
                    </a:moveTo>
                    <a:cubicBezTo>
                      <a:pt x="2310196" y="5935993"/>
                      <a:pt x="2308469" y="5934266"/>
                      <a:pt x="2306250" y="5934266"/>
                    </a:cubicBezTo>
                    <a:cubicBezTo>
                      <a:pt x="2304032" y="5934266"/>
                      <a:pt x="2302306" y="5935993"/>
                      <a:pt x="2302306" y="5938212"/>
                    </a:cubicBezTo>
                    <a:cubicBezTo>
                      <a:pt x="2302306" y="5940429"/>
                      <a:pt x="2304032" y="5942156"/>
                      <a:pt x="2306250" y="5942156"/>
                    </a:cubicBezTo>
                    <a:cubicBezTo>
                      <a:pt x="2308469" y="5942156"/>
                      <a:pt x="2310442" y="5940429"/>
                      <a:pt x="2310196" y="5938212"/>
                    </a:cubicBezTo>
                    <a:close/>
                    <a:moveTo>
                      <a:pt x="2310442" y="7131887"/>
                    </a:moveTo>
                    <a:cubicBezTo>
                      <a:pt x="2310442" y="7129914"/>
                      <a:pt x="2308964" y="7128433"/>
                      <a:pt x="2306989" y="7128433"/>
                    </a:cubicBezTo>
                    <a:cubicBezTo>
                      <a:pt x="2305019" y="7128433"/>
                      <a:pt x="2303538" y="7129914"/>
                      <a:pt x="2303538" y="7131887"/>
                    </a:cubicBezTo>
                    <a:cubicBezTo>
                      <a:pt x="2303538" y="7133860"/>
                      <a:pt x="2305019" y="7135338"/>
                      <a:pt x="2306989" y="7135338"/>
                    </a:cubicBezTo>
                    <a:cubicBezTo>
                      <a:pt x="2308964" y="7135338"/>
                      <a:pt x="2310442" y="7133860"/>
                      <a:pt x="2310442" y="7131887"/>
                    </a:cubicBezTo>
                    <a:close/>
                    <a:moveTo>
                      <a:pt x="2310443" y="5829722"/>
                    </a:moveTo>
                    <a:cubicBezTo>
                      <a:pt x="2310443" y="5827994"/>
                      <a:pt x="2309210" y="5826762"/>
                      <a:pt x="2307484" y="5826762"/>
                    </a:cubicBezTo>
                    <a:cubicBezTo>
                      <a:pt x="2305757" y="5826762"/>
                      <a:pt x="2304525" y="5827994"/>
                      <a:pt x="2304525" y="5829722"/>
                    </a:cubicBezTo>
                    <a:cubicBezTo>
                      <a:pt x="2304525" y="5831199"/>
                      <a:pt x="2305757" y="5832680"/>
                      <a:pt x="2307484" y="5832680"/>
                    </a:cubicBezTo>
                    <a:cubicBezTo>
                      <a:pt x="2308962" y="5832680"/>
                      <a:pt x="2310443" y="5831199"/>
                      <a:pt x="2310443" y="5829722"/>
                    </a:cubicBezTo>
                    <a:close/>
                    <a:moveTo>
                      <a:pt x="2310936" y="5720980"/>
                    </a:moveTo>
                    <a:cubicBezTo>
                      <a:pt x="2310936" y="5719255"/>
                      <a:pt x="2309458" y="5717529"/>
                      <a:pt x="2307483" y="5717529"/>
                    </a:cubicBezTo>
                    <a:cubicBezTo>
                      <a:pt x="2305510" y="5717529"/>
                      <a:pt x="2304032" y="5719007"/>
                      <a:pt x="2304032" y="5720980"/>
                    </a:cubicBezTo>
                    <a:cubicBezTo>
                      <a:pt x="2304032" y="5722952"/>
                      <a:pt x="2305510" y="5724433"/>
                      <a:pt x="2307483" y="5724433"/>
                    </a:cubicBezTo>
                    <a:cubicBezTo>
                      <a:pt x="2309209" y="5724433"/>
                      <a:pt x="2310936" y="5722952"/>
                      <a:pt x="2310936" y="5720980"/>
                    </a:cubicBezTo>
                    <a:close/>
                    <a:moveTo>
                      <a:pt x="2311182" y="7240380"/>
                    </a:moveTo>
                    <a:cubicBezTo>
                      <a:pt x="2311182" y="7238337"/>
                      <a:pt x="2309526" y="7236681"/>
                      <a:pt x="2307483" y="7236681"/>
                    </a:cubicBezTo>
                    <a:cubicBezTo>
                      <a:pt x="2305441" y="7236681"/>
                      <a:pt x="2303784" y="7238335"/>
                      <a:pt x="2303784" y="7240380"/>
                    </a:cubicBezTo>
                    <a:cubicBezTo>
                      <a:pt x="2303784" y="7242422"/>
                      <a:pt x="2305441" y="7244076"/>
                      <a:pt x="2307483" y="7244076"/>
                    </a:cubicBezTo>
                    <a:cubicBezTo>
                      <a:pt x="2309526" y="7244076"/>
                      <a:pt x="2311182" y="7242422"/>
                      <a:pt x="2311182" y="7240380"/>
                    </a:cubicBezTo>
                    <a:close/>
                    <a:moveTo>
                      <a:pt x="2311674" y="7457366"/>
                    </a:moveTo>
                    <a:cubicBezTo>
                      <a:pt x="2311674" y="7455458"/>
                      <a:pt x="2310129" y="7453913"/>
                      <a:pt x="2308221" y="7453913"/>
                    </a:cubicBezTo>
                    <a:cubicBezTo>
                      <a:pt x="2306316" y="7453913"/>
                      <a:pt x="2304770" y="7455458"/>
                      <a:pt x="2304770" y="7457366"/>
                    </a:cubicBezTo>
                    <a:cubicBezTo>
                      <a:pt x="2304770" y="7459272"/>
                      <a:pt x="2306316" y="7460818"/>
                      <a:pt x="2308221" y="7460818"/>
                    </a:cubicBezTo>
                    <a:cubicBezTo>
                      <a:pt x="2310129" y="7460818"/>
                      <a:pt x="2311674" y="7459272"/>
                      <a:pt x="2311674" y="7457366"/>
                    </a:cubicBezTo>
                    <a:close/>
                    <a:moveTo>
                      <a:pt x="2311923" y="7348873"/>
                    </a:moveTo>
                    <a:cubicBezTo>
                      <a:pt x="2311923" y="7346900"/>
                      <a:pt x="2310196" y="7345173"/>
                      <a:pt x="2308224" y="7345173"/>
                    </a:cubicBezTo>
                    <a:cubicBezTo>
                      <a:pt x="2306251" y="7345173"/>
                      <a:pt x="2304525" y="7346900"/>
                      <a:pt x="2304525" y="7348873"/>
                    </a:cubicBezTo>
                    <a:cubicBezTo>
                      <a:pt x="2304525" y="7350846"/>
                      <a:pt x="2306251" y="7352572"/>
                      <a:pt x="2308224" y="7352572"/>
                    </a:cubicBezTo>
                    <a:cubicBezTo>
                      <a:pt x="2310196" y="7352572"/>
                      <a:pt x="2311923" y="7350846"/>
                      <a:pt x="2311923" y="7348873"/>
                    </a:cubicBezTo>
                    <a:close/>
                    <a:moveTo>
                      <a:pt x="2312168" y="7565859"/>
                    </a:moveTo>
                    <a:cubicBezTo>
                      <a:pt x="2312168" y="7563884"/>
                      <a:pt x="2310690" y="7562406"/>
                      <a:pt x="2308715" y="7562406"/>
                    </a:cubicBezTo>
                    <a:cubicBezTo>
                      <a:pt x="2306991" y="7562406"/>
                      <a:pt x="2305265" y="7563884"/>
                      <a:pt x="2305265" y="7565859"/>
                    </a:cubicBezTo>
                    <a:cubicBezTo>
                      <a:pt x="2305265" y="7567833"/>
                      <a:pt x="2306743" y="7569310"/>
                      <a:pt x="2308715" y="7569310"/>
                    </a:cubicBezTo>
                    <a:cubicBezTo>
                      <a:pt x="2310690" y="7569310"/>
                      <a:pt x="2312168" y="7567833"/>
                      <a:pt x="2312168" y="7565859"/>
                    </a:cubicBezTo>
                    <a:close/>
                    <a:moveTo>
                      <a:pt x="2312169" y="4634074"/>
                    </a:moveTo>
                    <a:cubicBezTo>
                      <a:pt x="2312169" y="4628157"/>
                      <a:pt x="2307484" y="4623225"/>
                      <a:pt x="2301319" y="4623225"/>
                    </a:cubicBezTo>
                    <a:cubicBezTo>
                      <a:pt x="2295402" y="4623225"/>
                      <a:pt x="2290471" y="4628157"/>
                      <a:pt x="2290471" y="4634074"/>
                    </a:cubicBezTo>
                    <a:cubicBezTo>
                      <a:pt x="2290471" y="4639992"/>
                      <a:pt x="2295402" y="4644923"/>
                      <a:pt x="2301319" y="4644923"/>
                    </a:cubicBezTo>
                    <a:cubicBezTo>
                      <a:pt x="2307237" y="4644923"/>
                      <a:pt x="2312169" y="4639992"/>
                      <a:pt x="2312169" y="4634074"/>
                    </a:cubicBezTo>
                    <a:close/>
                    <a:moveTo>
                      <a:pt x="2315127" y="4196649"/>
                    </a:moveTo>
                    <a:cubicBezTo>
                      <a:pt x="2315127" y="4189251"/>
                      <a:pt x="2309209" y="4183333"/>
                      <a:pt x="2301814" y="4183333"/>
                    </a:cubicBezTo>
                    <a:cubicBezTo>
                      <a:pt x="2294415" y="4183333"/>
                      <a:pt x="2288498" y="4189251"/>
                      <a:pt x="2288498" y="4196649"/>
                    </a:cubicBezTo>
                    <a:cubicBezTo>
                      <a:pt x="2288498" y="4204045"/>
                      <a:pt x="2294415" y="4209963"/>
                      <a:pt x="2301814" y="4209963"/>
                    </a:cubicBezTo>
                    <a:cubicBezTo>
                      <a:pt x="2309209" y="4209963"/>
                      <a:pt x="2315127" y="4204045"/>
                      <a:pt x="2315127" y="4196649"/>
                    </a:cubicBezTo>
                    <a:close/>
                    <a:moveTo>
                      <a:pt x="2318336" y="3976705"/>
                    </a:moveTo>
                    <a:cubicBezTo>
                      <a:pt x="2318336" y="3965607"/>
                      <a:pt x="2309210" y="3956237"/>
                      <a:pt x="2297870" y="3956237"/>
                    </a:cubicBezTo>
                    <a:cubicBezTo>
                      <a:pt x="2286525" y="3956237"/>
                      <a:pt x="2277403" y="3965361"/>
                      <a:pt x="2277403" y="3976705"/>
                    </a:cubicBezTo>
                    <a:cubicBezTo>
                      <a:pt x="2277403" y="3988046"/>
                      <a:pt x="2286525" y="3997169"/>
                      <a:pt x="2297870" y="3997169"/>
                    </a:cubicBezTo>
                    <a:cubicBezTo>
                      <a:pt x="2309210" y="3997169"/>
                      <a:pt x="2318581" y="3988046"/>
                      <a:pt x="2318336" y="3976705"/>
                    </a:cubicBezTo>
                    <a:close/>
                    <a:moveTo>
                      <a:pt x="2319813" y="4087171"/>
                    </a:moveTo>
                    <a:cubicBezTo>
                      <a:pt x="2319813" y="4075335"/>
                      <a:pt x="2310196" y="4065718"/>
                      <a:pt x="2298359" y="4065718"/>
                    </a:cubicBezTo>
                    <a:cubicBezTo>
                      <a:pt x="2286524" y="4065718"/>
                      <a:pt x="2276907" y="4075335"/>
                      <a:pt x="2276907" y="4087171"/>
                    </a:cubicBezTo>
                    <a:cubicBezTo>
                      <a:pt x="2276907" y="4099252"/>
                      <a:pt x="2286524" y="4108869"/>
                      <a:pt x="2298359" y="4108869"/>
                    </a:cubicBezTo>
                    <a:cubicBezTo>
                      <a:pt x="2310442" y="4108869"/>
                      <a:pt x="2320058" y="4099006"/>
                      <a:pt x="2319813" y="4087171"/>
                    </a:cubicBezTo>
                    <a:close/>
                    <a:moveTo>
                      <a:pt x="2322032" y="4960540"/>
                    </a:moveTo>
                    <a:cubicBezTo>
                      <a:pt x="2322032" y="4950923"/>
                      <a:pt x="2314142" y="4942786"/>
                      <a:pt x="2304279" y="4942786"/>
                    </a:cubicBezTo>
                    <a:cubicBezTo>
                      <a:pt x="2294661" y="4942786"/>
                      <a:pt x="2286525" y="4950677"/>
                      <a:pt x="2286525" y="4960540"/>
                    </a:cubicBezTo>
                    <a:cubicBezTo>
                      <a:pt x="2286525" y="4970157"/>
                      <a:pt x="2294415" y="4978293"/>
                      <a:pt x="2304279" y="4978293"/>
                    </a:cubicBezTo>
                    <a:cubicBezTo>
                      <a:pt x="2313896" y="4978293"/>
                      <a:pt x="2322032" y="4970403"/>
                      <a:pt x="2322032" y="4960540"/>
                    </a:cubicBezTo>
                    <a:close/>
                    <a:moveTo>
                      <a:pt x="2322278" y="5178021"/>
                    </a:moveTo>
                    <a:cubicBezTo>
                      <a:pt x="2322278" y="5168404"/>
                      <a:pt x="2314387" y="5160513"/>
                      <a:pt x="2304772" y="5160513"/>
                    </a:cubicBezTo>
                    <a:cubicBezTo>
                      <a:pt x="2295155" y="5160513"/>
                      <a:pt x="2287265" y="5168404"/>
                      <a:pt x="2287265" y="5178021"/>
                    </a:cubicBezTo>
                    <a:cubicBezTo>
                      <a:pt x="2287265" y="5187636"/>
                      <a:pt x="2295155" y="5195526"/>
                      <a:pt x="2304772" y="5195526"/>
                    </a:cubicBezTo>
                    <a:cubicBezTo>
                      <a:pt x="2314387" y="5195526"/>
                      <a:pt x="2322278" y="5187636"/>
                      <a:pt x="2322278" y="5178021"/>
                    </a:cubicBezTo>
                    <a:close/>
                    <a:moveTo>
                      <a:pt x="2322525" y="1559383"/>
                    </a:moveTo>
                    <a:cubicBezTo>
                      <a:pt x="2322525" y="1545329"/>
                      <a:pt x="2310935" y="1533741"/>
                      <a:pt x="2296880" y="1533741"/>
                    </a:cubicBezTo>
                    <a:cubicBezTo>
                      <a:pt x="2282580" y="1533741"/>
                      <a:pt x="2271236" y="1545329"/>
                      <a:pt x="2271236" y="1559383"/>
                    </a:cubicBezTo>
                    <a:cubicBezTo>
                      <a:pt x="2271236" y="1573685"/>
                      <a:pt x="2282826" y="1585025"/>
                      <a:pt x="2296880" y="1585025"/>
                    </a:cubicBezTo>
                    <a:cubicBezTo>
                      <a:pt x="2310935" y="1585025"/>
                      <a:pt x="2322525" y="1573437"/>
                      <a:pt x="2322525" y="1559383"/>
                    </a:cubicBezTo>
                    <a:close/>
                    <a:moveTo>
                      <a:pt x="2322525" y="5069033"/>
                    </a:moveTo>
                    <a:cubicBezTo>
                      <a:pt x="2322525" y="5058676"/>
                      <a:pt x="2314388" y="5050539"/>
                      <a:pt x="2304280" y="5050539"/>
                    </a:cubicBezTo>
                    <a:cubicBezTo>
                      <a:pt x="2294170" y="5050539"/>
                      <a:pt x="2285785" y="5058921"/>
                      <a:pt x="2285785" y="5069033"/>
                    </a:cubicBezTo>
                    <a:cubicBezTo>
                      <a:pt x="2285785" y="5079388"/>
                      <a:pt x="2294170" y="5087527"/>
                      <a:pt x="2304280" y="5087527"/>
                    </a:cubicBezTo>
                    <a:cubicBezTo>
                      <a:pt x="2314388" y="5087527"/>
                      <a:pt x="2322525" y="5079388"/>
                      <a:pt x="2322525" y="5069033"/>
                    </a:cubicBezTo>
                    <a:close/>
                    <a:moveTo>
                      <a:pt x="2322526" y="1885573"/>
                    </a:moveTo>
                    <a:cubicBezTo>
                      <a:pt x="2322526" y="1872507"/>
                      <a:pt x="2311677" y="1861661"/>
                      <a:pt x="2298607" y="1861661"/>
                    </a:cubicBezTo>
                    <a:cubicBezTo>
                      <a:pt x="2285539" y="1861661"/>
                      <a:pt x="2274690" y="1872507"/>
                      <a:pt x="2274690" y="1885573"/>
                    </a:cubicBezTo>
                    <a:cubicBezTo>
                      <a:pt x="2274690" y="1898886"/>
                      <a:pt x="2285539" y="1909484"/>
                      <a:pt x="2298607" y="1909484"/>
                    </a:cubicBezTo>
                    <a:cubicBezTo>
                      <a:pt x="2311923" y="1909484"/>
                      <a:pt x="2322526" y="1898639"/>
                      <a:pt x="2322526" y="1885573"/>
                    </a:cubicBezTo>
                    <a:close/>
                    <a:moveTo>
                      <a:pt x="2323759" y="4306624"/>
                    </a:moveTo>
                    <a:cubicBezTo>
                      <a:pt x="2323759" y="4293800"/>
                      <a:pt x="2313403" y="4283445"/>
                      <a:pt x="2300583" y="4283445"/>
                    </a:cubicBezTo>
                    <a:cubicBezTo>
                      <a:pt x="2287758" y="4283445"/>
                      <a:pt x="2277403" y="4293800"/>
                      <a:pt x="2277403" y="4306624"/>
                    </a:cubicBezTo>
                    <a:cubicBezTo>
                      <a:pt x="2277403" y="4319446"/>
                      <a:pt x="2287758" y="4329801"/>
                      <a:pt x="2300583" y="4329801"/>
                    </a:cubicBezTo>
                    <a:cubicBezTo>
                      <a:pt x="2313403" y="4329801"/>
                      <a:pt x="2323759" y="4319446"/>
                      <a:pt x="2323759" y="4306624"/>
                    </a:cubicBezTo>
                    <a:close/>
                    <a:moveTo>
                      <a:pt x="2328196" y="365614"/>
                    </a:moveTo>
                    <a:cubicBezTo>
                      <a:pt x="2328196" y="348602"/>
                      <a:pt x="2314387" y="334794"/>
                      <a:pt x="2297374" y="334794"/>
                    </a:cubicBezTo>
                    <a:cubicBezTo>
                      <a:pt x="2280606" y="334794"/>
                      <a:pt x="2266799" y="348602"/>
                      <a:pt x="2266799" y="365614"/>
                    </a:cubicBezTo>
                    <a:cubicBezTo>
                      <a:pt x="2266799" y="382380"/>
                      <a:pt x="2280361" y="396189"/>
                      <a:pt x="2297374" y="396189"/>
                    </a:cubicBezTo>
                    <a:cubicBezTo>
                      <a:pt x="2314387" y="396189"/>
                      <a:pt x="2328196" y="382380"/>
                      <a:pt x="2328196" y="365614"/>
                    </a:cubicBezTo>
                    <a:close/>
                    <a:moveTo>
                      <a:pt x="2328198" y="257144"/>
                    </a:moveTo>
                    <a:cubicBezTo>
                      <a:pt x="2328198" y="240131"/>
                      <a:pt x="2314390" y="226323"/>
                      <a:pt x="2297374" y="226323"/>
                    </a:cubicBezTo>
                    <a:cubicBezTo>
                      <a:pt x="2280361" y="226323"/>
                      <a:pt x="2266553" y="240131"/>
                      <a:pt x="2266553" y="257144"/>
                    </a:cubicBezTo>
                    <a:cubicBezTo>
                      <a:pt x="2266553" y="274156"/>
                      <a:pt x="2280361" y="287966"/>
                      <a:pt x="2297374" y="287966"/>
                    </a:cubicBezTo>
                    <a:cubicBezTo>
                      <a:pt x="2314390" y="287966"/>
                      <a:pt x="2328198" y="274156"/>
                      <a:pt x="2328198" y="257144"/>
                    </a:cubicBezTo>
                    <a:close/>
                    <a:moveTo>
                      <a:pt x="2328443" y="39961"/>
                    </a:moveTo>
                    <a:cubicBezTo>
                      <a:pt x="2328443" y="22454"/>
                      <a:pt x="2314389" y="8401"/>
                      <a:pt x="2296883" y="8401"/>
                    </a:cubicBezTo>
                    <a:cubicBezTo>
                      <a:pt x="2279375" y="8401"/>
                      <a:pt x="2265321" y="22701"/>
                      <a:pt x="2265321" y="39961"/>
                    </a:cubicBezTo>
                    <a:cubicBezTo>
                      <a:pt x="2265321" y="57468"/>
                      <a:pt x="2279621" y="71521"/>
                      <a:pt x="2296883" y="71521"/>
                    </a:cubicBezTo>
                    <a:cubicBezTo>
                      <a:pt x="2314389" y="71521"/>
                      <a:pt x="2328443" y="57468"/>
                      <a:pt x="2328443" y="39961"/>
                    </a:cubicBezTo>
                    <a:close/>
                    <a:moveTo>
                      <a:pt x="2329921" y="148429"/>
                    </a:moveTo>
                    <a:cubicBezTo>
                      <a:pt x="2329921" y="130677"/>
                      <a:pt x="2315373" y="116128"/>
                      <a:pt x="2297374" y="116128"/>
                    </a:cubicBezTo>
                    <a:cubicBezTo>
                      <a:pt x="2279621" y="116128"/>
                      <a:pt x="2265072" y="130677"/>
                      <a:pt x="2265072" y="148429"/>
                    </a:cubicBezTo>
                    <a:cubicBezTo>
                      <a:pt x="2265072" y="166428"/>
                      <a:pt x="2279621" y="180975"/>
                      <a:pt x="2297374" y="180975"/>
                    </a:cubicBezTo>
                    <a:cubicBezTo>
                      <a:pt x="2315373" y="180975"/>
                      <a:pt x="2329921" y="166428"/>
                      <a:pt x="2329921" y="148429"/>
                    </a:cubicBezTo>
                    <a:close/>
                    <a:moveTo>
                      <a:pt x="2330909" y="1450900"/>
                    </a:moveTo>
                    <a:cubicBezTo>
                      <a:pt x="2330909" y="1432162"/>
                      <a:pt x="2315621" y="1416877"/>
                      <a:pt x="2296883" y="1416877"/>
                    </a:cubicBezTo>
                    <a:cubicBezTo>
                      <a:pt x="2278141" y="1416877"/>
                      <a:pt x="2262854" y="1432162"/>
                      <a:pt x="2262854" y="1450900"/>
                    </a:cubicBezTo>
                    <a:cubicBezTo>
                      <a:pt x="2262854" y="1469643"/>
                      <a:pt x="2278141" y="1484933"/>
                      <a:pt x="2296883" y="1484933"/>
                    </a:cubicBezTo>
                    <a:cubicBezTo>
                      <a:pt x="2315621" y="1484933"/>
                      <a:pt x="2330664" y="1469643"/>
                      <a:pt x="2330909" y="1450900"/>
                    </a:cubicBezTo>
                    <a:close/>
                    <a:moveTo>
                      <a:pt x="2331894" y="1342180"/>
                    </a:moveTo>
                    <a:cubicBezTo>
                      <a:pt x="2331894" y="1322698"/>
                      <a:pt x="2315868" y="1306670"/>
                      <a:pt x="2296388" y="1306670"/>
                    </a:cubicBezTo>
                    <a:cubicBezTo>
                      <a:pt x="2276907" y="1306670"/>
                      <a:pt x="2260881" y="1322698"/>
                      <a:pt x="2260881" y="1342180"/>
                    </a:cubicBezTo>
                    <a:cubicBezTo>
                      <a:pt x="2260881" y="1361658"/>
                      <a:pt x="2276907" y="1377686"/>
                      <a:pt x="2296388" y="1377686"/>
                    </a:cubicBezTo>
                    <a:cubicBezTo>
                      <a:pt x="2315868" y="1377686"/>
                      <a:pt x="2331894" y="1361658"/>
                      <a:pt x="2331894" y="1342180"/>
                    </a:cubicBezTo>
                    <a:close/>
                    <a:moveTo>
                      <a:pt x="2331894" y="1994280"/>
                    </a:moveTo>
                    <a:cubicBezTo>
                      <a:pt x="2331894" y="1976284"/>
                      <a:pt x="2317098" y="1961492"/>
                      <a:pt x="2299098" y="1961492"/>
                    </a:cubicBezTo>
                    <a:cubicBezTo>
                      <a:pt x="2281099" y="1961492"/>
                      <a:pt x="2266305" y="1976284"/>
                      <a:pt x="2266305" y="1994280"/>
                    </a:cubicBezTo>
                    <a:cubicBezTo>
                      <a:pt x="2266305" y="2012279"/>
                      <a:pt x="2281099" y="2027074"/>
                      <a:pt x="2299098" y="2027074"/>
                    </a:cubicBezTo>
                    <a:cubicBezTo>
                      <a:pt x="2317098" y="2027074"/>
                      <a:pt x="2331894" y="2012279"/>
                      <a:pt x="2331894" y="1994280"/>
                    </a:cubicBezTo>
                    <a:close/>
                    <a:moveTo>
                      <a:pt x="2332141" y="2867859"/>
                    </a:moveTo>
                    <a:cubicBezTo>
                      <a:pt x="2332141" y="2848873"/>
                      <a:pt x="2316855" y="2833585"/>
                      <a:pt x="2297870" y="2833585"/>
                    </a:cubicBezTo>
                    <a:cubicBezTo>
                      <a:pt x="2278881" y="2833585"/>
                      <a:pt x="2263594" y="2848873"/>
                      <a:pt x="2263594" y="2867859"/>
                    </a:cubicBezTo>
                    <a:cubicBezTo>
                      <a:pt x="2263594" y="2886845"/>
                      <a:pt x="2278881" y="2902133"/>
                      <a:pt x="2297870" y="2902133"/>
                    </a:cubicBezTo>
                    <a:cubicBezTo>
                      <a:pt x="2316609" y="2902133"/>
                      <a:pt x="2332141" y="2886599"/>
                      <a:pt x="2332141" y="2867859"/>
                    </a:cubicBezTo>
                    <a:close/>
                    <a:moveTo>
                      <a:pt x="2334113" y="2978564"/>
                    </a:moveTo>
                    <a:cubicBezTo>
                      <a:pt x="2334113" y="2958839"/>
                      <a:pt x="2318086" y="2942566"/>
                      <a:pt x="2298112" y="2942566"/>
                    </a:cubicBezTo>
                    <a:cubicBezTo>
                      <a:pt x="2278388" y="2942566"/>
                      <a:pt x="2262113" y="2958593"/>
                      <a:pt x="2262113" y="2978564"/>
                    </a:cubicBezTo>
                    <a:cubicBezTo>
                      <a:pt x="2262113" y="2998291"/>
                      <a:pt x="2278140" y="3014566"/>
                      <a:pt x="2298112" y="3014566"/>
                    </a:cubicBezTo>
                    <a:cubicBezTo>
                      <a:pt x="2317838" y="3014566"/>
                      <a:pt x="2334113" y="2998291"/>
                      <a:pt x="2334113" y="2978564"/>
                    </a:cubicBezTo>
                    <a:close/>
                    <a:moveTo>
                      <a:pt x="2334853" y="4743059"/>
                    </a:moveTo>
                    <a:cubicBezTo>
                      <a:pt x="2334853" y="4724814"/>
                      <a:pt x="2320059" y="4710019"/>
                      <a:pt x="2301812" y="4710019"/>
                    </a:cubicBezTo>
                    <a:cubicBezTo>
                      <a:pt x="2283566" y="4710019"/>
                      <a:pt x="2268772" y="4724814"/>
                      <a:pt x="2268772" y="4743059"/>
                    </a:cubicBezTo>
                    <a:cubicBezTo>
                      <a:pt x="2268772" y="4761307"/>
                      <a:pt x="2283566" y="4776101"/>
                      <a:pt x="2301812" y="4776101"/>
                    </a:cubicBezTo>
                    <a:cubicBezTo>
                      <a:pt x="2320059" y="4776101"/>
                      <a:pt x="2334853" y="4761307"/>
                      <a:pt x="2334853" y="4743059"/>
                    </a:cubicBezTo>
                    <a:close/>
                    <a:moveTo>
                      <a:pt x="2338551" y="4416101"/>
                    </a:moveTo>
                    <a:cubicBezTo>
                      <a:pt x="2338551" y="4394893"/>
                      <a:pt x="2321292" y="4377880"/>
                      <a:pt x="2300333" y="4377880"/>
                    </a:cubicBezTo>
                    <a:cubicBezTo>
                      <a:pt x="2279126" y="4377880"/>
                      <a:pt x="2262113" y="4395139"/>
                      <a:pt x="2262113" y="4416101"/>
                    </a:cubicBezTo>
                    <a:cubicBezTo>
                      <a:pt x="2262113" y="4437058"/>
                      <a:pt x="2279372" y="4454320"/>
                      <a:pt x="2300333" y="4454320"/>
                    </a:cubicBezTo>
                    <a:cubicBezTo>
                      <a:pt x="2321292" y="4454320"/>
                      <a:pt x="2338551" y="4437058"/>
                      <a:pt x="2338551" y="4416101"/>
                    </a:cubicBezTo>
                    <a:close/>
                    <a:moveTo>
                      <a:pt x="2345458" y="4525088"/>
                    </a:moveTo>
                    <a:cubicBezTo>
                      <a:pt x="2345458" y="4500431"/>
                      <a:pt x="2325486" y="4480459"/>
                      <a:pt x="2300828" y="4480459"/>
                    </a:cubicBezTo>
                    <a:cubicBezTo>
                      <a:pt x="2276417" y="4480459"/>
                      <a:pt x="2256445" y="4500431"/>
                      <a:pt x="2256445" y="4525088"/>
                    </a:cubicBezTo>
                    <a:cubicBezTo>
                      <a:pt x="2256445" y="4549746"/>
                      <a:pt x="2276417" y="4569718"/>
                      <a:pt x="2300828" y="4569718"/>
                    </a:cubicBezTo>
                    <a:cubicBezTo>
                      <a:pt x="2325239" y="4569718"/>
                      <a:pt x="2345211" y="4549746"/>
                      <a:pt x="2345458" y="4525088"/>
                    </a:cubicBezTo>
                    <a:close/>
                    <a:moveTo>
                      <a:pt x="2352607" y="4851800"/>
                    </a:moveTo>
                    <a:cubicBezTo>
                      <a:pt x="2352607" y="4823938"/>
                      <a:pt x="2329922" y="4801499"/>
                      <a:pt x="2302306" y="4801499"/>
                    </a:cubicBezTo>
                    <a:cubicBezTo>
                      <a:pt x="2274443" y="4801499"/>
                      <a:pt x="2252004" y="4824184"/>
                      <a:pt x="2252004" y="4851800"/>
                    </a:cubicBezTo>
                    <a:cubicBezTo>
                      <a:pt x="2252004" y="4879663"/>
                      <a:pt x="2274690" y="4902102"/>
                      <a:pt x="2302306" y="4902102"/>
                    </a:cubicBezTo>
                    <a:cubicBezTo>
                      <a:pt x="2329922" y="4902102"/>
                      <a:pt x="2352607" y="4879417"/>
                      <a:pt x="2352607" y="4851800"/>
                    </a:cubicBezTo>
                    <a:close/>
                    <a:moveTo>
                      <a:pt x="2367155" y="2218162"/>
                    </a:moveTo>
                    <a:cubicBezTo>
                      <a:pt x="2367155" y="2211998"/>
                      <a:pt x="2361978" y="2206821"/>
                      <a:pt x="2355814" y="2206821"/>
                    </a:cubicBezTo>
                    <a:cubicBezTo>
                      <a:pt x="2349648" y="2206821"/>
                      <a:pt x="2344471" y="2211998"/>
                      <a:pt x="2344471" y="2218162"/>
                    </a:cubicBezTo>
                    <a:cubicBezTo>
                      <a:pt x="2344471" y="2224329"/>
                      <a:pt x="2349648" y="2229506"/>
                      <a:pt x="2355814" y="2229506"/>
                    </a:cubicBezTo>
                    <a:cubicBezTo>
                      <a:pt x="2362224" y="2229506"/>
                      <a:pt x="2367155" y="2224574"/>
                      <a:pt x="2367155" y="2218162"/>
                    </a:cubicBezTo>
                    <a:close/>
                    <a:moveTo>
                      <a:pt x="2375046" y="2658769"/>
                    </a:moveTo>
                    <a:cubicBezTo>
                      <a:pt x="2375046" y="2649401"/>
                      <a:pt x="2367402" y="2641756"/>
                      <a:pt x="2358031" y="2641756"/>
                    </a:cubicBezTo>
                    <a:cubicBezTo>
                      <a:pt x="2348662" y="2641756"/>
                      <a:pt x="2341018" y="2649401"/>
                      <a:pt x="2341018" y="2658769"/>
                    </a:cubicBezTo>
                    <a:cubicBezTo>
                      <a:pt x="2341018" y="2668141"/>
                      <a:pt x="2348662" y="2675785"/>
                      <a:pt x="2358031" y="2675785"/>
                    </a:cubicBezTo>
                    <a:cubicBezTo>
                      <a:pt x="2367648" y="2675785"/>
                      <a:pt x="2375292" y="2668141"/>
                      <a:pt x="2375046" y="2658769"/>
                    </a:cubicBezTo>
                    <a:close/>
                    <a:moveTo>
                      <a:pt x="2375539" y="2108936"/>
                    </a:moveTo>
                    <a:cubicBezTo>
                      <a:pt x="2375539" y="2098085"/>
                      <a:pt x="2366664" y="2088962"/>
                      <a:pt x="2355566" y="2088962"/>
                    </a:cubicBezTo>
                    <a:cubicBezTo>
                      <a:pt x="2344717" y="2088962"/>
                      <a:pt x="2335594" y="2097840"/>
                      <a:pt x="2335594" y="2108936"/>
                    </a:cubicBezTo>
                    <a:cubicBezTo>
                      <a:pt x="2335594" y="2120032"/>
                      <a:pt x="2344471" y="2128909"/>
                      <a:pt x="2355566" y="2128909"/>
                    </a:cubicBezTo>
                    <a:cubicBezTo>
                      <a:pt x="2366664" y="2128909"/>
                      <a:pt x="2375539" y="2120032"/>
                      <a:pt x="2375539" y="2108936"/>
                    </a:cubicBezTo>
                    <a:close/>
                    <a:moveTo>
                      <a:pt x="2378498" y="3110730"/>
                    </a:moveTo>
                    <a:cubicBezTo>
                      <a:pt x="2378498" y="3096181"/>
                      <a:pt x="2366910" y="3084346"/>
                      <a:pt x="2352361" y="3084346"/>
                    </a:cubicBezTo>
                    <a:cubicBezTo>
                      <a:pt x="2337812" y="3084346"/>
                      <a:pt x="2325977" y="3096181"/>
                      <a:pt x="2325977" y="3110730"/>
                    </a:cubicBezTo>
                    <a:cubicBezTo>
                      <a:pt x="2325977" y="3125277"/>
                      <a:pt x="2337812" y="3137112"/>
                      <a:pt x="2352361" y="3137112"/>
                    </a:cubicBezTo>
                    <a:cubicBezTo>
                      <a:pt x="2366661" y="3137112"/>
                      <a:pt x="2378498" y="3125277"/>
                      <a:pt x="2378498" y="3110730"/>
                    </a:cubicBezTo>
                    <a:close/>
                    <a:moveTo>
                      <a:pt x="2380471" y="2769725"/>
                    </a:moveTo>
                    <a:cubicBezTo>
                      <a:pt x="2380471" y="2757395"/>
                      <a:pt x="2370361" y="2747285"/>
                      <a:pt x="2358033" y="2747285"/>
                    </a:cubicBezTo>
                    <a:cubicBezTo>
                      <a:pt x="2345704" y="2747285"/>
                      <a:pt x="2335594" y="2757395"/>
                      <a:pt x="2335594" y="2769725"/>
                    </a:cubicBezTo>
                    <a:cubicBezTo>
                      <a:pt x="2335594" y="2782053"/>
                      <a:pt x="2345704" y="2792163"/>
                      <a:pt x="2358033" y="2792163"/>
                    </a:cubicBezTo>
                    <a:cubicBezTo>
                      <a:pt x="2370361" y="2792163"/>
                      <a:pt x="2380471" y="2782053"/>
                      <a:pt x="2380471" y="2769725"/>
                    </a:cubicBezTo>
                    <a:close/>
                    <a:moveTo>
                      <a:pt x="2386636" y="2327880"/>
                    </a:moveTo>
                    <a:cubicBezTo>
                      <a:pt x="2386636" y="2311361"/>
                      <a:pt x="2373073" y="2297799"/>
                      <a:pt x="2356555" y="2297799"/>
                    </a:cubicBezTo>
                    <a:cubicBezTo>
                      <a:pt x="2340033" y="2297799"/>
                      <a:pt x="2326472" y="2311361"/>
                      <a:pt x="2326472" y="2327880"/>
                    </a:cubicBezTo>
                    <a:cubicBezTo>
                      <a:pt x="2326472" y="2344403"/>
                      <a:pt x="2340033" y="2357966"/>
                      <a:pt x="2356555" y="2357966"/>
                    </a:cubicBezTo>
                    <a:cubicBezTo>
                      <a:pt x="2373073" y="2357966"/>
                      <a:pt x="2386636" y="2344403"/>
                      <a:pt x="2386636" y="2327880"/>
                    </a:cubicBezTo>
                    <a:close/>
                    <a:moveTo>
                      <a:pt x="2387620" y="1019953"/>
                    </a:moveTo>
                    <a:cubicBezTo>
                      <a:pt x="2387620" y="1002193"/>
                      <a:pt x="2373073" y="987645"/>
                      <a:pt x="2355320" y="987645"/>
                    </a:cubicBezTo>
                    <a:cubicBezTo>
                      <a:pt x="2337567" y="987645"/>
                      <a:pt x="2323018" y="1002193"/>
                      <a:pt x="2323018" y="1019953"/>
                    </a:cubicBezTo>
                    <a:cubicBezTo>
                      <a:pt x="2323018" y="1037697"/>
                      <a:pt x="2337567" y="1052249"/>
                      <a:pt x="2355320" y="1052249"/>
                    </a:cubicBezTo>
                    <a:cubicBezTo>
                      <a:pt x="2373073" y="1052249"/>
                      <a:pt x="2387373" y="1037697"/>
                      <a:pt x="2387620" y="1019953"/>
                    </a:cubicBezTo>
                    <a:close/>
                    <a:moveTo>
                      <a:pt x="2388608" y="802503"/>
                    </a:moveTo>
                    <a:cubicBezTo>
                      <a:pt x="2388608" y="784257"/>
                      <a:pt x="2373811" y="769707"/>
                      <a:pt x="2355812" y="769707"/>
                    </a:cubicBezTo>
                    <a:cubicBezTo>
                      <a:pt x="2337567" y="769707"/>
                      <a:pt x="2323018" y="784502"/>
                      <a:pt x="2323018" y="802503"/>
                    </a:cubicBezTo>
                    <a:cubicBezTo>
                      <a:pt x="2323018" y="820503"/>
                      <a:pt x="2337812" y="835299"/>
                      <a:pt x="2355812" y="835299"/>
                    </a:cubicBezTo>
                    <a:cubicBezTo>
                      <a:pt x="2374060" y="835299"/>
                      <a:pt x="2388608" y="820751"/>
                      <a:pt x="2388608" y="802503"/>
                    </a:cubicBezTo>
                    <a:close/>
                    <a:moveTo>
                      <a:pt x="2390580" y="911469"/>
                    </a:moveTo>
                    <a:cubicBezTo>
                      <a:pt x="2390580" y="891991"/>
                      <a:pt x="2374800" y="876206"/>
                      <a:pt x="2355320" y="876206"/>
                    </a:cubicBezTo>
                    <a:cubicBezTo>
                      <a:pt x="2335840" y="876206"/>
                      <a:pt x="2320059" y="891991"/>
                      <a:pt x="2320059" y="911469"/>
                    </a:cubicBezTo>
                    <a:cubicBezTo>
                      <a:pt x="2320059" y="930947"/>
                      <a:pt x="2335840" y="946733"/>
                      <a:pt x="2355320" y="946733"/>
                    </a:cubicBezTo>
                    <a:cubicBezTo>
                      <a:pt x="2374800" y="946733"/>
                      <a:pt x="2390580" y="930701"/>
                      <a:pt x="2390580" y="911469"/>
                    </a:cubicBezTo>
                    <a:close/>
                    <a:moveTo>
                      <a:pt x="2390827" y="476799"/>
                    </a:moveTo>
                    <a:cubicBezTo>
                      <a:pt x="2390827" y="457319"/>
                      <a:pt x="2374801" y="441292"/>
                      <a:pt x="2355320" y="441292"/>
                    </a:cubicBezTo>
                    <a:cubicBezTo>
                      <a:pt x="2335840" y="441292"/>
                      <a:pt x="2319814" y="457319"/>
                      <a:pt x="2319814" y="476799"/>
                    </a:cubicBezTo>
                    <a:cubicBezTo>
                      <a:pt x="2319814" y="496278"/>
                      <a:pt x="2335840" y="512304"/>
                      <a:pt x="2355320" y="512304"/>
                    </a:cubicBezTo>
                    <a:cubicBezTo>
                      <a:pt x="2374801" y="512304"/>
                      <a:pt x="2390827" y="496278"/>
                      <a:pt x="2390827" y="476799"/>
                    </a:cubicBezTo>
                    <a:close/>
                    <a:moveTo>
                      <a:pt x="2391073" y="2548064"/>
                    </a:moveTo>
                    <a:cubicBezTo>
                      <a:pt x="2391073" y="2529571"/>
                      <a:pt x="2376032" y="2514775"/>
                      <a:pt x="2357788" y="2514775"/>
                    </a:cubicBezTo>
                    <a:cubicBezTo>
                      <a:pt x="2339293" y="2514775"/>
                      <a:pt x="2324499" y="2529815"/>
                      <a:pt x="2324499" y="2548064"/>
                    </a:cubicBezTo>
                    <a:cubicBezTo>
                      <a:pt x="2324499" y="2566309"/>
                      <a:pt x="2339539" y="2581350"/>
                      <a:pt x="2357788" y="2581350"/>
                    </a:cubicBezTo>
                    <a:cubicBezTo>
                      <a:pt x="2376281" y="2581350"/>
                      <a:pt x="2391073" y="2566309"/>
                      <a:pt x="2391073" y="2548064"/>
                    </a:cubicBezTo>
                    <a:close/>
                    <a:moveTo>
                      <a:pt x="2391319" y="585517"/>
                    </a:moveTo>
                    <a:cubicBezTo>
                      <a:pt x="2391319" y="565791"/>
                      <a:pt x="2375293" y="549519"/>
                      <a:pt x="2355321" y="549519"/>
                    </a:cubicBezTo>
                    <a:cubicBezTo>
                      <a:pt x="2335594" y="549519"/>
                      <a:pt x="2319320" y="565545"/>
                      <a:pt x="2319320" y="585517"/>
                    </a:cubicBezTo>
                    <a:cubicBezTo>
                      <a:pt x="2319320" y="605242"/>
                      <a:pt x="2335346" y="621517"/>
                      <a:pt x="2355321" y="621517"/>
                    </a:cubicBezTo>
                    <a:cubicBezTo>
                      <a:pt x="2375293" y="621517"/>
                      <a:pt x="2391319" y="605242"/>
                      <a:pt x="2391319" y="585517"/>
                    </a:cubicBezTo>
                    <a:close/>
                    <a:moveTo>
                      <a:pt x="2393045" y="694030"/>
                    </a:moveTo>
                    <a:cubicBezTo>
                      <a:pt x="2393045" y="673556"/>
                      <a:pt x="2376279" y="656794"/>
                      <a:pt x="2355812" y="656794"/>
                    </a:cubicBezTo>
                    <a:cubicBezTo>
                      <a:pt x="2335345" y="656794"/>
                      <a:pt x="2318579" y="673556"/>
                      <a:pt x="2318579" y="694030"/>
                    </a:cubicBezTo>
                    <a:cubicBezTo>
                      <a:pt x="2318579" y="714489"/>
                      <a:pt x="2335345" y="731261"/>
                      <a:pt x="2355812" y="731261"/>
                    </a:cubicBezTo>
                    <a:cubicBezTo>
                      <a:pt x="2376279" y="731261"/>
                      <a:pt x="2392797" y="714489"/>
                      <a:pt x="2393045" y="694030"/>
                    </a:cubicBezTo>
                    <a:close/>
                    <a:moveTo>
                      <a:pt x="2394278" y="1128673"/>
                    </a:moveTo>
                    <a:cubicBezTo>
                      <a:pt x="2394278" y="1107218"/>
                      <a:pt x="2376771" y="1089715"/>
                      <a:pt x="2355321" y="1089715"/>
                    </a:cubicBezTo>
                    <a:cubicBezTo>
                      <a:pt x="2333868" y="1089715"/>
                      <a:pt x="2316361" y="1107218"/>
                      <a:pt x="2316361" y="1128673"/>
                    </a:cubicBezTo>
                    <a:cubicBezTo>
                      <a:pt x="2316361" y="1150122"/>
                      <a:pt x="2333868" y="1167630"/>
                      <a:pt x="2355321" y="1167630"/>
                    </a:cubicBezTo>
                    <a:cubicBezTo>
                      <a:pt x="2376771" y="1167630"/>
                      <a:pt x="2394278" y="1150122"/>
                      <a:pt x="2394278" y="1128673"/>
                    </a:cubicBezTo>
                    <a:close/>
                    <a:moveTo>
                      <a:pt x="2395017" y="1237397"/>
                    </a:moveTo>
                    <a:cubicBezTo>
                      <a:pt x="2395017" y="1215452"/>
                      <a:pt x="2377264" y="1197698"/>
                      <a:pt x="2355317" y="1197698"/>
                    </a:cubicBezTo>
                    <a:cubicBezTo>
                      <a:pt x="2333373" y="1197698"/>
                      <a:pt x="2315620" y="1215452"/>
                      <a:pt x="2315620" y="1237397"/>
                    </a:cubicBezTo>
                    <a:cubicBezTo>
                      <a:pt x="2315620" y="1259337"/>
                      <a:pt x="2333373" y="1277096"/>
                      <a:pt x="2355317" y="1277096"/>
                    </a:cubicBezTo>
                    <a:cubicBezTo>
                      <a:pt x="2377264" y="1277096"/>
                      <a:pt x="2395017" y="1259337"/>
                      <a:pt x="2395017" y="1237397"/>
                    </a:cubicBezTo>
                    <a:close/>
                    <a:moveTo>
                      <a:pt x="2399456" y="2437605"/>
                    </a:moveTo>
                    <a:cubicBezTo>
                      <a:pt x="2399456" y="2414425"/>
                      <a:pt x="2380469" y="2395439"/>
                      <a:pt x="2357293" y="2395439"/>
                    </a:cubicBezTo>
                    <a:cubicBezTo>
                      <a:pt x="2334113" y="2395439"/>
                      <a:pt x="2315128" y="2414425"/>
                      <a:pt x="2315128" y="2437605"/>
                    </a:cubicBezTo>
                    <a:cubicBezTo>
                      <a:pt x="2315128" y="2460780"/>
                      <a:pt x="2334113" y="2479765"/>
                      <a:pt x="2357293" y="2479765"/>
                    </a:cubicBezTo>
                    <a:cubicBezTo>
                      <a:pt x="2380469" y="2479765"/>
                      <a:pt x="2399210" y="2461027"/>
                      <a:pt x="2399456" y="2437605"/>
                    </a:cubicBezTo>
                    <a:close/>
                    <a:moveTo>
                      <a:pt x="2416469" y="1678959"/>
                    </a:moveTo>
                    <a:cubicBezTo>
                      <a:pt x="2416469" y="1677233"/>
                      <a:pt x="2414990" y="1675753"/>
                      <a:pt x="2413264" y="1675753"/>
                    </a:cubicBezTo>
                    <a:cubicBezTo>
                      <a:pt x="2411537" y="1675753"/>
                      <a:pt x="2410059" y="1677233"/>
                      <a:pt x="2410059" y="1678959"/>
                    </a:cubicBezTo>
                    <a:cubicBezTo>
                      <a:pt x="2410059" y="1680687"/>
                      <a:pt x="2411537" y="1682168"/>
                      <a:pt x="2413264" y="1682168"/>
                    </a:cubicBezTo>
                    <a:cubicBezTo>
                      <a:pt x="2414990" y="1682168"/>
                      <a:pt x="2416469" y="1680687"/>
                      <a:pt x="2416469" y="1678959"/>
                    </a:cubicBezTo>
                    <a:close/>
                    <a:moveTo>
                      <a:pt x="2417703" y="4055854"/>
                    </a:moveTo>
                    <a:cubicBezTo>
                      <a:pt x="2417703" y="4050922"/>
                      <a:pt x="2413510" y="4046731"/>
                      <a:pt x="2408578" y="4046731"/>
                    </a:cubicBezTo>
                    <a:cubicBezTo>
                      <a:pt x="2403647" y="4046731"/>
                      <a:pt x="2399456" y="4050922"/>
                      <a:pt x="2399456" y="4055854"/>
                    </a:cubicBezTo>
                    <a:cubicBezTo>
                      <a:pt x="2399456" y="4060785"/>
                      <a:pt x="2403402" y="4064977"/>
                      <a:pt x="2408578" y="4064977"/>
                    </a:cubicBezTo>
                    <a:cubicBezTo>
                      <a:pt x="2413510" y="4064977"/>
                      <a:pt x="2417703" y="4060785"/>
                      <a:pt x="2417703" y="4055854"/>
                    </a:cubicBezTo>
                    <a:close/>
                    <a:moveTo>
                      <a:pt x="2421154" y="5275170"/>
                    </a:moveTo>
                    <a:lnTo>
                      <a:pt x="2420908" y="5274925"/>
                    </a:lnTo>
                    <a:lnTo>
                      <a:pt x="2420908" y="5275170"/>
                    </a:lnTo>
                    <a:close/>
                    <a:moveTo>
                      <a:pt x="2423129" y="6147556"/>
                    </a:moveTo>
                    <a:cubicBezTo>
                      <a:pt x="2423129" y="6146075"/>
                      <a:pt x="2421895" y="6144843"/>
                      <a:pt x="2420417" y="6144843"/>
                    </a:cubicBezTo>
                    <a:cubicBezTo>
                      <a:pt x="2418936" y="6144843"/>
                      <a:pt x="2417703" y="6146075"/>
                      <a:pt x="2417703" y="6147556"/>
                    </a:cubicBezTo>
                    <a:cubicBezTo>
                      <a:pt x="2417703" y="6149034"/>
                      <a:pt x="2418936" y="6150270"/>
                      <a:pt x="2420417" y="6150270"/>
                    </a:cubicBezTo>
                    <a:cubicBezTo>
                      <a:pt x="2421895" y="6150270"/>
                      <a:pt x="2423129" y="6149281"/>
                      <a:pt x="2423129" y="6147556"/>
                    </a:cubicBezTo>
                    <a:close/>
                    <a:moveTo>
                      <a:pt x="2423129" y="6365529"/>
                    </a:moveTo>
                    <a:cubicBezTo>
                      <a:pt x="2423129" y="6364295"/>
                      <a:pt x="2422143" y="6363308"/>
                      <a:pt x="2420910" y="6363308"/>
                    </a:cubicBezTo>
                    <a:cubicBezTo>
                      <a:pt x="2419430" y="6363308"/>
                      <a:pt x="2418443" y="6364295"/>
                      <a:pt x="2418443" y="6365529"/>
                    </a:cubicBezTo>
                    <a:cubicBezTo>
                      <a:pt x="2418443" y="6366761"/>
                      <a:pt x="2419676" y="6367747"/>
                      <a:pt x="2420910" y="6367747"/>
                    </a:cubicBezTo>
                    <a:cubicBezTo>
                      <a:pt x="2422143" y="6367747"/>
                      <a:pt x="2423376" y="6366513"/>
                      <a:pt x="2423129" y="6365529"/>
                    </a:cubicBezTo>
                    <a:close/>
                    <a:moveTo>
                      <a:pt x="2423375" y="6256544"/>
                    </a:moveTo>
                    <a:cubicBezTo>
                      <a:pt x="2423375" y="6255063"/>
                      <a:pt x="2422140" y="6253831"/>
                      <a:pt x="2420662" y="6253831"/>
                    </a:cubicBezTo>
                    <a:cubicBezTo>
                      <a:pt x="2419182" y="6253831"/>
                      <a:pt x="2417949" y="6255063"/>
                      <a:pt x="2417949" y="6256544"/>
                    </a:cubicBezTo>
                    <a:cubicBezTo>
                      <a:pt x="2417949" y="6258023"/>
                      <a:pt x="2419182" y="6259255"/>
                      <a:pt x="2420662" y="6259255"/>
                    </a:cubicBezTo>
                    <a:cubicBezTo>
                      <a:pt x="2422140" y="6259255"/>
                      <a:pt x="2423375" y="6258023"/>
                      <a:pt x="2423375" y="6256544"/>
                    </a:cubicBezTo>
                    <a:close/>
                    <a:moveTo>
                      <a:pt x="2423375" y="6474023"/>
                    </a:moveTo>
                    <a:cubicBezTo>
                      <a:pt x="2423375" y="6472542"/>
                      <a:pt x="2422389" y="6471555"/>
                      <a:pt x="2420910" y="6471555"/>
                    </a:cubicBezTo>
                    <a:cubicBezTo>
                      <a:pt x="2419429" y="6471555"/>
                      <a:pt x="2418443" y="6472788"/>
                      <a:pt x="2418443" y="6474023"/>
                    </a:cubicBezTo>
                    <a:cubicBezTo>
                      <a:pt x="2418443" y="6475254"/>
                      <a:pt x="2419676" y="6476486"/>
                      <a:pt x="2420910" y="6476486"/>
                    </a:cubicBezTo>
                    <a:cubicBezTo>
                      <a:pt x="2422142" y="6476486"/>
                      <a:pt x="2423375" y="6475501"/>
                      <a:pt x="2423375" y="6474023"/>
                    </a:cubicBezTo>
                    <a:close/>
                    <a:moveTo>
                      <a:pt x="2424113" y="3938730"/>
                    </a:moveTo>
                    <a:cubicBezTo>
                      <a:pt x="2424113" y="3928867"/>
                      <a:pt x="2415976" y="3920731"/>
                      <a:pt x="2406112" y="3920731"/>
                    </a:cubicBezTo>
                    <a:cubicBezTo>
                      <a:pt x="2396250" y="3920731"/>
                      <a:pt x="2388114" y="3928867"/>
                      <a:pt x="2388114" y="3938730"/>
                    </a:cubicBezTo>
                    <a:cubicBezTo>
                      <a:pt x="2388114" y="3948593"/>
                      <a:pt x="2396250" y="3956729"/>
                      <a:pt x="2406112" y="3956729"/>
                    </a:cubicBezTo>
                    <a:cubicBezTo>
                      <a:pt x="2415976" y="3956729"/>
                      <a:pt x="2424113" y="3948593"/>
                      <a:pt x="2424113" y="3938730"/>
                    </a:cubicBezTo>
                    <a:close/>
                    <a:moveTo>
                      <a:pt x="2424361" y="5493638"/>
                    </a:moveTo>
                    <a:cubicBezTo>
                      <a:pt x="2424361" y="5492157"/>
                      <a:pt x="2423127" y="5490925"/>
                      <a:pt x="2421649" y="5490925"/>
                    </a:cubicBezTo>
                    <a:cubicBezTo>
                      <a:pt x="2420168" y="5490925"/>
                      <a:pt x="2418936" y="5492157"/>
                      <a:pt x="2418936" y="5493638"/>
                    </a:cubicBezTo>
                    <a:cubicBezTo>
                      <a:pt x="2418936" y="5495116"/>
                      <a:pt x="2420168" y="5496352"/>
                      <a:pt x="2421649" y="5496352"/>
                    </a:cubicBezTo>
                    <a:cubicBezTo>
                      <a:pt x="2423127" y="5496352"/>
                      <a:pt x="2424361" y="5495116"/>
                      <a:pt x="2424361" y="5493638"/>
                    </a:cubicBezTo>
                    <a:close/>
                    <a:moveTo>
                      <a:pt x="2424607" y="5384159"/>
                    </a:moveTo>
                    <a:cubicBezTo>
                      <a:pt x="2424607" y="5382678"/>
                      <a:pt x="2423373" y="5381445"/>
                      <a:pt x="2421895" y="5381445"/>
                    </a:cubicBezTo>
                    <a:cubicBezTo>
                      <a:pt x="2420168" y="5381445"/>
                      <a:pt x="2418936" y="5382678"/>
                      <a:pt x="2418936" y="5384159"/>
                    </a:cubicBezTo>
                    <a:cubicBezTo>
                      <a:pt x="2418936" y="5385885"/>
                      <a:pt x="2420168" y="5387118"/>
                      <a:pt x="2421895" y="5387118"/>
                    </a:cubicBezTo>
                    <a:cubicBezTo>
                      <a:pt x="2423373" y="5387118"/>
                      <a:pt x="2424607" y="5385885"/>
                      <a:pt x="2424607" y="5384159"/>
                    </a:cubicBezTo>
                    <a:close/>
                    <a:moveTo>
                      <a:pt x="2424607" y="6800243"/>
                    </a:moveTo>
                    <a:cubicBezTo>
                      <a:pt x="2424607" y="6798762"/>
                      <a:pt x="2423371" y="6797529"/>
                      <a:pt x="2421894" y="6797529"/>
                    </a:cubicBezTo>
                    <a:cubicBezTo>
                      <a:pt x="2420414" y="6797529"/>
                      <a:pt x="2419182" y="6798762"/>
                      <a:pt x="2419182" y="6800243"/>
                    </a:cubicBezTo>
                    <a:cubicBezTo>
                      <a:pt x="2419182" y="6801720"/>
                      <a:pt x="2420414" y="6802956"/>
                      <a:pt x="2421894" y="6802956"/>
                    </a:cubicBezTo>
                    <a:cubicBezTo>
                      <a:pt x="2423620" y="6802956"/>
                      <a:pt x="2424853" y="6801720"/>
                      <a:pt x="2424607" y="6800243"/>
                    </a:cubicBezTo>
                    <a:close/>
                    <a:moveTo>
                      <a:pt x="2425099" y="6038815"/>
                    </a:moveTo>
                    <a:cubicBezTo>
                      <a:pt x="2425099" y="6037088"/>
                      <a:pt x="2423867" y="6035855"/>
                      <a:pt x="2422140" y="6035855"/>
                    </a:cubicBezTo>
                    <a:cubicBezTo>
                      <a:pt x="2420414" y="6035855"/>
                      <a:pt x="2419182" y="6037088"/>
                      <a:pt x="2419182" y="6038815"/>
                    </a:cubicBezTo>
                    <a:cubicBezTo>
                      <a:pt x="2419182" y="6040296"/>
                      <a:pt x="2420414" y="6041773"/>
                      <a:pt x="2422140" y="6041773"/>
                    </a:cubicBezTo>
                    <a:cubicBezTo>
                      <a:pt x="2423621" y="6041773"/>
                      <a:pt x="2425099" y="6040296"/>
                      <a:pt x="2425099" y="6038815"/>
                    </a:cubicBezTo>
                    <a:close/>
                    <a:moveTo>
                      <a:pt x="2425349" y="5056460"/>
                    </a:moveTo>
                    <a:cubicBezTo>
                      <a:pt x="2425349" y="5053252"/>
                      <a:pt x="2422884" y="5050788"/>
                      <a:pt x="2419924" y="5050788"/>
                    </a:cubicBezTo>
                    <a:cubicBezTo>
                      <a:pt x="2416965" y="5050788"/>
                      <a:pt x="2414499" y="5053501"/>
                      <a:pt x="2414499" y="5056460"/>
                    </a:cubicBezTo>
                    <a:cubicBezTo>
                      <a:pt x="2414499" y="5059419"/>
                      <a:pt x="2416965" y="5061883"/>
                      <a:pt x="2419924" y="5061883"/>
                    </a:cubicBezTo>
                    <a:cubicBezTo>
                      <a:pt x="2423130" y="5061883"/>
                      <a:pt x="2425595" y="5059419"/>
                      <a:pt x="2425349" y="5056460"/>
                    </a:cubicBezTo>
                    <a:close/>
                    <a:moveTo>
                      <a:pt x="2425594" y="6691501"/>
                    </a:moveTo>
                    <a:cubicBezTo>
                      <a:pt x="2425594" y="6689774"/>
                      <a:pt x="2424113" y="6688542"/>
                      <a:pt x="2422635" y="6688542"/>
                    </a:cubicBezTo>
                    <a:cubicBezTo>
                      <a:pt x="2420908" y="6688542"/>
                      <a:pt x="2419676" y="6689774"/>
                      <a:pt x="2419676" y="6691501"/>
                    </a:cubicBezTo>
                    <a:cubicBezTo>
                      <a:pt x="2419676" y="6693228"/>
                      <a:pt x="2420908" y="6694460"/>
                      <a:pt x="2422635" y="6694460"/>
                    </a:cubicBezTo>
                    <a:cubicBezTo>
                      <a:pt x="2424361" y="6694460"/>
                      <a:pt x="2425594" y="6692982"/>
                      <a:pt x="2425594" y="6691501"/>
                    </a:cubicBezTo>
                    <a:close/>
                    <a:moveTo>
                      <a:pt x="2425594" y="6908734"/>
                    </a:moveTo>
                    <a:cubicBezTo>
                      <a:pt x="2425594" y="6907007"/>
                      <a:pt x="2424114" y="6905775"/>
                      <a:pt x="2422635" y="6905775"/>
                    </a:cubicBezTo>
                    <a:cubicBezTo>
                      <a:pt x="2421155" y="6905775"/>
                      <a:pt x="2419922" y="6907256"/>
                      <a:pt x="2419922" y="6908734"/>
                    </a:cubicBezTo>
                    <a:cubicBezTo>
                      <a:pt x="2419922" y="6910461"/>
                      <a:pt x="2421155" y="6911693"/>
                      <a:pt x="2422635" y="6911693"/>
                    </a:cubicBezTo>
                    <a:cubicBezTo>
                      <a:pt x="2424114" y="6911693"/>
                      <a:pt x="2425594" y="6910461"/>
                      <a:pt x="2425594" y="6908734"/>
                    </a:cubicBezTo>
                    <a:close/>
                    <a:moveTo>
                      <a:pt x="2425839" y="1788433"/>
                    </a:moveTo>
                    <a:cubicBezTo>
                      <a:pt x="2425839" y="1782031"/>
                      <a:pt x="2420416" y="1776609"/>
                      <a:pt x="2414004" y="1776609"/>
                    </a:cubicBezTo>
                    <a:cubicBezTo>
                      <a:pt x="2407345" y="1776609"/>
                      <a:pt x="2402168" y="1782031"/>
                      <a:pt x="2402168" y="1788433"/>
                    </a:cubicBezTo>
                    <a:cubicBezTo>
                      <a:pt x="2402168" y="1794861"/>
                      <a:pt x="2407593" y="1800290"/>
                      <a:pt x="2414004" y="1800290"/>
                    </a:cubicBezTo>
                    <a:cubicBezTo>
                      <a:pt x="2420416" y="1800290"/>
                      <a:pt x="2425839" y="1795107"/>
                      <a:pt x="2425839" y="1788433"/>
                    </a:cubicBezTo>
                    <a:close/>
                    <a:moveTo>
                      <a:pt x="2425839" y="7017476"/>
                    </a:moveTo>
                    <a:cubicBezTo>
                      <a:pt x="2425839" y="7015749"/>
                      <a:pt x="2424607" y="7014270"/>
                      <a:pt x="2422631" y="7014270"/>
                    </a:cubicBezTo>
                    <a:cubicBezTo>
                      <a:pt x="2420660" y="7014270"/>
                      <a:pt x="2419182" y="7015749"/>
                      <a:pt x="2419182" y="7017476"/>
                    </a:cubicBezTo>
                    <a:cubicBezTo>
                      <a:pt x="2419182" y="7019448"/>
                      <a:pt x="2420660" y="7020928"/>
                      <a:pt x="2422631" y="7020928"/>
                    </a:cubicBezTo>
                    <a:cubicBezTo>
                      <a:pt x="2424359" y="7020928"/>
                      <a:pt x="2426085" y="7019448"/>
                      <a:pt x="2425839" y="7017476"/>
                    </a:cubicBezTo>
                    <a:close/>
                    <a:moveTo>
                      <a:pt x="2425840" y="6582762"/>
                    </a:moveTo>
                    <a:cubicBezTo>
                      <a:pt x="2425840" y="6581035"/>
                      <a:pt x="2424608" y="6579802"/>
                      <a:pt x="2422881" y="6579802"/>
                    </a:cubicBezTo>
                    <a:cubicBezTo>
                      <a:pt x="2421155" y="6579802"/>
                      <a:pt x="2419922" y="6581283"/>
                      <a:pt x="2419922" y="6582762"/>
                    </a:cubicBezTo>
                    <a:cubicBezTo>
                      <a:pt x="2419922" y="6584488"/>
                      <a:pt x="2421401" y="6585720"/>
                      <a:pt x="2422881" y="6585720"/>
                    </a:cubicBezTo>
                    <a:cubicBezTo>
                      <a:pt x="2424362" y="6585720"/>
                      <a:pt x="2425594" y="6584243"/>
                      <a:pt x="2425840" y="6582762"/>
                    </a:cubicBezTo>
                    <a:close/>
                    <a:moveTo>
                      <a:pt x="2426334" y="5820596"/>
                    </a:moveTo>
                    <a:cubicBezTo>
                      <a:pt x="2426334" y="5819115"/>
                      <a:pt x="2425099" y="5817883"/>
                      <a:pt x="2423621" y="5817883"/>
                    </a:cubicBezTo>
                    <a:cubicBezTo>
                      <a:pt x="2422140" y="5817883"/>
                      <a:pt x="2420908" y="5819115"/>
                      <a:pt x="2420908" y="5820596"/>
                    </a:cubicBezTo>
                    <a:cubicBezTo>
                      <a:pt x="2420908" y="5822074"/>
                      <a:pt x="2422140" y="5823310"/>
                      <a:pt x="2423621" y="5823310"/>
                    </a:cubicBezTo>
                    <a:cubicBezTo>
                      <a:pt x="2425099" y="5823310"/>
                      <a:pt x="2426334" y="5822074"/>
                      <a:pt x="2426334" y="5820596"/>
                    </a:cubicBezTo>
                    <a:close/>
                    <a:moveTo>
                      <a:pt x="2426579" y="7126215"/>
                    </a:moveTo>
                    <a:cubicBezTo>
                      <a:pt x="2426579" y="7124491"/>
                      <a:pt x="2424853" y="7122764"/>
                      <a:pt x="2422880" y="7122764"/>
                    </a:cubicBezTo>
                    <a:cubicBezTo>
                      <a:pt x="2420908" y="7122764"/>
                      <a:pt x="2419182" y="7124242"/>
                      <a:pt x="2419182" y="7126215"/>
                    </a:cubicBezTo>
                    <a:cubicBezTo>
                      <a:pt x="2419182" y="7128436"/>
                      <a:pt x="2420908" y="7129914"/>
                      <a:pt x="2422880" y="7129914"/>
                    </a:cubicBezTo>
                    <a:cubicBezTo>
                      <a:pt x="2424853" y="7129914"/>
                      <a:pt x="2426579" y="7128190"/>
                      <a:pt x="2426579" y="7126215"/>
                    </a:cubicBezTo>
                    <a:close/>
                    <a:moveTo>
                      <a:pt x="2427075" y="5929830"/>
                    </a:moveTo>
                    <a:cubicBezTo>
                      <a:pt x="2427075" y="5927363"/>
                      <a:pt x="2425102" y="5925144"/>
                      <a:pt x="2422389" y="5925144"/>
                    </a:cubicBezTo>
                    <a:cubicBezTo>
                      <a:pt x="2419922" y="5925144"/>
                      <a:pt x="2417703" y="5927117"/>
                      <a:pt x="2417703" y="5929830"/>
                    </a:cubicBezTo>
                    <a:cubicBezTo>
                      <a:pt x="2417703" y="5932295"/>
                      <a:pt x="2419676" y="5934516"/>
                      <a:pt x="2422389" y="5934516"/>
                    </a:cubicBezTo>
                    <a:cubicBezTo>
                      <a:pt x="2425102" y="5934516"/>
                      <a:pt x="2427075" y="5932295"/>
                      <a:pt x="2427075" y="5929830"/>
                    </a:cubicBezTo>
                    <a:close/>
                    <a:moveTo>
                      <a:pt x="2427320" y="5711611"/>
                    </a:moveTo>
                    <a:cubicBezTo>
                      <a:pt x="2427320" y="5709638"/>
                      <a:pt x="2425594" y="5707911"/>
                      <a:pt x="2423621" y="5707911"/>
                    </a:cubicBezTo>
                    <a:cubicBezTo>
                      <a:pt x="2421649" y="5707911"/>
                      <a:pt x="2419922" y="5709638"/>
                      <a:pt x="2419922" y="5711611"/>
                    </a:cubicBezTo>
                    <a:cubicBezTo>
                      <a:pt x="2419922" y="5713583"/>
                      <a:pt x="2421649" y="5715307"/>
                      <a:pt x="2423621" y="5715307"/>
                    </a:cubicBezTo>
                    <a:cubicBezTo>
                      <a:pt x="2425594" y="5715307"/>
                      <a:pt x="2427320" y="5713583"/>
                      <a:pt x="2427320" y="5711611"/>
                    </a:cubicBezTo>
                    <a:close/>
                    <a:moveTo>
                      <a:pt x="2427320" y="7234708"/>
                    </a:moveTo>
                    <a:cubicBezTo>
                      <a:pt x="2427320" y="7232489"/>
                      <a:pt x="2425594" y="7230763"/>
                      <a:pt x="2423376" y="7230763"/>
                    </a:cubicBezTo>
                    <a:cubicBezTo>
                      <a:pt x="2421157" y="7230763"/>
                      <a:pt x="2419430" y="7232489"/>
                      <a:pt x="2419430" y="7234708"/>
                    </a:cubicBezTo>
                    <a:cubicBezTo>
                      <a:pt x="2419430" y="7236927"/>
                      <a:pt x="2421157" y="7238654"/>
                      <a:pt x="2423376" y="7238654"/>
                    </a:cubicBezTo>
                    <a:cubicBezTo>
                      <a:pt x="2425348" y="7238654"/>
                      <a:pt x="2427075" y="7236927"/>
                      <a:pt x="2427320" y="7234708"/>
                    </a:cubicBezTo>
                    <a:close/>
                    <a:moveTo>
                      <a:pt x="2427813" y="7452187"/>
                    </a:moveTo>
                    <a:cubicBezTo>
                      <a:pt x="2427813" y="7450213"/>
                      <a:pt x="2426335" y="7448735"/>
                      <a:pt x="2424359" y="7448735"/>
                    </a:cubicBezTo>
                    <a:cubicBezTo>
                      <a:pt x="2422386" y="7448735"/>
                      <a:pt x="2420908" y="7450213"/>
                      <a:pt x="2420908" y="7452187"/>
                    </a:cubicBezTo>
                    <a:cubicBezTo>
                      <a:pt x="2420908" y="7454162"/>
                      <a:pt x="2422386" y="7455639"/>
                      <a:pt x="2424359" y="7455639"/>
                    </a:cubicBezTo>
                    <a:cubicBezTo>
                      <a:pt x="2426335" y="7455639"/>
                      <a:pt x="2428058" y="7453913"/>
                      <a:pt x="2427813" y="7452187"/>
                    </a:cubicBezTo>
                    <a:close/>
                    <a:moveTo>
                      <a:pt x="2428553" y="7560682"/>
                    </a:moveTo>
                    <a:cubicBezTo>
                      <a:pt x="2428553" y="7558710"/>
                      <a:pt x="2426825" y="7556983"/>
                      <a:pt x="2424854" y="7556983"/>
                    </a:cubicBezTo>
                    <a:cubicBezTo>
                      <a:pt x="2422881" y="7556983"/>
                      <a:pt x="2421155" y="7558710"/>
                      <a:pt x="2421155" y="7560682"/>
                    </a:cubicBezTo>
                    <a:cubicBezTo>
                      <a:pt x="2421155" y="7562655"/>
                      <a:pt x="2422633" y="7564381"/>
                      <a:pt x="2424854" y="7564381"/>
                    </a:cubicBezTo>
                    <a:cubicBezTo>
                      <a:pt x="2426825" y="7564381"/>
                      <a:pt x="2428553" y="7562900"/>
                      <a:pt x="2428553" y="7560682"/>
                    </a:cubicBezTo>
                    <a:close/>
                    <a:moveTo>
                      <a:pt x="2428799" y="7343447"/>
                    </a:moveTo>
                    <a:cubicBezTo>
                      <a:pt x="2428799" y="7341229"/>
                      <a:pt x="2426825" y="7339256"/>
                      <a:pt x="2424608" y="7339256"/>
                    </a:cubicBezTo>
                    <a:cubicBezTo>
                      <a:pt x="2422389" y="7339256"/>
                      <a:pt x="2420417" y="7341229"/>
                      <a:pt x="2420417" y="7343447"/>
                    </a:cubicBezTo>
                    <a:cubicBezTo>
                      <a:pt x="2420417" y="7345915"/>
                      <a:pt x="2422389" y="7347638"/>
                      <a:pt x="2424608" y="7347638"/>
                    </a:cubicBezTo>
                    <a:cubicBezTo>
                      <a:pt x="2426825" y="7347638"/>
                      <a:pt x="2428553" y="7345667"/>
                      <a:pt x="2428799" y="7343447"/>
                    </a:cubicBezTo>
                    <a:close/>
                    <a:moveTo>
                      <a:pt x="2429292" y="4616816"/>
                    </a:moveTo>
                    <a:cubicBezTo>
                      <a:pt x="2429292" y="4609417"/>
                      <a:pt x="2423126" y="4603253"/>
                      <a:pt x="2415730" y="4603253"/>
                    </a:cubicBezTo>
                    <a:cubicBezTo>
                      <a:pt x="2408331" y="4603253"/>
                      <a:pt x="2402168" y="4609417"/>
                      <a:pt x="2402168" y="4616816"/>
                    </a:cubicBezTo>
                    <a:cubicBezTo>
                      <a:pt x="2402168" y="4624211"/>
                      <a:pt x="2408331" y="4630378"/>
                      <a:pt x="2415730" y="4630378"/>
                    </a:cubicBezTo>
                    <a:cubicBezTo>
                      <a:pt x="2423375" y="4630378"/>
                      <a:pt x="2429292" y="4624211"/>
                      <a:pt x="2429292" y="4616816"/>
                    </a:cubicBezTo>
                    <a:close/>
                    <a:moveTo>
                      <a:pt x="2434718" y="4168540"/>
                    </a:moveTo>
                    <a:cubicBezTo>
                      <a:pt x="2434718" y="4158184"/>
                      <a:pt x="2426088" y="4149553"/>
                      <a:pt x="2415730" y="4149553"/>
                    </a:cubicBezTo>
                    <a:cubicBezTo>
                      <a:pt x="2405129" y="4149553"/>
                      <a:pt x="2396745" y="4158184"/>
                      <a:pt x="2396745" y="4168540"/>
                    </a:cubicBezTo>
                    <a:cubicBezTo>
                      <a:pt x="2396745" y="4179143"/>
                      <a:pt x="2405376" y="4187525"/>
                      <a:pt x="2415730" y="4187525"/>
                    </a:cubicBezTo>
                    <a:cubicBezTo>
                      <a:pt x="2426088" y="4187525"/>
                      <a:pt x="2434470" y="4178897"/>
                      <a:pt x="2434718" y="4168540"/>
                    </a:cubicBezTo>
                    <a:close/>
                    <a:moveTo>
                      <a:pt x="2435211" y="3016541"/>
                    </a:moveTo>
                    <a:cubicBezTo>
                      <a:pt x="2435211" y="3000511"/>
                      <a:pt x="2422143" y="2987444"/>
                      <a:pt x="2406113" y="2987444"/>
                    </a:cubicBezTo>
                    <a:cubicBezTo>
                      <a:pt x="2390087" y="2987444"/>
                      <a:pt x="2377020" y="3000511"/>
                      <a:pt x="2377020" y="3016541"/>
                    </a:cubicBezTo>
                    <a:cubicBezTo>
                      <a:pt x="2377020" y="3032568"/>
                      <a:pt x="2390087" y="3045635"/>
                      <a:pt x="2406113" y="3045635"/>
                    </a:cubicBezTo>
                    <a:cubicBezTo>
                      <a:pt x="2422143" y="3045635"/>
                      <a:pt x="2435211" y="3032568"/>
                      <a:pt x="2435211" y="3016541"/>
                    </a:cubicBezTo>
                    <a:close/>
                    <a:moveTo>
                      <a:pt x="2436196" y="1897900"/>
                    </a:moveTo>
                    <a:cubicBezTo>
                      <a:pt x="2436196" y="1885822"/>
                      <a:pt x="2426580" y="1876207"/>
                      <a:pt x="2414744" y="1876207"/>
                    </a:cubicBezTo>
                    <a:cubicBezTo>
                      <a:pt x="2402663" y="1876207"/>
                      <a:pt x="2393046" y="1886066"/>
                      <a:pt x="2393046" y="1897900"/>
                    </a:cubicBezTo>
                    <a:cubicBezTo>
                      <a:pt x="2393046" y="1909979"/>
                      <a:pt x="2402909" y="1919594"/>
                      <a:pt x="2414744" y="1919594"/>
                    </a:cubicBezTo>
                    <a:cubicBezTo>
                      <a:pt x="2426580" y="1919594"/>
                      <a:pt x="2436196" y="1909979"/>
                      <a:pt x="2436196" y="1897900"/>
                    </a:cubicBezTo>
                    <a:close/>
                    <a:moveTo>
                      <a:pt x="2438910" y="4727035"/>
                    </a:moveTo>
                    <a:cubicBezTo>
                      <a:pt x="2438910" y="4714459"/>
                      <a:pt x="2428801" y="4704350"/>
                      <a:pt x="2416225" y="4704350"/>
                    </a:cubicBezTo>
                    <a:cubicBezTo>
                      <a:pt x="2403649" y="4704350"/>
                      <a:pt x="2393540" y="4714459"/>
                      <a:pt x="2393540" y="4727035"/>
                    </a:cubicBezTo>
                    <a:cubicBezTo>
                      <a:pt x="2393540" y="4739612"/>
                      <a:pt x="2403649" y="4749720"/>
                      <a:pt x="2416225" y="4749720"/>
                    </a:cubicBezTo>
                    <a:cubicBezTo>
                      <a:pt x="2428801" y="4749720"/>
                      <a:pt x="2438910" y="4739612"/>
                      <a:pt x="2438910" y="4727035"/>
                    </a:cubicBezTo>
                    <a:close/>
                    <a:moveTo>
                      <a:pt x="2439155" y="5165939"/>
                    </a:moveTo>
                    <a:cubicBezTo>
                      <a:pt x="2439155" y="5155828"/>
                      <a:pt x="2431017" y="5147445"/>
                      <a:pt x="2420662" y="5147445"/>
                    </a:cubicBezTo>
                    <a:cubicBezTo>
                      <a:pt x="2410552" y="5147445"/>
                      <a:pt x="2402168" y="5155582"/>
                      <a:pt x="2402168" y="5165939"/>
                    </a:cubicBezTo>
                    <a:cubicBezTo>
                      <a:pt x="2402168" y="5176048"/>
                      <a:pt x="2410305" y="5184434"/>
                      <a:pt x="2420662" y="5184434"/>
                    </a:cubicBezTo>
                    <a:cubicBezTo>
                      <a:pt x="2430771" y="5184434"/>
                      <a:pt x="2439155" y="5176048"/>
                      <a:pt x="2439155" y="5165939"/>
                    </a:cubicBezTo>
                    <a:close/>
                    <a:moveTo>
                      <a:pt x="2440389" y="1569739"/>
                    </a:moveTo>
                    <a:cubicBezTo>
                      <a:pt x="2440389" y="1554451"/>
                      <a:pt x="2427815" y="1541879"/>
                      <a:pt x="2412526" y="1541879"/>
                    </a:cubicBezTo>
                    <a:cubicBezTo>
                      <a:pt x="2397239" y="1541879"/>
                      <a:pt x="2384664" y="1554451"/>
                      <a:pt x="2384664" y="1569739"/>
                    </a:cubicBezTo>
                    <a:cubicBezTo>
                      <a:pt x="2384664" y="1585025"/>
                      <a:pt x="2397239" y="1597605"/>
                      <a:pt x="2412526" y="1597605"/>
                    </a:cubicBezTo>
                    <a:cubicBezTo>
                      <a:pt x="2427815" y="1597605"/>
                      <a:pt x="2440389" y="1585025"/>
                      <a:pt x="2440389" y="1569739"/>
                    </a:cubicBezTo>
                    <a:close/>
                    <a:moveTo>
                      <a:pt x="2444333" y="2007842"/>
                    </a:moveTo>
                    <a:cubicBezTo>
                      <a:pt x="2444333" y="1991570"/>
                      <a:pt x="2431263" y="1978505"/>
                      <a:pt x="2414990" y="1978505"/>
                    </a:cubicBezTo>
                    <a:cubicBezTo>
                      <a:pt x="2398715" y="1978505"/>
                      <a:pt x="2385647" y="1991570"/>
                      <a:pt x="2385647" y="2007842"/>
                    </a:cubicBezTo>
                    <a:cubicBezTo>
                      <a:pt x="2385647" y="2024114"/>
                      <a:pt x="2398715" y="2037183"/>
                      <a:pt x="2414990" y="2037183"/>
                    </a:cubicBezTo>
                    <a:cubicBezTo>
                      <a:pt x="2431263" y="2037183"/>
                      <a:pt x="2444333" y="2023869"/>
                      <a:pt x="2444333" y="2007842"/>
                    </a:cubicBezTo>
                    <a:close/>
                    <a:moveTo>
                      <a:pt x="2445073" y="2898927"/>
                    </a:moveTo>
                    <a:cubicBezTo>
                      <a:pt x="2445073" y="2878461"/>
                      <a:pt x="2428307" y="2861693"/>
                      <a:pt x="2407841" y="2861693"/>
                    </a:cubicBezTo>
                    <a:cubicBezTo>
                      <a:pt x="2387373" y="2861693"/>
                      <a:pt x="2370607" y="2878461"/>
                      <a:pt x="2370607" y="2898927"/>
                    </a:cubicBezTo>
                    <a:cubicBezTo>
                      <a:pt x="2370607" y="2919390"/>
                      <a:pt x="2387373" y="2936158"/>
                      <a:pt x="2407841" y="2936158"/>
                    </a:cubicBezTo>
                    <a:cubicBezTo>
                      <a:pt x="2428307" y="2936158"/>
                      <a:pt x="2445073" y="2919639"/>
                      <a:pt x="2445073" y="2898927"/>
                    </a:cubicBezTo>
                    <a:close/>
                    <a:moveTo>
                      <a:pt x="2445317" y="45879"/>
                    </a:moveTo>
                    <a:cubicBezTo>
                      <a:pt x="2445317" y="28126"/>
                      <a:pt x="2430771" y="13578"/>
                      <a:pt x="2413018" y="13578"/>
                    </a:cubicBezTo>
                    <a:cubicBezTo>
                      <a:pt x="2395265" y="13578"/>
                      <a:pt x="2380717" y="28126"/>
                      <a:pt x="2380717" y="45879"/>
                    </a:cubicBezTo>
                    <a:cubicBezTo>
                      <a:pt x="2380717" y="63631"/>
                      <a:pt x="2395265" y="78180"/>
                      <a:pt x="2413018" y="78180"/>
                    </a:cubicBezTo>
                    <a:cubicBezTo>
                      <a:pt x="2430771" y="78180"/>
                      <a:pt x="2445317" y="63631"/>
                      <a:pt x="2445317" y="45879"/>
                    </a:cubicBezTo>
                    <a:close/>
                    <a:moveTo>
                      <a:pt x="2445319" y="263308"/>
                    </a:moveTo>
                    <a:cubicBezTo>
                      <a:pt x="2445319" y="245803"/>
                      <a:pt x="2431017" y="231501"/>
                      <a:pt x="2413509" y="231501"/>
                    </a:cubicBezTo>
                    <a:cubicBezTo>
                      <a:pt x="2396004" y="231501"/>
                      <a:pt x="2381702" y="245803"/>
                      <a:pt x="2381702" y="263308"/>
                    </a:cubicBezTo>
                    <a:cubicBezTo>
                      <a:pt x="2381702" y="280814"/>
                      <a:pt x="2396004" y="295116"/>
                      <a:pt x="2413509" y="295116"/>
                    </a:cubicBezTo>
                    <a:cubicBezTo>
                      <a:pt x="2431017" y="295116"/>
                      <a:pt x="2445319" y="280814"/>
                      <a:pt x="2445319" y="263308"/>
                    </a:cubicBezTo>
                    <a:close/>
                    <a:moveTo>
                      <a:pt x="2445566" y="372023"/>
                    </a:moveTo>
                    <a:cubicBezTo>
                      <a:pt x="2445566" y="354518"/>
                      <a:pt x="2431266" y="340216"/>
                      <a:pt x="2413758" y="340216"/>
                    </a:cubicBezTo>
                    <a:cubicBezTo>
                      <a:pt x="2396498" y="340216"/>
                      <a:pt x="2382196" y="354518"/>
                      <a:pt x="2382196" y="372023"/>
                    </a:cubicBezTo>
                    <a:cubicBezTo>
                      <a:pt x="2382196" y="389285"/>
                      <a:pt x="2396251" y="403584"/>
                      <a:pt x="2413758" y="403584"/>
                    </a:cubicBezTo>
                    <a:cubicBezTo>
                      <a:pt x="2431266" y="403584"/>
                      <a:pt x="2445319" y="389285"/>
                      <a:pt x="2445566" y="372023"/>
                    </a:cubicBezTo>
                    <a:close/>
                    <a:moveTo>
                      <a:pt x="2447047" y="154592"/>
                    </a:moveTo>
                    <a:cubicBezTo>
                      <a:pt x="2447047" y="136099"/>
                      <a:pt x="2432007" y="121059"/>
                      <a:pt x="2413512" y="121059"/>
                    </a:cubicBezTo>
                    <a:cubicBezTo>
                      <a:pt x="2395018" y="121059"/>
                      <a:pt x="2379979" y="136099"/>
                      <a:pt x="2379979" y="154592"/>
                    </a:cubicBezTo>
                    <a:cubicBezTo>
                      <a:pt x="2379979" y="173085"/>
                      <a:pt x="2395018" y="188125"/>
                      <a:pt x="2413512" y="188125"/>
                    </a:cubicBezTo>
                    <a:cubicBezTo>
                      <a:pt x="2432007" y="188125"/>
                      <a:pt x="2447047" y="173085"/>
                      <a:pt x="2447047" y="154592"/>
                    </a:cubicBezTo>
                    <a:close/>
                    <a:moveTo>
                      <a:pt x="2448525" y="1460520"/>
                    </a:moveTo>
                    <a:cubicBezTo>
                      <a:pt x="2448525" y="1440549"/>
                      <a:pt x="2432251" y="1424276"/>
                      <a:pt x="2412277" y="1424276"/>
                    </a:cubicBezTo>
                    <a:cubicBezTo>
                      <a:pt x="2392551" y="1424276"/>
                      <a:pt x="2376279" y="1440549"/>
                      <a:pt x="2376279" y="1460520"/>
                    </a:cubicBezTo>
                    <a:cubicBezTo>
                      <a:pt x="2376279" y="1480491"/>
                      <a:pt x="2392305" y="1496769"/>
                      <a:pt x="2412277" y="1496769"/>
                    </a:cubicBezTo>
                    <a:cubicBezTo>
                      <a:pt x="2432251" y="1496769"/>
                      <a:pt x="2448525" y="1480491"/>
                      <a:pt x="2448525" y="1460520"/>
                    </a:cubicBezTo>
                    <a:close/>
                    <a:moveTo>
                      <a:pt x="2449019" y="1351545"/>
                    </a:moveTo>
                    <a:cubicBezTo>
                      <a:pt x="2449019" y="1331078"/>
                      <a:pt x="2432497" y="1314315"/>
                      <a:pt x="2411786" y="1314315"/>
                    </a:cubicBezTo>
                    <a:cubicBezTo>
                      <a:pt x="2391319" y="1314315"/>
                      <a:pt x="2374552" y="1331078"/>
                      <a:pt x="2374552" y="1351545"/>
                    </a:cubicBezTo>
                    <a:cubicBezTo>
                      <a:pt x="2374552" y="1372013"/>
                      <a:pt x="2391319" y="1388779"/>
                      <a:pt x="2411786" y="1388779"/>
                    </a:cubicBezTo>
                    <a:cubicBezTo>
                      <a:pt x="2432249" y="1388779"/>
                      <a:pt x="2449019" y="1372013"/>
                      <a:pt x="2449019" y="1351545"/>
                    </a:cubicBezTo>
                    <a:close/>
                    <a:moveTo>
                      <a:pt x="2449757" y="4946486"/>
                    </a:moveTo>
                    <a:cubicBezTo>
                      <a:pt x="2449757" y="4930213"/>
                      <a:pt x="2436442" y="4916896"/>
                      <a:pt x="2420167" y="4916896"/>
                    </a:cubicBezTo>
                    <a:cubicBezTo>
                      <a:pt x="2403895" y="4916896"/>
                      <a:pt x="2390579" y="4930213"/>
                      <a:pt x="2390579" y="4946486"/>
                    </a:cubicBezTo>
                    <a:cubicBezTo>
                      <a:pt x="2390579" y="4962761"/>
                      <a:pt x="2403895" y="4976074"/>
                      <a:pt x="2420167" y="4976074"/>
                    </a:cubicBezTo>
                    <a:cubicBezTo>
                      <a:pt x="2436442" y="4976074"/>
                      <a:pt x="2449757" y="4963007"/>
                      <a:pt x="2449757" y="4946486"/>
                    </a:cubicBezTo>
                    <a:close/>
                    <a:moveTo>
                      <a:pt x="2453705" y="4394651"/>
                    </a:moveTo>
                    <a:cubicBezTo>
                      <a:pt x="2453705" y="4373198"/>
                      <a:pt x="2436197" y="4355690"/>
                      <a:pt x="2414747" y="4355690"/>
                    </a:cubicBezTo>
                    <a:cubicBezTo>
                      <a:pt x="2393295" y="4355690"/>
                      <a:pt x="2375787" y="4373198"/>
                      <a:pt x="2375787" y="4394651"/>
                    </a:cubicBezTo>
                    <a:cubicBezTo>
                      <a:pt x="2375787" y="4416101"/>
                      <a:pt x="2393295" y="4433608"/>
                      <a:pt x="2414747" y="4433608"/>
                    </a:cubicBezTo>
                    <a:cubicBezTo>
                      <a:pt x="2436197" y="4433608"/>
                      <a:pt x="2453705" y="4416101"/>
                      <a:pt x="2453705" y="4394651"/>
                    </a:cubicBezTo>
                    <a:close/>
                    <a:moveTo>
                      <a:pt x="2459867" y="4506100"/>
                    </a:moveTo>
                    <a:cubicBezTo>
                      <a:pt x="2459867" y="4481442"/>
                      <a:pt x="2439893" y="4461470"/>
                      <a:pt x="2415236" y="4461470"/>
                    </a:cubicBezTo>
                    <a:cubicBezTo>
                      <a:pt x="2390579" y="4461470"/>
                      <a:pt x="2370607" y="4481442"/>
                      <a:pt x="2370607" y="4506100"/>
                    </a:cubicBezTo>
                    <a:cubicBezTo>
                      <a:pt x="2370607" y="4530757"/>
                      <a:pt x="2390579" y="4550732"/>
                      <a:pt x="2415236" y="4550732"/>
                    </a:cubicBezTo>
                    <a:cubicBezTo>
                      <a:pt x="2439893" y="4550732"/>
                      <a:pt x="2459867" y="4530511"/>
                      <a:pt x="2459867" y="4506100"/>
                    </a:cubicBezTo>
                    <a:close/>
                    <a:moveTo>
                      <a:pt x="2463565" y="4282455"/>
                    </a:moveTo>
                    <a:cubicBezTo>
                      <a:pt x="2463565" y="4255580"/>
                      <a:pt x="2441620" y="4233634"/>
                      <a:pt x="2414744" y="4233634"/>
                    </a:cubicBezTo>
                    <a:cubicBezTo>
                      <a:pt x="2387865" y="4233634"/>
                      <a:pt x="2365921" y="4255580"/>
                      <a:pt x="2365921" y="4282455"/>
                    </a:cubicBezTo>
                    <a:cubicBezTo>
                      <a:pt x="2365921" y="4309333"/>
                      <a:pt x="2387865" y="4331279"/>
                      <a:pt x="2414744" y="4331279"/>
                    </a:cubicBezTo>
                    <a:cubicBezTo>
                      <a:pt x="2441620" y="4331279"/>
                      <a:pt x="2463565" y="4309333"/>
                      <a:pt x="2463565" y="4282455"/>
                    </a:cubicBezTo>
                    <a:close/>
                    <a:moveTo>
                      <a:pt x="2465292" y="4837253"/>
                    </a:moveTo>
                    <a:cubicBezTo>
                      <a:pt x="2465292" y="4810622"/>
                      <a:pt x="2443593" y="4788923"/>
                      <a:pt x="2416963" y="4788923"/>
                    </a:cubicBezTo>
                    <a:cubicBezTo>
                      <a:pt x="2390333" y="4788923"/>
                      <a:pt x="2368634" y="4810622"/>
                      <a:pt x="2368634" y="4837253"/>
                    </a:cubicBezTo>
                    <a:cubicBezTo>
                      <a:pt x="2368634" y="4863884"/>
                      <a:pt x="2390333" y="4885582"/>
                      <a:pt x="2416963" y="4885582"/>
                    </a:cubicBezTo>
                    <a:cubicBezTo>
                      <a:pt x="2443593" y="4885582"/>
                      <a:pt x="2465292" y="4863884"/>
                      <a:pt x="2465292" y="4837253"/>
                    </a:cubicBezTo>
                    <a:close/>
                    <a:moveTo>
                      <a:pt x="2466033" y="3173113"/>
                    </a:moveTo>
                    <a:cubicBezTo>
                      <a:pt x="2466033" y="3163498"/>
                      <a:pt x="2458388" y="3155854"/>
                      <a:pt x="2448771" y="3155854"/>
                    </a:cubicBezTo>
                    <a:cubicBezTo>
                      <a:pt x="2439156" y="3155854"/>
                      <a:pt x="2431512" y="3163498"/>
                      <a:pt x="2431512" y="3173113"/>
                    </a:cubicBezTo>
                    <a:cubicBezTo>
                      <a:pt x="2431512" y="3182730"/>
                      <a:pt x="2439156" y="3190375"/>
                      <a:pt x="2448771" y="3190375"/>
                    </a:cubicBezTo>
                    <a:cubicBezTo>
                      <a:pt x="2458388" y="3190375"/>
                      <a:pt x="2466033" y="3182730"/>
                      <a:pt x="2466033" y="3173113"/>
                    </a:cubicBezTo>
                    <a:close/>
                    <a:moveTo>
                      <a:pt x="2477868" y="2239122"/>
                    </a:moveTo>
                    <a:cubicBezTo>
                      <a:pt x="2477868" y="2234683"/>
                      <a:pt x="2474170" y="2230985"/>
                      <a:pt x="2469730" y="2230985"/>
                    </a:cubicBezTo>
                    <a:cubicBezTo>
                      <a:pt x="2465292" y="2230985"/>
                      <a:pt x="2461593" y="2234683"/>
                      <a:pt x="2461593" y="2239122"/>
                    </a:cubicBezTo>
                    <a:cubicBezTo>
                      <a:pt x="2461593" y="2243565"/>
                      <a:pt x="2465292" y="2247265"/>
                      <a:pt x="2469730" y="2247265"/>
                    </a:cubicBezTo>
                    <a:cubicBezTo>
                      <a:pt x="2474170" y="2247265"/>
                      <a:pt x="2477868" y="2243565"/>
                      <a:pt x="2477868" y="2239122"/>
                    </a:cubicBezTo>
                    <a:close/>
                    <a:moveTo>
                      <a:pt x="2485758" y="2127922"/>
                    </a:moveTo>
                    <a:cubicBezTo>
                      <a:pt x="2485758" y="2119044"/>
                      <a:pt x="2478608" y="2111649"/>
                      <a:pt x="2469486" y="2111649"/>
                    </a:cubicBezTo>
                    <a:cubicBezTo>
                      <a:pt x="2460610" y="2111649"/>
                      <a:pt x="2453210" y="2118799"/>
                      <a:pt x="2453210" y="2127922"/>
                    </a:cubicBezTo>
                    <a:cubicBezTo>
                      <a:pt x="2453210" y="2136800"/>
                      <a:pt x="2460360" y="2144197"/>
                      <a:pt x="2469486" y="2144197"/>
                    </a:cubicBezTo>
                    <a:cubicBezTo>
                      <a:pt x="2478363" y="2144197"/>
                      <a:pt x="2485758" y="2137048"/>
                      <a:pt x="2485758" y="2127922"/>
                    </a:cubicBezTo>
                    <a:close/>
                    <a:moveTo>
                      <a:pt x="2486005" y="2690825"/>
                    </a:moveTo>
                    <a:cubicBezTo>
                      <a:pt x="2486005" y="2682195"/>
                      <a:pt x="2478855" y="2675045"/>
                      <a:pt x="2470224" y="2675045"/>
                    </a:cubicBezTo>
                    <a:cubicBezTo>
                      <a:pt x="2461593" y="2675045"/>
                      <a:pt x="2454443" y="2682195"/>
                      <a:pt x="2454443" y="2690825"/>
                    </a:cubicBezTo>
                    <a:cubicBezTo>
                      <a:pt x="2454443" y="2699455"/>
                      <a:pt x="2461593" y="2706605"/>
                      <a:pt x="2470224" y="2706605"/>
                    </a:cubicBezTo>
                    <a:cubicBezTo>
                      <a:pt x="2479101" y="2706605"/>
                      <a:pt x="2486250" y="2699702"/>
                      <a:pt x="2486005" y="2690825"/>
                    </a:cubicBezTo>
                    <a:close/>
                    <a:moveTo>
                      <a:pt x="2493897" y="2806710"/>
                    </a:moveTo>
                    <a:cubicBezTo>
                      <a:pt x="2493897" y="2793147"/>
                      <a:pt x="2482553" y="2782053"/>
                      <a:pt x="2469239" y="2782053"/>
                    </a:cubicBezTo>
                    <a:cubicBezTo>
                      <a:pt x="2455923" y="2782053"/>
                      <a:pt x="2444828" y="2793147"/>
                      <a:pt x="2444828" y="2806710"/>
                    </a:cubicBezTo>
                    <a:cubicBezTo>
                      <a:pt x="2444828" y="2820272"/>
                      <a:pt x="2455678" y="2831368"/>
                      <a:pt x="2469239" y="2831368"/>
                    </a:cubicBezTo>
                    <a:cubicBezTo>
                      <a:pt x="2482800" y="2831368"/>
                      <a:pt x="2493648" y="2820519"/>
                      <a:pt x="2493897" y="2806710"/>
                    </a:cubicBezTo>
                    <a:close/>
                    <a:moveTo>
                      <a:pt x="2496115" y="2350817"/>
                    </a:moveTo>
                    <a:cubicBezTo>
                      <a:pt x="2496115" y="2336514"/>
                      <a:pt x="2484525" y="2324921"/>
                      <a:pt x="2470223" y="2324921"/>
                    </a:cubicBezTo>
                    <a:cubicBezTo>
                      <a:pt x="2455923" y="2324921"/>
                      <a:pt x="2444333" y="2336514"/>
                      <a:pt x="2444333" y="2350817"/>
                    </a:cubicBezTo>
                    <a:cubicBezTo>
                      <a:pt x="2444333" y="2365119"/>
                      <a:pt x="2455923" y="2376702"/>
                      <a:pt x="2470223" y="2376702"/>
                    </a:cubicBezTo>
                    <a:cubicBezTo>
                      <a:pt x="2484525" y="2376702"/>
                      <a:pt x="2496115" y="2365119"/>
                      <a:pt x="2496115" y="2350817"/>
                    </a:cubicBezTo>
                    <a:close/>
                    <a:moveTo>
                      <a:pt x="2503266" y="2576419"/>
                    </a:moveTo>
                    <a:cubicBezTo>
                      <a:pt x="2503266" y="2558420"/>
                      <a:pt x="2488717" y="2543871"/>
                      <a:pt x="2470718" y="2543871"/>
                    </a:cubicBezTo>
                    <a:cubicBezTo>
                      <a:pt x="2452719" y="2543871"/>
                      <a:pt x="2438170" y="2558420"/>
                      <a:pt x="2438170" y="2576419"/>
                    </a:cubicBezTo>
                    <a:cubicBezTo>
                      <a:pt x="2438170" y="2594418"/>
                      <a:pt x="2452719" y="2608967"/>
                      <a:pt x="2470718" y="2608967"/>
                    </a:cubicBezTo>
                    <a:cubicBezTo>
                      <a:pt x="2488717" y="2608967"/>
                      <a:pt x="2503266" y="2594418"/>
                      <a:pt x="2503266" y="2576419"/>
                    </a:cubicBezTo>
                    <a:close/>
                    <a:moveTo>
                      <a:pt x="2504745" y="1030551"/>
                    </a:moveTo>
                    <a:cubicBezTo>
                      <a:pt x="2504745" y="1012060"/>
                      <a:pt x="2489703" y="997018"/>
                      <a:pt x="2471210" y="997018"/>
                    </a:cubicBezTo>
                    <a:cubicBezTo>
                      <a:pt x="2452716" y="997018"/>
                      <a:pt x="2437675" y="1012060"/>
                      <a:pt x="2437675" y="1030551"/>
                    </a:cubicBezTo>
                    <a:cubicBezTo>
                      <a:pt x="2437675" y="1049044"/>
                      <a:pt x="2452716" y="1064087"/>
                      <a:pt x="2471210" y="1064087"/>
                    </a:cubicBezTo>
                    <a:cubicBezTo>
                      <a:pt x="2489458" y="1064087"/>
                      <a:pt x="2504498" y="1049044"/>
                      <a:pt x="2504745" y="1030551"/>
                    </a:cubicBezTo>
                    <a:close/>
                    <a:moveTo>
                      <a:pt x="2505485" y="812613"/>
                    </a:moveTo>
                    <a:cubicBezTo>
                      <a:pt x="2505485" y="793869"/>
                      <a:pt x="2490443" y="778832"/>
                      <a:pt x="2471704" y="778832"/>
                    </a:cubicBezTo>
                    <a:cubicBezTo>
                      <a:pt x="2453210" y="778832"/>
                      <a:pt x="2437924" y="793869"/>
                      <a:pt x="2437924" y="812613"/>
                    </a:cubicBezTo>
                    <a:cubicBezTo>
                      <a:pt x="2437924" y="831353"/>
                      <a:pt x="2453210" y="846395"/>
                      <a:pt x="2471704" y="846395"/>
                    </a:cubicBezTo>
                    <a:cubicBezTo>
                      <a:pt x="2490198" y="846395"/>
                      <a:pt x="2505485" y="831108"/>
                      <a:pt x="2505485" y="812613"/>
                    </a:cubicBezTo>
                    <a:close/>
                    <a:moveTo>
                      <a:pt x="2507457" y="485429"/>
                    </a:moveTo>
                    <a:cubicBezTo>
                      <a:pt x="2507457" y="465212"/>
                      <a:pt x="2490938" y="448691"/>
                      <a:pt x="2470717" y="448691"/>
                    </a:cubicBezTo>
                    <a:cubicBezTo>
                      <a:pt x="2450500" y="448691"/>
                      <a:pt x="2433978" y="465212"/>
                      <a:pt x="2433978" y="485429"/>
                    </a:cubicBezTo>
                    <a:cubicBezTo>
                      <a:pt x="2433978" y="505648"/>
                      <a:pt x="2450500" y="522166"/>
                      <a:pt x="2470717" y="522166"/>
                    </a:cubicBezTo>
                    <a:cubicBezTo>
                      <a:pt x="2490938" y="522166"/>
                      <a:pt x="2507457" y="505648"/>
                      <a:pt x="2507457" y="485429"/>
                    </a:cubicBezTo>
                    <a:close/>
                    <a:moveTo>
                      <a:pt x="2507703" y="921577"/>
                    </a:moveTo>
                    <a:cubicBezTo>
                      <a:pt x="2507703" y="901354"/>
                      <a:pt x="2491183" y="884840"/>
                      <a:pt x="2470963" y="884840"/>
                    </a:cubicBezTo>
                    <a:cubicBezTo>
                      <a:pt x="2450745" y="884840"/>
                      <a:pt x="2434225" y="901354"/>
                      <a:pt x="2434225" y="921577"/>
                    </a:cubicBezTo>
                    <a:cubicBezTo>
                      <a:pt x="2434225" y="941554"/>
                      <a:pt x="2450745" y="958077"/>
                      <a:pt x="2470963" y="958077"/>
                    </a:cubicBezTo>
                    <a:cubicBezTo>
                      <a:pt x="2491183" y="958077"/>
                      <a:pt x="2507703" y="941803"/>
                      <a:pt x="2507703" y="921577"/>
                    </a:cubicBezTo>
                    <a:close/>
                    <a:moveTo>
                      <a:pt x="2507704" y="2463000"/>
                    </a:moveTo>
                    <a:cubicBezTo>
                      <a:pt x="2507704" y="2442533"/>
                      <a:pt x="2490936" y="2425765"/>
                      <a:pt x="2470470" y="2425765"/>
                    </a:cubicBezTo>
                    <a:cubicBezTo>
                      <a:pt x="2449757" y="2425765"/>
                      <a:pt x="2432990" y="2442533"/>
                      <a:pt x="2432990" y="2463000"/>
                    </a:cubicBezTo>
                    <a:cubicBezTo>
                      <a:pt x="2432990" y="2483711"/>
                      <a:pt x="2449757" y="2500479"/>
                      <a:pt x="2470470" y="2500479"/>
                    </a:cubicBezTo>
                    <a:cubicBezTo>
                      <a:pt x="2491182" y="2500479"/>
                      <a:pt x="2507949" y="2483711"/>
                      <a:pt x="2507704" y="2463000"/>
                    </a:cubicBezTo>
                    <a:close/>
                    <a:moveTo>
                      <a:pt x="2508196" y="594393"/>
                    </a:moveTo>
                    <a:cubicBezTo>
                      <a:pt x="2508196" y="573928"/>
                      <a:pt x="2491430" y="557161"/>
                      <a:pt x="2470964" y="557161"/>
                    </a:cubicBezTo>
                    <a:cubicBezTo>
                      <a:pt x="2450497" y="557161"/>
                      <a:pt x="2433730" y="573928"/>
                      <a:pt x="2433730" y="594393"/>
                    </a:cubicBezTo>
                    <a:cubicBezTo>
                      <a:pt x="2433730" y="614859"/>
                      <a:pt x="2450497" y="631626"/>
                      <a:pt x="2470964" y="631626"/>
                    </a:cubicBezTo>
                    <a:cubicBezTo>
                      <a:pt x="2491430" y="631626"/>
                      <a:pt x="2508196" y="614859"/>
                      <a:pt x="2508196" y="594393"/>
                    </a:cubicBezTo>
                    <a:close/>
                    <a:moveTo>
                      <a:pt x="2509922" y="703398"/>
                    </a:moveTo>
                    <a:cubicBezTo>
                      <a:pt x="2509922" y="682190"/>
                      <a:pt x="2492660" y="664931"/>
                      <a:pt x="2471455" y="664931"/>
                    </a:cubicBezTo>
                    <a:cubicBezTo>
                      <a:pt x="2450251" y="664931"/>
                      <a:pt x="2432990" y="682190"/>
                      <a:pt x="2432990" y="703398"/>
                    </a:cubicBezTo>
                    <a:cubicBezTo>
                      <a:pt x="2432990" y="724600"/>
                      <a:pt x="2450251" y="741868"/>
                      <a:pt x="2471455" y="741868"/>
                    </a:cubicBezTo>
                    <a:cubicBezTo>
                      <a:pt x="2492414" y="741868"/>
                      <a:pt x="2509674" y="724600"/>
                      <a:pt x="2509922" y="703398"/>
                    </a:cubicBezTo>
                    <a:close/>
                    <a:moveTo>
                      <a:pt x="2511648" y="1140015"/>
                    </a:moveTo>
                    <a:cubicBezTo>
                      <a:pt x="2511648" y="1117818"/>
                      <a:pt x="2493648" y="1099821"/>
                      <a:pt x="2471458" y="1099821"/>
                    </a:cubicBezTo>
                    <a:cubicBezTo>
                      <a:pt x="2449264" y="1099821"/>
                      <a:pt x="2431266" y="1117818"/>
                      <a:pt x="2431266" y="1140015"/>
                    </a:cubicBezTo>
                    <a:cubicBezTo>
                      <a:pt x="2431266" y="1162207"/>
                      <a:pt x="2449264" y="1180206"/>
                      <a:pt x="2471458" y="1180206"/>
                    </a:cubicBezTo>
                    <a:cubicBezTo>
                      <a:pt x="2493648" y="1180206"/>
                      <a:pt x="2511648" y="1162207"/>
                      <a:pt x="2511648" y="1140015"/>
                    </a:cubicBezTo>
                    <a:close/>
                    <a:moveTo>
                      <a:pt x="2512142" y="1248984"/>
                    </a:moveTo>
                    <a:cubicBezTo>
                      <a:pt x="2512142" y="1226301"/>
                      <a:pt x="2493897" y="1207807"/>
                      <a:pt x="2471212" y="1207807"/>
                    </a:cubicBezTo>
                    <a:cubicBezTo>
                      <a:pt x="2448773" y="1207807"/>
                      <a:pt x="2430280" y="1226301"/>
                      <a:pt x="2430280" y="1248984"/>
                    </a:cubicBezTo>
                    <a:cubicBezTo>
                      <a:pt x="2430280" y="1271667"/>
                      <a:pt x="2448527" y="1290163"/>
                      <a:pt x="2471212" y="1290163"/>
                    </a:cubicBezTo>
                    <a:cubicBezTo>
                      <a:pt x="2493897" y="1290163"/>
                      <a:pt x="2512388" y="1271913"/>
                      <a:pt x="2512142" y="1248984"/>
                    </a:cubicBezTo>
                    <a:close/>
                    <a:moveTo>
                      <a:pt x="2512633" y="4004567"/>
                    </a:moveTo>
                    <a:cubicBezTo>
                      <a:pt x="2512633" y="4003581"/>
                      <a:pt x="2511648" y="4002594"/>
                      <a:pt x="2510661" y="4002594"/>
                    </a:cubicBezTo>
                    <a:cubicBezTo>
                      <a:pt x="2509674" y="4002594"/>
                      <a:pt x="2508689" y="4003581"/>
                      <a:pt x="2508689" y="4004567"/>
                    </a:cubicBezTo>
                    <a:cubicBezTo>
                      <a:pt x="2508689" y="4005799"/>
                      <a:pt x="2509674" y="4006539"/>
                      <a:pt x="2510661" y="4006539"/>
                    </a:cubicBezTo>
                    <a:cubicBezTo>
                      <a:pt x="2511893" y="4006539"/>
                      <a:pt x="2512879" y="4005799"/>
                      <a:pt x="2512633" y="4004567"/>
                    </a:cubicBezTo>
                    <a:close/>
                    <a:moveTo>
                      <a:pt x="2518552" y="3877579"/>
                    </a:moveTo>
                    <a:cubicBezTo>
                      <a:pt x="2518552" y="3868948"/>
                      <a:pt x="2511648" y="3862043"/>
                      <a:pt x="2503020" y="3862043"/>
                    </a:cubicBezTo>
                    <a:cubicBezTo>
                      <a:pt x="2494389" y="3862043"/>
                      <a:pt x="2487484" y="3868948"/>
                      <a:pt x="2487484" y="3877579"/>
                    </a:cubicBezTo>
                    <a:cubicBezTo>
                      <a:pt x="2487484" y="3886207"/>
                      <a:pt x="2494389" y="3893111"/>
                      <a:pt x="2503020" y="3893111"/>
                    </a:cubicBezTo>
                    <a:cubicBezTo>
                      <a:pt x="2511648" y="3893111"/>
                      <a:pt x="2518552" y="3886207"/>
                      <a:pt x="2518552" y="3877579"/>
                    </a:cubicBezTo>
                    <a:close/>
                    <a:moveTo>
                      <a:pt x="2521757" y="3077445"/>
                    </a:moveTo>
                    <a:cubicBezTo>
                      <a:pt x="2521757" y="3066841"/>
                      <a:pt x="2513374" y="3058459"/>
                      <a:pt x="2503017" y="3058459"/>
                    </a:cubicBezTo>
                    <a:cubicBezTo>
                      <a:pt x="2492414" y="3058459"/>
                      <a:pt x="2484031" y="3067089"/>
                      <a:pt x="2484031" y="3077445"/>
                    </a:cubicBezTo>
                    <a:cubicBezTo>
                      <a:pt x="2484031" y="3088048"/>
                      <a:pt x="2492662" y="3096430"/>
                      <a:pt x="2503017" y="3096430"/>
                    </a:cubicBezTo>
                    <a:cubicBezTo>
                      <a:pt x="2513620" y="3096430"/>
                      <a:pt x="2522003" y="3088048"/>
                      <a:pt x="2521757" y="3077445"/>
                    </a:cubicBezTo>
                    <a:close/>
                    <a:moveTo>
                      <a:pt x="2531375" y="3259907"/>
                    </a:moveTo>
                    <a:cubicBezTo>
                      <a:pt x="2531375" y="3255714"/>
                      <a:pt x="2527923" y="3252263"/>
                      <a:pt x="2523732" y="3252263"/>
                    </a:cubicBezTo>
                    <a:cubicBezTo>
                      <a:pt x="2519784" y="3252263"/>
                      <a:pt x="2516333" y="3255714"/>
                      <a:pt x="2516333" y="3259907"/>
                    </a:cubicBezTo>
                    <a:cubicBezTo>
                      <a:pt x="2516333" y="3264098"/>
                      <a:pt x="2519538" y="3267549"/>
                      <a:pt x="2523732" y="3267549"/>
                    </a:cubicBezTo>
                    <a:cubicBezTo>
                      <a:pt x="2527923" y="3267549"/>
                      <a:pt x="2531375" y="3264098"/>
                      <a:pt x="2531375" y="3259907"/>
                    </a:cubicBezTo>
                    <a:close/>
                    <a:moveTo>
                      <a:pt x="2531620" y="1697207"/>
                    </a:moveTo>
                    <a:cubicBezTo>
                      <a:pt x="2531620" y="1695235"/>
                      <a:pt x="2529896" y="1693511"/>
                      <a:pt x="2527923" y="1693511"/>
                    </a:cubicBezTo>
                    <a:cubicBezTo>
                      <a:pt x="2525951" y="1693511"/>
                      <a:pt x="2524224" y="1695235"/>
                      <a:pt x="2524224" y="1697207"/>
                    </a:cubicBezTo>
                    <a:cubicBezTo>
                      <a:pt x="2524224" y="1699181"/>
                      <a:pt x="2525951" y="1700905"/>
                      <a:pt x="2527923" y="1700905"/>
                    </a:cubicBezTo>
                    <a:cubicBezTo>
                      <a:pt x="2530142" y="1700905"/>
                      <a:pt x="2531620" y="1699427"/>
                      <a:pt x="2531620" y="1697207"/>
                    </a:cubicBezTo>
                    <a:close/>
                    <a:moveTo>
                      <a:pt x="2535073" y="5035007"/>
                    </a:moveTo>
                    <a:cubicBezTo>
                      <a:pt x="2535073" y="5034758"/>
                      <a:pt x="2534828" y="5034512"/>
                      <a:pt x="2534582" y="5034512"/>
                    </a:cubicBezTo>
                    <a:cubicBezTo>
                      <a:pt x="2534333" y="5034512"/>
                      <a:pt x="2534088" y="5034758"/>
                      <a:pt x="2534088" y="5035007"/>
                    </a:cubicBezTo>
                    <a:cubicBezTo>
                      <a:pt x="2534088" y="5035253"/>
                      <a:pt x="2534333" y="5035499"/>
                      <a:pt x="2534582" y="5035499"/>
                    </a:cubicBezTo>
                    <a:cubicBezTo>
                      <a:pt x="2534828" y="5035499"/>
                      <a:pt x="2535073" y="5035253"/>
                      <a:pt x="2535073" y="5035007"/>
                    </a:cubicBezTo>
                    <a:close/>
                    <a:moveTo>
                      <a:pt x="2536554" y="5256431"/>
                    </a:moveTo>
                    <a:cubicBezTo>
                      <a:pt x="2536554" y="5255938"/>
                      <a:pt x="2536059" y="5255444"/>
                      <a:pt x="2535568" y="5255444"/>
                    </a:cubicBezTo>
                    <a:cubicBezTo>
                      <a:pt x="2535073" y="5255444"/>
                      <a:pt x="2534582" y="5255938"/>
                      <a:pt x="2534582" y="5256431"/>
                    </a:cubicBezTo>
                    <a:cubicBezTo>
                      <a:pt x="2534582" y="5256925"/>
                      <a:pt x="2535073" y="5257416"/>
                      <a:pt x="2535568" y="5257416"/>
                    </a:cubicBezTo>
                    <a:cubicBezTo>
                      <a:pt x="2536309" y="5257416"/>
                      <a:pt x="2536799" y="5256925"/>
                      <a:pt x="2536554" y="5256431"/>
                    </a:cubicBezTo>
                    <a:close/>
                    <a:moveTo>
                      <a:pt x="2537787" y="5476869"/>
                    </a:moveTo>
                    <a:cubicBezTo>
                      <a:pt x="2537787" y="5476131"/>
                      <a:pt x="2537047" y="5475390"/>
                      <a:pt x="2536306" y="5475390"/>
                    </a:cubicBezTo>
                    <a:cubicBezTo>
                      <a:pt x="2535568" y="5475390"/>
                      <a:pt x="2534828" y="5476131"/>
                      <a:pt x="2534828" y="5476869"/>
                    </a:cubicBezTo>
                    <a:cubicBezTo>
                      <a:pt x="2534828" y="5477609"/>
                      <a:pt x="2535568" y="5478350"/>
                      <a:pt x="2536306" y="5478350"/>
                    </a:cubicBezTo>
                    <a:cubicBezTo>
                      <a:pt x="2537047" y="5478350"/>
                      <a:pt x="2537787" y="5477609"/>
                      <a:pt x="2537787" y="5476869"/>
                    </a:cubicBezTo>
                    <a:close/>
                    <a:moveTo>
                      <a:pt x="2538278" y="6134981"/>
                    </a:moveTo>
                    <a:cubicBezTo>
                      <a:pt x="2538278" y="6133749"/>
                      <a:pt x="2537293" y="6132762"/>
                      <a:pt x="2536059" y="6132762"/>
                    </a:cubicBezTo>
                    <a:cubicBezTo>
                      <a:pt x="2534580" y="6132762"/>
                      <a:pt x="2533593" y="6133749"/>
                      <a:pt x="2533593" y="6134981"/>
                    </a:cubicBezTo>
                    <a:cubicBezTo>
                      <a:pt x="2533593" y="6136462"/>
                      <a:pt x="2534825" y="6137448"/>
                      <a:pt x="2536059" y="6137448"/>
                    </a:cubicBezTo>
                    <a:cubicBezTo>
                      <a:pt x="2537293" y="6137448"/>
                      <a:pt x="2538278" y="6136462"/>
                      <a:pt x="2538278" y="6134981"/>
                    </a:cubicBezTo>
                    <a:close/>
                    <a:moveTo>
                      <a:pt x="2538278" y="6244464"/>
                    </a:moveTo>
                    <a:cubicBezTo>
                      <a:pt x="2538278" y="6242983"/>
                      <a:pt x="2537293" y="6241996"/>
                      <a:pt x="2536059" y="6241996"/>
                    </a:cubicBezTo>
                    <a:cubicBezTo>
                      <a:pt x="2534580" y="6241996"/>
                      <a:pt x="2533593" y="6243228"/>
                      <a:pt x="2533593" y="6244464"/>
                    </a:cubicBezTo>
                    <a:cubicBezTo>
                      <a:pt x="2533593" y="6245696"/>
                      <a:pt x="2534825" y="6246682"/>
                      <a:pt x="2536059" y="6246682"/>
                    </a:cubicBezTo>
                    <a:cubicBezTo>
                      <a:pt x="2537293" y="6246682"/>
                      <a:pt x="2538278" y="6245696"/>
                      <a:pt x="2538278" y="6244464"/>
                    </a:cubicBezTo>
                    <a:close/>
                    <a:moveTo>
                      <a:pt x="2538278" y="6462928"/>
                    </a:moveTo>
                    <a:cubicBezTo>
                      <a:pt x="2538278" y="6461941"/>
                      <a:pt x="2537537" y="6460954"/>
                      <a:pt x="2536306" y="6460954"/>
                    </a:cubicBezTo>
                    <a:cubicBezTo>
                      <a:pt x="2535319" y="6460954"/>
                      <a:pt x="2534333" y="6461695"/>
                      <a:pt x="2534333" y="6462928"/>
                    </a:cubicBezTo>
                    <a:cubicBezTo>
                      <a:pt x="2534333" y="6463913"/>
                      <a:pt x="2535319" y="6464900"/>
                      <a:pt x="2536306" y="6464900"/>
                    </a:cubicBezTo>
                    <a:cubicBezTo>
                      <a:pt x="2537292" y="6464900"/>
                      <a:pt x="2538278" y="6463913"/>
                      <a:pt x="2538278" y="6462928"/>
                    </a:cubicBezTo>
                    <a:close/>
                    <a:moveTo>
                      <a:pt x="2538280" y="6353447"/>
                    </a:moveTo>
                    <a:cubicBezTo>
                      <a:pt x="2538280" y="6352462"/>
                      <a:pt x="2537295" y="6351721"/>
                      <a:pt x="2536309" y="6351721"/>
                    </a:cubicBezTo>
                    <a:cubicBezTo>
                      <a:pt x="2535322" y="6351721"/>
                      <a:pt x="2534582" y="6352462"/>
                      <a:pt x="2534582" y="6353447"/>
                    </a:cubicBezTo>
                    <a:cubicBezTo>
                      <a:pt x="2534582" y="6354680"/>
                      <a:pt x="2535322" y="6355421"/>
                      <a:pt x="2536309" y="6355421"/>
                    </a:cubicBezTo>
                    <a:cubicBezTo>
                      <a:pt x="2537295" y="6355421"/>
                      <a:pt x="2538032" y="6354680"/>
                      <a:pt x="2538280" y="6353447"/>
                    </a:cubicBezTo>
                    <a:close/>
                    <a:moveTo>
                      <a:pt x="2540251" y="6790134"/>
                    </a:moveTo>
                    <a:cubicBezTo>
                      <a:pt x="2540251" y="6788899"/>
                      <a:pt x="2539265" y="6787667"/>
                      <a:pt x="2537785" y="6787667"/>
                    </a:cubicBezTo>
                    <a:cubicBezTo>
                      <a:pt x="2536306" y="6787667"/>
                      <a:pt x="2535319" y="6788653"/>
                      <a:pt x="2535319" y="6790134"/>
                    </a:cubicBezTo>
                    <a:cubicBezTo>
                      <a:pt x="2535319" y="6791612"/>
                      <a:pt x="2536306" y="6792599"/>
                      <a:pt x="2537785" y="6792599"/>
                    </a:cubicBezTo>
                    <a:cubicBezTo>
                      <a:pt x="2539265" y="6792599"/>
                      <a:pt x="2540251" y="6791366"/>
                      <a:pt x="2540251" y="6790134"/>
                    </a:cubicBezTo>
                    <a:close/>
                    <a:moveTo>
                      <a:pt x="2540499" y="6025256"/>
                    </a:moveTo>
                    <a:cubicBezTo>
                      <a:pt x="2540499" y="6023528"/>
                      <a:pt x="2539018" y="6022296"/>
                      <a:pt x="2537540" y="6022296"/>
                    </a:cubicBezTo>
                    <a:cubicBezTo>
                      <a:pt x="2535814" y="6022296"/>
                      <a:pt x="2534582" y="6023775"/>
                      <a:pt x="2534582" y="6025256"/>
                    </a:cubicBezTo>
                    <a:cubicBezTo>
                      <a:pt x="2534582" y="6026982"/>
                      <a:pt x="2536059" y="6028214"/>
                      <a:pt x="2537540" y="6028214"/>
                    </a:cubicBezTo>
                    <a:cubicBezTo>
                      <a:pt x="2539018" y="6028214"/>
                      <a:pt x="2540254" y="6026982"/>
                      <a:pt x="2540499" y="6025256"/>
                    </a:cubicBezTo>
                    <a:close/>
                    <a:moveTo>
                      <a:pt x="2540745" y="1807926"/>
                    </a:moveTo>
                    <a:cubicBezTo>
                      <a:pt x="2540745" y="1801276"/>
                      <a:pt x="2535319" y="1795848"/>
                      <a:pt x="2528661" y="1795848"/>
                    </a:cubicBezTo>
                    <a:cubicBezTo>
                      <a:pt x="2522005" y="1795848"/>
                      <a:pt x="2516580" y="1801276"/>
                      <a:pt x="2516580" y="1807926"/>
                    </a:cubicBezTo>
                    <a:cubicBezTo>
                      <a:pt x="2516580" y="1814586"/>
                      <a:pt x="2522005" y="1820010"/>
                      <a:pt x="2528661" y="1820010"/>
                    </a:cubicBezTo>
                    <a:cubicBezTo>
                      <a:pt x="2535319" y="1820010"/>
                      <a:pt x="2540745" y="1814586"/>
                      <a:pt x="2540745" y="1807926"/>
                    </a:cubicBezTo>
                    <a:close/>
                    <a:moveTo>
                      <a:pt x="2540992" y="6898874"/>
                    </a:moveTo>
                    <a:cubicBezTo>
                      <a:pt x="2540992" y="6897393"/>
                      <a:pt x="2539759" y="6896161"/>
                      <a:pt x="2538280" y="6896161"/>
                    </a:cubicBezTo>
                    <a:cubicBezTo>
                      <a:pt x="2537047" y="6896161"/>
                      <a:pt x="2535814" y="6897393"/>
                      <a:pt x="2535814" y="6898874"/>
                    </a:cubicBezTo>
                    <a:cubicBezTo>
                      <a:pt x="2535814" y="6900352"/>
                      <a:pt x="2536799" y="6901587"/>
                      <a:pt x="2538280" y="6901587"/>
                    </a:cubicBezTo>
                    <a:cubicBezTo>
                      <a:pt x="2539759" y="6901587"/>
                      <a:pt x="2540992" y="6900352"/>
                      <a:pt x="2540992" y="6898874"/>
                    </a:cubicBezTo>
                    <a:close/>
                    <a:moveTo>
                      <a:pt x="2541237" y="5366651"/>
                    </a:moveTo>
                    <a:cubicBezTo>
                      <a:pt x="2541237" y="5363938"/>
                      <a:pt x="2539018" y="5361965"/>
                      <a:pt x="2536554" y="5361965"/>
                    </a:cubicBezTo>
                    <a:cubicBezTo>
                      <a:pt x="2533841" y="5361965"/>
                      <a:pt x="2531869" y="5364184"/>
                      <a:pt x="2531869" y="5366651"/>
                    </a:cubicBezTo>
                    <a:cubicBezTo>
                      <a:pt x="2531869" y="5369363"/>
                      <a:pt x="2534087" y="5371337"/>
                      <a:pt x="2536554" y="5371337"/>
                    </a:cubicBezTo>
                    <a:cubicBezTo>
                      <a:pt x="2539018" y="5371337"/>
                      <a:pt x="2540991" y="5369116"/>
                      <a:pt x="2541237" y="5366651"/>
                    </a:cubicBezTo>
                    <a:close/>
                    <a:moveTo>
                      <a:pt x="2541240" y="6680900"/>
                    </a:moveTo>
                    <a:cubicBezTo>
                      <a:pt x="2541240" y="6679419"/>
                      <a:pt x="2540005" y="6678187"/>
                      <a:pt x="2538528" y="6678187"/>
                    </a:cubicBezTo>
                    <a:cubicBezTo>
                      <a:pt x="2537047" y="6678187"/>
                      <a:pt x="2535814" y="6679419"/>
                      <a:pt x="2535814" y="6680900"/>
                    </a:cubicBezTo>
                    <a:cubicBezTo>
                      <a:pt x="2535814" y="6682378"/>
                      <a:pt x="2537047" y="6683613"/>
                      <a:pt x="2538528" y="6683613"/>
                    </a:cubicBezTo>
                    <a:cubicBezTo>
                      <a:pt x="2540005" y="6683613"/>
                      <a:pt x="2541240" y="6682378"/>
                      <a:pt x="2541240" y="6680900"/>
                    </a:cubicBezTo>
                    <a:close/>
                    <a:moveTo>
                      <a:pt x="2541485" y="5806051"/>
                    </a:moveTo>
                    <a:cubicBezTo>
                      <a:pt x="2541485" y="5804570"/>
                      <a:pt x="2540253" y="5803583"/>
                      <a:pt x="2539018" y="5803583"/>
                    </a:cubicBezTo>
                    <a:cubicBezTo>
                      <a:pt x="2537539" y="5803583"/>
                      <a:pt x="2536554" y="5804815"/>
                      <a:pt x="2536554" y="5806051"/>
                    </a:cubicBezTo>
                    <a:cubicBezTo>
                      <a:pt x="2536554" y="5807529"/>
                      <a:pt x="2537787" y="5808515"/>
                      <a:pt x="2539018" y="5808515"/>
                    </a:cubicBezTo>
                    <a:cubicBezTo>
                      <a:pt x="2540499" y="5808515"/>
                      <a:pt x="2541485" y="5807283"/>
                      <a:pt x="2541485" y="5806051"/>
                    </a:cubicBezTo>
                    <a:close/>
                    <a:moveTo>
                      <a:pt x="2541485" y="6571667"/>
                    </a:moveTo>
                    <a:cubicBezTo>
                      <a:pt x="2541485" y="6570186"/>
                      <a:pt x="2540251" y="6568954"/>
                      <a:pt x="2538773" y="6568954"/>
                    </a:cubicBezTo>
                    <a:cubicBezTo>
                      <a:pt x="2537292" y="6568954"/>
                      <a:pt x="2536059" y="6570186"/>
                      <a:pt x="2536059" y="6571667"/>
                    </a:cubicBezTo>
                    <a:cubicBezTo>
                      <a:pt x="2536059" y="6573145"/>
                      <a:pt x="2537292" y="6574380"/>
                      <a:pt x="2538773" y="6574380"/>
                    </a:cubicBezTo>
                    <a:cubicBezTo>
                      <a:pt x="2540251" y="6574380"/>
                      <a:pt x="2541485" y="6573145"/>
                      <a:pt x="2541485" y="6571667"/>
                    </a:cubicBezTo>
                    <a:close/>
                    <a:moveTo>
                      <a:pt x="2541731" y="7007858"/>
                    </a:moveTo>
                    <a:cubicBezTo>
                      <a:pt x="2541731" y="7005885"/>
                      <a:pt x="2540253" y="7004404"/>
                      <a:pt x="2538277" y="7004404"/>
                    </a:cubicBezTo>
                    <a:cubicBezTo>
                      <a:pt x="2536306" y="7004404"/>
                      <a:pt x="2534828" y="7006132"/>
                      <a:pt x="2534828" y="7007858"/>
                    </a:cubicBezTo>
                    <a:cubicBezTo>
                      <a:pt x="2534828" y="7009831"/>
                      <a:pt x="2536306" y="7011309"/>
                      <a:pt x="2538277" y="7011309"/>
                    </a:cubicBezTo>
                    <a:cubicBezTo>
                      <a:pt x="2540253" y="7011309"/>
                      <a:pt x="2541731" y="7009831"/>
                      <a:pt x="2541731" y="7007858"/>
                    </a:cubicBezTo>
                    <a:close/>
                    <a:moveTo>
                      <a:pt x="2542223" y="4700896"/>
                    </a:moveTo>
                    <a:cubicBezTo>
                      <a:pt x="2542223" y="4693497"/>
                      <a:pt x="2536306" y="4687579"/>
                      <a:pt x="2528906" y="4687579"/>
                    </a:cubicBezTo>
                    <a:cubicBezTo>
                      <a:pt x="2521511" y="4687579"/>
                      <a:pt x="2515593" y="4693497"/>
                      <a:pt x="2515593" y="4700896"/>
                    </a:cubicBezTo>
                    <a:cubicBezTo>
                      <a:pt x="2515593" y="4708291"/>
                      <a:pt x="2521511" y="4714209"/>
                      <a:pt x="2528906" y="4714209"/>
                    </a:cubicBezTo>
                    <a:cubicBezTo>
                      <a:pt x="2536306" y="4714209"/>
                      <a:pt x="2542223" y="4708291"/>
                      <a:pt x="2542223" y="4700896"/>
                    </a:cubicBezTo>
                    <a:close/>
                    <a:moveTo>
                      <a:pt x="2542225" y="7116847"/>
                    </a:moveTo>
                    <a:cubicBezTo>
                      <a:pt x="2542225" y="7114873"/>
                      <a:pt x="2540498" y="7113146"/>
                      <a:pt x="2538527" y="7113146"/>
                    </a:cubicBezTo>
                    <a:cubicBezTo>
                      <a:pt x="2536554" y="7113146"/>
                      <a:pt x="2534828" y="7114873"/>
                      <a:pt x="2534828" y="7116847"/>
                    </a:cubicBezTo>
                    <a:cubicBezTo>
                      <a:pt x="2534828" y="7118818"/>
                      <a:pt x="2536554" y="7120545"/>
                      <a:pt x="2538527" y="7120545"/>
                    </a:cubicBezTo>
                    <a:cubicBezTo>
                      <a:pt x="2540745" y="7120545"/>
                      <a:pt x="2542225" y="7119064"/>
                      <a:pt x="2542225" y="7116847"/>
                    </a:cubicBezTo>
                    <a:close/>
                    <a:moveTo>
                      <a:pt x="2542964" y="7225830"/>
                    </a:moveTo>
                    <a:cubicBezTo>
                      <a:pt x="2542964" y="7223612"/>
                      <a:pt x="2540991" y="7221640"/>
                      <a:pt x="2538773" y="7221640"/>
                    </a:cubicBezTo>
                    <a:cubicBezTo>
                      <a:pt x="2536554" y="7221640"/>
                      <a:pt x="2534582" y="7223612"/>
                      <a:pt x="2534582" y="7225830"/>
                    </a:cubicBezTo>
                    <a:cubicBezTo>
                      <a:pt x="2534582" y="7228050"/>
                      <a:pt x="2536554" y="7230021"/>
                      <a:pt x="2538773" y="7230021"/>
                    </a:cubicBezTo>
                    <a:cubicBezTo>
                      <a:pt x="2541240" y="7230021"/>
                      <a:pt x="2542964" y="7228050"/>
                      <a:pt x="2542964" y="7225830"/>
                    </a:cubicBezTo>
                    <a:close/>
                    <a:moveTo>
                      <a:pt x="2543210" y="5696321"/>
                    </a:moveTo>
                    <a:cubicBezTo>
                      <a:pt x="2543210" y="5694102"/>
                      <a:pt x="2541483" y="5692376"/>
                      <a:pt x="2539265" y="5692376"/>
                    </a:cubicBezTo>
                    <a:cubicBezTo>
                      <a:pt x="2537047" y="5692376"/>
                      <a:pt x="2535319" y="5694102"/>
                      <a:pt x="2535319" y="5696321"/>
                    </a:cubicBezTo>
                    <a:cubicBezTo>
                      <a:pt x="2535319" y="5698295"/>
                      <a:pt x="2537292" y="5700021"/>
                      <a:pt x="2539265" y="5700021"/>
                    </a:cubicBezTo>
                    <a:cubicBezTo>
                      <a:pt x="2541237" y="5700021"/>
                      <a:pt x="2542964" y="5698295"/>
                      <a:pt x="2543210" y="5696321"/>
                    </a:cubicBezTo>
                    <a:close/>
                    <a:moveTo>
                      <a:pt x="2543210" y="5915776"/>
                    </a:moveTo>
                    <a:cubicBezTo>
                      <a:pt x="2543210" y="5912817"/>
                      <a:pt x="2540746" y="5910350"/>
                      <a:pt x="2537788" y="5910350"/>
                    </a:cubicBezTo>
                    <a:cubicBezTo>
                      <a:pt x="2534828" y="5910350"/>
                      <a:pt x="2532361" y="5912817"/>
                      <a:pt x="2532361" y="5915776"/>
                    </a:cubicBezTo>
                    <a:cubicBezTo>
                      <a:pt x="2532361" y="5918733"/>
                      <a:pt x="2534828" y="5921199"/>
                      <a:pt x="2537788" y="5921199"/>
                    </a:cubicBezTo>
                    <a:cubicBezTo>
                      <a:pt x="2540992" y="5921199"/>
                      <a:pt x="2543210" y="5918733"/>
                      <a:pt x="2543210" y="5915776"/>
                    </a:cubicBezTo>
                    <a:close/>
                    <a:moveTo>
                      <a:pt x="2544199" y="7443313"/>
                    </a:moveTo>
                    <a:cubicBezTo>
                      <a:pt x="2544199" y="7441339"/>
                      <a:pt x="2542471" y="7439613"/>
                      <a:pt x="2540499" y="7439613"/>
                    </a:cubicBezTo>
                    <a:cubicBezTo>
                      <a:pt x="2538528" y="7439613"/>
                      <a:pt x="2536800" y="7441339"/>
                      <a:pt x="2536800" y="7443313"/>
                    </a:cubicBezTo>
                    <a:cubicBezTo>
                      <a:pt x="2536800" y="7445285"/>
                      <a:pt x="2538528" y="7447009"/>
                      <a:pt x="2540499" y="7447009"/>
                    </a:cubicBezTo>
                    <a:cubicBezTo>
                      <a:pt x="2542471" y="7447009"/>
                      <a:pt x="2544199" y="7445285"/>
                      <a:pt x="2544199" y="7443313"/>
                    </a:cubicBezTo>
                    <a:close/>
                    <a:moveTo>
                      <a:pt x="2544690" y="7552297"/>
                    </a:moveTo>
                    <a:cubicBezTo>
                      <a:pt x="2544690" y="7550079"/>
                      <a:pt x="2542964" y="7548352"/>
                      <a:pt x="2540746" y="7548352"/>
                    </a:cubicBezTo>
                    <a:cubicBezTo>
                      <a:pt x="2538528" y="7548352"/>
                      <a:pt x="2536800" y="7550079"/>
                      <a:pt x="2536800" y="7552297"/>
                    </a:cubicBezTo>
                    <a:cubicBezTo>
                      <a:pt x="2536800" y="7554516"/>
                      <a:pt x="2538528" y="7556243"/>
                      <a:pt x="2540746" y="7556243"/>
                    </a:cubicBezTo>
                    <a:cubicBezTo>
                      <a:pt x="2542964" y="7556243"/>
                      <a:pt x="2544690" y="7554516"/>
                      <a:pt x="2544690" y="7552297"/>
                    </a:cubicBezTo>
                    <a:close/>
                    <a:moveTo>
                      <a:pt x="2544936" y="7334571"/>
                    </a:moveTo>
                    <a:cubicBezTo>
                      <a:pt x="2544936" y="7332107"/>
                      <a:pt x="2542964" y="7330134"/>
                      <a:pt x="2540496" y="7330134"/>
                    </a:cubicBezTo>
                    <a:cubicBezTo>
                      <a:pt x="2538032" y="7330134"/>
                      <a:pt x="2536059" y="7332107"/>
                      <a:pt x="2536059" y="7334571"/>
                    </a:cubicBezTo>
                    <a:cubicBezTo>
                      <a:pt x="2536059" y="7337038"/>
                      <a:pt x="2538032" y="7339011"/>
                      <a:pt x="2540496" y="7339011"/>
                    </a:cubicBezTo>
                    <a:cubicBezTo>
                      <a:pt x="2542964" y="7339011"/>
                      <a:pt x="2545182" y="7337038"/>
                      <a:pt x="2544936" y="7334571"/>
                    </a:cubicBezTo>
                    <a:close/>
                    <a:moveTo>
                      <a:pt x="2546169" y="4588210"/>
                    </a:moveTo>
                    <a:cubicBezTo>
                      <a:pt x="2546169" y="4578101"/>
                      <a:pt x="2538032" y="4569964"/>
                      <a:pt x="2527923" y="4569964"/>
                    </a:cubicBezTo>
                    <a:cubicBezTo>
                      <a:pt x="2517811" y="4569964"/>
                      <a:pt x="2509675" y="4578101"/>
                      <a:pt x="2509675" y="4588210"/>
                    </a:cubicBezTo>
                    <a:cubicBezTo>
                      <a:pt x="2509675" y="4598322"/>
                      <a:pt x="2517811" y="4606458"/>
                      <a:pt x="2527923" y="4606458"/>
                    </a:cubicBezTo>
                    <a:cubicBezTo>
                      <a:pt x="2538032" y="4606458"/>
                      <a:pt x="2546414" y="4598073"/>
                      <a:pt x="2546169" y="4588210"/>
                    </a:cubicBezTo>
                    <a:close/>
                    <a:moveTo>
                      <a:pt x="2547648" y="4122182"/>
                    </a:moveTo>
                    <a:cubicBezTo>
                      <a:pt x="2547648" y="4108620"/>
                      <a:pt x="2536551" y="4097771"/>
                      <a:pt x="2523238" y="4097771"/>
                    </a:cubicBezTo>
                    <a:cubicBezTo>
                      <a:pt x="2509674" y="4097771"/>
                      <a:pt x="2498826" y="4108866"/>
                      <a:pt x="2498826" y="4122182"/>
                    </a:cubicBezTo>
                    <a:cubicBezTo>
                      <a:pt x="2498826" y="4135744"/>
                      <a:pt x="2509922" y="4146591"/>
                      <a:pt x="2523238" y="4146591"/>
                    </a:cubicBezTo>
                    <a:cubicBezTo>
                      <a:pt x="2536799" y="4146591"/>
                      <a:pt x="2547648" y="4135744"/>
                      <a:pt x="2547648" y="4122182"/>
                    </a:cubicBezTo>
                    <a:close/>
                    <a:moveTo>
                      <a:pt x="2548389" y="1919100"/>
                    </a:moveTo>
                    <a:cubicBezTo>
                      <a:pt x="2548389" y="1908502"/>
                      <a:pt x="2539758" y="1899872"/>
                      <a:pt x="2529156" y="1899872"/>
                    </a:cubicBezTo>
                    <a:cubicBezTo>
                      <a:pt x="2518556" y="1899872"/>
                      <a:pt x="2509925" y="1908502"/>
                      <a:pt x="2509925" y="1919100"/>
                    </a:cubicBezTo>
                    <a:cubicBezTo>
                      <a:pt x="2509925" y="1929701"/>
                      <a:pt x="2518556" y="1938331"/>
                      <a:pt x="2529156" y="1938331"/>
                    </a:cubicBezTo>
                    <a:cubicBezTo>
                      <a:pt x="2540007" y="1938331"/>
                      <a:pt x="2548635" y="1929701"/>
                      <a:pt x="2548389" y="1919100"/>
                    </a:cubicBezTo>
                    <a:close/>
                    <a:moveTo>
                      <a:pt x="2550607" y="2950215"/>
                    </a:moveTo>
                    <a:cubicBezTo>
                      <a:pt x="2550607" y="2928021"/>
                      <a:pt x="2532606" y="2910023"/>
                      <a:pt x="2510416" y="2910023"/>
                    </a:cubicBezTo>
                    <a:cubicBezTo>
                      <a:pt x="2488223" y="2910023"/>
                      <a:pt x="2470224" y="2928021"/>
                      <a:pt x="2470224" y="2950215"/>
                    </a:cubicBezTo>
                    <a:cubicBezTo>
                      <a:pt x="2470224" y="2972405"/>
                      <a:pt x="2488223" y="2990405"/>
                      <a:pt x="2510416" y="2990405"/>
                    </a:cubicBezTo>
                    <a:cubicBezTo>
                      <a:pt x="2532361" y="2990405"/>
                      <a:pt x="2550607" y="2972405"/>
                      <a:pt x="2550607" y="2950215"/>
                    </a:cubicBezTo>
                    <a:close/>
                    <a:moveTo>
                      <a:pt x="2555538" y="2030279"/>
                    </a:moveTo>
                    <a:cubicBezTo>
                      <a:pt x="2555538" y="2015977"/>
                      <a:pt x="2543950" y="2004390"/>
                      <a:pt x="2529647" y="2004390"/>
                    </a:cubicBezTo>
                    <a:cubicBezTo>
                      <a:pt x="2515347" y="2004390"/>
                      <a:pt x="2503758" y="2015977"/>
                      <a:pt x="2503758" y="2030279"/>
                    </a:cubicBezTo>
                    <a:cubicBezTo>
                      <a:pt x="2503758" y="2044581"/>
                      <a:pt x="2515347" y="2056170"/>
                      <a:pt x="2529647" y="2056170"/>
                    </a:cubicBezTo>
                    <a:cubicBezTo>
                      <a:pt x="2543950" y="2056170"/>
                      <a:pt x="2555538" y="2044581"/>
                      <a:pt x="2555538" y="2030279"/>
                    </a:cubicBezTo>
                    <a:close/>
                    <a:moveTo>
                      <a:pt x="2556031" y="5145965"/>
                    </a:moveTo>
                    <a:cubicBezTo>
                      <a:pt x="2556031" y="5134379"/>
                      <a:pt x="2546663" y="5125007"/>
                      <a:pt x="2535073" y="5125007"/>
                    </a:cubicBezTo>
                    <a:cubicBezTo>
                      <a:pt x="2523483" y="5125007"/>
                      <a:pt x="2514115" y="5134379"/>
                      <a:pt x="2514115" y="5145965"/>
                    </a:cubicBezTo>
                    <a:cubicBezTo>
                      <a:pt x="2514115" y="5157309"/>
                      <a:pt x="2523483" y="5166677"/>
                      <a:pt x="2535073" y="5166677"/>
                    </a:cubicBezTo>
                    <a:cubicBezTo>
                      <a:pt x="2546663" y="5166677"/>
                      <a:pt x="2556031" y="5157309"/>
                      <a:pt x="2556031" y="5145965"/>
                    </a:cubicBezTo>
                    <a:close/>
                    <a:moveTo>
                      <a:pt x="2557509" y="1586750"/>
                    </a:moveTo>
                    <a:cubicBezTo>
                      <a:pt x="2557509" y="1569988"/>
                      <a:pt x="2543950" y="1556426"/>
                      <a:pt x="2527183" y="1556426"/>
                    </a:cubicBezTo>
                    <a:cubicBezTo>
                      <a:pt x="2510415" y="1556426"/>
                      <a:pt x="2496854" y="1569988"/>
                      <a:pt x="2496854" y="1586750"/>
                    </a:cubicBezTo>
                    <a:cubicBezTo>
                      <a:pt x="2496854" y="1603521"/>
                      <a:pt x="2510415" y="1617081"/>
                      <a:pt x="2527183" y="1617081"/>
                    </a:cubicBezTo>
                    <a:cubicBezTo>
                      <a:pt x="2543950" y="1617081"/>
                      <a:pt x="2557509" y="1603521"/>
                      <a:pt x="2557509" y="1586750"/>
                    </a:cubicBezTo>
                    <a:close/>
                    <a:moveTo>
                      <a:pt x="2562195" y="55495"/>
                    </a:moveTo>
                    <a:cubicBezTo>
                      <a:pt x="2562195" y="37002"/>
                      <a:pt x="2547154" y="22207"/>
                      <a:pt x="2528910" y="22207"/>
                    </a:cubicBezTo>
                    <a:cubicBezTo>
                      <a:pt x="2510415" y="22207"/>
                      <a:pt x="2495621" y="37247"/>
                      <a:pt x="2495621" y="55495"/>
                    </a:cubicBezTo>
                    <a:cubicBezTo>
                      <a:pt x="2495621" y="73988"/>
                      <a:pt x="2510661" y="88781"/>
                      <a:pt x="2528910" y="88781"/>
                    </a:cubicBezTo>
                    <a:cubicBezTo>
                      <a:pt x="2547154" y="88781"/>
                      <a:pt x="2561948" y="73739"/>
                      <a:pt x="2562195" y="55495"/>
                    </a:cubicBezTo>
                    <a:close/>
                    <a:moveTo>
                      <a:pt x="2562198" y="273415"/>
                    </a:moveTo>
                    <a:cubicBezTo>
                      <a:pt x="2562198" y="255417"/>
                      <a:pt x="2547401" y="240623"/>
                      <a:pt x="2529402" y="240623"/>
                    </a:cubicBezTo>
                    <a:cubicBezTo>
                      <a:pt x="2511402" y="240623"/>
                      <a:pt x="2496608" y="255417"/>
                      <a:pt x="2496608" y="273415"/>
                    </a:cubicBezTo>
                    <a:cubicBezTo>
                      <a:pt x="2496608" y="291417"/>
                      <a:pt x="2511402" y="306208"/>
                      <a:pt x="2529402" y="306208"/>
                    </a:cubicBezTo>
                    <a:cubicBezTo>
                      <a:pt x="2547401" y="306208"/>
                      <a:pt x="2562198" y="291663"/>
                      <a:pt x="2562198" y="273415"/>
                    </a:cubicBezTo>
                    <a:close/>
                    <a:moveTo>
                      <a:pt x="2562441" y="382627"/>
                    </a:moveTo>
                    <a:cubicBezTo>
                      <a:pt x="2562441" y="364628"/>
                      <a:pt x="2547647" y="349834"/>
                      <a:pt x="2529647" y="349834"/>
                    </a:cubicBezTo>
                    <a:cubicBezTo>
                      <a:pt x="2511402" y="349834"/>
                      <a:pt x="2496854" y="364628"/>
                      <a:pt x="2496854" y="382627"/>
                    </a:cubicBezTo>
                    <a:cubicBezTo>
                      <a:pt x="2496854" y="400628"/>
                      <a:pt x="2511648" y="415420"/>
                      <a:pt x="2529647" y="415420"/>
                    </a:cubicBezTo>
                    <a:cubicBezTo>
                      <a:pt x="2547647" y="415420"/>
                      <a:pt x="2562441" y="400628"/>
                      <a:pt x="2562441" y="382627"/>
                    </a:cubicBezTo>
                    <a:close/>
                    <a:moveTo>
                      <a:pt x="2563922" y="164455"/>
                    </a:moveTo>
                    <a:cubicBezTo>
                      <a:pt x="2563922" y="145469"/>
                      <a:pt x="2548388" y="129935"/>
                      <a:pt x="2529402" y="129935"/>
                    </a:cubicBezTo>
                    <a:cubicBezTo>
                      <a:pt x="2510415" y="129935"/>
                      <a:pt x="2494881" y="145469"/>
                      <a:pt x="2494881" y="164455"/>
                    </a:cubicBezTo>
                    <a:cubicBezTo>
                      <a:pt x="2494881" y="183439"/>
                      <a:pt x="2510415" y="198973"/>
                      <a:pt x="2529402" y="198973"/>
                    </a:cubicBezTo>
                    <a:cubicBezTo>
                      <a:pt x="2548388" y="198973"/>
                      <a:pt x="2563922" y="183688"/>
                      <a:pt x="2563922" y="164455"/>
                    </a:cubicBezTo>
                    <a:close/>
                    <a:moveTo>
                      <a:pt x="2565402" y="4359142"/>
                    </a:moveTo>
                    <a:cubicBezTo>
                      <a:pt x="2565402" y="4337196"/>
                      <a:pt x="2547649" y="4319443"/>
                      <a:pt x="2525702" y="4319443"/>
                    </a:cubicBezTo>
                    <a:cubicBezTo>
                      <a:pt x="2503758" y="4319443"/>
                      <a:pt x="2486005" y="4337196"/>
                      <a:pt x="2486005" y="4359142"/>
                    </a:cubicBezTo>
                    <a:cubicBezTo>
                      <a:pt x="2486005" y="4381089"/>
                      <a:pt x="2504003" y="4398842"/>
                      <a:pt x="2525702" y="4398842"/>
                    </a:cubicBezTo>
                    <a:cubicBezTo>
                      <a:pt x="2547401" y="4398842"/>
                      <a:pt x="2565154" y="4381089"/>
                      <a:pt x="2565402" y="4359142"/>
                    </a:cubicBezTo>
                    <a:close/>
                    <a:moveTo>
                      <a:pt x="2565648" y="1476547"/>
                    </a:moveTo>
                    <a:cubicBezTo>
                      <a:pt x="2565648" y="1455339"/>
                      <a:pt x="2548388" y="1438082"/>
                      <a:pt x="2527183" y="1438082"/>
                    </a:cubicBezTo>
                    <a:cubicBezTo>
                      <a:pt x="2505976" y="1438082"/>
                      <a:pt x="2488717" y="1455339"/>
                      <a:pt x="2488717" y="1476547"/>
                    </a:cubicBezTo>
                    <a:cubicBezTo>
                      <a:pt x="2488717" y="1497751"/>
                      <a:pt x="2505976" y="1515015"/>
                      <a:pt x="2527183" y="1515015"/>
                    </a:cubicBezTo>
                    <a:cubicBezTo>
                      <a:pt x="2548388" y="1515015"/>
                      <a:pt x="2565402" y="1498000"/>
                      <a:pt x="2565648" y="1476547"/>
                    </a:cubicBezTo>
                    <a:close/>
                    <a:moveTo>
                      <a:pt x="2565650" y="1366834"/>
                    </a:moveTo>
                    <a:cubicBezTo>
                      <a:pt x="2565650" y="1345138"/>
                      <a:pt x="2548144" y="1327626"/>
                      <a:pt x="2526445" y="1327626"/>
                    </a:cubicBezTo>
                    <a:cubicBezTo>
                      <a:pt x="2504747" y="1327626"/>
                      <a:pt x="2487239" y="1345138"/>
                      <a:pt x="2487239" y="1366834"/>
                    </a:cubicBezTo>
                    <a:cubicBezTo>
                      <a:pt x="2487239" y="1388532"/>
                      <a:pt x="2504747" y="1406042"/>
                      <a:pt x="2526445" y="1406042"/>
                    </a:cubicBezTo>
                    <a:cubicBezTo>
                      <a:pt x="2548144" y="1406042"/>
                      <a:pt x="2565650" y="1388285"/>
                      <a:pt x="2565650" y="1366834"/>
                    </a:cubicBezTo>
                    <a:close/>
                    <a:moveTo>
                      <a:pt x="2570334" y="4923555"/>
                    </a:moveTo>
                    <a:cubicBezTo>
                      <a:pt x="2570334" y="4903829"/>
                      <a:pt x="2554304" y="4887802"/>
                      <a:pt x="2534578" y="4887802"/>
                    </a:cubicBezTo>
                    <a:cubicBezTo>
                      <a:pt x="2514852" y="4887802"/>
                      <a:pt x="2498826" y="4903829"/>
                      <a:pt x="2498826" y="4923555"/>
                    </a:cubicBezTo>
                    <a:cubicBezTo>
                      <a:pt x="2498826" y="4943527"/>
                      <a:pt x="2514852" y="4959557"/>
                      <a:pt x="2534578" y="4959557"/>
                    </a:cubicBezTo>
                    <a:cubicBezTo>
                      <a:pt x="2554304" y="4959557"/>
                      <a:pt x="2570334" y="4943281"/>
                      <a:pt x="2570334" y="4923555"/>
                    </a:cubicBezTo>
                    <a:close/>
                    <a:moveTo>
                      <a:pt x="2571074" y="4474293"/>
                    </a:moveTo>
                    <a:cubicBezTo>
                      <a:pt x="2571074" y="4449881"/>
                      <a:pt x="2551345" y="4430155"/>
                      <a:pt x="2526937" y="4430155"/>
                    </a:cubicBezTo>
                    <a:cubicBezTo>
                      <a:pt x="2502525" y="4430155"/>
                      <a:pt x="2482800" y="4449881"/>
                      <a:pt x="2482800" y="4474293"/>
                    </a:cubicBezTo>
                    <a:cubicBezTo>
                      <a:pt x="2482800" y="4498704"/>
                      <a:pt x="2502525" y="4518430"/>
                      <a:pt x="2526937" y="4518430"/>
                    </a:cubicBezTo>
                    <a:cubicBezTo>
                      <a:pt x="2551345" y="4518430"/>
                      <a:pt x="2571074" y="4498704"/>
                      <a:pt x="2571074" y="4474293"/>
                    </a:cubicBezTo>
                    <a:close/>
                    <a:moveTo>
                      <a:pt x="2573788" y="4813090"/>
                    </a:moveTo>
                    <a:cubicBezTo>
                      <a:pt x="2573788" y="4788678"/>
                      <a:pt x="2554060" y="4768951"/>
                      <a:pt x="2529650" y="4768951"/>
                    </a:cubicBezTo>
                    <a:cubicBezTo>
                      <a:pt x="2505238" y="4768951"/>
                      <a:pt x="2485513" y="4788678"/>
                      <a:pt x="2485513" y="4813090"/>
                    </a:cubicBezTo>
                    <a:cubicBezTo>
                      <a:pt x="2485513" y="4837498"/>
                      <a:pt x="2505238" y="4857227"/>
                      <a:pt x="2529650" y="4857227"/>
                    </a:cubicBezTo>
                    <a:cubicBezTo>
                      <a:pt x="2554060" y="4857227"/>
                      <a:pt x="2574034" y="4837252"/>
                      <a:pt x="2573788" y="4813090"/>
                    </a:cubicBezTo>
                    <a:close/>
                    <a:moveTo>
                      <a:pt x="2574034" y="3364952"/>
                    </a:moveTo>
                    <a:cubicBezTo>
                      <a:pt x="2574034" y="3363465"/>
                      <a:pt x="2572799" y="3362235"/>
                      <a:pt x="2571321" y="3362235"/>
                    </a:cubicBezTo>
                    <a:cubicBezTo>
                      <a:pt x="2569840" y="3362235"/>
                      <a:pt x="2568608" y="3363465"/>
                      <a:pt x="2568608" y="3364952"/>
                    </a:cubicBezTo>
                    <a:cubicBezTo>
                      <a:pt x="2568608" y="3366450"/>
                      <a:pt x="2569840" y="3367627"/>
                      <a:pt x="2571321" y="3367627"/>
                    </a:cubicBezTo>
                    <a:cubicBezTo>
                      <a:pt x="2572799" y="3367627"/>
                      <a:pt x="2574034" y="3366450"/>
                      <a:pt x="2574034" y="3364952"/>
                    </a:cubicBezTo>
                    <a:close/>
                    <a:moveTo>
                      <a:pt x="2576004" y="4242265"/>
                    </a:moveTo>
                    <a:cubicBezTo>
                      <a:pt x="2576004" y="4213911"/>
                      <a:pt x="2553072" y="4190731"/>
                      <a:pt x="2524469" y="4190731"/>
                    </a:cubicBezTo>
                    <a:cubicBezTo>
                      <a:pt x="2496116" y="4190731"/>
                      <a:pt x="2472936" y="4213911"/>
                      <a:pt x="2472936" y="4242265"/>
                    </a:cubicBezTo>
                    <a:cubicBezTo>
                      <a:pt x="2472936" y="4270623"/>
                      <a:pt x="2496116" y="4293799"/>
                      <a:pt x="2524469" y="4293799"/>
                    </a:cubicBezTo>
                    <a:cubicBezTo>
                      <a:pt x="2553072" y="4293799"/>
                      <a:pt x="2576252" y="4270868"/>
                      <a:pt x="2576004" y="4242265"/>
                    </a:cubicBezTo>
                    <a:close/>
                    <a:moveTo>
                      <a:pt x="2587593" y="2270189"/>
                    </a:moveTo>
                    <a:cubicBezTo>
                      <a:pt x="2587593" y="2266737"/>
                      <a:pt x="2584881" y="2263779"/>
                      <a:pt x="2581185" y="2263779"/>
                    </a:cubicBezTo>
                    <a:cubicBezTo>
                      <a:pt x="2577731" y="2263779"/>
                      <a:pt x="2574772" y="2266491"/>
                      <a:pt x="2574772" y="2270189"/>
                    </a:cubicBezTo>
                    <a:cubicBezTo>
                      <a:pt x="2574772" y="2273888"/>
                      <a:pt x="2577485" y="2276845"/>
                      <a:pt x="2581185" y="2276845"/>
                    </a:cubicBezTo>
                    <a:cubicBezTo>
                      <a:pt x="2584634" y="2276845"/>
                      <a:pt x="2587593" y="2273888"/>
                      <a:pt x="2587593" y="2270189"/>
                    </a:cubicBezTo>
                    <a:close/>
                    <a:moveTo>
                      <a:pt x="2591044" y="2738659"/>
                    </a:moveTo>
                    <a:cubicBezTo>
                      <a:pt x="2591044" y="2731017"/>
                      <a:pt x="2584882" y="2724605"/>
                      <a:pt x="2576991" y="2724605"/>
                    </a:cubicBezTo>
                    <a:cubicBezTo>
                      <a:pt x="2569346" y="2724605"/>
                      <a:pt x="2562936" y="2730769"/>
                      <a:pt x="2562936" y="2738659"/>
                    </a:cubicBezTo>
                    <a:cubicBezTo>
                      <a:pt x="2562936" y="2746304"/>
                      <a:pt x="2569346" y="2752714"/>
                      <a:pt x="2576991" y="2752714"/>
                    </a:cubicBezTo>
                    <a:cubicBezTo>
                      <a:pt x="2584882" y="2752714"/>
                      <a:pt x="2591044" y="2746304"/>
                      <a:pt x="2591044" y="2738659"/>
                    </a:cubicBezTo>
                    <a:close/>
                    <a:moveTo>
                      <a:pt x="2593019" y="3158566"/>
                    </a:moveTo>
                    <a:cubicBezTo>
                      <a:pt x="2593019" y="3153635"/>
                      <a:pt x="2589075" y="3149689"/>
                      <a:pt x="2584143" y="3149689"/>
                    </a:cubicBezTo>
                    <a:cubicBezTo>
                      <a:pt x="2579211" y="3149689"/>
                      <a:pt x="2575266" y="3153635"/>
                      <a:pt x="2575266" y="3158566"/>
                    </a:cubicBezTo>
                    <a:cubicBezTo>
                      <a:pt x="2575266" y="3163497"/>
                      <a:pt x="2579211" y="3167443"/>
                      <a:pt x="2584143" y="3167443"/>
                    </a:cubicBezTo>
                    <a:cubicBezTo>
                      <a:pt x="2589075" y="3167443"/>
                      <a:pt x="2593019" y="3163497"/>
                      <a:pt x="2593019" y="3158566"/>
                    </a:cubicBezTo>
                    <a:close/>
                    <a:moveTo>
                      <a:pt x="2594003" y="2156526"/>
                    </a:moveTo>
                    <a:cubicBezTo>
                      <a:pt x="2594003" y="2149621"/>
                      <a:pt x="2588335" y="2143949"/>
                      <a:pt x="2581430" y="2143949"/>
                    </a:cubicBezTo>
                    <a:cubicBezTo>
                      <a:pt x="2574526" y="2143949"/>
                      <a:pt x="2568854" y="2149621"/>
                      <a:pt x="2568854" y="2156526"/>
                    </a:cubicBezTo>
                    <a:cubicBezTo>
                      <a:pt x="2568854" y="2163430"/>
                      <a:pt x="2574526" y="2169103"/>
                      <a:pt x="2581430" y="2169103"/>
                    </a:cubicBezTo>
                    <a:cubicBezTo>
                      <a:pt x="2588335" y="2169103"/>
                      <a:pt x="2594003" y="2163430"/>
                      <a:pt x="2594003" y="2156526"/>
                    </a:cubicBezTo>
                    <a:close/>
                    <a:moveTo>
                      <a:pt x="2596962" y="3796702"/>
                    </a:moveTo>
                    <a:cubicBezTo>
                      <a:pt x="2596962" y="3789552"/>
                      <a:pt x="2591044" y="3783635"/>
                      <a:pt x="2583893" y="3783635"/>
                    </a:cubicBezTo>
                    <a:cubicBezTo>
                      <a:pt x="2576744" y="3783635"/>
                      <a:pt x="2570826" y="3789552"/>
                      <a:pt x="2570826" y="3796702"/>
                    </a:cubicBezTo>
                    <a:cubicBezTo>
                      <a:pt x="2570826" y="3803607"/>
                      <a:pt x="2576744" y="3809524"/>
                      <a:pt x="2583893" y="3809524"/>
                    </a:cubicBezTo>
                    <a:cubicBezTo>
                      <a:pt x="2591044" y="3809524"/>
                      <a:pt x="2596962" y="3803607"/>
                      <a:pt x="2596962" y="3796702"/>
                    </a:cubicBezTo>
                    <a:close/>
                    <a:moveTo>
                      <a:pt x="2598937" y="2861451"/>
                    </a:moveTo>
                    <a:cubicBezTo>
                      <a:pt x="2598937" y="2847151"/>
                      <a:pt x="2587348" y="2835316"/>
                      <a:pt x="2572799" y="2835316"/>
                    </a:cubicBezTo>
                    <a:cubicBezTo>
                      <a:pt x="2558499" y="2835316"/>
                      <a:pt x="2546663" y="2846906"/>
                      <a:pt x="2546663" y="2861451"/>
                    </a:cubicBezTo>
                    <a:cubicBezTo>
                      <a:pt x="2546663" y="2875755"/>
                      <a:pt x="2558499" y="2887590"/>
                      <a:pt x="2572799" y="2887590"/>
                    </a:cubicBezTo>
                    <a:cubicBezTo>
                      <a:pt x="2587348" y="2887590"/>
                      <a:pt x="2599183" y="2876000"/>
                      <a:pt x="2598937" y="2861451"/>
                    </a:cubicBezTo>
                    <a:close/>
                    <a:moveTo>
                      <a:pt x="2602389" y="3935525"/>
                    </a:moveTo>
                    <a:cubicBezTo>
                      <a:pt x="2602389" y="3935279"/>
                      <a:pt x="2602143" y="3935033"/>
                      <a:pt x="2601897" y="3935033"/>
                    </a:cubicBezTo>
                    <a:cubicBezTo>
                      <a:pt x="2601649" y="3935033"/>
                      <a:pt x="2601402" y="3935279"/>
                      <a:pt x="2601402" y="3935525"/>
                    </a:cubicBezTo>
                    <a:cubicBezTo>
                      <a:pt x="2601402" y="3935775"/>
                      <a:pt x="2601649" y="3936020"/>
                      <a:pt x="2601897" y="3936020"/>
                    </a:cubicBezTo>
                    <a:cubicBezTo>
                      <a:pt x="2602143" y="3936020"/>
                      <a:pt x="2602389" y="3935775"/>
                      <a:pt x="2602389" y="3935525"/>
                    </a:cubicBezTo>
                    <a:close/>
                    <a:moveTo>
                      <a:pt x="2602882" y="2384839"/>
                    </a:moveTo>
                    <a:cubicBezTo>
                      <a:pt x="2602882" y="2372759"/>
                      <a:pt x="2593019" y="2362894"/>
                      <a:pt x="2580938" y="2362894"/>
                    </a:cubicBezTo>
                    <a:cubicBezTo>
                      <a:pt x="2569102" y="2362894"/>
                      <a:pt x="2559239" y="2372759"/>
                      <a:pt x="2559239" y="2384839"/>
                    </a:cubicBezTo>
                    <a:cubicBezTo>
                      <a:pt x="2559239" y="2396923"/>
                      <a:pt x="2568857" y="2406787"/>
                      <a:pt x="2580938" y="2406787"/>
                    </a:cubicBezTo>
                    <a:cubicBezTo>
                      <a:pt x="2593019" y="2406787"/>
                      <a:pt x="2602636" y="2396923"/>
                      <a:pt x="2602882" y="2384839"/>
                    </a:cubicBezTo>
                    <a:close/>
                    <a:moveTo>
                      <a:pt x="2611018" y="2618582"/>
                    </a:moveTo>
                    <a:cubicBezTo>
                      <a:pt x="2611018" y="2601077"/>
                      <a:pt x="2596716" y="2586773"/>
                      <a:pt x="2579208" y="2586773"/>
                    </a:cubicBezTo>
                    <a:cubicBezTo>
                      <a:pt x="2561703" y="2586773"/>
                      <a:pt x="2547401" y="2601077"/>
                      <a:pt x="2547401" y="2618582"/>
                    </a:cubicBezTo>
                    <a:cubicBezTo>
                      <a:pt x="2547401" y="2636089"/>
                      <a:pt x="2561703" y="2650391"/>
                      <a:pt x="2579208" y="2650391"/>
                    </a:cubicBezTo>
                    <a:cubicBezTo>
                      <a:pt x="2596716" y="2650391"/>
                      <a:pt x="2611018" y="2636089"/>
                      <a:pt x="2611018" y="2618582"/>
                    </a:cubicBezTo>
                    <a:close/>
                    <a:moveTo>
                      <a:pt x="2612992" y="2500973"/>
                    </a:moveTo>
                    <a:cubicBezTo>
                      <a:pt x="2612992" y="2482974"/>
                      <a:pt x="2598443" y="2468425"/>
                      <a:pt x="2580444" y="2468425"/>
                    </a:cubicBezTo>
                    <a:cubicBezTo>
                      <a:pt x="2562444" y="2468425"/>
                      <a:pt x="2547895" y="2482974"/>
                      <a:pt x="2547895" y="2500973"/>
                    </a:cubicBezTo>
                    <a:cubicBezTo>
                      <a:pt x="2547895" y="2518973"/>
                      <a:pt x="2562444" y="2533521"/>
                      <a:pt x="2580444" y="2533521"/>
                    </a:cubicBezTo>
                    <a:cubicBezTo>
                      <a:pt x="2598443" y="2533521"/>
                      <a:pt x="2612992" y="2518727"/>
                      <a:pt x="2612992" y="2500973"/>
                    </a:cubicBezTo>
                    <a:close/>
                    <a:moveTo>
                      <a:pt x="2621127" y="1046824"/>
                    </a:moveTo>
                    <a:cubicBezTo>
                      <a:pt x="2621127" y="1027592"/>
                      <a:pt x="2605595" y="1012059"/>
                      <a:pt x="2586361" y="1012059"/>
                    </a:cubicBezTo>
                    <a:cubicBezTo>
                      <a:pt x="2567129" y="1012059"/>
                      <a:pt x="2551595" y="1027592"/>
                      <a:pt x="2551595" y="1046824"/>
                    </a:cubicBezTo>
                    <a:cubicBezTo>
                      <a:pt x="2551595" y="1066055"/>
                      <a:pt x="2567129" y="1081590"/>
                      <a:pt x="2586361" y="1081590"/>
                    </a:cubicBezTo>
                    <a:cubicBezTo>
                      <a:pt x="2605347" y="1081590"/>
                      <a:pt x="2621127" y="1066055"/>
                      <a:pt x="2621127" y="1046824"/>
                    </a:cubicBezTo>
                    <a:close/>
                    <a:moveTo>
                      <a:pt x="2621622" y="827407"/>
                    </a:moveTo>
                    <a:cubicBezTo>
                      <a:pt x="2621622" y="808174"/>
                      <a:pt x="2606087" y="792637"/>
                      <a:pt x="2586852" y="792637"/>
                    </a:cubicBezTo>
                    <a:cubicBezTo>
                      <a:pt x="2567620" y="792637"/>
                      <a:pt x="2552086" y="808174"/>
                      <a:pt x="2552086" y="827407"/>
                    </a:cubicBezTo>
                    <a:cubicBezTo>
                      <a:pt x="2552086" y="846640"/>
                      <a:pt x="2567620" y="862170"/>
                      <a:pt x="2586852" y="862170"/>
                    </a:cubicBezTo>
                    <a:cubicBezTo>
                      <a:pt x="2606087" y="862170"/>
                      <a:pt x="2621622" y="846640"/>
                      <a:pt x="2621622" y="827407"/>
                    </a:cubicBezTo>
                    <a:close/>
                    <a:moveTo>
                      <a:pt x="2623596" y="498742"/>
                    </a:moveTo>
                    <a:cubicBezTo>
                      <a:pt x="2623596" y="478031"/>
                      <a:pt x="2606829" y="461018"/>
                      <a:pt x="2585868" y="461018"/>
                    </a:cubicBezTo>
                    <a:cubicBezTo>
                      <a:pt x="2565155" y="461018"/>
                      <a:pt x="2548142" y="478031"/>
                      <a:pt x="2548142" y="498742"/>
                    </a:cubicBezTo>
                    <a:cubicBezTo>
                      <a:pt x="2548142" y="519454"/>
                      <a:pt x="2565155" y="536467"/>
                      <a:pt x="2585868" y="536467"/>
                    </a:cubicBezTo>
                    <a:cubicBezTo>
                      <a:pt x="2606829" y="536467"/>
                      <a:pt x="2623596" y="519454"/>
                      <a:pt x="2623596" y="498742"/>
                    </a:cubicBezTo>
                    <a:close/>
                    <a:moveTo>
                      <a:pt x="2624335" y="936868"/>
                    </a:moveTo>
                    <a:cubicBezTo>
                      <a:pt x="2624335" y="915903"/>
                      <a:pt x="2607322" y="898895"/>
                      <a:pt x="2586361" y="898895"/>
                    </a:cubicBezTo>
                    <a:cubicBezTo>
                      <a:pt x="2565402" y="898895"/>
                      <a:pt x="2548389" y="915903"/>
                      <a:pt x="2548389" y="936868"/>
                    </a:cubicBezTo>
                    <a:cubicBezTo>
                      <a:pt x="2548389" y="957831"/>
                      <a:pt x="2565402" y="974841"/>
                      <a:pt x="2586361" y="974841"/>
                    </a:cubicBezTo>
                    <a:cubicBezTo>
                      <a:pt x="2607076" y="974841"/>
                      <a:pt x="2624089" y="958077"/>
                      <a:pt x="2624335" y="936868"/>
                    </a:cubicBezTo>
                    <a:close/>
                    <a:moveTo>
                      <a:pt x="2624582" y="608201"/>
                    </a:moveTo>
                    <a:cubicBezTo>
                      <a:pt x="2624582" y="586998"/>
                      <a:pt x="2607320" y="569737"/>
                      <a:pt x="2586116" y="569737"/>
                    </a:cubicBezTo>
                    <a:cubicBezTo>
                      <a:pt x="2564909" y="569737"/>
                      <a:pt x="2547649" y="586998"/>
                      <a:pt x="2547649" y="608201"/>
                    </a:cubicBezTo>
                    <a:cubicBezTo>
                      <a:pt x="2547649" y="629405"/>
                      <a:pt x="2564909" y="646697"/>
                      <a:pt x="2586116" y="646697"/>
                    </a:cubicBezTo>
                    <a:cubicBezTo>
                      <a:pt x="2607320" y="646697"/>
                      <a:pt x="2624582" y="629405"/>
                      <a:pt x="2624582" y="608201"/>
                    </a:cubicBezTo>
                    <a:close/>
                    <a:moveTo>
                      <a:pt x="2626305" y="717693"/>
                    </a:moveTo>
                    <a:cubicBezTo>
                      <a:pt x="2626305" y="695759"/>
                      <a:pt x="2608552" y="677997"/>
                      <a:pt x="2586608" y="677997"/>
                    </a:cubicBezTo>
                    <a:cubicBezTo>
                      <a:pt x="2564909" y="677997"/>
                      <a:pt x="2547155" y="695759"/>
                      <a:pt x="2547155" y="717693"/>
                    </a:cubicBezTo>
                    <a:cubicBezTo>
                      <a:pt x="2547155" y="739647"/>
                      <a:pt x="2564909" y="757401"/>
                      <a:pt x="2586608" y="757401"/>
                    </a:cubicBezTo>
                    <a:cubicBezTo>
                      <a:pt x="2608307" y="757401"/>
                      <a:pt x="2626060" y="739647"/>
                      <a:pt x="2626305" y="717693"/>
                    </a:cubicBezTo>
                    <a:close/>
                    <a:moveTo>
                      <a:pt x="2628032" y="1157027"/>
                    </a:moveTo>
                    <a:cubicBezTo>
                      <a:pt x="2628032" y="1134097"/>
                      <a:pt x="2609539" y="1115602"/>
                      <a:pt x="2586608" y="1115602"/>
                    </a:cubicBezTo>
                    <a:cubicBezTo>
                      <a:pt x="2563676" y="1115602"/>
                      <a:pt x="2545183" y="1134097"/>
                      <a:pt x="2545183" y="1157027"/>
                    </a:cubicBezTo>
                    <a:cubicBezTo>
                      <a:pt x="2545183" y="1179710"/>
                      <a:pt x="2563676" y="1198453"/>
                      <a:pt x="2586608" y="1198453"/>
                    </a:cubicBezTo>
                    <a:cubicBezTo>
                      <a:pt x="2609539" y="1198453"/>
                      <a:pt x="2628032" y="1179710"/>
                      <a:pt x="2628032" y="1157027"/>
                    </a:cubicBezTo>
                    <a:close/>
                    <a:moveTo>
                      <a:pt x="2629019" y="1266978"/>
                    </a:moveTo>
                    <a:cubicBezTo>
                      <a:pt x="2629019" y="1243562"/>
                      <a:pt x="2610033" y="1224574"/>
                      <a:pt x="2586608" y="1224574"/>
                    </a:cubicBezTo>
                    <a:cubicBezTo>
                      <a:pt x="2563181" y="1224574"/>
                      <a:pt x="2544196" y="1243562"/>
                      <a:pt x="2544196" y="1266978"/>
                    </a:cubicBezTo>
                    <a:cubicBezTo>
                      <a:pt x="2544196" y="1290407"/>
                      <a:pt x="2563181" y="1309393"/>
                      <a:pt x="2586608" y="1309393"/>
                    </a:cubicBezTo>
                    <a:cubicBezTo>
                      <a:pt x="2610033" y="1309393"/>
                      <a:pt x="2629019" y="1290407"/>
                      <a:pt x="2629019" y="1266978"/>
                    </a:cubicBezTo>
                    <a:close/>
                    <a:moveTo>
                      <a:pt x="2643567" y="3019257"/>
                    </a:moveTo>
                    <a:cubicBezTo>
                      <a:pt x="2643567" y="2996077"/>
                      <a:pt x="2624827" y="2977337"/>
                      <a:pt x="2601651" y="2977337"/>
                    </a:cubicBezTo>
                    <a:cubicBezTo>
                      <a:pt x="2578471" y="2977337"/>
                      <a:pt x="2559732" y="2996077"/>
                      <a:pt x="2559732" y="3019257"/>
                    </a:cubicBezTo>
                    <a:cubicBezTo>
                      <a:pt x="2559732" y="3042433"/>
                      <a:pt x="2578471" y="3061173"/>
                      <a:pt x="2601651" y="3061173"/>
                    </a:cubicBezTo>
                    <a:cubicBezTo>
                      <a:pt x="2624582" y="3061173"/>
                      <a:pt x="2643567" y="3042433"/>
                      <a:pt x="2643567" y="3019257"/>
                    </a:cubicBezTo>
                    <a:close/>
                    <a:moveTo>
                      <a:pt x="2645785" y="1723089"/>
                    </a:moveTo>
                    <a:cubicBezTo>
                      <a:pt x="2645785" y="1720621"/>
                      <a:pt x="2643813" y="1718647"/>
                      <a:pt x="2641348" y="1718647"/>
                    </a:cubicBezTo>
                    <a:cubicBezTo>
                      <a:pt x="2638881" y="1718647"/>
                      <a:pt x="2636909" y="1720621"/>
                      <a:pt x="2636909" y="1723089"/>
                    </a:cubicBezTo>
                    <a:cubicBezTo>
                      <a:pt x="2636909" y="1725555"/>
                      <a:pt x="2638881" y="1727529"/>
                      <a:pt x="2641348" y="1727529"/>
                    </a:cubicBezTo>
                    <a:cubicBezTo>
                      <a:pt x="2643813" y="1727529"/>
                      <a:pt x="2645785" y="1725555"/>
                      <a:pt x="2645785" y="1723089"/>
                    </a:cubicBezTo>
                    <a:close/>
                    <a:moveTo>
                      <a:pt x="2647762" y="3255471"/>
                    </a:moveTo>
                    <a:cubicBezTo>
                      <a:pt x="2647762" y="3253991"/>
                      <a:pt x="2646526" y="3252759"/>
                      <a:pt x="2645048" y="3252759"/>
                    </a:cubicBezTo>
                    <a:cubicBezTo>
                      <a:pt x="2643567" y="3252759"/>
                      <a:pt x="2642335" y="3253991"/>
                      <a:pt x="2642335" y="3255471"/>
                    </a:cubicBezTo>
                    <a:cubicBezTo>
                      <a:pt x="2642335" y="3256950"/>
                      <a:pt x="2643567" y="3258186"/>
                      <a:pt x="2645048" y="3258186"/>
                    </a:cubicBezTo>
                    <a:cubicBezTo>
                      <a:pt x="2646526" y="3258186"/>
                      <a:pt x="2647762" y="3256950"/>
                      <a:pt x="2647762" y="3255471"/>
                    </a:cubicBezTo>
                    <a:close/>
                    <a:moveTo>
                      <a:pt x="2648251" y="4664157"/>
                    </a:moveTo>
                    <a:cubicBezTo>
                      <a:pt x="2648251" y="4658980"/>
                      <a:pt x="2644059" y="4654540"/>
                      <a:pt x="2638636" y="4654540"/>
                    </a:cubicBezTo>
                    <a:cubicBezTo>
                      <a:pt x="2633457" y="4654540"/>
                      <a:pt x="2629019" y="4658731"/>
                      <a:pt x="2629019" y="4664157"/>
                    </a:cubicBezTo>
                    <a:cubicBezTo>
                      <a:pt x="2629019" y="4669581"/>
                      <a:pt x="2633210" y="4674020"/>
                      <a:pt x="2638636" y="4674020"/>
                    </a:cubicBezTo>
                    <a:cubicBezTo>
                      <a:pt x="2644059" y="4674020"/>
                      <a:pt x="2648499" y="4669826"/>
                      <a:pt x="2648251" y="4664157"/>
                    </a:cubicBezTo>
                    <a:close/>
                    <a:moveTo>
                      <a:pt x="2649731" y="5005170"/>
                    </a:moveTo>
                    <a:cubicBezTo>
                      <a:pt x="2649731" y="5003937"/>
                      <a:pt x="2648499" y="5002951"/>
                      <a:pt x="2647264" y="5002951"/>
                    </a:cubicBezTo>
                    <a:cubicBezTo>
                      <a:pt x="2645786" y="5002951"/>
                      <a:pt x="2644799" y="5003937"/>
                      <a:pt x="2644799" y="5005170"/>
                    </a:cubicBezTo>
                    <a:cubicBezTo>
                      <a:pt x="2644799" y="5006651"/>
                      <a:pt x="2646032" y="5007637"/>
                      <a:pt x="2647264" y="5007637"/>
                    </a:cubicBezTo>
                    <a:cubicBezTo>
                      <a:pt x="2648499" y="5007637"/>
                      <a:pt x="2649731" y="5006402"/>
                      <a:pt x="2649731" y="5005170"/>
                    </a:cubicBezTo>
                    <a:close/>
                    <a:moveTo>
                      <a:pt x="2650225" y="4059306"/>
                    </a:moveTo>
                    <a:cubicBezTo>
                      <a:pt x="2650225" y="4043773"/>
                      <a:pt x="2637650" y="4031197"/>
                      <a:pt x="2622114" y="4031197"/>
                    </a:cubicBezTo>
                    <a:cubicBezTo>
                      <a:pt x="2606582" y="4031197"/>
                      <a:pt x="2594005" y="4043773"/>
                      <a:pt x="2594005" y="4059306"/>
                    </a:cubicBezTo>
                    <a:cubicBezTo>
                      <a:pt x="2594005" y="4074840"/>
                      <a:pt x="2606582" y="4087416"/>
                      <a:pt x="2622114" y="4087416"/>
                    </a:cubicBezTo>
                    <a:cubicBezTo>
                      <a:pt x="2637650" y="4087416"/>
                      <a:pt x="2650225" y="4074840"/>
                      <a:pt x="2650225" y="4059306"/>
                    </a:cubicBezTo>
                    <a:close/>
                    <a:moveTo>
                      <a:pt x="2650470" y="5453694"/>
                    </a:moveTo>
                    <a:cubicBezTo>
                      <a:pt x="2650470" y="5453446"/>
                      <a:pt x="2650225" y="5452953"/>
                      <a:pt x="2649733" y="5452953"/>
                    </a:cubicBezTo>
                    <a:cubicBezTo>
                      <a:pt x="2649485" y="5452953"/>
                      <a:pt x="2648992" y="5453199"/>
                      <a:pt x="2648992" y="5453694"/>
                    </a:cubicBezTo>
                    <a:cubicBezTo>
                      <a:pt x="2648992" y="5454186"/>
                      <a:pt x="2649238" y="5454431"/>
                      <a:pt x="2649733" y="5454431"/>
                    </a:cubicBezTo>
                    <a:cubicBezTo>
                      <a:pt x="2650225" y="5454431"/>
                      <a:pt x="2650470" y="5453940"/>
                      <a:pt x="2650470" y="5453694"/>
                    </a:cubicBezTo>
                    <a:close/>
                    <a:moveTo>
                      <a:pt x="2650966" y="5230292"/>
                    </a:moveTo>
                    <a:cubicBezTo>
                      <a:pt x="2650966" y="5229060"/>
                      <a:pt x="2649977" y="5228073"/>
                      <a:pt x="2648745" y="5228073"/>
                    </a:cubicBezTo>
                    <a:cubicBezTo>
                      <a:pt x="2647512" y="5228073"/>
                      <a:pt x="2646526" y="5229060"/>
                      <a:pt x="2646526" y="5230292"/>
                    </a:cubicBezTo>
                    <a:cubicBezTo>
                      <a:pt x="2646526" y="5231524"/>
                      <a:pt x="2647512" y="5232513"/>
                      <a:pt x="2648745" y="5232513"/>
                    </a:cubicBezTo>
                    <a:cubicBezTo>
                      <a:pt x="2649977" y="5232513"/>
                      <a:pt x="2650966" y="5231524"/>
                      <a:pt x="2650966" y="5230292"/>
                    </a:cubicBezTo>
                    <a:close/>
                    <a:moveTo>
                      <a:pt x="2652689" y="6117473"/>
                    </a:moveTo>
                    <a:cubicBezTo>
                      <a:pt x="2652689" y="6116487"/>
                      <a:pt x="2651703" y="6115500"/>
                      <a:pt x="2650717" y="6115500"/>
                    </a:cubicBezTo>
                    <a:cubicBezTo>
                      <a:pt x="2649730" y="6115500"/>
                      <a:pt x="2648744" y="6116487"/>
                      <a:pt x="2648744" y="6117473"/>
                    </a:cubicBezTo>
                    <a:cubicBezTo>
                      <a:pt x="2648744" y="6118459"/>
                      <a:pt x="2649485" y="6119445"/>
                      <a:pt x="2650717" y="6119445"/>
                    </a:cubicBezTo>
                    <a:cubicBezTo>
                      <a:pt x="2651703" y="6119445"/>
                      <a:pt x="2652689" y="6118459"/>
                      <a:pt x="2652689" y="6117473"/>
                    </a:cubicBezTo>
                    <a:close/>
                    <a:moveTo>
                      <a:pt x="2652689" y="6227447"/>
                    </a:moveTo>
                    <a:cubicBezTo>
                      <a:pt x="2652689" y="6226461"/>
                      <a:pt x="2651703" y="6225474"/>
                      <a:pt x="2650717" y="6225474"/>
                    </a:cubicBezTo>
                    <a:cubicBezTo>
                      <a:pt x="2649730" y="6225474"/>
                      <a:pt x="2648744" y="6226461"/>
                      <a:pt x="2648744" y="6227447"/>
                    </a:cubicBezTo>
                    <a:cubicBezTo>
                      <a:pt x="2648744" y="6228433"/>
                      <a:pt x="2649730" y="6229420"/>
                      <a:pt x="2650717" y="6229420"/>
                    </a:cubicBezTo>
                    <a:cubicBezTo>
                      <a:pt x="2651949" y="6229420"/>
                      <a:pt x="2652689" y="6228433"/>
                      <a:pt x="2652689" y="6227447"/>
                    </a:cubicBezTo>
                    <a:close/>
                    <a:moveTo>
                      <a:pt x="2652689" y="6447147"/>
                    </a:moveTo>
                    <a:cubicBezTo>
                      <a:pt x="2652689" y="6446161"/>
                      <a:pt x="2651951" y="6445420"/>
                      <a:pt x="2650966" y="6445420"/>
                    </a:cubicBezTo>
                    <a:cubicBezTo>
                      <a:pt x="2650226" y="6445420"/>
                      <a:pt x="2649485" y="6446161"/>
                      <a:pt x="2649485" y="6447147"/>
                    </a:cubicBezTo>
                    <a:cubicBezTo>
                      <a:pt x="2649485" y="6447887"/>
                      <a:pt x="2650226" y="6448625"/>
                      <a:pt x="2650966" y="6448625"/>
                    </a:cubicBezTo>
                    <a:cubicBezTo>
                      <a:pt x="2651951" y="6448625"/>
                      <a:pt x="2652444" y="6448133"/>
                      <a:pt x="2652689" y="6447147"/>
                    </a:cubicBezTo>
                    <a:close/>
                    <a:moveTo>
                      <a:pt x="2654170" y="1835545"/>
                    </a:moveTo>
                    <a:cubicBezTo>
                      <a:pt x="2654170" y="1828639"/>
                      <a:pt x="2648745" y="1823217"/>
                      <a:pt x="2641844" y="1823217"/>
                    </a:cubicBezTo>
                    <a:cubicBezTo>
                      <a:pt x="2635185" y="1823217"/>
                      <a:pt x="2629513" y="1828639"/>
                      <a:pt x="2629513" y="1835545"/>
                    </a:cubicBezTo>
                    <a:cubicBezTo>
                      <a:pt x="2629513" y="1842198"/>
                      <a:pt x="2634939" y="1847869"/>
                      <a:pt x="2641844" y="1847869"/>
                    </a:cubicBezTo>
                    <a:cubicBezTo>
                      <a:pt x="2648498" y="1847869"/>
                      <a:pt x="2654170" y="1842198"/>
                      <a:pt x="2654170" y="1835545"/>
                    </a:cubicBezTo>
                    <a:close/>
                    <a:moveTo>
                      <a:pt x="2654416" y="6337418"/>
                    </a:moveTo>
                    <a:cubicBezTo>
                      <a:pt x="2654416" y="6335445"/>
                      <a:pt x="2652935" y="6333967"/>
                      <a:pt x="2650963" y="6333967"/>
                    </a:cubicBezTo>
                    <a:cubicBezTo>
                      <a:pt x="2648990" y="6333967"/>
                      <a:pt x="2647511" y="6335445"/>
                      <a:pt x="2647511" y="6337418"/>
                    </a:cubicBezTo>
                    <a:cubicBezTo>
                      <a:pt x="2647511" y="6339390"/>
                      <a:pt x="2648990" y="6340871"/>
                      <a:pt x="2650963" y="6340871"/>
                    </a:cubicBezTo>
                    <a:cubicBezTo>
                      <a:pt x="2652935" y="6340871"/>
                      <a:pt x="2654416" y="6339145"/>
                      <a:pt x="2654416" y="6337418"/>
                    </a:cubicBezTo>
                    <a:close/>
                    <a:moveTo>
                      <a:pt x="2654911" y="6007007"/>
                    </a:moveTo>
                    <a:cubicBezTo>
                      <a:pt x="2654911" y="6005526"/>
                      <a:pt x="2653676" y="6004293"/>
                      <a:pt x="2652198" y="6004293"/>
                    </a:cubicBezTo>
                    <a:cubicBezTo>
                      <a:pt x="2650717" y="6004293"/>
                      <a:pt x="2649485" y="6005526"/>
                      <a:pt x="2649485" y="6007007"/>
                    </a:cubicBezTo>
                    <a:cubicBezTo>
                      <a:pt x="2649485" y="6008485"/>
                      <a:pt x="2650717" y="6009720"/>
                      <a:pt x="2652198" y="6009720"/>
                    </a:cubicBezTo>
                    <a:cubicBezTo>
                      <a:pt x="2653676" y="6009720"/>
                      <a:pt x="2654911" y="6008485"/>
                      <a:pt x="2654911" y="6007007"/>
                    </a:cubicBezTo>
                    <a:close/>
                    <a:moveTo>
                      <a:pt x="2655403" y="6775831"/>
                    </a:moveTo>
                    <a:cubicBezTo>
                      <a:pt x="2655403" y="6774599"/>
                      <a:pt x="2654417" y="6773612"/>
                      <a:pt x="2653185" y="6773612"/>
                    </a:cubicBezTo>
                    <a:cubicBezTo>
                      <a:pt x="2651952" y="6773612"/>
                      <a:pt x="2650966" y="6774599"/>
                      <a:pt x="2650966" y="6775831"/>
                    </a:cubicBezTo>
                    <a:cubicBezTo>
                      <a:pt x="2650966" y="6777063"/>
                      <a:pt x="2651952" y="6778049"/>
                      <a:pt x="2653185" y="6778049"/>
                    </a:cubicBezTo>
                    <a:cubicBezTo>
                      <a:pt x="2654417" y="6778049"/>
                      <a:pt x="2655403" y="6777063"/>
                      <a:pt x="2655403" y="6775831"/>
                    </a:cubicBezTo>
                    <a:close/>
                    <a:moveTo>
                      <a:pt x="2655404" y="3699797"/>
                    </a:moveTo>
                    <a:cubicBezTo>
                      <a:pt x="2655404" y="3694127"/>
                      <a:pt x="2650718" y="3689441"/>
                      <a:pt x="2645046" y="3689441"/>
                    </a:cubicBezTo>
                    <a:cubicBezTo>
                      <a:pt x="2639376" y="3689441"/>
                      <a:pt x="2634691" y="3694127"/>
                      <a:pt x="2634691" y="3699797"/>
                    </a:cubicBezTo>
                    <a:cubicBezTo>
                      <a:pt x="2634691" y="3705468"/>
                      <a:pt x="2639376" y="3710155"/>
                      <a:pt x="2645046" y="3710155"/>
                    </a:cubicBezTo>
                    <a:cubicBezTo>
                      <a:pt x="2650966" y="3710155"/>
                      <a:pt x="2655404" y="3705468"/>
                      <a:pt x="2655404" y="3699797"/>
                    </a:cubicBezTo>
                    <a:close/>
                    <a:moveTo>
                      <a:pt x="2655648" y="5785830"/>
                    </a:moveTo>
                    <a:cubicBezTo>
                      <a:pt x="2655648" y="5784843"/>
                      <a:pt x="2654662" y="5783857"/>
                      <a:pt x="2653676" y="5783857"/>
                    </a:cubicBezTo>
                    <a:cubicBezTo>
                      <a:pt x="2652689" y="5783857"/>
                      <a:pt x="2651703" y="5784598"/>
                      <a:pt x="2651703" y="5785830"/>
                    </a:cubicBezTo>
                    <a:cubicBezTo>
                      <a:pt x="2651703" y="5786816"/>
                      <a:pt x="2652444" y="5787802"/>
                      <a:pt x="2653676" y="5787802"/>
                    </a:cubicBezTo>
                    <a:cubicBezTo>
                      <a:pt x="2654907" y="5787802"/>
                      <a:pt x="2655648" y="5786816"/>
                      <a:pt x="2655648" y="5785830"/>
                    </a:cubicBezTo>
                    <a:close/>
                    <a:moveTo>
                      <a:pt x="2656143" y="6885062"/>
                    </a:moveTo>
                    <a:cubicBezTo>
                      <a:pt x="2656143" y="6883584"/>
                      <a:pt x="2654911" y="6882598"/>
                      <a:pt x="2653679" y="6882598"/>
                    </a:cubicBezTo>
                    <a:cubicBezTo>
                      <a:pt x="2652198" y="6882598"/>
                      <a:pt x="2651211" y="6883829"/>
                      <a:pt x="2651211" y="6885062"/>
                    </a:cubicBezTo>
                    <a:cubicBezTo>
                      <a:pt x="2651211" y="6886543"/>
                      <a:pt x="2652444" y="6887530"/>
                      <a:pt x="2653679" y="6887530"/>
                    </a:cubicBezTo>
                    <a:cubicBezTo>
                      <a:pt x="2655157" y="6887530"/>
                      <a:pt x="2656143" y="6886543"/>
                      <a:pt x="2656143" y="6885062"/>
                    </a:cubicBezTo>
                    <a:close/>
                    <a:moveTo>
                      <a:pt x="2656388" y="6666102"/>
                    </a:moveTo>
                    <a:cubicBezTo>
                      <a:pt x="2656388" y="6664625"/>
                      <a:pt x="2655403" y="6663638"/>
                      <a:pt x="2653925" y="6663638"/>
                    </a:cubicBezTo>
                    <a:cubicBezTo>
                      <a:pt x="2652444" y="6663638"/>
                      <a:pt x="2651457" y="6664625"/>
                      <a:pt x="2651457" y="6666102"/>
                    </a:cubicBezTo>
                    <a:cubicBezTo>
                      <a:pt x="2651457" y="6667583"/>
                      <a:pt x="2652444" y="6668570"/>
                      <a:pt x="2653925" y="6668570"/>
                    </a:cubicBezTo>
                    <a:cubicBezTo>
                      <a:pt x="2655403" y="6668570"/>
                      <a:pt x="2656388" y="6667338"/>
                      <a:pt x="2656388" y="6666102"/>
                    </a:cubicBezTo>
                    <a:close/>
                    <a:moveTo>
                      <a:pt x="2656635" y="5341993"/>
                    </a:moveTo>
                    <a:cubicBezTo>
                      <a:pt x="2656635" y="5338047"/>
                      <a:pt x="2653429" y="5335088"/>
                      <a:pt x="2649730" y="5335088"/>
                    </a:cubicBezTo>
                    <a:cubicBezTo>
                      <a:pt x="2645785" y="5335088"/>
                      <a:pt x="2642826" y="5338294"/>
                      <a:pt x="2642826" y="5341993"/>
                    </a:cubicBezTo>
                    <a:cubicBezTo>
                      <a:pt x="2642826" y="5345938"/>
                      <a:pt x="2646032" y="5348897"/>
                      <a:pt x="2649730" y="5348897"/>
                    </a:cubicBezTo>
                    <a:cubicBezTo>
                      <a:pt x="2653676" y="5348897"/>
                      <a:pt x="2656635" y="5345692"/>
                      <a:pt x="2656635" y="5341993"/>
                    </a:cubicBezTo>
                    <a:close/>
                    <a:moveTo>
                      <a:pt x="2656635" y="6556380"/>
                    </a:moveTo>
                    <a:cubicBezTo>
                      <a:pt x="2656635" y="6554900"/>
                      <a:pt x="2655648" y="6553913"/>
                      <a:pt x="2654167" y="6553913"/>
                    </a:cubicBezTo>
                    <a:cubicBezTo>
                      <a:pt x="2652689" y="6553913"/>
                      <a:pt x="2651703" y="6554900"/>
                      <a:pt x="2651703" y="6556380"/>
                    </a:cubicBezTo>
                    <a:cubicBezTo>
                      <a:pt x="2651703" y="6557611"/>
                      <a:pt x="2652689" y="6558844"/>
                      <a:pt x="2654167" y="6558844"/>
                    </a:cubicBezTo>
                    <a:cubicBezTo>
                      <a:pt x="2655648" y="6558844"/>
                      <a:pt x="2656635" y="6557859"/>
                      <a:pt x="2656635" y="6556380"/>
                    </a:cubicBezTo>
                    <a:close/>
                    <a:moveTo>
                      <a:pt x="2657129" y="6994543"/>
                    </a:moveTo>
                    <a:cubicBezTo>
                      <a:pt x="2657129" y="6992570"/>
                      <a:pt x="2655648" y="6991091"/>
                      <a:pt x="2653676" y="6991091"/>
                    </a:cubicBezTo>
                    <a:cubicBezTo>
                      <a:pt x="2651703" y="6991091"/>
                      <a:pt x="2650225" y="6992570"/>
                      <a:pt x="2650225" y="6994543"/>
                    </a:cubicBezTo>
                    <a:cubicBezTo>
                      <a:pt x="2650225" y="6996518"/>
                      <a:pt x="2651703" y="6997996"/>
                      <a:pt x="2653676" y="6997996"/>
                    </a:cubicBezTo>
                    <a:cubicBezTo>
                      <a:pt x="2655648" y="6997996"/>
                      <a:pt x="2657129" y="6996518"/>
                      <a:pt x="2657129" y="6994543"/>
                    </a:cubicBezTo>
                    <a:close/>
                    <a:moveTo>
                      <a:pt x="2657866" y="5674871"/>
                    </a:moveTo>
                    <a:cubicBezTo>
                      <a:pt x="2657866" y="5672653"/>
                      <a:pt x="2656140" y="5670926"/>
                      <a:pt x="2653922" y="5670926"/>
                    </a:cubicBezTo>
                    <a:cubicBezTo>
                      <a:pt x="2651703" y="5670926"/>
                      <a:pt x="2649976" y="5672653"/>
                      <a:pt x="2649976" y="5674871"/>
                    </a:cubicBezTo>
                    <a:cubicBezTo>
                      <a:pt x="2649976" y="5677089"/>
                      <a:pt x="2651703" y="5678816"/>
                      <a:pt x="2653922" y="5678816"/>
                    </a:cubicBezTo>
                    <a:cubicBezTo>
                      <a:pt x="2656140" y="5678816"/>
                      <a:pt x="2657866" y="5677089"/>
                      <a:pt x="2657866" y="5674871"/>
                    </a:cubicBezTo>
                    <a:close/>
                    <a:moveTo>
                      <a:pt x="2657866" y="7103775"/>
                    </a:moveTo>
                    <a:cubicBezTo>
                      <a:pt x="2657866" y="7101557"/>
                      <a:pt x="2656140" y="7099830"/>
                      <a:pt x="2653922" y="7099830"/>
                    </a:cubicBezTo>
                    <a:cubicBezTo>
                      <a:pt x="2651703" y="7099830"/>
                      <a:pt x="2649976" y="7101557"/>
                      <a:pt x="2649976" y="7103775"/>
                    </a:cubicBezTo>
                    <a:cubicBezTo>
                      <a:pt x="2649976" y="7105995"/>
                      <a:pt x="2651703" y="7107721"/>
                      <a:pt x="2653922" y="7107721"/>
                    </a:cubicBezTo>
                    <a:cubicBezTo>
                      <a:pt x="2655894" y="7107721"/>
                      <a:pt x="2657621" y="7105995"/>
                      <a:pt x="2657866" y="7103775"/>
                    </a:cubicBezTo>
                    <a:close/>
                    <a:moveTo>
                      <a:pt x="2658607" y="7213255"/>
                    </a:moveTo>
                    <a:cubicBezTo>
                      <a:pt x="2658607" y="7210792"/>
                      <a:pt x="2656635" y="7208818"/>
                      <a:pt x="2654167" y="7208818"/>
                    </a:cubicBezTo>
                    <a:cubicBezTo>
                      <a:pt x="2651704" y="7208818"/>
                      <a:pt x="2649730" y="7210792"/>
                      <a:pt x="2649730" y="7213255"/>
                    </a:cubicBezTo>
                    <a:cubicBezTo>
                      <a:pt x="2649730" y="7215722"/>
                      <a:pt x="2651704" y="7217695"/>
                      <a:pt x="2654167" y="7217695"/>
                    </a:cubicBezTo>
                    <a:cubicBezTo>
                      <a:pt x="2656635" y="7217695"/>
                      <a:pt x="2658607" y="7215722"/>
                      <a:pt x="2658607" y="7213255"/>
                    </a:cubicBezTo>
                    <a:close/>
                    <a:moveTo>
                      <a:pt x="2658857" y="5896542"/>
                    </a:moveTo>
                    <a:cubicBezTo>
                      <a:pt x="2658857" y="5893091"/>
                      <a:pt x="2656143" y="5890378"/>
                      <a:pt x="2652690" y="5890378"/>
                    </a:cubicBezTo>
                    <a:cubicBezTo>
                      <a:pt x="2649239" y="5890378"/>
                      <a:pt x="2646526" y="5893091"/>
                      <a:pt x="2646526" y="5896542"/>
                    </a:cubicBezTo>
                    <a:cubicBezTo>
                      <a:pt x="2646526" y="5899995"/>
                      <a:pt x="2649239" y="5902708"/>
                      <a:pt x="2652690" y="5902708"/>
                    </a:cubicBezTo>
                    <a:cubicBezTo>
                      <a:pt x="2655898" y="5902708"/>
                      <a:pt x="2658857" y="5899995"/>
                      <a:pt x="2658857" y="5896542"/>
                    </a:cubicBezTo>
                    <a:close/>
                    <a:moveTo>
                      <a:pt x="2659100" y="1948437"/>
                    </a:moveTo>
                    <a:cubicBezTo>
                      <a:pt x="2659100" y="1939070"/>
                      <a:pt x="2651458" y="1931427"/>
                      <a:pt x="2642086" y="1931427"/>
                    </a:cubicBezTo>
                    <a:cubicBezTo>
                      <a:pt x="2632718" y="1931427"/>
                      <a:pt x="2625073" y="1939070"/>
                      <a:pt x="2625073" y="1948437"/>
                    </a:cubicBezTo>
                    <a:cubicBezTo>
                      <a:pt x="2625073" y="1957805"/>
                      <a:pt x="2632718" y="1965449"/>
                      <a:pt x="2642086" y="1965449"/>
                    </a:cubicBezTo>
                    <a:cubicBezTo>
                      <a:pt x="2651458" y="1965449"/>
                      <a:pt x="2659100" y="1957805"/>
                      <a:pt x="2659100" y="1948437"/>
                    </a:cubicBezTo>
                    <a:close/>
                    <a:moveTo>
                      <a:pt x="2659842" y="7431477"/>
                    </a:moveTo>
                    <a:cubicBezTo>
                      <a:pt x="2659842" y="7429504"/>
                      <a:pt x="2658116" y="7427776"/>
                      <a:pt x="2656143" y="7427776"/>
                    </a:cubicBezTo>
                    <a:cubicBezTo>
                      <a:pt x="2654170" y="7427776"/>
                      <a:pt x="2652444" y="7429504"/>
                      <a:pt x="2652444" y="7431477"/>
                    </a:cubicBezTo>
                    <a:cubicBezTo>
                      <a:pt x="2652444" y="7433448"/>
                      <a:pt x="2654170" y="7435172"/>
                      <a:pt x="2656143" y="7435172"/>
                    </a:cubicBezTo>
                    <a:cubicBezTo>
                      <a:pt x="2658362" y="7435172"/>
                      <a:pt x="2659842" y="7433448"/>
                      <a:pt x="2659842" y="7431477"/>
                    </a:cubicBezTo>
                    <a:close/>
                    <a:moveTo>
                      <a:pt x="2660583" y="7540708"/>
                    </a:moveTo>
                    <a:cubicBezTo>
                      <a:pt x="2660583" y="7538490"/>
                      <a:pt x="2658610" y="7536517"/>
                      <a:pt x="2656389" y="7536517"/>
                    </a:cubicBezTo>
                    <a:cubicBezTo>
                      <a:pt x="2654171" y="7536517"/>
                      <a:pt x="2652198" y="7538243"/>
                      <a:pt x="2652198" y="7540708"/>
                    </a:cubicBezTo>
                    <a:cubicBezTo>
                      <a:pt x="2652198" y="7542928"/>
                      <a:pt x="2653925" y="7544899"/>
                      <a:pt x="2656389" y="7544899"/>
                    </a:cubicBezTo>
                    <a:cubicBezTo>
                      <a:pt x="2658857" y="7544899"/>
                      <a:pt x="2660583" y="7542928"/>
                      <a:pt x="2660583" y="7540708"/>
                    </a:cubicBezTo>
                    <a:close/>
                    <a:moveTo>
                      <a:pt x="2661075" y="4548266"/>
                    </a:moveTo>
                    <a:cubicBezTo>
                      <a:pt x="2661075" y="4534952"/>
                      <a:pt x="2650225" y="4524102"/>
                      <a:pt x="2636909" y="4524102"/>
                    </a:cubicBezTo>
                    <a:cubicBezTo>
                      <a:pt x="2623595" y="4524102"/>
                      <a:pt x="2612746" y="4534952"/>
                      <a:pt x="2612746" y="4548266"/>
                    </a:cubicBezTo>
                    <a:cubicBezTo>
                      <a:pt x="2612746" y="4561582"/>
                      <a:pt x="2623595" y="4572432"/>
                      <a:pt x="2636909" y="4572432"/>
                    </a:cubicBezTo>
                    <a:cubicBezTo>
                      <a:pt x="2650225" y="4572432"/>
                      <a:pt x="2660829" y="4561582"/>
                      <a:pt x="2661075" y="4548266"/>
                    </a:cubicBezTo>
                    <a:close/>
                    <a:moveTo>
                      <a:pt x="2661321" y="7322244"/>
                    </a:moveTo>
                    <a:cubicBezTo>
                      <a:pt x="2661321" y="7319531"/>
                      <a:pt x="2659102" y="7317312"/>
                      <a:pt x="2656389" y="7317312"/>
                    </a:cubicBezTo>
                    <a:cubicBezTo>
                      <a:pt x="2653676" y="7317312"/>
                      <a:pt x="2651457" y="7319531"/>
                      <a:pt x="2651457" y="7322244"/>
                    </a:cubicBezTo>
                    <a:cubicBezTo>
                      <a:pt x="2651457" y="7324957"/>
                      <a:pt x="2653676" y="7327174"/>
                      <a:pt x="2656389" y="7327174"/>
                    </a:cubicBezTo>
                    <a:cubicBezTo>
                      <a:pt x="2659102" y="7327174"/>
                      <a:pt x="2661321" y="7324957"/>
                      <a:pt x="2661321" y="7322244"/>
                    </a:cubicBezTo>
                    <a:close/>
                    <a:moveTo>
                      <a:pt x="2664525" y="2061845"/>
                    </a:moveTo>
                    <a:cubicBezTo>
                      <a:pt x="2664525" y="2049514"/>
                      <a:pt x="2654416" y="2039404"/>
                      <a:pt x="2642089" y="2039404"/>
                    </a:cubicBezTo>
                    <a:cubicBezTo>
                      <a:pt x="2629759" y="2039404"/>
                      <a:pt x="2619649" y="2049514"/>
                      <a:pt x="2619649" y="2061845"/>
                    </a:cubicBezTo>
                    <a:cubicBezTo>
                      <a:pt x="2619649" y="2074173"/>
                      <a:pt x="2629759" y="2084283"/>
                      <a:pt x="2642089" y="2084283"/>
                    </a:cubicBezTo>
                    <a:cubicBezTo>
                      <a:pt x="2654416" y="2084283"/>
                      <a:pt x="2664525" y="2074419"/>
                      <a:pt x="2664525" y="2061845"/>
                    </a:cubicBezTo>
                    <a:close/>
                    <a:moveTo>
                      <a:pt x="2670689" y="4310567"/>
                    </a:moveTo>
                    <a:cubicBezTo>
                      <a:pt x="2670689" y="4288868"/>
                      <a:pt x="2652936" y="4271114"/>
                      <a:pt x="2631238" y="4271114"/>
                    </a:cubicBezTo>
                    <a:cubicBezTo>
                      <a:pt x="2609539" y="4271114"/>
                      <a:pt x="2591784" y="4288868"/>
                      <a:pt x="2591784" y="4310567"/>
                    </a:cubicBezTo>
                    <a:cubicBezTo>
                      <a:pt x="2591784" y="4332265"/>
                      <a:pt x="2609539" y="4350018"/>
                      <a:pt x="2631238" y="4350018"/>
                    </a:cubicBezTo>
                    <a:cubicBezTo>
                      <a:pt x="2652936" y="4350018"/>
                      <a:pt x="2670689" y="4332265"/>
                      <a:pt x="2670689" y="4310567"/>
                    </a:cubicBezTo>
                    <a:close/>
                    <a:moveTo>
                      <a:pt x="2672170" y="5117857"/>
                    </a:moveTo>
                    <a:cubicBezTo>
                      <a:pt x="2672170" y="5104540"/>
                      <a:pt x="2661321" y="5093691"/>
                      <a:pt x="2648004" y="5093691"/>
                    </a:cubicBezTo>
                    <a:cubicBezTo>
                      <a:pt x="2634691" y="5093691"/>
                      <a:pt x="2623841" y="5104540"/>
                      <a:pt x="2623841" y="5117857"/>
                    </a:cubicBezTo>
                    <a:cubicBezTo>
                      <a:pt x="2623841" y="5131171"/>
                      <a:pt x="2634691" y="5142020"/>
                      <a:pt x="2648004" y="5142020"/>
                    </a:cubicBezTo>
                    <a:cubicBezTo>
                      <a:pt x="2661321" y="5142020"/>
                      <a:pt x="2672170" y="5131171"/>
                      <a:pt x="2672170" y="5117857"/>
                    </a:cubicBezTo>
                    <a:close/>
                    <a:moveTo>
                      <a:pt x="2673401" y="1611164"/>
                    </a:moveTo>
                    <a:cubicBezTo>
                      <a:pt x="2673401" y="1592919"/>
                      <a:pt x="2658607" y="1578370"/>
                      <a:pt x="2640609" y="1578370"/>
                    </a:cubicBezTo>
                    <a:cubicBezTo>
                      <a:pt x="2622608" y="1578370"/>
                      <a:pt x="2608060" y="1593165"/>
                      <a:pt x="2608060" y="1611164"/>
                    </a:cubicBezTo>
                    <a:cubicBezTo>
                      <a:pt x="2608060" y="1629166"/>
                      <a:pt x="2622608" y="1643713"/>
                      <a:pt x="2640609" y="1643713"/>
                    </a:cubicBezTo>
                    <a:cubicBezTo>
                      <a:pt x="2658607" y="1643713"/>
                      <a:pt x="2673401" y="1628917"/>
                      <a:pt x="2673401" y="1611164"/>
                    </a:cubicBezTo>
                    <a:close/>
                    <a:moveTo>
                      <a:pt x="2677842" y="4187527"/>
                    </a:moveTo>
                    <a:cubicBezTo>
                      <a:pt x="2677842" y="4159911"/>
                      <a:pt x="2655404" y="4137225"/>
                      <a:pt x="2627540" y="4137225"/>
                    </a:cubicBezTo>
                    <a:cubicBezTo>
                      <a:pt x="2599924" y="4137225"/>
                      <a:pt x="2577239" y="4159665"/>
                      <a:pt x="2577239" y="4187527"/>
                    </a:cubicBezTo>
                    <a:cubicBezTo>
                      <a:pt x="2577239" y="4215143"/>
                      <a:pt x="2599678" y="4237829"/>
                      <a:pt x="2627540" y="4237829"/>
                    </a:cubicBezTo>
                    <a:cubicBezTo>
                      <a:pt x="2655404" y="4237829"/>
                      <a:pt x="2677842" y="4215143"/>
                      <a:pt x="2677842" y="4187527"/>
                    </a:cubicBezTo>
                    <a:close/>
                    <a:moveTo>
                      <a:pt x="2678088" y="4430402"/>
                    </a:moveTo>
                    <a:cubicBezTo>
                      <a:pt x="2678088" y="4406239"/>
                      <a:pt x="2658610" y="4386758"/>
                      <a:pt x="2634445" y="4386758"/>
                    </a:cubicBezTo>
                    <a:cubicBezTo>
                      <a:pt x="2610282" y="4386758"/>
                      <a:pt x="2590801" y="4406239"/>
                      <a:pt x="2590801" y="4430402"/>
                    </a:cubicBezTo>
                    <a:cubicBezTo>
                      <a:pt x="2590801" y="4454567"/>
                      <a:pt x="2610282" y="4474048"/>
                      <a:pt x="2634445" y="4474048"/>
                    </a:cubicBezTo>
                    <a:cubicBezTo>
                      <a:pt x="2658362" y="4474048"/>
                      <a:pt x="2678088" y="4454321"/>
                      <a:pt x="2678088" y="4430402"/>
                    </a:cubicBezTo>
                    <a:close/>
                    <a:moveTo>
                      <a:pt x="2678333" y="69054"/>
                    </a:moveTo>
                    <a:cubicBezTo>
                      <a:pt x="2678333" y="50317"/>
                      <a:pt x="2663045" y="35029"/>
                      <a:pt x="2644308" y="35029"/>
                    </a:cubicBezTo>
                    <a:cubicBezTo>
                      <a:pt x="2625568" y="35029"/>
                      <a:pt x="2610278" y="50317"/>
                      <a:pt x="2610278" y="69054"/>
                    </a:cubicBezTo>
                    <a:cubicBezTo>
                      <a:pt x="2610278" y="87792"/>
                      <a:pt x="2625568" y="103081"/>
                      <a:pt x="2644308" y="103081"/>
                    </a:cubicBezTo>
                    <a:cubicBezTo>
                      <a:pt x="2663045" y="103081"/>
                      <a:pt x="2678333" y="87792"/>
                      <a:pt x="2678333" y="69054"/>
                    </a:cubicBezTo>
                    <a:close/>
                    <a:moveTo>
                      <a:pt x="2678582" y="287964"/>
                    </a:moveTo>
                    <a:cubicBezTo>
                      <a:pt x="2678582" y="269225"/>
                      <a:pt x="2663539" y="254185"/>
                      <a:pt x="2644799" y="254185"/>
                    </a:cubicBezTo>
                    <a:cubicBezTo>
                      <a:pt x="2626060" y="254185"/>
                      <a:pt x="2611018" y="269471"/>
                      <a:pt x="2611018" y="287964"/>
                    </a:cubicBezTo>
                    <a:cubicBezTo>
                      <a:pt x="2611018" y="306703"/>
                      <a:pt x="2626308" y="321743"/>
                      <a:pt x="2644799" y="321743"/>
                    </a:cubicBezTo>
                    <a:cubicBezTo>
                      <a:pt x="2663539" y="321743"/>
                      <a:pt x="2678582" y="306457"/>
                      <a:pt x="2678582" y="287964"/>
                    </a:cubicBezTo>
                    <a:close/>
                    <a:moveTo>
                      <a:pt x="2679074" y="397421"/>
                    </a:moveTo>
                    <a:cubicBezTo>
                      <a:pt x="2679074" y="378681"/>
                      <a:pt x="2663785" y="363642"/>
                      <a:pt x="2645292" y="363642"/>
                    </a:cubicBezTo>
                    <a:cubicBezTo>
                      <a:pt x="2626552" y="363642"/>
                      <a:pt x="2611511" y="378928"/>
                      <a:pt x="2611511" y="397421"/>
                    </a:cubicBezTo>
                    <a:cubicBezTo>
                      <a:pt x="2611511" y="416160"/>
                      <a:pt x="2626798" y="431203"/>
                      <a:pt x="2645292" y="431203"/>
                    </a:cubicBezTo>
                    <a:cubicBezTo>
                      <a:pt x="2663785" y="431203"/>
                      <a:pt x="2678826" y="416160"/>
                      <a:pt x="2679074" y="397421"/>
                    </a:cubicBezTo>
                    <a:close/>
                    <a:moveTo>
                      <a:pt x="2679319" y="4779555"/>
                    </a:moveTo>
                    <a:cubicBezTo>
                      <a:pt x="2679319" y="4758102"/>
                      <a:pt x="2661566" y="4740594"/>
                      <a:pt x="2640116" y="4740594"/>
                    </a:cubicBezTo>
                    <a:cubicBezTo>
                      <a:pt x="2618663" y="4740594"/>
                      <a:pt x="2601156" y="4758102"/>
                      <a:pt x="2601156" y="4779555"/>
                    </a:cubicBezTo>
                    <a:cubicBezTo>
                      <a:pt x="2601156" y="4801006"/>
                      <a:pt x="2618663" y="4818513"/>
                      <a:pt x="2640116" y="4818513"/>
                    </a:cubicBezTo>
                    <a:cubicBezTo>
                      <a:pt x="2661811" y="4818513"/>
                      <a:pt x="2679319" y="4800759"/>
                      <a:pt x="2679319" y="4779555"/>
                    </a:cubicBezTo>
                    <a:close/>
                    <a:moveTo>
                      <a:pt x="2680555" y="178508"/>
                    </a:moveTo>
                    <a:cubicBezTo>
                      <a:pt x="2680555" y="158782"/>
                      <a:pt x="2664526" y="142757"/>
                      <a:pt x="2644799" y="142757"/>
                    </a:cubicBezTo>
                    <a:cubicBezTo>
                      <a:pt x="2625074" y="142757"/>
                      <a:pt x="2609047" y="158782"/>
                      <a:pt x="2609047" y="178508"/>
                    </a:cubicBezTo>
                    <a:cubicBezTo>
                      <a:pt x="2609047" y="198233"/>
                      <a:pt x="2625074" y="214260"/>
                      <a:pt x="2644799" y="214260"/>
                    </a:cubicBezTo>
                    <a:cubicBezTo>
                      <a:pt x="2664526" y="214260"/>
                      <a:pt x="2680555" y="198233"/>
                      <a:pt x="2680555" y="178508"/>
                    </a:cubicBezTo>
                    <a:close/>
                    <a:moveTo>
                      <a:pt x="2681295" y="1499479"/>
                    </a:moveTo>
                    <a:cubicBezTo>
                      <a:pt x="2681295" y="1477041"/>
                      <a:pt x="2663047" y="1458794"/>
                      <a:pt x="2640609" y="1458794"/>
                    </a:cubicBezTo>
                    <a:cubicBezTo>
                      <a:pt x="2618171" y="1458794"/>
                      <a:pt x="2599923" y="1477041"/>
                      <a:pt x="2599923" y="1499479"/>
                    </a:cubicBezTo>
                    <a:cubicBezTo>
                      <a:pt x="2599923" y="1521919"/>
                      <a:pt x="2618171" y="1540167"/>
                      <a:pt x="2640609" y="1540167"/>
                    </a:cubicBezTo>
                    <a:cubicBezTo>
                      <a:pt x="2663047" y="1540167"/>
                      <a:pt x="2681295" y="1521919"/>
                      <a:pt x="2681295" y="1499479"/>
                    </a:cubicBezTo>
                    <a:close/>
                    <a:moveTo>
                      <a:pt x="2681787" y="1388285"/>
                    </a:moveTo>
                    <a:cubicBezTo>
                      <a:pt x="2681787" y="1365356"/>
                      <a:pt x="2663047" y="1346864"/>
                      <a:pt x="2640363" y="1346864"/>
                    </a:cubicBezTo>
                    <a:cubicBezTo>
                      <a:pt x="2617432" y="1346864"/>
                      <a:pt x="2598937" y="1365356"/>
                      <a:pt x="2598937" y="1388285"/>
                    </a:cubicBezTo>
                    <a:cubicBezTo>
                      <a:pt x="2598937" y="1411215"/>
                      <a:pt x="2617432" y="1429711"/>
                      <a:pt x="2640363" y="1429711"/>
                    </a:cubicBezTo>
                    <a:cubicBezTo>
                      <a:pt x="2663047" y="1429711"/>
                      <a:pt x="2681541" y="1411215"/>
                      <a:pt x="2681787" y="1388285"/>
                    </a:cubicBezTo>
                    <a:close/>
                    <a:moveTo>
                      <a:pt x="2681788" y="3850951"/>
                    </a:moveTo>
                    <a:cubicBezTo>
                      <a:pt x="2681788" y="3849471"/>
                      <a:pt x="2680552" y="3848238"/>
                      <a:pt x="2679074" y="3848238"/>
                    </a:cubicBezTo>
                    <a:cubicBezTo>
                      <a:pt x="2677593" y="3848238"/>
                      <a:pt x="2676361" y="3849471"/>
                      <a:pt x="2676361" y="3850951"/>
                    </a:cubicBezTo>
                    <a:cubicBezTo>
                      <a:pt x="2676361" y="3852429"/>
                      <a:pt x="2677593" y="3853665"/>
                      <a:pt x="2679074" y="3853665"/>
                    </a:cubicBezTo>
                    <a:cubicBezTo>
                      <a:pt x="2680552" y="3853665"/>
                      <a:pt x="2681788" y="3852429"/>
                      <a:pt x="2681788" y="3850951"/>
                    </a:cubicBezTo>
                    <a:close/>
                    <a:moveTo>
                      <a:pt x="2685732" y="3363720"/>
                    </a:moveTo>
                    <a:cubicBezTo>
                      <a:pt x="2685732" y="3362239"/>
                      <a:pt x="2684497" y="3361007"/>
                      <a:pt x="2683019" y="3361007"/>
                    </a:cubicBezTo>
                    <a:cubicBezTo>
                      <a:pt x="2681538" y="3361007"/>
                      <a:pt x="2680306" y="3362239"/>
                      <a:pt x="2680306" y="3363720"/>
                    </a:cubicBezTo>
                    <a:cubicBezTo>
                      <a:pt x="2680306" y="3365198"/>
                      <a:pt x="2681538" y="3366430"/>
                      <a:pt x="2683019" y="3366430"/>
                    </a:cubicBezTo>
                    <a:cubicBezTo>
                      <a:pt x="2684497" y="3366430"/>
                      <a:pt x="2685732" y="3365198"/>
                      <a:pt x="2685732" y="3363720"/>
                    </a:cubicBezTo>
                    <a:close/>
                    <a:moveTo>
                      <a:pt x="2687951" y="2800551"/>
                    </a:moveTo>
                    <a:cubicBezTo>
                      <a:pt x="2687951" y="2793894"/>
                      <a:pt x="2682526" y="2788469"/>
                      <a:pt x="2675867" y="2788469"/>
                    </a:cubicBezTo>
                    <a:cubicBezTo>
                      <a:pt x="2669211" y="2788469"/>
                      <a:pt x="2663785" y="2793894"/>
                      <a:pt x="2663785" y="2800551"/>
                    </a:cubicBezTo>
                    <a:cubicBezTo>
                      <a:pt x="2663785" y="2807209"/>
                      <a:pt x="2669211" y="2812632"/>
                      <a:pt x="2675867" y="2812632"/>
                    </a:cubicBezTo>
                    <a:cubicBezTo>
                      <a:pt x="2682771" y="2812632"/>
                      <a:pt x="2688196" y="2807209"/>
                      <a:pt x="2687951" y="2800551"/>
                    </a:cubicBezTo>
                    <a:close/>
                    <a:moveTo>
                      <a:pt x="2687951" y="4891747"/>
                    </a:moveTo>
                    <a:cubicBezTo>
                      <a:pt x="2687951" y="4869062"/>
                      <a:pt x="2669457" y="4850568"/>
                      <a:pt x="2646772" y="4850568"/>
                    </a:cubicBezTo>
                    <a:cubicBezTo>
                      <a:pt x="2624087" y="4850568"/>
                      <a:pt x="2605594" y="4869062"/>
                      <a:pt x="2605594" y="4891747"/>
                    </a:cubicBezTo>
                    <a:cubicBezTo>
                      <a:pt x="2605594" y="4914432"/>
                      <a:pt x="2624087" y="4932926"/>
                      <a:pt x="2646772" y="4932926"/>
                    </a:cubicBezTo>
                    <a:cubicBezTo>
                      <a:pt x="2669457" y="4932926"/>
                      <a:pt x="2687951" y="4914432"/>
                      <a:pt x="2687951" y="4891747"/>
                    </a:cubicBezTo>
                    <a:close/>
                    <a:moveTo>
                      <a:pt x="2690664" y="3591553"/>
                    </a:moveTo>
                    <a:cubicBezTo>
                      <a:pt x="2690664" y="3587361"/>
                      <a:pt x="2687211" y="3583909"/>
                      <a:pt x="2683020" y="3583909"/>
                    </a:cubicBezTo>
                    <a:cubicBezTo>
                      <a:pt x="2678826" y="3583909"/>
                      <a:pt x="2675374" y="3587361"/>
                      <a:pt x="2675374" y="3591553"/>
                    </a:cubicBezTo>
                    <a:cubicBezTo>
                      <a:pt x="2675374" y="3595745"/>
                      <a:pt x="2678826" y="3599196"/>
                      <a:pt x="2683020" y="3599196"/>
                    </a:cubicBezTo>
                    <a:cubicBezTo>
                      <a:pt x="2687211" y="3599196"/>
                      <a:pt x="2690664" y="3595745"/>
                      <a:pt x="2690664" y="3591553"/>
                    </a:cubicBezTo>
                    <a:close/>
                    <a:moveTo>
                      <a:pt x="2694360" y="2931971"/>
                    </a:moveTo>
                    <a:cubicBezTo>
                      <a:pt x="2694360" y="2916684"/>
                      <a:pt x="2681787" y="2904109"/>
                      <a:pt x="2666498" y="2904109"/>
                    </a:cubicBezTo>
                    <a:cubicBezTo>
                      <a:pt x="2651211" y="2904109"/>
                      <a:pt x="2638635" y="2916684"/>
                      <a:pt x="2638635" y="2931971"/>
                    </a:cubicBezTo>
                    <a:cubicBezTo>
                      <a:pt x="2638635" y="2947260"/>
                      <a:pt x="2651211" y="2959836"/>
                      <a:pt x="2666498" y="2959836"/>
                    </a:cubicBezTo>
                    <a:cubicBezTo>
                      <a:pt x="2682032" y="2959836"/>
                      <a:pt x="2694360" y="2947260"/>
                      <a:pt x="2694360" y="2931971"/>
                    </a:cubicBezTo>
                    <a:close/>
                    <a:moveTo>
                      <a:pt x="2694363" y="2311613"/>
                    </a:moveTo>
                    <a:cubicBezTo>
                      <a:pt x="2694363" y="2308900"/>
                      <a:pt x="2692144" y="2306682"/>
                      <a:pt x="2689432" y="2306682"/>
                    </a:cubicBezTo>
                    <a:cubicBezTo>
                      <a:pt x="2686719" y="2306682"/>
                      <a:pt x="2684500" y="2308900"/>
                      <a:pt x="2684500" y="2311613"/>
                    </a:cubicBezTo>
                    <a:cubicBezTo>
                      <a:pt x="2684500" y="2314327"/>
                      <a:pt x="2686719" y="2316544"/>
                      <a:pt x="2689432" y="2316544"/>
                    </a:cubicBezTo>
                    <a:cubicBezTo>
                      <a:pt x="2692144" y="2316544"/>
                      <a:pt x="2694363" y="2314327"/>
                      <a:pt x="2694363" y="2311613"/>
                    </a:cubicBezTo>
                    <a:close/>
                    <a:moveTo>
                      <a:pt x="2699291" y="2194501"/>
                    </a:moveTo>
                    <a:cubicBezTo>
                      <a:pt x="2699291" y="2189569"/>
                      <a:pt x="2695346" y="2185623"/>
                      <a:pt x="2690414" y="2185623"/>
                    </a:cubicBezTo>
                    <a:cubicBezTo>
                      <a:pt x="2685484" y="2185623"/>
                      <a:pt x="2681538" y="2189569"/>
                      <a:pt x="2681538" y="2194501"/>
                    </a:cubicBezTo>
                    <a:cubicBezTo>
                      <a:pt x="2681538" y="2199431"/>
                      <a:pt x="2685484" y="2203379"/>
                      <a:pt x="2690414" y="2203379"/>
                    </a:cubicBezTo>
                    <a:cubicBezTo>
                      <a:pt x="2695346" y="2203379"/>
                      <a:pt x="2699291" y="2199431"/>
                      <a:pt x="2699291" y="2194501"/>
                    </a:cubicBezTo>
                    <a:close/>
                    <a:moveTo>
                      <a:pt x="2699541" y="3477389"/>
                    </a:moveTo>
                    <a:cubicBezTo>
                      <a:pt x="2699541" y="3475416"/>
                      <a:pt x="2697814" y="3473690"/>
                      <a:pt x="2695842" y="3473690"/>
                    </a:cubicBezTo>
                    <a:cubicBezTo>
                      <a:pt x="2693868" y="3473690"/>
                      <a:pt x="2692142" y="3475416"/>
                      <a:pt x="2692142" y="3477389"/>
                    </a:cubicBezTo>
                    <a:cubicBezTo>
                      <a:pt x="2692142" y="3479362"/>
                      <a:pt x="2693868" y="3481088"/>
                      <a:pt x="2695842" y="3481088"/>
                    </a:cubicBezTo>
                    <a:cubicBezTo>
                      <a:pt x="2697814" y="3481088"/>
                      <a:pt x="2699541" y="3479362"/>
                      <a:pt x="2699541" y="3477389"/>
                    </a:cubicBezTo>
                    <a:close/>
                    <a:moveTo>
                      <a:pt x="2705458" y="2429962"/>
                    </a:moveTo>
                    <a:cubicBezTo>
                      <a:pt x="2705458" y="2420099"/>
                      <a:pt x="2697568" y="2412209"/>
                      <a:pt x="2687705" y="2412209"/>
                    </a:cubicBezTo>
                    <a:cubicBezTo>
                      <a:pt x="2677842" y="2412209"/>
                      <a:pt x="2669951" y="2420099"/>
                      <a:pt x="2669951" y="2429962"/>
                    </a:cubicBezTo>
                    <a:cubicBezTo>
                      <a:pt x="2669951" y="2439825"/>
                      <a:pt x="2677842" y="2447717"/>
                      <a:pt x="2687705" y="2447717"/>
                    </a:cubicBezTo>
                    <a:cubicBezTo>
                      <a:pt x="2697568" y="2447717"/>
                      <a:pt x="2705458" y="2439825"/>
                      <a:pt x="2705458" y="2429962"/>
                    </a:cubicBezTo>
                    <a:close/>
                    <a:moveTo>
                      <a:pt x="2710390" y="2673817"/>
                    </a:moveTo>
                    <a:cubicBezTo>
                      <a:pt x="2710390" y="2658037"/>
                      <a:pt x="2697567" y="2645215"/>
                      <a:pt x="2681787" y="2645215"/>
                    </a:cubicBezTo>
                    <a:cubicBezTo>
                      <a:pt x="2666005" y="2645215"/>
                      <a:pt x="2653184" y="2658037"/>
                      <a:pt x="2653184" y="2673817"/>
                    </a:cubicBezTo>
                    <a:cubicBezTo>
                      <a:pt x="2653184" y="2689597"/>
                      <a:pt x="2666005" y="2702421"/>
                      <a:pt x="2681787" y="2702421"/>
                    </a:cubicBezTo>
                    <a:cubicBezTo>
                      <a:pt x="2697567" y="2702421"/>
                      <a:pt x="2710390" y="2689597"/>
                      <a:pt x="2710390" y="2673817"/>
                    </a:cubicBezTo>
                    <a:close/>
                    <a:moveTo>
                      <a:pt x="2712854" y="2550533"/>
                    </a:moveTo>
                    <a:cubicBezTo>
                      <a:pt x="2712854" y="2535247"/>
                      <a:pt x="2700528" y="2522917"/>
                      <a:pt x="2685238" y="2522917"/>
                    </a:cubicBezTo>
                    <a:cubicBezTo>
                      <a:pt x="2670198" y="2522917"/>
                      <a:pt x="2657622" y="2535247"/>
                      <a:pt x="2657622" y="2550533"/>
                    </a:cubicBezTo>
                    <a:cubicBezTo>
                      <a:pt x="2657622" y="2565822"/>
                      <a:pt x="2669952" y="2578150"/>
                      <a:pt x="2685238" y="2578150"/>
                    </a:cubicBezTo>
                    <a:cubicBezTo>
                      <a:pt x="2700528" y="2578150"/>
                      <a:pt x="2712854" y="2565822"/>
                      <a:pt x="2712854" y="2550533"/>
                    </a:cubicBezTo>
                    <a:close/>
                    <a:moveTo>
                      <a:pt x="2720745" y="3103832"/>
                    </a:moveTo>
                    <a:cubicBezTo>
                      <a:pt x="2720745" y="3080652"/>
                      <a:pt x="2702008" y="3061667"/>
                      <a:pt x="2678582" y="3061667"/>
                    </a:cubicBezTo>
                    <a:cubicBezTo>
                      <a:pt x="2655403" y="3061667"/>
                      <a:pt x="2636417" y="3080652"/>
                      <a:pt x="2636417" y="3103832"/>
                    </a:cubicBezTo>
                    <a:cubicBezTo>
                      <a:pt x="2636417" y="3127009"/>
                      <a:pt x="2655157" y="3145997"/>
                      <a:pt x="2678582" y="3145997"/>
                    </a:cubicBezTo>
                    <a:cubicBezTo>
                      <a:pt x="2702008" y="3145997"/>
                      <a:pt x="2720993" y="3127009"/>
                      <a:pt x="2720745" y="3103832"/>
                    </a:cubicBezTo>
                    <a:close/>
                    <a:moveTo>
                      <a:pt x="2736774" y="1068519"/>
                    </a:moveTo>
                    <a:cubicBezTo>
                      <a:pt x="2736774" y="1048547"/>
                      <a:pt x="2720499" y="1032519"/>
                      <a:pt x="2700772" y="1032519"/>
                    </a:cubicBezTo>
                    <a:cubicBezTo>
                      <a:pt x="2680800" y="1032519"/>
                      <a:pt x="2664774" y="1048794"/>
                      <a:pt x="2664774" y="1068519"/>
                    </a:cubicBezTo>
                    <a:cubicBezTo>
                      <a:pt x="2664774" y="1088499"/>
                      <a:pt x="2681048" y="1104522"/>
                      <a:pt x="2700772" y="1104522"/>
                    </a:cubicBezTo>
                    <a:cubicBezTo>
                      <a:pt x="2720499" y="1104522"/>
                      <a:pt x="2736528" y="1088253"/>
                      <a:pt x="2736774" y="1068519"/>
                    </a:cubicBezTo>
                    <a:close/>
                    <a:moveTo>
                      <a:pt x="2737266" y="847132"/>
                    </a:moveTo>
                    <a:cubicBezTo>
                      <a:pt x="2737266" y="827161"/>
                      <a:pt x="2721240" y="811134"/>
                      <a:pt x="2701268" y="811134"/>
                    </a:cubicBezTo>
                    <a:cubicBezTo>
                      <a:pt x="2681292" y="811134"/>
                      <a:pt x="2665265" y="827407"/>
                      <a:pt x="2665265" y="847132"/>
                    </a:cubicBezTo>
                    <a:cubicBezTo>
                      <a:pt x="2665265" y="867103"/>
                      <a:pt x="2681541" y="883127"/>
                      <a:pt x="2701268" y="883127"/>
                    </a:cubicBezTo>
                    <a:cubicBezTo>
                      <a:pt x="2720993" y="883127"/>
                      <a:pt x="2737266" y="867103"/>
                      <a:pt x="2737266" y="847132"/>
                    </a:cubicBezTo>
                    <a:close/>
                    <a:moveTo>
                      <a:pt x="2739484" y="516249"/>
                    </a:moveTo>
                    <a:cubicBezTo>
                      <a:pt x="2739484" y="494799"/>
                      <a:pt x="2721976" y="477293"/>
                      <a:pt x="2700526" y="477293"/>
                    </a:cubicBezTo>
                    <a:cubicBezTo>
                      <a:pt x="2679073" y="477293"/>
                      <a:pt x="2661566" y="494799"/>
                      <a:pt x="2661566" y="516249"/>
                    </a:cubicBezTo>
                    <a:cubicBezTo>
                      <a:pt x="2661566" y="537701"/>
                      <a:pt x="2679073" y="555209"/>
                      <a:pt x="2700526" y="555209"/>
                    </a:cubicBezTo>
                    <a:cubicBezTo>
                      <a:pt x="2721976" y="555209"/>
                      <a:pt x="2739484" y="537701"/>
                      <a:pt x="2739484" y="516249"/>
                    </a:cubicBezTo>
                    <a:close/>
                    <a:moveTo>
                      <a:pt x="2739731" y="957831"/>
                    </a:moveTo>
                    <a:cubicBezTo>
                      <a:pt x="2739731" y="936127"/>
                      <a:pt x="2722226" y="918618"/>
                      <a:pt x="2700528" y="918618"/>
                    </a:cubicBezTo>
                    <a:cubicBezTo>
                      <a:pt x="2678828" y="918618"/>
                      <a:pt x="2661321" y="936127"/>
                      <a:pt x="2661321" y="957831"/>
                    </a:cubicBezTo>
                    <a:cubicBezTo>
                      <a:pt x="2661321" y="979525"/>
                      <a:pt x="2678828" y="997035"/>
                      <a:pt x="2700528" y="997035"/>
                    </a:cubicBezTo>
                    <a:cubicBezTo>
                      <a:pt x="2722226" y="997035"/>
                      <a:pt x="2739731" y="979280"/>
                      <a:pt x="2739731" y="957831"/>
                    </a:cubicBezTo>
                    <a:close/>
                    <a:moveTo>
                      <a:pt x="2739979" y="626447"/>
                    </a:moveTo>
                    <a:cubicBezTo>
                      <a:pt x="2739979" y="604750"/>
                      <a:pt x="2722226" y="586997"/>
                      <a:pt x="2700528" y="586997"/>
                    </a:cubicBezTo>
                    <a:cubicBezTo>
                      <a:pt x="2678829" y="586997"/>
                      <a:pt x="2661075" y="604750"/>
                      <a:pt x="2661075" y="626447"/>
                    </a:cubicBezTo>
                    <a:cubicBezTo>
                      <a:pt x="2661075" y="648179"/>
                      <a:pt x="2678582" y="665938"/>
                      <a:pt x="2700528" y="665938"/>
                    </a:cubicBezTo>
                    <a:cubicBezTo>
                      <a:pt x="2722471" y="665938"/>
                      <a:pt x="2739979" y="648425"/>
                      <a:pt x="2739979" y="626447"/>
                    </a:cubicBezTo>
                    <a:close/>
                    <a:moveTo>
                      <a:pt x="2741457" y="3981387"/>
                    </a:moveTo>
                    <a:cubicBezTo>
                      <a:pt x="2741457" y="3963879"/>
                      <a:pt x="2727403" y="3949825"/>
                      <a:pt x="2709895" y="3949825"/>
                    </a:cubicBezTo>
                    <a:cubicBezTo>
                      <a:pt x="2692387" y="3949825"/>
                      <a:pt x="2678333" y="3963879"/>
                      <a:pt x="2678333" y="3981387"/>
                    </a:cubicBezTo>
                    <a:cubicBezTo>
                      <a:pt x="2678333" y="3998894"/>
                      <a:pt x="2692633" y="4012948"/>
                      <a:pt x="2709895" y="4012948"/>
                    </a:cubicBezTo>
                    <a:cubicBezTo>
                      <a:pt x="2727154" y="4012948"/>
                      <a:pt x="2741212" y="3998894"/>
                      <a:pt x="2741457" y="3981387"/>
                    </a:cubicBezTo>
                    <a:close/>
                    <a:moveTo>
                      <a:pt x="2741706" y="736930"/>
                    </a:moveTo>
                    <a:cubicBezTo>
                      <a:pt x="2741706" y="714489"/>
                      <a:pt x="2723457" y="696253"/>
                      <a:pt x="2701020" y="696253"/>
                    </a:cubicBezTo>
                    <a:cubicBezTo>
                      <a:pt x="2678336" y="696253"/>
                      <a:pt x="2660088" y="714489"/>
                      <a:pt x="2660088" y="736930"/>
                    </a:cubicBezTo>
                    <a:cubicBezTo>
                      <a:pt x="2660088" y="759369"/>
                      <a:pt x="2678582" y="777617"/>
                      <a:pt x="2701020" y="777617"/>
                    </a:cubicBezTo>
                    <a:cubicBezTo>
                      <a:pt x="2723457" y="777617"/>
                      <a:pt x="2741706" y="759369"/>
                      <a:pt x="2741706" y="736930"/>
                    </a:cubicBezTo>
                    <a:close/>
                    <a:moveTo>
                      <a:pt x="2743678" y="1179462"/>
                    </a:moveTo>
                    <a:cubicBezTo>
                      <a:pt x="2743678" y="1155794"/>
                      <a:pt x="2724444" y="1136561"/>
                      <a:pt x="2700772" y="1136561"/>
                    </a:cubicBezTo>
                    <a:cubicBezTo>
                      <a:pt x="2677101" y="1136561"/>
                      <a:pt x="2657869" y="1155794"/>
                      <a:pt x="2657869" y="1179462"/>
                    </a:cubicBezTo>
                    <a:cubicBezTo>
                      <a:pt x="2657869" y="1203140"/>
                      <a:pt x="2677101" y="1222372"/>
                      <a:pt x="2700772" y="1222372"/>
                    </a:cubicBezTo>
                    <a:cubicBezTo>
                      <a:pt x="2724444" y="1222372"/>
                      <a:pt x="2743678" y="1203140"/>
                      <a:pt x="2743678" y="1179462"/>
                    </a:cubicBezTo>
                    <a:close/>
                    <a:moveTo>
                      <a:pt x="2744416" y="1290897"/>
                    </a:moveTo>
                    <a:cubicBezTo>
                      <a:pt x="2744416" y="1266978"/>
                      <a:pt x="2724935" y="1247259"/>
                      <a:pt x="2700770" y="1247259"/>
                    </a:cubicBezTo>
                    <a:cubicBezTo>
                      <a:pt x="2676607" y="1247259"/>
                      <a:pt x="2656881" y="1266731"/>
                      <a:pt x="2656881" y="1290897"/>
                    </a:cubicBezTo>
                    <a:cubicBezTo>
                      <a:pt x="2656881" y="1314823"/>
                      <a:pt x="2676607" y="1334547"/>
                      <a:pt x="2700770" y="1334547"/>
                    </a:cubicBezTo>
                    <a:cubicBezTo>
                      <a:pt x="2724689" y="1334547"/>
                      <a:pt x="2744416" y="1315070"/>
                      <a:pt x="2744416" y="1290897"/>
                    </a:cubicBezTo>
                    <a:close/>
                    <a:moveTo>
                      <a:pt x="2745156" y="3753799"/>
                    </a:moveTo>
                    <a:cubicBezTo>
                      <a:pt x="2745156" y="3750592"/>
                      <a:pt x="2742692" y="3748127"/>
                      <a:pt x="2739487" y="3748127"/>
                    </a:cubicBezTo>
                    <a:cubicBezTo>
                      <a:pt x="2736279" y="3748127"/>
                      <a:pt x="2733815" y="3750592"/>
                      <a:pt x="2733815" y="3753799"/>
                    </a:cubicBezTo>
                    <a:cubicBezTo>
                      <a:pt x="2733815" y="3757004"/>
                      <a:pt x="2736279" y="3759469"/>
                      <a:pt x="2739487" y="3759469"/>
                    </a:cubicBezTo>
                    <a:cubicBezTo>
                      <a:pt x="2742446" y="3759469"/>
                      <a:pt x="2745156" y="3757004"/>
                      <a:pt x="2745156" y="3753799"/>
                    </a:cubicBezTo>
                    <a:close/>
                    <a:moveTo>
                      <a:pt x="2758225" y="1755904"/>
                    </a:moveTo>
                    <a:cubicBezTo>
                      <a:pt x="2758225" y="1752941"/>
                      <a:pt x="2755760" y="1750476"/>
                      <a:pt x="2752801" y="1750476"/>
                    </a:cubicBezTo>
                    <a:cubicBezTo>
                      <a:pt x="2749843" y="1750476"/>
                      <a:pt x="2747374" y="1752941"/>
                      <a:pt x="2747374" y="1755904"/>
                    </a:cubicBezTo>
                    <a:cubicBezTo>
                      <a:pt x="2747374" y="1758860"/>
                      <a:pt x="2749843" y="1761329"/>
                      <a:pt x="2752801" y="1761329"/>
                    </a:cubicBezTo>
                    <a:cubicBezTo>
                      <a:pt x="2755760" y="1761329"/>
                      <a:pt x="2758225" y="1758860"/>
                      <a:pt x="2758225" y="1755904"/>
                    </a:cubicBezTo>
                    <a:close/>
                    <a:moveTo>
                      <a:pt x="2759951" y="4618047"/>
                    </a:moveTo>
                    <a:cubicBezTo>
                      <a:pt x="2759951" y="4609416"/>
                      <a:pt x="2753047" y="4602512"/>
                      <a:pt x="2744416" y="4602512"/>
                    </a:cubicBezTo>
                    <a:cubicBezTo>
                      <a:pt x="2735785" y="4602512"/>
                      <a:pt x="2728881" y="4609416"/>
                      <a:pt x="2728881" y="4618047"/>
                    </a:cubicBezTo>
                    <a:cubicBezTo>
                      <a:pt x="2728881" y="4626675"/>
                      <a:pt x="2735785" y="4633579"/>
                      <a:pt x="2744416" y="4633579"/>
                    </a:cubicBezTo>
                    <a:cubicBezTo>
                      <a:pt x="2753047" y="4633579"/>
                      <a:pt x="2760197" y="4626675"/>
                      <a:pt x="2759951" y="4618047"/>
                    </a:cubicBezTo>
                    <a:close/>
                    <a:moveTo>
                      <a:pt x="2762169" y="5423856"/>
                    </a:moveTo>
                    <a:cubicBezTo>
                      <a:pt x="2762169" y="5423609"/>
                      <a:pt x="2761923" y="5423364"/>
                      <a:pt x="2761674" y="5423364"/>
                    </a:cubicBezTo>
                    <a:cubicBezTo>
                      <a:pt x="2761428" y="5423364"/>
                      <a:pt x="2761183" y="5423609"/>
                      <a:pt x="2761183" y="5423856"/>
                    </a:cubicBezTo>
                    <a:cubicBezTo>
                      <a:pt x="2761183" y="5424105"/>
                      <a:pt x="2761428" y="5424350"/>
                      <a:pt x="2761674" y="5424350"/>
                    </a:cubicBezTo>
                    <a:cubicBezTo>
                      <a:pt x="2761923" y="5424350"/>
                      <a:pt x="2762169" y="5424105"/>
                      <a:pt x="2762169" y="5423856"/>
                    </a:cubicBezTo>
                    <a:close/>
                    <a:moveTo>
                      <a:pt x="2763156" y="5196758"/>
                    </a:moveTo>
                    <a:cubicBezTo>
                      <a:pt x="2763156" y="5195032"/>
                      <a:pt x="2761678" y="5193553"/>
                      <a:pt x="2759951" y="5193553"/>
                    </a:cubicBezTo>
                    <a:cubicBezTo>
                      <a:pt x="2758224" y="5193553"/>
                      <a:pt x="2756746" y="5195032"/>
                      <a:pt x="2756746" y="5196758"/>
                    </a:cubicBezTo>
                    <a:cubicBezTo>
                      <a:pt x="2756746" y="5198485"/>
                      <a:pt x="2758224" y="5199963"/>
                      <a:pt x="2759951" y="5199963"/>
                    </a:cubicBezTo>
                    <a:cubicBezTo>
                      <a:pt x="2761923" y="5199963"/>
                      <a:pt x="2763404" y="5198485"/>
                      <a:pt x="2763156" y="5196758"/>
                    </a:cubicBezTo>
                    <a:close/>
                    <a:moveTo>
                      <a:pt x="2766118" y="1870547"/>
                    </a:moveTo>
                    <a:cubicBezTo>
                      <a:pt x="2766118" y="1863152"/>
                      <a:pt x="2759951" y="1856989"/>
                      <a:pt x="2752555" y="1856989"/>
                    </a:cubicBezTo>
                    <a:cubicBezTo>
                      <a:pt x="2745157" y="1856989"/>
                      <a:pt x="2738993" y="1863152"/>
                      <a:pt x="2738993" y="1870547"/>
                    </a:cubicBezTo>
                    <a:cubicBezTo>
                      <a:pt x="2738993" y="1877942"/>
                      <a:pt x="2745157" y="1884104"/>
                      <a:pt x="2752555" y="1884104"/>
                    </a:cubicBezTo>
                    <a:cubicBezTo>
                      <a:pt x="2760200" y="1884104"/>
                      <a:pt x="2766118" y="1877942"/>
                      <a:pt x="2766118" y="1870547"/>
                    </a:cubicBezTo>
                    <a:close/>
                    <a:moveTo>
                      <a:pt x="2766360" y="6094789"/>
                    </a:moveTo>
                    <a:cubicBezTo>
                      <a:pt x="2766360" y="6093803"/>
                      <a:pt x="2765622" y="6093062"/>
                      <a:pt x="2764637" y="6093062"/>
                    </a:cubicBezTo>
                    <a:cubicBezTo>
                      <a:pt x="2763650" y="6093062"/>
                      <a:pt x="2762909" y="6093803"/>
                      <a:pt x="2762909" y="6094789"/>
                    </a:cubicBezTo>
                    <a:cubicBezTo>
                      <a:pt x="2762909" y="6095774"/>
                      <a:pt x="2763650" y="6096516"/>
                      <a:pt x="2764637" y="6096516"/>
                    </a:cubicBezTo>
                    <a:cubicBezTo>
                      <a:pt x="2765622" y="6096516"/>
                      <a:pt x="2766360" y="6095774"/>
                      <a:pt x="2766360" y="6094789"/>
                    </a:cubicBezTo>
                    <a:close/>
                    <a:moveTo>
                      <a:pt x="2766360" y="6205749"/>
                    </a:moveTo>
                    <a:cubicBezTo>
                      <a:pt x="2766360" y="6204762"/>
                      <a:pt x="2765622" y="6204021"/>
                      <a:pt x="2764637" y="6204021"/>
                    </a:cubicBezTo>
                    <a:cubicBezTo>
                      <a:pt x="2763650" y="6204021"/>
                      <a:pt x="2762909" y="6204762"/>
                      <a:pt x="2762909" y="6205749"/>
                    </a:cubicBezTo>
                    <a:cubicBezTo>
                      <a:pt x="2762909" y="6206734"/>
                      <a:pt x="2763650" y="6207475"/>
                      <a:pt x="2764637" y="6207475"/>
                    </a:cubicBezTo>
                    <a:cubicBezTo>
                      <a:pt x="2765622" y="6207475"/>
                      <a:pt x="2766360" y="6206734"/>
                      <a:pt x="2766360" y="6205749"/>
                    </a:cubicBezTo>
                    <a:close/>
                    <a:moveTo>
                      <a:pt x="2767101" y="1985907"/>
                    </a:moveTo>
                    <a:cubicBezTo>
                      <a:pt x="2767101" y="1977773"/>
                      <a:pt x="2760443" y="1971116"/>
                      <a:pt x="2752306" y="1971116"/>
                    </a:cubicBezTo>
                    <a:cubicBezTo>
                      <a:pt x="2744416" y="1971116"/>
                      <a:pt x="2737757" y="1977773"/>
                      <a:pt x="2737757" y="1985907"/>
                    </a:cubicBezTo>
                    <a:cubicBezTo>
                      <a:pt x="2737757" y="1994041"/>
                      <a:pt x="2744170" y="2000698"/>
                      <a:pt x="2752306" y="2000698"/>
                    </a:cubicBezTo>
                    <a:cubicBezTo>
                      <a:pt x="2760443" y="2000698"/>
                      <a:pt x="2767101" y="1994041"/>
                      <a:pt x="2767101" y="1985907"/>
                    </a:cubicBezTo>
                    <a:close/>
                    <a:moveTo>
                      <a:pt x="2767101" y="4967199"/>
                    </a:moveTo>
                    <a:cubicBezTo>
                      <a:pt x="2767101" y="4961772"/>
                      <a:pt x="2762664" y="4957581"/>
                      <a:pt x="2757486" y="4957581"/>
                    </a:cubicBezTo>
                    <a:cubicBezTo>
                      <a:pt x="2752060" y="4957581"/>
                      <a:pt x="2747869" y="4962019"/>
                      <a:pt x="2747869" y="4967199"/>
                    </a:cubicBezTo>
                    <a:cubicBezTo>
                      <a:pt x="2747869" y="4972622"/>
                      <a:pt x="2752309" y="4976813"/>
                      <a:pt x="2757486" y="4976813"/>
                    </a:cubicBezTo>
                    <a:cubicBezTo>
                      <a:pt x="2762664" y="4976813"/>
                      <a:pt x="2767101" y="4972622"/>
                      <a:pt x="2767101" y="4967199"/>
                    </a:cubicBezTo>
                    <a:close/>
                    <a:moveTo>
                      <a:pt x="2768086" y="6316461"/>
                    </a:moveTo>
                    <a:cubicBezTo>
                      <a:pt x="2768086" y="6314733"/>
                      <a:pt x="2766855" y="6313501"/>
                      <a:pt x="2765128" y="6313501"/>
                    </a:cubicBezTo>
                    <a:cubicBezTo>
                      <a:pt x="2763402" y="6313501"/>
                      <a:pt x="2762169" y="6314733"/>
                      <a:pt x="2762169" y="6316461"/>
                    </a:cubicBezTo>
                    <a:cubicBezTo>
                      <a:pt x="2762169" y="6318187"/>
                      <a:pt x="2763402" y="6319420"/>
                      <a:pt x="2765128" y="6319420"/>
                    </a:cubicBezTo>
                    <a:cubicBezTo>
                      <a:pt x="2766606" y="6319420"/>
                      <a:pt x="2768086" y="6317939"/>
                      <a:pt x="2768086" y="6316461"/>
                    </a:cubicBezTo>
                    <a:close/>
                    <a:moveTo>
                      <a:pt x="2768334" y="6427172"/>
                    </a:moveTo>
                    <a:cubicBezTo>
                      <a:pt x="2768334" y="6425446"/>
                      <a:pt x="2766856" y="6423967"/>
                      <a:pt x="2765129" y="6423967"/>
                    </a:cubicBezTo>
                    <a:cubicBezTo>
                      <a:pt x="2763403" y="6423967"/>
                      <a:pt x="2761923" y="6425446"/>
                      <a:pt x="2761923" y="6427172"/>
                    </a:cubicBezTo>
                    <a:cubicBezTo>
                      <a:pt x="2761923" y="6428899"/>
                      <a:pt x="2763403" y="6430377"/>
                      <a:pt x="2765129" y="6430377"/>
                    </a:cubicBezTo>
                    <a:cubicBezTo>
                      <a:pt x="2766856" y="6430377"/>
                      <a:pt x="2768334" y="6428899"/>
                      <a:pt x="2768334" y="6427172"/>
                    </a:cubicBezTo>
                    <a:close/>
                    <a:moveTo>
                      <a:pt x="2768337" y="5983338"/>
                    </a:moveTo>
                    <a:cubicBezTo>
                      <a:pt x="2768337" y="5982103"/>
                      <a:pt x="2767350" y="5980871"/>
                      <a:pt x="2765869" y="5980871"/>
                    </a:cubicBezTo>
                    <a:cubicBezTo>
                      <a:pt x="2764637" y="5980871"/>
                      <a:pt x="2763404" y="5981857"/>
                      <a:pt x="2763404" y="5983338"/>
                    </a:cubicBezTo>
                    <a:cubicBezTo>
                      <a:pt x="2763404" y="5984571"/>
                      <a:pt x="2764391" y="5985802"/>
                      <a:pt x="2765869" y="5985802"/>
                    </a:cubicBezTo>
                    <a:cubicBezTo>
                      <a:pt x="2767350" y="5985802"/>
                      <a:pt x="2768582" y="5984571"/>
                      <a:pt x="2768337" y="5983338"/>
                    </a:cubicBezTo>
                    <a:close/>
                    <a:moveTo>
                      <a:pt x="2768827" y="5759695"/>
                    </a:moveTo>
                    <a:cubicBezTo>
                      <a:pt x="2768827" y="5758708"/>
                      <a:pt x="2768090" y="5757967"/>
                      <a:pt x="2767103" y="5757967"/>
                    </a:cubicBezTo>
                    <a:cubicBezTo>
                      <a:pt x="2766118" y="5757967"/>
                      <a:pt x="2765377" y="5758708"/>
                      <a:pt x="2765377" y="5759695"/>
                    </a:cubicBezTo>
                    <a:cubicBezTo>
                      <a:pt x="2765377" y="5760680"/>
                      <a:pt x="2766118" y="5761421"/>
                      <a:pt x="2767103" y="5761421"/>
                    </a:cubicBezTo>
                    <a:cubicBezTo>
                      <a:pt x="2768090" y="5761421"/>
                      <a:pt x="2769077" y="5760680"/>
                      <a:pt x="2768827" y="5759695"/>
                    </a:cubicBezTo>
                    <a:close/>
                    <a:moveTo>
                      <a:pt x="2769074" y="4118484"/>
                    </a:moveTo>
                    <a:cubicBezTo>
                      <a:pt x="2769074" y="4092348"/>
                      <a:pt x="2747866" y="4071141"/>
                      <a:pt x="2721730" y="4071141"/>
                    </a:cubicBezTo>
                    <a:cubicBezTo>
                      <a:pt x="2695596" y="4071141"/>
                      <a:pt x="2674388" y="4092348"/>
                      <a:pt x="2674388" y="4118484"/>
                    </a:cubicBezTo>
                    <a:cubicBezTo>
                      <a:pt x="2674388" y="4144622"/>
                      <a:pt x="2695596" y="4165826"/>
                      <a:pt x="2721730" y="4165826"/>
                    </a:cubicBezTo>
                    <a:cubicBezTo>
                      <a:pt x="2747866" y="4165826"/>
                      <a:pt x="2769074" y="4144622"/>
                      <a:pt x="2769074" y="4118484"/>
                    </a:cubicBezTo>
                    <a:close/>
                    <a:moveTo>
                      <a:pt x="2769320" y="4249171"/>
                    </a:moveTo>
                    <a:cubicBezTo>
                      <a:pt x="2769320" y="4227471"/>
                      <a:pt x="2751815" y="4209964"/>
                      <a:pt x="2730117" y="4209964"/>
                    </a:cubicBezTo>
                    <a:cubicBezTo>
                      <a:pt x="2708417" y="4209964"/>
                      <a:pt x="2690910" y="4227471"/>
                      <a:pt x="2690910" y="4249171"/>
                    </a:cubicBezTo>
                    <a:cubicBezTo>
                      <a:pt x="2690910" y="4270869"/>
                      <a:pt x="2708417" y="4288374"/>
                      <a:pt x="2730117" y="4288374"/>
                    </a:cubicBezTo>
                    <a:cubicBezTo>
                      <a:pt x="2751815" y="4288374"/>
                      <a:pt x="2769320" y="4270623"/>
                      <a:pt x="2769320" y="4249171"/>
                    </a:cubicBezTo>
                    <a:close/>
                    <a:moveTo>
                      <a:pt x="2769815" y="6757338"/>
                    </a:moveTo>
                    <a:cubicBezTo>
                      <a:pt x="2769815" y="6756351"/>
                      <a:pt x="2768827" y="6755365"/>
                      <a:pt x="2767842" y="6755365"/>
                    </a:cubicBezTo>
                    <a:cubicBezTo>
                      <a:pt x="2766856" y="6755365"/>
                      <a:pt x="2765869" y="6756351"/>
                      <a:pt x="2765869" y="6757338"/>
                    </a:cubicBezTo>
                    <a:cubicBezTo>
                      <a:pt x="2765869" y="6758324"/>
                      <a:pt x="2766856" y="6759310"/>
                      <a:pt x="2767842" y="6759310"/>
                    </a:cubicBezTo>
                    <a:cubicBezTo>
                      <a:pt x="2769075" y="6759310"/>
                      <a:pt x="2769815" y="6758570"/>
                      <a:pt x="2769815" y="6757338"/>
                    </a:cubicBezTo>
                    <a:close/>
                    <a:moveTo>
                      <a:pt x="2770800" y="6867309"/>
                    </a:moveTo>
                    <a:cubicBezTo>
                      <a:pt x="2770800" y="6866077"/>
                      <a:pt x="2769812" y="6865090"/>
                      <a:pt x="2768579" y="6865090"/>
                    </a:cubicBezTo>
                    <a:cubicBezTo>
                      <a:pt x="2767346" y="6865090"/>
                      <a:pt x="2766360" y="6866077"/>
                      <a:pt x="2766360" y="6867309"/>
                    </a:cubicBezTo>
                    <a:cubicBezTo>
                      <a:pt x="2766360" y="6868543"/>
                      <a:pt x="2767346" y="6869527"/>
                      <a:pt x="2768579" y="6869527"/>
                    </a:cubicBezTo>
                    <a:cubicBezTo>
                      <a:pt x="2769564" y="6869527"/>
                      <a:pt x="2770551" y="6868543"/>
                      <a:pt x="2770800" y="6867309"/>
                    </a:cubicBezTo>
                    <a:close/>
                    <a:moveTo>
                      <a:pt x="2770801" y="2102285"/>
                    </a:moveTo>
                    <a:cubicBezTo>
                      <a:pt x="2770801" y="2091800"/>
                      <a:pt x="2762300" y="2083297"/>
                      <a:pt x="2751812" y="2083297"/>
                    </a:cubicBezTo>
                    <a:cubicBezTo>
                      <a:pt x="2741328" y="2083297"/>
                      <a:pt x="2732826" y="2091800"/>
                      <a:pt x="2732826" y="2102285"/>
                    </a:cubicBezTo>
                    <a:cubicBezTo>
                      <a:pt x="2732826" y="2112773"/>
                      <a:pt x="2741328" y="2121272"/>
                      <a:pt x="2751812" y="2121272"/>
                    </a:cubicBezTo>
                    <a:cubicBezTo>
                      <a:pt x="2762300" y="2121272"/>
                      <a:pt x="2770801" y="2112773"/>
                      <a:pt x="2770801" y="2102285"/>
                    </a:cubicBezTo>
                    <a:close/>
                    <a:moveTo>
                      <a:pt x="2771046" y="4497472"/>
                    </a:moveTo>
                    <a:cubicBezTo>
                      <a:pt x="2771046" y="4480951"/>
                      <a:pt x="2757485" y="4467388"/>
                      <a:pt x="2740966" y="4467388"/>
                    </a:cubicBezTo>
                    <a:cubicBezTo>
                      <a:pt x="2724445" y="4467388"/>
                      <a:pt x="2710882" y="4480951"/>
                      <a:pt x="2710882" y="4497472"/>
                    </a:cubicBezTo>
                    <a:cubicBezTo>
                      <a:pt x="2710882" y="4513991"/>
                      <a:pt x="2724445" y="4527553"/>
                      <a:pt x="2740966" y="4527553"/>
                    </a:cubicBezTo>
                    <a:cubicBezTo>
                      <a:pt x="2757485" y="4527553"/>
                      <a:pt x="2771046" y="4514236"/>
                      <a:pt x="2771046" y="4497472"/>
                    </a:cubicBezTo>
                    <a:close/>
                    <a:moveTo>
                      <a:pt x="2771046" y="5310432"/>
                    </a:moveTo>
                    <a:cubicBezTo>
                      <a:pt x="2771046" y="5305006"/>
                      <a:pt x="2766610" y="5300814"/>
                      <a:pt x="2761432" y="5300814"/>
                    </a:cubicBezTo>
                    <a:cubicBezTo>
                      <a:pt x="2756006" y="5300814"/>
                      <a:pt x="2751814" y="5305252"/>
                      <a:pt x="2751814" y="5310432"/>
                    </a:cubicBezTo>
                    <a:cubicBezTo>
                      <a:pt x="2751814" y="5315855"/>
                      <a:pt x="2756252" y="5320046"/>
                      <a:pt x="2761432" y="5320046"/>
                    </a:cubicBezTo>
                    <a:cubicBezTo>
                      <a:pt x="2766856" y="5320046"/>
                      <a:pt x="2771046" y="5315610"/>
                      <a:pt x="2771046" y="5310432"/>
                    </a:cubicBezTo>
                    <a:close/>
                    <a:moveTo>
                      <a:pt x="2771049" y="6536898"/>
                    </a:moveTo>
                    <a:cubicBezTo>
                      <a:pt x="2771049" y="6535666"/>
                      <a:pt x="2770060" y="6534679"/>
                      <a:pt x="2768827" y="6534679"/>
                    </a:cubicBezTo>
                    <a:cubicBezTo>
                      <a:pt x="2767596" y="6534679"/>
                      <a:pt x="2766609" y="6535666"/>
                      <a:pt x="2766609" y="6536898"/>
                    </a:cubicBezTo>
                    <a:cubicBezTo>
                      <a:pt x="2766609" y="6538132"/>
                      <a:pt x="2767596" y="6539116"/>
                      <a:pt x="2768827" y="6539116"/>
                    </a:cubicBezTo>
                    <a:cubicBezTo>
                      <a:pt x="2770307" y="6539116"/>
                      <a:pt x="2771295" y="6537883"/>
                      <a:pt x="2771049" y="6536898"/>
                    </a:cubicBezTo>
                    <a:close/>
                    <a:moveTo>
                      <a:pt x="2771049" y="6647117"/>
                    </a:moveTo>
                    <a:cubicBezTo>
                      <a:pt x="2771049" y="6645885"/>
                      <a:pt x="2770060" y="6644899"/>
                      <a:pt x="2768827" y="6644899"/>
                    </a:cubicBezTo>
                    <a:cubicBezTo>
                      <a:pt x="2767596" y="6644899"/>
                      <a:pt x="2766609" y="6645885"/>
                      <a:pt x="2766609" y="6647117"/>
                    </a:cubicBezTo>
                    <a:cubicBezTo>
                      <a:pt x="2766609" y="6648352"/>
                      <a:pt x="2767596" y="6649335"/>
                      <a:pt x="2768827" y="6649335"/>
                    </a:cubicBezTo>
                    <a:cubicBezTo>
                      <a:pt x="2770060" y="6649335"/>
                      <a:pt x="2771049" y="6648352"/>
                      <a:pt x="2771049" y="6647117"/>
                    </a:cubicBezTo>
                    <a:close/>
                    <a:moveTo>
                      <a:pt x="2771291" y="5647501"/>
                    </a:moveTo>
                    <a:cubicBezTo>
                      <a:pt x="2771291" y="5645283"/>
                      <a:pt x="2769319" y="5643310"/>
                      <a:pt x="2767100" y="5643310"/>
                    </a:cubicBezTo>
                    <a:cubicBezTo>
                      <a:pt x="2764882" y="5643310"/>
                      <a:pt x="2762909" y="5645283"/>
                      <a:pt x="2762909" y="5647501"/>
                    </a:cubicBezTo>
                    <a:cubicBezTo>
                      <a:pt x="2762909" y="5649720"/>
                      <a:pt x="2764882" y="5651692"/>
                      <a:pt x="2767100" y="5651692"/>
                    </a:cubicBezTo>
                    <a:cubicBezTo>
                      <a:pt x="2769567" y="5651692"/>
                      <a:pt x="2771291" y="5649968"/>
                      <a:pt x="2771291" y="5647501"/>
                    </a:cubicBezTo>
                    <a:close/>
                    <a:moveTo>
                      <a:pt x="2771786" y="6977283"/>
                    </a:moveTo>
                    <a:cubicBezTo>
                      <a:pt x="2771786" y="6975308"/>
                      <a:pt x="2770309" y="6973829"/>
                      <a:pt x="2768334" y="6973829"/>
                    </a:cubicBezTo>
                    <a:cubicBezTo>
                      <a:pt x="2766360" y="6973829"/>
                      <a:pt x="2764882" y="6975308"/>
                      <a:pt x="2764882" y="6977283"/>
                    </a:cubicBezTo>
                    <a:cubicBezTo>
                      <a:pt x="2764882" y="6979256"/>
                      <a:pt x="2766360" y="6980734"/>
                      <a:pt x="2768334" y="6980734"/>
                    </a:cubicBezTo>
                    <a:cubicBezTo>
                      <a:pt x="2770309" y="6980734"/>
                      <a:pt x="2771786" y="6979256"/>
                      <a:pt x="2771786" y="6977283"/>
                    </a:cubicBezTo>
                    <a:close/>
                    <a:moveTo>
                      <a:pt x="2772528" y="7087255"/>
                    </a:moveTo>
                    <a:cubicBezTo>
                      <a:pt x="2772528" y="7085036"/>
                      <a:pt x="2770801" y="7083309"/>
                      <a:pt x="2768582" y="7083309"/>
                    </a:cubicBezTo>
                    <a:cubicBezTo>
                      <a:pt x="2766363" y="7083309"/>
                      <a:pt x="2764637" y="7085036"/>
                      <a:pt x="2764637" y="7087255"/>
                    </a:cubicBezTo>
                    <a:cubicBezTo>
                      <a:pt x="2764637" y="7089473"/>
                      <a:pt x="2766363" y="7091199"/>
                      <a:pt x="2768582" y="7091199"/>
                    </a:cubicBezTo>
                    <a:cubicBezTo>
                      <a:pt x="2770801" y="7091199"/>
                      <a:pt x="2772528" y="7089473"/>
                      <a:pt x="2772528" y="7087255"/>
                    </a:cubicBezTo>
                    <a:close/>
                    <a:moveTo>
                      <a:pt x="2773264" y="5871638"/>
                    </a:moveTo>
                    <a:cubicBezTo>
                      <a:pt x="2773264" y="5867692"/>
                      <a:pt x="2770059" y="5864733"/>
                      <a:pt x="2766360" y="5864733"/>
                    </a:cubicBezTo>
                    <a:cubicBezTo>
                      <a:pt x="2762662" y="5864733"/>
                      <a:pt x="2759456" y="5867939"/>
                      <a:pt x="2759456" y="5871638"/>
                    </a:cubicBezTo>
                    <a:cubicBezTo>
                      <a:pt x="2759456" y="5875583"/>
                      <a:pt x="2762662" y="5878542"/>
                      <a:pt x="2766360" y="5878542"/>
                    </a:cubicBezTo>
                    <a:cubicBezTo>
                      <a:pt x="2770059" y="5878542"/>
                      <a:pt x="2773019" y="5875583"/>
                      <a:pt x="2773264" y="5871638"/>
                    </a:cubicBezTo>
                    <a:close/>
                    <a:moveTo>
                      <a:pt x="2773513" y="7197229"/>
                    </a:moveTo>
                    <a:cubicBezTo>
                      <a:pt x="2773513" y="7194761"/>
                      <a:pt x="2771541" y="7192542"/>
                      <a:pt x="2768827" y="7192542"/>
                    </a:cubicBezTo>
                    <a:cubicBezTo>
                      <a:pt x="2766360" y="7192542"/>
                      <a:pt x="2764141" y="7194516"/>
                      <a:pt x="2764141" y="7197229"/>
                    </a:cubicBezTo>
                    <a:cubicBezTo>
                      <a:pt x="2764141" y="7199693"/>
                      <a:pt x="2766115" y="7201914"/>
                      <a:pt x="2768827" y="7201914"/>
                    </a:cubicBezTo>
                    <a:cubicBezTo>
                      <a:pt x="2771541" y="7201914"/>
                      <a:pt x="2773759" y="7199693"/>
                      <a:pt x="2773513" y="7197229"/>
                    </a:cubicBezTo>
                    <a:close/>
                    <a:moveTo>
                      <a:pt x="2775237" y="7415943"/>
                    </a:moveTo>
                    <a:cubicBezTo>
                      <a:pt x="2775237" y="7413900"/>
                      <a:pt x="2773583" y="7412243"/>
                      <a:pt x="2771541" y="7412243"/>
                    </a:cubicBezTo>
                    <a:cubicBezTo>
                      <a:pt x="2769498" y="7412243"/>
                      <a:pt x="2767841" y="7413897"/>
                      <a:pt x="2767841" y="7415943"/>
                    </a:cubicBezTo>
                    <a:cubicBezTo>
                      <a:pt x="2767841" y="7417984"/>
                      <a:pt x="2769498" y="7419638"/>
                      <a:pt x="2771541" y="7419638"/>
                    </a:cubicBezTo>
                    <a:cubicBezTo>
                      <a:pt x="2773583" y="7419638"/>
                      <a:pt x="2775237" y="7417984"/>
                      <a:pt x="2775237" y="7415943"/>
                    </a:cubicBezTo>
                    <a:close/>
                    <a:moveTo>
                      <a:pt x="2775980" y="2875757"/>
                    </a:moveTo>
                    <a:cubicBezTo>
                      <a:pt x="2775980" y="2869840"/>
                      <a:pt x="2771296" y="2865155"/>
                      <a:pt x="2765378" y="2865155"/>
                    </a:cubicBezTo>
                    <a:cubicBezTo>
                      <a:pt x="2759459" y="2865155"/>
                      <a:pt x="2754773" y="2869840"/>
                      <a:pt x="2754773" y="2875757"/>
                    </a:cubicBezTo>
                    <a:cubicBezTo>
                      <a:pt x="2754773" y="2881676"/>
                      <a:pt x="2759459" y="2886362"/>
                      <a:pt x="2765378" y="2886362"/>
                    </a:cubicBezTo>
                    <a:cubicBezTo>
                      <a:pt x="2771296" y="2886362"/>
                      <a:pt x="2775980" y="2881427"/>
                      <a:pt x="2775980" y="2875757"/>
                    </a:cubicBezTo>
                    <a:close/>
                    <a:moveTo>
                      <a:pt x="2776227" y="7525668"/>
                    </a:moveTo>
                    <a:cubicBezTo>
                      <a:pt x="2776227" y="7523203"/>
                      <a:pt x="2774253" y="7521230"/>
                      <a:pt x="2771786" y="7521230"/>
                    </a:cubicBezTo>
                    <a:cubicBezTo>
                      <a:pt x="2769322" y="7521230"/>
                      <a:pt x="2767349" y="7523203"/>
                      <a:pt x="2767349" y="7525668"/>
                    </a:cubicBezTo>
                    <a:cubicBezTo>
                      <a:pt x="2767349" y="7528134"/>
                      <a:pt x="2769322" y="7530108"/>
                      <a:pt x="2771786" y="7530108"/>
                    </a:cubicBezTo>
                    <a:cubicBezTo>
                      <a:pt x="2774253" y="7530108"/>
                      <a:pt x="2776227" y="7528134"/>
                      <a:pt x="2776227" y="7525668"/>
                    </a:cubicBezTo>
                    <a:close/>
                    <a:moveTo>
                      <a:pt x="2776967" y="7306460"/>
                    </a:moveTo>
                    <a:cubicBezTo>
                      <a:pt x="2776967" y="7303501"/>
                      <a:pt x="2774745" y="7301282"/>
                      <a:pt x="2771786" y="7301282"/>
                    </a:cubicBezTo>
                    <a:cubicBezTo>
                      <a:pt x="2768827" y="7301282"/>
                      <a:pt x="2766609" y="7303501"/>
                      <a:pt x="2766609" y="7306460"/>
                    </a:cubicBezTo>
                    <a:cubicBezTo>
                      <a:pt x="2766609" y="7309172"/>
                      <a:pt x="2768827" y="7311640"/>
                      <a:pt x="2771786" y="7311640"/>
                    </a:cubicBezTo>
                    <a:cubicBezTo>
                      <a:pt x="2774499" y="7311640"/>
                      <a:pt x="2776967" y="7309172"/>
                      <a:pt x="2776967" y="7306460"/>
                    </a:cubicBezTo>
                    <a:close/>
                    <a:moveTo>
                      <a:pt x="2777950" y="3016301"/>
                    </a:moveTo>
                    <a:cubicBezTo>
                      <a:pt x="2777950" y="2999780"/>
                      <a:pt x="2764388" y="2986218"/>
                      <a:pt x="2747869" y="2986218"/>
                    </a:cubicBezTo>
                    <a:cubicBezTo>
                      <a:pt x="2731348" y="2986218"/>
                      <a:pt x="2717785" y="2999780"/>
                      <a:pt x="2717785" y="3016301"/>
                    </a:cubicBezTo>
                    <a:cubicBezTo>
                      <a:pt x="2717785" y="3032821"/>
                      <a:pt x="2731348" y="3046383"/>
                      <a:pt x="2747869" y="3046383"/>
                    </a:cubicBezTo>
                    <a:cubicBezTo>
                      <a:pt x="2764388" y="3046383"/>
                      <a:pt x="2777950" y="3032821"/>
                      <a:pt x="2777950" y="3016301"/>
                    </a:cubicBezTo>
                    <a:close/>
                    <a:moveTo>
                      <a:pt x="2779185" y="3200982"/>
                    </a:moveTo>
                    <a:cubicBezTo>
                      <a:pt x="2779185" y="3178788"/>
                      <a:pt x="2761184" y="3160789"/>
                      <a:pt x="2738993" y="3160789"/>
                    </a:cubicBezTo>
                    <a:cubicBezTo>
                      <a:pt x="2716799" y="3160789"/>
                      <a:pt x="2698800" y="3178788"/>
                      <a:pt x="2698800" y="3200982"/>
                    </a:cubicBezTo>
                    <a:cubicBezTo>
                      <a:pt x="2698800" y="3223172"/>
                      <a:pt x="2716799" y="3241173"/>
                      <a:pt x="2738993" y="3241173"/>
                    </a:cubicBezTo>
                    <a:cubicBezTo>
                      <a:pt x="2761432" y="3241173"/>
                      <a:pt x="2779432" y="3222926"/>
                      <a:pt x="2779185" y="3200982"/>
                    </a:cubicBezTo>
                    <a:close/>
                    <a:moveTo>
                      <a:pt x="2779431" y="4374924"/>
                    </a:moveTo>
                    <a:cubicBezTo>
                      <a:pt x="2779431" y="4351005"/>
                      <a:pt x="2759950" y="4331773"/>
                      <a:pt x="2736279" y="4331773"/>
                    </a:cubicBezTo>
                    <a:cubicBezTo>
                      <a:pt x="2712609" y="4331773"/>
                      <a:pt x="2693127" y="4351254"/>
                      <a:pt x="2693127" y="4374924"/>
                    </a:cubicBezTo>
                    <a:cubicBezTo>
                      <a:pt x="2693127" y="4398842"/>
                      <a:pt x="2712609" y="4418076"/>
                      <a:pt x="2736279" y="4418076"/>
                    </a:cubicBezTo>
                    <a:cubicBezTo>
                      <a:pt x="2760197" y="4418076"/>
                      <a:pt x="2779431" y="4398595"/>
                      <a:pt x="2779431" y="4374924"/>
                    </a:cubicBezTo>
                    <a:close/>
                    <a:moveTo>
                      <a:pt x="2781895" y="4736649"/>
                    </a:moveTo>
                    <a:cubicBezTo>
                      <a:pt x="2781895" y="4717418"/>
                      <a:pt x="2766361" y="4701882"/>
                      <a:pt x="2747374" y="4701882"/>
                    </a:cubicBezTo>
                    <a:cubicBezTo>
                      <a:pt x="2728143" y="4701882"/>
                      <a:pt x="2712609" y="4717663"/>
                      <a:pt x="2712609" y="4736649"/>
                    </a:cubicBezTo>
                    <a:cubicBezTo>
                      <a:pt x="2712609" y="4755637"/>
                      <a:pt x="2728143" y="4771169"/>
                      <a:pt x="2747374" y="4771169"/>
                    </a:cubicBezTo>
                    <a:cubicBezTo>
                      <a:pt x="2766609" y="4771169"/>
                      <a:pt x="2781895" y="4755637"/>
                      <a:pt x="2781895" y="4736649"/>
                    </a:cubicBezTo>
                    <a:close/>
                    <a:moveTo>
                      <a:pt x="2783409" y="0"/>
                    </a:moveTo>
                    <a:lnTo>
                      <a:pt x="2734028" y="0"/>
                    </a:lnTo>
                    <a:lnTo>
                      <a:pt x="2734339" y="746"/>
                    </a:lnTo>
                    <a:cubicBezTo>
                      <a:pt x="2740596" y="7003"/>
                      <a:pt x="2749226" y="10887"/>
                      <a:pt x="2758719" y="10887"/>
                    </a:cubicBezTo>
                    <a:cubicBezTo>
                      <a:pt x="2768212" y="10887"/>
                      <a:pt x="2776842" y="7003"/>
                      <a:pt x="2783099" y="746"/>
                    </a:cubicBezTo>
                    <a:close/>
                    <a:moveTo>
                      <a:pt x="2786827" y="5082596"/>
                    </a:moveTo>
                    <a:cubicBezTo>
                      <a:pt x="2786827" y="5067310"/>
                      <a:pt x="2774499" y="5054733"/>
                      <a:pt x="2758965" y="5054733"/>
                    </a:cubicBezTo>
                    <a:cubicBezTo>
                      <a:pt x="2743678" y="5054733"/>
                      <a:pt x="2731101" y="5067310"/>
                      <a:pt x="2731101" y="5082596"/>
                    </a:cubicBezTo>
                    <a:cubicBezTo>
                      <a:pt x="2731101" y="5097885"/>
                      <a:pt x="2743678" y="5110461"/>
                      <a:pt x="2758965" y="5110461"/>
                    </a:cubicBezTo>
                    <a:cubicBezTo>
                      <a:pt x="2774253" y="5110461"/>
                      <a:pt x="2786827" y="5097885"/>
                      <a:pt x="2786827" y="5082596"/>
                    </a:cubicBezTo>
                    <a:close/>
                    <a:moveTo>
                      <a:pt x="2787568" y="1641987"/>
                    </a:moveTo>
                    <a:cubicBezTo>
                      <a:pt x="2787568" y="1622751"/>
                      <a:pt x="2771786" y="1606971"/>
                      <a:pt x="2752552" y="1606971"/>
                    </a:cubicBezTo>
                    <a:cubicBezTo>
                      <a:pt x="2733320" y="1606971"/>
                      <a:pt x="2717540" y="1622751"/>
                      <a:pt x="2717540" y="1641987"/>
                    </a:cubicBezTo>
                    <a:cubicBezTo>
                      <a:pt x="2717540" y="1661217"/>
                      <a:pt x="2733320" y="1676998"/>
                      <a:pt x="2752552" y="1676998"/>
                    </a:cubicBezTo>
                    <a:cubicBezTo>
                      <a:pt x="2771786" y="1676998"/>
                      <a:pt x="2787568" y="1661217"/>
                      <a:pt x="2787568" y="1641987"/>
                    </a:cubicBezTo>
                    <a:close/>
                    <a:moveTo>
                      <a:pt x="2793978" y="86315"/>
                    </a:moveTo>
                    <a:cubicBezTo>
                      <a:pt x="2793978" y="67081"/>
                      <a:pt x="2778196" y="51302"/>
                      <a:pt x="2758963" y="51302"/>
                    </a:cubicBezTo>
                    <a:cubicBezTo>
                      <a:pt x="2739731" y="51302"/>
                      <a:pt x="2723949" y="67081"/>
                      <a:pt x="2723949" y="86315"/>
                    </a:cubicBezTo>
                    <a:cubicBezTo>
                      <a:pt x="2723949" y="105547"/>
                      <a:pt x="2739731" y="121326"/>
                      <a:pt x="2758963" y="121326"/>
                    </a:cubicBezTo>
                    <a:cubicBezTo>
                      <a:pt x="2778442" y="121326"/>
                      <a:pt x="2793978" y="105547"/>
                      <a:pt x="2793978" y="86315"/>
                    </a:cubicBezTo>
                    <a:close/>
                    <a:moveTo>
                      <a:pt x="2793981" y="3646787"/>
                    </a:moveTo>
                    <a:cubicBezTo>
                      <a:pt x="2793981" y="3639389"/>
                      <a:pt x="2788063" y="3633471"/>
                      <a:pt x="2780664" y="3633471"/>
                    </a:cubicBezTo>
                    <a:cubicBezTo>
                      <a:pt x="2773513" y="3633471"/>
                      <a:pt x="2767596" y="3639634"/>
                      <a:pt x="2767596" y="3646787"/>
                    </a:cubicBezTo>
                    <a:cubicBezTo>
                      <a:pt x="2767596" y="3654183"/>
                      <a:pt x="2773513" y="3660101"/>
                      <a:pt x="2780664" y="3660101"/>
                    </a:cubicBezTo>
                    <a:cubicBezTo>
                      <a:pt x="2788063" y="3660101"/>
                      <a:pt x="2793981" y="3654183"/>
                      <a:pt x="2793981" y="3646787"/>
                    </a:cubicBezTo>
                    <a:close/>
                    <a:moveTo>
                      <a:pt x="2794471" y="306703"/>
                    </a:moveTo>
                    <a:cubicBezTo>
                      <a:pt x="2794471" y="287472"/>
                      <a:pt x="2778938" y="271937"/>
                      <a:pt x="2759704" y="271937"/>
                    </a:cubicBezTo>
                    <a:cubicBezTo>
                      <a:pt x="2740474" y="271937"/>
                      <a:pt x="2724938" y="287472"/>
                      <a:pt x="2724938" y="306703"/>
                    </a:cubicBezTo>
                    <a:cubicBezTo>
                      <a:pt x="2724938" y="325936"/>
                      <a:pt x="2740474" y="341468"/>
                      <a:pt x="2759704" y="341468"/>
                    </a:cubicBezTo>
                    <a:cubicBezTo>
                      <a:pt x="2778938" y="341468"/>
                      <a:pt x="2794471" y="325690"/>
                      <a:pt x="2794471" y="306703"/>
                    </a:cubicBezTo>
                    <a:close/>
                    <a:moveTo>
                      <a:pt x="2794717" y="416899"/>
                    </a:moveTo>
                    <a:cubicBezTo>
                      <a:pt x="2794717" y="397668"/>
                      <a:pt x="2779184" y="382135"/>
                      <a:pt x="2759950" y="382135"/>
                    </a:cubicBezTo>
                    <a:cubicBezTo>
                      <a:pt x="2740719" y="382135"/>
                      <a:pt x="2725184" y="397668"/>
                      <a:pt x="2725184" y="416899"/>
                    </a:cubicBezTo>
                    <a:cubicBezTo>
                      <a:pt x="2725184" y="436133"/>
                      <a:pt x="2740719" y="451664"/>
                      <a:pt x="2759950" y="451664"/>
                    </a:cubicBezTo>
                    <a:cubicBezTo>
                      <a:pt x="2779184" y="451664"/>
                      <a:pt x="2794717" y="436133"/>
                      <a:pt x="2794717" y="416899"/>
                    </a:cubicBezTo>
                    <a:close/>
                    <a:moveTo>
                      <a:pt x="2795704" y="1528823"/>
                    </a:moveTo>
                    <a:cubicBezTo>
                      <a:pt x="2795704" y="1505150"/>
                      <a:pt x="2776470" y="1485916"/>
                      <a:pt x="2752798" y="1485916"/>
                    </a:cubicBezTo>
                    <a:cubicBezTo>
                      <a:pt x="2729127" y="1485916"/>
                      <a:pt x="2709895" y="1505150"/>
                      <a:pt x="2709895" y="1528823"/>
                    </a:cubicBezTo>
                    <a:cubicBezTo>
                      <a:pt x="2709895" y="1552493"/>
                      <a:pt x="2729127" y="1571723"/>
                      <a:pt x="2752798" y="1571723"/>
                    </a:cubicBezTo>
                    <a:cubicBezTo>
                      <a:pt x="2776470" y="1571723"/>
                      <a:pt x="2795704" y="1552493"/>
                      <a:pt x="2795704" y="1528823"/>
                    </a:cubicBezTo>
                    <a:close/>
                    <a:moveTo>
                      <a:pt x="2796199" y="1415903"/>
                    </a:moveTo>
                    <a:cubicBezTo>
                      <a:pt x="2796199" y="1391737"/>
                      <a:pt x="2776472" y="1372259"/>
                      <a:pt x="2752555" y="1372259"/>
                    </a:cubicBezTo>
                    <a:cubicBezTo>
                      <a:pt x="2728638" y="1372259"/>
                      <a:pt x="2709157" y="1391983"/>
                      <a:pt x="2709157" y="1415903"/>
                    </a:cubicBezTo>
                    <a:cubicBezTo>
                      <a:pt x="2709157" y="1440068"/>
                      <a:pt x="2728638" y="1459544"/>
                      <a:pt x="2752555" y="1459544"/>
                    </a:cubicBezTo>
                    <a:cubicBezTo>
                      <a:pt x="2776718" y="1459544"/>
                      <a:pt x="2796199" y="1440068"/>
                      <a:pt x="2796199" y="1415903"/>
                    </a:cubicBezTo>
                    <a:close/>
                    <a:moveTo>
                      <a:pt x="2796444" y="196507"/>
                    </a:moveTo>
                    <a:cubicBezTo>
                      <a:pt x="2796444" y="176290"/>
                      <a:pt x="2779925" y="159769"/>
                      <a:pt x="2759705" y="159769"/>
                    </a:cubicBezTo>
                    <a:cubicBezTo>
                      <a:pt x="2739488" y="159769"/>
                      <a:pt x="2722966" y="176290"/>
                      <a:pt x="2722966" y="196507"/>
                    </a:cubicBezTo>
                    <a:cubicBezTo>
                      <a:pt x="2722966" y="216726"/>
                      <a:pt x="2739488" y="233244"/>
                      <a:pt x="2759705" y="233244"/>
                    </a:cubicBezTo>
                    <a:cubicBezTo>
                      <a:pt x="2779925" y="233244"/>
                      <a:pt x="2796444" y="216726"/>
                      <a:pt x="2796444" y="196507"/>
                    </a:cubicBezTo>
                    <a:close/>
                    <a:moveTo>
                      <a:pt x="2798418" y="2362410"/>
                    </a:moveTo>
                    <a:cubicBezTo>
                      <a:pt x="2798418" y="2359697"/>
                      <a:pt x="2796199" y="2357235"/>
                      <a:pt x="2793240" y="2357235"/>
                    </a:cubicBezTo>
                    <a:cubicBezTo>
                      <a:pt x="2790281" y="2357235"/>
                      <a:pt x="2787813" y="2359451"/>
                      <a:pt x="2787813" y="2362410"/>
                    </a:cubicBezTo>
                    <a:cubicBezTo>
                      <a:pt x="2787813" y="2365370"/>
                      <a:pt x="2790281" y="2367837"/>
                      <a:pt x="2793240" y="2367837"/>
                    </a:cubicBezTo>
                    <a:cubicBezTo>
                      <a:pt x="2796199" y="2367837"/>
                      <a:pt x="2798418" y="2365370"/>
                      <a:pt x="2798418" y="2362410"/>
                    </a:cubicBezTo>
                    <a:close/>
                    <a:moveTo>
                      <a:pt x="2799403" y="2741132"/>
                    </a:moveTo>
                    <a:cubicBezTo>
                      <a:pt x="2799403" y="2728556"/>
                      <a:pt x="2789294" y="2718447"/>
                      <a:pt x="2776717" y="2718447"/>
                    </a:cubicBezTo>
                    <a:cubicBezTo>
                      <a:pt x="2764141" y="2718447"/>
                      <a:pt x="2754032" y="2728556"/>
                      <a:pt x="2754032" y="2741132"/>
                    </a:cubicBezTo>
                    <a:cubicBezTo>
                      <a:pt x="2754032" y="2753708"/>
                      <a:pt x="2764141" y="2763817"/>
                      <a:pt x="2776717" y="2763817"/>
                    </a:cubicBezTo>
                    <a:cubicBezTo>
                      <a:pt x="2789294" y="2763817"/>
                      <a:pt x="2799403" y="2753708"/>
                      <a:pt x="2799403" y="2741132"/>
                    </a:cubicBezTo>
                    <a:close/>
                    <a:moveTo>
                      <a:pt x="2801867" y="4850815"/>
                    </a:moveTo>
                    <a:cubicBezTo>
                      <a:pt x="2801867" y="4825665"/>
                      <a:pt x="2781404" y="4805199"/>
                      <a:pt x="2756251" y="4805199"/>
                    </a:cubicBezTo>
                    <a:cubicBezTo>
                      <a:pt x="2731101" y="4805199"/>
                      <a:pt x="2710635" y="4825665"/>
                      <a:pt x="2710635" y="4850815"/>
                    </a:cubicBezTo>
                    <a:cubicBezTo>
                      <a:pt x="2710635" y="4875968"/>
                      <a:pt x="2731101" y="4896431"/>
                      <a:pt x="2756251" y="4896431"/>
                    </a:cubicBezTo>
                    <a:cubicBezTo>
                      <a:pt x="2781404" y="4896431"/>
                      <a:pt x="2801867" y="4875968"/>
                      <a:pt x="2801867" y="4850815"/>
                    </a:cubicBezTo>
                    <a:close/>
                    <a:moveTo>
                      <a:pt x="2802361" y="2241353"/>
                    </a:moveTo>
                    <a:cubicBezTo>
                      <a:pt x="2802361" y="2237651"/>
                      <a:pt x="2799403" y="2234938"/>
                      <a:pt x="2795949" y="2234938"/>
                    </a:cubicBezTo>
                    <a:cubicBezTo>
                      <a:pt x="2792499" y="2234938"/>
                      <a:pt x="2789540" y="2237898"/>
                      <a:pt x="2789540" y="2241353"/>
                    </a:cubicBezTo>
                    <a:cubicBezTo>
                      <a:pt x="2789540" y="2245051"/>
                      <a:pt x="2792499" y="2247765"/>
                      <a:pt x="2795949" y="2247765"/>
                    </a:cubicBezTo>
                    <a:cubicBezTo>
                      <a:pt x="2799403" y="2247765"/>
                      <a:pt x="2802116" y="2245051"/>
                      <a:pt x="2802361" y="2241353"/>
                    </a:cubicBezTo>
                    <a:close/>
                    <a:moveTo>
                      <a:pt x="2802853" y="2485690"/>
                    </a:moveTo>
                    <a:cubicBezTo>
                      <a:pt x="2802853" y="2478046"/>
                      <a:pt x="2796939" y="2471883"/>
                      <a:pt x="2789294" y="2471883"/>
                    </a:cubicBezTo>
                    <a:cubicBezTo>
                      <a:pt x="2781895" y="2471883"/>
                      <a:pt x="2775731" y="2478292"/>
                      <a:pt x="2775731" y="2485690"/>
                    </a:cubicBezTo>
                    <a:cubicBezTo>
                      <a:pt x="2775731" y="2493089"/>
                      <a:pt x="2781649" y="2499252"/>
                      <a:pt x="2789294" y="2499252"/>
                    </a:cubicBezTo>
                    <a:cubicBezTo>
                      <a:pt x="2796939" y="2499252"/>
                      <a:pt x="2802853" y="2493335"/>
                      <a:pt x="2802853" y="2485690"/>
                    </a:cubicBezTo>
                    <a:close/>
                    <a:moveTo>
                      <a:pt x="2806801" y="2611439"/>
                    </a:moveTo>
                    <a:cubicBezTo>
                      <a:pt x="2806801" y="2598862"/>
                      <a:pt x="2796693" y="2588753"/>
                      <a:pt x="2784116" y="2588753"/>
                    </a:cubicBezTo>
                    <a:cubicBezTo>
                      <a:pt x="2771540" y="2588753"/>
                      <a:pt x="2761431" y="2598862"/>
                      <a:pt x="2761431" y="2611439"/>
                    </a:cubicBezTo>
                    <a:cubicBezTo>
                      <a:pt x="2761431" y="2624015"/>
                      <a:pt x="2771540" y="2634123"/>
                      <a:pt x="2784116" y="2634123"/>
                    </a:cubicBezTo>
                    <a:cubicBezTo>
                      <a:pt x="2796693" y="2634123"/>
                      <a:pt x="2806801" y="2624015"/>
                      <a:pt x="2806801" y="2611439"/>
                    </a:cubicBezTo>
                    <a:close/>
                    <a:moveTo>
                      <a:pt x="2816911" y="3307501"/>
                    </a:moveTo>
                    <a:cubicBezTo>
                      <a:pt x="2816911" y="3287284"/>
                      <a:pt x="2800636" y="3271009"/>
                      <a:pt x="2780664" y="3271009"/>
                    </a:cubicBezTo>
                    <a:cubicBezTo>
                      <a:pt x="2760691" y="3271009"/>
                      <a:pt x="2744416" y="3287529"/>
                      <a:pt x="2744416" y="3307501"/>
                    </a:cubicBezTo>
                    <a:cubicBezTo>
                      <a:pt x="2744416" y="3327473"/>
                      <a:pt x="2760691" y="3343749"/>
                      <a:pt x="2780664" y="3343749"/>
                    </a:cubicBezTo>
                    <a:cubicBezTo>
                      <a:pt x="2800636" y="3343749"/>
                      <a:pt x="2816911" y="3327473"/>
                      <a:pt x="2816911" y="3307501"/>
                    </a:cubicBezTo>
                    <a:close/>
                    <a:moveTo>
                      <a:pt x="2818635" y="3890892"/>
                    </a:moveTo>
                    <a:cubicBezTo>
                      <a:pt x="2818635" y="3871661"/>
                      <a:pt x="2803102" y="3856126"/>
                      <a:pt x="2783868" y="3856126"/>
                    </a:cubicBezTo>
                    <a:cubicBezTo>
                      <a:pt x="2764637" y="3856126"/>
                      <a:pt x="2749102" y="3871661"/>
                      <a:pt x="2749102" y="3890892"/>
                    </a:cubicBezTo>
                    <a:cubicBezTo>
                      <a:pt x="2749102" y="3910127"/>
                      <a:pt x="2764637" y="3925661"/>
                      <a:pt x="2783868" y="3925661"/>
                    </a:cubicBezTo>
                    <a:cubicBezTo>
                      <a:pt x="2803102" y="3925661"/>
                      <a:pt x="2818884" y="3910127"/>
                      <a:pt x="2818635" y="3890892"/>
                    </a:cubicBezTo>
                    <a:close/>
                    <a:moveTo>
                      <a:pt x="2823074" y="3534595"/>
                    </a:moveTo>
                    <a:cubicBezTo>
                      <a:pt x="2823074" y="3522759"/>
                      <a:pt x="2813457" y="3513141"/>
                      <a:pt x="2801622" y="3513141"/>
                    </a:cubicBezTo>
                    <a:cubicBezTo>
                      <a:pt x="2789787" y="3513141"/>
                      <a:pt x="2780169" y="3522759"/>
                      <a:pt x="2780169" y="3534595"/>
                    </a:cubicBezTo>
                    <a:cubicBezTo>
                      <a:pt x="2780169" y="3546430"/>
                      <a:pt x="2789787" y="3556045"/>
                      <a:pt x="2801622" y="3556045"/>
                    </a:cubicBezTo>
                    <a:cubicBezTo>
                      <a:pt x="2813703" y="3556045"/>
                      <a:pt x="2823321" y="3546430"/>
                      <a:pt x="2823074" y="3534595"/>
                    </a:cubicBezTo>
                    <a:close/>
                    <a:moveTo>
                      <a:pt x="2831457" y="3419941"/>
                    </a:moveTo>
                    <a:cubicBezTo>
                      <a:pt x="2831457" y="3403419"/>
                      <a:pt x="2818144" y="3390105"/>
                      <a:pt x="2801622" y="3390105"/>
                    </a:cubicBezTo>
                    <a:cubicBezTo>
                      <a:pt x="2785101" y="3390105"/>
                      <a:pt x="2771786" y="3403419"/>
                      <a:pt x="2771786" y="3419941"/>
                    </a:cubicBezTo>
                    <a:cubicBezTo>
                      <a:pt x="2771786" y="3436462"/>
                      <a:pt x="2785101" y="3449775"/>
                      <a:pt x="2801622" y="3449775"/>
                    </a:cubicBezTo>
                    <a:cubicBezTo>
                      <a:pt x="2818144" y="3449775"/>
                      <a:pt x="2831457" y="3436462"/>
                      <a:pt x="2831457" y="3419941"/>
                    </a:cubicBezTo>
                    <a:close/>
                    <a:moveTo>
                      <a:pt x="2846994" y="3112713"/>
                    </a:moveTo>
                    <a:cubicBezTo>
                      <a:pt x="2846994" y="3094959"/>
                      <a:pt x="2832445" y="3080411"/>
                      <a:pt x="2814692" y="3080411"/>
                    </a:cubicBezTo>
                    <a:cubicBezTo>
                      <a:pt x="2796939" y="3080411"/>
                      <a:pt x="2782390" y="3094959"/>
                      <a:pt x="2782390" y="3112713"/>
                    </a:cubicBezTo>
                    <a:cubicBezTo>
                      <a:pt x="2782390" y="3130466"/>
                      <a:pt x="2796939" y="3145012"/>
                      <a:pt x="2814692" y="3145012"/>
                    </a:cubicBezTo>
                    <a:cubicBezTo>
                      <a:pt x="2832445" y="3145012"/>
                      <a:pt x="2846994" y="3130466"/>
                      <a:pt x="2846994" y="3112713"/>
                    </a:cubicBezTo>
                    <a:close/>
                    <a:moveTo>
                      <a:pt x="2848227" y="4037607"/>
                    </a:moveTo>
                    <a:cubicBezTo>
                      <a:pt x="2848227" y="4014181"/>
                      <a:pt x="2829241" y="3995195"/>
                      <a:pt x="2805816" y="3995195"/>
                    </a:cubicBezTo>
                    <a:cubicBezTo>
                      <a:pt x="2782390" y="3995195"/>
                      <a:pt x="2763404" y="4014181"/>
                      <a:pt x="2763404" y="4037607"/>
                    </a:cubicBezTo>
                    <a:cubicBezTo>
                      <a:pt x="2763404" y="4061032"/>
                      <a:pt x="2782390" y="4080018"/>
                      <a:pt x="2805816" y="4080018"/>
                    </a:cubicBezTo>
                    <a:cubicBezTo>
                      <a:pt x="2829241" y="4080018"/>
                      <a:pt x="2848227" y="4060787"/>
                      <a:pt x="2848227" y="4037607"/>
                    </a:cubicBezTo>
                    <a:close/>
                    <a:moveTo>
                      <a:pt x="2851186" y="1095648"/>
                    </a:moveTo>
                    <a:cubicBezTo>
                      <a:pt x="2851186" y="1075179"/>
                      <a:pt x="2834416" y="1058410"/>
                      <a:pt x="2813952" y="1058410"/>
                    </a:cubicBezTo>
                    <a:cubicBezTo>
                      <a:pt x="2793485" y="1058410"/>
                      <a:pt x="2776717" y="1075179"/>
                      <a:pt x="2776717" y="1095648"/>
                    </a:cubicBezTo>
                    <a:cubicBezTo>
                      <a:pt x="2776717" y="1116109"/>
                      <a:pt x="2793485" y="1132878"/>
                      <a:pt x="2813952" y="1132878"/>
                    </a:cubicBezTo>
                    <a:cubicBezTo>
                      <a:pt x="2834416" y="1132878"/>
                      <a:pt x="2850936" y="1116109"/>
                      <a:pt x="2851186" y="1095648"/>
                    </a:cubicBezTo>
                    <a:close/>
                    <a:moveTo>
                      <a:pt x="2851676" y="872279"/>
                    </a:moveTo>
                    <a:cubicBezTo>
                      <a:pt x="2851676" y="851818"/>
                      <a:pt x="2835156" y="835302"/>
                      <a:pt x="2814692" y="835302"/>
                    </a:cubicBezTo>
                    <a:cubicBezTo>
                      <a:pt x="2794226" y="835302"/>
                      <a:pt x="2777705" y="851818"/>
                      <a:pt x="2777705" y="872279"/>
                    </a:cubicBezTo>
                    <a:cubicBezTo>
                      <a:pt x="2777705" y="892749"/>
                      <a:pt x="2794226" y="909267"/>
                      <a:pt x="2814692" y="909267"/>
                    </a:cubicBezTo>
                    <a:cubicBezTo>
                      <a:pt x="2835156" y="909267"/>
                      <a:pt x="2851676" y="892503"/>
                      <a:pt x="2851676" y="872279"/>
                    </a:cubicBezTo>
                    <a:close/>
                    <a:moveTo>
                      <a:pt x="2852909" y="2962554"/>
                    </a:moveTo>
                    <a:cubicBezTo>
                      <a:pt x="2852909" y="2957373"/>
                      <a:pt x="2848718" y="2953182"/>
                      <a:pt x="2843540" y="2953182"/>
                    </a:cubicBezTo>
                    <a:cubicBezTo>
                      <a:pt x="2838361" y="2953182"/>
                      <a:pt x="2834169" y="2957373"/>
                      <a:pt x="2834169" y="2962554"/>
                    </a:cubicBezTo>
                    <a:cubicBezTo>
                      <a:pt x="2834169" y="2967731"/>
                      <a:pt x="2838361" y="2971922"/>
                      <a:pt x="2843540" y="2971922"/>
                    </a:cubicBezTo>
                    <a:cubicBezTo>
                      <a:pt x="2848718" y="2971922"/>
                      <a:pt x="2852909" y="2967731"/>
                      <a:pt x="2852909" y="2962554"/>
                    </a:cubicBezTo>
                    <a:close/>
                    <a:moveTo>
                      <a:pt x="2854141" y="538441"/>
                    </a:moveTo>
                    <a:cubicBezTo>
                      <a:pt x="2854141" y="516249"/>
                      <a:pt x="2836388" y="498251"/>
                      <a:pt x="2814197" y="498251"/>
                    </a:cubicBezTo>
                    <a:cubicBezTo>
                      <a:pt x="2792004" y="498251"/>
                      <a:pt x="2774004" y="516249"/>
                      <a:pt x="2774004" y="538441"/>
                    </a:cubicBezTo>
                    <a:cubicBezTo>
                      <a:pt x="2774004" y="560385"/>
                      <a:pt x="2792004" y="578384"/>
                      <a:pt x="2814197" y="578384"/>
                    </a:cubicBezTo>
                    <a:cubicBezTo>
                      <a:pt x="2836388" y="578384"/>
                      <a:pt x="2854141" y="560385"/>
                      <a:pt x="2854141" y="538441"/>
                    </a:cubicBezTo>
                    <a:close/>
                    <a:moveTo>
                      <a:pt x="2854391" y="983717"/>
                    </a:moveTo>
                    <a:cubicBezTo>
                      <a:pt x="2854391" y="961527"/>
                      <a:pt x="2836391" y="943276"/>
                      <a:pt x="2813952" y="943276"/>
                    </a:cubicBezTo>
                    <a:cubicBezTo>
                      <a:pt x="2791759" y="943276"/>
                      <a:pt x="2773513" y="961527"/>
                      <a:pt x="2773513" y="983717"/>
                    </a:cubicBezTo>
                    <a:cubicBezTo>
                      <a:pt x="2773513" y="1005911"/>
                      <a:pt x="2791759" y="1024158"/>
                      <a:pt x="2813952" y="1024158"/>
                    </a:cubicBezTo>
                    <a:cubicBezTo>
                      <a:pt x="2836391" y="1024158"/>
                      <a:pt x="2854391" y="1005911"/>
                      <a:pt x="2854391" y="983717"/>
                    </a:cubicBezTo>
                    <a:close/>
                    <a:moveTo>
                      <a:pt x="2854882" y="649414"/>
                    </a:moveTo>
                    <a:cubicBezTo>
                      <a:pt x="2854882" y="626942"/>
                      <a:pt x="2836637" y="608694"/>
                      <a:pt x="2814198" y="608694"/>
                    </a:cubicBezTo>
                    <a:cubicBezTo>
                      <a:pt x="2791759" y="608694"/>
                      <a:pt x="2773513" y="626942"/>
                      <a:pt x="2773513" y="649414"/>
                    </a:cubicBezTo>
                    <a:cubicBezTo>
                      <a:pt x="2773513" y="671854"/>
                      <a:pt x="2791759" y="690105"/>
                      <a:pt x="2814198" y="690105"/>
                    </a:cubicBezTo>
                    <a:cubicBezTo>
                      <a:pt x="2836637" y="690105"/>
                      <a:pt x="2854882" y="671854"/>
                      <a:pt x="2854882" y="649414"/>
                    </a:cubicBezTo>
                    <a:close/>
                    <a:moveTo>
                      <a:pt x="2856362" y="760848"/>
                    </a:moveTo>
                    <a:cubicBezTo>
                      <a:pt x="2856362" y="737669"/>
                      <a:pt x="2837622" y="718924"/>
                      <a:pt x="2814443" y="718924"/>
                    </a:cubicBezTo>
                    <a:cubicBezTo>
                      <a:pt x="2791266" y="718924"/>
                      <a:pt x="2772526" y="737669"/>
                      <a:pt x="2772526" y="760848"/>
                    </a:cubicBezTo>
                    <a:cubicBezTo>
                      <a:pt x="2772526" y="784025"/>
                      <a:pt x="2791266" y="802767"/>
                      <a:pt x="2814443" y="802767"/>
                    </a:cubicBezTo>
                    <a:cubicBezTo>
                      <a:pt x="2837622" y="802767"/>
                      <a:pt x="2856609" y="783779"/>
                      <a:pt x="2856362" y="760848"/>
                    </a:cubicBezTo>
                    <a:close/>
                    <a:moveTo>
                      <a:pt x="2857843" y="1208071"/>
                    </a:moveTo>
                    <a:cubicBezTo>
                      <a:pt x="2857843" y="1183660"/>
                      <a:pt x="2838115" y="1163934"/>
                      <a:pt x="2813706" y="1163934"/>
                    </a:cubicBezTo>
                    <a:cubicBezTo>
                      <a:pt x="2789294" y="1163934"/>
                      <a:pt x="2769567" y="1183660"/>
                      <a:pt x="2769567" y="1208071"/>
                    </a:cubicBezTo>
                    <a:cubicBezTo>
                      <a:pt x="2769567" y="1232482"/>
                      <a:pt x="2789294" y="1252206"/>
                      <a:pt x="2813706" y="1252206"/>
                    </a:cubicBezTo>
                    <a:cubicBezTo>
                      <a:pt x="2838115" y="1252206"/>
                      <a:pt x="2857843" y="1232235"/>
                      <a:pt x="2857843" y="1208071"/>
                    </a:cubicBezTo>
                    <a:close/>
                    <a:moveTo>
                      <a:pt x="2858584" y="1320491"/>
                    </a:moveTo>
                    <a:cubicBezTo>
                      <a:pt x="2858584" y="1295583"/>
                      <a:pt x="2838363" y="1275368"/>
                      <a:pt x="2813460" y="1275368"/>
                    </a:cubicBezTo>
                    <a:cubicBezTo>
                      <a:pt x="2788554" y="1275368"/>
                      <a:pt x="2768336" y="1295583"/>
                      <a:pt x="2768336" y="1320491"/>
                    </a:cubicBezTo>
                    <a:cubicBezTo>
                      <a:pt x="2768336" y="1345399"/>
                      <a:pt x="2788554" y="1365614"/>
                      <a:pt x="2813460" y="1365614"/>
                    </a:cubicBezTo>
                    <a:cubicBezTo>
                      <a:pt x="2838363" y="1365614"/>
                      <a:pt x="2858584" y="1345399"/>
                      <a:pt x="2858584" y="1320491"/>
                    </a:cubicBezTo>
                    <a:close/>
                    <a:moveTo>
                      <a:pt x="2859567" y="4176186"/>
                    </a:moveTo>
                    <a:cubicBezTo>
                      <a:pt x="2859567" y="4154733"/>
                      <a:pt x="2842060" y="4137225"/>
                      <a:pt x="2820609" y="4137225"/>
                    </a:cubicBezTo>
                    <a:cubicBezTo>
                      <a:pt x="2799156" y="4137225"/>
                      <a:pt x="2781649" y="4154733"/>
                      <a:pt x="2781649" y="4176186"/>
                    </a:cubicBezTo>
                    <a:cubicBezTo>
                      <a:pt x="2781649" y="4197636"/>
                      <a:pt x="2799156" y="4215143"/>
                      <a:pt x="2820609" y="4215143"/>
                    </a:cubicBezTo>
                    <a:cubicBezTo>
                      <a:pt x="2842308" y="4215143"/>
                      <a:pt x="2859813" y="4197636"/>
                      <a:pt x="2859567" y="4176186"/>
                    </a:cubicBezTo>
                    <a:close/>
                    <a:moveTo>
                      <a:pt x="2868690" y="1796113"/>
                    </a:moveTo>
                    <a:cubicBezTo>
                      <a:pt x="2868690" y="1792402"/>
                      <a:pt x="2865731" y="1789187"/>
                      <a:pt x="2861786" y="1789187"/>
                    </a:cubicBezTo>
                    <a:cubicBezTo>
                      <a:pt x="2858087" y="1789187"/>
                      <a:pt x="2854881" y="1792153"/>
                      <a:pt x="2854881" y="1796113"/>
                    </a:cubicBezTo>
                    <a:cubicBezTo>
                      <a:pt x="2854881" y="1799816"/>
                      <a:pt x="2857840" y="1803017"/>
                      <a:pt x="2861786" y="1803017"/>
                    </a:cubicBezTo>
                    <a:cubicBezTo>
                      <a:pt x="2865731" y="1803017"/>
                      <a:pt x="2868690" y="1799816"/>
                      <a:pt x="2868690" y="1796113"/>
                    </a:cubicBezTo>
                    <a:close/>
                    <a:moveTo>
                      <a:pt x="2872636" y="2031765"/>
                    </a:moveTo>
                    <a:cubicBezTo>
                      <a:pt x="2872636" y="2024615"/>
                      <a:pt x="2866718" y="2018943"/>
                      <a:pt x="2859567" y="2018943"/>
                    </a:cubicBezTo>
                    <a:cubicBezTo>
                      <a:pt x="2852417" y="2018943"/>
                      <a:pt x="2846746" y="2024615"/>
                      <a:pt x="2846746" y="2031765"/>
                    </a:cubicBezTo>
                    <a:cubicBezTo>
                      <a:pt x="2846746" y="2038917"/>
                      <a:pt x="2852417" y="2044590"/>
                      <a:pt x="2859567" y="2044590"/>
                    </a:cubicBezTo>
                    <a:cubicBezTo>
                      <a:pt x="2866718" y="2044590"/>
                      <a:pt x="2872636" y="2038670"/>
                      <a:pt x="2872636" y="2031765"/>
                    </a:cubicBezTo>
                    <a:close/>
                    <a:moveTo>
                      <a:pt x="2873376" y="4308593"/>
                    </a:moveTo>
                    <a:cubicBezTo>
                      <a:pt x="2873376" y="4285662"/>
                      <a:pt x="2854635" y="4266923"/>
                      <a:pt x="2831702" y="4266923"/>
                    </a:cubicBezTo>
                    <a:cubicBezTo>
                      <a:pt x="2808525" y="4266923"/>
                      <a:pt x="2789786" y="4285662"/>
                      <a:pt x="2789786" y="4308593"/>
                    </a:cubicBezTo>
                    <a:cubicBezTo>
                      <a:pt x="2789786" y="4331773"/>
                      <a:pt x="2808771" y="4350513"/>
                      <a:pt x="2831702" y="4350513"/>
                    </a:cubicBezTo>
                    <a:cubicBezTo>
                      <a:pt x="2854635" y="4350513"/>
                      <a:pt x="2873376" y="4331773"/>
                      <a:pt x="2873376" y="4308593"/>
                    </a:cubicBezTo>
                    <a:close/>
                    <a:moveTo>
                      <a:pt x="2873624" y="2151355"/>
                    </a:moveTo>
                    <a:cubicBezTo>
                      <a:pt x="2873624" y="2142724"/>
                      <a:pt x="2866471" y="2135819"/>
                      <a:pt x="2857843" y="2135819"/>
                    </a:cubicBezTo>
                    <a:cubicBezTo>
                      <a:pt x="2849212" y="2135819"/>
                      <a:pt x="2842308" y="2142724"/>
                      <a:pt x="2842308" y="2151355"/>
                    </a:cubicBezTo>
                    <a:cubicBezTo>
                      <a:pt x="2842308" y="2159987"/>
                      <a:pt x="2849212" y="2166895"/>
                      <a:pt x="2857843" y="2166895"/>
                    </a:cubicBezTo>
                    <a:cubicBezTo>
                      <a:pt x="2866471" y="2166895"/>
                      <a:pt x="2873376" y="2159987"/>
                      <a:pt x="2873624" y="2151355"/>
                    </a:cubicBezTo>
                    <a:close/>
                    <a:moveTo>
                      <a:pt x="2875103" y="4562073"/>
                    </a:moveTo>
                    <a:cubicBezTo>
                      <a:pt x="2875103" y="4546047"/>
                      <a:pt x="2862032" y="4532730"/>
                      <a:pt x="2845760" y="4532730"/>
                    </a:cubicBezTo>
                    <a:cubicBezTo>
                      <a:pt x="2829732" y="4532730"/>
                      <a:pt x="2816416" y="4545798"/>
                      <a:pt x="2816416" y="4562073"/>
                    </a:cubicBezTo>
                    <a:cubicBezTo>
                      <a:pt x="2816416" y="4578346"/>
                      <a:pt x="2829484" y="4591663"/>
                      <a:pt x="2845760" y="4591663"/>
                    </a:cubicBezTo>
                    <a:cubicBezTo>
                      <a:pt x="2862032" y="4591663"/>
                      <a:pt x="2875103" y="4578346"/>
                      <a:pt x="2875103" y="4562073"/>
                    </a:cubicBezTo>
                    <a:close/>
                    <a:moveTo>
                      <a:pt x="2875843" y="1913197"/>
                    </a:moveTo>
                    <a:cubicBezTo>
                      <a:pt x="2875843" y="1905062"/>
                      <a:pt x="2869184" y="1898405"/>
                      <a:pt x="2861048" y="1898405"/>
                    </a:cubicBezTo>
                    <a:cubicBezTo>
                      <a:pt x="2852912" y="1898405"/>
                      <a:pt x="2846253" y="1905062"/>
                      <a:pt x="2846253" y="1913197"/>
                    </a:cubicBezTo>
                    <a:cubicBezTo>
                      <a:pt x="2846253" y="1921330"/>
                      <a:pt x="2852912" y="1927987"/>
                      <a:pt x="2861048" y="1927987"/>
                    </a:cubicBezTo>
                    <a:cubicBezTo>
                      <a:pt x="2868939" y="1927987"/>
                      <a:pt x="2875597" y="1921330"/>
                      <a:pt x="2875843" y="1913197"/>
                    </a:cubicBezTo>
                    <a:close/>
                    <a:moveTo>
                      <a:pt x="2875843" y="5156322"/>
                    </a:moveTo>
                    <a:cubicBezTo>
                      <a:pt x="2875843" y="5152376"/>
                      <a:pt x="2872638" y="5149418"/>
                      <a:pt x="2868939" y="5149418"/>
                    </a:cubicBezTo>
                    <a:cubicBezTo>
                      <a:pt x="2864993" y="5149418"/>
                      <a:pt x="2862034" y="5152623"/>
                      <a:pt x="2862034" y="5156322"/>
                    </a:cubicBezTo>
                    <a:cubicBezTo>
                      <a:pt x="2862034" y="5160021"/>
                      <a:pt x="2865240" y="5163226"/>
                      <a:pt x="2868939" y="5163226"/>
                    </a:cubicBezTo>
                    <a:cubicBezTo>
                      <a:pt x="2872638" y="5163226"/>
                      <a:pt x="2875843" y="5160021"/>
                      <a:pt x="2875843" y="5156322"/>
                    </a:cubicBezTo>
                    <a:close/>
                    <a:moveTo>
                      <a:pt x="2878061" y="2819788"/>
                    </a:moveTo>
                    <a:cubicBezTo>
                      <a:pt x="2878061" y="2811406"/>
                      <a:pt x="2871158" y="2804501"/>
                      <a:pt x="2862772" y="2804501"/>
                    </a:cubicBezTo>
                    <a:cubicBezTo>
                      <a:pt x="2854390" y="2804501"/>
                      <a:pt x="2847486" y="2811406"/>
                      <a:pt x="2847486" y="2819788"/>
                    </a:cubicBezTo>
                    <a:cubicBezTo>
                      <a:pt x="2847486" y="2828172"/>
                      <a:pt x="2854390" y="2835077"/>
                      <a:pt x="2862772" y="2835077"/>
                    </a:cubicBezTo>
                    <a:cubicBezTo>
                      <a:pt x="2871158" y="2835077"/>
                      <a:pt x="2878061" y="2828172"/>
                      <a:pt x="2878061" y="2819788"/>
                    </a:cubicBezTo>
                    <a:close/>
                    <a:moveTo>
                      <a:pt x="2880034" y="3789307"/>
                    </a:moveTo>
                    <a:cubicBezTo>
                      <a:pt x="2880034" y="3768595"/>
                      <a:pt x="2863266" y="3751827"/>
                      <a:pt x="2842555" y="3751827"/>
                    </a:cubicBezTo>
                    <a:cubicBezTo>
                      <a:pt x="2821843" y="3751827"/>
                      <a:pt x="2805075" y="3768595"/>
                      <a:pt x="2805075" y="3789307"/>
                    </a:cubicBezTo>
                    <a:cubicBezTo>
                      <a:pt x="2805075" y="3810019"/>
                      <a:pt x="2821843" y="3826786"/>
                      <a:pt x="2842555" y="3826786"/>
                    </a:cubicBezTo>
                    <a:cubicBezTo>
                      <a:pt x="2863266" y="3826786"/>
                      <a:pt x="2880034" y="3810019"/>
                      <a:pt x="2880034" y="3789307"/>
                    </a:cubicBezTo>
                    <a:close/>
                    <a:moveTo>
                      <a:pt x="2880035" y="4436814"/>
                    </a:moveTo>
                    <a:cubicBezTo>
                      <a:pt x="2880035" y="4414374"/>
                      <a:pt x="2861786" y="4396374"/>
                      <a:pt x="2839597" y="4396374"/>
                    </a:cubicBezTo>
                    <a:cubicBezTo>
                      <a:pt x="2817406" y="4396374"/>
                      <a:pt x="2799157" y="4414623"/>
                      <a:pt x="2799157" y="4436814"/>
                    </a:cubicBezTo>
                    <a:cubicBezTo>
                      <a:pt x="2799157" y="4459252"/>
                      <a:pt x="2817406" y="4477252"/>
                      <a:pt x="2839597" y="4477252"/>
                    </a:cubicBezTo>
                    <a:cubicBezTo>
                      <a:pt x="2862035" y="4477252"/>
                      <a:pt x="2880035" y="4459252"/>
                      <a:pt x="2880035" y="4436814"/>
                    </a:cubicBezTo>
                    <a:close/>
                    <a:moveTo>
                      <a:pt x="2880526" y="6291065"/>
                    </a:moveTo>
                    <a:cubicBezTo>
                      <a:pt x="2880526" y="6289584"/>
                      <a:pt x="2879539" y="6288598"/>
                      <a:pt x="2878058" y="6288598"/>
                    </a:cubicBezTo>
                    <a:cubicBezTo>
                      <a:pt x="2876826" y="6288598"/>
                      <a:pt x="2875594" y="6289584"/>
                      <a:pt x="2875594" y="6291065"/>
                    </a:cubicBezTo>
                    <a:cubicBezTo>
                      <a:pt x="2875594" y="6292297"/>
                      <a:pt x="2876581" y="6293528"/>
                      <a:pt x="2878058" y="6293528"/>
                    </a:cubicBezTo>
                    <a:cubicBezTo>
                      <a:pt x="2879539" y="6293528"/>
                      <a:pt x="2880526" y="6292297"/>
                      <a:pt x="2880526" y="6291065"/>
                    </a:cubicBezTo>
                    <a:close/>
                    <a:moveTo>
                      <a:pt x="2880772" y="6067174"/>
                    </a:moveTo>
                    <a:cubicBezTo>
                      <a:pt x="2880772" y="6065199"/>
                      <a:pt x="2879294" y="6063721"/>
                      <a:pt x="2877319" y="6063721"/>
                    </a:cubicBezTo>
                    <a:cubicBezTo>
                      <a:pt x="2875345" y="6063721"/>
                      <a:pt x="2873867" y="6065199"/>
                      <a:pt x="2873867" y="6067174"/>
                    </a:cubicBezTo>
                    <a:cubicBezTo>
                      <a:pt x="2873867" y="6069147"/>
                      <a:pt x="2875345" y="6070625"/>
                      <a:pt x="2877319" y="6070625"/>
                    </a:cubicBezTo>
                    <a:cubicBezTo>
                      <a:pt x="2879294" y="6070625"/>
                      <a:pt x="2880772" y="6069147"/>
                      <a:pt x="2880772" y="6067174"/>
                    </a:cubicBezTo>
                    <a:close/>
                    <a:moveTo>
                      <a:pt x="2880775" y="5728130"/>
                    </a:moveTo>
                    <a:cubicBezTo>
                      <a:pt x="2880775" y="5727392"/>
                      <a:pt x="2880034" y="5726651"/>
                      <a:pt x="2879294" y="5726651"/>
                    </a:cubicBezTo>
                    <a:cubicBezTo>
                      <a:pt x="2878310" y="5726651"/>
                      <a:pt x="2877815" y="5727392"/>
                      <a:pt x="2877815" y="5728130"/>
                    </a:cubicBezTo>
                    <a:cubicBezTo>
                      <a:pt x="2877815" y="5728870"/>
                      <a:pt x="2878556" y="5729611"/>
                      <a:pt x="2879294" y="5729611"/>
                    </a:cubicBezTo>
                    <a:cubicBezTo>
                      <a:pt x="2880034" y="5729611"/>
                      <a:pt x="2880775" y="5728870"/>
                      <a:pt x="2880775" y="5728130"/>
                    </a:cubicBezTo>
                    <a:close/>
                    <a:moveTo>
                      <a:pt x="2881017" y="6179364"/>
                    </a:moveTo>
                    <a:cubicBezTo>
                      <a:pt x="2881017" y="6177391"/>
                      <a:pt x="2879539" y="6175914"/>
                      <a:pt x="2877568" y="6175914"/>
                    </a:cubicBezTo>
                    <a:cubicBezTo>
                      <a:pt x="2875346" y="6175914"/>
                      <a:pt x="2873867" y="6177391"/>
                      <a:pt x="2873867" y="6179364"/>
                    </a:cubicBezTo>
                    <a:cubicBezTo>
                      <a:pt x="2873867" y="6181340"/>
                      <a:pt x="2875594" y="6182818"/>
                      <a:pt x="2877568" y="6182818"/>
                    </a:cubicBezTo>
                    <a:cubicBezTo>
                      <a:pt x="2879539" y="6182818"/>
                      <a:pt x="2881266" y="6181091"/>
                      <a:pt x="2881017" y="6179364"/>
                    </a:cubicBezTo>
                    <a:close/>
                    <a:moveTo>
                      <a:pt x="2881020" y="5954238"/>
                    </a:moveTo>
                    <a:cubicBezTo>
                      <a:pt x="2881020" y="5952760"/>
                      <a:pt x="2879789" y="5951774"/>
                      <a:pt x="2878556" y="5951774"/>
                    </a:cubicBezTo>
                    <a:cubicBezTo>
                      <a:pt x="2877075" y="5951774"/>
                      <a:pt x="2876089" y="5953006"/>
                      <a:pt x="2876089" y="5954238"/>
                    </a:cubicBezTo>
                    <a:cubicBezTo>
                      <a:pt x="2876089" y="5955719"/>
                      <a:pt x="2877320" y="5956706"/>
                      <a:pt x="2878556" y="5956706"/>
                    </a:cubicBezTo>
                    <a:cubicBezTo>
                      <a:pt x="2879789" y="5956706"/>
                      <a:pt x="2881020" y="5955719"/>
                      <a:pt x="2881020" y="5954238"/>
                    </a:cubicBezTo>
                    <a:close/>
                    <a:moveTo>
                      <a:pt x="2881266" y="6402269"/>
                    </a:moveTo>
                    <a:cubicBezTo>
                      <a:pt x="2881266" y="6400542"/>
                      <a:pt x="2879789" y="6399309"/>
                      <a:pt x="2878308" y="6399309"/>
                    </a:cubicBezTo>
                    <a:cubicBezTo>
                      <a:pt x="2876581" y="6399309"/>
                      <a:pt x="2875349" y="6400789"/>
                      <a:pt x="2875349" y="6402269"/>
                    </a:cubicBezTo>
                    <a:cubicBezTo>
                      <a:pt x="2875349" y="6403996"/>
                      <a:pt x="2876826" y="6405228"/>
                      <a:pt x="2878308" y="6405228"/>
                    </a:cubicBezTo>
                    <a:cubicBezTo>
                      <a:pt x="2879789" y="6405228"/>
                      <a:pt x="2881020" y="6403996"/>
                      <a:pt x="2881266" y="6402269"/>
                    </a:cubicBezTo>
                    <a:close/>
                    <a:moveTo>
                      <a:pt x="2882743" y="4684867"/>
                    </a:moveTo>
                    <a:cubicBezTo>
                      <a:pt x="2882743" y="4667113"/>
                      <a:pt x="2868443" y="4652813"/>
                      <a:pt x="2850690" y="4652813"/>
                    </a:cubicBezTo>
                    <a:cubicBezTo>
                      <a:pt x="2832937" y="4652813"/>
                      <a:pt x="2818634" y="4667113"/>
                      <a:pt x="2818634" y="4684867"/>
                    </a:cubicBezTo>
                    <a:cubicBezTo>
                      <a:pt x="2818634" y="4702620"/>
                      <a:pt x="2832937" y="4716923"/>
                      <a:pt x="2850690" y="4716923"/>
                    </a:cubicBezTo>
                    <a:cubicBezTo>
                      <a:pt x="2868194" y="4716923"/>
                      <a:pt x="2882743" y="4702375"/>
                      <a:pt x="2882743" y="4684867"/>
                    </a:cubicBezTo>
                    <a:close/>
                    <a:moveTo>
                      <a:pt x="2883238" y="5272215"/>
                    </a:moveTo>
                    <a:cubicBezTo>
                      <a:pt x="2883238" y="5265310"/>
                      <a:pt x="2877813" y="5259884"/>
                      <a:pt x="2870912" y="5259884"/>
                    </a:cubicBezTo>
                    <a:cubicBezTo>
                      <a:pt x="2864007" y="5259884"/>
                      <a:pt x="2858581" y="5265310"/>
                      <a:pt x="2858581" y="5272215"/>
                    </a:cubicBezTo>
                    <a:cubicBezTo>
                      <a:pt x="2858581" y="5279116"/>
                      <a:pt x="2864007" y="5284541"/>
                      <a:pt x="2870912" y="5284541"/>
                    </a:cubicBezTo>
                    <a:cubicBezTo>
                      <a:pt x="2877813" y="5284541"/>
                      <a:pt x="2883238" y="5278869"/>
                      <a:pt x="2883238" y="5272215"/>
                    </a:cubicBezTo>
                    <a:close/>
                    <a:moveTo>
                      <a:pt x="2883238" y="5614212"/>
                    </a:moveTo>
                    <a:cubicBezTo>
                      <a:pt x="2883238" y="5611749"/>
                      <a:pt x="2881266" y="5609776"/>
                      <a:pt x="2878798" y="5609776"/>
                    </a:cubicBezTo>
                    <a:cubicBezTo>
                      <a:pt x="2876335" y="5609776"/>
                      <a:pt x="2874362" y="5611749"/>
                      <a:pt x="2874362" y="5614212"/>
                    </a:cubicBezTo>
                    <a:cubicBezTo>
                      <a:pt x="2874362" y="5616680"/>
                      <a:pt x="2876335" y="5618652"/>
                      <a:pt x="2878798" y="5618652"/>
                    </a:cubicBezTo>
                    <a:cubicBezTo>
                      <a:pt x="2881266" y="5618652"/>
                      <a:pt x="2883238" y="5616680"/>
                      <a:pt x="2883238" y="5614212"/>
                    </a:cubicBezTo>
                    <a:close/>
                    <a:moveTo>
                      <a:pt x="2883731" y="6735148"/>
                    </a:moveTo>
                    <a:cubicBezTo>
                      <a:pt x="2883731" y="6734162"/>
                      <a:pt x="2882993" y="6733421"/>
                      <a:pt x="2882007" y="6733421"/>
                    </a:cubicBezTo>
                    <a:cubicBezTo>
                      <a:pt x="2881020" y="6733421"/>
                      <a:pt x="2880279" y="6734162"/>
                      <a:pt x="2880279" y="6735148"/>
                    </a:cubicBezTo>
                    <a:cubicBezTo>
                      <a:pt x="2880279" y="6736134"/>
                      <a:pt x="2881020" y="6736874"/>
                      <a:pt x="2882007" y="6736874"/>
                    </a:cubicBezTo>
                    <a:cubicBezTo>
                      <a:pt x="2882993" y="6736874"/>
                      <a:pt x="2883731" y="6736134"/>
                      <a:pt x="2883731" y="6735148"/>
                    </a:cubicBezTo>
                    <a:close/>
                    <a:moveTo>
                      <a:pt x="2884471" y="6845859"/>
                    </a:moveTo>
                    <a:cubicBezTo>
                      <a:pt x="2884471" y="6844872"/>
                      <a:pt x="2883484" y="6843886"/>
                      <a:pt x="2882498" y="6843886"/>
                    </a:cubicBezTo>
                    <a:cubicBezTo>
                      <a:pt x="2881512" y="6843886"/>
                      <a:pt x="2880525" y="6844872"/>
                      <a:pt x="2880525" y="6845859"/>
                    </a:cubicBezTo>
                    <a:cubicBezTo>
                      <a:pt x="2880525" y="6847091"/>
                      <a:pt x="2881512" y="6847831"/>
                      <a:pt x="2882498" y="6847831"/>
                    </a:cubicBezTo>
                    <a:cubicBezTo>
                      <a:pt x="2883731" y="6847831"/>
                      <a:pt x="2884471" y="6846845"/>
                      <a:pt x="2884471" y="6845859"/>
                    </a:cubicBezTo>
                    <a:close/>
                    <a:moveTo>
                      <a:pt x="2884716" y="6512736"/>
                    </a:moveTo>
                    <a:cubicBezTo>
                      <a:pt x="2884716" y="6511502"/>
                      <a:pt x="2883976" y="6510516"/>
                      <a:pt x="2882743" y="6510516"/>
                    </a:cubicBezTo>
                    <a:cubicBezTo>
                      <a:pt x="2881757" y="6510516"/>
                      <a:pt x="2880771" y="6511502"/>
                      <a:pt x="2880771" y="6512736"/>
                    </a:cubicBezTo>
                    <a:cubicBezTo>
                      <a:pt x="2880771" y="6513969"/>
                      <a:pt x="2881512" y="6514956"/>
                      <a:pt x="2882743" y="6514956"/>
                    </a:cubicBezTo>
                    <a:cubicBezTo>
                      <a:pt x="2883976" y="6514956"/>
                      <a:pt x="2884962" y="6513969"/>
                      <a:pt x="2884716" y="6512736"/>
                    </a:cubicBezTo>
                    <a:close/>
                    <a:moveTo>
                      <a:pt x="2884716" y="6623940"/>
                    </a:moveTo>
                    <a:cubicBezTo>
                      <a:pt x="2884716" y="6622954"/>
                      <a:pt x="2883976" y="6621968"/>
                      <a:pt x="2882744" y="6621968"/>
                    </a:cubicBezTo>
                    <a:cubicBezTo>
                      <a:pt x="2881757" y="6621968"/>
                      <a:pt x="2880771" y="6622709"/>
                      <a:pt x="2880771" y="6623940"/>
                    </a:cubicBezTo>
                    <a:cubicBezTo>
                      <a:pt x="2880771" y="6625173"/>
                      <a:pt x="2881512" y="6626159"/>
                      <a:pt x="2882744" y="6626159"/>
                    </a:cubicBezTo>
                    <a:cubicBezTo>
                      <a:pt x="2883976" y="6626159"/>
                      <a:pt x="2884716" y="6625173"/>
                      <a:pt x="2884716" y="6623940"/>
                    </a:cubicBezTo>
                    <a:close/>
                    <a:moveTo>
                      <a:pt x="2885951" y="6956573"/>
                    </a:moveTo>
                    <a:cubicBezTo>
                      <a:pt x="2885951" y="6954598"/>
                      <a:pt x="2884474" y="6953119"/>
                      <a:pt x="2882498" y="6953119"/>
                    </a:cubicBezTo>
                    <a:cubicBezTo>
                      <a:pt x="2880525" y="6953119"/>
                      <a:pt x="2879048" y="6954598"/>
                      <a:pt x="2879048" y="6956573"/>
                    </a:cubicBezTo>
                    <a:cubicBezTo>
                      <a:pt x="2879048" y="6958546"/>
                      <a:pt x="2880525" y="6960024"/>
                      <a:pt x="2882498" y="6960024"/>
                    </a:cubicBezTo>
                    <a:cubicBezTo>
                      <a:pt x="2884474" y="6960024"/>
                      <a:pt x="2885951" y="6958298"/>
                      <a:pt x="2885951" y="6956573"/>
                    </a:cubicBezTo>
                    <a:close/>
                    <a:moveTo>
                      <a:pt x="2886197" y="5841557"/>
                    </a:moveTo>
                    <a:cubicBezTo>
                      <a:pt x="2886197" y="5837365"/>
                      <a:pt x="2882747" y="5833912"/>
                      <a:pt x="2878556" y="5833912"/>
                    </a:cubicBezTo>
                    <a:cubicBezTo>
                      <a:pt x="2874362" y="5833912"/>
                      <a:pt x="2870911" y="5837365"/>
                      <a:pt x="2870911" y="5841557"/>
                    </a:cubicBezTo>
                    <a:cubicBezTo>
                      <a:pt x="2870911" y="5845748"/>
                      <a:pt x="2874362" y="5849201"/>
                      <a:pt x="2878556" y="5849201"/>
                    </a:cubicBezTo>
                    <a:cubicBezTo>
                      <a:pt x="2882747" y="5849201"/>
                      <a:pt x="2886197" y="5845748"/>
                      <a:pt x="2886197" y="5841557"/>
                    </a:cubicBezTo>
                    <a:close/>
                    <a:moveTo>
                      <a:pt x="2886935" y="7067036"/>
                    </a:moveTo>
                    <a:cubicBezTo>
                      <a:pt x="2886935" y="7064818"/>
                      <a:pt x="2884963" y="7062845"/>
                      <a:pt x="2882744" y="7062845"/>
                    </a:cubicBezTo>
                    <a:cubicBezTo>
                      <a:pt x="2880526" y="7062845"/>
                      <a:pt x="2878553" y="7064818"/>
                      <a:pt x="2878553" y="7067036"/>
                    </a:cubicBezTo>
                    <a:cubicBezTo>
                      <a:pt x="2878553" y="7069255"/>
                      <a:pt x="2880526" y="7071227"/>
                      <a:pt x="2882744" y="7071227"/>
                    </a:cubicBezTo>
                    <a:cubicBezTo>
                      <a:pt x="2884963" y="7071227"/>
                      <a:pt x="2886935" y="7069255"/>
                      <a:pt x="2886935" y="7067036"/>
                    </a:cubicBezTo>
                    <a:close/>
                    <a:moveTo>
                      <a:pt x="2887432" y="4921334"/>
                    </a:moveTo>
                    <a:cubicBezTo>
                      <a:pt x="2887432" y="4908759"/>
                      <a:pt x="2877075" y="4898403"/>
                      <a:pt x="2864499" y="4898403"/>
                    </a:cubicBezTo>
                    <a:cubicBezTo>
                      <a:pt x="2851924" y="4898403"/>
                      <a:pt x="2841568" y="4908759"/>
                      <a:pt x="2841568" y="4921334"/>
                    </a:cubicBezTo>
                    <a:cubicBezTo>
                      <a:pt x="2841568" y="4933910"/>
                      <a:pt x="2851924" y="4944268"/>
                      <a:pt x="2864499" y="4944268"/>
                    </a:cubicBezTo>
                    <a:cubicBezTo>
                      <a:pt x="2877075" y="4944268"/>
                      <a:pt x="2887432" y="4933910"/>
                      <a:pt x="2887432" y="4921334"/>
                    </a:cubicBezTo>
                    <a:close/>
                    <a:moveTo>
                      <a:pt x="2888170" y="7177256"/>
                    </a:moveTo>
                    <a:cubicBezTo>
                      <a:pt x="2888170" y="7174544"/>
                      <a:pt x="2885705" y="7172325"/>
                      <a:pt x="2882993" y="7172325"/>
                    </a:cubicBezTo>
                    <a:cubicBezTo>
                      <a:pt x="2880034" y="7172325"/>
                      <a:pt x="2877815" y="7174544"/>
                      <a:pt x="2877815" y="7177256"/>
                    </a:cubicBezTo>
                    <a:cubicBezTo>
                      <a:pt x="2877815" y="7180216"/>
                      <a:pt x="2880279" y="7182435"/>
                      <a:pt x="2882993" y="7182435"/>
                    </a:cubicBezTo>
                    <a:cubicBezTo>
                      <a:pt x="2885951" y="7182435"/>
                      <a:pt x="2888170" y="7180216"/>
                      <a:pt x="2888170" y="7177256"/>
                    </a:cubicBezTo>
                    <a:close/>
                    <a:moveTo>
                      <a:pt x="2890142" y="7397203"/>
                    </a:moveTo>
                    <a:cubicBezTo>
                      <a:pt x="2890142" y="7394983"/>
                      <a:pt x="2888415" y="7393257"/>
                      <a:pt x="2886197" y="7393257"/>
                    </a:cubicBezTo>
                    <a:cubicBezTo>
                      <a:pt x="2883978" y="7393257"/>
                      <a:pt x="2882252" y="7394983"/>
                      <a:pt x="2882252" y="7397203"/>
                    </a:cubicBezTo>
                    <a:cubicBezTo>
                      <a:pt x="2882252" y="7399421"/>
                      <a:pt x="2883978" y="7401147"/>
                      <a:pt x="2886197" y="7401147"/>
                    </a:cubicBezTo>
                    <a:cubicBezTo>
                      <a:pt x="2888415" y="7401147"/>
                      <a:pt x="2890142" y="7399421"/>
                      <a:pt x="2890142" y="7397203"/>
                    </a:cubicBezTo>
                    <a:close/>
                    <a:moveTo>
                      <a:pt x="2891129" y="7507422"/>
                    </a:moveTo>
                    <a:cubicBezTo>
                      <a:pt x="2891129" y="7504709"/>
                      <a:pt x="2889157" y="7502736"/>
                      <a:pt x="2886447" y="7502736"/>
                    </a:cubicBezTo>
                    <a:cubicBezTo>
                      <a:pt x="2883734" y="7502736"/>
                      <a:pt x="2881760" y="7504709"/>
                      <a:pt x="2881760" y="7507422"/>
                    </a:cubicBezTo>
                    <a:cubicBezTo>
                      <a:pt x="2881760" y="7510133"/>
                      <a:pt x="2883734" y="7512108"/>
                      <a:pt x="2886447" y="7512108"/>
                    </a:cubicBezTo>
                    <a:cubicBezTo>
                      <a:pt x="2889157" y="7512108"/>
                      <a:pt x="2891129" y="7509887"/>
                      <a:pt x="2891129" y="7507422"/>
                    </a:cubicBezTo>
                    <a:close/>
                    <a:moveTo>
                      <a:pt x="2892115" y="7286982"/>
                    </a:moveTo>
                    <a:cubicBezTo>
                      <a:pt x="2892115" y="7283778"/>
                      <a:pt x="2889648" y="7281310"/>
                      <a:pt x="2886443" y="7281310"/>
                    </a:cubicBezTo>
                    <a:cubicBezTo>
                      <a:pt x="2883238" y="7281310"/>
                      <a:pt x="2880771" y="7283778"/>
                      <a:pt x="2880771" y="7286982"/>
                    </a:cubicBezTo>
                    <a:cubicBezTo>
                      <a:pt x="2880771" y="7290187"/>
                      <a:pt x="2883238" y="7292651"/>
                      <a:pt x="2886443" y="7292651"/>
                    </a:cubicBezTo>
                    <a:cubicBezTo>
                      <a:pt x="2889648" y="7292651"/>
                      <a:pt x="2892115" y="7290187"/>
                      <a:pt x="2892115" y="7286982"/>
                    </a:cubicBezTo>
                    <a:close/>
                    <a:moveTo>
                      <a:pt x="2893593" y="2682699"/>
                    </a:moveTo>
                    <a:cubicBezTo>
                      <a:pt x="2893593" y="2672836"/>
                      <a:pt x="2885456" y="2664699"/>
                      <a:pt x="2875594" y="2664699"/>
                    </a:cubicBezTo>
                    <a:cubicBezTo>
                      <a:pt x="2865977" y="2664699"/>
                      <a:pt x="2857840" y="2672836"/>
                      <a:pt x="2857840" y="2682699"/>
                    </a:cubicBezTo>
                    <a:cubicBezTo>
                      <a:pt x="2857840" y="2692561"/>
                      <a:pt x="2865731" y="2700698"/>
                      <a:pt x="2875594" y="2700698"/>
                    </a:cubicBezTo>
                    <a:cubicBezTo>
                      <a:pt x="2885703" y="2700698"/>
                      <a:pt x="2893593" y="2692807"/>
                      <a:pt x="2893593" y="2682699"/>
                    </a:cubicBezTo>
                    <a:close/>
                    <a:moveTo>
                      <a:pt x="2894581" y="2550786"/>
                    </a:moveTo>
                    <a:cubicBezTo>
                      <a:pt x="2894581" y="2545360"/>
                      <a:pt x="2890389" y="2541171"/>
                      <a:pt x="2884966" y="2541171"/>
                    </a:cubicBezTo>
                    <a:cubicBezTo>
                      <a:pt x="2879789" y="2541171"/>
                      <a:pt x="2875349" y="2545360"/>
                      <a:pt x="2875349" y="2550786"/>
                    </a:cubicBezTo>
                    <a:cubicBezTo>
                      <a:pt x="2875349" y="2555964"/>
                      <a:pt x="2879789" y="2560402"/>
                      <a:pt x="2884966" y="2560402"/>
                    </a:cubicBezTo>
                    <a:cubicBezTo>
                      <a:pt x="2890389" y="2560402"/>
                      <a:pt x="2894581" y="2556209"/>
                      <a:pt x="2894581" y="2550786"/>
                    </a:cubicBezTo>
                    <a:close/>
                    <a:moveTo>
                      <a:pt x="2897542" y="2422572"/>
                    </a:moveTo>
                    <a:cubicBezTo>
                      <a:pt x="2897542" y="2419367"/>
                      <a:pt x="2895074" y="2416904"/>
                      <a:pt x="2891869" y="2416904"/>
                    </a:cubicBezTo>
                    <a:cubicBezTo>
                      <a:pt x="2888665" y="2416904"/>
                      <a:pt x="2886197" y="2419367"/>
                      <a:pt x="2886197" y="2422572"/>
                    </a:cubicBezTo>
                    <a:cubicBezTo>
                      <a:pt x="2886197" y="2425776"/>
                      <a:pt x="2888665" y="2428243"/>
                      <a:pt x="2891869" y="2428243"/>
                    </a:cubicBezTo>
                    <a:cubicBezTo>
                      <a:pt x="2895074" y="2428243"/>
                      <a:pt x="2897542" y="2425776"/>
                      <a:pt x="2897542" y="2422572"/>
                    </a:cubicBezTo>
                    <a:close/>
                    <a:moveTo>
                      <a:pt x="2898770" y="5039198"/>
                    </a:moveTo>
                    <a:cubicBezTo>
                      <a:pt x="2898770" y="5021693"/>
                      <a:pt x="2884471" y="5007390"/>
                      <a:pt x="2866963" y="5007390"/>
                    </a:cubicBezTo>
                    <a:cubicBezTo>
                      <a:pt x="2849455" y="5007390"/>
                      <a:pt x="2835156" y="5021693"/>
                      <a:pt x="2835156" y="5039198"/>
                    </a:cubicBezTo>
                    <a:cubicBezTo>
                      <a:pt x="2835156" y="5056705"/>
                      <a:pt x="2849455" y="5071008"/>
                      <a:pt x="2866963" y="5071008"/>
                    </a:cubicBezTo>
                    <a:cubicBezTo>
                      <a:pt x="2884471" y="5071008"/>
                      <a:pt x="2898770" y="5056951"/>
                      <a:pt x="2898770" y="5039198"/>
                    </a:cubicBezTo>
                    <a:close/>
                    <a:moveTo>
                      <a:pt x="2899760" y="1679713"/>
                    </a:moveTo>
                    <a:cubicBezTo>
                      <a:pt x="2899760" y="1658999"/>
                      <a:pt x="2882993" y="1642235"/>
                      <a:pt x="2862280" y="1642235"/>
                    </a:cubicBezTo>
                    <a:cubicBezTo>
                      <a:pt x="2841568" y="1642235"/>
                      <a:pt x="2824801" y="1658999"/>
                      <a:pt x="2824801" y="1679713"/>
                    </a:cubicBezTo>
                    <a:cubicBezTo>
                      <a:pt x="2824801" y="1700426"/>
                      <a:pt x="2841568" y="1717179"/>
                      <a:pt x="2862280" y="1717179"/>
                    </a:cubicBezTo>
                    <a:cubicBezTo>
                      <a:pt x="2882993" y="1717179"/>
                      <a:pt x="2899760" y="1700426"/>
                      <a:pt x="2899760" y="1679713"/>
                    </a:cubicBezTo>
                    <a:close/>
                    <a:moveTo>
                      <a:pt x="2900005" y="3218492"/>
                    </a:moveTo>
                    <a:cubicBezTo>
                      <a:pt x="2900005" y="3199261"/>
                      <a:pt x="2884472" y="3183726"/>
                      <a:pt x="2865239" y="3183726"/>
                    </a:cubicBezTo>
                    <a:cubicBezTo>
                      <a:pt x="2846008" y="3183726"/>
                      <a:pt x="2830473" y="3199261"/>
                      <a:pt x="2830473" y="3218492"/>
                    </a:cubicBezTo>
                    <a:cubicBezTo>
                      <a:pt x="2830473" y="3237727"/>
                      <a:pt x="2846008" y="3253259"/>
                      <a:pt x="2865239" y="3253259"/>
                    </a:cubicBezTo>
                    <a:cubicBezTo>
                      <a:pt x="2884224" y="3253259"/>
                      <a:pt x="2899760" y="3237478"/>
                      <a:pt x="2900005" y="3218492"/>
                    </a:cubicBezTo>
                    <a:close/>
                    <a:moveTo>
                      <a:pt x="2900991" y="2297321"/>
                    </a:moveTo>
                    <a:cubicBezTo>
                      <a:pt x="2900991" y="2295103"/>
                      <a:pt x="2899265" y="2293376"/>
                      <a:pt x="2897047" y="2293376"/>
                    </a:cubicBezTo>
                    <a:cubicBezTo>
                      <a:pt x="2894828" y="2293376"/>
                      <a:pt x="2893102" y="2295103"/>
                      <a:pt x="2893102" y="2297321"/>
                    </a:cubicBezTo>
                    <a:cubicBezTo>
                      <a:pt x="2893102" y="2299539"/>
                      <a:pt x="2894828" y="2301267"/>
                      <a:pt x="2897047" y="2301267"/>
                    </a:cubicBezTo>
                    <a:cubicBezTo>
                      <a:pt x="2899265" y="2301267"/>
                      <a:pt x="2900991" y="2299295"/>
                      <a:pt x="2900991" y="2297321"/>
                    </a:cubicBezTo>
                    <a:close/>
                    <a:moveTo>
                      <a:pt x="2907158" y="1564573"/>
                    </a:moveTo>
                    <a:cubicBezTo>
                      <a:pt x="2907158" y="1540164"/>
                      <a:pt x="2887430" y="1520438"/>
                      <a:pt x="2863021" y="1520438"/>
                    </a:cubicBezTo>
                    <a:cubicBezTo>
                      <a:pt x="2838609" y="1520438"/>
                      <a:pt x="2818883" y="1540164"/>
                      <a:pt x="2818883" y="1564573"/>
                    </a:cubicBezTo>
                    <a:cubicBezTo>
                      <a:pt x="2818883" y="1588980"/>
                      <a:pt x="2838609" y="1608712"/>
                      <a:pt x="2863021" y="1608712"/>
                    </a:cubicBezTo>
                    <a:cubicBezTo>
                      <a:pt x="2887430" y="1608712"/>
                      <a:pt x="2907158" y="1588980"/>
                      <a:pt x="2907158" y="1564573"/>
                    </a:cubicBezTo>
                    <a:close/>
                    <a:moveTo>
                      <a:pt x="2907167" y="0"/>
                    </a:moveTo>
                    <a:lnTo>
                      <a:pt x="2838831" y="0"/>
                    </a:lnTo>
                    <a:lnTo>
                      <a:pt x="2847948" y="22013"/>
                    </a:lnTo>
                    <a:cubicBezTo>
                      <a:pt x="2854328" y="28393"/>
                      <a:pt x="2863143" y="32338"/>
                      <a:pt x="2872883" y="32338"/>
                    </a:cubicBezTo>
                    <a:cubicBezTo>
                      <a:pt x="2882623" y="32338"/>
                      <a:pt x="2891500" y="28393"/>
                      <a:pt x="2897942" y="22013"/>
                    </a:cubicBezTo>
                    <a:close/>
                    <a:moveTo>
                      <a:pt x="2908142" y="1449926"/>
                    </a:moveTo>
                    <a:cubicBezTo>
                      <a:pt x="2908142" y="1425273"/>
                      <a:pt x="2887924" y="1405053"/>
                      <a:pt x="2863266" y="1405053"/>
                    </a:cubicBezTo>
                    <a:cubicBezTo>
                      <a:pt x="2838609" y="1405053"/>
                      <a:pt x="2818389" y="1425273"/>
                      <a:pt x="2818389" y="1449926"/>
                    </a:cubicBezTo>
                    <a:cubicBezTo>
                      <a:pt x="2818389" y="1474586"/>
                      <a:pt x="2838609" y="1494807"/>
                      <a:pt x="2863266" y="1494807"/>
                    </a:cubicBezTo>
                    <a:cubicBezTo>
                      <a:pt x="2888170" y="1494807"/>
                      <a:pt x="2908142" y="1474586"/>
                      <a:pt x="2908142" y="1449926"/>
                    </a:cubicBezTo>
                    <a:close/>
                    <a:moveTo>
                      <a:pt x="2908882" y="107766"/>
                    </a:moveTo>
                    <a:cubicBezTo>
                      <a:pt x="2908882" y="88042"/>
                      <a:pt x="2892856" y="72016"/>
                      <a:pt x="2873130" y="72016"/>
                    </a:cubicBezTo>
                    <a:cubicBezTo>
                      <a:pt x="2853403" y="72016"/>
                      <a:pt x="2837377" y="88042"/>
                      <a:pt x="2837377" y="107766"/>
                    </a:cubicBezTo>
                    <a:cubicBezTo>
                      <a:pt x="2837377" y="127492"/>
                      <a:pt x="2853403" y="143518"/>
                      <a:pt x="2873130" y="143518"/>
                    </a:cubicBezTo>
                    <a:cubicBezTo>
                      <a:pt x="2892856" y="143518"/>
                      <a:pt x="2909131" y="127492"/>
                      <a:pt x="2908882" y="107766"/>
                    </a:cubicBezTo>
                    <a:close/>
                    <a:moveTo>
                      <a:pt x="2909620" y="329387"/>
                    </a:moveTo>
                    <a:cubicBezTo>
                      <a:pt x="2909620" y="309662"/>
                      <a:pt x="2893594" y="293635"/>
                      <a:pt x="2873867" y="293635"/>
                    </a:cubicBezTo>
                    <a:cubicBezTo>
                      <a:pt x="2854142" y="293635"/>
                      <a:pt x="2838115" y="309662"/>
                      <a:pt x="2838115" y="329387"/>
                    </a:cubicBezTo>
                    <a:cubicBezTo>
                      <a:pt x="2838115" y="349112"/>
                      <a:pt x="2854142" y="365141"/>
                      <a:pt x="2873867" y="365141"/>
                    </a:cubicBezTo>
                    <a:cubicBezTo>
                      <a:pt x="2893594" y="365141"/>
                      <a:pt x="2909375" y="349112"/>
                      <a:pt x="2909620" y="329387"/>
                    </a:cubicBezTo>
                    <a:close/>
                    <a:moveTo>
                      <a:pt x="2909869" y="440570"/>
                    </a:moveTo>
                    <a:cubicBezTo>
                      <a:pt x="2909869" y="420844"/>
                      <a:pt x="2893840" y="404819"/>
                      <a:pt x="2874113" y="404819"/>
                    </a:cubicBezTo>
                    <a:cubicBezTo>
                      <a:pt x="2854388" y="404819"/>
                      <a:pt x="2838361" y="420844"/>
                      <a:pt x="2838361" y="440570"/>
                    </a:cubicBezTo>
                    <a:cubicBezTo>
                      <a:pt x="2838361" y="460295"/>
                      <a:pt x="2854388" y="476325"/>
                      <a:pt x="2874113" y="476325"/>
                    </a:cubicBezTo>
                    <a:cubicBezTo>
                      <a:pt x="2893840" y="476325"/>
                      <a:pt x="2909869" y="460295"/>
                      <a:pt x="2909869" y="440570"/>
                    </a:cubicBezTo>
                    <a:close/>
                    <a:moveTo>
                      <a:pt x="2910606" y="4801746"/>
                    </a:moveTo>
                    <a:cubicBezTo>
                      <a:pt x="2910606" y="4775115"/>
                      <a:pt x="2888662" y="4753416"/>
                      <a:pt x="2862032" y="4753416"/>
                    </a:cubicBezTo>
                    <a:cubicBezTo>
                      <a:pt x="2835402" y="4753416"/>
                      <a:pt x="2813703" y="4775115"/>
                      <a:pt x="2813703" y="4801746"/>
                    </a:cubicBezTo>
                    <a:cubicBezTo>
                      <a:pt x="2813703" y="4828375"/>
                      <a:pt x="2835402" y="4850074"/>
                      <a:pt x="2862032" y="4850074"/>
                    </a:cubicBezTo>
                    <a:cubicBezTo>
                      <a:pt x="2888662" y="4850074"/>
                      <a:pt x="2910606" y="4828375"/>
                      <a:pt x="2910606" y="4801746"/>
                    </a:cubicBezTo>
                    <a:close/>
                    <a:moveTo>
                      <a:pt x="2911841" y="218454"/>
                    </a:moveTo>
                    <a:cubicBezTo>
                      <a:pt x="2911841" y="197493"/>
                      <a:pt x="2894828" y="180481"/>
                      <a:pt x="2873867" y="180481"/>
                    </a:cubicBezTo>
                    <a:cubicBezTo>
                      <a:pt x="2852909" y="180481"/>
                      <a:pt x="2835896" y="197493"/>
                      <a:pt x="2835896" y="218454"/>
                    </a:cubicBezTo>
                    <a:cubicBezTo>
                      <a:pt x="2835896" y="239411"/>
                      <a:pt x="2852909" y="256424"/>
                      <a:pt x="2873867" y="256424"/>
                    </a:cubicBezTo>
                    <a:cubicBezTo>
                      <a:pt x="2894828" y="256424"/>
                      <a:pt x="2911596" y="239411"/>
                      <a:pt x="2911841" y="218454"/>
                    </a:cubicBezTo>
                    <a:close/>
                    <a:moveTo>
                      <a:pt x="2914309" y="3945389"/>
                    </a:moveTo>
                    <a:cubicBezTo>
                      <a:pt x="2914309" y="3925171"/>
                      <a:pt x="2898033" y="3908895"/>
                      <a:pt x="2877816" y="3908895"/>
                    </a:cubicBezTo>
                    <a:cubicBezTo>
                      <a:pt x="2857595" y="3908895"/>
                      <a:pt x="2841322" y="3925171"/>
                      <a:pt x="2841322" y="3945389"/>
                    </a:cubicBezTo>
                    <a:cubicBezTo>
                      <a:pt x="2841322" y="3965609"/>
                      <a:pt x="2857595" y="3981882"/>
                      <a:pt x="2877816" y="3981882"/>
                    </a:cubicBezTo>
                    <a:cubicBezTo>
                      <a:pt x="2898033" y="3981882"/>
                      <a:pt x="2914309" y="3965609"/>
                      <a:pt x="2914309" y="3945389"/>
                    </a:cubicBezTo>
                    <a:close/>
                    <a:moveTo>
                      <a:pt x="2917268" y="3059209"/>
                    </a:moveTo>
                    <a:cubicBezTo>
                      <a:pt x="2917268" y="3054525"/>
                      <a:pt x="2913568" y="3050826"/>
                      <a:pt x="2908882" y="3050826"/>
                    </a:cubicBezTo>
                    <a:cubicBezTo>
                      <a:pt x="2904200" y="3050826"/>
                      <a:pt x="2900501" y="3054525"/>
                      <a:pt x="2900501" y="3059209"/>
                    </a:cubicBezTo>
                    <a:cubicBezTo>
                      <a:pt x="2900501" y="3063894"/>
                      <a:pt x="2904200" y="3067593"/>
                      <a:pt x="2908882" y="3067593"/>
                    </a:cubicBezTo>
                    <a:cubicBezTo>
                      <a:pt x="2913568" y="3067593"/>
                      <a:pt x="2917268" y="3063894"/>
                      <a:pt x="2917268" y="3059209"/>
                    </a:cubicBezTo>
                    <a:close/>
                    <a:moveTo>
                      <a:pt x="2922937" y="3679333"/>
                    </a:moveTo>
                    <a:cubicBezTo>
                      <a:pt x="2922937" y="3657879"/>
                      <a:pt x="2905433" y="3640621"/>
                      <a:pt x="2884225" y="3640621"/>
                    </a:cubicBezTo>
                    <a:cubicBezTo>
                      <a:pt x="2862772" y="3640621"/>
                      <a:pt x="2845514" y="3658129"/>
                      <a:pt x="2845514" y="3679333"/>
                    </a:cubicBezTo>
                    <a:cubicBezTo>
                      <a:pt x="2845514" y="3700785"/>
                      <a:pt x="2863021" y="3718045"/>
                      <a:pt x="2884225" y="3718045"/>
                    </a:cubicBezTo>
                    <a:cubicBezTo>
                      <a:pt x="2905678" y="3718045"/>
                      <a:pt x="2922937" y="3700785"/>
                      <a:pt x="2922937" y="3679333"/>
                    </a:cubicBezTo>
                    <a:close/>
                    <a:moveTo>
                      <a:pt x="2934772" y="3330929"/>
                    </a:moveTo>
                    <a:cubicBezTo>
                      <a:pt x="2934772" y="3310713"/>
                      <a:pt x="2918253" y="3294192"/>
                      <a:pt x="2898033" y="3294192"/>
                    </a:cubicBezTo>
                    <a:cubicBezTo>
                      <a:pt x="2877816" y="3294192"/>
                      <a:pt x="2861294" y="3310713"/>
                      <a:pt x="2861294" y="3330929"/>
                    </a:cubicBezTo>
                    <a:cubicBezTo>
                      <a:pt x="2861294" y="3351151"/>
                      <a:pt x="2877816" y="3367671"/>
                      <a:pt x="2898033" y="3367671"/>
                    </a:cubicBezTo>
                    <a:cubicBezTo>
                      <a:pt x="2918253" y="3367671"/>
                      <a:pt x="2934772" y="3351151"/>
                      <a:pt x="2934772" y="3330929"/>
                    </a:cubicBezTo>
                    <a:close/>
                    <a:moveTo>
                      <a:pt x="2939704" y="4092597"/>
                    </a:moveTo>
                    <a:cubicBezTo>
                      <a:pt x="2939704" y="4071635"/>
                      <a:pt x="2922691" y="4054622"/>
                      <a:pt x="2901734" y="4054622"/>
                    </a:cubicBezTo>
                    <a:cubicBezTo>
                      <a:pt x="2880772" y="4054622"/>
                      <a:pt x="2863759" y="4071635"/>
                      <a:pt x="2863759" y="4092597"/>
                    </a:cubicBezTo>
                    <a:cubicBezTo>
                      <a:pt x="2863759" y="4113555"/>
                      <a:pt x="2880772" y="4130568"/>
                      <a:pt x="2901734" y="4130568"/>
                    </a:cubicBezTo>
                    <a:cubicBezTo>
                      <a:pt x="2922691" y="4130568"/>
                      <a:pt x="2939704" y="4113555"/>
                      <a:pt x="2939704" y="4092597"/>
                    </a:cubicBezTo>
                    <a:close/>
                    <a:moveTo>
                      <a:pt x="2945871" y="2908065"/>
                    </a:moveTo>
                    <a:cubicBezTo>
                      <a:pt x="2945871" y="2903872"/>
                      <a:pt x="2942418" y="2900667"/>
                      <a:pt x="2938472" y="2900667"/>
                    </a:cubicBezTo>
                    <a:cubicBezTo>
                      <a:pt x="2934281" y="2900667"/>
                      <a:pt x="2931076" y="2904118"/>
                      <a:pt x="2931076" y="2908065"/>
                    </a:cubicBezTo>
                    <a:cubicBezTo>
                      <a:pt x="2931076" y="2912257"/>
                      <a:pt x="2934526" y="2915462"/>
                      <a:pt x="2938472" y="2915462"/>
                    </a:cubicBezTo>
                    <a:cubicBezTo>
                      <a:pt x="2942418" y="2915462"/>
                      <a:pt x="2945871" y="2912011"/>
                      <a:pt x="2945871" y="2908065"/>
                    </a:cubicBezTo>
                    <a:close/>
                    <a:moveTo>
                      <a:pt x="2946607" y="3564429"/>
                    </a:moveTo>
                    <a:cubicBezTo>
                      <a:pt x="2946607" y="3542977"/>
                      <a:pt x="2929100" y="3525469"/>
                      <a:pt x="2907651" y="3525469"/>
                    </a:cubicBezTo>
                    <a:cubicBezTo>
                      <a:pt x="2886197" y="3525469"/>
                      <a:pt x="2868690" y="3542977"/>
                      <a:pt x="2868690" y="3564429"/>
                    </a:cubicBezTo>
                    <a:cubicBezTo>
                      <a:pt x="2868690" y="3585881"/>
                      <a:pt x="2886197" y="3603388"/>
                      <a:pt x="2907651" y="3603388"/>
                    </a:cubicBezTo>
                    <a:cubicBezTo>
                      <a:pt x="2929100" y="3603388"/>
                      <a:pt x="2946362" y="3586126"/>
                      <a:pt x="2946607" y="3564429"/>
                    </a:cubicBezTo>
                    <a:close/>
                    <a:moveTo>
                      <a:pt x="2950553" y="3447315"/>
                    </a:moveTo>
                    <a:cubicBezTo>
                      <a:pt x="2950553" y="3426111"/>
                      <a:pt x="2933291" y="3408851"/>
                      <a:pt x="2912087" y="3408851"/>
                    </a:cubicBezTo>
                    <a:cubicBezTo>
                      <a:pt x="2890879" y="3408851"/>
                      <a:pt x="2873621" y="3426111"/>
                      <a:pt x="2873621" y="3447315"/>
                    </a:cubicBezTo>
                    <a:cubicBezTo>
                      <a:pt x="2873621" y="3468509"/>
                      <a:pt x="2890879" y="3485771"/>
                      <a:pt x="2912087" y="3485771"/>
                    </a:cubicBezTo>
                    <a:cubicBezTo>
                      <a:pt x="2933291" y="3485771"/>
                      <a:pt x="2950553" y="3468509"/>
                      <a:pt x="2950553" y="3447315"/>
                    </a:cubicBezTo>
                    <a:close/>
                    <a:moveTo>
                      <a:pt x="2959430" y="4232157"/>
                    </a:moveTo>
                    <a:cubicBezTo>
                      <a:pt x="2959430" y="4209718"/>
                      <a:pt x="2941182" y="4191718"/>
                      <a:pt x="2918992" y="4191718"/>
                    </a:cubicBezTo>
                    <a:cubicBezTo>
                      <a:pt x="2896802" y="4191718"/>
                      <a:pt x="2878553" y="4209967"/>
                      <a:pt x="2878553" y="4232157"/>
                    </a:cubicBezTo>
                    <a:cubicBezTo>
                      <a:pt x="2878553" y="4254596"/>
                      <a:pt x="2896802" y="4272596"/>
                      <a:pt x="2918992" y="4272596"/>
                    </a:cubicBezTo>
                    <a:cubicBezTo>
                      <a:pt x="2941431" y="4272596"/>
                      <a:pt x="2959430" y="4254596"/>
                      <a:pt x="2959430" y="4232157"/>
                    </a:cubicBezTo>
                    <a:close/>
                    <a:moveTo>
                      <a:pt x="2964116" y="1128193"/>
                    </a:moveTo>
                    <a:cubicBezTo>
                      <a:pt x="2964116" y="1106989"/>
                      <a:pt x="2946855" y="1089730"/>
                      <a:pt x="2925650" y="1089730"/>
                    </a:cubicBezTo>
                    <a:cubicBezTo>
                      <a:pt x="2904689" y="1089730"/>
                      <a:pt x="2887430" y="1106989"/>
                      <a:pt x="2887430" y="1128193"/>
                    </a:cubicBezTo>
                    <a:cubicBezTo>
                      <a:pt x="2887430" y="1149152"/>
                      <a:pt x="2904443" y="1166415"/>
                      <a:pt x="2925650" y="1166415"/>
                    </a:cubicBezTo>
                    <a:cubicBezTo>
                      <a:pt x="2946609" y="1166415"/>
                      <a:pt x="2963868" y="1149152"/>
                      <a:pt x="2964116" y="1128193"/>
                    </a:cubicBezTo>
                    <a:close/>
                    <a:moveTo>
                      <a:pt x="2964856" y="902117"/>
                    </a:moveTo>
                    <a:cubicBezTo>
                      <a:pt x="2964856" y="881158"/>
                      <a:pt x="2947843" y="864145"/>
                      <a:pt x="2926883" y="864145"/>
                    </a:cubicBezTo>
                    <a:cubicBezTo>
                      <a:pt x="2905923" y="864145"/>
                      <a:pt x="2888910" y="881158"/>
                      <a:pt x="2888910" y="902117"/>
                    </a:cubicBezTo>
                    <a:cubicBezTo>
                      <a:pt x="2888910" y="923079"/>
                      <a:pt x="2905923" y="940087"/>
                      <a:pt x="2926883" y="940087"/>
                    </a:cubicBezTo>
                    <a:cubicBezTo>
                      <a:pt x="2947843" y="940087"/>
                      <a:pt x="2964856" y="923079"/>
                      <a:pt x="2964856" y="902117"/>
                    </a:cubicBezTo>
                    <a:close/>
                    <a:moveTo>
                      <a:pt x="2966580" y="3844293"/>
                    </a:moveTo>
                    <a:cubicBezTo>
                      <a:pt x="2966580" y="3827526"/>
                      <a:pt x="2953267" y="3813964"/>
                      <a:pt x="2936499" y="3813964"/>
                    </a:cubicBezTo>
                    <a:cubicBezTo>
                      <a:pt x="2919732" y="3813964"/>
                      <a:pt x="2906169" y="3827526"/>
                      <a:pt x="2906169" y="3844293"/>
                    </a:cubicBezTo>
                    <a:cubicBezTo>
                      <a:pt x="2906169" y="3861061"/>
                      <a:pt x="2919732" y="3874620"/>
                      <a:pt x="2936499" y="3874620"/>
                    </a:cubicBezTo>
                    <a:cubicBezTo>
                      <a:pt x="2953020" y="3874620"/>
                      <a:pt x="2966580" y="3861061"/>
                      <a:pt x="2966580" y="3844293"/>
                    </a:cubicBezTo>
                    <a:close/>
                    <a:moveTo>
                      <a:pt x="2967569" y="1014788"/>
                    </a:moveTo>
                    <a:cubicBezTo>
                      <a:pt x="2967569" y="991853"/>
                      <a:pt x="2948827" y="973113"/>
                      <a:pt x="2925895" y="973113"/>
                    </a:cubicBezTo>
                    <a:cubicBezTo>
                      <a:pt x="2902965" y="973113"/>
                      <a:pt x="2884225" y="991853"/>
                      <a:pt x="2884225" y="1014788"/>
                    </a:cubicBezTo>
                    <a:cubicBezTo>
                      <a:pt x="2884225" y="1037710"/>
                      <a:pt x="2902965" y="1056443"/>
                      <a:pt x="2925895" y="1056443"/>
                    </a:cubicBezTo>
                    <a:cubicBezTo>
                      <a:pt x="2948827" y="1056443"/>
                      <a:pt x="2967569" y="1037710"/>
                      <a:pt x="2967569" y="1014788"/>
                    </a:cubicBezTo>
                    <a:close/>
                    <a:moveTo>
                      <a:pt x="2968061" y="564824"/>
                    </a:moveTo>
                    <a:cubicBezTo>
                      <a:pt x="2968061" y="542140"/>
                      <a:pt x="2949567" y="523647"/>
                      <a:pt x="2926883" y="523647"/>
                    </a:cubicBezTo>
                    <a:cubicBezTo>
                      <a:pt x="2904197" y="523647"/>
                      <a:pt x="2885703" y="542140"/>
                      <a:pt x="2885703" y="564824"/>
                    </a:cubicBezTo>
                    <a:cubicBezTo>
                      <a:pt x="2885703" y="587509"/>
                      <a:pt x="2904197" y="606002"/>
                      <a:pt x="2926883" y="606002"/>
                    </a:cubicBezTo>
                    <a:cubicBezTo>
                      <a:pt x="2949567" y="606002"/>
                      <a:pt x="2968061" y="587509"/>
                      <a:pt x="2968061" y="564824"/>
                    </a:cubicBezTo>
                    <a:close/>
                    <a:moveTo>
                      <a:pt x="2968555" y="3164251"/>
                    </a:moveTo>
                    <a:cubicBezTo>
                      <a:pt x="2968555" y="3159568"/>
                      <a:pt x="2964856" y="3155869"/>
                      <a:pt x="2960170" y="3155869"/>
                    </a:cubicBezTo>
                    <a:cubicBezTo>
                      <a:pt x="2955733" y="3155869"/>
                      <a:pt x="2951788" y="3159568"/>
                      <a:pt x="2951788" y="3164251"/>
                    </a:cubicBezTo>
                    <a:cubicBezTo>
                      <a:pt x="2951788" y="3168937"/>
                      <a:pt x="2955488" y="3172637"/>
                      <a:pt x="2960170" y="3172637"/>
                    </a:cubicBezTo>
                    <a:cubicBezTo>
                      <a:pt x="2964856" y="3172637"/>
                      <a:pt x="2968801" y="3168691"/>
                      <a:pt x="2968555" y="3164251"/>
                    </a:cubicBezTo>
                    <a:close/>
                    <a:moveTo>
                      <a:pt x="2968801" y="676785"/>
                    </a:moveTo>
                    <a:cubicBezTo>
                      <a:pt x="2968801" y="653612"/>
                      <a:pt x="2950061" y="634831"/>
                      <a:pt x="2926882" y="634831"/>
                    </a:cubicBezTo>
                    <a:cubicBezTo>
                      <a:pt x="2903705" y="634831"/>
                      <a:pt x="2884965" y="653612"/>
                      <a:pt x="2884965" y="676785"/>
                    </a:cubicBezTo>
                    <a:cubicBezTo>
                      <a:pt x="2884965" y="699966"/>
                      <a:pt x="2903705" y="718699"/>
                      <a:pt x="2926882" y="718699"/>
                    </a:cubicBezTo>
                    <a:cubicBezTo>
                      <a:pt x="2949815" y="718699"/>
                      <a:pt x="2968801" y="699966"/>
                      <a:pt x="2968801" y="676785"/>
                    </a:cubicBezTo>
                    <a:close/>
                    <a:moveTo>
                      <a:pt x="2969787" y="1356243"/>
                    </a:moveTo>
                    <a:cubicBezTo>
                      <a:pt x="2969787" y="1331340"/>
                      <a:pt x="2949570" y="1310875"/>
                      <a:pt x="2924418" y="1310875"/>
                    </a:cubicBezTo>
                    <a:cubicBezTo>
                      <a:pt x="2899514" y="1310875"/>
                      <a:pt x="2879048" y="1331093"/>
                      <a:pt x="2879048" y="1356243"/>
                    </a:cubicBezTo>
                    <a:cubicBezTo>
                      <a:pt x="2879048" y="1381145"/>
                      <a:pt x="2899266" y="1401613"/>
                      <a:pt x="2924418" y="1401613"/>
                    </a:cubicBezTo>
                    <a:cubicBezTo>
                      <a:pt x="2949570" y="1401613"/>
                      <a:pt x="2970034" y="1381395"/>
                      <a:pt x="2969787" y="1356243"/>
                    </a:cubicBezTo>
                    <a:close/>
                    <a:moveTo>
                      <a:pt x="2970034" y="1241851"/>
                    </a:moveTo>
                    <a:cubicBezTo>
                      <a:pt x="2970034" y="1216945"/>
                      <a:pt x="2949815" y="1196974"/>
                      <a:pt x="2925158" y="1196974"/>
                    </a:cubicBezTo>
                    <a:cubicBezTo>
                      <a:pt x="2900501" y="1196974"/>
                      <a:pt x="2880279" y="1217192"/>
                      <a:pt x="2880279" y="1241851"/>
                    </a:cubicBezTo>
                    <a:cubicBezTo>
                      <a:pt x="2880279" y="1266498"/>
                      <a:pt x="2900501" y="1286711"/>
                      <a:pt x="2925158" y="1286711"/>
                    </a:cubicBezTo>
                    <a:cubicBezTo>
                      <a:pt x="2950062" y="1286711"/>
                      <a:pt x="2970034" y="1266747"/>
                      <a:pt x="2970034" y="1241851"/>
                    </a:cubicBezTo>
                    <a:close/>
                    <a:moveTo>
                      <a:pt x="2970281" y="789451"/>
                    </a:moveTo>
                    <a:cubicBezTo>
                      <a:pt x="2970281" y="765785"/>
                      <a:pt x="2950801" y="746302"/>
                      <a:pt x="2927130" y="746302"/>
                    </a:cubicBezTo>
                    <a:cubicBezTo>
                      <a:pt x="2903459" y="746302"/>
                      <a:pt x="2883978" y="765535"/>
                      <a:pt x="2883978" y="789451"/>
                    </a:cubicBezTo>
                    <a:cubicBezTo>
                      <a:pt x="2883978" y="813124"/>
                      <a:pt x="2903210" y="832606"/>
                      <a:pt x="2927130" y="832606"/>
                    </a:cubicBezTo>
                    <a:cubicBezTo>
                      <a:pt x="2950801" y="832606"/>
                      <a:pt x="2970281" y="813124"/>
                      <a:pt x="2970281" y="789451"/>
                    </a:cubicBezTo>
                    <a:close/>
                    <a:moveTo>
                      <a:pt x="2972005" y="2208566"/>
                    </a:moveTo>
                    <a:cubicBezTo>
                      <a:pt x="2972005" y="2201907"/>
                      <a:pt x="2966580" y="2196236"/>
                      <a:pt x="2959679" y="2196236"/>
                    </a:cubicBezTo>
                    <a:cubicBezTo>
                      <a:pt x="2953019" y="2196236"/>
                      <a:pt x="2947348" y="2201661"/>
                      <a:pt x="2947348" y="2208566"/>
                    </a:cubicBezTo>
                    <a:cubicBezTo>
                      <a:pt x="2947348" y="2215221"/>
                      <a:pt x="2952774" y="2220894"/>
                      <a:pt x="2959679" y="2220894"/>
                    </a:cubicBezTo>
                    <a:cubicBezTo>
                      <a:pt x="2966580" y="2220894"/>
                      <a:pt x="2972005" y="2215221"/>
                      <a:pt x="2972005" y="2208566"/>
                    </a:cubicBezTo>
                    <a:close/>
                    <a:moveTo>
                      <a:pt x="2973483" y="2763821"/>
                    </a:moveTo>
                    <a:cubicBezTo>
                      <a:pt x="2973483" y="2755932"/>
                      <a:pt x="2967074" y="2749273"/>
                      <a:pt x="2958937" y="2749273"/>
                    </a:cubicBezTo>
                    <a:cubicBezTo>
                      <a:pt x="2951048" y="2749273"/>
                      <a:pt x="2944389" y="2755685"/>
                      <a:pt x="2944389" y="2763821"/>
                    </a:cubicBezTo>
                    <a:cubicBezTo>
                      <a:pt x="2944389" y="2771713"/>
                      <a:pt x="2950799" y="2778370"/>
                      <a:pt x="2958937" y="2778370"/>
                    </a:cubicBezTo>
                    <a:cubicBezTo>
                      <a:pt x="2967074" y="2778370"/>
                      <a:pt x="2973483" y="2771713"/>
                      <a:pt x="2973483" y="2763821"/>
                    </a:cubicBezTo>
                    <a:close/>
                    <a:moveTo>
                      <a:pt x="2974719" y="2084783"/>
                    </a:moveTo>
                    <a:cubicBezTo>
                      <a:pt x="2974719" y="2078619"/>
                      <a:pt x="2969542" y="2073441"/>
                      <a:pt x="2963379" y="2073441"/>
                    </a:cubicBezTo>
                    <a:cubicBezTo>
                      <a:pt x="2957212" y="2073441"/>
                      <a:pt x="2952034" y="2078619"/>
                      <a:pt x="2952034" y="2084783"/>
                    </a:cubicBezTo>
                    <a:cubicBezTo>
                      <a:pt x="2952034" y="2090950"/>
                      <a:pt x="2957212" y="2096127"/>
                      <a:pt x="2963379" y="2096127"/>
                    </a:cubicBezTo>
                    <a:cubicBezTo>
                      <a:pt x="2969542" y="2096127"/>
                      <a:pt x="2974719" y="2091197"/>
                      <a:pt x="2974719" y="2084783"/>
                    </a:cubicBezTo>
                    <a:close/>
                    <a:moveTo>
                      <a:pt x="2976688" y="1842957"/>
                    </a:moveTo>
                    <a:cubicBezTo>
                      <a:pt x="2976688" y="1838271"/>
                      <a:pt x="2972744" y="1834323"/>
                      <a:pt x="2968061" y="1834323"/>
                    </a:cubicBezTo>
                    <a:cubicBezTo>
                      <a:pt x="2963375" y="1834323"/>
                      <a:pt x="2959430" y="1838271"/>
                      <a:pt x="2959430" y="1842957"/>
                    </a:cubicBezTo>
                    <a:cubicBezTo>
                      <a:pt x="2959430" y="1847639"/>
                      <a:pt x="2963375" y="1851581"/>
                      <a:pt x="2968061" y="1851581"/>
                    </a:cubicBezTo>
                    <a:cubicBezTo>
                      <a:pt x="2972744" y="1851581"/>
                      <a:pt x="2976688" y="1847887"/>
                      <a:pt x="2976688" y="1842957"/>
                    </a:cubicBezTo>
                    <a:close/>
                    <a:moveTo>
                      <a:pt x="2979896" y="4497472"/>
                    </a:moveTo>
                    <a:cubicBezTo>
                      <a:pt x="2979896" y="4476264"/>
                      <a:pt x="2962635" y="4459006"/>
                      <a:pt x="2941431" y="4459006"/>
                    </a:cubicBezTo>
                    <a:cubicBezTo>
                      <a:pt x="2920224" y="4459006"/>
                      <a:pt x="2902965" y="4476264"/>
                      <a:pt x="2902965" y="4497472"/>
                    </a:cubicBezTo>
                    <a:cubicBezTo>
                      <a:pt x="2902965" y="4518676"/>
                      <a:pt x="2920224" y="4535938"/>
                      <a:pt x="2941431" y="4535938"/>
                    </a:cubicBezTo>
                    <a:cubicBezTo>
                      <a:pt x="2962883" y="4535938"/>
                      <a:pt x="2980142" y="4518676"/>
                      <a:pt x="2979896" y="4497472"/>
                    </a:cubicBezTo>
                    <a:close/>
                    <a:moveTo>
                      <a:pt x="2979897" y="5345198"/>
                    </a:moveTo>
                    <a:cubicBezTo>
                      <a:pt x="2979897" y="5345198"/>
                      <a:pt x="2979897" y="5344952"/>
                      <a:pt x="2979648" y="5344952"/>
                    </a:cubicBezTo>
                    <a:cubicBezTo>
                      <a:pt x="2979648" y="5344952"/>
                      <a:pt x="2979401" y="5344952"/>
                      <a:pt x="2979401" y="5345198"/>
                    </a:cubicBezTo>
                    <a:cubicBezTo>
                      <a:pt x="2979401" y="5345198"/>
                      <a:pt x="2979401" y="5345447"/>
                      <a:pt x="2979648" y="5345447"/>
                    </a:cubicBezTo>
                    <a:cubicBezTo>
                      <a:pt x="2979648" y="5345447"/>
                      <a:pt x="2979897" y="5345198"/>
                      <a:pt x="2979897" y="5345198"/>
                    </a:cubicBezTo>
                    <a:close/>
                    <a:moveTo>
                      <a:pt x="2979899" y="4624706"/>
                    </a:moveTo>
                    <a:cubicBezTo>
                      <a:pt x="2979899" y="4607692"/>
                      <a:pt x="2966091" y="4593884"/>
                      <a:pt x="2949075" y="4593884"/>
                    </a:cubicBezTo>
                    <a:cubicBezTo>
                      <a:pt x="2932062" y="4593884"/>
                      <a:pt x="2918253" y="4607692"/>
                      <a:pt x="2918253" y="4624706"/>
                    </a:cubicBezTo>
                    <a:cubicBezTo>
                      <a:pt x="2918253" y="4641719"/>
                      <a:pt x="2932062" y="4655529"/>
                      <a:pt x="2949075" y="4655529"/>
                    </a:cubicBezTo>
                    <a:cubicBezTo>
                      <a:pt x="2966091" y="4655529"/>
                      <a:pt x="2980146" y="4641719"/>
                      <a:pt x="2979899" y="4624706"/>
                    </a:cubicBezTo>
                    <a:close/>
                    <a:moveTo>
                      <a:pt x="2980141" y="2625499"/>
                    </a:moveTo>
                    <a:cubicBezTo>
                      <a:pt x="2980141" y="2622045"/>
                      <a:pt x="2977428" y="2619087"/>
                      <a:pt x="2973733" y="2619087"/>
                    </a:cubicBezTo>
                    <a:cubicBezTo>
                      <a:pt x="2970279" y="2619087"/>
                      <a:pt x="2967320" y="2621800"/>
                      <a:pt x="2967320" y="2625499"/>
                    </a:cubicBezTo>
                    <a:cubicBezTo>
                      <a:pt x="2967320" y="2628951"/>
                      <a:pt x="2970279" y="2631909"/>
                      <a:pt x="2973733" y="2631909"/>
                    </a:cubicBezTo>
                    <a:cubicBezTo>
                      <a:pt x="2977428" y="2631909"/>
                      <a:pt x="2980141" y="2628951"/>
                      <a:pt x="2980141" y="2625499"/>
                    </a:cubicBezTo>
                    <a:close/>
                    <a:moveTo>
                      <a:pt x="2981620" y="5461828"/>
                    </a:moveTo>
                    <a:cubicBezTo>
                      <a:pt x="2981620" y="5461581"/>
                      <a:pt x="2981620" y="5461581"/>
                      <a:pt x="2981375" y="5461581"/>
                    </a:cubicBezTo>
                    <a:cubicBezTo>
                      <a:pt x="2981375" y="5461581"/>
                      <a:pt x="2981129" y="5461581"/>
                      <a:pt x="2981129" y="5461828"/>
                    </a:cubicBezTo>
                    <a:cubicBezTo>
                      <a:pt x="2981129" y="5462077"/>
                      <a:pt x="2981129" y="5462077"/>
                      <a:pt x="2981375" y="5462077"/>
                    </a:cubicBezTo>
                    <a:cubicBezTo>
                      <a:pt x="2981620" y="5462077"/>
                      <a:pt x="2981870" y="5461828"/>
                      <a:pt x="2981620" y="5461828"/>
                    </a:cubicBezTo>
                    <a:close/>
                    <a:moveTo>
                      <a:pt x="2981622" y="4366786"/>
                    </a:moveTo>
                    <a:cubicBezTo>
                      <a:pt x="2981622" y="4339415"/>
                      <a:pt x="2959183" y="4317224"/>
                      <a:pt x="2931813" y="4317224"/>
                    </a:cubicBezTo>
                    <a:cubicBezTo>
                      <a:pt x="2904445" y="4317224"/>
                      <a:pt x="2882252" y="4339415"/>
                      <a:pt x="2882252" y="4366786"/>
                    </a:cubicBezTo>
                    <a:cubicBezTo>
                      <a:pt x="2882252" y="4394402"/>
                      <a:pt x="2904445" y="4416595"/>
                      <a:pt x="2931813" y="4416595"/>
                    </a:cubicBezTo>
                    <a:cubicBezTo>
                      <a:pt x="2959183" y="4416595"/>
                      <a:pt x="2981377" y="4394155"/>
                      <a:pt x="2981622" y="4366786"/>
                    </a:cubicBezTo>
                    <a:close/>
                    <a:moveTo>
                      <a:pt x="2982117" y="1962990"/>
                    </a:moveTo>
                    <a:cubicBezTo>
                      <a:pt x="2982117" y="1954116"/>
                      <a:pt x="2974964" y="1946968"/>
                      <a:pt x="2966087" y="1946968"/>
                    </a:cubicBezTo>
                    <a:cubicBezTo>
                      <a:pt x="2957211" y="1946968"/>
                      <a:pt x="2950061" y="1954116"/>
                      <a:pt x="2950061" y="1962990"/>
                    </a:cubicBezTo>
                    <a:cubicBezTo>
                      <a:pt x="2950061" y="1971864"/>
                      <a:pt x="2957211" y="1979013"/>
                      <a:pt x="2966087" y="1979013"/>
                    </a:cubicBezTo>
                    <a:cubicBezTo>
                      <a:pt x="2974719" y="1979013"/>
                      <a:pt x="2981869" y="1971864"/>
                      <a:pt x="2982117" y="1962990"/>
                    </a:cubicBezTo>
                    <a:close/>
                    <a:moveTo>
                      <a:pt x="2986801" y="5108734"/>
                    </a:moveTo>
                    <a:cubicBezTo>
                      <a:pt x="2986801" y="5102321"/>
                      <a:pt x="2981375" y="5097144"/>
                      <a:pt x="2974965" y="5097144"/>
                    </a:cubicBezTo>
                    <a:cubicBezTo>
                      <a:pt x="2968553" y="5097144"/>
                      <a:pt x="2963375" y="5102321"/>
                      <a:pt x="2963375" y="5108734"/>
                    </a:cubicBezTo>
                    <a:cubicBezTo>
                      <a:pt x="2963375" y="5115392"/>
                      <a:pt x="2968553" y="5120570"/>
                      <a:pt x="2974965" y="5120570"/>
                    </a:cubicBezTo>
                    <a:cubicBezTo>
                      <a:pt x="2981375" y="5120570"/>
                      <a:pt x="2986555" y="5115392"/>
                      <a:pt x="2986801" y="5108734"/>
                    </a:cubicBezTo>
                    <a:close/>
                    <a:moveTo>
                      <a:pt x="2990994" y="2491369"/>
                    </a:moveTo>
                    <a:cubicBezTo>
                      <a:pt x="2990994" y="2487918"/>
                      <a:pt x="2988282" y="2485206"/>
                      <a:pt x="2984828" y="2485206"/>
                    </a:cubicBezTo>
                    <a:cubicBezTo>
                      <a:pt x="2981377" y="2485206"/>
                      <a:pt x="2978664" y="2488164"/>
                      <a:pt x="2978664" y="2491369"/>
                    </a:cubicBezTo>
                    <a:cubicBezTo>
                      <a:pt x="2978664" y="2494823"/>
                      <a:pt x="2981377" y="2497535"/>
                      <a:pt x="2984828" y="2497535"/>
                    </a:cubicBezTo>
                    <a:cubicBezTo>
                      <a:pt x="2988282" y="2497535"/>
                      <a:pt x="2990994" y="2494823"/>
                      <a:pt x="2990994" y="2491369"/>
                    </a:cubicBezTo>
                    <a:close/>
                    <a:moveTo>
                      <a:pt x="2991732" y="5920458"/>
                    </a:moveTo>
                    <a:cubicBezTo>
                      <a:pt x="2991732" y="5919226"/>
                      <a:pt x="2990746" y="5918240"/>
                      <a:pt x="2989513" y="5918240"/>
                    </a:cubicBezTo>
                    <a:cubicBezTo>
                      <a:pt x="2988282" y="5918240"/>
                      <a:pt x="2987294" y="5919226"/>
                      <a:pt x="2987294" y="5920458"/>
                    </a:cubicBezTo>
                    <a:cubicBezTo>
                      <a:pt x="2987294" y="5921693"/>
                      <a:pt x="2988282" y="5922676"/>
                      <a:pt x="2989513" y="5922676"/>
                    </a:cubicBezTo>
                    <a:cubicBezTo>
                      <a:pt x="2990746" y="5922676"/>
                      <a:pt x="2991981" y="5921693"/>
                      <a:pt x="2991732" y="5920458"/>
                    </a:cubicBezTo>
                    <a:close/>
                    <a:moveTo>
                      <a:pt x="2991978" y="6034624"/>
                    </a:moveTo>
                    <a:cubicBezTo>
                      <a:pt x="2991978" y="6032898"/>
                      <a:pt x="2990500" y="6031419"/>
                      <a:pt x="2988773" y="6031419"/>
                    </a:cubicBezTo>
                    <a:cubicBezTo>
                      <a:pt x="2987047" y="6031419"/>
                      <a:pt x="2985568" y="6032898"/>
                      <a:pt x="2985568" y="6034624"/>
                    </a:cubicBezTo>
                    <a:cubicBezTo>
                      <a:pt x="2985568" y="6036351"/>
                      <a:pt x="2987047" y="6037832"/>
                      <a:pt x="2988773" y="6037832"/>
                    </a:cubicBezTo>
                    <a:cubicBezTo>
                      <a:pt x="2990500" y="6037832"/>
                      <a:pt x="2991978" y="6036351"/>
                      <a:pt x="2991978" y="6034624"/>
                    </a:cubicBezTo>
                    <a:close/>
                    <a:moveTo>
                      <a:pt x="2991978" y="6260981"/>
                    </a:moveTo>
                    <a:cubicBezTo>
                      <a:pt x="2991978" y="6259995"/>
                      <a:pt x="2990992" y="6259008"/>
                      <a:pt x="2990006" y="6259008"/>
                    </a:cubicBezTo>
                    <a:cubicBezTo>
                      <a:pt x="2989019" y="6259008"/>
                      <a:pt x="2988033" y="6259749"/>
                      <a:pt x="2988033" y="6260981"/>
                    </a:cubicBezTo>
                    <a:cubicBezTo>
                      <a:pt x="2988033" y="6261967"/>
                      <a:pt x="2989019" y="6262954"/>
                      <a:pt x="2990006" y="6262954"/>
                    </a:cubicBezTo>
                    <a:cubicBezTo>
                      <a:pt x="2991237" y="6262954"/>
                      <a:pt x="2991978" y="6261967"/>
                      <a:pt x="2991978" y="6260981"/>
                    </a:cubicBezTo>
                    <a:close/>
                    <a:moveTo>
                      <a:pt x="2992470" y="6148049"/>
                    </a:moveTo>
                    <a:cubicBezTo>
                      <a:pt x="2992470" y="6146321"/>
                      <a:pt x="2990992" y="6144843"/>
                      <a:pt x="2989265" y="6144843"/>
                    </a:cubicBezTo>
                    <a:cubicBezTo>
                      <a:pt x="2987538" y="6144843"/>
                      <a:pt x="2986059" y="6146321"/>
                      <a:pt x="2986059" y="6148049"/>
                    </a:cubicBezTo>
                    <a:cubicBezTo>
                      <a:pt x="2986059" y="6149775"/>
                      <a:pt x="2987538" y="6151256"/>
                      <a:pt x="2989265" y="6151256"/>
                    </a:cubicBezTo>
                    <a:cubicBezTo>
                      <a:pt x="2990992" y="6151256"/>
                      <a:pt x="2992470" y="6149775"/>
                      <a:pt x="2992470" y="6148049"/>
                    </a:cubicBezTo>
                    <a:close/>
                    <a:moveTo>
                      <a:pt x="2992718" y="5690896"/>
                    </a:moveTo>
                    <a:cubicBezTo>
                      <a:pt x="2992718" y="5689169"/>
                      <a:pt x="2991238" y="5687690"/>
                      <a:pt x="2989512" y="5687690"/>
                    </a:cubicBezTo>
                    <a:cubicBezTo>
                      <a:pt x="2987784" y="5687690"/>
                      <a:pt x="2986306" y="5689169"/>
                      <a:pt x="2986306" y="5690896"/>
                    </a:cubicBezTo>
                    <a:cubicBezTo>
                      <a:pt x="2986306" y="5692623"/>
                      <a:pt x="2987784" y="5694104"/>
                      <a:pt x="2989512" y="5694104"/>
                    </a:cubicBezTo>
                    <a:cubicBezTo>
                      <a:pt x="2991484" y="5694104"/>
                      <a:pt x="2992965" y="5692623"/>
                      <a:pt x="2992718" y="5690896"/>
                    </a:cubicBezTo>
                    <a:close/>
                    <a:moveTo>
                      <a:pt x="2992718" y="6373417"/>
                    </a:moveTo>
                    <a:cubicBezTo>
                      <a:pt x="2992718" y="6371939"/>
                      <a:pt x="2991732" y="6370952"/>
                      <a:pt x="2990254" y="6370952"/>
                    </a:cubicBezTo>
                    <a:cubicBezTo>
                      <a:pt x="2988773" y="6370952"/>
                      <a:pt x="2987787" y="6372185"/>
                      <a:pt x="2987787" y="6373417"/>
                    </a:cubicBezTo>
                    <a:cubicBezTo>
                      <a:pt x="2987787" y="6374652"/>
                      <a:pt x="2989019" y="6375884"/>
                      <a:pt x="2990254" y="6375884"/>
                    </a:cubicBezTo>
                    <a:cubicBezTo>
                      <a:pt x="2991732" y="6375884"/>
                      <a:pt x="2992718" y="6374898"/>
                      <a:pt x="2992718" y="6373417"/>
                    </a:cubicBezTo>
                    <a:close/>
                    <a:moveTo>
                      <a:pt x="2992967" y="5227333"/>
                    </a:moveTo>
                    <a:cubicBezTo>
                      <a:pt x="2992967" y="5218951"/>
                      <a:pt x="2986308" y="5212292"/>
                      <a:pt x="2977924" y="5212292"/>
                    </a:cubicBezTo>
                    <a:cubicBezTo>
                      <a:pt x="2969542" y="5212292"/>
                      <a:pt x="2962883" y="5218951"/>
                      <a:pt x="2962883" y="5227333"/>
                    </a:cubicBezTo>
                    <a:cubicBezTo>
                      <a:pt x="2962883" y="5235718"/>
                      <a:pt x="2969542" y="5242376"/>
                      <a:pt x="2977924" y="5242376"/>
                    </a:cubicBezTo>
                    <a:cubicBezTo>
                      <a:pt x="2986308" y="5242376"/>
                      <a:pt x="2992967" y="5235718"/>
                      <a:pt x="2992967" y="5227333"/>
                    </a:cubicBezTo>
                    <a:close/>
                    <a:moveTo>
                      <a:pt x="2993210" y="5575501"/>
                    </a:moveTo>
                    <a:cubicBezTo>
                      <a:pt x="2993210" y="5573034"/>
                      <a:pt x="2991237" y="5571061"/>
                      <a:pt x="2988773" y="5571061"/>
                    </a:cubicBezTo>
                    <a:cubicBezTo>
                      <a:pt x="2986060" y="5571061"/>
                      <a:pt x="2984087" y="5573034"/>
                      <a:pt x="2984087" y="5575501"/>
                    </a:cubicBezTo>
                    <a:cubicBezTo>
                      <a:pt x="2984087" y="5577965"/>
                      <a:pt x="2986306" y="5579937"/>
                      <a:pt x="2988773" y="5579937"/>
                    </a:cubicBezTo>
                    <a:cubicBezTo>
                      <a:pt x="2991237" y="5579937"/>
                      <a:pt x="2993210" y="5577965"/>
                      <a:pt x="2993210" y="5575501"/>
                    </a:cubicBezTo>
                    <a:close/>
                    <a:moveTo>
                      <a:pt x="2995678" y="2361181"/>
                    </a:moveTo>
                    <a:cubicBezTo>
                      <a:pt x="2995678" y="2359951"/>
                      <a:pt x="2994691" y="2358721"/>
                      <a:pt x="2993211" y="2358721"/>
                    </a:cubicBezTo>
                    <a:cubicBezTo>
                      <a:pt x="2991732" y="2358721"/>
                      <a:pt x="2990746" y="2359704"/>
                      <a:pt x="2990746" y="2361181"/>
                    </a:cubicBezTo>
                    <a:cubicBezTo>
                      <a:pt x="2990746" y="2362414"/>
                      <a:pt x="2991732" y="2363653"/>
                      <a:pt x="2993211" y="2363653"/>
                    </a:cubicBezTo>
                    <a:cubicBezTo>
                      <a:pt x="2994446" y="2363653"/>
                      <a:pt x="2995678" y="2362414"/>
                      <a:pt x="2995678" y="2361181"/>
                    </a:cubicBezTo>
                    <a:close/>
                    <a:moveTo>
                      <a:pt x="2996665" y="6708761"/>
                    </a:moveTo>
                    <a:cubicBezTo>
                      <a:pt x="2996665" y="6708023"/>
                      <a:pt x="2995924" y="6707282"/>
                      <a:pt x="2995184" y="6707282"/>
                    </a:cubicBezTo>
                    <a:cubicBezTo>
                      <a:pt x="2994446" y="6707282"/>
                      <a:pt x="2993705" y="6708023"/>
                      <a:pt x="2993705" y="6708761"/>
                    </a:cubicBezTo>
                    <a:cubicBezTo>
                      <a:pt x="2993705" y="6709501"/>
                      <a:pt x="2994446" y="6710242"/>
                      <a:pt x="2995184" y="6710242"/>
                    </a:cubicBezTo>
                    <a:cubicBezTo>
                      <a:pt x="2995924" y="6710242"/>
                      <a:pt x="2996665" y="6709501"/>
                      <a:pt x="2996665" y="6708761"/>
                    </a:cubicBezTo>
                    <a:close/>
                    <a:moveTo>
                      <a:pt x="2997650" y="5806047"/>
                    </a:moveTo>
                    <a:cubicBezTo>
                      <a:pt x="2997650" y="5801364"/>
                      <a:pt x="2993951" y="5797664"/>
                      <a:pt x="2989268" y="5797664"/>
                    </a:cubicBezTo>
                    <a:cubicBezTo>
                      <a:pt x="2984582" y="5797664"/>
                      <a:pt x="2980882" y="5801364"/>
                      <a:pt x="2980882" y="5806047"/>
                    </a:cubicBezTo>
                    <a:cubicBezTo>
                      <a:pt x="2980882" y="5810732"/>
                      <a:pt x="2984582" y="5814432"/>
                      <a:pt x="2989268" y="5814432"/>
                    </a:cubicBezTo>
                    <a:cubicBezTo>
                      <a:pt x="2993951" y="5814432"/>
                      <a:pt x="2997650" y="5810732"/>
                      <a:pt x="2997650" y="5806047"/>
                    </a:cubicBezTo>
                    <a:close/>
                    <a:moveTo>
                      <a:pt x="2997650" y="6484378"/>
                    </a:moveTo>
                    <a:cubicBezTo>
                      <a:pt x="2997650" y="6483146"/>
                      <a:pt x="2996664" y="6482405"/>
                      <a:pt x="2995678" y="6482405"/>
                    </a:cubicBezTo>
                    <a:cubicBezTo>
                      <a:pt x="2994691" y="6482405"/>
                      <a:pt x="2993705" y="6483392"/>
                      <a:pt x="2993705" y="6484378"/>
                    </a:cubicBezTo>
                    <a:cubicBezTo>
                      <a:pt x="2993705" y="6485364"/>
                      <a:pt x="2994691" y="6486351"/>
                      <a:pt x="2995678" y="6486351"/>
                    </a:cubicBezTo>
                    <a:cubicBezTo>
                      <a:pt x="2996910" y="6486351"/>
                      <a:pt x="2997650" y="6485610"/>
                      <a:pt x="2997650" y="6484378"/>
                    </a:cubicBezTo>
                    <a:close/>
                    <a:moveTo>
                      <a:pt x="2997650" y="6596570"/>
                    </a:moveTo>
                    <a:cubicBezTo>
                      <a:pt x="2997650" y="6595583"/>
                      <a:pt x="2996664" y="6594597"/>
                      <a:pt x="2995678" y="6594597"/>
                    </a:cubicBezTo>
                    <a:cubicBezTo>
                      <a:pt x="2994446" y="6594597"/>
                      <a:pt x="2993705" y="6595583"/>
                      <a:pt x="2993705" y="6596570"/>
                    </a:cubicBezTo>
                    <a:cubicBezTo>
                      <a:pt x="2993705" y="6597803"/>
                      <a:pt x="2994691" y="6598543"/>
                      <a:pt x="2995678" y="6598543"/>
                    </a:cubicBezTo>
                    <a:cubicBezTo>
                      <a:pt x="2996910" y="6598543"/>
                      <a:pt x="2997650" y="6597803"/>
                      <a:pt x="2997650" y="6596570"/>
                    </a:cubicBezTo>
                    <a:close/>
                    <a:moveTo>
                      <a:pt x="2997650" y="6820216"/>
                    </a:moveTo>
                    <a:cubicBezTo>
                      <a:pt x="2997650" y="6819229"/>
                      <a:pt x="2996912" y="6818488"/>
                      <a:pt x="2995926" y="6818488"/>
                    </a:cubicBezTo>
                    <a:cubicBezTo>
                      <a:pt x="2994940" y="6818488"/>
                      <a:pt x="2994199" y="6819229"/>
                      <a:pt x="2994199" y="6820216"/>
                    </a:cubicBezTo>
                    <a:cubicBezTo>
                      <a:pt x="2994199" y="6821202"/>
                      <a:pt x="2994940" y="6821940"/>
                      <a:pt x="2995926" y="6821940"/>
                    </a:cubicBezTo>
                    <a:cubicBezTo>
                      <a:pt x="2996912" y="6821940"/>
                      <a:pt x="2997650" y="6821202"/>
                      <a:pt x="2997650" y="6820216"/>
                    </a:cubicBezTo>
                    <a:close/>
                    <a:moveTo>
                      <a:pt x="2999377" y="6931916"/>
                    </a:moveTo>
                    <a:cubicBezTo>
                      <a:pt x="2999377" y="6929940"/>
                      <a:pt x="2997899" y="6928462"/>
                      <a:pt x="2995924" y="6928462"/>
                    </a:cubicBezTo>
                    <a:cubicBezTo>
                      <a:pt x="2993950" y="6928462"/>
                      <a:pt x="2992472" y="6929940"/>
                      <a:pt x="2992472" y="6931916"/>
                    </a:cubicBezTo>
                    <a:cubicBezTo>
                      <a:pt x="2992472" y="6933889"/>
                      <a:pt x="2993950" y="6935367"/>
                      <a:pt x="2995924" y="6935367"/>
                    </a:cubicBezTo>
                    <a:cubicBezTo>
                      <a:pt x="2997899" y="6935367"/>
                      <a:pt x="2999377" y="6933889"/>
                      <a:pt x="2999377" y="6931916"/>
                    </a:cubicBezTo>
                    <a:close/>
                    <a:moveTo>
                      <a:pt x="3000609" y="7043119"/>
                    </a:moveTo>
                    <a:cubicBezTo>
                      <a:pt x="3000609" y="7040901"/>
                      <a:pt x="2998636" y="7038929"/>
                      <a:pt x="2996169" y="7038929"/>
                    </a:cubicBezTo>
                    <a:cubicBezTo>
                      <a:pt x="2993951" y="7038929"/>
                      <a:pt x="2991978" y="7040655"/>
                      <a:pt x="2991978" y="7043119"/>
                    </a:cubicBezTo>
                    <a:cubicBezTo>
                      <a:pt x="2991978" y="7045339"/>
                      <a:pt x="2993705" y="7047311"/>
                      <a:pt x="2996169" y="7047311"/>
                    </a:cubicBezTo>
                    <a:cubicBezTo>
                      <a:pt x="2998636" y="7047311"/>
                      <a:pt x="3000609" y="7045339"/>
                      <a:pt x="3000609" y="7043119"/>
                    </a:cubicBezTo>
                    <a:close/>
                    <a:moveTo>
                      <a:pt x="3001598" y="4867581"/>
                    </a:moveTo>
                    <a:cubicBezTo>
                      <a:pt x="3001598" y="4848842"/>
                      <a:pt x="2986308" y="4833801"/>
                      <a:pt x="2967815" y="4833801"/>
                    </a:cubicBezTo>
                    <a:cubicBezTo>
                      <a:pt x="2949075" y="4833801"/>
                      <a:pt x="2934035" y="4849087"/>
                      <a:pt x="2934035" y="4867581"/>
                    </a:cubicBezTo>
                    <a:cubicBezTo>
                      <a:pt x="2934035" y="4886321"/>
                      <a:pt x="2949321" y="4901361"/>
                      <a:pt x="2967815" y="4901361"/>
                    </a:cubicBezTo>
                    <a:cubicBezTo>
                      <a:pt x="2986555" y="4901361"/>
                      <a:pt x="3001598" y="4886321"/>
                      <a:pt x="3001598" y="4867581"/>
                    </a:cubicBezTo>
                    <a:close/>
                    <a:moveTo>
                      <a:pt x="3002087" y="7154080"/>
                    </a:moveTo>
                    <a:cubicBezTo>
                      <a:pt x="3002087" y="7151122"/>
                      <a:pt x="2999623" y="7148654"/>
                      <a:pt x="2996664" y="7148654"/>
                    </a:cubicBezTo>
                    <a:cubicBezTo>
                      <a:pt x="2993705" y="7148654"/>
                      <a:pt x="2991237" y="7151122"/>
                      <a:pt x="2991237" y="7154080"/>
                    </a:cubicBezTo>
                    <a:cubicBezTo>
                      <a:pt x="2991237" y="7157037"/>
                      <a:pt x="2993705" y="7159504"/>
                      <a:pt x="2996664" y="7159504"/>
                    </a:cubicBezTo>
                    <a:cubicBezTo>
                      <a:pt x="2999623" y="7159504"/>
                      <a:pt x="3002087" y="7157037"/>
                      <a:pt x="3002087" y="7154080"/>
                    </a:cubicBezTo>
                    <a:close/>
                    <a:moveTo>
                      <a:pt x="3004062" y="3736292"/>
                    </a:moveTo>
                    <a:cubicBezTo>
                      <a:pt x="3004062" y="3723224"/>
                      <a:pt x="2993459" y="3712375"/>
                      <a:pt x="2980142" y="3712375"/>
                    </a:cubicBezTo>
                    <a:cubicBezTo>
                      <a:pt x="2967075" y="3712375"/>
                      <a:pt x="2956225" y="3722977"/>
                      <a:pt x="2956225" y="3736292"/>
                    </a:cubicBezTo>
                    <a:cubicBezTo>
                      <a:pt x="2956225" y="3749608"/>
                      <a:pt x="2966828" y="3760209"/>
                      <a:pt x="2980142" y="3760209"/>
                    </a:cubicBezTo>
                    <a:cubicBezTo>
                      <a:pt x="2993459" y="3760209"/>
                      <a:pt x="3004308" y="3749608"/>
                      <a:pt x="3004062" y="3736292"/>
                    </a:cubicBezTo>
                    <a:close/>
                    <a:moveTo>
                      <a:pt x="3004308" y="7375255"/>
                    </a:moveTo>
                    <a:cubicBezTo>
                      <a:pt x="3004308" y="7373036"/>
                      <a:pt x="3002582" y="7371310"/>
                      <a:pt x="3000363" y="7371310"/>
                    </a:cubicBezTo>
                    <a:cubicBezTo>
                      <a:pt x="2998144" y="7371310"/>
                      <a:pt x="2996417" y="7373036"/>
                      <a:pt x="2996417" y="7375255"/>
                    </a:cubicBezTo>
                    <a:cubicBezTo>
                      <a:pt x="2996417" y="7377473"/>
                      <a:pt x="2998144" y="7379200"/>
                      <a:pt x="3000363" y="7379200"/>
                    </a:cubicBezTo>
                    <a:cubicBezTo>
                      <a:pt x="3002827" y="7379200"/>
                      <a:pt x="3004554" y="7377473"/>
                      <a:pt x="3004308" y="7375255"/>
                    </a:cubicBezTo>
                    <a:close/>
                    <a:moveTo>
                      <a:pt x="3004309" y="3004968"/>
                    </a:moveTo>
                    <a:cubicBezTo>
                      <a:pt x="3004309" y="3004229"/>
                      <a:pt x="3003568" y="3003489"/>
                      <a:pt x="3002828" y="3003489"/>
                    </a:cubicBezTo>
                    <a:cubicBezTo>
                      <a:pt x="3002090" y="3003489"/>
                      <a:pt x="3001349" y="3004229"/>
                      <a:pt x="3001349" y="3004968"/>
                    </a:cubicBezTo>
                    <a:cubicBezTo>
                      <a:pt x="3001349" y="3005708"/>
                      <a:pt x="3002090" y="3006447"/>
                      <a:pt x="3002828" y="3006447"/>
                    </a:cubicBezTo>
                    <a:cubicBezTo>
                      <a:pt x="3003568" y="3006447"/>
                      <a:pt x="3004309" y="3005708"/>
                      <a:pt x="3004309" y="3004968"/>
                    </a:cubicBezTo>
                    <a:close/>
                    <a:moveTo>
                      <a:pt x="3005540" y="7485722"/>
                    </a:moveTo>
                    <a:cubicBezTo>
                      <a:pt x="3005540" y="7483008"/>
                      <a:pt x="3003322" y="7480790"/>
                      <a:pt x="3000609" y="7480790"/>
                    </a:cubicBezTo>
                    <a:cubicBezTo>
                      <a:pt x="2997896" y="7480790"/>
                      <a:pt x="2995677" y="7483008"/>
                      <a:pt x="2995677" y="7485722"/>
                    </a:cubicBezTo>
                    <a:cubicBezTo>
                      <a:pt x="2995677" y="7488434"/>
                      <a:pt x="2997896" y="7490653"/>
                      <a:pt x="3000609" y="7490653"/>
                    </a:cubicBezTo>
                    <a:cubicBezTo>
                      <a:pt x="3003322" y="7490653"/>
                      <a:pt x="3005540" y="7488434"/>
                      <a:pt x="3005540" y="7485722"/>
                    </a:cubicBezTo>
                    <a:close/>
                    <a:moveTo>
                      <a:pt x="3005786" y="3275209"/>
                    </a:moveTo>
                    <a:cubicBezTo>
                      <a:pt x="3005786" y="3270031"/>
                      <a:pt x="3001594" y="3265841"/>
                      <a:pt x="2996418" y="3265841"/>
                    </a:cubicBezTo>
                    <a:cubicBezTo>
                      <a:pt x="2991237" y="3265841"/>
                      <a:pt x="2987046" y="3270031"/>
                      <a:pt x="2987046" y="3275209"/>
                    </a:cubicBezTo>
                    <a:cubicBezTo>
                      <a:pt x="2987046" y="3280389"/>
                      <a:pt x="2991237" y="3284580"/>
                      <a:pt x="2996418" y="3284580"/>
                    </a:cubicBezTo>
                    <a:cubicBezTo>
                      <a:pt x="3001594" y="3284580"/>
                      <a:pt x="3005786" y="3280389"/>
                      <a:pt x="3005786" y="3275209"/>
                    </a:cubicBezTo>
                    <a:close/>
                    <a:moveTo>
                      <a:pt x="3006526" y="7264049"/>
                    </a:moveTo>
                    <a:cubicBezTo>
                      <a:pt x="3006526" y="7260598"/>
                      <a:pt x="3003816" y="7257884"/>
                      <a:pt x="3000608" y="7257884"/>
                    </a:cubicBezTo>
                    <a:cubicBezTo>
                      <a:pt x="2997158" y="7257884"/>
                      <a:pt x="2994445" y="7260844"/>
                      <a:pt x="2994445" y="7264049"/>
                    </a:cubicBezTo>
                    <a:cubicBezTo>
                      <a:pt x="2994445" y="7267502"/>
                      <a:pt x="2997158" y="7270216"/>
                      <a:pt x="3000608" y="7270216"/>
                    </a:cubicBezTo>
                    <a:cubicBezTo>
                      <a:pt x="3003816" y="7270216"/>
                      <a:pt x="3006526" y="7267502"/>
                      <a:pt x="3006526" y="7264049"/>
                    </a:cubicBezTo>
                    <a:close/>
                    <a:moveTo>
                      <a:pt x="3007266" y="4988897"/>
                    </a:moveTo>
                    <a:cubicBezTo>
                      <a:pt x="3007266" y="4969171"/>
                      <a:pt x="2991240" y="4953390"/>
                      <a:pt x="2971761" y="4953390"/>
                    </a:cubicBezTo>
                    <a:cubicBezTo>
                      <a:pt x="2952034" y="4953390"/>
                      <a:pt x="2936253" y="4969417"/>
                      <a:pt x="2936253" y="4988897"/>
                    </a:cubicBezTo>
                    <a:cubicBezTo>
                      <a:pt x="2936253" y="5008377"/>
                      <a:pt x="2952280" y="5024404"/>
                      <a:pt x="2971761" y="5024404"/>
                    </a:cubicBezTo>
                    <a:cubicBezTo>
                      <a:pt x="2991240" y="5024404"/>
                      <a:pt x="3007266" y="5008623"/>
                      <a:pt x="3007266" y="4988897"/>
                    </a:cubicBezTo>
                    <a:close/>
                    <a:moveTo>
                      <a:pt x="3008994" y="1724083"/>
                    </a:moveTo>
                    <a:cubicBezTo>
                      <a:pt x="3008994" y="1702151"/>
                      <a:pt x="2991240" y="1684396"/>
                      <a:pt x="2969293" y="1684396"/>
                    </a:cubicBezTo>
                    <a:cubicBezTo>
                      <a:pt x="2947348" y="1684396"/>
                      <a:pt x="2929594" y="1702151"/>
                      <a:pt x="2929594" y="1724083"/>
                    </a:cubicBezTo>
                    <a:cubicBezTo>
                      <a:pt x="2929594" y="1746045"/>
                      <a:pt x="2947348" y="1763807"/>
                      <a:pt x="2969293" y="1763807"/>
                    </a:cubicBezTo>
                    <a:cubicBezTo>
                      <a:pt x="2991240" y="1763807"/>
                      <a:pt x="3008994" y="1746045"/>
                      <a:pt x="3008994" y="1724083"/>
                    </a:cubicBezTo>
                    <a:close/>
                    <a:moveTo>
                      <a:pt x="3008994" y="3999635"/>
                    </a:moveTo>
                    <a:cubicBezTo>
                      <a:pt x="3008994" y="3979417"/>
                      <a:pt x="2992226" y="3962895"/>
                      <a:pt x="2972006" y="3962895"/>
                    </a:cubicBezTo>
                    <a:cubicBezTo>
                      <a:pt x="2951788" y="3962895"/>
                      <a:pt x="2935266" y="3979417"/>
                      <a:pt x="2935266" y="3999635"/>
                    </a:cubicBezTo>
                    <a:cubicBezTo>
                      <a:pt x="2935266" y="4020101"/>
                      <a:pt x="2951788" y="4036623"/>
                      <a:pt x="2972006" y="4036623"/>
                    </a:cubicBezTo>
                    <a:cubicBezTo>
                      <a:pt x="2992226" y="4036623"/>
                      <a:pt x="3008744" y="4020101"/>
                      <a:pt x="3008994" y="3999635"/>
                    </a:cubicBezTo>
                    <a:close/>
                    <a:moveTo>
                      <a:pt x="3012936" y="4744293"/>
                    </a:moveTo>
                    <a:cubicBezTo>
                      <a:pt x="3012936" y="4717171"/>
                      <a:pt x="2990746" y="4694978"/>
                      <a:pt x="2963621" y="4694978"/>
                    </a:cubicBezTo>
                    <a:cubicBezTo>
                      <a:pt x="2936497" y="4694978"/>
                      <a:pt x="2914306" y="4717171"/>
                      <a:pt x="2914306" y="4744293"/>
                    </a:cubicBezTo>
                    <a:cubicBezTo>
                      <a:pt x="2914306" y="4771418"/>
                      <a:pt x="2936497" y="4793608"/>
                      <a:pt x="2963621" y="4793608"/>
                    </a:cubicBezTo>
                    <a:cubicBezTo>
                      <a:pt x="2990992" y="4793608"/>
                      <a:pt x="3012936" y="4771418"/>
                      <a:pt x="3012936" y="4744293"/>
                    </a:cubicBezTo>
                    <a:close/>
                    <a:moveTo>
                      <a:pt x="3016390" y="1606739"/>
                    </a:moveTo>
                    <a:cubicBezTo>
                      <a:pt x="3016390" y="1581828"/>
                      <a:pt x="2996169" y="1561613"/>
                      <a:pt x="2971266" y="1561613"/>
                    </a:cubicBezTo>
                    <a:cubicBezTo>
                      <a:pt x="2946362" y="1561613"/>
                      <a:pt x="2926142" y="1581828"/>
                      <a:pt x="2926142" y="1606739"/>
                    </a:cubicBezTo>
                    <a:cubicBezTo>
                      <a:pt x="2926142" y="1631645"/>
                      <a:pt x="2946362" y="1651862"/>
                      <a:pt x="2971266" y="1651862"/>
                    </a:cubicBezTo>
                    <a:cubicBezTo>
                      <a:pt x="2996169" y="1651862"/>
                      <a:pt x="3016390" y="1631645"/>
                      <a:pt x="3016390" y="1606739"/>
                    </a:cubicBezTo>
                    <a:close/>
                    <a:moveTo>
                      <a:pt x="3017130" y="1489629"/>
                    </a:moveTo>
                    <a:cubicBezTo>
                      <a:pt x="3017130" y="1464728"/>
                      <a:pt x="2996912" y="1444504"/>
                      <a:pt x="2972006" y="1444504"/>
                    </a:cubicBezTo>
                    <a:cubicBezTo>
                      <a:pt x="2947349" y="1444504"/>
                      <a:pt x="2927130" y="1464728"/>
                      <a:pt x="2927130" y="1489629"/>
                    </a:cubicBezTo>
                    <a:cubicBezTo>
                      <a:pt x="2927130" y="1514534"/>
                      <a:pt x="2947102" y="1534755"/>
                      <a:pt x="2972006" y="1534755"/>
                    </a:cubicBezTo>
                    <a:cubicBezTo>
                      <a:pt x="2996912" y="1534755"/>
                      <a:pt x="3017130" y="1514534"/>
                      <a:pt x="3017130" y="1489629"/>
                    </a:cubicBezTo>
                    <a:close/>
                    <a:moveTo>
                      <a:pt x="3022800" y="21490"/>
                    </a:moveTo>
                    <a:lnTo>
                      <a:pt x="3013879" y="0"/>
                    </a:lnTo>
                    <a:lnTo>
                      <a:pt x="2959229" y="0"/>
                    </a:lnTo>
                    <a:lnTo>
                      <a:pt x="2950308" y="21490"/>
                    </a:lnTo>
                    <a:cubicBezTo>
                      <a:pt x="2950308" y="41461"/>
                      <a:pt x="2966581" y="57735"/>
                      <a:pt x="2986556" y="57735"/>
                    </a:cubicBezTo>
                    <a:cubicBezTo>
                      <a:pt x="3006528" y="57735"/>
                      <a:pt x="3022554" y="41461"/>
                      <a:pt x="3022800" y="21490"/>
                    </a:cubicBezTo>
                    <a:close/>
                    <a:moveTo>
                      <a:pt x="3023293" y="132915"/>
                    </a:moveTo>
                    <a:cubicBezTo>
                      <a:pt x="3023293" y="112697"/>
                      <a:pt x="3006775" y="96178"/>
                      <a:pt x="2986555" y="96178"/>
                    </a:cubicBezTo>
                    <a:cubicBezTo>
                      <a:pt x="2966337" y="96178"/>
                      <a:pt x="2949815" y="112697"/>
                      <a:pt x="2949815" y="132915"/>
                    </a:cubicBezTo>
                    <a:cubicBezTo>
                      <a:pt x="2949815" y="153135"/>
                      <a:pt x="2966337" y="169655"/>
                      <a:pt x="2986555" y="169655"/>
                    </a:cubicBezTo>
                    <a:cubicBezTo>
                      <a:pt x="3006775" y="169655"/>
                      <a:pt x="3023293" y="153135"/>
                      <a:pt x="3023293" y="132915"/>
                    </a:cubicBezTo>
                    <a:close/>
                    <a:moveTo>
                      <a:pt x="3023786" y="356261"/>
                    </a:moveTo>
                    <a:cubicBezTo>
                      <a:pt x="3023786" y="336045"/>
                      <a:pt x="3007266" y="319524"/>
                      <a:pt x="2987047" y="319524"/>
                    </a:cubicBezTo>
                    <a:cubicBezTo>
                      <a:pt x="2966829" y="319524"/>
                      <a:pt x="2950308" y="336045"/>
                      <a:pt x="2950308" y="356261"/>
                    </a:cubicBezTo>
                    <a:cubicBezTo>
                      <a:pt x="2950308" y="376481"/>
                      <a:pt x="2966829" y="392999"/>
                      <a:pt x="2987047" y="392999"/>
                    </a:cubicBezTo>
                    <a:cubicBezTo>
                      <a:pt x="3007266" y="392999"/>
                      <a:pt x="3023540" y="376481"/>
                      <a:pt x="3023786" y="356261"/>
                    </a:cubicBezTo>
                    <a:close/>
                    <a:moveTo>
                      <a:pt x="3023786" y="468432"/>
                    </a:moveTo>
                    <a:cubicBezTo>
                      <a:pt x="3023786" y="448214"/>
                      <a:pt x="3007266" y="431694"/>
                      <a:pt x="2987047" y="431694"/>
                    </a:cubicBezTo>
                    <a:cubicBezTo>
                      <a:pt x="2966829" y="431694"/>
                      <a:pt x="2950308" y="448214"/>
                      <a:pt x="2950308" y="468432"/>
                    </a:cubicBezTo>
                    <a:cubicBezTo>
                      <a:pt x="2950308" y="488651"/>
                      <a:pt x="2966829" y="505172"/>
                      <a:pt x="2987047" y="505172"/>
                    </a:cubicBezTo>
                    <a:cubicBezTo>
                      <a:pt x="3007266" y="505172"/>
                      <a:pt x="3023786" y="488651"/>
                      <a:pt x="3023786" y="468432"/>
                    </a:cubicBezTo>
                    <a:close/>
                    <a:moveTo>
                      <a:pt x="3026252" y="244588"/>
                    </a:moveTo>
                    <a:cubicBezTo>
                      <a:pt x="3026252" y="223138"/>
                      <a:pt x="3008744" y="205632"/>
                      <a:pt x="2987294" y="205632"/>
                    </a:cubicBezTo>
                    <a:cubicBezTo>
                      <a:pt x="2965842" y="205632"/>
                      <a:pt x="2948335" y="223138"/>
                      <a:pt x="2948335" y="244588"/>
                    </a:cubicBezTo>
                    <a:cubicBezTo>
                      <a:pt x="2948335" y="266040"/>
                      <a:pt x="2965842" y="283547"/>
                      <a:pt x="2987294" y="283547"/>
                    </a:cubicBezTo>
                    <a:cubicBezTo>
                      <a:pt x="3008744" y="283547"/>
                      <a:pt x="3026252" y="266040"/>
                      <a:pt x="3026252" y="244588"/>
                    </a:cubicBezTo>
                    <a:close/>
                    <a:moveTo>
                      <a:pt x="3026748" y="3622867"/>
                    </a:moveTo>
                    <a:cubicBezTo>
                      <a:pt x="3026748" y="3612756"/>
                      <a:pt x="3018611" y="3604619"/>
                      <a:pt x="3008502" y="3604619"/>
                    </a:cubicBezTo>
                    <a:cubicBezTo>
                      <a:pt x="2998390" y="3604619"/>
                      <a:pt x="2990253" y="3612756"/>
                      <a:pt x="2990253" y="3622867"/>
                    </a:cubicBezTo>
                    <a:cubicBezTo>
                      <a:pt x="2990253" y="3632977"/>
                      <a:pt x="2998390" y="3641113"/>
                      <a:pt x="3008502" y="3641113"/>
                    </a:cubicBezTo>
                    <a:cubicBezTo>
                      <a:pt x="3018611" y="3641113"/>
                      <a:pt x="3026748" y="3632977"/>
                      <a:pt x="3026748" y="3622867"/>
                    </a:cubicBezTo>
                    <a:close/>
                    <a:moveTo>
                      <a:pt x="3027734" y="3390116"/>
                    </a:moveTo>
                    <a:cubicBezTo>
                      <a:pt x="3027734" y="3383950"/>
                      <a:pt x="3022800" y="3379019"/>
                      <a:pt x="3016636" y="3379019"/>
                    </a:cubicBezTo>
                    <a:cubicBezTo>
                      <a:pt x="3010473" y="3379019"/>
                      <a:pt x="3005540" y="3383950"/>
                      <a:pt x="3005540" y="3390116"/>
                    </a:cubicBezTo>
                    <a:cubicBezTo>
                      <a:pt x="3005540" y="3396279"/>
                      <a:pt x="3010473" y="3401211"/>
                      <a:pt x="3016636" y="3401211"/>
                    </a:cubicBezTo>
                    <a:cubicBezTo>
                      <a:pt x="3022800" y="3401211"/>
                      <a:pt x="3027734" y="3396279"/>
                      <a:pt x="3027734" y="3390116"/>
                    </a:cubicBezTo>
                    <a:close/>
                    <a:moveTo>
                      <a:pt x="3034390" y="3506729"/>
                    </a:moveTo>
                    <a:cubicBezTo>
                      <a:pt x="3034390" y="3499085"/>
                      <a:pt x="3028226" y="3492921"/>
                      <a:pt x="3020581" y="3492921"/>
                    </a:cubicBezTo>
                    <a:cubicBezTo>
                      <a:pt x="3012937" y="3492921"/>
                      <a:pt x="3006773" y="3499085"/>
                      <a:pt x="3006773" y="3506729"/>
                    </a:cubicBezTo>
                    <a:cubicBezTo>
                      <a:pt x="3006773" y="3514374"/>
                      <a:pt x="3012937" y="3520538"/>
                      <a:pt x="3020581" y="3520538"/>
                    </a:cubicBezTo>
                    <a:cubicBezTo>
                      <a:pt x="3028226" y="3520538"/>
                      <a:pt x="3034390" y="3514374"/>
                      <a:pt x="3034390" y="3506729"/>
                    </a:cubicBezTo>
                    <a:close/>
                    <a:moveTo>
                      <a:pt x="3036609" y="4146843"/>
                    </a:moveTo>
                    <a:cubicBezTo>
                      <a:pt x="3036609" y="4125390"/>
                      <a:pt x="3019102" y="4107883"/>
                      <a:pt x="2997652" y="4107883"/>
                    </a:cubicBezTo>
                    <a:cubicBezTo>
                      <a:pt x="2976199" y="4107883"/>
                      <a:pt x="2958692" y="4125390"/>
                      <a:pt x="2958692" y="4146843"/>
                    </a:cubicBezTo>
                    <a:cubicBezTo>
                      <a:pt x="2958692" y="4168293"/>
                      <a:pt x="2976199" y="4185800"/>
                      <a:pt x="2997652" y="4185800"/>
                    </a:cubicBezTo>
                    <a:cubicBezTo>
                      <a:pt x="3019102" y="4185800"/>
                      <a:pt x="3036609" y="4168542"/>
                      <a:pt x="3036609" y="4146843"/>
                    </a:cubicBezTo>
                    <a:close/>
                    <a:moveTo>
                      <a:pt x="3045733" y="2853330"/>
                    </a:moveTo>
                    <a:cubicBezTo>
                      <a:pt x="3045733" y="2846180"/>
                      <a:pt x="3040061" y="2840508"/>
                      <a:pt x="3032911" y="2840508"/>
                    </a:cubicBezTo>
                    <a:cubicBezTo>
                      <a:pt x="3025761" y="2840508"/>
                      <a:pt x="3020089" y="2846180"/>
                      <a:pt x="3020089" y="2853330"/>
                    </a:cubicBezTo>
                    <a:cubicBezTo>
                      <a:pt x="3020089" y="2860480"/>
                      <a:pt x="3025761" y="2866151"/>
                      <a:pt x="3032911" y="2866151"/>
                    </a:cubicBezTo>
                    <a:cubicBezTo>
                      <a:pt x="3039815" y="2866151"/>
                      <a:pt x="3045733" y="2860233"/>
                      <a:pt x="3045733" y="2853330"/>
                    </a:cubicBezTo>
                    <a:close/>
                    <a:moveTo>
                      <a:pt x="3055105" y="3109025"/>
                    </a:moveTo>
                    <a:lnTo>
                      <a:pt x="3054856" y="3109025"/>
                    </a:lnTo>
                    <a:lnTo>
                      <a:pt x="3054610" y="3109025"/>
                    </a:lnTo>
                    <a:lnTo>
                      <a:pt x="3054856" y="3109269"/>
                    </a:lnTo>
                    <a:close/>
                    <a:moveTo>
                      <a:pt x="3058305" y="2708103"/>
                    </a:moveTo>
                    <a:cubicBezTo>
                      <a:pt x="3058305" y="2706131"/>
                      <a:pt x="3056581" y="2704404"/>
                      <a:pt x="3054610" y="2704404"/>
                    </a:cubicBezTo>
                    <a:cubicBezTo>
                      <a:pt x="3052636" y="2704404"/>
                      <a:pt x="3050910" y="2706131"/>
                      <a:pt x="3050910" y="2708103"/>
                    </a:cubicBezTo>
                    <a:cubicBezTo>
                      <a:pt x="3050910" y="2710076"/>
                      <a:pt x="3052636" y="2711803"/>
                      <a:pt x="3054610" y="2711803"/>
                    </a:cubicBezTo>
                    <a:cubicBezTo>
                      <a:pt x="3056581" y="2711803"/>
                      <a:pt x="3058305" y="2710076"/>
                      <a:pt x="3058305" y="2708103"/>
                    </a:cubicBezTo>
                    <a:close/>
                    <a:moveTo>
                      <a:pt x="3061268" y="4288127"/>
                    </a:moveTo>
                    <a:cubicBezTo>
                      <a:pt x="3061268" y="4263470"/>
                      <a:pt x="3041293" y="4243498"/>
                      <a:pt x="3016636" y="4243498"/>
                    </a:cubicBezTo>
                    <a:cubicBezTo>
                      <a:pt x="2991978" y="4243498"/>
                      <a:pt x="2972006" y="4263470"/>
                      <a:pt x="2972006" y="4288127"/>
                    </a:cubicBezTo>
                    <a:cubicBezTo>
                      <a:pt x="2972006" y="4312784"/>
                      <a:pt x="2991978" y="4332756"/>
                      <a:pt x="3016636" y="4332756"/>
                    </a:cubicBezTo>
                    <a:cubicBezTo>
                      <a:pt x="3041293" y="4332756"/>
                      <a:pt x="3061268" y="4312539"/>
                      <a:pt x="3061268" y="4288127"/>
                    </a:cubicBezTo>
                    <a:close/>
                    <a:moveTo>
                      <a:pt x="3064965" y="4424240"/>
                    </a:moveTo>
                    <a:cubicBezTo>
                      <a:pt x="3064965" y="4405498"/>
                      <a:pt x="3049676" y="4390211"/>
                      <a:pt x="3030935" y="4390211"/>
                    </a:cubicBezTo>
                    <a:cubicBezTo>
                      <a:pt x="3012196" y="4390211"/>
                      <a:pt x="2996909" y="4405498"/>
                      <a:pt x="2996909" y="4424240"/>
                    </a:cubicBezTo>
                    <a:cubicBezTo>
                      <a:pt x="2996909" y="4442977"/>
                      <a:pt x="3012196" y="4458266"/>
                      <a:pt x="3030935" y="4458266"/>
                    </a:cubicBezTo>
                    <a:cubicBezTo>
                      <a:pt x="3049924" y="4458266"/>
                      <a:pt x="3065210" y="4442977"/>
                      <a:pt x="3064965" y="4424240"/>
                    </a:cubicBezTo>
                    <a:close/>
                    <a:moveTo>
                      <a:pt x="3065705" y="3899033"/>
                    </a:moveTo>
                    <a:cubicBezTo>
                      <a:pt x="3065705" y="3879552"/>
                      <a:pt x="3049924" y="3863771"/>
                      <a:pt x="3030445" y="3863771"/>
                    </a:cubicBezTo>
                    <a:cubicBezTo>
                      <a:pt x="3010963" y="3863771"/>
                      <a:pt x="2995183" y="3879552"/>
                      <a:pt x="2995183" y="3899033"/>
                    </a:cubicBezTo>
                    <a:cubicBezTo>
                      <a:pt x="2995183" y="3918509"/>
                      <a:pt x="3010963" y="3934293"/>
                      <a:pt x="3030445" y="3934293"/>
                    </a:cubicBezTo>
                    <a:cubicBezTo>
                      <a:pt x="3049924" y="3934293"/>
                      <a:pt x="3065705" y="3918509"/>
                      <a:pt x="3065705" y="3899033"/>
                    </a:cubicBezTo>
                    <a:close/>
                    <a:moveTo>
                      <a:pt x="3066197" y="2273409"/>
                    </a:moveTo>
                    <a:cubicBezTo>
                      <a:pt x="3066197" y="2267985"/>
                      <a:pt x="3061761" y="2263795"/>
                      <a:pt x="3056583" y="2263795"/>
                    </a:cubicBezTo>
                    <a:cubicBezTo>
                      <a:pt x="3051403" y="2263795"/>
                      <a:pt x="3046965" y="2267985"/>
                      <a:pt x="3046965" y="2273409"/>
                    </a:cubicBezTo>
                    <a:cubicBezTo>
                      <a:pt x="3046965" y="2278588"/>
                      <a:pt x="3051156" y="2283029"/>
                      <a:pt x="3056583" y="2283029"/>
                    </a:cubicBezTo>
                    <a:cubicBezTo>
                      <a:pt x="3062006" y="2283029"/>
                      <a:pt x="3066446" y="2278588"/>
                      <a:pt x="3066197" y="2273409"/>
                    </a:cubicBezTo>
                    <a:close/>
                    <a:moveTo>
                      <a:pt x="3072115" y="4556650"/>
                    </a:moveTo>
                    <a:cubicBezTo>
                      <a:pt x="3072115" y="4540129"/>
                      <a:pt x="3058802" y="4526815"/>
                      <a:pt x="3042280" y="4526815"/>
                    </a:cubicBezTo>
                    <a:cubicBezTo>
                      <a:pt x="3025761" y="4526815"/>
                      <a:pt x="3012444" y="4540129"/>
                      <a:pt x="3012444" y="4556650"/>
                    </a:cubicBezTo>
                    <a:cubicBezTo>
                      <a:pt x="3012444" y="4573172"/>
                      <a:pt x="3025761" y="4586485"/>
                      <a:pt x="3042280" y="4586485"/>
                    </a:cubicBezTo>
                    <a:cubicBezTo>
                      <a:pt x="3058802" y="4586485"/>
                      <a:pt x="3072115" y="4572925"/>
                      <a:pt x="3072115" y="4556650"/>
                    </a:cubicBezTo>
                    <a:close/>
                    <a:moveTo>
                      <a:pt x="3072363" y="2145447"/>
                    </a:moveTo>
                    <a:cubicBezTo>
                      <a:pt x="3072363" y="2140268"/>
                      <a:pt x="3068172" y="2135827"/>
                      <a:pt x="3062746" y="2135827"/>
                    </a:cubicBezTo>
                    <a:cubicBezTo>
                      <a:pt x="3057323" y="2135827"/>
                      <a:pt x="3052883" y="2140020"/>
                      <a:pt x="3052883" y="2145447"/>
                    </a:cubicBezTo>
                    <a:cubicBezTo>
                      <a:pt x="3052883" y="2150869"/>
                      <a:pt x="3057323" y="2155310"/>
                      <a:pt x="3062746" y="2155310"/>
                    </a:cubicBezTo>
                    <a:cubicBezTo>
                      <a:pt x="3068172" y="2155310"/>
                      <a:pt x="3072609" y="2151119"/>
                      <a:pt x="3072363" y="2145447"/>
                    </a:cubicBezTo>
                    <a:close/>
                    <a:moveTo>
                      <a:pt x="3075322" y="1165675"/>
                    </a:moveTo>
                    <a:cubicBezTo>
                      <a:pt x="3075322" y="1143973"/>
                      <a:pt x="3057569" y="1126224"/>
                      <a:pt x="3035621" y="1126224"/>
                    </a:cubicBezTo>
                    <a:cubicBezTo>
                      <a:pt x="3013676" y="1126224"/>
                      <a:pt x="2995923" y="1143973"/>
                      <a:pt x="2995923" y="1165675"/>
                    </a:cubicBezTo>
                    <a:cubicBezTo>
                      <a:pt x="2995923" y="1187619"/>
                      <a:pt x="3013676" y="1205373"/>
                      <a:pt x="3035621" y="1205373"/>
                    </a:cubicBezTo>
                    <a:cubicBezTo>
                      <a:pt x="3057569" y="1205373"/>
                      <a:pt x="3075322" y="1187619"/>
                      <a:pt x="3075322" y="1165675"/>
                    </a:cubicBezTo>
                    <a:close/>
                    <a:moveTo>
                      <a:pt x="3077049" y="936639"/>
                    </a:moveTo>
                    <a:cubicBezTo>
                      <a:pt x="3077049" y="914938"/>
                      <a:pt x="3059542" y="897431"/>
                      <a:pt x="3037843" y="897431"/>
                    </a:cubicBezTo>
                    <a:cubicBezTo>
                      <a:pt x="3016143" y="897431"/>
                      <a:pt x="2998636" y="914938"/>
                      <a:pt x="2998636" y="936639"/>
                    </a:cubicBezTo>
                    <a:cubicBezTo>
                      <a:pt x="2998636" y="958344"/>
                      <a:pt x="3016143" y="975848"/>
                      <a:pt x="3037843" y="975848"/>
                    </a:cubicBezTo>
                    <a:cubicBezTo>
                      <a:pt x="3059295" y="975848"/>
                      <a:pt x="3077049" y="958095"/>
                      <a:pt x="3077049" y="936639"/>
                    </a:cubicBezTo>
                    <a:close/>
                    <a:moveTo>
                      <a:pt x="3078526" y="2568299"/>
                    </a:moveTo>
                    <a:cubicBezTo>
                      <a:pt x="3078526" y="2564105"/>
                      <a:pt x="3075322" y="2560902"/>
                      <a:pt x="3071130" y="2560902"/>
                    </a:cubicBezTo>
                    <a:cubicBezTo>
                      <a:pt x="3066937" y="2560902"/>
                      <a:pt x="3063731" y="2564105"/>
                      <a:pt x="3063731" y="2568299"/>
                    </a:cubicBezTo>
                    <a:cubicBezTo>
                      <a:pt x="3063731" y="2572244"/>
                      <a:pt x="3066937" y="2575695"/>
                      <a:pt x="3071130" y="2575695"/>
                    </a:cubicBezTo>
                    <a:cubicBezTo>
                      <a:pt x="3075322" y="2575695"/>
                      <a:pt x="3078526" y="2572490"/>
                      <a:pt x="3078526" y="2568299"/>
                    </a:cubicBezTo>
                    <a:close/>
                    <a:moveTo>
                      <a:pt x="3078773" y="1050784"/>
                    </a:moveTo>
                    <a:cubicBezTo>
                      <a:pt x="3078773" y="1027361"/>
                      <a:pt x="3059787" y="1008375"/>
                      <a:pt x="3036362" y="1008375"/>
                    </a:cubicBezTo>
                    <a:cubicBezTo>
                      <a:pt x="3012937" y="1008375"/>
                      <a:pt x="2993950" y="1027361"/>
                      <a:pt x="2993950" y="1050784"/>
                    </a:cubicBezTo>
                    <a:cubicBezTo>
                      <a:pt x="2993950" y="1074210"/>
                      <a:pt x="3012937" y="1093198"/>
                      <a:pt x="3036362" y="1093198"/>
                    </a:cubicBezTo>
                    <a:cubicBezTo>
                      <a:pt x="3059787" y="1093198"/>
                      <a:pt x="3078773" y="1074210"/>
                      <a:pt x="3078773" y="1050784"/>
                    </a:cubicBezTo>
                    <a:close/>
                    <a:moveTo>
                      <a:pt x="3079265" y="1397669"/>
                    </a:moveTo>
                    <a:cubicBezTo>
                      <a:pt x="3079265" y="1372519"/>
                      <a:pt x="3058802" y="1352051"/>
                      <a:pt x="3033649" y="1352051"/>
                    </a:cubicBezTo>
                    <a:cubicBezTo>
                      <a:pt x="3008499" y="1352051"/>
                      <a:pt x="2988033" y="1372519"/>
                      <a:pt x="2988033" y="1397669"/>
                    </a:cubicBezTo>
                    <a:cubicBezTo>
                      <a:pt x="2988033" y="1422823"/>
                      <a:pt x="3008499" y="1443285"/>
                      <a:pt x="3033649" y="1443285"/>
                    </a:cubicBezTo>
                    <a:cubicBezTo>
                      <a:pt x="3058802" y="1443285"/>
                      <a:pt x="3079265" y="1422823"/>
                      <a:pt x="3079265" y="1397669"/>
                    </a:cubicBezTo>
                    <a:close/>
                    <a:moveTo>
                      <a:pt x="3080008" y="1281299"/>
                    </a:moveTo>
                    <a:cubicBezTo>
                      <a:pt x="3080008" y="1256392"/>
                      <a:pt x="3059787" y="1236180"/>
                      <a:pt x="3034884" y="1236180"/>
                    </a:cubicBezTo>
                    <a:cubicBezTo>
                      <a:pt x="3009980" y="1236180"/>
                      <a:pt x="2989759" y="1256392"/>
                      <a:pt x="2989759" y="1281299"/>
                    </a:cubicBezTo>
                    <a:cubicBezTo>
                      <a:pt x="2989759" y="1306203"/>
                      <a:pt x="3009980" y="1326420"/>
                      <a:pt x="3034884" y="1326420"/>
                    </a:cubicBezTo>
                    <a:cubicBezTo>
                      <a:pt x="3059787" y="1326420"/>
                      <a:pt x="3080008" y="1306203"/>
                      <a:pt x="3080008" y="1281299"/>
                    </a:cubicBezTo>
                    <a:close/>
                    <a:moveTo>
                      <a:pt x="3080994" y="595642"/>
                    </a:moveTo>
                    <a:cubicBezTo>
                      <a:pt x="3080994" y="572217"/>
                      <a:pt x="3062008" y="553233"/>
                      <a:pt x="3038583" y="553233"/>
                    </a:cubicBezTo>
                    <a:cubicBezTo>
                      <a:pt x="3015157" y="553233"/>
                      <a:pt x="2996171" y="572217"/>
                      <a:pt x="2996171" y="595642"/>
                    </a:cubicBezTo>
                    <a:cubicBezTo>
                      <a:pt x="2996171" y="619066"/>
                      <a:pt x="3015157" y="638052"/>
                      <a:pt x="3038583" y="638052"/>
                    </a:cubicBezTo>
                    <a:cubicBezTo>
                      <a:pt x="3062008" y="638052"/>
                      <a:pt x="3080994" y="619066"/>
                      <a:pt x="3080994" y="595642"/>
                    </a:cubicBezTo>
                    <a:close/>
                    <a:moveTo>
                      <a:pt x="3081240" y="708839"/>
                    </a:moveTo>
                    <a:cubicBezTo>
                      <a:pt x="3081240" y="685171"/>
                      <a:pt x="3062006" y="665938"/>
                      <a:pt x="3038334" y="665938"/>
                    </a:cubicBezTo>
                    <a:cubicBezTo>
                      <a:pt x="3014663" y="665938"/>
                      <a:pt x="2995431" y="685171"/>
                      <a:pt x="2995431" y="708839"/>
                    </a:cubicBezTo>
                    <a:cubicBezTo>
                      <a:pt x="2995431" y="732508"/>
                      <a:pt x="3014663" y="751749"/>
                      <a:pt x="3038334" y="751749"/>
                    </a:cubicBezTo>
                    <a:cubicBezTo>
                      <a:pt x="3061759" y="751749"/>
                      <a:pt x="3080994" y="732508"/>
                      <a:pt x="3081240" y="708839"/>
                    </a:cubicBezTo>
                    <a:close/>
                    <a:moveTo>
                      <a:pt x="3081486" y="1896937"/>
                    </a:moveTo>
                    <a:cubicBezTo>
                      <a:pt x="3081486" y="1891269"/>
                      <a:pt x="3076801" y="1886583"/>
                      <a:pt x="3071128" y="1886583"/>
                    </a:cubicBezTo>
                    <a:cubicBezTo>
                      <a:pt x="3065458" y="1886583"/>
                      <a:pt x="3060773" y="1891269"/>
                      <a:pt x="3060773" y="1896937"/>
                    </a:cubicBezTo>
                    <a:cubicBezTo>
                      <a:pt x="3060773" y="1902607"/>
                      <a:pt x="3065458" y="1907289"/>
                      <a:pt x="3071128" y="1907289"/>
                    </a:cubicBezTo>
                    <a:cubicBezTo>
                      <a:pt x="3076801" y="1907289"/>
                      <a:pt x="3081486" y="1902607"/>
                      <a:pt x="3081486" y="1896937"/>
                    </a:cubicBezTo>
                    <a:close/>
                    <a:moveTo>
                      <a:pt x="3081980" y="822740"/>
                    </a:moveTo>
                    <a:cubicBezTo>
                      <a:pt x="3081980" y="798575"/>
                      <a:pt x="3062253" y="778849"/>
                      <a:pt x="3038088" y="778849"/>
                    </a:cubicBezTo>
                    <a:cubicBezTo>
                      <a:pt x="3013925" y="778849"/>
                      <a:pt x="2994199" y="798575"/>
                      <a:pt x="2994199" y="822740"/>
                    </a:cubicBezTo>
                    <a:cubicBezTo>
                      <a:pt x="2994199" y="846905"/>
                      <a:pt x="3013925" y="866631"/>
                      <a:pt x="3038088" y="866631"/>
                    </a:cubicBezTo>
                    <a:cubicBezTo>
                      <a:pt x="3062500" y="866631"/>
                      <a:pt x="3081980" y="846905"/>
                      <a:pt x="3081980" y="822740"/>
                    </a:cubicBezTo>
                    <a:close/>
                    <a:moveTo>
                      <a:pt x="3084691" y="2020182"/>
                    </a:moveTo>
                    <a:cubicBezTo>
                      <a:pt x="3084691" y="2010567"/>
                      <a:pt x="3077046" y="2002923"/>
                      <a:pt x="3067431" y="2002923"/>
                    </a:cubicBezTo>
                    <a:cubicBezTo>
                      <a:pt x="3057814" y="2002923"/>
                      <a:pt x="3050170" y="2010567"/>
                      <a:pt x="3050170" y="2020182"/>
                    </a:cubicBezTo>
                    <a:cubicBezTo>
                      <a:pt x="3050170" y="2029799"/>
                      <a:pt x="3057814" y="2037443"/>
                      <a:pt x="3067431" y="2037443"/>
                    </a:cubicBezTo>
                    <a:cubicBezTo>
                      <a:pt x="3077046" y="2037443"/>
                      <a:pt x="3084691" y="2029799"/>
                      <a:pt x="3084691" y="2020182"/>
                    </a:cubicBezTo>
                    <a:close/>
                    <a:moveTo>
                      <a:pt x="3087158" y="2432937"/>
                    </a:moveTo>
                    <a:cubicBezTo>
                      <a:pt x="3087158" y="2430964"/>
                      <a:pt x="3085680" y="2429485"/>
                      <a:pt x="3083704" y="2429485"/>
                    </a:cubicBezTo>
                    <a:cubicBezTo>
                      <a:pt x="3081735" y="2429485"/>
                      <a:pt x="3080254" y="2430964"/>
                      <a:pt x="3080254" y="2432937"/>
                    </a:cubicBezTo>
                    <a:cubicBezTo>
                      <a:pt x="3080254" y="2434910"/>
                      <a:pt x="3081735" y="2436392"/>
                      <a:pt x="3083704" y="2436392"/>
                    </a:cubicBezTo>
                    <a:cubicBezTo>
                      <a:pt x="3085680" y="2436392"/>
                      <a:pt x="3087158" y="2434662"/>
                      <a:pt x="3087158" y="2432937"/>
                    </a:cubicBezTo>
                    <a:close/>
                    <a:moveTo>
                      <a:pt x="3087158" y="5296375"/>
                    </a:moveTo>
                    <a:cubicBezTo>
                      <a:pt x="3087158" y="5294897"/>
                      <a:pt x="3085926" y="5293910"/>
                      <a:pt x="3084694" y="5293910"/>
                    </a:cubicBezTo>
                    <a:cubicBezTo>
                      <a:pt x="3083213" y="5293910"/>
                      <a:pt x="3082226" y="5295142"/>
                      <a:pt x="3082226" y="5296375"/>
                    </a:cubicBezTo>
                    <a:cubicBezTo>
                      <a:pt x="3082226" y="5297856"/>
                      <a:pt x="3083458" y="5298842"/>
                      <a:pt x="3084694" y="5298842"/>
                    </a:cubicBezTo>
                    <a:cubicBezTo>
                      <a:pt x="3085926" y="5298842"/>
                      <a:pt x="3087158" y="5297856"/>
                      <a:pt x="3087158" y="5296375"/>
                    </a:cubicBezTo>
                    <a:close/>
                    <a:moveTo>
                      <a:pt x="3088387" y="5415475"/>
                    </a:moveTo>
                    <a:cubicBezTo>
                      <a:pt x="3088387" y="5414980"/>
                      <a:pt x="3088141" y="5414734"/>
                      <a:pt x="3087650" y="5414734"/>
                    </a:cubicBezTo>
                    <a:cubicBezTo>
                      <a:pt x="3087403" y="5414734"/>
                      <a:pt x="3086909" y="5414980"/>
                      <a:pt x="3086909" y="5415475"/>
                    </a:cubicBezTo>
                    <a:cubicBezTo>
                      <a:pt x="3086909" y="5415966"/>
                      <a:pt x="3087155" y="5416212"/>
                      <a:pt x="3087650" y="5416212"/>
                    </a:cubicBezTo>
                    <a:cubicBezTo>
                      <a:pt x="3088141" y="5416212"/>
                      <a:pt x="3088387" y="5415966"/>
                      <a:pt x="3088387" y="5415475"/>
                    </a:cubicBezTo>
                    <a:close/>
                    <a:moveTo>
                      <a:pt x="3094061" y="5054733"/>
                    </a:moveTo>
                    <a:cubicBezTo>
                      <a:pt x="3094061" y="5045610"/>
                      <a:pt x="3086662" y="5038211"/>
                      <a:pt x="3077541" y="5038211"/>
                    </a:cubicBezTo>
                    <a:cubicBezTo>
                      <a:pt x="3068417" y="5038211"/>
                      <a:pt x="3061018" y="5045610"/>
                      <a:pt x="3061018" y="5054733"/>
                    </a:cubicBezTo>
                    <a:cubicBezTo>
                      <a:pt x="3061018" y="5063855"/>
                      <a:pt x="3068417" y="5071251"/>
                      <a:pt x="3077541" y="5071251"/>
                    </a:cubicBezTo>
                    <a:cubicBezTo>
                      <a:pt x="3086662" y="5071251"/>
                      <a:pt x="3094061" y="5063855"/>
                      <a:pt x="3094061" y="5054733"/>
                    </a:cubicBezTo>
                    <a:close/>
                    <a:moveTo>
                      <a:pt x="3095789" y="3218752"/>
                    </a:moveTo>
                    <a:cubicBezTo>
                      <a:pt x="3095789" y="3217272"/>
                      <a:pt x="3094802" y="3216286"/>
                      <a:pt x="3093570" y="3216286"/>
                    </a:cubicBezTo>
                    <a:cubicBezTo>
                      <a:pt x="3092089" y="3216286"/>
                      <a:pt x="3091103" y="3217518"/>
                      <a:pt x="3091103" y="3218752"/>
                    </a:cubicBezTo>
                    <a:cubicBezTo>
                      <a:pt x="3091103" y="3220231"/>
                      <a:pt x="3092334" y="3221217"/>
                      <a:pt x="3093570" y="3221217"/>
                    </a:cubicBezTo>
                    <a:cubicBezTo>
                      <a:pt x="3095048" y="3221217"/>
                      <a:pt x="3096034" y="3219985"/>
                      <a:pt x="3095789" y="3218752"/>
                    </a:cubicBezTo>
                    <a:close/>
                    <a:moveTo>
                      <a:pt x="3099976" y="5176048"/>
                    </a:moveTo>
                    <a:cubicBezTo>
                      <a:pt x="3099976" y="5166108"/>
                      <a:pt x="3091917" y="5158048"/>
                      <a:pt x="3081977" y="5158048"/>
                    </a:cubicBezTo>
                    <a:cubicBezTo>
                      <a:pt x="3072036" y="5158048"/>
                      <a:pt x="3063977" y="5166108"/>
                      <a:pt x="3063977" y="5176048"/>
                    </a:cubicBezTo>
                    <a:cubicBezTo>
                      <a:pt x="3063977" y="5185989"/>
                      <a:pt x="3072036" y="5194047"/>
                      <a:pt x="3081977" y="5194047"/>
                    </a:cubicBezTo>
                    <a:cubicBezTo>
                      <a:pt x="3091917" y="5194047"/>
                      <a:pt x="3099976" y="5185989"/>
                      <a:pt x="3099976" y="5176048"/>
                    </a:cubicBezTo>
                    <a:close/>
                    <a:moveTo>
                      <a:pt x="3100963" y="5881255"/>
                    </a:moveTo>
                    <a:cubicBezTo>
                      <a:pt x="3100963" y="5880269"/>
                      <a:pt x="3100225" y="5879282"/>
                      <a:pt x="3098990" y="5879282"/>
                    </a:cubicBezTo>
                    <a:cubicBezTo>
                      <a:pt x="3097758" y="5879282"/>
                      <a:pt x="3096772" y="5880023"/>
                      <a:pt x="3096772" y="5881255"/>
                    </a:cubicBezTo>
                    <a:cubicBezTo>
                      <a:pt x="3096772" y="5882488"/>
                      <a:pt x="3097758" y="5883473"/>
                      <a:pt x="3098990" y="5883473"/>
                    </a:cubicBezTo>
                    <a:cubicBezTo>
                      <a:pt x="3100225" y="5883473"/>
                      <a:pt x="3101211" y="5882733"/>
                      <a:pt x="3100963" y="5881255"/>
                    </a:cubicBezTo>
                    <a:close/>
                    <a:moveTo>
                      <a:pt x="3100966" y="5648242"/>
                    </a:moveTo>
                    <a:cubicBezTo>
                      <a:pt x="3100966" y="5646514"/>
                      <a:pt x="3099485" y="5645282"/>
                      <a:pt x="3098007" y="5645282"/>
                    </a:cubicBezTo>
                    <a:cubicBezTo>
                      <a:pt x="3096280" y="5645282"/>
                      <a:pt x="3095048" y="5646514"/>
                      <a:pt x="3095048" y="5648242"/>
                    </a:cubicBezTo>
                    <a:cubicBezTo>
                      <a:pt x="3095048" y="5649968"/>
                      <a:pt x="3096280" y="5651201"/>
                      <a:pt x="3098007" y="5651201"/>
                    </a:cubicBezTo>
                    <a:cubicBezTo>
                      <a:pt x="3099485" y="5651201"/>
                      <a:pt x="3100966" y="5649968"/>
                      <a:pt x="3100966" y="5648242"/>
                    </a:cubicBezTo>
                    <a:close/>
                    <a:moveTo>
                      <a:pt x="3100966" y="5530624"/>
                    </a:moveTo>
                    <a:cubicBezTo>
                      <a:pt x="3100966" y="5528156"/>
                      <a:pt x="3098994" y="5525937"/>
                      <a:pt x="3096281" y="5525937"/>
                    </a:cubicBezTo>
                    <a:cubicBezTo>
                      <a:pt x="3093813" y="5525937"/>
                      <a:pt x="3091594" y="5527910"/>
                      <a:pt x="3091594" y="5530624"/>
                    </a:cubicBezTo>
                    <a:cubicBezTo>
                      <a:pt x="3091594" y="5533088"/>
                      <a:pt x="3093568" y="5535309"/>
                      <a:pt x="3096281" y="5535309"/>
                    </a:cubicBezTo>
                    <a:cubicBezTo>
                      <a:pt x="3098994" y="5535309"/>
                      <a:pt x="3101212" y="5533336"/>
                      <a:pt x="3100966" y="5530624"/>
                    </a:cubicBezTo>
                    <a:close/>
                    <a:moveTo>
                      <a:pt x="3101704" y="5997144"/>
                    </a:moveTo>
                    <a:cubicBezTo>
                      <a:pt x="3101704" y="5995663"/>
                      <a:pt x="3100226" y="5994431"/>
                      <a:pt x="3098745" y="5994431"/>
                    </a:cubicBezTo>
                    <a:cubicBezTo>
                      <a:pt x="3097018" y="5994431"/>
                      <a:pt x="3095786" y="5995663"/>
                      <a:pt x="3095786" y="5997144"/>
                    </a:cubicBezTo>
                    <a:cubicBezTo>
                      <a:pt x="3095786" y="5998868"/>
                      <a:pt x="3097264" y="6000102"/>
                      <a:pt x="3098745" y="6000102"/>
                    </a:cubicBezTo>
                    <a:cubicBezTo>
                      <a:pt x="3100226" y="6000102"/>
                      <a:pt x="3101458" y="5998868"/>
                      <a:pt x="3101704" y="5997144"/>
                    </a:cubicBezTo>
                    <a:close/>
                    <a:moveTo>
                      <a:pt x="3102199" y="6226459"/>
                    </a:moveTo>
                    <a:cubicBezTo>
                      <a:pt x="3102199" y="6225720"/>
                      <a:pt x="3101706" y="6224980"/>
                      <a:pt x="3100718" y="6224980"/>
                    </a:cubicBezTo>
                    <a:cubicBezTo>
                      <a:pt x="3099980" y="6224980"/>
                      <a:pt x="3099239" y="6225720"/>
                      <a:pt x="3099239" y="6226459"/>
                    </a:cubicBezTo>
                    <a:cubicBezTo>
                      <a:pt x="3099239" y="6227199"/>
                      <a:pt x="3099980" y="6227940"/>
                      <a:pt x="3100718" y="6227940"/>
                    </a:cubicBezTo>
                    <a:cubicBezTo>
                      <a:pt x="3101458" y="6227940"/>
                      <a:pt x="3102199" y="6227199"/>
                      <a:pt x="3102199" y="6226459"/>
                    </a:cubicBezTo>
                    <a:close/>
                    <a:moveTo>
                      <a:pt x="3102444" y="6112049"/>
                    </a:moveTo>
                    <a:cubicBezTo>
                      <a:pt x="3102444" y="6110322"/>
                      <a:pt x="3101211" y="6109090"/>
                      <a:pt x="3099485" y="6109090"/>
                    </a:cubicBezTo>
                    <a:cubicBezTo>
                      <a:pt x="3097758" y="6109090"/>
                      <a:pt x="3096526" y="6110322"/>
                      <a:pt x="3096526" y="6112049"/>
                    </a:cubicBezTo>
                    <a:cubicBezTo>
                      <a:pt x="3096526" y="6113776"/>
                      <a:pt x="3098004" y="6115008"/>
                      <a:pt x="3099485" y="6115008"/>
                    </a:cubicBezTo>
                    <a:cubicBezTo>
                      <a:pt x="3101211" y="6115008"/>
                      <a:pt x="3102444" y="6113776"/>
                      <a:pt x="3102444" y="6112049"/>
                    </a:cubicBezTo>
                    <a:close/>
                    <a:moveTo>
                      <a:pt x="3103185" y="6340378"/>
                    </a:moveTo>
                    <a:cubicBezTo>
                      <a:pt x="3103185" y="6339392"/>
                      <a:pt x="3102198" y="6338405"/>
                      <a:pt x="3101212" y="6338405"/>
                    </a:cubicBezTo>
                    <a:cubicBezTo>
                      <a:pt x="3100226" y="6338405"/>
                      <a:pt x="3099239" y="6339392"/>
                      <a:pt x="3099239" y="6340378"/>
                    </a:cubicBezTo>
                    <a:cubicBezTo>
                      <a:pt x="3099239" y="6341364"/>
                      <a:pt x="3099980" y="6342350"/>
                      <a:pt x="3101212" y="6342350"/>
                    </a:cubicBezTo>
                    <a:cubicBezTo>
                      <a:pt x="3102445" y="6342350"/>
                      <a:pt x="3103185" y="6341364"/>
                      <a:pt x="3103185" y="6340378"/>
                    </a:cubicBezTo>
                    <a:close/>
                    <a:moveTo>
                      <a:pt x="3103679" y="4053390"/>
                    </a:moveTo>
                    <a:cubicBezTo>
                      <a:pt x="3103679" y="4032923"/>
                      <a:pt x="3086909" y="4016156"/>
                      <a:pt x="3066445" y="4016156"/>
                    </a:cubicBezTo>
                    <a:cubicBezTo>
                      <a:pt x="3045979" y="4016156"/>
                      <a:pt x="3029211" y="4032923"/>
                      <a:pt x="3029211" y="4053390"/>
                    </a:cubicBezTo>
                    <a:cubicBezTo>
                      <a:pt x="3029211" y="4073854"/>
                      <a:pt x="3045979" y="4090624"/>
                      <a:pt x="3066445" y="4090624"/>
                    </a:cubicBezTo>
                    <a:cubicBezTo>
                      <a:pt x="3086909" y="4090624"/>
                      <a:pt x="3103679" y="4073854"/>
                      <a:pt x="3103679" y="4053390"/>
                    </a:cubicBezTo>
                    <a:close/>
                    <a:moveTo>
                      <a:pt x="3107379" y="5765364"/>
                    </a:moveTo>
                    <a:cubicBezTo>
                      <a:pt x="3107379" y="5760186"/>
                      <a:pt x="3103433" y="5756240"/>
                      <a:pt x="3098253" y="5756240"/>
                    </a:cubicBezTo>
                    <a:cubicBezTo>
                      <a:pt x="3093075" y="5756240"/>
                      <a:pt x="3089130" y="5760432"/>
                      <a:pt x="3089130" y="5765364"/>
                    </a:cubicBezTo>
                    <a:cubicBezTo>
                      <a:pt x="3089130" y="5770543"/>
                      <a:pt x="3093321" y="5774489"/>
                      <a:pt x="3098253" y="5774489"/>
                    </a:cubicBezTo>
                    <a:cubicBezTo>
                      <a:pt x="3103185" y="5774489"/>
                      <a:pt x="3107130" y="5770295"/>
                      <a:pt x="3107379" y="5765364"/>
                    </a:cubicBezTo>
                    <a:close/>
                    <a:moveTo>
                      <a:pt x="3108116" y="4806680"/>
                    </a:moveTo>
                    <a:cubicBezTo>
                      <a:pt x="3108116" y="4783994"/>
                      <a:pt x="3089621" y="4765746"/>
                      <a:pt x="3067183" y="4765746"/>
                    </a:cubicBezTo>
                    <a:cubicBezTo>
                      <a:pt x="3044498" y="4765746"/>
                      <a:pt x="3026252" y="4784240"/>
                      <a:pt x="3026252" y="4806680"/>
                    </a:cubicBezTo>
                    <a:cubicBezTo>
                      <a:pt x="3026252" y="4829364"/>
                      <a:pt x="3044746" y="4847609"/>
                      <a:pt x="3067183" y="4847609"/>
                    </a:cubicBezTo>
                    <a:cubicBezTo>
                      <a:pt x="3089621" y="4847609"/>
                      <a:pt x="3107870" y="4829115"/>
                      <a:pt x="3108116" y="4806680"/>
                    </a:cubicBezTo>
                    <a:close/>
                    <a:moveTo>
                      <a:pt x="3108362" y="2950233"/>
                    </a:moveTo>
                    <a:cubicBezTo>
                      <a:pt x="3108362" y="2943825"/>
                      <a:pt x="3102935" y="2938398"/>
                      <a:pt x="3096527" y="2938398"/>
                    </a:cubicBezTo>
                    <a:cubicBezTo>
                      <a:pt x="3090116" y="2938398"/>
                      <a:pt x="3084691" y="2943576"/>
                      <a:pt x="3084691" y="2950233"/>
                    </a:cubicBezTo>
                    <a:cubicBezTo>
                      <a:pt x="3084691" y="2956892"/>
                      <a:pt x="3089868" y="2962069"/>
                      <a:pt x="3096527" y="2962069"/>
                    </a:cubicBezTo>
                    <a:cubicBezTo>
                      <a:pt x="3102935" y="2962069"/>
                      <a:pt x="3108362" y="2956892"/>
                      <a:pt x="3108362" y="2950233"/>
                    </a:cubicBezTo>
                    <a:close/>
                    <a:moveTo>
                      <a:pt x="3108611" y="3791771"/>
                    </a:moveTo>
                    <a:cubicBezTo>
                      <a:pt x="3108611" y="3773771"/>
                      <a:pt x="3093813" y="3758977"/>
                      <a:pt x="3075814" y="3758977"/>
                    </a:cubicBezTo>
                    <a:cubicBezTo>
                      <a:pt x="3057815" y="3758977"/>
                      <a:pt x="3043020" y="3773771"/>
                      <a:pt x="3043020" y="3791771"/>
                    </a:cubicBezTo>
                    <a:cubicBezTo>
                      <a:pt x="3043020" y="3809771"/>
                      <a:pt x="3057815" y="3824565"/>
                      <a:pt x="3075814" y="3824565"/>
                    </a:cubicBezTo>
                    <a:cubicBezTo>
                      <a:pt x="3094062" y="3824565"/>
                      <a:pt x="3108611" y="3809771"/>
                      <a:pt x="3108611" y="3791771"/>
                    </a:cubicBezTo>
                    <a:close/>
                    <a:moveTo>
                      <a:pt x="3109347" y="6452079"/>
                    </a:moveTo>
                    <a:cubicBezTo>
                      <a:pt x="3109347" y="6451092"/>
                      <a:pt x="3108610" y="6450351"/>
                      <a:pt x="3107624" y="6450351"/>
                    </a:cubicBezTo>
                    <a:cubicBezTo>
                      <a:pt x="3106638" y="6450351"/>
                      <a:pt x="3105897" y="6451092"/>
                      <a:pt x="3105897" y="6452079"/>
                    </a:cubicBezTo>
                    <a:cubicBezTo>
                      <a:pt x="3105897" y="6453064"/>
                      <a:pt x="3106638" y="6453805"/>
                      <a:pt x="3107624" y="6453805"/>
                    </a:cubicBezTo>
                    <a:cubicBezTo>
                      <a:pt x="3108610" y="6453805"/>
                      <a:pt x="3109347" y="6453064"/>
                      <a:pt x="3109347" y="6452079"/>
                    </a:cubicBezTo>
                    <a:close/>
                    <a:moveTo>
                      <a:pt x="3109595" y="6565258"/>
                    </a:moveTo>
                    <a:cubicBezTo>
                      <a:pt x="3109595" y="6564271"/>
                      <a:pt x="3108857" y="6563531"/>
                      <a:pt x="3107871" y="6563531"/>
                    </a:cubicBezTo>
                    <a:cubicBezTo>
                      <a:pt x="3106884" y="6563531"/>
                      <a:pt x="3106144" y="6564271"/>
                      <a:pt x="3106144" y="6565258"/>
                    </a:cubicBezTo>
                    <a:cubicBezTo>
                      <a:pt x="3106144" y="6566244"/>
                      <a:pt x="3106884" y="6566982"/>
                      <a:pt x="3107871" y="6566982"/>
                    </a:cubicBezTo>
                    <a:cubicBezTo>
                      <a:pt x="3108611" y="6566982"/>
                      <a:pt x="3109595" y="6566244"/>
                      <a:pt x="3109595" y="6565258"/>
                    </a:cubicBezTo>
                    <a:close/>
                    <a:moveTo>
                      <a:pt x="3109598" y="6791119"/>
                    </a:moveTo>
                    <a:cubicBezTo>
                      <a:pt x="3109598" y="6790381"/>
                      <a:pt x="3108857" y="6789639"/>
                      <a:pt x="3108117" y="6789639"/>
                    </a:cubicBezTo>
                    <a:cubicBezTo>
                      <a:pt x="3107379" y="6789639"/>
                      <a:pt x="3106638" y="6790381"/>
                      <a:pt x="3106638" y="6791119"/>
                    </a:cubicBezTo>
                    <a:cubicBezTo>
                      <a:pt x="3106638" y="6791859"/>
                      <a:pt x="3107379" y="6792600"/>
                      <a:pt x="3108117" y="6792600"/>
                    </a:cubicBezTo>
                    <a:cubicBezTo>
                      <a:pt x="3109103" y="6792600"/>
                      <a:pt x="3109598" y="6791859"/>
                      <a:pt x="3109598" y="6791119"/>
                    </a:cubicBezTo>
                    <a:close/>
                    <a:moveTo>
                      <a:pt x="3110088" y="4678950"/>
                    </a:moveTo>
                    <a:cubicBezTo>
                      <a:pt x="3110088" y="4651581"/>
                      <a:pt x="3087896" y="4629388"/>
                      <a:pt x="3060525" y="4629388"/>
                    </a:cubicBezTo>
                    <a:cubicBezTo>
                      <a:pt x="3033156" y="4629388"/>
                      <a:pt x="3010963" y="4651581"/>
                      <a:pt x="3010963" y="4678950"/>
                    </a:cubicBezTo>
                    <a:cubicBezTo>
                      <a:pt x="3010963" y="4706320"/>
                      <a:pt x="3033156" y="4728513"/>
                      <a:pt x="3060525" y="4728513"/>
                    </a:cubicBezTo>
                    <a:cubicBezTo>
                      <a:pt x="3087896" y="4728513"/>
                      <a:pt x="3110088" y="4706320"/>
                      <a:pt x="3110088" y="4678950"/>
                    </a:cubicBezTo>
                    <a:close/>
                    <a:moveTo>
                      <a:pt x="3110582" y="6678679"/>
                    </a:moveTo>
                    <a:cubicBezTo>
                      <a:pt x="3110582" y="6676707"/>
                      <a:pt x="3109347" y="6675228"/>
                      <a:pt x="3107376" y="6675228"/>
                    </a:cubicBezTo>
                    <a:cubicBezTo>
                      <a:pt x="3105648" y="6675228"/>
                      <a:pt x="3104170" y="6676707"/>
                      <a:pt x="3104170" y="6678679"/>
                    </a:cubicBezTo>
                    <a:cubicBezTo>
                      <a:pt x="3104170" y="6680406"/>
                      <a:pt x="3105648" y="6681887"/>
                      <a:pt x="3107376" y="6681887"/>
                    </a:cubicBezTo>
                    <a:cubicBezTo>
                      <a:pt x="3109347" y="6681887"/>
                      <a:pt x="3110828" y="6680406"/>
                      <a:pt x="3110582" y="6678679"/>
                    </a:cubicBezTo>
                    <a:close/>
                    <a:moveTo>
                      <a:pt x="3111816" y="6903309"/>
                    </a:moveTo>
                    <a:cubicBezTo>
                      <a:pt x="3111816" y="6901334"/>
                      <a:pt x="3110338" y="6899856"/>
                      <a:pt x="3108362" y="6899856"/>
                    </a:cubicBezTo>
                    <a:cubicBezTo>
                      <a:pt x="3106392" y="6899856"/>
                      <a:pt x="3104911" y="6901334"/>
                      <a:pt x="3104911" y="6903309"/>
                    </a:cubicBezTo>
                    <a:cubicBezTo>
                      <a:pt x="3104911" y="6905283"/>
                      <a:pt x="3106392" y="6906761"/>
                      <a:pt x="3108362" y="6906761"/>
                    </a:cubicBezTo>
                    <a:cubicBezTo>
                      <a:pt x="3110338" y="6906761"/>
                      <a:pt x="3112062" y="6905283"/>
                      <a:pt x="3111816" y="6903309"/>
                    </a:cubicBezTo>
                    <a:close/>
                    <a:moveTo>
                      <a:pt x="3112062" y="4931446"/>
                    </a:moveTo>
                    <a:cubicBezTo>
                      <a:pt x="3112062" y="4909746"/>
                      <a:pt x="3094554" y="4892239"/>
                      <a:pt x="3072856" y="4892239"/>
                    </a:cubicBezTo>
                    <a:cubicBezTo>
                      <a:pt x="3051156" y="4892239"/>
                      <a:pt x="3033649" y="4909993"/>
                      <a:pt x="3033649" y="4931446"/>
                    </a:cubicBezTo>
                    <a:cubicBezTo>
                      <a:pt x="3033649" y="4953144"/>
                      <a:pt x="3051156" y="4970652"/>
                      <a:pt x="3072856" y="4970652"/>
                    </a:cubicBezTo>
                    <a:cubicBezTo>
                      <a:pt x="3094308" y="4970652"/>
                      <a:pt x="3112062" y="4953144"/>
                      <a:pt x="3112062" y="4931446"/>
                    </a:cubicBezTo>
                    <a:close/>
                    <a:moveTo>
                      <a:pt x="3113293" y="7015501"/>
                    </a:moveTo>
                    <a:cubicBezTo>
                      <a:pt x="3113293" y="7013037"/>
                      <a:pt x="3111321" y="7011063"/>
                      <a:pt x="3108853" y="7011063"/>
                    </a:cubicBezTo>
                    <a:cubicBezTo>
                      <a:pt x="3106390" y="7011063"/>
                      <a:pt x="3104417" y="7013037"/>
                      <a:pt x="3104417" y="7015501"/>
                    </a:cubicBezTo>
                    <a:cubicBezTo>
                      <a:pt x="3104417" y="7017967"/>
                      <a:pt x="3106390" y="7019941"/>
                      <a:pt x="3108853" y="7019941"/>
                    </a:cubicBezTo>
                    <a:cubicBezTo>
                      <a:pt x="3111321" y="7019941"/>
                      <a:pt x="3113293" y="7017967"/>
                      <a:pt x="3113293" y="7015501"/>
                    </a:cubicBezTo>
                    <a:close/>
                    <a:moveTo>
                      <a:pt x="3115020" y="7127201"/>
                    </a:moveTo>
                    <a:cubicBezTo>
                      <a:pt x="3115020" y="7123996"/>
                      <a:pt x="3112556" y="7121529"/>
                      <a:pt x="3109351" y="7121529"/>
                    </a:cubicBezTo>
                    <a:cubicBezTo>
                      <a:pt x="3106144" y="7121529"/>
                      <a:pt x="3103679" y="7123996"/>
                      <a:pt x="3103679" y="7127201"/>
                    </a:cubicBezTo>
                    <a:cubicBezTo>
                      <a:pt x="3103679" y="7130405"/>
                      <a:pt x="3106144" y="7132873"/>
                      <a:pt x="3109351" y="7132873"/>
                    </a:cubicBezTo>
                    <a:cubicBezTo>
                      <a:pt x="3112556" y="7132873"/>
                      <a:pt x="3115020" y="7130405"/>
                      <a:pt x="3115020" y="7127201"/>
                    </a:cubicBezTo>
                    <a:close/>
                    <a:moveTo>
                      <a:pt x="3115758" y="1774665"/>
                    </a:moveTo>
                    <a:cubicBezTo>
                      <a:pt x="3115758" y="1751473"/>
                      <a:pt x="3096772" y="1732475"/>
                      <a:pt x="3073596" y="1732475"/>
                    </a:cubicBezTo>
                    <a:cubicBezTo>
                      <a:pt x="3050417" y="1732475"/>
                      <a:pt x="3031430" y="1751473"/>
                      <a:pt x="3031430" y="1774665"/>
                    </a:cubicBezTo>
                    <a:cubicBezTo>
                      <a:pt x="3031430" y="1797855"/>
                      <a:pt x="3050417" y="1816835"/>
                      <a:pt x="3073596" y="1816835"/>
                    </a:cubicBezTo>
                    <a:cubicBezTo>
                      <a:pt x="3097021" y="1816835"/>
                      <a:pt x="3115758" y="1798107"/>
                      <a:pt x="3115758" y="1774665"/>
                    </a:cubicBezTo>
                    <a:close/>
                    <a:moveTo>
                      <a:pt x="3117978" y="7349611"/>
                    </a:moveTo>
                    <a:cubicBezTo>
                      <a:pt x="3117978" y="7347147"/>
                      <a:pt x="3116252" y="7345420"/>
                      <a:pt x="3114033" y="7345420"/>
                    </a:cubicBezTo>
                    <a:cubicBezTo>
                      <a:pt x="3111816" y="7345420"/>
                      <a:pt x="3109842" y="7347147"/>
                      <a:pt x="3109842" y="7349611"/>
                    </a:cubicBezTo>
                    <a:cubicBezTo>
                      <a:pt x="3109842" y="7352079"/>
                      <a:pt x="3111816" y="7353803"/>
                      <a:pt x="3114033" y="7353803"/>
                    </a:cubicBezTo>
                    <a:cubicBezTo>
                      <a:pt x="3116252" y="7353803"/>
                      <a:pt x="3117978" y="7352079"/>
                      <a:pt x="3117978" y="7349611"/>
                    </a:cubicBezTo>
                    <a:close/>
                    <a:moveTo>
                      <a:pt x="3119459" y="7461063"/>
                    </a:moveTo>
                    <a:cubicBezTo>
                      <a:pt x="3119459" y="7458104"/>
                      <a:pt x="3117239" y="7455886"/>
                      <a:pt x="3114280" y="7455886"/>
                    </a:cubicBezTo>
                    <a:cubicBezTo>
                      <a:pt x="3111321" y="7455886"/>
                      <a:pt x="3109102" y="7458104"/>
                      <a:pt x="3109102" y="7461063"/>
                    </a:cubicBezTo>
                    <a:cubicBezTo>
                      <a:pt x="3109102" y="7464022"/>
                      <a:pt x="3111321" y="7466240"/>
                      <a:pt x="3114280" y="7466240"/>
                    </a:cubicBezTo>
                    <a:cubicBezTo>
                      <a:pt x="3116992" y="7466240"/>
                      <a:pt x="3119459" y="7463775"/>
                      <a:pt x="3119459" y="7461063"/>
                    </a:cubicBezTo>
                    <a:close/>
                    <a:moveTo>
                      <a:pt x="3120443" y="7238162"/>
                    </a:moveTo>
                    <a:cubicBezTo>
                      <a:pt x="3120443" y="7234708"/>
                      <a:pt x="3117484" y="7231750"/>
                      <a:pt x="3114034" y="7231750"/>
                    </a:cubicBezTo>
                    <a:cubicBezTo>
                      <a:pt x="3110580" y="7231750"/>
                      <a:pt x="3107621" y="7234708"/>
                      <a:pt x="3107621" y="7238162"/>
                    </a:cubicBezTo>
                    <a:cubicBezTo>
                      <a:pt x="3107621" y="7241613"/>
                      <a:pt x="3110335" y="7244572"/>
                      <a:pt x="3114034" y="7244572"/>
                    </a:cubicBezTo>
                    <a:cubicBezTo>
                      <a:pt x="3117484" y="7244572"/>
                      <a:pt x="3120443" y="7241613"/>
                      <a:pt x="3120443" y="7238162"/>
                    </a:cubicBezTo>
                    <a:close/>
                    <a:moveTo>
                      <a:pt x="3122664" y="1535495"/>
                    </a:moveTo>
                    <a:cubicBezTo>
                      <a:pt x="3122664" y="1511082"/>
                      <a:pt x="3102935" y="1491355"/>
                      <a:pt x="3078527" y="1491355"/>
                    </a:cubicBezTo>
                    <a:cubicBezTo>
                      <a:pt x="3054115" y="1491355"/>
                      <a:pt x="3034388" y="1511082"/>
                      <a:pt x="3034388" y="1535495"/>
                    </a:cubicBezTo>
                    <a:cubicBezTo>
                      <a:pt x="3034388" y="1559901"/>
                      <a:pt x="3054115" y="1579631"/>
                      <a:pt x="3078527" y="1579631"/>
                    </a:cubicBezTo>
                    <a:cubicBezTo>
                      <a:pt x="3102689" y="1579631"/>
                      <a:pt x="3122664" y="1559901"/>
                      <a:pt x="3122664" y="1535495"/>
                    </a:cubicBezTo>
                    <a:close/>
                    <a:moveTo>
                      <a:pt x="3122910" y="1654571"/>
                    </a:moveTo>
                    <a:cubicBezTo>
                      <a:pt x="3122910" y="1628930"/>
                      <a:pt x="3102198" y="1608217"/>
                      <a:pt x="3076554" y="1608217"/>
                    </a:cubicBezTo>
                    <a:cubicBezTo>
                      <a:pt x="3050911" y="1608217"/>
                      <a:pt x="3030197" y="1629176"/>
                      <a:pt x="3030197" y="1654571"/>
                    </a:cubicBezTo>
                    <a:cubicBezTo>
                      <a:pt x="3030197" y="1680217"/>
                      <a:pt x="3051156" y="1700931"/>
                      <a:pt x="3076554" y="1700931"/>
                    </a:cubicBezTo>
                    <a:cubicBezTo>
                      <a:pt x="3102198" y="1700931"/>
                      <a:pt x="3122910" y="1680217"/>
                      <a:pt x="3122910" y="1654571"/>
                    </a:cubicBezTo>
                    <a:close/>
                    <a:moveTo>
                      <a:pt x="3123897" y="4201086"/>
                    </a:moveTo>
                    <a:cubicBezTo>
                      <a:pt x="3123897" y="4184319"/>
                      <a:pt x="3110088" y="4170511"/>
                      <a:pt x="3093322" y="4170511"/>
                    </a:cubicBezTo>
                    <a:cubicBezTo>
                      <a:pt x="3076555" y="4170511"/>
                      <a:pt x="3062746" y="4184319"/>
                      <a:pt x="3062746" y="4201086"/>
                    </a:cubicBezTo>
                    <a:cubicBezTo>
                      <a:pt x="3062746" y="4218099"/>
                      <a:pt x="3076555" y="4231661"/>
                      <a:pt x="3093322" y="4231661"/>
                    </a:cubicBezTo>
                    <a:cubicBezTo>
                      <a:pt x="3110088" y="4231661"/>
                      <a:pt x="3123652" y="4217853"/>
                      <a:pt x="3123897" y="4201086"/>
                    </a:cubicBezTo>
                    <a:close/>
                    <a:moveTo>
                      <a:pt x="3128336" y="3332418"/>
                    </a:moveTo>
                    <a:cubicBezTo>
                      <a:pt x="3128336" y="3326997"/>
                      <a:pt x="3123896" y="3322558"/>
                      <a:pt x="3118473" y="3322558"/>
                    </a:cubicBezTo>
                    <a:cubicBezTo>
                      <a:pt x="3113047" y="3322558"/>
                      <a:pt x="3108610" y="3326997"/>
                      <a:pt x="3108610" y="3332418"/>
                    </a:cubicBezTo>
                    <a:cubicBezTo>
                      <a:pt x="3108610" y="3337847"/>
                      <a:pt x="3113047" y="3342282"/>
                      <a:pt x="3118473" y="3342282"/>
                    </a:cubicBezTo>
                    <a:cubicBezTo>
                      <a:pt x="3123896" y="3342282"/>
                      <a:pt x="3128336" y="3337847"/>
                      <a:pt x="3128336" y="3332418"/>
                    </a:cubicBezTo>
                    <a:close/>
                    <a:moveTo>
                      <a:pt x="3130309" y="2798596"/>
                    </a:moveTo>
                    <a:cubicBezTo>
                      <a:pt x="3130309" y="2796623"/>
                      <a:pt x="3128829" y="2795145"/>
                      <a:pt x="3127102" y="2795145"/>
                    </a:cubicBezTo>
                    <a:cubicBezTo>
                      <a:pt x="3125130" y="2795145"/>
                      <a:pt x="3123651" y="2796623"/>
                      <a:pt x="3123651" y="2798596"/>
                    </a:cubicBezTo>
                    <a:cubicBezTo>
                      <a:pt x="3123651" y="2800323"/>
                      <a:pt x="3125130" y="2801803"/>
                      <a:pt x="3127102" y="2801803"/>
                    </a:cubicBezTo>
                    <a:cubicBezTo>
                      <a:pt x="3128829" y="2801803"/>
                      <a:pt x="3130309" y="2800323"/>
                      <a:pt x="3130309" y="2798596"/>
                    </a:cubicBezTo>
                    <a:close/>
                    <a:moveTo>
                      <a:pt x="3135484" y="4343361"/>
                    </a:moveTo>
                    <a:cubicBezTo>
                      <a:pt x="3135484" y="4331279"/>
                      <a:pt x="3125624" y="4321415"/>
                      <a:pt x="3113540" y="4321415"/>
                    </a:cubicBezTo>
                    <a:cubicBezTo>
                      <a:pt x="3101458" y="4321415"/>
                      <a:pt x="3091594" y="4331279"/>
                      <a:pt x="3091594" y="4343361"/>
                    </a:cubicBezTo>
                    <a:cubicBezTo>
                      <a:pt x="3091594" y="4355442"/>
                      <a:pt x="3101458" y="4365305"/>
                      <a:pt x="3113540" y="4365305"/>
                    </a:cubicBezTo>
                    <a:cubicBezTo>
                      <a:pt x="3125624" y="4365305"/>
                      <a:pt x="3135484" y="4355442"/>
                      <a:pt x="3135484" y="4343361"/>
                    </a:cubicBezTo>
                    <a:close/>
                    <a:moveTo>
                      <a:pt x="3136223" y="49598"/>
                    </a:moveTo>
                    <a:cubicBezTo>
                      <a:pt x="3136223" y="29380"/>
                      <a:pt x="3119702" y="12613"/>
                      <a:pt x="3099239" y="12613"/>
                    </a:cubicBezTo>
                    <a:cubicBezTo>
                      <a:pt x="3078773" y="12613"/>
                      <a:pt x="3062251" y="29133"/>
                      <a:pt x="3062251" y="49598"/>
                    </a:cubicBezTo>
                    <a:cubicBezTo>
                      <a:pt x="3062251" y="70062"/>
                      <a:pt x="3078773" y="86582"/>
                      <a:pt x="3099239" y="86582"/>
                    </a:cubicBezTo>
                    <a:cubicBezTo>
                      <a:pt x="3119457" y="86582"/>
                      <a:pt x="3136223" y="70062"/>
                      <a:pt x="3136223" y="49598"/>
                    </a:cubicBezTo>
                    <a:close/>
                    <a:moveTo>
                      <a:pt x="3136719" y="162010"/>
                    </a:moveTo>
                    <a:cubicBezTo>
                      <a:pt x="3136719" y="141298"/>
                      <a:pt x="3119952" y="124533"/>
                      <a:pt x="3099239" y="124533"/>
                    </a:cubicBezTo>
                    <a:cubicBezTo>
                      <a:pt x="3078527" y="124533"/>
                      <a:pt x="3061759" y="141298"/>
                      <a:pt x="3061759" y="162010"/>
                    </a:cubicBezTo>
                    <a:cubicBezTo>
                      <a:pt x="3061759" y="182721"/>
                      <a:pt x="3078527" y="199488"/>
                      <a:pt x="3099239" y="199488"/>
                    </a:cubicBezTo>
                    <a:cubicBezTo>
                      <a:pt x="3119952" y="199488"/>
                      <a:pt x="3136719" y="182476"/>
                      <a:pt x="3136719" y="162010"/>
                    </a:cubicBezTo>
                    <a:close/>
                    <a:moveTo>
                      <a:pt x="3136719" y="500731"/>
                    </a:moveTo>
                    <a:cubicBezTo>
                      <a:pt x="3136719" y="480021"/>
                      <a:pt x="3119705" y="463007"/>
                      <a:pt x="3098993" y="463007"/>
                    </a:cubicBezTo>
                    <a:cubicBezTo>
                      <a:pt x="3078280" y="463007"/>
                      <a:pt x="3061267" y="479774"/>
                      <a:pt x="3061267" y="500731"/>
                    </a:cubicBezTo>
                    <a:cubicBezTo>
                      <a:pt x="3061267" y="521443"/>
                      <a:pt x="3078035" y="538459"/>
                      <a:pt x="3098993" y="538459"/>
                    </a:cubicBezTo>
                    <a:cubicBezTo>
                      <a:pt x="3119952" y="538459"/>
                      <a:pt x="3136719" y="521443"/>
                      <a:pt x="3136719" y="500731"/>
                    </a:cubicBezTo>
                    <a:close/>
                    <a:moveTo>
                      <a:pt x="3136965" y="387331"/>
                    </a:moveTo>
                    <a:cubicBezTo>
                      <a:pt x="3136965" y="366373"/>
                      <a:pt x="3119952" y="349607"/>
                      <a:pt x="3099240" y="349607"/>
                    </a:cubicBezTo>
                    <a:cubicBezTo>
                      <a:pt x="3078527" y="349607"/>
                      <a:pt x="3061514" y="366619"/>
                      <a:pt x="3061514" y="387331"/>
                    </a:cubicBezTo>
                    <a:cubicBezTo>
                      <a:pt x="3061514" y="408290"/>
                      <a:pt x="3078527" y="425058"/>
                      <a:pt x="3099240" y="425058"/>
                    </a:cubicBezTo>
                    <a:cubicBezTo>
                      <a:pt x="3119952" y="425058"/>
                      <a:pt x="3136720" y="408290"/>
                      <a:pt x="3136965" y="387331"/>
                    </a:cubicBezTo>
                    <a:close/>
                    <a:moveTo>
                      <a:pt x="3138200" y="3679827"/>
                    </a:moveTo>
                    <a:cubicBezTo>
                      <a:pt x="3138200" y="3663059"/>
                      <a:pt x="3124637" y="3649497"/>
                      <a:pt x="3107870" y="3649497"/>
                    </a:cubicBezTo>
                    <a:cubicBezTo>
                      <a:pt x="3091103" y="3649497"/>
                      <a:pt x="3077541" y="3663059"/>
                      <a:pt x="3077541" y="3679827"/>
                    </a:cubicBezTo>
                    <a:cubicBezTo>
                      <a:pt x="3077541" y="3696593"/>
                      <a:pt x="3091103" y="3710153"/>
                      <a:pt x="3107870" y="3710153"/>
                    </a:cubicBezTo>
                    <a:cubicBezTo>
                      <a:pt x="3124637" y="3710153"/>
                      <a:pt x="3138200" y="3696593"/>
                      <a:pt x="3138200" y="3679827"/>
                    </a:cubicBezTo>
                    <a:close/>
                    <a:moveTo>
                      <a:pt x="3139430" y="274670"/>
                    </a:moveTo>
                    <a:cubicBezTo>
                      <a:pt x="3139430" y="252727"/>
                      <a:pt x="3121432" y="234728"/>
                      <a:pt x="3099485" y="234728"/>
                    </a:cubicBezTo>
                    <a:cubicBezTo>
                      <a:pt x="3077541" y="234728"/>
                      <a:pt x="3059540" y="252727"/>
                      <a:pt x="3059540" y="274670"/>
                    </a:cubicBezTo>
                    <a:cubicBezTo>
                      <a:pt x="3059540" y="296616"/>
                      <a:pt x="3077294" y="314615"/>
                      <a:pt x="3099485" y="314615"/>
                    </a:cubicBezTo>
                    <a:cubicBezTo>
                      <a:pt x="3121677" y="314615"/>
                      <a:pt x="3139430" y="296616"/>
                      <a:pt x="3139430" y="274670"/>
                    </a:cubicBezTo>
                    <a:close/>
                    <a:moveTo>
                      <a:pt x="3147076" y="3448313"/>
                    </a:moveTo>
                    <a:cubicBezTo>
                      <a:pt x="3147076" y="3438449"/>
                      <a:pt x="3138938" y="3430315"/>
                      <a:pt x="3129074" y="3430315"/>
                    </a:cubicBezTo>
                    <a:cubicBezTo>
                      <a:pt x="3119211" y="3430315"/>
                      <a:pt x="3111075" y="3438449"/>
                      <a:pt x="3111075" y="3448313"/>
                    </a:cubicBezTo>
                    <a:cubicBezTo>
                      <a:pt x="3111075" y="3458177"/>
                      <a:pt x="3119211" y="3466291"/>
                      <a:pt x="3129074" y="3466291"/>
                    </a:cubicBezTo>
                    <a:cubicBezTo>
                      <a:pt x="3139183" y="3466291"/>
                      <a:pt x="3147076" y="3458423"/>
                      <a:pt x="3147076" y="3448313"/>
                    </a:cubicBezTo>
                    <a:close/>
                    <a:moveTo>
                      <a:pt x="3151513" y="3564675"/>
                    </a:moveTo>
                    <a:cubicBezTo>
                      <a:pt x="3151513" y="3550375"/>
                      <a:pt x="3139926" y="3538785"/>
                      <a:pt x="3125623" y="3538785"/>
                    </a:cubicBezTo>
                    <a:cubicBezTo>
                      <a:pt x="3111323" y="3538785"/>
                      <a:pt x="3099733" y="3550375"/>
                      <a:pt x="3099733" y="3564675"/>
                    </a:cubicBezTo>
                    <a:cubicBezTo>
                      <a:pt x="3099733" y="3578978"/>
                      <a:pt x="3111323" y="3590568"/>
                      <a:pt x="3125623" y="3590568"/>
                    </a:cubicBezTo>
                    <a:cubicBezTo>
                      <a:pt x="3139926" y="3590568"/>
                      <a:pt x="3151513" y="3578978"/>
                      <a:pt x="3151513" y="3564675"/>
                    </a:cubicBezTo>
                    <a:close/>
                    <a:moveTo>
                      <a:pt x="3155704" y="2345664"/>
                    </a:moveTo>
                    <a:cubicBezTo>
                      <a:pt x="3155704" y="2341717"/>
                      <a:pt x="3152499" y="2338261"/>
                      <a:pt x="3148308" y="2338261"/>
                    </a:cubicBezTo>
                    <a:cubicBezTo>
                      <a:pt x="3144361" y="2338261"/>
                      <a:pt x="3140909" y="2341468"/>
                      <a:pt x="3140909" y="2345664"/>
                    </a:cubicBezTo>
                    <a:cubicBezTo>
                      <a:pt x="3140909" y="2349609"/>
                      <a:pt x="3144115" y="2353057"/>
                      <a:pt x="3148308" y="2353057"/>
                    </a:cubicBezTo>
                    <a:cubicBezTo>
                      <a:pt x="3152499" y="2353057"/>
                      <a:pt x="3155704" y="2349609"/>
                      <a:pt x="3155704" y="2345664"/>
                    </a:cubicBezTo>
                    <a:close/>
                    <a:moveTo>
                      <a:pt x="3158414" y="4480951"/>
                    </a:moveTo>
                    <a:cubicBezTo>
                      <a:pt x="3158414" y="4464924"/>
                      <a:pt x="3145346" y="4452102"/>
                      <a:pt x="3129566" y="4452102"/>
                    </a:cubicBezTo>
                    <a:cubicBezTo>
                      <a:pt x="3113539" y="4452102"/>
                      <a:pt x="3100717" y="4465170"/>
                      <a:pt x="3100717" y="4480951"/>
                    </a:cubicBezTo>
                    <a:cubicBezTo>
                      <a:pt x="3100717" y="4496977"/>
                      <a:pt x="3113784" y="4509799"/>
                      <a:pt x="3129566" y="4509799"/>
                    </a:cubicBezTo>
                    <a:cubicBezTo>
                      <a:pt x="3145346" y="4509799"/>
                      <a:pt x="3158169" y="4496732"/>
                      <a:pt x="3158414" y="4480951"/>
                    </a:cubicBezTo>
                    <a:close/>
                    <a:moveTo>
                      <a:pt x="3159157" y="3952785"/>
                    </a:moveTo>
                    <a:cubicBezTo>
                      <a:pt x="3159157" y="3933799"/>
                      <a:pt x="3143623" y="3918264"/>
                      <a:pt x="3124636" y="3918264"/>
                    </a:cubicBezTo>
                    <a:cubicBezTo>
                      <a:pt x="3105651" y="3918264"/>
                      <a:pt x="3090115" y="3933799"/>
                      <a:pt x="3090115" y="3952785"/>
                    </a:cubicBezTo>
                    <a:cubicBezTo>
                      <a:pt x="3090115" y="3971771"/>
                      <a:pt x="3105651" y="3987305"/>
                      <a:pt x="3124636" y="3987305"/>
                    </a:cubicBezTo>
                    <a:cubicBezTo>
                      <a:pt x="3143623" y="3987305"/>
                      <a:pt x="3159157" y="3972019"/>
                      <a:pt x="3159157" y="3952785"/>
                    </a:cubicBezTo>
                    <a:close/>
                    <a:moveTo>
                      <a:pt x="3159404" y="2652627"/>
                    </a:moveTo>
                    <a:cubicBezTo>
                      <a:pt x="3159404" y="2647451"/>
                      <a:pt x="3155213" y="2643260"/>
                      <a:pt x="3150033" y="2643260"/>
                    </a:cubicBezTo>
                    <a:cubicBezTo>
                      <a:pt x="3144855" y="2643260"/>
                      <a:pt x="3140664" y="2647451"/>
                      <a:pt x="3140664" y="2652627"/>
                    </a:cubicBezTo>
                    <a:cubicBezTo>
                      <a:pt x="3140664" y="2657808"/>
                      <a:pt x="3144855" y="2661999"/>
                      <a:pt x="3150033" y="2661999"/>
                    </a:cubicBezTo>
                    <a:cubicBezTo>
                      <a:pt x="3155213" y="2661999"/>
                      <a:pt x="3159404" y="2657808"/>
                      <a:pt x="3159404" y="2652627"/>
                    </a:cubicBezTo>
                    <a:close/>
                    <a:moveTo>
                      <a:pt x="3161127" y="3053797"/>
                    </a:moveTo>
                    <a:cubicBezTo>
                      <a:pt x="3161127" y="3047142"/>
                      <a:pt x="3155704" y="3041715"/>
                      <a:pt x="3149046" y="3041715"/>
                    </a:cubicBezTo>
                    <a:cubicBezTo>
                      <a:pt x="3142390" y="3041715"/>
                      <a:pt x="3136964" y="3047142"/>
                      <a:pt x="3136964" y="3053797"/>
                    </a:cubicBezTo>
                    <a:cubicBezTo>
                      <a:pt x="3136964" y="3060455"/>
                      <a:pt x="3142390" y="3065881"/>
                      <a:pt x="3149046" y="3065881"/>
                    </a:cubicBezTo>
                    <a:cubicBezTo>
                      <a:pt x="3155704" y="3065881"/>
                      <a:pt x="3161127" y="3060455"/>
                      <a:pt x="3161127" y="3053797"/>
                    </a:cubicBezTo>
                    <a:close/>
                    <a:moveTo>
                      <a:pt x="3165813" y="2213505"/>
                    </a:moveTo>
                    <a:cubicBezTo>
                      <a:pt x="3165813" y="2209065"/>
                      <a:pt x="3162117" y="2205368"/>
                      <a:pt x="3157677" y="2205368"/>
                    </a:cubicBezTo>
                    <a:cubicBezTo>
                      <a:pt x="3153240" y="2205368"/>
                      <a:pt x="3149540" y="2209065"/>
                      <a:pt x="3149540" y="2213505"/>
                    </a:cubicBezTo>
                    <a:cubicBezTo>
                      <a:pt x="3149540" y="2217941"/>
                      <a:pt x="3153240" y="2221644"/>
                      <a:pt x="3157677" y="2221644"/>
                    </a:cubicBezTo>
                    <a:cubicBezTo>
                      <a:pt x="3162117" y="2221644"/>
                      <a:pt x="3165813" y="2217941"/>
                      <a:pt x="3165813" y="2213505"/>
                    </a:cubicBezTo>
                    <a:close/>
                    <a:moveTo>
                      <a:pt x="3169512" y="2511839"/>
                    </a:moveTo>
                    <a:cubicBezTo>
                      <a:pt x="3169512" y="2511101"/>
                      <a:pt x="3168772" y="2510360"/>
                      <a:pt x="3168034" y="2510360"/>
                    </a:cubicBezTo>
                    <a:cubicBezTo>
                      <a:pt x="3167294" y="2510360"/>
                      <a:pt x="3166553" y="2511101"/>
                      <a:pt x="3166553" y="2511839"/>
                    </a:cubicBezTo>
                    <a:cubicBezTo>
                      <a:pt x="3166553" y="2512579"/>
                      <a:pt x="3167294" y="2513320"/>
                      <a:pt x="3168034" y="2513320"/>
                    </a:cubicBezTo>
                    <a:cubicBezTo>
                      <a:pt x="3168772" y="2513320"/>
                      <a:pt x="3169267" y="2512579"/>
                      <a:pt x="3169512" y="2511839"/>
                    </a:cubicBezTo>
                    <a:close/>
                    <a:moveTo>
                      <a:pt x="3182829" y="1956838"/>
                    </a:moveTo>
                    <a:cubicBezTo>
                      <a:pt x="3182829" y="1949936"/>
                      <a:pt x="3177157" y="1944266"/>
                      <a:pt x="3170252" y="1944266"/>
                    </a:cubicBezTo>
                    <a:cubicBezTo>
                      <a:pt x="3163348" y="1944266"/>
                      <a:pt x="3157676" y="1949936"/>
                      <a:pt x="3157676" y="1956838"/>
                    </a:cubicBezTo>
                    <a:cubicBezTo>
                      <a:pt x="3157676" y="1963741"/>
                      <a:pt x="3163348" y="1969407"/>
                      <a:pt x="3170252" y="1969407"/>
                    </a:cubicBezTo>
                    <a:cubicBezTo>
                      <a:pt x="3177157" y="1969407"/>
                      <a:pt x="3182829" y="1963741"/>
                      <a:pt x="3182829" y="1956838"/>
                    </a:cubicBezTo>
                    <a:close/>
                    <a:moveTo>
                      <a:pt x="3183320" y="2084054"/>
                    </a:moveTo>
                    <a:cubicBezTo>
                      <a:pt x="3183320" y="2073697"/>
                      <a:pt x="3174938" y="2065312"/>
                      <a:pt x="3164580" y="2065312"/>
                    </a:cubicBezTo>
                    <a:cubicBezTo>
                      <a:pt x="3154223" y="2065312"/>
                      <a:pt x="3145841" y="2073697"/>
                      <a:pt x="3145841" y="2084054"/>
                    </a:cubicBezTo>
                    <a:cubicBezTo>
                      <a:pt x="3145841" y="2094412"/>
                      <a:pt x="3154223" y="2102795"/>
                      <a:pt x="3164580" y="2102795"/>
                    </a:cubicBezTo>
                    <a:cubicBezTo>
                      <a:pt x="3174938" y="2102795"/>
                      <a:pt x="3183320" y="2094412"/>
                      <a:pt x="3183320" y="2084054"/>
                    </a:cubicBezTo>
                    <a:close/>
                    <a:moveTo>
                      <a:pt x="3184556" y="1208825"/>
                    </a:moveTo>
                    <a:cubicBezTo>
                      <a:pt x="3184556" y="1186389"/>
                      <a:pt x="3166307" y="1168139"/>
                      <a:pt x="3143870" y="1168139"/>
                    </a:cubicBezTo>
                    <a:cubicBezTo>
                      <a:pt x="3121186" y="1168139"/>
                      <a:pt x="3102938" y="1186389"/>
                      <a:pt x="3102938" y="1208825"/>
                    </a:cubicBezTo>
                    <a:cubicBezTo>
                      <a:pt x="3102938" y="1231266"/>
                      <a:pt x="3121432" y="1249510"/>
                      <a:pt x="3143870" y="1249510"/>
                    </a:cubicBezTo>
                    <a:cubicBezTo>
                      <a:pt x="3166307" y="1249510"/>
                      <a:pt x="3184556" y="1231266"/>
                      <a:pt x="3184556" y="1208825"/>
                    </a:cubicBezTo>
                    <a:close/>
                    <a:moveTo>
                      <a:pt x="3185539" y="4106896"/>
                    </a:moveTo>
                    <a:cubicBezTo>
                      <a:pt x="3185539" y="4093334"/>
                      <a:pt x="3174444" y="4082238"/>
                      <a:pt x="3160881" y="4082238"/>
                    </a:cubicBezTo>
                    <a:cubicBezTo>
                      <a:pt x="3147320" y="4082238"/>
                      <a:pt x="3136224" y="4093334"/>
                      <a:pt x="3136224" y="4106896"/>
                    </a:cubicBezTo>
                    <a:cubicBezTo>
                      <a:pt x="3136224" y="4120458"/>
                      <a:pt x="3147320" y="4131553"/>
                      <a:pt x="3160881" y="4131553"/>
                    </a:cubicBezTo>
                    <a:cubicBezTo>
                      <a:pt x="3174444" y="4131553"/>
                      <a:pt x="3185294" y="4120705"/>
                      <a:pt x="3185539" y="4106896"/>
                    </a:cubicBezTo>
                    <a:close/>
                    <a:moveTo>
                      <a:pt x="3186280" y="1444766"/>
                    </a:moveTo>
                    <a:cubicBezTo>
                      <a:pt x="3186280" y="1419371"/>
                      <a:pt x="3165813" y="1398903"/>
                      <a:pt x="3140419" y="1398903"/>
                    </a:cubicBezTo>
                    <a:cubicBezTo>
                      <a:pt x="3115020" y="1398903"/>
                      <a:pt x="3094553" y="1419371"/>
                      <a:pt x="3094553" y="1444766"/>
                    </a:cubicBezTo>
                    <a:cubicBezTo>
                      <a:pt x="3094553" y="1470162"/>
                      <a:pt x="3115020" y="1490629"/>
                      <a:pt x="3140419" y="1490629"/>
                    </a:cubicBezTo>
                    <a:cubicBezTo>
                      <a:pt x="3165568" y="1490629"/>
                      <a:pt x="3186280" y="1470162"/>
                      <a:pt x="3186280" y="1444766"/>
                    </a:cubicBezTo>
                    <a:close/>
                    <a:moveTo>
                      <a:pt x="3187269" y="976091"/>
                    </a:moveTo>
                    <a:cubicBezTo>
                      <a:pt x="3187269" y="953900"/>
                      <a:pt x="3169267" y="935896"/>
                      <a:pt x="3147076" y="935896"/>
                    </a:cubicBezTo>
                    <a:cubicBezTo>
                      <a:pt x="3124883" y="935896"/>
                      <a:pt x="3106883" y="953900"/>
                      <a:pt x="3106883" y="976091"/>
                    </a:cubicBezTo>
                    <a:cubicBezTo>
                      <a:pt x="3106883" y="998279"/>
                      <a:pt x="3124883" y="1016287"/>
                      <a:pt x="3147076" y="1016287"/>
                    </a:cubicBezTo>
                    <a:cubicBezTo>
                      <a:pt x="3169267" y="1016287"/>
                      <a:pt x="3187269" y="998279"/>
                      <a:pt x="3187269" y="976091"/>
                    </a:cubicBezTo>
                    <a:close/>
                    <a:moveTo>
                      <a:pt x="3187512" y="1326172"/>
                    </a:moveTo>
                    <a:cubicBezTo>
                      <a:pt x="3187512" y="1301273"/>
                      <a:pt x="3167293" y="1280805"/>
                      <a:pt x="3142142" y="1280805"/>
                    </a:cubicBezTo>
                    <a:cubicBezTo>
                      <a:pt x="3117238" y="1280805"/>
                      <a:pt x="3096772" y="1301273"/>
                      <a:pt x="3096772" y="1326172"/>
                    </a:cubicBezTo>
                    <a:cubicBezTo>
                      <a:pt x="3096772" y="1351079"/>
                      <a:pt x="3117238" y="1371548"/>
                      <a:pt x="3142142" y="1371548"/>
                    </a:cubicBezTo>
                    <a:cubicBezTo>
                      <a:pt x="3167293" y="1371548"/>
                      <a:pt x="3187512" y="1351328"/>
                      <a:pt x="3187512" y="1326172"/>
                    </a:cubicBezTo>
                    <a:close/>
                    <a:moveTo>
                      <a:pt x="3188501" y="1091966"/>
                    </a:moveTo>
                    <a:cubicBezTo>
                      <a:pt x="3188501" y="1068043"/>
                      <a:pt x="3169020" y="1048811"/>
                      <a:pt x="3145349" y="1048811"/>
                    </a:cubicBezTo>
                    <a:cubicBezTo>
                      <a:pt x="3121430" y="1048811"/>
                      <a:pt x="3102198" y="1068043"/>
                      <a:pt x="3102198" y="1091966"/>
                    </a:cubicBezTo>
                    <a:cubicBezTo>
                      <a:pt x="3102198" y="1115881"/>
                      <a:pt x="3121678" y="1135115"/>
                      <a:pt x="3145349" y="1135115"/>
                    </a:cubicBezTo>
                    <a:cubicBezTo>
                      <a:pt x="3169020" y="1135115"/>
                      <a:pt x="3188501" y="1115881"/>
                      <a:pt x="3188501" y="1091966"/>
                    </a:cubicBezTo>
                    <a:close/>
                    <a:moveTo>
                      <a:pt x="3191460" y="5241883"/>
                    </a:moveTo>
                    <a:cubicBezTo>
                      <a:pt x="3191460" y="5239170"/>
                      <a:pt x="3189488" y="5236951"/>
                      <a:pt x="3186775" y="5236951"/>
                    </a:cubicBezTo>
                    <a:cubicBezTo>
                      <a:pt x="3184061" y="5236951"/>
                      <a:pt x="3181842" y="5239170"/>
                      <a:pt x="3181842" y="5241883"/>
                    </a:cubicBezTo>
                    <a:cubicBezTo>
                      <a:pt x="3181842" y="5244596"/>
                      <a:pt x="3184061" y="5246814"/>
                      <a:pt x="3186775" y="5246814"/>
                    </a:cubicBezTo>
                    <a:cubicBezTo>
                      <a:pt x="3189488" y="5246814"/>
                      <a:pt x="3191706" y="5244596"/>
                      <a:pt x="3191460" y="5241883"/>
                    </a:cubicBezTo>
                    <a:close/>
                    <a:moveTo>
                      <a:pt x="3191706" y="745335"/>
                    </a:moveTo>
                    <a:cubicBezTo>
                      <a:pt x="3191706" y="721412"/>
                      <a:pt x="3172226" y="701937"/>
                      <a:pt x="3148308" y="701937"/>
                    </a:cubicBezTo>
                    <a:cubicBezTo>
                      <a:pt x="3124392" y="701937"/>
                      <a:pt x="3104911" y="721412"/>
                      <a:pt x="3104911" y="745335"/>
                    </a:cubicBezTo>
                    <a:cubicBezTo>
                      <a:pt x="3104911" y="769249"/>
                      <a:pt x="3124392" y="788731"/>
                      <a:pt x="3148308" y="788731"/>
                    </a:cubicBezTo>
                    <a:cubicBezTo>
                      <a:pt x="3172226" y="788731"/>
                      <a:pt x="3191706" y="769249"/>
                      <a:pt x="3191706" y="745335"/>
                    </a:cubicBezTo>
                    <a:close/>
                    <a:moveTo>
                      <a:pt x="3191951" y="2895748"/>
                    </a:moveTo>
                    <a:cubicBezTo>
                      <a:pt x="3191951" y="2894761"/>
                      <a:pt x="3191210" y="2893776"/>
                      <a:pt x="3189978" y="2893776"/>
                    </a:cubicBezTo>
                    <a:cubicBezTo>
                      <a:pt x="3188992" y="2893776"/>
                      <a:pt x="3188005" y="2894516"/>
                      <a:pt x="3188005" y="2895748"/>
                    </a:cubicBezTo>
                    <a:cubicBezTo>
                      <a:pt x="3188005" y="2896735"/>
                      <a:pt x="3188747" y="2897721"/>
                      <a:pt x="3189978" y="2897721"/>
                    </a:cubicBezTo>
                    <a:cubicBezTo>
                      <a:pt x="3191210" y="2897721"/>
                      <a:pt x="3192196" y="2896735"/>
                      <a:pt x="3191951" y="2895748"/>
                    </a:cubicBezTo>
                    <a:close/>
                    <a:moveTo>
                      <a:pt x="3191952" y="630659"/>
                    </a:moveTo>
                    <a:cubicBezTo>
                      <a:pt x="3191952" y="606986"/>
                      <a:pt x="3172718" y="587755"/>
                      <a:pt x="3149049" y="587755"/>
                    </a:cubicBezTo>
                    <a:cubicBezTo>
                      <a:pt x="3125375" y="587755"/>
                      <a:pt x="3106144" y="606986"/>
                      <a:pt x="3106144" y="630659"/>
                    </a:cubicBezTo>
                    <a:cubicBezTo>
                      <a:pt x="3106144" y="654375"/>
                      <a:pt x="3125375" y="673595"/>
                      <a:pt x="3149049" y="673595"/>
                    </a:cubicBezTo>
                    <a:cubicBezTo>
                      <a:pt x="3172718" y="673595"/>
                      <a:pt x="3191952" y="654375"/>
                      <a:pt x="3191952" y="630659"/>
                    </a:cubicBezTo>
                    <a:close/>
                    <a:moveTo>
                      <a:pt x="3192197" y="860463"/>
                    </a:moveTo>
                    <a:cubicBezTo>
                      <a:pt x="3192197" y="836057"/>
                      <a:pt x="3172226" y="816082"/>
                      <a:pt x="3147814" y="816082"/>
                    </a:cubicBezTo>
                    <a:cubicBezTo>
                      <a:pt x="3123402" y="816082"/>
                      <a:pt x="3103430" y="836057"/>
                      <a:pt x="3103430" y="860463"/>
                    </a:cubicBezTo>
                    <a:cubicBezTo>
                      <a:pt x="3103430" y="884875"/>
                      <a:pt x="3123402" y="904837"/>
                      <a:pt x="3147814" y="904837"/>
                    </a:cubicBezTo>
                    <a:cubicBezTo>
                      <a:pt x="3172226" y="904837"/>
                      <a:pt x="3192197" y="884875"/>
                      <a:pt x="3192197" y="860463"/>
                    </a:cubicBezTo>
                    <a:close/>
                    <a:moveTo>
                      <a:pt x="3192200" y="5363691"/>
                    </a:moveTo>
                    <a:cubicBezTo>
                      <a:pt x="3192200" y="5362951"/>
                      <a:pt x="3191706" y="5362459"/>
                      <a:pt x="3190964" y="5362459"/>
                    </a:cubicBezTo>
                    <a:cubicBezTo>
                      <a:pt x="3189981" y="5362459"/>
                      <a:pt x="3189487" y="5362951"/>
                      <a:pt x="3189487" y="5363691"/>
                    </a:cubicBezTo>
                    <a:cubicBezTo>
                      <a:pt x="3189487" y="5364432"/>
                      <a:pt x="3190228" y="5364924"/>
                      <a:pt x="3190964" y="5364924"/>
                    </a:cubicBezTo>
                    <a:cubicBezTo>
                      <a:pt x="3191706" y="5364924"/>
                      <a:pt x="3192200" y="5364432"/>
                      <a:pt x="3192200" y="5363691"/>
                    </a:cubicBezTo>
                    <a:close/>
                    <a:moveTo>
                      <a:pt x="3198115" y="4994074"/>
                    </a:moveTo>
                    <a:cubicBezTo>
                      <a:pt x="3198115" y="4982239"/>
                      <a:pt x="3188501" y="4972621"/>
                      <a:pt x="3176665" y="4972621"/>
                    </a:cubicBezTo>
                    <a:cubicBezTo>
                      <a:pt x="3164830" y="4972621"/>
                      <a:pt x="3155213" y="4982239"/>
                      <a:pt x="3155213" y="4994074"/>
                    </a:cubicBezTo>
                    <a:cubicBezTo>
                      <a:pt x="3155213" y="5005910"/>
                      <a:pt x="3164830" y="5015527"/>
                      <a:pt x="3176665" y="5015527"/>
                    </a:cubicBezTo>
                    <a:cubicBezTo>
                      <a:pt x="3188501" y="5015527"/>
                      <a:pt x="3198115" y="5005910"/>
                      <a:pt x="3198115" y="4994074"/>
                    </a:cubicBezTo>
                    <a:close/>
                    <a:moveTo>
                      <a:pt x="3200088" y="4606460"/>
                    </a:moveTo>
                    <a:cubicBezTo>
                      <a:pt x="3200088" y="4580075"/>
                      <a:pt x="3178638" y="4558376"/>
                      <a:pt x="3152008" y="4558376"/>
                    </a:cubicBezTo>
                    <a:cubicBezTo>
                      <a:pt x="3125623" y="4558376"/>
                      <a:pt x="3103925" y="4579829"/>
                      <a:pt x="3103925" y="4606460"/>
                    </a:cubicBezTo>
                    <a:cubicBezTo>
                      <a:pt x="3103925" y="4632841"/>
                      <a:pt x="3125377" y="4654540"/>
                      <a:pt x="3152008" y="4654540"/>
                    </a:cubicBezTo>
                    <a:cubicBezTo>
                      <a:pt x="3178392" y="4654540"/>
                      <a:pt x="3200088" y="4633090"/>
                      <a:pt x="3200088" y="4606460"/>
                    </a:cubicBezTo>
                    <a:close/>
                    <a:moveTo>
                      <a:pt x="3203292" y="3162291"/>
                    </a:moveTo>
                    <a:cubicBezTo>
                      <a:pt x="3203292" y="3155141"/>
                      <a:pt x="3197129" y="3149223"/>
                      <a:pt x="3189979" y="3149223"/>
                    </a:cubicBezTo>
                    <a:cubicBezTo>
                      <a:pt x="3182580" y="3149223"/>
                      <a:pt x="3176663" y="3155141"/>
                      <a:pt x="3176663" y="3162291"/>
                    </a:cubicBezTo>
                    <a:cubicBezTo>
                      <a:pt x="3176663" y="3169689"/>
                      <a:pt x="3182580" y="3175607"/>
                      <a:pt x="3189979" y="3175607"/>
                    </a:cubicBezTo>
                    <a:cubicBezTo>
                      <a:pt x="3197129" y="3175607"/>
                      <a:pt x="3203047" y="3169689"/>
                      <a:pt x="3203292" y="3162291"/>
                    </a:cubicBezTo>
                    <a:close/>
                    <a:moveTo>
                      <a:pt x="3203295" y="3846511"/>
                    </a:moveTo>
                    <a:cubicBezTo>
                      <a:pt x="3203295" y="3829007"/>
                      <a:pt x="3188992" y="3814704"/>
                      <a:pt x="3171485" y="3814704"/>
                    </a:cubicBezTo>
                    <a:cubicBezTo>
                      <a:pt x="3153980" y="3814704"/>
                      <a:pt x="3139678" y="3829007"/>
                      <a:pt x="3139678" y="3846511"/>
                    </a:cubicBezTo>
                    <a:cubicBezTo>
                      <a:pt x="3139678" y="3864019"/>
                      <a:pt x="3153980" y="3878322"/>
                      <a:pt x="3171485" y="3878322"/>
                    </a:cubicBezTo>
                    <a:cubicBezTo>
                      <a:pt x="3188992" y="3878322"/>
                      <a:pt x="3203295" y="3864019"/>
                      <a:pt x="3203295" y="3846511"/>
                    </a:cubicBezTo>
                    <a:close/>
                    <a:moveTo>
                      <a:pt x="3203295" y="5118843"/>
                    </a:moveTo>
                    <a:cubicBezTo>
                      <a:pt x="3203295" y="5107499"/>
                      <a:pt x="3193925" y="5098130"/>
                      <a:pt x="3182583" y="5098130"/>
                    </a:cubicBezTo>
                    <a:cubicBezTo>
                      <a:pt x="3171239" y="5098130"/>
                      <a:pt x="3161870" y="5107499"/>
                      <a:pt x="3161870" y="5118843"/>
                    </a:cubicBezTo>
                    <a:cubicBezTo>
                      <a:pt x="3161870" y="5130186"/>
                      <a:pt x="3170993" y="5139555"/>
                      <a:pt x="3182583" y="5139555"/>
                    </a:cubicBezTo>
                    <a:cubicBezTo>
                      <a:pt x="3194172" y="5139555"/>
                      <a:pt x="3203295" y="5130186"/>
                      <a:pt x="3203295" y="5118843"/>
                    </a:cubicBezTo>
                    <a:close/>
                    <a:moveTo>
                      <a:pt x="3206500" y="5480568"/>
                    </a:moveTo>
                    <a:cubicBezTo>
                      <a:pt x="3206500" y="5477609"/>
                      <a:pt x="3204282" y="5475390"/>
                      <a:pt x="3201569" y="5475390"/>
                    </a:cubicBezTo>
                    <a:cubicBezTo>
                      <a:pt x="3198610" y="5475390"/>
                      <a:pt x="3196391" y="5477854"/>
                      <a:pt x="3196391" y="5480568"/>
                    </a:cubicBezTo>
                    <a:cubicBezTo>
                      <a:pt x="3196391" y="5483281"/>
                      <a:pt x="3198859" y="5485499"/>
                      <a:pt x="3201569" y="5485499"/>
                    </a:cubicBezTo>
                    <a:cubicBezTo>
                      <a:pt x="3204282" y="5485499"/>
                      <a:pt x="3206500" y="5483281"/>
                      <a:pt x="3206500" y="5480568"/>
                    </a:cubicBezTo>
                    <a:close/>
                    <a:moveTo>
                      <a:pt x="3206746" y="5600158"/>
                    </a:moveTo>
                    <a:cubicBezTo>
                      <a:pt x="3206746" y="5598677"/>
                      <a:pt x="3205511" y="5597445"/>
                      <a:pt x="3204033" y="5597445"/>
                    </a:cubicBezTo>
                    <a:cubicBezTo>
                      <a:pt x="3202552" y="5597445"/>
                      <a:pt x="3201320" y="5598677"/>
                      <a:pt x="3201320" y="5600158"/>
                    </a:cubicBezTo>
                    <a:cubicBezTo>
                      <a:pt x="3201320" y="5601636"/>
                      <a:pt x="3202552" y="5602871"/>
                      <a:pt x="3204033" y="5602871"/>
                    </a:cubicBezTo>
                    <a:cubicBezTo>
                      <a:pt x="3205266" y="5602871"/>
                      <a:pt x="3206497" y="5601636"/>
                      <a:pt x="3206746" y="5600158"/>
                    </a:cubicBezTo>
                    <a:close/>
                    <a:moveTo>
                      <a:pt x="3208719" y="5837609"/>
                    </a:moveTo>
                    <a:cubicBezTo>
                      <a:pt x="3208719" y="5836377"/>
                      <a:pt x="3207730" y="5835391"/>
                      <a:pt x="3206497" y="5835391"/>
                    </a:cubicBezTo>
                    <a:cubicBezTo>
                      <a:pt x="3205266" y="5835391"/>
                      <a:pt x="3204279" y="5836377"/>
                      <a:pt x="3204279" y="5837609"/>
                    </a:cubicBezTo>
                    <a:cubicBezTo>
                      <a:pt x="3204279" y="5838842"/>
                      <a:pt x="3205266" y="5839827"/>
                      <a:pt x="3206497" y="5839827"/>
                    </a:cubicBezTo>
                    <a:cubicBezTo>
                      <a:pt x="3207978" y="5839827"/>
                      <a:pt x="3208964" y="5838842"/>
                      <a:pt x="3208719" y="5837609"/>
                    </a:cubicBezTo>
                    <a:close/>
                    <a:moveTo>
                      <a:pt x="3208720" y="4738622"/>
                    </a:moveTo>
                    <a:cubicBezTo>
                      <a:pt x="3208720" y="4712732"/>
                      <a:pt x="3187758" y="4691525"/>
                      <a:pt x="3161623" y="4691525"/>
                    </a:cubicBezTo>
                    <a:cubicBezTo>
                      <a:pt x="3135733" y="4691525"/>
                      <a:pt x="3114525" y="4712484"/>
                      <a:pt x="3114525" y="4738622"/>
                    </a:cubicBezTo>
                    <a:cubicBezTo>
                      <a:pt x="3114525" y="4764512"/>
                      <a:pt x="3135484" y="4785719"/>
                      <a:pt x="3161623" y="4785719"/>
                    </a:cubicBezTo>
                    <a:cubicBezTo>
                      <a:pt x="3187758" y="4785719"/>
                      <a:pt x="3208720" y="4764512"/>
                      <a:pt x="3208720" y="4738622"/>
                    </a:cubicBezTo>
                    <a:close/>
                    <a:moveTo>
                      <a:pt x="3208965" y="4255088"/>
                    </a:moveTo>
                    <a:cubicBezTo>
                      <a:pt x="3208965" y="4243744"/>
                      <a:pt x="3199842" y="4234375"/>
                      <a:pt x="3188499" y="4234375"/>
                    </a:cubicBezTo>
                    <a:cubicBezTo>
                      <a:pt x="3177158" y="4234375"/>
                      <a:pt x="3167786" y="4243744"/>
                      <a:pt x="3167786" y="4255088"/>
                    </a:cubicBezTo>
                    <a:cubicBezTo>
                      <a:pt x="3167786" y="4266677"/>
                      <a:pt x="3177158" y="4275800"/>
                      <a:pt x="3188499" y="4275800"/>
                    </a:cubicBezTo>
                    <a:cubicBezTo>
                      <a:pt x="3199842" y="4275800"/>
                      <a:pt x="3209211" y="4266677"/>
                      <a:pt x="3208965" y="4255088"/>
                    </a:cubicBezTo>
                    <a:close/>
                    <a:moveTo>
                      <a:pt x="3209460" y="5955227"/>
                    </a:moveTo>
                    <a:cubicBezTo>
                      <a:pt x="3209460" y="5953728"/>
                      <a:pt x="3208243" y="5952515"/>
                      <a:pt x="3206746" y="5952515"/>
                    </a:cubicBezTo>
                    <a:cubicBezTo>
                      <a:pt x="3205247" y="5952515"/>
                      <a:pt x="3204033" y="5953728"/>
                      <a:pt x="3204033" y="5955227"/>
                    </a:cubicBezTo>
                    <a:cubicBezTo>
                      <a:pt x="3204033" y="5956723"/>
                      <a:pt x="3205247" y="5957938"/>
                      <a:pt x="3206746" y="5957938"/>
                    </a:cubicBezTo>
                    <a:cubicBezTo>
                      <a:pt x="3208243" y="5957938"/>
                      <a:pt x="3209460" y="5956723"/>
                      <a:pt x="3209460" y="5955227"/>
                    </a:cubicBezTo>
                    <a:close/>
                    <a:moveTo>
                      <a:pt x="3210691" y="6071860"/>
                    </a:moveTo>
                    <a:cubicBezTo>
                      <a:pt x="3210691" y="6070625"/>
                      <a:pt x="3209704" y="6069392"/>
                      <a:pt x="3208226" y="6069392"/>
                    </a:cubicBezTo>
                    <a:cubicBezTo>
                      <a:pt x="3206746" y="6069392"/>
                      <a:pt x="3205513" y="6070379"/>
                      <a:pt x="3205513" y="6071860"/>
                    </a:cubicBezTo>
                    <a:cubicBezTo>
                      <a:pt x="3205513" y="6073093"/>
                      <a:pt x="3206746" y="6074325"/>
                      <a:pt x="3208226" y="6074325"/>
                    </a:cubicBezTo>
                    <a:cubicBezTo>
                      <a:pt x="3209704" y="6074325"/>
                      <a:pt x="3210940" y="6073093"/>
                      <a:pt x="3210691" y="6071860"/>
                    </a:cubicBezTo>
                    <a:close/>
                    <a:moveTo>
                      <a:pt x="3210691" y="6187500"/>
                    </a:moveTo>
                    <a:cubicBezTo>
                      <a:pt x="3210691" y="6187006"/>
                      <a:pt x="3210197" y="6186514"/>
                      <a:pt x="3209705" y="6186514"/>
                    </a:cubicBezTo>
                    <a:cubicBezTo>
                      <a:pt x="3209213" y="6186514"/>
                      <a:pt x="3208719" y="6187006"/>
                      <a:pt x="3208719" y="6187500"/>
                    </a:cubicBezTo>
                    <a:cubicBezTo>
                      <a:pt x="3208719" y="6187993"/>
                      <a:pt x="3209213" y="6188487"/>
                      <a:pt x="3209705" y="6188487"/>
                    </a:cubicBezTo>
                    <a:cubicBezTo>
                      <a:pt x="3210445" y="6188487"/>
                      <a:pt x="3210691" y="6187993"/>
                      <a:pt x="3210691" y="6187500"/>
                    </a:cubicBezTo>
                    <a:close/>
                    <a:moveTo>
                      <a:pt x="3212414" y="4867336"/>
                    </a:moveTo>
                    <a:cubicBezTo>
                      <a:pt x="3212414" y="4843778"/>
                      <a:pt x="3193318" y="4824678"/>
                      <a:pt x="3169758" y="4824678"/>
                    </a:cubicBezTo>
                    <a:cubicBezTo>
                      <a:pt x="3146201" y="4824678"/>
                      <a:pt x="3127101" y="4843778"/>
                      <a:pt x="3127101" y="4867336"/>
                    </a:cubicBezTo>
                    <a:cubicBezTo>
                      <a:pt x="3127101" y="4890895"/>
                      <a:pt x="3146199" y="4909992"/>
                      <a:pt x="3169758" y="4909992"/>
                    </a:cubicBezTo>
                    <a:cubicBezTo>
                      <a:pt x="3193318" y="4909992"/>
                      <a:pt x="3212414" y="4890895"/>
                      <a:pt x="3212414" y="4867336"/>
                    </a:cubicBezTo>
                    <a:close/>
                    <a:moveTo>
                      <a:pt x="3212418" y="6302649"/>
                    </a:moveTo>
                    <a:cubicBezTo>
                      <a:pt x="3212418" y="6301912"/>
                      <a:pt x="3211678" y="6301171"/>
                      <a:pt x="3210691" y="6301171"/>
                    </a:cubicBezTo>
                    <a:cubicBezTo>
                      <a:pt x="3209954" y="6301171"/>
                      <a:pt x="3209213" y="6301663"/>
                      <a:pt x="3209213" y="6302649"/>
                    </a:cubicBezTo>
                    <a:cubicBezTo>
                      <a:pt x="3209213" y="6303637"/>
                      <a:pt x="3209705" y="6304376"/>
                      <a:pt x="3210691" y="6304376"/>
                    </a:cubicBezTo>
                    <a:cubicBezTo>
                      <a:pt x="3211678" y="6304376"/>
                      <a:pt x="3212418" y="6303637"/>
                      <a:pt x="3212418" y="6302649"/>
                    </a:cubicBezTo>
                    <a:close/>
                    <a:moveTo>
                      <a:pt x="3214883" y="5719502"/>
                    </a:moveTo>
                    <a:cubicBezTo>
                      <a:pt x="3214883" y="5714324"/>
                      <a:pt x="3210198" y="5709884"/>
                      <a:pt x="3205020" y="5709884"/>
                    </a:cubicBezTo>
                    <a:cubicBezTo>
                      <a:pt x="3199842" y="5709884"/>
                      <a:pt x="3195402" y="5714076"/>
                      <a:pt x="3195402" y="5719502"/>
                    </a:cubicBezTo>
                    <a:cubicBezTo>
                      <a:pt x="3195402" y="5724925"/>
                      <a:pt x="3199593" y="5729365"/>
                      <a:pt x="3205020" y="5729365"/>
                    </a:cubicBezTo>
                    <a:cubicBezTo>
                      <a:pt x="3210443" y="5729365"/>
                      <a:pt x="3214883" y="5724925"/>
                      <a:pt x="3214883" y="5719502"/>
                    </a:cubicBezTo>
                    <a:close/>
                    <a:moveTo>
                      <a:pt x="3219567" y="6415337"/>
                    </a:moveTo>
                    <a:cubicBezTo>
                      <a:pt x="3219567" y="6414599"/>
                      <a:pt x="3218827" y="6413858"/>
                      <a:pt x="3218090" y="6413858"/>
                    </a:cubicBezTo>
                    <a:cubicBezTo>
                      <a:pt x="3217350" y="6413858"/>
                      <a:pt x="3216608" y="6414599"/>
                      <a:pt x="3216608" y="6415337"/>
                    </a:cubicBezTo>
                    <a:cubicBezTo>
                      <a:pt x="3216608" y="6416077"/>
                      <a:pt x="3217350" y="6416818"/>
                      <a:pt x="3218090" y="6416818"/>
                    </a:cubicBezTo>
                    <a:cubicBezTo>
                      <a:pt x="3218827" y="6416818"/>
                      <a:pt x="3219567" y="6416077"/>
                      <a:pt x="3219567" y="6415337"/>
                    </a:cubicBezTo>
                    <a:close/>
                    <a:moveTo>
                      <a:pt x="3220060" y="6529995"/>
                    </a:moveTo>
                    <a:cubicBezTo>
                      <a:pt x="3220060" y="6529257"/>
                      <a:pt x="3219320" y="6528516"/>
                      <a:pt x="3218580" y="6528516"/>
                    </a:cubicBezTo>
                    <a:cubicBezTo>
                      <a:pt x="3217842" y="6528516"/>
                      <a:pt x="3217101" y="6529257"/>
                      <a:pt x="3217101" y="6529995"/>
                    </a:cubicBezTo>
                    <a:cubicBezTo>
                      <a:pt x="3217101" y="6530735"/>
                      <a:pt x="3217842" y="6531476"/>
                      <a:pt x="3218580" y="6531476"/>
                    </a:cubicBezTo>
                    <a:cubicBezTo>
                      <a:pt x="3219320" y="6531476"/>
                      <a:pt x="3220060" y="6530735"/>
                      <a:pt x="3220060" y="6529995"/>
                    </a:cubicBezTo>
                    <a:close/>
                    <a:moveTo>
                      <a:pt x="3220306" y="1831876"/>
                    </a:moveTo>
                    <a:cubicBezTo>
                      <a:pt x="3220306" y="1806723"/>
                      <a:pt x="3199843" y="1786234"/>
                      <a:pt x="3174690" y="1786234"/>
                    </a:cubicBezTo>
                    <a:cubicBezTo>
                      <a:pt x="3149540" y="1786234"/>
                      <a:pt x="3129074" y="1806723"/>
                      <a:pt x="3129074" y="1831876"/>
                    </a:cubicBezTo>
                    <a:cubicBezTo>
                      <a:pt x="3129074" y="1857021"/>
                      <a:pt x="3149540" y="1877481"/>
                      <a:pt x="3174690" y="1877481"/>
                    </a:cubicBezTo>
                    <a:cubicBezTo>
                      <a:pt x="3199843" y="1877481"/>
                      <a:pt x="3220306" y="1857021"/>
                      <a:pt x="3220306" y="1831876"/>
                    </a:cubicBezTo>
                    <a:close/>
                    <a:moveTo>
                      <a:pt x="3221295" y="6644404"/>
                    </a:moveTo>
                    <a:cubicBezTo>
                      <a:pt x="3221295" y="6642926"/>
                      <a:pt x="3220062" y="6641445"/>
                      <a:pt x="3218336" y="6641445"/>
                    </a:cubicBezTo>
                    <a:cubicBezTo>
                      <a:pt x="3216855" y="6641445"/>
                      <a:pt x="3215377" y="6642678"/>
                      <a:pt x="3215377" y="6644404"/>
                    </a:cubicBezTo>
                    <a:cubicBezTo>
                      <a:pt x="3215377" y="6645885"/>
                      <a:pt x="3216608" y="6647363"/>
                      <a:pt x="3218336" y="6647363"/>
                    </a:cubicBezTo>
                    <a:cubicBezTo>
                      <a:pt x="3220062" y="6647363"/>
                      <a:pt x="3221540" y="6645885"/>
                      <a:pt x="3221295" y="6644404"/>
                    </a:cubicBezTo>
                    <a:close/>
                    <a:moveTo>
                      <a:pt x="3223021" y="6757829"/>
                    </a:moveTo>
                    <a:cubicBezTo>
                      <a:pt x="3223021" y="6755856"/>
                      <a:pt x="3221543" y="6754378"/>
                      <a:pt x="3219569" y="6754378"/>
                    </a:cubicBezTo>
                    <a:cubicBezTo>
                      <a:pt x="3217595" y="6754378"/>
                      <a:pt x="3216118" y="6755856"/>
                      <a:pt x="3216118" y="6757829"/>
                    </a:cubicBezTo>
                    <a:cubicBezTo>
                      <a:pt x="3216118" y="6759805"/>
                      <a:pt x="3217595" y="6761282"/>
                      <a:pt x="3219569" y="6761282"/>
                    </a:cubicBezTo>
                    <a:cubicBezTo>
                      <a:pt x="3221543" y="6761282"/>
                      <a:pt x="3223021" y="6759805"/>
                      <a:pt x="3223021" y="6757829"/>
                    </a:cubicBezTo>
                    <a:close/>
                    <a:moveTo>
                      <a:pt x="3223513" y="6871254"/>
                    </a:moveTo>
                    <a:cubicBezTo>
                      <a:pt x="3223513" y="6869281"/>
                      <a:pt x="3222035" y="6867803"/>
                      <a:pt x="3220060" y="6867803"/>
                    </a:cubicBezTo>
                    <a:cubicBezTo>
                      <a:pt x="3218090" y="6867803"/>
                      <a:pt x="3216608" y="6869281"/>
                      <a:pt x="3216608" y="6871254"/>
                    </a:cubicBezTo>
                    <a:cubicBezTo>
                      <a:pt x="3216608" y="6873230"/>
                      <a:pt x="3218090" y="6874708"/>
                      <a:pt x="3220060" y="6874708"/>
                    </a:cubicBezTo>
                    <a:cubicBezTo>
                      <a:pt x="3222035" y="6874708"/>
                      <a:pt x="3223513" y="6873230"/>
                      <a:pt x="3223513" y="6871254"/>
                    </a:cubicBezTo>
                    <a:close/>
                    <a:moveTo>
                      <a:pt x="3224254" y="1587022"/>
                    </a:moveTo>
                    <a:cubicBezTo>
                      <a:pt x="3224254" y="1563844"/>
                      <a:pt x="3205266" y="1544861"/>
                      <a:pt x="3182089" y="1544861"/>
                    </a:cubicBezTo>
                    <a:cubicBezTo>
                      <a:pt x="3158910" y="1544861"/>
                      <a:pt x="3139923" y="1563844"/>
                      <a:pt x="3139923" y="1587022"/>
                    </a:cubicBezTo>
                    <a:cubicBezTo>
                      <a:pt x="3139923" y="1610204"/>
                      <a:pt x="3158910" y="1629189"/>
                      <a:pt x="3182089" y="1629189"/>
                    </a:cubicBezTo>
                    <a:cubicBezTo>
                      <a:pt x="3205514" y="1629189"/>
                      <a:pt x="3224254" y="1610204"/>
                      <a:pt x="3224254" y="1587022"/>
                    </a:cubicBezTo>
                    <a:close/>
                    <a:moveTo>
                      <a:pt x="3224992" y="6984187"/>
                    </a:moveTo>
                    <a:cubicBezTo>
                      <a:pt x="3224992" y="6981720"/>
                      <a:pt x="3223019" y="6979748"/>
                      <a:pt x="3220555" y="6979748"/>
                    </a:cubicBezTo>
                    <a:cubicBezTo>
                      <a:pt x="3217842" y="6979748"/>
                      <a:pt x="3215868" y="6981720"/>
                      <a:pt x="3215868" y="6984187"/>
                    </a:cubicBezTo>
                    <a:cubicBezTo>
                      <a:pt x="3215868" y="6986897"/>
                      <a:pt x="3218087" y="6988870"/>
                      <a:pt x="3220555" y="6988870"/>
                    </a:cubicBezTo>
                    <a:cubicBezTo>
                      <a:pt x="3223267" y="6988870"/>
                      <a:pt x="3225240" y="6986897"/>
                      <a:pt x="3224992" y="6984187"/>
                    </a:cubicBezTo>
                    <a:close/>
                    <a:moveTo>
                      <a:pt x="3225090" y="0"/>
                    </a:moveTo>
                    <a:lnTo>
                      <a:pt x="3196343" y="0"/>
                    </a:lnTo>
                    <a:lnTo>
                      <a:pt x="3210692" y="5978"/>
                    </a:lnTo>
                    <a:close/>
                    <a:moveTo>
                      <a:pt x="3225486" y="1708809"/>
                    </a:moveTo>
                    <a:cubicBezTo>
                      <a:pt x="3225486" y="1683176"/>
                      <a:pt x="3204773" y="1662464"/>
                      <a:pt x="3179130" y="1662464"/>
                    </a:cubicBezTo>
                    <a:cubicBezTo>
                      <a:pt x="3153486" y="1662464"/>
                      <a:pt x="3132773" y="1683176"/>
                      <a:pt x="3132773" y="1708809"/>
                    </a:cubicBezTo>
                    <a:cubicBezTo>
                      <a:pt x="3132773" y="1734461"/>
                      <a:pt x="3153486" y="1755188"/>
                      <a:pt x="3179130" y="1755188"/>
                    </a:cubicBezTo>
                    <a:cubicBezTo>
                      <a:pt x="3204773" y="1755188"/>
                      <a:pt x="3225486" y="1734461"/>
                      <a:pt x="3225486" y="1708809"/>
                    </a:cubicBezTo>
                    <a:close/>
                    <a:moveTo>
                      <a:pt x="3227213" y="7097121"/>
                    </a:moveTo>
                    <a:cubicBezTo>
                      <a:pt x="3227213" y="7093916"/>
                      <a:pt x="3224499" y="7091202"/>
                      <a:pt x="3221295" y="7091202"/>
                    </a:cubicBezTo>
                    <a:cubicBezTo>
                      <a:pt x="3218090" y="7091202"/>
                      <a:pt x="3215377" y="7093916"/>
                      <a:pt x="3215377" y="7097121"/>
                    </a:cubicBezTo>
                    <a:cubicBezTo>
                      <a:pt x="3215377" y="7100326"/>
                      <a:pt x="3218090" y="7103038"/>
                      <a:pt x="3221295" y="7103038"/>
                    </a:cubicBezTo>
                    <a:cubicBezTo>
                      <a:pt x="3224499" y="7103038"/>
                      <a:pt x="3227213" y="7100326"/>
                      <a:pt x="3227213" y="7097121"/>
                    </a:cubicBezTo>
                    <a:close/>
                    <a:moveTo>
                      <a:pt x="3230909" y="7320762"/>
                    </a:moveTo>
                    <a:cubicBezTo>
                      <a:pt x="3230909" y="7318544"/>
                      <a:pt x="3228936" y="7316571"/>
                      <a:pt x="3226717" y="7316571"/>
                    </a:cubicBezTo>
                    <a:cubicBezTo>
                      <a:pt x="3224499" y="7316571"/>
                      <a:pt x="3222526" y="7318544"/>
                      <a:pt x="3222526" y="7320762"/>
                    </a:cubicBezTo>
                    <a:cubicBezTo>
                      <a:pt x="3222526" y="7322982"/>
                      <a:pt x="3224253" y="7324953"/>
                      <a:pt x="3226717" y="7324953"/>
                    </a:cubicBezTo>
                    <a:cubicBezTo>
                      <a:pt x="3228936" y="7324953"/>
                      <a:pt x="3230909" y="7322982"/>
                      <a:pt x="3230909" y="7320762"/>
                    </a:cubicBezTo>
                    <a:close/>
                    <a:moveTo>
                      <a:pt x="3232391" y="7432955"/>
                    </a:moveTo>
                    <a:cubicBezTo>
                      <a:pt x="3232391" y="7429997"/>
                      <a:pt x="3229923" y="7427529"/>
                      <a:pt x="3226967" y="7427529"/>
                    </a:cubicBezTo>
                    <a:cubicBezTo>
                      <a:pt x="3224005" y="7427529"/>
                      <a:pt x="3221540" y="7429997"/>
                      <a:pt x="3221540" y="7432955"/>
                    </a:cubicBezTo>
                    <a:cubicBezTo>
                      <a:pt x="3221540" y="7435912"/>
                      <a:pt x="3224005" y="7438379"/>
                      <a:pt x="3226967" y="7438379"/>
                    </a:cubicBezTo>
                    <a:cubicBezTo>
                      <a:pt x="3229923" y="7438379"/>
                      <a:pt x="3232391" y="7435912"/>
                      <a:pt x="3232391" y="7432955"/>
                    </a:cubicBezTo>
                    <a:close/>
                    <a:moveTo>
                      <a:pt x="3232636" y="2743861"/>
                    </a:moveTo>
                    <a:cubicBezTo>
                      <a:pt x="3232636" y="2737452"/>
                      <a:pt x="3227458" y="2732521"/>
                      <a:pt x="3221292" y="2732521"/>
                    </a:cubicBezTo>
                    <a:cubicBezTo>
                      <a:pt x="3215128" y="2732521"/>
                      <a:pt x="3209951" y="2737697"/>
                      <a:pt x="3209951" y="2743861"/>
                    </a:cubicBezTo>
                    <a:cubicBezTo>
                      <a:pt x="3209951" y="2750274"/>
                      <a:pt x="3215128" y="2755205"/>
                      <a:pt x="3221292" y="2755205"/>
                    </a:cubicBezTo>
                    <a:cubicBezTo>
                      <a:pt x="3227458" y="2755205"/>
                      <a:pt x="3232391" y="2750028"/>
                      <a:pt x="3232636" y="2743861"/>
                    </a:cubicBezTo>
                    <a:close/>
                    <a:moveTo>
                      <a:pt x="3233376" y="7208324"/>
                    </a:moveTo>
                    <a:cubicBezTo>
                      <a:pt x="3233376" y="7204379"/>
                      <a:pt x="3230171" y="7201420"/>
                      <a:pt x="3226472" y="7201420"/>
                    </a:cubicBezTo>
                    <a:cubicBezTo>
                      <a:pt x="3222526" y="7201420"/>
                      <a:pt x="3219567" y="7204626"/>
                      <a:pt x="3219567" y="7208324"/>
                    </a:cubicBezTo>
                    <a:cubicBezTo>
                      <a:pt x="3219567" y="7212270"/>
                      <a:pt x="3222773" y="7215228"/>
                      <a:pt x="3226472" y="7215228"/>
                    </a:cubicBezTo>
                    <a:cubicBezTo>
                      <a:pt x="3230171" y="7215228"/>
                      <a:pt x="3233376" y="7212023"/>
                      <a:pt x="3233376" y="7208324"/>
                    </a:cubicBezTo>
                    <a:close/>
                    <a:moveTo>
                      <a:pt x="3233868" y="3274975"/>
                    </a:moveTo>
                    <a:cubicBezTo>
                      <a:pt x="3233868" y="3266593"/>
                      <a:pt x="3226964" y="3259689"/>
                      <a:pt x="3218579" y="3259689"/>
                    </a:cubicBezTo>
                    <a:cubicBezTo>
                      <a:pt x="3210197" y="3259689"/>
                      <a:pt x="3203292" y="3266593"/>
                      <a:pt x="3203292" y="3274975"/>
                    </a:cubicBezTo>
                    <a:cubicBezTo>
                      <a:pt x="3203292" y="3283359"/>
                      <a:pt x="3210197" y="3290265"/>
                      <a:pt x="3218579" y="3290265"/>
                    </a:cubicBezTo>
                    <a:cubicBezTo>
                      <a:pt x="3226964" y="3290265"/>
                      <a:pt x="3233868" y="3283359"/>
                      <a:pt x="3233868" y="3274975"/>
                    </a:cubicBezTo>
                    <a:close/>
                    <a:moveTo>
                      <a:pt x="3234609" y="3735801"/>
                    </a:moveTo>
                    <a:cubicBezTo>
                      <a:pt x="3234609" y="3720019"/>
                      <a:pt x="3221786" y="3707197"/>
                      <a:pt x="3206006" y="3707197"/>
                    </a:cubicBezTo>
                    <a:cubicBezTo>
                      <a:pt x="3190224" y="3707197"/>
                      <a:pt x="3177403" y="3720019"/>
                      <a:pt x="3177403" y="3735801"/>
                    </a:cubicBezTo>
                    <a:cubicBezTo>
                      <a:pt x="3177403" y="3751581"/>
                      <a:pt x="3190224" y="3764403"/>
                      <a:pt x="3206006" y="3764403"/>
                    </a:cubicBezTo>
                    <a:cubicBezTo>
                      <a:pt x="3221786" y="3764403"/>
                      <a:pt x="3234609" y="3751581"/>
                      <a:pt x="3234609" y="3735801"/>
                    </a:cubicBezTo>
                    <a:close/>
                    <a:moveTo>
                      <a:pt x="3237816" y="4398348"/>
                    </a:moveTo>
                    <a:cubicBezTo>
                      <a:pt x="3237816" y="4383061"/>
                      <a:pt x="3225485" y="4370730"/>
                      <a:pt x="3210200" y="4370730"/>
                    </a:cubicBezTo>
                    <a:cubicBezTo>
                      <a:pt x="3194913" y="4370730"/>
                      <a:pt x="3182582" y="4383061"/>
                      <a:pt x="3182582" y="4398348"/>
                    </a:cubicBezTo>
                    <a:cubicBezTo>
                      <a:pt x="3182582" y="4413633"/>
                      <a:pt x="3194913" y="4425964"/>
                      <a:pt x="3210200" y="4425964"/>
                    </a:cubicBezTo>
                    <a:cubicBezTo>
                      <a:pt x="3225485" y="4425964"/>
                      <a:pt x="3237816" y="4413633"/>
                      <a:pt x="3237816" y="4398348"/>
                    </a:cubicBezTo>
                    <a:close/>
                    <a:moveTo>
                      <a:pt x="3239294" y="2424804"/>
                    </a:moveTo>
                    <a:cubicBezTo>
                      <a:pt x="3239294" y="2422093"/>
                      <a:pt x="3237073" y="2419630"/>
                      <a:pt x="3234114" y="2419630"/>
                    </a:cubicBezTo>
                    <a:cubicBezTo>
                      <a:pt x="3231404" y="2419630"/>
                      <a:pt x="3228936" y="2421847"/>
                      <a:pt x="3228936" y="2424804"/>
                    </a:cubicBezTo>
                    <a:cubicBezTo>
                      <a:pt x="3228936" y="2427518"/>
                      <a:pt x="3231155" y="2429985"/>
                      <a:pt x="3234114" y="2429985"/>
                    </a:cubicBezTo>
                    <a:cubicBezTo>
                      <a:pt x="3237073" y="2429985"/>
                      <a:pt x="3239294" y="2427518"/>
                      <a:pt x="3239294" y="2424804"/>
                    </a:cubicBezTo>
                    <a:close/>
                    <a:moveTo>
                      <a:pt x="3239541" y="4006785"/>
                    </a:moveTo>
                    <a:cubicBezTo>
                      <a:pt x="3239541" y="3995444"/>
                      <a:pt x="3230172" y="3986072"/>
                      <a:pt x="3218828" y="3986072"/>
                    </a:cubicBezTo>
                    <a:cubicBezTo>
                      <a:pt x="3207487" y="3986072"/>
                      <a:pt x="3198115" y="3995444"/>
                      <a:pt x="3198115" y="4006785"/>
                    </a:cubicBezTo>
                    <a:cubicBezTo>
                      <a:pt x="3198115" y="4018128"/>
                      <a:pt x="3207487" y="4027497"/>
                      <a:pt x="3218828" y="4027497"/>
                    </a:cubicBezTo>
                    <a:cubicBezTo>
                      <a:pt x="3230172" y="4027497"/>
                      <a:pt x="3239541" y="4018128"/>
                      <a:pt x="3239541" y="4006785"/>
                    </a:cubicBezTo>
                    <a:close/>
                    <a:moveTo>
                      <a:pt x="3245461" y="2998819"/>
                    </a:moveTo>
                    <a:cubicBezTo>
                      <a:pt x="3245461" y="2997338"/>
                      <a:pt x="3244475" y="2996352"/>
                      <a:pt x="3243239" y="2996352"/>
                    </a:cubicBezTo>
                    <a:cubicBezTo>
                      <a:pt x="3241762" y="2996352"/>
                      <a:pt x="3240774" y="2997584"/>
                      <a:pt x="3240774" y="2998819"/>
                    </a:cubicBezTo>
                    <a:cubicBezTo>
                      <a:pt x="3240774" y="3000051"/>
                      <a:pt x="3242007" y="3001037"/>
                      <a:pt x="3243239" y="3001037"/>
                    </a:cubicBezTo>
                    <a:cubicBezTo>
                      <a:pt x="3244475" y="3001037"/>
                      <a:pt x="3245461" y="2999803"/>
                      <a:pt x="3245461" y="2998819"/>
                    </a:cubicBezTo>
                    <a:close/>
                    <a:moveTo>
                      <a:pt x="3246690" y="2597405"/>
                    </a:moveTo>
                    <a:cubicBezTo>
                      <a:pt x="3246690" y="2596665"/>
                      <a:pt x="3245949" y="2595925"/>
                      <a:pt x="3245209" y="2595925"/>
                    </a:cubicBezTo>
                    <a:cubicBezTo>
                      <a:pt x="3244471" y="2595925"/>
                      <a:pt x="3243730" y="2596665"/>
                      <a:pt x="3243730" y="2597405"/>
                    </a:cubicBezTo>
                    <a:cubicBezTo>
                      <a:pt x="3243730" y="2598142"/>
                      <a:pt x="3244471" y="2598883"/>
                      <a:pt x="3245209" y="2598883"/>
                    </a:cubicBezTo>
                    <a:cubicBezTo>
                      <a:pt x="3246198" y="2598883"/>
                      <a:pt x="3246690" y="2598392"/>
                      <a:pt x="3246690" y="2597405"/>
                    </a:cubicBezTo>
                    <a:close/>
                    <a:moveTo>
                      <a:pt x="3248416" y="536979"/>
                    </a:moveTo>
                    <a:cubicBezTo>
                      <a:pt x="3248416" y="515775"/>
                      <a:pt x="3231157" y="498268"/>
                      <a:pt x="3209704" y="498268"/>
                    </a:cubicBezTo>
                    <a:cubicBezTo>
                      <a:pt x="3188500" y="498268"/>
                      <a:pt x="3170992" y="515529"/>
                      <a:pt x="3170992" y="536979"/>
                    </a:cubicBezTo>
                    <a:cubicBezTo>
                      <a:pt x="3170992" y="558184"/>
                      <a:pt x="3188251" y="575688"/>
                      <a:pt x="3209704" y="575688"/>
                    </a:cubicBezTo>
                    <a:cubicBezTo>
                      <a:pt x="3231157" y="575688"/>
                      <a:pt x="3248416" y="558431"/>
                      <a:pt x="3248416" y="536979"/>
                    </a:cubicBezTo>
                    <a:close/>
                    <a:moveTo>
                      <a:pt x="3248417" y="422344"/>
                    </a:moveTo>
                    <a:cubicBezTo>
                      <a:pt x="3248417" y="401140"/>
                      <a:pt x="3231155" y="383879"/>
                      <a:pt x="3209951" y="383879"/>
                    </a:cubicBezTo>
                    <a:cubicBezTo>
                      <a:pt x="3188743" y="383879"/>
                      <a:pt x="3171485" y="400892"/>
                      <a:pt x="3171485" y="422344"/>
                    </a:cubicBezTo>
                    <a:cubicBezTo>
                      <a:pt x="3171485" y="443796"/>
                      <a:pt x="3188743" y="461054"/>
                      <a:pt x="3209951" y="461054"/>
                    </a:cubicBezTo>
                    <a:cubicBezTo>
                      <a:pt x="3231404" y="461054"/>
                      <a:pt x="3248417" y="443550"/>
                      <a:pt x="3248417" y="422344"/>
                    </a:cubicBezTo>
                    <a:close/>
                    <a:moveTo>
                      <a:pt x="3248663" y="81405"/>
                    </a:moveTo>
                    <a:cubicBezTo>
                      <a:pt x="3248663" y="60447"/>
                      <a:pt x="3231650" y="43435"/>
                      <a:pt x="3210692" y="43435"/>
                    </a:cubicBezTo>
                    <a:cubicBezTo>
                      <a:pt x="3189730" y="43435"/>
                      <a:pt x="3172717" y="60447"/>
                      <a:pt x="3172717" y="81405"/>
                    </a:cubicBezTo>
                    <a:cubicBezTo>
                      <a:pt x="3172717" y="102364"/>
                      <a:pt x="3189730" y="119377"/>
                      <a:pt x="3210692" y="119377"/>
                    </a:cubicBezTo>
                    <a:cubicBezTo>
                      <a:pt x="3231650" y="119377"/>
                      <a:pt x="3248663" y="102364"/>
                      <a:pt x="3248663" y="81405"/>
                    </a:cubicBezTo>
                    <a:close/>
                    <a:moveTo>
                      <a:pt x="3248910" y="194557"/>
                    </a:moveTo>
                    <a:cubicBezTo>
                      <a:pt x="3248910" y="173351"/>
                      <a:pt x="3231650" y="156093"/>
                      <a:pt x="3210445" y="156093"/>
                    </a:cubicBezTo>
                    <a:cubicBezTo>
                      <a:pt x="3189238" y="156093"/>
                      <a:pt x="3171979" y="173351"/>
                      <a:pt x="3171979" y="194557"/>
                    </a:cubicBezTo>
                    <a:cubicBezTo>
                      <a:pt x="3171979" y="215760"/>
                      <a:pt x="3189238" y="233021"/>
                      <a:pt x="3210445" y="233021"/>
                    </a:cubicBezTo>
                    <a:cubicBezTo>
                      <a:pt x="3231650" y="233021"/>
                      <a:pt x="3248910" y="216009"/>
                      <a:pt x="3248910" y="194557"/>
                    </a:cubicBezTo>
                    <a:close/>
                    <a:moveTo>
                      <a:pt x="3251624" y="308449"/>
                    </a:moveTo>
                    <a:cubicBezTo>
                      <a:pt x="3251624" y="285768"/>
                      <a:pt x="3233130" y="267520"/>
                      <a:pt x="3210692" y="267520"/>
                    </a:cubicBezTo>
                    <a:cubicBezTo>
                      <a:pt x="3188255" y="267520"/>
                      <a:pt x="3170007" y="286013"/>
                      <a:pt x="3170007" y="308449"/>
                    </a:cubicBezTo>
                    <a:cubicBezTo>
                      <a:pt x="3170007" y="331135"/>
                      <a:pt x="3188255" y="349379"/>
                      <a:pt x="3210692" y="349379"/>
                    </a:cubicBezTo>
                    <a:cubicBezTo>
                      <a:pt x="3233130" y="349379"/>
                      <a:pt x="3251624" y="331135"/>
                      <a:pt x="3251624" y="308449"/>
                    </a:cubicBezTo>
                    <a:close/>
                    <a:moveTo>
                      <a:pt x="3252611" y="3389882"/>
                    </a:moveTo>
                    <a:cubicBezTo>
                      <a:pt x="3252611" y="3379769"/>
                      <a:pt x="3244475" y="3371628"/>
                      <a:pt x="3234363" y="3371628"/>
                    </a:cubicBezTo>
                    <a:cubicBezTo>
                      <a:pt x="3224254" y="3371628"/>
                      <a:pt x="3216118" y="3379769"/>
                      <a:pt x="3216118" y="3389882"/>
                    </a:cubicBezTo>
                    <a:cubicBezTo>
                      <a:pt x="3216118" y="3399989"/>
                      <a:pt x="3224254" y="3408128"/>
                      <a:pt x="3234363" y="3408128"/>
                    </a:cubicBezTo>
                    <a:cubicBezTo>
                      <a:pt x="3244475" y="3408128"/>
                      <a:pt x="3252611" y="3399989"/>
                      <a:pt x="3252611" y="3389882"/>
                    </a:cubicBezTo>
                    <a:close/>
                    <a:moveTo>
                      <a:pt x="3253102" y="3621881"/>
                    </a:moveTo>
                    <a:cubicBezTo>
                      <a:pt x="3253102" y="3608073"/>
                      <a:pt x="3242004" y="3596977"/>
                      <a:pt x="3228196" y="3596977"/>
                    </a:cubicBezTo>
                    <a:cubicBezTo>
                      <a:pt x="3214387" y="3596977"/>
                      <a:pt x="3203292" y="3608073"/>
                      <a:pt x="3203292" y="3621881"/>
                    </a:cubicBezTo>
                    <a:cubicBezTo>
                      <a:pt x="3203292" y="3635689"/>
                      <a:pt x="3214387" y="3646787"/>
                      <a:pt x="3228196" y="3646787"/>
                    </a:cubicBezTo>
                    <a:cubicBezTo>
                      <a:pt x="3242004" y="3646787"/>
                      <a:pt x="3253102" y="3635443"/>
                      <a:pt x="3253102" y="3621881"/>
                    </a:cubicBezTo>
                    <a:close/>
                    <a:moveTo>
                      <a:pt x="3253842" y="2287971"/>
                    </a:moveTo>
                    <a:cubicBezTo>
                      <a:pt x="3253842" y="2284270"/>
                      <a:pt x="3250881" y="2281310"/>
                      <a:pt x="3247184" y="2281310"/>
                    </a:cubicBezTo>
                    <a:cubicBezTo>
                      <a:pt x="3243485" y="2281310"/>
                      <a:pt x="3240526" y="2284270"/>
                      <a:pt x="3240526" y="2287971"/>
                    </a:cubicBezTo>
                    <a:cubicBezTo>
                      <a:pt x="3240526" y="2291666"/>
                      <a:pt x="3243485" y="2294628"/>
                      <a:pt x="3247184" y="2294628"/>
                    </a:cubicBezTo>
                    <a:cubicBezTo>
                      <a:pt x="3250881" y="2294628"/>
                      <a:pt x="3253594" y="2291666"/>
                      <a:pt x="3253842" y="2287971"/>
                    </a:cubicBezTo>
                    <a:close/>
                    <a:moveTo>
                      <a:pt x="3258774" y="3505991"/>
                    </a:moveTo>
                    <a:cubicBezTo>
                      <a:pt x="3258774" y="3494402"/>
                      <a:pt x="3249157" y="3484784"/>
                      <a:pt x="3237570" y="3484784"/>
                    </a:cubicBezTo>
                    <a:cubicBezTo>
                      <a:pt x="3225980" y="3484784"/>
                      <a:pt x="3216363" y="3494155"/>
                      <a:pt x="3216363" y="3505991"/>
                    </a:cubicBezTo>
                    <a:cubicBezTo>
                      <a:pt x="3216363" y="3517578"/>
                      <a:pt x="3225980" y="3527195"/>
                      <a:pt x="3237570" y="3527195"/>
                    </a:cubicBezTo>
                    <a:cubicBezTo>
                      <a:pt x="3249403" y="3527195"/>
                      <a:pt x="3258774" y="3517578"/>
                      <a:pt x="3258774" y="3505991"/>
                    </a:cubicBezTo>
                    <a:close/>
                    <a:moveTo>
                      <a:pt x="3275292" y="4160894"/>
                    </a:moveTo>
                    <a:cubicBezTo>
                      <a:pt x="3275292" y="4149799"/>
                      <a:pt x="3266415" y="4140922"/>
                      <a:pt x="3255320" y="4140922"/>
                    </a:cubicBezTo>
                    <a:cubicBezTo>
                      <a:pt x="3244225" y="4140922"/>
                      <a:pt x="3235349" y="4149799"/>
                      <a:pt x="3235349" y="4160894"/>
                    </a:cubicBezTo>
                    <a:cubicBezTo>
                      <a:pt x="3235349" y="4171993"/>
                      <a:pt x="3244225" y="4180869"/>
                      <a:pt x="3255320" y="4180869"/>
                    </a:cubicBezTo>
                    <a:cubicBezTo>
                      <a:pt x="3266170" y="4180869"/>
                      <a:pt x="3275292" y="4171744"/>
                      <a:pt x="3275292" y="4160894"/>
                    </a:cubicBezTo>
                    <a:close/>
                    <a:moveTo>
                      <a:pt x="3277267" y="2154333"/>
                    </a:moveTo>
                    <a:cubicBezTo>
                      <a:pt x="3277267" y="2143485"/>
                      <a:pt x="3268391" y="2134359"/>
                      <a:pt x="3257295" y="2134359"/>
                    </a:cubicBezTo>
                    <a:cubicBezTo>
                      <a:pt x="3246198" y="2134359"/>
                      <a:pt x="3237075" y="2143239"/>
                      <a:pt x="3237075" y="2154333"/>
                    </a:cubicBezTo>
                    <a:cubicBezTo>
                      <a:pt x="3237075" y="2165430"/>
                      <a:pt x="3246198" y="2174309"/>
                      <a:pt x="3257295" y="2174309"/>
                    </a:cubicBezTo>
                    <a:cubicBezTo>
                      <a:pt x="3268391" y="2174309"/>
                      <a:pt x="3277513" y="2165430"/>
                      <a:pt x="3277267" y="2154333"/>
                    </a:cubicBezTo>
                    <a:close/>
                    <a:moveTo>
                      <a:pt x="3280224" y="2023399"/>
                    </a:moveTo>
                    <a:cubicBezTo>
                      <a:pt x="3280224" y="2015259"/>
                      <a:pt x="3273568" y="2008851"/>
                      <a:pt x="3265678" y="2008851"/>
                    </a:cubicBezTo>
                    <a:cubicBezTo>
                      <a:pt x="3257787" y="2008851"/>
                      <a:pt x="3251375" y="2015508"/>
                      <a:pt x="3251375" y="2023399"/>
                    </a:cubicBezTo>
                    <a:cubicBezTo>
                      <a:pt x="3251375" y="2031290"/>
                      <a:pt x="3257787" y="2037701"/>
                      <a:pt x="3265678" y="2037701"/>
                    </a:cubicBezTo>
                    <a:cubicBezTo>
                      <a:pt x="3273568" y="2037701"/>
                      <a:pt x="3280224" y="2031290"/>
                      <a:pt x="3280224" y="2023399"/>
                    </a:cubicBezTo>
                    <a:close/>
                    <a:moveTo>
                      <a:pt x="3283678" y="3901251"/>
                    </a:moveTo>
                    <a:cubicBezTo>
                      <a:pt x="3283678" y="3891882"/>
                      <a:pt x="3276037" y="3884237"/>
                      <a:pt x="3266665" y="3884237"/>
                    </a:cubicBezTo>
                    <a:cubicBezTo>
                      <a:pt x="3257295" y="3884237"/>
                      <a:pt x="3249652" y="3891882"/>
                      <a:pt x="3249652" y="3901251"/>
                    </a:cubicBezTo>
                    <a:cubicBezTo>
                      <a:pt x="3249652" y="3910623"/>
                      <a:pt x="3257295" y="3918267"/>
                      <a:pt x="3266665" y="3918267"/>
                    </a:cubicBezTo>
                    <a:cubicBezTo>
                      <a:pt x="3276037" y="3918267"/>
                      <a:pt x="3283678" y="3910623"/>
                      <a:pt x="3283678" y="3901251"/>
                    </a:cubicBezTo>
                    <a:close/>
                    <a:moveTo>
                      <a:pt x="3284418" y="4526813"/>
                    </a:moveTo>
                    <a:cubicBezTo>
                      <a:pt x="3284418" y="4501169"/>
                      <a:pt x="3263459" y="4480210"/>
                      <a:pt x="3237567" y="4480210"/>
                    </a:cubicBezTo>
                    <a:cubicBezTo>
                      <a:pt x="3211923" y="4480210"/>
                      <a:pt x="3190964" y="4501169"/>
                      <a:pt x="3190964" y="4526813"/>
                    </a:cubicBezTo>
                    <a:cubicBezTo>
                      <a:pt x="3190964" y="4552702"/>
                      <a:pt x="3211923" y="4573663"/>
                      <a:pt x="3237567" y="4573663"/>
                    </a:cubicBezTo>
                    <a:cubicBezTo>
                      <a:pt x="3263210" y="4573663"/>
                      <a:pt x="3284169" y="4552702"/>
                      <a:pt x="3284418" y="4526813"/>
                    </a:cubicBezTo>
                    <a:close/>
                    <a:moveTo>
                      <a:pt x="3287623" y="3106325"/>
                    </a:moveTo>
                    <a:cubicBezTo>
                      <a:pt x="3287623" y="3105338"/>
                      <a:pt x="3286637" y="3104352"/>
                      <a:pt x="3285651" y="3104352"/>
                    </a:cubicBezTo>
                    <a:cubicBezTo>
                      <a:pt x="3284664" y="3104352"/>
                      <a:pt x="3283678" y="3105338"/>
                      <a:pt x="3283678" y="3106325"/>
                    </a:cubicBezTo>
                    <a:cubicBezTo>
                      <a:pt x="3283678" y="3107311"/>
                      <a:pt x="3284664" y="3108297"/>
                      <a:pt x="3285651" y="3108297"/>
                    </a:cubicBezTo>
                    <a:cubicBezTo>
                      <a:pt x="3286637" y="3108297"/>
                      <a:pt x="3287623" y="3107311"/>
                      <a:pt x="3287623" y="3106325"/>
                    </a:cubicBezTo>
                    <a:close/>
                    <a:moveTo>
                      <a:pt x="3290581" y="1497284"/>
                    </a:moveTo>
                    <a:cubicBezTo>
                      <a:pt x="3290581" y="1471888"/>
                      <a:pt x="3269869" y="1451173"/>
                      <a:pt x="3244474" y="1451173"/>
                    </a:cubicBezTo>
                    <a:cubicBezTo>
                      <a:pt x="3219076" y="1451173"/>
                      <a:pt x="3198363" y="1471888"/>
                      <a:pt x="3198363" y="1497284"/>
                    </a:cubicBezTo>
                    <a:cubicBezTo>
                      <a:pt x="3198363" y="1522687"/>
                      <a:pt x="3219076" y="1543395"/>
                      <a:pt x="3244474" y="1543395"/>
                    </a:cubicBezTo>
                    <a:cubicBezTo>
                      <a:pt x="3269869" y="1543395"/>
                      <a:pt x="3290581" y="1522687"/>
                      <a:pt x="3290581" y="1497284"/>
                    </a:cubicBezTo>
                    <a:close/>
                    <a:moveTo>
                      <a:pt x="3291813" y="1256656"/>
                    </a:moveTo>
                    <a:cubicBezTo>
                      <a:pt x="3291813" y="1233483"/>
                      <a:pt x="3272828" y="1214743"/>
                      <a:pt x="3249652" y="1214743"/>
                    </a:cubicBezTo>
                    <a:cubicBezTo>
                      <a:pt x="3226472" y="1214743"/>
                      <a:pt x="3207732" y="1233483"/>
                      <a:pt x="3207732" y="1256656"/>
                    </a:cubicBezTo>
                    <a:cubicBezTo>
                      <a:pt x="3207732" y="1279835"/>
                      <a:pt x="3226472" y="1298824"/>
                      <a:pt x="3249652" y="1298824"/>
                    </a:cubicBezTo>
                    <a:cubicBezTo>
                      <a:pt x="3273073" y="1298824"/>
                      <a:pt x="3291813" y="1279835"/>
                      <a:pt x="3291813" y="1256656"/>
                    </a:cubicBezTo>
                    <a:close/>
                    <a:moveTo>
                      <a:pt x="3292803" y="1376480"/>
                    </a:moveTo>
                    <a:cubicBezTo>
                      <a:pt x="3292803" y="1351328"/>
                      <a:pt x="3272336" y="1330861"/>
                      <a:pt x="3247184" y="1330861"/>
                    </a:cubicBezTo>
                    <a:cubicBezTo>
                      <a:pt x="3222035" y="1330861"/>
                      <a:pt x="3201569" y="1351328"/>
                      <a:pt x="3201569" y="1376480"/>
                    </a:cubicBezTo>
                    <a:cubicBezTo>
                      <a:pt x="3201569" y="1401631"/>
                      <a:pt x="3222035" y="1422098"/>
                      <a:pt x="3247184" y="1422098"/>
                    </a:cubicBezTo>
                    <a:cubicBezTo>
                      <a:pt x="3272336" y="1422098"/>
                      <a:pt x="3293050" y="1401631"/>
                      <a:pt x="3292803" y="1376480"/>
                    </a:cubicBezTo>
                    <a:close/>
                    <a:moveTo>
                      <a:pt x="3293788" y="5306241"/>
                    </a:moveTo>
                    <a:cubicBezTo>
                      <a:pt x="3293788" y="5304760"/>
                      <a:pt x="3292552" y="5303773"/>
                      <a:pt x="3291320" y="5303773"/>
                    </a:cubicBezTo>
                    <a:cubicBezTo>
                      <a:pt x="3290087" y="5303773"/>
                      <a:pt x="3289101" y="5305006"/>
                      <a:pt x="3289101" y="5306241"/>
                    </a:cubicBezTo>
                    <a:cubicBezTo>
                      <a:pt x="3289101" y="5307473"/>
                      <a:pt x="3290087" y="5308460"/>
                      <a:pt x="3291320" y="5308460"/>
                    </a:cubicBezTo>
                    <a:cubicBezTo>
                      <a:pt x="3292801" y="5308460"/>
                      <a:pt x="3293788" y="5307473"/>
                      <a:pt x="3293788" y="5306241"/>
                    </a:cubicBezTo>
                    <a:close/>
                    <a:moveTo>
                      <a:pt x="3295513" y="1020233"/>
                    </a:moveTo>
                    <a:cubicBezTo>
                      <a:pt x="3295513" y="997486"/>
                      <a:pt x="3277076" y="979047"/>
                      <a:pt x="3254335" y="979047"/>
                    </a:cubicBezTo>
                    <a:cubicBezTo>
                      <a:pt x="3231593" y="979047"/>
                      <a:pt x="3213156" y="997486"/>
                      <a:pt x="3213156" y="1020233"/>
                    </a:cubicBezTo>
                    <a:cubicBezTo>
                      <a:pt x="3213156" y="1042967"/>
                      <a:pt x="3231593" y="1061403"/>
                      <a:pt x="3254335" y="1061403"/>
                    </a:cubicBezTo>
                    <a:cubicBezTo>
                      <a:pt x="3277076" y="1061403"/>
                      <a:pt x="3295513" y="1042967"/>
                      <a:pt x="3295513" y="1020233"/>
                    </a:cubicBezTo>
                    <a:close/>
                    <a:moveTo>
                      <a:pt x="3295758" y="1138071"/>
                    </a:moveTo>
                    <a:cubicBezTo>
                      <a:pt x="3295758" y="1113905"/>
                      <a:pt x="3276281" y="1094430"/>
                      <a:pt x="3252116" y="1094430"/>
                    </a:cubicBezTo>
                    <a:cubicBezTo>
                      <a:pt x="3227953" y="1094430"/>
                      <a:pt x="3208472" y="1113905"/>
                      <a:pt x="3208472" y="1138071"/>
                    </a:cubicBezTo>
                    <a:cubicBezTo>
                      <a:pt x="3208472" y="1161991"/>
                      <a:pt x="3227953" y="1181718"/>
                      <a:pt x="3252116" y="1181718"/>
                    </a:cubicBezTo>
                    <a:cubicBezTo>
                      <a:pt x="3276281" y="1181718"/>
                      <a:pt x="3295758" y="1161991"/>
                      <a:pt x="3295758" y="1138071"/>
                    </a:cubicBezTo>
                    <a:close/>
                    <a:moveTo>
                      <a:pt x="3297237" y="2841263"/>
                    </a:moveTo>
                    <a:cubicBezTo>
                      <a:pt x="3297237" y="2833864"/>
                      <a:pt x="3291073" y="2827699"/>
                      <a:pt x="3283678" y="2827699"/>
                    </a:cubicBezTo>
                    <a:cubicBezTo>
                      <a:pt x="3276279" y="2827699"/>
                      <a:pt x="3270114" y="2833617"/>
                      <a:pt x="3270114" y="2841263"/>
                    </a:cubicBezTo>
                    <a:cubicBezTo>
                      <a:pt x="3270114" y="2848658"/>
                      <a:pt x="3276032" y="2854821"/>
                      <a:pt x="3283678" y="2854821"/>
                    </a:cubicBezTo>
                    <a:cubicBezTo>
                      <a:pt x="3291322" y="2854821"/>
                      <a:pt x="3297485" y="2848658"/>
                      <a:pt x="3297237" y="2841263"/>
                    </a:cubicBezTo>
                    <a:close/>
                    <a:moveTo>
                      <a:pt x="3297239" y="5181720"/>
                    </a:moveTo>
                    <a:cubicBezTo>
                      <a:pt x="3297239" y="5175308"/>
                      <a:pt x="3292060" y="5170131"/>
                      <a:pt x="3285650" y="5170131"/>
                    </a:cubicBezTo>
                    <a:cubicBezTo>
                      <a:pt x="3279238" y="5170131"/>
                      <a:pt x="3274060" y="5175308"/>
                      <a:pt x="3274060" y="5181720"/>
                    </a:cubicBezTo>
                    <a:cubicBezTo>
                      <a:pt x="3274060" y="5188130"/>
                      <a:pt x="3279238" y="5193310"/>
                      <a:pt x="3285650" y="5193310"/>
                    </a:cubicBezTo>
                    <a:cubicBezTo>
                      <a:pt x="3292060" y="5193310"/>
                      <a:pt x="3297485" y="5188130"/>
                      <a:pt x="3297239" y="5181720"/>
                    </a:cubicBezTo>
                    <a:close/>
                    <a:moveTo>
                      <a:pt x="3297977" y="4927255"/>
                    </a:moveTo>
                    <a:cubicBezTo>
                      <a:pt x="3297977" y="4912705"/>
                      <a:pt x="3286145" y="4900870"/>
                      <a:pt x="3271596" y="4900870"/>
                    </a:cubicBezTo>
                    <a:cubicBezTo>
                      <a:pt x="3257047" y="4900870"/>
                      <a:pt x="3245211" y="4912705"/>
                      <a:pt x="3245211" y="4927255"/>
                    </a:cubicBezTo>
                    <a:cubicBezTo>
                      <a:pt x="3245211" y="4941800"/>
                      <a:pt x="3257047" y="4953636"/>
                      <a:pt x="3271596" y="4953636"/>
                    </a:cubicBezTo>
                    <a:cubicBezTo>
                      <a:pt x="3286145" y="4953636"/>
                      <a:pt x="3297977" y="4941800"/>
                      <a:pt x="3297977" y="4927255"/>
                    </a:cubicBezTo>
                    <a:close/>
                    <a:moveTo>
                      <a:pt x="3300198" y="4663662"/>
                    </a:moveTo>
                    <a:cubicBezTo>
                      <a:pt x="3300198" y="4636540"/>
                      <a:pt x="3278008" y="4614347"/>
                      <a:pt x="3250883" y="4614347"/>
                    </a:cubicBezTo>
                    <a:cubicBezTo>
                      <a:pt x="3223761" y="4614347"/>
                      <a:pt x="3201569" y="4636540"/>
                      <a:pt x="3201569" y="4663662"/>
                    </a:cubicBezTo>
                    <a:cubicBezTo>
                      <a:pt x="3201569" y="4690787"/>
                      <a:pt x="3223761" y="4712977"/>
                      <a:pt x="3250883" y="4712977"/>
                    </a:cubicBezTo>
                    <a:cubicBezTo>
                      <a:pt x="3278254" y="4712977"/>
                      <a:pt x="3300198" y="4691033"/>
                      <a:pt x="3300198" y="4663662"/>
                    </a:cubicBezTo>
                    <a:close/>
                    <a:moveTo>
                      <a:pt x="3300444" y="903120"/>
                    </a:moveTo>
                    <a:cubicBezTo>
                      <a:pt x="3300444" y="878460"/>
                      <a:pt x="3280472" y="858489"/>
                      <a:pt x="3255815" y="858489"/>
                    </a:cubicBezTo>
                    <a:cubicBezTo>
                      <a:pt x="3231157" y="858489"/>
                      <a:pt x="3211185" y="878460"/>
                      <a:pt x="3211185" y="903120"/>
                    </a:cubicBezTo>
                    <a:cubicBezTo>
                      <a:pt x="3211185" y="927781"/>
                      <a:pt x="3231157" y="947754"/>
                      <a:pt x="3255815" y="947754"/>
                    </a:cubicBezTo>
                    <a:cubicBezTo>
                      <a:pt x="3280472" y="947754"/>
                      <a:pt x="3300444" y="927535"/>
                      <a:pt x="3300444" y="903120"/>
                    </a:cubicBezTo>
                    <a:close/>
                    <a:moveTo>
                      <a:pt x="3300445" y="786021"/>
                    </a:moveTo>
                    <a:cubicBezTo>
                      <a:pt x="3300445" y="761854"/>
                      <a:pt x="3280965" y="742133"/>
                      <a:pt x="3256799" y="742133"/>
                    </a:cubicBezTo>
                    <a:cubicBezTo>
                      <a:pt x="3232636" y="742133"/>
                      <a:pt x="3212909" y="761854"/>
                      <a:pt x="3212909" y="786021"/>
                    </a:cubicBezTo>
                    <a:cubicBezTo>
                      <a:pt x="3212909" y="810184"/>
                      <a:pt x="3232636" y="829912"/>
                      <a:pt x="3256799" y="829912"/>
                    </a:cubicBezTo>
                    <a:cubicBezTo>
                      <a:pt x="3280965" y="829912"/>
                      <a:pt x="3300692" y="810429"/>
                      <a:pt x="3300445" y="786021"/>
                    </a:cubicBezTo>
                    <a:close/>
                    <a:moveTo>
                      <a:pt x="3301431" y="670151"/>
                    </a:moveTo>
                    <a:cubicBezTo>
                      <a:pt x="3301431" y="646222"/>
                      <a:pt x="3281951" y="626711"/>
                      <a:pt x="3258035" y="626711"/>
                    </a:cubicBezTo>
                    <a:cubicBezTo>
                      <a:pt x="3234117" y="626711"/>
                      <a:pt x="3214637" y="646222"/>
                      <a:pt x="3214637" y="670151"/>
                    </a:cubicBezTo>
                    <a:cubicBezTo>
                      <a:pt x="3214637" y="694069"/>
                      <a:pt x="3234117" y="713545"/>
                      <a:pt x="3258035" y="713545"/>
                    </a:cubicBezTo>
                    <a:cubicBezTo>
                      <a:pt x="3281951" y="713545"/>
                      <a:pt x="3301431" y="694069"/>
                      <a:pt x="3301431" y="670151"/>
                    </a:cubicBezTo>
                    <a:close/>
                    <a:moveTo>
                      <a:pt x="3303404" y="5055225"/>
                    </a:moveTo>
                    <a:cubicBezTo>
                      <a:pt x="3303404" y="5042157"/>
                      <a:pt x="3292801" y="5031554"/>
                      <a:pt x="3279733" y="5031554"/>
                    </a:cubicBezTo>
                    <a:cubicBezTo>
                      <a:pt x="3266665" y="5031554"/>
                      <a:pt x="3256061" y="5042157"/>
                      <a:pt x="3256061" y="5055225"/>
                    </a:cubicBezTo>
                    <a:cubicBezTo>
                      <a:pt x="3256061" y="5068293"/>
                      <a:pt x="3266665" y="5078896"/>
                      <a:pt x="3279733" y="5078896"/>
                    </a:cubicBezTo>
                    <a:cubicBezTo>
                      <a:pt x="3292801" y="5078896"/>
                      <a:pt x="3303404" y="5068293"/>
                      <a:pt x="3303404" y="5055225"/>
                    </a:cubicBezTo>
                    <a:close/>
                    <a:moveTo>
                      <a:pt x="3306854" y="4797059"/>
                    </a:moveTo>
                    <a:cubicBezTo>
                      <a:pt x="3306854" y="4772402"/>
                      <a:pt x="3286882" y="4752430"/>
                      <a:pt x="3262224" y="4752430"/>
                    </a:cubicBezTo>
                    <a:cubicBezTo>
                      <a:pt x="3237567" y="4752430"/>
                      <a:pt x="3217595" y="4772402"/>
                      <a:pt x="3217595" y="4797059"/>
                    </a:cubicBezTo>
                    <a:cubicBezTo>
                      <a:pt x="3217595" y="4821717"/>
                      <a:pt x="3237567" y="4841689"/>
                      <a:pt x="3262224" y="4841689"/>
                    </a:cubicBezTo>
                    <a:cubicBezTo>
                      <a:pt x="3286882" y="4841689"/>
                      <a:pt x="3306854" y="4821717"/>
                      <a:pt x="3306854" y="4797059"/>
                    </a:cubicBezTo>
                    <a:close/>
                    <a:moveTo>
                      <a:pt x="3309567" y="5424843"/>
                    </a:moveTo>
                    <a:cubicBezTo>
                      <a:pt x="3309567" y="5421638"/>
                      <a:pt x="3307103" y="5419171"/>
                      <a:pt x="3303899" y="5419171"/>
                    </a:cubicBezTo>
                    <a:cubicBezTo>
                      <a:pt x="3300691" y="5419171"/>
                      <a:pt x="3298226" y="5421638"/>
                      <a:pt x="3298226" y="5424843"/>
                    </a:cubicBezTo>
                    <a:cubicBezTo>
                      <a:pt x="3298226" y="5428047"/>
                      <a:pt x="3300939" y="5430515"/>
                      <a:pt x="3303899" y="5430515"/>
                    </a:cubicBezTo>
                    <a:cubicBezTo>
                      <a:pt x="3307103" y="5430515"/>
                      <a:pt x="3309567" y="5427802"/>
                      <a:pt x="3309567" y="5424843"/>
                    </a:cubicBezTo>
                    <a:close/>
                    <a:moveTo>
                      <a:pt x="3309816" y="5546899"/>
                    </a:moveTo>
                    <a:cubicBezTo>
                      <a:pt x="3309816" y="5545666"/>
                      <a:pt x="3308828" y="5544680"/>
                      <a:pt x="3307595" y="5544680"/>
                    </a:cubicBezTo>
                    <a:cubicBezTo>
                      <a:pt x="3306363" y="5544680"/>
                      <a:pt x="3305376" y="5545666"/>
                      <a:pt x="3305376" y="5546899"/>
                    </a:cubicBezTo>
                    <a:cubicBezTo>
                      <a:pt x="3305376" y="5548380"/>
                      <a:pt x="3306363" y="5549366"/>
                      <a:pt x="3307595" y="5549366"/>
                    </a:cubicBezTo>
                    <a:cubicBezTo>
                      <a:pt x="3308828" y="5549366"/>
                      <a:pt x="3309816" y="5548380"/>
                      <a:pt x="3309816" y="5546899"/>
                    </a:cubicBezTo>
                    <a:close/>
                    <a:moveTo>
                      <a:pt x="3310307" y="4309334"/>
                    </a:moveTo>
                    <a:cubicBezTo>
                      <a:pt x="3310307" y="4294539"/>
                      <a:pt x="3298472" y="4282704"/>
                      <a:pt x="3283678" y="4282704"/>
                    </a:cubicBezTo>
                    <a:cubicBezTo>
                      <a:pt x="3269129" y="4282704"/>
                      <a:pt x="3257047" y="4294539"/>
                      <a:pt x="3257047" y="4309334"/>
                    </a:cubicBezTo>
                    <a:cubicBezTo>
                      <a:pt x="3257047" y="4324129"/>
                      <a:pt x="3269129" y="4335964"/>
                      <a:pt x="3283678" y="4335964"/>
                    </a:cubicBezTo>
                    <a:cubicBezTo>
                      <a:pt x="3298472" y="4335964"/>
                      <a:pt x="3310307" y="4324129"/>
                      <a:pt x="3310307" y="4309334"/>
                    </a:cubicBezTo>
                    <a:close/>
                    <a:moveTo>
                      <a:pt x="3314500" y="5788788"/>
                    </a:moveTo>
                    <a:cubicBezTo>
                      <a:pt x="3314500" y="5787426"/>
                      <a:pt x="3313393" y="5786323"/>
                      <a:pt x="3312032" y="5786323"/>
                    </a:cubicBezTo>
                    <a:cubicBezTo>
                      <a:pt x="3310670" y="5786323"/>
                      <a:pt x="3309567" y="5787426"/>
                      <a:pt x="3309567" y="5788788"/>
                    </a:cubicBezTo>
                    <a:cubicBezTo>
                      <a:pt x="3309567" y="5790152"/>
                      <a:pt x="3310670" y="5791254"/>
                      <a:pt x="3312032" y="5791254"/>
                    </a:cubicBezTo>
                    <a:cubicBezTo>
                      <a:pt x="3313396" y="5791254"/>
                      <a:pt x="3314500" y="5790152"/>
                      <a:pt x="3314500" y="5788788"/>
                    </a:cubicBezTo>
                    <a:close/>
                    <a:moveTo>
                      <a:pt x="3315734" y="5908625"/>
                    </a:moveTo>
                    <a:cubicBezTo>
                      <a:pt x="3315734" y="5907144"/>
                      <a:pt x="3314499" y="5905911"/>
                      <a:pt x="3313021" y="5905911"/>
                    </a:cubicBezTo>
                    <a:cubicBezTo>
                      <a:pt x="3311540" y="5905911"/>
                      <a:pt x="3310307" y="5907144"/>
                      <a:pt x="3310307" y="5908625"/>
                    </a:cubicBezTo>
                    <a:cubicBezTo>
                      <a:pt x="3310307" y="5910102"/>
                      <a:pt x="3311540" y="5911338"/>
                      <a:pt x="3313021" y="5911338"/>
                    </a:cubicBezTo>
                    <a:cubicBezTo>
                      <a:pt x="3314499" y="5911338"/>
                      <a:pt x="3315734" y="5910102"/>
                      <a:pt x="3315734" y="5908625"/>
                    </a:cubicBezTo>
                    <a:close/>
                    <a:moveTo>
                      <a:pt x="3317458" y="2510369"/>
                    </a:moveTo>
                    <a:cubicBezTo>
                      <a:pt x="3317458" y="2508149"/>
                      <a:pt x="3315730" y="2506423"/>
                      <a:pt x="3313513" y="2506423"/>
                    </a:cubicBezTo>
                    <a:cubicBezTo>
                      <a:pt x="3311294" y="2506423"/>
                      <a:pt x="3309567" y="2508149"/>
                      <a:pt x="3309567" y="2510369"/>
                    </a:cubicBezTo>
                    <a:cubicBezTo>
                      <a:pt x="3309567" y="2512588"/>
                      <a:pt x="3311294" y="2514315"/>
                      <a:pt x="3313513" y="2514315"/>
                    </a:cubicBezTo>
                    <a:cubicBezTo>
                      <a:pt x="3315730" y="2514315"/>
                      <a:pt x="3317458" y="2512341"/>
                      <a:pt x="3317458" y="2510369"/>
                    </a:cubicBezTo>
                    <a:close/>
                    <a:moveTo>
                      <a:pt x="3317459" y="3791525"/>
                    </a:moveTo>
                    <a:cubicBezTo>
                      <a:pt x="3317459" y="3783635"/>
                      <a:pt x="3311295" y="3777223"/>
                      <a:pt x="3303404" y="3777223"/>
                    </a:cubicBezTo>
                    <a:cubicBezTo>
                      <a:pt x="3295514" y="3777223"/>
                      <a:pt x="3289101" y="3783635"/>
                      <a:pt x="3289101" y="3791525"/>
                    </a:cubicBezTo>
                    <a:cubicBezTo>
                      <a:pt x="3289101" y="3799167"/>
                      <a:pt x="3295514" y="3805580"/>
                      <a:pt x="3303404" y="3805580"/>
                    </a:cubicBezTo>
                    <a:cubicBezTo>
                      <a:pt x="3311295" y="3805580"/>
                      <a:pt x="3317704" y="3799167"/>
                      <a:pt x="3317459" y="3791525"/>
                    </a:cubicBezTo>
                    <a:close/>
                    <a:moveTo>
                      <a:pt x="3317460" y="6026734"/>
                    </a:moveTo>
                    <a:cubicBezTo>
                      <a:pt x="3317460" y="6025501"/>
                      <a:pt x="3316471" y="6024515"/>
                      <a:pt x="3315240" y="6024515"/>
                    </a:cubicBezTo>
                    <a:cubicBezTo>
                      <a:pt x="3314007" y="6024515"/>
                      <a:pt x="3313021" y="6025501"/>
                      <a:pt x="3313021" y="6026734"/>
                    </a:cubicBezTo>
                    <a:cubicBezTo>
                      <a:pt x="3313021" y="6027968"/>
                      <a:pt x="3314007" y="6028951"/>
                      <a:pt x="3315240" y="6028951"/>
                    </a:cubicBezTo>
                    <a:cubicBezTo>
                      <a:pt x="3316471" y="6028951"/>
                      <a:pt x="3317460" y="6027968"/>
                      <a:pt x="3317460" y="6026734"/>
                    </a:cubicBezTo>
                    <a:close/>
                    <a:moveTo>
                      <a:pt x="3317949" y="6144106"/>
                    </a:moveTo>
                    <a:cubicBezTo>
                      <a:pt x="3317949" y="6143610"/>
                      <a:pt x="3317704" y="6143365"/>
                      <a:pt x="3317213" y="6143365"/>
                    </a:cubicBezTo>
                    <a:cubicBezTo>
                      <a:pt x="3316718" y="6143365"/>
                      <a:pt x="3316471" y="6143610"/>
                      <a:pt x="3316471" y="6144106"/>
                    </a:cubicBezTo>
                    <a:cubicBezTo>
                      <a:pt x="3316471" y="6144597"/>
                      <a:pt x="3316966" y="6144843"/>
                      <a:pt x="3317213" y="6144843"/>
                    </a:cubicBezTo>
                    <a:cubicBezTo>
                      <a:pt x="3317704" y="6144843"/>
                      <a:pt x="3317949" y="6144597"/>
                      <a:pt x="3317949" y="6144106"/>
                    </a:cubicBezTo>
                    <a:close/>
                    <a:moveTo>
                      <a:pt x="3317953" y="2689132"/>
                    </a:moveTo>
                    <a:cubicBezTo>
                      <a:pt x="3317953" y="2687652"/>
                      <a:pt x="3316718" y="2686419"/>
                      <a:pt x="3315240" y="2686419"/>
                    </a:cubicBezTo>
                    <a:cubicBezTo>
                      <a:pt x="3313759" y="2686419"/>
                      <a:pt x="3312526" y="2687652"/>
                      <a:pt x="3312526" y="2689132"/>
                    </a:cubicBezTo>
                    <a:cubicBezTo>
                      <a:pt x="3312526" y="2690609"/>
                      <a:pt x="3313759" y="2691842"/>
                      <a:pt x="3315240" y="2691842"/>
                    </a:cubicBezTo>
                    <a:cubicBezTo>
                      <a:pt x="3316718" y="2691842"/>
                      <a:pt x="3317953" y="2690609"/>
                      <a:pt x="3317953" y="2689132"/>
                    </a:cubicBezTo>
                    <a:close/>
                    <a:moveTo>
                      <a:pt x="3319922" y="6260981"/>
                    </a:moveTo>
                    <a:cubicBezTo>
                      <a:pt x="3319922" y="6260241"/>
                      <a:pt x="3319430" y="6259749"/>
                      <a:pt x="3318689" y="6259749"/>
                    </a:cubicBezTo>
                    <a:cubicBezTo>
                      <a:pt x="3317949" y="6259749"/>
                      <a:pt x="3317458" y="6260241"/>
                      <a:pt x="3317458" y="6260981"/>
                    </a:cubicBezTo>
                    <a:cubicBezTo>
                      <a:pt x="3317458" y="6261722"/>
                      <a:pt x="3317949" y="6262217"/>
                      <a:pt x="3318689" y="6262217"/>
                    </a:cubicBezTo>
                    <a:cubicBezTo>
                      <a:pt x="3319430" y="6262217"/>
                      <a:pt x="3319922" y="6261722"/>
                      <a:pt x="3319922" y="6260981"/>
                    </a:cubicBezTo>
                    <a:close/>
                    <a:moveTo>
                      <a:pt x="3319925" y="1894731"/>
                    </a:moveTo>
                    <a:cubicBezTo>
                      <a:pt x="3319925" y="1868358"/>
                      <a:pt x="3298472" y="1846912"/>
                      <a:pt x="3272088" y="1846912"/>
                    </a:cubicBezTo>
                    <a:cubicBezTo>
                      <a:pt x="3245706" y="1846912"/>
                      <a:pt x="3224253" y="1868358"/>
                      <a:pt x="3224253" y="1894731"/>
                    </a:cubicBezTo>
                    <a:cubicBezTo>
                      <a:pt x="3224253" y="1921107"/>
                      <a:pt x="3245706" y="1942551"/>
                      <a:pt x="3272088" y="1942551"/>
                    </a:cubicBezTo>
                    <a:cubicBezTo>
                      <a:pt x="3298472" y="1942551"/>
                      <a:pt x="3319925" y="1921107"/>
                      <a:pt x="3319925" y="1894731"/>
                    </a:cubicBezTo>
                    <a:close/>
                    <a:moveTo>
                      <a:pt x="3319925" y="5668706"/>
                    </a:moveTo>
                    <a:cubicBezTo>
                      <a:pt x="3319925" y="5663036"/>
                      <a:pt x="3315487" y="5658351"/>
                      <a:pt x="3309567" y="5658351"/>
                    </a:cubicBezTo>
                    <a:cubicBezTo>
                      <a:pt x="3303897" y="5658351"/>
                      <a:pt x="3299212" y="5663036"/>
                      <a:pt x="3299212" y="5668706"/>
                    </a:cubicBezTo>
                    <a:cubicBezTo>
                      <a:pt x="3299212" y="5674378"/>
                      <a:pt x="3303897" y="5679064"/>
                      <a:pt x="3309567" y="5679064"/>
                    </a:cubicBezTo>
                    <a:cubicBezTo>
                      <a:pt x="3315487" y="5679064"/>
                      <a:pt x="3319925" y="5674378"/>
                      <a:pt x="3319925" y="5668706"/>
                    </a:cubicBezTo>
                    <a:close/>
                    <a:moveTo>
                      <a:pt x="3320912" y="3217779"/>
                    </a:moveTo>
                    <a:cubicBezTo>
                      <a:pt x="3320912" y="3215807"/>
                      <a:pt x="3319185" y="3214080"/>
                      <a:pt x="3317213" y="3214080"/>
                    </a:cubicBezTo>
                    <a:cubicBezTo>
                      <a:pt x="3315240" y="3214080"/>
                      <a:pt x="3313513" y="3215807"/>
                      <a:pt x="3313513" y="3217779"/>
                    </a:cubicBezTo>
                    <a:cubicBezTo>
                      <a:pt x="3313513" y="3219751"/>
                      <a:pt x="3315240" y="3221479"/>
                      <a:pt x="3317213" y="3221479"/>
                    </a:cubicBezTo>
                    <a:cubicBezTo>
                      <a:pt x="3319185" y="3221479"/>
                      <a:pt x="3320912" y="3219751"/>
                      <a:pt x="3320912" y="3217779"/>
                    </a:cubicBezTo>
                    <a:close/>
                    <a:moveTo>
                      <a:pt x="3322143" y="1643742"/>
                    </a:moveTo>
                    <a:cubicBezTo>
                      <a:pt x="3322143" y="1622038"/>
                      <a:pt x="3304636" y="1604533"/>
                      <a:pt x="3282938" y="1604533"/>
                    </a:cubicBezTo>
                    <a:cubicBezTo>
                      <a:pt x="3261238" y="1604533"/>
                      <a:pt x="3243730" y="1622038"/>
                      <a:pt x="3243730" y="1643742"/>
                    </a:cubicBezTo>
                    <a:cubicBezTo>
                      <a:pt x="3243730" y="1665437"/>
                      <a:pt x="3261238" y="1682947"/>
                      <a:pt x="3282938" y="1682947"/>
                    </a:cubicBezTo>
                    <a:cubicBezTo>
                      <a:pt x="3304390" y="1682947"/>
                      <a:pt x="3322143" y="1665437"/>
                      <a:pt x="3322143" y="1643742"/>
                    </a:cubicBezTo>
                    <a:close/>
                    <a:moveTo>
                      <a:pt x="3324854" y="1768507"/>
                    </a:moveTo>
                    <a:cubicBezTo>
                      <a:pt x="3324854" y="1742849"/>
                      <a:pt x="3303896" y="1721876"/>
                      <a:pt x="3278252" y="1721876"/>
                    </a:cubicBezTo>
                    <a:cubicBezTo>
                      <a:pt x="3252608" y="1721876"/>
                      <a:pt x="3231650" y="1742849"/>
                      <a:pt x="3231650" y="1768507"/>
                    </a:cubicBezTo>
                    <a:cubicBezTo>
                      <a:pt x="3231650" y="1794161"/>
                      <a:pt x="3252608" y="1815127"/>
                      <a:pt x="3278252" y="1815127"/>
                    </a:cubicBezTo>
                    <a:cubicBezTo>
                      <a:pt x="3303896" y="1815127"/>
                      <a:pt x="3324854" y="1794410"/>
                      <a:pt x="3324854" y="1768507"/>
                    </a:cubicBezTo>
                    <a:close/>
                    <a:moveTo>
                      <a:pt x="3330528" y="6374652"/>
                    </a:moveTo>
                    <a:cubicBezTo>
                      <a:pt x="3330528" y="6372676"/>
                      <a:pt x="3329050" y="6371199"/>
                      <a:pt x="3327075" y="6371199"/>
                    </a:cubicBezTo>
                    <a:cubicBezTo>
                      <a:pt x="3325101" y="6371199"/>
                      <a:pt x="3323623" y="6372676"/>
                      <a:pt x="3323623" y="6374652"/>
                    </a:cubicBezTo>
                    <a:cubicBezTo>
                      <a:pt x="3323623" y="6376625"/>
                      <a:pt x="3325101" y="6378103"/>
                      <a:pt x="3327075" y="6378103"/>
                    </a:cubicBezTo>
                    <a:cubicBezTo>
                      <a:pt x="3329050" y="6378103"/>
                      <a:pt x="3330528" y="6376377"/>
                      <a:pt x="3330528" y="6374652"/>
                    </a:cubicBezTo>
                    <a:close/>
                    <a:moveTo>
                      <a:pt x="3331020" y="6606188"/>
                    </a:moveTo>
                    <a:cubicBezTo>
                      <a:pt x="3331020" y="6604707"/>
                      <a:pt x="3329788" y="6603475"/>
                      <a:pt x="3328310" y="6603475"/>
                    </a:cubicBezTo>
                    <a:cubicBezTo>
                      <a:pt x="3326829" y="6603475"/>
                      <a:pt x="3325597" y="6604707"/>
                      <a:pt x="3325597" y="6606188"/>
                    </a:cubicBezTo>
                    <a:cubicBezTo>
                      <a:pt x="3325597" y="6607665"/>
                      <a:pt x="3326829" y="6608901"/>
                      <a:pt x="3328310" y="6608901"/>
                    </a:cubicBezTo>
                    <a:cubicBezTo>
                      <a:pt x="3329788" y="6608901"/>
                      <a:pt x="3331020" y="6607665"/>
                      <a:pt x="3331020" y="6606188"/>
                    </a:cubicBezTo>
                    <a:close/>
                    <a:moveTo>
                      <a:pt x="3331512" y="6490542"/>
                    </a:moveTo>
                    <a:cubicBezTo>
                      <a:pt x="3331512" y="6488569"/>
                      <a:pt x="3330034" y="6487090"/>
                      <a:pt x="3328059" y="6487090"/>
                    </a:cubicBezTo>
                    <a:cubicBezTo>
                      <a:pt x="3326085" y="6487090"/>
                      <a:pt x="3324607" y="6488569"/>
                      <a:pt x="3324607" y="6490542"/>
                    </a:cubicBezTo>
                    <a:cubicBezTo>
                      <a:pt x="3324607" y="6492517"/>
                      <a:pt x="3326085" y="6493994"/>
                      <a:pt x="3328059" y="6493994"/>
                    </a:cubicBezTo>
                    <a:cubicBezTo>
                      <a:pt x="3329785" y="6493994"/>
                      <a:pt x="3331266" y="6492268"/>
                      <a:pt x="3331512" y="6490542"/>
                    </a:cubicBezTo>
                    <a:close/>
                    <a:moveTo>
                      <a:pt x="3332744" y="6720845"/>
                    </a:moveTo>
                    <a:cubicBezTo>
                      <a:pt x="3332744" y="6719118"/>
                      <a:pt x="3331266" y="6717640"/>
                      <a:pt x="3329539" y="6717640"/>
                    </a:cubicBezTo>
                    <a:cubicBezTo>
                      <a:pt x="3327813" y="6717640"/>
                      <a:pt x="3326334" y="6719118"/>
                      <a:pt x="3326334" y="6720845"/>
                    </a:cubicBezTo>
                    <a:cubicBezTo>
                      <a:pt x="3326334" y="6722572"/>
                      <a:pt x="3327813" y="6724050"/>
                      <a:pt x="3329539" y="6724050"/>
                    </a:cubicBezTo>
                    <a:cubicBezTo>
                      <a:pt x="3331266" y="6724050"/>
                      <a:pt x="3332744" y="6722817"/>
                      <a:pt x="3332744" y="6720845"/>
                    </a:cubicBezTo>
                    <a:close/>
                    <a:moveTo>
                      <a:pt x="3333239" y="4060787"/>
                    </a:moveTo>
                    <a:cubicBezTo>
                      <a:pt x="3333239" y="4049691"/>
                      <a:pt x="3324116" y="4040567"/>
                      <a:pt x="3313019" y="4040567"/>
                    </a:cubicBezTo>
                    <a:cubicBezTo>
                      <a:pt x="3301923" y="4040567"/>
                      <a:pt x="3292800" y="4049691"/>
                      <a:pt x="3292800" y="4060787"/>
                    </a:cubicBezTo>
                    <a:cubicBezTo>
                      <a:pt x="3292800" y="4071884"/>
                      <a:pt x="3301923" y="4081007"/>
                      <a:pt x="3313019" y="4081007"/>
                    </a:cubicBezTo>
                    <a:cubicBezTo>
                      <a:pt x="3324362" y="4081007"/>
                      <a:pt x="3333239" y="4071884"/>
                      <a:pt x="3333239" y="4060787"/>
                    </a:cubicBezTo>
                    <a:close/>
                    <a:moveTo>
                      <a:pt x="3333733" y="6835504"/>
                    </a:moveTo>
                    <a:cubicBezTo>
                      <a:pt x="3333733" y="6833528"/>
                      <a:pt x="3332007" y="6832050"/>
                      <a:pt x="3330280" y="6832050"/>
                    </a:cubicBezTo>
                    <a:cubicBezTo>
                      <a:pt x="3328556" y="6832050"/>
                      <a:pt x="3326829" y="6833528"/>
                      <a:pt x="3326829" y="6835504"/>
                    </a:cubicBezTo>
                    <a:cubicBezTo>
                      <a:pt x="3326829" y="6837477"/>
                      <a:pt x="3328310" y="6838955"/>
                      <a:pt x="3330280" y="6838955"/>
                    </a:cubicBezTo>
                    <a:cubicBezTo>
                      <a:pt x="3332255" y="6838955"/>
                      <a:pt x="3333980" y="6837477"/>
                      <a:pt x="3333733" y="6835504"/>
                    </a:cubicBezTo>
                    <a:close/>
                    <a:moveTo>
                      <a:pt x="3335952" y="6949664"/>
                    </a:moveTo>
                    <a:cubicBezTo>
                      <a:pt x="3335952" y="6947200"/>
                      <a:pt x="3333979" y="6944981"/>
                      <a:pt x="3331267" y="6944981"/>
                    </a:cubicBezTo>
                    <a:cubicBezTo>
                      <a:pt x="3328799" y="6944981"/>
                      <a:pt x="3326580" y="6946954"/>
                      <a:pt x="3326580" y="6949664"/>
                    </a:cubicBezTo>
                    <a:cubicBezTo>
                      <a:pt x="3326580" y="6952132"/>
                      <a:pt x="3328554" y="6954350"/>
                      <a:pt x="3331267" y="6954350"/>
                    </a:cubicBezTo>
                    <a:cubicBezTo>
                      <a:pt x="3333979" y="6954350"/>
                      <a:pt x="3335952" y="6952132"/>
                      <a:pt x="3335952" y="6949664"/>
                    </a:cubicBezTo>
                    <a:close/>
                    <a:moveTo>
                      <a:pt x="3336939" y="2368601"/>
                    </a:moveTo>
                    <a:cubicBezTo>
                      <a:pt x="3336939" y="2365397"/>
                      <a:pt x="3334226" y="2362680"/>
                      <a:pt x="3331021" y="2362680"/>
                    </a:cubicBezTo>
                    <a:cubicBezTo>
                      <a:pt x="3327816" y="2362680"/>
                      <a:pt x="3325102" y="2365397"/>
                      <a:pt x="3325102" y="2368601"/>
                    </a:cubicBezTo>
                    <a:cubicBezTo>
                      <a:pt x="3325102" y="2371803"/>
                      <a:pt x="3327816" y="2374515"/>
                      <a:pt x="3331021" y="2374515"/>
                    </a:cubicBezTo>
                    <a:cubicBezTo>
                      <a:pt x="3334474" y="2374515"/>
                      <a:pt x="3336939" y="2372050"/>
                      <a:pt x="3336939" y="2368601"/>
                    </a:cubicBezTo>
                    <a:close/>
                    <a:moveTo>
                      <a:pt x="3338419" y="7063584"/>
                    </a:moveTo>
                    <a:cubicBezTo>
                      <a:pt x="3338419" y="7060133"/>
                      <a:pt x="3335706" y="7057419"/>
                      <a:pt x="3332253" y="7057419"/>
                    </a:cubicBezTo>
                    <a:cubicBezTo>
                      <a:pt x="3328801" y="7057419"/>
                      <a:pt x="3326088" y="7060133"/>
                      <a:pt x="3326088" y="7063584"/>
                    </a:cubicBezTo>
                    <a:cubicBezTo>
                      <a:pt x="3326088" y="7067037"/>
                      <a:pt x="3328801" y="7069750"/>
                      <a:pt x="3332253" y="7069750"/>
                    </a:cubicBezTo>
                    <a:cubicBezTo>
                      <a:pt x="3335706" y="7069750"/>
                      <a:pt x="3338419" y="7066789"/>
                      <a:pt x="3338419" y="7063584"/>
                    </a:cubicBezTo>
                    <a:close/>
                    <a:moveTo>
                      <a:pt x="3340637" y="3678349"/>
                    </a:moveTo>
                    <a:cubicBezTo>
                      <a:pt x="3340637" y="3671937"/>
                      <a:pt x="3335457" y="3666759"/>
                      <a:pt x="3329047" y="3666759"/>
                    </a:cubicBezTo>
                    <a:cubicBezTo>
                      <a:pt x="3322635" y="3666759"/>
                      <a:pt x="3317458" y="3671937"/>
                      <a:pt x="3317458" y="3678349"/>
                    </a:cubicBezTo>
                    <a:cubicBezTo>
                      <a:pt x="3317458" y="3684758"/>
                      <a:pt x="3322635" y="3689939"/>
                      <a:pt x="3329047" y="3689939"/>
                    </a:cubicBezTo>
                    <a:cubicBezTo>
                      <a:pt x="3335457" y="3689939"/>
                      <a:pt x="3340637" y="3684758"/>
                      <a:pt x="3340637" y="3678349"/>
                    </a:cubicBezTo>
                    <a:close/>
                    <a:moveTo>
                      <a:pt x="3342607" y="7288709"/>
                    </a:moveTo>
                    <a:cubicBezTo>
                      <a:pt x="3342607" y="7286491"/>
                      <a:pt x="3340884" y="7284517"/>
                      <a:pt x="3338416" y="7284517"/>
                    </a:cubicBezTo>
                    <a:cubicBezTo>
                      <a:pt x="3336198" y="7284517"/>
                      <a:pt x="3334225" y="7286244"/>
                      <a:pt x="3334225" y="7288709"/>
                    </a:cubicBezTo>
                    <a:cubicBezTo>
                      <a:pt x="3334225" y="7290930"/>
                      <a:pt x="3335952" y="7292900"/>
                      <a:pt x="3338416" y="7292900"/>
                    </a:cubicBezTo>
                    <a:cubicBezTo>
                      <a:pt x="3340884" y="7292900"/>
                      <a:pt x="3342607" y="7291176"/>
                      <a:pt x="3342607" y="7288709"/>
                    </a:cubicBezTo>
                    <a:close/>
                    <a:moveTo>
                      <a:pt x="3343102" y="3331937"/>
                    </a:moveTo>
                    <a:cubicBezTo>
                      <a:pt x="3343102" y="3328735"/>
                      <a:pt x="3340391" y="3326268"/>
                      <a:pt x="3337432" y="3326268"/>
                    </a:cubicBezTo>
                    <a:cubicBezTo>
                      <a:pt x="3334225" y="3326268"/>
                      <a:pt x="3331760" y="3328735"/>
                      <a:pt x="3331760" y="3331937"/>
                    </a:cubicBezTo>
                    <a:cubicBezTo>
                      <a:pt x="3331760" y="3335145"/>
                      <a:pt x="3334473" y="3337611"/>
                      <a:pt x="3337432" y="3337611"/>
                    </a:cubicBezTo>
                    <a:cubicBezTo>
                      <a:pt x="3340391" y="3337611"/>
                      <a:pt x="3342855" y="3334898"/>
                      <a:pt x="3343102" y="3331937"/>
                    </a:cubicBezTo>
                    <a:close/>
                    <a:moveTo>
                      <a:pt x="3344580" y="7401640"/>
                    </a:moveTo>
                    <a:cubicBezTo>
                      <a:pt x="3344580" y="7398435"/>
                      <a:pt x="3342114" y="7395967"/>
                      <a:pt x="3338910" y="7395967"/>
                    </a:cubicBezTo>
                    <a:cubicBezTo>
                      <a:pt x="3335702" y="7395967"/>
                      <a:pt x="3333238" y="7398435"/>
                      <a:pt x="3333238" y="7401640"/>
                    </a:cubicBezTo>
                    <a:cubicBezTo>
                      <a:pt x="3333238" y="7404844"/>
                      <a:pt x="3335702" y="7407312"/>
                      <a:pt x="3338910" y="7407312"/>
                    </a:cubicBezTo>
                    <a:cubicBezTo>
                      <a:pt x="3342114" y="7407312"/>
                      <a:pt x="3344580" y="7404844"/>
                      <a:pt x="3344580" y="7401640"/>
                    </a:cubicBezTo>
                    <a:close/>
                    <a:moveTo>
                      <a:pt x="3345324" y="7175284"/>
                    </a:moveTo>
                    <a:cubicBezTo>
                      <a:pt x="3345324" y="7171339"/>
                      <a:pt x="3342115" y="7168134"/>
                      <a:pt x="3338171" y="7168134"/>
                    </a:cubicBezTo>
                    <a:cubicBezTo>
                      <a:pt x="3334226" y="7168134"/>
                      <a:pt x="3331020" y="7171339"/>
                      <a:pt x="3331020" y="7175284"/>
                    </a:cubicBezTo>
                    <a:cubicBezTo>
                      <a:pt x="3331020" y="7179229"/>
                      <a:pt x="3334226" y="7182434"/>
                      <a:pt x="3338171" y="7182434"/>
                    </a:cubicBezTo>
                    <a:cubicBezTo>
                      <a:pt x="3342115" y="7182434"/>
                      <a:pt x="3345324" y="7179229"/>
                      <a:pt x="3345324" y="7175284"/>
                    </a:cubicBezTo>
                    <a:close/>
                    <a:moveTo>
                      <a:pt x="3352967" y="3563197"/>
                    </a:moveTo>
                    <a:cubicBezTo>
                      <a:pt x="3352967" y="3557771"/>
                      <a:pt x="3348528" y="3553580"/>
                      <a:pt x="3343350" y="3553580"/>
                    </a:cubicBezTo>
                    <a:cubicBezTo>
                      <a:pt x="3337924" y="3553580"/>
                      <a:pt x="3333733" y="3558017"/>
                      <a:pt x="3333733" y="3563197"/>
                    </a:cubicBezTo>
                    <a:cubicBezTo>
                      <a:pt x="3333733" y="3568621"/>
                      <a:pt x="3338172" y="3572812"/>
                      <a:pt x="3343350" y="3572812"/>
                    </a:cubicBezTo>
                    <a:cubicBezTo>
                      <a:pt x="3348528" y="3572812"/>
                      <a:pt x="3352967" y="3568621"/>
                      <a:pt x="3352967" y="3563197"/>
                    </a:cubicBezTo>
                    <a:close/>
                    <a:moveTo>
                      <a:pt x="3353460" y="2943593"/>
                    </a:moveTo>
                    <a:cubicBezTo>
                      <a:pt x="3353460" y="2934468"/>
                      <a:pt x="3346061" y="2927317"/>
                      <a:pt x="3337185" y="2927317"/>
                    </a:cubicBezTo>
                    <a:cubicBezTo>
                      <a:pt x="3328061" y="2927317"/>
                      <a:pt x="3320912" y="2934717"/>
                      <a:pt x="3320912" y="2943593"/>
                    </a:cubicBezTo>
                    <a:cubicBezTo>
                      <a:pt x="3320912" y="2952715"/>
                      <a:pt x="3328310" y="2959866"/>
                      <a:pt x="3337185" y="2959866"/>
                    </a:cubicBezTo>
                    <a:cubicBezTo>
                      <a:pt x="3346310" y="2959866"/>
                      <a:pt x="3353460" y="2952715"/>
                      <a:pt x="3353460" y="2943593"/>
                    </a:cubicBezTo>
                    <a:close/>
                    <a:moveTo>
                      <a:pt x="3353705" y="3447338"/>
                    </a:moveTo>
                    <a:cubicBezTo>
                      <a:pt x="3353705" y="3443143"/>
                      <a:pt x="3350252" y="3439694"/>
                      <a:pt x="3346061" y="3439694"/>
                    </a:cubicBezTo>
                    <a:cubicBezTo>
                      <a:pt x="3341867" y="3439694"/>
                      <a:pt x="3338416" y="3443143"/>
                      <a:pt x="3338416" y="3447338"/>
                    </a:cubicBezTo>
                    <a:cubicBezTo>
                      <a:pt x="3338416" y="3451529"/>
                      <a:pt x="3341867" y="3454983"/>
                      <a:pt x="3346061" y="3454983"/>
                    </a:cubicBezTo>
                    <a:cubicBezTo>
                      <a:pt x="3350252" y="3454983"/>
                      <a:pt x="3353705" y="3451776"/>
                      <a:pt x="3353705" y="3447338"/>
                    </a:cubicBezTo>
                    <a:close/>
                    <a:moveTo>
                      <a:pt x="3358885" y="577661"/>
                    </a:moveTo>
                    <a:cubicBezTo>
                      <a:pt x="3358885" y="555716"/>
                      <a:pt x="3340886" y="537964"/>
                      <a:pt x="3318938" y="537964"/>
                    </a:cubicBezTo>
                    <a:cubicBezTo>
                      <a:pt x="3296994" y="537964"/>
                      <a:pt x="3279240" y="555716"/>
                      <a:pt x="3279240" y="577661"/>
                    </a:cubicBezTo>
                    <a:cubicBezTo>
                      <a:pt x="3279240" y="599607"/>
                      <a:pt x="3296994" y="617359"/>
                      <a:pt x="3318938" y="617359"/>
                    </a:cubicBezTo>
                    <a:cubicBezTo>
                      <a:pt x="3340886" y="617359"/>
                      <a:pt x="3358638" y="599358"/>
                      <a:pt x="3358885" y="577661"/>
                    </a:cubicBezTo>
                    <a:close/>
                    <a:moveTo>
                      <a:pt x="3359128" y="461794"/>
                    </a:moveTo>
                    <a:cubicBezTo>
                      <a:pt x="3359128" y="440097"/>
                      <a:pt x="3341375" y="422344"/>
                      <a:pt x="3319676" y="422344"/>
                    </a:cubicBezTo>
                    <a:cubicBezTo>
                      <a:pt x="3297732" y="422344"/>
                      <a:pt x="3279978" y="440097"/>
                      <a:pt x="3279978" y="461794"/>
                    </a:cubicBezTo>
                    <a:cubicBezTo>
                      <a:pt x="3279978" y="483492"/>
                      <a:pt x="3297732" y="501245"/>
                      <a:pt x="3319676" y="501245"/>
                    </a:cubicBezTo>
                    <a:cubicBezTo>
                      <a:pt x="3341375" y="501245"/>
                      <a:pt x="3359128" y="483492"/>
                      <a:pt x="3359128" y="461794"/>
                    </a:cubicBezTo>
                    <a:close/>
                    <a:moveTo>
                      <a:pt x="3360115" y="2527"/>
                    </a:moveTo>
                    <a:lnTo>
                      <a:pt x="3359063" y="0"/>
                    </a:lnTo>
                    <a:lnTo>
                      <a:pt x="3283742" y="0"/>
                    </a:lnTo>
                    <a:lnTo>
                      <a:pt x="3282691" y="2527"/>
                    </a:lnTo>
                    <a:cubicBezTo>
                      <a:pt x="3282691" y="23979"/>
                      <a:pt x="3300198" y="41237"/>
                      <a:pt x="3321402" y="41237"/>
                    </a:cubicBezTo>
                    <a:cubicBezTo>
                      <a:pt x="3342855" y="41237"/>
                      <a:pt x="3360115" y="23979"/>
                      <a:pt x="3360115" y="2527"/>
                    </a:cubicBezTo>
                    <a:close/>
                    <a:moveTo>
                      <a:pt x="3360115" y="116910"/>
                    </a:moveTo>
                    <a:cubicBezTo>
                      <a:pt x="3360115" y="95707"/>
                      <a:pt x="3342855" y="78199"/>
                      <a:pt x="3321402" y="78199"/>
                    </a:cubicBezTo>
                    <a:cubicBezTo>
                      <a:pt x="3300198" y="78199"/>
                      <a:pt x="3282691" y="95461"/>
                      <a:pt x="3282691" y="116910"/>
                    </a:cubicBezTo>
                    <a:cubicBezTo>
                      <a:pt x="3282691" y="138115"/>
                      <a:pt x="3299950" y="155623"/>
                      <a:pt x="3321402" y="155623"/>
                    </a:cubicBezTo>
                    <a:cubicBezTo>
                      <a:pt x="3342610" y="155623"/>
                      <a:pt x="3360115" y="138115"/>
                      <a:pt x="3360115" y="116910"/>
                    </a:cubicBezTo>
                    <a:close/>
                    <a:moveTo>
                      <a:pt x="3360117" y="231295"/>
                    </a:moveTo>
                    <a:cubicBezTo>
                      <a:pt x="3360117" y="209843"/>
                      <a:pt x="3342610" y="192090"/>
                      <a:pt x="3320912" y="192090"/>
                    </a:cubicBezTo>
                    <a:cubicBezTo>
                      <a:pt x="3299212" y="192090"/>
                      <a:pt x="3281704" y="209598"/>
                      <a:pt x="3281704" y="231295"/>
                    </a:cubicBezTo>
                    <a:cubicBezTo>
                      <a:pt x="3281704" y="252993"/>
                      <a:pt x="3299212" y="270500"/>
                      <a:pt x="3320912" y="270500"/>
                    </a:cubicBezTo>
                    <a:cubicBezTo>
                      <a:pt x="3342610" y="270500"/>
                      <a:pt x="3360117" y="252993"/>
                      <a:pt x="3360117" y="231295"/>
                    </a:cubicBezTo>
                    <a:close/>
                    <a:moveTo>
                      <a:pt x="3362089" y="346421"/>
                    </a:moveTo>
                    <a:cubicBezTo>
                      <a:pt x="3362089" y="323491"/>
                      <a:pt x="3343595" y="304999"/>
                      <a:pt x="3320665" y="304999"/>
                    </a:cubicBezTo>
                    <a:cubicBezTo>
                      <a:pt x="3297734" y="304999"/>
                      <a:pt x="3279240" y="323491"/>
                      <a:pt x="3279240" y="346421"/>
                    </a:cubicBezTo>
                    <a:cubicBezTo>
                      <a:pt x="3279240" y="369350"/>
                      <a:pt x="3297734" y="387843"/>
                      <a:pt x="3320665" y="387843"/>
                    </a:cubicBezTo>
                    <a:cubicBezTo>
                      <a:pt x="3343349" y="387843"/>
                      <a:pt x="3362089" y="369350"/>
                      <a:pt x="3362089" y="346421"/>
                    </a:cubicBezTo>
                    <a:close/>
                    <a:moveTo>
                      <a:pt x="3362090" y="4441005"/>
                    </a:moveTo>
                    <a:cubicBezTo>
                      <a:pt x="3362090" y="4415855"/>
                      <a:pt x="3341624" y="4395634"/>
                      <a:pt x="3316720" y="4395634"/>
                    </a:cubicBezTo>
                    <a:cubicBezTo>
                      <a:pt x="3291813" y="4395634"/>
                      <a:pt x="3271595" y="4416101"/>
                      <a:pt x="3271595" y="4441005"/>
                    </a:cubicBezTo>
                    <a:cubicBezTo>
                      <a:pt x="3271595" y="4466157"/>
                      <a:pt x="3291813" y="4486374"/>
                      <a:pt x="3316720" y="4486374"/>
                    </a:cubicBezTo>
                    <a:cubicBezTo>
                      <a:pt x="3341624" y="4486374"/>
                      <a:pt x="3361841" y="4466157"/>
                      <a:pt x="3362090" y="4441005"/>
                    </a:cubicBezTo>
                    <a:close/>
                    <a:moveTo>
                      <a:pt x="3366527" y="2230776"/>
                    </a:moveTo>
                    <a:cubicBezTo>
                      <a:pt x="3366527" y="2218941"/>
                      <a:pt x="3356912" y="2209319"/>
                      <a:pt x="3345077" y="2209319"/>
                    </a:cubicBezTo>
                    <a:cubicBezTo>
                      <a:pt x="3333241" y="2209319"/>
                      <a:pt x="3323623" y="2218941"/>
                      <a:pt x="3323623" y="2230776"/>
                    </a:cubicBezTo>
                    <a:cubicBezTo>
                      <a:pt x="3323623" y="2242614"/>
                      <a:pt x="3333241" y="2252227"/>
                      <a:pt x="3345077" y="2252227"/>
                    </a:cubicBezTo>
                    <a:cubicBezTo>
                      <a:pt x="3356912" y="2252227"/>
                      <a:pt x="3366527" y="2242614"/>
                      <a:pt x="3366527" y="2230776"/>
                    </a:cubicBezTo>
                    <a:close/>
                    <a:moveTo>
                      <a:pt x="3372198" y="2095900"/>
                    </a:moveTo>
                    <a:cubicBezTo>
                      <a:pt x="3372198" y="2087268"/>
                      <a:pt x="3365049" y="2080117"/>
                      <a:pt x="3356418" y="2080117"/>
                    </a:cubicBezTo>
                    <a:cubicBezTo>
                      <a:pt x="3347787" y="2080117"/>
                      <a:pt x="3340637" y="2087268"/>
                      <a:pt x="3340637" y="2095900"/>
                    </a:cubicBezTo>
                    <a:cubicBezTo>
                      <a:pt x="3340637" y="2104532"/>
                      <a:pt x="3347787" y="2111683"/>
                      <a:pt x="3356418" y="2111683"/>
                    </a:cubicBezTo>
                    <a:cubicBezTo>
                      <a:pt x="3365294" y="2111683"/>
                      <a:pt x="3372198" y="2104532"/>
                      <a:pt x="3372198" y="2095900"/>
                    </a:cubicBezTo>
                    <a:close/>
                    <a:moveTo>
                      <a:pt x="3375159" y="4214403"/>
                    </a:moveTo>
                    <a:cubicBezTo>
                      <a:pt x="3375159" y="4200103"/>
                      <a:pt x="3363569" y="4188759"/>
                      <a:pt x="3349515" y="4188759"/>
                    </a:cubicBezTo>
                    <a:cubicBezTo>
                      <a:pt x="3335214" y="4188759"/>
                      <a:pt x="3323871" y="4200349"/>
                      <a:pt x="3323871" y="4214403"/>
                    </a:cubicBezTo>
                    <a:cubicBezTo>
                      <a:pt x="3323871" y="4228458"/>
                      <a:pt x="3335460" y="4240047"/>
                      <a:pt x="3349515" y="4240047"/>
                    </a:cubicBezTo>
                    <a:cubicBezTo>
                      <a:pt x="3363569" y="4240047"/>
                      <a:pt x="3375159" y="4228458"/>
                      <a:pt x="3375159" y="4214403"/>
                    </a:cubicBezTo>
                    <a:close/>
                    <a:moveTo>
                      <a:pt x="3382063" y="2786529"/>
                    </a:moveTo>
                    <a:cubicBezTo>
                      <a:pt x="3382063" y="2783816"/>
                      <a:pt x="3379842" y="2781844"/>
                      <a:pt x="3377378" y="2781844"/>
                    </a:cubicBezTo>
                    <a:cubicBezTo>
                      <a:pt x="3374664" y="2781844"/>
                      <a:pt x="3372691" y="2784063"/>
                      <a:pt x="3372691" y="2786529"/>
                    </a:cubicBezTo>
                    <a:cubicBezTo>
                      <a:pt x="3372691" y="2789243"/>
                      <a:pt x="3374910" y="2791216"/>
                      <a:pt x="3377378" y="2791216"/>
                    </a:cubicBezTo>
                    <a:cubicBezTo>
                      <a:pt x="3380089" y="2791216"/>
                      <a:pt x="3382063" y="2788994"/>
                      <a:pt x="3382063" y="2786529"/>
                    </a:cubicBezTo>
                    <a:close/>
                    <a:moveTo>
                      <a:pt x="3382553" y="3955743"/>
                    </a:moveTo>
                    <a:cubicBezTo>
                      <a:pt x="3382553" y="3944155"/>
                      <a:pt x="3373186" y="3934785"/>
                      <a:pt x="3361596" y="3934785"/>
                    </a:cubicBezTo>
                    <a:cubicBezTo>
                      <a:pt x="3350005" y="3934785"/>
                      <a:pt x="3340637" y="3944155"/>
                      <a:pt x="3340637" y="3955743"/>
                    </a:cubicBezTo>
                    <a:cubicBezTo>
                      <a:pt x="3340637" y="3967333"/>
                      <a:pt x="3350005" y="3976701"/>
                      <a:pt x="3361596" y="3976701"/>
                    </a:cubicBezTo>
                    <a:cubicBezTo>
                      <a:pt x="3373186" y="3976701"/>
                      <a:pt x="3382553" y="3967333"/>
                      <a:pt x="3382553" y="3955743"/>
                    </a:cubicBezTo>
                    <a:close/>
                    <a:moveTo>
                      <a:pt x="3382800" y="4582786"/>
                    </a:moveTo>
                    <a:cubicBezTo>
                      <a:pt x="3382800" y="4556156"/>
                      <a:pt x="3361350" y="4534703"/>
                      <a:pt x="3334720" y="4534703"/>
                    </a:cubicBezTo>
                    <a:cubicBezTo>
                      <a:pt x="3308089" y="4534703"/>
                      <a:pt x="3286637" y="4556401"/>
                      <a:pt x="3286637" y="4582786"/>
                    </a:cubicBezTo>
                    <a:cubicBezTo>
                      <a:pt x="3286637" y="4609416"/>
                      <a:pt x="3308335" y="4630869"/>
                      <a:pt x="3334720" y="4630869"/>
                    </a:cubicBezTo>
                    <a:cubicBezTo>
                      <a:pt x="3361101" y="4630869"/>
                      <a:pt x="3382800" y="4609170"/>
                      <a:pt x="3382800" y="4582786"/>
                    </a:cubicBezTo>
                    <a:close/>
                    <a:moveTo>
                      <a:pt x="3389458" y="2601601"/>
                    </a:moveTo>
                    <a:cubicBezTo>
                      <a:pt x="3389458" y="2599629"/>
                      <a:pt x="3387980" y="2598150"/>
                      <a:pt x="3386004" y="2598150"/>
                    </a:cubicBezTo>
                    <a:cubicBezTo>
                      <a:pt x="3384031" y="2598150"/>
                      <a:pt x="3382553" y="2599877"/>
                      <a:pt x="3382553" y="2601601"/>
                    </a:cubicBezTo>
                    <a:cubicBezTo>
                      <a:pt x="3382553" y="2603578"/>
                      <a:pt x="3384031" y="2605055"/>
                      <a:pt x="3386004" y="2605055"/>
                    </a:cubicBezTo>
                    <a:cubicBezTo>
                      <a:pt x="3387980" y="2605055"/>
                      <a:pt x="3389458" y="2603578"/>
                      <a:pt x="3389458" y="2601601"/>
                    </a:cubicBezTo>
                    <a:close/>
                    <a:moveTo>
                      <a:pt x="3390693" y="5243610"/>
                    </a:moveTo>
                    <a:cubicBezTo>
                      <a:pt x="3390693" y="5242623"/>
                      <a:pt x="3389706" y="5241636"/>
                      <a:pt x="3388720" y="5241636"/>
                    </a:cubicBezTo>
                    <a:cubicBezTo>
                      <a:pt x="3387734" y="5241636"/>
                      <a:pt x="3386747" y="5242623"/>
                      <a:pt x="3386747" y="5243610"/>
                    </a:cubicBezTo>
                    <a:cubicBezTo>
                      <a:pt x="3386747" y="5244595"/>
                      <a:pt x="3387734" y="5245582"/>
                      <a:pt x="3388720" y="5245582"/>
                    </a:cubicBezTo>
                    <a:cubicBezTo>
                      <a:pt x="3389706" y="5245582"/>
                      <a:pt x="3390693" y="5244595"/>
                      <a:pt x="3390693" y="5243610"/>
                    </a:cubicBezTo>
                    <a:close/>
                    <a:moveTo>
                      <a:pt x="3392171" y="1555228"/>
                    </a:moveTo>
                    <a:cubicBezTo>
                      <a:pt x="3392171" y="1529587"/>
                      <a:pt x="3371458" y="1508873"/>
                      <a:pt x="3345814" y="1508873"/>
                    </a:cubicBezTo>
                    <a:cubicBezTo>
                      <a:pt x="3320172" y="1508873"/>
                      <a:pt x="3299458" y="1529587"/>
                      <a:pt x="3299458" y="1555228"/>
                    </a:cubicBezTo>
                    <a:cubicBezTo>
                      <a:pt x="3299458" y="1580868"/>
                      <a:pt x="3320172" y="1601585"/>
                      <a:pt x="3345814" y="1601585"/>
                    </a:cubicBezTo>
                    <a:cubicBezTo>
                      <a:pt x="3371213" y="1601585"/>
                      <a:pt x="3392171" y="1580623"/>
                      <a:pt x="3392171" y="1555228"/>
                    </a:cubicBezTo>
                    <a:close/>
                    <a:moveTo>
                      <a:pt x="3394885" y="4854511"/>
                    </a:moveTo>
                    <a:cubicBezTo>
                      <a:pt x="3394885" y="4836512"/>
                      <a:pt x="3380087" y="4821717"/>
                      <a:pt x="3362088" y="4821717"/>
                    </a:cubicBezTo>
                    <a:cubicBezTo>
                      <a:pt x="3344089" y="4821717"/>
                      <a:pt x="3329294" y="4836512"/>
                      <a:pt x="3329294" y="4854511"/>
                    </a:cubicBezTo>
                    <a:cubicBezTo>
                      <a:pt x="3329294" y="4872510"/>
                      <a:pt x="3344089" y="4887308"/>
                      <a:pt x="3362088" y="4887308"/>
                    </a:cubicBezTo>
                    <a:cubicBezTo>
                      <a:pt x="3380336" y="4887308"/>
                      <a:pt x="3394885" y="4872510"/>
                      <a:pt x="3394885" y="4854511"/>
                    </a:cubicBezTo>
                    <a:close/>
                    <a:moveTo>
                      <a:pt x="3395867" y="1431710"/>
                    </a:moveTo>
                    <a:cubicBezTo>
                      <a:pt x="3395867" y="1406313"/>
                      <a:pt x="3375155" y="1385601"/>
                      <a:pt x="3349760" y="1385601"/>
                    </a:cubicBezTo>
                    <a:cubicBezTo>
                      <a:pt x="3324362" y="1385601"/>
                      <a:pt x="3303650" y="1406313"/>
                      <a:pt x="3303650" y="1431710"/>
                    </a:cubicBezTo>
                    <a:cubicBezTo>
                      <a:pt x="3303650" y="1456858"/>
                      <a:pt x="3324362" y="1477571"/>
                      <a:pt x="3349760" y="1477571"/>
                    </a:cubicBezTo>
                    <a:cubicBezTo>
                      <a:pt x="3375155" y="1477571"/>
                      <a:pt x="3395867" y="1457107"/>
                      <a:pt x="3395867" y="1431710"/>
                    </a:cubicBezTo>
                    <a:close/>
                    <a:moveTo>
                      <a:pt x="3395871" y="4720131"/>
                    </a:moveTo>
                    <a:cubicBezTo>
                      <a:pt x="3395871" y="4694979"/>
                      <a:pt x="3375159" y="4674266"/>
                      <a:pt x="3349763" y="4674266"/>
                    </a:cubicBezTo>
                    <a:cubicBezTo>
                      <a:pt x="3324612" y="4674266"/>
                      <a:pt x="3303899" y="4694732"/>
                      <a:pt x="3303899" y="4720131"/>
                    </a:cubicBezTo>
                    <a:cubicBezTo>
                      <a:pt x="3303899" y="4745526"/>
                      <a:pt x="3324364" y="4766238"/>
                      <a:pt x="3349763" y="4766238"/>
                    </a:cubicBezTo>
                    <a:cubicBezTo>
                      <a:pt x="3375159" y="4766238"/>
                      <a:pt x="3395625" y="4745526"/>
                      <a:pt x="3395871" y="4720131"/>
                    </a:cubicBezTo>
                    <a:close/>
                    <a:moveTo>
                      <a:pt x="3396611" y="1309673"/>
                    </a:moveTo>
                    <a:cubicBezTo>
                      <a:pt x="3396611" y="1285991"/>
                      <a:pt x="3377129" y="1266515"/>
                      <a:pt x="3353459" y="1266515"/>
                    </a:cubicBezTo>
                    <a:cubicBezTo>
                      <a:pt x="3329788" y="1266515"/>
                      <a:pt x="3310307" y="1285743"/>
                      <a:pt x="3310307" y="1309673"/>
                    </a:cubicBezTo>
                    <a:cubicBezTo>
                      <a:pt x="3310307" y="1333348"/>
                      <a:pt x="3329539" y="1352823"/>
                      <a:pt x="3353459" y="1352823"/>
                    </a:cubicBezTo>
                    <a:cubicBezTo>
                      <a:pt x="3377129" y="1352823"/>
                      <a:pt x="3396611" y="1333593"/>
                      <a:pt x="3396611" y="1309673"/>
                    </a:cubicBezTo>
                    <a:close/>
                    <a:moveTo>
                      <a:pt x="3399815" y="3050607"/>
                    </a:moveTo>
                    <a:cubicBezTo>
                      <a:pt x="3399815" y="3040249"/>
                      <a:pt x="3391433" y="3031867"/>
                      <a:pt x="3381075" y="3031867"/>
                    </a:cubicBezTo>
                    <a:cubicBezTo>
                      <a:pt x="3370717" y="3031867"/>
                      <a:pt x="3362336" y="3040249"/>
                      <a:pt x="3362336" y="3050607"/>
                    </a:cubicBezTo>
                    <a:cubicBezTo>
                      <a:pt x="3362336" y="3060962"/>
                      <a:pt x="3370717" y="3069347"/>
                      <a:pt x="3381075" y="3069347"/>
                    </a:cubicBezTo>
                    <a:cubicBezTo>
                      <a:pt x="3391433" y="3069347"/>
                      <a:pt x="3399815" y="3060962"/>
                      <a:pt x="3399815" y="3050607"/>
                    </a:cubicBezTo>
                    <a:close/>
                    <a:moveTo>
                      <a:pt x="3399816" y="4985938"/>
                    </a:moveTo>
                    <a:cubicBezTo>
                      <a:pt x="3399816" y="4971143"/>
                      <a:pt x="3387732" y="4959061"/>
                      <a:pt x="3372936" y="4959061"/>
                    </a:cubicBezTo>
                    <a:cubicBezTo>
                      <a:pt x="3358142" y="4959061"/>
                      <a:pt x="3346060" y="4971143"/>
                      <a:pt x="3346060" y="4985938"/>
                    </a:cubicBezTo>
                    <a:cubicBezTo>
                      <a:pt x="3346060" y="5000733"/>
                      <a:pt x="3358142" y="5012814"/>
                      <a:pt x="3372936" y="5012814"/>
                    </a:cubicBezTo>
                    <a:cubicBezTo>
                      <a:pt x="3387732" y="5012814"/>
                      <a:pt x="3399568" y="5000978"/>
                      <a:pt x="3399816" y="4985938"/>
                    </a:cubicBezTo>
                    <a:close/>
                    <a:moveTo>
                      <a:pt x="3400061" y="5116130"/>
                    </a:moveTo>
                    <a:cubicBezTo>
                      <a:pt x="3400061" y="5105775"/>
                      <a:pt x="3391679" y="5097144"/>
                      <a:pt x="3381076" y="5097144"/>
                    </a:cubicBezTo>
                    <a:cubicBezTo>
                      <a:pt x="3370721" y="5097144"/>
                      <a:pt x="3362090" y="5105529"/>
                      <a:pt x="3362090" y="5116130"/>
                    </a:cubicBezTo>
                    <a:cubicBezTo>
                      <a:pt x="3362090" y="5126488"/>
                      <a:pt x="3370472" y="5135119"/>
                      <a:pt x="3381076" y="5135119"/>
                    </a:cubicBezTo>
                    <a:cubicBezTo>
                      <a:pt x="3391679" y="5135119"/>
                      <a:pt x="3400311" y="5126488"/>
                      <a:pt x="3400061" y="5116130"/>
                    </a:cubicBezTo>
                    <a:close/>
                    <a:moveTo>
                      <a:pt x="3401048" y="1188868"/>
                    </a:moveTo>
                    <a:cubicBezTo>
                      <a:pt x="3401048" y="1164457"/>
                      <a:pt x="3381076" y="1144479"/>
                      <a:pt x="3356664" y="1144479"/>
                    </a:cubicBezTo>
                    <a:cubicBezTo>
                      <a:pt x="3332253" y="1144479"/>
                      <a:pt x="3312281" y="1164457"/>
                      <a:pt x="3312281" y="1188868"/>
                    </a:cubicBezTo>
                    <a:cubicBezTo>
                      <a:pt x="3312281" y="1213281"/>
                      <a:pt x="3332253" y="1233254"/>
                      <a:pt x="3356664" y="1233254"/>
                    </a:cubicBezTo>
                    <a:cubicBezTo>
                      <a:pt x="3381076" y="1233254"/>
                      <a:pt x="3401048" y="1213281"/>
                      <a:pt x="3401048" y="1188868"/>
                    </a:cubicBezTo>
                    <a:close/>
                    <a:moveTo>
                      <a:pt x="3402034" y="1069049"/>
                    </a:moveTo>
                    <a:cubicBezTo>
                      <a:pt x="3402034" y="1045623"/>
                      <a:pt x="3383048" y="1026638"/>
                      <a:pt x="3359623" y="1026638"/>
                    </a:cubicBezTo>
                    <a:cubicBezTo>
                      <a:pt x="3336198" y="1026638"/>
                      <a:pt x="3317211" y="1045623"/>
                      <a:pt x="3317211" y="1069049"/>
                    </a:cubicBezTo>
                    <a:cubicBezTo>
                      <a:pt x="3317211" y="1092477"/>
                      <a:pt x="3336198" y="1111458"/>
                      <a:pt x="3359623" y="1111458"/>
                    </a:cubicBezTo>
                    <a:cubicBezTo>
                      <a:pt x="3383048" y="1111458"/>
                      <a:pt x="3402034" y="1092477"/>
                      <a:pt x="3402034" y="1069049"/>
                    </a:cubicBezTo>
                    <a:close/>
                    <a:moveTo>
                      <a:pt x="3406965" y="949972"/>
                    </a:moveTo>
                    <a:cubicBezTo>
                      <a:pt x="3406965" y="925069"/>
                      <a:pt x="3386747" y="904837"/>
                      <a:pt x="3361844" y="904837"/>
                    </a:cubicBezTo>
                    <a:cubicBezTo>
                      <a:pt x="3336938" y="904837"/>
                      <a:pt x="3316720" y="925069"/>
                      <a:pt x="3316720" y="949972"/>
                    </a:cubicBezTo>
                    <a:cubicBezTo>
                      <a:pt x="3316720" y="974876"/>
                      <a:pt x="3336938" y="995097"/>
                      <a:pt x="3361844" y="995097"/>
                    </a:cubicBezTo>
                    <a:cubicBezTo>
                      <a:pt x="3386747" y="995097"/>
                      <a:pt x="3406965" y="974876"/>
                      <a:pt x="3406965" y="949972"/>
                    </a:cubicBezTo>
                    <a:close/>
                    <a:moveTo>
                      <a:pt x="3407459" y="831390"/>
                    </a:moveTo>
                    <a:cubicBezTo>
                      <a:pt x="3407459" y="806975"/>
                      <a:pt x="3387734" y="787003"/>
                      <a:pt x="3363322" y="787003"/>
                    </a:cubicBezTo>
                    <a:cubicBezTo>
                      <a:pt x="3338910" y="787003"/>
                      <a:pt x="3318938" y="806975"/>
                      <a:pt x="3318938" y="831390"/>
                    </a:cubicBezTo>
                    <a:cubicBezTo>
                      <a:pt x="3318938" y="855547"/>
                      <a:pt x="3338910" y="875517"/>
                      <a:pt x="3363322" y="875517"/>
                    </a:cubicBezTo>
                    <a:cubicBezTo>
                      <a:pt x="3387734" y="875517"/>
                      <a:pt x="3407705" y="855794"/>
                      <a:pt x="3407459" y="831390"/>
                    </a:cubicBezTo>
                    <a:close/>
                    <a:moveTo>
                      <a:pt x="3408938" y="1963505"/>
                    </a:moveTo>
                    <a:cubicBezTo>
                      <a:pt x="3408938" y="1939841"/>
                      <a:pt x="3389704" y="1920369"/>
                      <a:pt x="3365787" y="1920369"/>
                    </a:cubicBezTo>
                    <a:cubicBezTo>
                      <a:pt x="3342115" y="1920369"/>
                      <a:pt x="3322635" y="1939593"/>
                      <a:pt x="3322635" y="1963505"/>
                    </a:cubicBezTo>
                    <a:cubicBezTo>
                      <a:pt x="3322635" y="1987169"/>
                      <a:pt x="3341867" y="2006642"/>
                      <a:pt x="3365787" y="2006642"/>
                    </a:cubicBezTo>
                    <a:cubicBezTo>
                      <a:pt x="3389458" y="2006642"/>
                      <a:pt x="3408938" y="1987169"/>
                      <a:pt x="3408938" y="1963505"/>
                    </a:cubicBezTo>
                    <a:close/>
                    <a:moveTo>
                      <a:pt x="3409184" y="713790"/>
                    </a:moveTo>
                    <a:cubicBezTo>
                      <a:pt x="3409184" y="689630"/>
                      <a:pt x="3389459" y="669904"/>
                      <a:pt x="3365295" y="669904"/>
                    </a:cubicBezTo>
                    <a:cubicBezTo>
                      <a:pt x="3341129" y="669904"/>
                      <a:pt x="3321402" y="689630"/>
                      <a:pt x="3321402" y="713790"/>
                    </a:cubicBezTo>
                    <a:cubicBezTo>
                      <a:pt x="3321402" y="737957"/>
                      <a:pt x="3341129" y="757683"/>
                      <a:pt x="3365295" y="757683"/>
                    </a:cubicBezTo>
                    <a:cubicBezTo>
                      <a:pt x="3389459" y="757683"/>
                      <a:pt x="3409184" y="737957"/>
                      <a:pt x="3409184" y="713790"/>
                    </a:cubicBezTo>
                    <a:close/>
                    <a:moveTo>
                      <a:pt x="3409432" y="5363938"/>
                    </a:moveTo>
                    <a:cubicBezTo>
                      <a:pt x="3409432" y="5360487"/>
                      <a:pt x="3406719" y="5357774"/>
                      <a:pt x="3403266" y="5357774"/>
                    </a:cubicBezTo>
                    <a:cubicBezTo>
                      <a:pt x="3399815" y="5357774"/>
                      <a:pt x="3397101" y="5360487"/>
                      <a:pt x="3397101" y="5363938"/>
                    </a:cubicBezTo>
                    <a:cubicBezTo>
                      <a:pt x="3397101" y="5367391"/>
                      <a:pt x="3399815" y="5370104"/>
                      <a:pt x="3403266" y="5370104"/>
                    </a:cubicBezTo>
                    <a:cubicBezTo>
                      <a:pt x="3406719" y="5370104"/>
                      <a:pt x="3409432" y="5367391"/>
                      <a:pt x="3409432" y="5363938"/>
                    </a:cubicBezTo>
                    <a:close/>
                    <a:moveTo>
                      <a:pt x="3410170" y="5488953"/>
                    </a:moveTo>
                    <a:cubicBezTo>
                      <a:pt x="3410170" y="5487966"/>
                      <a:pt x="3409184" y="5486980"/>
                      <a:pt x="3408197" y="5486980"/>
                    </a:cubicBezTo>
                    <a:cubicBezTo>
                      <a:pt x="3407211" y="5486980"/>
                      <a:pt x="3406225" y="5487966"/>
                      <a:pt x="3406225" y="5488953"/>
                    </a:cubicBezTo>
                    <a:cubicBezTo>
                      <a:pt x="3406225" y="5489939"/>
                      <a:pt x="3407211" y="5490925"/>
                      <a:pt x="3408197" y="5490925"/>
                    </a:cubicBezTo>
                    <a:cubicBezTo>
                      <a:pt x="3409430" y="5490925"/>
                      <a:pt x="3410416" y="5489939"/>
                      <a:pt x="3410170" y="5488953"/>
                    </a:cubicBezTo>
                    <a:close/>
                    <a:moveTo>
                      <a:pt x="3414857" y="2455145"/>
                    </a:moveTo>
                    <a:cubicBezTo>
                      <a:pt x="3414857" y="2451940"/>
                      <a:pt x="3412144" y="2449228"/>
                      <a:pt x="3408938" y="2449228"/>
                    </a:cubicBezTo>
                    <a:cubicBezTo>
                      <a:pt x="3405733" y="2449228"/>
                      <a:pt x="3403020" y="2451940"/>
                      <a:pt x="3403020" y="2455145"/>
                    </a:cubicBezTo>
                    <a:cubicBezTo>
                      <a:pt x="3403020" y="2458349"/>
                      <a:pt x="3405733" y="2461063"/>
                      <a:pt x="3408938" y="2461063"/>
                    </a:cubicBezTo>
                    <a:cubicBezTo>
                      <a:pt x="3412144" y="2461063"/>
                      <a:pt x="3414857" y="2458597"/>
                      <a:pt x="3414857" y="2455145"/>
                    </a:cubicBezTo>
                    <a:close/>
                    <a:moveTo>
                      <a:pt x="3417569" y="5735528"/>
                    </a:moveTo>
                    <a:cubicBezTo>
                      <a:pt x="3417569" y="5734293"/>
                      <a:pt x="3416583" y="5733061"/>
                      <a:pt x="3415102" y="5733061"/>
                    </a:cubicBezTo>
                    <a:cubicBezTo>
                      <a:pt x="3413869" y="5733061"/>
                      <a:pt x="3412637" y="5734048"/>
                      <a:pt x="3412637" y="5735528"/>
                    </a:cubicBezTo>
                    <a:cubicBezTo>
                      <a:pt x="3412637" y="5736760"/>
                      <a:pt x="3413624" y="5737992"/>
                      <a:pt x="3415102" y="5737992"/>
                    </a:cubicBezTo>
                    <a:cubicBezTo>
                      <a:pt x="3416583" y="5737992"/>
                      <a:pt x="3417815" y="5736760"/>
                      <a:pt x="3417569" y="5735528"/>
                    </a:cubicBezTo>
                    <a:close/>
                    <a:moveTo>
                      <a:pt x="3418802" y="1706121"/>
                    </a:moveTo>
                    <a:cubicBezTo>
                      <a:pt x="3418802" y="1684915"/>
                      <a:pt x="3401539" y="1667653"/>
                      <a:pt x="3380335" y="1667653"/>
                    </a:cubicBezTo>
                    <a:cubicBezTo>
                      <a:pt x="3359131" y="1667653"/>
                      <a:pt x="3341869" y="1684915"/>
                      <a:pt x="3341869" y="1706121"/>
                    </a:cubicBezTo>
                    <a:cubicBezTo>
                      <a:pt x="3341869" y="1727315"/>
                      <a:pt x="3359131" y="1744591"/>
                      <a:pt x="3380335" y="1744591"/>
                    </a:cubicBezTo>
                    <a:cubicBezTo>
                      <a:pt x="3401788" y="1744591"/>
                      <a:pt x="3419047" y="1727315"/>
                      <a:pt x="3418802" y="1706121"/>
                    </a:cubicBezTo>
                    <a:close/>
                    <a:moveTo>
                      <a:pt x="3419787" y="5857338"/>
                    </a:moveTo>
                    <a:cubicBezTo>
                      <a:pt x="3419787" y="5855857"/>
                      <a:pt x="3418552" y="5854625"/>
                      <a:pt x="3417073" y="5854625"/>
                    </a:cubicBezTo>
                    <a:cubicBezTo>
                      <a:pt x="3415347" y="5854625"/>
                      <a:pt x="3414115" y="5855857"/>
                      <a:pt x="3414115" y="5857338"/>
                    </a:cubicBezTo>
                    <a:cubicBezTo>
                      <a:pt x="3414115" y="5858816"/>
                      <a:pt x="3415593" y="5860051"/>
                      <a:pt x="3417073" y="5860051"/>
                    </a:cubicBezTo>
                    <a:cubicBezTo>
                      <a:pt x="3418801" y="5860051"/>
                      <a:pt x="3420032" y="5858816"/>
                      <a:pt x="3419787" y="5857338"/>
                    </a:cubicBezTo>
                    <a:close/>
                    <a:moveTo>
                      <a:pt x="3420525" y="1834109"/>
                    </a:moveTo>
                    <a:cubicBezTo>
                      <a:pt x="3420525" y="1808458"/>
                      <a:pt x="3399566" y="1787482"/>
                      <a:pt x="3373922" y="1787482"/>
                    </a:cubicBezTo>
                    <a:cubicBezTo>
                      <a:pt x="3348279" y="1787482"/>
                      <a:pt x="3327320" y="1808458"/>
                      <a:pt x="3327320" y="1834109"/>
                    </a:cubicBezTo>
                    <a:cubicBezTo>
                      <a:pt x="3327320" y="1859745"/>
                      <a:pt x="3348279" y="1880696"/>
                      <a:pt x="3373922" y="1880696"/>
                    </a:cubicBezTo>
                    <a:cubicBezTo>
                      <a:pt x="3399815" y="1880696"/>
                      <a:pt x="3420772" y="1859745"/>
                      <a:pt x="3420525" y="1834109"/>
                    </a:cubicBezTo>
                    <a:close/>
                    <a:moveTo>
                      <a:pt x="3422006" y="5977173"/>
                    </a:moveTo>
                    <a:cubicBezTo>
                      <a:pt x="3422006" y="5976186"/>
                      <a:pt x="3421019" y="5975200"/>
                      <a:pt x="3420032" y="5975200"/>
                    </a:cubicBezTo>
                    <a:cubicBezTo>
                      <a:pt x="3419047" y="5975200"/>
                      <a:pt x="3418061" y="5976186"/>
                      <a:pt x="3418061" y="5977173"/>
                    </a:cubicBezTo>
                    <a:cubicBezTo>
                      <a:pt x="3418061" y="5978159"/>
                      <a:pt x="3419047" y="5979145"/>
                      <a:pt x="3420032" y="5979145"/>
                    </a:cubicBezTo>
                    <a:cubicBezTo>
                      <a:pt x="3421265" y="5979145"/>
                      <a:pt x="3422006" y="5978405"/>
                      <a:pt x="3422006" y="5977173"/>
                    </a:cubicBezTo>
                    <a:close/>
                    <a:moveTo>
                      <a:pt x="3422500" y="3846509"/>
                    </a:moveTo>
                    <a:cubicBezTo>
                      <a:pt x="3422500" y="3834181"/>
                      <a:pt x="3412391" y="3824319"/>
                      <a:pt x="3400310" y="3824319"/>
                    </a:cubicBezTo>
                    <a:cubicBezTo>
                      <a:pt x="3387980" y="3824319"/>
                      <a:pt x="3378116" y="3834427"/>
                      <a:pt x="3378116" y="3846509"/>
                    </a:cubicBezTo>
                    <a:cubicBezTo>
                      <a:pt x="3378116" y="3858839"/>
                      <a:pt x="3387980" y="3868703"/>
                      <a:pt x="3400310" y="3868703"/>
                    </a:cubicBezTo>
                    <a:cubicBezTo>
                      <a:pt x="3412391" y="3868703"/>
                      <a:pt x="3422255" y="3858839"/>
                      <a:pt x="3422500" y="3846509"/>
                    </a:cubicBezTo>
                    <a:close/>
                    <a:moveTo>
                      <a:pt x="3422744" y="5612978"/>
                    </a:moveTo>
                    <a:cubicBezTo>
                      <a:pt x="3422744" y="5606815"/>
                      <a:pt x="3417812" y="5601883"/>
                      <a:pt x="3411649" y="5601883"/>
                    </a:cubicBezTo>
                    <a:cubicBezTo>
                      <a:pt x="3405485" y="5601883"/>
                      <a:pt x="3400553" y="5606815"/>
                      <a:pt x="3400553" y="5612978"/>
                    </a:cubicBezTo>
                    <a:cubicBezTo>
                      <a:pt x="3400553" y="5619142"/>
                      <a:pt x="3405485" y="5624077"/>
                      <a:pt x="3411649" y="5624077"/>
                    </a:cubicBezTo>
                    <a:cubicBezTo>
                      <a:pt x="3417812" y="5624077"/>
                      <a:pt x="3422744" y="5619142"/>
                      <a:pt x="3422744" y="5612978"/>
                    </a:cubicBezTo>
                    <a:close/>
                    <a:moveTo>
                      <a:pt x="3423733" y="6096515"/>
                    </a:moveTo>
                    <a:cubicBezTo>
                      <a:pt x="3423733" y="6096019"/>
                      <a:pt x="3423487" y="6095774"/>
                      <a:pt x="3422995" y="6095774"/>
                    </a:cubicBezTo>
                    <a:cubicBezTo>
                      <a:pt x="3422500" y="6095774"/>
                      <a:pt x="3422255" y="6096019"/>
                      <a:pt x="3422255" y="6096515"/>
                    </a:cubicBezTo>
                    <a:cubicBezTo>
                      <a:pt x="3422255" y="6097006"/>
                      <a:pt x="3422747" y="6097252"/>
                      <a:pt x="3422995" y="6097252"/>
                    </a:cubicBezTo>
                    <a:cubicBezTo>
                      <a:pt x="3423241" y="6097252"/>
                      <a:pt x="3423487" y="6096760"/>
                      <a:pt x="3423733" y="6096515"/>
                    </a:cubicBezTo>
                    <a:close/>
                    <a:moveTo>
                      <a:pt x="3425950" y="6214871"/>
                    </a:moveTo>
                    <a:cubicBezTo>
                      <a:pt x="3425950" y="6214379"/>
                      <a:pt x="3425456" y="6213884"/>
                      <a:pt x="3424964" y="6213884"/>
                    </a:cubicBezTo>
                    <a:cubicBezTo>
                      <a:pt x="3424473" y="6213884"/>
                      <a:pt x="3423978" y="6214379"/>
                      <a:pt x="3423978" y="6214871"/>
                    </a:cubicBezTo>
                    <a:cubicBezTo>
                      <a:pt x="3423978" y="6215362"/>
                      <a:pt x="3424473" y="6215857"/>
                      <a:pt x="3424964" y="6215857"/>
                    </a:cubicBezTo>
                    <a:cubicBezTo>
                      <a:pt x="3425456" y="6215857"/>
                      <a:pt x="3425950" y="6215611"/>
                      <a:pt x="3425950" y="6214871"/>
                    </a:cubicBezTo>
                    <a:close/>
                    <a:moveTo>
                      <a:pt x="3431868" y="4114540"/>
                    </a:moveTo>
                    <a:cubicBezTo>
                      <a:pt x="3431868" y="4100978"/>
                      <a:pt x="3420772" y="4089883"/>
                      <a:pt x="3407211" y="4089883"/>
                    </a:cubicBezTo>
                    <a:cubicBezTo>
                      <a:pt x="3393648" y="4089883"/>
                      <a:pt x="3382553" y="4100978"/>
                      <a:pt x="3382553" y="4114540"/>
                    </a:cubicBezTo>
                    <a:cubicBezTo>
                      <a:pt x="3382553" y="4128102"/>
                      <a:pt x="3393648" y="4139198"/>
                      <a:pt x="3407211" y="4139198"/>
                    </a:cubicBezTo>
                    <a:cubicBezTo>
                      <a:pt x="3420772" y="4139198"/>
                      <a:pt x="3431868" y="4128102"/>
                      <a:pt x="3431868" y="4114540"/>
                    </a:cubicBezTo>
                    <a:close/>
                    <a:moveTo>
                      <a:pt x="3432609" y="4349278"/>
                    </a:moveTo>
                    <a:cubicBezTo>
                      <a:pt x="3432609" y="4325115"/>
                      <a:pt x="3412883" y="4305389"/>
                      <a:pt x="3388718" y="4305389"/>
                    </a:cubicBezTo>
                    <a:cubicBezTo>
                      <a:pt x="3364555" y="4305389"/>
                      <a:pt x="3344828" y="4325115"/>
                      <a:pt x="3344828" y="4349278"/>
                    </a:cubicBezTo>
                    <a:cubicBezTo>
                      <a:pt x="3344828" y="4373444"/>
                      <a:pt x="3364555" y="4393170"/>
                      <a:pt x="3388718" y="4393170"/>
                    </a:cubicBezTo>
                    <a:cubicBezTo>
                      <a:pt x="3412883" y="4393170"/>
                      <a:pt x="3432609" y="4373689"/>
                      <a:pt x="3432609" y="4349278"/>
                    </a:cubicBezTo>
                    <a:close/>
                    <a:moveTo>
                      <a:pt x="3436059" y="3161073"/>
                    </a:moveTo>
                    <a:cubicBezTo>
                      <a:pt x="3436059" y="3149487"/>
                      <a:pt x="3426691" y="3140115"/>
                      <a:pt x="3415102" y="3140115"/>
                    </a:cubicBezTo>
                    <a:cubicBezTo>
                      <a:pt x="3403512" y="3140115"/>
                      <a:pt x="3394143" y="3149487"/>
                      <a:pt x="3394143" y="3161073"/>
                    </a:cubicBezTo>
                    <a:cubicBezTo>
                      <a:pt x="3394143" y="3172663"/>
                      <a:pt x="3403512" y="3182032"/>
                      <a:pt x="3415102" y="3182032"/>
                    </a:cubicBezTo>
                    <a:cubicBezTo>
                      <a:pt x="3426691" y="3182032"/>
                      <a:pt x="3436059" y="3172663"/>
                      <a:pt x="3436059" y="3161073"/>
                    </a:cubicBezTo>
                    <a:close/>
                    <a:moveTo>
                      <a:pt x="3437541" y="6329775"/>
                    </a:moveTo>
                    <a:cubicBezTo>
                      <a:pt x="3437541" y="6328048"/>
                      <a:pt x="3436063" y="6326570"/>
                      <a:pt x="3434336" y="6326570"/>
                    </a:cubicBezTo>
                    <a:cubicBezTo>
                      <a:pt x="3432609" y="6326570"/>
                      <a:pt x="3431131" y="6328048"/>
                      <a:pt x="3431131" y="6329775"/>
                    </a:cubicBezTo>
                    <a:cubicBezTo>
                      <a:pt x="3431131" y="6331502"/>
                      <a:pt x="3432609" y="6332983"/>
                      <a:pt x="3434336" y="6332983"/>
                    </a:cubicBezTo>
                    <a:cubicBezTo>
                      <a:pt x="3436309" y="6332983"/>
                      <a:pt x="3437541" y="6331502"/>
                      <a:pt x="3437541" y="6329775"/>
                    </a:cubicBezTo>
                    <a:close/>
                    <a:moveTo>
                      <a:pt x="3438035" y="2888613"/>
                    </a:moveTo>
                    <a:cubicBezTo>
                      <a:pt x="3438035" y="2884915"/>
                      <a:pt x="3434830" y="2881710"/>
                      <a:pt x="3431131" y="2881710"/>
                    </a:cubicBezTo>
                    <a:cubicBezTo>
                      <a:pt x="3427185" y="2881710"/>
                      <a:pt x="3424227" y="2884915"/>
                      <a:pt x="3424227" y="2888613"/>
                    </a:cubicBezTo>
                    <a:cubicBezTo>
                      <a:pt x="3424227" y="2892313"/>
                      <a:pt x="3427432" y="2895517"/>
                      <a:pt x="3431131" y="2895517"/>
                    </a:cubicBezTo>
                    <a:cubicBezTo>
                      <a:pt x="3435076" y="2895517"/>
                      <a:pt x="3438035" y="2892559"/>
                      <a:pt x="3438035" y="2888613"/>
                    </a:cubicBezTo>
                    <a:close/>
                    <a:moveTo>
                      <a:pt x="3439019" y="6447145"/>
                    </a:moveTo>
                    <a:cubicBezTo>
                      <a:pt x="3439019" y="6445418"/>
                      <a:pt x="3437541" y="6443939"/>
                      <a:pt x="3435814" y="6443939"/>
                    </a:cubicBezTo>
                    <a:cubicBezTo>
                      <a:pt x="3434087" y="6443939"/>
                      <a:pt x="3432609" y="6445418"/>
                      <a:pt x="3432609" y="6447145"/>
                    </a:cubicBezTo>
                    <a:cubicBezTo>
                      <a:pt x="3432609" y="6448871"/>
                      <a:pt x="3434087" y="6450349"/>
                      <a:pt x="3435814" y="6450349"/>
                    </a:cubicBezTo>
                    <a:cubicBezTo>
                      <a:pt x="3437541" y="6450349"/>
                      <a:pt x="3439019" y="6448871"/>
                      <a:pt x="3439019" y="6447145"/>
                    </a:cubicBezTo>
                    <a:close/>
                    <a:moveTo>
                      <a:pt x="3439022" y="6564271"/>
                    </a:moveTo>
                    <a:cubicBezTo>
                      <a:pt x="3439022" y="6563036"/>
                      <a:pt x="3438035" y="6561804"/>
                      <a:pt x="3436557" y="6561804"/>
                    </a:cubicBezTo>
                    <a:cubicBezTo>
                      <a:pt x="3435322" y="6561804"/>
                      <a:pt x="3434090" y="6562790"/>
                      <a:pt x="3434090" y="6564271"/>
                    </a:cubicBezTo>
                    <a:cubicBezTo>
                      <a:pt x="3434090" y="6565504"/>
                      <a:pt x="3435322" y="6566736"/>
                      <a:pt x="3436557" y="6566736"/>
                    </a:cubicBezTo>
                    <a:cubicBezTo>
                      <a:pt x="3438035" y="6566736"/>
                      <a:pt x="3439022" y="6565749"/>
                      <a:pt x="3439022" y="6564271"/>
                    </a:cubicBezTo>
                    <a:close/>
                    <a:moveTo>
                      <a:pt x="3441486" y="6680407"/>
                    </a:moveTo>
                    <a:cubicBezTo>
                      <a:pt x="3441486" y="6678679"/>
                      <a:pt x="3440253" y="6677447"/>
                      <a:pt x="3438527" y="6677447"/>
                    </a:cubicBezTo>
                    <a:cubicBezTo>
                      <a:pt x="3436800" y="6677447"/>
                      <a:pt x="3435568" y="6678679"/>
                      <a:pt x="3435568" y="6680407"/>
                    </a:cubicBezTo>
                    <a:cubicBezTo>
                      <a:pt x="3435568" y="6682133"/>
                      <a:pt x="3436800" y="6683365"/>
                      <a:pt x="3438527" y="6683365"/>
                    </a:cubicBezTo>
                    <a:cubicBezTo>
                      <a:pt x="3440008" y="6683365"/>
                      <a:pt x="3441486" y="6681884"/>
                      <a:pt x="3441486" y="6680407"/>
                    </a:cubicBezTo>
                    <a:close/>
                    <a:moveTo>
                      <a:pt x="3442964" y="6796052"/>
                    </a:moveTo>
                    <a:cubicBezTo>
                      <a:pt x="3442964" y="6794077"/>
                      <a:pt x="3441486" y="6792599"/>
                      <a:pt x="3439513" y="6792599"/>
                    </a:cubicBezTo>
                    <a:cubicBezTo>
                      <a:pt x="3437540" y="6792599"/>
                      <a:pt x="3435814" y="6794077"/>
                      <a:pt x="3435814" y="6796052"/>
                    </a:cubicBezTo>
                    <a:cubicBezTo>
                      <a:pt x="3435814" y="6798271"/>
                      <a:pt x="3437540" y="6799749"/>
                      <a:pt x="3439513" y="6799749"/>
                    </a:cubicBezTo>
                    <a:cubicBezTo>
                      <a:pt x="3441486" y="6799749"/>
                      <a:pt x="3442964" y="6798025"/>
                      <a:pt x="3442964" y="6796052"/>
                    </a:cubicBezTo>
                    <a:close/>
                    <a:moveTo>
                      <a:pt x="3445676" y="6911447"/>
                    </a:moveTo>
                    <a:cubicBezTo>
                      <a:pt x="3445676" y="6908736"/>
                      <a:pt x="3443458" y="6906515"/>
                      <a:pt x="3440746" y="6906515"/>
                    </a:cubicBezTo>
                    <a:cubicBezTo>
                      <a:pt x="3438033" y="6906515"/>
                      <a:pt x="3435814" y="6908736"/>
                      <a:pt x="3435814" y="6911447"/>
                    </a:cubicBezTo>
                    <a:cubicBezTo>
                      <a:pt x="3435814" y="6914160"/>
                      <a:pt x="3438033" y="6916378"/>
                      <a:pt x="3440746" y="6916378"/>
                    </a:cubicBezTo>
                    <a:cubicBezTo>
                      <a:pt x="3443458" y="6916378"/>
                      <a:pt x="3445676" y="6914160"/>
                      <a:pt x="3445676" y="6911447"/>
                    </a:cubicBezTo>
                    <a:close/>
                    <a:moveTo>
                      <a:pt x="3448635" y="7026352"/>
                    </a:moveTo>
                    <a:cubicBezTo>
                      <a:pt x="3448635" y="7022652"/>
                      <a:pt x="3445676" y="7019694"/>
                      <a:pt x="3441980" y="7019694"/>
                    </a:cubicBezTo>
                    <a:cubicBezTo>
                      <a:pt x="3438281" y="7019694"/>
                      <a:pt x="3435322" y="7022652"/>
                      <a:pt x="3435322" y="7026352"/>
                    </a:cubicBezTo>
                    <a:cubicBezTo>
                      <a:pt x="3435322" y="7029802"/>
                      <a:pt x="3438281" y="7032761"/>
                      <a:pt x="3441980" y="7032761"/>
                    </a:cubicBezTo>
                    <a:cubicBezTo>
                      <a:pt x="3445676" y="7032761"/>
                      <a:pt x="3448390" y="7029802"/>
                      <a:pt x="3448635" y="7026352"/>
                    </a:cubicBezTo>
                    <a:close/>
                    <a:moveTo>
                      <a:pt x="3450365" y="2312631"/>
                    </a:moveTo>
                    <a:cubicBezTo>
                      <a:pt x="3450365" y="2300059"/>
                      <a:pt x="3440008" y="2289697"/>
                      <a:pt x="3427432" y="2289697"/>
                    </a:cubicBezTo>
                    <a:cubicBezTo>
                      <a:pt x="3414856" y="2289697"/>
                      <a:pt x="3404500" y="2300059"/>
                      <a:pt x="3404500" y="2312631"/>
                    </a:cubicBezTo>
                    <a:cubicBezTo>
                      <a:pt x="3404500" y="2325202"/>
                      <a:pt x="3414856" y="2335567"/>
                      <a:pt x="3427432" y="2335567"/>
                    </a:cubicBezTo>
                    <a:cubicBezTo>
                      <a:pt x="3440253" y="2335567"/>
                      <a:pt x="3450365" y="2325449"/>
                      <a:pt x="3450365" y="2312631"/>
                    </a:cubicBezTo>
                    <a:close/>
                    <a:moveTo>
                      <a:pt x="3452337" y="3734319"/>
                    </a:moveTo>
                    <a:cubicBezTo>
                      <a:pt x="3452337" y="3721249"/>
                      <a:pt x="3441732" y="3710893"/>
                      <a:pt x="3428910" y="3710893"/>
                    </a:cubicBezTo>
                    <a:cubicBezTo>
                      <a:pt x="3416088" y="3710893"/>
                      <a:pt x="3405485" y="3721497"/>
                      <a:pt x="3405485" y="3734319"/>
                    </a:cubicBezTo>
                    <a:cubicBezTo>
                      <a:pt x="3405485" y="3747387"/>
                      <a:pt x="3416088" y="3757745"/>
                      <a:pt x="3428910" y="3757745"/>
                    </a:cubicBezTo>
                    <a:cubicBezTo>
                      <a:pt x="3441732" y="3757745"/>
                      <a:pt x="3452087" y="3747387"/>
                      <a:pt x="3452337" y="3734319"/>
                    </a:cubicBezTo>
                    <a:close/>
                    <a:moveTo>
                      <a:pt x="3453567" y="7253201"/>
                    </a:moveTo>
                    <a:cubicBezTo>
                      <a:pt x="3453567" y="7250735"/>
                      <a:pt x="3451596" y="7248762"/>
                      <a:pt x="3449131" y="7248762"/>
                    </a:cubicBezTo>
                    <a:cubicBezTo>
                      <a:pt x="3446664" y="7248762"/>
                      <a:pt x="3444691" y="7250735"/>
                      <a:pt x="3444691" y="7253201"/>
                    </a:cubicBezTo>
                    <a:cubicBezTo>
                      <a:pt x="3444691" y="7255666"/>
                      <a:pt x="3446664" y="7257638"/>
                      <a:pt x="3449131" y="7257638"/>
                    </a:cubicBezTo>
                    <a:cubicBezTo>
                      <a:pt x="3451596" y="7257638"/>
                      <a:pt x="3453567" y="7255666"/>
                      <a:pt x="3453567" y="7253201"/>
                    </a:cubicBezTo>
                    <a:close/>
                    <a:moveTo>
                      <a:pt x="3455294" y="2698507"/>
                    </a:moveTo>
                    <a:cubicBezTo>
                      <a:pt x="3455294" y="2696288"/>
                      <a:pt x="3453322" y="2694315"/>
                      <a:pt x="3451103" y="2694315"/>
                    </a:cubicBezTo>
                    <a:cubicBezTo>
                      <a:pt x="3448884" y="2694315"/>
                      <a:pt x="3446912" y="2696288"/>
                      <a:pt x="3446912" y="2698507"/>
                    </a:cubicBezTo>
                    <a:cubicBezTo>
                      <a:pt x="3446912" y="2700725"/>
                      <a:pt x="3448884" y="2702698"/>
                      <a:pt x="3451103" y="2702698"/>
                    </a:cubicBezTo>
                    <a:cubicBezTo>
                      <a:pt x="3453322" y="2702698"/>
                      <a:pt x="3455294" y="2700974"/>
                      <a:pt x="3455294" y="2698507"/>
                    </a:cubicBezTo>
                    <a:close/>
                    <a:moveTo>
                      <a:pt x="3455785" y="7367119"/>
                    </a:moveTo>
                    <a:cubicBezTo>
                      <a:pt x="3455785" y="7363852"/>
                      <a:pt x="3453138" y="7361201"/>
                      <a:pt x="3449868" y="7361201"/>
                    </a:cubicBezTo>
                    <a:cubicBezTo>
                      <a:pt x="3446598" y="7361201"/>
                      <a:pt x="3443950" y="7363852"/>
                      <a:pt x="3443950" y="7367119"/>
                    </a:cubicBezTo>
                    <a:cubicBezTo>
                      <a:pt x="3443950" y="7370389"/>
                      <a:pt x="3446598" y="7373036"/>
                      <a:pt x="3449868" y="7373036"/>
                    </a:cubicBezTo>
                    <a:cubicBezTo>
                      <a:pt x="3453138" y="7373036"/>
                      <a:pt x="3455785" y="7370389"/>
                      <a:pt x="3455785" y="7367119"/>
                    </a:cubicBezTo>
                    <a:close/>
                    <a:moveTo>
                      <a:pt x="3456278" y="7138791"/>
                    </a:moveTo>
                    <a:cubicBezTo>
                      <a:pt x="3456278" y="7134598"/>
                      <a:pt x="3452826" y="7131146"/>
                      <a:pt x="3448635" y="7131146"/>
                    </a:cubicBezTo>
                    <a:cubicBezTo>
                      <a:pt x="3444443" y="7131146"/>
                      <a:pt x="3440991" y="7134598"/>
                      <a:pt x="3440991" y="7138791"/>
                    </a:cubicBezTo>
                    <a:cubicBezTo>
                      <a:pt x="3440991" y="7142983"/>
                      <a:pt x="3444443" y="7146433"/>
                      <a:pt x="3448635" y="7146433"/>
                    </a:cubicBezTo>
                    <a:cubicBezTo>
                      <a:pt x="3452826" y="7146433"/>
                      <a:pt x="3456278" y="7142983"/>
                      <a:pt x="3456278" y="7138791"/>
                    </a:cubicBezTo>
                    <a:close/>
                    <a:moveTo>
                      <a:pt x="3457759" y="4495992"/>
                    </a:moveTo>
                    <a:cubicBezTo>
                      <a:pt x="3457759" y="4471088"/>
                      <a:pt x="3437541" y="4450621"/>
                      <a:pt x="3412389" y="4450621"/>
                    </a:cubicBezTo>
                    <a:cubicBezTo>
                      <a:pt x="3387485" y="4450621"/>
                      <a:pt x="3367019" y="4470842"/>
                      <a:pt x="3367019" y="4495992"/>
                    </a:cubicBezTo>
                    <a:cubicBezTo>
                      <a:pt x="3367019" y="4520895"/>
                      <a:pt x="3387240" y="4541361"/>
                      <a:pt x="3412389" y="4541361"/>
                    </a:cubicBezTo>
                    <a:cubicBezTo>
                      <a:pt x="3437293" y="4541361"/>
                      <a:pt x="3457759" y="4520895"/>
                      <a:pt x="3457759" y="4495992"/>
                    </a:cubicBezTo>
                    <a:close/>
                    <a:moveTo>
                      <a:pt x="3459731" y="2173581"/>
                    </a:moveTo>
                    <a:cubicBezTo>
                      <a:pt x="3459731" y="2163959"/>
                      <a:pt x="3452087" y="2156316"/>
                      <a:pt x="3442469" y="2156316"/>
                    </a:cubicBezTo>
                    <a:cubicBezTo>
                      <a:pt x="3432855" y="2156316"/>
                      <a:pt x="3425210" y="2163959"/>
                      <a:pt x="3425210" y="2173581"/>
                    </a:cubicBezTo>
                    <a:cubicBezTo>
                      <a:pt x="3425210" y="2183195"/>
                      <a:pt x="3432855" y="2190837"/>
                      <a:pt x="3442469" y="2190837"/>
                    </a:cubicBezTo>
                    <a:cubicBezTo>
                      <a:pt x="3452087" y="2190837"/>
                      <a:pt x="3459731" y="2183195"/>
                      <a:pt x="3459731" y="2173581"/>
                    </a:cubicBezTo>
                    <a:close/>
                    <a:moveTo>
                      <a:pt x="3461952" y="3274253"/>
                    </a:moveTo>
                    <a:cubicBezTo>
                      <a:pt x="3461952" y="3261426"/>
                      <a:pt x="3451598" y="3251072"/>
                      <a:pt x="3438775" y="3251072"/>
                    </a:cubicBezTo>
                    <a:cubicBezTo>
                      <a:pt x="3425952" y="3251072"/>
                      <a:pt x="3415596" y="3261426"/>
                      <a:pt x="3415596" y="3274253"/>
                    </a:cubicBezTo>
                    <a:cubicBezTo>
                      <a:pt x="3415596" y="3287069"/>
                      <a:pt x="3425952" y="3297429"/>
                      <a:pt x="3438775" y="3297429"/>
                    </a:cubicBezTo>
                    <a:cubicBezTo>
                      <a:pt x="3451349" y="3297429"/>
                      <a:pt x="3461952" y="3287069"/>
                      <a:pt x="3461952" y="3274253"/>
                    </a:cubicBezTo>
                    <a:close/>
                    <a:moveTo>
                      <a:pt x="3467131" y="622289"/>
                    </a:moveTo>
                    <a:cubicBezTo>
                      <a:pt x="3467131" y="599853"/>
                      <a:pt x="3448637" y="581606"/>
                      <a:pt x="3426197" y="581606"/>
                    </a:cubicBezTo>
                    <a:cubicBezTo>
                      <a:pt x="3403762" y="581606"/>
                      <a:pt x="3385513" y="599853"/>
                      <a:pt x="3385513" y="622289"/>
                    </a:cubicBezTo>
                    <a:cubicBezTo>
                      <a:pt x="3385513" y="644759"/>
                      <a:pt x="3403762" y="663016"/>
                      <a:pt x="3426197" y="663016"/>
                    </a:cubicBezTo>
                    <a:cubicBezTo>
                      <a:pt x="3448882" y="663016"/>
                      <a:pt x="3467131" y="644515"/>
                      <a:pt x="3467131" y="622289"/>
                    </a:cubicBezTo>
                    <a:close/>
                    <a:moveTo>
                      <a:pt x="3468116" y="504695"/>
                    </a:moveTo>
                    <a:cubicBezTo>
                      <a:pt x="3468116" y="482503"/>
                      <a:pt x="3450118" y="464258"/>
                      <a:pt x="3427678" y="464258"/>
                    </a:cubicBezTo>
                    <a:cubicBezTo>
                      <a:pt x="3405485" y="464258"/>
                      <a:pt x="3387240" y="482257"/>
                      <a:pt x="3387240" y="504695"/>
                    </a:cubicBezTo>
                    <a:cubicBezTo>
                      <a:pt x="3387240" y="526885"/>
                      <a:pt x="3405239" y="545133"/>
                      <a:pt x="3427678" y="545133"/>
                    </a:cubicBezTo>
                    <a:cubicBezTo>
                      <a:pt x="3450118" y="545133"/>
                      <a:pt x="3468362" y="527134"/>
                      <a:pt x="3468116" y="504695"/>
                    </a:cubicBezTo>
                    <a:close/>
                    <a:moveTo>
                      <a:pt x="3469840" y="271732"/>
                    </a:moveTo>
                    <a:cubicBezTo>
                      <a:pt x="3469840" y="249539"/>
                      <a:pt x="3451841" y="231541"/>
                      <a:pt x="3429650" y="231541"/>
                    </a:cubicBezTo>
                    <a:cubicBezTo>
                      <a:pt x="3407457" y="231541"/>
                      <a:pt x="3389458" y="249539"/>
                      <a:pt x="3389458" y="271732"/>
                    </a:cubicBezTo>
                    <a:cubicBezTo>
                      <a:pt x="3389458" y="293920"/>
                      <a:pt x="3407457" y="311922"/>
                      <a:pt x="3429650" y="311922"/>
                    </a:cubicBezTo>
                    <a:cubicBezTo>
                      <a:pt x="3451841" y="311922"/>
                      <a:pt x="3469840" y="293920"/>
                      <a:pt x="3469840" y="271732"/>
                    </a:cubicBezTo>
                    <a:close/>
                    <a:moveTo>
                      <a:pt x="3470337" y="155865"/>
                    </a:moveTo>
                    <a:cubicBezTo>
                      <a:pt x="3470337" y="133922"/>
                      <a:pt x="3452583" y="116170"/>
                      <a:pt x="3430637" y="116170"/>
                    </a:cubicBezTo>
                    <a:cubicBezTo>
                      <a:pt x="3408691" y="116170"/>
                      <a:pt x="3390939" y="133922"/>
                      <a:pt x="3390939" y="155865"/>
                    </a:cubicBezTo>
                    <a:cubicBezTo>
                      <a:pt x="3390939" y="177812"/>
                      <a:pt x="3408691" y="195565"/>
                      <a:pt x="3430637" y="195565"/>
                    </a:cubicBezTo>
                    <a:cubicBezTo>
                      <a:pt x="3452336" y="195565"/>
                      <a:pt x="3470337" y="177812"/>
                      <a:pt x="3470337" y="155865"/>
                    </a:cubicBezTo>
                    <a:close/>
                    <a:moveTo>
                      <a:pt x="3470581" y="40500"/>
                    </a:moveTo>
                    <a:cubicBezTo>
                      <a:pt x="3470581" y="18802"/>
                      <a:pt x="3452826" y="1049"/>
                      <a:pt x="3431128" y="1049"/>
                    </a:cubicBezTo>
                    <a:cubicBezTo>
                      <a:pt x="3409430" y="1049"/>
                      <a:pt x="3391677" y="18802"/>
                      <a:pt x="3391677" y="40500"/>
                    </a:cubicBezTo>
                    <a:cubicBezTo>
                      <a:pt x="3391677" y="62196"/>
                      <a:pt x="3409430" y="79949"/>
                      <a:pt x="3431128" y="79949"/>
                    </a:cubicBezTo>
                    <a:cubicBezTo>
                      <a:pt x="3452826" y="79949"/>
                      <a:pt x="3470581" y="62196"/>
                      <a:pt x="3470581" y="40500"/>
                    </a:cubicBezTo>
                    <a:close/>
                    <a:moveTo>
                      <a:pt x="3471321" y="388089"/>
                    </a:moveTo>
                    <a:cubicBezTo>
                      <a:pt x="3471321" y="364911"/>
                      <a:pt x="3452336" y="345926"/>
                      <a:pt x="3429158" y="345926"/>
                    </a:cubicBezTo>
                    <a:cubicBezTo>
                      <a:pt x="3405978" y="345926"/>
                      <a:pt x="3386993" y="364911"/>
                      <a:pt x="3386993" y="388089"/>
                    </a:cubicBezTo>
                    <a:cubicBezTo>
                      <a:pt x="3386993" y="411266"/>
                      <a:pt x="3405978" y="430253"/>
                      <a:pt x="3429158" y="430253"/>
                    </a:cubicBezTo>
                    <a:cubicBezTo>
                      <a:pt x="3452584" y="430253"/>
                      <a:pt x="3471321" y="411266"/>
                      <a:pt x="3471321" y="388089"/>
                    </a:cubicBezTo>
                    <a:close/>
                    <a:moveTo>
                      <a:pt x="3471324" y="3620400"/>
                    </a:moveTo>
                    <a:cubicBezTo>
                      <a:pt x="3471324" y="3606838"/>
                      <a:pt x="3460474" y="3595743"/>
                      <a:pt x="3446912" y="3595743"/>
                    </a:cubicBezTo>
                    <a:cubicBezTo>
                      <a:pt x="3433350" y="3595743"/>
                      <a:pt x="3422255" y="3606838"/>
                      <a:pt x="3422255" y="3620400"/>
                    </a:cubicBezTo>
                    <a:cubicBezTo>
                      <a:pt x="3422255" y="3633717"/>
                      <a:pt x="3433350" y="3644812"/>
                      <a:pt x="3446912" y="3644812"/>
                    </a:cubicBezTo>
                    <a:cubicBezTo>
                      <a:pt x="3460474" y="3644812"/>
                      <a:pt x="3471570" y="3633717"/>
                      <a:pt x="3471324" y="3620400"/>
                    </a:cubicBezTo>
                    <a:close/>
                    <a:moveTo>
                      <a:pt x="3477238" y="3389405"/>
                    </a:moveTo>
                    <a:cubicBezTo>
                      <a:pt x="3477238" y="3375345"/>
                      <a:pt x="3465897" y="3364005"/>
                      <a:pt x="3451843" y="3364005"/>
                    </a:cubicBezTo>
                    <a:cubicBezTo>
                      <a:pt x="3438035" y="3364005"/>
                      <a:pt x="3426692" y="3375345"/>
                      <a:pt x="3426692" y="3389405"/>
                    </a:cubicBezTo>
                    <a:cubicBezTo>
                      <a:pt x="3426692" y="3403212"/>
                      <a:pt x="3438035" y="3414553"/>
                      <a:pt x="3451843" y="3414553"/>
                    </a:cubicBezTo>
                    <a:cubicBezTo>
                      <a:pt x="3465897" y="3414553"/>
                      <a:pt x="3477238" y="3403212"/>
                      <a:pt x="3477238" y="3389405"/>
                    </a:cubicBezTo>
                    <a:close/>
                    <a:moveTo>
                      <a:pt x="3477980" y="4637773"/>
                    </a:moveTo>
                    <a:cubicBezTo>
                      <a:pt x="3477980" y="4612376"/>
                      <a:pt x="3457019" y="4591663"/>
                      <a:pt x="3431623" y="4591663"/>
                    </a:cubicBezTo>
                    <a:cubicBezTo>
                      <a:pt x="3406225" y="4591663"/>
                      <a:pt x="3385513" y="4612376"/>
                      <a:pt x="3385513" y="4637773"/>
                    </a:cubicBezTo>
                    <a:cubicBezTo>
                      <a:pt x="3385513" y="4663171"/>
                      <a:pt x="3406225" y="4683884"/>
                      <a:pt x="3431623" y="4683884"/>
                    </a:cubicBezTo>
                    <a:cubicBezTo>
                      <a:pt x="3457266" y="4683884"/>
                      <a:pt x="3477980" y="4663171"/>
                      <a:pt x="3477980" y="4637773"/>
                    </a:cubicBezTo>
                    <a:close/>
                    <a:moveTo>
                      <a:pt x="3480444" y="3505003"/>
                    </a:moveTo>
                    <a:cubicBezTo>
                      <a:pt x="3480444" y="3490949"/>
                      <a:pt x="3468857" y="3479359"/>
                      <a:pt x="3454555" y="3479359"/>
                    </a:cubicBezTo>
                    <a:cubicBezTo>
                      <a:pt x="3440500" y="3479359"/>
                      <a:pt x="3428910" y="3490703"/>
                      <a:pt x="3428910" y="3505003"/>
                    </a:cubicBezTo>
                    <a:cubicBezTo>
                      <a:pt x="3428910" y="3519057"/>
                      <a:pt x="3440254" y="3530647"/>
                      <a:pt x="3454555" y="3530647"/>
                    </a:cubicBezTo>
                    <a:cubicBezTo>
                      <a:pt x="3468857" y="3530647"/>
                      <a:pt x="3480444" y="3519057"/>
                      <a:pt x="3480444" y="3505003"/>
                    </a:cubicBezTo>
                    <a:close/>
                    <a:moveTo>
                      <a:pt x="3480446" y="4009989"/>
                    </a:moveTo>
                    <a:cubicBezTo>
                      <a:pt x="3480446" y="3996921"/>
                      <a:pt x="3469843" y="3986072"/>
                      <a:pt x="3456526" y="3986072"/>
                    </a:cubicBezTo>
                    <a:cubicBezTo>
                      <a:pt x="3443212" y="3986072"/>
                      <a:pt x="3432609" y="3996675"/>
                      <a:pt x="3432609" y="4009989"/>
                    </a:cubicBezTo>
                    <a:cubicBezTo>
                      <a:pt x="3432609" y="4023059"/>
                      <a:pt x="3443459" y="4033909"/>
                      <a:pt x="3456526" y="4033909"/>
                    </a:cubicBezTo>
                    <a:cubicBezTo>
                      <a:pt x="3469596" y="4033909"/>
                      <a:pt x="3480446" y="4023059"/>
                      <a:pt x="3480446" y="4009989"/>
                    </a:cubicBezTo>
                    <a:close/>
                    <a:moveTo>
                      <a:pt x="3485870" y="2995136"/>
                    </a:moveTo>
                    <a:cubicBezTo>
                      <a:pt x="3485870" y="2989958"/>
                      <a:pt x="3481676" y="2985519"/>
                      <a:pt x="3476253" y="2985519"/>
                    </a:cubicBezTo>
                    <a:cubicBezTo>
                      <a:pt x="3471075" y="2985519"/>
                      <a:pt x="3466636" y="2989710"/>
                      <a:pt x="3466636" y="2995136"/>
                    </a:cubicBezTo>
                    <a:cubicBezTo>
                      <a:pt x="3466636" y="3000314"/>
                      <a:pt x="3470827" y="3004751"/>
                      <a:pt x="3476253" y="3004751"/>
                    </a:cubicBezTo>
                    <a:cubicBezTo>
                      <a:pt x="3481676" y="3004751"/>
                      <a:pt x="3485870" y="3000314"/>
                      <a:pt x="3485870" y="2995136"/>
                    </a:cubicBezTo>
                    <a:close/>
                    <a:moveTo>
                      <a:pt x="3486118" y="5175554"/>
                    </a:moveTo>
                    <a:cubicBezTo>
                      <a:pt x="3486118" y="5173581"/>
                      <a:pt x="3484391" y="5171854"/>
                      <a:pt x="3482419" y="5171854"/>
                    </a:cubicBezTo>
                    <a:cubicBezTo>
                      <a:pt x="3480446" y="5171854"/>
                      <a:pt x="3478720" y="5173581"/>
                      <a:pt x="3478720" y="5175554"/>
                    </a:cubicBezTo>
                    <a:cubicBezTo>
                      <a:pt x="3478720" y="5177526"/>
                      <a:pt x="3480446" y="5179253"/>
                      <a:pt x="3482419" y="5179253"/>
                    </a:cubicBezTo>
                    <a:cubicBezTo>
                      <a:pt x="3484391" y="5179253"/>
                      <a:pt x="3486118" y="5177772"/>
                      <a:pt x="3486118" y="5175554"/>
                    </a:cubicBezTo>
                    <a:close/>
                    <a:moveTo>
                      <a:pt x="3486362" y="2547367"/>
                    </a:moveTo>
                    <a:cubicBezTo>
                      <a:pt x="3486362" y="2544161"/>
                      <a:pt x="3483648" y="2541449"/>
                      <a:pt x="3480443" y="2541449"/>
                    </a:cubicBezTo>
                    <a:cubicBezTo>
                      <a:pt x="3477238" y="2541449"/>
                      <a:pt x="3474526" y="2544161"/>
                      <a:pt x="3474526" y="2547367"/>
                    </a:cubicBezTo>
                    <a:cubicBezTo>
                      <a:pt x="3474526" y="2550571"/>
                      <a:pt x="3477238" y="2553283"/>
                      <a:pt x="3480443" y="2553283"/>
                    </a:cubicBezTo>
                    <a:cubicBezTo>
                      <a:pt x="3483648" y="2553283"/>
                      <a:pt x="3486362" y="2550571"/>
                      <a:pt x="3486362" y="2547367"/>
                    </a:cubicBezTo>
                    <a:close/>
                    <a:moveTo>
                      <a:pt x="3488335" y="4776350"/>
                    </a:moveTo>
                    <a:cubicBezTo>
                      <a:pt x="3488335" y="4754159"/>
                      <a:pt x="3470335" y="4735911"/>
                      <a:pt x="3447895" y="4735911"/>
                    </a:cubicBezTo>
                    <a:cubicBezTo>
                      <a:pt x="3425705" y="4735911"/>
                      <a:pt x="3407457" y="4753911"/>
                      <a:pt x="3407457" y="4776350"/>
                    </a:cubicBezTo>
                    <a:cubicBezTo>
                      <a:pt x="3407457" y="4798540"/>
                      <a:pt x="3425705" y="4816789"/>
                      <a:pt x="3447895" y="4816789"/>
                    </a:cubicBezTo>
                    <a:cubicBezTo>
                      <a:pt x="3470335" y="4816789"/>
                      <a:pt x="3488335" y="4798540"/>
                      <a:pt x="3488335" y="4776350"/>
                    </a:cubicBezTo>
                    <a:close/>
                    <a:moveTo>
                      <a:pt x="3488583" y="2037460"/>
                    </a:moveTo>
                    <a:cubicBezTo>
                      <a:pt x="3488583" y="2018966"/>
                      <a:pt x="3473539" y="2003681"/>
                      <a:pt x="3454800" y="2003681"/>
                    </a:cubicBezTo>
                    <a:cubicBezTo>
                      <a:pt x="3436306" y="2003681"/>
                      <a:pt x="3421019" y="2018717"/>
                      <a:pt x="3421019" y="2037460"/>
                    </a:cubicBezTo>
                    <a:cubicBezTo>
                      <a:pt x="3421019" y="2055957"/>
                      <a:pt x="3436060" y="2071248"/>
                      <a:pt x="3454800" y="2071248"/>
                    </a:cubicBezTo>
                    <a:cubicBezTo>
                      <a:pt x="3473539" y="2071248"/>
                      <a:pt x="3488583" y="2056203"/>
                      <a:pt x="3488583" y="2037460"/>
                    </a:cubicBezTo>
                    <a:close/>
                    <a:moveTo>
                      <a:pt x="3490306" y="1618107"/>
                    </a:moveTo>
                    <a:cubicBezTo>
                      <a:pt x="3490306" y="1592463"/>
                      <a:pt x="3469348" y="1571504"/>
                      <a:pt x="3443705" y="1571504"/>
                    </a:cubicBezTo>
                    <a:cubicBezTo>
                      <a:pt x="3418061" y="1571504"/>
                      <a:pt x="3397101" y="1592463"/>
                      <a:pt x="3397101" y="1618107"/>
                    </a:cubicBezTo>
                    <a:cubicBezTo>
                      <a:pt x="3397101" y="1643753"/>
                      <a:pt x="3418061" y="1664708"/>
                      <a:pt x="3443705" y="1664708"/>
                    </a:cubicBezTo>
                    <a:cubicBezTo>
                      <a:pt x="3469348" y="1664708"/>
                      <a:pt x="3490306" y="1643753"/>
                      <a:pt x="3490306" y="1618107"/>
                    </a:cubicBezTo>
                    <a:close/>
                    <a:moveTo>
                      <a:pt x="3491787" y="4911474"/>
                    </a:moveTo>
                    <a:cubicBezTo>
                      <a:pt x="3491787" y="4894953"/>
                      <a:pt x="3478225" y="4881390"/>
                      <a:pt x="3461706" y="4881390"/>
                    </a:cubicBezTo>
                    <a:cubicBezTo>
                      <a:pt x="3445185" y="4881390"/>
                      <a:pt x="3431622" y="4894953"/>
                      <a:pt x="3431622" y="4911474"/>
                    </a:cubicBezTo>
                    <a:cubicBezTo>
                      <a:pt x="3431622" y="4927993"/>
                      <a:pt x="3445185" y="4941555"/>
                      <a:pt x="3461706" y="4941555"/>
                    </a:cubicBezTo>
                    <a:cubicBezTo>
                      <a:pt x="3478225" y="4941555"/>
                      <a:pt x="3491787" y="4927993"/>
                      <a:pt x="3491787" y="4911474"/>
                    </a:cubicBezTo>
                    <a:close/>
                    <a:moveTo>
                      <a:pt x="3495239" y="4252374"/>
                    </a:moveTo>
                    <a:cubicBezTo>
                      <a:pt x="3495239" y="4229689"/>
                      <a:pt x="3476498" y="4210949"/>
                      <a:pt x="3453567" y="4210949"/>
                    </a:cubicBezTo>
                    <a:cubicBezTo>
                      <a:pt x="3430637" y="4210949"/>
                      <a:pt x="3411897" y="4229443"/>
                      <a:pt x="3411897" y="4252374"/>
                    </a:cubicBezTo>
                    <a:cubicBezTo>
                      <a:pt x="3411897" y="4275058"/>
                      <a:pt x="3430637" y="4293798"/>
                      <a:pt x="3453567" y="4293798"/>
                    </a:cubicBezTo>
                    <a:cubicBezTo>
                      <a:pt x="3476498" y="4293798"/>
                      <a:pt x="3495239" y="4275305"/>
                      <a:pt x="3495239" y="4252374"/>
                    </a:cubicBezTo>
                    <a:close/>
                    <a:moveTo>
                      <a:pt x="3495734" y="1491875"/>
                    </a:moveTo>
                    <a:cubicBezTo>
                      <a:pt x="3495734" y="1466233"/>
                      <a:pt x="3475020" y="1445518"/>
                      <a:pt x="3449377" y="1445518"/>
                    </a:cubicBezTo>
                    <a:cubicBezTo>
                      <a:pt x="3423734" y="1445518"/>
                      <a:pt x="3403020" y="1466233"/>
                      <a:pt x="3403020" y="1491875"/>
                    </a:cubicBezTo>
                    <a:cubicBezTo>
                      <a:pt x="3403020" y="1517520"/>
                      <a:pt x="3423734" y="1538231"/>
                      <a:pt x="3449377" y="1538231"/>
                    </a:cubicBezTo>
                    <a:cubicBezTo>
                      <a:pt x="3475020" y="1538231"/>
                      <a:pt x="3495734" y="1517520"/>
                      <a:pt x="3495734" y="1491875"/>
                    </a:cubicBezTo>
                    <a:close/>
                    <a:moveTo>
                      <a:pt x="3498446" y="5044867"/>
                    </a:moveTo>
                    <a:cubicBezTo>
                      <a:pt x="3498446" y="5030567"/>
                      <a:pt x="3486856" y="5018977"/>
                      <a:pt x="3472553" y="5018977"/>
                    </a:cubicBezTo>
                    <a:cubicBezTo>
                      <a:pt x="3458253" y="5018977"/>
                      <a:pt x="3446664" y="5030567"/>
                      <a:pt x="3446664" y="5044867"/>
                    </a:cubicBezTo>
                    <a:cubicBezTo>
                      <a:pt x="3446664" y="5059170"/>
                      <a:pt x="3458253" y="5070760"/>
                      <a:pt x="3472553" y="5070760"/>
                    </a:cubicBezTo>
                    <a:cubicBezTo>
                      <a:pt x="3486856" y="5070760"/>
                      <a:pt x="3498446" y="5059170"/>
                      <a:pt x="3498446" y="5044867"/>
                    </a:cubicBezTo>
                    <a:close/>
                    <a:moveTo>
                      <a:pt x="3498692" y="1367615"/>
                    </a:moveTo>
                    <a:cubicBezTo>
                      <a:pt x="3498692" y="1343208"/>
                      <a:pt x="3478965" y="1323235"/>
                      <a:pt x="3454307" y="1323235"/>
                    </a:cubicBezTo>
                    <a:cubicBezTo>
                      <a:pt x="3429896" y="1323235"/>
                      <a:pt x="3409924" y="1343208"/>
                      <a:pt x="3409924" y="1367615"/>
                    </a:cubicBezTo>
                    <a:cubicBezTo>
                      <a:pt x="3409924" y="1392029"/>
                      <a:pt x="3429896" y="1412002"/>
                      <a:pt x="3454307" y="1412002"/>
                    </a:cubicBezTo>
                    <a:cubicBezTo>
                      <a:pt x="3478965" y="1412002"/>
                      <a:pt x="3498692" y="1392029"/>
                      <a:pt x="3498692" y="1367615"/>
                    </a:cubicBezTo>
                    <a:close/>
                    <a:moveTo>
                      <a:pt x="3501896" y="1904603"/>
                    </a:moveTo>
                    <a:cubicBezTo>
                      <a:pt x="3501896" y="1884639"/>
                      <a:pt x="3485621" y="1868619"/>
                      <a:pt x="3465895" y="1868619"/>
                    </a:cubicBezTo>
                    <a:cubicBezTo>
                      <a:pt x="3445923" y="1868619"/>
                      <a:pt x="3429896" y="1884639"/>
                      <a:pt x="3429896" y="1904603"/>
                    </a:cubicBezTo>
                    <a:cubicBezTo>
                      <a:pt x="3429896" y="1924570"/>
                      <a:pt x="3445923" y="1940591"/>
                      <a:pt x="3465895" y="1940591"/>
                    </a:cubicBezTo>
                    <a:cubicBezTo>
                      <a:pt x="3485621" y="1940591"/>
                      <a:pt x="3501896" y="1924570"/>
                      <a:pt x="3501896" y="1904603"/>
                    </a:cubicBezTo>
                    <a:close/>
                    <a:moveTo>
                      <a:pt x="3503872" y="1244104"/>
                    </a:moveTo>
                    <a:cubicBezTo>
                      <a:pt x="3503872" y="1219198"/>
                      <a:pt x="3483651" y="1198977"/>
                      <a:pt x="3458747" y="1198977"/>
                    </a:cubicBezTo>
                    <a:cubicBezTo>
                      <a:pt x="3433845" y="1198977"/>
                      <a:pt x="3413624" y="1219198"/>
                      <a:pt x="3413624" y="1244104"/>
                    </a:cubicBezTo>
                    <a:cubicBezTo>
                      <a:pt x="3413624" y="1269000"/>
                      <a:pt x="3433845" y="1289222"/>
                      <a:pt x="3458747" y="1289222"/>
                    </a:cubicBezTo>
                    <a:cubicBezTo>
                      <a:pt x="3483651" y="1289222"/>
                      <a:pt x="3503872" y="1269000"/>
                      <a:pt x="3503872" y="1244104"/>
                    </a:cubicBezTo>
                    <a:close/>
                    <a:moveTo>
                      <a:pt x="3506087" y="5298104"/>
                    </a:moveTo>
                    <a:cubicBezTo>
                      <a:pt x="3506087" y="5294404"/>
                      <a:pt x="3503128" y="5291446"/>
                      <a:pt x="3499432" y="5291446"/>
                    </a:cubicBezTo>
                    <a:cubicBezTo>
                      <a:pt x="3495733" y="5291446"/>
                      <a:pt x="3492774" y="5294404"/>
                      <a:pt x="3492774" y="5298104"/>
                    </a:cubicBezTo>
                    <a:cubicBezTo>
                      <a:pt x="3492774" y="5301800"/>
                      <a:pt x="3495733" y="5304759"/>
                      <a:pt x="3499432" y="5304759"/>
                    </a:cubicBezTo>
                    <a:cubicBezTo>
                      <a:pt x="3503128" y="5304759"/>
                      <a:pt x="3506087" y="5301800"/>
                      <a:pt x="3506087" y="5298104"/>
                    </a:cubicBezTo>
                    <a:close/>
                    <a:moveTo>
                      <a:pt x="3506337" y="1122560"/>
                    </a:moveTo>
                    <a:cubicBezTo>
                      <a:pt x="3506337" y="1098641"/>
                      <a:pt x="3486856" y="1079162"/>
                      <a:pt x="3462938" y="1079162"/>
                    </a:cubicBezTo>
                    <a:cubicBezTo>
                      <a:pt x="3439022" y="1079162"/>
                      <a:pt x="3419542" y="1098641"/>
                      <a:pt x="3419542" y="1122560"/>
                    </a:cubicBezTo>
                    <a:cubicBezTo>
                      <a:pt x="3419542" y="1146477"/>
                      <a:pt x="3439022" y="1165954"/>
                      <a:pt x="3462938" y="1165954"/>
                    </a:cubicBezTo>
                    <a:cubicBezTo>
                      <a:pt x="3486856" y="1165954"/>
                      <a:pt x="3506337" y="1146477"/>
                      <a:pt x="3506337" y="1122560"/>
                    </a:cubicBezTo>
                    <a:close/>
                    <a:moveTo>
                      <a:pt x="3507814" y="5425829"/>
                    </a:moveTo>
                    <a:cubicBezTo>
                      <a:pt x="3507814" y="5424843"/>
                      <a:pt x="3507076" y="5424102"/>
                      <a:pt x="3506090" y="5424102"/>
                    </a:cubicBezTo>
                    <a:cubicBezTo>
                      <a:pt x="3505105" y="5424102"/>
                      <a:pt x="3504364" y="5424843"/>
                      <a:pt x="3504364" y="5425829"/>
                    </a:cubicBezTo>
                    <a:cubicBezTo>
                      <a:pt x="3504364" y="5426815"/>
                      <a:pt x="3505105" y="5427553"/>
                      <a:pt x="3506090" y="5427553"/>
                    </a:cubicBezTo>
                    <a:cubicBezTo>
                      <a:pt x="3507076" y="5427553"/>
                      <a:pt x="3507814" y="5426815"/>
                      <a:pt x="3507814" y="5425829"/>
                    </a:cubicBezTo>
                    <a:close/>
                    <a:moveTo>
                      <a:pt x="3511268" y="1001258"/>
                    </a:moveTo>
                    <a:cubicBezTo>
                      <a:pt x="3511268" y="976357"/>
                      <a:pt x="3491050" y="955895"/>
                      <a:pt x="3465898" y="955895"/>
                    </a:cubicBezTo>
                    <a:cubicBezTo>
                      <a:pt x="3440994" y="955895"/>
                      <a:pt x="3420528" y="976108"/>
                      <a:pt x="3420528" y="1001258"/>
                    </a:cubicBezTo>
                    <a:cubicBezTo>
                      <a:pt x="3420528" y="1026165"/>
                      <a:pt x="3440994" y="1046631"/>
                      <a:pt x="3465898" y="1046631"/>
                    </a:cubicBezTo>
                    <a:cubicBezTo>
                      <a:pt x="3491050" y="1046631"/>
                      <a:pt x="3511268" y="1026413"/>
                      <a:pt x="3511268" y="1001258"/>
                    </a:cubicBezTo>
                    <a:close/>
                    <a:moveTo>
                      <a:pt x="3512994" y="880944"/>
                    </a:moveTo>
                    <a:cubicBezTo>
                      <a:pt x="3512994" y="856285"/>
                      <a:pt x="3493022" y="836323"/>
                      <a:pt x="3468365" y="836323"/>
                    </a:cubicBezTo>
                    <a:cubicBezTo>
                      <a:pt x="3443459" y="836323"/>
                      <a:pt x="3423487" y="856285"/>
                      <a:pt x="3423487" y="880944"/>
                    </a:cubicBezTo>
                    <a:cubicBezTo>
                      <a:pt x="3423487" y="905600"/>
                      <a:pt x="3443707" y="925584"/>
                      <a:pt x="3468365" y="925584"/>
                    </a:cubicBezTo>
                    <a:cubicBezTo>
                      <a:pt x="3492774" y="925584"/>
                      <a:pt x="3512994" y="905600"/>
                      <a:pt x="3512994" y="880944"/>
                    </a:cubicBezTo>
                    <a:close/>
                    <a:moveTo>
                      <a:pt x="3514721" y="2800345"/>
                    </a:moveTo>
                    <a:cubicBezTo>
                      <a:pt x="3514721" y="2796896"/>
                      <a:pt x="3512008" y="2794183"/>
                      <a:pt x="3508554" y="2794183"/>
                    </a:cubicBezTo>
                    <a:cubicBezTo>
                      <a:pt x="3505104" y="2794183"/>
                      <a:pt x="3502391" y="2796896"/>
                      <a:pt x="3502391" y="2800345"/>
                    </a:cubicBezTo>
                    <a:cubicBezTo>
                      <a:pt x="3502391" y="2803799"/>
                      <a:pt x="3505104" y="2806513"/>
                      <a:pt x="3508554" y="2806513"/>
                    </a:cubicBezTo>
                    <a:cubicBezTo>
                      <a:pt x="3512008" y="2806513"/>
                      <a:pt x="3514721" y="2803799"/>
                      <a:pt x="3514721" y="2800345"/>
                    </a:cubicBezTo>
                    <a:close/>
                    <a:moveTo>
                      <a:pt x="3515213" y="761382"/>
                    </a:moveTo>
                    <a:cubicBezTo>
                      <a:pt x="3515213" y="736968"/>
                      <a:pt x="3495241" y="716995"/>
                      <a:pt x="3470830" y="716995"/>
                    </a:cubicBezTo>
                    <a:cubicBezTo>
                      <a:pt x="3446417" y="716995"/>
                      <a:pt x="3426445" y="736968"/>
                      <a:pt x="3426445" y="761382"/>
                    </a:cubicBezTo>
                    <a:cubicBezTo>
                      <a:pt x="3426445" y="785793"/>
                      <a:pt x="3446417" y="805765"/>
                      <a:pt x="3470830" y="805765"/>
                    </a:cubicBezTo>
                    <a:cubicBezTo>
                      <a:pt x="3495241" y="805765"/>
                      <a:pt x="3515213" y="785793"/>
                      <a:pt x="3515213" y="761382"/>
                    </a:cubicBezTo>
                    <a:close/>
                    <a:moveTo>
                      <a:pt x="3517183" y="1773706"/>
                    </a:moveTo>
                    <a:cubicBezTo>
                      <a:pt x="3517183" y="1750267"/>
                      <a:pt x="3497952" y="1731021"/>
                      <a:pt x="3474527" y="1731021"/>
                    </a:cubicBezTo>
                    <a:cubicBezTo>
                      <a:pt x="3451101" y="1731021"/>
                      <a:pt x="3431869" y="1750267"/>
                      <a:pt x="3431869" y="1773706"/>
                    </a:cubicBezTo>
                    <a:cubicBezTo>
                      <a:pt x="3431869" y="1797151"/>
                      <a:pt x="3451101" y="1816376"/>
                      <a:pt x="3474527" y="1816376"/>
                    </a:cubicBezTo>
                    <a:cubicBezTo>
                      <a:pt x="3497952" y="1816376"/>
                      <a:pt x="3517183" y="1797151"/>
                      <a:pt x="3517183" y="1773706"/>
                    </a:cubicBezTo>
                    <a:close/>
                    <a:moveTo>
                      <a:pt x="3518417" y="5677336"/>
                    </a:moveTo>
                    <a:cubicBezTo>
                      <a:pt x="3518417" y="5675855"/>
                      <a:pt x="3517183" y="5674623"/>
                      <a:pt x="3515705" y="5674623"/>
                    </a:cubicBezTo>
                    <a:cubicBezTo>
                      <a:pt x="3514224" y="5674623"/>
                      <a:pt x="3512991" y="5675855"/>
                      <a:pt x="3512991" y="5677336"/>
                    </a:cubicBezTo>
                    <a:cubicBezTo>
                      <a:pt x="3512991" y="5678814"/>
                      <a:pt x="3514224" y="5680049"/>
                      <a:pt x="3515705" y="5680049"/>
                    </a:cubicBezTo>
                    <a:cubicBezTo>
                      <a:pt x="3517431" y="5680049"/>
                      <a:pt x="3518663" y="5678814"/>
                      <a:pt x="3518417" y="5677336"/>
                    </a:cubicBezTo>
                    <a:close/>
                    <a:moveTo>
                      <a:pt x="3519899" y="3901745"/>
                    </a:moveTo>
                    <a:cubicBezTo>
                      <a:pt x="3519899" y="3888921"/>
                      <a:pt x="3509542" y="3878565"/>
                      <a:pt x="3496719" y="3878565"/>
                    </a:cubicBezTo>
                    <a:cubicBezTo>
                      <a:pt x="3483897" y="3878565"/>
                      <a:pt x="3473542" y="3888921"/>
                      <a:pt x="3473542" y="3901745"/>
                    </a:cubicBezTo>
                    <a:cubicBezTo>
                      <a:pt x="3473542" y="3914567"/>
                      <a:pt x="3483897" y="3924921"/>
                      <a:pt x="3496719" y="3924921"/>
                    </a:cubicBezTo>
                    <a:cubicBezTo>
                      <a:pt x="3509294" y="3924921"/>
                      <a:pt x="3519899" y="3914567"/>
                      <a:pt x="3519899" y="3901745"/>
                    </a:cubicBezTo>
                    <a:close/>
                    <a:moveTo>
                      <a:pt x="3521625" y="5801610"/>
                    </a:moveTo>
                    <a:cubicBezTo>
                      <a:pt x="3521625" y="5800129"/>
                      <a:pt x="3520390" y="5798897"/>
                      <a:pt x="3518912" y="5798897"/>
                    </a:cubicBezTo>
                    <a:cubicBezTo>
                      <a:pt x="3517431" y="5798897"/>
                      <a:pt x="3516199" y="5800129"/>
                      <a:pt x="3516199" y="5801610"/>
                    </a:cubicBezTo>
                    <a:cubicBezTo>
                      <a:pt x="3516199" y="5803088"/>
                      <a:pt x="3517431" y="5804323"/>
                      <a:pt x="3518912" y="5804323"/>
                    </a:cubicBezTo>
                    <a:cubicBezTo>
                      <a:pt x="3520390" y="5804323"/>
                      <a:pt x="3521625" y="5803088"/>
                      <a:pt x="3521625" y="5801610"/>
                    </a:cubicBezTo>
                    <a:close/>
                    <a:moveTo>
                      <a:pt x="3522854" y="5552571"/>
                    </a:moveTo>
                    <a:cubicBezTo>
                      <a:pt x="3522854" y="5546161"/>
                      <a:pt x="3517678" y="5540734"/>
                      <a:pt x="3511019" y="5540734"/>
                    </a:cubicBezTo>
                    <a:cubicBezTo>
                      <a:pt x="3504610" y="5540734"/>
                      <a:pt x="3499183" y="5546161"/>
                      <a:pt x="3499183" y="5552571"/>
                    </a:cubicBezTo>
                    <a:cubicBezTo>
                      <a:pt x="3499183" y="5558983"/>
                      <a:pt x="3504361" y="5564406"/>
                      <a:pt x="3511019" y="5564406"/>
                    </a:cubicBezTo>
                    <a:cubicBezTo>
                      <a:pt x="3517678" y="5564406"/>
                      <a:pt x="3522854" y="5558983"/>
                      <a:pt x="3522854" y="5552571"/>
                    </a:cubicBezTo>
                    <a:close/>
                    <a:moveTo>
                      <a:pt x="3524336" y="3104862"/>
                    </a:moveTo>
                    <a:cubicBezTo>
                      <a:pt x="3524336" y="3098204"/>
                      <a:pt x="3518910" y="3092533"/>
                      <a:pt x="3512008" y="3092533"/>
                    </a:cubicBezTo>
                    <a:cubicBezTo>
                      <a:pt x="3505350" y="3092533"/>
                      <a:pt x="3499678" y="3097958"/>
                      <a:pt x="3499678" y="3104862"/>
                    </a:cubicBezTo>
                    <a:cubicBezTo>
                      <a:pt x="3499678" y="3111518"/>
                      <a:pt x="3505105" y="3117190"/>
                      <a:pt x="3512008" y="3117190"/>
                    </a:cubicBezTo>
                    <a:cubicBezTo>
                      <a:pt x="3518910" y="3117190"/>
                      <a:pt x="3524581" y="3111518"/>
                      <a:pt x="3524336" y="3104862"/>
                    </a:cubicBezTo>
                    <a:close/>
                    <a:moveTo>
                      <a:pt x="3524581" y="5923420"/>
                    </a:moveTo>
                    <a:cubicBezTo>
                      <a:pt x="3524581" y="5922434"/>
                      <a:pt x="3523843" y="5921693"/>
                      <a:pt x="3522858" y="5921693"/>
                    </a:cubicBezTo>
                    <a:cubicBezTo>
                      <a:pt x="3522117" y="5921693"/>
                      <a:pt x="3521377" y="5922434"/>
                      <a:pt x="3521377" y="5923420"/>
                    </a:cubicBezTo>
                    <a:cubicBezTo>
                      <a:pt x="3521377" y="5924406"/>
                      <a:pt x="3521871" y="5925144"/>
                      <a:pt x="3522858" y="5925144"/>
                    </a:cubicBezTo>
                    <a:cubicBezTo>
                      <a:pt x="3523843" y="5925144"/>
                      <a:pt x="3524581" y="5924406"/>
                      <a:pt x="3524581" y="5923420"/>
                    </a:cubicBezTo>
                    <a:close/>
                    <a:moveTo>
                      <a:pt x="3526309" y="4403527"/>
                    </a:moveTo>
                    <a:cubicBezTo>
                      <a:pt x="3526309" y="4379854"/>
                      <a:pt x="3507076" y="4360621"/>
                      <a:pt x="3483406" y="4360621"/>
                    </a:cubicBezTo>
                    <a:cubicBezTo>
                      <a:pt x="3459732" y="4360621"/>
                      <a:pt x="3440500" y="4379854"/>
                      <a:pt x="3440500" y="4403527"/>
                    </a:cubicBezTo>
                    <a:cubicBezTo>
                      <a:pt x="3440500" y="4427196"/>
                      <a:pt x="3459732" y="4446430"/>
                      <a:pt x="3483406" y="4446430"/>
                    </a:cubicBezTo>
                    <a:cubicBezTo>
                      <a:pt x="3507076" y="4446430"/>
                      <a:pt x="3526309" y="4427196"/>
                      <a:pt x="3526309" y="4403527"/>
                    </a:cubicBezTo>
                    <a:close/>
                    <a:moveTo>
                      <a:pt x="3527049" y="6044733"/>
                    </a:moveTo>
                    <a:cubicBezTo>
                      <a:pt x="3527049" y="6044487"/>
                      <a:pt x="3526803" y="6044241"/>
                      <a:pt x="3526557" y="6044241"/>
                    </a:cubicBezTo>
                    <a:cubicBezTo>
                      <a:pt x="3526308" y="6044241"/>
                      <a:pt x="3526062" y="6044487"/>
                      <a:pt x="3526062" y="6044733"/>
                    </a:cubicBezTo>
                    <a:cubicBezTo>
                      <a:pt x="3526062" y="6044982"/>
                      <a:pt x="3526308" y="6045227"/>
                      <a:pt x="3526557" y="6045227"/>
                    </a:cubicBezTo>
                    <a:cubicBezTo>
                      <a:pt x="3526803" y="6045227"/>
                      <a:pt x="3527049" y="6044982"/>
                      <a:pt x="3527049" y="6044733"/>
                    </a:cubicBezTo>
                    <a:close/>
                    <a:moveTo>
                      <a:pt x="3528526" y="2400171"/>
                    </a:moveTo>
                    <a:cubicBezTo>
                      <a:pt x="3528526" y="2386611"/>
                      <a:pt x="3517431" y="2375758"/>
                      <a:pt x="3504118" y="2375758"/>
                    </a:cubicBezTo>
                    <a:cubicBezTo>
                      <a:pt x="3490556" y="2375758"/>
                      <a:pt x="3479706" y="2386855"/>
                      <a:pt x="3479706" y="2400171"/>
                    </a:cubicBezTo>
                    <a:cubicBezTo>
                      <a:pt x="3479706" y="2413734"/>
                      <a:pt x="3490802" y="2424577"/>
                      <a:pt x="3504118" y="2424577"/>
                    </a:cubicBezTo>
                    <a:cubicBezTo>
                      <a:pt x="3517431" y="2424577"/>
                      <a:pt x="3528526" y="2413734"/>
                      <a:pt x="3528526" y="2400171"/>
                    </a:cubicBezTo>
                    <a:close/>
                    <a:moveTo>
                      <a:pt x="3530499" y="6165064"/>
                    </a:moveTo>
                    <a:cubicBezTo>
                      <a:pt x="3530499" y="6164569"/>
                      <a:pt x="3530004" y="6164077"/>
                      <a:pt x="3529514" y="6164077"/>
                    </a:cubicBezTo>
                    <a:cubicBezTo>
                      <a:pt x="3529021" y="6164077"/>
                      <a:pt x="3528526" y="6164569"/>
                      <a:pt x="3528526" y="6165064"/>
                    </a:cubicBezTo>
                    <a:cubicBezTo>
                      <a:pt x="3528526" y="6165556"/>
                      <a:pt x="3529021" y="6166050"/>
                      <a:pt x="3529514" y="6166050"/>
                    </a:cubicBezTo>
                    <a:cubicBezTo>
                      <a:pt x="3530004" y="6166050"/>
                      <a:pt x="3530499" y="6165556"/>
                      <a:pt x="3530499" y="6165064"/>
                    </a:cubicBezTo>
                    <a:close/>
                    <a:moveTo>
                      <a:pt x="3542830" y="2256923"/>
                    </a:moveTo>
                    <a:cubicBezTo>
                      <a:pt x="3542830" y="2246327"/>
                      <a:pt x="3534198" y="2237689"/>
                      <a:pt x="3523596" y="2237689"/>
                    </a:cubicBezTo>
                    <a:cubicBezTo>
                      <a:pt x="3512994" y="2237689"/>
                      <a:pt x="3504364" y="2246327"/>
                      <a:pt x="3504364" y="2256923"/>
                    </a:cubicBezTo>
                    <a:cubicBezTo>
                      <a:pt x="3504364" y="2267520"/>
                      <a:pt x="3512994" y="2276150"/>
                      <a:pt x="3523596" y="2276150"/>
                    </a:cubicBezTo>
                    <a:cubicBezTo>
                      <a:pt x="3534198" y="2276150"/>
                      <a:pt x="3542830" y="2267520"/>
                      <a:pt x="3542830" y="2256923"/>
                    </a:cubicBezTo>
                    <a:close/>
                    <a:moveTo>
                      <a:pt x="3543075" y="6280954"/>
                    </a:moveTo>
                    <a:cubicBezTo>
                      <a:pt x="3543075" y="6279227"/>
                      <a:pt x="3541843" y="6277995"/>
                      <a:pt x="3540116" y="6277995"/>
                    </a:cubicBezTo>
                    <a:cubicBezTo>
                      <a:pt x="3538390" y="6277995"/>
                      <a:pt x="3537157" y="6279227"/>
                      <a:pt x="3537157" y="6280954"/>
                    </a:cubicBezTo>
                    <a:cubicBezTo>
                      <a:pt x="3537157" y="6282681"/>
                      <a:pt x="3538390" y="6283913"/>
                      <a:pt x="3540116" y="6283913"/>
                    </a:cubicBezTo>
                    <a:cubicBezTo>
                      <a:pt x="3541597" y="6283913"/>
                      <a:pt x="3543075" y="6282432"/>
                      <a:pt x="3543075" y="6280954"/>
                    </a:cubicBezTo>
                    <a:close/>
                    <a:moveTo>
                      <a:pt x="3545048" y="6400051"/>
                    </a:moveTo>
                    <a:cubicBezTo>
                      <a:pt x="3545048" y="6398570"/>
                      <a:pt x="3543815" y="6397091"/>
                      <a:pt x="3542089" y="6397091"/>
                    </a:cubicBezTo>
                    <a:cubicBezTo>
                      <a:pt x="3540362" y="6397091"/>
                      <a:pt x="3539130" y="6398323"/>
                      <a:pt x="3539130" y="6400051"/>
                    </a:cubicBezTo>
                    <a:cubicBezTo>
                      <a:pt x="3539130" y="6401529"/>
                      <a:pt x="3540362" y="6403009"/>
                      <a:pt x="3542089" y="6403009"/>
                    </a:cubicBezTo>
                    <a:cubicBezTo>
                      <a:pt x="3543815" y="6403009"/>
                      <a:pt x="3545048" y="6401529"/>
                      <a:pt x="3545048" y="6400051"/>
                    </a:cubicBezTo>
                    <a:close/>
                    <a:moveTo>
                      <a:pt x="3545542" y="6518652"/>
                    </a:moveTo>
                    <a:cubicBezTo>
                      <a:pt x="3545542" y="6517420"/>
                      <a:pt x="3544553" y="6516434"/>
                      <a:pt x="3543321" y="6516434"/>
                    </a:cubicBezTo>
                    <a:cubicBezTo>
                      <a:pt x="3542089" y="6516434"/>
                      <a:pt x="3541102" y="6517420"/>
                      <a:pt x="3541102" y="6518652"/>
                    </a:cubicBezTo>
                    <a:cubicBezTo>
                      <a:pt x="3541102" y="6519885"/>
                      <a:pt x="3542089" y="6520870"/>
                      <a:pt x="3543321" y="6520870"/>
                    </a:cubicBezTo>
                    <a:cubicBezTo>
                      <a:pt x="3544553" y="6520870"/>
                      <a:pt x="3545542" y="6519885"/>
                      <a:pt x="3545542" y="6518652"/>
                    </a:cubicBezTo>
                    <a:close/>
                    <a:moveTo>
                      <a:pt x="3548502" y="6636022"/>
                    </a:moveTo>
                    <a:cubicBezTo>
                      <a:pt x="3548502" y="6634541"/>
                      <a:pt x="3547267" y="6633309"/>
                      <a:pt x="3545789" y="6633309"/>
                    </a:cubicBezTo>
                    <a:cubicBezTo>
                      <a:pt x="3544308" y="6633309"/>
                      <a:pt x="3543075" y="6634541"/>
                      <a:pt x="3543075" y="6636022"/>
                    </a:cubicBezTo>
                    <a:cubicBezTo>
                      <a:pt x="3543075" y="6637500"/>
                      <a:pt x="3544308" y="6638735"/>
                      <a:pt x="3545789" y="6638735"/>
                    </a:cubicBezTo>
                    <a:cubicBezTo>
                      <a:pt x="3547267" y="6638735"/>
                      <a:pt x="3548502" y="6637500"/>
                      <a:pt x="3548502" y="6636022"/>
                    </a:cubicBezTo>
                    <a:close/>
                    <a:moveTo>
                      <a:pt x="3549733" y="4150540"/>
                    </a:moveTo>
                    <a:cubicBezTo>
                      <a:pt x="3549733" y="4129087"/>
                      <a:pt x="3532225" y="4111579"/>
                      <a:pt x="3510772" y="4111579"/>
                    </a:cubicBezTo>
                    <a:cubicBezTo>
                      <a:pt x="3489568" y="4111579"/>
                      <a:pt x="3472060" y="4129087"/>
                      <a:pt x="3472060" y="4150540"/>
                    </a:cubicBezTo>
                    <a:cubicBezTo>
                      <a:pt x="3472060" y="4171744"/>
                      <a:pt x="3489322" y="4189252"/>
                      <a:pt x="3510772" y="4189252"/>
                    </a:cubicBezTo>
                    <a:cubicBezTo>
                      <a:pt x="3531979" y="4189252"/>
                      <a:pt x="3549485" y="4171990"/>
                      <a:pt x="3549733" y="4150540"/>
                    </a:cubicBezTo>
                    <a:close/>
                    <a:moveTo>
                      <a:pt x="3549978" y="3790292"/>
                    </a:moveTo>
                    <a:cubicBezTo>
                      <a:pt x="3549978" y="3777963"/>
                      <a:pt x="3539870" y="3767853"/>
                      <a:pt x="3527542" y="3767853"/>
                    </a:cubicBezTo>
                    <a:cubicBezTo>
                      <a:pt x="3515212" y="3767853"/>
                      <a:pt x="3505104" y="3777963"/>
                      <a:pt x="3505104" y="3790292"/>
                    </a:cubicBezTo>
                    <a:cubicBezTo>
                      <a:pt x="3505104" y="3802620"/>
                      <a:pt x="3515212" y="3812729"/>
                      <a:pt x="3527542" y="3812729"/>
                    </a:cubicBezTo>
                    <a:cubicBezTo>
                      <a:pt x="3539870" y="3812729"/>
                      <a:pt x="3549978" y="3802865"/>
                      <a:pt x="3549978" y="3790292"/>
                    </a:cubicBezTo>
                    <a:close/>
                    <a:moveTo>
                      <a:pt x="3550720" y="2644517"/>
                    </a:moveTo>
                    <a:cubicBezTo>
                      <a:pt x="3550720" y="2641557"/>
                      <a:pt x="3548252" y="2638845"/>
                      <a:pt x="3545048" y="2638845"/>
                    </a:cubicBezTo>
                    <a:cubicBezTo>
                      <a:pt x="3541843" y="2638845"/>
                      <a:pt x="3539130" y="2641313"/>
                      <a:pt x="3539130" y="2644517"/>
                    </a:cubicBezTo>
                    <a:cubicBezTo>
                      <a:pt x="3539130" y="2647722"/>
                      <a:pt x="3541843" y="2650189"/>
                      <a:pt x="3545048" y="2650189"/>
                    </a:cubicBezTo>
                    <a:cubicBezTo>
                      <a:pt x="3548252" y="2650189"/>
                      <a:pt x="3550720" y="2647475"/>
                      <a:pt x="3550720" y="2644517"/>
                    </a:cubicBezTo>
                    <a:close/>
                    <a:moveTo>
                      <a:pt x="3550720" y="6753393"/>
                    </a:moveTo>
                    <a:cubicBezTo>
                      <a:pt x="3550720" y="6751419"/>
                      <a:pt x="3549242" y="6749692"/>
                      <a:pt x="3547269" y="6749692"/>
                    </a:cubicBezTo>
                    <a:cubicBezTo>
                      <a:pt x="3545296" y="6749692"/>
                      <a:pt x="3543570" y="6751419"/>
                      <a:pt x="3543570" y="6753393"/>
                    </a:cubicBezTo>
                    <a:cubicBezTo>
                      <a:pt x="3543570" y="6755365"/>
                      <a:pt x="3545296" y="6756843"/>
                      <a:pt x="3547269" y="6756843"/>
                    </a:cubicBezTo>
                    <a:cubicBezTo>
                      <a:pt x="3549242" y="6756843"/>
                      <a:pt x="3550968" y="6755119"/>
                      <a:pt x="3550720" y="6753393"/>
                    </a:cubicBezTo>
                    <a:close/>
                    <a:moveTo>
                      <a:pt x="3553431" y="3217056"/>
                    </a:moveTo>
                    <a:cubicBezTo>
                      <a:pt x="3553431" y="3208920"/>
                      <a:pt x="3546772" y="3202262"/>
                      <a:pt x="3538636" y="3202262"/>
                    </a:cubicBezTo>
                    <a:cubicBezTo>
                      <a:pt x="3530500" y="3202262"/>
                      <a:pt x="3523841" y="3208920"/>
                      <a:pt x="3523841" y="3217056"/>
                    </a:cubicBezTo>
                    <a:cubicBezTo>
                      <a:pt x="3523841" y="3225193"/>
                      <a:pt x="3530500" y="3231851"/>
                      <a:pt x="3538636" y="3231851"/>
                    </a:cubicBezTo>
                    <a:cubicBezTo>
                      <a:pt x="3546772" y="3231851"/>
                      <a:pt x="3553431" y="3225193"/>
                      <a:pt x="3553431" y="3217056"/>
                    </a:cubicBezTo>
                    <a:close/>
                    <a:moveTo>
                      <a:pt x="3553433" y="4549992"/>
                    </a:moveTo>
                    <a:cubicBezTo>
                      <a:pt x="3553433" y="4524842"/>
                      <a:pt x="3532966" y="4504622"/>
                      <a:pt x="3508063" y="4504622"/>
                    </a:cubicBezTo>
                    <a:cubicBezTo>
                      <a:pt x="3482910" y="4504622"/>
                      <a:pt x="3462693" y="4525088"/>
                      <a:pt x="3462693" y="4549992"/>
                    </a:cubicBezTo>
                    <a:cubicBezTo>
                      <a:pt x="3462693" y="4575144"/>
                      <a:pt x="3483159" y="4595362"/>
                      <a:pt x="3508063" y="4595362"/>
                    </a:cubicBezTo>
                    <a:cubicBezTo>
                      <a:pt x="3532966" y="4595362"/>
                      <a:pt x="3553433" y="4574895"/>
                      <a:pt x="3553433" y="4549992"/>
                    </a:cubicBezTo>
                    <a:close/>
                    <a:moveTo>
                      <a:pt x="3553697" y="0"/>
                    </a:moveTo>
                    <a:lnTo>
                      <a:pt x="3527133" y="0"/>
                    </a:lnTo>
                    <a:lnTo>
                      <a:pt x="3540362" y="5508"/>
                    </a:lnTo>
                    <a:close/>
                    <a:moveTo>
                      <a:pt x="3553924" y="6869777"/>
                    </a:moveTo>
                    <a:cubicBezTo>
                      <a:pt x="3553924" y="6867063"/>
                      <a:pt x="3551705" y="6864844"/>
                      <a:pt x="3548992" y="6864844"/>
                    </a:cubicBezTo>
                    <a:cubicBezTo>
                      <a:pt x="3546280" y="6864844"/>
                      <a:pt x="3544061" y="6867063"/>
                      <a:pt x="3544061" y="6869777"/>
                    </a:cubicBezTo>
                    <a:cubicBezTo>
                      <a:pt x="3544061" y="6872489"/>
                      <a:pt x="3546280" y="6874708"/>
                      <a:pt x="3548992" y="6874708"/>
                    </a:cubicBezTo>
                    <a:cubicBezTo>
                      <a:pt x="3551705" y="6874708"/>
                      <a:pt x="3553924" y="6872489"/>
                      <a:pt x="3553924" y="6869777"/>
                    </a:cubicBezTo>
                    <a:close/>
                    <a:moveTo>
                      <a:pt x="3557379" y="6985668"/>
                    </a:moveTo>
                    <a:cubicBezTo>
                      <a:pt x="3557379" y="6981723"/>
                      <a:pt x="3554173" y="6978764"/>
                      <a:pt x="3550474" y="6978764"/>
                    </a:cubicBezTo>
                    <a:cubicBezTo>
                      <a:pt x="3546529" y="6978764"/>
                      <a:pt x="3543570" y="6981969"/>
                      <a:pt x="3543570" y="6985668"/>
                    </a:cubicBezTo>
                    <a:cubicBezTo>
                      <a:pt x="3543570" y="6989614"/>
                      <a:pt x="3546774" y="6992572"/>
                      <a:pt x="3550474" y="6992572"/>
                    </a:cubicBezTo>
                    <a:cubicBezTo>
                      <a:pt x="3554173" y="6992572"/>
                      <a:pt x="3557379" y="6989614"/>
                      <a:pt x="3557379" y="6985668"/>
                    </a:cubicBezTo>
                    <a:close/>
                    <a:moveTo>
                      <a:pt x="3563047" y="2116871"/>
                    </a:moveTo>
                    <a:cubicBezTo>
                      <a:pt x="3563047" y="2103801"/>
                      <a:pt x="3552443" y="2093196"/>
                      <a:pt x="3539375" y="2093196"/>
                    </a:cubicBezTo>
                    <a:cubicBezTo>
                      <a:pt x="3526308" y="2093196"/>
                      <a:pt x="3515705" y="2103801"/>
                      <a:pt x="3515705" y="2116871"/>
                    </a:cubicBezTo>
                    <a:cubicBezTo>
                      <a:pt x="3515705" y="2129941"/>
                      <a:pt x="3526308" y="2140543"/>
                      <a:pt x="3539375" y="2140543"/>
                    </a:cubicBezTo>
                    <a:cubicBezTo>
                      <a:pt x="3552443" y="2140543"/>
                      <a:pt x="3563047" y="2129941"/>
                      <a:pt x="3563047" y="2116871"/>
                    </a:cubicBezTo>
                    <a:close/>
                    <a:moveTo>
                      <a:pt x="3563295" y="7214733"/>
                    </a:moveTo>
                    <a:cubicBezTo>
                      <a:pt x="3563295" y="7212270"/>
                      <a:pt x="3561323" y="7210297"/>
                      <a:pt x="3558855" y="7210297"/>
                    </a:cubicBezTo>
                    <a:cubicBezTo>
                      <a:pt x="3556390" y="7210297"/>
                      <a:pt x="3554419" y="7212270"/>
                      <a:pt x="3554419" y="7214733"/>
                    </a:cubicBezTo>
                    <a:cubicBezTo>
                      <a:pt x="3554419" y="7217201"/>
                      <a:pt x="3556390" y="7219173"/>
                      <a:pt x="3558855" y="7219173"/>
                    </a:cubicBezTo>
                    <a:cubicBezTo>
                      <a:pt x="3561323" y="7219173"/>
                      <a:pt x="3563295" y="7217201"/>
                      <a:pt x="3563295" y="7214733"/>
                    </a:cubicBezTo>
                    <a:close/>
                    <a:moveTo>
                      <a:pt x="3566006" y="2906128"/>
                    </a:moveTo>
                    <a:cubicBezTo>
                      <a:pt x="3566006" y="2901445"/>
                      <a:pt x="3562307" y="2897746"/>
                      <a:pt x="3557621" y="2897746"/>
                    </a:cubicBezTo>
                    <a:cubicBezTo>
                      <a:pt x="3552939" y="2897746"/>
                      <a:pt x="3549238" y="2901445"/>
                      <a:pt x="3549238" y="2906128"/>
                    </a:cubicBezTo>
                    <a:cubicBezTo>
                      <a:pt x="3549238" y="2910814"/>
                      <a:pt x="3552939" y="2914513"/>
                      <a:pt x="3557621" y="2914513"/>
                    </a:cubicBezTo>
                    <a:cubicBezTo>
                      <a:pt x="3562307" y="2914513"/>
                      <a:pt x="3566006" y="2910814"/>
                      <a:pt x="3566006" y="2906128"/>
                    </a:cubicBezTo>
                    <a:close/>
                    <a:moveTo>
                      <a:pt x="3566006" y="7099093"/>
                    </a:moveTo>
                    <a:cubicBezTo>
                      <a:pt x="3566006" y="7094902"/>
                      <a:pt x="3562310" y="7091202"/>
                      <a:pt x="3557869" y="7091202"/>
                    </a:cubicBezTo>
                    <a:cubicBezTo>
                      <a:pt x="3553680" y="7091202"/>
                      <a:pt x="3549980" y="7094653"/>
                      <a:pt x="3549980" y="7099093"/>
                    </a:cubicBezTo>
                    <a:cubicBezTo>
                      <a:pt x="3549980" y="7103532"/>
                      <a:pt x="3553431" y="7107229"/>
                      <a:pt x="3557869" y="7107229"/>
                    </a:cubicBezTo>
                    <a:cubicBezTo>
                      <a:pt x="3562310" y="7107229"/>
                      <a:pt x="3566006" y="7103532"/>
                      <a:pt x="3566006" y="7099093"/>
                    </a:cubicBezTo>
                    <a:close/>
                    <a:moveTo>
                      <a:pt x="3566009" y="7329639"/>
                    </a:moveTo>
                    <a:cubicBezTo>
                      <a:pt x="3566009" y="7326188"/>
                      <a:pt x="3563296" y="7323475"/>
                      <a:pt x="3559843" y="7323475"/>
                    </a:cubicBezTo>
                    <a:cubicBezTo>
                      <a:pt x="3556391" y="7323475"/>
                      <a:pt x="3553679" y="7326188"/>
                      <a:pt x="3553679" y="7329639"/>
                    </a:cubicBezTo>
                    <a:cubicBezTo>
                      <a:pt x="3553679" y="7333093"/>
                      <a:pt x="3556391" y="7335806"/>
                      <a:pt x="3559843" y="7335806"/>
                    </a:cubicBezTo>
                    <a:cubicBezTo>
                      <a:pt x="3563296" y="7335806"/>
                      <a:pt x="3566009" y="7333093"/>
                      <a:pt x="3566009" y="7329639"/>
                    </a:cubicBezTo>
                    <a:close/>
                    <a:moveTo>
                      <a:pt x="3567733" y="1980523"/>
                    </a:moveTo>
                    <a:cubicBezTo>
                      <a:pt x="3567733" y="1972635"/>
                      <a:pt x="3561323" y="1966227"/>
                      <a:pt x="3553433" y="1966227"/>
                    </a:cubicBezTo>
                    <a:cubicBezTo>
                      <a:pt x="3545542" y="1966227"/>
                      <a:pt x="3539130" y="1972635"/>
                      <a:pt x="3539130" y="1980523"/>
                    </a:cubicBezTo>
                    <a:cubicBezTo>
                      <a:pt x="3539130" y="1988411"/>
                      <a:pt x="3545542" y="1994818"/>
                      <a:pt x="3553433" y="1994818"/>
                    </a:cubicBezTo>
                    <a:cubicBezTo>
                      <a:pt x="3561323" y="1994818"/>
                      <a:pt x="3567733" y="1988411"/>
                      <a:pt x="3567733" y="1980523"/>
                    </a:cubicBezTo>
                    <a:close/>
                    <a:moveTo>
                      <a:pt x="3570693" y="3676868"/>
                    </a:moveTo>
                    <a:cubicBezTo>
                      <a:pt x="3570693" y="3664787"/>
                      <a:pt x="3560829" y="3655169"/>
                      <a:pt x="3548993" y="3655169"/>
                    </a:cubicBezTo>
                    <a:cubicBezTo>
                      <a:pt x="3536912" y="3655169"/>
                      <a:pt x="3527295" y="3665033"/>
                      <a:pt x="3527295" y="3676868"/>
                    </a:cubicBezTo>
                    <a:cubicBezTo>
                      <a:pt x="3527295" y="3688950"/>
                      <a:pt x="3537157" y="3698567"/>
                      <a:pt x="3548993" y="3698567"/>
                    </a:cubicBezTo>
                    <a:cubicBezTo>
                      <a:pt x="3560829" y="3698567"/>
                      <a:pt x="3570693" y="3688950"/>
                      <a:pt x="3570693" y="3676868"/>
                    </a:cubicBezTo>
                    <a:close/>
                    <a:moveTo>
                      <a:pt x="3572913" y="3331213"/>
                    </a:moveTo>
                    <a:cubicBezTo>
                      <a:pt x="3572913" y="3321602"/>
                      <a:pt x="3565021" y="3313961"/>
                      <a:pt x="3555650" y="3313961"/>
                    </a:cubicBezTo>
                    <a:cubicBezTo>
                      <a:pt x="3546282" y="3313961"/>
                      <a:pt x="3538637" y="3321602"/>
                      <a:pt x="3538637" y="3331213"/>
                    </a:cubicBezTo>
                    <a:cubicBezTo>
                      <a:pt x="3538637" y="3340835"/>
                      <a:pt x="3546282" y="3348477"/>
                      <a:pt x="3555650" y="3348477"/>
                    </a:cubicBezTo>
                    <a:cubicBezTo>
                      <a:pt x="3565021" y="3348477"/>
                      <a:pt x="3572913" y="3340835"/>
                      <a:pt x="3572913" y="3331213"/>
                    </a:cubicBezTo>
                    <a:close/>
                    <a:moveTo>
                      <a:pt x="3573896" y="670662"/>
                    </a:moveTo>
                    <a:cubicBezTo>
                      <a:pt x="3573896" y="647475"/>
                      <a:pt x="3554908" y="628700"/>
                      <a:pt x="3531977" y="628700"/>
                    </a:cubicBezTo>
                    <a:cubicBezTo>
                      <a:pt x="3509046" y="628700"/>
                      <a:pt x="3490306" y="647722"/>
                      <a:pt x="3490306" y="670662"/>
                    </a:cubicBezTo>
                    <a:cubicBezTo>
                      <a:pt x="3490306" y="693844"/>
                      <a:pt x="3509046" y="712575"/>
                      <a:pt x="3531977" y="712575"/>
                    </a:cubicBezTo>
                    <a:cubicBezTo>
                      <a:pt x="3555157" y="712575"/>
                      <a:pt x="3573896" y="693844"/>
                      <a:pt x="3573896" y="670662"/>
                    </a:cubicBezTo>
                    <a:close/>
                    <a:moveTo>
                      <a:pt x="3574636" y="4692760"/>
                    </a:moveTo>
                    <a:cubicBezTo>
                      <a:pt x="3574636" y="4667363"/>
                      <a:pt x="3553924" y="4646650"/>
                      <a:pt x="3528528" y="4646650"/>
                    </a:cubicBezTo>
                    <a:cubicBezTo>
                      <a:pt x="3503130" y="4646650"/>
                      <a:pt x="3482419" y="4667363"/>
                      <a:pt x="3482419" y="4692760"/>
                    </a:cubicBezTo>
                    <a:cubicBezTo>
                      <a:pt x="3482419" y="4718156"/>
                      <a:pt x="3503130" y="4738868"/>
                      <a:pt x="3528528" y="4738868"/>
                    </a:cubicBezTo>
                    <a:cubicBezTo>
                      <a:pt x="3553924" y="4738868"/>
                      <a:pt x="3574636" y="4718156"/>
                      <a:pt x="3574636" y="4692760"/>
                    </a:cubicBezTo>
                    <a:close/>
                    <a:moveTo>
                      <a:pt x="3575622" y="551789"/>
                    </a:moveTo>
                    <a:cubicBezTo>
                      <a:pt x="3575622" y="528859"/>
                      <a:pt x="3557129" y="510366"/>
                      <a:pt x="3534198" y="510366"/>
                    </a:cubicBezTo>
                    <a:cubicBezTo>
                      <a:pt x="3511268" y="510366"/>
                      <a:pt x="3492774" y="528859"/>
                      <a:pt x="3492774" y="551789"/>
                    </a:cubicBezTo>
                    <a:cubicBezTo>
                      <a:pt x="3492774" y="574719"/>
                      <a:pt x="3511268" y="593212"/>
                      <a:pt x="3534198" y="593212"/>
                    </a:cubicBezTo>
                    <a:cubicBezTo>
                      <a:pt x="3557129" y="593212"/>
                      <a:pt x="3575622" y="574473"/>
                      <a:pt x="3575622" y="551789"/>
                    </a:cubicBezTo>
                    <a:close/>
                    <a:moveTo>
                      <a:pt x="3578090" y="315618"/>
                    </a:moveTo>
                    <a:cubicBezTo>
                      <a:pt x="3578090" y="293184"/>
                      <a:pt x="3559845" y="274690"/>
                      <a:pt x="3537157" y="274690"/>
                    </a:cubicBezTo>
                    <a:cubicBezTo>
                      <a:pt x="3514721" y="274690"/>
                      <a:pt x="3496227" y="292937"/>
                      <a:pt x="3496227" y="315618"/>
                    </a:cubicBezTo>
                    <a:cubicBezTo>
                      <a:pt x="3496227" y="338057"/>
                      <a:pt x="3514721" y="356550"/>
                      <a:pt x="3537157" y="356550"/>
                    </a:cubicBezTo>
                    <a:cubicBezTo>
                      <a:pt x="3559845" y="356550"/>
                      <a:pt x="3578090" y="338305"/>
                      <a:pt x="3578090" y="315618"/>
                    </a:cubicBezTo>
                    <a:close/>
                    <a:moveTo>
                      <a:pt x="3578581" y="5102568"/>
                    </a:moveTo>
                    <a:cubicBezTo>
                      <a:pt x="3578581" y="5099117"/>
                      <a:pt x="3575622" y="5096158"/>
                      <a:pt x="3572172" y="5096158"/>
                    </a:cubicBezTo>
                    <a:cubicBezTo>
                      <a:pt x="3568718" y="5096158"/>
                      <a:pt x="3565760" y="5099117"/>
                      <a:pt x="3565760" y="5102568"/>
                    </a:cubicBezTo>
                    <a:cubicBezTo>
                      <a:pt x="3565760" y="5106021"/>
                      <a:pt x="3568718" y="5108980"/>
                      <a:pt x="3572172" y="5108980"/>
                    </a:cubicBezTo>
                    <a:cubicBezTo>
                      <a:pt x="3575622" y="5108980"/>
                      <a:pt x="3578581" y="5106267"/>
                      <a:pt x="3578581" y="5102568"/>
                    </a:cubicBezTo>
                    <a:close/>
                    <a:moveTo>
                      <a:pt x="3579074" y="433457"/>
                    </a:moveTo>
                    <a:cubicBezTo>
                      <a:pt x="3579074" y="410035"/>
                      <a:pt x="3559842" y="390802"/>
                      <a:pt x="3536171" y="390802"/>
                    </a:cubicBezTo>
                    <a:cubicBezTo>
                      <a:pt x="3512497" y="390802"/>
                      <a:pt x="3493265" y="409787"/>
                      <a:pt x="3493265" y="433457"/>
                    </a:cubicBezTo>
                    <a:cubicBezTo>
                      <a:pt x="3493265" y="457128"/>
                      <a:pt x="3512497" y="476361"/>
                      <a:pt x="3536171" y="476361"/>
                    </a:cubicBezTo>
                    <a:cubicBezTo>
                      <a:pt x="3559842" y="476361"/>
                      <a:pt x="3579074" y="457128"/>
                      <a:pt x="3579074" y="433457"/>
                    </a:cubicBezTo>
                    <a:close/>
                    <a:moveTo>
                      <a:pt x="3579077" y="198769"/>
                    </a:moveTo>
                    <a:cubicBezTo>
                      <a:pt x="3579077" y="176579"/>
                      <a:pt x="3561077" y="158333"/>
                      <a:pt x="3538637" y="158333"/>
                    </a:cubicBezTo>
                    <a:cubicBezTo>
                      <a:pt x="3516445" y="158333"/>
                      <a:pt x="3498199" y="176331"/>
                      <a:pt x="3498199" y="198769"/>
                    </a:cubicBezTo>
                    <a:cubicBezTo>
                      <a:pt x="3498199" y="220961"/>
                      <a:pt x="3516199" y="239206"/>
                      <a:pt x="3538637" y="239206"/>
                    </a:cubicBezTo>
                    <a:cubicBezTo>
                      <a:pt x="3560828" y="239206"/>
                      <a:pt x="3579077" y="220961"/>
                      <a:pt x="3579077" y="198769"/>
                    </a:cubicBezTo>
                    <a:close/>
                    <a:moveTo>
                      <a:pt x="3579077" y="4831828"/>
                    </a:moveTo>
                    <a:cubicBezTo>
                      <a:pt x="3579077" y="4813334"/>
                      <a:pt x="3564281" y="4798540"/>
                      <a:pt x="3545789" y="4798540"/>
                    </a:cubicBezTo>
                    <a:cubicBezTo>
                      <a:pt x="3527295" y="4798540"/>
                      <a:pt x="3512500" y="4813581"/>
                      <a:pt x="3512500" y="4831828"/>
                    </a:cubicBezTo>
                    <a:cubicBezTo>
                      <a:pt x="3512500" y="4850323"/>
                      <a:pt x="3527541" y="4865117"/>
                      <a:pt x="3545789" y="4865117"/>
                    </a:cubicBezTo>
                    <a:cubicBezTo>
                      <a:pt x="3564281" y="4865117"/>
                      <a:pt x="3579077" y="4850074"/>
                      <a:pt x="3579077" y="4831828"/>
                    </a:cubicBezTo>
                    <a:close/>
                    <a:moveTo>
                      <a:pt x="3579817" y="81922"/>
                    </a:moveTo>
                    <a:cubicBezTo>
                      <a:pt x="3579817" y="59730"/>
                      <a:pt x="3561815" y="41731"/>
                      <a:pt x="3539624" y="41731"/>
                    </a:cubicBezTo>
                    <a:cubicBezTo>
                      <a:pt x="3517431" y="41731"/>
                      <a:pt x="3499432" y="59730"/>
                      <a:pt x="3499432" y="81922"/>
                    </a:cubicBezTo>
                    <a:cubicBezTo>
                      <a:pt x="3499432" y="104110"/>
                      <a:pt x="3517431" y="122112"/>
                      <a:pt x="3539624" y="122112"/>
                    </a:cubicBezTo>
                    <a:cubicBezTo>
                      <a:pt x="3561815" y="122112"/>
                      <a:pt x="3579817" y="104110"/>
                      <a:pt x="3579817" y="81922"/>
                    </a:cubicBezTo>
                    <a:close/>
                    <a:moveTo>
                      <a:pt x="3581789" y="3561962"/>
                    </a:moveTo>
                    <a:cubicBezTo>
                      <a:pt x="3581789" y="3550374"/>
                      <a:pt x="3572417" y="3541003"/>
                      <a:pt x="3560828" y="3541003"/>
                    </a:cubicBezTo>
                    <a:cubicBezTo>
                      <a:pt x="3549241" y="3541003"/>
                      <a:pt x="3539870" y="3550374"/>
                      <a:pt x="3539870" y="3561962"/>
                    </a:cubicBezTo>
                    <a:cubicBezTo>
                      <a:pt x="3539870" y="3573551"/>
                      <a:pt x="3549241" y="3582923"/>
                      <a:pt x="3560828" y="3582923"/>
                    </a:cubicBezTo>
                    <a:cubicBezTo>
                      <a:pt x="3572172" y="3582923"/>
                      <a:pt x="3581789" y="3573551"/>
                      <a:pt x="3581789" y="3561962"/>
                    </a:cubicBezTo>
                    <a:close/>
                    <a:moveTo>
                      <a:pt x="3582772" y="3446613"/>
                    </a:moveTo>
                    <a:cubicBezTo>
                      <a:pt x="3582772" y="3435768"/>
                      <a:pt x="3573896" y="3426889"/>
                      <a:pt x="3563047" y="3426889"/>
                    </a:cubicBezTo>
                    <a:cubicBezTo>
                      <a:pt x="3552198" y="3426889"/>
                      <a:pt x="3543321" y="3435768"/>
                      <a:pt x="3543321" y="3446613"/>
                    </a:cubicBezTo>
                    <a:cubicBezTo>
                      <a:pt x="3543321" y="3457465"/>
                      <a:pt x="3552198" y="3466291"/>
                      <a:pt x="3563047" y="3466291"/>
                    </a:cubicBezTo>
                    <a:cubicBezTo>
                      <a:pt x="3573896" y="3466291"/>
                      <a:pt x="3582772" y="3457465"/>
                      <a:pt x="3582772" y="3446613"/>
                    </a:cubicBezTo>
                    <a:close/>
                    <a:moveTo>
                      <a:pt x="3584501" y="1686165"/>
                    </a:moveTo>
                    <a:cubicBezTo>
                      <a:pt x="3584501" y="1660761"/>
                      <a:pt x="3563788" y="1640054"/>
                      <a:pt x="3538393" y="1640054"/>
                    </a:cubicBezTo>
                    <a:cubicBezTo>
                      <a:pt x="3513241" y="1640054"/>
                      <a:pt x="3492528" y="1660761"/>
                      <a:pt x="3492528" y="1686165"/>
                    </a:cubicBezTo>
                    <a:cubicBezTo>
                      <a:pt x="3492528" y="1711288"/>
                      <a:pt x="3512994" y="1732019"/>
                      <a:pt x="3538393" y="1732019"/>
                    </a:cubicBezTo>
                    <a:cubicBezTo>
                      <a:pt x="3563788" y="1732019"/>
                      <a:pt x="3584501" y="1711537"/>
                      <a:pt x="3584501" y="1686165"/>
                    </a:cubicBezTo>
                    <a:close/>
                    <a:moveTo>
                      <a:pt x="3586718" y="4306378"/>
                    </a:moveTo>
                    <a:cubicBezTo>
                      <a:pt x="3586718" y="4284925"/>
                      <a:pt x="3569211" y="4267417"/>
                      <a:pt x="3547761" y="4267417"/>
                    </a:cubicBezTo>
                    <a:cubicBezTo>
                      <a:pt x="3526308" y="4267417"/>
                      <a:pt x="3508800" y="4284925"/>
                      <a:pt x="3508800" y="4306378"/>
                    </a:cubicBezTo>
                    <a:cubicBezTo>
                      <a:pt x="3508800" y="4327827"/>
                      <a:pt x="3526308" y="4345335"/>
                      <a:pt x="3547761" y="4345335"/>
                    </a:cubicBezTo>
                    <a:cubicBezTo>
                      <a:pt x="3569211" y="4345335"/>
                      <a:pt x="3586718" y="4327827"/>
                      <a:pt x="3586718" y="4306378"/>
                    </a:cubicBezTo>
                    <a:close/>
                    <a:moveTo>
                      <a:pt x="3591156" y="4968679"/>
                    </a:moveTo>
                    <a:cubicBezTo>
                      <a:pt x="3591156" y="4951417"/>
                      <a:pt x="3577101" y="4937363"/>
                      <a:pt x="3559843" y="4937363"/>
                    </a:cubicBezTo>
                    <a:cubicBezTo>
                      <a:pt x="3542581" y="4937363"/>
                      <a:pt x="3528526" y="4951417"/>
                      <a:pt x="3528526" y="4968679"/>
                    </a:cubicBezTo>
                    <a:cubicBezTo>
                      <a:pt x="3528526" y="4985938"/>
                      <a:pt x="3542581" y="4999992"/>
                      <a:pt x="3559843" y="4999992"/>
                    </a:cubicBezTo>
                    <a:cubicBezTo>
                      <a:pt x="3577101" y="4999992"/>
                      <a:pt x="3591156" y="4985938"/>
                      <a:pt x="3591156" y="4968679"/>
                    </a:cubicBezTo>
                    <a:close/>
                    <a:moveTo>
                      <a:pt x="3592636" y="1557215"/>
                    </a:moveTo>
                    <a:cubicBezTo>
                      <a:pt x="3592636" y="1531575"/>
                      <a:pt x="3571677" y="1510616"/>
                      <a:pt x="3546034" y="1510616"/>
                    </a:cubicBezTo>
                    <a:cubicBezTo>
                      <a:pt x="3520390" y="1510616"/>
                      <a:pt x="3499432" y="1531575"/>
                      <a:pt x="3499432" y="1557215"/>
                    </a:cubicBezTo>
                    <a:cubicBezTo>
                      <a:pt x="3499432" y="1582855"/>
                      <a:pt x="3520390" y="1603822"/>
                      <a:pt x="3546034" y="1603822"/>
                    </a:cubicBezTo>
                    <a:cubicBezTo>
                      <a:pt x="3571677" y="1603822"/>
                      <a:pt x="3592636" y="1582855"/>
                      <a:pt x="3592636" y="1557215"/>
                    </a:cubicBezTo>
                    <a:close/>
                    <a:moveTo>
                      <a:pt x="3592636" y="1846204"/>
                    </a:moveTo>
                    <a:cubicBezTo>
                      <a:pt x="3592636" y="1830919"/>
                      <a:pt x="3580063" y="1818339"/>
                      <a:pt x="3564774" y="1818339"/>
                    </a:cubicBezTo>
                    <a:cubicBezTo>
                      <a:pt x="3549487" y="1818339"/>
                      <a:pt x="3536911" y="1830919"/>
                      <a:pt x="3536911" y="1846204"/>
                    </a:cubicBezTo>
                    <a:cubicBezTo>
                      <a:pt x="3536911" y="1861486"/>
                      <a:pt x="3549487" y="1874057"/>
                      <a:pt x="3564774" y="1874057"/>
                    </a:cubicBezTo>
                    <a:cubicBezTo>
                      <a:pt x="3580063" y="1874057"/>
                      <a:pt x="3592636" y="1861486"/>
                      <a:pt x="3592636" y="1846204"/>
                    </a:cubicBezTo>
                    <a:close/>
                    <a:moveTo>
                      <a:pt x="3595594" y="4044510"/>
                    </a:moveTo>
                    <a:cubicBezTo>
                      <a:pt x="3595594" y="4024787"/>
                      <a:pt x="3579568" y="4008511"/>
                      <a:pt x="3559593" y="4008511"/>
                    </a:cubicBezTo>
                    <a:cubicBezTo>
                      <a:pt x="3539868" y="4008511"/>
                      <a:pt x="3523595" y="4024538"/>
                      <a:pt x="3523595" y="4044510"/>
                    </a:cubicBezTo>
                    <a:cubicBezTo>
                      <a:pt x="3523595" y="4064237"/>
                      <a:pt x="3539621" y="4080512"/>
                      <a:pt x="3559593" y="4080512"/>
                    </a:cubicBezTo>
                    <a:cubicBezTo>
                      <a:pt x="3579568" y="4080512"/>
                      <a:pt x="3595594" y="4064237"/>
                      <a:pt x="3595594" y="4044510"/>
                    </a:cubicBezTo>
                    <a:close/>
                    <a:moveTo>
                      <a:pt x="3598060" y="1430001"/>
                    </a:moveTo>
                    <a:cubicBezTo>
                      <a:pt x="3598060" y="1404850"/>
                      <a:pt x="3577596" y="1384384"/>
                      <a:pt x="3552444" y="1384384"/>
                    </a:cubicBezTo>
                    <a:cubicBezTo>
                      <a:pt x="3527295" y="1384384"/>
                      <a:pt x="3506828" y="1404850"/>
                      <a:pt x="3506828" y="1430001"/>
                    </a:cubicBezTo>
                    <a:cubicBezTo>
                      <a:pt x="3506828" y="1455151"/>
                      <a:pt x="3527295" y="1475617"/>
                      <a:pt x="3552444" y="1475617"/>
                    </a:cubicBezTo>
                    <a:cubicBezTo>
                      <a:pt x="3577596" y="1475617"/>
                      <a:pt x="3598060" y="1455151"/>
                      <a:pt x="3598060" y="1430001"/>
                    </a:cubicBezTo>
                    <a:close/>
                    <a:moveTo>
                      <a:pt x="3599543" y="5227091"/>
                    </a:moveTo>
                    <a:cubicBezTo>
                      <a:pt x="3599543" y="5222897"/>
                      <a:pt x="3596089" y="5219445"/>
                      <a:pt x="3591898" y="5219445"/>
                    </a:cubicBezTo>
                    <a:cubicBezTo>
                      <a:pt x="3587705" y="5219445"/>
                      <a:pt x="3584253" y="5222897"/>
                      <a:pt x="3584253" y="5227091"/>
                    </a:cubicBezTo>
                    <a:cubicBezTo>
                      <a:pt x="3584253" y="5231282"/>
                      <a:pt x="3587705" y="5234732"/>
                      <a:pt x="3591898" y="5234732"/>
                    </a:cubicBezTo>
                    <a:cubicBezTo>
                      <a:pt x="3596089" y="5234732"/>
                      <a:pt x="3599543" y="5231282"/>
                      <a:pt x="3599543" y="5227091"/>
                    </a:cubicBezTo>
                    <a:close/>
                    <a:moveTo>
                      <a:pt x="3600281" y="2492879"/>
                    </a:moveTo>
                    <a:cubicBezTo>
                      <a:pt x="3600281" y="2478826"/>
                      <a:pt x="3588937" y="2467234"/>
                      <a:pt x="3574637" y="2467234"/>
                    </a:cubicBezTo>
                    <a:cubicBezTo>
                      <a:pt x="3560583" y="2467234"/>
                      <a:pt x="3548993" y="2478576"/>
                      <a:pt x="3548993" y="2492879"/>
                    </a:cubicBezTo>
                    <a:cubicBezTo>
                      <a:pt x="3548993" y="2506931"/>
                      <a:pt x="3560334" y="2518522"/>
                      <a:pt x="3574637" y="2518522"/>
                    </a:cubicBezTo>
                    <a:cubicBezTo>
                      <a:pt x="3588691" y="2518522"/>
                      <a:pt x="3600281" y="2506931"/>
                      <a:pt x="3600281" y="2492879"/>
                    </a:cubicBezTo>
                    <a:close/>
                    <a:moveTo>
                      <a:pt x="3602254" y="5358019"/>
                    </a:moveTo>
                    <a:cubicBezTo>
                      <a:pt x="3602254" y="5357036"/>
                      <a:pt x="3601513" y="5356541"/>
                      <a:pt x="3600773" y="5356541"/>
                    </a:cubicBezTo>
                    <a:cubicBezTo>
                      <a:pt x="3600035" y="5356541"/>
                      <a:pt x="3599294" y="5357282"/>
                      <a:pt x="3599294" y="5358019"/>
                    </a:cubicBezTo>
                    <a:cubicBezTo>
                      <a:pt x="3599294" y="5358760"/>
                      <a:pt x="3600035" y="5359255"/>
                      <a:pt x="3600773" y="5359255"/>
                    </a:cubicBezTo>
                    <a:cubicBezTo>
                      <a:pt x="3601513" y="5359255"/>
                      <a:pt x="3602008" y="5358760"/>
                      <a:pt x="3602254" y="5358019"/>
                    </a:cubicBezTo>
                    <a:close/>
                    <a:moveTo>
                      <a:pt x="3603734" y="1304510"/>
                    </a:moveTo>
                    <a:cubicBezTo>
                      <a:pt x="3603734" y="1279115"/>
                      <a:pt x="3583268" y="1258643"/>
                      <a:pt x="3558116" y="1258643"/>
                    </a:cubicBezTo>
                    <a:cubicBezTo>
                      <a:pt x="3532966" y="1258643"/>
                      <a:pt x="3512500" y="1279361"/>
                      <a:pt x="3512500" y="1304510"/>
                    </a:cubicBezTo>
                    <a:cubicBezTo>
                      <a:pt x="3512500" y="1329661"/>
                      <a:pt x="3532966" y="1350128"/>
                      <a:pt x="3558116" y="1350128"/>
                    </a:cubicBezTo>
                    <a:cubicBezTo>
                      <a:pt x="3583513" y="1350128"/>
                      <a:pt x="3603980" y="1329414"/>
                      <a:pt x="3603734" y="1304510"/>
                    </a:cubicBezTo>
                    <a:close/>
                    <a:moveTo>
                      <a:pt x="3607924" y="2745861"/>
                    </a:moveTo>
                    <a:cubicBezTo>
                      <a:pt x="3607924" y="2742656"/>
                      <a:pt x="3605458" y="2740189"/>
                      <a:pt x="3602253" y="2740189"/>
                    </a:cubicBezTo>
                    <a:cubicBezTo>
                      <a:pt x="3599049" y="2740189"/>
                      <a:pt x="3596581" y="2742656"/>
                      <a:pt x="3596581" y="2745861"/>
                    </a:cubicBezTo>
                    <a:cubicBezTo>
                      <a:pt x="3596581" y="2748821"/>
                      <a:pt x="3599049" y="2751535"/>
                      <a:pt x="3602253" y="2751535"/>
                    </a:cubicBezTo>
                    <a:cubicBezTo>
                      <a:pt x="3605458" y="2751535"/>
                      <a:pt x="3608171" y="2748821"/>
                      <a:pt x="3607924" y="2745861"/>
                    </a:cubicBezTo>
                    <a:close/>
                    <a:moveTo>
                      <a:pt x="3607925" y="1180252"/>
                    </a:moveTo>
                    <a:cubicBezTo>
                      <a:pt x="3607925" y="1155598"/>
                      <a:pt x="3588199" y="1135623"/>
                      <a:pt x="3563541" y="1135623"/>
                    </a:cubicBezTo>
                    <a:cubicBezTo>
                      <a:pt x="3538884" y="1135623"/>
                      <a:pt x="3518912" y="1155598"/>
                      <a:pt x="3518912" y="1180252"/>
                    </a:cubicBezTo>
                    <a:cubicBezTo>
                      <a:pt x="3518912" y="1204667"/>
                      <a:pt x="3538884" y="1224641"/>
                      <a:pt x="3563541" y="1224641"/>
                    </a:cubicBezTo>
                    <a:cubicBezTo>
                      <a:pt x="3588199" y="1224641"/>
                      <a:pt x="3608171" y="1204667"/>
                      <a:pt x="3607925" y="1180252"/>
                    </a:cubicBezTo>
                    <a:close/>
                    <a:moveTo>
                      <a:pt x="3608663" y="3015611"/>
                    </a:moveTo>
                    <a:cubicBezTo>
                      <a:pt x="3608663" y="3009694"/>
                      <a:pt x="3603980" y="3005007"/>
                      <a:pt x="3598308" y="3005007"/>
                    </a:cubicBezTo>
                    <a:cubicBezTo>
                      <a:pt x="3592390" y="3005007"/>
                      <a:pt x="3587705" y="3009694"/>
                      <a:pt x="3587705" y="3015611"/>
                    </a:cubicBezTo>
                    <a:cubicBezTo>
                      <a:pt x="3587705" y="3021529"/>
                      <a:pt x="3592390" y="3026215"/>
                      <a:pt x="3598308" y="3026215"/>
                    </a:cubicBezTo>
                    <a:cubicBezTo>
                      <a:pt x="3604225" y="3026215"/>
                      <a:pt x="3608911" y="3021281"/>
                      <a:pt x="3608663" y="3015611"/>
                    </a:cubicBezTo>
                    <a:close/>
                    <a:moveTo>
                      <a:pt x="3613594" y="1056725"/>
                    </a:moveTo>
                    <a:cubicBezTo>
                      <a:pt x="3613594" y="1031587"/>
                      <a:pt x="3592882" y="1011125"/>
                      <a:pt x="3567733" y="1011125"/>
                    </a:cubicBezTo>
                    <a:cubicBezTo>
                      <a:pt x="3542334" y="1011125"/>
                      <a:pt x="3521868" y="1031587"/>
                      <a:pt x="3521868" y="1056725"/>
                    </a:cubicBezTo>
                    <a:cubicBezTo>
                      <a:pt x="3521868" y="1082137"/>
                      <a:pt x="3542581" y="1102602"/>
                      <a:pt x="3567733" y="1102602"/>
                    </a:cubicBezTo>
                    <a:cubicBezTo>
                      <a:pt x="3592882" y="1102602"/>
                      <a:pt x="3613594" y="1082137"/>
                      <a:pt x="3613594" y="1056725"/>
                    </a:cubicBezTo>
                    <a:close/>
                    <a:moveTo>
                      <a:pt x="3616064" y="934454"/>
                    </a:moveTo>
                    <a:cubicBezTo>
                      <a:pt x="3616064" y="909548"/>
                      <a:pt x="3595843" y="889333"/>
                      <a:pt x="3570940" y="889333"/>
                    </a:cubicBezTo>
                    <a:cubicBezTo>
                      <a:pt x="3546034" y="889333"/>
                      <a:pt x="3525817" y="909548"/>
                      <a:pt x="3525817" y="934454"/>
                    </a:cubicBezTo>
                    <a:cubicBezTo>
                      <a:pt x="3525817" y="959363"/>
                      <a:pt x="3546034" y="979579"/>
                      <a:pt x="3570940" y="979579"/>
                    </a:cubicBezTo>
                    <a:cubicBezTo>
                      <a:pt x="3595843" y="979579"/>
                      <a:pt x="3616310" y="959363"/>
                      <a:pt x="3616064" y="934454"/>
                    </a:cubicBezTo>
                    <a:close/>
                    <a:moveTo>
                      <a:pt x="3617293" y="5614708"/>
                    </a:moveTo>
                    <a:cubicBezTo>
                      <a:pt x="3617293" y="5612486"/>
                      <a:pt x="3615570" y="5611008"/>
                      <a:pt x="3613596" y="5611008"/>
                    </a:cubicBezTo>
                    <a:cubicBezTo>
                      <a:pt x="3611624" y="5611008"/>
                      <a:pt x="3609897" y="5612735"/>
                      <a:pt x="3609897" y="5614708"/>
                    </a:cubicBezTo>
                    <a:cubicBezTo>
                      <a:pt x="3609897" y="5616680"/>
                      <a:pt x="3611624" y="5618404"/>
                      <a:pt x="3613596" y="5618404"/>
                    </a:cubicBezTo>
                    <a:cubicBezTo>
                      <a:pt x="3615570" y="5618404"/>
                      <a:pt x="3617293" y="5616680"/>
                      <a:pt x="3617293" y="5614708"/>
                    </a:cubicBezTo>
                    <a:close/>
                    <a:moveTo>
                      <a:pt x="3619266" y="813160"/>
                    </a:moveTo>
                    <a:cubicBezTo>
                      <a:pt x="3619266" y="788503"/>
                      <a:pt x="3599048" y="768283"/>
                      <a:pt x="3574391" y="768283"/>
                    </a:cubicBezTo>
                    <a:cubicBezTo>
                      <a:pt x="3549733" y="768283"/>
                      <a:pt x="3529513" y="788503"/>
                      <a:pt x="3529513" y="813160"/>
                    </a:cubicBezTo>
                    <a:cubicBezTo>
                      <a:pt x="3529513" y="838070"/>
                      <a:pt x="3549733" y="858034"/>
                      <a:pt x="3574391" y="858034"/>
                    </a:cubicBezTo>
                    <a:cubicBezTo>
                      <a:pt x="3599048" y="858034"/>
                      <a:pt x="3619266" y="838070"/>
                      <a:pt x="3619266" y="813160"/>
                    </a:cubicBezTo>
                    <a:close/>
                    <a:moveTo>
                      <a:pt x="3620006" y="5487474"/>
                    </a:moveTo>
                    <a:cubicBezTo>
                      <a:pt x="3620006" y="5480570"/>
                      <a:pt x="3614337" y="5474898"/>
                      <a:pt x="3607433" y="5474898"/>
                    </a:cubicBezTo>
                    <a:cubicBezTo>
                      <a:pt x="3600529" y="5474898"/>
                      <a:pt x="3594857" y="5480570"/>
                      <a:pt x="3594857" y="5487474"/>
                    </a:cubicBezTo>
                    <a:cubicBezTo>
                      <a:pt x="3594857" y="5494378"/>
                      <a:pt x="3600529" y="5500050"/>
                      <a:pt x="3607433" y="5500050"/>
                    </a:cubicBezTo>
                    <a:cubicBezTo>
                      <a:pt x="3614337" y="5500050"/>
                      <a:pt x="3620006" y="5494378"/>
                      <a:pt x="3620006" y="5487474"/>
                    </a:cubicBezTo>
                    <a:close/>
                    <a:moveTo>
                      <a:pt x="3620502" y="2345202"/>
                    </a:moveTo>
                    <a:cubicBezTo>
                      <a:pt x="3620502" y="2333358"/>
                      <a:pt x="3610884" y="2323734"/>
                      <a:pt x="3599049" y="2323734"/>
                    </a:cubicBezTo>
                    <a:cubicBezTo>
                      <a:pt x="3587213" y="2323734"/>
                      <a:pt x="3577596" y="2333358"/>
                      <a:pt x="3577596" y="2345202"/>
                    </a:cubicBezTo>
                    <a:cubicBezTo>
                      <a:pt x="3577596" y="2357036"/>
                      <a:pt x="3587213" y="2366652"/>
                      <a:pt x="3599049" y="2366652"/>
                    </a:cubicBezTo>
                    <a:cubicBezTo>
                      <a:pt x="3610884" y="2366652"/>
                      <a:pt x="3620502" y="2357036"/>
                      <a:pt x="3620502" y="2345202"/>
                    </a:cubicBezTo>
                    <a:close/>
                    <a:moveTo>
                      <a:pt x="3621242" y="5741445"/>
                    </a:moveTo>
                    <a:cubicBezTo>
                      <a:pt x="3621242" y="5739719"/>
                      <a:pt x="3619761" y="5738486"/>
                      <a:pt x="3618283" y="5738486"/>
                    </a:cubicBezTo>
                    <a:cubicBezTo>
                      <a:pt x="3616802" y="5738486"/>
                      <a:pt x="3615570" y="5739964"/>
                      <a:pt x="3615570" y="5741445"/>
                    </a:cubicBezTo>
                    <a:cubicBezTo>
                      <a:pt x="3615570" y="5742926"/>
                      <a:pt x="3616802" y="5744158"/>
                      <a:pt x="3618283" y="5744158"/>
                    </a:cubicBezTo>
                    <a:cubicBezTo>
                      <a:pt x="3619761" y="5744158"/>
                      <a:pt x="3620995" y="5742926"/>
                      <a:pt x="3621242" y="5741445"/>
                    </a:cubicBezTo>
                    <a:close/>
                    <a:moveTo>
                      <a:pt x="3621733" y="4457280"/>
                    </a:moveTo>
                    <a:cubicBezTo>
                      <a:pt x="3621733" y="4433363"/>
                      <a:pt x="3602253" y="4413882"/>
                      <a:pt x="3578336" y="4413882"/>
                    </a:cubicBezTo>
                    <a:cubicBezTo>
                      <a:pt x="3554419" y="4413882"/>
                      <a:pt x="3534938" y="4433363"/>
                      <a:pt x="3534938" y="4457280"/>
                    </a:cubicBezTo>
                    <a:cubicBezTo>
                      <a:pt x="3534938" y="4481197"/>
                      <a:pt x="3554419" y="4500677"/>
                      <a:pt x="3578336" y="4500677"/>
                    </a:cubicBezTo>
                    <a:cubicBezTo>
                      <a:pt x="3602253" y="4500677"/>
                      <a:pt x="3621733" y="4481197"/>
                      <a:pt x="3621733" y="4457280"/>
                    </a:cubicBezTo>
                    <a:close/>
                    <a:moveTo>
                      <a:pt x="3624445" y="5865720"/>
                    </a:moveTo>
                    <a:cubicBezTo>
                      <a:pt x="3624445" y="5864980"/>
                      <a:pt x="3623951" y="5864488"/>
                      <a:pt x="3623211" y="5864488"/>
                    </a:cubicBezTo>
                    <a:cubicBezTo>
                      <a:pt x="3622473" y="5864488"/>
                      <a:pt x="3621979" y="5864980"/>
                      <a:pt x="3621979" y="5865720"/>
                    </a:cubicBezTo>
                    <a:cubicBezTo>
                      <a:pt x="3621979" y="5866461"/>
                      <a:pt x="3622473" y="5866955"/>
                      <a:pt x="3623211" y="5866955"/>
                    </a:cubicBezTo>
                    <a:cubicBezTo>
                      <a:pt x="3623951" y="5866955"/>
                      <a:pt x="3624692" y="5866461"/>
                      <a:pt x="3624445" y="5865720"/>
                    </a:cubicBezTo>
                    <a:close/>
                    <a:moveTo>
                      <a:pt x="3628389" y="5988763"/>
                    </a:moveTo>
                    <a:cubicBezTo>
                      <a:pt x="3628389" y="5988514"/>
                      <a:pt x="3628143" y="5988267"/>
                      <a:pt x="3627896" y="5988267"/>
                    </a:cubicBezTo>
                    <a:cubicBezTo>
                      <a:pt x="3627648" y="5988267"/>
                      <a:pt x="3627402" y="5988514"/>
                      <a:pt x="3627402" y="5988763"/>
                    </a:cubicBezTo>
                    <a:cubicBezTo>
                      <a:pt x="3627402" y="5989008"/>
                      <a:pt x="3627648" y="5989254"/>
                      <a:pt x="3627896" y="5989254"/>
                    </a:cubicBezTo>
                    <a:cubicBezTo>
                      <a:pt x="3628389" y="5989254"/>
                      <a:pt x="3628634" y="5989008"/>
                      <a:pt x="3628389" y="5988763"/>
                    </a:cubicBezTo>
                    <a:close/>
                    <a:moveTo>
                      <a:pt x="3632828" y="6111063"/>
                    </a:moveTo>
                    <a:cubicBezTo>
                      <a:pt x="3632828" y="6110569"/>
                      <a:pt x="3632334" y="6110077"/>
                      <a:pt x="3631843" y="6110077"/>
                    </a:cubicBezTo>
                    <a:cubicBezTo>
                      <a:pt x="3631350" y="6110077"/>
                      <a:pt x="3630856" y="6110569"/>
                      <a:pt x="3630856" y="6111063"/>
                    </a:cubicBezTo>
                    <a:cubicBezTo>
                      <a:pt x="3630856" y="6111555"/>
                      <a:pt x="3631350" y="6112049"/>
                      <a:pt x="3631843" y="6112049"/>
                    </a:cubicBezTo>
                    <a:cubicBezTo>
                      <a:pt x="3632334" y="6112049"/>
                      <a:pt x="3632828" y="6111803"/>
                      <a:pt x="3632828" y="6111063"/>
                    </a:cubicBezTo>
                    <a:close/>
                    <a:moveTo>
                      <a:pt x="3633075" y="3934787"/>
                    </a:moveTo>
                    <a:cubicBezTo>
                      <a:pt x="3633075" y="3916539"/>
                      <a:pt x="3618283" y="3901499"/>
                      <a:pt x="3599789" y="3901499"/>
                    </a:cubicBezTo>
                    <a:cubicBezTo>
                      <a:pt x="3581542" y="3901499"/>
                      <a:pt x="3566500" y="3916293"/>
                      <a:pt x="3566500" y="3934787"/>
                    </a:cubicBezTo>
                    <a:cubicBezTo>
                      <a:pt x="3566500" y="3953032"/>
                      <a:pt x="3581295" y="3968072"/>
                      <a:pt x="3599789" y="3968072"/>
                    </a:cubicBezTo>
                    <a:cubicBezTo>
                      <a:pt x="3618283" y="3968072"/>
                      <a:pt x="3633323" y="3953278"/>
                      <a:pt x="3633075" y="3934787"/>
                    </a:cubicBezTo>
                    <a:close/>
                    <a:moveTo>
                      <a:pt x="3635538" y="2201205"/>
                    </a:moveTo>
                    <a:cubicBezTo>
                      <a:pt x="3635538" y="2192083"/>
                      <a:pt x="3628143" y="2184683"/>
                      <a:pt x="3619020" y="2184683"/>
                    </a:cubicBezTo>
                    <a:cubicBezTo>
                      <a:pt x="3609897" y="2184683"/>
                      <a:pt x="3602499" y="2192083"/>
                      <a:pt x="3602499" y="2201205"/>
                    </a:cubicBezTo>
                    <a:cubicBezTo>
                      <a:pt x="3602499" y="2210327"/>
                      <a:pt x="3609897" y="2217725"/>
                      <a:pt x="3619020" y="2217725"/>
                    </a:cubicBezTo>
                    <a:cubicBezTo>
                      <a:pt x="3628143" y="2217725"/>
                      <a:pt x="3635787" y="2210327"/>
                      <a:pt x="3635538" y="2201205"/>
                    </a:cubicBezTo>
                    <a:close/>
                    <a:moveTo>
                      <a:pt x="3639733" y="4204538"/>
                    </a:moveTo>
                    <a:cubicBezTo>
                      <a:pt x="3639733" y="4185306"/>
                      <a:pt x="3623952" y="4169525"/>
                      <a:pt x="3604718" y="4169525"/>
                    </a:cubicBezTo>
                    <a:cubicBezTo>
                      <a:pt x="3585240" y="4169525"/>
                      <a:pt x="3569705" y="4185306"/>
                      <a:pt x="3569705" y="4204538"/>
                    </a:cubicBezTo>
                    <a:cubicBezTo>
                      <a:pt x="3569705" y="4224018"/>
                      <a:pt x="3585486" y="4239553"/>
                      <a:pt x="3604718" y="4239553"/>
                    </a:cubicBezTo>
                    <a:cubicBezTo>
                      <a:pt x="3623952" y="4239553"/>
                      <a:pt x="3639733" y="4224018"/>
                      <a:pt x="3639733" y="4204538"/>
                    </a:cubicBezTo>
                    <a:close/>
                    <a:moveTo>
                      <a:pt x="3641211" y="2061148"/>
                    </a:moveTo>
                    <a:cubicBezTo>
                      <a:pt x="3641211" y="2058559"/>
                      <a:pt x="3639114" y="2056461"/>
                      <a:pt x="3636527" y="2056461"/>
                    </a:cubicBezTo>
                    <a:cubicBezTo>
                      <a:pt x="3633938" y="2056461"/>
                      <a:pt x="3631842" y="2058559"/>
                      <a:pt x="3631842" y="2061148"/>
                    </a:cubicBezTo>
                    <a:cubicBezTo>
                      <a:pt x="3631842" y="2063734"/>
                      <a:pt x="3633938" y="2065834"/>
                      <a:pt x="3636527" y="2065834"/>
                    </a:cubicBezTo>
                    <a:cubicBezTo>
                      <a:pt x="3639114" y="2065834"/>
                      <a:pt x="3641211" y="2063734"/>
                      <a:pt x="3641211" y="2061148"/>
                    </a:cubicBezTo>
                    <a:close/>
                    <a:moveTo>
                      <a:pt x="3643431" y="3127803"/>
                    </a:moveTo>
                    <a:cubicBezTo>
                      <a:pt x="3643431" y="3120653"/>
                      <a:pt x="3637514" y="3114736"/>
                      <a:pt x="3630361" y="3114736"/>
                    </a:cubicBezTo>
                    <a:cubicBezTo>
                      <a:pt x="3623211" y="3114736"/>
                      <a:pt x="3617293" y="3120653"/>
                      <a:pt x="3617293" y="3127803"/>
                    </a:cubicBezTo>
                    <a:cubicBezTo>
                      <a:pt x="3617293" y="3134953"/>
                      <a:pt x="3623211" y="3140872"/>
                      <a:pt x="3630361" y="3140872"/>
                    </a:cubicBezTo>
                    <a:cubicBezTo>
                      <a:pt x="3637514" y="3140872"/>
                      <a:pt x="3643431" y="3135202"/>
                      <a:pt x="3643431" y="3127803"/>
                    </a:cubicBezTo>
                    <a:close/>
                    <a:moveTo>
                      <a:pt x="3646637" y="6228187"/>
                    </a:moveTo>
                    <a:cubicBezTo>
                      <a:pt x="3646637" y="6226461"/>
                      <a:pt x="3645156" y="6225229"/>
                      <a:pt x="3643678" y="6225229"/>
                    </a:cubicBezTo>
                    <a:cubicBezTo>
                      <a:pt x="3642197" y="6225229"/>
                      <a:pt x="3640965" y="6226706"/>
                      <a:pt x="3640965" y="6228187"/>
                    </a:cubicBezTo>
                    <a:cubicBezTo>
                      <a:pt x="3640965" y="6229665"/>
                      <a:pt x="3641952" y="6230901"/>
                      <a:pt x="3643678" y="6230901"/>
                    </a:cubicBezTo>
                    <a:cubicBezTo>
                      <a:pt x="3645402" y="6230901"/>
                      <a:pt x="3646637" y="6229665"/>
                      <a:pt x="3646637" y="6228187"/>
                    </a:cubicBezTo>
                    <a:close/>
                    <a:moveTo>
                      <a:pt x="3649350" y="6349008"/>
                    </a:moveTo>
                    <a:cubicBezTo>
                      <a:pt x="3649350" y="6347527"/>
                      <a:pt x="3648115" y="6346294"/>
                      <a:pt x="3646637" y="6346294"/>
                    </a:cubicBezTo>
                    <a:cubicBezTo>
                      <a:pt x="3645156" y="6346294"/>
                      <a:pt x="3643924" y="6347527"/>
                      <a:pt x="3643924" y="6349008"/>
                    </a:cubicBezTo>
                    <a:cubicBezTo>
                      <a:pt x="3643924" y="6350485"/>
                      <a:pt x="3645156" y="6351718"/>
                      <a:pt x="3646637" y="6351718"/>
                    </a:cubicBezTo>
                    <a:cubicBezTo>
                      <a:pt x="3648115" y="6351718"/>
                      <a:pt x="3649350" y="6350485"/>
                      <a:pt x="3649350" y="6349008"/>
                    </a:cubicBezTo>
                    <a:close/>
                    <a:moveTo>
                      <a:pt x="3650582" y="6469092"/>
                    </a:moveTo>
                    <a:cubicBezTo>
                      <a:pt x="3650582" y="6468105"/>
                      <a:pt x="3649596" y="6467118"/>
                      <a:pt x="3648610" y="6467118"/>
                    </a:cubicBezTo>
                    <a:cubicBezTo>
                      <a:pt x="3647624" y="6467118"/>
                      <a:pt x="3646637" y="6468105"/>
                      <a:pt x="3646637" y="6469092"/>
                    </a:cubicBezTo>
                    <a:cubicBezTo>
                      <a:pt x="3646637" y="6470078"/>
                      <a:pt x="3647624" y="6471064"/>
                      <a:pt x="3648610" y="6471064"/>
                    </a:cubicBezTo>
                    <a:cubicBezTo>
                      <a:pt x="3649596" y="6471064"/>
                      <a:pt x="3650582" y="6470324"/>
                      <a:pt x="3650582" y="6469092"/>
                    </a:cubicBezTo>
                    <a:close/>
                    <a:moveTo>
                      <a:pt x="3650827" y="4603991"/>
                    </a:moveTo>
                    <a:cubicBezTo>
                      <a:pt x="3650827" y="4578101"/>
                      <a:pt x="3629623" y="4557142"/>
                      <a:pt x="3603733" y="4557142"/>
                    </a:cubicBezTo>
                    <a:cubicBezTo>
                      <a:pt x="3577841" y="4557142"/>
                      <a:pt x="3556883" y="4578101"/>
                      <a:pt x="3556883" y="4603991"/>
                    </a:cubicBezTo>
                    <a:cubicBezTo>
                      <a:pt x="3556883" y="4629882"/>
                      <a:pt x="3577841" y="4651087"/>
                      <a:pt x="3603733" y="4651087"/>
                    </a:cubicBezTo>
                    <a:cubicBezTo>
                      <a:pt x="3629623" y="4651087"/>
                      <a:pt x="3650581" y="4630129"/>
                      <a:pt x="3650827" y="4603991"/>
                    </a:cubicBezTo>
                    <a:close/>
                    <a:moveTo>
                      <a:pt x="3654036" y="6588188"/>
                    </a:moveTo>
                    <a:cubicBezTo>
                      <a:pt x="3654036" y="6586707"/>
                      <a:pt x="3653049" y="6585720"/>
                      <a:pt x="3651568" y="6585720"/>
                    </a:cubicBezTo>
                    <a:cubicBezTo>
                      <a:pt x="3650090" y="6585720"/>
                      <a:pt x="3649104" y="6586707"/>
                      <a:pt x="3649104" y="6588188"/>
                    </a:cubicBezTo>
                    <a:cubicBezTo>
                      <a:pt x="3649104" y="6589666"/>
                      <a:pt x="3650090" y="6590653"/>
                      <a:pt x="3651568" y="6590653"/>
                    </a:cubicBezTo>
                    <a:cubicBezTo>
                      <a:pt x="3652803" y="6590653"/>
                      <a:pt x="3654036" y="6589420"/>
                      <a:pt x="3654036" y="6588188"/>
                    </a:cubicBezTo>
                    <a:close/>
                    <a:moveTo>
                      <a:pt x="3657240" y="6706544"/>
                    </a:moveTo>
                    <a:cubicBezTo>
                      <a:pt x="3657240" y="6704571"/>
                      <a:pt x="3655514" y="6702844"/>
                      <a:pt x="3653540" y="6702844"/>
                    </a:cubicBezTo>
                    <a:cubicBezTo>
                      <a:pt x="3651568" y="6702844"/>
                      <a:pt x="3649841" y="6704571"/>
                      <a:pt x="3649841" y="6706544"/>
                    </a:cubicBezTo>
                    <a:cubicBezTo>
                      <a:pt x="3649841" y="6708516"/>
                      <a:pt x="3651568" y="6710240"/>
                      <a:pt x="3653540" y="6710240"/>
                    </a:cubicBezTo>
                    <a:cubicBezTo>
                      <a:pt x="3655514" y="6710240"/>
                      <a:pt x="3657240" y="6708762"/>
                      <a:pt x="3657240" y="6706544"/>
                    </a:cubicBezTo>
                    <a:close/>
                    <a:moveTo>
                      <a:pt x="3658472" y="2851149"/>
                    </a:moveTo>
                    <a:cubicBezTo>
                      <a:pt x="3658472" y="2847698"/>
                      <a:pt x="3655514" y="2844739"/>
                      <a:pt x="3652060" y="2844739"/>
                    </a:cubicBezTo>
                    <a:cubicBezTo>
                      <a:pt x="3648609" y="2844739"/>
                      <a:pt x="3645650" y="2847698"/>
                      <a:pt x="3645650" y="2851149"/>
                    </a:cubicBezTo>
                    <a:cubicBezTo>
                      <a:pt x="3645650" y="2854601"/>
                      <a:pt x="3648609" y="2857560"/>
                      <a:pt x="3652060" y="2857560"/>
                    </a:cubicBezTo>
                    <a:cubicBezTo>
                      <a:pt x="3655514" y="2857560"/>
                      <a:pt x="3658472" y="2854601"/>
                      <a:pt x="3658472" y="2851149"/>
                    </a:cubicBezTo>
                    <a:close/>
                    <a:moveTo>
                      <a:pt x="3660936" y="6824652"/>
                    </a:moveTo>
                    <a:cubicBezTo>
                      <a:pt x="3660936" y="6821694"/>
                      <a:pt x="3658718" y="6819474"/>
                      <a:pt x="3655759" y="6819474"/>
                    </a:cubicBezTo>
                    <a:cubicBezTo>
                      <a:pt x="3652800" y="6819474"/>
                      <a:pt x="3650581" y="6821694"/>
                      <a:pt x="3650581" y="6824652"/>
                    </a:cubicBezTo>
                    <a:cubicBezTo>
                      <a:pt x="3650581" y="6827610"/>
                      <a:pt x="3652800" y="6829832"/>
                      <a:pt x="3655759" y="6829832"/>
                    </a:cubicBezTo>
                    <a:cubicBezTo>
                      <a:pt x="3658718" y="6829832"/>
                      <a:pt x="3660936" y="6827364"/>
                      <a:pt x="3660936" y="6824652"/>
                    </a:cubicBezTo>
                    <a:close/>
                    <a:moveTo>
                      <a:pt x="3661677" y="3822349"/>
                    </a:moveTo>
                    <a:cubicBezTo>
                      <a:pt x="3661677" y="3805581"/>
                      <a:pt x="3648117" y="3792019"/>
                      <a:pt x="3631350" y="3792019"/>
                    </a:cubicBezTo>
                    <a:cubicBezTo>
                      <a:pt x="3614583" y="3792019"/>
                      <a:pt x="3601021" y="3805581"/>
                      <a:pt x="3601021" y="3822349"/>
                    </a:cubicBezTo>
                    <a:cubicBezTo>
                      <a:pt x="3601021" y="3838867"/>
                      <a:pt x="3614583" y="3852429"/>
                      <a:pt x="3631350" y="3852429"/>
                    </a:cubicBezTo>
                    <a:cubicBezTo>
                      <a:pt x="3648117" y="3852429"/>
                      <a:pt x="3661677" y="3839116"/>
                      <a:pt x="3661677" y="3822349"/>
                    </a:cubicBezTo>
                    <a:close/>
                    <a:moveTo>
                      <a:pt x="3662418" y="1923103"/>
                    </a:moveTo>
                    <a:cubicBezTo>
                      <a:pt x="3662418" y="1916942"/>
                      <a:pt x="3657237" y="1911767"/>
                      <a:pt x="3651074" y="1911767"/>
                    </a:cubicBezTo>
                    <a:cubicBezTo>
                      <a:pt x="3644910" y="1911767"/>
                      <a:pt x="3639978" y="1916942"/>
                      <a:pt x="3639978" y="1923103"/>
                    </a:cubicBezTo>
                    <a:cubicBezTo>
                      <a:pt x="3639978" y="1929267"/>
                      <a:pt x="3644910" y="1934443"/>
                      <a:pt x="3651074" y="1934443"/>
                    </a:cubicBezTo>
                    <a:cubicBezTo>
                      <a:pt x="3657237" y="1934443"/>
                      <a:pt x="3662169" y="1929513"/>
                      <a:pt x="3662418" y="1923103"/>
                    </a:cubicBezTo>
                    <a:close/>
                    <a:moveTo>
                      <a:pt x="3662418" y="4747007"/>
                    </a:moveTo>
                    <a:cubicBezTo>
                      <a:pt x="3662418" y="4726541"/>
                      <a:pt x="3645650" y="4709773"/>
                      <a:pt x="3625187" y="4709773"/>
                    </a:cubicBezTo>
                    <a:cubicBezTo>
                      <a:pt x="3604721" y="4709773"/>
                      <a:pt x="3587953" y="4726541"/>
                      <a:pt x="3587953" y="4747007"/>
                    </a:cubicBezTo>
                    <a:cubicBezTo>
                      <a:pt x="3587953" y="4767472"/>
                      <a:pt x="3604721" y="4784238"/>
                      <a:pt x="3625187" y="4784238"/>
                    </a:cubicBezTo>
                    <a:cubicBezTo>
                      <a:pt x="3645650" y="4784238"/>
                      <a:pt x="3662418" y="4767719"/>
                      <a:pt x="3662418" y="4747007"/>
                    </a:cubicBezTo>
                    <a:close/>
                    <a:moveTo>
                      <a:pt x="3664884" y="6941776"/>
                    </a:moveTo>
                    <a:cubicBezTo>
                      <a:pt x="3664884" y="6937831"/>
                      <a:pt x="3661677" y="6934626"/>
                      <a:pt x="3657731" y="6934626"/>
                    </a:cubicBezTo>
                    <a:cubicBezTo>
                      <a:pt x="3653786" y="6934626"/>
                      <a:pt x="3650581" y="6937831"/>
                      <a:pt x="3650581" y="6941776"/>
                    </a:cubicBezTo>
                    <a:cubicBezTo>
                      <a:pt x="3650581" y="6945721"/>
                      <a:pt x="3653786" y="6948926"/>
                      <a:pt x="3657731" y="6948926"/>
                    </a:cubicBezTo>
                    <a:cubicBezTo>
                      <a:pt x="3661677" y="6948926"/>
                      <a:pt x="3664884" y="6945966"/>
                      <a:pt x="3664884" y="6941776"/>
                    </a:cubicBezTo>
                    <a:close/>
                    <a:moveTo>
                      <a:pt x="3665377" y="2589786"/>
                    </a:moveTo>
                    <a:cubicBezTo>
                      <a:pt x="3665377" y="2574992"/>
                      <a:pt x="3653541" y="2563155"/>
                      <a:pt x="3638747" y="2563155"/>
                    </a:cubicBezTo>
                    <a:cubicBezTo>
                      <a:pt x="3624198" y="2563155"/>
                      <a:pt x="3612116" y="2574992"/>
                      <a:pt x="3612116" y="2589786"/>
                    </a:cubicBezTo>
                    <a:cubicBezTo>
                      <a:pt x="3612116" y="2604336"/>
                      <a:pt x="3623952" y="2616418"/>
                      <a:pt x="3638747" y="2616418"/>
                    </a:cubicBezTo>
                    <a:cubicBezTo>
                      <a:pt x="3653296" y="2616418"/>
                      <a:pt x="3665377" y="2604581"/>
                      <a:pt x="3665377" y="2589786"/>
                    </a:cubicBezTo>
                    <a:close/>
                    <a:moveTo>
                      <a:pt x="3667349" y="5025392"/>
                    </a:moveTo>
                    <a:cubicBezTo>
                      <a:pt x="3667349" y="5020213"/>
                      <a:pt x="3663158" y="5016021"/>
                      <a:pt x="3657980" y="5016021"/>
                    </a:cubicBezTo>
                    <a:cubicBezTo>
                      <a:pt x="3652800" y="5016021"/>
                      <a:pt x="3648609" y="5020213"/>
                      <a:pt x="3648609" y="5025392"/>
                    </a:cubicBezTo>
                    <a:cubicBezTo>
                      <a:pt x="3648609" y="5030570"/>
                      <a:pt x="3652800" y="5034761"/>
                      <a:pt x="3657980" y="5034761"/>
                    </a:cubicBezTo>
                    <a:cubicBezTo>
                      <a:pt x="3663404" y="5034761"/>
                      <a:pt x="3667595" y="5030570"/>
                      <a:pt x="3667349" y="5025392"/>
                    </a:cubicBezTo>
                    <a:close/>
                    <a:moveTo>
                      <a:pt x="3668830" y="3242215"/>
                    </a:moveTo>
                    <a:cubicBezTo>
                      <a:pt x="3668830" y="3233585"/>
                      <a:pt x="3661926" y="3226435"/>
                      <a:pt x="3653295" y="3226435"/>
                    </a:cubicBezTo>
                    <a:cubicBezTo>
                      <a:pt x="3644664" y="3226435"/>
                      <a:pt x="3637514" y="3233585"/>
                      <a:pt x="3637514" y="3242215"/>
                    </a:cubicBezTo>
                    <a:cubicBezTo>
                      <a:pt x="3637514" y="3250845"/>
                      <a:pt x="3644664" y="3257994"/>
                      <a:pt x="3653295" y="3257994"/>
                    </a:cubicBezTo>
                    <a:cubicBezTo>
                      <a:pt x="3661926" y="3257994"/>
                      <a:pt x="3668830" y="3251092"/>
                      <a:pt x="3668830" y="3242215"/>
                    </a:cubicBezTo>
                    <a:close/>
                    <a:moveTo>
                      <a:pt x="3672032" y="7172571"/>
                    </a:moveTo>
                    <a:cubicBezTo>
                      <a:pt x="3672032" y="7169858"/>
                      <a:pt x="3669814" y="7167885"/>
                      <a:pt x="3667349" y="7167885"/>
                    </a:cubicBezTo>
                    <a:cubicBezTo>
                      <a:pt x="3664637" y="7167885"/>
                      <a:pt x="3662664" y="7170103"/>
                      <a:pt x="3662664" y="7172571"/>
                    </a:cubicBezTo>
                    <a:cubicBezTo>
                      <a:pt x="3662664" y="7175284"/>
                      <a:pt x="3664882" y="7177256"/>
                      <a:pt x="3667349" y="7177256"/>
                    </a:cubicBezTo>
                    <a:cubicBezTo>
                      <a:pt x="3669814" y="7177256"/>
                      <a:pt x="3672032" y="7175284"/>
                      <a:pt x="3672032" y="7172571"/>
                    </a:cubicBezTo>
                    <a:close/>
                    <a:moveTo>
                      <a:pt x="3673267" y="1758917"/>
                    </a:moveTo>
                    <a:cubicBezTo>
                      <a:pt x="3673267" y="1734981"/>
                      <a:pt x="3653786" y="1715237"/>
                      <a:pt x="3629621" y="1715237"/>
                    </a:cubicBezTo>
                    <a:cubicBezTo>
                      <a:pt x="3605458" y="1715237"/>
                      <a:pt x="3585731" y="1734735"/>
                      <a:pt x="3585731" y="1758917"/>
                    </a:cubicBezTo>
                    <a:cubicBezTo>
                      <a:pt x="3585731" y="1783091"/>
                      <a:pt x="3605458" y="1802837"/>
                      <a:pt x="3629621" y="1802837"/>
                    </a:cubicBezTo>
                    <a:cubicBezTo>
                      <a:pt x="3653786" y="1802837"/>
                      <a:pt x="3673267" y="1783091"/>
                      <a:pt x="3673267" y="1758917"/>
                    </a:cubicBezTo>
                    <a:close/>
                    <a:moveTo>
                      <a:pt x="3674499" y="7056184"/>
                    </a:moveTo>
                    <a:cubicBezTo>
                      <a:pt x="3674499" y="7051502"/>
                      <a:pt x="3670800" y="7047802"/>
                      <a:pt x="3666117" y="7047802"/>
                    </a:cubicBezTo>
                    <a:cubicBezTo>
                      <a:pt x="3661431" y="7047802"/>
                      <a:pt x="3657731" y="7051502"/>
                      <a:pt x="3657731" y="7056184"/>
                    </a:cubicBezTo>
                    <a:cubicBezTo>
                      <a:pt x="3657731" y="7060870"/>
                      <a:pt x="3661431" y="7064570"/>
                      <a:pt x="3666117" y="7064570"/>
                    </a:cubicBezTo>
                    <a:cubicBezTo>
                      <a:pt x="3670800" y="7064570"/>
                      <a:pt x="3674499" y="7060624"/>
                      <a:pt x="3674499" y="7056184"/>
                    </a:cubicBezTo>
                    <a:close/>
                    <a:moveTo>
                      <a:pt x="3675240" y="7288954"/>
                    </a:moveTo>
                    <a:cubicBezTo>
                      <a:pt x="3675240" y="7285501"/>
                      <a:pt x="3672281" y="7282542"/>
                      <a:pt x="3668830" y="7282542"/>
                    </a:cubicBezTo>
                    <a:cubicBezTo>
                      <a:pt x="3665377" y="7282542"/>
                      <a:pt x="3662418" y="7285501"/>
                      <a:pt x="3662418" y="7288954"/>
                    </a:cubicBezTo>
                    <a:cubicBezTo>
                      <a:pt x="3662418" y="7292406"/>
                      <a:pt x="3665377" y="7295119"/>
                      <a:pt x="3668830" y="7295119"/>
                    </a:cubicBezTo>
                    <a:cubicBezTo>
                      <a:pt x="3672281" y="7295119"/>
                      <a:pt x="3674994" y="7292406"/>
                      <a:pt x="3675240" y="7288954"/>
                    </a:cubicBezTo>
                    <a:close/>
                    <a:moveTo>
                      <a:pt x="3678939" y="723184"/>
                    </a:moveTo>
                    <a:cubicBezTo>
                      <a:pt x="3678939" y="699513"/>
                      <a:pt x="3659705" y="680274"/>
                      <a:pt x="3636036" y="680274"/>
                    </a:cubicBezTo>
                    <a:cubicBezTo>
                      <a:pt x="3612362" y="680274"/>
                      <a:pt x="3593130" y="699513"/>
                      <a:pt x="3593130" y="723184"/>
                    </a:cubicBezTo>
                    <a:cubicBezTo>
                      <a:pt x="3593130" y="746852"/>
                      <a:pt x="3612362" y="766089"/>
                      <a:pt x="3636036" y="766089"/>
                    </a:cubicBezTo>
                    <a:cubicBezTo>
                      <a:pt x="3659705" y="766089"/>
                      <a:pt x="3678939" y="746852"/>
                      <a:pt x="3678939" y="723184"/>
                    </a:cubicBezTo>
                    <a:close/>
                    <a:moveTo>
                      <a:pt x="3679430" y="4887800"/>
                    </a:moveTo>
                    <a:cubicBezTo>
                      <a:pt x="3679430" y="4867582"/>
                      <a:pt x="3662911" y="4851060"/>
                      <a:pt x="3642692" y="4851060"/>
                    </a:cubicBezTo>
                    <a:cubicBezTo>
                      <a:pt x="3622473" y="4851060"/>
                      <a:pt x="3605952" y="4867582"/>
                      <a:pt x="3605952" y="4887800"/>
                    </a:cubicBezTo>
                    <a:cubicBezTo>
                      <a:pt x="3605952" y="4908020"/>
                      <a:pt x="3622473" y="4924538"/>
                      <a:pt x="3642692" y="4924538"/>
                    </a:cubicBezTo>
                    <a:cubicBezTo>
                      <a:pt x="3662911" y="4924538"/>
                      <a:pt x="3679430" y="4908020"/>
                      <a:pt x="3679430" y="4887800"/>
                    </a:cubicBezTo>
                    <a:close/>
                    <a:moveTo>
                      <a:pt x="3681158" y="602584"/>
                    </a:moveTo>
                    <a:cubicBezTo>
                      <a:pt x="3681158" y="579160"/>
                      <a:pt x="3662172" y="560175"/>
                      <a:pt x="3638747" y="560175"/>
                    </a:cubicBezTo>
                    <a:cubicBezTo>
                      <a:pt x="3615321" y="560175"/>
                      <a:pt x="3596335" y="579160"/>
                      <a:pt x="3596335" y="602584"/>
                    </a:cubicBezTo>
                    <a:cubicBezTo>
                      <a:pt x="3596335" y="626008"/>
                      <a:pt x="3615321" y="645027"/>
                      <a:pt x="3638747" y="645027"/>
                    </a:cubicBezTo>
                    <a:cubicBezTo>
                      <a:pt x="3662172" y="645027"/>
                      <a:pt x="3681158" y="626008"/>
                      <a:pt x="3681158" y="602584"/>
                    </a:cubicBezTo>
                    <a:close/>
                    <a:moveTo>
                      <a:pt x="3681158" y="3707690"/>
                    </a:moveTo>
                    <a:cubicBezTo>
                      <a:pt x="3681158" y="3692647"/>
                      <a:pt x="3668830" y="3680565"/>
                      <a:pt x="3654036" y="3680565"/>
                    </a:cubicBezTo>
                    <a:cubicBezTo>
                      <a:pt x="3638993" y="3680565"/>
                      <a:pt x="3626911" y="3692647"/>
                      <a:pt x="3626911" y="3707690"/>
                    </a:cubicBezTo>
                    <a:cubicBezTo>
                      <a:pt x="3626911" y="3722730"/>
                      <a:pt x="3638993" y="3734812"/>
                      <a:pt x="3654036" y="3734812"/>
                    </a:cubicBezTo>
                    <a:cubicBezTo>
                      <a:pt x="3668830" y="3734812"/>
                      <a:pt x="3681158" y="3722730"/>
                      <a:pt x="3681158" y="3707690"/>
                    </a:cubicBezTo>
                    <a:close/>
                    <a:moveTo>
                      <a:pt x="3681898" y="4359882"/>
                    </a:moveTo>
                    <a:cubicBezTo>
                      <a:pt x="3681898" y="4337937"/>
                      <a:pt x="3663899" y="4319937"/>
                      <a:pt x="3641952" y="4319937"/>
                    </a:cubicBezTo>
                    <a:cubicBezTo>
                      <a:pt x="3620007" y="4319937"/>
                      <a:pt x="3602008" y="4337937"/>
                      <a:pt x="3602008" y="4359882"/>
                    </a:cubicBezTo>
                    <a:cubicBezTo>
                      <a:pt x="3602008" y="4381829"/>
                      <a:pt x="3620007" y="4399829"/>
                      <a:pt x="3641952" y="4399829"/>
                    </a:cubicBezTo>
                    <a:cubicBezTo>
                      <a:pt x="3664144" y="4399829"/>
                      <a:pt x="3681898" y="4382074"/>
                      <a:pt x="3681898" y="4359882"/>
                    </a:cubicBezTo>
                    <a:close/>
                    <a:moveTo>
                      <a:pt x="3684609" y="4099253"/>
                    </a:moveTo>
                    <a:cubicBezTo>
                      <a:pt x="3684609" y="4082485"/>
                      <a:pt x="3670800" y="4068676"/>
                      <a:pt x="3654033" y="4068676"/>
                    </a:cubicBezTo>
                    <a:cubicBezTo>
                      <a:pt x="3637266" y="4068676"/>
                      <a:pt x="3623457" y="4082485"/>
                      <a:pt x="3623457" y="4099253"/>
                    </a:cubicBezTo>
                    <a:cubicBezTo>
                      <a:pt x="3623457" y="4116019"/>
                      <a:pt x="3637266" y="4129828"/>
                      <a:pt x="3654033" y="4129828"/>
                    </a:cubicBezTo>
                    <a:cubicBezTo>
                      <a:pt x="3671046" y="4129828"/>
                      <a:pt x="3684854" y="4116019"/>
                      <a:pt x="3684609" y="4099253"/>
                    </a:cubicBezTo>
                    <a:close/>
                    <a:moveTo>
                      <a:pt x="3684856" y="482770"/>
                    </a:moveTo>
                    <a:cubicBezTo>
                      <a:pt x="3684856" y="458854"/>
                      <a:pt x="3665377" y="439375"/>
                      <a:pt x="3641459" y="439375"/>
                    </a:cubicBezTo>
                    <a:cubicBezTo>
                      <a:pt x="3617542" y="439375"/>
                      <a:pt x="3598062" y="458854"/>
                      <a:pt x="3598062" y="482770"/>
                    </a:cubicBezTo>
                    <a:cubicBezTo>
                      <a:pt x="3598062" y="506687"/>
                      <a:pt x="3617542" y="526165"/>
                      <a:pt x="3641459" y="526165"/>
                    </a:cubicBezTo>
                    <a:cubicBezTo>
                      <a:pt x="3665625" y="526165"/>
                      <a:pt x="3685102" y="506687"/>
                      <a:pt x="3684856" y="482770"/>
                    </a:cubicBezTo>
                    <a:close/>
                    <a:moveTo>
                      <a:pt x="3684856" y="1627001"/>
                    </a:moveTo>
                    <a:cubicBezTo>
                      <a:pt x="3684856" y="1601603"/>
                      <a:pt x="3664390" y="1581131"/>
                      <a:pt x="3638995" y="1581131"/>
                    </a:cubicBezTo>
                    <a:cubicBezTo>
                      <a:pt x="3613596" y="1581131"/>
                      <a:pt x="3593130" y="1601603"/>
                      <a:pt x="3593130" y="1627001"/>
                    </a:cubicBezTo>
                    <a:cubicBezTo>
                      <a:pt x="3593130" y="1652395"/>
                      <a:pt x="3613843" y="1672859"/>
                      <a:pt x="3638995" y="1672859"/>
                    </a:cubicBezTo>
                    <a:cubicBezTo>
                      <a:pt x="3664390" y="1672859"/>
                      <a:pt x="3684856" y="1652395"/>
                      <a:pt x="3684856" y="1627001"/>
                    </a:cubicBezTo>
                    <a:close/>
                    <a:moveTo>
                      <a:pt x="3685103" y="363206"/>
                    </a:moveTo>
                    <a:cubicBezTo>
                      <a:pt x="3685103" y="340029"/>
                      <a:pt x="3666363" y="321290"/>
                      <a:pt x="3643184" y="321290"/>
                    </a:cubicBezTo>
                    <a:cubicBezTo>
                      <a:pt x="3620006" y="321290"/>
                      <a:pt x="3601267" y="340029"/>
                      <a:pt x="3601267" y="363206"/>
                    </a:cubicBezTo>
                    <a:cubicBezTo>
                      <a:pt x="3601267" y="386383"/>
                      <a:pt x="3620006" y="405122"/>
                      <a:pt x="3643184" y="405122"/>
                    </a:cubicBezTo>
                    <a:cubicBezTo>
                      <a:pt x="3666117" y="405122"/>
                      <a:pt x="3684856" y="386383"/>
                      <a:pt x="3685103" y="363206"/>
                    </a:cubicBezTo>
                    <a:close/>
                    <a:moveTo>
                      <a:pt x="3685349" y="3358351"/>
                    </a:moveTo>
                    <a:cubicBezTo>
                      <a:pt x="3685349" y="3348239"/>
                      <a:pt x="3677212" y="3340103"/>
                      <a:pt x="3667100" y="3340103"/>
                    </a:cubicBezTo>
                    <a:cubicBezTo>
                      <a:pt x="3656991" y="3340103"/>
                      <a:pt x="3648855" y="3348239"/>
                      <a:pt x="3648855" y="3358351"/>
                    </a:cubicBezTo>
                    <a:cubicBezTo>
                      <a:pt x="3648855" y="3368448"/>
                      <a:pt x="3656991" y="3376599"/>
                      <a:pt x="3667100" y="3376599"/>
                    </a:cubicBezTo>
                    <a:cubicBezTo>
                      <a:pt x="3677212" y="3376599"/>
                      <a:pt x="3685349" y="3368448"/>
                      <a:pt x="3685349" y="3358351"/>
                    </a:cubicBezTo>
                    <a:close/>
                    <a:moveTo>
                      <a:pt x="3686583" y="244631"/>
                    </a:moveTo>
                    <a:cubicBezTo>
                      <a:pt x="3686583" y="221701"/>
                      <a:pt x="3667843" y="203208"/>
                      <a:pt x="3645159" y="203208"/>
                    </a:cubicBezTo>
                    <a:cubicBezTo>
                      <a:pt x="3622228" y="203208"/>
                      <a:pt x="3603734" y="221948"/>
                      <a:pt x="3603734" y="244631"/>
                    </a:cubicBezTo>
                    <a:cubicBezTo>
                      <a:pt x="3603734" y="267561"/>
                      <a:pt x="3622474" y="286054"/>
                      <a:pt x="3645159" y="286054"/>
                    </a:cubicBezTo>
                    <a:cubicBezTo>
                      <a:pt x="3667843" y="286054"/>
                      <a:pt x="3686337" y="267561"/>
                      <a:pt x="3686583" y="244631"/>
                    </a:cubicBezTo>
                    <a:close/>
                    <a:moveTo>
                      <a:pt x="3687567" y="126548"/>
                    </a:moveTo>
                    <a:cubicBezTo>
                      <a:pt x="3687567" y="103864"/>
                      <a:pt x="3669321" y="85372"/>
                      <a:pt x="3646637" y="85372"/>
                    </a:cubicBezTo>
                    <a:cubicBezTo>
                      <a:pt x="3623952" y="85372"/>
                      <a:pt x="3605458" y="103864"/>
                      <a:pt x="3605458" y="126548"/>
                    </a:cubicBezTo>
                    <a:cubicBezTo>
                      <a:pt x="3605458" y="149232"/>
                      <a:pt x="3623952" y="167724"/>
                      <a:pt x="3646637" y="167724"/>
                    </a:cubicBezTo>
                    <a:cubicBezTo>
                      <a:pt x="3669076" y="167724"/>
                      <a:pt x="3687567" y="149478"/>
                      <a:pt x="3687567" y="126548"/>
                    </a:cubicBezTo>
                    <a:close/>
                    <a:moveTo>
                      <a:pt x="3688553" y="9205"/>
                    </a:moveTo>
                    <a:lnTo>
                      <a:pt x="3684735" y="0"/>
                    </a:lnTo>
                    <a:lnTo>
                      <a:pt x="3611002" y="0"/>
                    </a:lnTo>
                    <a:lnTo>
                      <a:pt x="3607184" y="9205"/>
                    </a:lnTo>
                    <a:cubicBezTo>
                      <a:pt x="3607184" y="31642"/>
                      <a:pt x="3625430" y="49890"/>
                      <a:pt x="3647869" y="49890"/>
                    </a:cubicBezTo>
                    <a:cubicBezTo>
                      <a:pt x="3670308" y="49890"/>
                      <a:pt x="3688553" y="31642"/>
                      <a:pt x="3688553" y="9205"/>
                    </a:cubicBezTo>
                    <a:close/>
                    <a:moveTo>
                      <a:pt x="3689788" y="5151636"/>
                    </a:moveTo>
                    <a:cubicBezTo>
                      <a:pt x="3689788" y="5146705"/>
                      <a:pt x="3685842" y="5142760"/>
                      <a:pt x="3680911" y="5142760"/>
                    </a:cubicBezTo>
                    <a:cubicBezTo>
                      <a:pt x="3675980" y="5142760"/>
                      <a:pt x="3672034" y="5146705"/>
                      <a:pt x="3672034" y="5151636"/>
                    </a:cubicBezTo>
                    <a:cubicBezTo>
                      <a:pt x="3672034" y="5156569"/>
                      <a:pt x="3675980" y="5160513"/>
                      <a:pt x="3680911" y="5160513"/>
                    </a:cubicBezTo>
                    <a:cubicBezTo>
                      <a:pt x="3685842" y="5160513"/>
                      <a:pt x="3689788" y="5156569"/>
                      <a:pt x="3689788" y="5151636"/>
                    </a:cubicBezTo>
                    <a:close/>
                    <a:moveTo>
                      <a:pt x="3691265" y="3591551"/>
                    </a:moveTo>
                    <a:cubicBezTo>
                      <a:pt x="3691265" y="3578484"/>
                      <a:pt x="3680419" y="3567634"/>
                      <a:pt x="3667349" y="3567634"/>
                    </a:cubicBezTo>
                    <a:cubicBezTo>
                      <a:pt x="3654035" y="3567634"/>
                      <a:pt x="3643431" y="3578484"/>
                      <a:pt x="3643431" y="3591551"/>
                    </a:cubicBezTo>
                    <a:cubicBezTo>
                      <a:pt x="3643431" y="3604868"/>
                      <a:pt x="3654035" y="3615471"/>
                      <a:pt x="3667349" y="3615471"/>
                    </a:cubicBezTo>
                    <a:cubicBezTo>
                      <a:pt x="3680665" y="3615471"/>
                      <a:pt x="3691265" y="3604868"/>
                      <a:pt x="3691265" y="3591551"/>
                    </a:cubicBezTo>
                    <a:close/>
                    <a:moveTo>
                      <a:pt x="3692499" y="3474921"/>
                    </a:moveTo>
                    <a:cubicBezTo>
                      <a:pt x="3692499" y="3463638"/>
                      <a:pt x="3683377" y="3454269"/>
                      <a:pt x="3671787" y="3454269"/>
                    </a:cubicBezTo>
                    <a:cubicBezTo>
                      <a:pt x="3660199" y="3454269"/>
                      <a:pt x="3650828" y="3463393"/>
                      <a:pt x="3650828" y="3474921"/>
                    </a:cubicBezTo>
                    <a:cubicBezTo>
                      <a:pt x="3650828" y="3486262"/>
                      <a:pt x="3660199" y="3495634"/>
                      <a:pt x="3671787" y="3495634"/>
                    </a:cubicBezTo>
                    <a:cubicBezTo>
                      <a:pt x="3683377" y="3495634"/>
                      <a:pt x="3692499" y="3486511"/>
                      <a:pt x="3692499" y="3474921"/>
                    </a:cubicBezTo>
                    <a:close/>
                    <a:moveTo>
                      <a:pt x="3692746" y="5285528"/>
                    </a:moveTo>
                    <a:cubicBezTo>
                      <a:pt x="3692746" y="5285036"/>
                      <a:pt x="3692252" y="5284541"/>
                      <a:pt x="3691761" y="5284541"/>
                    </a:cubicBezTo>
                    <a:cubicBezTo>
                      <a:pt x="3691266" y="5284541"/>
                      <a:pt x="3690774" y="5285036"/>
                      <a:pt x="3690774" y="5285528"/>
                    </a:cubicBezTo>
                    <a:cubicBezTo>
                      <a:pt x="3690774" y="5286019"/>
                      <a:pt x="3691020" y="5286513"/>
                      <a:pt x="3691761" y="5286513"/>
                    </a:cubicBezTo>
                    <a:cubicBezTo>
                      <a:pt x="3692501" y="5286513"/>
                      <a:pt x="3692992" y="5286019"/>
                      <a:pt x="3692746" y="5285528"/>
                    </a:cubicBezTo>
                    <a:close/>
                    <a:moveTo>
                      <a:pt x="3692747" y="2438152"/>
                    </a:moveTo>
                    <a:cubicBezTo>
                      <a:pt x="3692747" y="2425077"/>
                      <a:pt x="3682144" y="2414233"/>
                      <a:pt x="3668828" y="2414233"/>
                    </a:cubicBezTo>
                    <a:cubicBezTo>
                      <a:pt x="3655760" y="2414233"/>
                      <a:pt x="3644910" y="2424831"/>
                      <a:pt x="3644910" y="2438152"/>
                    </a:cubicBezTo>
                    <a:cubicBezTo>
                      <a:pt x="3644910" y="2451217"/>
                      <a:pt x="3655514" y="2462067"/>
                      <a:pt x="3668828" y="2462067"/>
                    </a:cubicBezTo>
                    <a:cubicBezTo>
                      <a:pt x="3681898" y="2462067"/>
                      <a:pt x="3692747" y="2451217"/>
                      <a:pt x="3692747" y="2438152"/>
                    </a:cubicBezTo>
                    <a:close/>
                    <a:moveTo>
                      <a:pt x="3694225" y="1497067"/>
                    </a:moveTo>
                    <a:cubicBezTo>
                      <a:pt x="3694225" y="1471425"/>
                      <a:pt x="3673267" y="1450465"/>
                      <a:pt x="3647374" y="1450465"/>
                    </a:cubicBezTo>
                    <a:cubicBezTo>
                      <a:pt x="3621731" y="1450465"/>
                      <a:pt x="3600772" y="1471425"/>
                      <a:pt x="3600772" y="1497067"/>
                    </a:cubicBezTo>
                    <a:cubicBezTo>
                      <a:pt x="3600772" y="1522716"/>
                      <a:pt x="3621731" y="1543672"/>
                      <a:pt x="3647374" y="1543672"/>
                    </a:cubicBezTo>
                    <a:cubicBezTo>
                      <a:pt x="3673267" y="1543672"/>
                      <a:pt x="3694225" y="1522716"/>
                      <a:pt x="3694225" y="1497067"/>
                    </a:cubicBezTo>
                    <a:close/>
                    <a:moveTo>
                      <a:pt x="3701132" y="2959890"/>
                    </a:moveTo>
                    <a:cubicBezTo>
                      <a:pt x="3701132" y="2955944"/>
                      <a:pt x="3697924" y="2952740"/>
                      <a:pt x="3693979" y="2952740"/>
                    </a:cubicBezTo>
                    <a:cubicBezTo>
                      <a:pt x="3690033" y="2952740"/>
                      <a:pt x="3686829" y="2955944"/>
                      <a:pt x="3686829" y="2959890"/>
                    </a:cubicBezTo>
                    <a:cubicBezTo>
                      <a:pt x="3686829" y="2963835"/>
                      <a:pt x="3690033" y="2967042"/>
                      <a:pt x="3693979" y="2967042"/>
                    </a:cubicBezTo>
                    <a:cubicBezTo>
                      <a:pt x="3697924" y="2967042"/>
                      <a:pt x="3701132" y="2963589"/>
                      <a:pt x="3701132" y="2959890"/>
                    </a:cubicBezTo>
                    <a:close/>
                    <a:moveTo>
                      <a:pt x="3701378" y="1368864"/>
                    </a:moveTo>
                    <a:cubicBezTo>
                      <a:pt x="3701378" y="1343223"/>
                      <a:pt x="3680665" y="1322506"/>
                      <a:pt x="3655021" y="1322506"/>
                    </a:cubicBezTo>
                    <a:cubicBezTo>
                      <a:pt x="3629378" y="1322506"/>
                      <a:pt x="3608665" y="1343223"/>
                      <a:pt x="3608665" y="1368864"/>
                    </a:cubicBezTo>
                    <a:cubicBezTo>
                      <a:pt x="3608665" y="1394509"/>
                      <a:pt x="3629378" y="1415225"/>
                      <a:pt x="3655021" y="1415225"/>
                    </a:cubicBezTo>
                    <a:cubicBezTo>
                      <a:pt x="3680420" y="1415225"/>
                      <a:pt x="3701378" y="1394266"/>
                      <a:pt x="3701378" y="1368864"/>
                    </a:cubicBezTo>
                    <a:close/>
                    <a:moveTo>
                      <a:pt x="3707293" y="1242150"/>
                    </a:moveTo>
                    <a:cubicBezTo>
                      <a:pt x="3707293" y="1216998"/>
                      <a:pt x="3686829" y="1196532"/>
                      <a:pt x="3661677" y="1196532"/>
                    </a:cubicBezTo>
                    <a:cubicBezTo>
                      <a:pt x="3636527" y="1196532"/>
                      <a:pt x="3616061" y="1216998"/>
                      <a:pt x="3616061" y="1242150"/>
                    </a:cubicBezTo>
                    <a:cubicBezTo>
                      <a:pt x="3616061" y="1267288"/>
                      <a:pt x="3636527" y="1287745"/>
                      <a:pt x="3661677" y="1287745"/>
                    </a:cubicBezTo>
                    <a:cubicBezTo>
                      <a:pt x="3686829" y="1287745"/>
                      <a:pt x="3707293" y="1267288"/>
                      <a:pt x="3707293" y="1242150"/>
                    </a:cubicBezTo>
                    <a:close/>
                    <a:moveTo>
                      <a:pt x="3708036" y="2289968"/>
                    </a:moveTo>
                    <a:cubicBezTo>
                      <a:pt x="3708036" y="2281833"/>
                      <a:pt x="3701377" y="2275419"/>
                      <a:pt x="3693487" y="2275419"/>
                    </a:cubicBezTo>
                    <a:cubicBezTo>
                      <a:pt x="3685351" y="2275419"/>
                      <a:pt x="3678939" y="2282081"/>
                      <a:pt x="3678939" y="2289968"/>
                    </a:cubicBezTo>
                    <a:cubicBezTo>
                      <a:pt x="3678939" y="2298111"/>
                      <a:pt x="3685597" y="2304521"/>
                      <a:pt x="3693487" y="2304521"/>
                    </a:cubicBezTo>
                    <a:cubicBezTo>
                      <a:pt x="3701624" y="2304521"/>
                      <a:pt x="3708036" y="2298111"/>
                      <a:pt x="3708036" y="2289968"/>
                    </a:cubicBezTo>
                    <a:close/>
                    <a:moveTo>
                      <a:pt x="3713211" y="1116654"/>
                    </a:moveTo>
                    <a:cubicBezTo>
                      <a:pt x="3713211" y="1091263"/>
                      <a:pt x="3692499" y="1070550"/>
                      <a:pt x="3667103" y="1070550"/>
                    </a:cubicBezTo>
                    <a:cubicBezTo>
                      <a:pt x="3641705" y="1070550"/>
                      <a:pt x="3620993" y="1091263"/>
                      <a:pt x="3620993" y="1116654"/>
                    </a:cubicBezTo>
                    <a:cubicBezTo>
                      <a:pt x="3620993" y="1142059"/>
                      <a:pt x="3641705" y="1162769"/>
                      <a:pt x="3667103" y="1162769"/>
                    </a:cubicBezTo>
                    <a:cubicBezTo>
                      <a:pt x="3692499" y="1162769"/>
                      <a:pt x="3713211" y="1142059"/>
                      <a:pt x="3713211" y="1116654"/>
                    </a:cubicBezTo>
                    <a:close/>
                    <a:moveTo>
                      <a:pt x="3713214" y="5547881"/>
                    </a:moveTo>
                    <a:cubicBezTo>
                      <a:pt x="3713214" y="5545418"/>
                      <a:pt x="3711241" y="5543445"/>
                      <a:pt x="3708774" y="5543445"/>
                    </a:cubicBezTo>
                    <a:cubicBezTo>
                      <a:pt x="3706309" y="5543445"/>
                      <a:pt x="3704336" y="5545418"/>
                      <a:pt x="3704336" y="5547881"/>
                    </a:cubicBezTo>
                    <a:cubicBezTo>
                      <a:pt x="3704336" y="5550349"/>
                      <a:pt x="3706309" y="5552321"/>
                      <a:pt x="3708774" y="5552321"/>
                    </a:cubicBezTo>
                    <a:cubicBezTo>
                      <a:pt x="3710995" y="5552321"/>
                      <a:pt x="3713214" y="5550349"/>
                      <a:pt x="3713214" y="5547881"/>
                    </a:cubicBezTo>
                    <a:close/>
                    <a:moveTo>
                      <a:pt x="3713951" y="5417938"/>
                    </a:moveTo>
                    <a:cubicBezTo>
                      <a:pt x="3713951" y="5410540"/>
                      <a:pt x="3708033" y="5404622"/>
                      <a:pt x="3700634" y="5404622"/>
                    </a:cubicBezTo>
                    <a:cubicBezTo>
                      <a:pt x="3693239" y="5404622"/>
                      <a:pt x="3687321" y="5410540"/>
                      <a:pt x="3687321" y="5417938"/>
                    </a:cubicBezTo>
                    <a:cubicBezTo>
                      <a:pt x="3687321" y="5425334"/>
                      <a:pt x="3693239" y="5431252"/>
                      <a:pt x="3700634" y="5431252"/>
                    </a:cubicBezTo>
                    <a:cubicBezTo>
                      <a:pt x="3708033" y="5431252"/>
                      <a:pt x="3713951" y="5425088"/>
                      <a:pt x="3713951" y="5417938"/>
                    </a:cubicBezTo>
                    <a:close/>
                    <a:moveTo>
                      <a:pt x="3717156" y="992153"/>
                    </a:moveTo>
                    <a:cubicBezTo>
                      <a:pt x="3717156" y="967004"/>
                      <a:pt x="3696692" y="946538"/>
                      <a:pt x="3671540" y="946538"/>
                    </a:cubicBezTo>
                    <a:cubicBezTo>
                      <a:pt x="3646390" y="946538"/>
                      <a:pt x="3625924" y="967004"/>
                      <a:pt x="3625924" y="992153"/>
                    </a:cubicBezTo>
                    <a:cubicBezTo>
                      <a:pt x="3625924" y="1017311"/>
                      <a:pt x="3646390" y="1037762"/>
                      <a:pt x="3671540" y="1037762"/>
                    </a:cubicBezTo>
                    <a:cubicBezTo>
                      <a:pt x="3696692" y="1037762"/>
                      <a:pt x="3717156" y="1017311"/>
                      <a:pt x="3717156" y="992153"/>
                    </a:cubicBezTo>
                    <a:close/>
                    <a:moveTo>
                      <a:pt x="3717651" y="5677090"/>
                    </a:moveTo>
                    <a:cubicBezTo>
                      <a:pt x="3717651" y="5675364"/>
                      <a:pt x="3716173" y="5674131"/>
                      <a:pt x="3714692" y="5674131"/>
                    </a:cubicBezTo>
                    <a:cubicBezTo>
                      <a:pt x="3712965" y="5674131"/>
                      <a:pt x="3711733" y="5675609"/>
                      <a:pt x="3711733" y="5677090"/>
                    </a:cubicBezTo>
                    <a:cubicBezTo>
                      <a:pt x="3711733" y="5678568"/>
                      <a:pt x="3713211" y="5679804"/>
                      <a:pt x="3714692" y="5679804"/>
                    </a:cubicBezTo>
                    <a:cubicBezTo>
                      <a:pt x="3716418" y="5679804"/>
                      <a:pt x="3717651" y="5678817"/>
                      <a:pt x="3717651" y="5677090"/>
                    </a:cubicBezTo>
                    <a:close/>
                    <a:moveTo>
                      <a:pt x="3718634" y="4510786"/>
                    </a:moveTo>
                    <a:cubicBezTo>
                      <a:pt x="3718634" y="4485636"/>
                      <a:pt x="3698170" y="4465170"/>
                      <a:pt x="3673018" y="4465170"/>
                    </a:cubicBezTo>
                    <a:cubicBezTo>
                      <a:pt x="3647868" y="4465170"/>
                      <a:pt x="3627402" y="4485636"/>
                      <a:pt x="3627402" y="4510786"/>
                    </a:cubicBezTo>
                    <a:cubicBezTo>
                      <a:pt x="3627402" y="4535939"/>
                      <a:pt x="3647868" y="4556402"/>
                      <a:pt x="3673018" y="4556402"/>
                    </a:cubicBezTo>
                    <a:cubicBezTo>
                      <a:pt x="3698170" y="4556402"/>
                      <a:pt x="3718634" y="4536185"/>
                      <a:pt x="3718634" y="4510786"/>
                    </a:cubicBezTo>
                    <a:close/>
                    <a:moveTo>
                      <a:pt x="3720361" y="2146227"/>
                    </a:moveTo>
                    <a:cubicBezTo>
                      <a:pt x="3720361" y="2143515"/>
                      <a:pt x="3718143" y="2141047"/>
                      <a:pt x="3715184" y="2141047"/>
                    </a:cubicBezTo>
                    <a:cubicBezTo>
                      <a:pt x="3712225" y="2141047"/>
                      <a:pt x="3710006" y="2143267"/>
                      <a:pt x="3710006" y="2146227"/>
                    </a:cubicBezTo>
                    <a:cubicBezTo>
                      <a:pt x="3710006" y="2149183"/>
                      <a:pt x="3712225" y="2151404"/>
                      <a:pt x="3715184" y="2151404"/>
                    </a:cubicBezTo>
                    <a:cubicBezTo>
                      <a:pt x="3717896" y="2151404"/>
                      <a:pt x="3720361" y="2149183"/>
                      <a:pt x="3720361" y="2146227"/>
                    </a:cubicBezTo>
                    <a:close/>
                    <a:moveTo>
                      <a:pt x="3721349" y="868881"/>
                    </a:moveTo>
                    <a:cubicBezTo>
                      <a:pt x="3721349" y="843741"/>
                      <a:pt x="3700883" y="823521"/>
                      <a:pt x="3675979" y="823521"/>
                    </a:cubicBezTo>
                    <a:cubicBezTo>
                      <a:pt x="3650827" y="823521"/>
                      <a:pt x="3630609" y="843989"/>
                      <a:pt x="3630609" y="868881"/>
                    </a:cubicBezTo>
                    <a:cubicBezTo>
                      <a:pt x="3630609" y="894033"/>
                      <a:pt x="3651076" y="914251"/>
                      <a:pt x="3675979" y="914251"/>
                    </a:cubicBezTo>
                    <a:cubicBezTo>
                      <a:pt x="3700883" y="914251"/>
                      <a:pt x="3721103" y="894033"/>
                      <a:pt x="3721349" y="868881"/>
                    </a:cubicBezTo>
                    <a:close/>
                    <a:moveTo>
                      <a:pt x="3721842" y="3990017"/>
                    </a:moveTo>
                    <a:cubicBezTo>
                      <a:pt x="3721842" y="3975717"/>
                      <a:pt x="3710006" y="3964127"/>
                      <a:pt x="3695703" y="3964127"/>
                    </a:cubicBezTo>
                    <a:cubicBezTo>
                      <a:pt x="3681403" y="3964127"/>
                      <a:pt x="3669814" y="3975717"/>
                      <a:pt x="3669814" y="3990017"/>
                    </a:cubicBezTo>
                    <a:cubicBezTo>
                      <a:pt x="3669814" y="4004566"/>
                      <a:pt x="3681403" y="4016156"/>
                      <a:pt x="3695703" y="4016156"/>
                    </a:cubicBezTo>
                    <a:cubicBezTo>
                      <a:pt x="3710252" y="4016156"/>
                      <a:pt x="3721842" y="4004566"/>
                      <a:pt x="3721842" y="3990017"/>
                    </a:cubicBezTo>
                    <a:close/>
                    <a:moveTo>
                      <a:pt x="3722336" y="5803583"/>
                    </a:moveTo>
                    <a:cubicBezTo>
                      <a:pt x="3722336" y="5803089"/>
                      <a:pt x="3721842" y="5802597"/>
                      <a:pt x="3721350" y="5802597"/>
                    </a:cubicBezTo>
                    <a:cubicBezTo>
                      <a:pt x="3720858" y="5802597"/>
                      <a:pt x="3720364" y="5803089"/>
                      <a:pt x="3720364" y="5803583"/>
                    </a:cubicBezTo>
                    <a:cubicBezTo>
                      <a:pt x="3720364" y="5804074"/>
                      <a:pt x="3720858" y="5804569"/>
                      <a:pt x="3721350" y="5804569"/>
                    </a:cubicBezTo>
                    <a:cubicBezTo>
                      <a:pt x="3721842" y="5804569"/>
                      <a:pt x="3722336" y="5804074"/>
                      <a:pt x="3722336" y="5803583"/>
                    </a:cubicBezTo>
                    <a:close/>
                    <a:moveTo>
                      <a:pt x="3723077" y="2690883"/>
                    </a:moveTo>
                    <a:cubicBezTo>
                      <a:pt x="3723077" y="2676089"/>
                      <a:pt x="3710746" y="2664007"/>
                      <a:pt x="3695952" y="2664007"/>
                    </a:cubicBezTo>
                    <a:cubicBezTo>
                      <a:pt x="3680912" y="2664007"/>
                      <a:pt x="3668830" y="2676089"/>
                      <a:pt x="3668830" y="2690883"/>
                    </a:cubicBezTo>
                    <a:cubicBezTo>
                      <a:pt x="3668830" y="2705925"/>
                      <a:pt x="3681160" y="2718009"/>
                      <a:pt x="3695952" y="2718009"/>
                    </a:cubicBezTo>
                    <a:cubicBezTo>
                      <a:pt x="3710995" y="2718009"/>
                      <a:pt x="3723077" y="2705925"/>
                      <a:pt x="3723077" y="2690883"/>
                    </a:cubicBezTo>
                    <a:close/>
                    <a:moveTo>
                      <a:pt x="3727759" y="5928844"/>
                    </a:moveTo>
                    <a:cubicBezTo>
                      <a:pt x="3727759" y="5928598"/>
                      <a:pt x="3727514" y="5928351"/>
                      <a:pt x="3727267" y="5928351"/>
                    </a:cubicBezTo>
                    <a:cubicBezTo>
                      <a:pt x="3727018" y="5928351"/>
                      <a:pt x="3726773" y="5928598"/>
                      <a:pt x="3726773" y="5928844"/>
                    </a:cubicBezTo>
                    <a:cubicBezTo>
                      <a:pt x="3726773" y="5929092"/>
                      <a:pt x="3727018" y="5929338"/>
                      <a:pt x="3727267" y="5929338"/>
                    </a:cubicBezTo>
                    <a:cubicBezTo>
                      <a:pt x="3727514" y="5929338"/>
                      <a:pt x="3727759" y="5929092"/>
                      <a:pt x="3727759" y="5928844"/>
                    </a:cubicBezTo>
                    <a:close/>
                    <a:moveTo>
                      <a:pt x="3733185" y="6053363"/>
                    </a:moveTo>
                    <a:cubicBezTo>
                      <a:pt x="3733185" y="6052869"/>
                      <a:pt x="3732690" y="6052377"/>
                      <a:pt x="3732199" y="6052377"/>
                    </a:cubicBezTo>
                    <a:cubicBezTo>
                      <a:pt x="3731705" y="6052377"/>
                      <a:pt x="3731213" y="6052869"/>
                      <a:pt x="3731213" y="6053363"/>
                    </a:cubicBezTo>
                    <a:cubicBezTo>
                      <a:pt x="3731213" y="6053856"/>
                      <a:pt x="3731458" y="6054350"/>
                      <a:pt x="3732199" y="6054350"/>
                    </a:cubicBezTo>
                    <a:cubicBezTo>
                      <a:pt x="3732690" y="6054350"/>
                      <a:pt x="3733185" y="6053856"/>
                      <a:pt x="3733185" y="6053363"/>
                    </a:cubicBezTo>
                    <a:close/>
                    <a:moveTo>
                      <a:pt x="3733678" y="4258537"/>
                    </a:moveTo>
                    <a:cubicBezTo>
                      <a:pt x="3733678" y="4239306"/>
                      <a:pt x="3718145" y="4223771"/>
                      <a:pt x="3698911" y="4223771"/>
                    </a:cubicBezTo>
                    <a:cubicBezTo>
                      <a:pt x="3679680" y="4223771"/>
                      <a:pt x="3664144" y="4239306"/>
                      <a:pt x="3664144" y="4258537"/>
                    </a:cubicBezTo>
                    <a:cubicBezTo>
                      <a:pt x="3664144" y="4277772"/>
                      <a:pt x="3679680" y="4293307"/>
                      <a:pt x="3698911" y="4293307"/>
                    </a:cubicBezTo>
                    <a:cubicBezTo>
                      <a:pt x="3718145" y="4293307"/>
                      <a:pt x="3733926" y="4277772"/>
                      <a:pt x="3733678" y="4258537"/>
                    </a:cubicBezTo>
                    <a:close/>
                    <a:moveTo>
                      <a:pt x="3734664" y="2004935"/>
                    </a:moveTo>
                    <a:cubicBezTo>
                      <a:pt x="3734664" y="2003949"/>
                      <a:pt x="3733926" y="2003209"/>
                      <a:pt x="3732939" y="2003209"/>
                    </a:cubicBezTo>
                    <a:cubicBezTo>
                      <a:pt x="3731954" y="2003209"/>
                      <a:pt x="3731213" y="2003949"/>
                      <a:pt x="3731213" y="2004935"/>
                    </a:cubicBezTo>
                    <a:cubicBezTo>
                      <a:pt x="3731213" y="2005922"/>
                      <a:pt x="3731954" y="2006658"/>
                      <a:pt x="3732939" y="2006658"/>
                    </a:cubicBezTo>
                    <a:cubicBezTo>
                      <a:pt x="3733926" y="2006658"/>
                      <a:pt x="3734664" y="2005922"/>
                      <a:pt x="3734664" y="2004935"/>
                    </a:cubicBezTo>
                    <a:close/>
                    <a:moveTo>
                      <a:pt x="3735649" y="3071348"/>
                    </a:moveTo>
                    <a:cubicBezTo>
                      <a:pt x="3735649" y="3066910"/>
                      <a:pt x="3732199" y="3063211"/>
                      <a:pt x="3727759" y="3063211"/>
                    </a:cubicBezTo>
                    <a:cubicBezTo>
                      <a:pt x="3723323" y="3063211"/>
                      <a:pt x="3719623" y="3067157"/>
                      <a:pt x="3719623" y="3071348"/>
                    </a:cubicBezTo>
                    <a:cubicBezTo>
                      <a:pt x="3719623" y="3075541"/>
                      <a:pt x="3723323" y="3079238"/>
                      <a:pt x="3727759" y="3079238"/>
                    </a:cubicBezTo>
                    <a:cubicBezTo>
                      <a:pt x="3732199" y="3079238"/>
                      <a:pt x="3735649" y="3075787"/>
                      <a:pt x="3735649" y="3071348"/>
                    </a:cubicBezTo>
                    <a:close/>
                    <a:moveTo>
                      <a:pt x="3741568" y="4657745"/>
                    </a:moveTo>
                    <a:cubicBezTo>
                      <a:pt x="3741568" y="4634320"/>
                      <a:pt x="3722583" y="4615334"/>
                      <a:pt x="3699157" y="4615334"/>
                    </a:cubicBezTo>
                    <a:cubicBezTo>
                      <a:pt x="3675731" y="4615334"/>
                      <a:pt x="3656746" y="4634320"/>
                      <a:pt x="3656746" y="4657745"/>
                    </a:cubicBezTo>
                    <a:cubicBezTo>
                      <a:pt x="3656746" y="4681170"/>
                      <a:pt x="3675731" y="4700156"/>
                      <a:pt x="3699157" y="4700156"/>
                    </a:cubicBezTo>
                    <a:cubicBezTo>
                      <a:pt x="3722583" y="4700156"/>
                      <a:pt x="3741568" y="4681416"/>
                      <a:pt x="3741568" y="4657745"/>
                    </a:cubicBezTo>
                    <a:close/>
                    <a:moveTo>
                      <a:pt x="3748229" y="6171228"/>
                    </a:moveTo>
                    <a:cubicBezTo>
                      <a:pt x="3748229" y="6169747"/>
                      <a:pt x="3746993" y="6168515"/>
                      <a:pt x="3745516" y="6168515"/>
                    </a:cubicBezTo>
                    <a:cubicBezTo>
                      <a:pt x="3744035" y="6168515"/>
                      <a:pt x="3742802" y="6169747"/>
                      <a:pt x="3742802" y="6171228"/>
                    </a:cubicBezTo>
                    <a:cubicBezTo>
                      <a:pt x="3742802" y="6172706"/>
                      <a:pt x="3744035" y="6173941"/>
                      <a:pt x="3745516" y="6173941"/>
                    </a:cubicBezTo>
                    <a:cubicBezTo>
                      <a:pt x="3746748" y="6173941"/>
                      <a:pt x="3747980" y="6172706"/>
                      <a:pt x="3748229" y="6171228"/>
                    </a:cubicBezTo>
                    <a:close/>
                    <a:moveTo>
                      <a:pt x="3750939" y="3878565"/>
                    </a:moveTo>
                    <a:cubicBezTo>
                      <a:pt x="3750939" y="3866485"/>
                      <a:pt x="3741076" y="3856867"/>
                      <a:pt x="3729240" y="3856867"/>
                    </a:cubicBezTo>
                    <a:cubicBezTo>
                      <a:pt x="3717405" y="3856867"/>
                      <a:pt x="3707542" y="3866485"/>
                      <a:pt x="3707542" y="3878565"/>
                    </a:cubicBezTo>
                    <a:cubicBezTo>
                      <a:pt x="3707542" y="3890647"/>
                      <a:pt x="3717405" y="3900264"/>
                      <a:pt x="3729240" y="3900264"/>
                    </a:cubicBezTo>
                    <a:cubicBezTo>
                      <a:pt x="3741076" y="3900264"/>
                      <a:pt x="3750939" y="3890401"/>
                      <a:pt x="3750939" y="3878565"/>
                    </a:cubicBezTo>
                    <a:close/>
                    <a:moveTo>
                      <a:pt x="3751922" y="6294021"/>
                    </a:moveTo>
                    <a:cubicBezTo>
                      <a:pt x="3751922" y="6292789"/>
                      <a:pt x="3750690" y="6291557"/>
                      <a:pt x="3749212" y="6291557"/>
                    </a:cubicBezTo>
                    <a:cubicBezTo>
                      <a:pt x="3747977" y="6291557"/>
                      <a:pt x="3746745" y="6292543"/>
                      <a:pt x="3746745" y="6294021"/>
                    </a:cubicBezTo>
                    <a:cubicBezTo>
                      <a:pt x="3746745" y="6295502"/>
                      <a:pt x="3747731" y="6296734"/>
                      <a:pt x="3749212" y="6296734"/>
                    </a:cubicBezTo>
                    <a:cubicBezTo>
                      <a:pt x="3750445" y="6296734"/>
                      <a:pt x="3751677" y="6295502"/>
                      <a:pt x="3751922" y="6294021"/>
                    </a:cubicBezTo>
                    <a:close/>
                    <a:moveTo>
                      <a:pt x="3752171" y="4943036"/>
                    </a:moveTo>
                    <a:cubicBezTo>
                      <a:pt x="3752171" y="4936131"/>
                      <a:pt x="3746502" y="4930459"/>
                      <a:pt x="3739598" y="4930459"/>
                    </a:cubicBezTo>
                    <a:cubicBezTo>
                      <a:pt x="3732693" y="4930459"/>
                      <a:pt x="3727021" y="4936131"/>
                      <a:pt x="3727021" y="4943036"/>
                    </a:cubicBezTo>
                    <a:cubicBezTo>
                      <a:pt x="3727021" y="4949940"/>
                      <a:pt x="3732693" y="4955612"/>
                      <a:pt x="3739598" y="4955612"/>
                    </a:cubicBezTo>
                    <a:cubicBezTo>
                      <a:pt x="3746502" y="4955612"/>
                      <a:pt x="3752171" y="4950186"/>
                      <a:pt x="3752171" y="4943036"/>
                    </a:cubicBezTo>
                    <a:close/>
                    <a:moveTo>
                      <a:pt x="3753652" y="6416077"/>
                    </a:moveTo>
                    <a:cubicBezTo>
                      <a:pt x="3753652" y="6415090"/>
                      <a:pt x="3752911" y="6414350"/>
                      <a:pt x="3751925" y="6414350"/>
                    </a:cubicBezTo>
                    <a:cubicBezTo>
                      <a:pt x="3750939" y="6414350"/>
                      <a:pt x="3750198" y="6415090"/>
                      <a:pt x="3750198" y="6416077"/>
                    </a:cubicBezTo>
                    <a:cubicBezTo>
                      <a:pt x="3750198" y="6417063"/>
                      <a:pt x="3750939" y="6417804"/>
                      <a:pt x="3751925" y="6417804"/>
                    </a:cubicBezTo>
                    <a:cubicBezTo>
                      <a:pt x="3752911" y="6417804"/>
                      <a:pt x="3753652" y="6417063"/>
                      <a:pt x="3753652" y="6416077"/>
                    </a:cubicBezTo>
                    <a:close/>
                    <a:moveTo>
                      <a:pt x="3755871" y="1836358"/>
                    </a:moveTo>
                    <a:cubicBezTo>
                      <a:pt x="3755871" y="1814665"/>
                      <a:pt x="3738364" y="1797166"/>
                      <a:pt x="3716664" y="1797166"/>
                    </a:cubicBezTo>
                    <a:cubicBezTo>
                      <a:pt x="3694965" y="1797166"/>
                      <a:pt x="3677458" y="1814665"/>
                      <a:pt x="3677458" y="1836358"/>
                    </a:cubicBezTo>
                    <a:cubicBezTo>
                      <a:pt x="3677458" y="1858053"/>
                      <a:pt x="3694965" y="1875553"/>
                      <a:pt x="3716664" y="1875553"/>
                    </a:cubicBezTo>
                    <a:cubicBezTo>
                      <a:pt x="3738364" y="1875553"/>
                      <a:pt x="3755871" y="1857805"/>
                      <a:pt x="3755871" y="1836358"/>
                    </a:cubicBezTo>
                    <a:close/>
                    <a:moveTo>
                      <a:pt x="3757843" y="6536652"/>
                    </a:moveTo>
                    <a:cubicBezTo>
                      <a:pt x="3757843" y="6535420"/>
                      <a:pt x="3756855" y="6534433"/>
                      <a:pt x="3755622" y="6534433"/>
                    </a:cubicBezTo>
                    <a:cubicBezTo>
                      <a:pt x="3754390" y="6534433"/>
                      <a:pt x="3753403" y="6535420"/>
                      <a:pt x="3753403" y="6536652"/>
                    </a:cubicBezTo>
                    <a:cubicBezTo>
                      <a:pt x="3753403" y="6537887"/>
                      <a:pt x="3754390" y="6538873"/>
                      <a:pt x="3755622" y="6538873"/>
                    </a:cubicBezTo>
                    <a:cubicBezTo>
                      <a:pt x="3756855" y="6538873"/>
                      <a:pt x="3757843" y="6537887"/>
                      <a:pt x="3757843" y="6536652"/>
                    </a:cubicBezTo>
                    <a:close/>
                    <a:moveTo>
                      <a:pt x="3761540" y="2535054"/>
                    </a:moveTo>
                    <a:cubicBezTo>
                      <a:pt x="3761540" y="2518779"/>
                      <a:pt x="3748472" y="2505709"/>
                      <a:pt x="3732446" y="2505709"/>
                    </a:cubicBezTo>
                    <a:cubicBezTo>
                      <a:pt x="3716170" y="2505709"/>
                      <a:pt x="3703102" y="2519029"/>
                      <a:pt x="3703102" y="2535054"/>
                    </a:cubicBezTo>
                    <a:cubicBezTo>
                      <a:pt x="3703102" y="2551327"/>
                      <a:pt x="3716416" y="2564396"/>
                      <a:pt x="3732446" y="2564396"/>
                    </a:cubicBezTo>
                    <a:cubicBezTo>
                      <a:pt x="3748472" y="2564396"/>
                      <a:pt x="3761540" y="2551327"/>
                      <a:pt x="3761540" y="2535054"/>
                    </a:cubicBezTo>
                    <a:close/>
                    <a:moveTo>
                      <a:pt x="3761543" y="4802487"/>
                    </a:moveTo>
                    <a:cubicBezTo>
                      <a:pt x="3761543" y="4780047"/>
                      <a:pt x="3743295" y="4761802"/>
                      <a:pt x="3720856" y="4761802"/>
                    </a:cubicBezTo>
                    <a:cubicBezTo>
                      <a:pt x="3698420" y="4761802"/>
                      <a:pt x="3680171" y="4780047"/>
                      <a:pt x="3680171" y="4802487"/>
                    </a:cubicBezTo>
                    <a:cubicBezTo>
                      <a:pt x="3680171" y="4824925"/>
                      <a:pt x="3698420" y="4843171"/>
                      <a:pt x="3720856" y="4843171"/>
                    </a:cubicBezTo>
                    <a:cubicBezTo>
                      <a:pt x="3743295" y="4843171"/>
                      <a:pt x="3761543" y="4824679"/>
                      <a:pt x="3761543" y="4802487"/>
                    </a:cubicBezTo>
                    <a:close/>
                    <a:moveTo>
                      <a:pt x="3762036" y="6656735"/>
                    </a:moveTo>
                    <a:cubicBezTo>
                      <a:pt x="3762036" y="6654762"/>
                      <a:pt x="3760310" y="6653035"/>
                      <a:pt x="3758337" y="6653035"/>
                    </a:cubicBezTo>
                    <a:cubicBezTo>
                      <a:pt x="3756364" y="6653035"/>
                      <a:pt x="3754638" y="6654762"/>
                      <a:pt x="3754638" y="6656735"/>
                    </a:cubicBezTo>
                    <a:cubicBezTo>
                      <a:pt x="3754638" y="6658707"/>
                      <a:pt x="3756364" y="6660434"/>
                      <a:pt x="3758337" y="6660434"/>
                    </a:cubicBezTo>
                    <a:cubicBezTo>
                      <a:pt x="3760310" y="6660434"/>
                      <a:pt x="3762036" y="6658707"/>
                      <a:pt x="3762036" y="6656735"/>
                    </a:cubicBezTo>
                    <a:close/>
                    <a:moveTo>
                      <a:pt x="3762280" y="3185019"/>
                    </a:moveTo>
                    <a:cubicBezTo>
                      <a:pt x="3762280" y="3180089"/>
                      <a:pt x="3758335" y="3176143"/>
                      <a:pt x="3753403" y="3176143"/>
                    </a:cubicBezTo>
                    <a:cubicBezTo>
                      <a:pt x="3748472" y="3176143"/>
                      <a:pt x="3744527" y="3180089"/>
                      <a:pt x="3744527" y="3185019"/>
                    </a:cubicBezTo>
                    <a:cubicBezTo>
                      <a:pt x="3744527" y="3189951"/>
                      <a:pt x="3748472" y="3193897"/>
                      <a:pt x="3753403" y="3193897"/>
                    </a:cubicBezTo>
                    <a:cubicBezTo>
                      <a:pt x="3758089" y="3193897"/>
                      <a:pt x="3762034" y="3189706"/>
                      <a:pt x="3762280" y="3185019"/>
                    </a:cubicBezTo>
                    <a:close/>
                    <a:moveTo>
                      <a:pt x="3766471" y="6776326"/>
                    </a:moveTo>
                    <a:cubicBezTo>
                      <a:pt x="3766471" y="6773368"/>
                      <a:pt x="3764007" y="6770900"/>
                      <a:pt x="3761048" y="6770900"/>
                    </a:cubicBezTo>
                    <a:cubicBezTo>
                      <a:pt x="3758089" y="6770900"/>
                      <a:pt x="3755621" y="6773368"/>
                      <a:pt x="3755621" y="6776326"/>
                    </a:cubicBezTo>
                    <a:cubicBezTo>
                      <a:pt x="3755621" y="6779036"/>
                      <a:pt x="3758089" y="6781504"/>
                      <a:pt x="3761048" y="6781504"/>
                    </a:cubicBezTo>
                    <a:cubicBezTo>
                      <a:pt x="3764007" y="6781504"/>
                      <a:pt x="3766471" y="6779036"/>
                      <a:pt x="3766471" y="6776326"/>
                    </a:cubicBezTo>
                    <a:close/>
                    <a:moveTo>
                      <a:pt x="3770911" y="6894928"/>
                    </a:moveTo>
                    <a:cubicBezTo>
                      <a:pt x="3770911" y="6890735"/>
                      <a:pt x="3767706" y="6887530"/>
                      <a:pt x="3763515" y="6887530"/>
                    </a:cubicBezTo>
                    <a:cubicBezTo>
                      <a:pt x="3759321" y="6887530"/>
                      <a:pt x="3756117" y="6890735"/>
                      <a:pt x="3756117" y="6894928"/>
                    </a:cubicBezTo>
                    <a:cubicBezTo>
                      <a:pt x="3756117" y="6899119"/>
                      <a:pt x="3759568" y="6902324"/>
                      <a:pt x="3763515" y="6902324"/>
                    </a:cubicBezTo>
                    <a:cubicBezTo>
                      <a:pt x="3767706" y="6902324"/>
                      <a:pt x="3770911" y="6898871"/>
                      <a:pt x="3770911" y="6894928"/>
                    </a:cubicBezTo>
                    <a:close/>
                    <a:moveTo>
                      <a:pt x="3772389" y="3764649"/>
                    </a:moveTo>
                    <a:cubicBezTo>
                      <a:pt x="3772389" y="3754786"/>
                      <a:pt x="3764252" y="3746649"/>
                      <a:pt x="3754389" y="3746649"/>
                    </a:cubicBezTo>
                    <a:cubicBezTo>
                      <a:pt x="3744773" y="3746649"/>
                      <a:pt x="3736636" y="3754786"/>
                      <a:pt x="3736636" y="3764649"/>
                    </a:cubicBezTo>
                    <a:cubicBezTo>
                      <a:pt x="3736636" y="3774511"/>
                      <a:pt x="3744527" y="3782648"/>
                      <a:pt x="3754389" y="3782648"/>
                    </a:cubicBezTo>
                    <a:cubicBezTo>
                      <a:pt x="3764252" y="3782648"/>
                      <a:pt x="3772143" y="3774511"/>
                      <a:pt x="3772389" y="3764649"/>
                    </a:cubicBezTo>
                    <a:close/>
                    <a:moveTo>
                      <a:pt x="3772392" y="1701220"/>
                    </a:moveTo>
                    <a:cubicBezTo>
                      <a:pt x="3772392" y="1677298"/>
                      <a:pt x="3752911" y="1657572"/>
                      <a:pt x="3728746" y="1657572"/>
                    </a:cubicBezTo>
                    <a:cubicBezTo>
                      <a:pt x="3704828" y="1657572"/>
                      <a:pt x="3685102" y="1677053"/>
                      <a:pt x="3685102" y="1701220"/>
                    </a:cubicBezTo>
                    <a:cubicBezTo>
                      <a:pt x="3685102" y="1725372"/>
                      <a:pt x="3704583" y="1744868"/>
                      <a:pt x="3728746" y="1744868"/>
                    </a:cubicBezTo>
                    <a:cubicBezTo>
                      <a:pt x="3752911" y="1744868"/>
                      <a:pt x="3772392" y="1725372"/>
                      <a:pt x="3772392" y="1701220"/>
                    </a:cubicBezTo>
                    <a:close/>
                    <a:moveTo>
                      <a:pt x="3773624" y="2795678"/>
                    </a:moveTo>
                    <a:cubicBezTo>
                      <a:pt x="3773624" y="2780639"/>
                      <a:pt x="3761293" y="2768307"/>
                      <a:pt x="3746253" y="2768307"/>
                    </a:cubicBezTo>
                    <a:cubicBezTo>
                      <a:pt x="3731213" y="2768307"/>
                      <a:pt x="3718883" y="2780639"/>
                      <a:pt x="3718883" y="2795678"/>
                    </a:cubicBezTo>
                    <a:cubicBezTo>
                      <a:pt x="3718883" y="2810719"/>
                      <a:pt x="3731213" y="2823049"/>
                      <a:pt x="3746253" y="2823049"/>
                    </a:cubicBezTo>
                    <a:cubicBezTo>
                      <a:pt x="3761293" y="2823049"/>
                      <a:pt x="3773624" y="2810719"/>
                      <a:pt x="3773624" y="2795678"/>
                    </a:cubicBezTo>
                    <a:close/>
                    <a:moveTo>
                      <a:pt x="3775842" y="5071746"/>
                    </a:moveTo>
                    <a:cubicBezTo>
                      <a:pt x="3775842" y="5066077"/>
                      <a:pt x="3771402" y="5061637"/>
                      <a:pt x="3765730" y="5061637"/>
                    </a:cubicBezTo>
                    <a:cubicBezTo>
                      <a:pt x="3760061" y="5061637"/>
                      <a:pt x="3755621" y="5066077"/>
                      <a:pt x="3755621" y="5071746"/>
                    </a:cubicBezTo>
                    <a:cubicBezTo>
                      <a:pt x="3755621" y="5077418"/>
                      <a:pt x="3760061" y="5081858"/>
                      <a:pt x="3765730" y="5081858"/>
                    </a:cubicBezTo>
                    <a:cubicBezTo>
                      <a:pt x="3771402" y="5081858"/>
                      <a:pt x="3775842" y="5077418"/>
                      <a:pt x="3775842" y="5071746"/>
                    </a:cubicBezTo>
                    <a:close/>
                    <a:moveTo>
                      <a:pt x="3778064" y="4413388"/>
                    </a:moveTo>
                    <a:cubicBezTo>
                      <a:pt x="3778064" y="4390457"/>
                      <a:pt x="3759324" y="4371717"/>
                      <a:pt x="3736390" y="4371717"/>
                    </a:cubicBezTo>
                    <a:cubicBezTo>
                      <a:pt x="3713459" y="4371717"/>
                      <a:pt x="3694720" y="4390457"/>
                      <a:pt x="3694720" y="4413388"/>
                    </a:cubicBezTo>
                    <a:cubicBezTo>
                      <a:pt x="3694720" y="4436318"/>
                      <a:pt x="3713459" y="4455061"/>
                      <a:pt x="3736390" y="4455061"/>
                    </a:cubicBezTo>
                    <a:cubicBezTo>
                      <a:pt x="3759324" y="4455061"/>
                      <a:pt x="3777815" y="4436567"/>
                      <a:pt x="3778064" y="4413388"/>
                    </a:cubicBezTo>
                    <a:close/>
                    <a:moveTo>
                      <a:pt x="3778310" y="4153253"/>
                    </a:moveTo>
                    <a:cubicBezTo>
                      <a:pt x="3778310" y="4136977"/>
                      <a:pt x="3765239" y="4123909"/>
                      <a:pt x="3748966" y="4123909"/>
                    </a:cubicBezTo>
                    <a:cubicBezTo>
                      <a:pt x="3732690" y="4123909"/>
                      <a:pt x="3719623" y="4136977"/>
                      <a:pt x="3719623" y="4153253"/>
                    </a:cubicBezTo>
                    <a:cubicBezTo>
                      <a:pt x="3719623" y="4169525"/>
                      <a:pt x="3732690" y="4182596"/>
                      <a:pt x="3748966" y="4182596"/>
                    </a:cubicBezTo>
                    <a:cubicBezTo>
                      <a:pt x="3764993" y="4182596"/>
                      <a:pt x="3778310" y="4169525"/>
                      <a:pt x="3778310" y="4153253"/>
                    </a:cubicBezTo>
                    <a:close/>
                    <a:moveTo>
                      <a:pt x="3779296" y="7127693"/>
                    </a:moveTo>
                    <a:cubicBezTo>
                      <a:pt x="3779296" y="7124983"/>
                      <a:pt x="3777074" y="7123010"/>
                      <a:pt x="3774610" y="7123010"/>
                    </a:cubicBezTo>
                    <a:cubicBezTo>
                      <a:pt x="3772143" y="7123010"/>
                      <a:pt x="3769924" y="7125228"/>
                      <a:pt x="3769924" y="7127693"/>
                    </a:cubicBezTo>
                    <a:cubicBezTo>
                      <a:pt x="3769924" y="7130161"/>
                      <a:pt x="3771898" y="7132379"/>
                      <a:pt x="3774610" y="7132379"/>
                    </a:cubicBezTo>
                    <a:cubicBezTo>
                      <a:pt x="3777074" y="7132379"/>
                      <a:pt x="3779296" y="7130406"/>
                      <a:pt x="3779296" y="7127693"/>
                    </a:cubicBezTo>
                    <a:close/>
                    <a:moveTo>
                      <a:pt x="3779788" y="2383425"/>
                    </a:moveTo>
                    <a:cubicBezTo>
                      <a:pt x="3779788" y="2373806"/>
                      <a:pt x="3771897" y="2366166"/>
                      <a:pt x="3762526" y="2366166"/>
                    </a:cubicBezTo>
                    <a:cubicBezTo>
                      <a:pt x="3753157" y="2366166"/>
                      <a:pt x="3745512" y="2374052"/>
                      <a:pt x="3745512" y="2383425"/>
                    </a:cubicBezTo>
                    <a:cubicBezTo>
                      <a:pt x="3745512" y="2392791"/>
                      <a:pt x="3753157" y="2400438"/>
                      <a:pt x="3762526" y="2400438"/>
                    </a:cubicBezTo>
                    <a:cubicBezTo>
                      <a:pt x="3772143" y="2400438"/>
                      <a:pt x="3779788" y="2392546"/>
                      <a:pt x="3779788" y="2383425"/>
                    </a:cubicBezTo>
                    <a:close/>
                    <a:moveTo>
                      <a:pt x="3780033" y="5208597"/>
                    </a:moveTo>
                    <a:cubicBezTo>
                      <a:pt x="3780033" y="5208101"/>
                      <a:pt x="3779788" y="5207856"/>
                      <a:pt x="3779295" y="5207856"/>
                    </a:cubicBezTo>
                    <a:cubicBezTo>
                      <a:pt x="3778801" y="5207856"/>
                      <a:pt x="3778555" y="5208101"/>
                      <a:pt x="3778555" y="5208597"/>
                    </a:cubicBezTo>
                    <a:cubicBezTo>
                      <a:pt x="3778555" y="5209088"/>
                      <a:pt x="3778801" y="5209334"/>
                      <a:pt x="3779295" y="5209334"/>
                    </a:cubicBezTo>
                    <a:cubicBezTo>
                      <a:pt x="3779788" y="5209334"/>
                      <a:pt x="3780033" y="5209088"/>
                      <a:pt x="3780033" y="5208597"/>
                    </a:cubicBezTo>
                    <a:close/>
                    <a:moveTo>
                      <a:pt x="3780034" y="3300170"/>
                    </a:moveTo>
                    <a:cubicBezTo>
                      <a:pt x="3780034" y="3294744"/>
                      <a:pt x="3775843" y="3290554"/>
                      <a:pt x="3770420" y="3290554"/>
                    </a:cubicBezTo>
                    <a:cubicBezTo>
                      <a:pt x="3764993" y="3290554"/>
                      <a:pt x="3760802" y="3294744"/>
                      <a:pt x="3760802" y="3300170"/>
                    </a:cubicBezTo>
                    <a:cubicBezTo>
                      <a:pt x="3760802" y="3305347"/>
                      <a:pt x="3764993" y="3309787"/>
                      <a:pt x="3770420" y="3309787"/>
                    </a:cubicBezTo>
                    <a:cubicBezTo>
                      <a:pt x="3775843" y="3309787"/>
                      <a:pt x="3780034" y="3305593"/>
                      <a:pt x="3780034" y="3300170"/>
                    </a:cubicBezTo>
                    <a:close/>
                    <a:moveTo>
                      <a:pt x="3781760" y="779647"/>
                    </a:moveTo>
                    <a:cubicBezTo>
                      <a:pt x="3781760" y="755482"/>
                      <a:pt x="3762033" y="735754"/>
                      <a:pt x="3737868" y="735754"/>
                    </a:cubicBezTo>
                    <a:cubicBezTo>
                      <a:pt x="3713705" y="735754"/>
                      <a:pt x="3693979" y="755482"/>
                      <a:pt x="3693979" y="779647"/>
                    </a:cubicBezTo>
                    <a:cubicBezTo>
                      <a:pt x="3693979" y="803814"/>
                      <a:pt x="3713705" y="823541"/>
                      <a:pt x="3737868" y="823541"/>
                    </a:cubicBezTo>
                    <a:cubicBezTo>
                      <a:pt x="3762033" y="823541"/>
                      <a:pt x="3781760" y="803814"/>
                      <a:pt x="3781760" y="779647"/>
                    </a:cubicBezTo>
                    <a:close/>
                    <a:moveTo>
                      <a:pt x="3781760" y="7009830"/>
                    </a:moveTo>
                    <a:cubicBezTo>
                      <a:pt x="3781760" y="7004899"/>
                      <a:pt x="3777814" y="7000954"/>
                      <a:pt x="3772883" y="7000954"/>
                    </a:cubicBezTo>
                    <a:cubicBezTo>
                      <a:pt x="3767952" y="7000954"/>
                      <a:pt x="3764007" y="7004899"/>
                      <a:pt x="3764007" y="7009830"/>
                    </a:cubicBezTo>
                    <a:cubicBezTo>
                      <a:pt x="3764007" y="7014762"/>
                      <a:pt x="3767952" y="7018707"/>
                      <a:pt x="3772883" y="7018707"/>
                    </a:cubicBezTo>
                    <a:cubicBezTo>
                      <a:pt x="3777814" y="7018707"/>
                      <a:pt x="3781760" y="7014762"/>
                      <a:pt x="3781760" y="7009830"/>
                    </a:cubicBezTo>
                    <a:close/>
                    <a:moveTo>
                      <a:pt x="3782992" y="7244817"/>
                    </a:moveTo>
                    <a:cubicBezTo>
                      <a:pt x="3782992" y="7241117"/>
                      <a:pt x="3780033" y="7238159"/>
                      <a:pt x="3776336" y="7238159"/>
                    </a:cubicBezTo>
                    <a:cubicBezTo>
                      <a:pt x="3772638" y="7238159"/>
                      <a:pt x="3769679" y="7241117"/>
                      <a:pt x="3769679" y="7244817"/>
                    </a:cubicBezTo>
                    <a:cubicBezTo>
                      <a:pt x="3769679" y="7248516"/>
                      <a:pt x="3772638" y="7251475"/>
                      <a:pt x="3776336" y="7251475"/>
                    </a:cubicBezTo>
                    <a:cubicBezTo>
                      <a:pt x="3780033" y="7251475"/>
                      <a:pt x="3782992" y="7248762"/>
                      <a:pt x="3782992" y="7244817"/>
                    </a:cubicBezTo>
                    <a:close/>
                    <a:moveTo>
                      <a:pt x="3784965" y="657123"/>
                    </a:moveTo>
                    <a:cubicBezTo>
                      <a:pt x="3784965" y="633158"/>
                      <a:pt x="3765485" y="613679"/>
                      <a:pt x="3741567" y="613679"/>
                    </a:cubicBezTo>
                    <a:cubicBezTo>
                      <a:pt x="3717651" y="613679"/>
                      <a:pt x="3698170" y="633158"/>
                      <a:pt x="3698170" y="657123"/>
                    </a:cubicBezTo>
                    <a:cubicBezTo>
                      <a:pt x="3698170" y="681036"/>
                      <a:pt x="3717651" y="700522"/>
                      <a:pt x="3741567" y="700522"/>
                    </a:cubicBezTo>
                    <a:cubicBezTo>
                      <a:pt x="3765485" y="700522"/>
                      <a:pt x="3784965" y="681036"/>
                      <a:pt x="3784965" y="657123"/>
                    </a:cubicBezTo>
                    <a:close/>
                    <a:moveTo>
                      <a:pt x="3784965" y="3649252"/>
                    </a:moveTo>
                    <a:cubicBezTo>
                      <a:pt x="3784965" y="3641607"/>
                      <a:pt x="3778802" y="3635197"/>
                      <a:pt x="3770911" y="3635197"/>
                    </a:cubicBezTo>
                    <a:cubicBezTo>
                      <a:pt x="3763269" y="3635197"/>
                      <a:pt x="3756857" y="3641607"/>
                      <a:pt x="3756857" y="3649252"/>
                    </a:cubicBezTo>
                    <a:cubicBezTo>
                      <a:pt x="3756857" y="3656896"/>
                      <a:pt x="3763021" y="3663306"/>
                      <a:pt x="3770911" y="3663306"/>
                    </a:cubicBezTo>
                    <a:cubicBezTo>
                      <a:pt x="3778802" y="3663306"/>
                      <a:pt x="3784965" y="3656896"/>
                      <a:pt x="3784965" y="3649252"/>
                    </a:cubicBezTo>
                    <a:close/>
                    <a:moveTo>
                      <a:pt x="3786198" y="1568333"/>
                    </a:moveTo>
                    <a:cubicBezTo>
                      <a:pt x="3786198" y="1542440"/>
                      <a:pt x="3765239" y="1521483"/>
                      <a:pt x="3739349" y="1521483"/>
                    </a:cubicBezTo>
                    <a:cubicBezTo>
                      <a:pt x="3713457" y="1521483"/>
                      <a:pt x="3692499" y="1542440"/>
                      <a:pt x="3692499" y="1568333"/>
                    </a:cubicBezTo>
                    <a:cubicBezTo>
                      <a:pt x="3692499" y="1594223"/>
                      <a:pt x="3713457" y="1615180"/>
                      <a:pt x="3739349" y="1615180"/>
                    </a:cubicBezTo>
                    <a:cubicBezTo>
                      <a:pt x="3765239" y="1615180"/>
                      <a:pt x="3786198" y="1594223"/>
                      <a:pt x="3786198" y="1568333"/>
                    </a:cubicBezTo>
                    <a:close/>
                    <a:moveTo>
                      <a:pt x="3789155" y="3416555"/>
                    </a:moveTo>
                    <a:cubicBezTo>
                      <a:pt x="3789155" y="3410886"/>
                      <a:pt x="3784719" y="3406449"/>
                      <a:pt x="3779047" y="3406449"/>
                    </a:cubicBezTo>
                    <a:cubicBezTo>
                      <a:pt x="3773374" y="3406449"/>
                      <a:pt x="3768938" y="3411133"/>
                      <a:pt x="3768938" y="3416555"/>
                    </a:cubicBezTo>
                    <a:cubicBezTo>
                      <a:pt x="3768938" y="3422224"/>
                      <a:pt x="3773374" y="3426663"/>
                      <a:pt x="3779047" y="3426663"/>
                    </a:cubicBezTo>
                    <a:cubicBezTo>
                      <a:pt x="3784719" y="3426663"/>
                      <a:pt x="3789155" y="3421979"/>
                      <a:pt x="3789155" y="3416555"/>
                    </a:cubicBezTo>
                    <a:close/>
                    <a:moveTo>
                      <a:pt x="3789158" y="535536"/>
                    </a:moveTo>
                    <a:cubicBezTo>
                      <a:pt x="3789158" y="511126"/>
                      <a:pt x="3769432" y="491401"/>
                      <a:pt x="3745020" y="491401"/>
                    </a:cubicBezTo>
                    <a:cubicBezTo>
                      <a:pt x="3720609" y="491401"/>
                      <a:pt x="3700883" y="511126"/>
                      <a:pt x="3700883" y="535536"/>
                    </a:cubicBezTo>
                    <a:cubicBezTo>
                      <a:pt x="3700883" y="559944"/>
                      <a:pt x="3720609" y="579669"/>
                      <a:pt x="3745020" y="579669"/>
                    </a:cubicBezTo>
                    <a:cubicBezTo>
                      <a:pt x="3769432" y="579669"/>
                      <a:pt x="3789158" y="559944"/>
                      <a:pt x="3789158" y="535536"/>
                    </a:cubicBezTo>
                    <a:close/>
                    <a:moveTo>
                      <a:pt x="3790145" y="414493"/>
                    </a:moveTo>
                    <a:cubicBezTo>
                      <a:pt x="3790145" y="391068"/>
                      <a:pt x="3771157" y="371837"/>
                      <a:pt x="3747486" y="371837"/>
                    </a:cubicBezTo>
                    <a:cubicBezTo>
                      <a:pt x="3724061" y="371837"/>
                      <a:pt x="3704828" y="391068"/>
                      <a:pt x="3704828" y="414493"/>
                    </a:cubicBezTo>
                    <a:cubicBezTo>
                      <a:pt x="3704828" y="437917"/>
                      <a:pt x="3723814" y="457148"/>
                      <a:pt x="3747486" y="457148"/>
                    </a:cubicBezTo>
                    <a:cubicBezTo>
                      <a:pt x="3770911" y="457148"/>
                      <a:pt x="3790145" y="437917"/>
                      <a:pt x="3790145" y="414493"/>
                    </a:cubicBezTo>
                    <a:close/>
                    <a:moveTo>
                      <a:pt x="3790636" y="3532868"/>
                    </a:moveTo>
                    <a:cubicBezTo>
                      <a:pt x="3790636" y="3526456"/>
                      <a:pt x="3785705" y="3521278"/>
                      <a:pt x="3779295" y="3521278"/>
                    </a:cubicBezTo>
                    <a:cubicBezTo>
                      <a:pt x="3772883" y="3521278"/>
                      <a:pt x="3767705" y="3526456"/>
                      <a:pt x="3767705" y="3532868"/>
                    </a:cubicBezTo>
                    <a:cubicBezTo>
                      <a:pt x="3767705" y="3539277"/>
                      <a:pt x="3772883" y="3544455"/>
                      <a:pt x="3779295" y="3544455"/>
                    </a:cubicBezTo>
                    <a:cubicBezTo>
                      <a:pt x="3785705" y="3544455"/>
                      <a:pt x="3790636" y="3539277"/>
                      <a:pt x="3790636" y="3532868"/>
                    </a:cubicBezTo>
                    <a:close/>
                    <a:moveTo>
                      <a:pt x="3792115" y="294435"/>
                    </a:moveTo>
                    <a:cubicBezTo>
                      <a:pt x="3792115" y="271258"/>
                      <a:pt x="3773130" y="252272"/>
                      <a:pt x="3749952" y="252272"/>
                    </a:cubicBezTo>
                    <a:cubicBezTo>
                      <a:pt x="3726773" y="252272"/>
                      <a:pt x="3707787" y="271258"/>
                      <a:pt x="3707787" y="294435"/>
                    </a:cubicBezTo>
                    <a:cubicBezTo>
                      <a:pt x="3707787" y="317612"/>
                      <a:pt x="3726773" y="336599"/>
                      <a:pt x="3749952" y="336599"/>
                    </a:cubicBezTo>
                    <a:cubicBezTo>
                      <a:pt x="3773130" y="336599"/>
                      <a:pt x="3792115" y="317857"/>
                      <a:pt x="3792115" y="294435"/>
                    </a:cubicBezTo>
                    <a:close/>
                    <a:moveTo>
                      <a:pt x="3793843" y="174874"/>
                    </a:moveTo>
                    <a:cubicBezTo>
                      <a:pt x="3793843" y="151696"/>
                      <a:pt x="3775103" y="132957"/>
                      <a:pt x="3751924" y="132957"/>
                    </a:cubicBezTo>
                    <a:cubicBezTo>
                      <a:pt x="3728746" y="132957"/>
                      <a:pt x="3710006" y="151696"/>
                      <a:pt x="3710006" y="174874"/>
                    </a:cubicBezTo>
                    <a:cubicBezTo>
                      <a:pt x="3710006" y="198050"/>
                      <a:pt x="3728746" y="216788"/>
                      <a:pt x="3751924" y="216788"/>
                    </a:cubicBezTo>
                    <a:cubicBezTo>
                      <a:pt x="3775103" y="216788"/>
                      <a:pt x="3793843" y="198050"/>
                      <a:pt x="3793843" y="174874"/>
                    </a:cubicBezTo>
                    <a:close/>
                    <a:moveTo>
                      <a:pt x="3795077" y="1437414"/>
                    </a:moveTo>
                    <a:cubicBezTo>
                      <a:pt x="3795077" y="1411771"/>
                      <a:pt x="3774364" y="1391057"/>
                      <a:pt x="3748720" y="1391057"/>
                    </a:cubicBezTo>
                    <a:cubicBezTo>
                      <a:pt x="3723077" y="1391057"/>
                      <a:pt x="3702364" y="1411771"/>
                      <a:pt x="3702364" y="1437414"/>
                    </a:cubicBezTo>
                    <a:cubicBezTo>
                      <a:pt x="3702364" y="1463061"/>
                      <a:pt x="3723077" y="1483771"/>
                      <a:pt x="3748720" y="1483771"/>
                    </a:cubicBezTo>
                    <a:cubicBezTo>
                      <a:pt x="3774118" y="1483771"/>
                      <a:pt x="3795077" y="1463061"/>
                      <a:pt x="3795077" y="1437414"/>
                    </a:cubicBezTo>
                    <a:close/>
                    <a:moveTo>
                      <a:pt x="3795322" y="56301"/>
                    </a:moveTo>
                    <a:cubicBezTo>
                      <a:pt x="3795322" y="33372"/>
                      <a:pt x="3776829" y="14879"/>
                      <a:pt x="3753898" y="14879"/>
                    </a:cubicBezTo>
                    <a:cubicBezTo>
                      <a:pt x="3730967" y="14879"/>
                      <a:pt x="3712473" y="33372"/>
                      <a:pt x="3712473" y="56301"/>
                    </a:cubicBezTo>
                    <a:cubicBezTo>
                      <a:pt x="3712473" y="79231"/>
                      <a:pt x="3730967" y="97724"/>
                      <a:pt x="3753898" y="97724"/>
                    </a:cubicBezTo>
                    <a:cubicBezTo>
                      <a:pt x="3776582" y="97724"/>
                      <a:pt x="3795322" y="78985"/>
                      <a:pt x="3795322" y="56301"/>
                    </a:cubicBezTo>
                    <a:close/>
                    <a:moveTo>
                      <a:pt x="3796061" y="2235489"/>
                    </a:moveTo>
                    <a:cubicBezTo>
                      <a:pt x="3796061" y="2231301"/>
                      <a:pt x="3792856" y="2227851"/>
                      <a:pt x="3788665" y="2227851"/>
                    </a:cubicBezTo>
                    <a:cubicBezTo>
                      <a:pt x="3784473" y="2227851"/>
                      <a:pt x="3781020" y="2231301"/>
                      <a:pt x="3781020" y="2235489"/>
                    </a:cubicBezTo>
                    <a:cubicBezTo>
                      <a:pt x="3781020" y="2239683"/>
                      <a:pt x="3784473" y="2243142"/>
                      <a:pt x="3788665" y="2243142"/>
                    </a:cubicBezTo>
                    <a:cubicBezTo>
                      <a:pt x="3792856" y="2243142"/>
                      <a:pt x="3796061" y="2239930"/>
                      <a:pt x="3796061" y="2235489"/>
                    </a:cubicBezTo>
                    <a:close/>
                    <a:moveTo>
                      <a:pt x="3803954" y="1308472"/>
                    </a:moveTo>
                    <a:cubicBezTo>
                      <a:pt x="3803954" y="1282832"/>
                      <a:pt x="3782746" y="1261864"/>
                      <a:pt x="3757102" y="1261864"/>
                    </a:cubicBezTo>
                    <a:cubicBezTo>
                      <a:pt x="3731459" y="1261864"/>
                      <a:pt x="3710501" y="1282832"/>
                      <a:pt x="3710501" y="1308472"/>
                    </a:cubicBezTo>
                    <a:cubicBezTo>
                      <a:pt x="3710501" y="1334117"/>
                      <a:pt x="3731459" y="1355075"/>
                      <a:pt x="3757102" y="1355075"/>
                    </a:cubicBezTo>
                    <a:cubicBezTo>
                      <a:pt x="3782746" y="1355075"/>
                      <a:pt x="3803705" y="1334117"/>
                      <a:pt x="3803954" y="1308472"/>
                    </a:cubicBezTo>
                    <a:close/>
                    <a:moveTo>
                      <a:pt x="3804445" y="5343966"/>
                    </a:moveTo>
                    <a:cubicBezTo>
                      <a:pt x="3804445" y="5336322"/>
                      <a:pt x="3798035" y="5329912"/>
                      <a:pt x="3790391" y="5329912"/>
                    </a:cubicBezTo>
                    <a:cubicBezTo>
                      <a:pt x="3782501" y="5329912"/>
                      <a:pt x="3776336" y="5336322"/>
                      <a:pt x="3776336" y="5343966"/>
                    </a:cubicBezTo>
                    <a:cubicBezTo>
                      <a:pt x="3776336" y="5351857"/>
                      <a:pt x="3782746" y="5358020"/>
                      <a:pt x="3790391" y="5358020"/>
                    </a:cubicBezTo>
                    <a:cubicBezTo>
                      <a:pt x="3798035" y="5358020"/>
                      <a:pt x="3804445" y="5351857"/>
                      <a:pt x="3804445" y="5343966"/>
                    </a:cubicBezTo>
                    <a:close/>
                    <a:moveTo>
                      <a:pt x="3805677" y="5476868"/>
                    </a:moveTo>
                    <a:cubicBezTo>
                      <a:pt x="3805677" y="5474158"/>
                      <a:pt x="3803459" y="5471690"/>
                      <a:pt x="3800501" y="5471690"/>
                    </a:cubicBezTo>
                    <a:cubicBezTo>
                      <a:pt x="3797542" y="5471690"/>
                      <a:pt x="3795323" y="5473909"/>
                      <a:pt x="3795323" y="5476868"/>
                    </a:cubicBezTo>
                    <a:cubicBezTo>
                      <a:pt x="3795323" y="5479580"/>
                      <a:pt x="3797542" y="5482044"/>
                      <a:pt x="3800501" y="5482044"/>
                    </a:cubicBezTo>
                    <a:cubicBezTo>
                      <a:pt x="3803459" y="5482044"/>
                      <a:pt x="3805926" y="5479827"/>
                      <a:pt x="3805677" y="5476868"/>
                    </a:cubicBezTo>
                    <a:close/>
                    <a:moveTo>
                      <a:pt x="3810609" y="1180520"/>
                    </a:moveTo>
                    <a:cubicBezTo>
                      <a:pt x="3810609" y="1155126"/>
                      <a:pt x="3789651" y="1134165"/>
                      <a:pt x="3764007" y="1134165"/>
                    </a:cubicBezTo>
                    <a:cubicBezTo>
                      <a:pt x="3738364" y="1134165"/>
                      <a:pt x="3717651" y="1154880"/>
                      <a:pt x="3717651" y="1180520"/>
                    </a:cubicBezTo>
                    <a:cubicBezTo>
                      <a:pt x="3717651" y="1206167"/>
                      <a:pt x="3738364" y="1227127"/>
                      <a:pt x="3764007" y="1227127"/>
                    </a:cubicBezTo>
                    <a:cubicBezTo>
                      <a:pt x="3789651" y="1227127"/>
                      <a:pt x="3810364" y="1206167"/>
                      <a:pt x="3810609" y="1180520"/>
                    </a:cubicBezTo>
                    <a:close/>
                    <a:moveTo>
                      <a:pt x="3811104" y="5608295"/>
                    </a:moveTo>
                    <a:cubicBezTo>
                      <a:pt x="3811104" y="5606568"/>
                      <a:pt x="3809871" y="5605336"/>
                      <a:pt x="3808390" y="5605336"/>
                    </a:cubicBezTo>
                    <a:cubicBezTo>
                      <a:pt x="3806664" y="5605336"/>
                      <a:pt x="3805432" y="5606814"/>
                      <a:pt x="3805432" y="5608295"/>
                    </a:cubicBezTo>
                    <a:cubicBezTo>
                      <a:pt x="3805432" y="5610021"/>
                      <a:pt x="3806664" y="5611254"/>
                      <a:pt x="3808390" y="5611254"/>
                    </a:cubicBezTo>
                    <a:cubicBezTo>
                      <a:pt x="3810117" y="5611254"/>
                      <a:pt x="3811349" y="5610021"/>
                      <a:pt x="3811104" y="5608295"/>
                    </a:cubicBezTo>
                    <a:close/>
                    <a:moveTo>
                      <a:pt x="3813322" y="2090753"/>
                    </a:moveTo>
                    <a:cubicBezTo>
                      <a:pt x="3813322" y="2089025"/>
                      <a:pt x="3812089" y="2087793"/>
                      <a:pt x="3810363" y="2087793"/>
                    </a:cubicBezTo>
                    <a:cubicBezTo>
                      <a:pt x="3808636" y="2087793"/>
                      <a:pt x="3807404" y="2089025"/>
                      <a:pt x="3807404" y="2090753"/>
                    </a:cubicBezTo>
                    <a:cubicBezTo>
                      <a:pt x="3807404" y="2092480"/>
                      <a:pt x="3808636" y="2093712"/>
                      <a:pt x="3810363" y="2093712"/>
                    </a:cubicBezTo>
                    <a:cubicBezTo>
                      <a:pt x="3812089" y="2093712"/>
                      <a:pt x="3813322" y="2092480"/>
                      <a:pt x="3813322" y="2090753"/>
                    </a:cubicBezTo>
                    <a:close/>
                    <a:moveTo>
                      <a:pt x="3814799" y="4564292"/>
                    </a:moveTo>
                    <a:cubicBezTo>
                      <a:pt x="3814799" y="4538402"/>
                      <a:pt x="3793841" y="4517444"/>
                      <a:pt x="3767949" y="4517444"/>
                    </a:cubicBezTo>
                    <a:cubicBezTo>
                      <a:pt x="3742059" y="4517444"/>
                      <a:pt x="3721101" y="4538402"/>
                      <a:pt x="3721101" y="4564292"/>
                    </a:cubicBezTo>
                    <a:cubicBezTo>
                      <a:pt x="3721101" y="4590185"/>
                      <a:pt x="3742059" y="4611143"/>
                      <a:pt x="3767949" y="4611143"/>
                    </a:cubicBezTo>
                    <a:cubicBezTo>
                      <a:pt x="3793595" y="4611143"/>
                      <a:pt x="3814799" y="4590185"/>
                      <a:pt x="3814799" y="4564292"/>
                    </a:cubicBezTo>
                    <a:close/>
                    <a:moveTo>
                      <a:pt x="3815295" y="4045005"/>
                    </a:moveTo>
                    <a:cubicBezTo>
                      <a:pt x="3815295" y="4031937"/>
                      <a:pt x="3804692" y="4021333"/>
                      <a:pt x="3791624" y="4021333"/>
                    </a:cubicBezTo>
                    <a:cubicBezTo>
                      <a:pt x="3778555" y="4021333"/>
                      <a:pt x="3767952" y="4031937"/>
                      <a:pt x="3767952" y="4045005"/>
                    </a:cubicBezTo>
                    <a:cubicBezTo>
                      <a:pt x="3767952" y="4058073"/>
                      <a:pt x="3778555" y="4068676"/>
                      <a:pt x="3791624" y="4068676"/>
                    </a:cubicBezTo>
                    <a:cubicBezTo>
                      <a:pt x="3804692" y="4068676"/>
                      <a:pt x="3815295" y="4058073"/>
                      <a:pt x="3815295" y="4045005"/>
                    </a:cubicBezTo>
                    <a:close/>
                    <a:moveTo>
                      <a:pt x="3815786" y="1053802"/>
                    </a:moveTo>
                    <a:cubicBezTo>
                      <a:pt x="3815786" y="1028401"/>
                      <a:pt x="3795074" y="1007689"/>
                      <a:pt x="3769679" y="1007689"/>
                    </a:cubicBezTo>
                    <a:cubicBezTo>
                      <a:pt x="3744280" y="1007689"/>
                      <a:pt x="3723568" y="1028401"/>
                      <a:pt x="3723568" y="1053802"/>
                    </a:cubicBezTo>
                    <a:cubicBezTo>
                      <a:pt x="3723568" y="1079198"/>
                      <a:pt x="3744280" y="1099908"/>
                      <a:pt x="3769679" y="1099908"/>
                    </a:cubicBezTo>
                    <a:cubicBezTo>
                      <a:pt x="3795074" y="1099908"/>
                      <a:pt x="3815786" y="1079198"/>
                      <a:pt x="3815786" y="1053802"/>
                    </a:cubicBezTo>
                    <a:close/>
                    <a:moveTo>
                      <a:pt x="3817264" y="5737501"/>
                    </a:moveTo>
                    <a:cubicBezTo>
                      <a:pt x="3817264" y="5737005"/>
                      <a:pt x="3817018" y="5736760"/>
                      <a:pt x="3816526" y="5736760"/>
                    </a:cubicBezTo>
                    <a:cubicBezTo>
                      <a:pt x="3816032" y="5736760"/>
                      <a:pt x="3815786" y="5737005"/>
                      <a:pt x="3815786" y="5737501"/>
                    </a:cubicBezTo>
                    <a:cubicBezTo>
                      <a:pt x="3815786" y="5737992"/>
                      <a:pt x="3816032" y="5738238"/>
                      <a:pt x="3816526" y="5738238"/>
                    </a:cubicBezTo>
                    <a:cubicBezTo>
                      <a:pt x="3817018" y="5738238"/>
                      <a:pt x="3817264" y="5737992"/>
                      <a:pt x="3817264" y="5737501"/>
                    </a:cubicBezTo>
                    <a:close/>
                    <a:moveTo>
                      <a:pt x="3817513" y="2903928"/>
                    </a:moveTo>
                    <a:cubicBezTo>
                      <a:pt x="3817513" y="2888147"/>
                      <a:pt x="3804936" y="2875572"/>
                      <a:pt x="3789402" y="2875572"/>
                    </a:cubicBezTo>
                    <a:cubicBezTo>
                      <a:pt x="3773870" y="2875572"/>
                      <a:pt x="3761293" y="2888394"/>
                      <a:pt x="3761293" y="2903928"/>
                    </a:cubicBezTo>
                    <a:cubicBezTo>
                      <a:pt x="3761293" y="2919461"/>
                      <a:pt x="3773870" y="2932037"/>
                      <a:pt x="3789402" y="2932037"/>
                    </a:cubicBezTo>
                    <a:cubicBezTo>
                      <a:pt x="3804936" y="2932037"/>
                      <a:pt x="3817513" y="2919461"/>
                      <a:pt x="3817513" y="2903928"/>
                    </a:cubicBezTo>
                    <a:close/>
                    <a:moveTo>
                      <a:pt x="3821212" y="928557"/>
                    </a:moveTo>
                    <a:cubicBezTo>
                      <a:pt x="3821212" y="903160"/>
                      <a:pt x="3800501" y="882685"/>
                      <a:pt x="3775351" y="882685"/>
                    </a:cubicBezTo>
                    <a:cubicBezTo>
                      <a:pt x="3749952" y="882685"/>
                      <a:pt x="3729486" y="903404"/>
                      <a:pt x="3729486" y="928557"/>
                    </a:cubicBezTo>
                    <a:cubicBezTo>
                      <a:pt x="3729486" y="953957"/>
                      <a:pt x="3750199" y="974419"/>
                      <a:pt x="3775351" y="974419"/>
                    </a:cubicBezTo>
                    <a:cubicBezTo>
                      <a:pt x="3800501" y="974419"/>
                      <a:pt x="3820967" y="953957"/>
                      <a:pt x="3821212" y="928557"/>
                    </a:cubicBezTo>
                    <a:close/>
                    <a:moveTo>
                      <a:pt x="3824417" y="5864980"/>
                    </a:moveTo>
                    <a:cubicBezTo>
                      <a:pt x="3824417" y="5864734"/>
                      <a:pt x="3824171" y="5864488"/>
                      <a:pt x="3823925" y="5864488"/>
                    </a:cubicBezTo>
                    <a:cubicBezTo>
                      <a:pt x="3823676" y="5864488"/>
                      <a:pt x="3823430" y="5864734"/>
                      <a:pt x="3823430" y="5864980"/>
                    </a:cubicBezTo>
                    <a:cubicBezTo>
                      <a:pt x="3823430" y="5865229"/>
                      <a:pt x="3823676" y="5865474"/>
                      <a:pt x="3823925" y="5865474"/>
                    </a:cubicBezTo>
                    <a:cubicBezTo>
                      <a:pt x="3824171" y="5865474"/>
                      <a:pt x="3824417" y="5865229"/>
                      <a:pt x="3824417" y="5864980"/>
                    </a:cubicBezTo>
                    <a:close/>
                    <a:moveTo>
                      <a:pt x="3826392" y="2636151"/>
                    </a:moveTo>
                    <a:cubicBezTo>
                      <a:pt x="3826392" y="2615934"/>
                      <a:pt x="3809871" y="2599410"/>
                      <a:pt x="3789651" y="2599410"/>
                    </a:cubicBezTo>
                    <a:cubicBezTo>
                      <a:pt x="3769433" y="2599410"/>
                      <a:pt x="3752911" y="2615934"/>
                      <a:pt x="3752911" y="2636151"/>
                    </a:cubicBezTo>
                    <a:cubicBezTo>
                      <a:pt x="3752911" y="2656372"/>
                      <a:pt x="3769433" y="2672892"/>
                      <a:pt x="3789651" y="2672892"/>
                    </a:cubicBezTo>
                    <a:cubicBezTo>
                      <a:pt x="3810117" y="2672892"/>
                      <a:pt x="3826638" y="2656372"/>
                      <a:pt x="3826392" y="2636151"/>
                    </a:cubicBezTo>
                    <a:close/>
                    <a:moveTo>
                      <a:pt x="3829598" y="4312293"/>
                    </a:moveTo>
                    <a:cubicBezTo>
                      <a:pt x="3829598" y="4292075"/>
                      <a:pt x="3813326" y="4275799"/>
                      <a:pt x="3793105" y="4275799"/>
                    </a:cubicBezTo>
                    <a:cubicBezTo>
                      <a:pt x="3773133" y="4275799"/>
                      <a:pt x="3756611" y="4292075"/>
                      <a:pt x="3756611" y="4312293"/>
                    </a:cubicBezTo>
                    <a:cubicBezTo>
                      <a:pt x="3756611" y="4332514"/>
                      <a:pt x="3772886" y="4348786"/>
                      <a:pt x="3793105" y="4348786"/>
                    </a:cubicBezTo>
                    <a:cubicBezTo>
                      <a:pt x="3813326" y="4348786"/>
                      <a:pt x="3829843" y="4332514"/>
                      <a:pt x="3829598" y="4312293"/>
                    </a:cubicBezTo>
                    <a:close/>
                    <a:moveTo>
                      <a:pt x="3831244" y="0"/>
                    </a:moveTo>
                    <a:lnTo>
                      <a:pt x="3799840" y="0"/>
                    </a:lnTo>
                    <a:lnTo>
                      <a:pt x="3815542" y="6520"/>
                    </a:lnTo>
                    <a:close/>
                    <a:moveTo>
                      <a:pt x="3831324" y="5991472"/>
                    </a:moveTo>
                    <a:cubicBezTo>
                      <a:pt x="3831324" y="5990731"/>
                      <a:pt x="3830830" y="5990240"/>
                      <a:pt x="3830089" y="5990240"/>
                    </a:cubicBezTo>
                    <a:cubicBezTo>
                      <a:pt x="3829351" y="5990240"/>
                      <a:pt x="3828857" y="5990731"/>
                      <a:pt x="3828857" y="5991472"/>
                    </a:cubicBezTo>
                    <a:cubicBezTo>
                      <a:pt x="3828857" y="5992212"/>
                      <a:pt x="3829351" y="5992704"/>
                      <a:pt x="3830089" y="5992704"/>
                    </a:cubicBezTo>
                    <a:cubicBezTo>
                      <a:pt x="3830830" y="5992704"/>
                      <a:pt x="3831324" y="5992212"/>
                      <a:pt x="3831324" y="5991472"/>
                    </a:cubicBezTo>
                    <a:close/>
                    <a:moveTo>
                      <a:pt x="3832308" y="1917941"/>
                    </a:moveTo>
                    <a:cubicBezTo>
                      <a:pt x="3832308" y="1899950"/>
                      <a:pt x="3817759" y="1885409"/>
                      <a:pt x="3799760" y="1885409"/>
                    </a:cubicBezTo>
                    <a:cubicBezTo>
                      <a:pt x="3781760" y="1885409"/>
                      <a:pt x="3767211" y="1899950"/>
                      <a:pt x="3767211" y="1917941"/>
                    </a:cubicBezTo>
                    <a:cubicBezTo>
                      <a:pt x="3767211" y="1935933"/>
                      <a:pt x="3781760" y="1950475"/>
                      <a:pt x="3799760" y="1950475"/>
                    </a:cubicBezTo>
                    <a:cubicBezTo>
                      <a:pt x="3817759" y="1950475"/>
                      <a:pt x="3832308" y="1935933"/>
                      <a:pt x="3832308" y="1917941"/>
                    </a:cubicBezTo>
                    <a:close/>
                    <a:moveTo>
                      <a:pt x="3832308" y="4856981"/>
                    </a:moveTo>
                    <a:cubicBezTo>
                      <a:pt x="3832308" y="4848350"/>
                      <a:pt x="3825404" y="4841446"/>
                      <a:pt x="3816776" y="4841446"/>
                    </a:cubicBezTo>
                    <a:cubicBezTo>
                      <a:pt x="3808145" y="4841446"/>
                      <a:pt x="3801240" y="4848350"/>
                      <a:pt x="3801240" y="4856981"/>
                    </a:cubicBezTo>
                    <a:cubicBezTo>
                      <a:pt x="3801240" y="4865609"/>
                      <a:pt x="3808145" y="4872513"/>
                      <a:pt x="3816776" y="4872513"/>
                    </a:cubicBezTo>
                    <a:cubicBezTo>
                      <a:pt x="3825404" y="4872513"/>
                      <a:pt x="3832308" y="4865609"/>
                      <a:pt x="3832308" y="4856981"/>
                    </a:cubicBezTo>
                    <a:close/>
                    <a:moveTo>
                      <a:pt x="3833788" y="4712487"/>
                    </a:moveTo>
                    <a:cubicBezTo>
                      <a:pt x="3833788" y="4690541"/>
                      <a:pt x="3816034" y="4672788"/>
                      <a:pt x="3794087" y="4672788"/>
                    </a:cubicBezTo>
                    <a:cubicBezTo>
                      <a:pt x="3772142" y="4672788"/>
                      <a:pt x="3754389" y="4690541"/>
                      <a:pt x="3754389" y="4712487"/>
                    </a:cubicBezTo>
                    <a:cubicBezTo>
                      <a:pt x="3754389" y="4734434"/>
                      <a:pt x="3772142" y="4752187"/>
                      <a:pt x="3794087" y="4752187"/>
                    </a:cubicBezTo>
                    <a:cubicBezTo>
                      <a:pt x="3816034" y="4752187"/>
                      <a:pt x="3833788" y="4734434"/>
                      <a:pt x="3833788" y="4712487"/>
                    </a:cubicBezTo>
                    <a:close/>
                    <a:moveTo>
                      <a:pt x="3844389" y="3934293"/>
                    </a:moveTo>
                    <a:cubicBezTo>
                      <a:pt x="3844389" y="3924431"/>
                      <a:pt x="3836499" y="3916539"/>
                      <a:pt x="3826636" y="3916539"/>
                    </a:cubicBezTo>
                    <a:cubicBezTo>
                      <a:pt x="3816773" y="3916539"/>
                      <a:pt x="3808882" y="3924431"/>
                      <a:pt x="3808882" y="3934293"/>
                    </a:cubicBezTo>
                    <a:cubicBezTo>
                      <a:pt x="3808882" y="3944155"/>
                      <a:pt x="3816773" y="3952047"/>
                      <a:pt x="3826636" y="3952047"/>
                    </a:cubicBezTo>
                    <a:cubicBezTo>
                      <a:pt x="3836252" y="3952047"/>
                      <a:pt x="3844389" y="3944155"/>
                      <a:pt x="3844389" y="3934293"/>
                    </a:cubicBezTo>
                    <a:close/>
                    <a:moveTo>
                      <a:pt x="3847349" y="6111063"/>
                    </a:moveTo>
                    <a:cubicBezTo>
                      <a:pt x="3847349" y="6109582"/>
                      <a:pt x="3846362" y="6108596"/>
                      <a:pt x="3844884" y="6108596"/>
                    </a:cubicBezTo>
                    <a:cubicBezTo>
                      <a:pt x="3843403" y="6108596"/>
                      <a:pt x="3842417" y="6109582"/>
                      <a:pt x="3842417" y="6111063"/>
                    </a:cubicBezTo>
                    <a:cubicBezTo>
                      <a:pt x="3842417" y="6112541"/>
                      <a:pt x="3843649" y="6113527"/>
                      <a:pt x="3844884" y="6113527"/>
                    </a:cubicBezTo>
                    <a:cubicBezTo>
                      <a:pt x="3846362" y="6113527"/>
                      <a:pt x="3847349" y="6112295"/>
                      <a:pt x="3847349" y="6111063"/>
                    </a:cubicBezTo>
                    <a:close/>
                    <a:moveTo>
                      <a:pt x="3848583" y="2480570"/>
                    </a:moveTo>
                    <a:cubicBezTo>
                      <a:pt x="3848583" y="2467997"/>
                      <a:pt x="3838473" y="2457885"/>
                      <a:pt x="3825898" y="2457885"/>
                    </a:cubicBezTo>
                    <a:cubicBezTo>
                      <a:pt x="3813322" y="2457885"/>
                      <a:pt x="3803213" y="2467997"/>
                      <a:pt x="3803213" y="2480570"/>
                    </a:cubicBezTo>
                    <a:cubicBezTo>
                      <a:pt x="3803213" y="2493150"/>
                      <a:pt x="3813322" y="2503257"/>
                      <a:pt x="3825898" y="2503257"/>
                    </a:cubicBezTo>
                    <a:cubicBezTo>
                      <a:pt x="3838473" y="2503257"/>
                      <a:pt x="3848829" y="2492899"/>
                      <a:pt x="3848583" y="2480570"/>
                    </a:cubicBezTo>
                    <a:close/>
                    <a:moveTo>
                      <a:pt x="3852034" y="6235584"/>
                    </a:moveTo>
                    <a:cubicBezTo>
                      <a:pt x="3852034" y="6234103"/>
                      <a:pt x="3850802" y="6233116"/>
                      <a:pt x="3849570" y="6233116"/>
                    </a:cubicBezTo>
                    <a:cubicBezTo>
                      <a:pt x="3848089" y="6233116"/>
                      <a:pt x="3847102" y="6234349"/>
                      <a:pt x="3847102" y="6235584"/>
                    </a:cubicBezTo>
                    <a:cubicBezTo>
                      <a:pt x="3847102" y="6237062"/>
                      <a:pt x="3848334" y="6238047"/>
                      <a:pt x="3849570" y="6238047"/>
                    </a:cubicBezTo>
                    <a:cubicBezTo>
                      <a:pt x="3851048" y="6238047"/>
                      <a:pt x="3852034" y="6236815"/>
                      <a:pt x="3852034" y="6235584"/>
                    </a:cubicBezTo>
                    <a:close/>
                    <a:moveTo>
                      <a:pt x="3854255" y="1779665"/>
                    </a:moveTo>
                    <a:cubicBezTo>
                      <a:pt x="3854255" y="1757701"/>
                      <a:pt x="3836501" y="1739933"/>
                      <a:pt x="3814555" y="1739933"/>
                    </a:cubicBezTo>
                    <a:cubicBezTo>
                      <a:pt x="3792610" y="1739933"/>
                      <a:pt x="3774856" y="1757701"/>
                      <a:pt x="3774856" y="1779665"/>
                    </a:cubicBezTo>
                    <a:cubicBezTo>
                      <a:pt x="3774856" y="1801629"/>
                      <a:pt x="3792610" y="1819366"/>
                      <a:pt x="3814555" y="1819366"/>
                    </a:cubicBezTo>
                    <a:cubicBezTo>
                      <a:pt x="3836501" y="1819366"/>
                      <a:pt x="3854255" y="1801629"/>
                      <a:pt x="3854255" y="1779665"/>
                    </a:cubicBezTo>
                    <a:close/>
                    <a:moveTo>
                      <a:pt x="3854501" y="3014643"/>
                    </a:moveTo>
                    <a:cubicBezTo>
                      <a:pt x="3854501" y="2998367"/>
                      <a:pt x="3841188" y="2985053"/>
                      <a:pt x="3824912" y="2985053"/>
                    </a:cubicBezTo>
                    <a:cubicBezTo>
                      <a:pt x="3808639" y="2985053"/>
                      <a:pt x="3795323" y="2998367"/>
                      <a:pt x="3795323" y="3014643"/>
                    </a:cubicBezTo>
                    <a:cubicBezTo>
                      <a:pt x="3795323" y="3030917"/>
                      <a:pt x="3808639" y="3044233"/>
                      <a:pt x="3824912" y="3044233"/>
                    </a:cubicBezTo>
                    <a:cubicBezTo>
                      <a:pt x="3841188" y="3044233"/>
                      <a:pt x="3854501" y="3030917"/>
                      <a:pt x="3854501" y="3014643"/>
                    </a:cubicBezTo>
                    <a:close/>
                    <a:moveTo>
                      <a:pt x="3855239" y="6359363"/>
                    </a:moveTo>
                    <a:cubicBezTo>
                      <a:pt x="3855239" y="6358376"/>
                      <a:pt x="3854252" y="6357390"/>
                      <a:pt x="3853267" y="6357390"/>
                    </a:cubicBezTo>
                    <a:cubicBezTo>
                      <a:pt x="3852034" y="6357390"/>
                      <a:pt x="3851293" y="6358376"/>
                      <a:pt x="3851293" y="6359363"/>
                    </a:cubicBezTo>
                    <a:cubicBezTo>
                      <a:pt x="3851293" y="6360349"/>
                      <a:pt x="3852280" y="6361336"/>
                      <a:pt x="3853267" y="6361336"/>
                    </a:cubicBezTo>
                    <a:cubicBezTo>
                      <a:pt x="3854499" y="6361336"/>
                      <a:pt x="3855239" y="6360349"/>
                      <a:pt x="3855239" y="6359363"/>
                    </a:cubicBezTo>
                    <a:close/>
                    <a:moveTo>
                      <a:pt x="3857705" y="4987664"/>
                    </a:moveTo>
                    <a:cubicBezTo>
                      <a:pt x="3857705" y="4981252"/>
                      <a:pt x="3852773" y="4976074"/>
                      <a:pt x="3846364" y="4976074"/>
                    </a:cubicBezTo>
                    <a:cubicBezTo>
                      <a:pt x="3840198" y="4976074"/>
                      <a:pt x="3835020" y="4981252"/>
                      <a:pt x="3835020" y="4987664"/>
                    </a:cubicBezTo>
                    <a:cubicBezTo>
                      <a:pt x="3835020" y="4993828"/>
                      <a:pt x="3839952" y="4999005"/>
                      <a:pt x="3846364" y="4999005"/>
                    </a:cubicBezTo>
                    <a:cubicBezTo>
                      <a:pt x="3852528" y="4999005"/>
                      <a:pt x="3857705" y="4993828"/>
                      <a:pt x="3857705" y="4987664"/>
                    </a:cubicBezTo>
                    <a:close/>
                    <a:moveTo>
                      <a:pt x="3859679" y="6481914"/>
                    </a:moveTo>
                    <a:cubicBezTo>
                      <a:pt x="3859679" y="6480927"/>
                      <a:pt x="3858692" y="6479941"/>
                      <a:pt x="3857705" y="6479941"/>
                    </a:cubicBezTo>
                    <a:cubicBezTo>
                      <a:pt x="3856720" y="6479941"/>
                      <a:pt x="3855733" y="6480927"/>
                      <a:pt x="3855733" y="6481914"/>
                    </a:cubicBezTo>
                    <a:cubicBezTo>
                      <a:pt x="3855733" y="6482899"/>
                      <a:pt x="3856473" y="6483886"/>
                      <a:pt x="3857705" y="6483886"/>
                    </a:cubicBezTo>
                    <a:cubicBezTo>
                      <a:pt x="3858938" y="6483886"/>
                      <a:pt x="3859679" y="6482899"/>
                      <a:pt x="3859679" y="6481914"/>
                    </a:cubicBezTo>
                    <a:close/>
                    <a:moveTo>
                      <a:pt x="3863377" y="5127720"/>
                    </a:moveTo>
                    <a:cubicBezTo>
                      <a:pt x="3863377" y="5127471"/>
                      <a:pt x="3863132" y="5127225"/>
                      <a:pt x="3862885" y="5127225"/>
                    </a:cubicBezTo>
                    <a:cubicBezTo>
                      <a:pt x="3862636" y="5127225"/>
                      <a:pt x="3862391" y="5127471"/>
                      <a:pt x="3862391" y="5127720"/>
                    </a:cubicBezTo>
                    <a:cubicBezTo>
                      <a:pt x="3862391" y="5127966"/>
                      <a:pt x="3862636" y="5128211"/>
                      <a:pt x="3862885" y="5128211"/>
                    </a:cubicBezTo>
                    <a:cubicBezTo>
                      <a:pt x="3863132" y="5128211"/>
                      <a:pt x="3863377" y="5127966"/>
                      <a:pt x="3863377" y="5127720"/>
                    </a:cubicBezTo>
                    <a:close/>
                    <a:moveTo>
                      <a:pt x="3865104" y="6603475"/>
                    </a:moveTo>
                    <a:cubicBezTo>
                      <a:pt x="3865104" y="6601501"/>
                      <a:pt x="3863377" y="6599774"/>
                      <a:pt x="3861404" y="6599774"/>
                    </a:cubicBezTo>
                    <a:cubicBezTo>
                      <a:pt x="3859432" y="6599774"/>
                      <a:pt x="3857705" y="6601501"/>
                      <a:pt x="3857705" y="6603475"/>
                    </a:cubicBezTo>
                    <a:cubicBezTo>
                      <a:pt x="3857705" y="6605447"/>
                      <a:pt x="3859432" y="6607170"/>
                      <a:pt x="3861404" y="6607170"/>
                    </a:cubicBezTo>
                    <a:cubicBezTo>
                      <a:pt x="3863377" y="6607170"/>
                      <a:pt x="3865104" y="6605447"/>
                      <a:pt x="3865104" y="6603475"/>
                    </a:cubicBezTo>
                    <a:close/>
                    <a:moveTo>
                      <a:pt x="3865596" y="3821114"/>
                    </a:moveTo>
                    <a:cubicBezTo>
                      <a:pt x="3865596" y="3814459"/>
                      <a:pt x="3860419" y="3809032"/>
                      <a:pt x="3853760" y="3809032"/>
                    </a:cubicBezTo>
                    <a:cubicBezTo>
                      <a:pt x="3847351" y="3809032"/>
                      <a:pt x="3841924" y="3814459"/>
                      <a:pt x="3841924" y="3821114"/>
                    </a:cubicBezTo>
                    <a:cubicBezTo>
                      <a:pt x="3841924" y="3827526"/>
                      <a:pt x="3847102" y="3832949"/>
                      <a:pt x="3853760" y="3832949"/>
                    </a:cubicBezTo>
                    <a:cubicBezTo>
                      <a:pt x="3860419" y="3832949"/>
                      <a:pt x="3865842" y="3827526"/>
                      <a:pt x="3865596" y="3821114"/>
                    </a:cubicBezTo>
                    <a:close/>
                    <a:moveTo>
                      <a:pt x="3868800" y="2329180"/>
                    </a:moveTo>
                    <a:cubicBezTo>
                      <a:pt x="3868800" y="2322519"/>
                      <a:pt x="3863623" y="2317349"/>
                      <a:pt x="3856964" y="2317349"/>
                    </a:cubicBezTo>
                    <a:cubicBezTo>
                      <a:pt x="3850307" y="2317349"/>
                      <a:pt x="3845129" y="2322768"/>
                      <a:pt x="3845129" y="2329180"/>
                    </a:cubicBezTo>
                    <a:cubicBezTo>
                      <a:pt x="3845129" y="2335846"/>
                      <a:pt x="3850555" y="2341029"/>
                      <a:pt x="3856964" y="2341029"/>
                    </a:cubicBezTo>
                    <a:cubicBezTo>
                      <a:pt x="3863623" y="2341029"/>
                      <a:pt x="3868800" y="2335599"/>
                      <a:pt x="3868800" y="2329180"/>
                    </a:cubicBezTo>
                    <a:close/>
                    <a:moveTo>
                      <a:pt x="3870282" y="6724298"/>
                    </a:moveTo>
                    <a:cubicBezTo>
                      <a:pt x="3870282" y="6721340"/>
                      <a:pt x="3867815" y="6718872"/>
                      <a:pt x="3864858" y="6718872"/>
                    </a:cubicBezTo>
                    <a:cubicBezTo>
                      <a:pt x="3861900" y="6718872"/>
                      <a:pt x="3859432" y="6721340"/>
                      <a:pt x="3859432" y="6724298"/>
                    </a:cubicBezTo>
                    <a:cubicBezTo>
                      <a:pt x="3859432" y="6727255"/>
                      <a:pt x="3861900" y="6729722"/>
                      <a:pt x="3864858" y="6729722"/>
                    </a:cubicBezTo>
                    <a:cubicBezTo>
                      <a:pt x="3867815" y="6729722"/>
                      <a:pt x="3870282" y="6727255"/>
                      <a:pt x="3870282" y="6724298"/>
                    </a:cubicBezTo>
                    <a:close/>
                    <a:moveTo>
                      <a:pt x="3873735" y="1644033"/>
                    </a:moveTo>
                    <a:cubicBezTo>
                      <a:pt x="3873735" y="1618632"/>
                      <a:pt x="3853022" y="1597922"/>
                      <a:pt x="3827625" y="1597922"/>
                    </a:cubicBezTo>
                    <a:cubicBezTo>
                      <a:pt x="3802226" y="1597922"/>
                      <a:pt x="3781514" y="1618632"/>
                      <a:pt x="3781514" y="1644033"/>
                    </a:cubicBezTo>
                    <a:cubicBezTo>
                      <a:pt x="3781514" y="1669428"/>
                      <a:pt x="3802226" y="1690141"/>
                      <a:pt x="3827625" y="1690141"/>
                    </a:cubicBezTo>
                    <a:cubicBezTo>
                      <a:pt x="3853022" y="1690141"/>
                      <a:pt x="3873735" y="1669428"/>
                      <a:pt x="3873735" y="1644033"/>
                    </a:cubicBezTo>
                    <a:close/>
                    <a:moveTo>
                      <a:pt x="3874967" y="4207499"/>
                    </a:moveTo>
                    <a:cubicBezTo>
                      <a:pt x="3874967" y="4190237"/>
                      <a:pt x="3860910" y="4176183"/>
                      <a:pt x="3843651" y="4176183"/>
                    </a:cubicBezTo>
                    <a:cubicBezTo>
                      <a:pt x="3826144" y="4176183"/>
                      <a:pt x="3812089" y="4190237"/>
                      <a:pt x="3812089" y="4207499"/>
                    </a:cubicBezTo>
                    <a:cubicBezTo>
                      <a:pt x="3812089" y="4225003"/>
                      <a:pt x="3826392" y="4239061"/>
                      <a:pt x="3843651" y="4239061"/>
                    </a:cubicBezTo>
                    <a:cubicBezTo>
                      <a:pt x="3860910" y="4239061"/>
                      <a:pt x="3874967" y="4225003"/>
                      <a:pt x="3874967" y="4207499"/>
                    </a:cubicBezTo>
                    <a:close/>
                    <a:moveTo>
                      <a:pt x="3875456" y="6844379"/>
                    </a:moveTo>
                    <a:cubicBezTo>
                      <a:pt x="3875456" y="6840187"/>
                      <a:pt x="3872006" y="6836734"/>
                      <a:pt x="3867815" y="6836734"/>
                    </a:cubicBezTo>
                    <a:cubicBezTo>
                      <a:pt x="3863621" y="6836734"/>
                      <a:pt x="3860170" y="6840187"/>
                      <a:pt x="3860170" y="6844379"/>
                    </a:cubicBezTo>
                    <a:cubicBezTo>
                      <a:pt x="3860170" y="6848570"/>
                      <a:pt x="3863621" y="6852020"/>
                      <a:pt x="3867815" y="6852020"/>
                    </a:cubicBezTo>
                    <a:cubicBezTo>
                      <a:pt x="3872252" y="6852020"/>
                      <a:pt x="3875705" y="6848570"/>
                      <a:pt x="3875456" y="6844379"/>
                    </a:cubicBezTo>
                    <a:close/>
                    <a:moveTo>
                      <a:pt x="3877186" y="4466898"/>
                    </a:moveTo>
                    <a:cubicBezTo>
                      <a:pt x="3877186" y="4441254"/>
                      <a:pt x="3856473" y="4420541"/>
                      <a:pt x="3830829" y="4420541"/>
                    </a:cubicBezTo>
                    <a:cubicBezTo>
                      <a:pt x="3805186" y="4420541"/>
                      <a:pt x="3784473" y="4441254"/>
                      <a:pt x="3784473" y="4466898"/>
                    </a:cubicBezTo>
                    <a:cubicBezTo>
                      <a:pt x="3784473" y="4492542"/>
                      <a:pt x="3805186" y="4513499"/>
                      <a:pt x="3830829" y="4513499"/>
                    </a:cubicBezTo>
                    <a:cubicBezTo>
                      <a:pt x="3856227" y="4513499"/>
                      <a:pt x="3877186" y="4492542"/>
                      <a:pt x="3877186" y="4466898"/>
                    </a:cubicBezTo>
                    <a:close/>
                    <a:moveTo>
                      <a:pt x="3880636" y="3706457"/>
                    </a:moveTo>
                    <a:cubicBezTo>
                      <a:pt x="3880636" y="3702509"/>
                      <a:pt x="3877432" y="3699058"/>
                      <a:pt x="3873241" y="3699058"/>
                    </a:cubicBezTo>
                    <a:cubicBezTo>
                      <a:pt x="3869293" y="3699058"/>
                      <a:pt x="3865842" y="3702263"/>
                      <a:pt x="3865842" y="3706457"/>
                    </a:cubicBezTo>
                    <a:cubicBezTo>
                      <a:pt x="3865842" y="3710402"/>
                      <a:pt x="3869046" y="3713852"/>
                      <a:pt x="3873241" y="3713852"/>
                    </a:cubicBezTo>
                    <a:cubicBezTo>
                      <a:pt x="3877432" y="3713852"/>
                      <a:pt x="3880882" y="3710402"/>
                      <a:pt x="3880636" y="3706457"/>
                    </a:cubicBezTo>
                    <a:close/>
                    <a:moveTo>
                      <a:pt x="3882363" y="1510402"/>
                    </a:moveTo>
                    <a:cubicBezTo>
                      <a:pt x="3882363" y="1486731"/>
                      <a:pt x="3863129" y="1467252"/>
                      <a:pt x="3839211" y="1467252"/>
                    </a:cubicBezTo>
                    <a:cubicBezTo>
                      <a:pt x="3815540" y="1467252"/>
                      <a:pt x="3796060" y="1486482"/>
                      <a:pt x="3796060" y="1510402"/>
                    </a:cubicBezTo>
                    <a:cubicBezTo>
                      <a:pt x="3796060" y="1534075"/>
                      <a:pt x="3815294" y="1553555"/>
                      <a:pt x="3839211" y="1553555"/>
                    </a:cubicBezTo>
                    <a:cubicBezTo>
                      <a:pt x="3862882" y="1553555"/>
                      <a:pt x="3882363" y="1534075"/>
                      <a:pt x="3882363" y="1510402"/>
                    </a:cubicBezTo>
                    <a:close/>
                    <a:moveTo>
                      <a:pt x="3882364" y="839818"/>
                    </a:moveTo>
                    <a:cubicBezTo>
                      <a:pt x="3882364" y="815158"/>
                      <a:pt x="3862145" y="794934"/>
                      <a:pt x="3837488" y="794934"/>
                    </a:cubicBezTo>
                    <a:cubicBezTo>
                      <a:pt x="3812830" y="794934"/>
                      <a:pt x="3792610" y="815158"/>
                      <a:pt x="3792610" y="839818"/>
                    </a:cubicBezTo>
                    <a:cubicBezTo>
                      <a:pt x="3792610" y="864468"/>
                      <a:pt x="3812830" y="884687"/>
                      <a:pt x="3837488" y="884687"/>
                    </a:cubicBezTo>
                    <a:cubicBezTo>
                      <a:pt x="3862392" y="884687"/>
                      <a:pt x="3882364" y="864468"/>
                      <a:pt x="3882364" y="839818"/>
                    </a:cubicBezTo>
                    <a:close/>
                    <a:moveTo>
                      <a:pt x="3883353" y="3127578"/>
                    </a:moveTo>
                    <a:cubicBezTo>
                      <a:pt x="3883353" y="3110565"/>
                      <a:pt x="3869544" y="3096756"/>
                      <a:pt x="3852529" y="3096756"/>
                    </a:cubicBezTo>
                    <a:cubicBezTo>
                      <a:pt x="3835515" y="3096756"/>
                      <a:pt x="3821707" y="3110565"/>
                      <a:pt x="3821707" y="3127578"/>
                    </a:cubicBezTo>
                    <a:cubicBezTo>
                      <a:pt x="3821707" y="3144592"/>
                      <a:pt x="3835515" y="3158403"/>
                      <a:pt x="3852529" y="3158403"/>
                    </a:cubicBezTo>
                    <a:cubicBezTo>
                      <a:pt x="3869544" y="3158403"/>
                      <a:pt x="3883353" y="3144592"/>
                      <a:pt x="3883353" y="3127578"/>
                    </a:cubicBezTo>
                    <a:close/>
                    <a:moveTo>
                      <a:pt x="3884087" y="2740455"/>
                    </a:moveTo>
                    <a:cubicBezTo>
                      <a:pt x="3884087" y="2716292"/>
                      <a:pt x="3864610" y="2696812"/>
                      <a:pt x="3840445" y="2696812"/>
                    </a:cubicBezTo>
                    <a:cubicBezTo>
                      <a:pt x="3816281" y="2696812"/>
                      <a:pt x="3796801" y="2716292"/>
                      <a:pt x="3796801" y="2740455"/>
                    </a:cubicBezTo>
                    <a:cubicBezTo>
                      <a:pt x="3796801" y="2764624"/>
                      <a:pt x="3816527" y="2784100"/>
                      <a:pt x="3840445" y="2784100"/>
                    </a:cubicBezTo>
                    <a:cubicBezTo>
                      <a:pt x="3864610" y="2784100"/>
                      <a:pt x="3884087" y="2764624"/>
                      <a:pt x="3884087" y="2740455"/>
                    </a:cubicBezTo>
                    <a:close/>
                    <a:moveTo>
                      <a:pt x="3885076" y="7079366"/>
                    </a:moveTo>
                    <a:cubicBezTo>
                      <a:pt x="3885076" y="7076899"/>
                      <a:pt x="3883103" y="7074681"/>
                      <a:pt x="3880391" y="7074681"/>
                    </a:cubicBezTo>
                    <a:cubicBezTo>
                      <a:pt x="3877677" y="7074681"/>
                      <a:pt x="3875458" y="7076654"/>
                      <a:pt x="3875458" y="7079366"/>
                    </a:cubicBezTo>
                    <a:cubicBezTo>
                      <a:pt x="3875458" y="7082079"/>
                      <a:pt x="3877677" y="7084298"/>
                      <a:pt x="3880391" y="7084298"/>
                    </a:cubicBezTo>
                    <a:cubicBezTo>
                      <a:pt x="3883103" y="7084298"/>
                      <a:pt x="3885076" y="7082325"/>
                      <a:pt x="3885076" y="7079366"/>
                    </a:cubicBezTo>
                    <a:close/>
                    <a:moveTo>
                      <a:pt x="3886555" y="715313"/>
                    </a:moveTo>
                    <a:cubicBezTo>
                      <a:pt x="3886555" y="690904"/>
                      <a:pt x="3866583" y="670933"/>
                      <a:pt x="3842171" y="670933"/>
                    </a:cubicBezTo>
                    <a:cubicBezTo>
                      <a:pt x="3817759" y="670933"/>
                      <a:pt x="3797787" y="690904"/>
                      <a:pt x="3797787" y="715313"/>
                    </a:cubicBezTo>
                    <a:cubicBezTo>
                      <a:pt x="3797787" y="739728"/>
                      <a:pt x="3817759" y="759695"/>
                      <a:pt x="3842171" y="759695"/>
                    </a:cubicBezTo>
                    <a:cubicBezTo>
                      <a:pt x="3866829" y="759695"/>
                      <a:pt x="3886555" y="739728"/>
                      <a:pt x="3886555" y="715313"/>
                    </a:cubicBezTo>
                    <a:close/>
                    <a:moveTo>
                      <a:pt x="3887295" y="6960516"/>
                    </a:moveTo>
                    <a:cubicBezTo>
                      <a:pt x="3887295" y="6955584"/>
                      <a:pt x="3883349" y="6951393"/>
                      <a:pt x="3878170" y="6951393"/>
                    </a:cubicBezTo>
                    <a:cubicBezTo>
                      <a:pt x="3873238" y="6951393"/>
                      <a:pt x="3869046" y="6955338"/>
                      <a:pt x="3869046" y="6960516"/>
                    </a:cubicBezTo>
                    <a:cubicBezTo>
                      <a:pt x="3869046" y="6965448"/>
                      <a:pt x="3872992" y="6969642"/>
                      <a:pt x="3878170" y="6969642"/>
                    </a:cubicBezTo>
                    <a:cubicBezTo>
                      <a:pt x="3883101" y="6969642"/>
                      <a:pt x="3887295" y="6965448"/>
                      <a:pt x="3887295" y="6960516"/>
                    </a:cubicBezTo>
                    <a:close/>
                    <a:moveTo>
                      <a:pt x="3889267" y="3590319"/>
                    </a:moveTo>
                    <a:cubicBezTo>
                      <a:pt x="3889267" y="3588101"/>
                      <a:pt x="3887294" y="3586128"/>
                      <a:pt x="3885073" y="3586128"/>
                    </a:cubicBezTo>
                    <a:cubicBezTo>
                      <a:pt x="3882854" y="3586128"/>
                      <a:pt x="3880882" y="3588101"/>
                      <a:pt x="3880882" y="3590319"/>
                    </a:cubicBezTo>
                    <a:cubicBezTo>
                      <a:pt x="3880882" y="3592540"/>
                      <a:pt x="3882854" y="3594511"/>
                      <a:pt x="3885073" y="3594511"/>
                    </a:cubicBezTo>
                    <a:cubicBezTo>
                      <a:pt x="3887294" y="3594511"/>
                      <a:pt x="3889018" y="3592787"/>
                      <a:pt x="3889267" y="3590319"/>
                    </a:cubicBezTo>
                    <a:close/>
                    <a:moveTo>
                      <a:pt x="3889267" y="7197970"/>
                    </a:moveTo>
                    <a:cubicBezTo>
                      <a:pt x="3889267" y="7194270"/>
                      <a:pt x="3886308" y="7191311"/>
                      <a:pt x="3882609" y="7191311"/>
                    </a:cubicBezTo>
                    <a:cubicBezTo>
                      <a:pt x="3878664" y="7191311"/>
                      <a:pt x="3875705" y="7194270"/>
                      <a:pt x="3875705" y="7197970"/>
                    </a:cubicBezTo>
                    <a:cubicBezTo>
                      <a:pt x="3875705" y="7201915"/>
                      <a:pt x="3878910" y="7204874"/>
                      <a:pt x="3882609" y="7204874"/>
                    </a:cubicBezTo>
                    <a:cubicBezTo>
                      <a:pt x="3886308" y="7204874"/>
                      <a:pt x="3889513" y="7201915"/>
                      <a:pt x="3889267" y="7197970"/>
                    </a:cubicBezTo>
                    <a:close/>
                    <a:moveTo>
                      <a:pt x="3890254" y="3473935"/>
                    </a:moveTo>
                    <a:cubicBezTo>
                      <a:pt x="3890254" y="3472950"/>
                      <a:pt x="3889516" y="3472209"/>
                      <a:pt x="3888529" y="3472209"/>
                    </a:cubicBezTo>
                    <a:cubicBezTo>
                      <a:pt x="3887544" y="3472209"/>
                      <a:pt x="3886803" y="3472950"/>
                      <a:pt x="3886803" y="3473935"/>
                    </a:cubicBezTo>
                    <a:cubicBezTo>
                      <a:pt x="3886803" y="3474922"/>
                      <a:pt x="3887544" y="3475660"/>
                      <a:pt x="3888529" y="3475660"/>
                    </a:cubicBezTo>
                    <a:cubicBezTo>
                      <a:pt x="3889516" y="3475660"/>
                      <a:pt x="3890254" y="3474922"/>
                      <a:pt x="3890254" y="3473935"/>
                    </a:cubicBezTo>
                    <a:close/>
                    <a:moveTo>
                      <a:pt x="3891238" y="592245"/>
                    </a:moveTo>
                    <a:cubicBezTo>
                      <a:pt x="3891238" y="567589"/>
                      <a:pt x="3871266" y="547617"/>
                      <a:pt x="3846608" y="547617"/>
                    </a:cubicBezTo>
                    <a:cubicBezTo>
                      <a:pt x="3821950" y="547617"/>
                      <a:pt x="3801978" y="567589"/>
                      <a:pt x="3801978" y="592245"/>
                    </a:cubicBezTo>
                    <a:cubicBezTo>
                      <a:pt x="3801978" y="616901"/>
                      <a:pt x="3821950" y="636875"/>
                      <a:pt x="3846608" y="636875"/>
                    </a:cubicBezTo>
                    <a:cubicBezTo>
                      <a:pt x="3871514" y="636875"/>
                      <a:pt x="3891486" y="616656"/>
                      <a:pt x="3891238" y="592245"/>
                    </a:cubicBezTo>
                    <a:close/>
                    <a:moveTo>
                      <a:pt x="3891486" y="5266048"/>
                    </a:moveTo>
                    <a:cubicBezTo>
                      <a:pt x="3891486" y="5257912"/>
                      <a:pt x="3884827" y="5251253"/>
                      <a:pt x="3876691" y="5251253"/>
                    </a:cubicBezTo>
                    <a:cubicBezTo>
                      <a:pt x="3868555" y="5251253"/>
                      <a:pt x="3861896" y="5257912"/>
                      <a:pt x="3861896" y="5266048"/>
                    </a:cubicBezTo>
                    <a:cubicBezTo>
                      <a:pt x="3861896" y="5274184"/>
                      <a:pt x="3868555" y="5280842"/>
                      <a:pt x="3876691" y="5280842"/>
                    </a:cubicBezTo>
                    <a:cubicBezTo>
                      <a:pt x="3884827" y="5280842"/>
                      <a:pt x="3891486" y="5274184"/>
                      <a:pt x="3891486" y="5266048"/>
                    </a:cubicBezTo>
                    <a:close/>
                    <a:moveTo>
                      <a:pt x="3893461" y="469228"/>
                    </a:moveTo>
                    <a:cubicBezTo>
                      <a:pt x="3893461" y="445066"/>
                      <a:pt x="3873981" y="425587"/>
                      <a:pt x="3849815" y="425587"/>
                    </a:cubicBezTo>
                    <a:cubicBezTo>
                      <a:pt x="3825652" y="425587"/>
                      <a:pt x="3806172" y="445066"/>
                      <a:pt x="3806172" y="469228"/>
                    </a:cubicBezTo>
                    <a:cubicBezTo>
                      <a:pt x="3806172" y="493393"/>
                      <a:pt x="3825898" y="512873"/>
                      <a:pt x="3849815" y="512873"/>
                    </a:cubicBezTo>
                    <a:cubicBezTo>
                      <a:pt x="3873981" y="512873"/>
                      <a:pt x="3893461" y="493393"/>
                      <a:pt x="3893461" y="469228"/>
                    </a:cubicBezTo>
                    <a:close/>
                    <a:moveTo>
                      <a:pt x="3895186" y="5401663"/>
                    </a:moveTo>
                    <a:cubicBezTo>
                      <a:pt x="3895186" y="5398212"/>
                      <a:pt x="3892473" y="5395499"/>
                      <a:pt x="3889019" y="5395499"/>
                    </a:cubicBezTo>
                    <a:cubicBezTo>
                      <a:pt x="3885568" y="5395499"/>
                      <a:pt x="3882855" y="5398212"/>
                      <a:pt x="3882855" y="5401663"/>
                    </a:cubicBezTo>
                    <a:cubicBezTo>
                      <a:pt x="3882855" y="5405116"/>
                      <a:pt x="3885568" y="5407830"/>
                      <a:pt x="3889019" y="5407830"/>
                    </a:cubicBezTo>
                    <a:cubicBezTo>
                      <a:pt x="3892473" y="5407830"/>
                      <a:pt x="3895186" y="5405116"/>
                      <a:pt x="3895186" y="5401663"/>
                    </a:cubicBezTo>
                    <a:close/>
                    <a:moveTo>
                      <a:pt x="3896420" y="347447"/>
                    </a:moveTo>
                    <a:cubicBezTo>
                      <a:pt x="3896420" y="323528"/>
                      <a:pt x="3877186" y="304298"/>
                      <a:pt x="3853269" y="304298"/>
                    </a:cubicBezTo>
                    <a:cubicBezTo>
                      <a:pt x="3829349" y="304298"/>
                      <a:pt x="3810117" y="323777"/>
                      <a:pt x="3810117" y="347447"/>
                    </a:cubicBezTo>
                    <a:cubicBezTo>
                      <a:pt x="3810117" y="371363"/>
                      <a:pt x="3829598" y="390596"/>
                      <a:pt x="3853269" y="390596"/>
                    </a:cubicBezTo>
                    <a:cubicBezTo>
                      <a:pt x="3876939" y="390596"/>
                      <a:pt x="3896171" y="371363"/>
                      <a:pt x="3896420" y="347447"/>
                    </a:cubicBezTo>
                    <a:close/>
                    <a:moveTo>
                      <a:pt x="3896664" y="1378751"/>
                    </a:moveTo>
                    <a:cubicBezTo>
                      <a:pt x="3896664" y="1352858"/>
                      <a:pt x="3875460" y="1331647"/>
                      <a:pt x="3849570" y="1331647"/>
                    </a:cubicBezTo>
                    <a:cubicBezTo>
                      <a:pt x="3823680" y="1331647"/>
                      <a:pt x="3802473" y="1352858"/>
                      <a:pt x="3802473" y="1378751"/>
                    </a:cubicBezTo>
                    <a:cubicBezTo>
                      <a:pt x="3802473" y="1404885"/>
                      <a:pt x="3823680" y="1425848"/>
                      <a:pt x="3849570" y="1425848"/>
                    </a:cubicBezTo>
                    <a:cubicBezTo>
                      <a:pt x="3875460" y="1425848"/>
                      <a:pt x="3896418" y="1404639"/>
                      <a:pt x="3896664" y="1378751"/>
                    </a:cubicBezTo>
                    <a:close/>
                    <a:moveTo>
                      <a:pt x="3897158" y="4618788"/>
                    </a:moveTo>
                    <a:cubicBezTo>
                      <a:pt x="3897158" y="4599307"/>
                      <a:pt x="3881377" y="4583526"/>
                      <a:pt x="3861898" y="4583526"/>
                    </a:cubicBezTo>
                    <a:cubicBezTo>
                      <a:pt x="3842417" y="4583526"/>
                      <a:pt x="3826636" y="4599307"/>
                      <a:pt x="3826636" y="4618788"/>
                    </a:cubicBezTo>
                    <a:cubicBezTo>
                      <a:pt x="3826636" y="4638268"/>
                      <a:pt x="3842417" y="4654048"/>
                      <a:pt x="3861898" y="4654048"/>
                    </a:cubicBezTo>
                    <a:cubicBezTo>
                      <a:pt x="3881377" y="4654048"/>
                      <a:pt x="3897404" y="4638268"/>
                      <a:pt x="3897158" y="4618788"/>
                    </a:cubicBezTo>
                    <a:close/>
                    <a:moveTo>
                      <a:pt x="3897649" y="2180764"/>
                    </a:moveTo>
                    <a:cubicBezTo>
                      <a:pt x="3897649" y="2172871"/>
                      <a:pt x="3890992" y="2166457"/>
                      <a:pt x="3883104" y="2166457"/>
                    </a:cubicBezTo>
                    <a:cubicBezTo>
                      <a:pt x="3875211" y="2166457"/>
                      <a:pt x="3868801" y="2172871"/>
                      <a:pt x="3868801" y="2180764"/>
                    </a:cubicBezTo>
                    <a:cubicBezTo>
                      <a:pt x="3868801" y="2188897"/>
                      <a:pt x="3875211" y="2195307"/>
                      <a:pt x="3883104" y="2195307"/>
                    </a:cubicBezTo>
                    <a:cubicBezTo>
                      <a:pt x="3891239" y="2195307"/>
                      <a:pt x="3897649" y="2188650"/>
                      <a:pt x="3897649" y="2180764"/>
                    </a:cubicBezTo>
                    <a:close/>
                    <a:moveTo>
                      <a:pt x="3898635" y="226652"/>
                    </a:moveTo>
                    <a:cubicBezTo>
                      <a:pt x="3898635" y="203231"/>
                      <a:pt x="3879650" y="183997"/>
                      <a:pt x="3855979" y="183997"/>
                    </a:cubicBezTo>
                    <a:cubicBezTo>
                      <a:pt x="3832554" y="183997"/>
                      <a:pt x="3813322" y="202982"/>
                      <a:pt x="3813322" y="226652"/>
                    </a:cubicBezTo>
                    <a:cubicBezTo>
                      <a:pt x="3813322" y="250076"/>
                      <a:pt x="3832307" y="269307"/>
                      <a:pt x="3855979" y="269307"/>
                    </a:cubicBezTo>
                    <a:cubicBezTo>
                      <a:pt x="3879404" y="269307"/>
                      <a:pt x="3898635" y="250076"/>
                      <a:pt x="3898635" y="226652"/>
                    </a:cubicBezTo>
                    <a:close/>
                    <a:moveTo>
                      <a:pt x="3900611" y="106352"/>
                    </a:moveTo>
                    <a:cubicBezTo>
                      <a:pt x="3900611" y="82929"/>
                      <a:pt x="3881872" y="63943"/>
                      <a:pt x="3858446" y="63943"/>
                    </a:cubicBezTo>
                    <a:cubicBezTo>
                      <a:pt x="3835020" y="63943"/>
                      <a:pt x="3816035" y="82929"/>
                      <a:pt x="3816035" y="106352"/>
                    </a:cubicBezTo>
                    <a:cubicBezTo>
                      <a:pt x="3816035" y="129528"/>
                      <a:pt x="3835020" y="148515"/>
                      <a:pt x="3858446" y="148515"/>
                    </a:cubicBezTo>
                    <a:cubicBezTo>
                      <a:pt x="3881623" y="148515"/>
                      <a:pt x="3900611" y="129528"/>
                      <a:pt x="3900611" y="106352"/>
                    </a:cubicBezTo>
                    <a:close/>
                    <a:moveTo>
                      <a:pt x="3902090" y="5535803"/>
                    </a:moveTo>
                    <a:cubicBezTo>
                      <a:pt x="3902090" y="5534322"/>
                      <a:pt x="3900609" y="5533090"/>
                      <a:pt x="3899130" y="5533090"/>
                    </a:cubicBezTo>
                    <a:cubicBezTo>
                      <a:pt x="3897404" y="5533090"/>
                      <a:pt x="3896171" y="5534322"/>
                      <a:pt x="3896171" y="5535803"/>
                    </a:cubicBezTo>
                    <a:cubicBezTo>
                      <a:pt x="3896171" y="5537527"/>
                      <a:pt x="3897649" y="5538762"/>
                      <a:pt x="3899130" y="5538762"/>
                    </a:cubicBezTo>
                    <a:cubicBezTo>
                      <a:pt x="3900858" y="5538762"/>
                      <a:pt x="3902090" y="5537527"/>
                      <a:pt x="3902090" y="5535803"/>
                    </a:cubicBezTo>
                    <a:close/>
                    <a:moveTo>
                      <a:pt x="3902338" y="3242237"/>
                    </a:moveTo>
                    <a:cubicBezTo>
                      <a:pt x="3902338" y="3225718"/>
                      <a:pt x="3888775" y="3212401"/>
                      <a:pt x="3872500" y="3212401"/>
                    </a:cubicBezTo>
                    <a:cubicBezTo>
                      <a:pt x="3855981" y="3212401"/>
                      <a:pt x="3842664" y="3225718"/>
                      <a:pt x="3842664" y="3242237"/>
                    </a:cubicBezTo>
                    <a:cubicBezTo>
                      <a:pt x="3842664" y="3258755"/>
                      <a:pt x="3855981" y="3272075"/>
                      <a:pt x="3872500" y="3272075"/>
                    </a:cubicBezTo>
                    <a:cubicBezTo>
                      <a:pt x="3888775" y="3272075"/>
                      <a:pt x="3902089" y="3258510"/>
                      <a:pt x="3902338" y="3242237"/>
                    </a:cubicBezTo>
                    <a:close/>
                    <a:moveTo>
                      <a:pt x="3903567" y="2003710"/>
                    </a:moveTo>
                    <a:cubicBezTo>
                      <a:pt x="3903567" y="1989909"/>
                      <a:pt x="3892472" y="1978818"/>
                      <a:pt x="3878664" y="1978818"/>
                    </a:cubicBezTo>
                    <a:cubicBezTo>
                      <a:pt x="3864855" y="1978818"/>
                      <a:pt x="3853760" y="1990154"/>
                      <a:pt x="3853760" y="2003710"/>
                    </a:cubicBezTo>
                    <a:cubicBezTo>
                      <a:pt x="3853760" y="2017513"/>
                      <a:pt x="3865101" y="2028611"/>
                      <a:pt x="3878664" y="2028611"/>
                    </a:cubicBezTo>
                    <a:cubicBezTo>
                      <a:pt x="3892226" y="2028611"/>
                      <a:pt x="3903321" y="2017513"/>
                      <a:pt x="3903567" y="2003710"/>
                    </a:cubicBezTo>
                    <a:close/>
                    <a:moveTo>
                      <a:pt x="3904307" y="1248576"/>
                    </a:moveTo>
                    <a:cubicBezTo>
                      <a:pt x="3904307" y="1223180"/>
                      <a:pt x="3883595" y="1202467"/>
                      <a:pt x="3858200" y="1202467"/>
                    </a:cubicBezTo>
                    <a:cubicBezTo>
                      <a:pt x="3832801" y="1202467"/>
                      <a:pt x="3812089" y="1223180"/>
                      <a:pt x="3812089" y="1248576"/>
                    </a:cubicBezTo>
                    <a:cubicBezTo>
                      <a:pt x="3812089" y="1273727"/>
                      <a:pt x="3832801" y="1294430"/>
                      <a:pt x="3858200" y="1294430"/>
                    </a:cubicBezTo>
                    <a:cubicBezTo>
                      <a:pt x="3883349" y="1294430"/>
                      <a:pt x="3904061" y="1273727"/>
                      <a:pt x="3904307" y="1248576"/>
                    </a:cubicBezTo>
                    <a:close/>
                    <a:moveTo>
                      <a:pt x="3907761" y="4766484"/>
                    </a:moveTo>
                    <a:cubicBezTo>
                      <a:pt x="3907761" y="4756126"/>
                      <a:pt x="3899377" y="4747744"/>
                      <a:pt x="3889022" y="4747744"/>
                    </a:cubicBezTo>
                    <a:cubicBezTo>
                      <a:pt x="3878664" y="4747744"/>
                      <a:pt x="3870282" y="4756126"/>
                      <a:pt x="3870282" y="4766484"/>
                    </a:cubicBezTo>
                    <a:cubicBezTo>
                      <a:pt x="3870282" y="4776841"/>
                      <a:pt x="3878664" y="4785224"/>
                      <a:pt x="3889022" y="4785224"/>
                    </a:cubicBezTo>
                    <a:cubicBezTo>
                      <a:pt x="3899377" y="4785224"/>
                      <a:pt x="3907761" y="4776841"/>
                      <a:pt x="3907761" y="4766484"/>
                    </a:cubicBezTo>
                    <a:close/>
                    <a:moveTo>
                      <a:pt x="3908253" y="4099746"/>
                    </a:moveTo>
                    <a:cubicBezTo>
                      <a:pt x="3908253" y="4087910"/>
                      <a:pt x="3898636" y="4078539"/>
                      <a:pt x="3887048" y="4078539"/>
                    </a:cubicBezTo>
                    <a:cubicBezTo>
                      <a:pt x="3875460" y="4078539"/>
                      <a:pt x="3865842" y="4088156"/>
                      <a:pt x="3865842" y="4099746"/>
                    </a:cubicBezTo>
                    <a:cubicBezTo>
                      <a:pt x="3865842" y="4111578"/>
                      <a:pt x="3875460" y="4120949"/>
                      <a:pt x="3887048" y="4120949"/>
                    </a:cubicBezTo>
                    <a:cubicBezTo>
                      <a:pt x="3898636" y="4120949"/>
                      <a:pt x="3908253" y="4111578"/>
                      <a:pt x="3908253" y="4099746"/>
                    </a:cubicBezTo>
                    <a:close/>
                    <a:moveTo>
                      <a:pt x="3909241" y="5667474"/>
                    </a:moveTo>
                    <a:cubicBezTo>
                      <a:pt x="3909241" y="5667225"/>
                      <a:pt x="3909241" y="5666978"/>
                      <a:pt x="3908993" y="5666978"/>
                    </a:cubicBezTo>
                    <a:cubicBezTo>
                      <a:pt x="3908747" y="5666978"/>
                      <a:pt x="3908501" y="5667225"/>
                      <a:pt x="3908501" y="5667474"/>
                    </a:cubicBezTo>
                    <a:cubicBezTo>
                      <a:pt x="3908501" y="5667719"/>
                      <a:pt x="3908747" y="5667965"/>
                      <a:pt x="3908993" y="5667965"/>
                    </a:cubicBezTo>
                    <a:cubicBezTo>
                      <a:pt x="3909241" y="5667965"/>
                      <a:pt x="3909487" y="5667719"/>
                      <a:pt x="3909241" y="5667474"/>
                    </a:cubicBezTo>
                    <a:close/>
                    <a:moveTo>
                      <a:pt x="3909979" y="3357879"/>
                    </a:moveTo>
                    <a:cubicBezTo>
                      <a:pt x="3909979" y="3343822"/>
                      <a:pt x="3898638" y="3332466"/>
                      <a:pt x="3884584" y="3332466"/>
                    </a:cubicBezTo>
                    <a:cubicBezTo>
                      <a:pt x="3870527" y="3332466"/>
                      <a:pt x="3859186" y="3343822"/>
                      <a:pt x="3859186" y="3357879"/>
                    </a:cubicBezTo>
                    <a:cubicBezTo>
                      <a:pt x="3859186" y="3371921"/>
                      <a:pt x="3870527" y="3383273"/>
                      <a:pt x="3884584" y="3383273"/>
                    </a:cubicBezTo>
                    <a:cubicBezTo>
                      <a:pt x="3898638" y="3383273"/>
                      <a:pt x="3909979" y="3371921"/>
                      <a:pt x="3909979" y="3357879"/>
                    </a:cubicBezTo>
                    <a:close/>
                    <a:moveTo>
                      <a:pt x="3911707" y="2581177"/>
                    </a:moveTo>
                    <a:cubicBezTo>
                      <a:pt x="3911707" y="2565641"/>
                      <a:pt x="3898885" y="2552819"/>
                      <a:pt x="3883349" y="2552819"/>
                    </a:cubicBezTo>
                    <a:cubicBezTo>
                      <a:pt x="3867814" y="2552819"/>
                      <a:pt x="3854992" y="2565641"/>
                      <a:pt x="3854992" y="2581177"/>
                    </a:cubicBezTo>
                    <a:cubicBezTo>
                      <a:pt x="3854992" y="2596711"/>
                      <a:pt x="3867814" y="2609535"/>
                      <a:pt x="3883349" y="2609535"/>
                    </a:cubicBezTo>
                    <a:cubicBezTo>
                      <a:pt x="3898885" y="2609535"/>
                      <a:pt x="3911707" y="2596711"/>
                      <a:pt x="3911707" y="2581177"/>
                    </a:cubicBezTo>
                    <a:close/>
                    <a:moveTo>
                      <a:pt x="3911952" y="1119384"/>
                    </a:moveTo>
                    <a:cubicBezTo>
                      <a:pt x="3911952" y="1093745"/>
                      <a:pt x="3890994" y="1072786"/>
                      <a:pt x="3865351" y="1072786"/>
                    </a:cubicBezTo>
                    <a:cubicBezTo>
                      <a:pt x="3839707" y="1072786"/>
                      <a:pt x="3818748" y="1093745"/>
                      <a:pt x="3818748" y="1119384"/>
                    </a:cubicBezTo>
                    <a:cubicBezTo>
                      <a:pt x="3818748" y="1145028"/>
                      <a:pt x="3839707" y="1165991"/>
                      <a:pt x="3865351" y="1165991"/>
                    </a:cubicBezTo>
                    <a:cubicBezTo>
                      <a:pt x="3890994" y="1165991"/>
                      <a:pt x="3911952" y="1145028"/>
                      <a:pt x="3911952" y="1119384"/>
                    </a:cubicBezTo>
                    <a:close/>
                    <a:moveTo>
                      <a:pt x="3918364" y="5797420"/>
                    </a:moveTo>
                    <a:cubicBezTo>
                      <a:pt x="3918364" y="5797171"/>
                      <a:pt x="3918118" y="5796924"/>
                      <a:pt x="3917870" y="5796924"/>
                    </a:cubicBezTo>
                    <a:cubicBezTo>
                      <a:pt x="3917623" y="5796924"/>
                      <a:pt x="3917378" y="5797171"/>
                      <a:pt x="3917378" y="5797420"/>
                    </a:cubicBezTo>
                    <a:cubicBezTo>
                      <a:pt x="3917378" y="5797665"/>
                      <a:pt x="3917623" y="5797911"/>
                      <a:pt x="3917870" y="5797911"/>
                    </a:cubicBezTo>
                    <a:cubicBezTo>
                      <a:pt x="3918118" y="5797911"/>
                      <a:pt x="3918364" y="5797665"/>
                      <a:pt x="3918364" y="5797420"/>
                    </a:cubicBezTo>
                    <a:close/>
                    <a:moveTo>
                      <a:pt x="3918611" y="991927"/>
                    </a:moveTo>
                    <a:cubicBezTo>
                      <a:pt x="3918611" y="966281"/>
                      <a:pt x="3897898" y="945571"/>
                      <a:pt x="3872254" y="945571"/>
                    </a:cubicBezTo>
                    <a:cubicBezTo>
                      <a:pt x="3846611" y="945571"/>
                      <a:pt x="3825898" y="966281"/>
                      <a:pt x="3825898" y="991927"/>
                    </a:cubicBezTo>
                    <a:cubicBezTo>
                      <a:pt x="3825898" y="1017576"/>
                      <a:pt x="3846611" y="1038276"/>
                      <a:pt x="3872254" y="1038276"/>
                    </a:cubicBezTo>
                    <a:cubicBezTo>
                      <a:pt x="3897652" y="1038276"/>
                      <a:pt x="3918611" y="1017576"/>
                      <a:pt x="3918611" y="991927"/>
                    </a:cubicBezTo>
                    <a:close/>
                    <a:moveTo>
                      <a:pt x="3926747" y="4365800"/>
                    </a:moveTo>
                    <a:cubicBezTo>
                      <a:pt x="3926747" y="4344101"/>
                      <a:pt x="3909242" y="4326593"/>
                      <a:pt x="3887543" y="4326593"/>
                    </a:cubicBezTo>
                    <a:cubicBezTo>
                      <a:pt x="3865844" y="4326593"/>
                      <a:pt x="3848337" y="4344101"/>
                      <a:pt x="3848337" y="4365800"/>
                    </a:cubicBezTo>
                    <a:cubicBezTo>
                      <a:pt x="3848337" y="4387499"/>
                      <a:pt x="3865844" y="4405006"/>
                      <a:pt x="3887543" y="4405006"/>
                    </a:cubicBezTo>
                    <a:cubicBezTo>
                      <a:pt x="3909242" y="4405006"/>
                      <a:pt x="3926747" y="4387499"/>
                      <a:pt x="3926747" y="4365800"/>
                    </a:cubicBezTo>
                    <a:close/>
                    <a:moveTo>
                      <a:pt x="3926747" y="5926130"/>
                    </a:moveTo>
                    <a:cubicBezTo>
                      <a:pt x="3926747" y="5925393"/>
                      <a:pt x="3926255" y="5924898"/>
                      <a:pt x="3925514" y="5924898"/>
                    </a:cubicBezTo>
                    <a:cubicBezTo>
                      <a:pt x="3924774" y="5924898"/>
                      <a:pt x="3924282" y="5925393"/>
                      <a:pt x="3924282" y="5926130"/>
                    </a:cubicBezTo>
                    <a:cubicBezTo>
                      <a:pt x="3924282" y="5926871"/>
                      <a:pt x="3924774" y="5927366"/>
                      <a:pt x="3925514" y="5927366"/>
                    </a:cubicBezTo>
                    <a:cubicBezTo>
                      <a:pt x="3926255" y="5927366"/>
                      <a:pt x="3926747" y="5926871"/>
                      <a:pt x="3926747" y="5926130"/>
                    </a:cubicBezTo>
                    <a:close/>
                    <a:moveTo>
                      <a:pt x="3930938" y="2848211"/>
                    </a:moveTo>
                    <a:cubicBezTo>
                      <a:pt x="3930938" y="2822565"/>
                      <a:pt x="3909979" y="2801607"/>
                      <a:pt x="3884336" y="2801607"/>
                    </a:cubicBezTo>
                    <a:cubicBezTo>
                      <a:pt x="3858692" y="2801607"/>
                      <a:pt x="3837733" y="2822565"/>
                      <a:pt x="3837733" y="2848211"/>
                    </a:cubicBezTo>
                    <a:cubicBezTo>
                      <a:pt x="3837733" y="2873855"/>
                      <a:pt x="3858692" y="2894814"/>
                      <a:pt x="3884336" y="2894814"/>
                    </a:cubicBezTo>
                    <a:cubicBezTo>
                      <a:pt x="3909979" y="2894814"/>
                      <a:pt x="3930938" y="2873855"/>
                      <a:pt x="3930938" y="2848211"/>
                    </a:cubicBezTo>
                    <a:close/>
                    <a:moveTo>
                      <a:pt x="3931186" y="1862505"/>
                    </a:moveTo>
                    <a:cubicBezTo>
                      <a:pt x="3931186" y="1843528"/>
                      <a:pt x="3915651" y="1828002"/>
                      <a:pt x="3896666" y="1828002"/>
                    </a:cubicBezTo>
                    <a:cubicBezTo>
                      <a:pt x="3877680" y="1828002"/>
                      <a:pt x="3862145" y="1843528"/>
                      <a:pt x="3862145" y="1862505"/>
                    </a:cubicBezTo>
                    <a:cubicBezTo>
                      <a:pt x="3862145" y="1881483"/>
                      <a:pt x="3877680" y="1897009"/>
                      <a:pt x="3896666" y="1897009"/>
                    </a:cubicBezTo>
                    <a:cubicBezTo>
                      <a:pt x="3915651" y="1897009"/>
                      <a:pt x="3931186" y="1881483"/>
                      <a:pt x="3931186" y="1862505"/>
                    </a:cubicBezTo>
                    <a:close/>
                    <a:moveTo>
                      <a:pt x="3935378" y="4899389"/>
                    </a:moveTo>
                    <a:cubicBezTo>
                      <a:pt x="3935378" y="4892239"/>
                      <a:pt x="3929706" y="4886567"/>
                      <a:pt x="3922556" y="4886567"/>
                    </a:cubicBezTo>
                    <a:cubicBezTo>
                      <a:pt x="3915406" y="4886567"/>
                      <a:pt x="3909734" y="4892239"/>
                      <a:pt x="3909734" y="4899389"/>
                    </a:cubicBezTo>
                    <a:cubicBezTo>
                      <a:pt x="3909734" y="4906539"/>
                      <a:pt x="3915406" y="4912211"/>
                      <a:pt x="3922556" y="4912211"/>
                    </a:cubicBezTo>
                    <a:cubicBezTo>
                      <a:pt x="3929460" y="4912211"/>
                      <a:pt x="3935132" y="4906539"/>
                      <a:pt x="3935378" y="4899389"/>
                    </a:cubicBezTo>
                    <a:close/>
                    <a:moveTo>
                      <a:pt x="3937596" y="2426335"/>
                    </a:moveTo>
                    <a:cubicBezTo>
                      <a:pt x="3937596" y="2416721"/>
                      <a:pt x="3929709" y="2408829"/>
                      <a:pt x="3920091" y="2408829"/>
                    </a:cubicBezTo>
                    <a:cubicBezTo>
                      <a:pt x="3910474" y="2408829"/>
                      <a:pt x="3902584" y="2416721"/>
                      <a:pt x="3902584" y="2426335"/>
                    </a:cubicBezTo>
                    <a:cubicBezTo>
                      <a:pt x="3902584" y="2435957"/>
                      <a:pt x="3910474" y="2443847"/>
                      <a:pt x="3920091" y="2443847"/>
                    </a:cubicBezTo>
                    <a:cubicBezTo>
                      <a:pt x="3929709" y="2443847"/>
                      <a:pt x="3937351" y="2435957"/>
                      <a:pt x="3937596" y="2426335"/>
                    </a:cubicBezTo>
                    <a:close/>
                    <a:moveTo>
                      <a:pt x="3942777" y="5042651"/>
                    </a:moveTo>
                    <a:lnTo>
                      <a:pt x="3942529" y="5042651"/>
                    </a:lnTo>
                    <a:lnTo>
                      <a:pt x="3942282" y="5042651"/>
                    </a:lnTo>
                    <a:lnTo>
                      <a:pt x="3942529" y="5042897"/>
                    </a:lnTo>
                    <a:close/>
                    <a:moveTo>
                      <a:pt x="3944254" y="6046954"/>
                    </a:moveTo>
                    <a:cubicBezTo>
                      <a:pt x="3944254" y="6045721"/>
                      <a:pt x="3943266" y="6044735"/>
                      <a:pt x="3942033" y="6044735"/>
                    </a:cubicBezTo>
                    <a:cubicBezTo>
                      <a:pt x="3940801" y="6044735"/>
                      <a:pt x="3939814" y="6045721"/>
                      <a:pt x="3939814" y="6046954"/>
                    </a:cubicBezTo>
                    <a:cubicBezTo>
                      <a:pt x="3939814" y="6048187"/>
                      <a:pt x="3940801" y="6049172"/>
                      <a:pt x="3942033" y="6049172"/>
                    </a:cubicBezTo>
                    <a:cubicBezTo>
                      <a:pt x="3943266" y="6049172"/>
                      <a:pt x="3944254" y="6048187"/>
                      <a:pt x="3944254" y="6046954"/>
                    </a:cubicBezTo>
                    <a:close/>
                    <a:moveTo>
                      <a:pt x="3944745" y="3989526"/>
                    </a:moveTo>
                    <a:cubicBezTo>
                      <a:pt x="3944745" y="3977937"/>
                      <a:pt x="3935129" y="3968319"/>
                      <a:pt x="3923541" y="3968319"/>
                    </a:cubicBezTo>
                    <a:cubicBezTo>
                      <a:pt x="3911704" y="3968319"/>
                      <a:pt x="3902335" y="3977937"/>
                      <a:pt x="3902335" y="3989526"/>
                    </a:cubicBezTo>
                    <a:cubicBezTo>
                      <a:pt x="3902335" y="4001113"/>
                      <a:pt x="3911952" y="4010729"/>
                      <a:pt x="3923541" y="4010729"/>
                    </a:cubicBezTo>
                    <a:cubicBezTo>
                      <a:pt x="3935129" y="4010729"/>
                      <a:pt x="3944745" y="4001113"/>
                      <a:pt x="3944745" y="3989526"/>
                    </a:cubicBezTo>
                    <a:close/>
                    <a:moveTo>
                      <a:pt x="3946964" y="4521389"/>
                    </a:moveTo>
                    <a:cubicBezTo>
                      <a:pt x="3946964" y="4509059"/>
                      <a:pt x="3936855" y="4498950"/>
                      <a:pt x="3924526" y="4498950"/>
                    </a:cubicBezTo>
                    <a:cubicBezTo>
                      <a:pt x="3912444" y="4498950"/>
                      <a:pt x="3902335" y="4509059"/>
                      <a:pt x="3902335" y="4521389"/>
                    </a:cubicBezTo>
                    <a:cubicBezTo>
                      <a:pt x="3902335" y="4533470"/>
                      <a:pt x="3912198" y="4543579"/>
                      <a:pt x="3924526" y="4543579"/>
                    </a:cubicBezTo>
                    <a:cubicBezTo>
                      <a:pt x="3936855" y="4543579"/>
                      <a:pt x="3946964" y="4533470"/>
                      <a:pt x="3946964" y="4521389"/>
                    </a:cubicBezTo>
                    <a:close/>
                    <a:moveTo>
                      <a:pt x="3950169" y="6173447"/>
                    </a:moveTo>
                    <a:cubicBezTo>
                      <a:pt x="3950169" y="6172215"/>
                      <a:pt x="3949183" y="6171228"/>
                      <a:pt x="3947951" y="6171228"/>
                    </a:cubicBezTo>
                    <a:cubicBezTo>
                      <a:pt x="3946719" y="6171228"/>
                      <a:pt x="3945732" y="6172215"/>
                      <a:pt x="3945732" y="6173447"/>
                    </a:cubicBezTo>
                    <a:cubicBezTo>
                      <a:pt x="3945732" y="6174679"/>
                      <a:pt x="3946719" y="6175665"/>
                      <a:pt x="3947951" y="6175665"/>
                    </a:cubicBezTo>
                    <a:cubicBezTo>
                      <a:pt x="3949183" y="6175665"/>
                      <a:pt x="3950169" y="6174679"/>
                      <a:pt x="3950169" y="6173447"/>
                    </a:cubicBezTo>
                    <a:close/>
                    <a:moveTo>
                      <a:pt x="3954854" y="6299444"/>
                    </a:moveTo>
                    <a:cubicBezTo>
                      <a:pt x="3954854" y="6298212"/>
                      <a:pt x="3953868" y="6297226"/>
                      <a:pt x="3952636" y="6297226"/>
                    </a:cubicBezTo>
                    <a:cubicBezTo>
                      <a:pt x="3951404" y="6297226"/>
                      <a:pt x="3950418" y="6298212"/>
                      <a:pt x="3950418" y="6299444"/>
                    </a:cubicBezTo>
                    <a:cubicBezTo>
                      <a:pt x="3950418" y="6300679"/>
                      <a:pt x="3951404" y="6301662"/>
                      <a:pt x="3952636" y="6301662"/>
                    </a:cubicBezTo>
                    <a:cubicBezTo>
                      <a:pt x="3954116" y="6301662"/>
                      <a:pt x="3955103" y="6300679"/>
                      <a:pt x="3954854" y="6299444"/>
                    </a:cubicBezTo>
                    <a:close/>
                    <a:moveTo>
                      <a:pt x="3957569" y="1723661"/>
                    </a:moveTo>
                    <a:cubicBezTo>
                      <a:pt x="3957569" y="1698770"/>
                      <a:pt x="3937351" y="1678548"/>
                      <a:pt x="3912445" y="1678548"/>
                    </a:cubicBezTo>
                    <a:cubicBezTo>
                      <a:pt x="3887786" y="1678548"/>
                      <a:pt x="3867569" y="1698770"/>
                      <a:pt x="3867569" y="1723661"/>
                    </a:cubicBezTo>
                    <a:cubicBezTo>
                      <a:pt x="3867569" y="1748343"/>
                      <a:pt x="3887541" y="1768579"/>
                      <a:pt x="3912445" y="1768579"/>
                    </a:cubicBezTo>
                    <a:cubicBezTo>
                      <a:pt x="3937102" y="1768579"/>
                      <a:pt x="3957323" y="1748589"/>
                      <a:pt x="3957569" y="1723661"/>
                    </a:cubicBezTo>
                    <a:close/>
                    <a:moveTo>
                      <a:pt x="3960281" y="4261252"/>
                    </a:moveTo>
                    <a:cubicBezTo>
                      <a:pt x="3960281" y="4249170"/>
                      <a:pt x="3950418" y="4239306"/>
                      <a:pt x="3938336" y="4239306"/>
                    </a:cubicBezTo>
                    <a:cubicBezTo>
                      <a:pt x="3926501" y="4239306"/>
                      <a:pt x="3916638" y="4249170"/>
                      <a:pt x="3916638" y="4261252"/>
                    </a:cubicBezTo>
                    <a:cubicBezTo>
                      <a:pt x="3916638" y="4273336"/>
                      <a:pt x="3926255" y="4283196"/>
                      <a:pt x="3938336" y="4283196"/>
                    </a:cubicBezTo>
                    <a:cubicBezTo>
                      <a:pt x="3950418" y="4283196"/>
                      <a:pt x="3960035" y="4273581"/>
                      <a:pt x="3960281" y="4261252"/>
                    </a:cubicBezTo>
                    <a:close/>
                    <a:moveTo>
                      <a:pt x="3960776" y="6423227"/>
                    </a:moveTo>
                    <a:cubicBezTo>
                      <a:pt x="3960776" y="6421746"/>
                      <a:pt x="3959541" y="6420514"/>
                      <a:pt x="3958063" y="6420514"/>
                    </a:cubicBezTo>
                    <a:cubicBezTo>
                      <a:pt x="3956582" y="6420514"/>
                      <a:pt x="3955350" y="6421746"/>
                      <a:pt x="3955350" y="6423227"/>
                    </a:cubicBezTo>
                    <a:cubicBezTo>
                      <a:pt x="3955350" y="6424705"/>
                      <a:pt x="3956582" y="6425940"/>
                      <a:pt x="3958063" y="6425940"/>
                    </a:cubicBezTo>
                    <a:cubicBezTo>
                      <a:pt x="3959541" y="6425940"/>
                      <a:pt x="3960776" y="6424705"/>
                      <a:pt x="3960776" y="6423227"/>
                    </a:cubicBezTo>
                    <a:close/>
                    <a:moveTo>
                      <a:pt x="3962254" y="16133"/>
                    </a:moveTo>
                    <a:lnTo>
                      <a:pt x="3955579" y="0"/>
                    </a:lnTo>
                    <a:lnTo>
                      <a:pt x="3885092" y="0"/>
                    </a:lnTo>
                    <a:lnTo>
                      <a:pt x="3878417" y="16133"/>
                    </a:lnTo>
                    <a:cubicBezTo>
                      <a:pt x="3878417" y="39310"/>
                      <a:pt x="3897158" y="58049"/>
                      <a:pt x="3920335" y="58049"/>
                    </a:cubicBezTo>
                    <a:cubicBezTo>
                      <a:pt x="3943514" y="58049"/>
                      <a:pt x="3962254" y="39310"/>
                      <a:pt x="3962254" y="16133"/>
                    </a:cubicBezTo>
                    <a:close/>
                    <a:moveTo>
                      <a:pt x="3964226" y="1587081"/>
                    </a:moveTo>
                    <a:cubicBezTo>
                      <a:pt x="3964226" y="1566123"/>
                      <a:pt x="3947213" y="1549109"/>
                      <a:pt x="3926254" y="1549109"/>
                    </a:cubicBezTo>
                    <a:cubicBezTo>
                      <a:pt x="3905294" y="1549109"/>
                      <a:pt x="3888281" y="1566123"/>
                      <a:pt x="3888281" y="1587081"/>
                    </a:cubicBezTo>
                    <a:cubicBezTo>
                      <a:pt x="3888281" y="1608046"/>
                      <a:pt x="3905294" y="1625057"/>
                      <a:pt x="3926254" y="1625057"/>
                    </a:cubicBezTo>
                    <a:cubicBezTo>
                      <a:pt x="3947213" y="1625057"/>
                      <a:pt x="3964226" y="1608046"/>
                      <a:pt x="3964226" y="1587081"/>
                    </a:cubicBezTo>
                    <a:close/>
                    <a:moveTo>
                      <a:pt x="3965950" y="2958187"/>
                    </a:moveTo>
                    <a:cubicBezTo>
                      <a:pt x="3965950" y="2933529"/>
                      <a:pt x="3945978" y="2913557"/>
                      <a:pt x="3921320" y="2913557"/>
                    </a:cubicBezTo>
                    <a:cubicBezTo>
                      <a:pt x="3896663" y="2913557"/>
                      <a:pt x="3876691" y="2933529"/>
                      <a:pt x="3876691" y="2958187"/>
                    </a:cubicBezTo>
                    <a:cubicBezTo>
                      <a:pt x="3876691" y="2982845"/>
                      <a:pt x="3896663" y="3002818"/>
                      <a:pt x="3921320" y="3002818"/>
                    </a:cubicBezTo>
                    <a:cubicBezTo>
                      <a:pt x="3945978" y="3002818"/>
                      <a:pt x="3965950" y="2982845"/>
                      <a:pt x="3965950" y="2958187"/>
                    </a:cubicBezTo>
                    <a:close/>
                    <a:moveTo>
                      <a:pt x="3966198" y="6546764"/>
                    </a:moveTo>
                    <a:cubicBezTo>
                      <a:pt x="3966198" y="6544791"/>
                      <a:pt x="3964472" y="6543064"/>
                      <a:pt x="3962499" y="6543064"/>
                    </a:cubicBezTo>
                    <a:cubicBezTo>
                      <a:pt x="3960526" y="6543064"/>
                      <a:pt x="3958800" y="6544791"/>
                      <a:pt x="3958800" y="6546764"/>
                    </a:cubicBezTo>
                    <a:cubicBezTo>
                      <a:pt x="3958800" y="6548736"/>
                      <a:pt x="3960278" y="6550463"/>
                      <a:pt x="3962499" y="6550463"/>
                    </a:cubicBezTo>
                    <a:cubicBezTo>
                      <a:pt x="3964717" y="6550463"/>
                      <a:pt x="3966198" y="6548736"/>
                      <a:pt x="3966198" y="6546764"/>
                    </a:cubicBezTo>
                    <a:close/>
                    <a:moveTo>
                      <a:pt x="3967926" y="2685232"/>
                    </a:moveTo>
                    <a:cubicBezTo>
                      <a:pt x="3967926" y="2666739"/>
                      <a:pt x="3952885" y="2651696"/>
                      <a:pt x="3934392" y="2651696"/>
                    </a:cubicBezTo>
                    <a:cubicBezTo>
                      <a:pt x="3915898" y="2651696"/>
                      <a:pt x="3900857" y="2666739"/>
                      <a:pt x="3900857" y="2685232"/>
                    </a:cubicBezTo>
                    <a:cubicBezTo>
                      <a:pt x="3900857" y="2703727"/>
                      <a:pt x="3915898" y="2718767"/>
                      <a:pt x="3934392" y="2718767"/>
                    </a:cubicBezTo>
                    <a:cubicBezTo>
                      <a:pt x="3952885" y="2718767"/>
                      <a:pt x="3967926" y="2703727"/>
                      <a:pt x="3967926" y="2685232"/>
                    </a:cubicBezTo>
                    <a:close/>
                    <a:moveTo>
                      <a:pt x="3970390" y="2093969"/>
                    </a:moveTo>
                    <a:cubicBezTo>
                      <a:pt x="3970390" y="2084349"/>
                      <a:pt x="3962500" y="2076457"/>
                      <a:pt x="3952882" y="2076457"/>
                    </a:cubicBezTo>
                    <a:cubicBezTo>
                      <a:pt x="3943514" y="2076457"/>
                      <a:pt x="3935623" y="2084349"/>
                      <a:pt x="3935623" y="2093969"/>
                    </a:cubicBezTo>
                    <a:cubicBezTo>
                      <a:pt x="3935623" y="2103339"/>
                      <a:pt x="3943268" y="2111231"/>
                      <a:pt x="3952882" y="2111231"/>
                    </a:cubicBezTo>
                    <a:cubicBezTo>
                      <a:pt x="3962500" y="2111231"/>
                      <a:pt x="3970144" y="2103339"/>
                      <a:pt x="3970390" y="2093969"/>
                    </a:cubicBezTo>
                    <a:close/>
                    <a:moveTo>
                      <a:pt x="3972366" y="6669064"/>
                    </a:moveTo>
                    <a:cubicBezTo>
                      <a:pt x="3972366" y="6665860"/>
                      <a:pt x="3969653" y="6663392"/>
                      <a:pt x="3966694" y="6663392"/>
                    </a:cubicBezTo>
                    <a:cubicBezTo>
                      <a:pt x="3963489" y="6663392"/>
                      <a:pt x="3961022" y="6665860"/>
                      <a:pt x="3961022" y="6669064"/>
                    </a:cubicBezTo>
                    <a:cubicBezTo>
                      <a:pt x="3961022" y="6672269"/>
                      <a:pt x="3963489" y="6674734"/>
                      <a:pt x="3966694" y="6674734"/>
                    </a:cubicBezTo>
                    <a:cubicBezTo>
                      <a:pt x="3969898" y="6674734"/>
                      <a:pt x="3972366" y="6672269"/>
                      <a:pt x="3972366" y="6669064"/>
                    </a:cubicBezTo>
                    <a:close/>
                    <a:moveTo>
                      <a:pt x="3974826" y="3762921"/>
                    </a:moveTo>
                    <a:lnTo>
                      <a:pt x="3974581" y="3762921"/>
                    </a:lnTo>
                    <a:lnTo>
                      <a:pt x="3974581" y="3763167"/>
                    </a:lnTo>
                    <a:close/>
                    <a:moveTo>
                      <a:pt x="3974827" y="5184185"/>
                    </a:moveTo>
                    <a:cubicBezTo>
                      <a:pt x="3974827" y="5175554"/>
                      <a:pt x="3967923" y="5168650"/>
                      <a:pt x="3959295" y="5168650"/>
                    </a:cubicBezTo>
                    <a:cubicBezTo>
                      <a:pt x="3950664" y="5168650"/>
                      <a:pt x="3943760" y="5175554"/>
                      <a:pt x="3943760" y="5184185"/>
                    </a:cubicBezTo>
                    <a:cubicBezTo>
                      <a:pt x="3943760" y="5192813"/>
                      <a:pt x="3950664" y="5199717"/>
                      <a:pt x="3959295" y="5199717"/>
                    </a:cubicBezTo>
                    <a:cubicBezTo>
                      <a:pt x="3967678" y="5199717"/>
                      <a:pt x="3974827" y="5192813"/>
                      <a:pt x="3974827" y="5184185"/>
                    </a:cubicBezTo>
                    <a:close/>
                    <a:moveTo>
                      <a:pt x="3978282" y="4672541"/>
                    </a:moveTo>
                    <a:cubicBezTo>
                      <a:pt x="3978282" y="4660704"/>
                      <a:pt x="3968664" y="4650841"/>
                      <a:pt x="3956582" y="4650841"/>
                    </a:cubicBezTo>
                    <a:cubicBezTo>
                      <a:pt x="3944501" y="4650841"/>
                      <a:pt x="3934883" y="4660458"/>
                      <a:pt x="3934883" y="4672541"/>
                    </a:cubicBezTo>
                    <a:cubicBezTo>
                      <a:pt x="3934883" y="4684376"/>
                      <a:pt x="3944501" y="4694239"/>
                      <a:pt x="3956582" y="4694239"/>
                    </a:cubicBezTo>
                    <a:cubicBezTo>
                      <a:pt x="3968418" y="4694239"/>
                      <a:pt x="3978282" y="4684376"/>
                      <a:pt x="3978282" y="4672541"/>
                    </a:cubicBezTo>
                    <a:close/>
                    <a:moveTo>
                      <a:pt x="3978775" y="6790872"/>
                    </a:moveTo>
                    <a:cubicBezTo>
                      <a:pt x="3978775" y="6786435"/>
                      <a:pt x="3975078" y="6782735"/>
                      <a:pt x="3970638" y="6782735"/>
                    </a:cubicBezTo>
                    <a:cubicBezTo>
                      <a:pt x="3966199" y="6782735"/>
                      <a:pt x="3962748" y="6786435"/>
                      <a:pt x="3962748" y="6790872"/>
                    </a:cubicBezTo>
                    <a:cubicBezTo>
                      <a:pt x="3962748" y="6795065"/>
                      <a:pt x="3966199" y="6798762"/>
                      <a:pt x="3970638" y="6798762"/>
                    </a:cubicBezTo>
                    <a:cubicBezTo>
                      <a:pt x="3975078" y="6798762"/>
                      <a:pt x="3978775" y="6795311"/>
                      <a:pt x="3978775" y="6790872"/>
                    </a:cubicBezTo>
                    <a:close/>
                    <a:moveTo>
                      <a:pt x="3980748" y="903670"/>
                    </a:moveTo>
                    <a:cubicBezTo>
                      <a:pt x="3980748" y="878277"/>
                      <a:pt x="3960282" y="857807"/>
                      <a:pt x="3934886" y="857807"/>
                    </a:cubicBezTo>
                    <a:cubicBezTo>
                      <a:pt x="3909488" y="857807"/>
                      <a:pt x="3889022" y="878277"/>
                      <a:pt x="3889022" y="903670"/>
                    </a:cubicBezTo>
                    <a:cubicBezTo>
                      <a:pt x="3889022" y="929070"/>
                      <a:pt x="3909488" y="949535"/>
                      <a:pt x="3934886" y="949535"/>
                    </a:cubicBezTo>
                    <a:cubicBezTo>
                      <a:pt x="3960282" y="949535"/>
                      <a:pt x="3980748" y="928823"/>
                      <a:pt x="3980748" y="903670"/>
                    </a:cubicBezTo>
                    <a:close/>
                    <a:moveTo>
                      <a:pt x="3981979" y="5322514"/>
                    </a:moveTo>
                    <a:cubicBezTo>
                      <a:pt x="3981979" y="5318320"/>
                      <a:pt x="3978528" y="5314869"/>
                      <a:pt x="3974337" y="5314869"/>
                    </a:cubicBezTo>
                    <a:cubicBezTo>
                      <a:pt x="3970144" y="5314869"/>
                      <a:pt x="3966693" y="5318320"/>
                      <a:pt x="3966693" y="5322514"/>
                    </a:cubicBezTo>
                    <a:cubicBezTo>
                      <a:pt x="3966693" y="5326705"/>
                      <a:pt x="3970144" y="5330155"/>
                      <a:pt x="3974337" y="5330155"/>
                    </a:cubicBezTo>
                    <a:cubicBezTo>
                      <a:pt x="3978528" y="5330155"/>
                      <a:pt x="3981979" y="5326951"/>
                      <a:pt x="3981979" y="5322514"/>
                    </a:cubicBezTo>
                    <a:close/>
                    <a:moveTo>
                      <a:pt x="3982226" y="2274703"/>
                    </a:moveTo>
                    <a:cubicBezTo>
                      <a:pt x="3982226" y="2257450"/>
                      <a:pt x="3968172" y="2243399"/>
                      <a:pt x="3950913" y="2243399"/>
                    </a:cubicBezTo>
                    <a:cubicBezTo>
                      <a:pt x="3933651" y="2243399"/>
                      <a:pt x="3919597" y="2257450"/>
                      <a:pt x="3919597" y="2274703"/>
                    </a:cubicBezTo>
                    <a:cubicBezTo>
                      <a:pt x="3919597" y="2291969"/>
                      <a:pt x="3933651" y="2306020"/>
                      <a:pt x="3950913" y="2306020"/>
                    </a:cubicBezTo>
                    <a:cubicBezTo>
                      <a:pt x="3968417" y="2306020"/>
                      <a:pt x="3982474" y="2291969"/>
                      <a:pt x="3982226" y="2274703"/>
                    </a:cubicBezTo>
                    <a:close/>
                    <a:moveTo>
                      <a:pt x="3986170" y="777203"/>
                    </a:moveTo>
                    <a:cubicBezTo>
                      <a:pt x="3986170" y="752300"/>
                      <a:pt x="3965704" y="731827"/>
                      <a:pt x="3940800" y="731827"/>
                    </a:cubicBezTo>
                    <a:cubicBezTo>
                      <a:pt x="3915648" y="731827"/>
                      <a:pt x="3895431" y="752300"/>
                      <a:pt x="3895431" y="777203"/>
                    </a:cubicBezTo>
                    <a:cubicBezTo>
                      <a:pt x="3895431" y="802358"/>
                      <a:pt x="3915897" y="822577"/>
                      <a:pt x="3940800" y="822577"/>
                    </a:cubicBezTo>
                    <a:cubicBezTo>
                      <a:pt x="3965704" y="822577"/>
                      <a:pt x="3986170" y="802109"/>
                      <a:pt x="3986170" y="777203"/>
                    </a:cubicBezTo>
                    <a:close/>
                    <a:moveTo>
                      <a:pt x="3986171" y="1452967"/>
                    </a:moveTo>
                    <a:cubicBezTo>
                      <a:pt x="3986171" y="1426834"/>
                      <a:pt x="3964964" y="1405625"/>
                      <a:pt x="3938829" y="1405625"/>
                    </a:cubicBezTo>
                    <a:cubicBezTo>
                      <a:pt x="3912693" y="1405625"/>
                      <a:pt x="3891486" y="1426834"/>
                      <a:pt x="3891486" y="1452967"/>
                    </a:cubicBezTo>
                    <a:cubicBezTo>
                      <a:pt x="3891486" y="1479100"/>
                      <a:pt x="3912693" y="1500311"/>
                      <a:pt x="3938829" y="1500311"/>
                    </a:cubicBezTo>
                    <a:cubicBezTo>
                      <a:pt x="3964718" y="1500311"/>
                      <a:pt x="3986171" y="1479100"/>
                      <a:pt x="3986171" y="1452967"/>
                    </a:cubicBezTo>
                    <a:close/>
                    <a:moveTo>
                      <a:pt x="3987648" y="4154237"/>
                    </a:moveTo>
                    <a:cubicBezTo>
                      <a:pt x="3987648" y="4151278"/>
                      <a:pt x="3985430" y="4149059"/>
                      <a:pt x="3982472" y="4149059"/>
                    </a:cubicBezTo>
                    <a:cubicBezTo>
                      <a:pt x="3979513" y="4149059"/>
                      <a:pt x="3977294" y="4151278"/>
                      <a:pt x="3977294" y="4154237"/>
                    </a:cubicBezTo>
                    <a:cubicBezTo>
                      <a:pt x="3977294" y="4157195"/>
                      <a:pt x="3979513" y="4159413"/>
                      <a:pt x="3982472" y="4159413"/>
                    </a:cubicBezTo>
                    <a:cubicBezTo>
                      <a:pt x="3985430" y="4159413"/>
                      <a:pt x="3987648" y="4157195"/>
                      <a:pt x="3987648" y="4154237"/>
                    </a:cubicBezTo>
                    <a:close/>
                    <a:moveTo>
                      <a:pt x="3989625" y="7028325"/>
                    </a:moveTo>
                    <a:cubicBezTo>
                      <a:pt x="3989625" y="7025612"/>
                      <a:pt x="3987406" y="7023393"/>
                      <a:pt x="3984693" y="7023393"/>
                    </a:cubicBezTo>
                    <a:cubicBezTo>
                      <a:pt x="3981980" y="7023393"/>
                      <a:pt x="3979761" y="7025612"/>
                      <a:pt x="3979761" y="7028325"/>
                    </a:cubicBezTo>
                    <a:cubicBezTo>
                      <a:pt x="3979761" y="7031037"/>
                      <a:pt x="3981980" y="7033257"/>
                      <a:pt x="3984693" y="7033257"/>
                    </a:cubicBezTo>
                    <a:cubicBezTo>
                      <a:pt x="3987406" y="7033257"/>
                      <a:pt x="3989625" y="7031037"/>
                      <a:pt x="3989625" y="7028325"/>
                    </a:cubicBezTo>
                    <a:close/>
                    <a:moveTo>
                      <a:pt x="3989867" y="5459856"/>
                    </a:moveTo>
                    <a:cubicBezTo>
                      <a:pt x="3989867" y="5458129"/>
                      <a:pt x="3988389" y="5456650"/>
                      <a:pt x="3986663" y="5456650"/>
                    </a:cubicBezTo>
                    <a:cubicBezTo>
                      <a:pt x="3984935" y="5456650"/>
                      <a:pt x="3983457" y="5458129"/>
                      <a:pt x="3983457" y="5459856"/>
                    </a:cubicBezTo>
                    <a:cubicBezTo>
                      <a:pt x="3983457" y="5461582"/>
                      <a:pt x="3984935" y="5463063"/>
                      <a:pt x="3986663" y="5463063"/>
                    </a:cubicBezTo>
                    <a:cubicBezTo>
                      <a:pt x="3988389" y="5463063"/>
                      <a:pt x="3989867" y="5461582"/>
                      <a:pt x="3989867" y="5459856"/>
                    </a:cubicBezTo>
                    <a:close/>
                    <a:moveTo>
                      <a:pt x="3990362" y="3647771"/>
                    </a:moveTo>
                    <a:cubicBezTo>
                      <a:pt x="3990362" y="3647033"/>
                      <a:pt x="3989870" y="3646539"/>
                      <a:pt x="3989129" y="3646539"/>
                    </a:cubicBezTo>
                    <a:cubicBezTo>
                      <a:pt x="3988638" y="3646539"/>
                      <a:pt x="3987897" y="3647033"/>
                      <a:pt x="3987897" y="3647771"/>
                    </a:cubicBezTo>
                    <a:cubicBezTo>
                      <a:pt x="3987897" y="3648512"/>
                      <a:pt x="3988389" y="3649006"/>
                      <a:pt x="3989129" y="3649006"/>
                    </a:cubicBezTo>
                    <a:cubicBezTo>
                      <a:pt x="3989870" y="3649006"/>
                      <a:pt x="3990362" y="3648512"/>
                      <a:pt x="3990362" y="3647771"/>
                    </a:cubicBezTo>
                    <a:close/>
                    <a:moveTo>
                      <a:pt x="3990365" y="3070629"/>
                    </a:moveTo>
                    <a:cubicBezTo>
                      <a:pt x="3990365" y="3048929"/>
                      <a:pt x="3972610" y="3031177"/>
                      <a:pt x="3950912" y="3031177"/>
                    </a:cubicBezTo>
                    <a:cubicBezTo>
                      <a:pt x="3929213" y="3031177"/>
                      <a:pt x="3911460" y="3048929"/>
                      <a:pt x="3911460" y="3070629"/>
                    </a:cubicBezTo>
                    <a:cubicBezTo>
                      <a:pt x="3911460" y="3092328"/>
                      <a:pt x="3929213" y="3110082"/>
                      <a:pt x="3950912" y="3110082"/>
                    </a:cubicBezTo>
                    <a:cubicBezTo>
                      <a:pt x="3972857" y="3110082"/>
                      <a:pt x="3990365" y="3092328"/>
                      <a:pt x="3990365" y="3070629"/>
                    </a:cubicBezTo>
                    <a:close/>
                    <a:moveTo>
                      <a:pt x="3991595" y="6907750"/>
                    </a:moveTo>
                    <a:cubicBezTo>
                      <a:pt x="3991595" y="6902324"/>
                      <a:pt x="3987158" y="6898133"/>
                      <a:pt x="3981980" y="6898133"/>
                    </a:cubicBezTo>
                    <a:cubicBezTo>
                      <a:pt x="3976554" y="6898133"/>
                      <a:pt x="3972363" y="6902572"/>
                      <a:pt x="3972363" y="6907750"/>
                    </a:cubicBezTo>
                    <a:cubicBezTo>
                      <a:pt x="3972363" y="6913174"/>
                      <a:pt x="3976801" y="6917365"/>
                      <a:pt x="3981980" y="6917365"/>
                    </a:cubicBezTo>
                    <a:cubicBezTo>
                      <a:pt x="3987158" y="6917365"/>
                      <a:pt x="3991595" y="6912928"/>
                      <a:pt x="3991595" y="6907750"/>
                    </a:cubicBezTo>
                    <a:close/>
                    <a:moveTo>
                      <a:pt x="3991597" y="652215"/>
                    </a:moveTo>
                    <a:cubicBezTo>
                      <a:pt x="3991597" y="627259"/>
                      <a:pt x="3971131" y="606793"/>
                      <a:pt x="3946227" y="606793"/>
                    </a:cubicBezTo>
                    <a:cubicBezTo>
                      <a:pt x="3921323" y="606793"/>
                      <a:pt x="3900857" y="627259"/>
                      <a:pt x="3900857" y="652215"/>
                    </a:cubicBezTo>
                    <a:cubicBezTo>
                      <a:pt x="3900857" y="677112"/>
                      <a:pt x="3921323" y="697589"/>
                      <a:pt x="3946227" y="697589"/>
                    </a:cubicBezTo>
                    <a:cubicBezTo>
                      <a:pt x="3971379" y="697589"/>
                      <a:pt x="3991597" y="677112"/>
                      <a:pt x="3991597" y="652215"/>
                    </a:cubicBezTo>
                    <a:close/>
                    <a:moveTo>
                      <a:pt x="3992089" y="1320080"/>
                    </a:moveTo>
                    <a:cubicBezTo>
                      <a:pt x="3992089" y="1296406"/>
                      <a:pt x="3972857" y="1277178"/>
                      <a:pt x="3949186" y="1277178"/>
                    </a:cubicBezTo>
                    <a:cubicBezTo>
                      <a:pt x="3925512" y="1277178"/>
                      <a:pt x="3906280" y="1296406"/>
                      <a:pt x="3906280" y="1320080"/>
                    </a:cubicBezTo>
                    <a:cubicBezTo>
                      <a:pt x="3906280" y="1343755"/>
                      <a:pt x="3925512" y="1362979"/>
                      <a:pt x="3949186" y="1362979"/>
                    </a:cubicBezTo>
                    <a:cubicBezTo>
                      <a:pt x="3972857" y="1362979"/>
                      <a:pt x="3992335" y="1343755"/>
                      <a:pt x="3992089" y="1320080"/>
                    </a:cubicBezTo>
                    <a:close/>
                    <a:moveTo>
                      <a:pt x="3994801" y="7148160"/>
                    </a:moveTo>
                    <a:cubicBezTo>
                      <a:pt x="3994801" y="7144461"/>
                      <a:pt x="3991597" y="7141255"/>
                      <a:pt x="3987651" y="7141255"/>
                    </a:cubicBezTo>
                    <a:cubicBezTo>
                      <a:pt x="3983952" y="7141255"/>
                      <a:pt x="3980747" y="7144214"/>
                      <a:pt x="3980747" y="7148160"/>
                    </a:cubicBezTo>
                    <a:cubicBezTo>
                      <a:pt x="3980747" y="7152105"/>
                      <a:pt x="3983706" y="7155309"/>
                      <a:pt x="3987651" y="7155309"/>
                    </a:cubicBezTo>
                    <a:cubicBezTo>
                      <a:pt x="3991350" y="7155309"/>
                      <a:pt x="3994556" y="7152105"/>
                      <a:pt x="3994801" y="7148160"/>
                    </a:cubicBezTo>
                    <a:close/>
                    <a:moveTo>
                      <a:pt x="3994802" y="527417"/>
                    </a:moveTo>
                    <a:cubicBezTo>
                      <a:pt x="3994802" y="503006"/>
                      <a:pt x="3974830" y="483035"/>
                      <a:pt x="3950419" y="483035"/>
                    </a:cubicBezTo>
                    <a:cubicBezTo>
                      <a:pt x="3926007" y="483035"/>
                      <a:pt x="3906035" y="503006"/>
                      <a:pt x="3906035" y="527417"/>
                    </a:cubicBezTo>
                    <a:cubicBezTo>
                      <a:pt x="3906035" y="551828"/>
                      <a:pt x="3926007" y="571799"/>
                      <a:pt x="3950419" y="571799"/>
                    </a:cubicBezTo>
                    <a:cubicBezTo>
                      <a:pt x="3974830" y="571799"/>
                      <a:pt x="3994802" y="551828"/>
                      <a:pt x="3994802" y="527417"/>
                    </a:cubicBezTo>
                    <a:close/>
                    <a:moveTo>
                      <a:pt x="3998501" y="404155"/>
                    </a:moveTo>
                    <a:cubicBezTo>
                      <a:pt x="3998501" y="379994"/>
                      <a:pt x="3978775" y="360269"/>
                      <a:pt x="3954610" y="360269"/>
                    </a:cubicBezTo>
                    <a:cubicBezTo>
                      <a:pt x="3930447" y="360269"/>
                      <a:pt x="3910720" y="379994"/>
                      <a:pt x="3910720" y="404155"/>
                    </a:cubicBezTo>
                    <a:cubicBezTo>
                      <a:pt x="3910720" y="428321"/>
                      <a:pt x="3930447" y="448045"/>
                      <a:pt x="3954610" y="448045"/>
                    </a:cubicBezTo>
                    <a:cubicBezTo>
                      <a:pt x="3978775" y="448045"/>
                      <a:pt x="3998501" y="428321"/>
                      <a:pt x="3998501" y="404155"/>
                    </a:cubicBezTo>
                    <a:close/>
                    <a:moveTo>
                      <a:pt x="3998747" y="5593992"/>
                    </a:moveTo>
                    <a:lnTo>
                      <a:pt x="3998501" y="5593746"/>
                    </a:lnTo>
                    <a:lnTo>
                      <a:pt x="3998501" y="5593992"/>
                    </a:lnTo>
                    <a:close/>
                    <a:moveTo>
                      <a:pt x="3999485" y="3531633"/>
                    </a:moveTo>
                    <a:cubicBezTo>
                      <a:pt x="3999485" y="3529906"/>
                      <a:pt x="3998007" y="3528428"/>
                      <a:pt x="3996280" y="3528428"/>
                    </a:cubicBezTo>
                    <a:cubicBezTo>
                      <a:pt x="3994553" y="3528428"/>
                      <a:pt x="3993075" y="3529906"/>
                      <a:pt x="3993075" y="3531633"/>
                    </a:cubicBezTo>
                    <a:cubicBezTo>
                      <a:pt x="3993075" y="3533360"/>
                      <a:pt x="3994553" y="3534838"/>
                      <a:pt x="3996280" y="3534838"/>
                    </a:cubicBezTo>
                    <a:cubicBezTo>
                      <a:pt x="3998007" y="3534838"/>
                      <a:pt x="3999485" y="3533360"/>
                      <a:pt x="3999485" y="3531633"/>
                    </a:cubicBezTo>
                    <a:close/>
                    <a:moveTo>
                      <a:pt x="4001460" y="2527185"/>
                    </a:moveTo>
                    <a:cubicBezTo>
                      <a:pt x="4001460" y="2513867"/>
                      <a:pt x="3990610" y="2503019"/>
                      <a:pt x="3977294" y="2503019"/>
                    </a:cubicBezTo>
                    <a:cubicBezTo>
                      <a:pt x="3963981" y="2503019"/>
                      <a:pt x="3953131" y="2513867"/>
                      <a:pt x="3953131" y="2527185"/>
                    </a:cubicBezTo>
                    <a:cubicBezTo>
                      <a:pt x="3953131" y="2540497"/>
                      <a:pt x="3963981" y="2551350"/>
                      <a:pt x="3977294" y="2551350"/>
                    </a:cubicBezTo>
                    <a:cubicBezTo>
                      <a:pt x="3990610" y="2551350"/>
                      <a:pt x="4001460" y="2540497"/>
                      <a:pt x="4001460" y="2527185"/>
                    </a:cubicBezTo>
                    <a:close/>
                    <a:moveTo>
                      <a:pt x="4001706" y="281387"/>
                    </a:moveTo>
                    <a:cubicBezTo>
                      <a:pt x="4001706" y="257226"/>
                      <a:pt x="3981979" y="237746"/>
                      <a:pt x="3958062" y="237746"/>
                    </a:cubicBezTo>
                    <a:cubicBezTo>
                      <a:pt x="3934145" y="237746"/>
                      <a:pt x="3914665" y="257471"/>
                      <a:pt x="3914665" y="281387"/>
                    </a:cubicBezTo>
                    <a:cubicBezTo>
                      <a:pt x="3914665" y="305552"/>
                      <a:pt x="3934145" y="325031"/>
                      <a:pt x="3958062" y="325031"/>
                    </a:cubicBezTo>
                    <a:cubicBezTo>
                      <a:pt x="3982226" y="325031"/>
                      <a:pt x="4001706" y="305306"/>
                      <a:pt x="4001706" y="281387"/>
                    </a:cubicBezTo>
                    <a:close/>
                    <a:moveTo>
                      <a:pt x="4002938" y="1949011"/>
                    </a:moveTo>
                    <a:cubicBezTo>
                      <a:pt x="4002938" y="1933223"/>
                      <a:pt x="3990131" y="1920423"/>
                      <a:pt x="3974335" y="1920423"/>
                    </a:cubicBezTo>
                    <a:cubicBezTo>
                      <a:pt x="3958539" y="1920423"/>
                      <a:pt x="3945732" y="1933223"/>
                      <a:pt x="3945732" y="1949011"/>
                    </a:cubicBezTo>
                    <a:cubicBezTo>
                      <a:pt x="3945732" y="1964799"/>
                      <a:pt x="3958539" y="1977599"/>
                      <a:pt x="3974335" y="1977599"/>
                    </a:cubicBezTo>
                    <a:cubicBezTo>
                      <a:pt x="3990131" y="1977599"/>
                      <a:pt x="4002938" y="1964799"/>
                      <a:pt x="4002938" y="1949011"/>
                    </a:cubicBezTo>
                    <a:close/>
                    <a:moveTo>
                      <a:pt x="4004170" y="1188430"/>
                    </a:moveTo>
                    <a:cubicBezTo>
                      <a:pt x="4004170" y="1163034"/>
                      <a:pt x="3983458" y="1142570"/>
                      <a:pt x="3958308" y="1142570"/>
                    </a:cubicBezTo>
                    <a:cubicBezTo>
                      <a:pt x="3932910" y="1142570"/>
                      <a:pt x="3912444" y="1163281"/>
                      <a:pt x="3912444" y="1188430"/>
                    </a:cubicBezTo>
                    <a:cubicBezTo>
                      <a:pt x="3912444" y="1213831"/>
                      <a:pt x="3933157" y="1234297"/>
                      <a:pt x="3958308" y="1234297"/>
                    </a:cubicBezTo>
                    <a:cubicBezTo>
                      <a:pt x="3983458" y="1234297"/>
                      <a:pt x="4003925" y="1213831"/>
                      <a:pt x="4004170" y="1188430"/>
                    </a:cubicBezTo>
                    <a:close/>
                    <a:moveTo>
                      <a:pt x="4004173" y="3184549"/>
                    </a:moveTo>
                    <a:cubicBezTo>
                      <a:pt x="4004173" y="3167535"/>
                      <a:pt x="3990365" y="3153726"/>
                      <a:pt x="3973349" y="3153726"/>
                    </a:cubicBezTo>
                    <a:cubicBezTo>
                      <a:pt x="3956336" y="3153726"/>
                      <a:pt x="3942528" y="3167535"/>
                      <a:pt x="3942528" y="3184549"/>
                    </a:cubicBezTo>
                    <a:cubicBezTo>
                      <a:pt x="3942528" y="3201565"/>
                      <a:pt x="3956336" y="3215373"/>
                      <a:pt x="3973349" y="3215373"/>
                    </a:cubicBezTo>
                    <a:cubicBezTo>
                      <a:pt x="3990365" y="3215373"/>
                      <a:pt x="4004173" y="3201565"/>
                      <a:pt x="4004173" y="3184549"/>
                    </a:cubicBezTo>
                    <a:close/>
                    <a:moveTo>
                      <a:pt x="4004419" y="159609"/>
                    </a:moveTo>
                    <a:cubicBezTo>
                      <a:pt x="4004419" y="135694"/>
                      <a:pt x="3984938" y="116460"/>
                      <a:pt x="3961267" y="116460"/>
                    </a:cubicBezTo>
                    <a:cubicBezTo>
                      <a:pt x="3937348" y="116460"/>
                      <a:pt x="3918116" y="135939"/>
                      <a:pt x="3918116" y="159609"/>
                    </a:cubicBezTo>
                    <a:cubicBezTo>
                      <a:pt x="3918116" y="183525"/>
                      <a:pt x="3937596" y="202759"/>
                      <a:pt x="3961267" y="202759"/>
                    </a:cubicBezTo>
                    <a:cubicBezTo>
                      <a:pt x="3984938" y="202759"/>
                      <a:pt x="4004419" y="183279"/>
                      <a:pt x="4004419" y="159609"/>
                    </a:cubicBezTo>
                    <a:close/>
                    <a:moveTo>
                      <a:pt x="4006885" y="3415592"/>
                    </a:moveTo>
                    <a:cubicBezTo>
                      <a:pt x="4006885" y="3409673"/>
                      <a:pt x="4001953" y="3404743"/>
                      <a:pt x="3996036" y="3404743"/>
                    </a:cubicBezTo>
                    <a:cubicBezTo>
                      <a:pt x="3990118" y="3404743"/>
                      <a:pt x="3985432" y="3409673"/>
                      <a:pt x="3985432" y="3415592"/>
                    </a:cubicBezTo>
                    <a:cubicBezTo>
                      <a:pt x="3985432" y="3421753"/>
                      <a:pt x="3990118" y="3426444"/>
                      <a:pt x="3996036" y="3426444"/>
                    </a:cubicBezTo>
                    <a:cubicBezTo>
                      <a:pt x="4001953" y="3426444"/>
                      <a:pt x="4006639" y="3421507"/>
                      <a:pt x="4006885" y="3415592"/>
                    </a:cubicBezTo>
                    <a:close/>
                    <a:moveTo>
                      <a:pt x="4009102" y="3299701"/>
                    </a:moveTo>
                    <a:cubicBezTo>
                      <a:pt x="4009102" y="3288353"/>
                      <a:pt x="3999733" y="3278984"/>
                      <a:pt x="3988389" y="3278984"/>
                    </a:cubicBezTo>
                    <a:cubicBezTo>
                      <a:pt x="3977048" y="3278984"/>
                      <a:pt x="3967678" y="3288107"/>
                      <a:pt x="3967678" y="3299701"/>
                    </a:cubicBezTo>
                    <a:cubicBezTo>
                      <a:pt x="3967678" y="3311043"/>
                      <a:pt x="3977048" y="3320409"/>
                      <a:pt x="3988389" y="3320409"/>
                    </a:cubicBezTo>
                    <a:cubicBezTo>
                      <a:pt x="3999979" y="3320409"/>
                      <a:pt x="4009102" y="3311043"/>
                      <a:pt x="4009102" y="3299701"/>
                    </a:cubicBezTo>
                    <a:close/>
                    <a:moveTo>
                      <a:pt x="4009104" y="4807418"/>
                    </a:moveTo>
                    <a:cubicBezTo>
                      <a:pt x="4009104" y="4799281"/>
                      <a:pt x="4002446" y="4792377"/>
                      <a:pt x="3994063" y="4792377"/>
                    </a:cubicBezTo>
                    <a:cubicBezTo>
                      <a:pt x="3985679" y="4792377"/>
                      <a:pt x="3978775" y="4799035"/>
                      <a:pt x="3978775" y="4807418"/>
                    </a:cubicBezTo>
                    <a:cubicBezTo>
                      <a:pt x="3978775" y="4815556"/>
                      <a:pt x="3985679" y="4822461"/>
                      <a:pt x="3994063" y="4822461"/>
                    </a:cubicBezTo>
                    <a:cubicBezTo>
                      <a:pt x="4002446" y="4822461"/>
                      <a:pt x="4009104" y="4815802"/>
                      <a:pt x="4009104" y="4807418"/>
                    </a:cubicBezTo>
                    <a:close/>
                    <a:moveTo>
                      <a:pt x="4009597" y="5726158"/>
                    </a:moveTo>
                    <a:cubicBezTo>
                      <a:pt x="4009597" y="5726158"/>
                      <a:pt x="4009597" y="5725911"/>
                      <a:pt x="4009348" y="5725911"/>
                    </a:cubicBezTo>
                    <a:cubicBezTo>
                      <a:pt x="4009348" y="5725911"/>
                      <a:pt x="4009101" y="5725911"/>
                      <a:pt x="4009101" y="5726158"/>
                    </a:cubicBezTo>
                    <a:cubicBezTo>
                      <a:pt x="4009101" y="5726158"/>
                      <a:pt x="4009101" y="5726403"/>
                      <a:pt x="4009348" y="5726403"/>
                    </a:cubicBezTo>
                    <a:cubicBezTo>
                      <a:pt x="4009348" y="5726403"/>
                      <a:pt x="4009597" y="5726403"/>
                      <a:pt x="4009597" y="5726158"/>
                    </a:cubicBezTo>
                    <a:close/>
                    <a:moveTo>
                      <a:pt x="4010088" y="4420292"/>
                    </a:moveTo>
                    <a:cubicBezTo>
                      <a:pt x="4010088" y="4404511"/>
                      <a:pt x="3997266" y="4391689"/>
                      <a:pt x="3981485" y="4391689"/>
                    </a:cubicBezTo>
                    <a:cubicBezTo>
                      <a:pt x="3965704" y="4391689"/>
                      <a:pt x="3952882" y="4404511"/>
                      <a:pt x="3952882" y="4420292"/>
                    </a:cubicBezTo>
                    <a:cubicBezTo>
                      <a:pt x="3952882" y="4436073"/>
                      <a:pt x="3965704" y="4448895"/>
                      <a:pt x="3981485" y="4448895"/>
                    </a:cubicBezTo>
                    <a:cubicBezTo>
                      <a:pt x="3997266" y="4448895"/>
                      <a:pt x="4010088" y="4436073"/>
                      <a:pt x="4010088" y="4420292"/>
                    </a:cubicBezTo>
                    <a:close/>
                    <a:moveTo>
                      <a:pt x="4013047" y="1058992"/>
                    </a:moveTo>
                    <a:cubicBezTo>
                      <a:pt x="4013047" y="1033347"/>
                      <a:pt x="3992335" y="1012397"/>
                      <a:pt x="3966691" y="1012397"/>
                    </a:cubicBezTo>
                    <a:cubicBezTo>
                      <a:pt x="3941047" y="1012397"/>
                      <a:pt x="3920088" y="1033347"/>
                      <a:pt x="3920088" y="1058992"/>
                    </a:cubicBezTo>
                    <a:cubicBezTo>
                      <a:pt x="3920088" y="1084644"/>
                      <a:pt x="3941047" y="1105599"/>
                      <a:pt x="3966691" y="1105599"/>
                    </a:cubicBezTo>
                    <a:cubicBezTo>
                      <a:pt x="3992335" y="1105599"/>
                      <a:pt x="4013047" y="1084644"/>
                      <a:pt x="4013047" y="1058992"/>
                    </a:cubicBezTo>
                    <a:close/>
                    <a:moveTo>
                      <a:pt x="4018228" y="4953885"/>
                    </a:moveTo>
                    <a:cubicBezTo>
                      <a:pt x="4018228" y="4953637"/>
                      <a:pt x="4017982" y="4953390"/>
                      <a:pt x="4017735" y="4953390"/>
                    </a:cubicBezTo>
                    <a:cubicBezTo>
                      <a:pt x="4017487" y="4953390"/>
                      <a:pt x="4017241" y="4953637"/>
                      <a:pt x="4017241" y="4953885"/>
                    </a:cubicBezTo>
                    <a:cubicBezTo>
                      <a:pt x="4017241" y="4954131"/>
                      <a:pt x="4017487" y="4954377"/>
                      <a:pt x="4017735" y="4954377"/>
                    </a:cubicBezTo>
                    <a:cubicBezTo>
                      <a:pt x="4018228" y="4954377"/>
                      <a:pt x="4018228" y="4954131"/>
                      <a:pt x="4018228" y="4953885"/>
                    </a:cubicBezTo>
                    <a:close/>
                    <a:moveTo>
                      <a:pt x="4019708" y="5857089"/>
                    </a:moveTo>
                    <a:cubicBezTo>
                      <a:pt x="4019708" y="5856349"/>
                      <a:pt x="4019213" y="5855857"/>
                      <a:pt x="4018473" y="5855857"/>
                    </a:cubicBezTo>
                    <a:cubicBezTo>
                      <a:pt x="4017735" y="5855857"/>
                      <a:pt x="4017241" y="5856349"/>
                      <a:pt x="4017241" y="5857089"/>
                    </a:cubicBezTo>
                    <a:cubicBezTo>
                      <a:pt x="4017241" y="5857830"/>
                      <a:pt x="4017735" y="5858324"/>
                      <a:pt x="4018473" y="5858324"/>
                    </a:cubicBezTo>
                    <a:cubicBezTo>
                      <a:pt x="4019213" y="5858324"/>
                      <a:pt x="4019954" y="5857830"/>
                      <a:pt x="4019708" y="5857089"/>
                    </a:cubicBezTo>
                    <a:close/>
                    <a:moveTo>
                      <a:pt x="4019951" y="2792249"/>
                    </a:moveTo>
                    <a:cubicBezTo>
                      <a:pt x="4019951" y="2769809"/>
                      <a:pt x="4001706" y="2751564"/>
                      <a:pt x="3979267" y="2751564"/>
                    </a:cubicBezTo>
                    <a:cubicBezTo>
                      <a:pt x="3956828" y="2751564"/>
                      <a:pt x="3938582" y="2769809"/>
                      <a:pt x="3938582" y="2792249"/>
                    </a:cubicBezTo>
                    <a:cubicBezTo>
                      <a:pt x="3938582" y="2814690"/>
                      <a:pt x="3956828" y="2832935"/>
                      <a:pt x="3979267" y="2832935"/>
                    </a:cubicBezTo>
                    <a:cubicBezTo>
                      <a:pt x="4001706" y="2832935"/>
                      <a:pt x="4019951" y="2814690"/>
                      <a:pt x="4019951" y="2792249"/>
                    </a:cubicBezTo>
                    <a:close/>
                    <a:moveTo>
                      <a:pt x="4023650" y="4044510"/>
                    </a:moveTo>
                    <a:cubicBezTo>
                      <a:pt x="4023650" y="4042540"/>
                      <a:pt x="4022171" y="4041059"/>
                      <a:pt x="4020197" y="4041059"/>
                    </a:cubicBezTo>
                    <a:cubicBezTo>
                      <a:pt x="4018223" y="4041059"/>
                      <a:pt x="4016746" y="4042540"/>
                      <a:pt x="4016746" y="4044510"/>
                    </a:cubicBezTo>
                    <a:cubicBezTo>
                      <a:pt x="4016746" y="4046485"/>
                      <a:pt x="4018223" y="4047963"/>
                      <a:pt x="4020197" y="4047963"/>
                    </a:cubicBezTo>
                    <a:cubicBezTo>
                      <a:pt x="4022171" y="4047963"/>
                      <a:pt x="4023650" y="4046485"/>
                      <a:pt x="4023650" y="4044510"/>
                    </a:cubicBezTo>
                    <a:close/>
                    <a:moveTo>
                      <a:pt x="4033022" y="2187183"/>
                    </a:moveTo>
                    <a:cubicBezTo>
                      <a:pt x="4033022" y="2181269"/>
                      <a:pt x="4028336" y="2176582"/>
                      <a:pt x="4022418" y="2176582"/>
                    </a:cubicBezTo>
                    <a:cubicBezTo>
                      <a:pt x="4016500" y="2176582"/>
                      <a:pt x="4011815" y="2181519"/>
                      <a:pt x="4011815" y="2187183"/>
                    </a:cubicBezTo>
                    <a:cubicBezTo>
                      <a:pt x="4011815" y="2193102"/>
                      <a:pt x="4016500" y="2197790"/>
                      <a:pt x="4022418" y="2197790"/>
                    </a:cubicBezTo>
                    <a:cubicBezTo>
                      <a:pt x="4028336" y="2197790"/>
                      <a:pt x="4033022" y="2193102"/>
                      <a:pt x="4033022" y="2187183"/>
                    </a:cubicBezTo>
                    <a:close/>
                    <a:moveTo>
                      <a:pt x="4036964" y="1807053"/>
                    </a:moveTo>
                    <a:cubicBezTo>
                      <a:pt x="4036964" y="1782879"/>
                      <a:pt x="4017238" y="1763393"/>
                      <a:pt x="3993321" y="1763393"/>
                    </a:cubicBezTo>
                    <a:cubicBezTo>
                      <a:pt x="3969158" y="1763393"/>
                      <a:pt x="3949678" y="1783123"/>
                      <a:pt x="3949678" y="1807053"/>
                    </a:cubicBezTo>
                    <a:cubicBezTo>
                      <a:pt x="3949678" y="1831220"/>
                      <a:pt x="3969404" y="1850695"/>
                      <a:pt x="3993321" y="1850695"/>
                    </a:cubicBezTo>
                    <a:cubicBezTo>
                      <a:pt x="4017238" y="1850695"/>
                      <a:pt x="4036719" y="1831220"/>
                      <a:pt x="4036964" y="1807053"/>
                    </a:cubicBezTo>
                    <a:close/>
                    <a:moveTo>
                      <a:pt x="4038694" y="5979391"/>
                    </a:moveTo>
                    <a:cubicBezTo>
                      <a:pt x="4038694" y="5978404"/>
                      <a:pt x="4037954" y="5977417"/>
                      <a:pt x="4036722" y="5977417"/>
                    </a:cubicBezTo>
                    <a:cubicBezTo>
                      <a:pt x="4035735" y="5977417"/>
                      <a:pt x="4034748" y="5978159"/>
                      <a:pt x="4034748" y="5979391"/>
                    </a:cubicBezTo>
                    <a:cubicBezTo>
                      <a:pt x="4034748" y="5980376"/>
                      <a:pt x="4035489" y="5981363"/>
                      <a:pt x="4036722" y="5981363"/>
                    </a:cubicBezTo>
                    <a:cubicBezTo>
                      <a:pt x="4037954" y="5981363"/>
                      <a:pt x="4038694" y="5980376"/>
                      <a:pt x="4038694" y="5979391"/>
                    </a:cubicBezTo>
                    <a:close/>
                    <a:moveTo>
                      <a:pt x="4041404" y="1667717"/>
                    </a:moveTo>
                    <a:cubicBezTo>
                      <a:pt x="4041404" y="1650210"/>
                      <a:pt x="4027350" y="1636159"/>
                      <a:pt x="4009842" y="1636159"/>
                    </a:cubicBezTo>
                    <a:cubicBezTo>
                      <a:pt x="3992583" y="1636159"/>
                      <a:pt x="3978280" y="1650210"/>
                      <a:pt x="3978280" y="1667717"/>
                    </a:cubicBezTo>
                    <a:cubicBezTo>
                      <a:pt x="3978280" y="1685228"/>
                      <a:pt x="3992335" y="1699281"/>
                      <a:pt x="4009842" y="1699281"/>
                    </a:cubicBezTo>
                    <a:cubicBezTo>
                      <a:pt x="4027350" y="1699281"/>
                      <a:pt x="4041404" y="1685228"/>
                      <a:pt x="4041404" y="1667717"/>
                    </a:cubicBezTo>
                    <a:close/>
                    <a:moveTo>
                      <a:pt x="4044856" y="4574896"/>
                    </a:moveTo>
                    <a:cubicBezTo>
                      <a:pt x="4044856" y="4560350"/>
                      <a:pt x="4033021" y="4548760"/>
                      <a:pt x="4018721" y="4548760"/>
                    </a:cubicBezTo>
                    <a:cubicBezTo>
                      <a:pt x="4004172" y="4548760"/>
                      <a:pt x="3992582" y="4560596"/>
                      <a:pt x="3992582" y="4574896"/>
                    </a:cubicBezTo>
                    <a:cubicBezTo>
                      <a:pt x="3992582" y="4589445"/>
                      <a:pt x="4004418" y="4601035"/>
                      <a:pt x="4018721" y="4601035"/>
                    </a:cubicBezTo>
                    <a:cubicBezTo>
                      <a:pt x="4033021" y="4601035"/>
                      <a:pt x="4044856" y="4589199"/>
                      <a:pt x="4044856" y="4574896"/>
                    </a:cubicBezTo>
                    <a:close/>
                    <a:moveTo>
                      <a:pt x="4045844" y="6107859"/>
                    </a:moveTo>
                    <a:cubicBezTo>
                      <a:pt x="4045844" y="6106872"/>
                      <a:pt x="4044857" y="6105886"/>
                      <a:pt x="4043871" y="6105886"/>
                    </a:cubicBezTo>
                    <a:cubicBezTo>
                      <a:pt x="4042885" y="6105886"/>
                      <a:pt x="4041898" y="6106872"/>
                      <a:pt x="4041898" y="6107859"/>
                    </a:cubicBezTo>
                    <a:cubicBezTo>
                      <a:pt x="4041898" y="6108844"/>
                      <a:pt x="4042885" y="6109831"/>
                      <a:pt x="4043871" y="6109831"/>
                    </a:cubicBezTo>
                    <a:cubicBezTo>
                      <a:pt x="4045103" y="6109831"/>
                      <a:pt x="4046090" y="6109090"/>
                      <a:pt x="4045844" y="6107859"/>
                    </a:cubicBezTo>
                    <a:close/>
                    <a:moveTo>
                      <a:pt x="4052748" y="6235584"/>
                    </a:moveTo>
                    <a:cubicBezTo>
                      <a:pt x="4052748" y="6234103"/>
                      <a:pt x="4051513" y="6232871"/>
                      <a:pt x="4050035" y="6232871"/>
                    </a:cubicBezTo>
                    <a:cubicBezTo>
                      <a:pt x="4048554" y="6232871"/>
                      <a:pt x="4047322" y="6234103"/>
                      <a:pt x="4047322" y="6235584"/>
                    </a:cubicBezTo>
                    <a:cubicBezTo>
                      <a:pt x="4047322" y="6237062"/>
                      <a:pt x="4048554" y="6238297"/>
                      <a:pt x="4050035" y="6238297"/>
                    </a:cubicBezTo>
                    <a:cubicBezTo>
                      <a:pt x="4051513" y="6238297"/>
                      <a:pt x="4052748" y="6237062"/>
                      <a:pt x="4052748" y="6235584"/>
                    </a:cubicBezTo>
                    <a:close/>
                    <a:moveTo>
                      <a:pt x="4053734" y="3932813"/>
                    </a:moveTo>
                    <a:cubicBezTo>
                      <a:pt x="4053734" y="3931331"/>
                      <a:pt x="4052502" y="3930099"/>
                      <a:pt x="4051021" y="3930099"/>
                    </a:cubicBezTo>
                    <a:cubicBezTo>
                      <a:pt x="4049294" y="3930099"/>
                      <a:pt x="4048062" y="3931331"/>
                      <a:pt x="4048062" y="3932813"/>
                    </a:cubicBezTo>
                    <a:cubicBezTo>
                      <a:pt x="4048062" y="3934291"/>
                      <a:pt x="4049543" y="3935525"/>
                      <a:pt x="4051021" y="3935525"/>
                    </a:cubicBezTo>
                    <a:cubicBezTo>
                      <a:pt x="4052747" y="3935525"/>
                      <a:pt x="4053979" y="3934291"/>
                      <a:pt x="4053734" y="3932813"/>
                    </a:cubicBezTo>
                    <a:close/>
                    <a:moveTo>
                      <a:pt x="4054226" y="5098377"/>
                    </a:moveTo>
                    <a:cubicBezTo>
                      <a:pt x="4054226" y="5089251"/>
                      <a:pt x="4047076" y="5082101"/>
                      <a:pt x="4037953" y="5082101"/>
                    </a:cubicBezTo>
                    <a:cubicBezTo>
                      <a:pt x="4028828" y="5082101"/>
                      <a:pt x="4021678" y="5089499"/>
                      <a:pt x="4021678" y="5098377"/>
                    </a:cubicBezTo>
                    <a:cubicBezTo>
                      <a:pt x="4021678" y="5107499"/>
                      <a:pt x="4029076" y="5114649"/>
                      <a:pt x="4037953" y="5114649"/>
                    </a:cubicBezTo>
                    <a:cubicBezTo>
                      <a:pt x="4046829" y="5114649"/>
                      <a:pt x="4053979" y="5107254"/>
                      <a:pt x="4054226" y="5098377"/>
                    </a:cubicBezTo>
                    <a:close/>
                    <a:moveTo>
                      <a:pt x="4058417" y="2371608"/>
                    </a:moveTo>
                    <a:cubicBezTo>
                      <a:pt x="4058417" y="2346965"/>
                      <a:pt x="4038199" y="2326970"/>
                      <a:pt x="4013541" y="2326970"/>
                    </a:cubicBezTo>
                    <a:cubicBezTo>
                      <a:pt x="3988635" y="2326970"/>
                      <a:pt x="3968663" y="2346965"/>
                      <a:pt x="3968663" y="2371608"/>
                    </a:cubicBezTo>
                    <a:cubicBezTo>
                      <a:pt x="3968663" y="2396511"/>
                      <a:pt x="3988884" y="2416485"/>
                      <a:pt x="4013541" y="2416485"/>
                    </a:cubicBezTo>
                    <a:cubicBezTo>
                      <a:pt x="4038445" y="2416485"/>
                      <a:pt x="4058417" y="2396511"/>
                      <a:pt x="4058417" y="2371608"/>
                    </a:cubicBezTo>
                    <a:close/>
                    <a:moveTo>
                      <a:pt x="4059649" y="6361584"/>
                    </a:moveTo>
                    <a:cubicBezTo>
                      <a:pt x="4059649" y="6359857"/>
                      <a:pt x="4058172" y="6358379"/>
                      <a:pt x="4056445" y="6358379"/>
                    </a:cubicBezTo>
                    <a:cubicBezTo>
                      <a:pt x="4054717" y="6358379"/>
                      <a:pt x="4053239" y="6359857"/>
                      <a:pt x="4053239" y="6361584"/>
                    </a:cubicBezTo>
                    <a:cubicBezTo>
                      <a:pt x="4053239" y="6363311"/>
                      <a:pt x="4054717" y="6364792"/>
                      <a:pt x="4056445" y="6364792"/>
                    </a:cubicBezTo>
                    <a:cubicBezTo>
                      <a:pt x="4058172" y="6364792"/>
                      <a:pt x="4059649" y="6363311"/>
                      <a:pt x="4059649" y="6361584"/>
                    </a:cubicBezTo>
                    <a:close/>
                    <a:moveTo>
                      <a:pt x="4059652" y="2630749"/>
                    </a:moveTo>
                    <a:cubicBezTo>
                      <a:pt x="4059652" y="2613735"/>
                      <a:pt x="4045843" y="2599926"/>
                      <a:pt x="4028828" y="2599926"/>
                    </a:cubicBezTo>
                    <a:cubicBezTo>
                      <a:pt x="4011815" y="2599926"/>
                      <a:pt x="3998006" y="2613735"/>
                      <a:pt x="3998006" y="2630749"/>
                    </a:cubicBezTo>
                    <a:cubicBezTo>
                      <a:pt x="3998006" y="2647766"/>
                      <a:pt x="4011815" y="2661575"/>
                      <a:pt x="4028828" y="2661575"/>
                    </a:cubicBezTo>
                    <a:cubicBezTo>
                      <a:pt x="4045843" y="2661575"/>
                      <a:pt x="4059403" y="2647766"/>
                      <a:pt x="4059652" y="2630749"/>
                    </a:cubicBezTo>
                    <a:close/>
                    <a:moveTo>
                      <a:pt x="4065075" y="5239912"/>
                    </a:moveTo>
                    <a:cubicBezTo>
                      <a:pt x="4065075" y="5234732"/>
                      <a:pt x="4060884" y="5230541"/>
                      <a:pt x="4055706" y="5230541"/>
                    </a:cubicBezTo>
                    <a:cubicBezTo>
                      <a:pt x="4050526" y="5230541"/>
                      <a:pt x="4046335" y="5234732"/>
                      <a:pt x="4046335" y="5239912"/>
                    </a:cubicBezTo>
                    <a:cubicBezTo>
                      <a:pt x="4046335" y="5245090"/>
                      <a:pt x="4050526" y="5249281"/>
                      <a:pt x="4055706" y="5249281"/>
                    </a:cubicBezTo>
                    <a:cubicBezTo>
                      <a:pt x="4060884" y="5249281"/>
                      <a:pt x="4065075" y="5245090"/>
                      <a:pt x="4065075" y="5239912"/>
                    </a:cubicBezTo>
                    <a:close/>
                    <a:moveTo>
                      <a:pt x="4066065" y="6486845"/>
                    </a:moveTo>
                    <a:cubicBezTo>
                      <a:pt x="4066065" y="6484531"/>
                      <a:pt x="4064187" y="6482654"/>
                      <a:pt x="4061870" y="6482654"/>
                    </a:cubicBezTo>
                    <a:cubicBezTo>
                      <a:pt x="4059557" y="6482654"/>
                      <a:pt x="4057679" y="6484531"/>
                      <a:pt x="4057679" y="6486845"/>
                    </a:cubicBezTo>
                    <a:cubicBezTo>
                      <a:pt x="4057679" y="6489162"/>
                      <a:pt x="4059557" y="6491039"/>
                      <a:pt x="4061870" y="6491039"/>
                    </a:cubicBezTo>
                    <a:cubicBezTo>
                      <a:pt x="4064187" y="6491039"/>
                      <a:pt x="4066065" y="6489162"/>
                      <a:pt x="4066065" y="6486845"/>
                    </a:cubicBezTo>
                    <a:close/>
                    <a:moveTo>
                      <a:pt x="4066310" y="69884"/>
                    </a:moveTo>
                    <a:cubicBezTo>
                      <a:pt x="4066310" y="46217"/>
                      <a:pt x="4047076" y="26983"/>
                      <a:pt x="4023404" y="26983"/>
                    </a:cubicBezTo>
                    <a:cubicBezTo>
                      <a:pt x="3999733" y="26983"/>
                      <a:pt x="3980501" y="46217"/>
                      <a:pt x="3980501" y="69884"/>
                    </a:cubicBezTo>
                    <a:cubicBezTo>
                      <a:pt x="3980501" y="93557"/>
                      <a:pt x="3999733" y="112787"/>
                      <a:pt x="4023404" y="112787"/>
                    </a:cubicBezTo>
                    <a:cubicBezTo>
                      <a:pt x="4047076" y="112787"/>
                      <a:pt x="4066310" y="93557"/>
                      <a:pt x="4066310" y="69884"/>
                    </a:cubicBezTo>
                    <a:close/>
                    <a:moveTo>
                      <a:pt x="4068774" y="2901732"/>
                    </a:moveTo>
                    <a:cubicBezTo>
                      <a:pt x="4068774" y="2873375"/>
                      <a:pt x="4045843" y="2850443"/>
                      <a:pt x="4017487" y="2850443"/>
                    </a:cubicBezTo>
                    <a:cubicBezTo>
                      <a:pt x="3989129" y="2850443"/>
                      <a:pt x="3966198" y="2873375"/>
                      <a:pt x="3966198" y="2901732"/>
                    </a:cubicBezTo>
                    <a:cubicBezTo>
                      <a:pt x="3966198" y="2930090"/>
                      <a:pt x="3989129" y="2953021"/>
                      <a:pt x="4017487" y="2953021"/>
                    </a:cubicBezTo>
                    <a:cubicBezTo>
                      <a:pt x="4045597" y="2953021"/>
                      <a:pt x="4068774" y="2930090"/>
                      <a:pt x="4068774" y="2901732"/>
                    </a:cubicBezTo>
                    <a:close/>
                    <a:moveTo>
                      <a:pt x="4070007" y="2039229"/>
                    </a:moveTo>
                    <a:cubicBezTo>
                      <a:pt x="4070007" y="2026898"/>
                      <a:pt x="4060144" y="2017031"/>
                      <a:pt x="4047814" y="2017031"/>
                    </a:cubicBezTo>
                    <a:cubicBezTo>
                      <a:pt x="4035486" y="2017031"/>
                      <a:pt x="4025623" y="2026898"/>
                      <a:pt x="4025623" y="2039229"/>
                    </a:cubicBezTo>
                    <a:cubicBezTo>
                      <a:pt x="4025623" y="2051559"/>
                      <a:pt x="4035486" y="2061425"/>
                      <a:pt x="4047814" y="2061425"/>
                    </a:cubicBezTo>
                    <a:cubicBezTo>
                      <a:pt x="4060144" y="2061425"/>
                      <a:pt x="4070007" y="2051559"/>
                      <a:pt x="4070007" y="2039229"/>
                    </a:cubicBezTo>
                    <a:close/>
                    <a:moveTo>
                      <a:pt x="4071979" y="4316239"/>
                    </a:moveTo>
                    <a:cubicBezTo>
                      <a:pt x="4071979" y="4294294"/>
                      <a:pt x="4054226" y="4276540"/>
                      <a:pt x="4032528" y="4276540"/>
                    </a:cubicBezTo>
                    <a:cubicBezTo>
                      <a:pt x="4010582" y="4276540"/>
                      <a:pt x="3992829" y="4294294"/>
                      <a:pt x="3992829" y="4316239"/>
                    </a:cubicBezTo>
                    <a:cubicBezTo>
                      <a:pt x="3992829" y="4337937"/>
                      <a:pt x="4010582" y="4355690"/>
                      <a:pt x="4032528" y="4355690"/>
                    </a:cubicBezTo>
                    <a:cubicBezTo>
                      <a:pt x="4054226" y="4355690"/>
                      <a:pt x="4071979" y="4337937"/>
                      <a:pt x="4071979" y="4316239"/>
                    </a:cubicBezTo>
                    <a:close/>
                    <a:moveTo>
                      <a:pt x="4072474" y="1530889"/>
                    </a:moveTo>
                    <a:cubicBezTo>
                      <a:pt x="4072474" y="1504501"/>
                      <a:pt x="4051021" y="1483295"/>
                      <a:pt x="4024882" y="1483295"/>
                    </a:cubicBezTo>
                    <a:cubicBezTo>
                      <a:pt x="3998501" y="1483295"/>
                      <a:pt x="3977294" y="1504749"/>
                      <a:pt x="3977294" y="1530889"/>
                    </a:cubicBezTo>
                    <a:cubicBezTo>
                      <a:pt x="3977294" y="1557267"/>
                      <a:pt x="3998747" y="1578475"/>
                      <a:pt x="4024882" y="1578475"/>
                    </a:cubicBezTo>
                    <a:cubicBezTo>
                      <a:pt x="4051021" y="1578475"/>
                      <a:pt x="4072225" y="1557022"/>
                      <a:pt x="4072474" y="1530889"/>
                    </a:cubicBezTo>
                    <a:close/>
                    <a:moveTo>
                      <a:pt x="4072719" y="6610873"/>
                    </a:moveTo>
                    <a:cubicBezTo>
                      <a:pt x="4072719" y="6607665"/>
                      <a:pt x="4070255" y="6605201"/>
                      <a:pt x="4067050" y="6605201"/>
                    </a:cubicBezTo>
                    <a:cubicBezTo>
                      <a:pt x="4063843" y="6605201"/>
                      <a:pt x="4061378" y="6607665"/>
                      <a:pt x="4061378" y="6610873"/>
                    </a:cubicBezTo>
                    <a:cubicBezTo>
                      <a:pt x="4061378" y="6614078"/>
                      <a:pt x="4063843" y="6616542"/>
                      <a:pt x="4067050" y="6616542"/>
                    </a:cubicBezTo>
                    <a:cubicBezTo>
                      <a:pt x="4070255" y="6616542"/>
                      <a:pt x="4072719" y="6614078"/>
                      <a:pt x="4072719" y="6610873"/>
                    </a:cubicBezTo>
                    <a:close/>
                    <a:moveTo>
                      <a:pt x="4072968" y="5379719"/>
                    </a:moveTo>
                    <a:cubicBezTo>
                      <a:pt x="4072968" y="5378487"/>
                      <a:pt x="4071979" y="5377500"/>
                      <a:pt x="4070747" y="5377500"/>
                    </a:cubicBezTo>
                    <a:cubicBezTo>
                      <a:pt x="4069515" y="5377500"/>
                      <a:pt x="4068528" y="5378487"/>
                      <a:pt x="4068528" y="5379719"/>
                    </a:cubicBezTo>
                    <a:cubicBezTo>
                      <a:pt x="4068528" y="5380951"/>
                      <a:pt x="4069515" y="5381937"/>
                      <a:pt x="4070747" y="5381937"/>
                    </a:cubicBezTo>
                    <a:cubicBezTo>
                      <a:pt x="4071979" y="5381937"/>
                      <a:pt x="4072968" y="5380951"/>
                      <a:pt x="4072968" y="5379719"/>
                    </a:cubicBezTo>
                    <a:close/>
                    <a:moveTo>
                      <a:pt x="4074200" y="1395533"/>
                    </a:moveTo>
                    <a:cubicBezTo>
                      <a:pt x="4074200" y="1375319"/>
                      <a:pt x="4057678" y="1358791"/>
                      <a:pt x="4037459" y="1358791"/>
                    </a:cubicBezTo>
                    <a:cubicBezTo>
                      <a:pt x="4017240" y="1358791"/>
                      <a:pt x="4000719" y="1375319"/>
                      <a:pt x="4000719" y="1395533"/>
                    </a:cubicBezTo>
                    <a:cubicBezTo>
                      <a:pt x="4000719" y="1415755"/>
                      <a:pt x="4017240" y="1432270"/>
                      <a:pt x="4037459" y="1432270"/>
                    </a:cubicBezTo>
                    <a:cubicBezTo>
                      <a:pt x="4057678" y="1432270"/>
                      <a:pt x="4074200" y="1415755"/>
                      <a:pt x="4074200" y="1395533"/>
                    </a:cubicBezTo>
                    <a:close/>
                    <a:moveTo>
                      <a:pt x="4076665" y="970989"/>
                    </a:moveTo>
                    <a:cubicBezTo>
                      <a:pt x="4076665" y="945344"/>
                      <a:pt x="4055457" y="924390"/>
                      <a:pt x="4029813" y="924390"/>
                    </a:cubicBezTo>
                    <a:cubicBezTo>
                      <a:pt x="4004170" y="924390"/>
                      <a:pt x="3983212" y="945344"/>
                      <a:pt x="3983212" y="970989"/>
                    </a:cubicBezTo>
                    <a:cubicBezTo>
                      <a:pt x="3983212" y="996877"/>
                      <a:pt x="4004170" y="1017846"/>
                      <a:pt x="4029813" y="1017846"/>
                    </a:cubicBezTo>
                    <a:cubicBezTo>
                      <a:pt x="4055706" y="1017846"/>
                      <a:pt x="4076665" y="996877"/>
                      <a:pt x="4076665" y="970989"/>
                    </a:cubicBezTo>
                    <a:close/>
                    <a:moveTo>
                      <a:pt x="4080118" y="4711746"/>
                    </a:moveTo>
                    <a:cubicBezTo>
                      <a:pt x="4080118" y="4700896"/>
                      <a:pt x="4071241" y="4692265"/>
                      <a:pt x="4060637" y="4692265"/>
                    </a:cubicBezTo>
                    <a:cubicBezTo>
                      <a:pt x="4049788" y="4692265"/>
                      <a:pt x="4041157" y="4700896"/>
                      <a:pt x="4041157" y="4711746"/>
                    </a:cubicBezTo>
                    <a:cubicBezTo>
                      <a:pt x="4041157" y="4722594"/>
                      <a:pt x="4050034" y="4731225"/>
                      <a:pt x="4060637" y="4731225"/>
                    </a:cubicBezTo>
                    <a:cubicBezTo>
                      <a:pt x="4071487" y="4731225"/>
                      <a:pt x="4080118" y="4722349"/>
                      <a:pt x="4080118" y="4711746"/>
                    </a:cubicBezTo>
                    <a:close/>
                    <a:moveTo>
                      <a:pt x="4080118" y="6733911"/>
                    </a:moveTo>
                    <a:cubicBezTo>
                      <a:pt x="4080118" y="6729229"/>
                      <a:pt x="4076418" y="6725530"/>
                      <a:pt x="4071733" y="6725530"/>
                    </a:cubicBezTo>
                    <a:cubicBezTo>
                      <a:pt x="4067050" y="6725530"/>
                      <a:pt x="4063350" y="6729475"/>
                      <a:pt x="4063350" y="6733911"/>
                    </a:cubicBezTo>
                    <a:cubicBezTo>
                      <a:pt x="4063350" y="6738598"/>
                      <a:pt x="4067296" y="6742297"/>
                      <a:pt x="4071733" y="6742297"/>
                    </a:cubicBezTo>
                    <a:cubicBezTo>
                      <a:pt x="4076172" y="6742297"/>
                      <a:pt x="4079871" y="6738598"/>
                      <a:pt x="4080118" y="6733911"/>
                    </a:cubicBezTo>
                    <a:close/>
                    <a:moveTo>
                      <a:pt x="4080856" y="3819142"/>
                    </a:moveTo>
                    <a:cubicBezTo>
                      <a:pt x="4080856" y="3815937"/>
                      <a:pt x="4078146" y="3813469"/>
                      <a:pt x="4075187" y="3813469"/>
                    </a:cubicBezTo>
                    <a:cubicBezTo>
                      <a:pt x="4071979" y="3813469"/>
                      <a:pt x="4069515" y="3815937"/>
                      <a:pt x="4069515" y="3819142"/>
                    </a:cubicBezTo>
                    <a:cubicBezTo>
                      <a:pt x="4069515" y="3822347"/>
                      <a:pt x="4071979" y="3824814"/>
                      <a:pt x="4075187" y="3824814"/>
                    </a:cubicBezTo>
                    <a:cubicBezTo>
                      <a:pt x="4078146" y="3824814"/>
                      <a:pt x="4080610" y="3822347"/>
                      <a:pt x="4080856" y="3819142"/>
                    </a:cubicBezTo>
                    <a:close/>
                    <a:moveTo>
                      <a:pt x="4083322" y="842552"/>
                    </a:moveTo>
                    <a:cubicBezTo>
                      <a:pt x="4083322" y="816904"/>
                      <a:pt x="4062610" y="796192"/>
                      <a:pt x="4036966" y="796192"/>
                    </a:cubicBezTo>
                    <a:cubicBezTo>
                      <a:pt x="4011322" y="796192"/>
                      <a:pt x="3990610" y="816904"/>
                      <a:pt x="3990610" y="842552"/>
                    </a:cubicBezTo>
                    <a:cubicBezTo>
                      <a:pt x="3990610" y="868186"/>
                      <a:pt x="4011322" y="888899"/>
                      <a:pt x="4036966" y="888899"/>
                    </a:cubicBezTo>
                    <a:cubicBezTo>
                      <a:pt x="4062610" y="888899"/>
                      <a:pt x="4083322" y="867941"/>
                      <a:pt x="4083322" y="842552"/>
                    </a:cubicBezTo>
                    <a:close/>
                    <a:moveTo>
                      <a:pt x="4085787" y="5516569"/>
                    </a:moveTo>
                    <a:cubicBezTo>
                      <a:pt x="4085787" y="5516074"/>
                      <a:pt x="4085541" y="5515828"/>
                      <a:pt x="4085049" y="5515828"/>
                    </a:cubicBezTo>
                    <a:cubicBezTo>
                      <a:pt x="4084555" y="5515828"/>
                      <a:pt x="4084309" y="5516074"/>
                      <a:pt x="4084309" y="5516569"/>
                    </a:cubicBezTo>
                    <a:cubicBezTo>
                      <a:pt x="4084309" y="5517060"/>
                      <a:pt x="4084555" y="5517306"/>
                      <a:pt x="4085049" y="5517306"/>
                    </a:cubicBezTo>
                    <a:cubicBezTo>
                      <a:pt x="4085296" y="5517306"/>
                      <a:pt x="4085787" y="5517060"/>
                      <a:pt x="4085787" y="5516569"/>
                    </a:cubicBezTo>
                    <a:close/>
                    <a:moveTo>
                      <a:pt x="4089732" y="715335"/>
                    </a:moveTo>
                    <a:cubicBezTo>
                      <a:pt x="4089732" y="689939"/>
                      <a:pt x="4069020" y="669226"/>
                      <a:pt x="4043625" y="669226"/>
                    </a:cubicBezTo>
                    <a:cubicBezTo>
                      <a:pt x="4018227" y="669226"/>
                      <a:pt x="3997515" y="689939"/>
                      <a:pt x="3997515" y="715335"/>
                    </a:cubicBezTo>
                    <a:cubicBezTo>
                      <a:pt x="3997515" y="740737"/>
                      <a:pt x="4018227" y="761443"/>
                      <a:pt x="4043625" y="761443"/>
                    </a:cubicBezTo>
                    <a:cubicBezTo>
                      <a:pt x="4069020" y="761443"/>
                      <a:pt x="4089732" y="740737"/>
                      <a:pt x="4089732" y="715335"/>
                    </a:cubicBezTo>
                    <a:close/>
                    <a:moveTo>
                      <a:pt x="4089732" y="1261408"/>
                    </a:moveTo>
                    <a:cubicBezTo>
                      <a:pt x="4089732" y="1238491"/>
                      <a:pt x="4071239" y="1219995"/>
                      <a:pt x="4048308" y="1219995"/>
                    </a:cubicBezTo>
                    <a:cubicBezTo>
                      <a:pt x="4025378" y="1219995"/>
                      <a:pt x="4006883" y="1238491"/>
                      <a:pt x="4006883" y="1261408"/>
                    </a:cubicBezTo>
                    <a:cubicBezTo>
                      <a:pt x="4006883" y="1284343"/>
                      <a:pt x="4025623" y="1302839"/>
                      <a:pt x="4048308" y="1302839"/>
                    </a:cubicBezTo>
                    <a:cubicBezTo>
                      <a:pt x="4071239" y="1302839"/>
                      <a:pt x="4089732" y="1284343"/>
                      <a:pt x="4089732" y="1261408"/>
                    </a:cubicBezTo>
                    <a:close/>
                    <a:moveTo>
                      <a:pt x="4090965" y="4861418"/>
                    </a:moveTo>
                    <a:cubicBezTo>
                      <a:pt x="4090965" y="4860186"/>
                      <a:pt x="4089979" y="4859199"/>
                      <a:pt x="4088747" y="4859199"/>
                    </a:cubicBezTo>
                    <a:cubicBezTo>
                      <a:pt x="4087515" y="4859199"/>
                      <a:pt x="4086528" y="4860186"/>
                      <a:pt x="4086528" y="4861418"/>
                    </a:cubicBezTo>
                    <a:cubicBezTo>
                      <a:pt x="4086528" y="4862650"/>
                      <a:pt x="4087515" y="4863636"/>
                      <a:pt x="4088747" y="4863636"/>
                    </a:cubicBezTo>
                    <a:cubicBezTo>
                      <a:pt x="4089979" y="4863636"/>
                      <a:pt x="4090965" y="4862650"/>
                      <a:pt x="4090965" y="4861418"/>
                    </a:cubicBezTo>
                    <a:close/>
                    <a:moveTo>
                      <a:pt x="4092446" y="6974078"/>
                    </a:moveTo>
                    <a:cubicBezTo>
                      <a:pt x="4092446" y="6971365"/>
                      <a:pt x="4090227" y="6969146"/>
                      <a:pt x="4087515" y="6969146"/>
                    </a:cubicBezTo>
                    <a:cubicBezTo>
                      <a:pt x="4084801" y="6969146"/>
                      <a:pt x="4082582" y="6971365"/>
                      <a:pt x="4082582" y="6974078"/>
                    </a:cubicBezTo>
                    <a:cubicBezTo>
                      <a:pt x="4082582" y="6976791"/>
                      <a:pt x="4084801" y="6979009"/>
                      <a:pt x="4087515" y="6979009"/>
                    </a:cubicBezTo>
                    <a:cubicBezTo>
                      <a:pt x="4090227" y="6979009"/>
                      <a:pt x="4092691" y="6976791"/>
                      <a:pt x="4092446" y="6974078"/>
                    </a:cubicBezTo>
                    <a:close/>
                    <a:moveTo>
                      <a:pt x="4092941" y="2284333"/>
                    </a:moveTo>
                    <a:cubicBezTo>
                      <a:pt x="4092941" y="2281128"/>
                      <a:pt x="4090228" y="2278411"/>
                      <a:pt x="4087022" y="2278411"/>
                    </a:cubicBezTo>
                    <a:cubicBezTo>
                      <a:pt x="4083818" y="2278411"/>
                      <a:pt x="4081105" y="2281128"/>
                      <a:pt x="4081105" y="2284333"/>
                    </a:cubicBezTo>
                    <a:cubicBezTo>
                      <a:pt x="4081105" y="2287540"/>
                      <a:pt x="4083818" y="2290248"/>
                      <a:pt x="4087022" y="2290248"/>
                    </a:cubicBezTo>
                    <a:cubicBezTo>
                      <a:pt x="4090228" y="2290248"/>
                      <a:pt x="4092941" y="2287540"/>
                      <a:pt x="4092941" y="2284333"/>
                    </a:cubicBezTo>
                    <a:close/>
                    <a:moveTo>
                      <a:pt x="4094172" y="588814"/>
                    </a:moveTo>
                    <a:cubicBezTo>
                      <a:pt x="4094172" y="563663"/>
                      <a:pt x="4073706" y="543446"/>
                      <a:pt x="4048803" y="543446"/>
                    </a:cubicBezTo>
                    <a:cubicBezTo>
                      <a:pt x="4023653" y="543446"/>
                      <a:pt x="4003432" y="563912"/>
                      <a:pt x="4003432" y="588814"/>
                    </a:cubicBezTo>
                    <a:cubicBezTo>
                      <a:pt x="4003432" y="613965"/>
                      <a:pt x="4023899" y="634183"/>
                      <a:pt x="4048803" y="634183"/>
                    </a:cubicBezTo>
                    <a:cubicBezTo>
                      <a:pt x="4073955" y="634183"/>
                      <a:pt x="4094172" y="613965"/>
                      <a:pt x="4094172" y="588814"/>
                    </a:cubicBezTo>
                    <a:close/>
                    <a:moveTo>
                      <a:pt x="4094172" y="6852022"/>
                    </a:moveTo>
                    <a:cubicBezTo>
                      <a:pt x="4094172" y="6846353"/>
                      <a:pt x="4089487" y="6841914"/>
                      <a:pt x="4084063" y="6841914"/>
                    </a:cubicBezTo>
                    <a:cubicBezTo>
                      <a:pt x="4078637" y="6841914"/>
                      <a:pt x="4074200" y="6846599"/>
                      <a:pt x="4074200" y="6852022"/>
                    </a:cubicBezTo>
                    <a:cubicBezTo>
                      <a:pt x="4074200" y="6857448"/>
                      <a:pt x="4078637" y="6861886"/>
                      <a:pt x="4084063" y="6861886"/>
                    </a:cubicBezTo>
                    <a:cubicBezTo>
                      <a:pt x="4089487" y="6861886"/>
                      <a:pt x="4093927" y="6857448"/>
                      <a:pt x="4094172" y="6852022"/>
                    </a:cubicBezTo>
                    <a:close/>
                    <a:moveTo>
                      <a:pt x="4095401" y="3013433"/>
                    </a:moveTo>
                    <a:cubicBezTo>
                      <a:pt x="4095401" y="2987789"/>
                      <a:pt x="4074443" y="2966830"/>
                      <a:pt x="4048800" y="2966830"/>
                    </a:cubicBezTo>
                    <a:cubicBezTo>
                      <a:pt x="4023156" y="2966830"/>
                      <a:pt x="4002197" y="2987789"/>
                      <a:pt x="4002197" y="3013433"/>
                    </a:cubicBezTo>
                    <a:cubicBezTo>
                      <a:pt x="4002197" y="3039079"/>
                      <a:pt x="4023156" y="3060037"/>
                      <a:pt x="4048800" y="3060037"/>
                    </a:cubicBezTo>
                    <a:cubicBezTo>
                      <a:pt x="4074443" y="3060037"/>
                      <a:pt x="4095401" y="3039079"/>
                      <a:pt x="4095401" y="3013433"/>
                    </a:cubicBezTo>
                    <a:close/>
                    <a:moveTo>
                      <a:pt x="4097872" y="5651199"/>
                    </a:moveTo>
                    <a:cubicBezTo>
                      <a:pt x="4097872" y="5651199"/>
                      <a:pt x="4097872" y="5650952"/>
                      <a:pt x="4097623" y="5650952"/>
                    </a:cubicBezTo>
                    <a:cubicBezTo>
                      <a:pt x="4097377" y="5650952"/>
                      <a:pt x="4097377" y="5650952"/>
                      <a:pt x="4097377" y="5651199"/>
                    </a:cubicBezTo>
                    <a:cubicBezTo>
                      <a:pt x="4097377" y="5651447"/>
                      <a:pt x="4097377" y="5651447"/>
                      <a:pt x="4097623" y="5651447"/>
                    </a:cubicBezTo>
                    <a:cubicBezTo>
                      <a:pt x="4097872" y="5651447"/>
                      <a:pt x="4098118" y="5651447"/>
                      <a:pt x="4097872" y="5651199"/>
                    </a:cubicBezTo>
                    <a:close/>
                    <a:moveTo>
                      <a:pt x="4098115" y="7095394"/>
                    </a:moveTo>
                    <a:cubicBezTo>
                      <a:pt x="4098115" y="7091449"/>
                      <a:pt x="4094910" y="7088244"/>
                      <a:pt x="4090965" y="7088244"/>
                    </a:cubicBezTo>
                    <a:cubicBezTo>
                      <a:pt x="4087019" y="7088244"/>
                      <a:pt x="4083815" y="7091449"/>
                      <a:pt x="4083815" y="7095394"/>
                    </a:cubicBezTo>
                    <a:cubicBezTo>
                      <a:pt x="4083815" y="7099339"/>
                      <a:pt x="4087019" y="7102544"/>
                      <a:pt x="4090965" y="7102544"/>
                    </a:cubicBezTo>
                    <a:cubicBezTo>
                      <a:pt x="4094910" y="7102544"/>
                      <a:pt x="4098363" y="7099339"/>
                      <a:pt x="4098115" y="7095394"/>
                    </a:cubicBezTo>
                    <a:close/>
                    <a:moveTo>
                      <a:pt x="4099104" y="463578"/>
                    </a:moveTo>
                    <a:cubicBezTo>
                      <a:pt x="4099104" y="438675"/>
                      <a:pt x="4078884" y="418704"/>
                      <a:pt x="4054226" y="418704"/>
                    </a:cubicBezTo>
                    <a:cubicBezTo>
                      <a:pt x="4029322" y="418704"/>
                      <a:pt x="4009350" y="438921"/>
                      <a:pt x="4009350" y="463578"/>
                    </a:cubicBezTo>
                    <a:cubicBezTo>
                      <a:pt x="4009350" y="488235"/>
                      <a:pt x="4029568" y="508454"/>
                      <a:pt x="4054226" y="508454"/>
                    </a:cubicBezTo>
                    <a:cubicBezTo>
                      <a:pt x="4078884" y="508454"/>
                      <a:pt x="4098858" y="488482"/>
                      <a:pt x="4099104" y="463578"/>
                    </a:cubicBezTo>
                    <a:close/>
                    <a:moveTo>
                      <a:pt x="4101814" y="3704239"/>
                    </a:moveTo>
                    <a:cubicBezTo>
                      <a:pt x="4101814" y="3698813"/>
                      <a:pt x="4097378" y="3694621"/>
                      <a:pt x="4092200" y="3694621"/>
                    </a:cubicBezTo>
                    <a:cubicBezTo>
                      <a:pt x="4086774" y="3694621"/>
                      <a:pt x="4082582" y="3699059"/>
                      <a:pt x="4082582" y="3704239"/>
                    </a:cubicBezTo>
                    <a:cubicBezTo>
                      <a:pt x="4082582" y="3709662"/>
                      <a:pt x="4087020" y="3713853"/>
                      <a:pt x="4092200" y="3713853"/>
                    </a:cubicBezTo>
                    <a:cubicBezTo>
                      <a:pt x="4097378" y="3713853"/>
                      <a:pt x="4101814" y="3709662"/>
                      <a:pt x="4101814" y="3704239"/>
                    </a:cubicBezTo>
                    <a:close/>
                    <a:moveTo>
                      <a:pt x="4102803" y="339331"/>
                    </a:moveTo>
                    <a:cubicBezTo>
                      <a:pt x="4102803" y="314920"/>
                      <a:pt x="4082831" y="294949"/>
                      <a:pt x="4058419" y="294949"/>
                    </a:cubicBezTo>
                    <a:cubicBezTo>
                      <a:pt x="4034007" y="294949"/>
                      <a:pt x="4014035" y="314920"/>
                      <a:pt x="4014035" y="339331"/>
                    </a:cubicBezTo>
                    <a:cubicBezTo>
                      <a:pt x="4014035" y="363741"/>
                      <a:pt x="4034007" y="383712"/>
                      <a:pt x="4058419" y="383712"/>
                    </a:cubicBezTo>
                    <a:cubicBezTo>
                      <a:pt x="4083077" y="383712"/>
                      <a:pt x="4102803" y="363987"/>
                      <a:pt x="4102803" y="339331"/>
                    </a:cubicBezTo>
                    <a:close/>
                    <a:moveTo>
                      <a:pt x="4104033" y="1129521"/>
                    </a:moveTo>
                    <a:cubicBezTo>
                      <a:pt x="4104033" y="1104326"/>
                      <a:pt x="4083611" y="1083904"/>
                      <a:pt x="4058417" y="1083904"/>
                    </a:cubicBezTo>
                    <a:cubicBezTo>
                      <a:pt x="4033224" y="1083904"/>
                      <a:pt x="4012801" y="1104326"/>
                      <a:pt x="4012801" y="1129521"/>
                    </a:cubicBezTo>
                    <a:cubicBezTo>
                      <a:pt x="4012801" y="1154715"/>
                      <a:pt x="4033224" y="1175134"/>
                      <a:pt x="4058417" y="1175134"/>
                    </a:cubicBezTo>
                    <a:cubicBezTo>
                      <a:pt x="4083611" y="1175134"/>
                      <a:pt x="4104033" y="1154715"/>
                      <a:pt x="4104033" y="1129521"/>
                    </a:cubicBezTo>
                    <a:close/>
                    <a:moveTo>
                      <a:pt x="4106500" y="216072"/>
                    </a:moveTo>
                    <a:cubicBezTo>
                      <a:pt x="4106500" y="191910"/>
                      <a:pt x="4086774" y="172184"/>
                      <a:pt x="4062608" y="172184"/>
                    </a:cubicBezTo>
                    <a:cubicBezTo>
                      <a:pt x="4038445" y="172184"/>
                      <a:pt x="4018719" y="191910"/>
                      <a:pt x="4018719" y="216072"/>
                    </a:cubicBezTo>
                    <a:cubicBezTo>
                      <a:pt x="4018719" y="240236"/>
                      <a:pt x="4038445" y="259961"/>
                      <a:pt x="4062608" y="259961"/>
                    </a:cubicBezTo>
                    <a:cubicBezTo>
                      <a:pt x="4086774" y="259961"/>
                      <a:pt x="4106500" y="240236"/>
                      <a:pt x="4106500" y="216072"/>
                    </a:cubicBezTo>
                    <a:close/>
                    <a:moveTo>
                      <a:pt x="4110199" y="5784348"/>
                    </a:moveTo>
                    <a:cubicBezTo>
                      <a:pt x="4110199" y="5783610"/>
                      <a:pt x="4109458" y="5783116"/>
                      <a:pt x="4108718" y="5783116"/>
                    </a:cubicBezTo>
                    <a:cubicBezTo>
                      <a:pt x="4107980" y="5783116"/>
                      <a:pt x="4107486" y="5783610"/>
                      <a:pt x="4107486" y="5784348"/>
                    </a:cubicBezTo>
                    <a:cubicBezTo>
                      <a:pt x="4107486" y="5785337"/>
                      <a:pt x="4107980" y="5785829"/>
                      <a:pt x="4108718" y="5785829"/>
                    </a:cubicBezTo>
                    <a:cubicBezTo>
                      <a:pt x="4109458" y="5785829"/>
                      <a:pt x="4110199" y="5785337"/>
                      <a:pt x="4110199" y="5784348"/>
                    </a:cubicBezTo>
                    <a:close/>
                    <a:moveTo>
                      <a:pt x="4110444" y="4474047"/>
                    </a:moveTo>
                    <a:cubicBezTo>
                      <a:pt x="4110444" y="4454816"/>
                      <a:pt x="4094912" y="4439280"/>
                      <a:pt x="4075678" y="4439280"/>
                    </a:cubicBezTo>
                    <a:cubicBezTo>
                      <a:pt x="4056447" y="4439280"/>
                      <a:pt x="4040912" y="4454816"/>
                      <a:pt x="4040912" y="4474047"/>
                    </a:cubicBezTo>
                    <a:cubicBezTo>
                      <a:pt x="4040912" y="4493281"/>
                      <a:pt x="4056447" y="4508813"/>
                      <a:pt x="4075678" y="4508813"/>
                    </a:cubicBezTo>
                    <a:cubicBezTo>
                      <a:pt x="4094912" y="4508813"/>
                      <a:pt x="4110444" y="4493281"/>
                      <a:pt x="4110444" y="4474047"/>
                    </a:cubicBezTo>
                    <a:close/>
                    <a:moveTo>
                      <a:pt x="4110691" y="2737273"/>
                    </a:moveTo>
                    <a:cubicBezTo>
                      <a:pt x="4110691" y="2717054"/>
                      <a:pt x="4094170" y="2700779"/>
                      <a:pt x="4074198" y="2700779"/>
                    </a:cubicBezTo>
                    <a:cubicBezTo>
                      <a:pt x="4053979" y="2700779"/>
                      <a:pt x="4037704" y="2717299"/>
                      <a:pt x="4037704" y="2737273"/>
                    </a:cubicBezTo>
                    <a:cubicBezTo>
                      <a:pt x="4037704" y="2757494"/>
                      <a:pt x="4054226" y="2773767"/>
                      <a:pt x="4074198" y="2773767"/>
                    </a:cubicBezTo>
                    <a:cubicBezTo>
                      <a:pt x="4094170" y="2773767"/>
                      <a:pt x="4110691" y="2757494"/>
                      <a:pt x="4110691" y="2737273"/>
                    </a:cubicBezTo>
                    <a:close/>
                    <a:moveTo>
                      <a:pt x="4112418" y="1894316"/>
                    </a:moveTo>
                    <a:cubicBezTo>
                      <a:pt x="4112418" y="1871150"/>
                      <a:pt x="4093432" y="1852175"/>
                      <a:pt x="4070255" y="1852175"/>
                    </a:cubicBezTo>
                    <a:cubicBezTo>
                      <a:pt x="4047075" y="1852175"/>
                      <a:pt x="4028090" y="1871150"/>
                      <a:pt x="4028090" y="1894316"/>
                    </a:cubicBezTo>
                    <a:cubicBezTo>
                      <a:pt x="4028090" y="1917481"/>
                      <a:pt x="4047075" y="1936457"/>
                      <a:pt x="4070255" y="1936457"/>
                    </a:cubicBezTo>
                    <a:cubicBezTo>
                      <a:pt x="4093432" y="1936457"/>
                      <a:pt x="4112172" y="1917727"/>
                      <a:pt x="4112418" y="1894316"/>
                    </a:cubicBezTo>
                    <a:close/>
                    <a:moveTo>
                      <a:pt x="4114145" y="3126615"/>
                    </a:moveTo>
                    <a:cubicBezTo>
                      <a:pt x="4114145" y="3104175"/>
                      <a:pt x="4095897" y="3085930"/>
                      <a:pt x="4073458" y="3085930"/>
                    </a:cubicBezTo>
                    <a:cubicBezTo>
                      <a:pt x="4051022" y="3085930"/>
                      <a:pt x="4032773" y="3104175"/>
                      <a:pt x="4032773" y="3126615"/>
                    </a:cubicBezTo>
                    <a:cubicBezTo>
                      <a:pt x="4032773" y="3149300"/>
                      <a:pt x="4051022" y="3167549"/>
                      <a:pt x="4073458" y="3167549"/>
                    </a:cubicBezTo>
                    <a:cubicBezTo>
                      <a:pt x="4095897" y="3167549"/>
                      <a:pt x="4114145" y="3149300"/>
                      <a:pt x="4114145" y="3126615"/>
                    </a:cubicBezTo>
                    <a:close/>
                    <a:moveTo>
                      <a:pt x="4115625" y="1752062"/>
                    </a:moveTo>
                    <a:cubicBezTo>
                      <a:pt x="4115625" y="1737745"/>
                      <a:pt x="4104035" y="1726143"/>
                      <a:pt x="4089732" y="1726143"/>
                    </a:cubicBezTo>
                    <a:cubicBezTo>
                      <a:pt x="4075432" y="1726143"/>
                      <a:pt x="4063843" y="1737745"/>
                      <a:pt x="4063843" y="1752062"/>
                    </a:cubicBezTo>
                    <a:cubicBezTo>
                      <a:pt x="4063843" y="1766375"/>
                      <a:pt x="4075432" y="1777977"/>
                      <a:pt x="4089732" y="1777977"/>
                    </a:cubicBezTo>
                    <a:cubicBezTo>
                      <a:pt x="4104035" y="1777977"/>
                      <a:pt x="4115625" y="1766375"/>
                      <a:pt x="4115625" y="1752062"/>
                    </a:cubicBezTo>
                    <a:close/>
                    <a:moveTo>
                      <a:pt x="4116857" y="3588841"/>
                    </a:moveTo>
                    <a:cubicBezTo>
                      <a:pt x="4116857" y="3580951"/>
                      <a:pt x="4110445" y="3574292"/>
                      <a:pt x="4102309" y="3574292"/>
                    </a:cubicBezTo>
                    <a:cubicBezTo>
                      <a:pt x="4094419" y="3574292"/>
                      <a:pt x="4087760" y="3580702"/>
                      <a:pt x="4087760" y="3588841"/>
                    </a:cubicBezTo>
                    <a:cubicBezTo>
                      <a:pt x="4087760" y="3596731"/>
                      <a:pt x="4094172" y="3603386"/>
                      <a:pt x="4102309" y="3603386"/>
                    </a:cubicBezTo>
                    <a:cubicBezTo>
                      <a:pt x="4110445" y="3603386"/>
                      <a:pt x="4116857" y="3596977"/>
                      <a:pt x="4116857" y="3588841"/>
                    </a:cubicBezTo>
                    <a:close/>
                    <a:moveTo>
                      <a:pt x="4119323" y="2472214"/>
                    </a:moveTo>
                    <a:cubicBezTo>
                      <a:pt x="4119323" y="2445581"/>
                      <a:pt x="4097624" y="2423877"/>
                      <a:pt x="4070994" y="2423877"/>
                    </a:cubicBezTo>
                    <a:cubicBezTo>
                      <a:pt x="4044363" y="2423877"/>
                      <a:pt x="4022664" y="2445581"/>
                      <a:pt x="4022664" y="2472214"/>
                    </a:cubicBezTo>
                    <a:cubicBezTo>
                      <a:pt x="4022664" y="2498841"/>
                      <a:pt x="4044363" y="2520540"/>
                      <a:pt x="4070994" y="2520540"/>
                    </a:cubicBezTo>
                    <a:cubicBezTo>
                      <a:pt x="4097624" y="2520540"/>
                      <a:pt x="4119323" y="2498841"/>
                      <a:pt x="4119323" y="2472214"/>
                    </a:cubicBezTo>
                    <a:close/>
                    <a:moveTo>
                      <a:pt x="4125240" y="3241525"/>
                    </a:moveTo>
                    <a:cubicBezTo>
                      <a:pt x="4125240" y="3222785"/>
                      <a:pt x="4109953" y="3207248"/>
                      <a:pt x="4090968" y="3207248"/>
                    </a:cubicBezTo>
                    <a:cubicBezTo>
                      <a:pt x="4071979" y="3207248"/>
                      <a:pt x="4056693" y="3222535"/>
                      <a:pt x="4056693" y="3241525"/>
                    </a:cubicBezTo>
                    <a:cubicBezTo>
                      <a:pt x="4056693" y="3260505"/>
                      <a:pt x="4071979" y="3275793"/>
                      <a:pt x="4090968" y="3275793"/>
                    </a:cubicBezTo>
                    <a:cubicBezTo>
                      <a:pt x="4109953" y="3275793"/>
                      <a:pt x="4125487" y="3260260"/>
                      <a:pt x="4125240" y="3241525"/>
                    </a:cubicBezTo>
                    <a:close/>
                    <a:moveTo>
                      <a:pt x="4125981" y="4209469"/>
                    </a:moveTo>
                    <a:cubicBezTo>
                      <a:pt x="4125981" y="4182593"/>
                      <a:pt x="4104033" y="4160894"/>
                      <a:pt x="4077403" y="4160894"/>
                    </a:cubicBezTo>
                    <a:cubicBezTo>
                      <a:pt x="4050526" y="4160894"/>
                      <a:pt x="4028828" y="4182593"/>
                      <a:pt x="4028828" y="4209469"/>
                    </a:cubicBezTo>
                    <a:cubicBezTo>
                      <a:pt x="4028828" y="4236349"/>
                      <a:pt x="4050526" y="4258047"/>
                      <a:pt x="4077403" y="4258047"/>
                    </a:cubicBezTo>
                    <a:cubicBezTo>
                      <a:pt x="4104279" y="4258047"/>
                      <a:pt x="4125981" y="4236349"/>
                      <a:pt x="4125981" y="4209469"/>
                    </a:cubicBezTo>
                    <a:close/>
                    <a:moveTo>
                      <a:pt x="4126471" y="3472703"/>
                    </a:moveTo>
                    <a:cubicBezTo>
                      <a:pt x="4126471" y="3461229"/>
                      <a:pt x="4117102" y="3451846"/>
                      <a:pt x="4105513" y="3451846"/>
                    </a:cubicBezTo>
                    <a:cubicBezTo>
                      <a:pt x="4093923" y="3451846"/>
                      <a:pt x="4084555" y="3461229"/>
                      <a:pt x="4084555" y="3472703"/>
                    </a:cubicBezTo>
                    <a:cubicBezTo>
                      <a:pt x="4084555" y="3484292"/>
                      <a:pt x="4093923" y="3493661"/>
                      <a:pt x="4105513" y="3493661"/>
                    </a:cubicBezTo>
                    <a:cubicBezTo>
                      <a:pt x="4117102" y="3493661"/>
                      <a:pt x="4126471" y="3484292"/>
                      <a:pt x="4126471" y="3472703"/>
                    </a:cubicBezTo>
                    <a:close/>
                    <a:moveTo>
                      <a:pt x="4129431" y="5009115"/>
                    </a:moveTo>
                    <a:cubicBezTo>
                      <a:pt x="4129431" y="4999993"/>
                      <a:pt x="4121786" y="4992348"/>
                      <a:pt x="4112418" y="4992348"/>
                    </a:cubicBezTo>
                    <a:cubicBezTo>
                      <a:pt x="4103294" y="4992348"/>
                      <a:pt x="4095650" y="4999746"/>
                      <a:pt x="4095650" y="5009115"/>
                    </a:cubicBezTo>
                    <a:cubicBezTo>
                      <a:pt x="4095650" y="5018484"/>
                      <a:pt x="4103049" y="5026128"/>
                      <a:pt x="4112418" y="5026128"/>
                    </a:cubicBezTo>
                    <a:cubicBezTo>
                      <a:pt x="4121786" y="5026128"/>
                      <a:pt x="4129431" y="5018484"/>
                      <a:pt x="4129431" y="5009115"/>
                    </a:cubicBezTo>
                    <a:close/>
                    <a:moveTo>
                      <a:pt x="4129434" y="3356919"/>
                    </a:moveTo>
                    <a:cubicBezTo>
                      <a:pt x="4129434" y="3341628"/>
                      <a:pt x="4117103" y="3329301"/>
                      <a:pt x="4101816" y="3329301"/>
                    </a:cubicBezTo>
                    <a:cubicBezTo>
                      <a:pt x="4086530" y="3329301"/>
                      <a:pt x="4074200" y="3341628"/>
                      <a:pt x="4074200" y="3356919"/>
                    </a:cubicBezTo>
                    <a:cubicBezTo>
                      <a:pt x="4074200" y="3372185"/>
                      <a:pt x="4086530" y="3384525"/>
                      <a:pt x="4101816" y="3384525"/>
                    </a:cubicBezTo>
                    <a:cubicBezTo>
                      <a:pt x="4117103" y="3384525"/>
                      <a:pt x="4129434" y="3372185"/>
                      <a:pt x="4129434" y="3356919"/>
                    </a:cubicBezTo>
                    <a:close/>
                    <a:moveTo>
                      <a:pt x="4130663" y="5908377"/>
                    </a:moveTo>
                    <a:cubicBezTo>
                      <a:pt x="4130663" y="5907145"/>
                      <a:pt x="4129925" y="5906404"/>
                      <a:pt x="4128938" y="5906404"/>
                    </a:cubicBezTo>
                    <a:cubicBezTo>
                      <a:pt x="4127953" y="5906404"/>
                      <a:pt x="4127212" y="5907391"/>
                      <a:pt x="4127212" y="5908377"/>
                    </a:cubicBezTo>
                    <a:cubicBezTo>
                      <a:pt x="4127212" y="5909363"/>
                      <a:pt x="4127953" y="5910103"/>
                      <a:pt x="4128938" y="5910103"/>
                    </a:cubicBezTo>
                    <a:cubicBezTo>
                      <a:pt x="4129925" y="5910103"/>
                      <a:pt x="4130663" y="5909363"/>
                      <a:pt x="4130663" y="5908377"/>
                    </a:cubicBezTo>
                    <a:close/>
                    <a:moveTo>
                      <a:pt x="4133131" y="2133189"/>
                    </a:moveTo>
                    <a:cubicBezTo>
                      <a:pt x="4133131" y="2124317"/>
                      <a:pt x="4125735" y="2116917"/>
                      <a:pt x="4116857" y="2116917"/>
                    </a:cubicBezTo>
                    <a:cubicBezTo>
                      <a:pt x="4107981" y="2116917"/>
                      <a:pt x="4100582" y="2124069"/>
                      <a:pt x="4100582" y="2133189"/>
                    </a:cubicBezTo>
                    <a:cubicBezTo>
                      <a:pt x="4100582" y="2142069"/>
                      <a:pt x="4107732" y="2149467"/>
                      <a:pt x="4116857" y="2149467"/>
                    </a:cubicBezTo>
                    <a:cubicBezTo>
                      <a:pt x="4125735" y="2149467"/>
                      <a:pt x="4133131" y="2142069"/>
                      <a:pt x="4133131" y="2133189"/>
                    </a:cubicBezTo>
                    <a:close/>
                    <a:moveTo>
                      <a:pt x="4139294" y="6039064"/>
                    </a:moveTo>
                    <a:cubicBezTo>
                      <a:pt x="4139294" y="6038078"/>
                      <a:pt x="4138557" y="6037336"/>
                      <a:pt x="4137569" y="6037336"/>
                    </a:cubicBezTo>
                    <a:cubicBezTo>
                      <a:pt x="4136584" y="6037336"/>
                      <a:pt x="4135843" y="6038078"/>
                      <a:pt x="4135843" y="6039064"/>
                    </a:cubicBezTo>
                    <a:cubicBezTo>
                      <a:pt x="4135843" y="6040050"/>
                      <a:pt x="4136584" y="6040791"/>
                      <a:pt x="4137569" y="6040791"/>
                    </a:cubicBezTo>
                    <a:cubicBezTo>
                      <a:pt x="4138557" y="6040791"/>
                      <a:pt x="4139294" y="6040050"/>
                      <a:pt x="4139294" y="6039064"/>
                    </a:cubicBezTo>
                    <a:close/>
                    <a:moveTo>
                      <a:pt x="4145214" y="5153610"/>
                    </a:moveTo>
                    <a:cubicBezTo>
                      <a:pt x="4145214" y="5147198"/>
                      <a:pt x="4140033" y="5142020"/>
                      <a:pt x="4133624" y="5142020"/>
                    </a:cubicBezTo>
                    <a:cubicBezTo>
                      <a:pt x="4127212" y="5142020"/>
                      <a:pt x="4122034" y="5147198"/>
                      <a:pt x="4122034" y="5153610"/>
                    </a:cubicBezTo>
                    <a:cubicBezTo>
                      <a:pt x="4122034" y="5160020"/>
                      <a:pt x="4127212" y="5165199"/>
                      <a:pt x="4133624" y="5165199"/>
                    </a:cubicBezTo>
                    <a:cubicBezTo>
                      <a:pt x="4140033" y="5165199"/>
                      <a:pt x="4145214" y="5160020"/>
                      <a:pt x="4145214" y="5153610"/>
                    </a:cubicBezTo>
                    <a:close/>
                    <a:moveTo>
                      <a:pt x="4147925" y="4612869"/>
                    </a:moveTo>
                    <a:cubicBezTo>
                      <a:pt x="4147925" y="4598815"/>
                      <a:pt x="4136335" y="4587225"/>
                      <a:pt x="4122281" y="4587225"/>
                    </a:cubicBezTo>
                    <a:cubicBezTo>
                      <a:pt x="4107981" y="4587225"/>
                      <a:pt x="4096637" y="4598566"/>
                      <a:pt x="4096637" y="4612869"/>
                    </a:cubicBezTo>
                    <a:cubicBezTo>
                      <a:pt x="4096637" y="4626923"/>
                      <a:pt x="4108226" y="4638513"/>
                      <a:pt x="4122281" y="4638513"/>
                    </a:cubicBezTo>
                    <a:cubicBezTo>
                      <a:pt x="4136584" y="4638513"/>
                      <a:pt x="4147925" y="4626923"/>
                      <a:pt x="4147925" y="4612869"/>
                    </a:cubicBezTo>
                    <a:close/>
                    <a:moveTo>
                      <a:pt x="4147925" y="6168762"/>
                    </a:moveTo>
                    <a:cubicBezTo>
                      <a:pt x="4147925" y="6167281"/>
                      <a:pt x="4146693" y="6165801"/>
                      <a:pt x="4144965" y="6165801"/>
                    </a:cubicBezTo>
                    <a:cubicBezTo>
                      <a:pt x="4143238" y="6165801"/>
                      <a:pt x="4142006" y="6167034"/>
                      <a:pt x="4142006" y="6168762"/>
                    </a:cubicBezTo>
                    <a:cubicBezTo>
                      <a:pt x="4142006" y="6170488"/>
                      <a:pt x="4143238" y="6171720"/>
                      <a:pt x="4144965" y="6171720"/>
                    </a:cubicBezTo>
                    <a:cubicBezTo>
                      <a:pt x="4146693" y="6171720"/>
                      <a:pt x="4147925" y="6170488"/>
                      <a:pt x="4147925" y="6168762"/>
                    </a:cubicBezTo>
                    <a:close/>
                    <a:moveTo>
                      <a:pt x="4149651" y="2384444"/>
                    </a:moveTo>
                    <a:cubicBezTo>
                      <a:pt x="4149651" y="2382713"/>
                      <a:pt x="4148171" y="2381233"/>
                      <a:pt x="4146444" y="2381233"/>
                    </a:cubicBezTo>
                    <a:cubicBezTo>
                      <a:pt x="4144716" y="2381233"/>
                      <a:pt x="4143238" y="2382713"/>
                      <a:pt x="4143238" y="2384444"/>
                    </a:cubicBezTo>
                    <a:cubicBezTo>
                      <a:pt x="4143238" y="2386174"/>
                      <a:pt x="4144716" y="2387651"/>
                      <a:pt x="4146444" y="2387651"/>
                    </a:cubicBezTo>
                    <a:cubicBezTo>
                      <a:pt x="4148171" y="2387651"/>
                      <a:pt x="4149651" y="2386174"/>
                      <a:pt x="4149651" y="2384444"/>
                    </a:cubicBezTo>
                    <a:close/>
                    <a:moveTo>
                      <a:pt x="4150884" y="1474440"/>
                    </a:moveTo>
                    <a:cubicBezTo>
                      <a:pt x="4150884" y="1458903"/>
                      <a:pt x="4138062" y="1446086"/>
                      <a:pt x="4122529" y="1446086"/>
                    </a:cubicBezTo>
                    <a:cubicBezTo>
                      <a:pt x="4106994" y="1446086"/>
                      <a:pt x="4094172" y="1458656"/>
                      <a:pt x="4094172" y="1474440"/>
                    </a:cubicBezTo>
                    <a:cubicBezTo>
                      <a:pt x="4094172" y="1489972"/>
                      <a:pt x="4106749" y="1502796"/>
                      <a:pt x="4122529" y="1502796"/>
                    </a:cubicBezTo>
                    <a:cubicBezTo>
                      <a:pt x="4138062" y="1502796"/>
                      <a:pt x="4150884" y="1489972"/>
                      <a:pt x="4150884" y="1474440"/>
                    </a:cubicBezTo>
                    <a:close/>
                    <a:moveTo>
                      <a:pt x="4153843" y="1612504"/>
                    </a:moveTo>
                    <a:cubicBezTo>
                      <a:pt x="4153843" y="1586849"/>
                      <a:pt x="4133131" y="1565895"/>
                      <a:pt x="4107487" y="1565895"/>
                    </a:cubicBezTo>
                    <a:cubicBezTo>
                      <a:pt x="4081842" y="1565895"/>
                      <a:pt x="4060884" y="1586849"/>
                      <a:pt x="4060884" y="1612504"/>
                    </a:cubicBezTo>
                    <a:cubicBezTo>
                      <a:pt x="4060884" y="1638148"/>
                      <a:pt x="4081842" y="1659100"/>
                      <a:pt x="4107487" y="1659100"/>
                    </a:cubicBezTo>
                    <a:cubicBezTo>
                      <a:pt x="4133131" y="1659100"/>
                      <a:pt x="4153843" y="1638148"/>
                      <a:pt x="4153843" y="1612504"/>
                    </a:cubicBezTo>
                    <a:close/>
                    <a:moveTo>
                      <a:pt x="4154338" y="6296489"/>
                    </a:moveTo>
                    <a:cubicBezTo>
                      <a:pt x="4154338" y="6295502"/>
                      <a:pt x="4153597" y="6294761"/>
                      <a:pt x="4152610" y="6294761"/>
                    </a:cubicBezTo>
                    <a:cubicBezTo>
                      <a:pt x="4151625" y="6294761"/>
                      <a:pt x="4150884" y="6295502"/>
                      <a:pt x="4150884" y="6296489"/>
                    </a:cubicBezTo>
                    <a:cubicBezTo>
                      <a:pt x="4150884" y="6297474"/>
                      <a:pt x="4151625" y="6298215"/>
                      <a:pt x="4152610" y="6298215"/>
                    </a:cubicBezTo>
                    <a:cubicBezTo>
                      <a:pt x="4153597" y="6298215"/>
                      <a:pt x="4154338" y="6297474"/>
                      <a:pt x="4154338" y="6296489"/>
                    </a:cubicBezTo>
                    <a:close/>
                    <a:moveTo>
                      <a:pt x="4154583" y="5296376"/>
                    </a:moveTo>
                    <a:cubicBezTo>
                      <a:pt x="4154583" y="5294651"/>
                      <a:pt x="4153105" y="5293170"/>
                      <a:pt x="4151378" y="5293170"/>
                    </a:cubicBezTo>
                    <a:cubicBezTo>
                      <a:pt x="4149650" y="5293170"/>
                      <a:pt x="4148173" y="5294651"/>
                      <a:pt x="4148173" y="5296376"/>
                    </a:cubicBezTo>
                    <a:cubicBezTo>
                      <a:pt x="4148173" y="5298102"/>
                      <a:pt x="4149650" y="5299583"/>
                      <a:pt x="4151378" y="5299583"/>
                    </a:cubicBezTo>
                    <a:cubicBezTo>
                      <a:pt x="4153105" y="5299583"/>
                      <a:pt x="4154583" y="5298102"/>
                      <a:pt x="4154583" y="5296376"/>
                    </a:cubicBezTo>
                    <a:close/>
                    <a:moveTo>
                      <a:pt x="4155566" y="2846264"/>
                    </a:moveTo>
                    <a:cubicBezTo>
                      <a:pt x="4155566" y="2823084"/>
                      <a:pt x="4136581" y="2804098"/>
                      <a:pt x="4113403" y="2804098"/>
                    </a:cubicBezTo>
                    <a:cubicBezTo>
                      <a:pt x="4089978" y="2804098"/>
                      <a:pt x="4071238" y="2823084"/>
                      <a:pt x="4071238" y="2846264"/>
                    </a:cubicBezTo>
                    <a:cubicBezTo>
                      <a:pt x="4071238" y="2869441"/>
                      <a:pt x="4090224" y="2888429"/>
                      <a:pt x="4113403" y="2888429"/>
                    </a:cubicBezTo>
                    <a:cubicBezTo>
                      <a:pt x="4136581" y="2888429"/>
                      <a:pt x="4155566" y="2869441"/>
                      <a:pt x="4155566" y="2846264"/>
                    </a:cubicBezTo>
                    <a:close/>
                    <a:moveTo>
                      <a:pt x="4163459" y="4765746"/>
                    </a:moveTo>
                    <a:cubicBezTo>
                      <a:pt x="4163459" y="4761061"/>
                      <a:pt x="4159762" y="4757115"/>
                      <a:pt x="4154831" y="4757115"/>
                    </a:cubicBezTo>
                    <a:cubicBezTo>
                      <a:pt x="4150146" y="4757115"/>
                      <a:pt x="4146200" y="4761061"/>
                      <a:pt x="4146200" y="4765746"/>
                    </a:cubicBezTo>
                    <a:cubicBezTo>
                      <a:pt x="4146200" y="4770429"/>
                      <a:pt x="4150146" y="4774374"/>
                      <a:pt x="4154831" y="4774374"/>
                    </a:cubicBezTo>
                    <a:cubicBezTo>
                      <a:pt x="4159762" y="4774374"/>
                      <a:pt x="4163708" y="4770677"/>
                      <a:pt x="4163459" y="4765746"/>
                    </a:cubicBezTo>
                    <a:close/>
                    <a:moveTo>
                      <a:pt x="4163954" y="6423476"/>
                    </a:moveTo>
                    <a:cubicBezTo>
                      <a:pt x="4163954" y="6421011"/>
                      <a:pt x="4161981" y="6418789"/>
                      <a:pt x="4159268" y="6418789"/>
                    </a:cubicBezTo>
                    <a:cubicBezTo>
                      <a:pt x="4156556" y="6418789"/>
                      <a:pt x="4154583" y="6421011"/>
                      <a:pt x="4154583" y="6423476"/>
                    </a:cubicBezTo>
                    <a:cubicBezTo>
                      <a:pt x="4154583" y="6426188"/>
                      <a:pt x="4156801" y="6428161"/>
                      <a:pt x="4159268" y="6428161"/>
                    </a:cubicBezTo>
                    <a:cubicBezTo>
                      <a:pt x="4161733" y="6428161"/>
                      <a:pt x="4163706" y="6426188"/>
                      <a:pt x="4163954" y="6423476"/>
                    </a:cubicBezTo>
                    <a:close/>
                    <a:moveTo>
                      <a:pt x="4165924" y="4100487"/>
                    </a:moveTo>
                    <a:cubicBezTo>
                      <a:pt x="4165924" y="4073116"/>
                      <a:pt x="4143731" y="4050677"/>
                      <a:pt x="4116116" y="4050677"/>
                    </a:cubicBezTo>
                    <a:cubicBezTo>
                      <a:pt x="4088747" y="4050677"/>
                      <a:pt x="4066307" y="4073116"/>
                      <a:pt x="4066307" y="4100487"/>
                    </a:cubicBezTo>
                    <a:cubicBezTo>
                      <a:pt x="4066307" y="4127855"/>
                      <a:pt x="4088747" y="4150293"/>
                      <a:pt x="4116116" y="4150293"/>
                    </a:cubicBezTo>
                    <a:cubicBezTo>
                      <a:pt x="4143731" y="4150293"/>
                      <a:pt x="4166169" y="4127855"/>
                      <a:pt x="4165924" y="4100487"/>
                    </a:cubicBezTo>
                    <a:close/>
                    <a:moveTo>
                      <a:pt x="4168640" y="127086"/>
                    </a:moveTo>
                    <a:cubicBezTo>
                      <a:pt x="4168640" y="103171"/>
                      <a:pt x="4149159" y="83445"/>
                      <a:pt x="4124994" y="83445"/>
                    </a:cubicBezTo>
                    <a:cubicBezTo>
                      <a:pt x="4100831" y="83445"/>
                      <a:pt x="4081105" y="102925"/>
                      <a:pt x="4081105" y="127086"/>
                    </a:cubicBezTo>
                    <a:cubicBezTo>
                      <a:pt x="4081105" y="151003"/>
                      <a:pt x="4100831" y="170727"/>
                      <a:pt x="4124994" y="170727"/>
                    </a:cubicBezTo>
                    <a:cubicBezTo>
                      <a:pt x="4149159" y="170727"/>
                      <a:pt x="4168640" y="151003"/>
                      <a:pt x="4168640" y="127086"/>
                    </a:cubicBezTo>
                    <a:close/>
                    <a:moveTo>
                      <a:pt x="4169131" y="1042000"/>
                    </a:moveTo>
                    <a:cubicBezTo>
                      <a:pt x="4169131" y="1016118"/>
                      <a:pt x="4148174" y="995158"/>
                      <a:pt x="4122284" y="995158"/>
                    </a:cubicBezTo>
                    <a:cubicBezTo>
                      <a:pt x="4096394" y="995158"/>
                      <a:pt x="4075187" y="1016118"/>
                      <a:pt x="4075187" y="1042000"/>
                    </a:cubicBezTo>
                    <a:cubicBezTo>
                      <a:pt x="4075187" y="1067893"/>
                      <a:pt x="4096394" y="1088859"/>
                      <a:pt x="4122284" y="1088859"/>
                    </a:cubicBezTo>
                    <a:cubicBezTo>
                      <a:pt x="4148174" y="1088859"/>
                      <a:pt x="4169131" y="1067648"/>
                      <a:pt x="4169131" y="1042000"/>
                    </a:cubicBezTo>
                    <a:close/>
                    <a:moveTo>
                      <a:pt x="4169375" y="2575772"/>
                    </a:moveTo>
                    <a:cubicBezTo>
                      <a:pt x="4169375" y="2550128"/>
                      <a:pt x="4148416" y="2529168"/>
                      <a:pt x="4122773" y="2529168"/>
                    </a:cubicBezTo>
                    <a:cubicBezTo>
                      <a:pt x="4097129" y="2529168"/>
                      <a:pt x="4076170" y="2550128"/>
                      <a:pt x="4076170" y="2575772"/>
                    </a:cubicBezTo>
                    <a:cubicBezTo>
                      <a:pt x="4076170" y="2601416"/>
                      <a:pt x="4097129" y="2622375"/>
                      <a:pt x="4122773" y="2622375"/>
                    </a:cubicBezTo>
                    <a:cubicBezTo>
                      <a:pt x="4148416" y="2622375"/>
                      <a:pt x="4169375" y="2601416"/>
                      <a:pt x="4169375" y="2575772"/>
                    </a:cubicBezTo>
                    <a:close/>
                    <a:moveTo>
                      <a:pt x="4169869" y="5435693"/>
                    </a:moveTo>
                    <a:cubicBezTo>
                      <a:pt x="4169869" y="5434706"/>
                      <a:pt x="4169131" y="5433965"/>
                      <a:pt x="4168145" y="5433965"/>
                    </a:cubicBezTo>
                    <a:cubicBezTo>
                      <a:pt x="4167159" y="5433965"/>
                      <a:pt x="4166418" y="5434706"/>
                      <a:pt x="4166418" y="5435693"/>
                    </a:cubicBezTo>
                    <a:cubicBezTo>
                      <a:pt x="4166418" y="5436678"/>
                      <a:pt x="4167159" y="5437416"/>
                      <a:pt x="4168145" y="5437416"/>
                    </a:cubicBezTo>
                    <a:cubicBezTo>
                      <a:pt x="4169131" y="5437416"/>
                      <a:pt x="4169869" y="5436678"/>
                      <a:pt x="4169869" y="5435693"/>
                    </a:cubicBezTo>
                    <a:close/>
                    <a:moveTo>
                      <a:pt x="4170363" y="1337850"/>
                    </a:moveTo>
                    <a:cubicBezTo>
                      <a:pt x="4170363" y="1318615"/>
                      <a:pt x="4154583" y="1302836"/>
                      <a:pt x="4135348" y="1302836"/>
                    </a:cubicBezTo>
                    <a:cubicBezTo>
                      <a:pt x="4116116" y="1302836"/>
                      <a:pt x="4100336" y="1318615"/>
                      <a:pt x="4100336" y="1337850"/>
                    </a:cubicBezTo>
                    <a:cubicBezTo>
                      <a:pt x="4100336" y="1357082"/>
                      <a:pt x="4116116" y="1372869"/>
                      <a:pt x="4135348" y="1372869"/>
                    </a:cubicBezTo>
                    <a:cubicBezTo>
                      <a:pt x="4154828" y="1372869"/>
                      <a:pt x="4170363" y="1357082"/>
                      <a:pt x="4170363" y="1337850"/>
                    </a:cubicBezTo>
                    <a:close/>
                    <a:moveTo>
                      <a:pt x="4171103" y="4370239"/>
                    </a:moveTo>
                    <a:cubicBezTo>
                      <a:pt x="4171103" y="4345827"/>
                      <a:pt x="4151375" y="4326101"/>
                      <a:pt x="4126965" y="4326101"/>
                    </a:cubicBezTo>
                    <a:cubicBezTo>
                      <a:pt x="4102554" y="4326101"/>
                      <a:pt x="4082828" y="4345827"/>
                      <a:pt x="4082828" y="4370239"/>
                    </a:cubicBezTo>
                    <a:cubicBezTo>
                      <a:pt x="4082828" y="4394648"/>
                      <a:pt x="4102554" y="4414373"/>
                      <a:pt x="4126965" y="4414373"/>
                    </a:cubicBezTo>
                    <a:cubicBezTo>
                      <a:pt x="4151375" y="4414373"/>
                      <a:pt x="4171103" y="4394648"/>
                      <a:pt x="4171103" y="4370239"/>
                    </a:cubicBezTo>
                    <a:close/>
                    <a:moveTo>
                      <a:pt x="4171596" y="6549476"/>
                    </a:moveTo>
                    <a:cubicBezTo>
                      <a:pt x="4171596" y="6545777"/>
                      <a:pt x="4168637" y="6543064"/>
                      <a:pt x="4165184" y="6543064"/>
                    </a:cubicBezTo>
                    <a:cubicBezTo>
                      <a:pt x="4161733" y="6543064"/>
                      <a:pt x="4158774" y="6546023"/>
                      <a:pt x="4158774" y="6549476"/>
                    </a:cubicBezTo>
                    <a:cubicBezTo>
                      <a:pt x="4158774" y="6552927"/>
                      <a:pt x="4161733" y="6555641"/>
                      <a:pt x="4165184" y="6555641"/>
                    </a:cubicBezTo>
                    <a:cubicBezTo>
                      <a:pt x="4168883" y="6555641"/>
                      <a:pt x="4171596" y="6552927"/>
                      <a:pt x="4171596" y="6549476"/>
                    </a:cubicBezTo>
                    <a:close/>
                    <a:moveTo>
                      <a:pt x="4172091" y="4325"/>
                    </a:moveTo>
                    <a:lnTo>
                      <a:pt x="4170296" y="0"/>
                    </a:lnTo>
                    <a:lnTo>
                      <a:pt x="4087091" y="0"/>
                    </a:lnTo>
                    <a:lnTo>
                      <a:pt x="4085296" y="4325"/>
                    </a:lnTo>
                    <a:cubicBezTo>
                      <a:pt x="4085296" y="28240"/>
                      <a:pt x="4104776" y="47719"/>
                      <a:pt x="4128693" y="47719"/>
                    </a:cubicBezTo>
                    <a:cubicBezTo>
                      <a:pt x="4152610" y="47719"/>
                      <a:pt x="4172091" y="28240"/>
                      <a:pt x="4172091" y="4325"/>
                    </a:cubicBezTo>
                    <a:close/>
                    <a:moveTo>
                      <a:pt x="4177762" y="911094"/>
                    </a:moveTo>
                    <a:cubicBezTo>
                      <a:pt x="4177762" y="885201"/>
                      <a:pt x="4156803" y="864241"/>
                      <a:pt x="4130912" y="864241"/>
                    </a:cubicBezTo>
                    <a:cubicBezTo>
                      <a:pt x="4105022" y="864241"/>
                      <a:pt x="4084063" y="885201"/>
                      <a:pt x="4084063" y="911094"/>
                    </a:cubicBezTo>
                    <a:cubicBezTo>
                      <a:pt x="4084063" y="936981"/>
                      <a:pt x="4105022" y="957947"/>
                      <a:pt x="4130912" y="957947"/>
                    </a:cubicBezTo>
                    <a:cubicBezTo>
                      <a:pt x="4156803" y="957947"/>
                      <a:pt x="4177762" y="936981"/>
                      <a:pt x="4177762" y="911094"/>
                    </a:cubicBezTo>
                    <a:close/>
                    <a:moveTo>
                      <a:pt x="4179734" y="6674241"/>
                    </a:moveTo>
                    <a:cubicBezTo>
                      <a:pt x="4179734" y="6669310"/>
                      <a:pt x="4175789" y="6665365"/>
                      <a:pt x="4170858" y="6665365"/>
                    </a:cubicBezTo>
                    <a:cubicBezTo>
                      <a:pt x="4165927" y="6665365"/>
                      <a:pt x="4161981" y="6669310"/>
                      <a:pt x="4161981" y="6674241"/>
                    </a:cubicBezTo>
                    <a:cubicBezTo>
                      <a:pt x="4161981" y="6679173"/>
                      <a:pt x="4165927" y="6683118"/>
                      <a:pt x="4170858" y="6683118"/>
                    </a:cubicBezTo>
                    <a:cubicBezTo>
                      <a:pt x="4175789" y="6683118"/>
                      <a:pt x="4179734" y="6679173"/>
                      <a:pt x="4179734" y="6674241"/>
                    </a:cubicBezTo>
                    <a:close/>
                    <a:moveTo>
                      <a:pt x="4182445" y="2957470"/>
                    </a:moveTo>
                    <a:cubicBezTo>
                      <a:pt x="4182445" y="2937498"/>
                      <a:pt x="4166172" y="2921471"/>
                      <a:pt x="4146446" y="2921471"/>
                    </a:cubicBezTo>
                    <a:cubicBezTo>
                      <a:pt x="4126720" y="2921471"/>
                      <a:pt x="4110444" y="2937498"/>
                      <a:pt x="4110444" y="2957470"/>
                    </a:cubicBezTo>
                    <a:cubicBezTo>
                      <a:pt x="4110444" y="2977445"/>
                      <a:pt x="4126720" y="2993473"/>
                      <a:pt x="4146446" y="2993473"/>
                    </a:cubicBezTo>
                    <a:cubicBezTo>
                      <a:pt x="4166172" y="2993473"/>
                      <a:pt x="4182445" y="2977197"/>
                      <a:pt x="4182445" y="2957470"/>
                    </a:cubicBezTo>
                    <a:close/>
                    <a:moveTo>
                      <a:pt x="4183678" y="1985003"/>
                    </a:moveTo>
                    <a:cubicBezTo>
                      <a:pt x="4183678" y="1962577"/>
                      <a:pt x="4165432" y="1944341"/>
                      <a:pt x="4142994" y="1944341"/>
                    </a:cubicBezTo>
                    <a:cubicBezTo>
                      <a:pt x="4120554" y="1944341"/>
                      <a:pt x="4102309" y="1962577"/>
                      <a:pt x="4102309" y="1985003"/>
                    </a:cubicBezTo>
                    <a:cubicBezTo>
                      <a:pt x="4102309" y="2007430"/>
                      <a:pt x="4120554" y="2025677"/>
                      <a:pt x="4142994" y="2025677"/>
                    </a:cubicBezTo>
                    <a:cubicBezTo>
                      <a:pt x="4165432" y="2025677"/>
                      <a:pt x="4183678" y="2007430"/>
                      <a:pt x="4183678" y="1985003"/>
                    </a:cubicBezTo>
                    <a:close/>
                    <a:moveTo>
                      <a:pt x="4185653" y="782155"/>
                    </a:moveTo>
                    <a:cubicBezTo>
                      <a:pt x="4185653" y="756511"/>
                      <a:pt x="4164694" y="735547"/>
                      <a:pt x="4139048" y="735547"/>
                    </a:cubicBezTo>
                    <a:cubicBezTo>
                      <a:pt x="4113159" y="735547"/>
                      <a:pt x="4092200" y="756511"/>
                      <a:pt x="4092200" y="782155"/>
                    </a:cubicBezTo>
                    <a:cubicBezTo>
                      <a:pt x="4092200" y="807800"/>
                      <a:pt x="4113407" y="828762"/>
                      <a:pt x="4139048" y="828762"/>
                    </a:cubicBezTo>
                    <a:cubicBezTo>
                      <a:pt x="4164694" y="828762"/>
                      <a:pt x="4185653" y="807800"/>
                      <a:pt x="4185653" y="782155"/>
                    </a:cubicBezTo>
                    <a:close/>
                    <a:moveTo>
                      <a:pt x="4186145" y="1839867"/>
                    </a:moveTo>
                    <a:cubicBezTo>
                      <a:pt x="4186145" y="1828776"/>
                      <a:pt x="4177022" y="1819655"/>
                      <a:pt x="4165925" y="1819655"/>
                    </a:cubicBezTo>
                    <a:cubicBezTo>
                      <a:pt x="4154829" y="1819655"/>
                      <a:pt x="4145706" y="1828776"/>
                      <a:pt x="4145706" y="1839867"/>
                    </a:cubicBezTo>
                    <a:cubicBezTo>
                      <a:pt x="4145706" y="1850965"/>
                      <a:pt x="4154829" y="1860082"/>
                      <a:pt x="4165925" y="1860082"/>
                    </a:cubicBezTo>
                    <a:cubicBezTo>
                      <a:pt x="4177022" y="1860082"/>
                      <a:pt x="4185899" y="1850965"/>
                      <a:pt x="4186145" y="1839867"/>
                    </a:cubicBezTo>
                    <a:close/>
                    <a:moveTo>
                      <a:pt x="4189596" y="3989032"/>
                    </a:moveTo>
                    <a:cubicBezTo>
                      <a:pt x="4189596" y="3966595"/>
                      <a:pt x="4171101" y="3948101"/>
                      <a:pt x="4148665" y="3948101"/>
                    </a:cubicBezTo>
                    <a:cubicBezTo>
                      <a:pt x="4125981" y="3948101"/>
                      <a:pt x="4107732" y="3966595"/>
                      <a:pt x="4107732" y="3989032"/>
                    </a:cubicBezTo>
                    <a:cubicBezTo>
                      <a:pt x="4107732" y="4011719"/>
                      <a:pt x="4126226" y="4029965"/>
                      <a:pt x="4148665" y="4029965"/>
                    </a:cubicBezTo>
                    <a:cubicBezTo>
                      <a:pt x="4171101" y="4029965"/>
                      <a:pt x="4189596" y="4011719"/>
                      <a:pt x="4189596" y="3989032"/>
                    </a:cubicBezTo>
                    <a:close/>
                    <a:moveTo>
                      <a:pt x="4190335" y="1203491"/>
                    </a:moveTo>
                    <a:cubicBezTo>
                      <a:pt x="4190335" y="1179813"/>
                      <a:pt x="4171101" y="1160586"/>
                      <a:pt x="4147430" y="1160586"/>
                    </a:cubicBezTo>
                    <a:cubicBezTo>
                      <a:pt x="4123759" y="1160586"/>
                      <a:pt x="4104527" y="1179813"/>
                      <a:pt x="4104527" y="1203491"/>
                    </a:cubicBezTo>
                    <a:cubicBezTo>
                      <a:pt x="4104527" y="1227164"/>
                      <a:pt x="4123759" y="1246397"/>
                      <a:pt x="4147430" y="1246397"/>
                    </a:cubicBezTo>
                    <a:cubicBezTo>
                      <a:pt x="4171101" y="1246397"/>
                      <a:pt x="4190335" y="1227164"/>
                      <a:pt x="4190335" y="1203491"/>
                    </a:cubicBezTo>
                    <a:close/>
                    <a:moveTo>
                      <a:pt x="4191571" y="653719"/>
                    </a:moveTo>
                    <a:cubicBezTo>
                      <a:pt x="4191571" y="628262"/>
                      <a:pt x="4170858" y="607551"/>
                      <a:pt x="4145460" y="607551"/>
                    </a:cubicBezTo>
                    <a:cubicBezTo>
                      <a:pt x="4120062" y="607551"/>
                      <a:pt x="4099350" y="628262"/>
                      <a:pt x="4099350" y="653719"/>
                    </a:cubicBezTo>
                    <a:cubicBezTo>
                      <a:pt x="4099350" y="679103"/>
                      <a:pt x="4120062" y="699827"/>
                      <a:pt x="4145460" y="699827"/>
                    </a:cubicBezTo>
                    <a:cubicBezTo>
                      <a:pt x="4170858" y="699827"/>
                      <a:pt x="4191571" y="679103"/>
                      <a:pt x="4191571" y="653719"/>
                    </a:cubicBezTo>
                    <a:close/>
                    <a:moveTo>
                      <a:pt x="4191817" y="2230105"/>
                    </a:moveTo>
                    <a:cubicBezTo>
                      <a:pt x="4191817" y="2224182"/>
                      <a:pt x="4186885" y="2219260"/>
                      <a:pt x="4180968" y="2219260"/>
                    </a:cubicBezTo>
                    <a:cubicBezTo>
                      <a:pt x="4175050" y="2219260"/>
                      <a:pt x="4170118" y="2224182"/>
                      <a:pt x="4170118" y="2230105"/>
                    </a:cubicBezTo>
                    <a:cubicBezTo>
                      <a:pt x="4170118" y="2236018"/>
                      <a:pt x="4175050" y="2240953"/>
                      <a:pt x="4180968" y="2240953"/>
                    </a:cubicBezTo>
                    <a:cubicBezTo>
                      <a:pt x="4186885" y="2240953"/>
                      <a:pt x="4191817" y="2236265"/>
                      <a:pt x="4191817" y="2230105"/>
                    </a:cubicBezTo>
                    <a:close/>
                    <a:moveTo>
                      <a:pt x="4194031" y="6916872"/>
                    </a:moveTo>
                    <a:cubicBezTo>
                      <a:pt x="4194031" y="6913914"/>
                      <a:pt x="4191567" y="6911695"/>
                      <a:pt x="4188855" y="6911695"/>
                    </a:cubicBezTo>
                    <a:cubicBezTo>
                      <a:pt x="4185896" y="6911695"/>
                      <a:pt x="4183677" y="6914162"/>
                      <a:pt x="4183677" y="6916872"/>
                    </a:cubicBezTo>
                    <a:cubicBezTo>
                      <a:pt x="4183677" y="6919831"/>
                      <a:pt x="4185896" y="6922049"/>
                      <a:pt x="4188855" y="6922049"/>
                    </a:cubicBezTo>
                    <a:cubicBezTo>
                      <a:pt x="4191567" y="6922049"/>
                      <a:pt x="4193786" y="6919584"/>
                      <a:pt x="4194031" y="6916872"/>
                    </a:cubicBezTo>
                    <a:close/>
                    <a:moveTo>
                      <a:pt x="4194774" y="6793336"/>
                    </a:moveTo>
                    <a:cubicBezTo>
                      <a:pt x="4194774" y="6787667"/>
                      <a:pt x="4190089" y="6782981"/>
                      <a:pt x="4184417" y="6782981"/>
                    </a:cubicBezTo>
                    <a:cubicBezTo>
                      <a:pt x="4178748" y="6782981"/>
                      <a:pt x="4174062" y="6787667"/>
                      <a:pt x="4174062" y="6793336"/>
                    </a:cubicBezTo>
                    <a:cubicBezTo>
                      <a:pt x="4174062" y="6799009"/>
                      <a:pt x="4178748" y="6803694"/>
                      <a:pt x="4184417" y="6803694"/>
                    </a:cubicBezTo>
                    <a:cubicBezTo>
                      <a:pt x="4190089" y="6803694"/>
                      <a:pt x="4194774" y="6799009"/>
                      <a:pt x="4194774" y="6793336"/>
                    </a:cubicBezTo>
                    <a:close/>
                    <a:moveTo>
                      <a:pt x="4196994" y="3876101"/>
                    </a:moveTo>
                    <a:cubicBezTo>
                      <a:pt x="4196994" y="3863770"/>
                      <a:pt x="4186882" y="3853661"/>
                      <a:pt x="4174555" y="3853661"/>
                    </a:cubicBezTo>
                    <a:cubicBezTo>
                      <a:pt x="4162225" y="3853661"/>
                      <a:pt x="4152116" y="3863770"/>
                      <a:pt x="4152116" y="3876101"/>
                    </a:cubicBezTo>
                    <a:cubicBezTo>
                      <a:pt x="4152116" y="3888427"/>
                      <a:pt x="4162225" y="3898537"/>
                      <a:pt x="4174555" y="3898537"/>
                    </a:cubicBezTo>
                    <a:cubicBezTo>
                      <a:pt x="4187128" y="3898537"/>
                      <a:pt x="4197240" y="3888427"/>
                      <a:pt x="4196994" y="3876101"/>
                    </a:cubicBezTo>
                    <a:close/>
                    <a:moveTo>
                      <a:pt x="4197240" y="526698"/>
                    </a:moveTo>
                    <a:cubicBezTo>
                      <a:pt x="4197240" y="501549"/>
                      <a:pt x="4176776" y="481083"/>
                      <a:pt x="4151624" y="481083"/>
                    </a:cubicBezTo>
                    <a:cubicBezTo>
                      <a:pt x="4126474" y="481083"/>
                      <a:pt x="4106008" y="501549"/>
                      <a:pt x="4106008" y="526698"/>
                    </a:cubicBezTo>
                    <a:cubicBezTo>
                      <a:pt x="4106008" y="551848"/>
                      <a:pt x="4126474" y="572315"/>
                      <a:pt x="4151624" y="572315"/>
                    </a:cubicBezTo>
                    <a:cubicBezTo>
                      <a:pt x="4176776" y="572315"/>
                      <a:pt x="4197240" y="551848"/>
                      <a:pt x="4197240" y="526698"/>
                    </a:cubicBezTo>
                    <a:close/>
                    <a:moveTo>
                      <a:pt x="4197734" y="5708649"/>
                    </a:moveTo>
                    <a:cubicBezTo>
                      <a:pt x="4197734" y="5707834"/>
                      <a:pt x="4197072" y="5707171"/>
                      <a:pt x="4196256" y="5707171"/>
                    </a:cubicBezTo>
                    <a:cubicBezTo>
                      <a:pt x="4195438" y="5707171"/>
                      <a:pt x="4194775" y="5707834"/>
                      <a:pt x="4194775" y="5708649"/>
                    </a:cubicBezTo>
                    <a:cubicBezTo>
                      <a:pt x="4194775" y="5709468"/>
                      <a:pt x="4195438" y="5710130"/>
                      <a:pt x="4196256" y="5710130"/>
                    </a:cubicBezTo>
                    <a:cubicBezTo>
                      <a:pt x="4197072" y="5710130"/>
                      <a:pt x="4197734" y="5709468"/>
                      <a:pt x="4197734" y="5708649"/>
                    </a:cubicBezTo>
                    <a:close/>
                    <a:moveTo>
                      <a:pt x="4198966" y="3761936"/>
                    </a:moveTo>
                    <a:cubicBezTo>
                      <a:pt x="4198966" y="3759223"/>
                      <a:pt x="4196744" y="3757004"/>
                      <a:pt x="4194034" y="3757004"/>
                    </a:cubicBezTo>
                    <a:cubicBezTo>
                      <a:pt x="4191568" y="3757004"/>
                      <a:pt x="4189349" y="3759223"/>
                      <a:pt x="4189349" y="3761936"/>
                    </a:cubicBezTo>
                    <a:cubicBezTo>
                      <a:pt x="4189349" y="3764399"/>
                      <a:pt x="4191321" y="3766621"/>
                      <a:pt x="4194034" y="3766621"/>
                    </a:cubicBezTo>
                    <a:cubicBezTo>
                      <a:pt x="4196744" y="3766621"/>
                      <a:pt x="4198966" y="3764399"/>
                      <a:pt x="4198966" y="3761936"/>
                    </a:cubicBezTo>
                    <a:close/>
                    <a:moveTo>
                      <a:pt x="4200199" y="4916652"/>
                    </a:moveTo>
                    <a:cubicBezTo>
                      <a:pt x="4200199" y="4907034"/>
                      <a:pt x="4192311" y="4899143"/>
                      <a:pt x="4182693" y="4899143"/>
                    </a:cubicBezTo>
                    <a:cubicBezTo>
                      <a:pt x="4173077" y="4899143"/>
                      <a:pt x="4165186" y="4907034"/>
                      <a:pt x="4165186" y="4916652"/>
                    </a:cubicBezTo>
                    <a:cubicBezTo>
                      <a:pt x="4165186" y="4926268"/>
                      <a:pt x="4173077" y="4934156"/>
                      <a:pt x="4182693" y="4934156"/>
                    </a:cubicBezTo>
                    <a:cubicBezTo>
                      <a:pt x="4192311" y="4934156"/>
                      <a:pt x="4200199" y="4926268"/>
                      <a:pt x="4200199" y="4916652"/>
                    </a:cubicBezTo>
                    <a:close/>
                    <a:moveTo>
                      <a:pt x="4200444" y="3070159"/>
                    </a:moveTo>
                    <a:cubicBezTo>
                      <a:pt x="4200444" y="3054873"/>
                      <a:pt x="4188117" y="3042542"/>
                      <a:pt x="4172828" y="3042542"/>
                    </a:cubicBezTo>
                    <a:cubicBezTo>
                      <a:pt x="4157541" y="3042542"/>
                      <a:pt x="4145212" y="3054873"/>
                      <a:pt x="4145212" y="3070159"/>
                    </a:cubicBezTo>
                    <a:cubicBezTo>
                      <a:pt x="4145212" y="3085449"/>
                      <a:pt x="4157541" y="3097777"/>
                      <a:pt x="4172828" y="3097777"/>
                    </a:cubicBezTo>
                    <a:cubicBezTo>
                      <a:pt x="4188117" y="3097777"/>
                      <a:pt x="4200444" y="3085449"/>
                      <a:pt x="4200444" y="3070159"/>
                    </a:cubicBezTo>
                    <a:close/>
                    <a:moveTo>
                      <a:pt x="4200444" y="7039669"/>
                    </a:moveTo>
                    <a:cubicBezTo>
                      <a:pt x="4200444" y="7035723"/>
                      <a:pt x="4197240" y="7032270"/>
                      <a:pt x="4193049" y="7032270"/>
                    </a:cubicBezTo>
                    <a:cubicBezTo>
                      <a:pt x="4189101" y="7032270"/>
                      <a:pt x="4185650" y="7035475"/>
                      <a:pt x="4185650" y="7039669"/>
                    </a:cubicBezTo>
                    <a:cubicBezTo>
                      <a:pt x="4185650" y="7043614"/>
                      <a:pt x="4188855" y="7047064"/>
                      <a:pt x="4193049" y="7047064"/>
                    </a:cubicBezTo>
                    <a:cubicBezTo>
                      <a:pt x="4196994" y="7047064"/>
                      <a:pt x="4200444" y="7043614"/>
                      <a:pt x="4200444" y="7039669"/>
                    </a:cubicBezTo>
                    <a:close/>
                    <a:moveTo>
                      <a:pt x="4202171" y="400727"/>
                    </a:moveTo>
                    <a:cubicBezTo>
                      <a:pt x="4202171" y="375825"/>
                      <a:pt x="4181953" y="355605"/>
                      <a:pt x="4157049" y="355605"/>
                    </a:cubicBezTo>
                    <a:cubicBezTo>
                      <a:pt x="4132143" y="355605"/>
                      <a:pt x="4111925" y="375825"/>
                      <a:pt x="4111925" y="400727"/>
                    </a:cubicBezTo>
                    <a:cubicBezTo>
                      <a:pt x="4111925" y="425629"/>
                      <a:pt x="4132143" y="445848"/>
                      <a:pt x="4157049" y="445848"/>
                    </a:cubicBezTo>
                    <a:cubicBezTo>
                      <a:pt x="4181953" y="445848"/>
                      <a:pt x="4202171" y="425629"/>
                      <a:pt x="4202171" y="400727"/>
                    </a:cubicBezTo>
                    <a:close/>
                    <a:moveTo>
                      <a:pt x="4205379" y="2487758"/>
                    </a:moveTo>
                    <a:cubicBezTo>
                      <a:pt x="4205379" y="2485288"/>
                      <a:pt x="4203406" y="2483074"/>
                      <a:pt x="4200694" y="2483074"/>
                    </a:cubicBezTo>
                    <a:cubicBezTo>
                      <a:pt x="4198226" y="2483074"/>
                      <a:pt x="4196008" y="2485045"/>
                      <a:pt x="4196008" y="2487758"/>
                    </a:cubicBezTo>
                    <a:cubicBezTo>
                      <a:pt x="4196008" y="2490220"/>
                      <a:pt x="4197981" y="2492441"/>
                      <a:pt x="4200694" y="2492441"/>
                    </a:cubicBezTo>
                    <a:cubicBezTo>
                      <a:pt x="4203406" y="2492441"/>
                      <a:pt x="4205625" y="2490220"/>
                      <a:pt x="4205379" y="2487758"/>
                    </a:cubicBezTo>
                    <a:close/>
                    <a:moveTo>
                      <a:pt x="4206608" y="275740"/>
                    </a:moveTo>
                    <a:cubicBezTo>
                      <a:pt x="4206608" y="251084"/>
                      <a:pt x="4186636" y="231113"/>
                      <a:pt x="4161978" y="231113"/>
                    </a:cubicBezTo>
                    <a:cubicBezTo>
                      <a:pt x="4137321" y="231113"/>
                      <a:pt x="4117349" y="251084"/>
                      <a:pt x="4117349" y="275740"/>
                    </a:cubicBezTo>
                    <a:cubicBezTo>
                      <a:pt x="4117349" y="300397"/>
                      <a:pt x="4137321" y="320370"/>
                      <a:pt x="4161978" y="320370"/>
                    </a:cubicBezTo>
                    <a:cubicBezTo>
                      <a:pt x="4186636" y="320370"/>
                      <a:pt x="4206608" y="300150"/>
                      <a:pt x="4206608" y="275740"/>
                    </a:cubicBezTo>
                    <a:close/>
                    <a:moveTo>
                      <a:pt x="4207102" y="3646784"/>
                    </a:moveTo>
                    <a:lnTo>
                      <a:pt x="4206856" y="3646539"/>
                    </a:lnTo>
                    <a:lnTo>
                      <a:pt x="4206856" y="3646784"/>
                    </a:lnTo>
                    <a:close/>
                    <a:moveTo>
                      <a:pt x="4210556" y="4510785"/>
                    </a:moveTo>
                    <a:cubicBezTo>
                      <a:pt x="4210556" y="4493281"/>
                      <a:pt x="4196253" y="4478978"/>
                      <a:pt x="4178746" y="4478978"/>
                    </a:cubicBezTo>
                    <a:cubicBezTo>
                      <a:pt x="4161241" y="4478978"/>
                      <a:pt x="4146938" y="4493281"/>
                      <a:pt x="4146938" y="4510785"/>
                    </a:cubicBezTo>
                    <a:cubicBezTo>
                      <a:pt x="4146938" y="4528293"/>
                      <a:pt x="4161241" y="4542596"/>
                      <a:pt x="4178746" y="4542596"/>
                    </a:cubicBezTo>
                    <a:cubicBezTo>
                      <a:pt x="4196253" y="4542596"/>
                      <a:pt x="4210556" y="4528293"/>
                      <a:pt x="4210556" y="4510785"/>
                    </a:cubicBezTo>
                    <a:close/>
                    <a:moveTo>
                      <a:pt x="4211296" y="2681805"/>
                    </a:moveTo>
                    <a:cubicBezTo>
                      <a:pt x="4211296" y="2658378"/>
                      <a:pt x="4192311" y="2639393"/>
                      <a:pt x="4168886" y="2639393"/>
                    </a:cubicBezTo>
                    <a:cubicBezTo>
                      <a:pt x="4145459" y="2639393"/>
                      <a:pt x="4126474" y="2658378"/>
                      <a:pt x="4126474" y="2681805"/>
                    </a:cubicBezTo>
                    <a:cubicBezTo>
                      <a:pt x="4126474" y="2705231"/>
                      <a:pt x="4145459" y="2724218"/>
                      <a:pt x="4168886" y="2724218"/>
                    </a:cubicBezTo>
                    <a:cubicBezTo>
                      <a:pt x="4192311" y="2724218"/>
                      <a:pt x="4211296" y="2705231"/>
                      <a:pt x="4211296" y="2681805"/>
                    </a:cubicBezTo>
                    <a:close/>
                    <a:moveTo>
                      <a:pt x="4211297" y="3184327"/>
                    </a:moveTo>
                    <a:cubicBezTo>
                      <a:pt x="4211297" y="3174219"/>
                      <a:pt x="4203158" y="3165833"/>
                      <a:pt x="4192803" y="3165833"/>
                    </a:cubicBezTo>
                    <a:cubicBezTo>
                      <a:pt x="4182691" y="3165833"/>
                      <a:pt x="4174309" y="3174219"/>
                      <a:pt x="4174309" y="3184327"/>
                    </a:cubicBezTo>
                    <a:cubicBezTo>
                      <a:pt x="4174309" y="3194436"/>
                      <a:pt x="4182691" y="3202821"/>
                      <a:pt x="4192803" y="3202821"/>
                    </a:cubicBezTo>
                    <a:cubicBezTo>
                      <a:pt x="4202912" y="3202821"/>
                      <a:pt x="4211297" y="3194436"/>
                      <a:pt x="4211297" y="3184327"/>
                    </a:cubicBezTo>
                    <a:close/>
                    <a:moveTo>
                      <a:pt x="4214499" y="3530895"/>
                    </a:moveTo>
                    <a:cubicBezTo>
                      <a:pt x="4214499" y="3530155"/>
                      <a:pt x="4214007" y="3529662"/>
                      <a:pt x="4213266" y="3529662"/>
                    </a:cubicBezTo>
                    <a:cubicBezTo>
                      <a:pt x="4212526" y="3529662"/>
                      <a:pt x="4212034" y="3530155"/>
                      <a:pt x="4212034" y="3530895"/>
                    </a:cubicBezTo>
                    <a:cubicBezTo>
                      <a:pt x="4212034" y="3531635"/>
                      <a:pt x="4212526" y="3532127"/>
                      <a:pt x="4213266" y="3532127"/>
                    </a:cubicBezTo>
                    <a:cubicBezTo>
                      <a:pt x="4214007" y="3532127"/>
                      <a:pt x="4214499" y="3531635"/>
                      <a:pt x="4214499" y="3530895"/>
                    </a:cubicBezTo>
                    <a:close/>
                    <a:moveTo>
                      <a:pt x="4215980" y="3299481"/>
                    </a:moveTo>
                    <a:cubicBezTo>
                      <a:pt x="4215980" y="3294028"/>
                      <a:pt x="4211563" y="3289609"/>
                      <a:pt x="4206116" y="3289609"/>
                    </a:cubicBezTo>
                    <a:cubicBezTo>
                      <a:pt x="4200670" y="3289609"/>
                      <a:pt x="4196253" y="3294028"/>
                      <a:pt x="4196253" y="3299481"/>
                    </a:cubicBezTo>
                    <a:cubicBezTo>
                      <a:pt x="4196253" y="3304920"/>
                      <a:pt x="4200670" y="3309341"/>
                      <a:pt x="4206116" y="3309341"/>
                    </a:cubicBezTo>
                    <a:cubicBezTo>
                      <a:pt x="4211563" y="3309341"/>
                      <a:pt x="4215980" y="3304920"/>
                      <a:pt x="4215980" y="3299481"/>
                    </a:cubicBezTo>
                    <a:close/>
                    <a:moveTo>
                      <a:pt x="4215980" y="3415124"/>
                    </a:moveTo>
                    <a:cubicBezTo>
                      <a:pt x="4215980" y="3413397"/>
                      <a:pt x="4214747" y="3411918"/>
                      <a:pt x="4213021" y="3411918"/>
                    </a:cubicBezTo>
                    <a:cubicBezTo>
                      <a:pt x="4211293" y="3411918"/>
                      <a:pt x="4209815" y="3413397"/>
                      <a:pt x="4209815" y="3415124"/>
                    </a:cubicBezTo>
                    <a:cubicBezTo>
                      <a:pt x="4209815" y="3416849"/>
                      <a:pt x="4211293" y="3418325"/>
                      <a:pt x="4213021" y="3418325"/>
                    </a:cubicBezTo>
                    <a:cubicBezTo>
                      <a:pt x="4214747" y="3418325"/>
                      <a:pt x="4216225" y="3416849"/>
                      <a:pt x="4215980" y="3415124"/>
                    </a:cubicBezTo>
                    <a:close/>
                    <a:moveTo>
                      <a:pt x="4220171" y="5833667"/>
                    </a:moveTo>
                    <a:cubicBezTo>
                      <a:pt x="4220171" y="5832680"/>
                      <a:pt x="4219433" y="5831939"/>
                      <a:pt x="4218446" y="5831939"/>
                    </a:cubicBezTo>
                    <a:cubicBezTo>
                      <a:pt x="4217461" y="5831939"/>
                      <a:pt x="4216720" y="5832680"/>
                      <a:pt x="4216720" y="5833667"/>
                    </a:cubicBezTo>
                    <a:cubicBezTo>
                      <a:pt x="4216720" y="5834653"/>
                      <a:pt x="4217461" y="5835394"/>
                      <a:pt x="4218446" y="5835394"/>
                    </a:cubicBezTo>
                    <a:cubicBezTo>
                      <a:pt x="4219184" y="5835394"/>
                      <a:pt x="4219925" y="5834653"/>
                      <a:pt x="4220171" y="5833667"/>
                    </a:cubicBezTo>
                    <a:close/>
                    <a:moveTo>
                      <a:pt x="4221896" y="5063610"/>
                    </a:moveTo>
                    <a:cubicBezTo>
                      <a:pt x="4221896" y="5055471"/>
                      <a:pt x="4215241" y="5049061"/>
                      <a:pt x="4207351" y="5049061"/>
                    </a:cubicBezTo>
                    <a:cubicBezTo>
                      <a:pt x="4199212" y="5049061"/>
                      <a:pt x="4192802" y="5055720"/>
                      <a:pt x="4192802" y="5063610"/>
                    </a:cubicBezTo>
                    <a:cubicBezTo>
                      <a:pt x="4192802" y="5071746"/>
                      <a:pt x="4199461" y="5078158"/>
                      <a:pt x="4207351" y="5078158"/>
                    </a:cubicBezTo>
                    <a:cubicBezTo>
                      <a:pt x="4215241" y="5078158"/>
                      <a:pt x="4221896" y="5071746"/>
                      <a:pt x="4221896" y="5063610"/>
                    </a:cubicBezTo>
                    <a:close/>
                    <a:moveTo>
                      <a:pt x="4223870" y="4263965"/>
                    </a:moveTo>
                    <a:cubicBezTo>
                      <a:pt x="4223870" y="4235608"/>
                      <a:pt x="4200939" y="4212677"/>
                      <a:pt x="4172582" y="4212677"/>
                    </a:cubicBezTo>
                    <a:cubicBezTo>
                      <a:pt x="4144225" y="4212677"/>
                      <a:pt x="4121294" y="4235608"/>
                      <a:pt x="4121294" y="4263965"/>
                    </a:cubicBezTo>
                    <a:cubicBezTo>
                      <a:pt x="4121294" y="4292321"/>
                      <a:pt x="4144225" y="4315252"/>
                      <a:pt x="4172582" y="4315252"/>
                    </a:cubicBezTo>
                    <a:cubicBezTo>
                      <a:pt x="4200939" y="4315252"/>
                      <a:pt x="4223870" y="4292321"/>
                      <a:pt x="4223870" y="4263965"/>
                    </a:cubicBezTo>
                    <a:close/>
                    <a:moveTo>
                      <a:pt x="4224610" y="1556791"/>
                    </a:moveTo>
                    <a:cubicBezTo>
                      <a:pt x="4224610" y="1545449"/>
                      <a:pt x="4215485" y="1536330"/>
                      <a:pt x="4204143" y="1536330"/>
                    </a:cubicBezTo>
                    <a:cubicBezTo>
                      <a:pt x="4192800" y="1536330"/>
                      <a:pt x="4183677" y="1545449"/>
                      <a:pt x="4183677" y="1556791"/>
                    </a:cubicBezTo>
                    <a:cubicBezTo>
                      <a:pt x="4183677" y="1568136"/>
                      <a:pt x="4192800" y="1577258"/>
                      <a:pt x="4204143" y="1577258"/>
                    </a:cubicBezTo>
                    <a:cubicBezTo>
                      <a:pt x="4215239" y="1577258"/>
                      <a:pt x="4224362" y="1567887"/>
                      <a:pt x="4224610" y="1556791"/>
                    </a:cubicBezTo>
                    <a:close/>
                    <a:moveTo>
                      <a:pt x="4230283" y="5966816"/>
                    </a:moveTo>
                    <a:cubicBezTo>
                      <a:pt x="4230283" y="5965831"/>
                      <a:pt x="4229790" y="5965090"/>
                      <a:pt x="4228802" y="5965090"/>
                    </a:cubicBezTo>
                    <a:cubicBezTo>
                      <a:pt x="4228064" y="5965090"/>
                      <a:pt x="4227323" y="5965831"/>
                      <a:pt x="4227323" y="5966816"/>
                    </a:cubicBezTo>
                    <a:cubicBezTo>
                      <a:pt x="4227323" y="5967556"/>
                      <a:pt x="4227817" y="5968294"/>
                      <a:pt x="4228802" y="5968294"/>
                    </a:cubicBezTo>
                    <a:cubicBezTo>
                      <a:pt x="4229542" y="5968294"/>
                      <a:pt x="4230283" y="5967556"/>
                      <a:pt x="4230283" y="5966816"/>
                    </a:cubicBezTo>
                    <a:close/>
                    <a:moveTo>
                      <a:pt x="4232006" y="1697322"/>
                    </a:moveTo>
                    <a:cubicBezTo>
                      <a:pt x="4232006" y="1672165"/>
                      <a:pt x="4211542" y="1651704"/>
                      <a:pt x="4186390" y="1651704"/>
                    </a:cubicBezTo>
                    <a:cubicBezTo>
                      <a:pt x="4161240" y="1651704"/>
                      <a:pt x="4140774" y="1672165"/>
                      <a:pt x="4140774" y="1697322"/>
                    </a:cubicBezTo>
                    <a:cubicBezTo>
                      <a:pt x="4140774" y="1722454"/>
                      <a:pt x="4161240" y="1742947"/>
                      <a:pt x="4186390" y="1742947"/>
                    </a:cubicBezTo>
                    <a:cubicBezTo>
                      <a:pt x="4211542" y="1742947"/>
                      <a:pt x="4232006" y="1722454"/>
                      <a:pt x="4232006" y="1697322"/>
                    </a:cubicBezTo>
                    <a:close/>
                    <a:moveTo>
                      <a:pt x="4233487" y="5209338"/>
                    </a:moveTo>
                    <a:cubicBezTo>
                      <a:pt x="4233487" y="5206624"/>
                      <a:pt x="4231268" y="5204406"/>
                      <a:pt x="4228555" y="5204406"/>
                    </a:cubicBezTo>
                    <a:cubicBezTo>
                      <a:pt x="4225843" y="5204406"/>
                      <a:pt x="4223624" y="5206624"/>
                      <a:pt x="4223624" y="5209338"/>
                    </a:cubicBezTo>
                    <a:cubicBezTo>
                      <a:pt x="4223624" y="5212050"/>
                      <a:pt x="4225843" y="5214269"/>
                      <a:pt x="4228555" y="5214269"/>
                    </a:cubicBezTo>
                    <a:cubicBezTo>
                      <a:pt x="4231268" y="5214269"/>
                      <a:pt x="4233487" y="5212050"/>
                      <a:pt x="4233487" y="5209338"/>
                    </a:cubicBezTo>
                    <a:close/>
                    <a:moveTo>
                      <a:pt x="4234227" y="4666868"/>
                    </a:moveTo>
                    <a:cubicBezTo>
                      <a:pt x="4234227" y="4657005"/>
                      <a:pt x="4226337" y="4649114"/>
                      <a:pt x="4216474" y="4649114"/>
                    </a:cubicBezTo>
                    <a:cubicBezTo>
                      <a:pt x="4206611" y="4649114"/>
                      <a:pt x="4198720" y="4657005"/>
                      <a:pt x="4198720" y="4666868"/>
                    </a:cubicBezTo>
                    <a:cubicBezTo>
                      <a:pt x="4198720" y="4676732"/>
                      <a:pt x="4206611" y="4684622"/>
                      <a:pt x="4216474" y="4684622"/>
                    </a:cubicBezTo>
                    <a:cubicBezTo>
                      <a:pt x="4226090" y="4684622"/>
                      <a:pt x="4234227" y="4676732"/>
                      <a:pt x="4234227" y="4666868"/>
                    </a:cubicBezTo>
                    <a:close/>
                    <a:moveTo>
                      <a:pt x="4241131" y="6098488"/>
                    </a:moveTo>
                    <a:cubicBezTo>
                      <a:pt x="4241131" y="6096515"/>
                      <a:pt x="4239652" y="6095037"/>
                      <a:pt x="4237678" y="6095037"/>
                    </a:cubicBezTo>
                    <a:cubicBezTo>
                      <a:pt x="4235705" y="6095037"/>
                      <a:pt x="4234227" y="6096515"/>
                      <a:pt x="4234227" y="6098488"/>
                    </a:cubicBezTo>
                    <a:cubicBezTo>
                      <a:pt x="4234227" y="6100463"/>
                      <a:pt x="4235705" y="6101941"/>
                      <a:pt x="4237678" y="6101941"/>
                    </a:cubicBezTo>
                    <a:cubicBezTo>
                      <a:pt x="4239405" y="6101941"/>
                      <a:pt x="4240885" y="6100463"/>
                      <a:pt x="4241131" y="6098488"/>
                    </a:cubicBezTo>
                    <a:close/>
                    <a:moveTo>
                      <a:pt x="4245569" y="2790301"/>
                    </a:moveTo>
                    <a:cubicBezTo>
                      <a:pt x="4245569" y="2770083"/>
                      <a:pt x="4229297" y="2753807"/>
                      <a:pt x="4209077" y="2753807"/>
                    </a:cubicBezTo>
                    <a:cubicBezTo>
                      <a:pt x="4189104" y="2753807"/>
                      <a:pt x="4172582" y="2770083"/>
                      <a:pt x="4172582" y="2790301"/>
                    </a:cubicBezTo>
                    <a:cubicBezTo>
                      <a:pt x="4172582" y="2810522"/>
                      <a:pt x="4188858" y="2826794"/>
                      <a:pt x="4209077" y="2826794"/>
                    </a:cubicBezTo>
                    <a:cubicBezTo>
                      <a:pt x="4229297" y="2826794"/>
                      <a:pt x="4245569" y="2810522"/>
                      <a:pt x="4245569" y="2790301"/>
                    </a:cubicBezTo>
                    <a:close/>
                    <a:moveTo>
                      <a:pt x="4247049" y="1417501"/>
                    </a:moveTo>
                    <a:cubicBezTo>
                      <a:pt x="4247049" y="1402211"/>
                      <a:pt x="4234721" y="1389879"/>
                      <a:pt x="4219433" y="1389879"/>
                    </a:cubicBezTo>
                    <a:cubicBezTo>
                      <a:pt x="4204146" y="1389879"/>
                      <a:pt x="4191816" y="1402211"/>
                      <a:pt x="4191816" y="1417501"/>
                    </a:cubicBezTo>
                    <a:cubicBezTo>
                      <a:pt x="4191816" y="1432784"/>
                      <a:pt x="4204146" y="1445112"/>
                      <a:pt x="4219433" y="1445112"/>
                    </a:cubicBezTo>
                    <a:cubicBezTo>
                      <a:pt x="4234721" y="1445112"/>
                      <a:pt x="4247049" y="1432784"/>
                      <a:pt x="4247049" y="1417501"/>
                    </a:cubicBezTo>
                    <a:close/>
                    <a:moveTo>
                      <a:pt x="4248773" y="6228430"/>
                    </a:moveTo>
                    <a:cubicBezTo>
                      <a:pt x="4248773" y="6227199"/>
                      <a:pt x="4247786" y="6226212"/>
                      <a:pt x="4246555" y="6226212"/>
                    </a:cubicBezTo>
                    <a:cubicBezTo>
                      <a:pt x="4245322" y="6226212"/>
                      <a:pt x="4244336" y="6227199"/>
                      <a:pt x="4244336" y="6228430"/>
                    </a:cubicBezTo>
                    <a:cubicBezTo>
                      <a:pt x="4244336" y="6229665"/>
                      <a:pt x="4245322" y="6230652"/>
                      <a:pt x="4246555" y="6230652"/>
                    </a:cubicBezTo>
                    <a:cubicBezTo>
                      <a:pt x="4248035" y="6230652"/>
                      <a:pt x="4249021" y="6229665"/>
                      <a:pt x="4248773" y="6228430"/>
                    </a:cubicBezTo>
                    <a:close/>
                    <a:moveTo>
                      <a:pt x="4249267" y="2330452"/>
                    </a:moveTo>
                    <a:cubicBezTo>
                      <a:pt x="4249267" y="2325514"/>
                      <a:pt x="4245321" y="2321570"/>
                      <a:pt x="4240390" y="2321570"/>
                    </a:cubicBezTo>
                    <a:cubicBezTo>
                      <a:pt x="4235459" y="2321570"/>
                      <a:pt x="4231514" y="2325514"/>
                      <a:pt x="4231514" y="2330452"/>
                    </a:cubicBezTo>
                    <a:cubicBezTo>
                      <a:pt x="4231514" y="2335390"/>
                      <a:pt x="4235459" y="2339341"/>
                      <a:pt x="4240390" y="2339341"/>
                    </a:cubicBezTo>
                    <a:cubicBezTo>
                      <a:pt x="4245321" y="2339341"/>
                      <a:pt x="4249267" y="2335390"/>
                      <a:pt x="4249267" y="2330452"/>
                    </a:cubicBezTo>
                    <a:close/>
                    <a:moveTo>
                      <a:pt x="4250503" y="2079196"/>
                    </a:moveTo>
                    <a:cubicBezTo>
                      <a:pt x="4250503" y="2057490"/>
                      <a:pt x="4232996" y="2039979"/>
                      <a:pt x="4211296" y="2039979"/>
                    </a:cubicBezTo>
                    <a:cubicBezTo>
                      <a:pt x="4189598" y="2039979"/>
                      <a:pt x="4172090" y="2057490"/>
                      <a:pt x="4172090" y="2079196"/>
                    </a:cubicBezTo>
                    <a:cubicBezTo>
                      <a:pt x="4172090" y="2100900"/>
                      <a:pt x="4189598" y="2118412"/>
                      <a:pt x="4211296" y="2118412"/>
                    </a:cubicBezTo>
                    <a:cubicBezTo>
                      <a:pt x="4232996" y="2118412"/>
                      <a:pt x="4250503" y="2100651"/>
                      <a:pt x="4250503" y="2079196"/>
                    </a:cubicBezTo>
                    <a:close/>
                    <a:moveTo>
                      <a:pt x="4250503" y="5351610"/>
                    </a:moveTo>
                    <a:cubicBezTo>
                      <a:pt x="4250503" y="5350129"/>
                      <a:pt x="4249268" y="5348897"/>
                      <a:pt x="4247790" y="5348897"/>
                    </a:cubicBezTo>
                    <a:cubicBezTo>
                      <a:pt x="4246309" y="5348897"/>
                      <a:pt x="4245077" y="5350129"/>
                      <a:pt x="4245077" y="5351610"/>
                    </a:cubicBezTo>
                    <a:cubicBezTo>
                      <a:pt x="4245077" y="5353088"/>
                      <a:pt x="4246309" y="5354324"/>
                      <a:pt x="4247790" y="5354324"/>
                    </a:cubicBezTo>
                    <a:cubicBezTo>
                      <a:pt x="4249268" y="5354324"/>
                      <a:pt x="4250503" y="5353088"/>
                      <a:pt x="4250503" y="5351610"/>
                    </a:cubicBezTo>
                    <a:close/>
                    <a:moveTo>
                      <a:pt x="4251731" y="1931051"/>
                    </a:moveTo>
                    <a:cubicBezTo>
                      <a:pt x="4251731" y="1923411"/>
                      <a:pt x="4245568" y="1917251"/>
                      <a:pt x="4237924" y="1917251"/>
                    </a:cubicBezTo>
                    <a:cubicBezTo>
                      <a:pt x="4230033" y="1917251"/>
                      <a:pt x="4223870" y="1923411"/>
                      <a:pt x="4223870" y="1931051"/>
                    </a:cubicBezTo>
                    <a:cubicBezTo>
                      <a:pt x="4223870" y="1938936"/>
                      <a:pt x="4230280" y="1945097"/>
                      <a:pt x="4237924" y="1945097"/>
                    </a:cubicBezTo>
                    <a:cubicBezTo>
                      <a:pt x="4245568" y="1945097"/>
                      <a:pt x="4251731" y="1938691"/>
                      <a:pt x="4251731" y="1931051"/>
                    </a:cubicBezTo>
                    <a:close/>
                    <a:moveTo>
                      <a:pt x="4259131" y="1116222"/>
                    </a:moveTo>
                    <a:cubicBezTo>
                      <a:pt x="4259131" y="1090340"/>
                      <a:pt x="4237924" y="1069130"/>
                      <a:pt x="4212034" y="1069130"/>
                    </a:cubicBezTo>
                    <a:cubicBezTo>
                      <a:pt x="4186144" y="1069130"/>
                      <a:pt x="4164937" y="1090340"/>
                      <a:pt x="4164937" y="1116222"/>
                    </a:cubicBezTo>
                    <a:cubicBezTo>
                      <a:pt x="4164937" y="1142120"/>
                      <a:pt x="4185896" y="1163322"/>
                      <a:pt x="4212034" y="1163322"/>
                    </a:cubicBezTo>
                    <a:cubicBezTo>
                      <a:pt x="4237924" y="1163322"/>
                      <a:pt x="4259131" y="1142120"/>
                      <a:pt x="4259131" y="1116222"/>
                    </a:cubicBezTo>
                    <a:close/>
                    <a:moveTo>
                      <a:pt x="4259377" y="6357145"/>
                    </a:moveTo>
                    <a:cubicBezTo>
                      <a:pt x="4259377" y="6354186"/>
                      <a:pt x="4257405" y="6351966"/>
                      <a:pt x="4254446" y="6351966"/>
                    </a:cubicBezTo>
                    <a:cubicBezTo>
                      <a:pt x="4251487" y="6351966"/>
                      <a:pt x="4249268" y="6354434"/>
                      <a:pt x="4249268" y="6357145"/>
                    </a:cubicBezTo>
                    <a:cubicBezTo>
                      <a:pt x="4249268" y="6360104"/>
                      <a:pt x="4251736" y="6362324"/>
                      <a:pt x="4254446" y="6362324"/>
                    </a:cubicBezTo>
                    <a:cubicBezTo>
                      <a:pt x="4257158" y="6362324"/>
                      <a:pt x="4259377" y="6360104"/>
                      <a:pt x="4259377" y="6357145"/>
                    </a:cubicBezTo>
                    <a:close/>
                    <a:moveTo>
                      <a:pt x="4261349" y="2593291"/>
                    </a:moveTo>
                    <a:cubicBezTo>
                      <a:pt x="4261349" y="2586883"/>
                      <a:pt x="4256171" y="2581455"/>
                      <a:pt x="4249513" y="2581455"/>
                    </a:cubicBezTo>
                    <a:cubicBezTo>
                      <a:pt x="4242858" y="2581455"/>
                      <a:pt x="4237432" y="2586634"/>
                      <a:pt x="4237432" y="2593291"/>
                    </a:cubicBezTo>
                    <a:cubicBezTo>
                      <a:pt x="4237432" y="2599949"/>
                      <a:pt x="4242858" y="2605373"/>
                      <a:pt x="4249513" y="2605373"/>
                    </a:cubicBezTo>
                    <a:cubicBezTo>
                      <a:pt x="4256171" y="2605373"/>
                      <a:pt x="4261595" y="2600196"/>
                      <a:pt x="4261349" y="2593291"/>
                    </a:cubicBezTo>
                    <a:close/>
                    <a:moveTo>
                      <a:pt x="4264062" y="4155225"/>
                    </a:moveTo>
                    <a:cubicBezTo>
                      <a:pt x="4264062" y="4126622"/>
                      <a:pt x="4240883" y="4103443"/>
                      <a:pt x="4212280" y="4103443"/>
                    </a:cubicBezTo>
                    <a:cubicBezTo>
                      <a:pt x="4183677" y="4103443"/>
                      <a:pt x="4160500" y="4126622"/>
                      <a:pt x="4160500" y="4155225"/>
                    </a:cubicBezTo>
                    <a:cubicBezTo>
                      <a:pt x="4160500" y="4183828"/>
                      <a:pt x="4183677" y="4207005"/>
                      <a:pt x="4212280" y="4207005"/>
                    </a:cubicBezTo>
                    <a:cubicBezTo>
                      <a:pt x="4240883" y="4207005"/>
                      <a:pt x="4264062" y="4183828"/>
                      <a:pt x="4264062" y="4155225"/>
                    </a:cubicBezTo>
                    <a:close/>
                    <a:moveTo>
                      <a:pt x="4266280" y="5491171"/>
                    </a:moveTo>
                    <a:cubicBezTo>
                      <a:pt x="4266280" y="5490678"/>
                      <a:pt x="4265786" y="5490184"/>
                      <a:pt x="4265294" y="5490184"/>
                    </a:cubicBezTo>
                    <a:cubicBezTo>
                      <a:pt x="4264802" y="5490184"/>
                      <a:pt x="4264308" y="5490678"/>
                      <a:pt x="4264308" y="5491171"/>
                    </a:cubicBezTo>
                    <a:cubicBezTo>
                      <a:pt x="4264308" y="5491662"/>
                      <a:pt x="4264802" y="5492156"/>
                      <a:pt x="4265294" y="5492156"/>
                    </a:cubicBezTo>
                    <a:cubicBezTo>
                      <a:pt x="4265786" y="5492156"/>
                      <a:pt x="4266280" y="5491911"/>
                      <a:pt x="4266280" y="5491171"/>
                    </a:cubicBezTo>
                    <a:close/>
                    <a:moveTo>
                      <a:pt x="4267019" y="4820487"/>
                    </a:moveTo>
                    <a:cubicBezTo>
                      <a:pt x="4267019" y="4810273"/>
                      <a:pt x="4258741" y="4801993"/>
                      <a:pt x="4248528" y="4801993"/>
                    </a:cubicBezTo>
                    <a:cubicBezTo>
                      <a:pt x="4238313" y="4801993"/>
                      <a:pt x="4230034" y="4810273"/>
                      <a:pt x="4230034" y="4820487"/>
                    </a:cubicBezTo>
                    <a:cubicBezTo>
                      <a:pt x="4230034" y="4830700"/>
                      <a:pt x="4238313" y="4838978"/>
                      <a:pt x="4248528" y="4838978"/>
                    </a:cubicBezTo>
                    <a:cubicBezTo>
                      <a:pt x="4258741" y="4838978"/>
                      <a:pt x="4267019" y="4830700"/>
                      <a:pt x="4267019" y="4820487"/>
                    </a:cubicBezTo>
                    <a:close/>
                    <a:moveTo>
                      <a:pt x="4267759" y="4405992"/>
                    </a:moveTo>
                    <a:cubicBezTo>
                      <a:pt x="4267759" y="4385279"/>
                      <a:pt x="4250746" y="4368266"/>
                      <a:pt x="4230034" y="4368266"/>
                    </a:cubicBezTo>
                    <a:cubicBezTo>
                      <a:pt x="4209075" y="4368266"/>
                      <a:pt x="4192308" y="4385279"/>
                      <a:pt x="4192308" y="4405992"/>
                    </a:cubicBezTo>
                    <a:cubicBezTo>
                      <a:pt x="4192308" y="4426704"/>
                      <a:pt x="4209321" y="4443717"/>
                      <a:pt x="4230034" y="4443717"/>
                    </a:cubicBezTo>
                    <a:cubicBezTo>
                      <a:pt x="4250746" y="4443717"/>
                      <a:pt x="4267513" y="4426704"/>
                      <a:pt x="4267759" y="4405992"/>
                    </a:cubicBezTo>
                    <a:close/>
                    <a:moveTo>
                      <a:pt x="4268499" y="6484872"/>
                    </a:moveTo>
                    <a:cubicBezTo>
                      <a:pt x="4268499" y="6480927"/>
                      <a:pt x="4265540" y="6477722"/>
                      <a:pt x="4261595" y="6477722"/>
                    </a:cubicBezTo>
                    <a:cubicBezTo>
                      <a:pt x="4257649" y="6477722"/>
                      <a:pt x="4254445" y="6480927"/>
                      <a:pt x="4254445" y="6484872"/>
                    </a:cubicBezTo>
                    <a:cubicBezTo>
                      <a:pt x="4254445" y="6488817"/>
                      <a:pt x="4257649" y="6492022"/>
                      <a:pt x="4261595" y="6492022"/>
                    </a:cubicBezTo>
                    <a:cubicBezTo>
                      <a:pt x="4265540" y="6492022"/>
                      <a:pt x="4268499" y="6488817"/>
                      <a:pt x="4268499" y="6484872"/>
                    </a:cubicBezTo>
                    <a:close/>
                    <a:moveTo>
                      <a:pt x="4269239" y="187001"/>
                    </a:moveTo>
                    <a:cubicBezTo>
                      <a:pt x="4269239" y="162346"/>
                      <a:pt x="4249267" y="142375"/>
                      <a:pt x="4224609" y="142375"/>
                    </a:cubicBezTo>
                    <a:cubicBezTo>
                      <a:pt x="4199952" y="142375"/>
                      <a:pt x="4179980" y="162346"/>
                      <a:pt x="4179980" y="187001"/>
                    </a:cubicBezTo>
                    <a:cubicBezTo>
                      <a:pt x="4179980" y="211658"/>
                      <a:pt x="4199952" y="231629"/>
                      <a:pt x="4224609" y="231629"/>
                    </a:cubicBezTo>
                    <a:cubicBezTo>
                      <a:pt x="4249267" y="231629"/>
                      <a:pt x="4269239" y="211658"/>
                      <a:pt x="4269239" y="187001"/>
                    </a:cubicBezTo>
                    <a:close/>
                    <a:moveTo>
                      <a:pt x="4269240" y="983339"/>
                    </a:moveTo>
                    <a:cubicBezTo>
                      <a:pt x="4269240" y="957455"/>
                      <a:pt x="4248036" y="936243"/>
                      <a:pt x="4222146" y="936243"/>
                    </a:cubicBezTo>
                    <a:cubicBezTo>
                      <a:pt x="4196256" y="936243"/>
                      <a:pt x="4175049" y="957455"/>
                      <a:pt x="4175049" y="983339"/>
                    </a:cubicBezTo>
                    <a:cubicBezTo>
                      <a:pt x="4175049" y="1008986"/>
                      <a:pt x="4196256" y="1030187"/>
                      <a:pt x="4222146" y="1030187"/>
                    </a:cubicBezTo>
                    <a:cubicBezTo>
                      <a:pt x="4248036" y="1030187"/>
                      <a:pt x="4269240" y="1009232"/>
                      <a:pt x="4269240" y="983339"/>
                    </a:cubicBezTo>
                    <a:close/>
                    <a:moveTo>
                      <a:pt x="4271952" y="1281157"/>
                    </a:moveTo>
                    <a:cubicBezTo>
                      <a:pt x="4271952" y="1260194"/>
                      <a:pt x="4254939" y="1242949"/>
                      <a:pt x="4233735" y="1242949"/>
                    </a:cubicBezTo>
                    <a:cubicBezTo>
                      <a:pt x="4212774" y="1242949"/>
                      <a:pt x="4195515" y="1259947"/>
                      <a:pt x="4195515" y="1281157"/>
                    </a:cubicBezTo>
                    <a:cubicBezTo>
                      <a:pt x="4195515" y="1302119"/>
                      <a:pt x="4212528" y="1319373"/>
                      <a:pt x="4233735" y="1319373"/>
                    </a:cubicBezTo>
                    <a:cubicBezTo>
                      <a:pt x="4254693" y="1319373"/>
                      <a:pt x="4271952" y="1302119"/>
                      <a:pt x="4271952" y="1281157"/>
                    </a:cubicBezTo>
                    <a:close/>
                    <a:moveTo>
                      <a:pt x="4272444" y="2900768"/>
                    </a:moveTo>
                    <a:cubicBezTo>
                      <a:pt x="4272444" y="2884741"/>
                      <a:pt x="4259377" y="2871673"/>
                      <a:pt x="4243347" y="2871673"/>
                    </a:cubicBezTo>
                    <a:cubicBezTo>
                      <a:pt x="4227321" y="2871673"/>
                      <a:pt x="4214253" y="2884741"/>
                      <a:pt x="4214253" y="2900768"/>
                    </a:cubicBezTo>
                    <a:cubicBezTo>
                      <a:pt x="4214253" y="2916797"/>
                      <a:pt x="4227321" y="2929865"/>
                      <a:pt x="4243347" y="2929865"/>
                    </a:cubicBezTo>
                    <a:cubicBezTo>
                      <a:pt x="4259377" y="2929865"/>
                      <a:pt x="4272444" y="2916797"/>
                      <a:pt x="4272444" y="2900768"/>
                    </a:cubicBezTo>
                    <a:close/>
                    <a:moveTo>
                      <a:pt x="4273430" y="62758"/>
                    </a:moveTo>
                    <a:cubicBezTo>
                      <a:pt x="4273430" y="38348"/>
                      <a:pt x="4253705" y="18624"/>
                      <a:pt x="4229295" y="18624"/>
                    </a:cubicBezTo>
                    <a:cubicBezTo>
                      <a:pt x="4204884" y="18624"/>
                      <a:pt x="4185158" y="38348"/>
                      <a:pt x="4185158" y="62758"/>
                    </a:cubicBezTo>
                    <a:cubicBezTo>
                      <a:pt x="4185158" y="87169"/>
                      <a:pt x="4204884" y="106893"/>
                      <a:pt x="4229295" y="106893"/>
                    </a:cubicBezTo>
                    <a:cubicBezTo>
                      <a:pt x="4253705" y="106893"/>
                      <a:pt x="4273430" y="87169"/>
                      <a:pt x="4273430" y="62758"/>
                    </a:cubicBezTo>
                    <a:close/>
                    <a:moveTo>
                      <a:pt x="4277871" y="6611613"/>
                    </a:moveTo>
                    <a:cubicBezTo>
                      <a:pt x="4277871" y="6606433"/>
                      <a:pt x="4273680" y="6601996"/>
                      <a:pt x="4268256" y="6601996"/>
                    </a:cubicBezTo>
                    <a:cubicBezTo>
                      <a:pt x="4262830" y="6601996"/>
                      <a:pt x="4258639" y="6606187"/>
                      <a:pt x="4258639" y="6611613"/>
                    </a:cubicBezTo>
                    <a:cubicBezTo>
                      <a:pt x="4258639" y="6616791"/>
                      <a:pt x="4262830" y="6621228"/>
                      <a:pt x="4268256" y="6621228"/>
                    </a:cubicBezTo>
                    <a:cubicBezTo>
                      <a:pt x="4273680" y="6621228"/>
                      <a:pt x="4277871" y="6616791"/>
                      <a:pt x="4277871" y="6611613"/>
                    </a:cubicBezTo>
                    <a:close/>
                    <a:moveTo>
                      <a:pt x="4278362" y="851934"/>
                    </a:moveTo>
                    <a:cubicBezTo>
                      <a:pt x="4278362" y="826296"/>
                      <a:pt x="4257404" y="805335"/>
                      <a:pt x="4231760" y="805335"/>
                    </a:cubicBezTo>
                    <a:cubicBezTo>
                      <a:pt x="4206116" y="805335"/>
                      <a:pt x="4185158" y="826296"/>
                      <a:pt x="4185158" y="851934"/>
                    </a:cubicBezTo>
                    <a:cubicBezTo>
                      <a:pt x="4185158" y="877577"/>
                      <a:pt x="4206116" y="898539"/>
                      <a:pt x="4231760" y="898539"/>
                    </a:cubicBezTo>
                    <a:cubicBezTo>
                      <a:pt x="4257404" y="898539"/>
                      <a:pt x="4278117" y="877826"/>
                      <a:pt x="4278362" y="851934"/>
                    </a:cubicBezTo>
                    <a:close/>
                    <a:moveTo>
                      <a:pt x="4282062" y="5629502"/>
                    </a:moveTo>
                    <a:cubicBezTo>
                      <a:pt x="4282062" y="5628762"/>
                      <a:pt x="4281321" y="5628021"/>
                      <a:pt x="4280581" y="5628021"/>
                    </a:cubicBezTo>
                    <a:cubicBezTo>
                      <a:pt x="4279843" y="5628021"/>
                      <a:pt x="4279102" y="5628762"/>
                      <a:pt x="4279102" y="5629502"/>
                    </a:cubicBezTo>
                    <a:cubicBezTo>
                      <a:pt x="4279102" y="5630240"/>
                      <a:pt x="4279843" y="5630980"/>
                      <a:pt x="4280581" y="5630980"/>
                    </a:cubicBezTo>
                    <a:cubicBezTo>
                      <a:pt x="4281567" y="5630980"/>
                      <a:pt x="4282062" y="5630240"/>
                      <a:pt x="4282062" y="5629502"/>
                    </a:cubicBezTo>
                    <a:close/>
                    <a:moveTo>
                      <a:pt x="4286253" y="721517"/>
                    </a:moveTo>
                    <a:cubicBezTo>
                      <a:pt x="4286253" y="695639"/>
                      <a:pt x="4265294" y="674668"/>
                      <a:pt x="4239405" y="674668"/>
                    </a:cubicBezTo>
                    <a:cubicBezTo>
                      <a:pt x="4213513" y="674668"/>
                      <a:pt x="4192554" y="695639"/>
                      <a:pt x="4192554" y="721517"/>
                    </a:cubicBezTo>
                    <a:cubicBezTo>
                      <a:pt x="4192554" y="747413"/>
                      <a:pt x="4213762" y="768371"/>
                      <a:pt x="4239405" y="768371"/>
                    </a:cubicBezTo>
                    <a:cubicBezTo>
                      <a:pt x="4265294" y="768371"/>
                      <a:pt x="4286253" y="747413"/>
                      <a:pt x="4286253" y="721517"/>
                    </a:cubicBezTo>
                    <a:close/>
                    <a:moveTo>
                      <a:pt x="4288225" y="4044514"/>
                    </a:moveTo>
                    <a:cubicBezTo>
                      <a:pt x="4288225" y="4021335"/>
                      <a:pt x="4269489" y="4002348"/>
                      <a:pt x="4246062" y="4002348"/>
                    </a:cubicBezTo>
                    <a:cubicBezTo>
                      <a:pt x="4222883" y="4002348"/>
                      <a:pt x="4203897" y="4021088"/>
                      <a:pt x="4203897" y="4044514"/>
                    </a:cubicBezTo>
                    <a:cubicBezTo>
                      <a:pt x="4203897" y="4067691"/>
                      <a:pt x="4222883" y="4086676"/>
                      <a:pt x="4246062" y="4086676"/>
                    </a:cubicBezTo>
                    <a:cubicBezTo>
                      <a:pt x="4269489" y="4086676"/>
                      <a:pt x="4288225" y="4067691"/>
                      <a:pt x="4288225" y="4044514"/>
                    </a:cubicBezTo>
                    <a:close/>
                    <a:moveTo>
                      <a:pt x="4292171" y="3013213"/>
                    </a:moveTo>
                    <a:cubicBezTo>
                      <a:pt x="4292171" y="3001871"/>
                      <a:pt x="4282802" y="2992500"/>
                      <a:pt x="4271459" y="2992500"/>
                    </a:cubicBezTo>
                    <a:cubicBezTo>
                      <a:pt x="4260117" y="2992500"/>
                      <a:pt x="4250746" y="3001871"/>
                      <a:pt x="4250746" y="3013213"/>
                    </a:cubicBezTo>
                    <a:cubicBezTo>
                      <a:pt x="4250746" y="3024557"/>
                      <a:pt x="4260117" y="3033926"/>
                      <a:pt x="4271459" y="3033926"/>
                    </a:cubicBezTo>
                    <a:cubicBezTo>
                      <a:pt x="4283049" y="3033926"/>
                      <a:pt x="4292171" y="3024557"/>
                      <a:pt x="4292171" y="3013213"/>
                    </a:cubicBezTo>
                    <a:close/>
                    <a:moveTo>
                      <a:pt x="4293652" y="592776"/>
                    </a:moveTo>
                    <a:cubicBezTo>
                      <a:pt x="4293652" y="567134"/>
                      <a:pt x="4272693" y="546176"/>
                      <a:pt x="4247050" y="546176"/>
                    </a:cubicBezTo>
                    <a:cubicBezTo>
                      <a:pt x="4221406" y="546176"/>
                      <a:pt x="4200447" y="567134"/>
                      <a:pt x="4200447" y="592776"/>
                    </a:cubicBezTo>
                    <a:cubicBezTo>
                      <a:pt x="4200447" y="618419"/>
                      <a:pt x="4221406" y="639377"/>
                      <a:pt x="4247050" y="639377"/>
                    </a:cubicBezTo>
                    <a:cubicBezTo>
                      <a:pt x="4272693" y="639377"/>
                      <a:pt x="4293652" y="618419"/>
                      <a:pt x="4293652" y="592776"/>
                    </a:cubicBezTo>
                    <a:close/>
                    <a:moveTo>
                      <a:pt x="4293897" y="6856709"/>
                    </a:moveTo>
                    <a:cubicBezTo>
                      <a:pt x="4293897" y="6853750"/>
                      <a:pt x="4291184" y="6851282"/>
                      <a:pt x="4288228" y="6851282"/>
                    </a:cubicBezTo>
                    <a:cubicBezTo>
                      <a:pt x="4285270" y="6851282"/>
                      <a:pt x="4282802" y="6853750"/>
                      <a:pt x="4282802" y="6856709"/>
                    </a:cubicBezTo>
                    <a:cubicBezTo>
                      <a:pt x="4282802" y="6859665"/>
                      <a:pt x="4285270" y="6862132"/>
                      <a:pt x="4288228" y="6862132"/>
                    </a:cubicBezTo>
                    <a:cubicBezTo>
                      <a:pt x="4291184" y="6862132"/>
                      <a:pt x="4293897" y="6859665"/>
                      <a:pt x="4293897" y="6856709"/>
                    </a:cubicBezTo>
                    <a:close/>
                    <a:moveTo>
                      <a:pt x="4294146" y="6731445"/>
                    </a:moveTo>
                    <a:cubicBezTo>
                      <a:pt x="4294146" y="6725282"/>
                      <a:pt x="4289212" y="6720349"/>
                      <a:pt x="4283048" y="6720349"/>
                    </a:cubicBezTo>
                    <a:cubicBezTo>
                      <a:pt x="4276884" y="6720349"/>
                      <a:pt x="4271952" y="6725282"/>
                      <a:pt x="4271952" y="6731445"/>
                    </a:cubicBezTo>
                    <a:cubicBezTo>
                      <a:pt x="4271952" y="6737612"/>
                      <a:pt x="4276884" y="6742541"/>
                      <a:pt x="4283048" y="6742541"/>
                    </a:cubicBezTo>
                    <a:cubicBezTo>
                      <a:pt x="4289212" y="6742541"/>
                      <a:pt x="4294146" y="6737612"/>
                      <a:pt x="4294146" y="6731445"/>
                    </a:cubicBezTo>
                    <a:close/>
                    <a:moveTo>
                      <a:pt x="4294884" y="4970898"/>
                    </a:moveTo>
                    <a:cubicBezTo>
                      <a:pt x="4294884" y="4961034"/>
                      <a:pt x="4286994" y="4953143"/>
                      <a:pt x="4277131" y="4953143"/>
                    </a:cubicBezTo>
                    <a:cubicBezTo>
                      <a:pt x="4267513" y="4953143"/>
                      <a:pt x="4259377" y="4961034"/>
                      <a:pt x="4259377" y="4970898"/>
                    </a:cubicBezTo>
                    <a:cubicBezTo>
                      <a:pt x="4259377" y="4980514"/>
                      <a:pt x="4267268" y="4988651"/>
                      <a:pt x="4277131" y="4988651"/>
                    </a:cubicBezTo>
                    <a:cubicBezTo>
                      <a:pt x="4286994" y="4988651"/>
                      <a:pt x="4294884" y="4980761"/>
                      <a:pt x="4294884" y="4970898"/>
                    </a:cubicBezTo>
                    <a:close/>
                    <a:moveTo>
                      <a:pt x="4296362" y="1642362"/>
                    </a:moveTo>
                    <a:cubicBezTo>
                      <a:pt x="4296362" y="1634469"/>
                      <a:pt x="4289952" y="1628303"/>
                      <a:pt x="4282308" y="1628303"/>
                    </a:cubicBezTo>
                    <a:cubicBezTo>
                      <a:pt x="4274418" y="1628303"/>
                      <a:pt x="4268253" y="1634717"/>
                      <a:pt x="4268253" y="1642362"/>
                    </a:cubicBezTo>
                    <a:cubicBezTo>
                      <a:pt x="4268253" y="1650001"/>
                      <a:pt x="4274663" y="1656407"/>
                      <a:pt x="4282308" y="1656407"/>
                    </a:cubicBezTo>
                    <a:cubicBezTo>
                      <a:pt x="4289952" y="1656407"/>
                      <a:pt x="4296362" y="1650001"/>
                      <a:pt x="4296362" y="1642362"/>
                    </a:cubicBezTo>
                    <a:close/>
                    <a:moveTo>
                      <a:pt x="4299818" y="464833"/>
                    </a:moveTo>
                    <a:cubicBezTo>
                      <a:pt x="4299818" y="439436"/>
                      <a:pt x="4279105" y="418725"/>
                      <a:pt x="4253708" y="418725"/>
                    </a:cubicBezTo>
                    <a:cubicBezTo>
                      <a:pt x="4228309" y="418725"/>
                      <a:pt x="4207597" y="439436"/>
                      <a:pt x="4207597" y="464833"/>
                    </a:cubicBezTo>
                    <a:cubicBezTo>
                      <a:pt x="4207597" y="490230"/>
                      <a:pt x="4228309" y="510941"/>
                      <a:pt x="4253708" y="510941"/>
                    </a:cubicBezTo>
                    <a:cubicBezTo>
                      <a:pt x="4278858" y="510941"/>
                      <a:pt x="4299818" y="490230"/>
                      <a:pt x="4299818" y="464833"/>
                    </a:cubicBezTo>
                    <a:close/>
                    <a:moveTo>
                      <a:pt x="4300802" y="4564788"/>
                    </a:moveTo>
                    <a:cubicBezTo>
                      <a:pt x="4300802" y="4549501"/>
                      <a:pt x="4288228" y="4537170"/>
                      <a:pt x="4272939" y="4537170"/>
                    </a:cubicBezTo>
                    <a:cubicBezTo>
                      <a:pt x="4257653" y="4537170"/>
                      <a:pt x="4245322" y="4549501"/>
                      <a:pt x="4245322" y="4564788"/>
                    </a:cubicBezTo>
                    <a:cubicBezTo>
                      <a:pt x="4245322" y="4580322"/>
                      <a:pt x="4257653" y="4592649"/>
                      <a:pt x="4272939" y="4592649"/>
                    </a:cubicBezTo>
                    <a:cubicBezTo>
                      <a:pt x="4288228" y="4592649"/>
                      <a:pt x="4300556" y="4580322"/>
                      <a:pt x="4300802" y="4564788"/>
                    </a:cubicBezTo>
                    <a:close/>
                    <a:moveTo>
                      <a:pt x="4300802" y="6980983"/>
                    </a:moveTo>
                    <a:cubicBezTo>
                      <a:pt x="4300802" y="6976789"/>
                      <a:pt x="4297352" y="6973338"/>
                      <a:pt x="4293161" y="6973338"/>
                    </a:cubicBezTo>
                    <a:cubicBezTo>
                      <a:pt x="4288966" y="6973338"/>
                      <a:pt x="4285515" y="6976789"/>
                      <a:pt x="4285515" y="6980983"/>
                    </a:cubicBezTo>
                    <a:cubicBezTo>
                      <a:pt x="4285515" y="6985174"/>
                      <a:pt x="4288966" y="6988624"/>
                      <a:pt x="4293161" y="6988624"/>
                    </a:cubicBezTo>
                    <a:cubicBezTo>
                      <a:pt x="4297597" y="6988624"/>
                      <a:pt x="4301050" y="6985174"/>
                      <a:pt x="4300802" y="6980983"/>
                    </a:cubicBezTo>
                    <a:close/>
                    <a:moveTo>
                      <a:pt x="4302528" y="3932073"/>
                    </a:moveTo>
                    <a:cubicBezTo>
                      <a:pt x="4302528" y="3916046"/>
                      <a:pt x="4289706" y="3902977"/>
                      <a:pt x="4273679" y="3902977"/>
                    </a:cubicBezTo>
                    <a:cubicBezTo>
                      <a:pt x="4257898" y="3902977"/>
                      <a:pt x="4244830" y="3916046"/>
                      <a:pt x="4244830" y="3932073"/>
                    </a:cubicBezTo>
                    <a:cubicBezTo>
                      <a:pt x="4244830" y="3947853"/>
                      <a:pt x="4257652" y="3960924"/>
                      <a:pt x="4273679" y="3960924"/>
                    </a:cubicBezTo>
                    <a:cubicBezTo>
                      <a:pt x="4289706" y="3960924"/>
                      <a:pt x="4302776" y="3948102"/>
                      <a:pt x="4302528" y="3932073"/>
                    </a:cubicBezTo>
                    <a:close/>
                    <a:moveTo>
                      <a:pt x="4305239" y="338121"/>
                    </a:moveTo>
                    <a:cubicBezTo>
                      <a:pt x="4305239" y="312972"/>
                      <a:pt x="4284774" y="292507"/>
                      <a:pt x="4259622" y="292507"/>
                    </a:cubicBezTo>
                    <a:cubicBezTo>
                      <a:pt x="4234473" y="292507"/>
                      <a:pt x="4214006" y="312972"/>
                      <a:pt x="4214006" y="338121"/>
                    </a:cubicBezTo>
                    <a:cubicBezTo>
                      <a:pt x="4214006" y="363272"/>
                      <a:pt x="4234473" y="383737"/>
                      <a:pt x="4259622" y="383737"/>
                    </a:cubicBezTo>
                    <a:cubicBezTo>
                      <a:pt x="4284774" y="383737"/>
                      <a:pt x="4304993" y="363272"/>
                      <a:pt x="4305239" y="338121"/>
                    </a:cubicBezTo>
                    <a:close/>
                    <a:moveTo>
                      <a:pt x="4305980" y="1785859"/>
                    </a:moveTo>
                    <a:cubicBezTo>
                      <a:pt x="4305980" y="1761457"/>
                      <a:pt x="4286253" y="1741465"/>
                      <a:pt x="4261596" y="1741465"/>
                    </a:cubicBezTo>
                    <a:cubicBezTo>
                      <a:pt x="4237184" y="1741465"/>
                      <a:pt x="4217212" y="1761457"/>
                      <a:pt x="4217212" y="1785859"/>
                    </a:cubicBezTo>
                    <a:cubicBezTo>
                      <a:pt x="4217212" y="1810309"/>
                      <a:pt x="4237184" y="1830277"/>
                      <a:pt x="4261596" y="1830277"/>
                    </a:cubicBezTo>
                    <a:cubicBezTo>
                      <a:pt x="4286253" y="1830277"/>
                      <a:pt x="4306225" y="1810309"/>
                      <a:pt x="4305980" y="1785859"/>
                    </a:cubicBezTo>
                    <a:close/>
                    <a:moveTo>
                      <a:pt x="4306225" y="3126887"/>
                    </a:moveTo>
                    <a:cubicBezTo>
                      <a:pt x="4306225" y="3119983"/>
                      <a:pt x="4300556" y="3114311"/>
                      <a:pt x="4293652" y="3114311"/>
                    </a:cubicBezTo>
                    <a:cubicBezTo>
                      <a:pt x="4286747" y="3114311"/>
                      <a:pt x="4281075" y="3119983"/>
                      <a:pt x="4281075" y="3126887"/>
                    </a:cubicBezTo>
                    <a:cubicBezTo>
                      <a:pt x="4281075" y="3133791"/>
                      <a:pt x="4286747" y="3139463"/>
                      <a:pt x="4293652" y="3139463"/>
                    </a:cubicBezTo>
                    <a:cubicBezTo>
                      <a:pt x="4300556" y="3139463"/>
                      <a:pt x="4306225" y="3133791"/>
                      <a:pt x="4306225" y="3126887"/>
                    </a:cubicBezTo>
                    <a:close/>
                    <a:moveTo>
                      <a:pt x="4306473" y="5755993"/>
                    </a:moveTo>
                    <a:cubicBezTo>
                      <a:pt x="4306473" y="5755255"/>
                      <a:pt x="4305733" y="5754514"/>
                      <a:pt x="4304992" y="5754514"/>
                    </a:cubicBezTo>
                    <a:cubicBezTo>
                      <a:pt x="4304255" y="5754514"/>
                      <a:pt x="4303514" y="5755255"/>
                      <a:pt x="4303514" y="5755993"/>
                    </a:cubicBezTo>
                    <a:cubicBezTo>
                      <a:pt x="4303514" y="5756733"/>
                      <a:pt x="4304255" y="5757474"/>
                      <a:pt x="4304992" y="5757474"/>
                    </a:cubicBezTo>
                    <a:cubicBezTo>
                      <a:pt x="4305733" y="5757474"/>
                      <a:pt x="4306473" y="5756733"/>
                      <a:pt x="4306473" y="5755993"/>
                    </a:cubicBezTo>
                    <a:close/>
                    <a:moveTo>
                      <a:pt x="4308941" y="5119337"/>
                    </a:moveTo>
                    <a:cubicBezTo>
                      <a:pt x="4308941" y="5115144"/>
                      <a:pt x="4305487" y="5111938"/>
                      <a:pt x="4301543" y="5111938"/>
                    </a:cubicBezTo>
                    <a:cubicBezTo>
                      <a:pt x="4297352" y="5111938"/>
                      <a:pt x="4294146" y="5115389"/>
                      <a:pt x="4294146" y="5119337"/>
                    </a:cubicBezTo>
                    <a:cubicBezTo>
                      <a:pt x="4294146" y="5123528"/>
                      <a:pt x="4297352" y="5126733"/>
                      <a:pt x="4301543" y="5126733"/>
                    </a:cubicBezTo>
                    <a:cubicBezTo>
                      <a:pt x="4305736" y="5126733"/>
                      <a:pt x="4308941" y="5123280"/>
                      <a:pt x="4308941" y="5119337"/>
                    </a:cubicBezTo>
                    <a:close/>
                    <a:moveTo>
                      <a:pt x="4310173" y="3818401"/>
                    </a:moveTo>
                    <a:cubicBezTo>
                      <a:pt x="4310173" y="3810265"/>
                      <a:pt x="4303514" y="3803607"/>
                      <a:pt x="4295377" y="3803607"/>
                    </a:cubicBezTo>
                    <a:cubicBezTo>
                      <a:pt x="4287242" y="3803607"/>
                      <a:pt x="4280583" y="3810265"/>
                      <a:pt x="4280583" y="3818401"/>
                    </a:cubicBezTo>
                    <a:cubicBezTo>
                      <a:pt x="4280583" y="3826537"/>
                      <a:pt x="4287242" y="3833196"/>
                      <a:pt x="4295377" y="3833196"/>
                    </a:cubicBezTo>
                    <a:cubicBezTo>
                      <a:pt x="4303514" y="3833196"/>
                      <a:pt x="4310173" y="3826537"/>
                      <a:pt x="4310173" y="3818401"/>
                    </a:cubicBezTo>
                    <a:close/>
                    <a:moveTo>
                      <a:pt x="4312883" y="2176363"/>
                    </a:moveTo>
                    <a:cubicBezTo>
                      <a:pt x="4312883" y="2155646"/>
                      <a:pt x="4295870" y="2138630"/>
                      <a:pt x="4275158" y="2138630"/>
                    </a:cubicBezTo>
                    <a:cubicBezTo>
                      <a:pt x="4254445" y="2138630"/>
                      <a:pt x="4237432" y="2155646"/>
                      <a:pt x="4237432" y="2176363"/>
                    </a:cubicBezTo>
                    <a:cubicBezTo>
                      <a:pt x="4237432" y="2197076"/>
                      <a:pt x="4254445" y="2214097"/>
                      <a:pt x="4275158" y="2214097"/>
                    </a:cubicBezTo>
                    <a:cubicBezTo>
                      <a:pt x="4296118" y="2214097"/>
                      <a:pt x="4312883" y="2197076"/>
                      <a:pt x="4312883" y="2176363"/>
                    </a:cubicBezTo>
                    <a:close/>
                    <a:moveTo>
                      <a:pt x="4312886" y="2025440"/>
                    </a:moveTo>
                    <a:cubicBezTo>
                      <a:pt x="4312886" y="2021493"/>
                      <a:pt x="4309678" y="2018285"/>
                      <a:pt x="4305733" y="2018285"/>
                    </a:cubicBezTo>
                    <a:cubicBezTo>
                      <a:pt x="4301787" y="2018285"/>
                      <a:pt x="4298583" y="2021493"/>
                      <a:pt x="4298583" y="2025440"/>
                    </a:cubicBezTo>
                    <a:cubicBezTo>
                      <a:pt x="4298583" y="2029386"/>
                      <a:pt x="4301787" y="2032593"/>
                      <a:pt x="4305733" y="2032593"/>
                    </a:cubicBezTo>
                    <a:cubicBezTo>
                      <a:pt x="4309927" y="2032593"/>
                      <a:pt x="4313132" y="2029141"/>
                      <a:pt x="4312886" y="2025440"/>
                    </a:cubicBezTo>
                    <a:close/>
                    <a:moveTo>
                      <a:pt x="4314118" y="3703495"/>
                    </a:moveTo>
                    <a:cubicBezTo>
                      <a:pt x="4314118" y="3701523"/>
                      <a:pt x="4312639" y="3700045"/>
                      <a:pt x="4310665" y="3700045"/>
                    </a:cubicBezTo>
                    <a:cubicBezTo>
                      <a:pt x="4308692" y="3700045"/>
                      <a:pt x="4307214" y="3701523"/>
                      <a:pt x="4307214" y="3703495"/>
                    </a:cubicBezTo>
                    <a:cubicBezTo>
                      <a:pt x="4307214" y="3705717"/>
                      <a:pt x="4308692" y="3707195"/>
                      <a:pt x="4310665" y="3707195"/>
                    </a:cubicBezTo>
                    <a:cubicBezTo>
                      <a:pt x="4312392" y="3707195"/>
                      <a:pt x="4314118" y="3705468"/>
                      <a:pt x="4314118" y="3703495"/>
                    </a:cubicBezTo>
                    <a:close/>
                    <a:moveTo>
                      <a:pt x="4314365" y="2701789"/>
                    </a:moveTo>
                    <a:cubicBezTo>
                      <a:pt x="4314365" y="2689707"/>
                      <a:pt x="4304747" y="2679842"/>
                      <a:pt x="4292665" y="2679842"/>
                    </a:cubicBezTo>
                    <a:cubicBezTo>
                      <a:pt x="4280830" y="2679842"/>
                      <a:pt x="4270967" y="2689707"/>
                      <a:pt x="4270967" y="2701789"/>
                    </a:cubicBezTo>
                    <a:cubicBezTo>
                      <a:pt x="4270967" y="2713624"/>
                      <a:pt x="4280584" y="2723488"/>
                      <a:pt x="4292665" y="2723488"/>
                    </a:cubicBezTo>
                    <a:cubicBezTo>
                      <a:pt x="4304747" y="2723488"/>
                      <a:pt x="4314610" y="2713874"/>
                      <a:pt x="4314365" y="2701789"/>
                    </a:cubicBezTo>
                    <a:close/>
                    <a:moveTo>
                      <a:pt x="4315102" y="3241303"/>
                    </a:moveTo>
                    <a:cubicBezTo>
                      <a:pt x="4315102" y="3238097"/>
                      <a:pt x="4312637" y="3235631"/>
                      <a:pt x="4309433" y="3235631"/>
                    </a:cubicBezTo>
                    <a:cubicBezTo>
                      <a:pt x="4306225" y="3235631"/>
                      <a:pt x="4303761" y="3238097"/>
                      <a:pt x="4303761" y="3241303"/>
                    </a:cubicBezTo>
                    <a:cubicBezTo>
                      <a:pt x="4303761" y="3244507"/>
                      <a:pt x="4306225" y="3246974"/>
                      <a:pt x="4309433" y="3246974"/>
                    </a:cubicBezTo>
                    <a:cubicBezTo>
                      <a:pt x="4312637" y="3246974"/>
                      <a:pt x="4315102" y="3244507"/>
                      <a:pt x="4315102" y="3241303"/>
                    </a:cubicBezTo>
                    <a:close/>
                    <a:moveTo>
                      <a:pt x="4316827" y="2433278"/>
                    </a:moveTo>
                    <a:cubicBezTo>
                      <a:pt x="4316827" y="2421194"/>
                      <a:pt x="4306964" y="2411333"/>
                      <a:pt x="4294883" y="2411333"/>
                    </a:cubicBezTo>
                    <a:cubicBezTo>
                      <a:pt x="4283048" y="2411333"/>
                      <a:pt x="4273184" y="2421194"/>
                      <a:pt x="4273184" y="2433278"/>
                    </a:cubicBezTo>
                    <a:cubicBezTo>
                      <a:pt x="4273184" y="2445117"/>
                      <a:pt x="4282802" y="2454971"/>
                      <a:pt x="4294883" y="2454971"/>
                    </a:cubicBezTo>
                    <a:cubicBezTo>
                      <a:pt x="4306718" y="2454971"/>
                      <a:pt x="4316582" y="2445362"/>
                      <a:pt x="4316827" y="2433278"/>
                    </a:cubicBezTo>
                    <a:close/>
                    <a:moveTo>
                      <a:pt x="4317323" y="4298482"/>
                    </a:moveTo>
                    <a:cubicBezTo>
                      <a:pt x="4317323" y="4275305"/>
                      <a:pt x="4298583" y="4256565"/>
                      <a:pt x="4275403" y="4256565"/>
                    </a:cubicBezTo>
                    <a:cubicBezTo>
                      <a:pt x="4252472" y="4256565"/>
                      <a:pt x="4233733" y="4275552"/>
                      <a:pt x="4233733" y="4298482"/>
                    </a:cubicBezTo>
                    <a:cubicBezTo>
                      <a:pt x="4233733" y="4321662"/>
                      <a:pt x="4252472" y="4340402"/>
                      <a:pt x="4275403" y="4340402"/>
                    </a:cubicBezTo>
                    <a:cubicBezTo>
                      <a:pt x="4298583" y="4340402"/>
                      <a:pt x="4317323" y="4321662"/>
                      <a:pt x="4317323" y="4298482"/>
                    </a:cubicBezTo>
                    <a:close/>
                    <a:moveTo>
                      <a:pt x="4318556" y="5891363"/>
                    </a:moveTo>
                    <a:cubicBezTo>
                      <a:pt x="4318556" y="5890626"/>
                      <a:pt x="4317815" y="5889885"/>
                      <a:pt x="4317075" y="5889885"/>
                    </a:cubicBezTo>
                    <a:cubicBezTo>
                      <a:pt x="4316337" y="5889885"/>
                      <a:pt x="4315596" y="5890626"/>
                      <a:pt x="4315596" y="5891363"/>
                    </a:cubicBezTo>
                    <a:cubicBezTo>
                      <a:pt x="4315596" y="5892104"/>
                      <a:pt x="4316337" y="5892598"/>
                      <a:pt x="4317075" y="5892598"/>
                    </a:cubicBezTo>
                    <a:cubicBezTo>
                      <a:pt x="4318064" y="5892598"/>
                      <a:pt x="4318556" y="5892104"/>
                      <a:pt x="4318556" y="5891363"/>
                    </a:cubicBezTo>
                    <a:close/>
                    <a:moveTo>
                      <a:pt x="4320036" y="3588101"/>
                    </a:moveTo>
                    <a:cubicBezTo>
                      <a:pt x="4320036" y="3587851"/>
                      <a:pt x="4319789" y="3587606"/>
                      <a:pt x="4319541" y="3587606"/>
                    </a:cubicBezTo>
                    <a:cubicBezTo>
                      <a:pt x="4319541" y="3587606"/>
                      <a:pt x="4319295" y="3587851"/>
                      <a:pt x="4319295" y="3588101"/>
                    </a:cubicBezTo>
                    <a:cubicBezTo>
                      <a:pt x="4319295" y="3588347"/>
                      <a:pt x="4319295" y="3588593"/>
                      <a:pt x="4319541" y="3588593"/>
                    </a:cubicBezTo>
                    <a:cubicBezTo>
                      <a:pt x="4319789" y="3588593"/>
                      <a:pt x="4320036" y="3588347"/>
                      <a:pt x="4320036" y="3588101"/>
                    </a:cubicBezTo>
                    <a:close/>
                    <a:moveTo>
                      <a:pt x="4321265" y="1500841"/>
                    </a:moveTo>
                    <a:cubicBezTo>
                      <a:pt x="4321265" y="1489253"/>
                      <a:pt x="4311896" y="1479877"/>
                      <a:pt x="4300307" y="1479877"/>
                    </a:cubicBezTo>
                    <a:cubicBezTo>
                      <a:pt x="4288720" y="1479877"/>
                      <a:pt x="4279349" y="1489253"/>
                      <a:pt x="4279349" y="1500841"/>
                    </a:cubicBezTo>
                    <a:cubicBezTo>
                      <a:pt x="4279349" y="1512430"/>
                      <a:pt x="4288720" y="1521804"/>
                      <a:pt x="4300307" y="1521804"/>
                    </a:cubicBezTo>
                    <a:cubicBezTo>
                      <a:pt x="4311896" y="1521804"/>
                      <a:pt x="4321265" y="1512430"/>
                      <a:pt x="4321265" y="1500841"/>
                    </a:cubicBezTo>
                    <a:close/>
                    <a:moveTo>
                      <a:pt x="4322255" y="3356944"/>
                    </a:moveTo>
                    <a:cubicBezTo>
                      <a:pt x="4322255" y="3355215"/>
                      <a:pt x="4320774" y="3353731"/>
                      <a:pt x="4319047" y="3353731"/>
                    </a:cubicBezTo>
                    <a:cubicBezTo>
                      <a:pt x="4317320" y="3353731"/>
                      <a:pt x="4315842" y="3355215"/>
                      <a:pt x="4315842" y="3356944"/>
                    </a:cubicBezTo>
                    <a:cubicBezTo>
                      <a:pt x="4315842" y="3358665"/>
                      <a:pt x="4317320" y="3360144"/>
                      <a:pt x="4319047" y="3360144"/>
                    </a:cubicBezTo>
                    <a:cubicBezTo>
                      <a:pt x="4320774" y="3360144"/>
                      <a:pt x="4322255" y="3358665"/>
                      <a:pt x="4322255" y="3356944"/>
                    </a:cubicBezTo>
                    <a:close/>
                    <a:moveTo>
                      <a:pt x="4322749" y="3472211"/>
                    </a:moveTo>
                    <a:cubicBezTo>
                      <a:pt x="4322749" y="3471962"/>
                      <a:pt x="4322503" y="3471717"/>
                      <a:pt x="4322257" y="3471717"/>
                    </a:cubicBezTo>
                    <a:cubicBezTo>
                      <a:pt x="4322008" y="3471717"/>
                      <a:pt x="4321762" y="3471962"/>
                      <a:pt x="4321762" y="3472211"/>
                    </a:cubicBezTo>
                    <a:cubicBezTo>
                      <a:pt x="4321762" y="3472457"/>
                      <a:pt x="4322008" y="3472703"/>
                      <a:pt x="4322257" y="3472703"/>
                    </a:cubicBezTo>
                    <a:cubicBezTo>
                      <a:pt x="4322749" y="3472703"/>
                      <a:pt x="4322995" y="3472703"/>
                      <a:pt x="4322749" y="3472211"/>
                    </a:cubicBezTo>
                    <a:close/>
                    <a:moveTo>
                      <a:pt x="4327431" y="5264078"/>
                    </a:moveTo>
                    <a:cubicBezTo>
                      <a:pt x="4327431" y="5262170"/>
                      <a:pt x="4325885" y="5260625"/>
                      <a:pt x="4323978" y="5260625"/>
                    </a:cubicBezTo>
                    <a:cubicBezTo>
                      <a:pt x="4322072" y="5260625"/>
                      <a:pt x="4320527" y="5262170"/>
                      <a:pt x="4320527" y="5264078"/>
                    </a:cubicBezTo>
                    <a:cubicBezTo>
                      <a:pt x="4320527" y="5265984"/>
                      <a:pt x="4322072" y="5267529"/>
                      <a:pt x="4323978" y="5267529"/>
                    </a:cubicBezTo>
                    <a:cubicBezTo>
                      <a:pt x="4325885" y="5267529"/>
                      <a:pt x="4327431" y="5265984"/>
                      <a:pt x="4327431" y="5264078"/>
                    </a:cubicBezTo>
                    <a:close/>
                    <a:moveTo>
                      <a:pt x="4329158" y="6025252"/>
                    </a:moveTo>
                    <a:cubicBezTo>
                      <a:pt x="4329158" y="6024515"/>
                      <a:pt x="4328667" y="6023773"/>
                      <a:pt x="4327680" y="6023773"/>
                    </a:cubicBezTo>
                    <a:cubicBezTo>
                      <a:pt x="4326695" y="6023773"/>
                      <a:pt x="4325954" y="6024266"/>
                      <a:pt x="4325954" y="6025252"/>
                    </a:cubicBezTo>
                    <a:cubicBezTo>
                      <a:pt x="4325954" y="6026240"/>
                      <a:pt x="4326695" y="6026978"/>
                      <a:pt x="4327680" y="6026978"/>
                    </a:cubicBezTo>
                    <a:cubicBezTo>
                      <a:pt x="4328667" y="6026978"/>
                      <a:pt x="4329405" y="6026240"/>
                      <a:pt x="4329158" y="6025252"/>
                    </a:cubicBezTo>
                    <a:close/>
                    <a:moveTo>
                      <a:pt x="4329407" y="4721609"/>
                    </a:moveTo>
                    <a:cubicBezTo>
                      <a:pt x="4329407" y="4710759"/>
                      <a:pt x="4320530" y="4702128"/>
                      <a:pt x="4309926" y="4702128"/>
                    </a:cubicBezTo>
                    <a:cubicBezTo>
                      <a:pt x="4299323" y="4702128"/>
                      <a:pt x="4290446" y="4710759"/>
                      <a:pt x="4290446" y="4721609"/>
                    </a:cubicBezTo>
                    <a:cubicBezTo>
                      <a:pt x="4290446" y="4732458"/>
                      <a:pt x="4299077" y="4741085"/>
                      <a:pt x="4309926" y="4741085"/>
                    </a:cubicBezTo>
                    <a:cubicBezTo>
                      <a:pt x="4320530" y="4741085"/>
                      <a:pt x="4329407" y="4732458"/>
                      <a:pt x="4329407" y="4721609"/>
                    </a:cubicBezTo>
                    <a:close/>
                    <a:moveTo>
                      <a:pt x="4341240" y="6156926"/>
                    </a:moveTo>
                    <a:cubicBezTo>
                      <a:pt x="4341240" y="6155199"/>
                      <a:pt x="4339759" y="6153966"/>
                      <a:pt x="4338280" y="6153966"/>
                    </a:cubicBezTo>
                    <a:cubicBezTo>
                      <a:pt x="4336554" y="6153966"/>
                      <a:pt x="4335321" y="6155199"/>
                      <a:pt x="4335321" y="6156926"/>
                    </a:cubicBezTo>
                    <a:cubicBezTo>
                      <a:pt x="4335321" y="6158653"/>
                      <a:pt x="4336554" y="6159885"/>
                      <a:pt x="4338280" y="6159885"/>
                    </a:cubicBezTo>
                    <a:cubicBezTo>
                      <a:pt x="4339759" y="6159885"/>
                      <a:pt x="4341240" y="6158653"/>
                      <a:pt x="4341240" y="6156926"/>
                    </a:cubicBezTo>
                    <a:close/>
                    <a:moveTo>
                      <a:pt x="4346171" y="1193647"/>
                    </a:moveTo>
                    <a:cubicBezTo>
                      <a:pt x="4346171" y="1167513"/>
                      <a:pt x="4324967" y="1146308"/>
                      <a:pt x="4298829" y="1146308"/>
                    </a:cubicBezTo>
                    <a:cubicBezTo>
                      <a:pt x="4272693" y="1146308"/>
                      <a:pt x="4251486" y="1167513"/>
                      <a:pt x="4251486" y="1193647"/>
                    </a:cubicBezTo>
                    <a:cubicBezTo>
                      <a:pt x="4251486" y="1219790"/>
                      <a:pt x="4272693" y="1240997"/>
                      <a:pt x="4298829" y="1240997"/>
                    </a:cubicBezTo>
                    <a:cubicBezTo>
                      <a:pt x="4324967" y="1240997"/>
                      <a:pt x="4346171" y="1219790"/>
                      <a:pt x="4346171" y="1193647"/>
                    </a:cubicBezTo>
                    <a:close/>
                    <a:moveTo>
                      <a:pt x="4346171" y="5406595"/>
                    </a:moveTo>
                    <a:cubicBezTo>
                      <a:pt x="4346171" y="5405609"/>
                      <a:pt x="4345185" y="5404622"/>
                      <a:pt x="4344199" y="5404622"/>
                    </a:cubicBezTo>
                    <a:cubicBezTo>
                      <a:pt x="4343212" y="5404622"/>
                      <a:pt x="4342226" y="5405609"/>
                      <a:pt x="4342226" y="5406595"/>
                    </a:cubicBezTo>
                    <a:cubicBezTo>
                      <a:pt x="4342226" y="5407581"/>
                      <a:pt x="4342967" y="5408567"/>
                      <a:pt x="4344199" y="5408567"/>
                    </a:cubicBezTo>
                    <a:cubicBezTo>
                      <a:pt x="4345431" y="5408567"/>
                      <a:pt x="4346171" y="5407581"/>
                      <a:pt x="4346171" y="5406595"/>
                    </a:cubicBezTo>
                    <a:close/>
                    <a:moveTo>
                      <a:pt x="4350365" y="1361550"/>
                    </a:moveTo>
                    <a:cubicBezTo>
                      <a:pt x="4350365" y="1343053"/>
                      <a:pt x="4335324" y="1328007"/>
                      <a:pt x="4316831" y="1328007"/>
                    </a:cubicBezTo>
                    <a:cubicBezTo>
                      <a:pt x="4298337" y="1328007"/>
                      <a:pt x="4283296" y="1343053"/>
                      <a:pt x="4283296" y="1361550"/>
                    </a:cubicBezTo>
                    <a:cubicBezTo>
                      <a:pt x="4283296" y="1380038"/>
                      <a:pt x="4298337" y="1395081"/>
                      <a:pt x="4316831" y="1395081"/>
                    </a:cubicBezTo>
                    <a:cubicBezTo>
                      <a:pt x="4335324" y="1395081"/>
                      <a:pt x="4350365" y="1380038"/>
                      <a:pt x="4350365" y="1361550"/>
                    </a:cubicBezTo>
                    <a:close/>
                    <a:moveTo>
                      <a:pt x="4352830" y="6288106"/>
                    </a:moveTo>
                    <a:cubicBezTo>
                      <a:pt x="4352830" y="6285148"/>
                      <a:pt x="4350365" y="6282680"/>
                      <a:pt x="4347407" y="6282680"/>
                    </a:cubicBezTo>
                    <a:cubicBezTo>
                      <a:pt x="4344448" y="6282680"/>
                      <a:pt x="4341980" y="6285148"/>
                      <a:pt x="4341980" y="6288106"/>
                    </a:cubicBezTo>
                    <a:cubicBezTo>
                      <a:pt x="4341980" y="6291063"/>
                      <a:pt x="4344448" y="6293529"/>
                      <a:pt x="4347407" y="6293529"/>
                    </a:cubicBezTo>
                    <a:cubicBezTo>
                      <a:pt x="4350365" y="6293529"/>
                      <a:pt x="4352830" y="6291063"/>
                      <a:pt x="4352830" y="6288106"/>
                    </a:cubicBezTo>
                    <a:close/>
                    <a:moveTo>
                      <a:pt x="4357515" y="4077553"/>
                    </a:moveTo>
                    <a:cubicBezTo>
                      <a:pt x="4357515" y="4073116"/>
                      <a:pt x="4353817" y="4069416"/>
                      <a:pt x="4349377" y="4069416"/>
                    </a:cubicBezTo>
                    <a:cubicBezTo>
                      <a:pt x="4344940" y="4069416"/>
                      <a:pt x="4341240" y="4073116"/>
                      <a:pt x="4341240" y="4077553"/>
                    </a:cubicBezTo>
                    <a:cubicBezTo>
                      <a:pt x="4341240" y="4081993"/>
                      <a:pt x="4344940" y="4085693"/>
                      <a:pt x="4349377" y="4085693"/>
                    </a:cubicBezTo>
                    <a:cubicBezTo>
                      <a:pt x="4354062" y="4085693"/>
                      <a:pt x="4357761" y="4081993"/>
                      <a:pt x="4357515" y="4077553"/>
                    </a:cubicBezTo>
                    <a:close/>
                    <a:moveTo>
                      <a:pt x="4358008" y="1058536"/>
                    </a:moveTo>
                    <a:cubicBezTo>
                      <a:pt x="4358008" y="1032651"/>
                      <a:pt x="4337046" y="1011451"/>
                      <a:pt x="4310911" y="1011451"/>
                    </a:cubicBezTo>
                    <a:cubicBezTo>
                      <a:pt x="4284775" y="1011451"/>
                      <a:pt x="4263568" y="1032403"/>
                      <a:pt x="4263568" y="1058536"/>
                    </a:cubicBezTo>
                    <a:cubicBezTo>
                      <a:pt x="4263568" y="1084439"/>
                      <a:pt x="4284775" y="1105639"/>
                      <a:pt x="4310911" y="1105639"/>
                    </a:cubicBezTo>
                    <a:cubicBezTo>
                      <a:pt x="4336800" y="1105639"/>
                      <a:pt x="4358008" y="1084685"/>
                      <a:pt x="4358008" y="1058536"/>
                    </a:cubicBezTo>
                    <a:close/>
                    <a:moveTo>
                      <a:pt x="4358993" y="4189006"/>
                    </a:moveTo>
                    <a:cubicBezTo>
                      <a:pt x="4358993" y="4164843"/>
                      <a:pt x="4339270" y="4145362"/>
                      <a:pt x="4315350" y="4145362"/>
                    </a:cubicBezTo>
                    <a:cubicBezTo>
                      <a:pt x="4291187" y="4145362"/>
                      <a:pt x="4271707" y="4165088"/>
                      <a:pt x="4271707" y="4189006"/>
                    </a:cubicBezTo>
                    <a:cubicBezTo>
                      <a:pt x="4271707" y="4213171"/>
                      <a:pt x="4291433" y="4232649"/>
                      <a:pt x="4315350" y="4232649"/>
                    </a:cubicBezTo>
                    <a:cubicBezTo>
                      <a:pt x="4339516" y="4232649"/>
                      <a:pt x="4358993" y="4213171"/>
                      <a:pt x="4358993" y="4189006"/>
                    </a:cubicBezTo>
                    <a:close/>
                    <a:moveTo>
                      <a:pt x="4359734" y="2812012"/>
                    </a:moveTo>
                    <a:cubicBezTo>
                      <a:pt x="4359734" y="2795739"/>
                      <a:pt x="4346420" y="2782422"/>
                      <a:pt x="4330145" y="2782422"/>
                    </a:cubicBezTo>
                    <a:cubicBezTo>
                      <a:pt x="4313869" y="2782422"/>
                      <a:pt x="4300555" y="2795739"/>
                      <a:pt x="4300555" y="2812012"/>
                    </a:cubicBezTo>
                    <a:cubicBezTo>
                      <a:pt x="4300555" y="2828289"/>
                      <a:pt x="4313869" y="2841603"/>
                      <a:pt x="4330145" y="2841603"/>
                    </a:cubicBezTo>
                    <a:cubicBezTo>
                      <a:pt x="4346420" y="2841603"/>
                      <a:pt x="4359734" y="2828534"/>
                      <a:pt x="4359734" y="2812012"/>
                    </a:cubicBezTo>
                    <a:close/>
                    <a:moveTo>
                      <a:pt x="4361955" y="4460485"/>
                    </a:moveTo>
                    <a:cubicBezTo>
                      <a:pt x="4361955" y="4439772"/>
                      <a:pt x="4344939" y="4422758"/>
                      <a:pt x="4324227" y="4422758"/>
                    </a:cubicBezTo>
                    <a:cubicBezTo>
                      <a:pt x="4303514" y="4422758"/>
                      <a:pt x="4286501" y="4439772"/>
                      <a:pt x="4286501" y="4460485"/>
                    </a:cubicBezTo>
                    <a:cubicBezTo>
                      <a:pt x="4286501" y="4481443"/>
                      <a:pt x="4303514" y="4498210"/>
                      <a:pt x="4324227" y="4498210"/>
                    </a:cubicBezTo>
                    <a:cubicBezTo>
                      <a:pt x="4344939" y="4498210"/>
                      <a:pt x="4361955" y="4481197"/>
                      <a:pt x="4361955" y="4460485"/>
                    </a:cubicBezTo>
                    <a:close/>
                    <a:moveTo>
                      <a:pt x="4363679" y="6417309"/>
                    </a:moveTo>
                    <a:cubicBezTo>
                      <a:pt x="4363679" y="6412870"/>
                      <a:pt x="4359979" y="6409418"/>
                      <a:pt x="4355788" y="6409418"/>
                    </a:cubicBezTo>
                    <a:cubicBezTo>
                      <a:pt x="4351349" y="6409418"/>
                      <a:pt x="4347898" y="6412870"/>
                      <a:pt x="4347898" y="6417309"/>
                    </a:cubicBezTo>
                    <a:cubicBezTo>
                      <a:pt x="4347898" y="6421748"/>
                      <a:pt x="4351597" y="6425199"/>
                      <a:pt x="4355788" y="6425199"/>
                    </a:cubicBezTo>
                    <a:cubicBezTo>
                      <a:pt x="4360228" y="6425199"/>
                      <a:pt x="4363679" y="6421748"/>
                      <a:pt x="4363679" y="6417309"/>
                    </a:cubicBezTo>
                    <a:close/>
                    <a:moveTo>
                      <a:pt x="4363680" y="5547142"/>
                    </a:moveTo>
                    <a:cubicBezTo>
                      <a:pt x="4363680" y="5546404"/>
                      <a:pt x="4362939" y="5545663"/>
                      <a:pt x="4362199" y="5545663"/>
                    </a:cubicBezTo>
                    <a:cubicBezTo>
                      <a:pt x="4361461" y="5545663"/>
                      <a:pt x="4360720" y="5546404"/>
                      <a:pt x="4360720" y="5547142"/>
                    </a:cubicBezTo>
                    <a:cubicBezTo>
                      <a:pt x="4360720" y="5547882"/>
                      <a:pt x="4361214" y="5548623"/>
                      <a:pt x="4362199" y="5548623"/>
                    </a:cubicBezTo>
                    <a:cubicBezTo>
                      <a:pt x="4362939" y="5548623"/>
                      <a:pt x="4363680" y="5547882"/>
                      <a:pt x="4363680" y="5547142"/>
                    </a:cubicBezTo>
                    <a:close/>
                    <a:moveTo>
                      <a:pt x="4364419" y="4874977"/>
                    </a:moveTo>
                    <a:cubicBezTo>
                      <a:pt x="4364419" y="4863142"/>
                      <a:pt x="4354555" y="4853278"/>
                      <a:pt x="4342474" y="4853278"/>
                    </a:cubicBezTo>
                    <a:cubicBezTo>
                      <a:pt x="4330639" y="4853278"/>
                      <a:pt x="4320776" y="4862896"/>
                      <a:pt x="4320776" y="4874977"/>
                    </a:cubicBezTo>
                    <a:cubicBezTo>
                      <a:pt x="4320776" y="4886812"/>
                      <a:pt x="4330393" y="4896676"/>
                      <a:pt x="4342474" y="4896676"/>
                    </a:cubicBezTo>
                    <a:cubicBezTo>
                      <a:pt x="4354555" y="4896676"/>
                      <a:pt x="4364419" y="4886812"/>
                      <a:pt x="4364419" y="4874977"/>
                    </a:cubicBezTo>
                    <a:close/>
                    <a:moveTo>
                      <a:pt x="4367870" y="250121"/>
                    </a:moveTo>
                    <a:cubicBezTo>
                      <a:pt x="4367870" y="225219"/>
                      <a:pt x="4347652" y="204753"/>
                      <a:pt x="4322500" y="204753"/>
                    </a:cubicBezTo>
                    <a:cubicBezTo>
                      <a:pt x="4297596" y="204753"/>
                      <a:pt x="4277130" y="224970"/>
                      <a:pt x="4277130" y="250121"/>
                    </a:cubicBezTo>
                    <a:cubicBezTo>
                      <a:pt x="4277130" y="275023"/>
                      <a:pt x="4297348" y="295488"/>
                      <a:pt x="4322500" y="295488"/>
                    </a:cubicBezTo>
                    <a:cubicBezTo>
                      <a:pt x="4347652" y="295488"/>
                      <a:pt x="4368115" y="275023"/>
                      <a:pt x="4367870" y="250121"/>
                    </a:cubicBezTo>
                    <a:close/>
                    <a:moveTo>
                      <a:pt x="4367873" y="1731113"/>
                    </a:moveTo>
                    <a:cubicBezTo>
                      <a:pt x="4367873" y="1724941"/>
                      <a:pt x="4362939" y="1720003"/>
                      <a:pt x="4356774" y="1720003"/>
                    </a:cubicBezTo>
                    <a:cubicBezTo>
                      <a:pt x="4350611" y="1720003"/>
                      <a:pt x="4345679" y="1724941"/>
                      <a:pt x="4345679" y="1731113"/>
                    </a:cubicBezTo>
                    <a:cubicBezTo>
                      <a:pt x="4345679" y="1737285"/>
                      <a:pt x="4350611" y="1742227"/>
                      <a:pt x="4356774" y="1742227"/>
                    </a:cubicBezTo>
                    <a:cubicBezTo>
                      <a:pt x="4362939" y="1742227"/>
                      <a:pt x="4367873" y="1737285"/>
                      <a:pt x="4367873" y="1731113"/>
                    </a:cubicBezTo>
                    <a:close/>
                    <a:moveTo>
                      <a:pt x="4368365" y="925171"/>
                    </a:moveTo>
                    <a:cubicBezTo>
                      <a:pt x="4368365" y="899518"/>
                      <a:pt x="4347652" y="878800"/>
                      <a:pt x="4322008" y="878800"/>
                    </a:cubicBezTo>
                    <a:cubicBezTo>
                      <a:pt x="4296365" y="878800"/>
                      <a:pt x="4275652" y="899518"/>
                      <a:pt x="4275652" y="925171"/>
                    </a:cubicBezTo>
                    <a:cubicBezTo>
                      <a:pt x="4275652" y="950811"/>
                      <a:pt x="4296365" y="971523"/>
                      <a:pt x="4322008" y="971523"/>
                    </a:cubicBezTo>
                    <a:cubicBezTo>
                      <a:pt x="4347652" y="971523"/>
                      <a:pt x="4368365" y="950811"/>
                      <a:pt x="4368365" y="925171"/>
                    </a:cubicBezTo>
                    <a:close/>
                    <a:moveTo>
                      <a:pt x="4370584" y="2276465"/>
                    </a:moveTo>
                    <a:cubicBezTo>
                      <a:pt x="4370584" y="2256503"/>
                      <a:pt x="4354308" y="2240229"/>
                      <a:pt x="4334336" y="2240229"/>
                    </a:cubicBezTo>
                    <a:cubicBezTo>
                      <a:pt x="4314364" y="2240229"/>
                      <a:pt x="4298089" y="2256503"/>
                      <a:pt x="4298089" y="2276465"/>
                    </a:cubicBezTo>
                    <a:cubicBezTo>
                      <a:pt x="4298089" y="2296442"/>
                      <a:pt x="4314364" y="2312715"/>
                      <a:pt x="4334336" y="2312715"/>
                    </a:cubicBezTo>
                    <a:cubicBezTo>
                      <a:pt x="4354554" y="2312715"/>
                      <a:pt x="4370584" y="2296442"/>
                      <a:pt x="4370584" y="2276465"/>
                    </a:cubicBezTo>
                    <a:close/>
                    <a:moveTo>
                      <a:pt x="4371323" y="2122372"/>
                    </a:moveTo>
                    <a:cubicBezTo>
                      <a:pt x="4371323" y="2121385"/>
                      <a:pt x="4370336" y="2120399"/>
                      <a:pt x="4369351" y="2120399"/>
                    </a:cubicBezTo>
                    <a:cubicBezTo>
                      <a:pt x="4368364" y="2120399"/>
                      <a:pt x="4367378" y="2121385"/>
                      <a:pt x="4367378" y="2122372"/>
                    </a:cubicBezTo>
                    <a:cubicBezTo>
                      <a:pt x="4367378" y="2123359"/>
                      <a:pt x="4368364" y="2124344"/>
                      <a:pt x="4369351" y="2124344"/>
                    </a:cubicBezTo>
                    <a:cubicBezTo>
                      <a:pt x="4370583" y="2124344"/>
                      <a:pt x="4371323" y="2123604"/>
                      <a:pt x="4371323" y="2122372"/>
                    </a:cubicBezTo>
                    <a:close/>
                    <a:moveTo>
                      <a:pt x="4373048" y="124155"/>
                    </a:moveTo>
                    <a:cubicBezTo>
                      <a:pt x="4373048" y="99498"/>
                      <a:pt x="4353076" y="79279"/>
                      <a:pt x="4328171" y="79279"/>
                    </a:cubicBezTo>
                    <a:cubicBezTo>
                      <a:pt x="4303268" y="79279"/>
                      <a:pt x="4283048" y="99250"/>
                      <a:pt x="4283048" y="124155"/>
                    </a:cubicBezTo>
                    <a:cubicBezTo>
                      <a:pt x="4283048" y="149057"/>
                      <a:pt x="4303268" y="169273"/>
                      <a:pt x="4328171" y="169273"/>
                    </a:cubicBezTo>
                    <a:cubicBezTo>
                      <a:pt x="4353076" y="169273"/>
                      <a:pt x="4373295" y="149057"/>
                      <a:pt x="4373048" y="124155"/>
                    </a:cubicBezTo>
                    <a:close/>
                    <a:moveTo>
                      <a:pt x="4374280" y="6545777"/>
                    </a:moveTo>
                    <a:cubicBezTo>
                      <a:pt x="4374280" y="6539859"/>
                      <a:pt x="4369351" y="6535173"/>
                      <a:pt x="4363679" y="6535173"/>
                    </a:cubicBezTo>
                    <a:cubicBezTo>
                      <a:pt x="4357761" y="6535173"/>
                      <a:pt x="4353076" y="6540105"/>
                      <a:pt x="4353076" y="6545777"/>
                    </a:cubicBezTo>
                    <a:cubicBezTo>
                      <a:pt x="4353076" y="6551450"/>
                      <a:pt x="4357761" y="6556132"/>
                      <a:pt x="4363679" y="6556132"/>
                    </a:cubicBezTo>
                    <a:cubicBezTo>
                      <a:pt x="4369351" y="6556132"/>
                      <a:pt x="4374034" y="6551450"/>
                      <a:pt x="4374280" y="6545777"/>
                    </a:cubicBezTo>
                    <a:close/>
                    <a:moveTo>
                      <a:pt x="4376255" y="1877349"/>
                    </a:moveTo>
                    <a:cubicBezTo>
                      <a:pt x="4376255" y="1853693"/>
                      <a:pt x="4357021" y="1834217"/>
                      <a:pt x="4333104" y="1834217"/>
                    </a:cubicBezTo>
                    <a:cubicBezTo>
                      <a:pt x="4309433" y="1834217"/>
                      <a:pt x="4289952" y="1853445"/>
                      <a:pt x="4289952" y="1877349"/>
                    </a:cubicBezTo>
                    <a:cubicBezTo>
                      <a:pt x="4289952" y="1901004"/>
                      <a:pt x="4309184" y="1920472"/>
                      <a:pt x="4333104" y="1920472"/>
                    </a:cubicBezTo>
                    <a:cubicBezTo>
                      <a:pt x="4357021" y="1920472"/>
                      <a:pt x="4376255" y="1901004"/>
                      <a:pt x="4376255" y="1877349"/>
                    </a:cubicBezTo>
                    <a:close/>
                    <a:moveTo>
                      <a:pt x="4377032" y="0"/>
                    </a:moveTo>
                    <a:lnTo>
                      <a:pt x="4288671" y="0"/>
                    </a:lnTo>
                    <a:lnTo>
                      <a:pt x="4301294" y="30484"/>
                    </a:lnTo>
                    <a:cubicBezTo>
                      <a:pt x="4309369" y="38559"/>
                      <a:pt x="4320526" y="43552"/>
                      <a:pt x="4332855" y="43552"/>
                    </a:cubicBezTo>
                    <a:cubicBezTo>
                      <a:pt x="4345061" y="43552"/>
                      <a:pt x="4356157" y="38559"/>
                      <a:pt x="4364232" y="30484"/>
                    </a:cubicBezTo>
                    <a:close/>
                    <a:moveTo>
                      <a:pt x="4378224" y="792780"/>
                    </a:moveTo>
                    <a:cubicBezTo>
                      <a:pt x="4378224" y="766893"/>
                      <a:pt x="4357267" y="745936"/>
                      <a:pt x="4331377" y="745936"/>
                    </a:cubicBezTo>
                    <a:cubicBezTo>
                      <a:pt x="4305239" y="745936"/>
                      <a:pt x="4284280" y="766893"/>
                      <a:pt x="4284280" y="792780"/>
                    </a:cubicBezTo>
                    <a:cubicBezTo>
                      <a:pt x="4284280" y="818675"/>
                      <a:pt x="4305487" y="839639"/>
                      <a:pt x="4331377" y="839639"/>
                    </a:cubicBezTo>
                    <a:cubicBezTo>
                      <a:pt x="4357267" y="839639"/>
                      <a:pt x="4378224" y="818675"/>
                      <a:pt x="4378224" y="792780"/>
                    </a:cubicBezTo>
                    <a:close/>
                    <a:moveTo>
                      <a:pt x="4380201" y="2538812"/>
                    </a:moveTo>
                    <a:cubicBezTo>
                      <a:pt x="4380201" y="2518838"/>
                      <a:pt x="4363924" y="2502562"/>
                      <a:pt x="4343952" y="2502562"/>
                    </a:cubicBezTo>
                    <a:cubicBezTo>
                      <a:pt x="4323980" y="2502562"/>
                      <a:pt x="4307705" y="2518838"/>
                      <a:pt x="4307705" y="2538812"/>
                    </a:cubicBezTo>
                    <a:cubicBezTo>
                      <a:pt x="4307705" y="2558782"/>
                      <a:pt x="4323980" y="2575058"/>
                      <a:pt x="4343952" y="2575058"/>
                    </a:cubicBezTo>
                    <a:cubicBezTo>
                      <a:pt x="4363924" y="2575058"/>
                      <a:pt x="4380201" y="2558782"/>
                      <a:pt x="4380201" y="2538812"/>
                    </a:cubicBezTo>
                    <a:close/>
                    <a:moveTo>
                      <a:pt x="4380692" y="5026130"/>
                    </a:moveTo>
                    <a:cubicBezTo>
                      <a:pt x="4380692" y="5020707"/>
                      <a:pt x="4376255" y="5016267"/>
                      <a:pt x="4370829" y="5016267"/>
                    </a:cubicBezTo>
                    <a:cubicBezTo>
                      <a:pt x="4365405" y="5016267"/>
                      <a:pt x="4360965" y="5020707"/>
                      <a:pt x="4360965" y="5026130"/>
                    </a:cubicBezTo>
                    <a:cubicBezTo>
                      <a:pt x="4360965" y="5031557"/>
                      <a:pt x="4365405" y="5035993"/>
                      <a:pt x="4370829" y="5035993"/>
                    </a:cubicBezTo>
                    <a:cubicBezTo>
                      <a:pt x="4376255" y="5035993"/>
                      <a:pt x="4380692" y="5031557"/>
                      <a:pt x="4380692" y="5026130"/>
                    </a:cubicBezTo>
                    <a:close/>
                    <a:moveTo>
                      <a:pt x="4380693" y="3964373"/>
                    </a:moveTo>
                    <a:cubicBezTo>
                      <a:pt x="4380693" y="3962647"/>
                      <a:pt x="4379461" y="3961415"/>
                      <a:pt x="4377733" y="3961415"/>
                    </a:cubicBezTo>
                    <a:cubicBezTo>
                      <a:pt x="4376006" y="3961415"/>
                      <a:pt x="4374774" y="3962647"/>
                      <a:pt x="4374774" y="3964373"/>
                    </a:cubicBezTo>
                    <a:cubicBezTo>
                      <a:pt x="4374774" y="3966100"/>
                      <a:pt x="4376006" y="3967332"/>
                      <a:pt x="4377733" y="3967332"/>
                    </a:cubicBezTo>
                    <a:cubicBezTo>
                      <a:pt x="4379461" y="3967332"/>
                      <a:pt x="4380693" y="3966100"/>
                      <a:pt x="4380693" y="3964373"/>
                    </a:cubicBezTo>
                    <a:close/>
                    <a:moveTo>
                      <a:pt x="4381952" y="201878"/>
                    </a:moveTo>
                    <a:lnTo>
                      <a:pt x="4381952" y="174720"/>
                    </a:lnTo>
                    <a:lnTo>
                      <a:pt x="4379214" y="188260"/>
                    </a:lnTo>
                    <a:close/>
                    <a:moveTo>
                      <a:pt x="4381952" y="343049"/>
                    </a:moveTo>
                    <a:lnTo>
                      <a:pt x="4381952" y="288361"/>
                    </a:lnTo>
                    <a:lnTo>
                      <a:pt x="4375698" y="297645"/>
                    </a:lnTo>
                    <a:cubicBezTo>
                      <a:pt x="4373355" y="303192"/>
                      <a:pt x="4372061" y="309295"/>
                      <a:pt x="4372061" y="315705"/>
                    </a:cubicBezTo>
                    <a:cubicBezTo>
                      <a:pt x="4372061" y="322116"/>
                      <a:pt x="4373355" y="328218"/>
                      <a:pt x="4375698" y="333766"/>
                    </a:cubicBezTo>
                    <a:close/>
                    <a:moveTo>
                      <a:pt x="4381952" y="438936"/>
                    </a:moveTo>
                    <a:lnTo>
                      <a:pt x="4381952" y="368478"/>
                    </a:lnTo>
                    <a:lnTo>
                      <a:pt x="4355048" y="357353"/>
                    </a:lnTo>
                    <a:cubicBezTo>
                      <a:pt x="4329405" y="357353"/>
                      <a:pt x="4308692" y="378065"/>
                      <a:pt x="4308692" y="403707"/>
                    </a:cubicBezTo>
                    <a:cubicBezTo>
                      <a:pt x="4308692" y="429350"/>
                      <a:pt x="4329405" y="450061"/>
                      <a:pt x="4355048" y="450061"/>
                    </a:cubicBezTo>
                    <a:close/>
                    <a:moveTo>
                      <a:pt x="4381952" y="563990"/>
                    </a:moveTo>
                    <a:lnTo>
                      <a:pt x="4381952" y="500658"/>
                    </a:lnTo>
                    <a:lnTo>
                      <a:pt x="4381156" y="499474"/>
                    </a:lnTo>
                    <a:cubicBezTo>
                      <a:pt x="4372742" y="491029"/>
                      <a:pt x="4361090" y="485790"/>
                      <a:pt x="4348144" y="485790"/>
                    </a:cubicBezTo>
                    <a:cubicBezTo>
                      <a:pt x="4322500" y="485790"/>
                      <a:pt x="4301542" y="506747"/>
                      <a:pt x="4301542" y="532390"/>
                    </a:cubicBezTo>
                    <a:cubicBezTo>
                      <a:pt x="4301542" y="558032"/>
                      <a:pt x="4322500" y="578990"/>
                      <a:pt x="4348144" y="578990"/>
                    </a:cubicBezTo>
                    <a:cubicBezTo>
                      <a:pt x="4360966" y="578990"/>
                      <a:pt x="4372617" y="573751"/>
                      <a:pt x="4381063" y="565306"/>
                    </a:cubicBezTo>
                    <a:close/>
                    <a:moveTo>
                      <a:pt x="4381952" y="682035"/>
                    </a:moveTo>
                    <a:lnTo>
                      <a:pt x="4381952" y="642165"/>
                    </a:lnTo>
                    <a:lnTo>
                      <a:pt x="4373171" y="629151"/>
                    </a:lnTo>
                    <a:cubicBezTo>
                      <a:pt x="4364726" y="620699"/>
                      <a:pt x="4353075" y="615460"/>
                      <a:pt x="4340254" y="615460"/>
                    </a:cubicBezTo>
                    <a:cubicBezTo>
                      <a:pt x="4314609" y="615460"/>
                      <a:pt x="4293651" y="636417"/>
                      <a:pt x="4293651" y="662116"/>
                    </a:cubicBezTo>
                    <a:cubicBezTo>
                      <a:pt x="4293651" y="687763"/>
                      <a:pt x="4314609" y="708717"/>
                      <a:pt x="4340254" y="708717"/>
                    </a:cubicBezTo>
                    <a:cubicBezTo>
                      <a:pt x="4353075" y="708717"/>
                      <a:pt x="4364726" y="703478"/>
                      <a:pt x="4373171" y="695034"/>
                    </a:cubicBezTo>
                    <a:close/>
                    <a:moveTo>
                      <a:pt x="4381952" y="892315"/>
                    </a:moveTo>
                    <a:lnTo>
                      <a:pt x="4381952" y="841783"/>
                    </a:lnTo>
                    <a:lnTo>
                      <a:pt x="4377260" y="848725"/>
                    </a:lnTo>
                    <a:cubicBezTo>
                      <a:pt x="4374867" y="854353"/>
                      <a:pt x="4373542" y="860532"/>
                      <a:pt x="4373542" y="867003"/>
                    </a:cubicBezTo>
                    <a:cubicBezTo>
                      <a:pt x="4373542" y="873475"/>
                      <a:pt x="4374852" y="879654"/>
                      <a:pt x="4377225" y="885282"/>
                    </a:cubicBezTo>
                    <a:close/>
                    <a:moveTo>
                      <a:pt x="4381952" y="1036154"/>
                    </a:moveTo>
                    <a:lnTo>
                      <a:pt x="4381952" y="967063"/>
                    </a:lnTo>
                    <a:lnTo>
                      <a:pt x="4377210" y="969032"/>
                    </a:lnTo>
                    <a:cubicBezTo>
                      <a:pt x="4368857" y="977382"/>
                      <a:pt x="4363679" y="988907"/>
                      <a:pt x="4363679" y="1001604"/>
                    </a:cubicBezTo>
                    <a:cubicBezTo>
                      <a:pt x="4363679" y="1014305"/>
                      <a:pt x="4368857" y="1025833"/>
                      <a:pt x="4377210" y="1034185"/>
                    </a:cubicBezTo>
                    <a:close/>
                    <a:moveTo>
                      <a:pt x="4381952" y="1178180"/>
                    </a:moveTo>
                    <a:lnTo>
                      <a:pt x="4381952" y="1095736"/>
                    </a:lnTo>
                    <a:lnTo>
                      <a:pt x="4363247" y="1103485"/>
                    </a:lnTo>
                    <a:cubicBezTo>
                      <a:pt x="4354678" y="1112052"/>
                      <a:pt x="4349376" y="1123886"/>
                      <a:pt x="4349376" y="1136954"/>
                    </a:cubicBezTo>
                    <a:cubicBezTo>
                      <a:pt x="4349376" y="1150024"/>
                      <a:pt x="4354678" y="1161860"/>
                      <a:pt x="4363247" y="1170429"/>
                    </a:cubicBezTo>
                    <a:close/>
                    <a:moveTo>
                      <a:pt x="4381952" y="1321568"/>
                    </a:moveTo>
                    <a:lnTo>
                      <a:pt x="4381952" y="1226986"/>
                    </a:lnTo>
                    <a:lnTo>
                      <a:pt x="4349069" y="1240591"/>
                    </a:lnTo>
                    <a:cubicBezTo>
                      <a:pt x="4340439" y="1249189"/>
                      <a:pt x="4335076" y="1261086"/>
                      <a:pt x="4335076" y="1274277"/>
                    </a:cubicBezTo>
                    <a:cubicBezTo>
                      <a:pt x="4335076" y="1287346"/>
                      <a:pt x="4340439" y="1299243"/>
                      <a:pt x="4349069" y="1307873"/>
                    </a:cubicBezTo>
                    <a:close/>
                    <a:moveTo>
                      <a:pt x="4381952" y="1468122"/>
                    </a:moveTo>
                    <a:lnTo>
                      <a:pt x="4381952" y="1422681"/>
                    </a:lnTo>
                    <a:lnTo>
                      <a:pt x="4376284" y="1425041"/>
                    </a:lnTo>
                    <a:cubicBezTo>
                      <a:pt x="4371075" y="1430279"/>
                      <a:pt x="4367870" y="1437490"/>
                      <a:pt x="4367870" y="1445378"/>
                    </a:cubicBezTo>
                    <a:cubicBezTo>
                      <a:pt x="4367870" y="1453393"/>
                      <a:pt x="4371137" y="1460606"/>
                      <a:pt x="4376376" y="1465815"/>
                    </a:cubicBezTo>
                    <a:close/>
                    <a:moveTo>
                      <a:pt x="4381952" y="1602157"/>
                    </a:moveTo>
                    <a:lnTo>
                      <a:pt x="4381952" y="1571633"/>
                    </a:lnTo>
                    <a:lnTo>
                      <a:pt x="4377733" y="1569882"/>
                    </a:lnTo>
                    <a:cubicBezTo>
                      <a:pt x="4368364" y="1569882"/>
                      <a:pt x="4360720" y="1577524"/>
                      <a:pt x="4360720" y="1586886"/>
                    </a:cubicBezTo>
                    <a:cubicBezTo>
                      <a:pt x="4360720" y="1596269"/>
                      <a:pt x="4368364" y="1603909"/>
                      <a:pt x="4377733" y="1603909"/>
                    </a:cubicBezTo>
                    <a:close/>
                    <a:moveTo>
                      <a:pt x="4381952" y="2005979"/>
                    </a:moveTo>
                    <a:lnTo>
                      <a:pt x="4381952" y="1937468"/>
                    </a:lnTo>
                    <a:lnTo>
                      <a:pt x="4370768" y="1942092"/>
                    </a:lnTo>
                    <a:cubicBezTo>
                      <a:pt x="4363186" y="1949670"/>
                      <a:pt x="4358501" y="1960143"/>
                      <a:pt x="4358501" y="1971724"/>
                    </a:cubicBezTo>
                    <a:cubicBezTo>
                      <a:pt x="4358501" y="1983306"/>
                      <a:pt x="4363186" y="1993778"/>
                      <a:pt x="4370768" y="2001355"/>
                    </a:cubicBezTo>
                    <a:close/>
                    <a:moveTo>
                      <a:pt x="4381952" y="2410971"/>
                    </a:moveTo>
                    <a:lnTo>
                      <a:pt x="4381952" y="2347136"/>
                    </a:lnTo>
                    <a:lnTo>
                      <a:pt x="4364233" y="2354459"/>
                    </a:lnTo>
                    <a:cubicBezTo>
                      <a:pt x="4357945" y="2360743"/>
                      <a:pt x="4354061" y="2369430"/>
                      <a:pt x="4354061" y="2379042"/>
                    </a:cubicBezTo>
                    <a:cubicBezTo>
                      <a:pt x="4354061" y="2388660"/>
                      <a:pt x="4357945" y="2397353"/>
                      <a:pt x="4364233" y="2403642"/>
                    </a:cubicBezTo>
                    <a:close/>
                    <a:moveTo>
                      <a:pt x="4381952" y="2688009"/>
                    </a:moveTo>
                    <a:lnTo>
                      <a:pt x="4381952" y="2605121"/>
                    </a:lnTo>
                    <a:lnTo>
                      <a:pt x="4356836" y="2615556"/>
                    </a:lnTo>
                    <a:cubicBezTo>
                      <a:pt x="4348884" y="2623508"/>
                      <a:pt x="4343952" y="2634481"/>
                      <a:pt x="4343952" y="2646564"/>
                    </a:cubicBezTo>
                    <a:cubicBezTo>
                      <a:pt x="4343952" y="2658647"/>
                      <a:pt x="4348884" y="2669620"/>
                      <a:pt x="4356836" y="2677573"/>
                    </a:cubicBezTo>
                    <a:close/>
                    <a:moveTo>
                      <a:pt x="4381952" y="2952620"/>
                    </a:moveTo>
                    <a:lnTo>
                      <a:pt x="4381952" y="2896290"/>
                    </a:lnTo>
                    <a:lnTo>
                      <a:pt x="4361953" y="2887961"/>
                    </a:lnTo>
                    <a:cubicBezTo>
                      <a:pt x="4341981" y="2887961"/>
                      <a:pt x="4325459" y="2904234"/>
                      <a:pt x="4325459" y="2924455"/>
                    </a:cubicBezTo>
                    <a:cubicBezTo>
                      <a:pt x="4325459" y="2944673"/>
                      <a:pt x="4341734" y="2960949"/>
                      <a:pt x="4361953" y="2960949"/>
                    </a:cubicBezTo>
                    <a:close/>
                    <a:moveTo>
                      <a:pt x="4381952" y="3078700"/>
                    </a:moveTo>
                    <a:lnTo>
                      <a:pt x="4381952" y="2997078"/>
                    </a:lnTo>
                    <a:lnTo>
                      <a:pt x="4357051" y="3007430"/>
                    </a:lnTo>
                    <a:cubicBezTo>
                      <a:pt x="4349253" y="3015259"/>
                      <a:pt x="4344445" y="3026047"/>
                      <a:pt x="4344445" y="3037884"/>
                    </a:cubicBezTo>
                    <a:cubicBezTo>
                      <a:pt x="4344445" y="3049842"/>
                      <a:pt x="4349315" y="3060631"/>
                      <a:pt x="4357144" y="3068429"/>
                    </a:cubicBezTo>
                    <a:close/>
                    <a:moveTo>
                      <a:pt x="4381952" y="3185424"/>
                    </a:moveTo>
                    <a:lnTo>
                      <a:pt x="4381952" y="3120653"/>
                    </a:lnTo>
                    <a:lnTo>
                      <a:pt x="4376994" y="3122708"/>
                    </a:lnTo>
                    <a:cubicBezTo>
                      <a:pt x="4369227" y="3130476"/>
                      <a:pt x="4364419" y="3141202"/>
                      <a:pt x="4364419" y="3153040"/>
                    </a:cubicBezTo>
                    <a:cubicBezTo>
                      <a:pt x="4364419" y="3164875"/>
                      <a:pt x="4369227" y="3175601"/>
                      <a:pt x="4376994" y="3183368"/>
                    </a:cubicBezTo>
                    <a:close/>
                    <a:moveTo>
                      <a:pt x="4381952" y="4282681"/>
                    </a:moveTo>
                    <a:lnTo>
                      <a:pt x="4381952" y="4205828"/>
                    </a:lnTo>
                    <a:lnTo>
                      <a:pt x="4375515" y="4208516"/>
                    </a:lnTo>
                    <a:cubicBezTo>
                      <a:pt x="4366391" y="4217670"/>
                      <a:pt x="4360720" y="4230307"/>
                      <a:pt x="4360720" y="4244238"/>
                    </a:cubicBezTo>
                    <a:cubicBezTo>
                      <a:pt x="4360720" y="4258170"/>
                      <a:pt x="4366330" y="4270808"/>
                      <a:pt x="4375422" y="4279962"/>
                    </a:cubicBezTo>
                    <a:close/>
                    <a:moveTo>
                      <a:pt x="4381952" y="4394048"/>
                    </a:moveTo>
                    <a:lnTo>
                      <a:pt x="4381952" y="4312693"/>
                    </a:lnTo>
                    <a:lnTo>
                      <a:pt x="4370337" y="4307855"/>
                    </a:lnTo>
                    <a:cubicBezTo>
                      <a:pt x="4345433" y="4307855"/>
                      <a:pt x="4324967" y="4328568"/>
                      <a:pt x="4324967" y="4353472"/>
                    </a:cubicBezTo>
                    <a:cubicBezTo>
                      <a:pt x="4324967" y="4378378"/>
                      <a:pt x="4345185" y="4398841"/>
                      <a:pt x="4370337" y="4398841"/>
                    </a:cubicBezTo>
                    <a:close/>
                    <a:moveTo>
                      <a:pt x="4381952" y="4634231"/>
                    </a:moveTo>
                    <a:lnTo>
                      <a:pt x="4381952" y="4605808"/>
                    </a:lnTo>
                    <a:lnTo>
                      <a:pt x="4381557" y="4604855"/>
                    </a:lnTo>
                    <a:cubicBezTo>
                      <a:pt x="4377673" y="4600971"/>
                      <a:pt x="4372310" y="4598566"/>
                      <a:pt x="4366392" y="4598566"/>
                    </a:cubicBezTo>
                    <a:cubicBezTo>
                      <a:pt x="4354557" y="4598566"/>
                      <a:pt x="4344939" y="4608184"/>
                      <a:pt x="4344939" y="4620019"/>
                    </a:cubicBezTo>
                    <a:cubicBezTo>
                      <a:pt x="4344939" y="4631855"/>
                      <a:pt x="4354557" y="4641472"/>
                      <a:pt x="4366392" y="4641472"/>
                    </a:cubicBezTo>
                    <a:cubicBezTo>
                      <a:pt x="4372310" y="4641472"/>
                      <a:pt x="4377673" y="4639068"/>
                      <a:pt x="4381557" y="4635184"/>
                    </a:cubicBezTo>
                    <a:close/>
                    <a:moveTo>
                      <a:pt x="4381952" y="4785732"/>
                    </a:moveTo>
                    <a:lnTo>
                      <a:pt x="4381952" y="4766540"/>
                    </a:lnTo>
                    <a:lnTo>
                      <a:pt x="4377982" y="4776101"/>
                    </a:lnTo>
                    <a:close/>
                    <a:moveTo>
                      <a:pt x="4381952" y="6677995"/>
                    </a:moveTo>
                    <a:lnTo>
                      <a:pt x="4381952" y="6655694"/>
                    </a:lnTo>
                    <a:lnTo>
                      <a:pt x="4379706" y="6654762"/>
                    </a:lnTo>
                    <a:cubicBezTo>
                      <a:pt x="4373051" y="6654762"/>
                      <a:pt x="4367624" y="6660188"/>
                      <a:pt x="4367624" y="6666844"/>
                    </a:cubicBezTo>
                    <a:cubicBezTo>
                      <a:pt x="4367624" y="6673502"/>
                      <a:pt x="4373051" y="6678928"/>
                      <a:pt x="4379706" y="6678928"/>
                    </a:cubicBezTo>
                    <a:close/>
                    <a:moveTo>
                      <a:pt x="4381952" y="6795583"/>
                    </a:moveTo>
                    <a:lnTo>
                      <a:pt x="4381952" y="6791587"/>
                    </a:lnTo>
                    <a:lnTo>
                      <a:pt x="4379954" y="6793585"/>
                    </a:lnTo>
                    <a:close/>
                  </a:path>
                </a:pathLst>
              </a:custGeom>
              <a:gradFill flip="none" rotWithShape="1">
                <a:gsLst>
                  <a:gs pos="47800">
                    <a:schemeClr val="accent3">
                      <a:alpha val="27000"/>
                    </a:schemeClr>
                  </a:gs>
                  <a:gs pos="0">
                    <a:schemeClr val="accent3">
                      <a:alpha val="89000"/>
                    </a:schemeClr>
                  </a:gs>
                  <a:gs pos="100000">
                    <a:schemeClr val="accent2">
                      <a:lumMod val="75000"/>
                      <a:alpha val="7000"/>
                    </a:schemeClr>
                  </a:gs>
                </a:gsLst>
                <a:path path="circle">
                  <a:fillToRect l="50000" t="50000" r="50000" b="50000"/>
                </a:path>
                <a:tileRect/>
              </a:gradFill>
              <a:ln w="9525" cap="flat">
                <a:noFill/>
                <a:prstDash val="solid"/>
                <a:miter/>
              </a:ln>
            </p:spPr>
            <p:txBody>
              <a:bodyPr wrap="square" rtlCol="0" anchor="ctr">
                <a:noAutofit/>
              </a:bodyPr>
              <a:lstStyle/>
              <a:p>
                <a:endParaRPr lang="en-US" sz="1765"/>
              </a:p>
            </p:txBody>
          </p:sp>
        </p:grpSp>
      </p:grpSp>
      <p:sp>
        <p:nvSpPr>
          <p:cNvPr id="2" name="Title 1"/>
          <p:cNvSpPr>
            <a:spLocks noGrp="1"/>
          </p:cNvSpPr>
          <p:nvPr>
            <p:ph type="title" hasCustomPrompt="1"/>
          </p:nvPr>
        </p:nvSpPr>
        <p:spPr>
          <a:xfrm>
            <a:off x="585218" y="2930327"/>
            <a:ext cx="5510783" cy="997347"/>
          </a:xfrm>
          <a:noFill/>
        </p:spPr>
        <p:txBody>
          <a:bodyPr wrap="square" lIns="0" tIns="0" rIns="0" bIns="0" anchor="ctr" anchorCtr="0">
            <a:spAutoFit/>
          </a:bodyPr>
          <a:lstStyle>
            <a:lvl1pPr algn="l" defTabSz="932539" rtl="0" eaLnBrk="1" latinLnBrk="0" hangingPunct="1">
              <a:lnSpc>
                <a:spcPct val="90000"/>
              </a:lnSpc>
              <a:spcBef>
                <a:spcPct val="0"/>
              </a:spcBef>
              <a:buNone/>
              <a:defRPr lang="en-US" sz="3529" b="0" kern="1200" cap="none" spc="-51" baseline="0" dirty="0">
                <a:ln w="3175">
                  <a:noFill/>
                </a:ln>
                <a:solidFill>
                  <a:schemeClr val="accent3"/>
                </a:solidFill>
                <a:effectLst/>
                <a:latin typeface="+mj-lt"/>
                <a:ea typeface="+mn-ea"/>
                <a:cs typeface="Segoe UI" pitchFamily="34" charset="0"/>
              </a:defRPr>
            </a:lvl1pPr>
          </a:lstStyle>
          <a:p>
            <a:r>
              <a:rPr lang="en-US"/>
              <a:t>Section title with no subtitle</a:t>
            </a:r>
          </a:p>
        </p:txBody>
      </p:sp>
      <p:sp>
        <p:nvSpPr>
          <p:cNvPr id="162" name="Rectangle 161">
            <a:extLst>
              <a:ext uri="{FF2B5EF4-FFF2-40B4-BE49-F238E27FC236}">
                <a16:creationId xmlns:a16="http://schemas.microsoft.com/office/drawing/2014/main" id="{0FD9F46C-0C7B-482C-8FBC-4CB29AE623AD}"/>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sp>
        <p:nvSpPr>
          <p:cNvPr id="7" name="TextBox 6">
            <a:extLst>
              <a:ext uri="{FF2B5EF4-FFF2-40B4-BE49-F238E27FC236}">
                <a16:creationId xmlns:a16="http://schemas.microsoft.com/office/drawing/2014/main" id="{5D44CC2C-00AE-7894-FEF3-7B055BA9BD1F}"/>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3875690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595">
          <p15:clr>
            <a:srgbClr val="5ACBF0"/>
          </p15:clr>
        </p15:guide>
        <p15:guide id="3" orient="horz" pos="143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1_Section Title 3">
    <p:bg>
      <p:bgRef idx="1001">
        <a:schemeClr val="bg2"/>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A451EB-8475-4A6D-B2D6-DBAF757B8560}"/>
              </a:ext>
              <a:ext uri="{C183D7F6-B498-43B3-948B-1728B52AA6E4}">
                <adec:decorative xmlns:adec="http://schemas.microsoft.com/office/drawing/2017/decorative" val="1"/>
              </a:ext>
            </a:extLst>
          </p:cNvPr>
          <p:cNvGrpSpPr/>
          <p:nvPr userDrawn="1"/>
        </p:nvGrpSpPr>
        <p:grpSpPr>
          <a:xfrm>
            <a:off x="2520890" y="-160449"/>
            <a:ext cx="10156092" cy="7735517"/>
            <a:chOff x="2571437" y="-163644"/>
            <a:chExt cx="10359743" cy="7889511"/>
          </a:xfrm>
        </p:grpSpPr>
        <p:sp>
          <p:nvSpPr>
            <p:cNvPr id="3" name="Oval 2">
              <a:extLst>
                <a:ext uri="{FF2B5EF4-FFF2-40B4-BE49-F238E27FC236}">
                  <a16:creationId xmlns:a16="http://schemas.microsoft.com/office/drawing/2014/main" id="{2F03038A-11DB-4F1A-A1A9-58ED26F87CAF}"/>
                </a:ext>
                <a:ext uri="{C183D7F6-B498-43B3-948B-1728B52AA6E4}">
                  <adec:decorative xmlns:adec="http://schemas.microsoft.com/office/drawing/2017/decorative" val="1"/>
                </a:ext>
              </a:extLst>
            </p:cNvPr>
            <p:cNvSpPr/>
            <p:nvPr userDrawn="1"/>
          </p:nvSpPr>
          <p:spPr bwMode="auto">
            <a:xfrm>
              <a:off x="5481496" y="1956823"/>
              <a:ext cx="4777322" cy="4777322"/>
            </a:xfrm>
            <a:prstGeom prst="ellipse">
              <a:avLst/>
            </a:prstGeom>
            <a:solidFill>
              <a:schemeClr val="accent3">
                <a:alpha val="16000"/>
              </a:schemeClr>
            </a:solidFill>
            <a:ln>
              <a:noFill/>
              <a:headEnd type="none" w="med" len="med"/>
              <a:tailEnd type="none" w="med" len="med"/>
            </a:ln>
            <a:effectLst>
              <a:softEdge rad="9652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3C61BE42-33CD-4439-A1E7-2C388A7E53CE}"/>
                </a:ext>
                <a:ext uri="{C183D7F6-B498-43B3-948B-1728B52AA6E4}">
                  <adec:decorative xmlns:adec="http://schemas.microsoft.com/office/drawing/2017/decorative" val="1"/>
                </a:ext>
              </a:extLst>
            </p:cNvPr>
            <p:cNvSpPr/>
            <p:nvPr/>
          </p:nvSpPr>
          <p:spPr>
            <a:xfrm rot="862670">
              <a:off x="7792266" y="-163644"/>
              <a:ext cx="3743957" cy="3715124"/>
            </a:xfrm>
            <a:custGeom>
              <a:avLst/>
              <a:gdLst>
                <a:gd name="connsiteX0" fmla="*/ 11229 w 3404391"/>
                <a:gd name="connsiteY0" fmla="*/ 3368815 h 3378173"/>
                <a:gd name="connsiteX1" fmla="*/ 11229 w 3404391"/>
                <a:gd name="connsiteY1" fmla="*/ 3372558 h 3378173"/>
                <a:gd name="connsiteX2" fmla="*/ 11229 w 3404391"/>
                <a:gd name="connsiteY2" fmla="*/ 3378173 h 3378173"/>
                <a:gd name="connsiteX3" fmla="*/ 9357 w 3404391"/>
                <a:gd name="connsiteY3" fmla="*/ 3374430 h 3378173"/>
                <a:gd name="connsiteX4" fmla="*/ 46789 w 3404391"/>
                <a:gd name="connsiteY4" fmla="*/ 3323898 h 3378173"/>
                <a:gd name="connsiteX5" fmla="*/ 48660 w 3404391"/>
                <a:gd name="connsiteY5" fmla="*/ 3327641 h 3378173"/>
                <a:gd name="connsiteX6" fmla="*/ 46789 w 3404391"/>
                <a:gd name="connsiteY6" fmla="*/ 3333256 h 3378173"/>
                <a:gd name="connsiteX7" fmla="*/ 44917 w 3404391"/>
                <a:gd name="connsiteY7" fmla="*/ 3329512 h 3378173"/>
                <a:gd name="connsiteX8" fmla="*/ 95450 w 3404391"/>
                <a:gd name="connsiteY8" fmla="*/ 3278980 h 3378173"/>
                <a:gd name="connsiteX9" fmla="*/ 95450 w 3404391"/>
                <a:gd name="connsiteY9" fmla="*/ 3290210 h 3378173"/>
                <a:gd name="connsiteX10" fmla="*/ 93578 w 3404391"/>
                <a:gd name="connsiteY10" fmla="*/ 3290210 h 3378173"/>
                <a:gd name="connsiteX11" fmla="*/ 93578 w 3404391"/>
                <a:gd name="connsiteY11" fmla="*/ 3286466 h 3378173"/>
                <a:gd name="connsiteX12" fmla="*/ 95450 w 3404391"/>
                <a:gd name="connsiteY12" fmla="*/ 3278980 h 3378173"/>
                <a:gd name="connsiteX13" fmla="*/ 157212 w 3404391"/>
                <a:gd name="connsiteY13" fmla="*/ 3235933 h 3378173"/>
                <a:gd name="connsiteX14" fmla="*/ 157212 w 3404391"/>
                <a:gd name="connsiteY14" fmla="*/ 3249034 h 3378173"/>
                <a:gd name="connsiteX15" fmla="*/ 153469 w 3404391"/>
                <a:gd name="connsiteY15" fmla="*/ 3249034 h 3378173"/>
                <a:gd name="connsiteX16" fmla="*/ 153469 w 3404391"/>
                <a:gd name="connsiteY16" fmla="*/ 3245291 h 3378173"/>
                <a:gd name="connsiteX17" fmla="*/ 157212 w 3404391"/>
                <a:gd name="connsiteY17" fmla="*/ 3235933 h 3378173"/>
                <a:gd name="connsiteX18" fmla="*/ 1872 w 3404391"/>
                <a:gd name="connsiteY18" fmla="*/ 3204117 h 3378173"/>
                <a:gd name="connsiteX19" fmla="*/ 0 w 3404391"/>
                <a:gd name="connsiteY19" fmla="*/ 3220961 h 3378173"/>
                <a:gd name="connsiteX20" fmla="*/ 0 w 3404391"/>
                <a:gd name="connsiteY20" fmla="*/ 3215347 h 3378173"/>
                <a:gd name="connsiteX21" fmla="*/ 1872 w 3404391"/>
                <a:gd name="connsiteY21" fmla="*/ 3204117 h 3378173"/>
                <a:gd name="connsiteX22" fmla="*/ 228331 w 3404391"/>
                <a:gd name="connsiteY22" fmla="*/ 3194759 h 3378173"/>
                <a:gd name="connsiteX23" fmla="*/ 228331 w 3404391"/>
                <a:gd name="connsiteY23" fmla="*/ 3207860 h 3378173"/>
                <a:gd name="connsiteX24" fmla="*/ 224588 w 3404391"/>
                <a:gd name="connsiteY24" fmla="*/ 3207860 h 3378173"/>
                <a:gd name="connsiteX25" fmla="*/ 224588 w 3404391"/>
                <a:gd name="connsiteY25" fmla="*/ 3204117 h 3378173"/>
                <a:gd name="connsiteX26" fmla="*/ 228331 w 3404391"/>
                <a:gd name="connsiteY26" fmla="*/ 3194759 h 3378173"/>
                <a:gd name="connsiteX27" fmla="*/ 312552 w 3404391"/>
                <a:gd name="connsiteY27" fmla="*/ 3157327 h 3378173"/>
                <a:gd name="connsiteX28" fmla="*/ 312552 w 3404391"/>
                <a:gd name="connsiteY28" fmla="*/ 3168557 h 3378173"/>
                <a:gd name="connsiteX29" fmla="*/ 308809 w 3404391"/>
                <a:gd name="connsiteY29" fmla="*/ 3166685 h 3378173"/>
                <a:gd name="connsiteX30" fmla="*/ 308809 w 3404391"/>
                <a:gd name="connsiteY30" fmla="*/ 3164813 h 3378173"/>
                <a:gd name="connsiteX31" fmla="*/ 312552 w 3404391"/>
                <a:gd name="connsiteY31" fmla="*/ 3157327 h 3378173"/>
                <a:gd name="connsiteX32" fmla="*/ 24330 w 3404391"/>
                <a:gd name="connsiteY32" fmla="*/ 3157327 h 3378173"/>
                <a:gd name="connsiteX33" fmla="*/ 24330 w 3404391"/>
                <a:gd name="connsiteY33" fmla="*/ 3166685 h 3378173"/>
                <a:gd name="connsiteX34" fmla="*/ 22458 w 3404391"/>
                <a:gd name="connsiteY34" fmla="*/ 3177914 h 3378173"/>
                <a:gd name="connsiteX35" fmla="*/ 22458 w 3404391"/>
                <a:gd name="connsiteY35" fmla="*/ 3170428 h 3378173"/>
                <a:gd name="connsiteX36" fmla="*/ 24330 w 3404391"/>
                <a:gd name="connsiteY36" fmla="*/ 3157327 h 3378173"/>
                <a:gd name="connsiteX37" fmla="*/ 406131 w 3404391"/>
                <a:gd name="connsiteY37" fmla="*/ 3119896 h 3378173"/>
                <a:gd name="connsiteX38" fmla="*/ 408002 w 3404391"/>
                <a:gd name="connsiteY38" fmla="*/ 3123639 h 3378173"/>
                <a:gd name="connsiteX39" fmla="*/ 406131 w 3404391"/>
                <a:gd name="connsiteY39" fmla="*/ 3129254 h 3378173"/>
                <a:gd name="connsiteX40" fmla="*/ 404259 w 3404391"/>
                <a:gd name="connsiteY40" fmla="*/ 3125511 h 3378173"/>
                <a:gd name="connsiteX41" fmla="*/ 61761 w 3404391"/>
                <a:gd name="connsiteY41" fmla="*/ 3112409 h 3378173"/>
                <a:gd name="connsiteX42" fmla="*/ 59890 w 3404391"/>
                <a:gd name="connsiteY42" fmla="*/ 3132997 h 3378173"/>
                <a:gd name="connsiteX43" fmla="*/ 58018 w 3404391"/>
                <a:gd name="connsiteY43" fmla="*/ 3134868 h 3378173"/>
                <a:gd name="connsiteX44" fmla="*/ 58018 w 3404391"/>
                <a:gd name="connsiteY44" fmla="*/ 3125510 h 3378173"/>
                <a:gd name="connsiteX45" fmla="*/ 61761 w 3404391"/>
                <a:gd name="connsiteY45" fmla="*/ 3112409 h 3378173"/>
                <a:gd name="connsiteX46" fmla="*/ 510939 w 3404391"/>
                <a:gd name="connsiteY46" fmla="*/ 3086208 h 3378173"/>
                <a:gd name="connsiteX47" fmla="*/ 512810 w 3404391"/>
                <a:gd name="connsiteY47" fmla="*/ 3089951 h 3378173"/>
                <a:gd name="connsiteX48" fmla="*/ 510939 w 3404391"/>
                <a:gd name="connsiteY48" fmla="*/ 3093694 h 3378173"/>
                <a:gd name="connsiteX49" fmla="*/ 509067 w 3404391"/>
                <a:gd name="connsiteY49" fmla="*/ 3089951 h 3378173"/>
                <a:gd name="connsiteX50" fmla="*/ 110423 w 3404391"/>
                <a:gd name="connsiteY50" fmla="*/ 3071235 h 3378173"/>
                <a:gd name="connsiteX51" fmla="*/ 108551 w 3404391"/>
                <a:gd name="connsiteY51" fmla="*/ 3095565 h 3378173"/>
                <a:gd name="connsiteX52" fmla="*/ 104808 w 3404391"/>
                <a:gd name="connsiteY52" fmla="*/ 3095565 h 3378173"/>
                <a:gd name="connsiteX53" fmla="*/ 104808 w 3404391"/>
                <a:gd name="connsiteY53" fmla="*/ 3086207 h 3378173"/>
                <a:gd name="connsiteX54" fmla="*/ 110423 w 3404391"/>
                <a:gd name="connsiteY54" fmla="*/ 3071235 h 3378173"/>
                <a:gd name="connsiteX55" fmla="*/ 625105 w 3404391"/>
                <a:gd name="connsiteY55" fmla="*/ 3054391 h 3378173"/>
                <a:gd name="connsiteX56" fmla="*/ 626977 w 3404391"/>
                <a:gd name="connsiteY56" fmla="*/ 3056263 h 3378173"/>
                <a:gd name="connsiteX57" fmla="*/ 625105 w 3404391"/>
                <a:gd name="connsiteY57" fmla="*/ 3058134 h 3378173"/>
                <a:gd name="connsiteX58" fmla="*/ 625105 w 3404391"/>
                <a:gd name="connsiteY58" fmla="*/ 3056263 h 3378173"/>
                <a:gd name="connsiteX59" fmla="*/ 170313 w 3404391"/>
                <a:gd name="connsiteY59" fmla="*/ 3031932 h 3378173"/>
                <a:gd name="connsiteX60" fmla="*/ 170313 w 3404391"/>
                <a:gd name="connsiteY60" fmla="*/ 3054391 h 3378173"/>
                <a:gd name="connsiteX61" fmla="*/ 164698 w 3404391"/>
                <a:gd name="connsiteY61" fmla="*/ 3054391 h 3378173"/>
                <a:gd name="connsiteX62" fmla="*/ 164698 w 3404391"/>
                <a:gd name="connsiteY62" fmla="*/ 3045033 h 3378173"/>
                <a:gd name="connsiteX63" fmla="*/ 170313 w 3404391"/>
                <a:gd name="connsiteY63" fmla="*/ 3031932 h 3378173"/>
                <a:gd name="connsiteX64" fmla="*/ 243304 w 3404391"/>
                <a:gd name="connsiteY64" fmla="*/ 2996372 h 3378173"/>
                <a:gd name="connsiteX65" fmla="*/ 243304 w 3404391"/>
                <a:gd name="connsiteY65" fmla="*/ 3018831 h 3378173"/>
                <a:gd name="connsiteX66" fmla="*/ 237689 w 3404391"/>
                <a:gd name="connsiteY66" fmla="*/ 3016959 h 3378173"/>
                <a:gd name="connsiteX67" fmla="*/ 237689 w 3404391"/>
                <a:gd name="connsiteY67" fmla="*/ 3009473 h 3378173"/>
                <a:gd name="connsiteX68" fmla="*/ 243304 w 3404391"/>
                <a:gd name="connsiteY68" fmla="*/ 2996372 h 3378173"/>
                <a:gd name="connsiteX69" fmla="*/ 29945 w 3404391"/>
                <a:gd name="connsiteY69" fmla="*/ 2992629 h 3378173"/>
                <a:gd name="connsiteX70" fmla="*/ 24330 w 3404391"/>
                <a:gd name="connsiteY70" fmla="*/ 3022574 h 3378173"/>
                <a:gd name="connsiteX71" fmla="*/ 26202 w 3404391"/>
                <a:gd name="connsiteY71" fmla="*/ 3011345 h 3378173"/>
                <a:gd name="connsiteX72" fmla="*/ 29945 w 3404391"/>
                <a:gd name="connsiteY72" fmla="*/ 2992629 h 3378173"/>
                <a:gd name="connsiteX73" fmla="*/ 325653 w 3404391"/>
                <a:gd name="connsiteY73" fmla="*/ 2962684 h 3378173"/>
                <a:gd name="connsiteX74" fmla="*/ 325653 w 3404391"/>
                <a:gd name="connsiteY74" fmla="*/ 2985143 h 3378173"/>
                <a:gd name="connsiteX75" fmla="*/ 318167 w 3404391"/>
                <a:gd name="connsiteY75" fmla="*/ 2983271 h 3378173"/>
                <a:gd name="connsiteX76" fmla="*/ 318167 w 3404391"/>
                <a:gd name="connsiteY76" fmla="*/ 2977657 h 3378173"/>
                <a:gd name="connsiteX77" fmla="*/ 325653 w 3404391"/>
                <a:gd name="connsiteY77" fmla="*/ 2962684 h 3378173"/>
                <a:gd name="connsiteX78" fmla="*/ 52404 w 3404391"/>
                <a:gd name="connsiteY78" fmla="*/ 2947711 h 3378173"/>
                <a:gd name="connsiteX79" fmla="*/ 46789 w 3404391"/>
                <a:gd name="connsiteY79" fmla="*/ 2981399 h 3378173"/>
                <a:gd name="connsiteX80" fmla="*/ 46789 w 3404391"/>
                <a:gd name="connsiteY80" fmla="*/ 2968298 h 3378173"/>
                <a:gd name="connsiteX81" fmla="*/ 52404 w 3404391"/>
                <a:gd name="connsiteY81" fmla="*/ 2947711 h 3378173"/>
                <a:gd name="connsiteX82" fmla="*/ 419232 w 3404391"/>
                <a:gd name="connsiteY82" fmla="*/ 2930867 h 3378173"/>
                <a:gd name="connsiteX83" fmla="*/ 419232 w 3404391"/>
                <a:gd name="connsiteY83" fmla="*/ 2951454 h 3378173"/>
                <a:gd name="connsiteX84" fmla="*/ 411746 w 3404391"/>
                <a:gd name="connsiteY84" fmla="*/ 2947711 h 3378173"/>
                <a:gd name="connsiteX85" fmla="*/ 411746 w 3404391"/>
                <a:gd name="connsiteY85" fmla="*/ 2943968 h 3378173"/>
                <a:gd name="connsiteX86" fmla="*/ 419232 w 3404391"/>
                <a:gd name="connsiteY86" fmla="*/ 2930867 h 3378173"/>
                <a:gd name="connsiteX87" fmla="*/ 524040 w 3404391"/>
                <a:gd name="connsiteY87" fmla="*/ 2904665 h 3378173"/>
                <a:gd name="connsiteX88" fmla="*/ 524040 w 3404391"/>
                <a:gd name="connsiteY88" fmla="*/ 2919638 h 3378173"/>
                <a:gd name="connsiteX89" fmla="*/ 516554 w 3404391"/>
                <a:gd name="connsiteY89" fmla="*/ 2917766 h 3378173"/>
                <a:gd name="connsiteX90" fmla="*/ 516554 w 3404391"/>
                <a:gd name="connsiteY90" fmla="*/ 2915895 h 3378173"/>
                <a:gd name="connsiteX91" fmla="*/ 524040 w 3404391"/>
                <a:gd name="connsiteY91" fmla="*/ 2904665 h 3378173"/>
                <a:gd name="connsiteX92" fmla="*/ 89835 w 3404391"/>
                <a:gd name="connsiteY92" fmla="*/ 2904665 h 3378173"/>
                <a:gd name="connsiteX93" fmla="*/ 86092 w 3404391"/>
                <a:gd name="connsiteY93" fmla="*/ 2936482 h 3378173"/>
                <a:gd name="connsiteX94" fmla="*/ 82349 w 3404391"/>
                <a:gd name="connsiteY94" fmla="*/ 2942097 h 3378173"/>
                <a:gd name="connsiteX95" fmla="*/ 82349 w 3404391"/>
                <a:gd name="connsiteY95" fmla="*/ 2927124 h 3378173"/>
                <a:gd name="connsiteX96" fmla="*/ 89835 w 3404391"/>
                <a:gd name="connsiteY96" fmla="*/ 2904665 h 3378173"/>
                <a:gd name="connsiteX97" fmla="*/ 638206 w 3404391"/>
                <a:gd name="connsiteY97" fmla="*/ 2878463 h 3378173"/>
                <a:gd name="connsiteX98" fmla="*/ 638206 w 3404391"/>
                <a:gd name="connsiteY98" fmla="*/ 2889692 h 3378173"/>
                <a:gd name="connsiteX99" fmla="*/ 630720 w 3404391"/>
                <a:gd name="connsiteY99" fmla="*/ 2887821 h 3378173"/>
                <a:gd name="connsiteX100" fmla="*/ 630720 w 3404391"/>
                <a:gd name="connsiteY100" fmla="*/ 2885949 h 3378173"/>
                <a:gd name="connsiteX101" fmla="*/ 638206 w 3404391"/>
                <a:gd name="connsiteY101" fmla="*/ 2878463 h 3378173"/>
                <a:gd name="connsiteX102" fmla="*/ 138496 w 3404391"/>
                <a:gd name="connsiteY102" fmla="*/ 2865362 h 3378173"/>
                <a:gd name="connsiteX103" fmla="*/ 134753 w 3404391"/>
                <a:gd name="connsiteY103" fmla="*/ 2902794 h 3378173"/>
                <a:gd name="connsiteX104" fmla="*/ 129138 w 3404391"/>
                <a:gd name="connsiteY104" fmla="*/ 2904665 h 3378173"/>
                <a:gd name="connsiteX105" fmla="*/ 129138 w 3404391"/>
                <a:gd name="connsiteY105" fmla="*/ 2889692 h 3378173"/>
                <a:gd name="connsiteX106" fmla="*/ 138496 w 3404391"/>
                <a:gd name="connsiteY106" fmla="*/ 2865362 h 3378173"/>
                <a:gd name="connsiteX107" fmla="*/ 761730 w 3404391"/>
                <a:gd name="connsiteY107" fmla="*/ 2856004 h 3378173"/>
                <a:gd name="connsiteX108" fmla="*/ 763602 w 3404391"/>
                <a:gd name="connsiteY108" fmla="*/ 2863490 h 3378173"/>
                <a:gd name="connsiteX109" fmla="*/ 757987 w 3404391"/>
                <a:gd name="connsiteY109" fmla="*/ 2861618 h 3378173"/>
                <a:gd name="connsiteX110" fmla="*/ 761730 w 3404391"/>
                <a:gd name="connsiteY110" fmla="*/ 2856004 h 3378173"/>
                <a:gd name="connsiteX111" fmla="*/ 894612 w 3404391"/>
                <a:gd name="connsiteY111" fmla="*/ 2837289 h 3378173"/>
                <a:gd name="connsiteX112" fmla="*/ 896483 w 3404391"/>
                <a:gd name="connsiteY112" fmla="*/ 2839160 h 3378173"/>
                <a:gd name="connsiteX113" fmla="*/ 894612 w 3404391"/>
                <a:gd name="connsiteY113" fmla="*/ 2841032 h 3378173"/>
                <a:gd name="connsiteX114" fmla="*/ 892740 w 3404391"/>
                <a:gd name="connsiteY114" fmla="*/ 2839160 h 3378173"/>
                <a:gd name="connsiteX115" fmla="*/ 198386 w 3404391"/>
                <a:gd name="connsiteY115" fmla="*/ 2829802 h 3378173"/>
                <a:gd name="connsiteX116" fmla="*/ 194643 w 3404391"/>
                <a:gd name="connsiteY116" fmla="*/ 2867234 h 3378173"/>
                <a:gd name="connsiteX117" fmla="*/ 187157 w 3404391"/>
                <a:gd name="connsiteY117" fmla="*/ 2867234 h 3378173"/>
                <a:gd name="connsiteX118" fmla="*/ 187157 w 3404391"/>
                <a:gd name="connsiteY118" fmla="*/ 2854133 h 3378173"/>
                <a:gd name="connsiteX119" fmla="*/ 198386 w 3404391"/>
                <a:gd name="connsiteY119" fmla="*/ 2829802 h 3378173"/>
                <a:gd name="connsiteX120" fmla="*/ 269506 w 3404391"/>
                <a:gd name="connsiteY120" fmla="*/ 2797985 h 3378173"/>
                <a:gd name="connsiteX121" fmla="*/ 265763 w 3404391"/>
                <a:gd name="connsiteY121" fmla="*/ 2833545 h 3378173"/>
                <a:gd name="connsiteX122" fmla="*/ 256405 w 3404391"/>
                <a:gd name="connsiteY122" fmla="*/ 2829802 h 3378173"/>
                <a:gd name="connsiteX123" fmla="*/ 256405 w 3404391"/>
                <a:gd name="connsiteY123" fmla="*/ 2818573 h 3378173"/>
                <a:gd name="connsiteX124" fmla="*/ 269506 w 3404391"/>
                <a:gd name="connsiteY124" fmla="*/ 2797985 h 3378173"/>
                <a:gd name="connsiteX125" fmla="*/ 67513 w 3404391"/>
                <a:gd name="connsiteY125" fmla="*/ 2794127 h 3378173"/>
                <a:gd name="connsiteX126" fmla="*/ 65271 w 3404391"/>
                <a:gd name="connsiteY126" fmla="*/ 2804770 h 3378173"/>
                <a:gd name="connsiteX127" fmla="*/ 59890 w 3404391"/>
                <a:gd name="connsiteY127" fmla="*/ 2826060 h 3378173"/>
                <a:gd name="connsiteX128" fmla="*/ 63633 w 3404391"/>
                <a:gd name="connsiteY128" fmla="*/ 2809216 h 3378173"/>
                <a:gd name="connsiteX129" fmla="*/ 69248 w 3404391"/>
                <a:gd name="connsiteY129" fmla="*/ 2784885 h 3378173"/>
                <a:gd name="connsiteX130" fmla="*/ 67844 w 3404391"/>
                <a:gd name="connsiteY130" fmla="*/ 2792839 h 3378173"/>
                <a:gd name="connsiteX131" fmla="*/ 67513 w 3404391"/>
                <a:gd name="connsiteY131" fmla="*/ 2794127 h 3378173"/>
                <a:gd name="connsiteX132" fmla="*/ 68049 w 3404391"/>
                <a:gd name="connsiteY132" fmla="*/ 2791581 h 3378173"/>
                <a:gd name="connsiteX133" fmla="*/ 69248 w 3404391"/>
                <a:gd name="connsiteY133" fmla="*/ 2784885 h 3378173"/>
                <a:gd name="connsiteX134" fmla="*/ 351855 w 3404391"/>
                <a:gd name="connsiteY134" fmla="*/ 2769912 h 3378173"/>
                <a:gd name="connsiteX135" fmla="*/ 349983 w 3404391"/>
                <a:gd name="connsiteY135" fmla="*/ 2803600 h 3378173"/>
                <a:gd name="connsiteX136" fmla="*/ 338754 w 3404391"/>
                <a:gd name="connsiteY136" fmla="*/ 2799857 h 3378173"/>
                <a:gd name="connsiteX137" fmla="*/ 338754 w 3404391"/>
                <a:gd name="connsiteY137" fmla="*/ 2790499 h 3378173"/>
                <a:gd name="connsiteX138" fmla="*/ 351855 w 3404391"/>
                <a:gd name="connsiteY138" fmla="*/ 2769912 h 3378173"/>
                <a:gd name="connsiteX139" fmla="*/ 445434 w 3404391"/>
                <a:gd name="connsiteY139" fmla="*/ 2745581 h 3378173"/>
                <a:gd name="connsiteX140" fmla="*/ 443562 w 3404391"/>
                <a:gd name="connsiteY140" fmla="*/ 2775526 h 3378173"/>
                <a:gd name="connsiteX141" fmla="*/ 432333 w 3404391"/>
                <a:gd name="connsiteY141" fmla="*/ 2769912 h 3378173"/>
                <a:gd name="connsiteX142" fmla="*/ 432333 w 3404391"/>
                <a:gd name="connsiteY142" fmla="*/ 2764297 h 3378173"/>
                <a:gd name="connsiteX143" fmla="*/ 445434 w 3404391"/>
                <a:gd name="connsiteY143" fmla="*/ 2745581 h 3378173"/>
                <a:gd name="connsiteX144" fmla="*/ 93578 w 3404391"/>
                <a:gd name="connsiteY144" fmla="*/ 2739967 h 3378173"/>
                <a:gd name="connsiteX145" fmla="*/ 82349 w 3404391"/>
                <a:gd name="connsiteY145" fmla="*/ 2786756 h 3378173"/>
                <a:gd name="connsiteX146" fmla="*/ 84220 w 3404391"/>
                <a:gd name="connsiteY146" fmla="*/ 2768041 h 3378173"/>
                <a:gd name="connsiteX147" fmla="*/ 93578 w 3404391"/>
                <a:gd name="connsiteY147" fmla="*/ 2739967 h 3378173"/>
                <a:gd name="connsiteX148" fmla="*/ 548371 w 3404391"/>
                <a:gd name="connsiteY148" fmla="*/ 2723123 h 3378173"/>
                <a:gd name="connsiteX149" fmla="*/ 548371 w 3404391"/>
                <a:gd name="connsiteY149" fmla="*/ 2749325 h 3378173"/>
                <a:gd name="connsiteX150" fmla="*/ 535270 w 3404391"/>
                <a:gd name="connsiteY150" fmla="*/ 2743710 h 3378173"/>
                <a:gd name="connsiteX151" fmla="*/ 535270 w 3404391"/>
                <a:gd name="connsiteY151" fmla="*/ 2739967 h 3378173"/>
                <a:gd name="connsiteX152" fmla="*/ 548371 w 3404391"/>
                <a:gd name="connsiteY152" fmla="*/ 2723123 h 3378173"/>
                <a:gd name="connsiteX153" fmla="*/ 660665 w 3404391"/>
                <a:gd name="connsiteY153" fmla="*/ 2704407 h 3378173"/>
                <a:gd name="connsiteX154" fmla="*/ 660665 w 3404391"/>
                <a:gd name="connsiteY154" fmla="*/ 2724994 h 3378173"/>
                <a:gd name="connsiteX155" fmla="*/ 649436 w 3404391"/>
                <a:gd name="connsiteY155" fmla="*/ 2719380 h 3378173"/>
                <a:gd name="connsiteX156" fmla="*/ 649436 w 3404391"/>
                <a:gd name="connsiteY156" fmla="*/ 2717508 h 3378173"/>
                <a:gd name="connsiteX157" fmla="*/ 660665 w 3404391"/>
                <a:gd name="connsiteY157" fmla="*/ 2704407 h 3378173"/>
                <a:gd name="connsiteX158" fmla="*/ 129138 w 3404391"/>
                <a:gd name="connsiteY158" fmla="*/ 2700664 h 3378173"/>
                <a:gd name="connsiteX159" fmla="*/ 121652 w 3404391"/>
                <a:gd name="connsiteY159" fmla="*/ 2743710 h 3378173"/>
                <a:gd name="connsiteX160" fmla="*/ 116037 w 3404391"/>
                <a:gd name="connsiteY160" fmla="*/ 2751196 h 3378173"/>
                <a:gd name="connsiteX161" fmla="*/ 117908 w 3404391"/>
                <a:gd name="connsiteY161" fmla="*/ 2730609 h 3378173"/>
                <a:gd name="connsiteX162" fmla="*/ 129138 w 3404391"/>
                <a:gd name="connsiteY162" fmla="*/ 2700664 h 3378173"/>
                <a:gd name="connsiteX163" fmla="*/ 784189 w 3404391"/>
                <a:gd name="connsiteY163" fmla="*/ 2691306 h 3378173"/>
                <a:gd name="connsiteX164" fmla="*/ 786060 w 3404391"/>
                <a:gd name="connsiteY164" fmla="*/ 2706279 h 3378173"/>
                <a:gd name="connsiteX165" fmla="*/ 774831 w 3404391"/>
                <a:gd name="connsiteY165" fmla="*/ 2702535 h 3378173"/>
                <a:gd name="connsiteX166" fmla="*/ 774831 w 3404391"/>
                <a:gd name="connsiteY166" fmla="*/ 2700664 h 3378173"/>
                <a:gd name="connsiteX167" fmla="*/ 784189 w 3404391"/>
                <a:gd name="connsiteY167" fmla="*/ 2691306 h 3378173"/>
                <a:gd name="connsiteX168" fmla="*/ 915199 w 3404391"/>
                <a:gd name="connsiteY168" fmla="*/ 2678205 h 3378173"/>
                <a:gd name="connsiteX169" fmla="*/ 917071 w 3404391"/>
                <a:gd name="connsiteY169" fmla="*/ 2687563 h 3378173"/>
                <a:gd name="connsiteX170" fmla="*/ 907713 w 3404391"/>
                <a:gd name="connsiteY170" fmla="*/ 2685691 h 3378173"/>
                <a:gd name="connsiteX171" fmla="*/ 907713 w 3404391"/>
                <a:gd name="connsiteY171" fmla="*/ 2683819 h 3378173"/>
                <a:gd name="connsiteX172" fmla="*/ 915199 w 3404391"/>
                <a:gd name="connsiteY172" fmla="*/ 2678205 h 3378173"/>
                <a:gd name="connsiteX173" fmla="*/ 1055567 w 3404391"/>
                <a:gd name="connsiteY173" fmla="*/ 2670718 h 3378173"/>
                <a:gd name="connsiteX174" fmla="*/ 1057439 w 3404391"/>
                <a:gd name="connsiteY174" fmla="*/ 2672590 h 3378173"/>
                <a:gd name="connsiteX175" fmla="*/ 1053696 w 3404391"/>
                <a:gd name="connsiteY175" fmla="*/ 2676333 h 3378173"/>
                <a:gd name="connsiteX176" fmla="*/ 1051824 w 3404391"/>
                <a:gd name="connsiteY176" fmla="*/ 2674461 h 3378173"/>
                <a:gd name="connsiteX177" fmla="*/ 177799 w 3404391"/>
                <a:gd name="connsiteY177" fmla="*/ 2663232 h 3378173"/>
                <a:gd name="connsiteX178" fmla="*/ 168441 w 3404391"/>
                <a:gd name="connsiteY178" fmla="*/ 2711893 h 3378173"/>
                <a:gd name="connsiteX179" fmla="*/ 162826 w 3404391"/>
                <a:gd name="connsiteY179" fmla="*/ 2713765 h 3378173"/>
                <a:gd name="connsiteX180" fmla="*/ 164698 w 3404391"/>
                <a:gd name="connsiteY180" fmla="*/ 2695049 h 3378173"/>
                <a:gd name="connsiteX181" fmla="*/ 177799 w 3404391"/>
                <a:gd name="connsiteY181" fmla="*/ 2663232 h 3378173"/>
                <a:gd name="connsiteX182" fmla="*/ 237689 w 3404391"/>
                <a:gd name="connsiteY182" fmla="*/ 2631415 h 3378173"/>
                <a:gd name="connsiteX183" fmla="*/ 230203 w 3404391"/>
                <a:gd name="connsiteY183" fmla="*/ 2680076 h 3378173"/>
                <a:gd name="connsiteX184" fmla="*/ 220845 w 3404391"/>
                <a:gd name="connsiteY184" fmla="*/ 2678204 h 3378173"/>
                <a:gd name="connsiteX185" fmla="*/ 222717 w 3404391"/>
                <a:gd name="connsiteY185" fmla="*/ 2661360 h 3378173"/>
                <a:gd name="connsiteX186" fmla="*/ 237689 w 3404391"/>
                <a:gd name="connsiteY186" fmla="*/ 2631415 h 3378173"/>
                <a:gd name="connsiteX187" fmla="*/ 306938 w 3404391"/>
                <a:gd name="connsiteY187" fmla="*/ 2603342 h 3378173"/>
                <a:gd name="connsiteX188" fmla="*/ 299451 w 3404391"/>
                <a:gd name="connsiteY188" fmla="*/ 2650131 h 3378173"/>
                <a:gd name="connsiteX189" fmla="*/ 288222 w 3404391"/>
                <a:gd name="connsiteY189" fmla="*/ 2646388 h 3378173"/>
                <a:gd name="connsiteX190" fmla="*/ 290094 w 3404391"/>
                <a:gd name="connsiteY190" fmla="*/ 2633287 h 3378173"/>
                <a:gd name="connsiteX191" fmla="*/ 306938 w 3404391"/>
                <a:gd name="connsiteY191" fmla="*/ 2603342 h 3378173"/>
                <a:gd name="connsiteX192" fmla="*/ 389287 w 3404391"/>
                <a:gd name="connsiteY192" fmla="*/ 2580883 h 3378173"/>
                <a:gd name="connsiteX193" fmla="*/ 383672 w 3404391"/>
                <a:gd name="connsiteY193" fmla="*/ 2625801 h 3378173"/>
                <a:gd name="connsiteX194" fmla="*/ 370571 w 3404391"/>
                <a:gd name="connsiteY194" fmla="*/ 2620186 h 3378173"/>
                <a:gd name="connsiteX195" fmla="*/ 372443 w 3404391"/>
                <a:gd name="connsiteY195" fmla="*/ 2608957 h 3378173"/>
                <a:gd name="connsiteX196" fmla="*/ 389287 w 3404391"/>
                <a:gd name="connsiteY196" fmla="*/ 2580883 h 3378173"/>
                <a:gd name="connsiteX197" fmla="*/ 121652 w 3404391"/>
                <a:gd name="connsiteY197" fmla="*/ 2580883 h 3378173"/>
                <a:gd name="connsiteX198" fmla="*/ 106679 w 3404391"/>
                <a:gd name="connsiteY198" fmla="*/ 2635159 h 3378173"/>
                <a:gd name="connsiteX199" fmla="*/ 112294 w 3404391"/>
                <a:gd name="connsiteY199" fmla="*/ 2614571 h 3378173"/>
                <a:gd name="connsiteX200" fmla="*/ 121652 w 3404391"/>
                <a:gd name="connsiteY200" fmla="*/ 2580883 h 3378173"/>
                <a:gd name="connsiteX201" fmla="*/ 480994 w 3404391"/>
                <a:gd name="connsiteY201" fmla="*/ 2562167 h 3378173"/>
                <a:gd name="connsiteX202" fmla="*/ 477251 w 3404391"/>
                <a:gd name="connsiteY202" fmla="*/ 2603342 h 3378173"/>
                <a:gd name="connsiteX203" fmla="*/ 462278 w 3404391"/>
                <a:gd name="connsiteY203" fmla="*/ 2595855 h 3378173"/>
                <a:gd name="connsiteX204" fmla="*/ 464150 w 3404391"/>
                <a:gd name="connsiteY204" fmla="*/ 2586498 h 3378173"/>
                <a:gd name="connsiteX205" fmla="*/ 480994 w 3404391"/>
                <a:gd name="connsiteY205" fmla="*/ 2562167 h 3378173"/>
                <a:gd name="connsiteX206" fmla="*/ 583931 w 3404391"/>
                <a:gd name="connsiteY206" fmla="*/ 2545323 h 3378173"/>
                <a:gd name="connsiteX207" fmla="*/ 582059 w 3404391"/>
                <a:gd name="connsiteY207" fmla="*/ 2580883 h 3378173"/>
                <a:gd name="connsiteX208" fmla="*/ 565215 w 3404391"/>
                <a:gd name="connsiteY208" fmla="*/ 2573397 h 3378173"/>
                <a:gd name="connsiteX209" fmla="*/ 565215 w 3404391"/>
                <a:gd name="connsiteY209" fmla="*/ 2567782 h 3378173"/>
                <a:gd name="connsiteX210" fmla="*/ 583931 w 3404391"/>
                <a:gd name="connsiteY210" fmla="*/ 2545323 h 3378173"/>
                <a:gd name="connsiteX211" fmla="*/ 145983 w 3404391"/>
                <a:gd name="connsiteY211" fmla="*/ 2537837 h 3378173"/>
                <a:gd name="connsiteX212" fmla="*/ 129138 w 3404391"/>
                <a:gd name="connsiteY212" fmla="*/ 2595856 h 3378173"/>
                <a:gd name="connsiteX213" fmla="*/ 132882 w 3404391"/>
                <a:gd name="connsiteY213" fmla="*/ 2571525 h 3378173"/>
                <a:gd name="connsiteX214" fmla="*/ 145983 w 3404391"/>
                <a:gd name="connsiteY214" fmla="*/ 2537837 h 3378173"/>
                <a:gd name="connsiteX215" fmla="*/ 694354 w 3404391"/>
                <a:gd name="connsiteY215" fmla="*/ 2534094 h 3378173"/>
                <a:gd name="connsiteX216" fmla="*/ 692482 w 3404391"/>
                <a:gd name="connsiteY216" fmla="*/ 2564039 h 3378173"/>
                <a:gd name="connsiteX217" fmla="*/ 675638 w 3404391"/>
                <a:gd name="connsiteY217" fmla="*/ 2554681 h 3378173"/>
                <a:gd name="connsiteX218" fmla="*/ 675638 w 3404391"/>
                <a:gd name="connsiteY218" fmla="*/ 2550938 h 3378173"/>
                <a:gd name="connsiteX219" fmla="*/ 694354 w 3404391"/>
                <a:gd name="connsiteY219" fmla="*/ 2534094 h 3378173"/>
                <a:gd name="connsiteX220" fmla="*/ 1231495 w 3404391"/>
                <a:gd name="connsiteY220" fmla="*/ 2526607 h 3378173"/>
                <a:gd name="connsiteX221" fmla="*/ 1233366 w 3404391"/>
                <a:gd name="connsiteY221" fmla="*/ 2532222 h 3378173"/>
                <a:gd name="connsiteX222" fmla="*/ 1225880 w 3404391"/>
                <a:gd name="connsiteY222" fmla="*/ 2530350 h 3378173"/>
                <a:gd name="connsiteX223" fmla="*/ 1231495 w 3404391"/>
                <a:gd name="connsiteY223" fmla="*/ 2526607 h 3378173"/>
                <a:gd name="connsiteX224" fmla="*/ 816005 w 3404391"/>
                <a:gd name="connsiteY224" fmla="*/ 2526607 h 3378173"/>
                <a:gd name="connsiteX225" fmla="*/ 816005 w 3404391"/>
                <a:gd name="connsiteY225" fmla="*/ 2550938 h 3378173"/>
                <a:gd name="connsiteX226" fmla="*/ 799161 w 3404391"/>
                <a:gd name="connsiteY226" fmla="*/ 2543451 h 3378173"/>
                <a:gd name="connsiteX227" fmla="*/ 799161 w 3404391"/>
                <a:gd name="connsiteY227" fmla="*/ 2539708 h 3378173"/>
                <a:gd name="connsiteX228" fmla="*/ 816005 w 3404391"/>
                <a:gd name="connsiteY228" fmla="*/ 2526607 h 3378173"/>
                <a:gd name="connsiteX229" fmla="*/ 1083641 w 3404391"/>
                <a:gd name="connsiteY229" fmla="*/ 2522864 h 3378173"/>
                <a:gd name="connsiteX230" fmla="*/ 1085512 w 3404391"/>
                <a:gd name="connsiteY230" fmla="*/ 2534093 h 3378173"/>
                <a:gd name="connsiteX231" fmla="*/ 1074283 w 3404391"/>
                <a:gd name="connsiteY231" fmla="*/ 2530350 h 3378173"/>
                <a:gd name="connsiteX232" fmla="*/ 1083641 w 3404391"/>
                <a:gd name="connsiteY232" fmla="*/ 2522864 h 3378173"/>
                <a:gd name="connsiteX233" fmla="*/ 945144 w 3404391"/>
                <a:gd name="connsiteY233" fmla="*/ 2522864 h 3378173"/>
                <a:gd name="connsiteX234" fmla="*/ 945144 w 3404391"/>
                <a:gd name="connsiteY234" fmla="*/ 2541580 h 3378173"/>
                <a:gd name="connsiteX235" fmla="*/ 932043 w 3404391"/>
                <a:gd name="connsiteY235" fmla="*/ 2535965 h 3378173"/>
                <a:gd name="connsiteX236" fmla="*/ 932043 w 3404391"/>
                <a:gd name="connsiteY236" fmla="*/ 2534093 h 3378173"/>
                <a:gd name="connsiteX237" fmla="*/ 945144 w 3404391"/>
                <a:gd name="connsiteY237" fmla="*/ 2522864 h 3378173"/>
                <a:gd name="connsiteX238" fmla="*/ 181542 w 3404391"/>
                <a:gd name="connsiteY238" fmla="*/ 2498534 h 3378173"/>
                <a:gd name="connsiteX239" fmla="*/ 170313 w 3404391"/>
                <a:gd name="connsiteY239" fmla="*/ 2549066 h 3378173"/>
                <a:gd name="connsiteX240" fmla="*/ 162826 w 3404391"/>
                <a:gd name="connsiteY240" fmla="*/ 2558424 h 3378173"/>
                <a:gd name="connsiteX241" fmla="*/ 166570 w 3404391"/>
                <a:gd name="connsiteY241" fmla="*/ 2534094 h 3378173"/>
                <a:gd name="connsiteX242" fmla="*/ 181542 w 3404391"/>
                <a:gd name="connsiteY242" fmla="*/ 2498534 h 3378173"/>
                <a:gd name="connsiteX243" fmla="*/ 230203 w 3404391"/>
                <a:gd name="connsiteY243" fmla="*/ 2464845 h 3378173"/>
                <a:gd name="connsiteX244" fmla="*/ 215230 w 3404391"/>
                <a:gd name="connsiteY244" fmla="*/ 2524735 h 3378173"/>
                <a:gd name="connsiteX245" fmla="*/ 207744 w 3404391"/>
                <a:gd name="connsiteY245" fmla="*/ 2526607 h 3378173"/>
                <a:gd name="connsiteX246" fmla="*/ 211487 w 3404391"/>
                <a:gd name="connsiteY246" fmla="*/ 2502277 h 3378173"/>
                <a:gd name="connsiteX247" fmla="*/ 230203 w 3404391"/>
                <a:gd name="connsiteY247" fmla="*/ 2464845 h 3378173"/>
                <a:gd name="connsiteX248" fmla="*/ 288221 w 3404391"/>
                <a:gd name="connsiteY248" fmla="*/ 2436772 h 3378173"/>
                <a:gd name="connsiteX249" fmla="*/ 273249 w 3404391"/>
                <a:gd name="connsiteY249" fmla="*/ 2496662 h 3378173"/>
                <a:gd name="connsiteX250" fmla="*/ 263891 w 3404391"/>
                <a:gd name="connsiteY250" fmla="*/ 2494791 h 3378173"/>
                <a:gd name="connsiteX251" fmla="*/ 267634 w 3404391"/>
                <a:gd name="connsiteY251" fmla="*/ 2472332 h 3378173"/>
                <a:gd name="connsiteX252" fmla="*/ 288221 w 3404391"/>
                <a:gd name="connsiteY252" fmla="*/ 2436772 h 3378173"/>
                <a:gd name="connsiteX253" fmla="*/ 357470 w 3404391"/>
                <a:gd name="connsiteY253" fmla="*/ 2412441 h 3378173"/>
                <a:gd name="connsiteX254" fmla="*/ 344369 w 3404391"/>
                <a:gd name="connsiteY254" fmla="*/ 2472332 h 3378173"/>
                <a:gd name="connsiteX255" fmla="*/ 331268 w 3404391"/>
                <a:gd name="connsiteY255" fmla="*/ 2464845 h 3378173"/>
                <a:gd name="connsiteX256" fmla="*/ 333140 w 3404391"/>
                <a:gd name="connsiteY256" fmla="*/ 2448001 h 3378173"/>
                <a:gd name="connsiteX257" fmla="*/ 357470 w 3404391"/>
                <a:gd name="connsiteY257" fmla="*/ 2412441 h 3378173"/>
                <a:gd name="connsiteX258" fmla="*/ 1416781 w 3404391"/>
                <a:gd name="connsiteY258" fmla="*/ 2406827 h 3378173"/>
                <a:gd name="connsiteX259" fmla="*/ 1418652 w 3404391"/>
                <a:gd name="connsiteY259" fmla="*/ 2412442 h 3378173"/>
                <a:gd name="connsiteX260" fmla="*/ 1411166 w 3404391"/>
                <a:gd name="connsiteY260" fmla="*/ 2410570 h 3378173"/>
                <a:gd name="connsiteX261" fmla="*/ 1416781 w 3404391"/>
                <a:gd name="connsiteY261" fmla="*/ 2406827 h 3378173"/>
                <a:gd name="connsiteX262" fmla="*/ 437948 w 3404391"/>
                <a:gd name="connsiteY262" fmla="*/ 2393726 h 3378173"/>
                <a:gd name="connsiteX263" fmla="*/ 426718 w 3404391"/>
                <a:gd name="connsiteY263" fmla="*/ 2449873 h 3378173"/>
                <a:gd name="connsiteX264" fmla="*/ 409874 w 3404391"/>
                <a:gd name="connsiteY264" fmla="*/ 2444259 h 3378173"/>
                <a:gd name="connsiteX265" fmla="*/ 411746 w 3404391"/>
                <a:gd name="connsiteY265" fmla="*/ 2427414 h 3378173"/>
                <a:gd name="connsiteX266" fmla="*/ 437948 w 3404391"/>
                <a:gd name="connsiteY266" fmla="*/ 2393726 h 3378173"/>
                <a:gd name="connsiteX267" fmla="*/ 1265184 w 3404391"/>
                <a:gd name="connsiteY267" fmla="*/ 2389982 h 3378173"/>
                <a:gd name="connsiteX268" fmla="*/ 1267055 w 3404391"/>
                <a:gd name="connsiteY268" fmla="*/ 2401212 h 3378173"/>
                <a:gd name="connsiteX269" fmla="*/ 1253954 w 3404391"/>
                <a:gd name="connsiteY269" fmla="*/ 2395597 h 3378173"/>
                <a:gd name="connsiteX270" fmla="*/ 1265184 w 3404391"/>
                <a:gd name="connsiteY270" fmla="*/ 2389982 h 3378173"/>
                <a:gd name="connsiteX271" fmla="*/ 527784 w 3404391"/>
                <a:gd name="connsiteY271" fmla="*/ 2380625 h 3378173"/>
                <a:gd name="connsiteX272" fmla="*/ 518426 w 3404391"/>
                <a:gd name="connsiteY272" fmla="*/ 2431157 h 3378173"/>
                <a:gd name="connsiteX273" fmla="*/ 499710 w 3404391"/>
                <a:gd name="connsiteY273" fmla="*/ 2419928 h 3378173"/>
                <a:gd name="connsiteX274" fmla="*/ 501582 w 3404391"/>
                <a:gd name="connsiteY274" fmla="*/ 2408699 h 3378173"/>
                <a:gd name="connsiteX275" fmla="*/ 527784 w 3404391"/>
                <a:gd name="connsiteY275" fmla="*/ 2380625 h 3378173"/>
                <a:gd name="connsiteX276" fmla="*/ 187157 w 3404391"/>
                <a:gd name="connsiteY276" fmla="*/ 2380625 h 3378173"/>
                <a:gd name="connsiteX277" fmla="*/ 164698 w 3404391"/>
                <a:gd name="connsiteY277" fmla="*/ 2444259 h 3378173"/>
                <a:gd name="connsiteX278" fmla="*/ 166570 w 3404391"/>
                <a:gd name="connsiteY278" fmla="*/ 2438644 h 3378173"/>
                <a:gd name="connsiteX279" fmla="*/ 185285 w 3404391"/>
                <a:gd name="connsiteY279" fmla="*/ 2386240 h 3378173"/>
                <a:gd name="connsiteX280" fmla="*/ 187157 w 3404391"/>
                <a:gd name="connsiteY280" fmla="*/ 2380625 h 3378173"/>
                <a:gd name="connsiteX281" fmla="*/ 1121072 w 3404391"/>
                <a:gd name="connsiteY281" fmla="*/ 2378753 h 3378173"/>
                <a:gd name="connsiteX282" fmla="*/ 1122943 w 3404391"/>
                <a:gd name="connsiteY282" fmla="*/ 2397469 h 3378173"/>
                <a:gd name="connsiteX283" fmla="*/ 1106099 w 3404391"/>
                <a:gd name="connsiteY283" fmla="*/ 2389982 h 3378173"/>
                <a:gd name="connsiteX284" fmla="*/ 1106099 w 3404391"/>
                <a:gd name="connsiteY284" fmla="*/ 2388111 h 3378173"/>
                <a:gd name="connsiteX285" fmla="*/ 1121072 w 3404391"/>
                <a:gd name="connsiteY285" fmla="*/ 2378753 h 3378173"/>
                <a:gd name="connsiteX286" fmla="*/ 628849 w 3404391"/>
                <a:gd name="connsiteY286" fmla="*/ 2371267 h 3378173"/>
                <a:gd name="connsiteX287" fmla="*/ 623234 w 3404391"/>
                <a:gd name="connsiteY287" fmla="*/ 2416185 h 3378173"/>
                <a:gd name="connsiteX288" fmla="*/ 602647 w 3404391"/>
                <a:gd name="connsiteY288" fmla="*/ 2404955 h 3378173"/>
                <a:gd name="connsiteX289" fmla="*/ 604518 w 3404391"/>
                <a:gd name="connsiteY289" fmla="*/ 2397469 h 3378173"/>
                <a:gd name="connsiteX290" fmla="*/ 628849 w 3404391"/>
                <a:gd name="connsiteY290" fmla="*/ 2371267 h 3378173"/>
                <a:gd name="connsiteX291" fmla="*/ 984447 w 3404391"/>
                <a:gd name="connsiteY291" fmla="*/ 2369395 h 3378173"/>
                <a:gd name="connsiteX292" fmla="*/ 984447 w 3404391"/>
                <a:gd name="connsiteY292" fmla="*/ 2395597 h 3378173"/>
                <a:gd name="connsiteX293" fmla="*/ 965731 w 3404391"/>
                <a:gd name="connsiteY293" fmla="*/ 2386239 h 3378173"/>
                <a:gd name="connsiteX294" fmla="*/ 965731 w 3404391"/>
                <a:gd name="connsiteY294" fmla="*/ 2384368 h 3378173"/>
                <a:gd name="connsiteX295" fmla="*/ 984447 w 3404391"/>
                <a:gd name="connsiteY295" fmla="*/ 2369395 h 3378173"/>
                <a:gd name="connsiteX296" fmla="*/ 857180 w 3404391"/>
                <a:gd name="connsiteY296" fmla="*/ 2365652 h 3378173"/>
                <a:gd name="connsiteX297" fmla="*/ 855309 w 3404391"/>
                <a:gd name="connsiteY297" fmla="*/ 2397469 h 3378173"/>
                <a:gd name="connsiteX298" fmla="*/ 834722 w 3404391"/>
                <a:gd name="connsiteY298" fmla="*/ 2388111 h 3378173"/>
                <a:gd name="connsiteX299" fmla="*/ 834722 w 3404391"/>
                <a:gd name="connsiteY299" fmla="*/ 2384368 h 3378173"/>
                <a:gd name="connsiteX300" fmla="*/ 857180 w 3404391"/>
                <a:gd name="connsiteY300" fmla="*/ 2365652 h 3378173"/>
                <a:gd name="connsiteX301" fmla="*/ 739271 w 3404391"/>
                <a:gd name="connsiteY301" fmla="*/ 2365652 h 3378173"/>
                <a:gd name="connsiteX302" fmla="*/ 735528 w 3404391"/>
                <a:gd name="connsiteY302" fmla="*/ 2404955 h 3378173"/>
                <a:gd name="connsiteX303" fmla="*/ 714941 w 3404391"/>
                <a:gd name="connsiteY303" fmla="*/ 2391854 h 3378173"/>
                <a:gd name="connsiteX304" fmla="*/ 716812 w 3404391"/>
                <a:gd name="connsiteY304" fmla="*/ 2388111 h 3378173"/>
                <a:gd name="connsiteX305" fmla="*/ 739271 w 3404391"/>
                <a:gd name="connsiteY305" fmla="*/ 2365652 h 3378173"/>
                <a:gd name="connsiteX306" fmla="*/ 211488 w 3404391"/>
                <a:gd name="connsiteY306" fmla="*/ 2337578 h 3378173"/>
                <a:gd name="connsiteX307" fmla="*/ 185286 w 3404391"/>
                <a:gd name="connsiteY307" fmla="*/ 2408698 h 3378173"/>
                <a:gd name="connsiteX308" fmla="*/ 192772 w 3404391"/>
                <a:gd name="connsiteY308" fmla="*/ 2380624 h 3378173"/>
                <a:gd name="connsiteX309" fmla="*/ 211488 w 3404391"/>
                <a:gd name="connsiteY309" fmla="*/ 2337578 h 3378173"/>
                <a:gd name="connsiteX310" fmla="*/ 1613296 w 3404391"/>
                <a:gd name="connsiteY310" fmla="*/ 2309505 h 3378173"/>
                <a:gd name="connsiteX311" fmla="*/ 1617039 w 3404391"/>
                <a:gd name="connsiteY311" fmla="*/ 2313248 h 3378173"/>
                <a:gd name="connsiteX312" fmla="*/ 1611424 w 3404391"/>
                <a:gd name="connsiteY312" fmla="*/ 2315120 h 3378173"/>
                <a:gd name="connsiteX313" fmla="*/ 1607681 w 3404391"/>
                <a:gd name="connsiteY313" fmla="*/ 2313248 h 3378173"/>
                <a:gd name="connsiteX314" fmla="*/ 247048 w 3404391"/>
                <a:gd name="connsiteY314" fmla="*/ 2302019 h 3378173"/>
                <a:gd name="connsiteX315" fmla="*/ 228332 w 3404391"/>
                <a:gd name="connsiteY315" fmla="*/ 2361909 h 3378173"/>
                <a:gd name="connsiteX316" fmla="*/ 218974 w 3404391"/>
                <a:gd name="connsiteY316" fmla="*/ 2373138 h 3378173"/>
                <a:gd name="connsiteX317" fmla="*/ 226460 w 3404391"/>
                <a:gd name="connsiteY317" fmla="*/ 2343193 h 3378173"/>
                <a:gd name="connsiteX318" fmla="*/ 247048 w 3404391"/>
                <a:gd name="connsiteY318" fmla="*/ 2302019 h 3378173"/>
                <a:gd name="connsiteX319" fmla="*/ 1457955 w 3404391"/>
                <a:gd name="connsiteY319" fmla="*/ 2281431 h 3378173"/>
                <a:gd name="connsiteX320" fmla="*/ 1459827 w 3404391"/>
                <a:gd name="connsiteY320" fmla="*/ 2292660 h 3378173"/>
                <a:gd name="connsiteX321" fmla="*/ 1446726 w 3404391"/>
                <a:gd name="connsiteY321" fmla="*/ 2287046 h 3378173"/>
                <a:gd name="connsiteX322" fmla="*/ 1457955 w 3404391"/>
                <a:gd name="connsiteY322" fmla="*/ 2281431 h 3378173"/>
                <a:gd name="connsiteX323" fmla="*/ 293837 w 3404391"/>
                <a:gd name="connsiteY323" fmla="*/ 2270202 h 3378173"/>
                <a:gd name="connsiteX324" fmla="*/ 271378 w 3404391"/>
                <a:gd name="connsiteY324" fmla="*/ 2339450 h 3378173"/>
                <a:gd name="connsiteX325" fmla="*/ 262020 w 3404391"/>
                <a:gd name="connsiteY325" fmla="*/ 2343193 h 3378173"/>
                <a:gd name="connsiteX326" fmla="*/ 267635 w 3404391"/>
                <a:gd name="connsiteY326" fmla="*/ 2313248 h 3378173"/>
                <a:gd name="connsiteX327" fmla="*/ 293837 w 3404391"/>
                <a:gd name="connsiteY327" fmla="*/ 2270202 h 3378173"/>
                <a:gd name="connsiteX328" fmla="*/ 1308230 w 3404391"/>
                <a:gd name="connsiteY328" fmla="*/ 2257101 h 3378173"/>
                <a:gd name="connsiteX329" fmla="*/ 1310101 w 3404391"/>
                <a:gd name="connsiteY329" fmla="*/ 2273945 h 3378173"/>
                <a:gd name="connsiteX330" fmla="*/ 1291385 w 3404391"/>
                <a:gd name="connsiteY330" fmla="*/ 2266459 h 3378173"/>
                <a:gd name="connsiteX331" fmla="*/ 1291385 w 3404391"/>
                <a:gd name="connsiteY331" fmla="*/ 2264587 h 3378173"/>
                <a:gd name="connsiteX332" fmla="*/ 1308230 w 3404391"/>
                <a:gd name="connsiteY332" fmla="*/ 2257101 h 3378173"/>
                <a:gd name="connsiteX333" fmla="*/ 351856 w 3404391"/>
                <a:gd name="connsiteY333" fmla="*/ 2245871 h 3378173"/>
                <a:gd name="connsiteX334" fmla="*/ 331268 w 3404391"/>
                <a:gd name="connsiteY334" fmla="*/ 2316991 h 3378173"/>
                <a:gd name="connsiteX335" fmla="*/ 320039 w 3404391"/>
                <a:gd name="connsiteY335" fmla="*/ 2316991 h 3378173"/>
                <a:gd name="connsiteX336" fmla="*/ 325654 w 3404391"/>
                <a:gd name="connsiteY336" fmla="*/ 2288917 h 3378173"/>
                <a:gd name="connsiteX337" fmla="*/ 351856 w 3404391"/>
                <a:gd name="connsiteY337" fmla="*/ 2245871 h 3378173"/>
                <a:gd name="connsiteX338" fmla="*/ 1813554 w 3404391"/>
                <a:gd name="connsiteY338" fmla="*/ 2240257 h 3378173"/>
                <a:gd name="connsiteX339" fmla="*/ 1817297 w 3404391"/>
                <a:gd name="connsiteY339" fmla="*/ 2240257 h 3378173"/>
                <a:gd name="connsiteX340" fmla="*/ 1817297 w 3404391"/>
                <a:gd name="connsiteY340" fmla="*/ 2242129 h 3378173"/>
                <a:gd name="connsiteX341" fmla="*/ 1815426 w 3404391"/>
                <a:gd name="connsiteY341" fmla="*/ 2244000 h 3378173"/>
                <a:gd name="connsiteX342" fmla="*/ 1167862 w 3404391"/>
                <a:gd name="connsiteY342" fmla="*/ 2236514 h 3378173"/>
                <a:gd name="connsiteX343" fmla="*/ 1167862 w 3404391"/>
                <a:gd name="connsiteY343" fmla="*/ 2260845 h 3378173"/>
                <a:gd name="connsiteX344" fmla="*/ 1147274 w 3404391"/>
                <a:gd name="connsiteY344" fmla="*/ 2249615 h 3378173"/>
                <a:gd name="connsiteX345" fmla="*/ 1147274 w 3404391"/>
                <a:gd name="connsiteY345" fmla="*/ 2247743 h 3378173"/>
                <a:gd name="connsiteX346" fmla="*/ 1167862 w 3404391"/>
                <a:gd name="connsiteY346" fmla="*/ 2236514 h 3378173"/>
                <a:gd name="connsiteX347" fmla="*/ 419232 w 3404391"/>
                <a:gd name="connsiteY347" fmla="*/ 2225284 h 3378173"/>
                <a:gd name="connsiteX348" fmla="*/ 398645 w 3404391"/>
                <a:gd name="connsiteY348" fmla="*/ 2294532 h 3378173"/>
                <a:gd name="connsiteX349" fmla="*/ 385544 w 3404391"/>
                <a:gd name="connsiteY349" fmla="*/ 2288918 h 3378173"/>
                <a:gd name="connsiteX350" fmla="*/ 391158 w 3404391"/>
                <a:gd name="connsiteY350" fmla="*/ 2266459 h 3378173"/>
                <a:gd name="connsiteX351" fmla="*/ 419232 w 3404391"/>
                <a:gd name="connsiteY351" fmla="*/ 2225284 h 3378173"/>
                <a:gd name="connsiteX352" fmla="*/ 1033108 w 3404391"/>
                <a:gd name="connsiteY352" fmla="*/ 2221541 h 3378173"/>
                <a:gd name="connsiteX353" fmla="*/ 1031236 w 3404391"/>
                <a:gd name="connsiteY353" fmla="*/ 2253358 h 3378173"/>
                <a:gd name="connsiteX354" fmla="*/ 1008777 w 3404391"/>
                <a:gd name="connsiteY354" fmla="*/ 2238385 h 3378173"/>
                <a:gd name="connsiteX355" fmla="*/ 1008777 w 3404391"/>
                <a:gd name="connsiteY355" fmla="*/ 2236513 h 3378173"/>
                <a:gd name="connsiteX356" fmla="*/ 1033108 w 3404391"/>
                <a:gd name="connsiteY356" fmla="*/ 2221541 h 3378173"/>
                <a:gd name="connsiteX357" fmla="*/ 497838 w 3404391"/>
                <a:gd name="connsiteY357" fmla="*/ 2212183 h 3378173"/>
                <a:gd name="connsiteX358" fmla="*/ 479122 w 3404391"/>
                <a:gd name="connsiteY358" fmla="*/ 2277688 h 3378173"/>
                <a:gd name="connsiteX359" fmla="*/ 462278 w 3404391"/>
                <a:gd name="connsiteY359" fmla="*/ 2266459 h 3378173"/>
                <a:gd name="connsiteX360" fmla="*/ 466021 w 3404391"/>
                <a:gd name="connsiteY360" fmla="*/ 2249614 h 3378173"/>
                <a:gd name="connsiteX361" fmla="*/ 497838 w 3404391"/>
                <a:gd name="connsiteY361" fmla="*/ 2212183 h 3378173"/>
                <a:gd name="connsiteX362" fmla="*/ 909584 w 3404391"/>
                <a:gd name="connsiteY362" fmla="*/ 2208440 h 3378173"/>
                <a:gd name="connsiteX363" fmla="*/ 905841 w 3404391"/>
                <a:gd name="connsiteY363" fmla="*/ 2247743 h 3378173"/>
                <a:gd name="connsiteX364" fmla="*/ 881510 w 3404391"/>
                <a:gd name="connsiteY364" fmla="*/ 2234642 h 3378173"/>
                <a:gd name="connsiteX365" fmla="*/ 883382 w 3404391"/>
                <a:gd name="connsiteY365" fmla="*/ 2230899 h 3378173"/>
                <a:gd name="connsiteX366" fmla="*/ 909584 w 3404391"/>
                <a:gd name="connsiteY366" fmla="*/ 2208440 h 3378173"/>
                <a:gd name="connsiteX367" fmla="*/ 791675 w 3404391"/>
                <a:gd name="connsiteY367" fmla="*/ 2202825 h 3378173"/>
                <a:gd name="connsiteX368" fmla="*/ 784188 w 3404391"/>
                <a:gd name="connsiteY368" fmla="*/ 2249614 h 3378173"/>
                <a:gd name="connsiteX369" fmla="*/ 761729 w 3404391"/>
                <a:gd name="connsiteY369" fmla="*/ 2232770 h 3378173"/>
                <a:gd name="connsiteX370" fmla="*/ 763601 w 3404391"/>
                <a:gd name="connsiteY370" fmla="*/ 2227155 h 3378173"/>
                <a:gd name="connsiteX371" fmla="*/ 791675 w 3404391"/>
                <a:gd name="connsiteY371" fmla="*/ 2202825 h 3378173"/>
                <a:gd name="connsiteX372" fmla="*/ 587673 w 3404391"/>
                <a:gd name="connsiteY372" fmla="*/ 2202825 h 3378173"/>
                <a:gd name="connsiteX373" fmla="*/ 572701 w 3404391"/>
                <a:gd name="connsiteY373" fmla="*/ 2264587 h 3378173"/>
                <a:gd name="connsiteX374" fmla="*/ 552113 w 3404391"/>
                <a:gd name="connsiteY374" fmla="*/ 2251486 h 3378173"/>
                <a:gd name="connsiteX375" fmla="*/ 555857 w 3404391"/>
                <a:gd name="connsiteY375" fmla="*/ 2238385 h 3378173"/>
                <a:gd name="connsiteX376" fmla="*/ 587673 w 3404391"/>
                <a:gd name="connsiteY376" fmla="*/ 2202825 h 3378173"/>
                <a:gd name="connsiteX377" fmla="*/ 684995 w 3404391"/>
                <a:gd name="connsiteY377" fmla="*/ 2200954 h 3378173"/>
                <a:gd name="connsiteX378" fmla="*/ 671894 w 3404391"/>
                <a:gd name="connsiteY378" fmla="*/ 2257101 h 3378173"/>
                <a:gd name="connsiteX379" fmla="*/ 651307 w 3404391"/>
                <a:gd name="connsiteY379" fmla="*/ 2240257 h 3378173"/>
                <a:gd name="connsiteX380" fmla="*/ 653178 w 3404391"/>
                <a:gd name="connsiteY380" fmla="*/ 2230899 h 3378173"/>
                <a:gd name="connsiteX381" fmla="*/ 684995 w 3404391"/>
                <a:gd name="connsiteY381" fmla="*/ 2200954 h 3378173"/>
                <a:gd name="connsiteX382" fmla="*/ 1656342 w 3404391"/>
                <a:gd name="connsiteY382" fmla="*/ 2199082 h 3378173"/>
                <a:gd name="connsiteX383" fmla="*/ 1658214 w 3404391"/>
                <a:gd name="connsiteY383" fmla="*/ 2206569 h 3378173"/>
                <a:gd name="connsiteX384" fmla="*/ 1646984 w 3404391"/>
                <a:gd name="connsiteY384" fmla="*/ 2200954 h 3378173"/>
                <a:gd name="connsiteX385" fmla="*/ 1656342 w 3404391"/>
                <a:gd name="connsiteY385" fmla="*/ 2199082 h 3378173"/>
                <a:gd name="connsiteX386" fmla="*/ 262020 w 3404391"/>
                <a:gd name="connsiteY386" fmla="*/ 2191596 h 3378173"/>
                <a:gd name="connsiteX387" fmla="*/ 235818 w 3404391"/>
                <a:gd name="connsiteY387" fmla="*/ 2255229 h 3378173"/>
                <a:gd name="connsiteX388" fmla="*/ 262020 w 3404391"/>
                <a:gd name="connsiteY388" fmla="*/ 2191596 h 3378173"/>
                <a:gd name="connsiteX389" fmla="*/ 1504744 w 3404391"/>
                <a:gd name="connsiteY389" fmla="*/ 2159779 h 3378173"/>
                <a:gd name="connsiteX390" fmla="*/ 1506616 w 3404391"/>
                <a:gd name="connsiteY390" fmla="*/ 2174752 h 3378173"/>
                <a:gd name="connsiteX391" fmla="*/ 1489772 w 3404391"/>
                <a:gd name="connsiteY391" fmla="*/ 2165394 h 3378173"/>
                <a:gd name="connsiteX392" fmla="*/ 1504744 w 3404391"/>
                <a:gd name="connsiteY392" fmla="*/ 2159779 h 3378173"/>
                <a:gd name="connsiteX393" fmla="*/ 288222 w 3404391"/>
                <a:gd name="connsiteY393" fmla="*/ 2144806 h 3378173"/>
                <a:gd name="connsiteX394" fmla="*/ 254534 w 3404391"/>
                <a:gd name="connsiteY394" fmla="*/ 2225284 h 3378173"/>
                <a:gd name="connsiteX395" fmla="*/ 265763 w 3404391"/>
                <a:gd name="connsiteY395" fmla="*/ 2193467 h 3378173"/>
                <a:gd name="connsiteX396" fmla="*/ 288222 w 3404391"/>
                <a:gd name="connsiteY396" fmla="*/ 2144806 h 3378173"/>
                <a:gd name="connsiteX397" fmla="*/ 1862215 w 3404391"/>
                <a:gd name="connsiteY397" fmla="*/ 2141063 h 3378173"/>
                <a:gd name="connsiteX398" fmla="*/ 1864087 w 3404391"/>
                <a:gd name="connsiteY398" fmla="*/ 2146678 h 3378173"/>
                <a:gd name="connsiteX399" fmla="*/ 1856601 w 3404391"/>
                <a:gd name="connsiteY399" fmla="*/ 2142935 h 3378173"/>
                <a:gd name="connsiteX400" fmla="*/ 1862215 w 3404391"/>
                <a:gd name="connsiteY400" fmla="*/ 2141063 h 3378173"/>
                <a:gd name="connsiteX401" fmla="*/ 1358762 w 3404391"/>
                <a:gd name="connsiteY401" fmla="*/ 2127962 h 3378173"/>
                <a:gd name="connsiteX402" fmla="*/ 1360633 w 3404391"/>
                <a:gd name="connsiteY402" fmla="*/ 2150421 h 3378173"/>
                <a:gd name="connsiteX403" fmla="*/ 1338174 w 3404391"/>
                <a:gd name="connsiteY403" fmla="*/ 2139192 h 3378173"/>
                <a:gd name="connsiteX404" fmla="*/ 1338174 w 3404391"/>
                <a:gd name="connsiteY404" fmla="*/ 2137320 h 3378173"/>
                <a:gd name="connsiteX405" fmla="*/ 1358762 w 3404391"/>
                <a:gd name="connsiteY405" fmla="*/ 2127962 h 3378173"/>
                <a:gd name="connsiteX406" fmla="*/ 2068088 w 3404391"/>
                <a:gd name="connsiteY406" fmla="*/ 2109246 h 3378173"/>
                <a:gd name="connsiteX407" fmla="*/ 2069960 w 3404391"/>
                <a:gd name="connsiteY407" fmla="*/ 2109246 h 3378173"/>
                <a:gd name="connsiteX408" fmla="*/ 2068088 w 3404391"/>
                <a:gd name="connsiteY408" fmla="*/ 2111118 h 3378173"/>
                <a:gd name="connsiteX409" fmla="*/ 321910 w 3404391"/>
                <a:gd name="connsiteY409" fmla="*/ 2109246 h 3378173"/>
                <a:gd name="connsiteX410" fmla="*/ 284479 w 3404391"/>
                <a:gd name="connsiteY410" fmla="*/ 2193467 h 3378173"/>
                <a:gd name="connsiteX411" fmla="*/ 293837 w 3404391"/>
                <a:gd name="connsiteY411" fmla="*/ 2157907 h 3378173"/>
                <a:gd name="connsiteX412" fmla="*/ 321910 w 3404391"/>
                <a:gd name="connsiteY412" fmla="*/ 2109246 h 3378173"/>
                <a:gd name="connsiteX413" fmla="*/ 1222137 w 3404391"/>
                <a:gd name="connsiteY413" fmla="*/ 2098017 h 3378173"/>
                <a:gd name="connsiteX414" fmla="*/ 1220265 w 3404391"/>
                <a:gd name="connsiteY414" fmla="*/ 2127962 h 3378173"/>
                <a:gd name="connsiteX415" fmla="*/ 1195935 w 3404391"/>
                <a:gd name="connsiteY415" fmla="*/ 2112989 h 3378173"/>
                <a:gd name="connsiteX416" fmla="*/ 1195935 w 3404391"/>
                <a:gd name="connsiteY416" fmla="*/ 2111118 h 3378173"/>
                <a:gd name="connsiteX417" fmla="*/ 1222137 w 3404391"/>
                <a:gd name="connsiteY417" fmla="*/ 2098017 h 3378173"/>
                <a:gd name="connsiteX418" fmla="*/ 1706875 w 3404391"/>
                <a:gd name="connsiteY418" fmla="*/ 2088659 h 3378173"/>
                <a:gd name="connsiteX419" fmla="*/ 1708746 w 3404391"/>
                <a:gd name="connsiteY419" fmla="*/ 2099888 h 3378173"/>
                <a:gd name="connsiteX420" fmla="*/ 1695645 w 3404391"/>
                <a:gd name="connsiteY420" fmla="*/ 2090531 h 3378173"/>
                <a:gd name="connsiteX421" fmla="*/ 1706875 w 3404391"/>
                <a:gd name="connsiteY421" fmla="*/ 2088659 h 3378173"/>
                <a:gd name="connsiteX422" fmla="*/ 368699 w 3404391"/>
                <a:gd name="connsiteY422" fmla="*/ 2081173 h 3378173"/>
                <a:gd name="connsiteX423" fmla="*/ 338754 w 3404391"/>
                <a:gd name="connsiteY423" fmla="*/ 2161651 h 3378173"/>
                <a:gd name="connsiteX424" fmla="*/ 329396 w 3404391"/>
                <a:gd name="connsiteY424" fmla="*/ 2165394 h 3378173"/>
                <a:gd name="connsiteX425" fmla="*/ 338754 w 3404391"/>
                <a:gd name="connsiteY425" fmla="*/ 2131705 h 3378173"/>
                <a:gd name="connsiteX426" fmla="*/ 368699 w 3404391"/>
                <a:gd name="connsiteY426" fmla="*/ 2081173 h 3378173"/>
                <a:gd name="connsiteX427" fmla="*/ 1091127 w 3404391"/>
                <a:gd name="connsiteY427" fmla="*/ 2075558 h 3378173"/>
                <a:gd name="connsiteX428" fmla="*/ 1085512 w 3404391"/>
                <a:gd name="connsiteY428" fmla="*/ 2114861 h 3378173"/>
                <a:gd name="connsiteX429" fmla="*/ 1059310 w 3404391"/>
                <a:gd name="connsiteY429" fmla="*/ 2096146 h 3378173"/>
                <a:gd name="connsiteX430" fmla="*/ 1059310 w 3404391"/>
                <a:gd name="connsiteY430" fmla="*/ 2094274 h 3378173"/>
                <a:gd name="connsiteX431" fmla="*/ 1091127 w 3404391"/>
                <a:gd name="connsiteY431" fmla="*/ 2075558 h 3378173"/>
                <a:gd name="connsiteX432" fmla="*/ 424847 w 3404391"/>
                <a:gd name="connsiteY432" fmla="*/ 2058714 h 3378173"/>
                <a:gd name="connsiteX433" fmla="*/ 394902 w 3404391"/>
                <a:gd name="connsiteY433" fmla="*/ 2139192 h 3378173"/>
                <a:gd name="connsiteX434" fmla="*/ 381801 w 3404391"/>
                <a:gd name="connsiteY434" fmla="*/ 2137320 h 3378173"/>
                <a:gd name="connsiteX435" fmla="*/ 391159 w 3404391"/>
                <a:gd name="connsiteY435" fmla="*/ 2105503 h 3378173"/>
                <a:gd name="connsiteX436" fmla="*/ 424847 w 3404391"/>
                <a:gd name="connsiteY436" fmla="*/ 2058714 h 3378173"/>
                <a:gd name="connsiteX437" fmla="*/ 969474 w 3404391"/>
                <a:gd name="connsiteY437" fmla="*/ 2054971 h 3378173"/>
                <a:gd name="connsiteX438" fmla="*/ 961988 w 3404391"/>
                <a:gd name="connsiteY438" fmla="*/ 2101760 h 3378173"/>
                <a:gd name="connsiteX439" fmla="*/ 933915 w 3404391"/>
                <a:gd name="connsiteY439" fmla="*/ 2083044 h 3378173"/>
                <a:gd name="connsiteX440" fmla="*/ 935786 w 3404391"/>
                <a:gd name="connsiteY440" fmla="*/ 2077430 h 3378173"/>
                <a:gd name="connsiteX441" fmla="*/ 969474 w 3404391"/>
                <a:gd name="connsiteY441" fmla="*/ 2054971 h 3378173"/>
                <a:gd name="connsiteX442" fmla="*/ 1903390 w 3404391"/>
                <a:gd name="connsiteY442" fmla="*/ 2043742 h 3378173"/>
                <a:gd name="connsiteX443" fmla="*/ 1912748 w 3404391"/>
                <a:gd name="connsiteY443" fmla="*/ 2043742 h 3378173"/>
                <a:gd name="connsiteX444" fmla="*/ 1914620 w 3404391"/>
                <a:gd name="connsiteY444" fmla="*/ 2051228 h 3378173"/>
                <a:gd name="connsiteX445" fmla="*/ 1903390 w 3404391"/>
                <a:gd name="connsiteY445" fmla="*/ 2043742 h 3378173"/>
                <a:gd name="connsiteX446" fmla="*/ 492223 w 3404391"/>
                <a:gd name="connsiteY446" fmla="*/ 2043741 h 3378173"/>
                <a:gd name="connsiteX447" fmla="*/ 464149 w 3404391"/>
                <a:gd name="connsiteY447" fmla="*/ 2122347 h 3378173"/>
                <a:gd name="connsiteX448" fmla="*/ 449177 w 3404391"/>
                <a:gd name="connsiteY448" fmla="*/ 2114861 h 3378173"/>
                <a:gd name="connsiteX449" fmla="*/ 456663 w 3404391"/>
                <a:gd name="connsiteY449" fmla="*/ 2088659 h 3378173"/>
                <a:gd name="connsiteX450" fmla="*/ 492223 w 3404391"/>
                <a:gd name="connsiteY450" fmla="*/ 2043741 h 3378173"/>
                <a:gd name="connsiteX451" fmla="*/ 1548025 w 3404391"/>
                <a:gd name="connsiteY451" fmla="*/ 2042338 h 3378173"/>
                <a:gd name="connsiteX452" fmla="*/ 1559021 w 3404391"/>
                <a:gd name="connsiteY452" fmla="*/ 2043742 h 3378173"/>
                <a:gd name="connsiteX453" fmla="*/ 1559021 w 3404391"/>
                <a:gd name="connsiteY453" fmla="*/ 2062457 h 3378173"/>
                <a:gd name="connsiteX454" fmla="*/ 1538433 w 3404391"/>
                <a:gd name="connsiteY454" fmla="*/ 2051228 h 3378173"/>
                <a:gd name="connsiteX455" fmla="*/ 1538433 w 3404391"/>
                <a:gd name="connsiteY455" fmla="*/ 2049356 h 3378173"/>
                <a:gd name="connsiteX456" fmla="*/ 1548025 w 3404391"/>
                <a:gd name="connsiteY456" fmla="*/ 2042338 h 3378173"/>
                <a:gd name="connsiteX457" fmla="*/ 855308 w 3404391"/>
                <a:gd name="connsiteY457" fmla="*/ 2041870 h 3378173"/>
                <a:gd name="connsiteX458" fmla="*/ 842207 w 3404391"/>
                <a:gd name="connsiteY458" fmla="*/ 2098018 h 3378173"/>
                <a:gd name="connsiteX459" fmla="*/ 816005 w 3404391"/>
                <a:gd name="connsiteY459" fmla="*/ 2079302 h 3378173"/>
                <a:gd name="connsiteX460" fmla="*/ 817877 w 3404391"/>
                <a:gd name="connsiteY460" fmla="*/ 2069944 h 3378173"/>
                <a:gd name="connsiteX461" fmla="*/ 855308 w 3404391"/>
                <a:gd name="connsiteY461" fmla="*/ 2041870 h 3378173"/>
                <a:gd name="connsiteX462" fmla="*/ 568958 w 3404391"/>
                <a:gd name="connsiteY462" fmla="*/ 2034384 h 3378173"/>
                <a:gd name="connsiteX463" fmla="*/ 542756 w 3404391"/>
                <a:gd name="connsiteY463" fmla="*/ 2111118 h 3378173"/>
                <a:gd name="connsiteX464" fmla="*/ 525912 w 3404391"/>
                <a:gd name="connsiteY464" fmla="*/ 2096146 h 3378173"/>
                <a:gd name="connsiteX465" fmla="*/ 531526 w 3404391"/>
                <a:gd name="connsiteY465" fmla="*/ 2077430 h 3378173"/>
                <a:gd name="connsiteX466" fmla="*/ 568958 w 3404391"/>
                <a:gd name="connsiteY466" fmla="*/ 2034384 h 3378173"/>
                <a:gd name="connsiteX467" fmla="*/ 750500 w 3404391"/>
                <a:gd name="connsiteY467" fmla="*/ 2034383 h 3378173"/>
                <a:gd name="connsiteX468" fmla="*/ 731784 w 3404391"/>
                <a:gd name="connsiteY468" fmla="*/ 2098017 h 3378173"/>
                <a:gd name="connsiteX469" fmla="*/ 709326 w 3404391"/>
                <a:gd name="connsiteY469" fmla="*/ 2077430 h 3378173"/>
                <a:gd name="connsiteX470" fmla="*/ 713069 w 3404391"/>
                <a:gd name="connsiteY470" fmla="*/ 2068072 h 3378173"/>
                <a:gd name="connsiteX471" fmla="*/ 750500 w 3404391"/>
                <a:gd name="connsiteY471" fmla="*/ 2034383 h 3378173"/>
                <a:gd name="connsiteX472" fmla="*/ 655050 w 3404391"/>
                <a:gd name="connsiteY472" fmla="*/ 2030640 h 3378173"/>
                <a:gd name="connsiteX473" fmla="*/ 634463 w 3404391"/>
                <a:gd name="connsiteY473" fmla="*/ 2099888 h 3378173"/>
                <a:gd name="connsiteX474" fmla="*/ 613875 w 3404391"/>
                <a:gd name="connsiteY474" fmla="*/ 2083044 h 3378173"/>
                <a:gd name="connsiteX475" fmla="*/ 617619 w 3404391"/>
                <a:gd name="connsiteY475" fmla="*/ 2068072 h 3378173"/>
                <a:gd name="connsiteX476" fmla="*/ 655050 w 3404391"/>
                <a:gd name="connsiteY476" fmla="*/ 2030640 h 3378173"/>
                <a:gd name="connsiteX477" fmla="*/ 2116749 w 3404391"/>
                <a:gd name="connsiteY477" fmla="*/ 2023154 h 3378173"/>
                <a:gd name="connsiteX478" fmla="*/ 2120492 w 3404391"/>
                <a:gd name="connsiteY478" fmla="*/ 2023154 h 3378173"/>
                <a:gd name="connsiteX479" fmla="*/ 2122364 w 3404391"/>
                <a:gd name="connsiteY479" fmla="*/ 2026897 h 3378173"/>
                <a:gd name="connsiteX480" fmla="*/ 2118621 w 3404391"/>
                <a:gd name="connsiteY480" fmla="*/ 2026897 h 3378173"/>
                <a:gd name="connsiteX481" fmla="*/ 1404382 w 3404391"/>
                <a:gd name="connsiteY481" fmla="*/ 2000695 h 3378173"/>
                <a:gd name="connsiteX482" fmla="*/ 1416781 w 3404391"/>
                <a:gd name="connsiteY482" fmla="*/ 2000695 h 3378173"/>
                <a:gd name="connsiteX483" fmla="*/ 1414910 w 3404391"/>
                <a:gd name="connsiteY483" fmla="*/ 2028768 h 3378173"/>
                <a:gd name="connsiteX484" fmla="*/ 1390579 w 3404391"/>
                <a:gd name="connsiteY484" fmla="*/ 2013796 h 3378173"/>
                <a:gd name="connsiteX485" fmla="*/ 1390579 w 3404391"/>
                <a:gd name="connsiteY485" fmla="*/ 2011924 h 3378173"/>
                <a:gd name="connsiteX486" fmla="*/ 1404382 w 3404391"/>
                <a:gd name="connsiteY486" fmla="*/ 2000695 h 3378173"/>
                <a:gd name="connsiteX487" fmla="*/ 1754599 w 3404391"/>
                <a:gd name="connsiteY487" fmla="*/ 1982916 h 3378173"/>
                <a:gd name="connsiteX488" fmla="*/ 1763022 w 3404391"/>
                <a:gd name="connsiteY488" fmla="*/ 1983851 h 3378173"/>
                <a:gd name="connsiteX489" fmla="*/ 1764893 w 3404391"/>
                <a:gd name="connsiteY489" fmla="*/ 1998824 h 3378173"/>
                <a:gd name="connsiteX490" fmla="*/ 1746177 w 3404391"/>
                <a:gd name="connsiteY490" fmla="*/ 1987594 h 3378173"/>
                <a:gd name="connsiteX491" fmla="*/ 1754599 w 3404391"/>
                <a:gd name="connsiteY491" fmla="*/ 1982916 h 3378173"/>
                <a:gd name="connsiteX492" fmla="*/ 1268693 w 3404391"/>
                <a:gd name="connsiteY492" fmla="*/ 1964902 h 3378173"/>
                <a:gd name="connsiteX493" fmla="*/ 1283899 w 3404391"/>
                <a:gd name="connsiteY493" fmla="*/ 1965136 h 3378173"/>
                <a:gd name="connsiteX494" fmla="*/ 1280156 w 3404391"/>
                <a:gd name="connsiteY494" fmla="*/ 2000696 h 3378173"/>
                <a:gd name="connsiteX495" fmla="*/ 1252082 w 3404391"/>
                <a:gd name="connsiteY495" fmla="*/ 1981980 h 3378173"/>
                <a:gd name="connsiteX496" fmla="*/ 1252082 w 3404391"/>
                <a:gd name="connsiteY496" fmla="*/ 1980109 h 3378173"/>
                <a:gd name="connsiteX497" fmla="*/ 1268693 w 3404391"/>
                <a:gd name="connsiteY497" fmla="*/ 1964902 h 3378173"/>
                <a:gd name="connsiteX498" fmla="*/ 376186 w 3404391"/>
                <a:gd name="connsiteY498" fmla="*/ 1955778 h 3378173"/>
                <a:gd name="connsiteX499" fmla="*/ 333140 w 3404391"/>
                <a:gd name="connsiteY499" fmla="*/ 2043742 h 3378173"/>
                <a:gd name="connsiteX500" fmla="*/ 348113 w 3404391"/>
                <a:gd name="connsiteY500" fmla="*/ 2008182 h 3378173"/>
                <a:gd name="connsiteX501" fmla="*/ 376186 w 3404391"/>
                <a:gd name="connsiteY501" fmla="*/ 1955778 h 3378173"/>
                <a:gd name="connsiteX502" fmla="*/ 1964450 w 3404391"/>
                <a:gd name="connsiteY502" fmla="*/ 1948291 h 3378173"/>
                <a:gd name="connsiteX503" fmla="*/ 1970767 w 3404391"/>
                <a:gd name="connsiteY503" fmla="*/ 1950163 h 3378173"/>
                <a:gd name="connsiteX504" fmla="*/ 1972638 w 3404391"/>
                <a:gd name="connsiteY504" fmla="*/ 1961392 h 3378173"/>
                <a:gd name="connsiteX505" fmla="*/ 1959537 w 3404391"/>
                <a:gd name="connsiteY505" fmla="*/ 1952034 h 3378173"/>
                <a:gd name="connsiteX506" fmla="*/ 1964450 w 3404391"/>
                <a:gd name="connsiteY506" fmla="*/ 1948291 h 3378173"/>
                <a:gd name="connsiteX507" fmla="*/ 2171025 w 3404391"/>
                <a:gd name="connsiteY507" fmla="*/ 1942677 h 3378173"/>
                <a:gd name="connsiteX508" fmla="*/ 2176640 w 3404391"/>
                <a:gd name="connsiteY508" fmla="*/ 1942677 h 3378173"/>
                <a:gd name="connsiteX509" fmla="*/ 2178511 w 3404391"/>
                <a:gd name="connsiteY509" fmla="*/ 1948291 h 3378173"/>
                <a:gd name="connsiteX510" fmla="*/ 2171025 w 3404391"/>
                <a:gd name="connsiteY510" fmla="*/ 1942677 h 3378173"/>
                <a:gd name="connsiteX511" fmla="*/ 1156632 w 3404391"/>
                <a:gd name="connsiteY511" fmla="*/ 1933318 h 3378173"/>
                <a:gd name="connsiteX512" fmla="*/ 1147274 w 3404391"/>
                <a:gd name="connsiteY512" fmla="*/ 1978236 h 3378173"/>
                <a:gd name="connsiteX513" fmla="*/ 1119200 w 3404391"/>
                <a:gd name="connsiteY513" fmla="*/ 1957649 h 3378173"/>
                <a:gd name="connsiteX514" fmla="*/ 1121072 w 3404391"/>
                <a:gd name="connsiteY514" fmla="*/ 1952034 h 3378173"/>
                <a:gd name="connsiteX515" fmla="*/ 1156632 w 3404391"/>
                <a:gd name="connsiteY515" fmla="*/ 1933318 h 3378173"/>
                <a:gd name="connsiteX516" fmla="*/ 1607682 w 3404391"/>
                <a:gd name="connsiteY516" fmla="*/ 1927470 h 3378173"/>
                <a:gd name="connsiteX517" fmla="*/ 1618911 w 3404391"/>
                <a:gd name="connsiteY517" fmla="*/ 1929575 h 3378173"/>
                <a:gd name="connsiteX518" fmla="*/ 1618911 w 3404391"/>
                <a:gd name="connsiteY518" fmla="*/ 1952034 h 3378173"/>
                <a:gd name="connsiteX519" fmla="*/ 1596452 w 3404391"/>
                <a:gd name="connsiteY519" fmla="*/ 1937062 h 3378173"/>
                <a:gd name="connsiteX520" fmla="*/ 1596452 w 3404391"/>
                <a:gd name="connsiteY520" fmla="*/ 1935190 h 3378173"/>
                <a:gd name="connsiteX521" fmla="*/ 1607682 w 3404391"/>
                <a:gd name="connsiteY521" fmla="*/ 1927470 h 3378173"/>
                <a:gd name="connsiteX522" fmla="*/ 409874 w 3404391"/>
                <a:gd name="connsiteY522" fmla="*/ 1922089 h 3378173"/>
                <a:gd name="connsiteX523" fmla="*/ 363085 w 3404391"/>
                <a:gd name="connsiteY523" fmla="*/ 2015668 h 3378173"/>
                <a:gd name="connsiteX524" fmla="*/ 378057 w 3404391"/>
                <a:gd name="connsiteY524" fmla="*/ 1976365 h 3378173"/>
                <a:gd name="connsiteX525" fmla="*/ 409874 w 3404391"/>
                <a:gd name="connsiteY525" fmla="*/ 1922089 h 3378173"/>
                <a:gd name="connsiteX526" fmla="*/ 1038722 w 3404391"/>
                <a:gd name="connsiteY526" fmla="*/ 1907116 h 3378173"/>
                <a:gd name="connsiteX527" fmla="*/ 1023750 w 3404391"/>
                <a:gd name="connsiteY527" fmla="*/ 1961392 h 3378173"/>
                <a:gd name="connsiteX528" fmla="*/ 997548 w 3404391"/>
                <a:gd name="connsiteY528" fmla="*/ 1937061 h 3378173"/>
                <a:gd name="connsiteX529" fmla="*/ 999419 w 3404391"/>
                <a:gd name="connsiteY529" fmla="*/ 1931447 h 3378173"/>
                <a:gd name="connsiteX530" fmla="*/ 1038722 w 3404391"/>
                <a:gd name="connsiteY530" fmla="*/ 1907116 h 3378173"/>
                <a:gd name="connsiteX531" fmla="*/ 454791 w 3404391"/>
                <a:gd name="connsiteY531" fmla="*/ 1895887 h 3378173"/>
                <a:gd name="connsiteX532" fmla="*/ 415488 w 3404391"/>
                <a:gd name="connsiteY532" fmla="*/ 1983851 h 3378173"/>
                <a:gd name="connsiteX533" fmla="*/ 404259 w 3404391"/>
                <a:gd name="connsiteY533" fmla="*/ 1987594 h 3378173"/>
                <a:gd name="connsiteX534" fmla="*/ 417360 w 3404391"/>
                <a:gd name="connsiteY534" fmla="*/ 1948291 h 3378173"/>
                <a:gd name="connsiteX535" fmla="*/ 454791 w 3404391"/>
                <a:gd name="connsiteY535" fmla="*/ 1895887 h 3378173"/>
                <a:gd name="connsiteX536" fmla="*/ 928300 w 3404391"/>
                <a:gd name="connsiteY536" fmla="*/ 1886530 h 3378173"/>
                <a:gd name="connsiteX537" fmla="*/ 909584 w 3404391"/>
                <a:gd name="connsiteY537" fmla="*/ 1948292 h 3378173"/>
                <a:gd name="connsiteX538" fmla="*/ 881510 w 3404391"/>
                <a:gd name="connsiteY538" fmla="*/ 1925833 h 3378173"/>
                <a:gd name="connsiteX539" fmla="*/ 885253 w 3404391"/>
                <a:gd name="connsiteY539" fmla="*/ 1916475 h 3378173"/>
                <a:gd name="connsiteX540" fmla="*/ 928300 w 3404391"/>
                <a:gd name="connsiteY540" fmla="*/ 1886530 h 3378173"/>
                <a:gd name="connsiteX541" fmla="*/ 1814490 w 3404391"/>
                <a:gd name="connsiteY541" fmla="*/ 1879277 h 3378173"/>
                <a:gd name="connsiteX542" fmla="*/ 1824784 w 3404391"/>
                <a:gd name="connsiteY542" fmla="*/ 1880915 h 3378173"/>
                <a:gd name="connsiteX543" fmla="*/ 1824784 w 3404391"/>
                <a:gd name="connsiteY543" fmla="*/ 1897759 h 3378173"/>
                <a:gd name="connsiteX544" fmla="*/ 1804196 w 3404391"/>
                <a:gd name="connsiteY544" fmla="*/ 1884658 h 3378173"/>
                <a:gd name="connsiteX545" fmla="*/ 1814490 w 3404391"/>
                <a:gd name="connsiteY545" fmla="*/ 1879277 h 3378173"/>
                <a:gd name="connsiteX546" fmla="*/ 1468016 w 3404391"/>
                <a:gd name="connsiteY546" fmla="*/ 1877639 h 3378173"/>
                <a:gd name="connsiteX547" fmla="*/ 1482286 w 3404391"/>
                <a:gd name="connsiteY547" fmla="*/ 1879043 h 3378173"/>
                <a:gd name="connsiteX548" fmla="*/ 1478543 w 3404391"/>
                <a:gd name="connsiteY548" fmla="*/ 1910859 h 3378173"/>
                <a:gd name="connsiteX549" fmla="*/ 1452341 w 3404391"/>
                <a:gd name="connsiteY549" fmla="*/ 1892144 h 3378173"/>
                <a:gd name="connsiteX550" fmla="*/ 1452341 w 3404391"/>
                <a:gd name="connsiteY550" fmla="*/ 1890272 h 3378173"/>
                <a:gd name="connsiteX551" fmla="*/ 1468016 w 3404391"/>
                <a:gd name="connsiteY551" fmla="*/ 1877639 h 3378173"/>
                <a:gd name="connsiteX552" fmla="*/ 510939 w 3404391"/>
                <a:gd name="connsiteY552" fmla="*/ 1877172 h 3378173"/>
                <a:gd name="connsiteX553" fmla="*/ 467892 w 3404391"/>
                <a:gd name="connsiteY553" fmla="*/ 1968879 h 3378173"/>
                <a:gd name="connsiteX554" fmla="*/ 456663 w 3404391"/>
                <a:gd name="connsiteY554" fmla="*/ 1965136 h 3378173"/>
                <a:gd name="connsiteX555" fmla="*/ 467892 w 3404391"/>
                <a:gd name="connsiteY555" fmla="*/ 1929576 h 3378173"/>
                <a:gd name="connsiteX556" fmla="*/ 510939 w 3404391"/>
                <a:gd name="connsiteY556" fmla="*/ 1877172 h 3378173"/>
                <a:gd name="connsiteX557" fmla="*/ 827235 w 3404391"/>
                <a:gd name="connsiteY557" fmla="*/ 1871556 h 3378173"/>
                <a:gd name="connsiteX558" fmla="*/ 801033 w 3404391"/>
                <a:gd name="connsiteY558" fmla="*/ 1942676 h 3378173"/>
                <a:gd name="connsiteX559" fmla="*/ 776702 w 3404391"/>
                <a:gd name="connsiteY559" fmla="*/ 1918346 h 3378173"/>
                <a:gd name="connsiteX560" fmla="*/ 780445 w 3404391"/>
                <a:gd name="connsiteY560" fmla="*/ 1907116 h 3378173"/>
                <a:gd name="connsiteX561" fmla="*/ 827235 w 3404391"/>
                <a:gd name="connsiteY561" fmla="*/ 1871556 h 3378173"/>
                <a:gd name="connsiteX562" fmla="*/ 576444 w 3404391"/>
                <a:gd name="connsiteY562" fmla="*/ 1865942 h 3378173"/>
                <a:gd name="connsiteX563" fmla="*/ 539013 w 3404391"/>
                <a:gd name="connsiteY563" fmla="*/ 1955778 h 3378173"/>
                <a:gd name="connsiteX564" fmla="*/ 522169 w 3404391"/>
                <a:gd name="connsiteY564" fmla="*/ 1946420 h 3378173"/>
                <a:gd name="connsiteX565" fmla="*/ 531526 w 3404391"/>
                <a:gd name="connsiteY565" fmla="*/ 1916475 h 3378173"/>
                <a:gd name="connsiteX566" fmla="*/ 576444 w 3404391"/>
                <a:gd name="connsiteY566" fmla="*/ 1865942 h 3378173"/>
                <a:gd name="connsiteX567" fmla="*/ 733656 w 3404391"/>
                <a:gd name="connsiteY567" fmla="*/ 1862199 h 3378173"/>
                <a:gd name="connsiteX568" fmla="*/ 703711 w 3404391"/>
                <a:gd name="connsiteY568" fmla="*/ 1940805 h 3378173"/>
                <a:gd name="connsiteX569" fmla="*/ 679380 w 3404391"/>
                <a:gd name="connsiteY569" fmla="*/ 1923961 h 3378173"/>
                <a:gd name="connsiteX570" fmla="*/ 686867 w 3404391"/>
                <a:gd name="connsiteY570" fmla="*/ 1903373 h 3378173"/>
                <a:gd name="connsiteX571" fmla="*/ 733656 w 3404391"/>
                <a:gd name="connsiteY571" fmla="*/ 1862199 h 3378173"/>
                <a:gd name="connsiteX572" fmla="*/ 2232552 w 3404391"/>
                <a:gd name="connsiteY572" fmla="*/ 1861965 h 3378173"/>
                <a:gd name="connsiteX573" fmla="*/ 2236529 w 3404391"/>
                <a:gd name="connsiteY573" fmla="*/ 1864070 h 3378173"/>
                <a:gd name="connsiteX574" fmla="*/ 2236529 w 3404391"/>
                <a:gd name="connsiteY574" fmla="*/ 1871556 h 3378173"/>
                <a:gd name="connsiteX575" fmla="*/ 2227171 w 3404391"/>
                <a:gd name="connsiteY575" fmla="*/ 1864070 h 3378173"/>
                <a:gd name="connsiteX576" fmla="*/ 2232552 w 3404391"/>
                <a:gd name="connsiteY576" fmla="*/ 1861965 h 3378173"/>
                <a:gd name="connsiteX577" fmla="*/ 651308 w 3404391"/>
                <a:gd name="connsiteY577" fmla="*/ 1860328 h 3378173"/>
                <a:gd name="connsiteX578" fmla="*/ 615748 w 3404391"/>
                <a:gd name="connsiteY578" fmla="*/ 1946420 h 3378173"/>
                <a:gd name="connsiteX579" fmla="*/ 597032 w 3404391"/>
                <a:gd name="connsiteY579" fmla="*/ 1927704 h 3378173"/>
                <a:gd name="connsiteX580" fmla="*/ 604518 w 3404391"/>
                <a:gd name="connsiteY580" fmla="*/ 1907117 h 3378173"/>
                <a:gd name="connsiteX581" fmla="*/ 651308 w 3404391"/>
                <a:gd name="connsiteY581" fmla="*/ 1860328 h 3378173"/>
                <a:gd name="connsiteX582" fmla="*/ 2019427 w 3404391"/>
                <a:gd name="connsiteY582" fmla="*/ 1860327 h 3378173"/>
                <a:gd name="connsiteX583" fmla="*/ 2032529 w 3404391"/>
                <a:gd name="connsiteY583" fmla="*/ 1860327 h 3378173"/>
                <a:gd name="connsiteX584" fmla="*/ 2032529 w 3404391"/>
                <a:gd name="connsiteY584" fmla="*/ 1871557 h 3378173"/>
                <a:gd name="connsiteX585" fmla="*/ 2019427 w 3404391"/>
                <a:gd name="connsiteY585" fmla="*/ 1860327 h 3378173"/>
                <a:gd name="connsiteX586" fmla="*/ 1336771 w 3404391"/>
                <a:gd name="connsiteY586" fmla="*/ 1833891 h 3378173"/>
                <a:gd name="connsiteX587" fmla="*/ 1353147 w 3404391"/>
                <a:gd name="connsiteY587" fmla="*/ 1834125 h 3378173"/>
                <a:gd name="connsiteX588" fmla="*/ 1345661 w 3404391"/>
                <a:gd name="connsiteY588" fmla="*/ 1873428 h 3378173"/>
                <a:gd name="connsiteX589" fmla="*/ 1315716 w 3404391"/>
                <a:gd name="connsiteY589" fmla="*/ 1852841 h 3378173"/>
                <a:gd name="connsiteX590" fmla="*/ 1317587 w 3404391"/>
                <a:gd name="connsiteY590" fmla="*/ 1849098 h 3378173"/>
                <a:gd name="connsiteX591" fmla="*/ 1336771 w 3404391"/>
                <a:gd name="connsiteY591" fmla="*/ 1833891 h 3378173"/>
                <a:gd name="connsiteX592" fmla="*/ 1673888 w 3404391"/>
                <a:gd name="connsiteY592" fmla="*/ 1816346 h 3378173"/>
                <a:gd name="connsiteX593" fmla="*/ 1686287 w 3404391"/>
                <a:gd name="connsiteY593" fmla="*/ 1819153 h 3378173"/>
                <a:gd name="connsiteX594" fmla="*/ 1684415 w 3404391"/>
                <a:gd name="connsiteY594" fmla="*/ 1845355 h 3378173"/>
                <a:gd name="connsiteX595" fmla="*/ 1660085 w 3404391"/>
                <a:gd name="connsiteY595" fmla="*/ 1826639 h 3378173"/>
                <a:gd name="connsiteX596" fmla="*/ 1660085 w 3404391"/>
                <a:gd name="connsiteY596" fmla="*/ 1824768 h 3378173"/>
                <a:gd name="connsiteX597" fmla="*/ 1673888 w 3404391"/>
                <a:gd name="connsiteY597" fmla="*/ 1816346 h 3378173"/>
                <a:gd name="connsiteX598" fmla="*/ 1231495 w 3404391"/>
                <a:gd name="connsiteY598" fmla="*/ 1794822 h 3378173"/>
                <a:gd name="connsiteX599" fmla="*/ 1218394 w 3404391"/>
                <a:gd name="connsiteY599" fmla="*/ 1843483 h 3378173"/>
                <a:gd name="connsiteX600" fmla="*/ 1188449 w 3404391"/>
                <a:gd name="connsiteY600" fmla="*/ 1819153 h 3378173"/>
                <a:gd name="connsiteX601" fmla="*/ 1190321 w 3404391"/>
                <a:gd name="connsiteY601" fmla="*/ 1813538 h 3378173"/>
                <a:gd name="connsiteX602" fmla="*/ 1231495 w 3404391"/>
                <a:gd name="connsiteY602" fmla="*/ 1794822 h 3378173"/>
                <a:gd name="connsiteX603" fmla="*/ 2292676 w 3404391"/>
                <a:gd name="connsiteY603" fmla="*/ 1787336 h 3378173"/>
                <a:gd name="connsiteX604" fmla="*/ 2302034 w 3404391"/>
                <a:gd name="connsiteY604" fmla="*/ 1789208 h 3378173"/>
                <a:gd name="connsiteX605" fmla="*/ 2302034 w 3404391"/>
                <a:gd name="connsiteY605" fmla="*/ 1796694 h 3378173"/>
                <a:gd name="connsiteX606" fmla="*/ 2292676 w 3404391"/>
                <a:gd name="connsiteY606" fmla="*/ 1787336 h 3378173"/>
                <a:gd name="connsiteX607" fmla="*/ 1881867 w 3404391"/>
                <a:gd name="connsiteY607" fmla="*/ 1780318 h 3378173"/>
                <a:gd name="connsiteX608" fmla="*/ 1892160 w 3404391"/>
                <a:gd name="connsiteY608" fmla="*/ 1783593 h 3378173"/>
                <a:gd name="connsiteX609" fmla="*/ 1890289 w 3404391"/>
                <a:gd name="connsiteY609" fmla="*/ 1804181 h 3378173"/>
                <a:gd name="connsiteX610" fmla="*/ 1871573 w 3404391"/>
                <a:gd name="connsiteY610" fmla="*/ 1785465 h 3378173"/>
                <a:gd name="connsiteX611" fmla="*/ 1881867 w 3404391"/>
                <a:gd name="connsiteY611" fmla="*/ 1780318 h 3378173"/>
                <a:gd name="connsiteX612" fmla="*/ 475380 w 3404391"/>
                <a:gd name="connsiteY612" fmla="*/ 1772363 h 3378173"/>
                <a:gd name="connsiteX613" fmla="*/ 421104 w 3404391"/>
                <a:gd name="connsiteY613" fmla="*/ 1867813 h 3378173"/>
                <a:gd name="connsiteX614" fmla="*/ 441691 w 3404391"/>
                <a:gd name="connsiteY614" fmla="*/ 1828510 h 3378173"/>
                <a:gd name="connsiteX615" fmla="*/ 475380 w 3404391"/>
                <a:gd name="connsiteY615" fmla="*/ 1772363 h 3378173"/>
                <a:gd name="connsiteX616" fmla="*/ 2090547 w 3404391"/>
                <a:gd name="connsiteY616" fmla="*/ 1770725 h 3378173"/>
                <a:gd name="connsiteX617" fmla="*/ 2098034 w 3404391"/>
                <a:gd name="connsiteY617" fmla="*/ 1774235 h 3378173"/>
                <a:gd name="connsiteX618" fmla="*/ 2098034 w 3404391"/>
                <a:gd name="connsiteY618" fmla="*/ 1787336 h 3378173"/>
                <a:gd name="connsiteX619" fmla="*/ 2083061 w 3404391"/>
                <a:gd name="connsiteY619" fmla="*/ 1774235 h 3378173"/>
                <a:gd name="connsiteX620" fmla="*/ 2090547 w 3404391"/>
                <a:gd name="connsiteY620" fmla="*/ 1770725 h 3378173"/>
                <a:gd name="connsiteX621" fmla="*/ 1117329 w 3404391"/>
                <a:gd name="connsiteY621" fmla="*/ 1763005 h 3378173"/>
                <a:gd name="connsiteX622" fmla="*/ 1096741 w 3404391"/>
                <a:gd name="connsiteY622" fmla="*/ 1821024 h 3378173"/>
                <a:gd name="connsiteX623" fmla="*/ 1068668 w 3404391"/>
                <a:gd name="connsiteY623" fmla="*/ 1792950 h 3378173"/>
                <a:gd name="connsiteX624" fmla="*/ 1072411 w 3404391"/>
                <a:gd name="connsiteY624" fmla="*/ 1787336 h 3378173"/>
                <a:gd name="connsiteX625" fmla="*/ 1117329 w 3404391"/>
                <a:gd name="connsiteY625" fmla="*/ 1763005 h 3378173"/>
                <a:gd name="connsiteX626" fmla="*/ 1539135 w 3404391"/>
                <a:gd name="connsiteY626" fmla="*/ 1758560 h 3378173"/>
                <a:gd name="connsiteX627" fmla="*/ 1555278 w 3404391"/>
                <a:gd name="connsiteY627" fmla="*/ 1761134 h 3378173"/>
                <a:gd name="connsiteX628" fmla="*/ 1547791 w 3404391"/>
                <a:gd name="connsiteY628" fmla="*/ 1794822 h 3378173"/>
                <a:gd name="connsiteX629" fmla="*/ 1519718 w 3404391"/>
                <a:gd name="connsiteY629" fmla="*/ 1770492 h 3378173"/>
                <a:gd name="connsiteX630" fmla="*/ 1521589 w 3404391"/>
                <a:gd name="connsiteY630" fmla="*/ 1768620 h 3378173"/>
                <a:gd name="connsiteX631" fmla="*/ 1539135 w 3404391"/>
                <a:gd name="connsiteY631" fmla="*/ 1758560 h 3378173"/>
                <a:gd name="connsiteX632" fmla="*/ 509067 w 3404391"/>
                <a:gd name="connsiteY632" fmla="*/ 1740548 h 3378173"/>
                <a:gd name="connsiteX633" fmla="*/ 451049 w 3404391"/>
                <a:gd name="connsiteY633" fmla="*/ 1841612 h 3378173"/>
                <a:gd name="connsiteX634" fmla="*/ 469764 w 3404391"/>
                <a:gd name="connsiteY634" fmla="*/ 1798566 h 3378173"/>
                <a:gd name="connsiteX635" fmla="*/ 509067 w 3404391"/>
                <a:gd name="connsiteY635" fmla="*/ 1740548 h 3378173"/>
                <a:gd name="connsiteX636" fmla="*/ 1010649 w 3404391"/>
                <a:gd name="connsiteY636" fmla="*/ 1734932 h 3378173"/>
                <a:gd name="connsiteX637" fmla="*/ 986319 w 3404391"/>
                <a:gd name="connsiteY637" fmla="*/ 1802308 h 3378173"/>
                <a:gd name="connsiteX638" fmla="*/ 958245 w 3404391"/>
                <a:gd name="connsiteY638" fmla="*/ 1776106 h 3378173"/>
                <a:gd name="connsiteX639" fmla="*/ 963860 w 3404391"/>
                <a:gd name="connsiteY639" fmla="*/ 1764877 h 3378173"/>
                <a:gd name="connsiteX640" fmla="*/ 1010649 w 3404391"/>
                <a:gd name="connsiteY640" fmla="*/ 1734932 h 3378173"/>
                <a:gd name="connsiteX641" fmla="*/ 552114 w 3404391"/>
                <a:gd name="connsiteY641" fmla="*/ 1716216 h 3378173"/>
                <a:gd name="connsiteX642" fmla="*/ 497838 w 3404391"/>
                <a:gd name="connsiteY642" fmla="*/ 1815409 h 3378173"/>
                <a:gd name="connsiteX643" fmla="*/ 488480 w 3404391"/>
                <a:gd name="connsiteY643" fmla="*/ 1815409 h 3378173"/>
                <a:gd name="connsiteX644" fmla="*/ 507196 w 3404391"/>
                <a:gd name="connsiteY644" fmla="*/ 1772363 h 3378173"/>
                <a:gd name="connsiteX645" fmla="*/ 552114 w 3404391"/>
                <a:gd name="connsiteY645" fmla="*/ 1716216 h 3378173"/>
                <a:gd name="connsiteX646" fmla="*/ 2363797 w 3404391"/>
                <a:gd name="connsiteY646" fmla="*/ 1716216 h 3378173"/>
                <a:gd name="connsiteX647" fmla="*/ 2371283 w 3404391"/>
                <a:gd name="connsiteY647" fmla="*/ 1718088 h 3378173"/>
                <a:gd name="connsiteX648" fmla="*/ 2371283 w 3404391"/>
                <a:gd name="connsiteY648" fmla="*/ 1725574 h 3378173"/>
                <a:gd name="connsiteX649" fmla="*/ 2363797 w 3404391"/>
                <a:gd name="connsiteY649" fmla="*/ 1716216 h 3378173"/>
                <a:gd name="connsiteX650" fmla="*/ 913327 w 3404391"/>
                <a:gd name="connsiteY650" fmla="*/ 1714345 h 3378173"/>
                <a:gd name="connsiteX651" fmla="*/ 879639 w 3404391"/>
                <a:gd name="connsiteY651" fmla="*/ 1792951 h 3378173"/>
                <a:gd name="connsiteX652" fmla="*/ 855309 w 3404391"/>
                <a:gd name="connsiteY652" fmla="*/ 1764877 h 3378173"/>
                <a:gd name="connsiteX653" fmla="*/ 860923 w 3404391"/>
                <a:gd name="connsiteY653" fmla="*/ 1751776 h 3378173"/>
                <a:gd name="connsiteX654" fmla="*/ 913327 w 3404391"/>
                <a:gd name="connsiteY654" fmla="*/ 1714345 h 3378173"/>
                <a:gd name="connsiteX655" fmla="*/ 1746178 w 3404391"/>
                <a:gd name="connsiteY655" fmla="*/ 1709432 h 3378173"/>
                <a:gd name="connsiteX656" fmla="*/ 1761150 w 3404391"/>
                <a:gd name="connsiteY656" fmla="*/ 1712473 h 3378173"/>
                <a:gd name="connsiteX657" fmla="*/ 1757407 w 3404391"/>
                <a:gd name="connsiteY657" fmla="*/ 1740546 h 3378173"/>
                <a:gd name="connsiteX658" fmla="*/ 1731205 w 3404391"/>
                <a:gd name="connsiteY658" fmla="*/ 1718088 h 3378173"/>
                <a:gd name="connsiteX659" fmla="*/ 1731205 w 3404391"/>
                <a:gd name="connsiteY659" fmla="*/ 1716216 h 3378173"/>
                <a:gd name="connsiteX660" fmla="*/ 1746178 w 3404391"/>
                <a:gd name="connsiteY660" fmla="*/ 1709432 h 3378173"/>
                <a:gd name="connsiteX661" fmla="*/ 1412335 w 3404391"/>
                <a:gd name="connsiteY661" fmla="*/ 1707560 h 3378173"/>
                <a:gd name="connsiteX662" fmla="*/ 1429881 w 3404391"/>
                <a:gd name="connsiteY662" fmla="*/ 1708730 h 3378173"/>
                <a:gd name="connsiteX663" fmla="*/ 1416780 w 3404391"/>
                <a:gd name="connsiteY663" fmla="*/ 1751776 h 3378173"/>
                <a:gd name="connsiteX664" fmla="*/ 1388707 w 3404391"/>
                <a:gd name="connsiteY664" fmla="*/ 1723703 h 3378173"/>
                <a:gd name="connsiteX665" fmla="*/ 1390578 w 3404391"/>
                <a:gd name="connsiteY665" fmla="*/ 1721831 h 3378173"/>
                <a:gd name="connsiteX666" fmla="*/ 1412335 w 3404391"/>
                <a:gd name="connsiteY666" fmla="*/ 1707560 h 3378173"/>
                <a:gd name="connsiteX667" fmla="*/ 606389 w 3404391"/>
                <a:gd name="connsiteY667" fmla="*/ 1701244 h 3378173"/>
                <a:gd name="connsiteX668" fmla="*/ 552113 w 3404391"/>
                <a:gd name="connsiteY668" fmla="*/ 1802309 h 3378173"/>
                <a:gd name="connsiteX669" fmla="*/ 540884 w 3404391"/>
                <a:gd name="connsiteY669" fmla="*/ 1796694 h 3378173"/>
                <a:gd name="connsiteX670" fmla="*/ 557728 w 3404391"/>
                <a:gd name="connsiteY670" fmla="*/ 1757391 h 3378173"/>
                <a:gd name="connsiteX671" fmla="*/ 606389 w 3404391"/>
                <a:gd name="connsiteY671" fmla="*/ 1701244 h 3378173"/>
                <a:gd name="connsiteX672" fmla="*/ 823492 w 3404391"/>
                <a:gd name="connsiteY672" fmla="*/ 1699372 h 3378173"/>
                <a:gd name="connsiteX673" fmla="*/ 782317 w 3404391"/>
                <a:gd name="connsiteY673" fmla="*/ 1787335 h 3378173"/>
                <a:gd name="connsiteX674" fmla="*/ 763601 w 3404391"/>
                <a:gd name="connsiteY674" fmla="*/ 1761133 h 3378173"/>
                <a:gd name="connsiteX675" fmla="*/ 771087 w 3404391"/>
                <a:gd name="connsiteY675" fmla="*/ 1742418 h 3378173"/>
                <a:gd name="connsiteX676" fmla="*/ 823492 w 3404391"/>
                <a:gd name="connsiteY676" fmla="*/ 1699372 h 3378173"/>
                <a:gd name="connsiteX677" fmla="*/ 670023 w 3404391"/>
                <a:gd name="connsiteY677" fmla="*/ 1691886 h 3378173"/>
                <a:gd name="connsiteX678" fmla="*/ 617619 w 3404391"/>
                <a:gd name="connsiteY678" fmla="*/ 1791079 h 3378173"/>
                <a:gd name="connsiteX679" fmla="*/ 604518 w 3404391"/>
                <a:gd name="connsiteY679" fmla="*/ 1776107 h 3378173"/>
                <a:gd name="connsiteX680" fmla="*/ 617619 w 3404391"/>
                <a:gd name="connsiteY680" fmla="*/ 1744290 h 3378173"/>
                <a:gd name="connsiteX681" fmla="*/ 670023 w 3404391"/>
                <a:gd name="connsiteY681" fmla="*/ 1691886 h 3378173"/>
                <a:gd name="connsiteX682" fmla="*/ 743015 w 3404391"/>
                <a:gd name="connsiteY682" fmla="*/ 1691885 h 3378173"/>
                <a:gd name="connsiteX683" fmla="*/ 698097 w 3404391"/>
                <a:gd name="connsiteY683" fmla="*/ 1785464 h 3378173"/>
                <a:gd name="connsiteX684" fmla="*/ 679381 w 3404391"/>
                <a:gd name="connsiteY684" fmla="*/ 1768620 h 3378173"/>
                <a:gd name="connsiteX685" fmla="*/ 690610 w 3404391"/>
                <a:gd name="connsiteY685" fmla="*/ 1740546 h 3378173"/>
                <a:gd name="connsiteX686" fmla="*/ 743015 w 3404391"/>
                <a:gd name="connsiteY686" fmla="*/ 1691885 h 3378173"/>
                <a:gd name="connsiteX687" fmla="*/ 2163304 w 3404391"/>
                <a:gd name="connsiteY687" fmla="*/ 1688143 h 3378173"/>
                <a:gd name="connsiteX688" fmla="*/ 2171024 w 3404391"/>
                <a:gd name="connsiteY688" fmla="*/ 1691886 h 3378173"/>
                <a:gd name="connsiteX689" fmla="*/ 2169153 w 3404391"/>
                <a:gd name="connsiteY689" fmla="*/ 1704987 h 3378173"/>
                <a:gd name="connsiteX690" fmla="*/ 2154180 w 3404391"/>
                <a:gd name="connsiteY690" fmla="*/ 1690014 h 3378173"/>
                <a:gd name="connsiteX691" fmla="*/ 2163304 w 3404391"/>
                <a:gd name="connsiteY691" fmla="*/ 1688143 h 3378173"/>
                <a:gd name="connsiteX692" fmla="*/ 1955793 w 3404391"/>
                <a:gd name="connsiteY692" fmla="*/ 1685803 h 3378173"/>
                <a:gd name="connsiteX693" fmla="*/ 1967023 w 3404391"/>
                <a:gd name="connsiteY693" fmla="*/ 1690014 h 3378173"/>
                <a:gd name="connsiteX694" fmla="*/ 1963280 w 3404391"/>
                <a:gd name="connsiteY694" fmla="*/ 1710602 h 3378173"/>
                <a:gd name="connsiteX695" fmla="*/ 1944564 w 3404391"/>
                <a:gd name="connsiteY695" fmla="*/ 1690014 h 3378173"/>
                <a:gd name="connsiteX696" fmla="*/ 1955793 w 3404391"/>
                <a:gd name="connsiteY696" fmla="*/ 1685803 h 3378173"/>
                <a:gd name="connsiteX697" fmla="*/ 1313845 w 3404391"/>
                <a:gd name="connsiteY697" fmla="*/ 1661944 h 3378173"/>
                <a:gd name="connsiteX698" fmla="*/ 1297000 w 3404391"/>
                <a:gd name="connsiteY698" fmla="*/ 1714344 h 3378173"/>
                <a:gd name="connsiteX699" fmla="*/ 1267055 w 3404391"/>
                <a:gd name="connsiteY699" fmla="*/ 1686271 h 3378173"/>
                <a:gd name="connsiteX700" fmla="*/ 1270798 w 3404391"/>
                <a:gd name="connsiteY700" fmla="*/ 1680659 h 3378173"/>
                <a:gd name="connsiteX701" fmla="*/ 1313845 w 3404391"/>
                <a:gd name="connsiteY701" fmla="*/ 1661944 h 3378173"/>
                <a:gd name="connsiteX702" fmla="*/ 2436788 w 3404391"/>
                <a:gd name="connsiteY702" fmla="*/ 1650712 h 3378173"/>
                <a:gd name="connsiteX703" fmla="*/ 2444274 w 3404391"/>
                <a:gd name="connsiteY703" fmla="*/ 1652584 h 3378173"/>
                <a:gd name="connsiteX704" fmla="*/ 2444274 w 3404391"/>
                <a:gd name="connsiteY704" fmla="*/ 1660069 h 3378173"/>
                <a:gd name="connsiteX705" fmla="*/ 2436788 w 3404391"/>
                <a:gd name="connsiteY705" fmla="*/ 1650712 h 3378173"/>
                <a:gd name="connsiteX706" fmla="*/ 1617507 w 3404391"/>
                <a:gd name="connsiteY706" fmla="*/ 1643696 h 3378173"/>
                <a:gd name="connsiteX707" fmla="*/ 1633883 w 3404391"/>
                <a:gd name="connsiteY707" fmla="*/ 1646971 h 3378173"/>
                <a:gd name="connsiteX708" fmla="*/ 1624525 w 3404391"/>
                <a:gd name="connsiteY708" fmla="*/ 1682529 h 3378173"/>
                <a:gd name="connsiteX709" fmla="*/ 1596452 w 3404391"/>
                <a:gd name="connsiteY709" fmla="*/ 1656330 h 3378173"/>
                <a:gd name="connsiteX710" fmla="*/ 1598323 w 3404391"/>
                <a:gd name="connsiteY710" fmla="*/ 1654457 h 3378173"/>
                <a:gd name="connsiteX711" fmla="*/ 1617507 w 3404391"/>
                <a:gd name="connsiteY711" fmla="*/ 1643696 h 3378173"/>
                <a:gd name="connsiteX712" fmla="*/ 1203421 w 3404391"/>
                <a:gd name="connsiteY712" fmla="*/ 1622644 h 3378173"/>
                <a:gd name="connsiteX713" fmla="*/ 1177219 w 3404391"/>
                <a:gd name="connsiteY713" fmla="*/ 1686271 h 3378173"/>
                <a:gd name="connsiteX714" fmla="*/ 1149145 w 3404391"/>
                <a:gd name="connsiteY714" fmla="*/ 1654458 h 3378173"/>
                <a:gd name="connsiteX715" fmla="*/ 1152888 w 3404391"/>
                <a:gd name="connsiteY715" fmla="*/ 1646974 h 3378173"/>
                <a:gd name="connsiteX716" fmla="*/ 1203421 w 3404391"/>
                <a:gd name="connsiteY716" fmla="*/ 1622644 h 3378173"/>
                <a:gd name="connsiteX717" fmla="*/ 2240273 w 3404391"/>
                <a:gd name="connsiteY717" fmla="*/ 1609537 h 3378173"/>
                <a:gd name="connsiteX718" fmla="*/ 2247760 w 3404391"/>
                <a:gd name="connsiteY718" fmla="*/ 1613281 h 3378173"/>
                <a:gd name="connsiteX719" fmla="*/ 2245888 w 3404391"/>
                <a:gd name="connsiteY719" fmla="*/ 1626382 h 3378173"/>
                <a:gd name="connsiteX720" fmla="*/ 2232787 w 3404391"/>
                <a:gd name="connsiteY720" fmla="*/ 1611409 h 3378173"/>
                <a:gd name="connsiteX721" fmla="*/ 2240273 w 3404391"/>
                <a:gd name="connsiteY721" fmla="*/ 1609537 h 3378173"/>
                <a:gd name="connsiteX722" fmla="*/ 1825719 w 3404391"/>
                <a:gd name="connsiteY722" fmla="*/ 1606731 h 3378173"/>
                <a:gd name="connsiteX723" fmla="*/ 1839756 w 3404391"/>
                <a:gd name="connsiteY723" fmla="*/ 1611411 h 3378173"/>
                <a:gd name="connsiteX724" fmla="*/ 1834142 w 3404391"/>
                <a:gd name="connsiteY724" fmla="*/ 1639484 h 3378173"/>
                <a:gd name="connsiteX725" fmla="*/ 1809811 w 3404391"/>
                <a:gd name="connsiteY725" fmla="*/ 1615154 h 3378173"/>
                <a:gd name="connsiteX726" fmla="*/ 1811683 w 3404391"/>
                <a:gd name="connsiteY726" fmla="*/ 1613282 h 3378173"/>
                <a:gd name="connsiteX727" fmla="*/ 1825719 w 3404391"/>
                <a:gd name="connsiteY727" fmla="*/ 1606731 h 3378173"/>
                <a:gd name="connsiteX728" fmla="*/ 583930 w 3404391"/>
                <a:gd name="connsiteY728" fmla="*/ 1596452 h 3378173"/>
                <a:gd name="connsiteX729" fmla="*/ 518425 w 3404391"/>
                <a:gd name="connsiteY729" fmla="*/ 1697501 h 3378173"/>
                <a:gd name="connsiteX730" fmla="*/ 542755 w 3404391"/>
                <a:gd name="connsiteY730" fmla="*/ 1656338 h 3378173"/>
                <a:gd name="connsiteX731" fmla="*/ 583930 w 3404391"/>
                <a:gd name="connsiteY731" fmla="*/ 1596452 h 3378173"/>
                <a:gd name="connsiteX732" fmla="*/ 2033698 w 3404391"/>
                <a:gd name="connsiteY732" fmla="*/ 1595736 h 3378173"/>
                <a:gd name="connsiteX733" fmla="*/ 2043758 w 3404391"/>
                <a:gd name="connsiteY733" fmla="*/ 1600181 h 3378173"/>
                <a:gd name="connsiteX734" fmla="*/ 2038143 w 3404391"/>
                <a:gd name="connsiteY734" fmla="*/ 1620767 h 3378173"/>
                <a:gd name="connsiteX735" fmla="*/ 2019427 w 3404391"/>
                <a:gd name="connsiteY735" fmla="*/ 1598308 h 3378173"/>
                <a:gd name="connsiteX736" fmla="*/ 2033698 w 3404391"/>
                <a:gd name="connsiteY736" fmla="*/ 1595736 h 3378173"/>
                <a:gd name="connsiteX737" fmla="*/ 1100484 w 3404391"/>
                <a:gd name="connsiteY737" fmla="*/ 1588957 h 3378173"/>
                <a:gd name="connsiteX738" fmla="*/ 1064924 w 3404391"/>
                <a:gd name="connsiteY738" fmla="*/ 1663817 h 3378173"/>
                <a:gd name="connsiteX739" fmla="*/ 1040594 w 3404391"/>
                <a:gd name="connsiteY739" fmla="*/ 1628259 h 3378173"/>
                <a:gd name="connsiteX740" fmla="*/ 1044337 w 3404391"/>
                <a:gd name="connsiteY740" fmla="*/ 1620774 h 3378173"/>
                <a:gd name="connsiteX741" fmla="*/ 1100484 w 3404391"/>
                <a:gd name="connsiteY741" fmla="*/ 1588957 h 3378173"/>
                <a:gd name="connsiteX742" fmla="*/ 2513523 w 3404391"/>
                <a:gd name="connsiteY742" fmla="*/ 1587077 h 3378173"/>
                <a:gd name="connsiteX743" fmla="*/ 2521009 w 3404391"/>
                <a:gd name="connsiteY743" fmla="*/ 1588949 h 3378173"/>
                <a:gd name="connsiteX744" fmla="*/ 2519138 w 3404391"/>
                <a:gd name="connsiteY744" fmla="*/ 1594563 h 3378173"/>
                <a:gd name="connsiteX745" fmla="*/ 2513523 w 3404391"/>
                <a:gd name="connsiteY745" fmla="*/ 1587077 h 3378173"/>
                <a:gd name="connsiteX746" fmla="*/ 1494919 w 3404391"/>
                <a:gd name="connsiteY746" fmla="*/ 1586147 h 3378173"/>
                <a:gd name="connsiteX747" fmla="*/ 1514102 w 3404391"/>
                <a:gd name="connsiteY747" fmla="*/ 1588953 h 3378173"/>
                <a:gd name="connsiteX748" fmla="*/ 1497258 w 3404391"/>
                <a:gd name="connsiteY748" fmla="*/ 1633871 h 3378173"/>
                <a:gd name="connsiteX749" fmla="*/ 1471056 w 3404391"/>
                <a:gd name="connsiteY749" fmla="*/ 1602054 h 3378173"/>
                <a:gd name="connsiteX750" fmla="*/ 1472928 w 3404391"/>
                <a:gd name="connsiteY750" fmla="*/ 1600183 h 3378173"/>
                <a:gd name="connsiteX751" fmla="*/ 1494919 w 3404391"/>
                <a:gd name="connsiteY751" fmla="*/ 1586147 h 3378173"/>
                <a:gd name="connsiteX752" fmla="*/ 617619 w 3404391"/>
                <a:gd name="connsiteY752" fmla="*/ 1564635 h 3378173"/>
                <a:gd name="connsiteX753" fmla="*/ 546499 w 3404391"/>
                <a:gd name="connsiteY753" fmla="*/ 1673178 h 3378173"/>
                <a:gd name="connsiteX754" fmla="*/ 570830 w 3404391"/>
                <a:gd name="connsiteY754" fmla="*/ 1626395 h 3378173"/>
                <a:gd name="connsiteX755" fmla="*/ 617619 w 3404391"/>
                <a:gd name="connsiteY755" fmla="*/ 1564635 h 3378173"/>
                <a:gd name="connsiteX756" fmla="*/ 1006906 w 3404391"/>
                <a:gd name="connsiteY756" fmla="*/ 1562757 h 3378173"/>
                <a:gd name="connsiteX757" fmla="*/ 965731 w 3404391"/>
                <a:gd name="connsiteY757" fmla="*/ 1646976 h 3378173"/>
                <a:gd name="connsiteX758" fmla="*/ 941401 w 3404391"/>
                <a:gd name="connsiteY758" fmla="*/ 1613289 h 3378173"/>
                <a:gd name="connsiteX759" fmla="*/ 948887 w 3404391"/>
                <a:gd name="connsiteY759" fmla="*/ 1600188 h 3378173"/>
                <a:gd name="connsiteX760" fmla="*/ 1006906 w 3404391"/>
                <a:gd name="connsiteY760" fmla="*/ 1562757 h 3378173"/>
                <a:gd name="connsiteX761" fmla="*/ 660665 w 3404391"/>
                <a:gd name="connsiteY761" fmla="*/ 1544048 h 3378173"/>
                <a:gd name="connsiteX762" fmla="*/ 595160 w 3404391"/>
                <a:gd name="connsiteY762" fmla="*/ 1650723 h 3378173"/>
                <a:gd name="connsiteX763" fmla="*/ 585802 w 3404391"/>
                <a:gd name="connsiteY763" fmla="*/ 1650723 h 3378173"/>
                <a:gd name="connsiteX764" fmla="*/ 608261 w 3404391"/>
                <a:gd name="connsiteY764" fmla="*/ 1603938 h 3378173"/>
                <a:gd name="connsiteX765" fmla="*/ 660665 w 3404391"/>
                <a:gd name="connsiteY765" fmla="*/ 1544048 h 3378173"/>
                <a:gd name="connsiteX766" fmla="*/ 920814 w 3404391"/>
                <a:gd name="connsiteY766" fmla="*/ 1542171 h 3378173"/>
                <a:gd name="connsiteX767" fmla="*/ 870282 w 3404391"/>
                <a:gd name="connsiteY767" fmla="*/ 1635749 h 3378173"/>
                <a:gd name="connsiteX768" fmla="*/ 851566 w 3404391"/>
                <a:gd name="connsiteY768" fmla="*/ 1605805 h 3378173"/>
                <a:gd name="connsiteX769" fmla="*/ 860924 w 3404391"/>
                <a:gd name="connsiteY769" fmla="*/ 1587089 h 3378173"/>
                <a:gd name="connsiteX770" fmla="*/ 920814 w 3404391"/>
                <a:gd name="connsiteY770" fmla="*/ 1542171 h 3378173"/>
                <a:gd name="connsiteX771" fmla="*/ 2321218 w 3404391"/>
                <a:gd name="connsiteY771" fmla="*/ 1535845 h 3378173"/>
                <a:gd name="connsiteX772" fmla="*/ 2328237 w 3404391"/>
                <a:gd name="connsiteY772" fmla="*/ 1540290 h 3378173"/>
                <a:gd name="connsiteX773" fmla="*/ 2324493 w 3404391"/>
                <a:gd name="connsiteY773" fmla="*/ 1553391 h 3378173"/>
                <a:gd name="connsiteX774" fmla="*/ 2311392 w 3404391"/>
                <a:gd name="connsiteY774" fmla="*/ 1538418 h 3378173"/>
                <a:gd name="connsiteX775" fmla="*/ 2321218 w 3404391"/>
                <a:gd name="connsiteY775" fmla="*/ 1535845 h 3378173"/>
                <a:gd name="connsiteX776" fmla="*/ 1701494 w 3404391"/>
                <a:gd name="connsiteY776" fmla="*/ 1534210 h 3378173"/>
                <a:gd name="connsiteX777" fmla="*/ 1718104 w 3404391"/>
                <a:gd name="connsiteY777" fmla="*/ 1538421 h 3378173"/>
                <a:gd name="connsiteX778" fmla="*/ 1705003 w 3404391"/>
                <a:gd name="connsiteY778" fmla="*/ 1575852 h 3378173"/>
                <a:gd name="connsiteX779" fmla="*/ 1678801 w 3404391"/>
                <a:gd name="connsiteY779" fmla="*/ 1545907 h 3378173"/>
                <a:gd name="connsiteX780" fmla="*/ 1680673 w 3404391"/>
                <a:gd name="connsiteY780" fmla="*/ 1544035 h 3378173"/>
                <a:gd name="connsiteX781" fmla="*/ 1701494 w 3404391"/>
                <a:gd name="connsiteY781" fmla="*/ 1534210 h 3378173"/>
                <a:gd name="connsiteX782" fmla="*/ 1380285 w 3404391"/>
                <a:gd name="connsiteY782" fmla="*/ 1533510 h 3378173"/>
                <a:gd name="connsiteX783" fmla="*/ 1401808 w 3404391"/>
                <a:gd name="connsiteY783" fmla="*/ 1534680 h 3378173"/>
                <a:gd name="connsiteX784" fmla="*/ 1379349 w 3404391"/>
                <a:gd name="connsiteY784" fmla="*/ 1590827 h 3378173"/>
                <a:gd name="connsiteX785" fmla="*/ 1349404 w 3404391"/>
                <a:gd name="connsiteY785" fmla="*/ 1559010 h 3378173"/>
                <a:gd name="connsiteX786" fmla="*/ 1353147 w 3404391"/>
                <a:gd name="connsiteY786" fmla="*/ 1553395 h 3378173"/>
                <a:gd name="connsiteX787" fmla="*/ 1380285 w 3404391"/>
                <a:gd name="connsiteY787" fmla="*/ 1533510 h 3378173"/>
                <a:gd name="connsiteX788" fmla="*/ 713069 w 3404391"/>
                <a:gd name="connsiteY788" fmla="*/ 1530946 h 3378173"/>
                <a:gd name="connsiteX789" fmla="*/ 647564 w 3404391"/>
                <a:gd name="connsiteY789" fmla="*/ 1639494 h 3378173"/>
                <a:gd name="connsiteX790" fmla="*/ 636334 w 3404391"/>
                <a:gd name="connsiteY790" fmla="*/ 1632008 h 3378173"/>
                <a:gd name="connsiteX791" fmla="*/ 656922 w 3404391"/>
                <a:gd name="connsiteY791" fmla="*/ 1590836 h 3378173"/>
                <a:gd name="connsiteX792" fmla="*/ 713069 w 3404391"/>
                <a:gd name="connsiteY792" fmla="*/ 1530946 h 3378173"/>
                <a:gd name="connsiteX793" fmla="*/ 844079 w 3404391"/>
                <a:gd name="connsiteY793" fmla="*/ 1529072 h 3378173"/>
                <a:gd name="connsiteX794" fmla="*/ 787932 w 3404391"/>
                <a:gd name="connsiteY794" fmla="*/ 1630136 h 3378173"/>
                <a:gd name="connsiteX795" fmla="*/ 769216 w 3404391"/>
                <a:gd name="connsiteY795" fmla="*/ 1609548 h 3378173"/>
                <a:gd name="connsiteX796" fmla="*/ 784189 w 3404391"/>
                <a:gd name="connsiteY796" fmla="*/ 1579604 h 3378173"/>
                <a:gd name="connsiteX797" fmla="*/ 844079 w 3404391"/>
                <a:gd name="connsiteY797" fmla="*/ 1529072 h 3378173"/>
                <a:gd name="connsiteX798" fmla="*/ 2597743 w 3404391"/>
                <a:gd name="connsiteY798" fmla="*/ 1529059 h 3378173"/>
                <a:gd name="connsiteX799" fmla="*/ 2601486 w 3404391"/>
                <a:gd name="connsiteY799" fmla="*/ 1530931 h 3378173"/>
                <a:gd name="connsiteX800" fmla="*/ 2603358 w 3404391"/>
                <a:gd name="connsiteY800" fmla="*/ 1534674 h 3378173"/>
                <a:gd name="connsiteX801" fmla="*/ 2597743 w 3404391"/>
                <a:gd name="connsiteY801" fmla="*/ 1532802 h 3378173"/>
                <a:gd name="connsiteX802" fmla="*/ 774830 w 3404391"/>
                <a:gd name="connsiteY802" fmla="*/ 1525330 h 3378173"/>
                <a:gd name="connsiteX803" fmla="*/ 711197 w 3404391"/>
                <a:gd name="connsiteY803" fmla="*/ 1632007 h 3378173"/>
                <a:gd name="connsiteX804" fmla="*/ 698096 w 3404391"/>
                <a:gd name="connsiteY804" fmla="*/ 1615164 h 3378173"/>
                <a:gd name="connsiteX805" fmla="*/ 714940 w 3404391"/>
                <a:gd name="connsiteY805" fmla="*/ 1579605 h 3378173"/>
                <a:gd name="connsiteX806" fmla="*/ 774830 w 3404391"/>
                <a:gd name="connsiteY806" fmla="*/ 1525330 h 3378173"/>
                <a:gd name="connsiteX807" fmla="*/ 2117451 w 3404391"/>
                <a:gd name="connsiteY807" fmla="*/ 1509643 h 3378173"/>
                <a:gd name="connsiteX808" fmla="*/ 2127979 w 3404391"/>
                <a:gd name="connsiteY808" fmla="*/ 1514088 h 3378173"/>
                <a:gd name="connsiteX809" fmla="*/ 2122364 w 3404391"/>
                <a:gd name="connsiteY809" fmla="*/ 1534675 h 3378173"/>
                <a:gd name="connsiteX810" fmla="*/ 2105520 w 3404391"/>
                <a:gd name="connsiteY810" fmla="*/ 1512216 h 3378173"/>
                <a:gd name="connsiteX811" fmla="*/ 2117451 w 3404391"/>
                <a:gd name="connsiteY811" fmla="*/ 1509643 h 3378173"/>
                <a:gd name="connsiteX812" fmla="*/ 1910174 w 3404391"/>
                <a:gd name="connsiteY812" fmla="*/ 1508708 h 3378173"/>
                <a:gd name="connsiteX813" fmla="*/ 1923977 w 3404391"/>
                <a:gd name="connsiteY813" fmla="*/ 1514089 h 3378173"/>
                <a:gd name="connsiteX814" fmla="*/ 1912747 w 3404391"/>
                <a:gd name="connsiteY814" fmla="*/ 1544034 h 3378173"/>
                <a:gd name="connsiteX815" fmla="*/ 1892160 w 3404391"/>
                <a:gd name="connsiteY815" fmla="*/ 1515961 h 3378173"/>
                <a:gd name="connsiteX816" fmla="*/ 1910174 w 3404391"/>
                <a:gd name="connsiteY816" fmla="*/ 1508708 h 3378173"/>
                <a:gd name="connsiteX817" fmla="*/ 1297000 w 3404391"/>
                <a:gd name="connsiteY817" fmla="*/ 1487892 h 3378173"/>
                <a:gd name="connsiteX818" fmla="*/ 1265183 w 3404391"/>
                <a:gd name="connsiteY818" fmla="*/ 1553396 h 3378173"/>
                <a:gd name="connsiteX819" fmla="*/ 1238981 w 3404391"/>
                <a:gd name="connsiteY819" fmla="*/ 1517838 h 3378173"/>
                <a:gd name="connsiteX820" fmla="*/ 1242724 w 3404391"/>
                <a:gd name="connsiteY820" fmla="*/ 1510350 h 3378173"/>
                <a:gd name="connsiteX821" fmla="*/ 1297000 w 3404391"/>
                <a:gd name="connsiteY821" fmla="*/ 1487892 h 3378173"/>
                <a:gd name="connsiteX822" fmla="*/ 2683836 w 3404391"/>
                <a:gd name="connsiteY822" fmla="*/ 1476655 h 3378173"/>
                <a:gd name="connsiteX823" fmla="*/ 2685707 w 3404391"/>
                <a:gd name="connsiteY823" fmla="*/ 1476655 h 3378173"/>
                <a:gd name="connsiteX824" fmla="*/ 2687579 w 3404391"/>
                <a:gd name="connsiteY824" fmla="*/ 1478527 h 3378173"/>
                <a:gd name="connsiteX825" fmla="*/ 2683836 w 3404391"/>
                <a:gd name="connsiteY825" fmla="*/ 1478527 h 3378173"/>
                <a:gd name="connsiteX826" fmla="*/ 1585456 w 3404391"/>
                <a:gd name="connsiteY826" fmla="*/ 1469173 h 3378173"/>
                <a:gd name="connsiteX827" fmla="*/ 1605809 w 3404391"/>
                <a:gd name="connsiteY827" fmla="*/ 1472918 h 3378173"/>
                <a:gd name="connsiteX828" fmla="*/ 1585222 w 3404391"/>
                <a:gd name="connsiteY828" fmla="*/ 1519706 h 3378173"/>
                <a:gd name="connsiteX829" fmla="*/ 1559020 w 3404391"/>
                <a:gd name="connsiteY829" fmla="*/ 1484146 h 3378173"/>
                <a:gd name="connsiteX830" fmla="*/ 1560892 w 3404391"/>
                <a:gd name="connsiteY830" fmla="*/ 1482275 h 3378173"/>
                <a:gd name="connsiteX831" fmla="*/ 1585456 w 3404391"/>
                <a:gd name="connsiteY831" fmla="*/ 1469173 h 3378173"/>
                <a:gd name="connsiteX832" fmla="*/ 2399356 w 3404391"/>
                <a:gd name="connsiteY832" fmla="*/ 1467298 h 3378173"/>
                <a:gd name="connsiteX833" fmla="*/ 2412457 w 3404391"/>
                <a:gd name="connsiteY833" fmla="*/ 1471041 h 3378173"/>
                <a:gd name="connsiteX834" fmla="*/ 2408714 w 3404391"/>
                <a:gd name="connsiteY834" fmla="*/ 1482271 h 3378173"/>
                <a:gd name="connsiteX835" fmla="*/ 2399356 w 3404391"/>
                <a:gd name="connsiteY835" fmla="*/ 1467298 h 3378173"/>
                <a:gd name="connsiteX836" fmla="*/ 1199678 w 3404391"/>
                <a:gd name="connsiteY836" fmla="*/ 1448590 h 3378173"/>
                <a:gd name="connsiteX837" fmla="*/ 1156632 w 3404391"/>
                <a:gd name="connsiteY837" fmla="*/ 1525324 h 3378173"/>
                <a:gd name="connsiteX838" fmla="*/ 1134173 w 3404391"/>
                <a:gd name="connsiteY838" fmla="*/ 1486021 h 3378173"/>
                <a:gd name="connsiteX839" fmla="*/ 1139788 w 3404391"/>
                <a:gd name="connsiteY839" fmla="*/ 1478536 h 3378173"/>
                <a:gd name="connsiteX840" fmla="*/ 1199678 w 3404391"/>
                <a:gd name="connsiteY840" fmla="*/ 1448590 h 3378173"/>
                <a:gd name="connsiteX841" fmla="*/ 1792499 w 3404391"/>
                <a:gd name="connsiteY841" fmla="*/ 1429635 h 3378173"/>
                <a:gd name="connsiteX842" fmla="*/ 1809811 w 3404391"/>
                <a:gd name="connsiteY842" fmla="*/ 1435485 h 3378173"/>
                <a:gd name="connsiteX843" fmla="*/ 1794838 w 3404391"/>
                <a:gd name="connsiteY843" fmla="*/ 1472915 h 3378173"/>
                <a:gd name="connsiteX844" fmla="*/ 1770508 w 3404391"/>
                <a:gd name="connsiteY844" fmla="*/ 1441098 h 3378173"/>
                <a:gd name="connsiteX845" fmla="*/ 1772380 w 3404391"/>
                <a:gd name="connsiteY845" fmla="*/ 1439227 h 3378173"/>
                <a:gd name="connsiteX846" fmla="*/ 1792499 w 3404391"/>
                <a:gd name="connsiteY846" fmla="*/ 1429635 h 3378173"/>
                <a:gd name="connsiteX847" fmla="*/ 2207287 w 3404391"/>
                <a:gd name="connsiteY847" fmla="*/ 1429400 h 3378173"/>
                <a:gd name="connsiteX848" fmla="*/ 2217814 w 3404391"/>
                <a:gd name="connsiteY848" fmla="*/ 1435483 h 3378173"/>
                <a:gd name="connsiteX849" fmla="*/ 2210328 w 3404391"/>
                <a:gd name="connsiteY849" fmla="*/ 1456069 h 3378173"/>
                <a:gd name="connsiteX850" fmla="*/ 2195355 w 3404391"/>
                <a:gd name="connsiteY850" fmla="*/ 1431739 h 3378173"/>
                <a:gd name="connsiteX851" fmla="*/ 2207287 w 3404391"/>
                <a:gd name="connsiteY851" fmla="*/ 1429400 h 3378173"/>
                <a:gd name="connsiteX852" fmla="*/ 705583 w 3404391"/>
                <a:gd name="connsiteY852" fmla="*/ 1426139 h 3378173"/>
                <a:gd name="connsiteX853" fmla="*/ 628848 w 3404391"/>
                <a:gd name="connsiteY853" fmla="*/ 1530948 h 3378173"/>
                <a:gd name="connsiteX854" fmla="*/ 634463 w 3404391"/>
                <a:gd name="connsiteY854" fmla="*/ 1521590 h 3378173"/>
                <a:gd name="connsiteX855" fmla="*/ 671894 w 3404391"/>
                <a:gd name="connsiteY855" fmla="*/ 1469184 h 3378173"/>
                <a:gd name="connsiteX856" fmla="*/ 698096 w 3404391"/>
                <a:gd name="connsiteY856" fmla="*/ 1433628 h 3378173"/>
                <a:gd name="connsiteX857" fmla="*/ 705583 w 3404391"/>
                <a:gd name="connsiteY857" fmla="*/ 1426139 h 3378173"/>
                <a:gd name="connsiteX858" fmla="*/ 1109843 w 3404391"/>
                <a:gd name="connsiteY858" fmla="*/ 1416776 h 3378173"/>
                <a:gd name="connsiteX859" fmla="*/ 1055567 w 3404391"/>
                <a:gd name="connsiteY859" fmla="*/ 1504738 h 3378173"/>
                <a:gd name="connsiteX860" fmla="*/ 1040594 w 3404391"/>
                <a:gd name="connsiteY860" fmla="*/ 1461692 h 3378173"/>
                <a:gd name="connsiteX861" fmla="*/ 1046209 w 3404391"/>
                <a:gd name="connsiteY861" fmla="*/ 1452334 h 3378173"/>
                <a:gd name="connsiteX862" fmla="*/ 1109843 w 3404391"/>
                <a:gd name="connsiteY862" fmla="*/ 1416776 h 3378173"/>
                <a:gd name="connsiteX863" fmla="*/ 2001180 w 3404391"/>
                <a:gd name="connsiteY863" fmla="*/ 1416533 h 3378173"/>
                <a:gd name="connsiteX864" fmla="*/ 2015684 w 3404391"/>
                <a:gd name="connsiteY864" fmla="*/ 1422382 h 3378173"/>
                <a:gd name="connsiteX865" fmla="*/ 2002583 w 3404391"/>
                <a:gd name="connsiteY865" fmla="*/ 1450456 h 3378173"/>
                <a:gd name="connsiteX866" fmla="*/ 1983868 w 3404391"/>
                <a:gd name="connsiteY866" fmla="*/ 1420510 h 3378173"/>
                <a:gd name="connsiteX867" fmla="*/ 2001180 w 3404391"/>
                <a:gd name="connsiteY867" fmla="*/ 1416533 h 3378173"/>
                <a:gd name="connsiteX868" fmla="*/ 1475970 w 3404391"/>
                <a:gd name="connsiteY868" fmla="*/ 1410689 h 3378173"/>
                <a:gd name="connsiteX869" fmla="*/ 1499130 w 3404391"/>
                <a:gd name="connsiteY869" fmla="*/ 1413029 h 3378173"/>
                <a:gd name="connsiteX870" fmla="*/ 1469185 w 3404391"/>
                <a:gd name="connsiteY870" fmla="*/ 1471046 h 3378173"/>
                <a:gd name="connsiteX871" fmla="*/ 1446726 w 3404391"/>
                <a:gd name="connsiteY871" fmla="*/ 1431744 h 3378173"/>
                <a:gd name="connsiteX872" fmla="*/ 1448598 w 3404391"/>
                <a:gd name="connsiteY872" fmla="*/ 1428001 h 3378173"/>
                <a:gd name="connsiteX873" fmla="*/ 1475970 w 3404391"/>
                <a:gd name="connsiteY873" fmla="*/ 1410689 h 3378173"/>
                <a:gd name="connsiteX874" fmla="*/ 2497380 w 3404391"/>
                <a:gd name="connsiteY874" fmla="*/ 1402728 h 3378173"/>
                <a:gd name="connsiteX875" fmla="*/ 2502293 w 3404391"/>
                <a:gd name="connsiteY875" fmla="*/ 1407408 h 3378173"/>
                <a:gd name="connsiteX876" fmla="*/ 2498550 w 3404391"/>
                <a:gd name="connsiteY876" fmla="*/ 1416765 h 3378173"/>
                <a:gd name="connsiteX877" fmla="*/ 2491063 w 3404391"/>
                <a:gd name="connsiteY877" fmla="*/ 1403664 h 3378173"/>
                <a:gd name="connsiteX878" fmla="*/ 2497380 w 3404391"/>
                <a:gd name="connsiteY878" fmla="*/ 1402728 h 3378173"/>
                <a:gd name="connsiteX879" fmla="*/ 737399 w 3404391"/>
                <a:gd name="connsiteY879" fmla="*/ 1396196 h 3378173"/>
                <a:gd name="connsiteX880" fmla="*/ 655050 w 3404391"/>
                <a:gd name="connsiteY880" fmla="*/ 1508488 h 3378173"/>
                <a:gd name="connsiteX881" fmla="*/ 684995 w 3404391"/>
                <a:gd name="connsiteY881" fmla="*/ 1459831 h 3378173"/>
                <a:gd name="connsiteX882" fmla="*/ 737399 w 3404391"/>
                <a:gd name="connsiteY882" fmla="*/ 1396196 h 3378173"/>
                <a:gd name="connsiteX883" fmla="*/ 1018048 w 3404391"/>
                <a:gd name="connsiteY883" fmla="*/ 1390457 h 3378173"/>
                <a:gd name="connsiteX884" fmla="*/ 1029365 w 3404391"/>
                <a:gd name="connsiteY884" fmla="*/ 1390574 h 3378173"/>
                <a:gd name="connsiteX885" fmla="*/ 967603 w 3404391"/>
                <a:gd name="connsiteY885" fmla="*/ 1487895 h 3378173"/>
                <a:gd name="connsiteX886" fmla="*/ 950759 w 3404391"/>
                <a:gd name="connsiteY886" fmla="*/ 1454205 h 3378173"/>
                <a:gd name="connsiteX887" fmla="*/ 961988 w 3404391"/>
                <a:gd name="connsiteY887" fmla="*/ 1433621 h 3378173"/>
                <a:gd name="connsiteX888" fmla="*/ 1018048 w 3404391"/>
                <a:gd name="connsiteY888" fmla="*/ 1390457 h 3378173"/>
                <a:gd name="connsiteX889" fmla="*/ 780446 w 3404391"/>
                <a:gd name="connsiteY889" fmla="*/ 1377479 h 3378173"/>
                <a:gd name="connsiteX890" fmla="*/ 701840 w 3404391"/>
                <a:gd name="connsiteY890" fmla="*/ 1489774 h 3378173"/>
                <a:gd name="connsiteX891" fmla="*/ 692482 w 3404391"/>
                <a:gd name="connsiteY891" fmla="*/ 1491644 h 3378173"/>
                <a:gd name="connsiteX892" fmla="*/ 722427 w 3404391"/>
                <a:gd name="connsiteY892" fmla="*/ 1441114 h 3378173"/>
                <a:gd name="connsiteX893" fmla="*/ 780446 w 3404391"/>
                <a:gd name="connsiteY893" fmla="*/ 1377479 h 3378173"/>
                <a:gd name="connsiteX894" fmla="*/ 954502 w 3404391"/>
                <a:gd name="connsiteY894" fmla="*/ 1373731 h 3378173"/>
                <a:gd name="connsiteX895" fmla="*/ 881511 w 3404391"/>
                <a:gd name="connsiteY895" fmla="*/ 1482281 h 3378173"/>
                <a:gd name="connsiteX896" fmla="*/ 868410 w 3404391"/>
                <a:gd name="connsiteY896" fmla="*/ 1452336 h 3378173"/>
                <a:gd name="connsiteX897" fmla="*/ 885254 w 3404391"/>
                <a:gd name="connsiteY897" fmla="*/ 1426134 h 3378173"/>
                <a:gd name="connsiteX898" fmla="*/ 954502 w 3404391"/>
                <a:gd name="connsiteY898" fmla="*/ 1373731 h 3378173"/>
                <a:gd name="connsiteX899" fmla="*/ 830978 w 3404391"/>
                <a:gd name="connsiteY899" fmla="*/ 1366247 h 3378173"/>
                <a:gd name="connsiteX900" fmla="*/ 750501 w 3404391"/>
                <a:gd name="connsiteY900" fmla="*/ 1482284 h 3378173"/>
                <a:gd name="connsiteX901" fmla="*/ 737400 w 3404391"/>
                <a:gd name="connsiteY901" fmla="*/ 1476674 h 3378173"/>
                <a:gd name="connsiteX902" fmla="*/ 763602 w 3404391"/>
                <a:gd name="connsiteY902" fmla="*/ 1428011 h 3378173"/>
                <a:gd name="connsiteX903" fmla="*/ 830978 w 3404391"/>
                <a:gd name="connsiteY903" fmla="*/ 1366247 h 3378173"/>
                <a:gd name="connsiteX904" fmla="*/ 888997 w 3404391"/>
                <a:gd name="connsiteY904" fmla="*/ 1364374 h 3378173"/>
                <a:gd name="connsiteX905" fmla="*/ 812262 w 3404391"/>
                <a:gd name="connsiteY905" fmla="*/ 1478542 h 3378173"/>
                <a:gd name="connsiteX906" fmla="*/ 799161 w 3404391"/>
                <a:gd name="connsiteY906" fmla="*/ 1459830 h 3378173"/>
                <a:gd name="connsiteX907" fmla="*/ 819749 w 3404391"/>
                <a:gd name="connsiteY907" fmla="*/ 1422397 h 3378173"/>
                <a:gd name="connsiteX908" fmla="*/ 888997 w 3404391"/>
                <a:gd name="connsiteY908" fmla="*/ 1364374 h 3378173"/>
                <a:gd name="connsiteX909" fmla="*/ 1374904 w 3404391"/>
                <a:gd name="connsiteY909" fmla="*/ 1359688 h 3378173"/>
                <a:gd name="connsiteX910" fmla="*/ 1398065 w 3404391"/>
                <a:gd name="connsiteY910" fmla="*/ 1360624 h 3378173"/>
                <a:gd name="connsiteX911" fmla="*/ 1360634 w 3404391"/>
                <a:gd name="connsiteY911" fmla="*/ 1428002 h 3378173"/>
                <a:gd name="connsiteX912" fmla="*/ 1336303 w 3404391"/>
                <a:gd name="connsiteY912" fmla="*/ 1388698 h 3378173"/>
                <a:gd name="connsiteX913" fmla="*/ 1341918 w 3404391"/>
                <a:gd name="connsiteY913" fmla="*/ 1381212 h 3378173"/>
                <a:gd name="connsiteX914" fmla="*/ 1374904 w 3404391"/>
                <a:gd name="connsiteY914" fmla="*/ 1359688 h 3378173"/>
                <a:gd name="connsiteX915" fmla="*/ 1682545 w 3404391"/>
                <a:gd name="connsiteY915" fmla="*/ 1357815 h 3378173"/>
                <a:gd name="connsiteX916" fmla="*/ 1703132 w 3404391"/>
                <a:gd name="connsiteY916" fmla="*/ 1362494 h 3378173"/>
                <a:gd name="connsiteX917" fmla="*/ 1678801 w 3404391"/>
                <a:gd name="connsiteY917" fmla="*/ 1409284 h 3378173"/>
                <a:gd name="connsiteX918" fmla="*/ 1654471 w 3404391"/>
                <a:gd name="connsiteY918" fmla="*/ 1371852 h 3378173"/>
                <a:gd name="connsiteX919" fmla="*/ 1656342 w 3404391"/>
                <a:gd name="connsiteY919" fmla="*/ 1369980 h 3378173"/>
                <a:gd name="connsiteX920" fmla="*/ 1682545 w 3404391"/>
                <a:gd name="connsiteY920" fmla="*/ 1357815 h 3378173"/>
                <a:gd name="connsiteX921" fmla="*/ 2300631 w 3404391"/>
                <a:gd name="connsiteY921" fmla="*/ 1354537 h 3378173"/>
                <a:gd name="connsiteX922" fmla="*/ 2309521 w 3404391"/>
                <a:gd name="connsiteY922" fmla="*/ 1360619 h 3378173"/>
                <a:gd name="connsiteX923" fmla="*/ 2302035 w 3404391"/>
                <a:gd name="connsiteY923" fmla="*/ 1379335 h 3378173"/>
                <a:gd name="connsiteX924" fmla="*/ 2288934 w 3404391"/>
                <a:gd name="connsiteY924" fmla="*/ 1356875 h 3378173"/>
                <a:gd name="connsiteX925" fmla="*/ 2300631 w 3404391"/>
                <a:gd name="connsiteY925" fmla="*/ 1354537 h 3378173"/>
                <a:gd name="connsiteX926" fmla="*/ 2588386 w 3404391"/>
                <a:gd name="connsiteY926" fmla="*/ 1343774 h 3378173"/>
                <a:gd name="connsiteX927" fmla="*/ 2595872 w 3404391"/>
                <a:gd name="connsiteY927" fmla="*/ 1347517 h 3378173"/>
                <a:gd name="connsiteX928" fmla="*/ 2592129 w 3404391"/>
                <a:gd name="connsiteY928" fmla="*/ 1355004 h 3378173"/>
                <a:gd name="connsiteX929" fmla="*/ 2588386 w 3404391"/>
                <a:gd name="connsiteY929" fmla="*/ 1343774 h 3378173"/>
                <a:gd name="connsiteX930" fmla="*/ 1890523 w 3404391"/>
                <a:gd name="connsiteY930" fmla="*/ 1331377 h 3378173"/>
                <a:gd name="connsiteX931" fmla="*/ 1907133 w 3404391"/>
                <a:gd name="connsiteY931" fmla="*/ 1338161 h 3378173"/>
                <a:gd name="connsiteX932" fmla="*/ 1890289 w 3404391"/>
                <a:gd name="connsiteY932" fmla="*/ 1375594 h 3378173"/>
                <a:gd name="connsiteX933" fmla="*/ 1867830 w 3404391"/>
                <a:gd name="connsiteY933" fmla="*/ 1341904 h 3378173"/>
                <a:gd name="connsiteX934" fmla="*/ 1869702 w 3404391"/>
                <a:gd name="connsiteY934" fmla="*/ 1340033 h 3378173"/>
                <a:gd name="connsiteX935" fmla="*/ 1890523 w 3404391"/>
                <a:gd name="connsiteY935" fmla="*/ 1331377 h 3378173"/>
                <a:gd name="connsiteX936" fmla="*/ 2098501 w 3404391"/>
                <a:gd name="connsiteY936" fmla="*/ 1329504 h 3378173"/>
                <a:gd name="connsiteX937" fmla="*/ 2111134 w 3404391"/>
                <a:gd name="connsiteY937" fmla="*/ 1336288 h 3378173"/>
                <a:gd name="connsiteX938" fmla="*/ 2098033 w 3404391"/>
                <a:gd name="connsiteY938" fmla="*/ 1362491 h 3378173"/>
                <a:gd name="connsiteX939" fmla="*/ 2083060 w 3404391"/>
                <a:gd name="connsiteY939" fmla="*/ 1332545 h 3378173"/>
                <a:gd name="connsiteX940" fmla="*/ 2098501 w 3404391"/>
                <a:gd name="connsiteY940" fmla="*/ 1329504 h 3378173"/>
                <a:gd name="connsiteX941" fmla="*/ 1306358 w 3404391"/>
                <a:gd name="connsiteY941" fmla="*/ 1315705 h 3378173"/>
                <a:gd name="connsiteX942" fmla="*/ 1257697 w 3404391"/>
                <a:gd name="connsiteY942" fmla="*/ 1394314 h 3378173"/>
                <a:gd name="connsiteX943" fmla="*/ 1238981 w 3404391"/>
                <a:gd name="connsiteY943" fmla="*/ 1351267 h 3378173"/>
                <a:gd name="connsiteX944" fmla="*/ 1244596 w 3404391"/>
                <a:gd name="connsiteY944" fmla="*/ 1343780 h 3378173"/>
                <a:gd name="connsiteX945" fmla="*/ 1306358 w 3404391"/>
                <a:gd name="connsiteY945" fmla="*/ 1315705 h 3378173"/>
                <a:gd name="connsiteX946" fmla="*/ 1579139 w 3404391"/>
                <a:gd name="connsiteY946" fmla="*/ 1293947 h 3378173"/>
                <a:gd name="connsiteX947" fmla="*/ 1602066 w 3404391"/>
                <a:gd name="connsiteY947" fmla="*/ 1298860 h 3378173"/>
                <a:gd name="connsiteX948" fmla="*/ 1566506 w 3404391"/>
                <a:gd name="connsiteY948" fmla="*/ 1355008 h 3378173"/>
                <a:gd name="connsiteX949" fmla="*/ 1545919 w 3404391"/>
                <a:gd name="connsiteY949" fmla="*/ 1313832 h 3378173"/>
                <a:gd name="connsiteX950" fmla="*/ 1547791 w 3404391"/>
                <a:gd name="connsiteY950" fmla="*/ 1310088 h 3378173"/>
                <a:gd name="connsiteX951" fmla="*/ 1579139 w 3404391"/>
                <a:gd name="connsiteY951" fmla="*/ 1293947 h 3378173"/>
                <a:gd name="connsiteX952" fmla="*/ 2687579 w 3404391"/>
                <a:gd name="connsiteY952" fmla="*/ 1291369 h 3378173"/>
                <a:gd name="connsiteX953" fmla="*/ 2693194 w 3404391"/>
                <a:gd name="connsiteY953" fmla="*/ 1293241 h 3378173"/>
                <a:gd name="connsiteX954" fmla="*/ 2689451 w 3404391"/>
                <a:gd name="connsiteY954" fmla="*/ 1298856 h 3378173"/>
                <a:gd name="connsiteX955" fmla="*/ 2687579 w 3404391"/>
                <a:gd name="connsiteY955" fmla="*/ 1291369 h 3378173"/>
                <a:gd name="connsiteX956" fmla="*/ 2399591 w 3404391"/>
                <a:gd name="connsiteY956" fmla="*/ 1284118 h 3378173"/>
                <a:gd name="connsiteX957" fmla="*/ 2406843 w 3404391"/>
                <a:gd name="connsiteY957" fmla="*/ 1289500 h 3378173"/>
                <a:gd name="connsiteX958" fmla="*/ 2397486 w 3404391"/>
                <a:gd name="connsiteY958" fmla="*/ 1306343 h 3378173"/>
                <a:gd name="connsiteX959" fmla="*/ 2388128 w 3404391"/>
                <a:gd name="connsiteY959" fmla="*/ 1285755 h 3378173"/>
                <a:gd name="connsiteX960" fmla="*/ 2399591 w 3404391"/>
                <a:gd name="connsiteY960" fmla="*/ 1284118 h 3378173"/>
                <a:gd name="connsiteX961" fmla="*/ 1210820 w 3404391"/>
                <a:gd name="connsiteY961" fmla="*/ 1275672 h 3378173"/>
                <a:gd name="connsiteX962" fmla="*/ 1222137 w 3404391"/>
                <a:gd name="connsiteY962" fmla="*/ 1278274 h 3378173"/>
                <a:gd name="connsiteX963" fmla="*/ 1160375 w 3404391"/>
                <a:gd name="connsiteY963" fmla="*/ 1368114 h 3378173"/>
                <a:gd name="connsiteX964" fmla="*/ 1147274 w 3404391"/>
                <a:gd name="connsiteY964" fmla="*/ 1323194 h 3378173"/>
                <a:gd name="connsiteX965" fmla="*/ 1154760 w 3404391"/>
                <a:gd name="connsiteY965" fmla="*/ 1313835 h 3378173"/>
                <a:gd name="connsiteX966" fmla="*/ 1210820 w 3404391"/>
                <a:gd name="connsiteY966" fmla="*/ 1275672 h 3378173"/>
                <a:gd name="connsiteX967" fmla="*/ 834721 w 3404391"/>
                <a:gd name="connsiteY967" fmla="*/ 1265181 h 3378173"/>
                <a:gd name="connsiteX968" fmla="*/ 748629 w 3404391"/>
                <a:gd name="connsiteY968" fmla="*/ 1371865 h 3378173"/>
                <a:gd name="connsiteX969" fmla="*/ 834721 w 3404391"/>
                <a:gd name="connsiteY969" fmla="*/ 1265181 h 3378173"/>
                <a:gd name="connsiteX970" fmla="*/ 1787586 w 3404391"/>
                <a:gd name="connsiteY970" fmla="*/ 1253240 h 3378173"/>
                <a:gd name="connsiteX971" fmla="*/ 1806068 w 3404391"/>
                <a:gd name="connsiteY971" fmla="*/ 1259556 h 3378173"/>
                <a:gd name="connsiteX972" fmla="*/ 1777994 w 3404391"/>
                <a:gd name="connsiteY972" fmla="*/ 1304474 h 3378173"/>
                <a:gd name="connsiteX973" fmla="*/ 1757407 w 3404391"/>
                <a:gd name="connsiteY973" fmla="*/ 1267041 h 3378173"/>
                <a:gd name="connsiteX974" fmla="*/ 1759278 w 3404391"/>
                <a:gd name="connsiteY974" fmla="*/ 1265171 h 3378173"/>
                <a:gd name="connsiteX975" fmla="*/ 1787586 w 3404391"/>
                <a:gd name="connsiteY975" fmla="*/ 1253240 h 3378173"/>
                <a:gd name="connsiteX976" fmla="*/ 2199567 w 3404391"/>
                <a:gd name="connsiteY976" fmla="*/ 1249027 h 3378173"/>
                <a:gd name="connsiteX977" fmla="*/ 2212199 w 3404391"/>
                <a:gd name="connsiteY977" fmla="*/ 1255811 h 3378173"/>
                <a:gd name="connsiteX978" fmla="*/ 2197227 w 3404391"/>
                <a:gd name="connsiteY978" fmla="*/ 1280142 h 3378173"/>
                <a:gd name="connsiteX979" fmla="*/ 2184126 w 3404391"/>
                <a:gd name="connsiteY979" fmla="*/ 1252068 h 3378173"/>
                <a:gd name="connsiteX980" fmla="*/ 2199567 w 3404391"/>
                <a:gd name="connsiteY980" fmla="*/ 1249027 h 3378173"/>
                <a:gd name="connsiteX981" fmla="*/ 1133764 w 3404391"/>
                <a:gd name="connsiteY981" fmla="*/ 1245291 h 3378173"/>
                <a:gd name="connsiteX982" fmla="*/ 1145403 w 3404391"/>
                <a:gd name="connsiteY982" fmla="*/ 1246460 h 3378173"/>
                <a:gd name="connsiteX983" fmla="*/ 1074283 w 3404391"/>
                <a:gd name="connsiteY983" fmla="*/ 1347526 h 3378173"/>
                <a:gd name="connsiteX984" fmla="*/ 1059310 w 3404391"/>
                <a:gd name="connsiteY984" fmla="*/ 1310093 h 3378173"/>
                <a:gd name="connsiteX985" fmla="*/ 1074283 w 3404391"/>
                <a:gd name="connsiteY985" fmla="*/ 1289508 h 3378173"/>
                <a:gd name="connsiteX986" fmla="*/ 1133764 w 3404391"/>
                <a:gd name="connsiteY986" fmla="*/ 1245291 h 3378173"/>
                <a:gd name="connsiteX987" fmla="*/ 2792387 w 3404391"/>
                <a:gd name="connsiteY987" fmla="*/ 1244581 h 3378173"/>
                <a:gd name="connsiteX988" fmla="*/ 2794259 w 3404391"/>
                <a:gd name="connsiteY988" fmla="*/ 1244581 h 3378173"/>
                <a:gd name="connsiteX989" fmla="*/ 2794259 w 3404391"/>
                <a:gd name="connsiteY989" fmla="*/ 1248324 h 3378173"/>
                <a:gd name="connsiteX990" fmla="*/ 2790516 w 3404391"/>
                <a:gd name="connsiteY990" fmla="*/ 1246452 h 3378173"/>
                <a:gd name="connsiteX991" fmla="*/ 1993459 w 3404391"/>
                <a:gd name="connsiteY991" fmla="*/ 1238267 h 3378173"/>
                <a:gd name="connsiteX992" fmla="*/ 2010069 w 3404391"/>
                <a:gd name="connsiteY992" fmla="*/ 1244584 h 3378173"/>
                <a:gd name="connsiteX993" fmla="*/ 1987610 w 3404391"/>
                <a:gd name="connsiteY993" fmla="*/ 1280142 h 3378173"/>
                <a:gd name="connsiteX994" fmla="*/ 1972637 w 3404391"/>
                <a:gd name="connsiteY994" fmla="*/ 1244584 h 3378173"/>
                <a:gd name="connsiteX995" fmla="*/ 1993459 w 3404391"/>
                <a:gd name="connsiteY995" fmla="*/ 1238267 h 3378173"/>
                <a:gd name="connsiteX996" fmla="*/ 866538 w 3404391"/>
                <a:gd name="connsiteY996" fmla="*/ 1237109 h 3378173"/>
                <a:gd name="connsiteX997" fmla="*/ 771088 w 3404391"/>
                <a:gd name="connsiteY997" fmla="*/ 1351276 h 3378173"/>
                <a:gd name="connsiteX998" fmla="*/ 806648 w 3404391"/>
                <a:gd name="connsiteY998" fmla="*/ 1302612 h 3378173"/>
                <a:gd name="connsiteX999" fmla="*/ 866538 w 3404391"/>
                <a:gd name="connsiteY999" fmla="*/ 1237109 h 3378173"/>
                <a:gd name="connsiteX1000" fmla="*/ 1483221 w 3404391"/>
                <a:gd name="connsiteY1000" fmla="*/ 1236865 h 3378173"/>
                <a:gd name="connsiteX1001" fmla="*/ 1506616 w 3404391"/>
                <a:gd name="connsiteY1001" fmla="*/ 1240843 h 3378173"/>
                <a:gd name="connsiteX1002" fmla="*/ 1459827 w 3404391"/>
                <a:gd name="connsiteY1002" fmla="*/ 1308218 h 3378173"/>
                <a:gd name="connsiteX1003" fmla="*/ 1444854 w 3404391"/>
                <a:gd name="connsiteY1003" fmla="*/ 1263302 h 3378173"/>
                <a:gd name="connsiteX1004" fmla="*/ 1448597 w 3404391"/>
                <a:gd name="connsiteY1004" fmla="*/ 1259559 h 3378173"/>
                <a:gd name="connsiteX1005" fmla="*/ 1483221 w 3404391"/>
                <a:gd name="connsiteY1005" fmla="*/ 1236865 h 3378173"/>
                <a:gd name="connsiteX1006" fmla="*/ 1076154 w 3404391"/>
                <a:gd name="connsiteY1006" fmla="*/ 1224002 h 3378173"/>
                <a:gd name="connsiteX1007" fmla="*/ 991933 w 3404391"/>
                <a:gd name="connsiteY1007" fmla="*/ 1336297 h 3378173"/>
                <a:gd name="connsiteX1008" fmla="*/ 980704 w 3404391"/>
                <a:gd name="connsiteY1008" fmla="*/ 1302607 h 3378173"/>
                <a:gd name="connsiteX1009" fmla="*/ 999420 w 3404391"/>
                <a:gd name="connsiteY1009" fmla="*/ 1274533 h 3378173"/>
                <a:gd name="connsiteX1010" fmla="*/ 1076154 w 3404391"/>
                <a:gd name="connsiteY1010" fmla="*/ 1224002 h 3378173"/>
                <a:gd name="connsiteX1011" fmla="*/ 2492935 w 3404391"/>
                <a:gd name="connsiteY1011" fmla="*/ 1220250 h 3378173"/>
                <a:gd name="connsiteX1012" fmla="*/ 2509779 w 3404391"/>
                <a:gd name="connsiteY1012" fmla="*/ 1225865 h 3378173"/>
                <a:gd name="connsiteX1013" fmla="*/ 2500421 w 3404391"/>
                <a:gd name="connsiteY1013" fmla="*/ 1238966 h 3378173"/>
                <a:gd name="connsiteX1014" fmla="*/ 2492935 w 3404391"/>
                <a:gd name="connsiteY1014" fmla="*/ 1220250 h 3378173"/>
                <a:gd name="connsiteX1015" fmla="*/ 907713 w 3404391"/>
                <a:gd name="connsiteY1015" fmla="*/ 1218392 h 3378173"/>
                <a:gd name="connsiteX1016" fmla="*/ 812262 w 3404391"/>
                <a:gd name="connsiteY1016" fmla="*/ 1336302 h 3378173"/>
                <a:gd name="connsiteX1017" fmla="*/ 804776 w 3404391"/>
                <a:gd name="connsiteY1017" fmla="*/ 1336302 h 3378173"/>
                <a:gd name="connsiteX1018" fmla="*/ 840336 w 3404391"/>
                <a:gd name="connsiteY1018" fmla="*/ 1283896 h 3378173"/>
                <a:gd name="connsiteX1019" fmla="*/ 907713 w 3404391"/>
                <a:gd name="connsiteY1019" fmla="*/ 1218392 h 3378173"/>
                <a:gd name="connsiteX1020" fmla="*/ 1012520 w 3404391"/>
                <a:gd name="connsiteY1020" fmla="*/ 1210908 h 3378173"/>
                <a:gd name="connsiteX1021" fmla="*/ 920813 w 3404391"/>
                <a:gd name="connsiteY1021" fmla="*/ 1328811 h 3378173"/>
                <a:gd name="connsiteX1022" fmla="*/ 907712 w 3404391"/>
                <a:gd name="connsiteY1022" fmla="*/ 1311966 h 3378173"/>
                <a:gd name="connsiteX1023" fmla="*/ 935786 w 3404391"/>
                <a:gd name="connsiteY1023" fmla="*/ 1268920 h 3378173"/>
                <a:gd name="connsiteX1024" fmla="*/ 1012520 w 3404391"/>
                <a:gd name="connsiteY1024" fmla="*/ 1210908 h 3378173"/>
                <a:gd name="connsiteX1025" fmla="*/ 956373 w 3404391"/>
                <a:gd name="connsiteY1025" fmla="*/ 1209033 h 3378173"/>
                <a:gd name="connsiteX1026" fmla="*/ 859051 w 3404391"/>
                <a:gd name="connsiteY1026" fmla="*/ 1330685 h 3378173"/>
                <a:gd name="connsiteX1027" fmla="*/ 851565 w 3404391"/>
                <a:gd name="connsiteY1027" fmla="*/ 1319455 h 3378173"/>
                <a:gd name="connsiteX1028" fmla="*/ 883382 w 3404391"/>
                <a:gd name="connsiteY1028" fmla="*/ 1270793 h 3378173"/>
                <a:gd name="connsiteX1029" fmla="*/ 956373 w 3404391"/>
                <a:gd name="connsiteY1029" fmla="*/ 1209033 h 3378173"/>
                <a:gd name="connsiteX1030" fmla="*/ 1395492 w 3404391"/>
                <a:gd name="connsiteY1030" fmla="*/ 1187506 h 3378173"/>
                <a:gd name="connsiteX1031" fmla="*/ 1420524 w 3404391"/>
                <a:gd name="connsiteY1031" fmla="*/ 1188442 h 3378173"/>
                <a:gd name="connsiteX1032" fmla="*/ 1364376 w 3404391"/>
                <a:gd name="connsiteY1032" fmla="*/ 1267045 h 3378173"/>
                <a:gd name="connsiteX1033" fmla="*/ 1347532 w 3404391"/>
                <a:gd name="connsiteY1033" fmla="*/ 1222127 h 3378173"/>
                <a:gd name="connsiteX1034" fmla="*/ 1355019 w 3404391"/>
                <a:gd name="connsiteY1034" fmla="*/ 1214639 h 3378173"/>
                <a:gd name="connsiteX1035" fmla="*/ 1395492 w 3404391"/>
                <a:gd name="connsiteY1035" fmla="*/ 1187506 h 3378173"/>
                <a:gd name="connsiteX1036" fmla="*/ 1689796 w 3404391"/>
                <a:gd name="connsiteY1036" fmla="*/ 1183060 h 3378173"/>
                <a:gd name="connsiteX1037" fmla="*/ 1710617 w 3404391"/>
                <a:gd name="connsiteY1037" fmla="*/ 1188439 h 3378173"/>
                <a:gd name="connsiteX1038" fmla="*/ 1671314 w 3404391"/>
                <a:gd name="connsiteY1038" fmla="*/ 1242714 h 3378173"/>
                <a:gd name="connsiteX1039" fmla="*/ 1654470 w 3404391"/>
                <a:gd name="connsiteY1039" fmla="*/ 1199667 h 3378173"/>
                <a:gd name="connsiteX1040" fmla="*/ 1656341 w 3404391"/>
                <a:gd name="connsiteY1040" fmla="*/ 1195924 h 3378173"/>
                <a:gd name="connsiteX1041" fmla="*/ 1689796 w 3404391"/>
                <a:gd name="connsiteY1041" fmla="*/ 1183060 h 3378173"/>
                <a:gd name="connsiteX1042" fmla="*/ 2306947 w 3404391"/>
                <a:gd name="connsiteY1042" fmla="*/ 1173931 h 3378173"/>
                <a:gd name="connsiteX1043" fmla="*/ 2317007 w 3404391"/>
                <a:gd name="connsiteY1043" fmla="*/ 1180949 h 3378173"/>
                <a:gd name="connsiteX1044" fmla="*/ 2302034 w 3404391"/>
                <a:gd name="connsiteY1044" fmla="*/ 1203407 h 3378173"/>
                <a:gd name="connsiteX1045" fmla="*/ 2290805 w 3404391"/>
                <a:gd name="connsiteY1045" fmla="*/ 1177206 h 3378173"/>
                <a:gd name="connsiteX1046" fmla="*/ 2292676 w 3404391"/>
                <a:gd name="connsiteY1046" fmla="*/ 1175336 h 3378173"/>
                <a:gd name="connsiteX1047" fmla="*/ 2306947 w 3404391"/>
                <a:gd name="connsiteY1047" fmla="*/ 1173931 h 3378173"/>
                <a:gd name="connsiteX1048" fmla="*/ 2603359 w 3404391"/>
                <a:gd name="connsiteY1048" fmla="*/ 1162233 h 3378173"/>
                <a:gd name="connsiteX1049" fmla="*/ 2616460 w 3404391"/>
                <a:gd name="connsiteY1049" fmla="*/ 1167848 h 3378173"/>
                <a:gd name="connsiteX1050" fmla="*/ 2607102 w 3404391"/>
                <a:gd name="connsiteY1050" fmla="*/ 1177205 h 3378173"/>
                <a:gd name="connsiteX1051" fmla="*/ 2603359 w 3404391"/>
                <a:gd name="connsiteY1051" fmla="*/ 1162233 h 3378173"/>
                <a:gd name="connsiteX1052" fmla="*/ 1896371 w 3404391"/>
                <a:gd name="connsiteY1052" fmla="*/ 1154750 h 3378173"/>
                <a:gd name="connsiteX1053" fmla="*/ 1914619 w 3404391"/>
                <a:gd name="connsiteY1053" fmla="*/ 1162238 h 3378173"/>
                <a:gd name="connsiteX1054" fmla="*/ 1884674 w 3404391"/>
                <a:gd name="connsiteY1054" fmla="*/ 1205282 h 3378173"/>
                <a:gd name="connsiteX1055" fmla="*/ 1867830 w 3404391"/>
                <a:gd name="connsiteY1055" fmla="*/ 1165981 h 3378173"/>
                <a:gd name="connsiteX1056" fmla="*/ 1869702 w 3404391"/>
                <a:gd name="connsiteY1056" fmla="*/ 1164110 h 3378173"/>
                <a:gd name="connsiteX1057" fmla="*/ 1896371 w 3404391"/>
                <a:gd name="connsiteY1057" fmla="*/ 1154750 h 3378173"/>
                <a:gd name="connsiteX1058" fmla="*/ 2104350 w 3404391"/>
                <a:gd name="connsiteY1058" fmla="*/ 1151941 h 3378173"/>
                <a:gd name="connsiteX1059" fmla="*/ 2118621 w 3404391"/>
                <a:gd name="connsiteY1059" fmla="*/ 1158493 h 3378173"/>
                <a:gd name="connsiteX1060" fmla="*/ 2094291 w 3404391"/>
                <a:gd name="connsiteY1060" fmla="*/ 1190307 h 3378173"/>
                <a:gd name="connsiteX1061" fmla="*/ 2083061 w 3404391"/>
                <a:gd name="connsiteY1061" fmla="*/ 1156621 h 3378173"/>
                <a:gd name="connsiteX1062" fmla="*/ 2104350 w 3404391"/>
                <a:gd name="connsiteY1062" fmla="*/ 1151941 h 3378173"/>
                <a:gd name="connsiteX1063" fmla="*/ 1329431 w 3404391"/>
                <a:gd name="connsiteY1063" fmla="*/ 1142498 h 3378173"/>
                <a:gd name="connsiteX1064" fmla="*/ 1340046 w 3404391"/>
                <a:gd name="connsiteY1064" fmla="*/ 1145395 h 3378173"/>
                <a:gd name="connsiteX1065" fmla="*/ 1268927 w 3404391"/>
                <a:gd name="connsiteY1065" fmla="*/ 1235229 h 3378173"/>
                <a:gd name="connsiteX1066" fmla="*/ 1259569 w 3404391"/>
                <a:gd name="connsiteY1066" fmla="*/ 1188443 h 3378173"/>
                <a:gd name="connsiteX1067" fmla="*/ 1267055 w 3404391"/>
                <a:gd name="connsiteY1067" fmla="*/ 1179088 h 3378173"/>
                <a:gd name="connsiteX1068" fmla="*/ 1329431 w 3404391"/>
                <a:gd name="connsiteY1068" fmla="*/ 1142498 h 3378173"/>
                <a:gd name="connsiteX1069" fmla="*/ 1599026 w 3404391"/>
                <a:gd name="connsiteY1069" fmla="*/ 1120823 h 3378173"/>
                <a:gd name="connsiteX1070" fmla="*/ 1622654 w 3404391"/>
                <a:gd name="connsiteY1070" fmla="*/ 1124799 h 3378173"/>
                <a:gd name="connsiteX1071" fmla="*/ 1572122 w 3404391"/>
                <a:gd name="connsiteY1071" fmla="*/ 1188440 h 3378173"/>
                <a:gd name="connsiteX1072" fmla="*/ 1559021 w 3404391"/>
                <a:gd name="connsiteY1072" fmla="*/ 1141647 h 3378173"/>
                <a:gd name="connsiteX1073" fmla="*/ 1562764 w 3404391"/>
                <a:gd name="connsiteY1073" fmla="*/ 1137903 h 3378173"/>
                <a:gd name="connsiteX1074" fmla="*/ 1599026 w 3404391"/>
                <a:gd name="connsiteY1074" fmla="*/ 1120823 h 3378173"/>
                <a:gd name="connsiteX1075" fmla="*/ 967603 w 3404391"/>
                <a:gd name="connsiteY1075" fmla="*/ 1115449 h 3378173"/>
                <a:gd name="connsiteX1076" fmla="*/ 881511 w 3404391"/>
                <a:gd name="connsiteY1076" fmla="*/ 1210911 h 3378173"/>
                <a:gd name="connsiteX1077" fmla="*/ 967603 w 3404391"/>
                <a:gd name="connsiteY1077" fmla="*/ 1115449 h 3378173"/>
                <a:gd name="connsiteX1078" fmla="*/ 2715652 w 3404391"/>
                <a:gd name="connsiteY1078" fmla="*/ 1109827 h 3378173"/>
                <a:gd name="connsiteX1079" fmla="*/ 2725010 w 3404391"/>
                <a:gd name="connsiteY1079" fmla="*/ 1113570 h 3378173"/>
                <a:gd name="connsiteX1080" fmla="*/ 2717524 w 3404391"/>
                <a:gd name="connsiteY1080" fmla="*/ 1121055 h 3378173"/>
                <a:gd name="connsiteX1081" fmla="*/ 2715652 w 3404391"/>
                <a:gd name="connsiteY1081" fmla="*/ 1109827 h 3378173"/>
                <a:gd name="connsiteX1082" fmla="*/ 1256352 w 3404391"/>
                <a:gd name="connsiteY1082" fmla="*/ 1108373 h 3378173"/>
                <a:gd name="connsiteX1083" fmla="*/ 1267055 w 3404391"/>
                <a:gd name="connsiteY1083" fmla="*/ 1109834 h 3378173"/>
                <a:gd name="connsiteX1084" fmla="*/ 1180962 w 3404391"/>
                <a:gd name="connsiteY1084" fmla="*/ 1210905 h 3378173"/>
                <a:gd name="connsiteX1085" fmla="*/ 1175348 w 3404391"/>
                <a:gd name="connsiteY1085" fmla="*/ 1165990 h 3378173"/>
                <a:gd name="connsiteX1086" fmla="*/ 1188449 w 3404391"/>
                <a:gd name="connsiteY1086" fmla="*/ 1151013 h 3378173"/>
                <a:gd name="connsiteX1087" fmla="*/ 1256352 w 3404391"/>
                <a:gd name="connsiteY1087" fmla="*/ 1108373 h 3378173"/>
                <a:gd name="connsiteX1088" fmla="*/ 2418540 w 3404391"/>
                <a:gd name="connsiteY1088" fmla="*/ 1104682 h 3378173"/>
                <a:gd name="connsiteX1089" fmla="*/ 2427430 w 3404391"/>
                <a:gd name="connsiteY1089" fmla="*/ 1111699 h 3378173"/>
                <a:gd name="connsiteX1090" fmla="*/ 2412457 w 3404391"/>
                <a:gd name="connsiteY1090" fmla="*/ 1130414 h 3378173"/>
                <a:gd name="connsiteX1091" fmla="*/ 2404971 w 3404391"/>
                <a:gd name="connsiteY1091" fmla="*/ 1106086 h 3378173"/>
                <a:gd name="connsiteX1092" fmla="*/ 2406843 w 3404391"/>
                <a:gd name="connsiteY1092" fmla="*/ 1106086 h 3378173"/>
                <a:gd name="connsiteX1093" fmla="*/ 2418540 w 3404391"/>
                <a:gd name="connsiteY1093" fmla="*/ 1104682 h 3378173"/>
                <a:gd name="connsiteX1094" fmla="*/ 1003163 w 3404391"/>
                <a:gd name="connsiteY1094" fmla="*/ 1083638 h 3378173"/>
                <a:gd name="connsiteX1095" fmla="*/ 898355 w 3404391"/>
                <a:gd name="connsiteY1095" fmla="*/ 1197803 h 3378173"/>
                <a:gd name="connsiteX1096" fmla="*/ 939530 w 3404391"/>
                <a:gd name="connsiteY1096" fmla="*/ 1149147 h 3378173"/>
                <a:gd name="connsiteX1097" fmla="*/ 1003163 w 3404391"/>
                <a:gd name="connsiteY1097" fmla="*/ 1083638 h 3378173"/>
                <a:gd name="connsiteX1098" fmla="*/ 1192426 w 3404391"/>
                <a:gd name="connsiteY1098" fmla="*/ 1082816 h 3378173"/>
                <a:gd name="connsiteX1099" fmla="*/ 1203421 w 3404391"/>
                <a:gd name="connsiteY1099" fmla="*/ 1083634 h 3378173"/>
                <a:gd name="connsiteX1100" fmla="*/ 1107971 w 3404391"/>
                <a:gd name="connsiteY1100" fmla="*/ 1195930 h 3378173"/>
                <a:gd name="connsiteX1101" fmla="*/ 1100485 w 3404391"/>
                <a:gd name="connsiteY1101" fmla="*/ 1160377 h 3378173"/>
                <a:gd name="connsiteX1102" fmla="*/ 1122944 w 3404391"/>
                <a:gd name="connsiteY1102" fmla="*/ 1132288 h 3378173"/>
                <a:gd name="connsiteX1103" fmla="*/ 1192426 w 3404391"/>
                <a:gd name="connsiteY1103" fmla="*/ 1082816 h 3378173"/>
                <a:gd name="connsiteX1104" fmla="*/ 1806302 w 3404391"/>
                <a:gd name="connsiteY1104" fmla="*/ 1079418 h 3378173"/>
                <a:gd name="connsiteX1105" fmla="*/ 1826655 w 3404391"/>
                <a:gd name="connsiteY1105" fmla="*/ 1085501 h 3378173"/>
                <a:gd name="connsiteX1106" fmla="*/ 1785481 w 3404391"/>
                <a:gd name="connsiteY1106" fmla="*/ 1137903 h 3378173"/>
                <a:gd name="connsiteX1107" fmla="*/ 1772380 w 3404391"/>
                <a:gd name="connsiteY1107" fmla="*/ 1094857 h 3378173"/>
                <a:gd name="connsiteX1108" fmla="*/ 1776123 w 3404391"/>
                <a:gd name="connsiteY1108" fmla="*/ 1092987 h 3378173"/>
                <a:gd name="connsiteX1109" fmla="*/ 1806302 w 3404391"/>
                <a:gd name="connsiteY1109" fmla="*/ 1079418 h 3378173"/>
                <a:gd name="connsiteX1110" fmla="*/ 2217815 w 3404391"/>
                <a:gd name="connsiteY1110" fmla="*/ 1071697 h 3378173"/>
                <a:gd name="connsiteX1111" fmla="*/ 2230915 w 3404391"/>
                <a:gd name="connsiteY1111" fmla="*/ 1079884 h 3378173"/>
                <a:gd name="connsiteX1112" fmla="*/ 2206585 w 3404391"/>
                <a:gd name="connsiteY1112" fmla="*/ 1107958 h 3378173"/>
                <a:gd name="connsiteX1113" fmla="*/ 2199099 w 3404391"/>
                <a:gd name="connsiteY1113" fmla="*/ 1076141 h 3378173"/>
                <a:gd name="connsiteX1114" fmla="*/ 2217815 w 3404391"/>
                <a:gd name="connsiteY1114" fmla="*/ 1071697 h 3378173"/>
                <a:gd name="connsiteX1115" fmla="*/ 1044338 w 3404391"/>
                <a:gd name="connsiteY1115" fmla="*/ 1066798 h 3378173"/>
                <a:gd name="connsiteX1116" fmla="*/ 933915 w 3404391"/>
                <a:gd name="connsiteY1116" fmla="*/ 1186579 h 3378173"/>
                <a:gd name="connsiteX1117" fmla="*/ 930172 w 3404391"/>
                <a:gd name="connsiteY1117" fmla="*/ 1186579 h 3378173"/>
                <a:gd name="connsiteX1118" fmla="*/ 971346 w 3404391"/>
                <a:gd name="connsiteY1118" fmla="*/ 1130417 h 3378173"/>
                <a:gd name="connsiteX1119" fmla="*/ 1044338 w 3404391"/>
                <a:gd name="connsiteY1119" fmla="*/ 1066798 h 3378173"/>
                <a:gd name="connsiteX1120" fmla="*/ 1515038 w 3404391"/>
                <a:gd name="connsiteY1120" fmla="*/ 1066789 h 3378173"/>
                <a:gd name="connsiteX1121" fmla="*/ 1540304 w 3404391"/>
                <a:gd name="connsiteY1121" fmla="*/ 1070532 h 3378173"/>
                <a:gd name="connsiteX1122" fmla="*/ 1474799 w 3404391"/>
                <a:gd name="connsiteY1122" fmla="*/ 1145393 h 3378173"/>
                <a:gd name="connsiteX1123" fmla="*/ 1469184 w 3404391"/>
                <a:gd name="connsiteY1123" fmla="*/ 1094859 h 3378173"/>
                <a:gd name="connsiteX1124" fmla="*/ 1472927 w 3404391"/>
                <a:gd name="connsiteY1124" fmla="*/ 1091116 h 3378173"/>
                <a:gd name="connsiteX1125" fmla="*/ 1515038 w 3404391"/>
                <a:gd name="connsiteY1125" fmla="*/ 1066789 h 3378173"/>
                <a:gd name="connsiteX1126" fmla="*/ 1145403 w 3404391"/>
                <a:gd name="connsiteY1126" fmla="*/ 1064925 h 3378173"/>
                <a:gd name="connsiteX1127" fmla="*/ 1034980 w 3404391"/>
                <a:gd name="connsiteY1127" fmla="*/ 1188447 h 3378173"/>
                <a:gd name="connsiteX1128" fmla="*/ 1033108 w 3404391"/>
                <a:gd name="connsiteY1128" fmla="*/ 1158507 h 3378173"/>
                <a:gd name="connsiteX1129" fmla="*/ 1061182 w 3404391"/>
                <a:gd name="connsiteY1129" fmla="*/ 1122932 h 3378173"/>
                <a:gd name="connsiteX1130" fmla="*/ 1145403 w 3404391"/>
                <a:gd name="connsiteY1130" fmla="*/ 1064925 h 3378173"/>
                <a:gd name="connsiteX1131" fmla="*/ 2835433 w 3404391"/>
                <a:gd name="connsiteY1131" fmla="*/ 1064911 h 3378173"/>
                <a:gd name="connsiteX1132" fmla="*/ 2839176 w 3404391"/>
                <a:gd name="connsiteY1132" fmla="*/ 1066783 h 3378173"/>
                <a:gd name="connsiteX1133" fmla="*/ 2837305 w 3404391"/>
                <a:gd name="connsiteY1133" fmla="*/ 1072396 h 3378173"/>
                <a:gd name="connsiteX1134" fmla="*/ 2833562 w 3404391"/>
                <a:gd name="connsiteY1134" fmla="*/ 1070525 h 3378173"/>
                <a:gd name="connsiteX1135" fmla="*/ 2013344 w 3404391"/>
                <a:gd name="connsiteY1135" fmla="*/ 1062809 h 3378173"/>
                <a:gd name="connsiteX1136" fmla="*/ 2030656 w 3404391"/>
                <a:gd name="connsiteY1136" fmla="*/ 1070529 h 3378173"/>
                <a:gd name="connsiteX1137" fmla="*/ 1996968 w 3404391"/>
                <a:gd name="connsiteY1137" fmla="*/ 1109830 h 3378173"/>
                <a:gd name="connsiteX1138" fmla="*/ 1987610 w 3404391"/>
                <a:gd name="connsiteY1138" fmla="*/ 1070529 h 3378173"/>
                <a:gd name="connsiteX1139" fmla="*/ 2013344 w 3404391"/>
                <a:gd name="connsiteY1139" fmla="*/ 1062809 h 3378173"/>
                <a:gd name="connsiteX1140" fmla="*/ 1092998 w 3404391"/>
                <a:gd name="connsiteY1140" fmla="*/ 1059311 h 3378173"/>
                <a:gd name="connsiteX1141" fmla="*/ 980704 w 3404391"/>
                <a:gd name="connsiteY1141" fmla="*/ 1184706 h 3378173"/>
                <a:gd name="connsiteX1142" fmla="*/ 973218 w 3404391"/>
                <a:gd name="connsiteY1142" fmla="*/ 1175351 h 3378173"/>
                <a:gd name="connsiteX1143" fmla="*/ 1012521 w 3404391"/>
                <a:gd name="connsiteY1143" fmla="*/ 1122931 h 3378173"/>
                <a:gd name="connsiteX1144" fmla="*/ 1092998 w 3404391"/>
                <a:gd name="connsiteY1144" fmla="*/ 1059311 h 3378173"/>
                <a:gd name="connsiteX1145" fmla="*/ 2521009 w 3404391"/>
                <a:gd name="connsiteY1145" fmla="*/ 1042451 h 3378173"/>
                <a:gd name="connsiteX1146" fmla="*/ 2522880 w 3404391"/>
                <a:gd name="connsiteY1146" fmla="*/ 1042451 h 3378173"/>
                <a:gd name="connsiteX1147" fmla="*/ 2541596 w 3404391"/>
                <a:gd name="connsiteY1147" fmla="*/ 1048066 h 3378173"/>
                <a:gd name="connsiteX1148" fmla="*/ 2526623 w 3404391"/>
                <a:gd name="connsiteY1148" fmla="*/ 1063040 h 3378173"/>
                <a:gd name="connsiteX1149" fmla="*/ 2521009 w 3404391"/>
                <a:gd name="connsiteY1149" fmla="*/ 1042451 h 3378173"/>
                <a:gd name="connsiteX1150" fmla="*/ 1436432 w 3404391"/>
                <a:gd name="connsiteY1150" fmla="*/ 1021171 h 3378173"/>
                <a:gd name="connsiteX1151" fmla="*/ 1465441 w 3404391"/>
                <a:gd name="connsiteY1151" fmla="*/ 1021872 h 3378173"/>
                <a:gd name="connsiteX1152" fmla="*/ 1388707 w 3404391"/>
                <a:gd name="connsiteY1152" fmla="*/ 1106091 h 3378173"/>
                <a:gd name="connsiteX1153" fmla="*/ 1379349 w 3404391"/>
                <a:gd name="connsiteY1153" fmla="*/ 1063049 h 3378173"/>
                <a:gd name="connsiteX1154" fmla="*/ 1390578 w 3404391"/>
                <a:gd name="connsiteY1154" fmla="*/ 1049948 h 3378173"/>
                <a:gd name="connsiteX1155" fmla="*/ 1436432 w 3404391"/>
                <a:gd name="connsiteY1155" fmla="*/ 1021171 h 3378173"/>
                <a:gd name="connsiteX1156" fmla="*/ 1720911 w 3404391"/>
                <a:gd name="connsiteY1156" fmla="*/ 1011577 h 3378173"/>
                <a:gd name="connsiteX1157" fmla="*/ 1744306 w 3404391"/>
                <a:gd name="connsiteY1157" fmla="*/ 1018127 h 3378173"/>
                <a:gd name="connsiteX1158" fmla="*/ 1690030 w 3404391"/>
                <a:gd name="connsiteY1158" fmla="*/ 1078016 h 3378173"/>
                <a:gd name="connsiteX1159" fmla="*/ 1682544 w 3404391"/>
                <a:gd name="connsiteY1159" fmla="*/ 1031228 h 3378173"/>
                <a:gd name="connsiteX1160" fmla="*/ 1686287 w 3404391"/>
                <a:gd name="connsiteY1160" fmla="*/ 1027485 h 3378173"/>
                <a:gd name="connsiteX1161" fmla="*/ 1720911 w 3404391"/>
                <a:gd name="connsiteY1161" fmla="*/ 1011577 h 3378173"/>
                <a:gd name="connsiteX1162" fmla="*/ 2338296 w 3404391"/>
                <a:gd name="connsiteY1162" fmla="*/ 998004 h 3378173"/>
                <a:gd name="connsiteX1163" fmla="*/ 2348824 w 3404391"/>
                <a:gd name="connsiteY1163" fmla="*/ 1005022 h 3378173"/>
                <a:gd name="connsiteX1164" fmla="*/ 2326365 w 3404391"/>
                <a:gd name="connsiteY1164" fmla="*/ 1029353 h 3378173"/>
                <a:gd name="connsiteX1165" fmla="*/ 2320750 w 3404391"/>
                <a:gd name="connsiteY1165" fmla="*/ 999408 h 3378173"/>
                <a:gd name="connsiteX1166" fmla="*/ 2338296 w 3404391"/>
                <a:gd name="connsiteY1166" fmla="*/ 998004 h 3378173"/>
                <a:gd name="connsiteX1167" fmla="*/ 2646404 w 3404391"/>
                <a:gd name="connsiteY1167" fmla="*/ 986306 h 3378173"/>
                <a:gd name="connsiteX1168" fmla="*/ 2659505 w 3404391"/>
                <a:gd name="connsiteY1168" fmla="*/ 991921 h 3378173"/>
                <a:gd name="connsiteX1169" fmla="*/ 2648276 w 3404391"/>
                <a:gd name="connsiteY1169" fmla="*/ 1003150 h 3378173"/>
                <a:gd name="connsiteX1170" fmla="*/ 2646404 w 3404391"/>
                <a:gd name="connsiteY1170" fmla="*/ 986306 h 3378173"/>
                <a:gd name="connsiteX1171" fmla="*/ 1928656 w 3404391"/>
                <a:gd name="connsiteY1171" fmla="*/ 982098 h 3378173"/>
                <a:gd name="connsiteX1172" fmla="*/ 1948308 w 3404391"/>
                <a:gd name="connsiteY1172" fmla="*/ 990052 h 3378173"/>
                <a:gd name="connsiteX1173" fmla="*/ 1905262 w 3404391"/>
                <a:gd name="connsiteY1173" fmla="*/ 1036842 h 3378173"/>
                <a:gd name="connsiteX1174" fmla="*/ 1895904 w 3404391"/>
                <a:gd name="connsiteY1174" fmla="*/ 995667 h 3378173"/>
                <a:gd name="connsiteX1175" fmla="*/ 1897775 w 3404391"/>
                <a:gd name="connsiteY1175" fmla="*/ 993795 h 3378173"/>
                <a:gd name="connsiteX1176" fmla="*/ 1928656 w 3404391"/>
                <a:gd name="connsiteY1176" fmla="*/ 982098 h 3378173"/>
                <a:gd name="connsiteX1177" fmla="*/ 1387333 w 3404391"/>
                <a:gd name="connsiteY1177" fmla="*/ 979969 h 3378173"/>
                <a:gd name="connsiteX1178" fmla="*/ 1398065 w 3404391"/>
                <a:gd name="connsiteY1178" fmla="*/ 982571 h 3378173"/>
                <a:gd name="connsiteX1179" fmla="*/ 1306358 w 3404391"/>
                <a:gd name="connsiteY1179" fmla="*/ 1078020 h 3378173"/>
                <a:gd name="connsiteX1180" fmla="*/ 1304486 w 3404391"/>
                <a:gd name="connsiteY1180" fmla="*/ 1033103 h 3378173"/>
                <a:gd name="connsiteX1181" fmla="*/ 1317587 w 3404391"/>
                <a:gd name="connsiteY1181" fmla="*/ 1018130 h 3378173"/>
                <a:gd name="connsiteX1182" fmla="*/ 1387333 w 3404391"/>
                <a:gd name="connsiteY1182" fmla="*/ 979969 h 3378173"/>
                <a:gd name="connsiteX1183" fmla="*/ 2134763 w 3404391"/>
                <a:gd name="connsiteY1183" fmla="*/ 976950 h 3378173"/>
                <a:gd name="connsiteX1184" fmla="*/ 2150438 w 3404391"/>
                <a:gd name="connsiteY1184" fmla="*/ 986308 h 3378173"/>
                <a:gd name="connsiteX1185" fmla="*/ 2114878 w 3404391"/>
                <a:gd name="connsiteY1185" fmla="*/ 1021868 h 3378173"/>
                <a:gd name="connsiteX1186" fmla="*/ 2109263 w 3404391"/>
                <a:gd name="connsiteY1186" fmla="*/ 984436 h 3378173"/>
                <a:gd name="connsiteX1187" fmla="*/ 2134763 w 3404391"/>
                <a:gd name="connsiteY1187" fmla="*/ 976950 h 3378173"/>
                <a:gd name="connsiteX1188" fmla="*/ 1642305 w 3404391"/>
                <a:gd name="connsiteY1188" fmla="*/ 953326 h 3378173"/>
                <a:gd name="connsiteX1189" fmla="*/ 1667571 w 3404391"/>
                <a:gd name="connsiteY1189" fmla="*/ 958238 h 3378173"/>
                <a:gd name="connsiteX1190" fmla="*/ 1598323 w 3404391"/>
                <a:gd name="connsiteY1190" fmla="*/ 1027486 h 3378173"/>
                <a:gd name="connsiteX1191" fmla="*/ 1596451 w 3404391"/>
                <a:gd name="connsiteY1191" fmla="*/ 978825 h 3378173"/>
                <a:gd name="connsiteX1192" fmla="*/ 1600195 w 3404391"/>
                <a:gd name="connsiteY1192" fmla="*/ 975082 h 3378173"/>
                <a:gd name="connsiteX1193" fmla="*/ 1642305 w 3404391"/>
                <a:gd name="connsiteY1193" fmla="*/ 953326 h 3378173"/>
                <a:gd name="connsiteX1194" fmla="*/ 1327091 w 3404391"/>
                <a:gd name="connsiteY1194" fmla="*/ 950435 h 3378173"/>
                <a:gd name="connsiteX1195" fmla="*/ 1338174 w 3404391"/>
                <a:gd name="connsiteY1195" fmla="*/ 952628 h 3378173"/>
                <a:gd name="connsiteX1196" fmla="*/ 1229623 w 3404391"/>
                <a:gd name="connsiteY1196" fmla="*/ 1061180 h 3378173"/>
                <a:gd name="connsiteX1197" fmla="*/ 1237110 w 3404391"/>
                <a:gd name="connsiteY1197" fmla="*/ 1014389 h 3378173"/>
                <a:gd name="connsiteX1198" fmla="*/ 1252082 w 3404391"/>
                <a:gd name="connsiteY1198" fmla="*/ 997545 h 3378173"/>
                <a:gd name="connsiteX1199" fmla="*/ 1327091 w 3404391"/>
                <a:gd name="connsiteY1199" fmla="*/ 950435 h 3378173"/>
                <a:gd name="connsiteX1200" fmla="*/ 1147274 w 3404391"/>
                <a:gd name="connsiteY1200" fmla="*/ 941405 h 3378173"/>
                <a:gd name="connsiteX1201" fmla="*/ 1034980 w 3404391"/>
                <a:gd name="connsiteY1201" fmla="*/ 1048082 h 3378173"/>
                <a:gd name="connsiteX1202" fmla="*/ 1079898 w 3404391"/>
                <a:gd name="connsiteY1202" fmla="*/ 1001294 h 3378173"/>
                <a:gd name="connsiteX1203" fmla="*/ 1147274 w 3404391"/>
                <a:gd name="connsiteY1203" fmla="*/ 941405 h 3378173"/>
                <a:gd name="connsiteX1204" fmla="*/ 2773671 w 3404391"/>
                <a:gd name="connsiteY1204" fmla="*/ 935773 h 3378173"/>
                <a:gd name="connsiteX1205" fmla="*/ 2783029 w 3404391"/>
                <a:gd name="connsiteY1205" fmla="*/ 941388 h 3378173"/>
                <a:gd name="connsiteX1206" fmla="*/ 2773671 w 3404391"/>
                <a:gd name="connsiteY1206" fmla="*/ 948874 h 3378173"/>
                <a:gd name="connsiteX1207" fmla="*/ 2773671 w 3404391"/>
                <a:gd name="connsiteY1207" fmla="*/ 935773 h 3378173"/>
                <a:gd name="connsiteX1208" fmla="*/ 2462990 w 3404391"/>
                <a:gd name="connsiteY1208" fmla="*/ 930627 h 3378173"/>
                <a:gd name="connsiteX1209" fmla="*/ 2472348 w 3404391"/>
                <a:gd name="connsiteY1209" fmla="*/ 937645 h 3378173"/>
                <a:gd name="connsiteX1210" fmla="*/ 2449889 w 3404391"/>
                <a:gd name="connsiteY1210" fmla="*/ 958233 h 3378173"/>
                <a:gd name="connsiteX1211" fmla="*/ 2448017 w 3404391"/>
                <a:gd name="connsiteY1211" fmla="*/ 932031 h 3378173"/>
                <a:gd name="connsiteX1212" fmla="*/ 2462990 w 3404391"/>
                <a:gd name="connsiteY1212" fmla="*/ 930627 h 3378173"/>
                <a:gd name="connsiteX1213" fmla="*/ 1273839 w 3404391"/>
                <a:gd name="connsiteY1213" fmla="*/ 929704 h 3378173"/>
                <a:gd name="connsiteX1214" fmla="*/ 1283899 w 3404391"/>
                <a:gd name="connsiteY1214" fmla="*/ 930172 h 3378173"/>
                <a:gd name="connsiteX1215" fmla="*/ 1165990 w 3404391"/>
                <a:gd name="connsiteY1215" fmla="*/ 1048079 h 3378173"/>
                <a:gd name="connsiteX1216" fmla="*/ 1162246 w 3404391"/>
                <a:gd name="connsiteY1216" fmla="*/ 1023749 h 3378173"/>
                <a:gd name="connsiteX1217" fmla="*/ 1195935 w 3404391"/>
                <a:gd name="connsiteY1217" fmla="*/ 984446 h 3378173"/>
                <a:gd name="connsiteX1218" fmla="*/ 1273839 w 3404391"/>
                <a:gd name="connsiteY1218" fmla="*/ 929704 h 3378173"/>
                <a:gd name="connsiteX1219" fmla="*/ 1186577 w 3404391"/>
                <a:gd name="connsiteY1219" fmla="*/ 926431 h 3378173"/>
                <a:gd name="connsiteX1220" fmla="*/ 1068668 w 3404391"/>
                <a:gd name="connsiteY1220" fmla="*/ 1040594 h 3378173"/>
                <a:gd name="connsiteX1221" fmla="*/ 1064925 w 3404391"/>
                <a:gd name="connsiteY1221" fmla="*/ 1040594 h 3378173"/>
                <a:gd name="connsiteX1222" fmla="*/ 1109843 w 3404391"/>
                <a:gd name="connsiteY1222" fmla="*/ 986321 h 3378173"/>
                <a:gd name="connsiteX1223" fmla="*/ 1186577 w 3404391"/>
                <a:gd name="connsiteY1223" fmla="*/ 926431 h 3378173"/>
                <a:gd name="connsiteX1224" fmla="*/ 1233367 w 3404391"/>
                <a:gd name="connsiteY1224" fmla="*/ 922687 h 3378173"/>
                <a:gd name="connsiteX1225" fmla="*/ 1109843 w 3404391"/>
                <a:gd name="connsiteY1225" fmla="*/ 1042465 h 3378173"/>
                <a:gd name="connsiteX1226" fmla="*/ 1109843 w 3404391"/>
                <a:gd name="connsiteY1226" fmla="*/ 1023749 h 3378173"/>
                <a:gd name="connsiteX1227" fmla="*/ 1147274 w 3404391"/>
                <a:gd name="connsiteY1227" fmla="*/ 980704 h 3378173"/>
                <a:gd name="connsiteX1228" fmla="*/ 1233367 w 3404391"/>
                <a:gd name="connsiteY1228" fmla="*/ 922687 h 3378173"/>
                <a:gd name="connsiteX1229" fmla="*/ 1850518 w 3404391"/>
                <a:gd name="connsiteY1229" fmla="*/ 910980 h 3378173"/>
                <a:gd name="connsiteX1230" fmla="*/ 1871573 w 3404391"/>
                <a:gd name="connsiteY1230" fmla="*/ 917063 h 3378173"/>
                <a:gd name="connsiteX1231" fmla="*/ 1815426 w 3404391"/>
                <a:gd name="connsiteY1231" fmla="*/ 971338 h 3378173"/>
                <a:gd name="connsiteX1232" fmla="*/ 1811683 w 3404391"/>
                <a:gd name="connsiteY1232" fmla="*/ 926420 h 3378173"/>
                <a:gd name="connsiteX1233" fmla="*/ 1815426 w 3404391"/>
                <a:gd name="connsiteY1233" fmla="*/ 924549 h 3378173"/>
                <a:gd name="connsiteX1234" fmla="*/ 1850518 w 3404391"/>
                <a:gd name="connsiteY1234" fmla="*/ 910980 h 3378173"/>
                <a:gd name="connsiteX1235" fmla="*/ 1587153 w 3404391"/>
                <a:gd name="connsiteY1235" fmla="*/ 902240 h 3378173"/>
                <a:gd name="connsiteX1236" fmla="*/ 1596452 w 3404391"/>
                <a:gd name="connsiteY1236" fmla="*/ 905837 h 3378173"/>
                <a:gd name="connsiteX1237" fmla="*/ 1515974 w 3404391"/>
                <a:gd name="connsiteY1237" fmla="*/ 984441 h 3378173"/>
                <a:gd name="connsiteX1238" fmla="*/ 1510360 w 3404391"/>
                <a:gd name="connsiteY1238" fmla="*/ 941396 h 3378173"/>
                <a:gd name="connsiteX1239" fmla="*/ 1523461 w 3404391"/>
                <a:gd name="connsiteY1239" fmla="*/ 928295 h 3378173"/>
                <a:gd name="connsiteX1240" fmla="*/ 1587153 w 3404391"/>
                <a:gd name="connsiteY1240" fmla="*/ 902240 h 3378173"/>
                <a:gd name="connsiteX1241" fmla="*/ 2262965 w 3404391"/>
                <a:gd name="connsiteY1241" fmla="*/ 899514 h 3378173"/>
                <a:gd name="connsiteX1242" fmla="*/ 2275832 w 3404391"/>
                <a:gd name="connsiteY1242" fmla="*/ 907702 h 3378173"/>
                <a:gd name="connsiteX1243" fmla="*/ 2242144 w 3404391"/>
                <a:gd name="connsiteY1243" fmla="*/ 937646 h 3378173"/>
                <a:gd name="connsiteX1244" fmla="*/ 2240273 w 3404391"/>
                <a:gd name="connsiteY1244" fmla="*/ 903959 h 3378173"/>
                <a:gd name="connsiteX1245" fmla="*/ 2262965 w 3404391"/>
                <a:gd name="connsiteY1245" fmla="*/ 899514 h 3378173"/>
                <a:gd name="connsiteX1246" fmla="*/ 2904681 w 3404391"/>
                <a:gd name="connsiteY1246" fmla="*/ 894598 h 3378173"/>
                <a:gd name="connsiteX1247" fmla="*/ 2910296 w 3404391"/>
                <a:gd name="connsiteY1247" fmla="*/ 898341 h 3378173"/>
                <a:gd name="connsiteX1248" fmla="*/ 2904681 w 3404391"/>
                <a:gd name="connsiteY1248" fmla="*/ 902084 h 3378173"/>
                <a:gd name="connsiteX1249" fmla="*/ 2904681 w 3404391"/>
                <a:gd name="connsiteY1249" fmla="*/ 894598 h 3378173"/>
                <a:gd name="connsiteX1250" fmla="*/ 2057327 w 3404391"/>
                <a:gd name="connsiteY1250" fmla="*/ 892497 h 3378173"/>
                <a:gd name="connsiteX1251" fmla="*/ 2073703 w 3404391"/>
                <a:gd name="connsiteY1251" fmla="*/ 900217 h 3378173"/>
                <a:gd name="connsiteX1252" fmla="*/ 2026914 w 3404391"/>
                <a:gd name="connsiteY1252" fmla="*/ 941391 h 3378173"/>
                <a:gd name="connsiteX1253" fmla="*/ 2026914 w 3404391"/>
                <a:gd name="connsiteY1253" fmla="*/ 900217 h 3378173"/>
                <a:gd name="connsiteX1254" fmla="*/ 2057327 w 3404391"/>
                <a:gd name="connsiteY1254" fmla="*/ 892497 h 3378173"/>
                <a:gd name="connsiteX1255" fmla="*/ 2577156 w 3404391"/>
                <a:gd name="connsiteY1255" fmla="*/ 872140 h 3378173"/>
                <a:gd name="connsiteX1256" fmla="*/ 2597743 w 3404391"/>
                <a:gd name="connsiteY1256" fmla="*/ 877755 h 3378173"/>
                <a:gd name="connsiteX1257" fmla="*/ 2577156 w 3404391"/>
                <a:gd name="connsiteY1257" fmla="*/ 894599 h 3378173"/>
                <a:gd name="connsiteX1258" fmla="*/ 2577156 w 3404391"/>
                <a:gd name="connsiteY1258" fmla="*/ 872140 h 3378173"/>
                <a:gd name="connsiteX1259" fmla="*/ 3039435 w 3404391"/>
                <a:gd name="connsiteY1259" fmla="*/ 860910 h 3378173"/>
                <a:gd name="connsiteX1260" fmla="*/ 3041306 w 3404391"/>
                <a:gd name="connsiteY1260" fmla="*/ 862782 h 3378173"/>
                <a:gd name="connsiteX1261" fmla="*/ 3039435 w 3404391"/>
                <a:gd name="connsiteY1261" fmla="*/ 862782 h 3378173"/>
                <a:gd name="connsiteX1262" fmla="*/ 1523197 w 3404391"/>
                <a:gd name="connsiteY1262" fmla="*/ 860628 h 3378173"/>
                <a:gd name="connsiteX1263" fmla="*/ 1532818 w 3404391"/>
                <a:gd name="connsiteY1263" fmla="*/ 862793 h 3378173"/>
                <a:gd name="connsiteX1264" fmla="*/ 1437368 w 3404391"/>
                <a:gd name="connsiteY1264" fmla="*/ 950755 h 3378173"/>
                <a:gd name="connsiteX1265" fmla="*/ 1441111 w 3404391"/>
                <a:gd name="connsiteY1265" fmla="*/ 905838 h 3378173"/>
                <a:gd name="connsiteX1266" fmla="*/ 1456083 w 3404391"/>
                <a:gd name="connsiteY1266" fmla="*/ 892737 h 3378173"/>
                <a:gd name="connsiteX1267" fmla="*/ 1523197 w 3404391"/>
                <a:gd name="connsiteY1267" fmla="*/ 860628 h 3378173"/>
                <a:gd name="connsiteX1268" fmla="*/ 1777760 w 3404391"/>
                <a:gd name="connsiteY1268" fmla="*/ 847816 h 3378173"/>
                <a:gd name="connsiteX1269" fmla="*/ 1800453 w 3404391"/>
                <a:gd name="connsiteY1269" fmla="*/ 853431 h 3378173"/>
                <a:gd name="connsiteX1270" fmla="*/ 1731205 w 3404391"/>
                <a:gd name="connsiteY1270" fmla="*/ 915193 h 3378173"/>
                <a:gd name="connsiteX1271" fmla="*/ 1733077 w 3404391"/>
                <a:gd name="connsiteY1271" fmla="*/ 868404 h 3378173"/>
                <a:gd name="connsiteX1272" fmla="*/ 1736820 w 3404391"/>
                <a:gd name="connsiteY1272" fmla="*/ 864661 h 3378173"/>
                <a:gd name="connsiteX1273" fmla="*/ 1777760 w 3404391"/>
                <a:gd name="connsiteY1273" fmla="*/ 847816 h 3378173"/>
                <a:gd name="connsiteX1274" fmla="*/ 2395379 w 3404391"/>
                <a:gd name="connsiteY1274" fmla="*/ 829096 h 3378173"/>
                <a:gd name="connsiteX1275" fmla="*/ 2404971 w 3404391"/>
                <a:gd name="connsiteY1275" fmla="*/ 836583 h 3378173"/>
                <a:gd name="connsiteX1276" fmla="*/ 2373155 w 3404391"/>
                <a:gd name="connsiteY1276" fmla="*/ 862785 h 3378173"/>
                <a:gd name="connsiteX1277" fmla="*/ 2373155 w 3404391"/>
                <a:gd name="connsiteY1277" fmla="*/ 832838 h 3378173"/>
                <a:gd name="connsiteX1278" fmla="*/ 2395379 w 3404391"/>
                <a:gd name="connsiteY1278" fmla="*/ 829096 h 3378173"/>
                <a:gd name="connsiteX1279" fmla="*/ 1466991 w 3404391"/>
                <a:gd name="connsiteY1279" fmla="*/ 828403 h 3378173"/>
                <a:gd name="connsiteX1280" fmla="*/ 1476671 w 3404391"/>
                <a:gd name="connsiteY1280" fmla="*/ 830977 h 3378173"/>
                <a:gd name="connsiteX1281" fmla="*/ 1368119 w 3404391"/>
                <a:gd name="connsiteY1281" fmla="*/ 928298 h 3378173"/>
                <a:gd name="connsiteX1282" fmla="*/ 1379349 w 3404391"/>
                <a:gd name="connsiteY1282" fmla="*/ 883381 h 3378173"/>
                <a:gd name="connsiteX1283" fmla="*/ 1396193 w 3404391"/>
                <a:gd name="connsiteY1283" fmla="*/ 868408 h 3378173"/>
                <a:gd name="connsiteX1284" fmla="*/ 1466991 w 3404391"/>
                <a:gd name="connsiteY1284" fmla="*/ 828403 h 3378173"/>
                <a:gd name="connsiteX1285" fmla="*/ 2725245 w 3404391"/>
                <a:gd name="connsiteY1285" fmla="*/ 819035 h 3378173"/>
                <a:gd name="connsiteX1286" fmla="*/ 2730625 w 3404391"/>
                <a:gd name="connsiteY1286" fmla="*/ 825351 h 3378173"/>
                <a:gd name="connsiteX1287" fmla="*/ 2713781 w 3404391"/>
                <a:gd name="connsiteY1287" fmla="*/ 836581 h 3378173"/>
                <a:gd name="connsiteX1288" fmla="*/ 2715653 w 3404391"/>
                <a:gd name="connsiteY1288" fmla="*/ 819737 h 3378173"/>
                <a:gd name="connsiteX1289" fmla="*/ 2725245 w 3404391"/>
                <a:gd name="connsiteY1289" fmla="*/ 819035 h 3378173"/>
                <a:gd name="connsiteX1290" fmla="*/ 1984569 w 3404391"/>
                <a:gd name="connsiteY1290" fmla="*/ 816466 h 3378173"/>
                <a:gd name="connsiteX1291" fmla="*/ 2004454 w 3404391"/>
                <a:gd name="connsiteY1291" fmla="*/ 823484 h 3378173"/>
                <a:gd name="connsiteX1292" fmla="*/ 1948307 w 3404391"/>
                <a:gd name="connsiteY1292" fmla="*/ 872146 h 3378173"/>
                <a:gd name="connsiteX1293" fmla="*/ 1948307 w 3404391"/>
                <a:gd name="connsiteY1293" fmla="*/ 830970 h 3378173"/>
                <a:gd name="connsiteX1294" fmla="*/ 1952050 w 3404391"/>
                <a:gd name="connsiteY1294" fmla="*/ 829099 h 3378173"/>
                <a:gd name="connsiteX1295" fmla="*/ 1984569 w 3404391"/>
                <a:gd name="connsiteY1295" fmla="*/ 816466 h 3378173"/>
                <a:gd name="connsiteX1296" fmla="*/ 2191378 w 3404391"/>
                <a:gd name="connsiteY1296" fmla="*/ 809913 h 3378173"/>
                <a:gd name="connsiteX1297" fmla="*/ 2206585 w 3404391"/>
                <a:gd name="connsiteY1297" fmla="*/ 817868 h 3378173"/>
                <a:gd name="connsiteX1298" fmla="*/ 2161667 w 3404391"/>
                <a:gd name="connsiteY1298" fmla="*/ 853427 h 3378173"/>
                <a:gd name="connsiteX1299" fmla="*/ 2163539 w 3404391"/>
                <a:gd name="connsiteY1299" fmla="*/ 815996 h 3378173"/>
                <a:gd name="connsiteX1300" fmla="*/ 2191378 w 3404391"/>
                <a:gd name="connsiteY1300" fmla="*/ 809913 h 3378173"/>
                <a:gd name="connsiteX1301" fmla="*/ 1298872 w 3404391"/>
                <a:gd name="connsiteY1301" fmla="*/ 808523 h 3378173"/>
                <a:gd name="connsiteX1302" fmla="*/ 1184706 w 3404391"/>
                <a:gd name="connsiteY1302" fmla="*/ 905846 h 3378173"/>
                <a:gd name="connsiteX1303" fmla="*/ 1231495 w 3404391"/>
                <a:gd name="connsiteY1303" fmla="*/ 862800 h 3378173"/>
                <a:gd name="connsiteX1304" fmla="*/ 1298872 w 3404391"/>
                <a:gd name="connsiteY1304" fmla="*/ 808523 h 3378173"/>
                <a:gd name="connsiteX1305" fmla="*/ 1416401 w 3404391"/>
                <a:gd name="connsiteY1305" fmla="*/ 805770 h 3378173"/>
                <a:gd name="connsiteX1306" fmla="*/ 1426139 w 3404391"/>
                <a:gd name="connsiteY1306" fmla="*/ 806648 h 3378173"/>
                <a:gd name="connsiteX1307" fmla="*/ 1308230 w 3404391"/>
                <a:gd name="connsiteY1307" fmla="*/ 911456 h 3378173"/>
                <a:gd name="connsiteX1308" fmla="*/ 1308230 w 3404391"/>
                <a:gd name="connsiteY1308" fmla="*/ 887126 h 3378173"/>
                <a:gd name="connsiteX1309" fmla="*/ 1341918 w 3404391"/>
                <a:gd name="connsiteY1309" fmla="*/ 851566 h 3378173"/>
                <a:gd name="connsiteX1310" fmla="*/ 1416401 w 3404391"/>
                <a:gd name="connsiteY1310" fmla="*/ 805770 h 3378173"/>
                <a:gd name="connsiteX1311" fmla="*/ 1336303 w 3404391"/>
                <a:gd name="connsiteY1311" fmla="*/ 797293 h 3378173"/>
                <a:gd name="connsiteX1312" fmla="*/ 1283899 w 3404391"/>
                <a:gd name="connsiteY1312" fmla="*/ 851569 h 3378173"/>
                <a:gd name="connsiteX1313" fmla="*/ 1214651 w 3404391"/>
                <a:gd name="connsiteY1313" fmla="*/ 900230 h 3378173"/>
                <a:gd name="connsiteX1314" fmla="*/ 1261440 w 3404391"/>
                <a:gd name="connsiteY1314" fmla="*/ 851569 h 3378173"/>
                <a:gd name="connsiteX1315" fmla="*/ 1336303 w 3404391"/>
                <a:gd name="connsiteY1315" fmla="*/ 797293 h 3378173"/>
                <a:gd name="connsiteX1316" fmla="*/ 1377478 w 3404391"/>
                <a:gd name="connsiteY1316" fmla="*/ 795419 h 3378173"/>
                <a:gd name="connsiteX1317" fmla="*/ 1253954 w 3404391"/>
                <a:gd name="connsiteY1317" fmla="*/ 902100 h 3378173"/>
                <a:gd name="connsiteX1318" fmla="*/ 1255825 w 3404391"/>
                <a:gd name="connsiteY1318" fmla="*/ 885256 h 3378173"/>
                <a:gd name="connsiteX1319" fmla="*/ 1295128 w 3404391"/>
                <a:gd name="connsiteY1319" fmla="*/ 845952 h 3378173"/>
                <a:gd name="connsiteX1320" fmla="*/ 1377478 w 3404391"/>
                <a:gd name="connsiteY1320" fmla="*/ 795419 h 3378173"/>
                <a:gd name="connsiteX1321" fmla="*/ 1710618 w 3404391"/>
                <a:gd name="connsiteY1321" fmla="*/ 794478 h 3378173"/>
                <a:gd name="connsiteX1322" fmla="*/ 1734948 w 3404391"/>
                <a:gd name="connsiteY1322" fmla="*/ 799157 h 3378173"/>
                <a:gd name="connsiteX1323" fmla="*/ 1650728 w 3404391"/>
                <a:gd name="connsiteY1323" fmla="*/ 870277 h 3378173"/>
                <a:gd name="connsiteX1324" fmla="*/ 1660085 w 3404391"/>
                <a:gd name="connsiteY1324" fmla="*/ 821616 h 3378173"/>
                <a:gd name="connsiteX1325" fmla="*/ 1663828 w 3404391"/>
                <a:gd name="connsiteY1325" fmla="*/ 817872 h 3378173"/>
                <a:gd name="connsiteX1326" fmla="*/ 1710618 w 3404391"/>
                <a:gd name="connsiteY1326" fmla="*/ 794478 h 3378173"/>
                <a:gd name="connsiteX1327" fmla="*/ 2856021 w 3404391"/>
                <a:gd name="connsiteY1327" fmla="*/ 774819 h 3378173"/>
                <a:gd name="connsiteX1328" fmla="*/ 2867250 w 3404391"/>
                <a:gd name="connsiteY1328" fmla="*/ 778562 h 3378173"/>
                <a:gd name="connsiteX1329" fmla="*/ 2854149 w 3404391"/>
                <a:gd name="connsiteY1329" fmla="*/ 786049 h 3378173"/>
                <a:gd name="connsiteX1330" fmla="*/ 2856021 w 3404391"/>
                <a:gd name="connsiteY1330" fmla="*/ 774819 h 3378173"/>
                <a:gd name="connsiteX1331" fmla="*/ 2532004 w 3404391"/>
                <a:gd name="connsiteY1331" fmla="*/ 765930 h 3378173"/>
                <a:gd name="connsiteX1332" fmla="*/ 2541596 w 3404391"/>
                <a:gd name="connsiteY1332" fmla="*/ 772948 h 3378173"/>
                <a:gd name="connsiteX1333" fmla="*/ 2513522 w 3404391"/>
                <a:gd name="connsiteY1333" fmla="*/ 793536 h 3378173"/>
                <a:gd name="connsiteX1334" fmla="*/ 2515394 w 3404391"/>
                <a:gd name="connsiteY1334" fmla="*/ 767334 h 3378173"/>
                <a:gd name="connsiteX1335" fmla="*/ 2532004 w 3404391"/>
                <a:gd name="connsiteY1335" fmla="*/ 765930 h 3378173"/>
                <a:gd name="connsiteX1336" fmla="*/ 1650493 w 3404391"/>
                <a:gd name="connsiteY1336" fmla="*/ 751198 h 3378173"/>
                <a:gd name="connsiteX1337" fmla="*/ 1675057 w 3404391"/>
                <a:gd name="connsiteY1337" fmla="*/ 752368 h 3378173"/>
                <a:gd name="connsiteX1338" fmla="*/ 1581479 w 3404391"/>
                <a:gd name="connsiteY1338" fmla="*/ 830975 h 3378173"/>
                <a:gd name="connsiteX1339" fmla="*/ 1587094 w 3404391"/>
                <a:gd name="connsiteY1339" fmla="*/ 789800 h 3378173"/>
                <a:gd name="connsiteX1340" fmla="*/ 1602066 w 3404391"/>
                <a:gd name="connsiteY1340" fmla="*/ 776699 h 3378173"/>
                <a:gd name="connsiteX1341" fmla="*/ 1650493 w 3404391"/>
                <a:gd name="connsiteY1341" fmla="*/ 751198 h 3378173"/>
                <a:gd name="connsiteX1342" fmla="*/ 1917426 w 3404391"/>
                <a:gd name="connsiteY1342" fmla="*/ 750259 h 3378173"/>
                <a:gd name="connsiteX1343" fmla="*/ 1938950 w 3404391"/>
                <a:gd name="connsiteY1343" fmla="*/ 756108 h 3378173"/>
                <a:gd name="connsiteX1344" fmla="*/ 1869701 w 3404391"/>
                <a:gd name="connsiteY1344" fmla="*/ 810384 h 3378173"/>
                <a:gd name="connsiteX1345" fmla="*/ 1875316 w 3404391"/>
                <a:gd name="connsiteY1345" fmla="*/ 767337 h 3378173"/>
                <a:gd name="connsiteX1346" fmla="*/ 1879059 w 3404391"/>
                <a:gd name="connsiteY1346" fmla="*/ 765466 h 3378173"/>
                <a:gd name="connsiteX1347" fmla="*/ 1917426 w 3404391"/>
                <a:gd name="connsiteY1347" fmla="*/ 750259 h 3378173"/>
                <a:gd name="connsiteX1348" fmla="*/ 3000132 w 3404391"/>
                <a:gd name="connsiteY1348" fmla="*/ 737386 h 3378173"/>
                <a:gd name="connsiteX1349" fmla="*/ 3005747 w 3404391"/>
                <a:gd name="connsiteY1349" fmla="*/ 739258 h 3378173"/>
                <a:gd name="connsiteX1350" fmla="*/ 2998260 w 3404391"/>
                <a:gd name="connsiteY1350" fmla="*/ 743002 h 3378173"/>
                <a:gd name="connsiteX1351" fmla="*/ 3000132 w 3404391"/>
                <a:gd name="connsiteY1351" fmla="*/ 737386 h 3378173"/>
                <a:gd name="connsiteX1352" fmla="*/ 2330810 w 3404391"/>
                <a:gd name="connsiteY1352" fmla="*/ 736688 h 3378173"/>
                <a:gd name="connsiteX1353" fmla="*/ 2343209 w 3404391"/>
                <a:gd name="connsiteY1353" fmla="*/ 744876 h 3378173"/>
                <a:gd name="connsiteX1354" fmla="*/ 2300163 w 3404391"/>
                <a:gd name="connsiteY1354" fmla="*/ 774821 h 3378173"/>
                <a:gd name="connsiteX1355" fmla="*/ 2305778 w 3404391"/>
                <a:gd name="connsiteY1355" fmla="*/ 741133 h 3378173"/>
                <a:gd name="connsiteX1356" fmla="*/ 2330810 w 3404391"/>
                <a:gd name="connsiteY1356" fmla="*/ 736688 h 3378173"/>
                <a:gd name="connsiteX1357" fmla="*/ 2125639 w 3404391"/>
                <a:gd name="connsiteY1357" fmla="*/ 731074 h 3378173"/>
                <a:gd name="connsiteX1358" fmla="*/ 2142951 w 3404391"/>
                <a:gd name="connsiteY1358" fmla="*/ 739262 h 3378173"/>
                <a:gd name="connsiteX1359" fmla="*/ 2084933 w 3404391"/>
                <a:gd name="connsiteY1359" fmla="*/ 780437 h 3378173"/>
                <a:gd name="connsiteX1360" fmla="*/ 2094291 w 3404391"/>
                <a:gd name="connsiteY1360" fmla="*/ 741133 h 3378173"/>
                <a:gd name="connsiteX1361" fmla="*/ 2125639 w 3404391"/>
                <a:gd name="connsiteY1361" fmla="*/ 731074 h 3378173"/>
                <a:gd name="connsiteX1362" fmla="*/ 1613267 w 3404391"/>
                <a:gd name="connsiteY1362" fmla="*/ 714908 h 3378173"/>
                <a:gd name="connsiteX1363" fmla="*/ 1622654 w 3404391"/>
                <a:gd name="connsiteY1363" fmla="*/ 716809 h 3378173"/>
                <a:gd name="connsiteX1364" fmla="*/ 1514102 w 3404391"/>
                <a:gd name="connsiteY1364" fmla="*/ 801031 h 3378173"/>
                <a:gd name="connsiteX1365" fmla="*/ 1529075 w 3404391"/>
                <a:gd name="connsiteY1365" fmla="*/ 759855 h 3378173"/>
                <a:gd name="connsiteX1366" fmla="*/ 1544048 w 3404391"/>
                <a:gd name="connsiteY1366" fmla="*/ 746754 h 3378173"/>
                <a:gd name="connsiteX1367" fmla="*/ 1613267 w 3404391"/>
                <a:gd name="connsiteY1367" fmla="*/ 714908 h 3378173"/>
                <a:gd name="connsiteX1368" fmla="*/ 2674010 w 3404391"/>
                <a:gd name="connsiteY1368" fmla="*/ 709783 h 3378173"/>
                <a:gd name="connsiteX1369" fmla="*/ 2680093 w 3404391"/>
                <a:gd name="connsiteY1369" fmla="*/ 716801 h 3378173"/>
                <a:gd name="connsiteX1370" fmla="*/ 2653891 w 3404391"/>
                <a:gd name="connsiteY1370" fmla="*/ 731774 h 3378173"/>
                <a:gd name="connsiteX1371" fmla="*/ 2659505 w 3404391"/>
                <a:gd name="connsiteY1371" fmla="*/ 711187 h 3378173"/>
                <a:gd name="connsiteX1372" fmla="*/ 2674010 w 3404391"/>
                <a:gd name="connsiteY1372" fmla="*/ 709783 h 3378173"/>
                <a:gd name="connsiteX1373" fmla="*/ 1856834 w 3404391"/>
                <a:gd name="connsiteY1373" fmla="*/ 694113 h 3378173"/>
                <a:gd name="connsiteX1374" fmla="*/ 1879059 w 3404391"/>
                <a:gd name="connsiteY1374" fmla="*/ 698090 h 3378173"/>
                <a:gd name="connsiteX1375" fmla="*/ 1796710 w 3404391"/>
                <a:gd name="connsiteY1375" fmla="*/ 759853 h 3378173"/>
                <a:gd name="connsiteX1376" fmla="*/ 1809811 w 3404391"/>
                <a:gd name="connsiteY1376" fmla="*/ 714934 h 3378173"/>
                <a:gd name="connsiteX1377" fmla="*/ 1813554 w 3404391"/>
                <a:gd name="connsiteY1377" fmla="*/ 711191 h 3378173"/>
                <a:gd name="connsiteX1378" fmla="*/ 1856834 w 3404391"/>
                <a:gd name="connsiteY1378" fmla="*/ 694113 h 3378173"/>
                <a:gd name="connsiteX1379" fmla="*/ 1565658 w 3404391"/>
                <a:gd name="connsiteY1379" fmla="*/ 690958 h 3378173"/>
                <a:gd name="connsiteX1380" fmla="*/ 1573992 w 3404391"/>
                <a:gd name="connsiteY1380" fmla="*/ 692479 h 3378173"/>
                <a:gd name="connsiteX1381" fmla="*/ 1457955 w 3404391"/>
                <a:gd name="connsiteY1381" fmla="*/ 782316 h 3378173"/>
                <a:gd name="connsiteX1382" fmla="*/ 1484157 w 3404391"/>
                <a:gd name="connsiteY1382" fmla="*/ 739270 h 3378173"/>
                <a:gd name="connsiteX1383" fmla="*/ 1495386 w 3404391"/>
                <a:gd name="connsiteY1383" fmla="*/ 729911 h 3378173"/>
                <a:gd name="connsiteX1384" fmla="*/ 1565658 w 3404391"/>
                <a:gd name="connsiteY1384" fmla="*/ 690958 h 3378173"/>
                <a:gd name="connsiteX1385" fmla="*/ 1457955 w 3404391"/>
                <a:gd name="connsiteY1385" fmla="*/ 684996 h 3378173"/>
                <a:gd name="connsiteX1386" fmla="*/ 1343789 w 3404391"/>
                <a:gd name="connsiteY1386" fmla="*/ 771090 h 3378173"/>
                <a:gd name="connsiteX1387" fmla="*/ 1390578 w 3404391"/>
                <a:gd name="connsiteY1387" fmla="*/ 731786 h 3378173"/>
                <a:gd name="connsiteX1388" fmla="*/ 1457955 w 3404391"/>
                <a:gd name="connsiteY1388" fmla="*/ 684996 h 3378173"/>
                <a:gd name="connsiteX1389" fmla="*/ 1529075 w 3404391"/>
                <a:gd name="connsiteY1389" fmla="*/ 677508 h 3378173"/>
                <a:gd name="connsiteX1390" fmla="*/ 1409295 w 3404391"/>
                <a:gd name="connsiteY1390" fmla="*/ 769217 h 3378173"/>
                <a:gd name="connsiteX1391" fmla="*/ 1411166 w 3404391"/>
                <a:gd name="connsiteY1391" fmla="*/ 757986 h 3378173"/>
                <a:gd name="connsiteX1392" fmla="*/ 1452341 w 3404391"/>
                <a:gd name="connsiteY1392" fmla="*/ 720554 h 3378173"/>
                <a:gd name="connsiteX1393" fmla="*/ 1529075 w 3404391"/>
                <a:gd name="connsiteY1393" fmla="*/ 677508 h 3378173"/>
                <a:gd name="connsiteX1394" fmla="*/ 1489772 w 3404391"/>
                <a:gd name="connsiteY1394" fmla="*/ 675637 h 3378173"/>
                <a:gd name="connsiteX1395" fmla="*/ 1369991 w 3404391"/>
                <a:gd name="connsiteY1395" fmla="*/ 765475 h 3378173"/>
                <a:gd name="connsiteX1396" fmla="*/ 1416780 w 3404391"/>
                <a:gd name="connsiteY1396" fmla="*/ 722427 h 3378173"/>
                <a:gd name="connsiteX1397" fmla="*/ 1489772 w 3404391"/>
                <a:gd name="connsiteY1397" fmla="*/ 675637 h 3378173"/>
                <a:gd name="connsiteX1398" fmla="*/ 2476325 w 3404391"/>
                <a:gd name="connsiteY1398" fmla="*/ 669310 h 3378173"/>
                <a:gd name="connsiteX1399" fmla="*/ 2487321 w 3404391"/>
                <a:gd name="connsiteY1399" fmla="*/ 677499 h 3378173"/>
                <a:gd name="connsiteX1400" fmla="*/ 2448018 w 3404391"/>
                <a:gd name="connsiteY1400" fmla="*/ 701830 h 3378173"/>
                <a:gd name="connsiteX1401" fmla="*/ 2455504 w 3404391"/>
                <a:gd name="connsiteY1401" fmla="*/ 673756 h 3378173"/>
                <a:gd name="connsiteX1402" fmla="*/ 2476325 w 3404391"/>
                <a:gd name="connsiteY1402" fmla="*/ 669310 h 3378173"/>
                <a:gd name="connsiteX1403" fmla="*/ 2809231 w 3404391"/>
                <a:gd name="connsiteY1403" fmla="*/ 662525 h 3378173"/>
                <a:gd name="connsiteX1404" fmla="*/ 2824204 w 3404391"/>
                <a:gd name="connsiteY1404" fmla="*/ 668140 h 3378173"/>
                <a:gd name="connsiteX1405" fmla="*/ 2803616 w 3404391"/>
                <a:gd name="connsiteY1405" fmla="*/ 677497 h 3378173"/>
                <a:gd name="connsiteX1406" fmla="*/ 2809231 w 3404391"/>
                <a:gd name="connsiteY1406" fmla="*/ 662525 h 3378173"/>
                <a:gd name="connsiteX1407" fmla="*/ 2064345 w 3404391"/>
                <a:gd name="connsiteY1407" fmla="*/ 661827 h 3378173"/>
                <a:gd name="connsiteX1408" fmla="*/ 2083061 w 3404391"/>
                <a:gd name="connsiteY1408" fmla="*/ 668143 h 3378173"/>
                <a:gd name="connsiteX1409" fmla="*/ 2015684 w 3404391"/>
                <a:gd name="connsiteY1409" fmla="*/ 714933 h 3378173"/>
                <a:gd name="connsiteX1410" fmla="*/ 2025042 w 3404391"/>
                <a:gd name="connsiteY1410" fmla="*/ 675629 h 3378173"/>
                <a:gd name="connsiteX1411" fmla="*/ 2028785 w 3404391"/>
                <a:gd name="connsiteY1411" fmla="*/ 673758 h 3378173"/>
                <a:gd name="connsiteX1412" fmla="*/ 2064345 w 3404391"/>
                <a:gd name="connsiteY1412" fmla="*/ 661827 h 3378173"/>
                <a:gd name="connsiteX1413" fmla="*/ 2271387 w 3404391"/>
                <a:gd name="connsiteY1413" fmla="*/ 652701 h 3378173"/>
                <a:gd name="connsiteX1414" fmla="*/ 2285190 w 3404391"/>
                <a:gd name="connsiteY1414" fmla="*/ 660655 h 3378173"/>
                <a:gd name="connsiteX1415" fmla="*/ 2230915 w 3404391"/>
                <a:gd name="connsiteY1415" fmla="*/ 694344 h 3378173"/>
                <a:gd name="connsiteX1416" fmla="*/ 2242144 w 3404391"/>
                <a:gd name="connsiteY1416" fmla="*/ 658784 h 3378173"/>
                <a:gd name="connsiteX1417" fmla="*/ 2271387 w 3404391"/>
                <a:gd name="connsiteY1417" fmla="*/ 652701 h 3378173"/>
                <a:gd name="connsiteX1418" fmla="*/ 1800921 w 3404391"/>
                <a:gd name="connsiteY1418" fmla="*/ 647559 h 3378173"/>
                <a:gd name="connsiteX1419" fmla="*/ 1822912 w 3404391"/>
                <a:gd name="connsiteY1419" fmla="*/ 649431 h 3378173"/>
                <a:gd name="connsiteX1420" fmla="*/ 1727462 w 3404391"/>
                <a:gd name="connsiteY1420" fmla="*/ 716807 h 3378173"/>
                <a:gd name="connsiteX1421" fmla="*/ 1753664 w 3404391"/>
                <a:gd name="connsiteY1421" fmla="*/ 668146 h 3378173"/>
                <a:gd name="connsiteX1422" fmla="*/ 1800921 w 3404391"/>
                <a:gd name="connsiteY1422" fmla="*/ 647559 h 3378173"/>
                <a:gd name="connsiteX1423" fmla="*/ 2962701 w 3404391"/>
                <a:gd name="connsiteY1423" fmla="*/ 623222 h 3378173"/>
                <a:gd name="connsiteX1424" fmla="*/ 2973930 w 3404391"/>
                <a:gd name="connsiteY1424" fmla="*/ 626965 h 3378173"/>
                <a:gd name="connsiteX1425" fmla="*/ 2958957 w 3404391"/>
                <a:gd name="connsiteY1425" fmla="*/ 632580 h 3378173"/>
                <a:gd name="connsiteX1426" fmla="*/ 2962701 w 3404391"/>
                <a:gd name="connsiteY1426" fmla="*/ 623222 h 3378173"/>
                <a:gd name="connsiteX1427" fmla="*/ 1774252 w 3404391"/>
                <a:gd name="connsiteY1427" fmla="*/ 612000 h 3378173"/>
                <a:gd name="connsiteX1428" fmla="*/ 1669443 w 3404391"/>
                <a:gd name="connsiteY1428" fmla="*/ 684991 h 3378173"/>
                <a:gd name="connsiteX1429" fmla="*/ 1686288 w 3404391"/>
                <a:gd name="connsiteY1429" fmla="*/ 649431 h 3378173"/>
                <a:gd name="connsiteX1430" fmla="*/ 1701260 w 3404391"/>
                <a:gd name="connsiteY1430" fmla="*/ 638201 h 3378173"/>
                <a:gd name="connsiteX1431" fmla="*/ 1774252 w 3404391"/>
                <a:gd name="connsiteY1431" fmla="*/ 612000 h 3378173"/>
                <a:gd name="connsiteX1432" fmla="*/ 2625115 w 3404391"/>
                <a:gd name="connsiteY1432" fmla="*/ 610590 h 3378173"/>
                <a:gd name="connsiteX1433" fmla="*/ 2633303 w 3404391"/>
                <a:gd name="connsiteY1433" fmla="*/ 617608 h 3378173"/>
                <a:gd name="connsiteX1434" fmla="*/ 2599615 w 3404391"/>
                <a:gd name="connsiteY1434" fmla="*/ 636324 h 3378173"/>
                <a:gd name="connsiteX1435" fmla="*/ 2607101 w 3404391"/>
                <a:gd name="connsiteY1435" fmla="*/ 611994 h 3378173"/>
                <a:gd name="connsiteX1436" fmla="*/ 2625115 w 3404391"/>
                <a:gd name="connsiteY1436" fmla="*/ 610590 h 3378173"/>
                <a:gd name="connsiteX1437" fmla="*/ 2009368 w 3404391"/>
                <a:gd name="connsiteY1437" fmla="*/ 601470 h 3378173"/>
                <a:gd name="connsiteX1438" fmla="*/ 2028785 w 3404391"/>
                <a:gd name="connsiteY1438" fmla="*/ 606383 h 3378173"/>
                <a:gd name="connsiteX1439" fmla="*/ 1950179 w 3404391"/>
                <a:gd name="connsiteY1439" fmla="*/ 658786 h 3378173"/>
                <a:gd name="connsiteX1440" fmla="*/ 1965152 w 3404391"/>
                <a:gd name="connsiteY1440" fmla="*/ 619484 h 3378173"/>
                <a:gd name="connsiteX1441" fmla="*/ 1968895 w 3404391"/>
                <a:gd name="connsiteY1441" fmla="*/ 617613 h 3378173"/>
                <a:gd name="connsiteX1442" fmla="*/ 2009368 w 3404391"/>
                <a:gd name="connsiteY1442" fmla="*/ 601470 h 3378173"/>
                <a:gd name="connsiteX1443" fmla="*/ 3118041 w 3404391"/>
                <a:gd name="connsiteY1443" fmla="*/ 593276 h 3378173"/>
                <a:gd name="connsiteX1444" fmla="*/ 3123655 w 3404391"/>
                <a:gd name="connsiteY1444" fmla="*/ 595148 h 3378173"/>
                <a:gd name="connsiteX1445" fmla="*/ 3119912 w 3404391"/>
                <a:gd name="connsiteY1445" fmla="*/ 598891 h 3378173"/>
                <a:gd name="connsiteX1446" fmla="*/ 3116169 w 3404391"/>
                <a:gd name="connsiteY1446" fmla="*/ 597019 h 3378173"/>
                <a:gd name="connsiteX1447" fmla="*/ 2423921 w 3404391"/>
                <a:gd name="connsiteY1447" fmla="*/ 583219 h 3378173"/>
                <a:gd name="connsiteX1448" fmla="*/ 2434916 w 3404391"/>
                <a:gd name="connsiteY1448" fmla="*/ 591407 h 3378173"/>
                <a:gd name="connsiteX1449" fmla="*/ 2386255 w 3404391"/>
                <a:gd name="connsiteY1449" fmla="*/ 617611 h 3378173"/>
                <a:gd name="connsiteX1450" fmla="*/ 2397485 w 3404391"/>
                <a:gd name="connsiteY1450" fmla="*/ 587664 h 3378173"/>
                <a:gd name="connsiteX1451" fmla="*/ 2423921 w 3404391"/>
                <a:gd name="connsiteY1451" fmla="*/ 583219 h 3378173"/>
                <a:gd name="connsiteX1452" fmla="*/ 1722402 w 3404391"/>
                <a:gd name="connsiteY1452" fmla="*/ 583078 h 3378173"/>
                <a:gd name="connsiteX1453" fmla="*/ 1729333 w 3404391"/>
                <a:gd name="connsiteY1453" fmla="*/ 583925 h 3378173"/>
                <a:gd name="connsiteX1454" fmla="*/ 1617038 w 3404391"/>
                <a:gd name="connsiteY1454" fmla="*/ 658791 h 3378173"/>
                <a:gd name="connsiteX1455" fmla="*/ 1645112 w 3404391"/>
                <a:gd name="connsiteY1455" fmla="*/ 621361 h 3378173"/>
                <a:gd name="connsiteX1456" fmla="*/ 1656341 w 3404391"/>
                <a:gd name="connsiteY1456" fmla="*/ 613875 h 3378173"/>
                <a:gd name="connsiteX1457" fmla="*/ 1722402 w 3404391"/>
                <a:gd name="connsiteY1457" fmla="*/ 583078 h 3378173"/>
                <a:gd name="connsiteX1458" fmla="*/ 2217580 w 3404391"/>
                <a:gd name="connsiteY1458" fmla="*/ 580178 h 3378173"/>
                <a:gd name="connsiteX1459" fmla="*/ 2232787 w 3404391"/>
                <a:gd name="connsiteY1459" fmla="*/ 587664 h 3378173"/>
                <a:gd name="connsiteX1460" fmla="*/ 2167282 w 3404391"/>
                <a:gd name="connsiteY1460" fmla="*/ 625097 h 3378173"/>
                <a:gd name="connsiteX1461" fmla="*/ 2184126 w 3404391"/>
                <a:gd name="connsiteY1461" fmla="*/ 589536 h 3378173"/>
                <a:gd name="connsiteX1462" fmla="*/ 2217580 w 3404391"/>
                <a:gd name="connsiteY1462" fmla="*/ 580178 h 3378173"/>
                <a:gd name="connsiteX1463" fmla="*/ 1622654 w 3404391"/>
                <a:gd name="connsiteY1463" fmla="*/ 570829 h 3378173"/>
                <a:gd name="connsiteX1464" fmla="*/ 1512231 w 3404391"/>
                <a:gd name="connsiteY1464" fmla="*/ 645693 h 3378173"/>
                <a:gd name="connsiteX1465" fmla="*/ 1551534 w 3404391"/>
                <a:gd name="connsiteY1465" fmla="*/ 617621 h 3378173"/>
                <a:gd name="connsiteX1466" fmla="*/ 1577736 w 3404391"/>
                <a:gd name="connsiteY1466" fmla="*/ 598904 h 3378173"/>
                <a:gd name="connsiteX1467" fmla="*/ 1622654 w 3404391"/>
                <a:gd name="connsiteY1467" fmla="*/ 570829 h 3378173"/>
                <a:gd name="connsiteX1468" fmla="*/ 1682573 w 3404391"/>
                <a:gd name="connsiteY1468" fmla="*/ 568692 h 3378173"/>
                <a:gd name="connsiteX1469" fmla="*/ 1688159 w 3404391"/>
                <a:gd name="connsiteY1469" fmla="*/ 568955 h 3378173"/>
                <a:gd name="connsiteX1470" fmla="*/ 1573993 w 3404391"/>
                <a:gd name="connsiteY1470" fmla="*/ 645691 h 3378173"/>
                <a:gd name="connsiteX1471" fmla="*/ 1577736 w 3404391"/>
                <a:gd name="connsiteY1471" fmla="*/ 634461 h 3378173"/>
                <a:gd name="connsiteX1472" fmla="*/ 1617039 w 3404391"/>
                <a:gd name="connsiteY1472" fmla="*/ 602645 h 3378173"/>
                <a:gd name="connsiteX1473" fmla="*/ 1682573 w 3404391"/>
                <a:gd name="connsiteY1473" fmla="*/ 568692 h 3378173"/>
                <a:gd name="connsiteX1474" fmla="*/ 1652599 w 3404391"/>
                <a:gd name="connsiteY1474" fmla="*/ 563343 h 3378173"/>
                <a:gd name="connsiteX1475" fmla="*/ 1538433 w 3404391"/>
                <a:gd name="connsiteY1475" fmla="*/ 640078 h 3378173"/>
                <a:gd name="connsiteX1476" fmla="*/ 1585222 w 3404391"/>
                <a:gd name="connsiteY1476" fmla="*/ 602647 h 3378173"/>
                <a:gd name="connsiteX1477" fmla="*/ 1652599 w 3404391"/>
                <a:gd name="connsiteY1477" fmla="*/ 563343 h 3378173"/>
                <a:gd name="connsiteX1478" fmla="*/ 2779988 w 3404391"/>
                <a:gd name="connsiteY1478" fmla="*/ 560760 h 3378173"/>
                <a:gd name="connsiteX1479" fmla="*/ 2786772 w 3404391"/>
                <a:gd name="connsiteY1479" fmla="*/ 567076 h 3378173"/>
                <a:gd name="connsiteX1480" fmla="*/ 2758699 w 3404391"/>
                <a:gd name="connsiteY1480" fmla="*/ 580176 h 3378173"/>
                <a:gd name="connsiteX1481" fmla="*/ 2766185 w 3404391"/>
                <a:gd name="connsiteY1481" fmla="*/ 561462 h 3378173"/>
                <a:gd name="connsiteX1482" fmla="*/ 2779988 w 3404391"/>
                <a:gd name="connsiteY1482" fmla="*/ 560760 h 3378173"/>
                <a:gd name="connsiteX1483" fmla="*/ 1959069 w 3404391"/>
                <a:gd name="connsiteY1483" fmla="*/ 551876 h 3378173"/>
                <a:gd name="connsiteX1484" fmla="*/ 1978253 w 3404391"/>
                <a:gd name="connsiteY1484" fmla="*/ 555852 h 3378173"/>
                <a:gd name="connsiteX1485" fmla="*/ 1886546 w 3404391"/>
                <a:gd name="connsiteY1485" fmla="*/ 612000 h 3378173"/>
                <a:gd name="connsiteX1486" fmla="*/ 1914619 w 3404391"/>
                <a:gd name="connsiteY1486" fmla="*/ 568952 h 3378173"/>
                <a:gd name="connsiteX1487" fmla="*/ 1959069 w 3404391"/>
                <a:gd name="connsiteY1487" fmla="*/ 551876 h 3378173"/>
                <a:gd name="connsiteX1488" fmla="*/ 2580665 w 3404391"/>
                <a:gd name="connsiteY1488" fmla="*/ 521925 h 3378173"/>
                <a:gd name="connsiteX1489" fmla="*/ 2590257 w 3404391"/>
                <a:gd name="connsiteY1489" fmla="*/ 529647 h 3378173"/>
                <a:gd name="connsiteX1490" fmla="*/ 2545339 w 3404391"/>
                <a:gd name="connsiteY1490" fmla="*/ 550233 h 3378173"/>
                <a:gd name="connsiteX1491" fmla="*/ 2558440 w 3404391"/>
                <a:gd name="connsiteY1491" fmla="*/ 524030 h 3378173"/>
                <a:gd name="connsiteX1492" fmla="*/ 2580665 w 3404391"/>
                <a:gd name="connsiteY1492" fmla="*/ 521925 h 3378173"/>
                <a:gd name="connsiteX1493" fmla="*/ 2927140 w 3404391"/>
                <a:gd name="connsiteY1493" fmla="*/ 518414 h 3378173"/>
                <a:gd name="connsiteX1494" fmla="*/ 2942112 w 3404391"/>
                <a:gd name="connsiteY1494" fmla="*/ 524029 h 3378173"/>
                <a:gd name="connsiteX1495" fmla="*/ 2919654 w 3404391"/>
                <a:gd name="connsiteY1495" fmla="*/ 531517 h 3378173"/>
                <a:gd name="connsiteX1496" fmla="*/ 2927140 w 3404391"/>
                <a:gd name="connsiteY1496" fmla="*/ 518414 h 3378173"/>
                <a:gd name="connsiteX1497" fmla="*/ 2167516 w 3404391"/>
                <a:gd name="connsiteY1497" fmla="*/ 517716 h 3378173"/>
                <a:gd name="connsiteX1498" fmla="*/ 2184126 w 3404391"/>
                <a:gd name="connsiteY1498" fmla="*/ 524032 h 3378173"/>
                <a:gd name="connsiteX1499" fmla="*/ 2109263 w 3404391"/>
                <a:gd name="connsiteY1499" fmla="*/ 567079 h 3378173"/>
                <a:gd name="connsiteX1500" fmla="*/ 2129851 w 3404391"/>
                <a:gd name="connsiteY1500" fmla="*/ 529650 h 3378173"/>
                <a:gd name="connsiteX1501" fmla="*/ 2167516 w 3404391"/>
                <a:gd name="connsiteY1501" fmla="*/ 517716 h 3378173"/>
                <a:gd name="connsiteX1502" fmla="*/ 1926814 w 3404391"/>
                <a:gd name="connsiteY1502" fmla="*/ 512074 h 3378173"/>
                <a:gd name="connsiteX1503" fmla="*/ 1933335 w 3404391"/>
                <a:gd name="connsiteY1503" fmla="*/ 514676 h 3378173"/>
                <a:gd name="connsiteX1504" fmla="*/ 1836013 w 3404391"/>
                <a:gd name="connsiteY1504" fmla="*/ 574568 h 3378173"/>
                <a:gd name="connsiteX1505" fmla="*/ 1854729 w 3404391"/>
                <a:gd name="connsiteY1505" fmla="*/ 542754 h 3378173"/>
                <a:gd name="connsiteX1506" fmla="*/ 1869701 w 3404391"/>
                <a:gd name="connsiteY1506" fmla="*/ 533397 h 3378173"/>
                <a:gd name="connsiteX1507" fmla="*/ 1926814 w 3404391"/>
                <a:gd name="connsiteY1507" fmla="*/ 512074 h 3378173"/>
                <a:gd name="connsiteX1508" fmla="*/ 2375728 w 3404391"/>
                <a:gd name="connsiteY1508" fmla="*/ 507420 h 3378173"/>
                <a:gd name="connsiteX1509" fmla="*/ 2388127 w 3404391"/>
                <a:gd name="connsiteY1509" fmla="*/ 514673 h 3378173"/>
                <a:gd name="connsiteX1510" fmla="*/ 2328237 w 3404391"/>
                <a:gd name="connsiteY1510" fmla="*/ 544621 h 3378173"/>
                <a:gd name="connsiteX1511" fmla="*/ 2345081 w 3404391"/>
                <a:gd name="connsiteY1511" fmla="*/ 512801 h 3378173"/>
                <a:gd name="connsiteX1512" fmla="*/ 2375728 w 3404391"/>
                <a:gd name="connsiteY1512" fmla="*/ 507420 h 3378173"/>
                <a:gd name="connsiteX1513" fmla="*/ 3093710 w 3404391"/>
                <a:gd name="connsiteY1513" fmla="*/ 486598 h 3378173"/>
                <a:gd name="connsiteX1514" fmla="*/ 3101197 w 3404391"/>
                <a:gd name="connsiteY1514" fmla="*/ 490341 h 3378173"/>
                <a:gd name="connsiteX1515" fmla="*/ 3088096 w 3404391"/>
                <a:gd name="connsiteY1515" fmla="*/ 494084 h 3378173"/>
                <a:gd name="connsiteX1516" fmla="*/ 3093710 w 3404391"/>
                <a:gd name="connsiteY1516" fmla="*/ 486598 h 3378173"/>
                <a:gd name="connsiteX1517" fmla="*/ 1892161 w 3404391"/>
                <a:gd name="connsiteY1517" fmla="*/ 484733 h 3378173"/>
                <a:gd name="connsiteX1518" fmla="*/ 1787352 w 3404391"/>
                <a:gd name="connsiteY1518" fmla="*/ 548370 h 3378173"/>
                <a:gd name="connsiteX1519" fmla="*/ 1815426 w 3404391"/>
                <a:gd name="connsiteY1519" fmla="*/ 516550 h 3378173"/>
                <a:gd name="connsiteX1520" fmla="*/ 1826656 w 3404391"/>
                <a:gd name="connsiteY1520" fmla="*/ 509064 h 3378173"/>
                <a:gd name="connsiteX1521" fmla="*/ 1892161 w 3404391"/>
                <a:gd name="connsiteY1521" fmla="*/ 484733 h 3378173"/>
                <a:gd name="connsiteX1522" fmla="*/ 2742557 w 3404391"/>
                <a:gd name="connsiteY1522" fmla="*/ 469989 h 3378173"/>
                <a:gd name="connsiteX1523" fmla="*/ 2749341 w 3404391"/>
                <a:gd name="connsiteY1523" fmla="*/ 475369 h 3378173"/>
                <a:gd name="connsiteX1524" fmla="*/ 2711910 w 3404391"/>
                <a:gd name="connsiteY1524" fmla="*/ 490342 h 3378173"/>
                <a:gd name="connsiteX1525" fmla="*/ 2723139 w 3404391"/>
                <a:gd name="connsiteY1525" fmla="*/ 471626 h 3378173"/>
                <a:gd name="connsiteX1526" fmla="*/ 2742557 w 3404391"/>
                <a:gd name="connsiteY1526" fmla="*/ 469989 h 3378173"/>
                <a:gd name="connsiteX1527" fmla="*/ 1849495 w 3404391"/>
                <a:gd name="connsiteY1527" fmla="*/ 467276 h 3378173"/>
                <a:gd name="connsiteX1528" fmla="*/ 1854729 w 3404391"/>
                <a:gd name="connsiteY1528" fmla="*/ 467890 h 3378173"/>
                <a:gd name="connsiteX1529" fmla="*/ 1746178 w 3404391"/>
                <a:gd name="connsiteY1529" fmla="*/ 531529 h 3378173"/>
                <a:gd name="connsiteX1530" fmla="*/ 1789224 w 3404391"/>
                <a:gd name="connsiteY1530" fmla="*/ 495964 h 3378173"/>
                <a:gd name="connsiteX1531" fmla="*/ 1849495 w 3404391"/>
                <a:gd name="connsiteY1531" fmla="*/ 467276 h 3378173"/>
                <a:gd name="connsiteX1532" fmla="*/ 1794838 w 3404391"/>
                <a:gd name="connsiteY1532" fmla="*/ 466020 h 3378173"/>
                <a:gd name="connsiteX1533" fmla="*/ 1690030 w 3404391"/>
                <a:gd name="connsiteY1533" fmla="*/ 527787 h 3378173"/>
                <a:gd name="connsiteX1534" fmla="*/ 1703131 w 3404391"/>
                <a:gd name="connsiteY1534" fmla="*/ 518424 h 3378173"/>
                <a:gd name="connsiteX1535" fmla="*/ 1779866 w 3404391"/>
                <a:gd name="connsiteY1535" fmla="*/ 473506 h 3378173"/>
                <a:gd name="connsiteX1536" fmla="*/ 1794838 w 3404391"/>
                <a:gd name="connsiteY1536" fmla="*/ 466020 h 3378173"/>
                <a:gd name="connsiteX1537" fmla="*/ 2121662 w 3404391"/>
                <a:gd name="connsiteY1537" fmla="*/ 466015 h 3378173"/>
                <a:gd name="connsiteX1538" fmla="*/ 2139208 w 3404391"/>
                <a:gd name="connsiteY1538" fmla="*/ 469758 h 3378173"/>
                <a:gd name="connsiteX1539" fmla="*/ 2054987 w 3404391"/>
                <a:gd name="connsiteY1539" fmla="*/ 514675 h 3378173"/>
                <a:gd name="connsiteX1540" fmla="*/ 2083061 w 3404391"/>
                <a:gd name="connsiteY1540" fmla="*/ 479115 h 3378173"/>
                <a:gd name="connsiteX1541" fmla="*/ 2121662 w 3404391"/>
                <a:gd name="connsiteY1541" fmla="*/ 466015 h 3378173"/>
                <a:gd name="connsiteX1542" fmla="*/ 3256537 w 3404391"/>
                <a:gd name="connsiteY1542" fmla="*/ 466010 h 3378173"/>
                <a:gd name="connsiteX1543" fmla="*/ 3258409 w 3404391"/>
                <a:gd name="connsiteY1543" fmla="*/ 466010 h 3378173"/>
                <a:gd name="connsiteX1544" fmla="*/ 3256537 w 3404391"/>
                <a:gd name="connsiteY1544" fmla="*/ 467882 h 3378173"/>
                <a:gd name="connsiteX1545" fmla="*/ 3254666 w 3404391"/>
                <a:gd name="connsiteY1545" fmla="*/ 467882 h 3378173"/>
                <a:gd name="connsiteX1546" fmla="*/ 1821040 w 3404391"/>
                <a:gd name="connsiteY1546" fmla="*/ 460405 h 3378173"/>
                <a:gd name="connsiteX1547" fmla="*/ 1712489 w 3404391"/>
                <a:gd name="connsiteY1547" fmla="*/ 524038 h 3378173"/>
                <a:gd name="connsiteX1548" fmla="*/ 1757407 w 3404391"/>
                <a:gd name="connsiteY1548" fmla="*/ 492222 h 3378173"/>
                <a:gd name="connsiteX1549" fmla="*/ 1821040 w 3404391"/>
                <a:gd name="connsiteY1549" fmla="*/ 460405 h 3378173"/>
                <a:gd name="connsiteX1550" fmla="*/ 2539491 w 3404391"/>
                <a:gd name="connsiteY1550" fmla="*/ 443788 h 3378173"/>
                <a:gd name="connsiteX1551" fmla="*/ 2549083 w 3404391"/>
                <a:gd name="connsiteY1551" fmla="*/ 449169 h 3378173"/>
                <a:gd name="connsiteX1552" fmla="*/ 2494807 w 3404391"/>
                <a:gd name="connsiteY1552" fmla="*/ 471627 h 3378173"/>
                <a:gd name="connsiteX1553" fmla="*/ 2511651 w 3404391"/>
                <a:gd name="connsiteY1553" fmla="*/ 445425 h 3378173"/>
                <a:gd name="connsiteX1554" fmla="*/ 2539491 w 3404391"/>
                <a:gd name="connsiteY1554" fmla="*/ 443788 h 3378173"/>
                <a:gd name="connsiteX1555" fmla="*/ 2330810 w 3404391"/>
                <a:gd name="connsiteY1555" fmla="*/ 441215 h 3378173"/>
                <a:gd name="connsiteX1556" fmla="*/ 2345081 w 3404391"/>
                <a:gd name="connsiteY1556" fmla="*/ 447298 h 3378173"/>
                <a:gd name="connsiteX1557" fmla="*/ 2275833 w 3404391"/>
                <a:gd name="connsiteY1557" fmla="*/ 480986 h 3378173"/>
                <a:gd name="connsiteX1558" fmla="*/ 2298292 w 3404391"/>
                <a:gd name="connsiteY1558" fmla="*/ 449169 h 3378173"/>
                <a:gd name="connsiteX1559" fmla="*/ 2330810 w 3404391"/>
                <a:gd name="connsiteY1559" fmla="*/ 441215 h 3378173"/>
                <a:gd name="connsiteX1560" fmla="*/ 2080019 w 3404391"/>
                <a:gd name="connsiteY1560" fmla="*/ 424841 h 3378173"/>
                <a:gd name="connsiteX1561" fmla="*/ 2098033 w 3404391"/>
                <a:gd name="connsiteY1561" fmla="*/ 426713 h 3378173"/>
                <a:gd name="connsiteX1562" fmla="*/ 2004455 w 3404391"/>
                <a:gd name="connsiteY1562" fmla="*/ 475374 h 3378173"/>
                <a:gd name="connsiteX1563" fmla="*/ 2038143 w 3404391"/>
                <a:gd name="connsiteY1563" fmla="*/ 439814 h 3378173"/>
                <a:gd name="connsiteX1564" fmla="*/ 2080019 w 3404391"/>
                <a:gd name="connsiteY1564" fmla="*/ 424841 h 3378173"/>
                <a:gd name="connsiteX1565" fmla="*/ 2895324 w 3404391"/>
                <a:gd name="connsiteY1565" fmla="*/ 424837 h 3378173"/>
                <a:gd name="connsiteX1566" fmla="*/ 2914040 w 3404391"/>
                <a:gd name="connsiteY1566" fmla="*/ 430452 h 3378173"/>
                <a:gd name="connsiteX1567" fmla="*/ 2884095 w 3404391"/>
                <a:gd name="connsiteY1567" fmla="*/ 439809 h 3378173"/>
                <a:gd name="connsiteX1568" fmla="*/ 2895324 w 3404391"/>
                <a:gd name="connsiteY1568" fmla="*/ 424837 h 3378173"/>
                <a:gd name="connsiteX1569" fmla="*/ 2043992 w 3404391"/>
                <a:gd name="connsiteY1569" fmla="*/ 394897 h 3378173"/>
                <a:gd name="connsiteX1570" fmla="*/ 2060602 w 3404391"/>
                <a:gd name="connsiteY1570" fmla="*/ 394897 h 3378173"/>
                <a:gd name="connsiteX1571" fmla="*/ 1963280 w 3404391"/>
                <a:gd name="connsiteY1571" fmla="*/ 445429 h 3378173"/>
                <a:gd name="connsiteX1572" fmla="*/ 1991354 w 3404391"/>
                <a:gd name="connsiteY1572" fmla="*/ 417356 h 3378173"/>
                <a:gd name="connsiteX1573" fmla="*/ 2000711 w 3404391"/>
                <a:gd name="connsiteY1573" fmla="*/ 411741 h 3378173"/>
                <a:gd name="connsiteX1574" fmla="*/ 2043992 w 3404391"/>
                <a:gd name="connsiteY1574" fmla="*/ 394897 h 3378173"/>
                <a:gd name="connsiteX1575" fmla="*/ 3067509 w 3404391"/>
                <a:gd name="connsiteY1575" fmla="*/ 393020 h 3378173"/>
                <a:gd name="connsiteX1576" fmla="*/ 3078738 w 3404391"/>
                <a:gd name="connsiteY1576" fmla="*/ 396763 h 3378173"/>
                <a:gd name="connsiteX1577" fmla="*/ 3060022 w 3404391"/>
                <a:gd name="connsiteY1577" fmla="*/ 402378 h 3378173"/>
                <a:gd name="connsiteX1578" fmla="*/ 3067509 w 3404391"/>
                <a:gd name="connsiteY1578" fmla="*/ 393020 h 3378173"/>
                <a:gd name="connsiteX1579" fmla="*/ 2291273 w 3404391"/>
                <a:gd name="connsiteY1579" fmla="*/ 388812 h 3378173"/>
                <a:gd name="connsiteX1580" fmla="*/ 2305778 w 3404391"/>
                <a:gd name="connsiteY1580" fmla="*/ 393024 h 3378173"/>
                <a:gd name="connsiteX1581" fmla="*/ 2229043 w 3404391"/>
                <a:gd name="connsiteY1581" fmla="*/ 428583 h 3378173"/>
                <a:gd name="connsiteX1582" fmla="*/ 2257117 w 3404391"/>
                <a:gd name="connsiteY1582" fmla="*/ 398638 h 3378173"/>
                <a:gd name="connsiteX1583" fmla="*/ 2291273 w 3404391"/>
                <a:gd name="connsiteY1583" fmla="*/ 388812 h 3378173"/>
                <a:gd name="connsiteX1584" fmla="*/ 2707932 w 3404391"/>
                <a:gd name="connsiteY1584" fmla="*/ 388810 h 3378173"/>
                <a:gd name="connsiteX1585" fmla="*/ 2715652 w 3404391"/>
                <a:gd name="connsiteY1585" fmla="*/ 394893 h 3378173"/>
                <a:gd name="connsiteX1586" fmla="*/ 2670735 w 3404391"/>
                <a:gd name="connsiteY1586" fmla="*/ 411737 h 3378173"/>
                <a:gd name="connsiteX1587" fmla="*/ 2687579 w 3404391"/>
                <a:gd name="connsiteY1587" fmla="*/ 391149 h 3378173"/>
                <a:gd name="connsiteX1588" fmla="*/ 2707932 w 3404391"/>
                <a:gd name="connsiteY1588" fmla="*/ 388810 h 3378173"/>
                <a:gd name="connsiteX1589" fmla="*/ 2026914 w 3404391"/>
                <a:gd name="connsiteY1589" fmla="*/ 376183 h 3378173"/>
                <a:gd name="connsiteX1590" fmla="*/ 1925849 w 3404391"/>
                <a:gd name="connsiteY1590" fmla="*/ 426715 h 3378173"/>
                <a:gd name="connsiteX1591" fmla="*/ 1967024 w 3404391"/>
                <a:gd name="connsiteY1591" fmla="*/ 396770 h 3378173"/>
                <a:gd name="connsiteX1592" fmla="*/ 2026914 w 3404391"/>
                <a:gd name="connsiteY1592" fmla="*/ 376183 h 3378173"/>
                <a:gd name="connsiteX1593" fmla="*/ 2501358 w 3404391"/>
                <a:gd name="connsiteY1593" fmla="*/ 375945 h 3378173"/>
                <a:gd name="connsiteX1594" fmla="*/ 2513523 w 3404391"/>
                <a:gd name="connsiteY1594" fmla="*/ 381793 h 3378173"/>
                <a:gd name="connsiteX1595" fmla="*/ 2449889 w 3404391"/>
                <a:gd name="connsiteY1595" fmla="*/ 406123 h 3378173"/>
                <a:gd name="connsiteX1596" fmla="*/ 2472348 w 3404391"/>
                <a:gd name="connsiteY1596" fmla="*/ 379921 h 3378173"/>
                <a:gd name="connsiteX1597" fmla="*/ 2501358 w 3404391"/>
                <a:gd name="connsiteY1597" fmla="*/ 375945 h 3378173"/>
                <a:gd name="connsiteX1598" fmla="*/ 1974510 w 3404391"/>
                <a:gd name="connsiteY1598" fmla="*/ 370571 h 3378173"/>
                <a:gd name="connsiteX1599" fmla="*/ 1877188 w 3404391"/>
                <a:gd name="connsiteY1599" fmla="*/ 421102 h 3378173"/>
                <a:gd name="connsiteX1600" fmla="*/ 1879060 w 3404391"/>
                <a:gd name="connsiteY1600" fmla="*/ 419231 h 3378173"/>
                <a:gd name="connsiteX1601" fmla="*/ 1935207 w 3404391"/>
                <a:gd name="connsiteY1601" fmla="*/ 391157 h 3378173"/>
                <a:gd name="connsiteX1602" fmla="*/ 1970767 w 3404391"/>
                <a:gd name="connsiteY1602" fmla="*/ 372442 h 3378173"/>
                <a:gd name="connsiteX1603" fmla="*/ 1974510 w 3404391"/>
                <a:gd name="connsiteY1603" fmla="*/ 370571 h 3378173"/>
                <a:gd name="connsiteX1604" fmla="*/ 3239693 w 3404391"/>
                <a:gd name="connsiteY1604" fmla="*/ 368689 h 3378173"/>
                <a:gd name="connsiteX1605" fmla="*/ 3245308 w 3404391"/>
                <a:gd name="connsiteY1605" fmla="*/ 370561 h 3378173"/>
                <a:gd name="connsiteX1606" fmla="*/ 3235950 w 3404391"/>
                <a:gd name="connsiteY1606" fmla="*/ 372432 h 3378173"/>
                <a:gd name="connsiteX1607" fmla="*/ 3239693 w 3404391"/>
                <a:gd name="connsiteY1607" fmla="*/ 368689 h 3378173"/>
                <a:gd name="connsiteX1608" fmla="*/ 1998840 w 3404391"/>
                <a:gd name="connsiteY1608" fmla="*/ 366827 h 3378173"/>
                <a:gd name="connsiteX1609" fmla="*/ 1897775 w 3404391"/>
                <a:gd name="connsiteY1609" fmla="*/ 419230 h 3378173"/>
                <a:gd name="connsiteX1610" fmla="*/ 1940821 w 3404391"/>
                <a:gd name="connsiteY1610" fmla="*/ 393028 h 3378173"/>
                <a:gd name="connsiteX1611" fmla="*/ 1998840 w 3404391"/>
                <a:gd name="connsiteY1611" fmla="*/ 366827 h 3378173"/>
                <a:gd name="connsiteX1612" fmla="*/ 2254076 w 3404391"/>
                <a:gd name="connsiteY1612" fmla="*/ 345065 h 3378173"/>
                <a:gd name="connsiteX1613" fmla="*/ 2268347 w 3404391"/>
                <a:gd name="connsiteY1613" fmla="*/ 348107 h 3378173"/>
                <a:gd name="connsiteX1614" fmla="*/ 2184126 w 3404391"/>
                <a:gd name="connsiteY1614" fmla="*/ 385538 h 3378173"/>
                <a:gd name="connsiteX1615" fmla="*/ 2215943 w 3404391"/>
                <a:gd name="connsiteY1615" fmla="*/ 357465 h 3378173"/>
                <a:gd name="connsiteX1616" fmla="*/ 2254076 w 3404391"/>
                <a:gd name="connsiteY1616" fmla="*/ 345065 h 3378173"/>
                <a:gd name="connsiteX1617" fmla="*/ 2882222 w 3404391"/>
                <a:gd name="connsiteY1617" fmla="*/ 343425 h 3378173"/>
                <a:gd name="connsiteX1618" fmla="*/ 2887837 w 3404391"/>
                <a:gd name="connsiteY1618" fmla="*/ 348104 h 3378173"/>
                <a:gd name="connsiteX1619" fmla="*/ 2850406 w 3404391"/>
                <a:gd name="connsiteY1619" fmla="*/ 359333 h 3378173"/>
                <a:gd name="connsiteX1620" fmla="*/ 2865378 w 3404391"/>
                <a:gd name="connsiteY1620" fmla="*/ 344360 h 3378173"/>
                <a:gd name="connsiteX1621" fmla="*/ 2882222 w 3404391"/>
                <a:gd name="connsiteY1621" fmla="*/ 343425 h 3378173"/>
                <a:gd name="connsiteX1622" fmla="*/ 2466265 w 3404391"/>
                <a:gd name="connsiteY1622" fmla="*/ 319330 h 3378173"/>
                <a:gd name="connsiteX1623" fmla="*/ 2477963 w 3404391"/>
                <a:gd name="connsiteY1623" fmla="*/ 323776 h 3378173"/>
                <a:gd name="connsiteX1624" fmla="*/ 2408714 w 3404391"/>
                <a:gd name="connsiteY1624" fmla="*/ 351849 h 3378173"/>
                <a:gd name="connsiteX1625" fmla="*/ 2434917 w 3404391"/>
                <a:gd name="connsiteY1625" fmla="*/ 327519 h 3378173"/>
                <a:gd name="connsiteX1626" fmla="*/ 2466265 w 3404391"/>
                <a:gd name="connsiteY1626" fmla="*/ 319330 h 3378173"/>
                <a:gd name="connsiteX1627" fmla="*/ 2675882 w 3404391"/>
                <a:gd name="connsiteY1627" fmla="*/ 319095 h 3378173"/>
                <a:gd name="connsiteX1628" fmla="*/ 2685707 w 3404391"/>
                <a:gd name="connsiteY1628" fmla="*/ 323775 h 3378173"/>
                <a:gd name="connsiteX1629" fmla="*/ 2631431 w 3404391"/>
                <a:gd name="connsiteY1629" fmla="*/ 340618 h 3378173"/>
                <a:gd name="connsiteX1630" fmla="*/ 2652019 w 3404391"/>
                <a:gd name="connsiteY1630" fmla="*/ 320031 h 3378173"/>
                <a:gd name="connsiteX1631" fmla="*/ 2675882 w 3404391"/>
                <a:gd name="connsiteY1631" fmla="*/ 319095 h 3378173"/>
                <a:gd name="connsiteX1632" fmla="*/ 2222025 w 3404391"/>
                <a:gd name="connsiteY1632" fmla="*/ 313952 h 3378173"/>
                <a:gd name="connsiteX1633" fmla="*/ 2236530 w 3404391"/>
                <a:gd name="connsiteY1633" fmla="*/ 314419 h 3378173"/>
                <a:gd name="connsiteX1634" fmla="*/ 2146694 w 3404391"/>
                <a:gd name="connsiteY1634" fmla="*/ 353722 h 3378173"/>
                <a:gd name="connsiteX1635" fmla="*/ 2178511 w 3404391"/>
                <a:gd name="connsiteY1635" fmla="*/ 329392 h 3378173"/>
                <a:gd name="connsiteX1636" fmla="*/ 2182254 w 3404391"/>
                <a:gd name="connsiteY1636" fmla="*/ 327520 h 3378173"/>
                <a:gd name="connsiteX1637" fmla="*/ 2222025 w 3404391"/>
                <a:gd name="connsiteY1637" fmla="*/ 313952 h 3378173"/>
                <a:gd name="connsiteX1638" fmla="*/ 3045049 w 3404391"/>
                <a:gd name="connsiteY1638" fmla="*/ 308800 h 3378173"/>
                <a:gd name="connsiteX1639" fmla="*/ 3060022 w 3404391"/>
                <a:gd name="connsiteY1639" fmla="*/ 312543 h 3378173"/>
                <a:gd name="connsiteX1640" fmla="*/ 3033820 w 3404391"/>
                <a:gd name="connsiteY1640" fmla="*/ 318158 h 3378173"/>
                <a:gd name="connsiteX1641" fmla="*/ 3045049 w 3404391"/>
                <a:gd name="connsiteY1641" fmla="*/ 308800 h 3378173"/>
                <a:gd name="connsiteX1642" fmla="*/ 2206584 w 3404391"/>
                <a:gd name="connsiteY1642" fmla="*/ 291963 h 3378173"/>
                <a:gd name="connsiteX1643" fmla="*/ 2114877 w 3404391"/>
                <a:gd name="connsiteY1643" fmla="*/ 333136 h 3378173"/>
                <a:gd name="connsiteX1644" fmla="*/ 2154180 w 3404391"/>
                <a:gd name="connsiteY1644" fmla="*/ 308807 h 3378173"/>
                <a:gd name="connsiteX1645" fmla="*/ 2206584 w 3404391"/>
                <a:gd name="connsiteY1645" fmla="*/ 291963 h 3378173"/>
                <a:gd name="connsiteX1646" fmla="*/ 2182254 w 3404391"/>
                <a:gd name="connsiteY1646" fmla="*/ 282606 h 3378173"/>
                <a:gd name="connsiteX1647" fmla="*/ 2090547 w 3404391"/>
                <a:gd name="connsiteY1647" fmla="*/ 323781 h 3378173"/>
                <a:gd name="connsiteX1648" fmla="*/ 2131722 w 3404391"/>
                <a:gd name="connsiteY1648" fmla="*/ 303193 h 3378173"/>
                <a:gd name="connsiteX1649" fmla="*/ 2182254 w 3404391"/>
                <a:gd name="connsiteY1649" fmla="*/ 282606 h 3378173"/>
                <a:gd name="connsiteX1650" fmla="*/ 3224720 w 3404391"/>
                <a:gd name="connsiteY1650" fmla="*/ 282598 h 3378173"/>
                <a:gd name="connsiteX1651" fmla="*/ 3232206 w 3404391"/>
                <a:gd name="connsiteY1651" fmla="*/ 286341 h 3378173"/>
                <a:gd name="connsiteX1652" fmla="*/ 3217234 w 3404391"/>
                <a:gd name="connsiteY1652" fmla="*/ 288213 h 3378173"/>
                <a:gd name="connsiteX1653" fmla="*/ 3224720 w 3404391"/>
                <a:gd name="connsiteY1653" fmla="*/ 282598 h 3378173"/>
                <a:gd name="connsiteX1654" fmla="*/ 2434916 w 3404391"/>
                <a:gd name="connsiteY1654" fmla="*/ 274180 h 3378173"/>
                <a:gd name="connsiteX1655" fmla="*/ 2446146 w 3404391"/>
                <a:gd name="connsiteY1655" fmla="*/ 276987 h 3378173"/>
                <a:gd name="connsiteX1656" fmla="*/ 2371283 w 3404391"/>
                <a:gd name="connsiteY1656" fmla="*/ 305061 h 3378173"/>
                <a:gd name="connsiteX1657" fmla="*/ 2401228 w 3404391"/>
                <a:gd name="connsiteY1657" fmla="*/ 282602 h 3378173"/>
                <a:gd name="connsiteX1658" fmla="*/ 2434916 w 3404391"/>
                <a:gd name="connsiteY1658" fmla="*/ 274180 h 3378173"/>
                <a:gd name="connsiteX1659" fmla="*/ 2856254 w 3404391"/>
                <a:gd name="connsiteY1659" fmla="*/ 272306 h 3378173"/>
                <a:gd name="connsiteX1660" fmla="*/ 2863507 w 3404391"/>
                <a:gd name="connsiteY1660" fmla="*/ 276986 h 3378173"/>
                <a:gd name="connsiteX1661" fmla="*/ 2820460 w 3404391"/>
                <a:gd name="connsiteY1661" fmla="*/ 288215 h 3378173"/>
                <a:gd name="connsiteX1662" fmla="*/ 2839176 w 3404391"/>
                <a:gd name="connsiteY1662" fmla="*/ 273242 h 3378173"/>
                <a:gd name="connsiteX1663" fmla="*/ 2856254 w 3404391"/>
                <a:gd name="connsiteY1663" fmla="*/ 272306 h 3378173"/>
                <a:gd name="connsiteX1664" fmla="*/ 3402520 w 3404391"/>
                <a:gd name="connsiteY1664" fmla="*/ 269497 h 3378173"/>
                <a:gd name="connsiteX1665" fmla="*/ 3404391 w 3404391"/>
                <a:gd name="connsiteY1665" fmla="*/ 271369 h 3378173"/>
                <a:gd name="connsiteX1666" fmla="*/ 3402520 w 3404391"/>
                <a:gd name="connsiteY1666" fmla="*/ 271369 h 3378173"/>
                <a:gd name="connsiteX1667" fmla="*/ 3400648 w 3404391"/>
                <a:gd name="connsiteY1667" fmla="*/ 271369 h 3378173"/>
                <a:gd name="connsiteX1668" fmla="*/ 2647106 w 3404391"/>
                <a:gd name="connsiteY1668" fmla="*/ 260844 h 3378173"/>
                <a:gd name="connsiteX1669" fmla="*/ 2655762 w 3404391"/>
                <a:gd name="connsiteY1669" fmla="*/ 265757 h 3378173"/>
                <a:gd name="connsiteX1670" fmla="*/ 2595872 w 3404391"/>
                <a:gd name="connsiteY1670" fmla="*/ 284472 h 3378173"/>
                <a:gd name="connsiteX1671" fmla="*/ 2620202 w 3404391"/>
                <a:gd name="connsiteY1671" fmla="*/ 265757 h 3378173"/>
                <a:gd name="connsiteX1672" fmla="*/ 2647106 w 3404391"/>
                <a:gd name="connsiteY1672" fmla="*/ 260844 h 3378173"/>
                <a:gd name="connsiteX1673" fmla="*/ 2406609 w 3404391"/>
                <a:gd name="connsiteY1673" fmla="*/ 240960 h 3378173"/>
                <a:gd name="connsiteX1674" fmla="*/ 2418072 w 3404391"/>
                <a:gd name="connsiteY1674" fmla="*/ 241429 h 3378173"/>
                <a:gd name="connsiteX1675" fmla="*/ 2337595 w 3404391"/>
                <a:gd name="connsiteY1675" fmla="*/ 271373 h 3378173"/>
                <a:gd name="connsiteX1676" fmla="*/ 2371283 w 3404391"/>
                <a:gd name="connsiteY1676" fmla="*/ 248915 h 3378173"/>
                <a:gd name="connsiteX1677" fmla="*/ 2406609 w 3404391"/>
                <a:gd name="connsiteY1677" fmla="*/ 240960 h 3378173"/>
                <a:gd name="connsiteX1678" fmla="*/ 3038967 w 3404391"/>
                <a:gd name="connsiteY1678" fmla="*/ 235577 h 3378173"/>
                <a:gd name="connsiteX1679" fmla="*/ 3043178 w 3404391"/>
                <a:gd name="connsiteY1679" fmla="*/ 239554 h 3378173"/>
                <a:gd name="connsiteX1680" fmla="*/ 3011361 w 3404391"/>
                <a:gd name="connsiteY1680" fmla="*/ 245169 h 3378173"/>
                <a:gd name="connsiteX1681" fmla="*/ 3026334 w 3404391"/>
                <a:gd name="connsiteY1681" fmla="*/ 235811 h 3378173"/>
                <a:gd name="connsiteX1682" fmla="*/ 3038967 w 3404391"/>
                <a:gd name="connsiteY1682" fmla="*/ 235577 h 3378173"/>
                <a:gd name="connsiteX1683" fmla="*/ 2393742 w 3404391"/>
                <a:gd name="connsiteY1683" fmla="*/ 218971 h 3378173"/>
                <a:gd name="connsiteX1684" fmla="*/ 2311393 w 3404391"/>
                <a:gd name="connsiteY1684" fmla="*/ 248917 h 3378173"/>
                <a:gd name="connsiteX1685" fmla="*/ 2346953 w 3404391"/>
                <a:gd name="connsiteY1685" fmla="*/ 230201 h 3378173"/>
                <a:gd name="connsiteX1686" fmla="*/ 2393742 w 3404391"/>
                <a:gd name="connsiteY1686" fmla="*/ 218971 h 3378173"/>
                <a:gd name="connsiteX1687" fmla="*/ 2621138 w 3404391"/>
                <a:gd name="connsiteY1687" fmla="*/ 213822 h 3378173"/>
                <a:gd name="connsiteX1688" fmla="*/ 2631431 w 3404391"/>
                <a:gd name="connsiteY1688" fmla="*/ 217097 h 3378173"/>
                <a:gd name="connsiteX1689" fmla="*/ 2565926 w 3404391"/>
                <a:gd name="connsiteY1689" fmla="*/ 237685 h 3378173"/>
                <a:gd name="connsiteX1690" fmla="*/ 2594000 w 3404391"/>
                <a:gd name="connsiteY1690" fmla="*/ 218969 h 3378173"/>
                <a:gd name="connsiteX1691" fmla="*/ 2621138 w 3404391"/>
                <a:gd name="connsiteY1691" fmla="*/ 213822 h 3378173"/>
                <a:gd name="connsiteX1692" fmla="*/ 2833094 w 3404391"/>
                <a:gd name="connsiteY1692" fmla="*/ 212183 h 3378173"/>
                <a:gd name="connsiteX1693" fmla="*/ 2841048 w 3404391"/>
                <a:gd name="connsiteY1693" fmla="*/ 215224 h 3378173"/>
                <a:gd name="connsiteX1694" fmla="*/ 2790516 w 3404391"/>
                <a:gd name="connsiteY1694" fmla="*/ 226454 h 3378173"/>
                <a:gd name="connsiteX1695" fmla="*/ 2811103 w 3404391"/>
                <a:gd name="connsiteY1695" fmla="*/ 213353 h 3378173"/>
                <a:gd name="connsiteX1696" fmla="*/ 2833094 w 3404391"/>
                <a:gd name="connsiteY1696" fmla="*/ 212183 h 3378173"/>
                <a:gd name="connsiteX1697" fmla="*/ 3209748 w 3404391"/>
                <a:gd name="connsiteY1697" fmla="*/ 211480 h 3378173"/>
                <a:gd name="connsiteX1698" fmla="*/ 3220977 w 3404391"/>
                <a:gd name="connsiteY1698" fmla="*/ 213352 h 3378173"/>
                <a:gd name="connsiteX1699" fmla="*/ 3200390 w 3404391"/>
                <a:gd name="connsiteY1699" fmla="*/ 217095 h 3378173"/>
                <a:gd name="connsiteX1700" fmla="*/ 3209748 w 3404391"/>
                <a:gd name="connsiteY1700" fmla="*/ 211480 h 3378173"/>
                <a:gd name="connsiteX1701" fmla="*/ 2348824 w 3404391"/>
                <a:gd name="connsiteY1701" fmla="*/ 209616 h 3378173"/>
                <a:gd name="connsiteX1702" fmla="*/ 2275833 w 3404391"/>
                <a:gd name="connsiteY1702" fmla="*/ 235818 h 3378173"/>
                <a:gd name="connsiteX1703" fmla="*/ 2371283 w 3404391"/>
                <a:gd name="connsiteY1703" fmla="*/ 207743 h 3378173"/>
                <a:gd name="connsiteX1704" fmla="*/ 2290805 w 3404391"/>
                <a:gd name="connsiteY1704" fmla="*/ 237688 h 3378173"/>
                <a:gd name="connsiteX1705" fmla="*/ 2328236 w 3404391"/>
                <a:gd name="connsiteY1705" fmla="*/ 222716 h 3378173"/>
                <a:gd name="connsiteX1706" fmla="*/ 2371283 w 3404391"/>
                <a:gd name="connsiteY1706" fmla="*/ 207743 h 3378173"/>
                <a:gd name="connsiteX1707" fmla="*/ 3395033 w 3404391"/>
                <a:gd name="connsiteY1707" fmla="*/ 194636 h 3378173"/>
                <a:gd name="connsiteX1708" fmla="*/ 3398776 w 3404391"/>
                <a:gd name="connsiteY1708" fmla="*/ 196508 h 3378173"/>
                <a:gd name="connsiteX1709" fmla="*/ 3395033 w 3404391"/>
                <a:gd name="connsiteY1709" fmla="*/ 198379 h 3378173"/>
                <a:gd name="connsiteX1710" fmla="*/ 3391290 w 3404391"/>
                <a:gd name="connsiteY1710" fmla="*/ 196508 h 3378173"/>
                <a:gd name="connsiteX1711" fmla="*/ 2597275 w 3404391"/>
                <a:gd name="connsiteY1711" fmla="*/ 178966 h 3378173"/>
                <a:gd name="connsiteX1712" fmla="*/ 2607101 w 3404391"/>
                <a:gd name="connsiteY1712" fmla="*/ 179668 h 3378173"/>
                <a:gd name="connsiteX1713" fmla="*/ 2537853 w 3404391"/>
                <a:gd name="connsiteY1713" fmla="*/ 200255 h 3378173"/>
                <a:gd name="connsiteX1714" fmla="*/ 2567798 w 3404391"/>
                <a:gd name="connsiteY1714" fmla="*/ 185282 h 3378173"/>
                <a:gd name="connsiteX1715" fmla="*/ 2597275 w 3404391"/>
                <a:gd name="connsiteY1715" fmla="*/ 178966 h 3378173"/>
                <a:gd name="connsiteX1716" fmla="*/ 3020017 w 3404391"/>
                <a:gd name="connsiteY1716" fmla="*/ 174752 h 3378173"/>
                <a:gd name="connsiteX1717" fmla="*/ 3024462 w 3404391"/>
                <a:gd name="connsiteY1717" fmla="*/ 177793 h 3378173"/>
                <a:gd name="connsiteX1718" fmla="*/ 2988902 w 3404391"/>
                <a:gd name="connsiteY1718" fmla="*/ 185279 h 3378173"/>
                <a:gd name="connsiteX1719" fmla="*/ 3005746 w 3404391"/>
                <a:gd name="connsiteY1719" fmla="*/ 175922 h 3378173"/>
                <a:gd name="connsiteX1720" fmla="*/ 3020017 w 3404391"/>
                <a:gd name="connsiteY1720" fmla="*/ 174752 h 3378173"/>
                <a:gd name="connsiteX1721" fmla="*/ 2811337 w 3404391"/>
                <a:gd name="connsiteY1721" fmla="*/ 163056 h 3378173"/>
                <a:gd name="connsiteX1722" fmla="*/ 2818589 w 3404391"/>
                <a:gd name="connsiteY1722" fmla="*/ 166565 h 3378173"/>
                <a:gd name="connsiteX1723" fmla="*/ 2764313 w 3404391"/>
                <a:gd name="connsiteY1723" fmla="*/ 179666 h 3378173"/>
                <a:gd name="connsiteX1724" fmla="*/ 2788644 w 3404391"/>
                <a:gd name="connsiteY1724" fmla="*/ 166565 h 3378173"/>
                <a:gd name="connsiteX1725" fmla="*/ 2811337 w 3404391"/>
                <a:gd name="connsiteY1725" fmla="*/ 163056 h 3378173"/>
                <a:gd name="connsiteX1726" fmla="*/ 2584643 w 3404391"/>
                <a:gd name="connsiteY1726" fmla="*/ 155338 h 3378173"/>
                <a:gd name="connsiteX1727" fmla="*/ 2513523 w 3404391"/>
                <a:gd name="connsiteY1727" fmla="*/ 175925 h 3378173"/>
                <a:gd name="connsiteX1728" fmla="*/ 2545340 w 3404391"/>
                <a:gd name="connsiteY1728" fmla="*/ 162824 h 3378173"/>
                <a:gd name="connsiteX1729" fmla="*/ 2584643 w 3404391"/>
                <a:gd name="connsiteY1729" fmla="*/ 155338 h 3378173"/>
                <a:gd name="connsiteX1730" fmla="*/ 2528496 w 3404391"/>
                <a:gd name="connsiteY1730" fmla="*/ 149725 h 3378173"/>
                <a:gd name="connsiteX1731" fmla="*/ 2532239 w 3404391"/>
                <a:gd name="connsiteY1731" fmla="*/ 149725 h 3378173"/>
                <a:gd name="connsiteX1732" fmla="*/ 2500422 w 3404391"/>
                <a:gd name="connsiteY1732" fmla="*/ 159083 h 3378173"/>
                <a:gd name="connsiteX1733" fmla="*/ 2528496 w 3404391"/>
                <a:gd name="connsiteY1733" fmla="*/ 149725 h 3378173"/>
                <a:gd name="connsiteX1734" fmla="*/ 3206707 w 3404391"/>
                <a:gd name="connsiteY1734" fmla="*/ 147381 h 3378173"/>
                <a:gd name="connsiteX1735" fmla="*/ 3209748 w 3404391"/>
                <a:gd name="connsiteY1735" fmla="*/ 149720 h 3378173"/>
                <a:gd name="connsiteX1736" fmla="*/ 3185418 w 3404391"/>
                <a:gd name="connsiteY1736" fmla="*/ 153463 h 3378173"/>
                <a:gd name="connsiteX1737" fmla="*/ 3196647 w 3404391"/>
                <a:gd name="connsiteY1737" fmla="*/ 147848 h 3378173"/>
                <a:gd name="connsiteX1738" fmla="*/ 3206707 w 3404391"/>
                <a:gd name="connsiteY1738" fmla="*/ 147381 h 3378173"/>
                <a:gd name="connsiteX1739" fmla="*/ 2565927 w 3404391"/>
                <a:gd name="connsiteY1739" fmla="*/ 144110 h 3378173"/>
                <a:gd name="connsiteX1740" fmla="*/ 2496679 w 3404391"/>
                <a:gd name="connsiteY1740" fmla="*/ 164697 h 3378173"/>
                <a:gd name="connsiteX1741" fmla="*/ 2528496 w 3404391"/>
                <a:gd name="connsiteY1741" fmla="*/ 153468 h 3378173"/>
                <a:gd name="connsiteX1742" fmla="*/ 2565927 w 3404391"/>
                <a:gd name="connsiteY1742" fmla="*/ 144110 h 3378173"/>
                <a:gd name="connsiteX1743" fmla="*/ 3389419 w 3404391"/>
                <a:gd name="connsiteY1743" fmla="*/ 131004 h 3378173"/>
                <a:gd name="connsiteX1744" fmla="*/ 3395034 w 3404391"/>
                <a:gd name="connsiteY1744" fmla="*/ 132876 h 3378173"/>
                <a:gd name="connsiteX1745" fmla="*/ 3383804 w 3404391"/>
                <a:gd name="connsiteY1745" fmla="*/ 132876 h 3378173"/>
                <a:gd name="connsiteX1746" fmla="*/ 3389419 w 3404391"/>
                <a:gd name="connsiteY1746" fmla="*/ 131004 h 3378173"/>
                <a:gd name="connsiteX1747" fmla="*/ 2792388 w 3404391"/>
                <a:gd name="connsiteY1747" fmla="*/ 126562 h 3378173"/>
                <a:gd name="connsiteX1748" fmla="*/ 2799874 w 3404391"/>
                <a:gd name="connsiteY1748" fmla="*/ 129135 h 3378173"/>
                <a:gd name="connsiteX1749" fmla="*/ 2741855 w 3404391"/>
                <a:gd name="connsiteY1749" fmla="*/ 142236 h 3378173"/>
                <a:gd name="connsiteX1750" fmla="*/ 2768057 w 3404391"/>
                <a:gd name="connsiteY1750" fmla="*/ 131006 h 3378173"/>
                <a:gd name="connsiteX1751" fmla="*/ 2792388 w 3404391"/>
                <a:gd name="connsiteY1751" fmla="*/ 126562 h 3378173"/>
                <a:gd name="connsiteX1752" fmla="*/ 3005279 w 3404391"/>
                <a:gd name="connsiteY1752" fmla="*/ 124923 h 3378173"/>
                <a:gd name="connsiteX1753" fmla="*/ 3009490 w 3404391"/>
                <a:gd name="connsiteY1753" fmla="*/ 127263 h 3378173"/>
                <a:gd name="connsiteX1754" fmla="*/ 2968315 w 3404391"/>
                <a:gd name="connsiteY1754" fmla="*/ 134749 h 3378173"/>
                <a:gd name="connsiteX1755" fmla="*/ 2987031 w 3404391"/>
                <a:gd name="connsiteY1755" fmla="*/ 125391 h 3378173"/>
                <a:gd name="connsiteX1756" fmla="*/ 3005279 w 3404391"/>
                <a:gd name="connsiteY1756" fmla="*/ 124923 h 3378173"/>
                <a:gd name="connsiteX1757" fmla="*/ 2774841 w 3404391"/>
                <a:gd name="connsiteY1757" fmla="*/ 102701 h 3378173"/>
                <a:gd name="connsiteX1758" fmla="*/ 2783029 w 3404391"/>
                <a:gd name="connsiteY1758" fmla="*/ 102934 h 3378173"/>
                <a:gd name="connsiteX1759" fmla="*/ 2725010 w 3404391"/>
                <a:gd name="connsiteY1759" fmla="*/ 116035 h 3378173"/>
                <a:gd name="connsiteX1760" fmla="*/ 2751212 w 3404391"/>
                <a:gd name="connsiteY1760" fmla="*/ 106677 h 3378173"/>
                <a:gd name="connsiteX1761" fmla="*/ 2774841 w 3404391"/>
                <a:gd name="connsiteY1761" fmla="*/ 102701 h 3378173"/>
                <a:gd name="connsiteX1762" fmla="*/ 3197348 w 3404391"/>
                <a:gd name="connsiteY1762" fmla="*/ 96849 h 3378173"/>
                <a:gd name="connsiteX1763" fmla="*/ 3200390 w 3404391"/>
                <a:gd name="connsiteY1763" fmla="*/ 99189 h 3378173"/>
                <a:gd name="connsiteX1764" fmla="*/ 3174188 w 3404391"/>
                <a:gd name="connsiteY1764" fmla="*/ 102932 h 3378173"/>
                <a:gd name="connsiteX1765" fmla="*/ 3187289 w 3404391"/>
                <a:gd name="connsiteY1765" fmla="*/ 97317 h 3378173"/>
                <a:gd name="connsiteX1766" fmla="*/ 3197348 w 3404391"/>
                <a:gd name="connsiteY1766" fmla="*/ 96849 h 3378173"/>
                <a:gd name="connsiteX1767" fmla="*/ 2768057 w 3404391"/>
                <a:gd name="connsiteY1767" fmla="*/ 89835 h 3378173"/>
                <a:gd name="connsiteX1768" fmla="*/ 2710038 w 3404391"/>
                <a:gd name="connsiteY1768" fmla="*/ 102936 h 3378173"/>
                <a:gd name="connsiteX1769" fmla="*/ 2736240 w 3404391"/>
                <a:gd name="connsiteY1769" fmla="*/ 95450 h 3378173"/>
                <a:gd name="connsiteX1770" fmla="*/ 2768057 w 3404391"/>
                <a:gd name="connsiteY1770" fmla="*/ 89835 h 3378173"/>
                <a:gd name="connsiteX1771" fmla="*/ 2990773 w 3404391"/>
                <a:gd name="connsiteY1771" fmla="*/ 86557 h 3378173"/>
                <a:gd name="connsiteX1772" fmla="*/ 2996388 w 3404391"/>
                <a:gd name="connsiteY1772" fmla="*/ 87961 h 3378173"/>
                <a:gd name="connsiteX1773" fmla="*/ 2953342 w 3404391"/>
                <a:gd name="connsiteY1773" fmla="*/ 95447 h 3378173"/>
                <a:gd name="connsiteX1774" fmla="*/ 2973929 w 3404391"/>
                <a:gd name="connsiteY1774" fmla="*/ 87961 h 3378173"/>
                <a:gd name="connsiteX1775" fmla="*/ 2990773 w 3404391"/>
                <a:gd name="connsiteY1775" fmla="*/ 86557 h 3378173"/>
                <a:gd name="connsiteX1776" fmla="*/ 3383804 w 3404391"/>
                <a:gd name="connsiteY1776" fmla="*/ 80473 h 3378173"/>
                <a:gd name="connsiteX1777" fmla="*/ 3389419 w 3404391"/>
                <a:gd name="connsiteY1777" fmla="*/ 82345 h 3378173"/>
                <a:gd name="connsiteX1778" fmla="*/ 3376318 w 3404391"/>
                <a:gd name="connsiteY1778" fmla="*/ 82345 h 3378173"/>
                <a:gd name="connsiteX1779" fmla="*/ 3383804 w 3404391"/>
                <a:gd name="connsiteY1779" fmla="*/ 80473 h 3378173"/>
                <a:gd name="connsiteX1780" fmla="*/ 2975567 w 3404391"/>
                <a:gd name="connsiteY1780" fmla="*/ 61292 h 3378173"/>
                <a:gd name="connsiteX1781" fmla="*/ 2983287 w 3404391"/>
                <a:gd name="connsiteY1781" fmla="*/ 61760 h 3378173"/>
                <a:gd name="connsiteX1782" fmla="*/ 2940241 w 3404391"/>
                <a:gd name="connsiteY1782" fmla="*/ 69246 h 3378173"/>
                <a:gd name="connsiteX1783" fmla="*/ 2960828 w 3404391"/>
                <a:gd name="connsiteY1783" fmla="*/ 63631 h 3378173"/>
                <a:gd name="connsiteX1784" fmla="*/ 2975567 w 3404391"/>
                <a:gd name="connsiteY1784" fmla="*/ 61292 h 3378173"/>
                <a:gd name="connsiteX1785" fmla="*/ 3187523 w 3404391"/>
                <a:gd name="connsiteY1785" fmla="*/ 58483 h 3378173"/>
                <a:gd name="connsiteX1786" fmla="*/ 3191032 w 3404391"/>
                <a:gd name="connsiteY1786" fmla="*/ 59887 h 3378173"/>
                <a:gd name="connsiteX1787" fmla="*/ 3161087 w 3404391"/>
                <a:gd name="connsiteY1787" fmla="*/ 63630 h 3378173"/>
                <a:gd name="connsiteX1788" fmla="*/ 3174188 w 3404391"/>
                <a:gd name="connsiteY1788" fmla="*/ 59887 h 3378173"/>
                <a:gd name="connsiteX1789" fmla="*/ 3187523 w 3404391"/>
                <a:gd name="connsiteY1789" fmla="*/ 58483 h 3378173"/>
                <a:gd name="connsiteX1790" fmla="*/ 2964338 w 3404391"/>
                <a:gd name="connsiteY1790" fmla="*/ 48192 h 3378173"/>
                <a:gd name="connsiteX1791" fmla="*/ 2972058 w 3404391"/>
                <a:gd name="connsiteY1791" fmla="*/ 48660 h 3378173"/>
                <a:gd name="connsiteX1792" fmla="*/ 2929012 w 3404391"/>
                <a:gd name="connsiteY1792" fmla="*/ 56147 h 3378173"/>
                <a:gd name="connsiteX1793" fmla="*/ 2949599 w 3404391"/>
                <a:gd name="connsiteY1793" fmla="*/ 50532 h 3378173"/>
                <a:gd name="connsiteX1794" fmla="*/ 2964338 w 3404391"/>
                <a:gd name="connsiteY1794" fmla="*/ 48192 h 3378173"/>
                <a:gd name="connsiteX1795" fmla="*/ 3378189 w 3404391"/>
                <a:gd name="connsiteY1795" fmla="*/ 41171 h 3378173"/>
                <a:gd name="connsiteX1796" fmla="*/ 3385676 w 3404391"/>
                <a:gd name="connsiteY1796" fmla="*/ 43043 h 3378173"/>
                <a:gd name="connsiteX1797" fmla="*/ 3370703 w 3404391"/>
                <a:gd name="connsiteY1797" fmla="*/ 43043 h 3378173"/>
                <a:gd name="connsiteX1798" fmla="*/ 3378189 w 3404391"/>
                <a:gd name="connsiteY1798" fmla="*/ 41171 h 3378173"/>
                <a:gd name="connsiteX1799" fmla="*/ 3177697 w 3404391"/>
                <a:gd name="connsiteY1799" fmla="*/ 32283 h 3378173"/>
                <a:gd name="connsiteX1800" fmla="*/ 3181674 w 3404391"/>
                <a:gd name="connsiteY1800" fmla="*/ 33687 h 3378173"/>
                <a:gd name="connsiteX1801" fmla="*/ 3151729 w 3404391"/>
                <a:gd name="connsiteY1801" fmla="*/ 37430 h 3378173"/>
                <a:gd name="connsiteX1802" fmla="*/ 3166701 w 3404391"/>
                <a:gd name="connsiteY1802" fmla="*/ 33687 h 3378173"/>
                <a:gd name="connsiteX1803" fmla="*/ 3177697 w 3404391"/>
                <a:gd name="connsiteY1803" fmla="*/ 32283 h 3378173"/>
                <a:gd name="connsiteX1804" fmla="*/ 3168106 w 3404391"/>
                <a:gd name="connsiteY1804" fmla="*/ 18247 h 3378173"/>
                <a:gd name="connsiteX1805" fmla="*/ 3174189 w 3404391"/>
                <a:gd name="connsiteY1805" fmla="*/ 18715 h 3378173"/>
                <a:gd name="connsiteX1806" fmla="*/ 3146115 w 3404391"/>
                <a:gd name="connsiteY1806" fmla="*/ 22458 h 3378173"/>
                <a:gd name="connsiteX1807" fmla="*/ 3159216 w 3404391"/>
                <a:gd name="connsiteY1807" fmla="*/ 20587 h 3378173"/>
                <a:gd name="connsiteX1808" fmla="*/ 3168106 w 3404391"/>
                <a:gd name="connsiteY1808" fmla="*/ 18247 h 3378173"/>
                <a:gd name="connsiteX1809" fmla="*/ 3372575 w 3404391"/>
                <a:gd name="connsiteY1809" fmla="*/ 13100 h 3378173"/>
                <a:gd name="connsiteX1810" fmla="*/ 3381933 w 3404391"/>
                <a:gd name="connsiteY1810" fmla="*/ 14972 h 3378173"/>
                <a:gd name="connsiteX1811" fmla="*/ 3365089 w 3404391"/>
                <a:gd name="connsiteY1811" fmla="*/ 14972 h 3378173"/>
                <a:gd name="connsiteX1812" fmla="*/ 3372575 w 3404391"/>
                <a:gd name="connsiteY1812" fmla="*/ 13100 h 3378173"/>
                <a:gd name="connsiteX1813" fmla="*/ 3363217 w 3404391"/>
                <a:gd name="connsiteY1813" fmla="*/ 0 h 3378173"/>
                <a:gd name="connsiteX1814" fmla="*/ 3370703 w 3404391"/>
                <a:gd name="connsiteY1814" fmla="*/ 0 h 3378173"/>
                <a:gd name="connsiteX1815" fmla="*/ 3378190 w 3404391"/>
                <a:gd name="connsiteY1815" fmla="*/ 0 h 3378173"/>
                <a:gd name="connsiteX1816" fmla="*/ 3363217 w 3404391"/>
                <a:gd name="connsiteY1816" fmla="*/ 0 h 337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Lst>
              <a:rect l="l" t="t" r="r" b="b"/>
              <a:pathLst>
                <a:path w="3404391" h="3378173">
                  <a:moveTo>
                    <a:pt x="11229" y="3368815"/>
                  </a:moveTo>
                  <a:lnTo>
                    <a:pt x="11229" y="3372558"/>
                  </a:lnTo>
                  <a:lnTo>
                    <a:pt x="11229" y="3378173"/>
                  </a:lnTo>
                  <a:lnTo>
                    <a:pt x="9357" y="3374430"/>
                  </a:lnTo>
                  <a:close/>
                  <a:moveTo>
                    <a:pt x="46789" y="3323898"/>
                  </a:moveTo>
                  <a:lnTo>
                    <a:pt x="48660" y="3327641"/>
                  </a:lnTo>
                  <a:lnTo>
                    <a:pt x="46789" y="3333256"/>
                  </a:lnTo>
                  <a:lnTo>
                    <a:pt x="44917" y="3329512"/>
                  </a:lnTo>
                  <a:close/>
                  <a:moveTo>
                    <a:pt x="95450" y="3278980"/>
                  </a:moveTo>
                  <a:cubicBezTo>
                    <a:pt x="97321" y="3278980"/>
                    <a:pt x="97321" y="3286466"/>
                    <a:pt x="95450" y="3290210"/>
                  </a:cubicBezTo>
                  <a:cubicBezTo>
                    <a:pt x="95450" y="3292081"/>
                    <a:pt x="93578" y="3292081"/>
                    <a:pt x="93578" y="3290210"/>
                  </a:cubicBezTo>
                  <a:cubicBezTo>
                    <a:pt x="93578" y="3290210"/>
                    <a:pt x="93578" y="3288338"/>
                    <a:pt x="93578" y="3286466"/>
                  </a:cubicBezTo>
                  <a:cubicBezTo>
                    <a:pt x="93578" y="3280852"/>
                    <a:pt x="95450" y="3278980"/>
                    <a:pt x="95450" y="3278980"/>
                  </a:cubicBezTo>
                  <a:close/>
                  <a:moveTo>
                    <a:pt x="157212" y="3235933"/>
                  </a:moveTo>
                  <a:cubicBezTo>
                    <a:pt x="159084" y="3235933"/>
                    <a:pt x="159084" y="3245291"/>
                    <a:pt x="157212" y="3249034"/>
                  </a:cubicBezTo>
                  <a:cubicBezTo>
                    <a:pt x="157212" y="3250906"/>
                    <a:pt x="155341" y="3250906"/>
                    <a:pt x="153469" y="3249034"/>
                  </a:cubicBezTo>
                  <a:cubicBezTo>
                    <a:pt x="153469" y="3247163"/>
                    <a:pt x="153469" y="3245291"/>
                    <a:pt x="153469" y="3245291"/>
                  </a:cubicBezTo>
                  <a:cubicBezTo>
                    <a:pt x="153469" y="3237805"/>
                    <a:pt x="155341" y="3235933"/>
                    <a:pt x="157212" y="3235933"/>
                  </a:cubicBezTo>
                  <a:close/>
                  <a:moveTo>
                    <a:pt x="1872" y="3204117"/>
                  </a:moveTo>
                  <a:cubicBezTo>
                    <a:pt x="1872" y="3205989"/>
                    <a:pt x="0" y="3219090"/>
                    <a:pt x="0" y="3220961"/>
                  </a:cubicBezTo>
                  <a:cubicBezTo>
                    <a:pt x="0" y="3220961"/>
                    <a:pt x="0" y="3220961"/>
                    <a:pt x="0" y="3215347"/>
                  </a:cubicBezTo>
                  <a:cubicBezTo>
                    <a:pt x="0" y="3207860"/>
                    <a:pt x="1872" y="3204117"/>
                    <a:pt x="1872" y="3204117"/>
                  </a:cubicBezTo>
                  <a:close/>
                  <a:moveTo>
                    <a:pt x="228331" y="3194759"/>
                  </a:moveTo>
                  <a:cubicBezTo>
                    <a:pt x="230203" y="3194759"/>
                    <a:pt x="232074" y="3202245"/>
                    <a:pt x="228331" y="3207860"/>
                  </a:cubicBezTo>
                  <a:cubicBezTo>
                    <a:pt x="226460" y="3209732"/>
                    <a:pt x="224588" y="3209732"/>
                    <a:pt x="224588" y="3207860"/>
                  </a:cubicBezTo>
                  <a:cubicBezTo>
                    <a:pt x="224588" y="3205989"/>
                    <a:pt x="224588" y="3205989"/>
                    <a:pt x="224588" y="3204117"/>
                  </a:cubicBezTo>
                  <a:cubicBezTo>
                    <a:pt x="226460" y="3198502"/>
                    <a:pt x="228331" y="3194759"/>
                    <a:pt x="228331" y="3194759"/>
                  </a:cubicBezTo>
                  <a:close/>
                  <a:moveTo>
                    <a:pt x="312552" y="3157327"/>
                  </a:moveTo>
                  <a:cubicBezTo>
                    <a:pt x="314424" y="3157327"/>
                    <a:pt x="316295" y="3164813"/>
                    <a:pt x="312552" y="3168557"/>
                  </a:cubicBezTo>
                  <a:cubicBezTo>
                    <a:pt x="310681" y="3170428"/>
                    <a:pt x="308809" y="3170428"/>
                    <a:pt x="308809" y="3166685"/>
                  </a:cubicBezTo>
                  <a:cubicBezTo>
                    <a:pt x="308809" y="3166685"/>
                    <a:pt x="308809" y="3164813"/>
                    <a:pt x="308809" y="3164813"/>
                  </a:cubicBezTo>
                  <a:cubicBezTo>
                    <a:pt x="308809" y="3159199"/>
                    <a:pt x="310681" y="3157327"/>
                    <a:pt x="312552" y="3157327"/>
                  </a:cubicBezTo>
                  <a:close/>
                  <a:moveTo>
                    <a:pt x="24330" y="3157327"/>
                  </a:moveTo>
                  <a:cubicBezTo>
                    <a:pt x="24330" y="3157327"/>
                    <a:pt x="24330" y="3161070"/>
                    <a:pt x="24330" y="3166685"/>
                  </a:cubicBezTo>
                  <a:cubicBezTo>
                    <a:pt x="24330" y="3170428"/>
                    <a:pt x="22458" y="3176043"/>
                    <a:pt x="22458" y="3177914"/>
                  </a:cubicBezTo>
                  <a:cubicBezTo>
                    <a:pt x="22458" y="3177914"/>
                    <a:pt x="22458" y="3172300"/>
                    <a:pt x="22458" y="3170428"/>
                  </a:cubicBezTo>
                  <a:cubicBezTo>
                    <a:pt x="24330" y="3161070"/>
                    <a:pt x="24330" y="3157327"/>
                    <a:pt x="24330" y="3157327"/>
                  </a:cubicBezTo>
                  <a:close/>
                  <a:moveTo>
                    <a:pt x="406131" y="3119896"/>
                  </a:moveTo>
                  <a:lnTo>
                    <a:pt x="408002" y="3123639"/>
                  </a:lnTo>
                  <a:lnTo>
                    <a:pt x="406131" y="3129254"/>
                  </a:lnTo>
                  <a:lnTo>
                    <a:pt x="404259" y="3125511"/>
                  </a:lnTo>
                  <a:close/>
                  <a:moveTo>
                    <a:pt x="61761" y="3112409"/>
                  </a:moveTo>
                  <a:cubicBezTo>
                    <a:pt x="63633" y="3110538"/>
                    <a:pt x="63633" y="3125510"/>
                    <a:pt x="59890" y="3132997"/>
                  </a:cubicBezTo>
                  <a:cubicBezTo>
                    <a:pt x="59890" y="3134868"/>
                    <a:pt x="58018" y="3136740"/>
                    <a:pt x="58018" y="3134868"/>
                  </a:cubicBezTo>
                  <a:cubicBezTo>
                    <a:pt x="58018" y="3134868"/>
                    <a:pt x="58018" y="3131125"/>
                    <a:pt x="58018" y="3125510"/>
                  </a:cubicBezTo>
                  <a:cubicBezTo>
                    <a:pt x="58018" y="3118024"/>
                    <a:pt x="59890" y="3112409"/>
                    <a:pt x="61761" y="3112409"/>
                  </a:cubicBezTo>
                  <a:close/>
                  <a:moveTo>
                    <a:pt x="510939" y="3086208"/>
                  </a:moveTo>
                  <a:lnTo>
                    <a:pt x="512810" y="3089951"/>
                  </a:lnTo>
                  <a:lnTo>
                    <a:pt x="510939" y="3093694"/>
                  </a:lnTo>
                  <a:lnTo>
                    <a:pt x="509067" y="3089951"/>
                  </a:lnTo>
                  <a:close/>
                  <a:moveTo>
                    <a:pt x="110423" y="3071235"/>
                  </a:moveTo>
                  <a:cubicBezTo>
                    <a:pt x="114166" y="3069363"/>
                    <a:pt x="112294" y="3088079"/>
                    <a:pt x="108551" y="3095565"/>
                  </a:cubicBezTo>
                  <a:cubicBezTo>
                    <a:pt x="106680" y="3097437"/>
                    <a:pt x="104808" y="3099308"/>
                    <a:pt x="104808" y="3095565"/>
                  </a:cubicBezTo>
                  <a:cubicBezTo>
                    <a:pt x="104808" y="3093694"/>
                    <a:pt x="104808" y="3088079"/>
                    <a:pt x="104808" y="3086207"/>
                  </a:cubicBezTo>
                  <a:cubicBezTo>
                    <a:pt x="106680" y="3076849"/>
                    <a:pt x="108551" y="3071235"/>
                    <a:pt x="110423" y="3071235"/>
                  </a:cubicBezTo>
                  <a:close/>
                  <a:moveTo>
                    <a:pt x="625105" y="3054391"/>
                  </a:moveTo>
                  <a:lnTo>
                    <a:pt x="626977" y="3056263"/>
                  </a:lnTo>
                  <a:lnTo>
                    <a:pt x="625105" y="3058134"/>
                  </a:lnTo>
                  <a:lnTo>
                    <a:pt x="625105" y="3056263"/>
                  </a:lnTo>
                  <a:close/>
                  <a:moveTo>
                    <a:pt x="170313" y="3031932"/>
                  </a:moveTo>
                  <a:cubicBezTo>
                    <a:pt x="174056" y="3030060"/>
                    <a:pt x="174056" y="3046905"/>
                    <a:pt x="170313" y="3054391"/>
                  </a:cubicBezTo>
                  <a:cubicBezTo>
                    <a:pt x="168441" y="3058134"/>
                    <a:pt x="166570" y="3058134"/>
                    <a:pt x="164698" y="3054391"/>
                  </a:cubicBezTo>
                  <a:cubicBezTo>
                    <a:pt x="164698" y="3052520"/>
                    <a:pt x="164698" y="3046905"/>
                    <a:pt x="164698" y="3045033"/>
                  </a:cubicBezTo>
                  <a:cubicBezTo>
                    <a:pt x="166570" y="3037547"/>
                    <a:pt x="168441" y="3031932"/>
                    <a:pt x="170313" y="3031932"/>
                  </a:cubicBezTo>
                  <a:close/>
                  <a:moveTo>
                    <a:pt x="243304" y="2996372"/>
                  </a:moveTo>
                  <a:cubicBezTo>
                    <a:pt x="248918" y="2994500"/>
                    <a:pt x="247047" y="3011344"/>
                    <a:pt x="243304" y="3018831"/>
                  </a:cubicBezTo>
                  <a:cubicBezTo>
                    <a:pt x="241432" y="3022574"/>
                    <a:pt x="237689" y="3022574"/>
                    <a:pt x="237689" y="3016959"/>
                  </a:cubicBezTo>
                  <a:cubicBezTo>
                    <a:pt x="237689" y="3015088"/>
                    <a:pt x="237689" y="3011344"/>
                    <a:pt x="237689" y="3009473"/>
                  </a:cubicBezTo>
                  <a:cubicBezTo>
                    <a:pt x="237689" y="3000115"/>
                    <a:pt x="241432" y="2996372"/>
                    <a:pt x="243304" y="2996372"/>
                  </a:cubicBezTo>
                  <a:close/>
                  <a:moveTo>
                    <a:pt x="29945" y="2992629"/>
                  </a:moveTo>
                  <a:cubicBezTo>
                    <a:pt x="29945" y="2994501"/>
                    <a:pt x="26202" y="3022574"/>
                    <a:pt x="24330" y="3022574"/>
                  </a:cubicBezTo>
                  <a:cubicBezTo>
                    <a:pt x="24330" y="3022574"/>
                    <a:pt x="24330" y="3016960"/>
                    <a:pt x="26202" y="3011345"/>
                  </a:cubicBezTo>
                  <a:cubicBezTo>
                    <a:pt x="28073" y="2998244"/>
                    <a:pt x="28073" y="2992629"/>
                    <a:pt x="29945" y="2992629"/>
                  </a:cubicBezTo>
                  <a:close/>
                  <a:moveTo>
                    <a:pt x="325653" y="2962684"/>
                  </a:moveTo>
                  <a:cubicBezTo>
                    <a:pt x="331268" y="2962684"/>
                    <a:pt x="331268" y="2977657"/>
                    <a:pt x="325653" y="2985143"/>
                  </a:cubicBezTo>
                  <a:cubicBezTo>
                    <a:pt x="321910" y="2988886"/>
                    <a:pt x="318167" y="2988886"/>
                    <a:pt x="318167" y="2983271"/>
                  </a:cubicBezTo>
                  <a:cubicBezTo>
                    <a:pt x="318167" y="2981400"/>
                    <a:pt x="318167" y="2979528"/>
                    <a:pt x="318167" y="2977657"/>
                  </a:cubicBezTo>
                  <a:cubicBezTo>
                    <a:pt x="320039" y="2966427"/>
                    <a:pt x="323782" y="2962684"/>
                    <a:pt x="325653" y="2962684"/>
                  </a:cubicBezTo>
                  <a:close/>
                  <a:moveTo>
                    <a:pt x="52404" y="2947711"/>
                  </a:moveTo>
                  <a:cubicBezTo>
                    <a:pt x="54275" y="2947711"/>
                    <a:pt x="48660" y="2981399"/>
                    <a:pt x="46789" y="2981399"/>
                  </a:cubicBezTo>
                  <a:cubicBezTo>
                    <a:pt x="46789" y="2981399"/>
                    <a:pt x="44917" y="2979528"/>
                    <a:pt x="46789" y="2968298"/>
                  </a:cubicBezTo>
                  <a:cubicBezTo>
                    <a:pt x="50532" y="2955197"/>
                    <a:pt x="52404" y="2947711"/>
                    <a:pt x="52404" y="2947711"/>
                  </a:cubicBezTo>
                  <a:close/>
                  <a:moveTo>
                    <a:pt x="419232" y="2930867"/>
                  </a:moveTo>
                  <a:cubicBezTo>
                    <a:pt x="424847" y="2930867"/>
                    <a:pt x="424847" y="2943968"/>
                    <a:pt x="419232" y="2951454"/>
                  </a:cubicBezTo>
                  <a:cubicBezTo>
                    <a:pt x="415489" y="2955197"/>
                    <a:pt x="411746" y="2953326"/>
                    <a:pt x="411746" y="2947711"/>
                  </a:cubicBezTo>
                  <a:cubicBezTo>
                    <a:pt x="411746" y="2945839"/>
                    <a:pt x="411746" y="2945839"/>
                    <a:pt x="411746" y="2943968"/>
                  </a:cubicBezTo>
                  <a:cubicBezTo>
                    <a:pt x="413618" y="2936481"/>
                    <a:pt x="417361" y="2930867"/>
                    <a:pt x="419232" y="2930867"/>
                  </a:cubicBezTo>
                  <a:close/>
                  <a:moveTo>
                    <a:pt x="524040" y="2904665"/>
                  </a:moveTo>
                  <a:cubicBezTo>
                    <a:pt x="529655" y="2904665"/>
                    <a:pt x="529655" y="2914023"/>
                    <a:pt x="524040" y="2919638"/>
                  </a:cubicBezTo>
                  <a:cubicBezTo>
                    <a:pt x="520297" y="2923381"/>
                    <a:pt x="516554" y="2923381"/>
                    <a:pt x="516554" y="2917766"/>
                  </a:cubicBezTo>
                  <a:cubicBezTo>
                    <a:pt x="516554" y="2917766"/>
                    <a:pt x="516554" y="2915895"/>
                    <a:pt x="516554" y="2915895"/>
                  </a:cubicBezTo>
                  <a:cubicBezTo>
                    <a:pt x="518426" y="2908408"/>
                    <a:pt x="522169" y="2904665"/>
                    <a:pt x="524040" y="2904665"/>
                  </a:cubicBezTo>
                  <a:close/>
                  <a:moveTo>
                    <a:pt x="89835" y="2904665"/>
                  </a:moveTo>
                  <a:cubicBezTo>
                    <a:pt x="93578" y="2902794"/>
                    <a:pt x="91707" y="2925252"/>
                    <a:pt x="86092" y="2936482"/>
                  </a:cubicBezTo>
                  <a:cubicBezTo>
                    <a:pt x="84221" y="2942097"/>
                    <a:pt x="82349" y="2943968"/>
                    <a:pt x="82349" y="2942097"/>
                  </a:cubicBezTo>
                  <a:cubicBezTo>
                    <a:pt x="82349" y="2940225"/>
                    <a:pt x="82349" y="2936482"/>
                    <a:pt x="82349" y="2927124"/>
                  </a:cubicBezTo>
                  <a:cubicBezTo>
                    <a:pt x="84221" y="2912152"/>
                    <a:pt x="87964" y="2904665"/>
                    <a:pt x="89835" y="2904665"/>
                  </a:cubicBezTo>
                  <a:close/>
                  <a:moveTo>
                    <a:pt x="638206" y="2878463"/>
                  </a:moveTo>
                  <a:cubicBezTo>
                    <a:pt x="641949" y="2878463"/>
                    <a:pt x="643821" y="2885949"/>
                    <a:pt x="638206" y="2889692"/>
                  </a:cubicBezTo>
                  <a:cubicBezTo>
                    <a:pt x="634463" y="2893436"/>
                    <a:pt x="632592" y="2891564"/>
                    <a:pt x="630720" y="2887821"/>
                  </a:cubicBezTo>
                  <a:cubicBezTo>
                    <a:pt x="630720" y="2887821"/>
                    <a:pt x="630720" y="2887821"/>
                    <a:pt x="630720" y="2885949"/>
                  </a:cubicBezTo>
                  <a:cubicBezTo>
                    <a:pt x="632592" y="2882206"/>
                    <a:pt x="636335" y="2878463"/>
                    <a:pt x="638206" y="2878463"/>
                  </a:cubicBezTo>
                  <a:close/>
                  <a:moveTo>
                    <a:pt x="138496" y="2865362"/>
                  </a:moveTo>
                  <a:cubicBezTo>
                    <a:pt x="144111" y="2863490"/>
                    <a:pt x="140367" y="2889692"/>
                    <a:pt x="134753" y="2902794"/>
                  </a:cubicBezTo>
                  <a:cubicBezTo>
                    <a:pt x="132881" y="2906537"/>
                    <a:pt x="131010" y="2906537"/>
                    <a:pt x="129138" y="2904665"/>
                  </a:cubicBezTo>
                  <a:cubicBezTo>
                    <a:pt x="129138" y="2902794"/>
                    <a:pt x="129138" y="2897179"/>
                    <a:pt x="129138" y="2889692"/>
                  </a:cubicBezTo>
                  <a:cubicBezTo>
                    <a:pt x="131010" y="2874720"/>
                    <a:pt x="134753" y="2865362"/>
                    <a:pt x="138496" y="2865362"/>
                  </a:cubicBezTo>
                  <a:close/>
                  <a:moveTo>
                    <a:pt x="761730" y="2856004"/>
                  </a:moveTo>
                  <a:cubicBezTo>
                    <a:pt x="765473" y="2856004"/>
                    <a:pt x="765473" y="2859747"/>
                    <a:pt x="763602" y="2863490"/>
                  </a:cubicBezTo>
                  <a:cubicBezTo>
                    <a:pt x="761730" y="2867233"/>
                    <a:pt x="757987" y="2865362"/>
                    <a:pt x="757987" y="2861618"/>
                  </a:cubicBezTo>
                  <a:cubicBezTo>
                    <a:pt x="757987" y="2857875"/>
                    <a:pt x="759859" y="2856004"/>
                    <a:pt x="761730" y="2856004"/>
                  </a:cubicBezTo>
                  <a:close/>
                  <a:moveTo>
                    <a:pt x="894612" y="2837289"/>
                  </a:moveTo>
                  <a:lnTo>
                    <a:pt x="896483" y="2839160"/>
                  </a:lnTo>
                  <a:lnTo>
                    <a:pt x="894612" y="2841032"/>
                  </a:lnTo>
                  <a:lnTo>
                    <a:pt x="892740" y="2839160"/>
                  </a:lnTo>
                  <a:close/>
                  <a:moveTo>
                    <a:pt x="198386" y="2829802"/>
                  </a:moveTo>
                  <a:cubicBezTo>
                    <a:pt x="205873" y="2827931"/>
                    <a:pt x="202129" y="2856004"/>
                    <a:pt x="194643" y="2867234"/>
                  </a:cubicBezTo>
                  <a:cubicBezTo>
                    <a:pt x="190900" y="2870977"/>
                    <a:pt x="189028" y="2870977"/>
                    <a:pt x="187157" y="2867234"/>
                  </a:cubicBezTo>
                  <a:cubicBezTo>
                    <a:pt x="185285" y="2863491"/>
                    <a:pt x="187157" y="2856004"/>
                    <a:pt x="187157" y="2854133"/>
                  </a:cubicBezTo>
                  <a:cubicBezTo>
                    <a:pt x="189028" y="2839160"/>
                    <a:pt x="194643" y="2829802"/>
                    <a:pt x="198386" y="2829802"/>
                  </a:cubicBezTo>
                  <a:close/>
                  <a:moveTo>
                    <a:pt x="269506" y="2797985"/>
                  </a:moveTo>
                  <a:cubicBezTo>
                    <a:pt x="276992" y="2796114"/>
                    <a:pt x="275121" y="2824187"/>
                    <a:pt x="265763" y="2833545"/>
                  </a:cubicBezTo>
                  <a:cubicBezTo>
                    <a:pt x="262020" y="2839160"/>
                    <a:pt x="258277" y="2837288"/>
                    <a:pt x="256405" y="2829802"/>
                  </a:cubicBezTo>
                  <a:cubicBezTo>
                    <a:pt x="256405" y="2826059"/>
                    <a:pt x="256405" y="2822316"/>
                    <a:pt x="256405" y="2818573"/>
                  </a:cubicBezTo>
                  <a:cubicBezTo>
                    <a:pt x="260148" y="2805471"/>
                    <a:pt x="265763" y="2797985"/>
                    <a:pt x="269506" y="2797985"/>
                  </a:cubicBezTo>
                  <a:close/>
                  <a:moveTo>
                    <a:pt x="67513" y="2794127"/>
                  </a:moveTo>
                  <a:lnTo>
                    <a:pt x="65271" y="2804770"/>
                  </a:lnTo>
                  <a:cubicBezTo>
                    <a:pt x="63166" y="2814362"/>
                    <a:pt x="60826" y="2824188"/>
                    <a:pt x="59890" y="2826060"/>
                  </a:cubicBezTo>
                  <a:cubicBezTo>
                    <a:pt x="59890" y="2826060"/>
                    <a:pt x="59890" y="2826060"/>
                    <a:pt x="63633" y="2809216"/>
                  </a:cubicBezTo>
                  <a:close/>
                  <a:moveTo>
                    <a:pt x="69248" y="2784885"/>
                  </a:moveTo>
                  <a:cubicBezTo>
                    <a:pt x="69248" y="2785820"/>
                    <a:pt x="68780" y="2788628"/>
                    <a:pt x="67844" y="2792839"/>
                  </a:cubicBezTo>
                  <a:lnTo>
                    <a:pt x="67513" y="2794127"/>
                  </a:lnTo>
                  <a:lnTo>
                    <a:pt x="68049" y="2791581"/>
                  </a:lnTo>
                  <a:cubicBezTo>
                    <a:pt x="68780" y="2787926"/>
                    <a:pt x="69248" y="2785353"/>
                    <a:pt x="69248" y="2784885"/>
                  </a:cubicBezTo>
                  <a:close/>
                  <a:moveTo>
                    <a:pt x="351855" y="2769912"/>
                  </a:moveTo>
                  <a:cubicBezTo>
                    <a:pt x="359341" y="2769912"/>
                    <a:pt x="359341" y="2792371"/>
                    <a:pt x="349983" y="2803600"/>
                  </a:cubicBezTo>
                  <a:cubicBezTo>
                    <a:pt x="344369" y="2809215"/>
                    <a:pt x="340626" y="2807343"/>
                    <a:pt x="338754" y="2799857"/>
                  </a:cubicBezTo>
                  <a:cubicBezTo>
                    <a:pt x="338754" y="2796114"/>
                    <a:pt x="338754" y="2792371"/>
                    <a:pt x="338754" y="2790499"/>
                  </a:cubicBezTo>
                  <a:cubicBezTo>
                    <a:pt x="342497" y="2777398"/>
                    <a:pt x="348112" y="2769912"/>
                    <a:pt x="351855" y="2769912"/>
                  </a:cubicBezTo>
                  <a:close/>
                  <a:moveTo>
                    <a:pt x="445434" y="2745581"/>
                  </a:moveTo>
                  <a:cubicBezTo>
                    <a:pt x="454792" y="2745581"/>
                    <a:pt x="452920" y="2766168"/>
                    <a:pt x="443562" y="2775526"/>
                  </a:cubicBezTo>
                  <a:cubicBezTo>
                    <a:pt x="437948" y="2781141"/>
                    <a:pt x="432333" y="2779269"/>
                    <a:pt x="432333" y="2769912"/>
                  </a:cubicBezTo>
                  <a:cubicBezTo>
                    <a:pt x="432333" y="2768040"/>
                    <a:pt x="432333" y="2766168"/>
                    <a:pt x="432333" y="2764297"/>
                  </a:cubicBezTo>
                  <a:cubicBezTo>
                    <a:pt x="434205" y="2751196"/>
                    <a:pt x="441691" y="2745581"/>
                    <a:pt x="445434" y="2745581"/>
                  </a:cubicBezTo>
                  <a:close/>
                  <a:moveTo>
                    <a:pt x="93578" y="2739967"/>
                  </a:moveTo>
                  <a:cubicBezTo>
                    <a:pt x="97321" y="2741839"/>
                    <a:pt x="86092" y="2784885"/>
                    <a:pt x="82349" y="2786756"/>
                  </a:cubicBezTo>
                  <a:cubicBezTo>
                    <a:pt x="82349" y="2786756"/>
                    <a:pt x="80477" y="2783013"/>
                    <a:pt x="84220" y="2768041"/>
                  </a:cubicBezTo>
                  <a:cubicBezTo>
                    <a:pt x="87964" y="2751197"/>
                    <a:pt x="91707" y="2741839"/>
                    <a:pt x="93578" y="2739967"/>
                  </a:cubicBezTo>
                  <a:close/>
                  <a:moveTo>
                    <a:pt x="548371" y="2723123"/>
                  </a:moveTo>
                  <a:cubicBezTo>
                    <a:pt x="555857" y="2723123"/>
                    <a:pt x="555857" y="2739967"/>
                    <a:pt x="548371" y="2749325"/>
                  </a:cubicBezTo>
                  <a:cubicBezTo>
                    <a:pt x="542756" y="2754940"/>
                    <a:pt x="535270" y="2753068"/>
                    <a:pt x="535270" y="2743710"/>
                  </a:cubicBezTo>
                  <a:cubicBezTo>
                    <a:pt x="535270" y="2741839"/>
                    <a:pt x="535270" y="2739967"/>
                    <a:pt x="535270" y="2739967"/>
                  </a:cubicBezTo>
                  <a:cubicBezTo>
                    <a:pt x="537142" y="2728738"/>
                    <a:pt x="544628" y="2723123"/>
                    <a:pt x="548371" y="2723123"/>
                  </a:cubicBezTo>
                  <a:close/>
                  <a:moveTo>
                    <a:pt x="660665" y="2704407"/>
                  </a:moveTo>
                  <a:cubicBezTo>
                    <a:pt x="668152" y="2704407"/>
                    <a:pt x="668152" y="2719380"/>
                    <a:pt x="660665" y="2724994"/>
                  </a:cubicBezTo>
                  <a:cubicBezTo>
                    <a:pt x="655051" y="2730609"/>
                    <a:pt x="649436" y="2728738"/>
                    <a:pt x="649436" y="2719380"/>
                  </a:cubicBezTo>
                  <a:cubicBezTo>
                    <a:pt x="649436" y="2719380"/>
                    <a:pt x="649436" y="2717508"/>
                    <a:pt x="649436" y="2717508"/>
                  </a:cubicBezTo>
                  <a:cubicBezTo>
                    <a:pt x="651308" y="2710022"/>
                    <a:pt x="656922" y="2704407"/>
                    <a:pt x="660665" y="2704407"/>
                  </a:cubicBezTo>
                  <a:close/>
                  <a:moveTo>
                    <a:pt x="129138" y="2700664"/>
                  </a:moveTo>
                  <a:cubicBezTo>
                    <a:pt x="132881" y="2698792"/>
                    <a:pt x="129138" y="2726866"/>
                    <a:pt x="121652" y="2743710"/>
                  </a:cubicBezTo>
                  <a:cubicBezTo>
                    <a:pt x="119780" y="2749325"/>
                    <a:pt x="117908" y="2751196"/>
                    <a:pt x="116037" y="2751196"/>
                  </a:cubicBezTo>
                  <a:cubicBezTo>
                    <a:pt x="116037" y="2749325"/>
                    <a:pt x="114165" y="2745582"/>
                    <a:pt x="117908" y="2730609"/>
                  </a:cubicBezTo>
                  <a:cubicBezTo>
                    <a:pt x="121652" y="2710022"/>
                    <a:pt x="127266" y="2700664"/>
                    <a:pt x="129138" y="2700664"/>
                  </a:cubicBezTo>
                  <a:close/>
                  <a:moveTo>
                    <a:pt x="784189" y="2691306"/>
                  </a:moveTo>
                  <a:cubicBezTo>
                    <a:pt x="789804" y="2691306"/>
                    <a:pt x="791675" y="2700664"/>
                    <a:pt x="786060" y="2706279"/>
                  </a:cubicBezTo>
                  <a:cubicBezTo>
                    <a:pt x="780446" y="2711893"/>
                    <a:pt x="774831" y="2710022"/>
                    <a:pt x="774831" y="2702535"/>
                  </a:cubicBezTo>
                  <a:cubicBezTo>
                    <a:pt x="774831" y="2702535"/>
                    <a:pt x="774831" y="2700664"/>
                    <a:pt x="774831" y="2700664"/>
                  </a:cubicBezTo>
                  <a:cubicBezTo>
                    <a:pt x="774831" y="2693177"/>
                    <a:pt x="780446" y="2691306"/>
                    <a:pt x="784189" y="2691306"/>
                  </a:cubicBezTo>
                  <a:close/>
                  <a:moveTo>
                    <a:pt x="915199" y="2678205"/>
                  </a:moveTo>
                  <a:cubicBezTo>
                    <a:pt x="918942" y="2678205"/>
                    <a:pt x="920814" y="2683819"/>
                    <a:pt x="917071" y="2687563"/>
                  </a:cubicBezTo>
                  <a:cubicBezTo>
                    <a:pt x="913328" y="2691306"/>
                    <a:pt x="909585" y="2689434"/>
                    <a:pt x="907713" y="2685691"/>
                  </a:cubicBezTo>
                  <a:cubicBezTo>
                    <a:pt x="907713" y="2685691"/>
                    <a:pt x="907713" y="2685691"/>
                    <a:pt x="907713" y="2683819"/>
                  </a:cubicBezTo>
                  <a:cubicBezTo>
                    <a:pt x="909585" y="2681948"/>
                    <a:pt x="913328" y="2678205"/>
                    <a:pt x="915199" y="2678205"/>
                  </a:cubicBezTo>
                  <a:close/>
                  <a:moveTo>
                    <a:pt x="1055567" y="2670718"/>
                  </a:moveTo>
                  <a:lnTo>
                    <a:pt x="1057439" y="2672590"/>
                  </a:lnTo>
                  <a:lnTo>
                    <a:pt x="1053696" y="2676333"/>
                  </a:lnTo>
                  <a:lnTo>
                    <a:pt x="1051824" y="2674461"/>
                  </a:lnTo>
                  <a:close/>
                  <a:moveTo>
                    <a:pt x="177799" y="2663232"/>
                  </a:moveTo>
                  <a:cubicBezTo>
                    <a:pt x="185285" y="2661360"/>
                    <a:pt x="177799" y="2696921"/>
                    <a:pt x="168441" y="2711893"/>
                  </a:cubicBezTo>
                  <a:cubicBezTo>
                    <a:pt x="164698" y="2717508"/>
                    <a:pt x="162826" y="2717508"/>
                    <a:pt x="162826" y="2713765"/>
                  </a:cubicBezTo>
                  <a:cubicBezTo>
                    <a:pt x="162826" y="2710021"/>
                    <a:pt x="162826" y="2704407"/>
                    <a:pt x="164698" y="2695049"/>
                  </a:cubicBezTo>
                  <a:cubicBezTo>
                    <a:pt x="168441" y="2674461"/>
                    <a:pt x="174055" y="2665104"/>
                    <a:pt x="177799" y="2663232"/>
                  </a:cubicBezTo>
                  <a:close/>
                  <a:moveTo>
                    <a:pt x="237689" y="2631415"/>
                  </a:moveTo>
                  <a:cubicBezTo>
                    <a:pt x="245175" y="2629543"/>
                    <a:pt x="239561" y="2665103"/>
                    <a:pt x="230203" y="2680076"/>
                  </a:cubicBezTo>
                  <a:cubicBezTo>
                    <a:pt x="226460" y="2685691"/>
                    <a:pt x="222717" y="2685691"/>
                    <a:pt x="220845" y="2678204"/>
                  </a:cubicBezTo>
                  <a:cubicBezTo>
                    <a:pt x="220845" y="2672590"/>
                    <a:pt x="220845" y="2665103"/>
                    <a:pt x="222717" y="2661360"/>
                  </a:cubicBezTo>
                  <a:cubicBezTo>
                    <a:pt x="226460" y="2642644"/>
                    <a:pt x="233946" y="2631415"/>
                    <a:pt x="237689" y="2631415"/>
                  </a:cubicBezTo>
                  <a:close/>
                  <a:moveTo>
                    <a:pt x="306938" y="2603342"/>
                  </a:moveTo>
                  <a:cubicBezTo>
                    <a:pt x="316296" y="2603342"/>
                    <a:pt x="310681" y="2637030"/>
                    <a:pt x="299451" y="2650131"/>
                  </a:cubicBezTo>
                  <a:cubicBezTo>
                    <a:pt x="293837" y="2655746"/>
                    <a:pt x="290094" y="2653874"/>
                    <a:pt x="288222" y="2646388"/>
                  </a:cubicBezTo>
                  <a:cubicBezTo>
                    <a:pt x="288222" y="2640773"/>
                    <a:pt x="288222" y="2635159"/>
                    <a:pt x="290094" y="2633287"/>
                  </a:cubicBezTo>
                  <a:cubicBezTo>
                    <a:pt x="295708" y="2614571"/>
                    <a:pt x="303195" y="2605213"/>
                    <a:pt x="306938" y="2603342"/>
                  </a:cubicBezTo>
                  <a:close/>
                  <a:moveTo>
                    <a:pt x="389287" y="2580883"/>
                  </a:moveTo>
                  <a:cubicBezTo>
                    <a:pt x="400516" y="2580883"/>
                    <a:pt x="396773" y="2610828"/>
                    <a:pt x="383672" y="2625801"/>
                  </a:cubicBezTo>
                  <a:cubicBezTo>
                    <a:pt x="376186" y="2633287"/>
                    <a:pt x="370571" y="2631416"/>
                    <a:pt x="370571" y="2620186"/>
                  </a:cubicBezTo>
                  <a:cubicBezTo>
                    <a:pt x="370571" y="2616443"/>
                    <a:pt x="370571" y="2610828"/>
                    <a:pt x="372443" y="2608957"/>
                  </a:cubicBezTo>
                  <a:cubicBezTo>
                    <a:pt x="376186" y="2588369"/>
                    <a:pt x="383672" y="2580883"/>
                    <a:pt x="389287" y="2580883"/>
                  </a:cubicBezTo>
                  <a:close/>
                  <a:moveTo>
                    <a:pt x="121652" y="2580883"/>
                  </a:moveTo>
                  <a:cubicBezTo>
                    <a:pt x="121652" y="2582755"/>
                    <a:pt x="108551" y="2629544"/>
                    <a:pt x="106679" y="2635159"/>
                  </a:cubicBezTo>
                  <a:cubicBezTo>
                    <a:pt x="106679" y="2635159"/>
                    <a:pt x="106679" y="2635159"/>
                    <a:pt x="112294" y="2614571"/>
                  </a:cubicBezTo>
                  <a:cubicBezTo>
                    <a:pt x="117908" y="2593984"/>
                    <a:pt x="121652" y="2582755"/>
                    <a:pt x="121652" y="2580883"/>
                  </a:cubicBezTo>
                  <a:close/>
                  <a:moveTo>
                    <a:pt x="480994" y="2562167"/>
                  </a:moveTo>
                  <a:cubicBezTo>
                    <a:pt x="492223" y="2562167"/>
                    <a:pt x="488480" y="2590241"/>
                    <a:pt x="477251" y="2603342"/>
                  </a:cubicBezTo>
                  <a:cubicBezTo>
                    <a:pt x="469764" y="2610828"/>
                    <a:pt x="462278" y="2607085"/>
                    <a:pt x="462278" y="2595855"/>
                  </a:cubicBezTo>
                  <a:cubicBezTo>
                    <a:pt x="462278" y="2592112"/>
                    <a:pt x="462278" y="2590241"/>
                    <a:pt x="464150" y="2586498"/>
                  </a:cubicBezTo>
                  <a:cubicBezTo>
                    <a:pt x="467893" y="2569653"/>
                    <a:pt x="475379" y="2562167"/>
                    <a:pt x="480994" y="2562167"/>
                  </a:cubicBezTo>
                  <a:close/>
                  <a:moveTo>
                    <a:pt x="583931" y="2545323"/>
                  </a:moveTo>
                  <a:cubicBezTo>
                    <a:pt x="595160" y="2545323"/>
                    <a:pt x="593289" y="2569654"/>
                    <a:pt x="582059" y="2580883"/>
                  </a:cubicBezTo>
                  <a:cubicBezTo>
                    <a:pt x="572701" y="2588369"/>
                    <a:pt x="565215" y="2584626"/>
                    <a:pt x="565215" y="2573397"/>
                  </a:cubicBezTo>
                  <a:cubicBezTo>
                    <a:pt x="565215" y="2571525"/>
                    <a:pt x="565215" y="2569654"/>
                    <a:pt x="565215" y="2567782"/>
                  </a:cubicBezTo>
                  <a:cubicBezTo>
                    <a:pt x="568958" y="2552809"/>
                    <a:pt x="578316" y="2545323"/>
                    <a:pt x="583931" y="2545323"/>
                  </a:cubicBezTo>
                  <a:close/>
                  <a:moveTo>
                    <a:pt x="145983" y="2537837"/>
                  </a:moveTo>
                  <a:cubicBezTo>
                    <a:pt x="149726" y="2539708"/>
                    <a:pt x="132882" y="2593984"/>
                    <a:pt x="129138" y="2595856"/>
                  </a:cubicBezTo>
                  <a:cubicBezTo>
                    <a:pt x="129138" y="2595856"/>
                    <a:pt x="127267" y="2593984"/>
                    <a:pt x="132882" y="2571525"/>
                  </a:cubicBezTo>
                  <a:cubicBezTo>
                    <a:pt x="140368" y="2550938"/>
                    <a:pt x="144111" y="2537837"/>
                    <a:pt x="145983" y="2537837"/>
                  </a:cubicBezTo>
                  <a:close/>
                  <a:moveTo>
                    <a:pt x="694354" y="2534094"/>
                  </a:moveTo>
                  <a:cubicBezTo>
                    <a:pt x="705583" y="2534094"/>
                    <a:pt x="703712" y="2554681"/>
                    <a:pt x="692482" y="2564039"/>
                  </a:cubicBezTo>
                  <a:cubicBezTo>
                    <a:pt x="683124" y="2571525"/>
                    <a:pt x="675638" y="2567782"/>
                    <a:pt x="675638" y="2554681"/>
                  </a:cubicBezTo>
                  <a:cubicBezTo>
                    <a:pt x="675638" y="2552810"/>
                    <a:pt x="675638" y="2552810"/>
                    <a:pt x="675638" y="2550938"/>
                  </a:cubicBezTo>
                  <a:cubicBezTo>
                    <a:pt x="681253" y="2539709"/>
                    <a:pt x="690611" y="2534094"/>
                    <a:pt x="694354" y="2534094"/>
                  </a:cubicBezTo>
                  <a:close/>
                  <a:moveTo>
                    <a:pt x="1231495" y="2526607"/>
                  </a:moveTo>
                  <a:cubicBezTo>
                    <a:pt x="1235238" y="2526607"/>
                    <a:pt x="1235238" y="2530350"/>
                    <a:pt x="1233366" y="2532222"/>
                  </a:cubicBezTo>
                  <a:cubicBezTo>
                    <a:pt x="1229623" y="2534093"/>
                    <a:pt x="1225880" y="2534093"/>
                    <a:pt x="1225880" y="2530350"/>
                  </a:cubicBezTo>
                  <a:cubicBezTo>
                    <a:pt x="1225880" y="2526607"/>
                    <a:pt x="1227752" y="2526607"/>
                    <a:pt x="1231495" y="2526607"/>
                  </a:cubicBezTo>
                  <a:close/>
                  <a:moveTo>
                    <a:pt x="816005" y="2526607"/>
                  </a:moveTo>
                  <a:cubicBezTo>
                    <a:pt x="825363" y="2526607"/>
                    <a:pt x="825363" y="2541580"/>
                    <a:pt x="816005" y="2550938"/>
                  </a:cubicBezTo>
                  <a:cubicBezTo>
                    <a:pt x="808519" y="2558424"/>
                    <a:pt x="799161" y="2554681"/>
                    <a:pt x="799161" y="2543451"/>
                  </a:cubicBezTo>
                  <a:cubicBezTo>
                    <a:pt x="799161" y="2543451"/>
                    <a:pt x="799161" y="2541580"/>
                    <a:pt x="799161" y="2539708"/>
                  </a:cubicBezTo>
                  <a:cubicBezTo>
                    <a:pt x="802904" y="2530350"/>
                    <a:pt x="810390" y="2526607"/>
                    <a:pt x="816005" y="2526607"/>
                  </a:cubicBezTo>
                  <a:close/>
                  <a:moveTo>
                    <a:pt x="1083641" y="2522864"/>
                  </a:moveTo>
                  <a:cubicBezTo>
                    <a:pt x="1089256" y="2522864"/>
                    <a:pt x="1091127" y="2530350"/>
                    <a:pt x="1085512" y="2534093"/>
                  </a:cubicBezTo>
                  <a:cubicBezTo>
                    <a:pt x="1079898" y="2537837"/>
                    <a:pt x="1074283" y="2535965"/>
                    <a:pt x="1074283" y="2530350"/>
                  </a:cubicBezTo>
                  <a:cubicBezTo>
                    <a:pt x="1076155" y="2524735"/>
                    <a:pt x="1081769" y="2522864"/>
                    <a:pt x="1083641" y="2522864"/>
                  </a:cubicBezTo>
                  <a:close/>
                  <a:moveTo>
                    <a:pt x="945144" y="2522864"/>
                  </a:moveTo>
                  <a:cubicBezTo>
                    <a:pt x="952630" y="2522864"/>
                    <a:pt x="954502" y="2534093"/>
                    <a:pt x="945144" y="2541580"/>
                  </a:cubicBezTo>
                  <a:cubicBezTo>
                    <a:pt x="937658" y="2547195"/>
                    <a:pt x="930171" y="2543451"/>
                    <a:pt x="932043" y="2535965"/>
                  </a:cubicBezTo>
                  <a:cubicBezTo>
                    <a:pt x="932043" y="2535965"/>
                    <a:pt x="932043" y="2535965"/>
                    <a:pt x="932043" y="2534093"/>
                  </a:cubicBezTo>
                  <a:cubicBezTo>
                    <a:pt x="935786" y="2526607"/>
                    <a:pt x="941401" y="2522864"/>
                    <a:pt x="945144" y="2522864"/>
                  </a:cubicBezTo>
                  <a:close/>
                  <a:moveTo>
                    <a:pt x="181542" y="2498534"/>
                  </a:moveTo>
                  <a:cubicBezTo>
                    <a:pt x="187157" y="2496662"/>
                    <a:pt x="179671" y="2528479"/>
                    <a:pt x="170313" y="2549066"/>
                  </a:cubicBezTo>
                  <a:cubicBezTo>
                    <a:pt x="166570" y="2558424"/>
                    <a:pt x="162826" y="2562167"/>
                    <a:pt x="162826" y="2558424"/>
                  </a:cubicBezTo>
                  <a:cubicBezTo>
                    <a:pt x="162826" y="2556553"/>
                    <a:pt x="160955" y="2552809"/>
                    <a:pt x="166570" y="2534094"/>
                  </a:cubicBezTo>
                  <a:cubicBezTo>
                    <a:pt x="172184" y="2511635"/>
                    <a:pt x="179671" y="2500406"/>
                    <a:pt x="181542" y="2498534"/>
                  </a:cubicBezTo>
                  <a:close/>
                  <a:moveTo>
                    <a:pt x="230203" y="2464845"/>
                  </a:moveTo>
                  <a:cubicBezTo>
                    <a:pt x="237689" y="2462974"/>
                    <a:pt x="228331" y="2506020"/>
                    <a:pt x="215230" y="2524735"/>
                  </a:cubicBezTo>
                  <a:cubicBezTo>
                    <a:pt x="211487" y="2530350"/>
                    <a:pt x="207744" y="2532222"/>
                    <a:pt x="207744" y="2526607"/>
                  </a:cubicBezTo>
                  <a:cubicBezTo>
                    <a:pt x="207744" y="2522864"/>
                    <a:pt x="207744" y="2513506"/>
                    <a:pt x="211487" y="2502277"/>
                  </a:cubicBezTo>
                  <a:cubicBezTo>
                    <a:pt x="217102" y="2477946"/>
                    <a:pt x="226460" y="2466717"/>
                    <a:pt x="230203" y="2464845"/>
                  </a:cubicBezTo>
                  <a:close/>
                  <a:moveTo>
                    <a:pt x="288221" y="2436772"/>
                  </a:moveTo>
                  <a:cubicBezTo>
                    <a:pt x="299451" y="2434900"/>
                    <a:pt x="288221" y="2479818"/>
                    <a:pt x="273249" y="2496662"/>
                  </a:cubicBezTo>
                  <a:cubicBezTo>
                    <a:pt x="267634" y="2504149"/>
                    <a:pt x="263891" y="2502277"/>
                    <a:pt x="263891" y="2494791"/>
                  </a:cubicBezTo>
                  <a:cubicBezTo>
                    <a:pt x="263891" y="2487304"/>
                    <a:pt x="265763" y="2477946"/>
                    <a:pt x="267634" y="2472332"/>
                  </a:cubicBezTo>
                  <a:cubicBezTo>
                    <a:pt x="275120" y="2448001"/>
                    <a:pt x="284478" y="2436772"/>
                    <a:pt x="288221" y="2436772"/>
                  </a:cubicBezTo>
                  <a:close/>
                  <a:moveTo>
                    <a:pt x="357470" y="2412441"/>
                  </a:moveTo>
                  <a:cubicBezTo>
                    <a:pt x="370571" y="2412441"/>
                    <a:pt x="359342" y="2455487"/>
                    <a:pt x="344369" y="2472332"/>
                  </a:cubicBezTo>
                  <a:cubicBezTo>
                    <a:pt x="336883" y="2479818"/>
                    <a:pt x="331268" y="2477946"/>
                    <a:pt x="331268" y="2464845"/>
                  </a:cubicBezTo>
                  <a:cubicBezTo>
                    <a:pt x="331268" y="2457359"/>
                    <a:pt x="333140" y="2451744"/>
                    <a:pt x="333140" y="2448001"/>
                  </a:cubicBezTo>
                  <a:cubicBezTo>
                    <a:pt x="342497" y="2423671"/>
                    <a:pt x="351855" y="2412441"/>
                    <a:pt x="357470" y="2412441"/>
                  </a:cubicBezTo>
                  <a:close/>
                  <a:moveTo>
                    <a:pt x="1416781" y="2406827"/>
                  </a:moveTo>
                  <a:cubicBezTo>
                    <a:pt x="1420524" y="2406827"/>
                    <a:pt x="1420524" y="2410570"/>
                    <a:pt x="1418652" y="2412442"/>
                  </a:cubicBezTo>
                  <a:cubicBezTo>
                    <a:pt x="1414909" y="2414313"/>
                    <a:pt x="1411166" y="2412442"/>
                    <a:pt x="1411166" y="2410570"/>
                  </a:cubicBezTo>
                  <a:cubicBezTo>
                    <a:pt x="1413038" y="2406827"/>
                    <a:pt x="1414909" y="2404956"/>
                    <a:pt x="1416781" y="2406827"/>
                  </a:cubicBezTo>
                  <a:close/>
                  <a:moveTo>
                    <a:pt x="437948" y="2393726"/>
                  </a:moveTo>
                  <a:cubicBezTo>
                    <a:pt x="451049" y="2393726"/>
                    <a:pt x="443562" y="2433029"/>
                    <a:pt x="426718" y="2449873"/>
                  </a:cubicBezTo>
                  <a:cubicBezTo>
                    <a:pt x="417360" y="2459231"/>
                    <a:pt x="411746" y="2457360"/>
                    <a:pt x="409874" y="2444259"/>
                  </a:cubicBezTo>
                  <a:cubicBezTo>
                    <a:pt x="409874" y="2438644"/>
                    <a:pt x="411746" y="2431157"/>
                    <a:pt x="411746" y="2427414"/>
                  </a:cubicBezTo>
                  <a:cubicBezTo>
                    <a:pt x="421103" y="2403084"/>
                    <a:pt x="432333" y="2393726"/>
                    <a:pt x="437948" y="2393726"/>
                  </a:cubicBezTo>
                  <a:close/>
                  <a:moveTo>
                    <a:pt x="1265184" y="2389982"/>
                  </a:moveTo>
                  <a:cubicBezTo>
                    <a:pt x="1270798" y="2391854"/>
                    <a:pt x="1272670" y="2397468"/>
                    <a:pt x="1267055" y="2401212"/>
                  </a:cubicBezTo>
                  <a:cubicBezTo>
                    <a:pt x="1261440" y="2404955"/>
                    <a:pt x="1253954" y="2401212"/>
                    <a:pt x="1253954" y="2395597"/>
                  </a:cubicBezTo>
                  <a:cubicBezTo>
                    <a:pt x="1255826" y="2391854"/>
                    <a:pt x="1261440" y="2389982"/>
                    <a:pt x="1265184" y="2389982"/>
                  </a:cubicBezTo>
                  <a:close/>
                  <a:moveTo>
                    <a:pt x="527784" y="2380625"/>
                  </a:moveTo>
                  <a:cubicBezTo>
                    <a:pt x="542756" y="2380625"/>
                    <a:pt x="535270" y="2416185"/>
                    <a:pt x="518426" y="2431157"/>
                  </a:cubicBezTo>
                  <a:cubicBezTo>
                    <a:pt x="507196" y="2440515"/>
                    <a:pt x="499710" y="2434901"/>
                    <a:pt x="499710" y="2419928"/>
                  </a:cubicBezTo>
                  <a:cubicBezTo>
                    <a:pt x="499710" y="2416185"/>
                    <a:pt x="501582" y="2412442"/>
                    <a:pt x="501582" y="2408699"/>
                  </a:cubicBezTo>
                  <a:cubicBezTo>
                    <a:pt x="510939" y="2389983"/>
                    <a:pt x="522169" y="2380625"/>
                    <a:pt x="527784" y="2380625"/>
                  </a:cubicBezTo>
                  <a:close/>
                  <a:moveTo>
                    <a:pt x="187157" y="2380625"/>
                  </a:moveTo>
                  <a:cubicBezTo>
                    <a:pt x="187157" y="2382497"/>
                    <a:pt x="166570" y="2438644"/>
                    <a:pt x="164698" y="2444259"/>
                  </a:cubicBezTo>
                  <a:cubicBezTo>
                    <a:pt x="164698" y="2442387"/>
                    <a:pt x="166570" y="2440515"/>
                    <a:pt x="166570" y="2438644"/>
                  </a:cubicBezTo>
                  <a:lnTo>
                    <a:pt x="185285" y="2386240"/>
                  </a:lnTo>
                  <a:cubicBezTo>
                    <a:pt x="185285" y="2384368"/>
                    <a:pt x="187157" y="2382497"/>
                    <a:pt x="187157" y="2380625"/>
                  </a:cubicBezTo>
                  <a:close/>
                  <a:moveTo>
                    <a:pt x="1121072" y="2378753"/>
                  </a:moveTo>
                  <a:cubicBezTo>
                    <a:pt x="1130430" y="2380624"/>
                    <a:pt x="1130430" y="2391854"/>
                    <a:pt x="1122943" y="2397469"/>
                  </a:cubicBezTo>
                  <a:cubicBezTo>
                    <a:pt x="1115457" y="2403083"/>
                    <a:pt x="1104228" y="2399340"/>
                    <a:pt x="1106099" y="2389982"/>
                  </a:cubicBezTo>
                  <a:cubicBezTo>
                    <a:pt x="1106099" y="2389982"/>
                    <a:pt x="1106099" y="2389982"/>
                    <a:pt x="1106099" y="2388111"/>
                  </a:cubicBezTo>
                  <a:cubicBezTo>
                    <a:pt x="1109842" y="2380624"/>
                    <a:pt x="1117329" y="2376881"/>
                    <a:pt x="1121072" y="2378753"/>
                  </a:cubicBezTo>
                  <a:close/>
                  <a:moveTo>
                    <a:pt x="628849" y="2371267"/>
                  </a:moveTo>
                  <a:cubicBezTo>
                    <a:pt x="643821" y="2373139"/>
                    <a:pt x="640078" y="2401212"/>
                    <a:pt x="623234" y="2416185"/>
                  </a:cubicBezTo>
                  <a:cubicBezTo>
                    <a:pt x="612004" y="2427414"/>
                    <a:pt x="600775" y="2421799"/>
                    <a:pt x="602647" y="2404955"/>
                  </a:cubicBezTo>
                  <a:cubicBezTo>
                    <a:pt x="602647" y="2401212"/>
                    <a:pt x="604518" y="2399341"/>
                    <a:pt x="604518" y="2397469"/>
                  </a:cubicBezTo>
                  <a:cubicBezTo>
                    <a:pt x="610133" y="2378753"/>
                    <a:pt x="623234" y="2371267"/>
                    <a:pt x="628849" y="2371267"/>
                  </a:cubicBezTo>
                  <a:close/>
                  <a:moveTo>
                    <a:pt x="984447" y="2369395"/>
                  </a:moveTo>
                  <a:cubicBezTo>
                    <a:pt x="995677" y="2371267"/>
                    <a:pt x="995677" y="2388111"/>
                    <a:pt x="984447" y="2395597"/>
                  </a:cubicBezTo>
                  <a:cubicBezTo>
                    <a:pt x="975089" y="2403083"/>
                    <a:pt x="963860" y="2397469"/>
                    <a:pt x="965731" y="2386239"/>
                  </a:cubicBezTo>
                  <a:cubicBezTo>
                    <a:pt x="965731" y="2386239"/>
                    <a:pt x="965731" y="2384368"/>
                    <a:pt x="965731" y="2384368"/>
                  </a:cubicBezTo>
                  <a:cubicBezTo>
                    <a:pt x="969475" y="2373138"/>
                    <a:pt x="980704" y="2369395"/>
                    <a:pt x="984447" y="2369395"/>
                  </a:cubicBezTo>
                  <a:close/>
                  <a:moveTo>
                    <a:pt x="857180" y="2365652"/>
                  </a:moveTo>
                  <a:cubicBezTo>
                    <a:pt x="870281" y="2367524"/>
                    <a:pt x="868410" y="2386239"/>
                    <a:pt x="855309" y="2397469"/>
                  </a:cubicBezTo>
                  <a:cubicBezTo>
                    <a:pt x="844079" y="2406827"/>
                    <a:pt x="832850" y="2401212"/>
                    <a:pt x="834722" y="2388111"/>
                  </a:cubicBezTo>
                  <a:cubicBezTo>
                    <a:pt x="834722" y="2386239"/>
                    <a:pt x="834722" y="2386239"/>
                    <a:pt x="834722" y="2384368"/>
                  </a:cubicBezTo>
                  <a:cubicBezTo>
                    <a:pt x="840336" y="2369395"/>
                    <a:pt x="851566" y="2365652"/>
                    <a:pt x="857180" y="2365652"/>
                  </a:cubicBezTo>
                  <a:close/>
                  <a:moveTo>
                    <a:pt x="739271" y="2365652"/>
                  </a:moveTo>
                  <a:cubicBezTo>
                    <a:pt x="752372" y="2367524"/>
                    <a:pt x="750500" y="2393726"/>
                    <a:pt x="735528" y="2404955"/>
                  </a:cubicBezTo>
                  <a:cubicBezTo>
                    <a:pt x="724298" y="2414313"/>
                    <a:pt x="713069" y="2408698"/>
                    <a:pt x="714941" y="2391854"/>
                  </a:cubicBezTo>
                  <a:cubicBezTo>
                    <a:pt x="714941" y="2389982"/>
                    <a:pt x="714941" y="2388111"/>
                    <a:pt x="716812" y="2388111"/>
                  </a:cubicBezTo>
                  <a:cubicBezTo>
                    <a:pt x="720555" y="2371267"/>
                    <a:pt x="731785" y="2365652"/>
                    <a:pt x="739271" y="2365652"/>
                  </a:cubicBezTo>
                  <a:close/>
                  <a:moveTo>
                    <a:pt x="211488" y="2337578"/>
                  </a:moveTo>
                  <a:cubicBezTo>
                    <a:pt x="213359" y="2345064"/>
                    <a:pt x="189029" y="2406826"/>
                    <a:pt x="185286" y="2408698"/>
                  </a:cubicBezTo>
                  <a:cubicBezTo>
                    <a:pt x="185286" y="2408698"/>
                    <a:pt x="183414" y="2404955"/>
                    <a:pt x="192772" y="2380624"/>
                  </a:cubicBezTo>
                  <a:cubicBezTo>
                    <a:pt x="202130" y="2352551"/>
                    <a:pt x="209616" y="2339450"/>
                    <a:pt x="211488" y="2337578"/>
                  </a:cubicBezTo>
                  <a:close/>
                  <a:moveTo>
                    <a:pt x="1613296" y="2309505"/>
                  </a:moveTo>
                  <a:lnTo>
                    <a:pt x="1617039" y="2313248"/>
                  </a:lnTo>
                  <a:lnTo>
                    <a:pt x="1611424" y="2315120"/>
                  </a:lnTo>
                  <a:lnTo>
                    <a:pt x="1607681" y="2313248"/>
                  </a:lnTo>
                  <a:close/>
                  <a:moveTo>
                    <a:pt x="247048" y="2302019"/>
                  </a:moveTo>
                  <a:cubicBezTo>
                    <a:pt x="252662" y="2300147"/>
                    <a:pt x="241433" y="2337578"/>
                    <a:pt x="228332" y="2361909"/>
                  </a:cubicBezTo>
                  <a:cubicBezTo>
                    <a:pt x="222717" y="2371267"/>
                    <a:pt x="218974" y="2376881"/>
                    <a:pt x="218974" y="2373138"/>
                  </a:cubicBezTo>
                  <a:cubicBezTo>
                    <a:pt x="218974" y="2371267"/>
                    <a:pt x="218974" y="2365652"/>
                    <a:pt x="226460" y="2343193"/>
                  </a:cubicBezTo>
                  <a:cubicBezTo>
                    <a:pt x="235818" y="2316991"/>
                    <a:pt x="243304" y="2302019"/>
                    <a:pt x="247048" y="2302019"/>
                  </a:cubicBezTo>
                  <a:close/>
                  <a:moveTo>
                    <a:pt x="1457955" y="2281431"/>
                  </a:moveTo>
                  <a:cubicBezTo>
                    <a:pt x="1463570" y="2283303"/>
                    <a:pt x="1465442" y="2288917"/>
                    <a:pt x="1459827" y="2292660"/>
                  </a:cubicBezTo>
                  <a:cubicBezTo>
                    <a:pt x="1454212" y="2296404"/>
                    <a:pt x="1446726" y="2292660"/>
                    <a:pt x="1446726" y="2287046"/>
                  </a:cubicBezTo>
                  <a:cubicBezTo>
                    <a:pt x="1448598" y="2283303"/>
                    <a:pt x="1454212" y="2281431"/>
                    <a:pt x="1457955" y="2281431"/>
                  </a:cubicBezTo>
                  <a:close/>
                  <a:moveTo>
                    <a:pt x="293837" y="2270202"/>
                  </a:moveTo>
                  <a:cubicBezTo>
                    <a:pt x="303195" y="2268330"/>
                    <a:pt x="286350" y="2320734"/>
                    <a:pt x="271378" y="2339450"/>
                  </a:cubicBezTo>
                  <a:cubicBezTo>
                    <a:pt x="267635" y="2345065"/>
                    <a:pt x="263892" y="2346936"/>
                    <a:pt x="262020" y="2343193"/>
                  </a:cubicBezTo>
                  <a:cubicBezTo>
                    <a:pt x="262020" y="2341322"/>
                    <a:pt x="262020" y="2333835"/>
                    <a:pt x="267635" y="2313248"/>
                  </a:cubicBezTo>
                  <a:cubicBezTo>
                    <a:pt x="278864" y="2285174"/>
                    <a:pt x="290094" y="2272073"/>
                    <a:pt x="293837" y="2270202"/>
                  </a:cubicBezTo>
                  <a:close/>
                  <a:moveTo>
                    <a:pt x="1308230" y="2257101"/>
                  </a:moveTo>
                  <a:cubicBezTo>
                    <a:pt x="1317587" y="2258973"/>
                    <a:pt x="1317587" y="2268330"/>
                    <a:pt x="1310101" y="2273945"/>
                  </a:cubicBezTo>
                  <a:cubicBezTo>
                    <a:pt x="1300743" y="2279560"/>
                    <a:pt x="1289514" y="2275817"/>
                    <a:pt x="1291385" y="2266459"/>
                  </a:cubicBezTo>
                  <a:cubicBezTo>
                    <a:pt x="1291385" y="2266459"/>
                    <a:pt x="1291385" y="2266459"/>
                    <a:pt x="1291385" y="2264587"/>
                  </a:cubicBezTo>
                  <a:cubicBezTo>
                    <a:pt x="1295129" y="2257101"/>
                    <a:pt x="1304486" y="2255229"/>
                    <a:pt x="1308230" y="2257101"/>
                  </a:cubicBezTo>
                  <a:close/>
                  <a:moveTo>
                    <a:pt x="351856" y="2245871"/>
                  </a:moveTo>
                  <a:cubicBezTo>
                    <a:pt x="363085" y="2245871"/>
                    <a:pt x="348113" y="2296403"/>
                    <a:pt x="331268" y="2316991"/>
                  </a:cubicBezTo>
                  <a:cubicBezTo>
                    <a:pt x="325654" y="2322605"/>
                    <a:pt x="320039" y="2324477"/>
                    <a:pt x="320039" y="2316991"/>
                  </a:cubicBezTo>
                  <a:cubicBezTo>
                    <a:pt x="320039" y="2307633"/>
                    <a:pt x="323782" y="2294532"/>
                    <a:pt x="325654" y="2288917"/>
                  </a:cubicBezTo>
                  <a:cubicBezTo>
                    <a:pt x="335012" y="2258972"/>
                    <a:pt x="346241" y="2245871"/>
                    <a:pt x="351856" y="2245871"/>
                  </a:cubicBezTo>
                  <a:close/>
                  <a:moveTo>
                    <a:pt x="1813554" y="2240257"/>
                  </a:moveTo>
                  <a:lnTo>
                    <a:pt x="1817297" y="2240257"/>
                  </a:lnTo>
                  <a:lnTo>
                    <a:pt x="1817297" y="2242129"/>
                  </a:lnTo>
                  <a:lnTo>
                    <a:pt x="1815426" y="2244000"/>
                  </a:lnTo>
                  <a:close/>
                  <a:moveTo>
                    <a:pt x="1167862" y="2236514"/>
                  </a:moveTo>
                  <a:cubicBezTo>
                    <a:pt x="1179091" y="2238386"/>
                    <a:pt x="1179091" y="2253358"/>
                    <a:pt x="1167862" y="2260845"/>
                  </a:cubicBezTo>
                  <a:cubicBezTo>
                    <a:pt x="1156632" y="2268331"/>
                    <a:pt x="1143531" y="2262716"/>
                    <a:pt x="1147274" y="2249615"/>
                  </a:cubicBezTo>
                  <a:cubicBezTo>
                    <a:pt x="1147274" y="2249615"/>
                    <a:pt x="1147274" y="2247743"/>
                    <a:pt x="1147274" y="2247743"/>
                  </a:cubicBezTo>
                  <a:cubicBezTo>
                    <a:pt x="1151017" y="2238386"/>
                    <a:pt x="1162247" y="2236514"/>
                    <a:pt x="1167862" y="2236514"/>
                  </a:cubicBezTo>
                  <a:close/>
                  <a:moveTo>
                    <a:pt x="419232" y="2225284"/>
                  </a:moveTo>
                  <a:cubicBezTo>
                    <a:pt x="434205" y="2225284"/>
                    <a:pt x="419232" y="2275816"/>
                    <a:pt x="398645" y="2294532"/>
                  </a:cubicBezTo>
                  <a:cubicBezTo>
                    <a:pt x="389287" y="2302018"/>
                    <a:pt x="383672" y="2300147"/>
                    <a:pt x="385544" y="2288918"/>
                  </a:cubicBezTo>
                  <a:cubicBezTo>
                    <a:pt x="385544" y="2279560"/>
                    <a:pt x="389287" y="2270202"/>
                    <a:pt x="391158" y="2266459"/>
                  </a:cubicBezTo>
                  <a:cubicBezTo>
                    <a:pt x="400516" y="2238385"/>
                    <a:pt x="413617" y="2225284"/>
                    <a:pt x="419232" y="2225284"/>
                  </a:cubicBezTo>
                  <a:close/>
                  <a:moveTo>
                    <a:pt x="1033108" y="2221541"/>
                  </a:moveTo>
                  <a:cubicBezTo>
                    <a:pt x="1046209" y="2225284"/>
                    <a:pt x="1044337" y="2244000"/>
                    <a:pt x="1031236" y="2253358"/>
                  </a:cubicBezTo>
                  <a:cubicBezTo>
                    <a:pt x="1018135" y="2262716"/>
                    <a:pt x="1005034" y="2253358"/>
                    <a:pt x="1008777" y="2238385"/>
                  </a:cubicBezTo>
                  <a:cubicBezTo>
                    <a:pt x="1008777" y="2238385"/>
                    <a:pt x="1008777" y="2236513"/>
                    <a:pt x="1008777" y="2236513"/>
                  </a:cubicBezTo>
                  <a:cubicBezTo>
                    <a:pt x="1014392" y="2223413"/>
                    <a:pt x="1027493" y="2219669"/>
                    <a:pt x="1033108" y="2221541"/>
                  </a:cubicBezTo>
                  <a:close/>
                  <a:moveTo>
                    <a:pt x="497838" y="2212183"/>
                  </a:moveTo>
                  <a:cubicBezTo>
                    <a:pt x="514682" y="2214055"/>
                    <a:pt x="499709" y="2260844"/>
                    <a:pt x="479122" y="2277688"/>
                  </a:cubicBezTo>
                  <a:cubicBezTo>
                    <a:pt x="467893" y="2285174"/>
                    <a:pt x="462278" y="2281431"/>
                    <a:pt x="462278" y="2266459"/>
                  </a:cubicBezTo>
                  <a:cubicBezTo>
                    <a:pt x="462278" y="2258972"/>
                    <a:pt x="464150" y="2253358"/>
                    <a:pt x="466021" y="2249614"/>
                  </a:cubicBezTo>
                  <a:cubicBezTo>
                    <a:pt x="477251" y="2223413"/>
                    <a:pt x="492223" y="2212183"/>
                    <a:pt x="497838" y="2212183"/>
                  </a:cubicBezTo>
                  <a:close/>
                  <a:moveTo>
                    <a:pt x="909584" y="2208440"/>
                  </a:moveTo>
                  <a:cubicBezTo>
                    <a:pt x="924556" y="2212183"/>
                    <a:pt x="922685" y="2236514"/>
                    <a:pt x="905841" y="2247743"/>
                  </a:cubicBezTo>
                  <a:cubicBezTo>
                    <a:pt x="890868" y="2258972"/>
                    <a:pt x="877767" y="2251486"/>
                    <a:pt x="881510" y="2234642"/>
                  </a:cubicBezTo>
                  <a:cubicBezTo>
                    <a:pt x="881510" y="2232771"/>
                    <a:pt x="881510" y="2230899"/>
                    <a:pt x="883382" y="2230899"/>
                  </a:cubicBezTo>
                  <a:cubicBezTo>
                    <a:pt x="887125" y="2214055"/>
                    <a:pt x="902097" y="2208440"/>
                    <a:pt x="909584" y="2208440"/>
                  </a:cubicBezTo>
                  <a:close/>
                  <a:moveTo>
                    <a:pt x="791675" y="2202825"/>
                  </a:moveTo>
                  <a:cubicBezTo>
                    <a:pt x="808519" y="2204697"/>
                    <a:pt x="802904" y="2236513"/>
                    <a:pt x="784188" y="2249614"/>
                  </a:cubicBezTo>
                  <a:cubicBezTo>
                    <a:pt x="769216" y="2258972"/>
                    <a:pt x="757986" y="2251486"/>
                    <a:pt x="761729" y="2232770"/>
                  </a:cubicBezTo>
                  <a:cubicBezTo>
                    <a:pt x="761729" y="2230898"/>
                    <a:pt x="763601" y="2229027"/>
                    <a:pt x="763601" y="2227155"/>
                  </a:cubicBezTo>
                  <a:cubicBezTo>
                    <a:pt x="771087" y="2208440"/>
                    <a:pt x="784188" y="2200953"/>
                    <a:pt x="791675" y="2202825"/>
                  </a:cubicBezTo>
                  <a:close/>
                  <a:moveTo>
                    <a:pt x="587673" y="2202825"/>
                  </a:moveTo>
                  <a:cubicBezTo>
                    <a:pt x="604518" y="2204697"/>
                    <a:pt x="595160" y="2247743"/>
                    <a:pt x="572701" y="2264587"/>
                  </a:cubicBezTo>
                  <a:cubicBezTo>
                    <a:pt x="559600" y="2275816"/>
                    <a:pt x="550242" y="2268330"/>
                    <a:pt x="552113" y="2251486"/>
                  </a:cubicBezTo>
                  <a:cubicBezTo>
                    <a:pt x="552113" y="2245871"/>
                    <a:pt x="553985" y="2242128"/>
                    <a:pt x="555857" y="2238385"/>
                  </a:cubicBezTo>
                  <a:cubicBezTo>
                    <a:pt x="565214" y="2212183"/>
                    <a:pt x="580187" y="2202825"/>
                    <a:pt x="587673" y="2202825"/>
                  </a:cubicBezTo>
                  <a:close/>
                  <a:moveTo>
                    <a:pt x="684995" y="2200954"/>
                  </a:moveTo>
                  <a:cubicBezTo>
                    <a:pt x="701839" y="2202825"/>
                    <a:pt x="694353" y="2242129"/>
                    <a:pt x="671894" y="2257101"/>
                  </a:cubicBezTo>
                  <a:cubicBezTo>
                    <a:pt x="658793" y="2266459"/>
                    <a:pt x="647564" y="2258973"/>
                    <a:pt x="651307" y="2240257"/>
                  </a:cubicBezTo>
                  <a:cubicBezTo>
                    <a:pt x="651307" y="2236514"/>
                    <a:pt x="653178" y="2234642"/>
                    <a:pt x="653178" y="2230899"/>
                  </a:cubicBezTo>
                  <a:cubicBezTo>
                    <a:pt x="662536" y="2208440"/>
                    <a:pt x="677509" y="2199082"/>
                    <a:pt x="684995" y="2200954"/>
                  </a:cubicBezTo>
                  <a:close/>
                  <a:moveTo>
                    <a:pt x="1656342" y="2199082"/>
                  </a:moveTo>
                  <a:cubicBezTo>
                    <a:pt x="1661957" y="2200954"/>
                    <a:pt x="1661957" y="2204697"/>
                    <a:pt x="1658214" y="2206569"/>
                  </a:cubicBezTo>
                  <a:cubicBezTo>
                    <a:pt x="1652599" y="2208440"/>
                    <a:pt x="1646984" y="2206569"/>
                    <a:pt x="1646984" y="2200954"/>
                  </a:cubicBezTo>
                  <a:cubicBezTo>
                    <a:pt x="1650727" y="2197211"/>
                    <a:pt x="1654470" y="2197211"/>
                    <a:pt x="1656342" y="2199082"/>
                  </a:cubicBezTo>
                  <a:close/>
                  <a:moveTo>
                    <a:pt x="262020" y="2191596"/>
                  </a:moveTo>
                  <a:lnTo>
                    <a:pt x="235818" y="2255229"/>
                  </a:lnTo>
                  <a:cubicBezTo>
                    <a:pt x="243304" y="2234642"/>
                    <a:pt x="258277" y="2200954"/>
                    <a:pt x="262020" y="2191596"/>
                  </a:cubicBezTo>
                  <a:close/>
                  <a:moveTo>
                    <a:pt x="1504744" y="2159779"/>
                  </a:moveTo>
                  <a:cubicBezTo>
                    <a:pt x="1512231" y="2161651"/>
                    <a:pt x="1514102" y="2171008"/>
                    <a:pt x="1506616" y="2174752"/>
                  </a:cubicBezTo>
                  <a:cubicBezTo>
                    <a:pt x="1497258" y="2178495"/>
                    <a:pt x="1487900" y="2174752"/>
                    <a:pt x="1489772" y="2165394"/>
                  </a:cubicBezTo>
                  <a:cubicBezTo>
                    <a:pt x="1491643" y="2159779"/>
                    <a:pt x="1501001" y="2159779"/>
                    <a:pt x="1504744" y="2159779"/>
                  </a:cubicBezTo>
                  <a:close/>
                  <a:moveTo>
                    <a:pt x="288222" y="2144806"/>
                  </a:moveTo>
                  <a:cubicBezTo>
                    <a:pt x="290094" y="2152292"/>
                    <a:pt x="256406" y="2223412"/>
                    <a:pt x="254534" y="2225284"/>
                  </a:cubicBezTo>
                  <a:cubicBezTo>
                    <a:pt x="254534" y="2223412"/>
                    <a:pt x="254534" y="2221540"/>
                    <a:pt x="265763" y="2193467"/>
                  </a:cubicBezTo>
                  <a:cubicBezTo>
                    <a:pt x="276993" y="2161650"/>
                    <a:pt x="286351" y="2144806"/>
                    <a:pt x="288222" y="2144806"/>
                  </a:cubicBezTo>
                  <a:close/>
                  <a:moveTo>
                    <a:pt x="1862215" y="2141063"/>
                  </a:moveTo>
                  <a:cubicBezTo>
                    <a:pt x="1865959" y="2142935"/>
                    <a:pt x="1865959" y="2144806"/>
                    <a:pt x="1864087" y="2146678"/>
                  </a:cubicBezTo>
                  <a:cubicBezTo>
                    <a:pt x="1860344" y="2148550"/>
                    <a:pt x="1854729" y="2144806"/>
                    <a:pt x="1856601" y="2142935"/>
                  </a:cubicBezTo>
                  <a:cubicBezTo>
                    <a:pt x="1856601" y="2139192"/>
                    <a:pt x="1860344" y="2139192"/>
                    <a:pt x="1862215" y="2141063"/>
                  </a:cubicBezTo>
                  <a:close/>
                  <a:moveTo>
                    <a:pt x="1358762" y="2127962"/>
                  </a:moveTo>
                  <a:cubicBezTo>
                    <a:pt x="1369991" y="2131705"/>
                    <a:pt x="1369991" y="2144806"/>
                    <a:pt x="1360633" y="2150421"/>
                  </a:cubicBezTo>
                  <a:cubicBezTo>
                    <a:pt x="1349404" y="2157907"/>
                    <a:pt x="1334431" y="2150421"/>
                    <a:pt x="1338174" y="2139192"/>
                  </a:cubicBezTo>
                  <a:cubicBezTo>
                    <a:pt x="1338174" y="2139192"/>
                    <a:pt x="1338174" y="2139192"/>
                    <a:pt x="1338174" y="2137320"/>
                  </a:cubicBezTo>
                  <a:cubicBezTo>
                    <a:pt x="1341917" y="2127962"/>
                    <a:pt x="1353147" y="2126091"/>
                    <a:pt x="1358762" y="2127962"/>
                  </a:cubicBezTo>
                  <a:close/>
                  <a:moveTo>
                    <a:pt x="2068088" y="2109246"/>
                  </a:moveTo>
                  <a:lnTo>
                    <a:pt x="2069960" y="2109246"/>
                  </a:lnTo>
                  <a:lnTo>
                    <a:pt x="2068088" y="2111118"/>
                  </a:lnTo>
                  <a:close/>
                  <a:moveTo>
                    <a:pt x="321910" y="2109246"/>
                  </a:moveTo>
                  <a:cubicBezTo>
                    <a:pt x="329397" y="2114861"/>
                    <a:pt x="293837" y="2191595"/>
                    <a:pt x="284479" y="2193467"/>
                  </a:cubicBezTo>
                  <a:cubicBezTo>
                    <a:pt x="282607" y="2191595"/>
                    <a:pt x="286351" y="2178494"/>
                    <a:pt x="293837" y="2157907"/>
                  </a:cubicBezTo>
                  <a:cubicBezTo>
                    <a:pt x="308809" y="2126090"/>
                    <a:pt x="320039" y="2109246"/>
                    <a:pt x="321910" y="2109246"/>
                  </a:cubicBezTo>
                  <a:close/>
                  <a:moveTo>
                    <a:pt x="1222137" y="2098017"/>
                  </a:moveTo>
                  <a:cubicBezTo>
                    <a:pt x="1235238" y="2101760"/>
                    <a:pt x="1235238" y="2120476"/>
                    <a:pt x="1220265" y="2127962"/>
                  </a:cubicBezTo>
                  <a:cubicBezTo>
                    <a:pt x="1205293" y="2135448"/>
                    <a:pt x="1190320" y="2127962"/>
                    <a:pt x="1195935" y="2112989"/>
                  </a:cubicBezTo>
                  <a:cubicBezTo>
                    <a:pt x="1195935" y="2112989"/>
                    <a:pt x="1195935" y="2111118"/>
                    <a:pt x="1195935" y="2111118"/>
                  </a:cubicBezTo>
                  <a:cubicBezTo>
                    <a:pt x="1201550" y="2099888"/>
                    <a:pt x="1214651" y="2096145"/>
                    <a:pt x="1222137" y="2098017"/>
                  </a:cubicBezTo>
                  <a:close/>
                  <a:moveTo>
                    <a:pt x="1706875" y="2088659"/>
                  </a:moveTo>
                  <a:cubicBezTo>
                    <a:pt x="1714361" y="2090531"/>
                    <a:pt x="1714361" y="2098017"/>
                    <a:pt x="1708746" y="2099888"/>
                  </a:cubicBezTo>
                  <a:cubicBezTo>
                    <a:pt x="1701260" y="2101760"/>
                    <a:pt x="1691902" y="2098017"/>
                    <a:pt x="1695645" y="2090531"/>
                  </a:cubicBezTo>
                  <a:cubicBezTo>
                    <a:pt x="1697517" y="2088659"/>
                    <a:pt x="1703131" y="2088659"/>
                    <a:pt x="1706875" y="2088659"/>
                  </a:cubicBezTo>
                  <a:close/>
                  <a:moveTo>
                    <a:pt x="368699" y="2081173"/>
                  </a:moveTo>
                  <a:cubicBezTo>
                    <a:pt x="378057" y="2079301"/>
                    <a:pt x="357470" y="2139192"/>
                    <a:pt x="338754" y="2161651"/>
                  </a:cubicBezTo>
                  <a:cubicBezTo>
                    <a:pt x="333139" y="2167265"/>
                    <a:pt x="329396" y="2169137"/>
                    <a:pt x="329396" y="2165394"/>
                  </a:cubicBezTo>
                  <a:cubicBezTo>
                    <a:pt x="329396" y="2161651"/>
                    <a:pt x="329396" y="2154164"/>
                    <a:pt x="338754" y="2131705"/>
                  </a:cubicBezTo>
                  <a:cubicBezTo>
                    <a:pt x="351855" y="2096146"/>
                    <a:pt x="364956" y="2081173"/>
                    <a:pt x="368699" y="2081173"/>
                  </a:cubicBezTo>
                  <a:close/>
                  <a:moveTo>
                    <a:pt x="1091127" y="2075558"/>
                  </a:moveTo>
                  <a:cubicBezTo>
                    <a:pt x="1107971" y="2079302"/>
                    <a:pt x="1104228" y="2103632"/>
                    <a:pt x="1085512" y="2114861"/>
                  </a:cubicBezTo>
                  <a:cubicBezTo>
                    <a:pt x="1068668" y="2124219"/>
                    <a:pt x="1053695" y="2112990"/>
                    <a:pt x="1059310" y="2096146"/>
                  </a:cubicBezTo>
                  <a:cubicBezTo>
                    <a:pt x="1059310" y="2096146"/>
                    <a:pt x="1059310" y="2094274"/>
                    <a:pt x="1059310" y="2094274"/>
                  </a:cubicBezTo>
                  <a:cubicBezTo>
                    <a:pt x="1068668" y="2077430"/>
                    <a:pt x="1083640" y="2071815"/>
                    <a:pt x="1091127" y="2075558"/>
                  </a:cubicBezTo>
                  <a:close/>
                  <a:moveTo>
                    <a:pt x="424847" y="2058714"/>
                  </a:moveTo>
                  <a:cubicBezTo>
                    <a:pt x="437948" y="2058714"/>
                    <a:pt x="415489" y="2116733"/>
                    <a:pt x="394902" y="2139192"/>
                  </a:cubicBezTo>
                  <a:cubicBezTo>
                    <a:pt x="387416" y="2146678"/>
                    <a:pt x="381801" y="2146678"/>
                    <a:pt x="381801" y="2137320"/>
                  </a:cubicBezTo>
                  <a:cubicBezTo>
                    <a:pt x="381801" y="2127962"/>
                    <a:pt x="387416" y="2111118"/>
                    <a:pt x="391159" y="2105503"/>
                  </a:cubicBezTo>
                  <a:cubicBezTo>
                    <a:pt x="406131" y="2073687"/>
                    <a:pt x="419232" y="2058714"/>
                    <a:pt x="424847" y="2058714"/>
                  </a:cubicBezTo>
                  <a:close/>
                  <a:moveTo>
                    <a:pt x="969474" y="2054971"/>
                  </a:moveTo>
                  <a:cubicBezTo>
                    <a:pt x="986319" y="2058714"/>
                    <a:pt x="982576" y="2088659"/>
                    <a:pt x="961988" y="2101760"/>
                  </a:cubicBezTo>
                  <a:cubicBezTo>
                    <a:pt x="945144" y="2112989"/>
                    <a:pt x="930171" y="2103632"/>
                    <a:pt x="933915" y="2083044"/>
                  </a:cubicBezTo>
                  <a:cubicBezTo>
                    <a:pt x="933915" y="2081173"/>
                    <a:pt x="935786" y="2079301"/>
                    <a:pt x="935786" y="2077430"/>
                  </a:cubicBezTo>
                  <a:cubicBezTo>
                    <a:pt x="945144" y="2058714"/>
                    <a:pt x="961988" y="2053099"/>
                    <a:pt x="969474" y="2054971"/>
                  </a:cubicBezTo>
                  <a:close/>
                  <a:moveTo>
                    <a:pt x="1903390" y="2043742"/>
                  </a:moveTo>
                  <a:cubicBezTo>
                    <a:pt x="1905262" y="2041870"/>
                    <a:pt x="1910876" y="2041870"/>
                    <a:pt x="1912748" y="2043742"/>
                  </a:cubicBezTo>
                  <a:cubicBezTo>
                    <a:pt x="1918363" y="2045613"/>
                    <a:pt x="1918363" y="2051228"/>
                    <a:pt x="1914620" y="2051228"/>
                  </a:cubicBezTo>
                  <a:cubicBezTo>
                    <a:pt x="1909005" y="2053100"/>
                    <a:pt x="1901519" y="2049356"/>
                    <a:pt x="1903390" y="2043742"/>
                  </a:cubicBezTo>
                  <a:close/>
                  <a:moveTo>
                    <a:pt x="492223" y="2043741"/>
                  </a:moveTo>
                  <a:cubicBezTo>
                    <a:pt x="509067" y="2045613"/>
                    <a:pt x="486608" y="2103631"/>
                    <a:pt x="464149" y="2122347"/>
                  </a:cubicBezTo>
                  <a:cubicBezTo>
                    <a:pt x="454791" y="2131705"/>
                    <a:pt x="447305" y="2127962"/>
                    <a:pt x="449177" y="2114861"/>
                  </a:cubicBezTo>
                  <a:cubicBezTo>
                    <a:pt x="449177" y="2105503"/>
                    <a:pt x="454791" y="2094274"/>
                    <a:pt x="456663" y="2088659"/>
                  </a:cubicBezTo>
                  <a:cubicBezTo>
                    <a:pt x="469764" y="2056842"/>
                    <a:pt x="484737" y="2041869"/>
                    <a:pt x="492223" y="2043741"/>
                  </a:cubicBezTo>
                  <a:close/>
                  <a:moveTo>
                    <a:pt x="1548025" y="2042338"/>
                  </a:moveTo>
                  <a:cubicBezTo>
                    <a:pt x="1551534" y="2041402"/>
                    <a:pt x="1555278" y="2041870"/>
                    <a:pt x="1559021" y="2043742"/>
                  </a:cubicBezTo>
                  <a:cubicBezTo>
                    <a:pt x="1568378" y="2047485"/>
                    <a:pt x="1570250" y="2058714"/>
                    <a:pt x="1559021" y="2062457"/>
                  </a:cubicBezTo>
                  <a:cubicBezTo>
                    <a:pt x="1547791" y="2068072"/>
                    <a:pt x="1534690" y="2060586"/>
                    <a:pt x="1538433" y="2051228"/>
                  </a:cubicBezTo>
                  <a:cubicBezTo>
                    <a:pt x="1538433" y="2051228"/>
                    <a:pt x="1538433" y="2051228"/>
                    <a:pt x="1538433" y="2049356"/>
                  </a:cubicBezTo>
                  <a:cubicBezTo>
                    <a:pt x="1541241" y="2045613"/>
                    <a:pt x="1544516" y="2043273"/>
                    <a:pt x="1548025" y="2042338"/>
                  </a:cubicBezTo>
                  <a:close/>
                  <a:moveTo>
                    <a:pt x="855308" y="2041870"/>
                  </a:moveTo>
                  <a:cubicBezTo>
                    <a:pt x="874024" y="2045614"/>
                    <a:pt x="866538" y="2083045"/>
                    <a:pt x="842207" y="2098018"/>
                  </a:cubicBezTo>
                  <a:cubicBezTo>
                    <a:pt x="825363" y="2109247"/>
                    <a:pt x="812262" y="2099889"/>
                    <a:pt x="816005" y="2079302"/>
                  </a:cubicBezTo>
                  <a:cubicBezTo>
                    <a:pt x="816005" y="2075559"/>
                    <a:pt x="817877" y="2071815"/>
                    <a:pt x="817877" y="2069944"/>
                  </a:cubicBezTo>
                  <a:cubicBezTo>
                    <a:pt x="830978" y="2047485"/>
                    <a:pt x="847822" y="2039999"/>
                    <a:pt x="855308" y="2041870"/>
                  </a:cubicBezTo>
                  <a:close/>
                  <a:moveTo>
                    <a:pt x="568958" y="2034384"/>
                  </a:moveTo>
                  <a:cubicBezTo>
                    <a:pt x="587673" y="2036255"/>
                    <a:pt x="567086" y="2092402"/>
                    <a:pt x="542756" y="2111118"/>
                  </a:cubicBezTo>
                  <a:cubicBezTo>
                    <a:pt x="529655" y="2120476"/>
                    <a:pt x="522168" y="2112990"/>
                    <a:pt x="525912" y="2096146"/>
                  </a:cubicBezTo>
                  <a:cubicBezTo>
                    <a:pt x="527783" y="2088659"/>
                    <a:pt x="529655" y="2081173"/>
                    <a:pt x="531526" y="2077430"/>
                  </a:cubicBezTo>
                  <a:cubicBezTo>
                    <a:pt x="544627" y="2045613"/>
                    <a:pt x="561471" y="2032512"/>
                    <a:pt x="568958" y="2034384"/>
                  </a:cubicBezTo>
                  <a:close/>
                  <a:moveTo>
                    <a:pt x="750500" y="2034383"/>
                  </a:moveTo>
                  <a:cubicBezTo>
                    <a:pt x="769216" y="2038127"/>
                    <a:pt x="757986" y="2083044"/>
                    <a:pt x="731784" y="2098017"/>
                  </a:cubicBezTo>
                  <a:cubicBezTo>
                    <a:pt x="714940" y="2107375"/>
                    <a:pt x="703711" y="2098017"/>
                    <a:pt x="709326" y="2077430"/>
                  </a:cubicBezTo>
                  <a:cubicBezTo>
                    <a:pt x="709326" y="2073687"/>
                    <a:pt x="711197" y="2069943"/>
                    <a:pt x="713069" y="2068072"/>
                  </a:cubicBezTo>
                  <a:cubicBezTo>
                    <a:pt x="724298" y="2039998"/>
                    <a:pt x="743014" y="2032512"/>
                    <a:pt x="750500" y="2034383"/>
                  </a:cubicBezTo>
                  <a:close/>
                  <a:moveTo>
                    <a:pt x="655050" y="2030640"/>
                  </a:moveTo>
                  <a:cubicBezTo>
                    <a:pt x="673766" y="2034383"/>
                    <a:pt x="658793" y="2081173"/>
                    <a:pt x="634463" y="2099888"/>
                  </a:cubicBezTo>
                  <a:cubicBezTo>
                    <a:pt x="619490" y="2111118"/>
                    <a:pt x="610132" y="2103632"/>
                    <a:pt x="613875" y="2083044"/>
                  </a:cubicBezTo>
                  <a:cubicBezTo>
                    <a:pt x="615747" y="2077430"/>
                    <a:pt x="615747" y="2073686"/>
                    <a:pt x="617619" y="2068072"/>
                  </a:cubicBezTo>
                  <a:cubicBezTo>
                    <a:pt x="630720" y="2039998"/>
                    <a:pt x="647564" y="2028769"/>
                    <a:pt x="655050" y="2030640"/>
                  </a:cubicBezTo>
                  <a:close/>
                  <a:moveTo>
                    <a:pt x="2116749" y="2023154"/>
                  </a:moveTo>
                  <a:lnTo>
                    <a:pt x="2120492" y="2023154"/>
                  </a:lnTo>
                  <a:lnTo>
                    <a:pt x="2122364" y="2026897"/>
                  </a:lnTo>
                  <a:lnTo>
                    <a:pt x="2118621" y="2026897"/>
                  </a:lnTo>
                  <a:close/>
                  <a:moveTo>
                    <a:pt x="1404382" y="2000695"/>
                  </a:moveTo>
                  <a:cubicBezTo>
                    <a:pt x="1409295" y="1999291"/>
                    <a:pt x="1413974" y="1999759"/>
                    <a:pt x="1416781" y="2000695"/>
                  </a:cubicBezTo>
                  <a:cubicBezTo>
                    <a:pt x="1429882" y="2006310"/>
                    <a:pt x="1429882" y="2021282"/>
                    <a:pt x="1414910" y="2028768"/>
                  </a:cubicBezTo>
                  <a:cubicBezTo>
                    <a:pt x="1399937" y="2034383"/>
                    <a:pt x="1386836" y="2025025"/>
                    <a:pt x="1390579" y="2013796"/>
                  </a:cubicBezTo>
                  <a:cubicBezTo>
                    <a:pt x="1390579" y="2013796"/>
                    <a:pt x="1390579" y="2011924"/>
                    <a:pt x="1390579" y="2011924"/>
                  </a:cubicBezTo>
                  <a:cubicBezTo>
                    <a:pt x="1394322" y="2005373"/>
                    <a:pt x="1399469" y="2002098"/>
                    <a:pt x="1404382" y="2000695"/>
                  </a:cubicBezTo>
                  <a:close/>
                  <a:moveTo>
                    <a:pt x="1754599" y="1982916"/>
                  </a:moveTo>
                  <a:cubicBezTo>
                    <a:pt x="1757875" y="1982448"/>
                    <a:pt x="1761150" y="1982915"/>
                    <a:pt x="1763022" y="1983851"/>
                  </a:cubicBezTo>
                  <a:cubicBezTo>
                    <a:pt x="1770508" y="1987594"/>
                    <a:pt x="1772379" y="1995081"/>
                    <a:pt x="1764893" y="1998824"/>
                  </a:cubicBezTo>
                  <a:cubicBezTo>
                    <a:pt x="1755535" y="2002567"/>
                    <a:pt x="1744306" y="1995081"/>
                    <a:pt x="1746177" y="1987594"/>
                  </a:cubicBezTo>
                  <a:cubicBezTo>
                    <a:pt x="1748049" y="1984787"/>
                    <a:pt x="1751324" y="1983383"/>
                    <a:pt x="1754599" y="1982916"/>
                  </a:cubicBezTo>
                  <a:close/>
                  <a:moveTo>
                    <a:pt x="1268693" y="1964902"/>
                  </a:moveTo>
                  <a:cubicBezTo>
                    <a:pt x="1274541" y="1962796"/>
                    <a:pt x="1280156" y="1963264"/>
                    <a:pt x="1283899" y="1965136"/>
                  </a:cubicBezTo>
                  <a:cubicBezTo>
                    <a:pt x="1298872" y="1970751"/>
                    <a:pt x="1297000" y="1991338"/>
                    <a:pt x="1280156" y="2000696"/>
                  </a:cubicBezTo>
                  <a:cubicBezTo>
                    <a:pt x="1263312" y="2010054"/>
                    <a:pt x="1246468" y="1998824"/>
                    <a:pt x="1252082" y="1981980"/>
                  </a:cubicBezTo>
                  <a:cubicBezTo>
                    <a:pt x="1252082" y="1981980"/>
                    <a:pt x="1252082" y="1980109"/>
                    <a:pt x="1252082" y="1980109"/>
                  </a:cubicBezTo>
                  <a:cubicBezTo>
                    <a:pt x="1256761" y="1971686"/>
                    <a:pt x="1262844" y="1967007"/>
                    <a:pt x="1268693" y="1964902"/>
                  </a:cubicBezTo>
                  <a:close/>
                  <a:moveTo>
                    <a:pt x="376186" y="1955778"/>
                  </a:moveTo>
                  <a:cubicBezTo>
                    <a:pt x="374315" y="1965136"/>
                    <a:pt x="338755" y="2036256"/>
                    <a:pt x="333140" y="2043742"/>
                  </a:cubicBezTo>
                  <a:cubicBezTo>
                    <a:pt x="333140" y="2039999"/>
                    <a:pt x="338755" y="2028769"/>
                    <a:pt x="348113" y="2008182"/>
                  </a:cubicBezTo>
                  <a:cubicBezTo>
                    <a:pt x="366828" y="1970751"/>
                    <a:pt x="374315" y="1955778"/>
                    <a:pt x="376186" y="1955778"/>
                  </a:cubicBezTo>
                  <a:close/>
                  <a:moveTo>
                    <a:pt x="1964450" y="1948291"/>
                  </a:moveTo>
                  <a:cubicBezTo>
                    <a:pt x="1966556" y="1948291"/>
                    <a:pt x="1968896" y="1949227"/>
                    <a:pt x="1970767" y="1950163"/>
                  </a:cubicBezTo>
                  <a:cubicBezTo>
                    <a:pt x="1976381" y="1953906"/>
                    <a:pt x="1978253" y="1959520"/>
                    <a:pt x="1972638" y="1961392"/>
                  </a:cubicBezTo>
                  <a:cubicBezTo>
                    <a:pt x="1965152" y="1963264"/>
                    <a:pt x="1955794" y="1957649"/>
                    <a:pt x="1959537" y="1952034"/>
                  </a:cubicBezTo>
                  <a:cubicBezTo>
                    <a:pt x="1960473" y="1949226"/>
                    <a:pt x="1962345" y="1948291"/>
                    <a:pt x="1964450" y="1948291"/>
                  </a:cubicBezTo>
                  <a:close/>
                  <a:moveTo>
                    <a:pt x="2171025" y="1942677"/>
                  </a:moveTo>
                  <a:cubicBezTo>
                    <a:pt x="2171025" y="1940805"/>
                    <a:pt x="2174768" y="1940805"/>
                    <a:pt x="2176640" y="1942677"/>
                  </a:cubicBezTo>
                  <a:cubicBezTo>
                    <a:pt x="2180383" y="1944548"/>
                    <a:pt x="2180383" y="1948291"/>
                    <a:pt x="2178511" y="1948291"/>
                  </a:cubicBezTo>
                  <a:cubicBezTo>
                    <a:pt x="2174768" y="1948291"/>
                    <a:pt x="2169153" y="1944548"/>
                    <a:pt x="2171025" y="1942677"/>
                  </a:cubicBezTo>
                  <a:close/>
                  <a:moveTo>
                    <a:pt x="1156632" y="1933318"/>
                  </a:moveTo>
                  <a:cubicBezTo>
                    <a:pt x="1175347" y="1938933"/>
                    <a:pt x="1169733" y="1967007"/>
                    <a:pt x="1147274" y="1978236"/>
                  </a:cubicBezTo>
                  <a:cubicBezTo>
                    <a:pt x="1128558" y="1987594"/>
                    <a:pt x="1113585" y="1976365"/>
                    <a:pt x="1119200" y="1957649"/>
                  </a:cubicBezTo>
                  <a:cubicBezTo>
                    <a:pt x="1119200" y="1955777"/>
                    <a:pt x="1121072" y="1953906"/>
                    <a:pt x="1121072" y="1952034"/>
                  </a:cubicBezTo>
                  <a:cubicBezTo>
                    <a:pt x="1132301" y="1933318"/>
                    <a:pt x="1149145" y="1929575"/>
                    <a:pt x="1156632" y="1933318"/>
                  </a:cubicBezTo>
                  <a:close/>
                  <a:moveTo>
                    <a:pt x="1607682" y="1927470"/>
                  </a:moveTo>
                  <a:cubicBezTo>
                    <a:pt x="1611893" y="1926768"/>
                    <a:pt x="1616104" y="1927703"/>
                    <a:pt x="1618911" y="1929575"/>
                  </a:cubicBezTo>
                  <a:cubicBezTo>
                    <a:pt x="1630140" y="1935190"/>
                    <a:pt x="1630140" y="1948291"/>
                    <a:pt x="1618911" y="1952034"/>
                  </a:cubicBezTo>
                  <a:cubicBezTo>
                    <a:pt x="1605810" y="1957649"/>
                    <a:pt x="1590837" y="1948291"/>
                    <a:pt x="1596452" y="1937062"/>
                  </a:cubicBezTo>
                  <a:cubicBezTo>
                    <a:pt x="1596452" y="1937062"/>
                    <a:pt x="1596452" y="1937062"/>
                    <a:pt x="1596452" y="1935190"/>
                  </a:cubicBezTo>
                  <a:cubicBezTo>
                    <a:pt x="1599260" y="1930511"/>
                    <a:pt x="1603471" y="1928171"/>
                    <a:pt x="1607682" y="1927470"/>
                  </a:cubicBezTo>
                  <a:close/>
                  <a:moveTo>
                    <a:pt x="409874" y="1922089"/>
                  </a:moveTo>
                  <a:cubicBezTo>
                    <a:pt x="415489" y="1927704"/>
                    <a:pt x="372443" y="2013796"/>
                    <a:pt x="363085" y="2015668"/>
                  </a:cubicBezTo>
                  <a:cubicBezTo>
                    <a:pt x="361213" y="2013796"/>
                    <a:pt x="366828" y="1998824"/>
                    <a:pt x="378057" y="1976365"/>
                  </a:cubicBezTo>
                  <a:cubicBezTo>
                    <a:pt x="394901" y="1940805"/>
                    <a:pt x="408002" y="1922089"/>
                    <a:pt x="409874" y="1922089"/>
                  </a:cubicBezTo>
                  <a:close/>
                  <a:moveTo>
                    <a:pt x="1038722" y="1907116"/>
                  </a:moveTo>
                  <a:cubicBezTo>
                    <a:pt x="1059310" y="1912731"/>
                    <a:pt x="1049952" y="1948291"/>
                    <a:pt x="1023750" y="1961392"/>
                  </a:cubicBezTo>
                  <a:cubicBezTo>
                    <a:pt x="1005034" y="1970750"/>
                    <a:pt x="990061" y="1957649"/>
                    <a:pt x="997548" y="1937061"/>
                  </a:cubicBezTo>
                  <a:cubicBezTo>
                    <a:pt x="997548" y="1935190"/>
                    <a:pt x="999419" y="1933318"/>
                    <a:pt x="999419" y="1931447"/>
                  </a:cubicBezTo>
                  <a:cubicBezTo>
                    <a:pt x="1010649" y="1908988"/>
                    <a:pt x="1029365" y="1903373"/>
                    <a:pt x="1038722" y="1907116"/>
                  </a:cubicBezTo>
                  <a:close/>
                  <a:moveTo>
                    <a:pt x="454791" y="1895887"/>
                  </a:moveTo>
                  <a:cubicBezTo>
                    <a:pt x="466021" y="1895887"/>
                    <a:pt x="436076" y="1959520"/>
                    <a:pt x="415488" y="1983851"/>
                  </a:cubicBezTo>
                  <a:cubicBezTo>
                    <a:pt x="409874" y="1991337"/>
                    <a:pt x="406131" y="1991337"/>
                    <a:pt x="404259" y="1987594"/>
                  </a:cubicBezTo>
                  <a:cubicBezTo>
                    <a:pt x="404259" y="1983851"/>
                    <a:pt x="406131" y="1974493"/>
                    <a:pt x="417360" y="1948291"/>
                  </a:cubicBezTo>
                  <a:cubicBezTo>
                    <a:pt x="436076" y="1912731"/>
                    <a:pt x="451048" y="1895887"/>
                    <a:pt x="454791" y="1895887"/>
                  </a:cubicBezTo>
                  <a:close/>
                  <a:moveTo>
                    <a:pt x="928300" y="1886530"/>
                  </a:moveTo>
                  <a:cubicBezTo>
                    <a:pt x="948887" y="1892144"/>
                    <a:pt x="935786" y="1933319"/>
                    <a:pt x="909584" y="1948292"/>
                  </a:cubicBezTo>
                  <a:cubicBezTo>
                    <a:pt x="890868" y="1959521"/>
                    <a:pt x="875895" y="1948292"/>
                    <a:pt x="881510" y="1925833"/>
                  </a:cubicBezTo>
                  <a:cubicBezTo>
                    <a:pt x="883382" y="1922090"/>
                    <a:pt x="883382" y="1918346"/>
                    <a:pt x="885253" y="1916475"/>
                  </a:cubicBezTo>
                  <a:cubicBezTo>
                    <a:pt x="900226" y="1890273"/>
                    <a:pt x="918942" y="1882787"/>
                    <a:pt x="928300" y="1886530"/>
                  </a:cubicBezTo>
                  <a:close/>
                  <a:moveTo>
                    <a:pt x="1814490" y="1879277"/>
                  </a:moveTo>
                  <a:cubicBezTo>
                    <a:pt x="1818233" y="1879043"/>
                    <a:pt x="1821977" y="1879979"/>
                    <a:pt x="1824784" y="1880915"/>
                  </a:cubicBezTo>
                  <a:cubicBezTo>
                    <a:pt x="1834141" y="1884658"/>
                    <a:pt x="1834141" y="1895888"/>
                    <a:pt x="1824784" y="1897759"/>
                  </a:cubicBezTo>
                  <a:cubicBezTo>
                    <a:pt x="1813554" y="1901502"/>
                    <a:pt x="1800453" y="1892144"/>
                    <a:pt x="1804196" y="1884658"/>
                  </a:cubicBezTo>
                  <a:cubicBezTo>
                    <a:pt x="1807003" y="1880915"/>
                    <a:pt x="1810747" y="1879511"/>
                    <a:pt x="1814490" y="1879277"/>
                  </a:cubicBezTo>
                  <a:close/>
                  <a:moveTo>
                    <a:pt x="1468016" y="1877639"/>
                  </a:moveTo>
                  <a:cubicBezTo>
                    <a:pt x="1473396" y="1876235"/>
                    <a:pt x="1478543" y="1877171"/>
                    <a:pt x="1482286" y="1879043"/>
                  </a:cubicBezTo>
                  <a:cubicBezTo>
                    <a:pt x="1497259" y="1884657"/>
                    <a:pt x="1493516" y="1903373"/>
                    <a:pt x="1478543" y="1910859"/>
                  </a:cubicBezTo>
                  <a:cubicBezTo>
                    <a:pt x="1461699" y="1916474"/>
                    <a:pt x="1446726" y="1905245"/>
                    <a:pt x="1452341" y="1892144"/>
                  </a:cubicBezTo>
                  <a:cubicBezTo>
                    <a:pt x="1452341" y="1892144"/>
                    <a:pt x="1452341" y="1890272"/>
                    <a:pt x="1452341" y="1890272"/>
                  </a:cubicBezTo>
                  <a:cubicBezTo>
                    <a:pt x="1457020" y="1882785"/>
                    <a:pt x="1462635" y="1879042"/>
                    <a:pt x="1468016" y="1877639"/>
                  </a:cubicBezTo>
                  <a:close/>
                  <a:moveTo>
                    <a:pt x="510939" y="1877172"/>
                  </a:moveTo>
                  <a:cubicBezTo>
                    <a:pt x="525911" y="1879044"/>
                    <a:pt x="492223" y="1950163"/>
                    <a:pt x="467892" y="1968879"/>
                  </a:cubicBezTo>
                  <a:cubicBezTo>
                    <a:pt x="460406" y="1974494"/>
                    <a:pt x="456663" y="1972622"/>
                    <a:pt x="456663" y="1965136"/>
                  </a:cubicBezTo>
                  <a:cubicBezTo>
                    <a:pt x="456663" y="1953906"/>
                    <a:pt x="466021" y="1935191"/>
                    <a:pt x="467892" y="1929576"/>
                  </a:cubicBezTo>
                  <a:cubicBezTo>
                    <a:pt x="488480" y="1892145"/>
                    <a:pt x="505324" y="1877172"/>
                    <a:pt x="510939" y="1877172"/>
                  </a:cubicBezTo>
                  <a:close/>
                  <a:moveTo>
                    <a:pt x="827235" y="1871556"/>
                  </a:moveTo>
                  <a:cubicBezTo>
                    <a:pt x="847822" y="1877171"/>
                    <a:pt x="830978" y="1927704"/>
                    <a:pt x="801033" y="1942676"/>
                  </a:cubicBezTo>
                  <a:cubicBezTo>
                    <a:pt x="782317" y="1953906"/>
                    <a:pt x="771088" y="1940805"/>
                    <a:pt x="776702" y="1918346"/>
                  </a:cubicBezTo>
                  <a:cubicBezTo>
                    <a:pt x="778574" y="1914603"/>
                    <a:pt x="780445" y="1910860"/>
                    <a:pt x="780445" y="1907116"/>
                  </a:cubicBezTo>
                  <a:cubicBezTo>
                    <a:pt x="797290" y="1877171"/>
                    <a:pt x="817877" y="1867813"/>
                    <a:pt x="827235" y="1871556"/>
                  </a:cubicBezTo>
                  <a:close/>
                  <a:moveTo>
                    <a:pt x="576444" y="1865942"/>
                  </a:moveTo>
                  <a:cubicBezTo>
                    <a:pt x="593288" y="1867814"/>
                    <a:pt x="565215" y="1933319"/>
                    <a:pt x="539013" y="1955778"/>
                  </a:cubicBezTo>
                  <a:cubicBezTo>
                    <a:pt x="527783" y="1965135"/>
                    <a:pt x="520297" y="1961392"/>
                    <a:pt x="522169" y="1946420"/>
                  </a:cubicBezTo>
                  <a:cubicBezTo>
                    <a:pt x="524040" y="1935190"/>
                    <a:pt x="529655" y="1922089"/>
                    <a:pt x="531526" y="1916475"/>
                  </a:cubicBezTo>
                  <a:cubicBezTo>
                    <a:pt x="550242" y="1879043"/>
                    <a:pt x="568958" y="1864070"/>
                    <a:pt x="576444" y="1865942"/>
                  </a:cubicBezTo>
                  <a:close/>
                  <a:moveTo>
                    <a:pt x="733656" y="1862199"/>
                  </a:moveTo>
                  <a:cubicBezTo>
                    <a:pt x="754243" y="1867814"/>
                    <a:pt x="733656" y="1922089"/>
                    <a:pt x="703711" y="1940805"/>
                  </a:cubicBezTo>
                  <a:cubicBezTo>
                    <a:pt x="686867" y="1952034"/>
                    <a:pt x="675637" y="1944548"/>
                    <a:pt x="679380" y="1923961"/>
                  </a:cubicBezTo>
                  <a:cubicBezTo>
                    <a:pt x="681252" y="1916475"/>
                    <a:pt x="684995" y="1908988"/>
                    <a:pt x="686867" y="1903373"/>
                  </a:cubicBezTo>
                  <a:cubicBezTo>
                    <a:pt x="705582" y="1871557"/>
                    <a:pt x="726170" y="1860327"/>
                    <a:pt x="733656" y="1862199"/>
                  </a:cubicBezTo>
                  <a:close/>
                  <a:moveTo>
                    <a:pt x="2232552" y="1861965"/>
                  </a:moveTo>
                  <a:cubicBezTo>
                    <a:pt x="2234190" y="1862199"/>
                    <a:pt x="2235593" y="1863134"/>
                    <a:pt x="2236529" y="1864070"/>
                  </a:cubicBezTo>
                  <a:cubicBezTo>
                    <a:pt x="2240273" y="1865942"/>
                    <a:pt x="2240273" y="1869685"/>
                    <a:pt x="2236529" y="1871556"/>
                  </a:cubicBezTo>
                  <a:cubicBezTo>
                    <a:pt x="2232786" y="1871556"/>
                    <a:pt x="2225300" y="1867813"/>
                    <a:pt x="2227171" y="1864070"/>
                  </a:cubicBezTo>
                  <a:cubicBezTo>
                    <a:pt x="2229043" y="1862198"/>
                    <a:pt x="2230915" y="1861731"/>
                    <a:pt x="2232552" y="1861965"/>
                  </a:cubicBezTo>
                  <a:close/>
                  <a:moveTo>
                    <a:pt x="651308" y="1860328"/>
                  </a:moveTo>
                  <a:cubicBezTo>
                    <a:pt x="671895" y="1864071"/>
                    <a:pt x="645693" y="1925833"/>
                    <a:pt x="615748" y="1946420"/>
                  </a:cubicBezTo>
                  <a:cubicBezTo>
                    <a:pt x="600775" y="1955778"/>
                    <a:pt x="593289" y="1948292"/>
                    <a:pt x="597032" y="1927704"/>
                  </a:cubicBezTo>
                  <a:cubicBezTo>
                    <a:pt x="598903" y="1918346"/>
                    <a:pt x="602647" y="1910860"/>
                    <a:pt x="604518" y="1907117"/>
                  </a:cubicBezTo>
                  <a:cubicBezTo>
                    <a:pt x="623234" y="1871557"/>
                    <a:pt x="641950" y="1858456"/>
                    <a:pt x="651308" y="1860328"/>
                  </a:cubicBezTo>
                  <a:close/>
                  <a:moveTo>
                    <a:pt x="2019427" y="1860327"/>
                  </a:moveTo>
                  <a:cubicBezTo>
                    <a:pt x="2021299" y="1856584"/>
                    <a:pt x="2026914" y="1856584"/>
                    <a:pt x="2032529" y="1860327"/>
                  </a:cubicBezTo>
                  <a:cubicBezTo>
                    <a:pt x="2038143" y="1864071"/>
                    <a:pt x="2038143" y="1871557"/>
                    <a:pt x="2032529" y="1871557"/>
                  </a:cubicBezTo>
                  <a:cubicBezTo>
                    <a:pt x="2025042" y="1873428"/>
                    <a:pt x="2013813" y="1865942"/>
                    <a:pt x="2019427" y="1860327"/>
                  </a:cubicBezTo>
                  <a:close/>
                  <a:moveTo>
                    <a:pt x="1336771" y="1833891"/>
                  </a:moveTo>
                  <a:cubicBezTo>
                    <a:pt x="1343322" y="1831785"/>
                    <a:pt x="1349404" y="1832253"/>
                    <a:pt x="1353147" y="1834125"/>
                  </a:cubicBezTo>
                  <a:cubicBezTo>
                    <a:pt x="1369992" y="1841611"/>
                    <a:pt x="1366248" y="1864070"/>
                    <a:pt x="1345661" y="1873428"/>
                  </a:cubicBezTo>
                  <a:cubicBezTo>
                    <a:pt x="1326945" y="1882786"/>
                    <a:pt x="1310101" y="1869685"/>
                    <a:pt x="1315716" y="1852841"/>
                  </a:cubicBezTo>
                  <a:cubicBezTo>
                    <a:pt x="1315716" y="1850969"/>
                    <a:pt x="1317587" y="1849098"/>
                    <a:pt x="1317587" y="1849098"/>
                  </a:cubicBezTo>
                  <a:cubicBezTo>
                    <a:pt x="1323202" y="1840675"/>
                    <a:pt x="1330221" y="1835996"/>
                    <a:pt x="1336771" y="1833891"/>
                  </a:cubicBezTo>
                  <a:close/>
                  <a:moveTo>
                    <a:pt x="1673888" y="1816346"/>
                  </a:moveTo>
                  <a:cubicBezTo>
                    <a:pt x="1678801" y="1815878"/>
                    <a:pt x="1683480" y="1817281"/>
                    <a:pt x="1686287" y="1819153"/>
                  </a:cubicBezTo>
                  <a:cubicBezTo>
                    <a:pt x="1699388" y="1824768"/>
                    <a:pt x="1697516" y="1839740"/>
                    <a:pt x="1684415" y="1845355"/>
                  </a:cubicBezTo>
                  <a:cubicBezTo>
                    <a:pt x="1669443" y="1850970"/>
                    <a:pt x="1654470" y="1837869"/>
                    <a:pt x="1660085" y="1826639"/>
                  </a:cubicBezTo>
                  <a:cubicBezTo>
                    <a:pt x="1660085" y="1826639"/>
                    <a:pt x="1660085" y="1826639"/>
                    <a:pt x="1660085" y="1824768"/>
                  </a:cubicBezTo>
                  <a:cubicBezTo>
                    <a:pt x="1663828" y="1819153"/>
                    <a:pt x="1668975" y="1816813"/>
                    <a:pt x="1673888" y="1816346"/>
                  </a:cubicBezTo>
                  <a:close/>
                  <a:moveTo>
                    <a:pt x="1231495" y="1794822"/>
                  </a:moveTo>
                  <a:cubicBezTo>
                    <a:pt x="1250211" y="1802309"/>
                    <a:pt x="1242725" y="1834125"/>
                    <a:pt x="1218394" y="1843483"/>
                  </a:cubicBezTo>
                  <a:cubicBezTo>
                    <a:pt x="1197807" y="1852841"/>
                    <a:pt x="1180963" y="1839740"/>
                    <a:pt x="1188449" y="1819153"/>
                  </a:cubicBezTo>
                  <a:cubicBezTo>
                    <a:pt x="1188449" y="1817281"/>
                    <a:pt x="1190321" y="1815410"/>
                    <a:pt x="1190321" y="1813538"/>
                  </a:cubicBezTo>
                  <a:cubicBezTo>
                    <a:pt x="1203422" y="1794822"/>
                    <a:pt x="1222137" y="1791079"/>
                    <a:pt x="1231495" y="1794822"/>
                  </a:cubicBezTo>
                  <a:close/>
                  <a:moveTo>
                    <a:pt x="2292676" y="1787336"/>
                  </a:moveTo>
                  <a:cubicBezTo>
                    <a:pt x="2296420" y="1785465"/>
                    <a:pt x="2300163" y="1787336"/>
                    <a:pt x="2302034" y="1789208"/>
                  </a:cubicBezTo>
                  <a:cubicBezTo>
                    <a:pt x="2305778" y="1791079"/>
                    <a:pt x="2305778" y="1796694"/>
                    <a:pt x="2302034" y="1796694"/>
                  </a:cubicBezTo>
                  <a:cubicBezTo>
                    <a:pt x="2298291" y="1796694"/>
                    <a:pt x="2290805" y="1791079"/>
                    <a:pt x="2292676" y="1787336"/>
                  </a:cubicBezTo>
                  <a:close/>
                  <a:moveTo>
                    <a:pt x="1881867" y="1780318"/>
                  </a:moveTo>
                  <a:cubicBezTo>
                    <a:pt x="1885610" y="1780318"/>
                    <a:pt x="1889353" y="1781721"/>
                    <a:pt x="1892160" y="1783593"/>
                  </a:cubicBezTo>
                  <a:cubicBezTo>
                    <a:pt x="1901518" y="1789208"/>
                    <a:pt x="1901518" y="1800437"/>
                    <a:pt x="1890289" y="1804181"/>
                  </a:cubicBezTo>
                  <a:cubicBezTo>
                    <a:pt x="1879059" y="1806052"/>
                    <a:pt x="1864087" y="1796694"/>
                    <a:pt x="1871573" y="1785465"/>
                  </a:cubicBezTo>
                  <a:cubicBezTo>
                    <a:pt x="1874381" y="1781722"/>
                    <a:pt x="1878124" y="1780318"/>
                    <a:pt x="1881867" y="1780318"/>
                  </a:cubicBezTo>
                  <a:close/>
                  <a:moveTo>
                    <a:pt x="475380" y="1772363"/>
                  </a:moveTo>
                  <a:cubicBezTo>
                    <a:pt x="475380" y="1777978"/>
                    <a:pt x="424847" y="1864070"/>
                    <a:pt x="421104" y="1867813"/>
                  </a:cubicBezTo>
                  <a:cubicBezTo>
                    <a:pt x="421104" y="1865942"/>
                    <a:pt x="421104" y="1865942"/>
                    <a:pt x="441691" y="1828510"/>
                  </a:cubicBezTo>
                  <a:cubicBezTo>
                    <a:pt x="462279" y="1791079"/>
                    <a:pt x="473508" y="1774235"/>
                    <a:pt x="475380" y="1772363"/>
                  </a:cubicBezTo>
                  <a:close/>
                  <a:moveTo>
                    <a:pt x="2090547" y="1770725"/>
                  </a:moveTo>
                  <a:cubicBezTo>
                    <a:pt x="2093354" y="1770959"/>
                    <a:pt x="2096162" y="1772363"/>
                    <a:pt x="2098034" y="1774235"/>
                  </a:cubicBezTo>
                  <a:cubicBezTo>
                    <a:pt x="2105520" y="1779849"/>
                    <a:pt x="2105520" y="1785464"/>
                    <a:pt x="2098034" y="1787336"/>
                  </a:cubicBezTo>
                  <a:cubicBezTo>
                    <a:pt x="2088676" y="1789207"/>
                    <a:pt x="2079318" y="1779849"/>
                    <a:pt x="2083061" y="1774235"/>
                  </a:cubicBezTo>
                  <a:cubicBezTo>
                    <a:pt x="2084932" y="1771427"/>
                    <a:pt x="2087740" y="1770491"/>
                    <a:pt x="2090547" y="1770725"/>
                  </a:cubicBezTo>
                  <a:close/>
                  <a:moveTo>
                    <a:pt x="1117329" y="1763005"/>
                  </a:moveTo>
                  <a:cubicBezTo>
                    <a:pt x="1139788" y="1772363"/>
                    <a:pt x="1126687" y="1809794"/>
                    <a:pt x="1096741" y="1821024"/>
                  </a:cubicBezTo>
                  <a:cubicBezTo>
                    <a:pt x="1074282" y="1830382"/>
                    <a:pt x="1061182" y="1815409"/>
                    <a:pt x="1068668" y="1792950"/>
                  </a:cubicBezTo>
                  <a:cubicBezTo>
                    <a:pt x="1068668" y="1791079"/>
                    <a:pt x="1070539" y="1789207"/>
                    <a:pt x="1072411" y="1787336"/>
                  </a:cubicBezTo>
                  <a:cubicBezTo>
                    <a:pt x="1085512" y="1763005"/>
                    <a:pt x="1106099" y="1757390"/>
                    <a:pt x="1117329" y="1763005"/>
                  </a:cubicBezTo>
                  <a:close/>
                  <a:moveTo>
                    <a:pt x="1539135" y="1758560"/>
                  </a:moveTo>
                  <a:cubicBezTo>
                    <a:pt x="1545452" y="1757391"/>
                    <a:pt x="1551535" y="1758326"/>
                    <a:pt x="1555278" y="1761134"/>
                  </a:cubicBezTo>
                  <a:cubicBezTo>
                    <a:pt x="1570250" y="1768620"/>
                    <a:pt x="1566507" y="1789207"/>
                    <a:pt x="1547791" y="1794822"/>
                  </a:cubicBezTo>
                  <a:cubicBezTo>
                    <a:pt x="1529075" y="1800437"/>
                    <a:pt x="1512231" y="1787336"/>
                    <a:pt x="1519718" y="1770492"/>
                  </a:cubicBezTo>
                  <a:cubicBezTo>
                    <a:pt x="1519718" y="1770492"/>
                    <a:pt x="1519718" y="1768620"/>
                    <a:pt x="1521589" y="1768620"/>
                  </a:cubicBezTo>
                  <a:cubicBezTo>
                    <a:pt x="1526268" y="1763005"/>
                    <a:pt x="1532819" y="1759730"/>
                    <a:pt x="1539135" y="1758560"/>
                  </a:cubicBezTo>
                  <a:close/>
                  <a:moveTo>
                    <a:pt x="509067" y="1740548"/>
                  </a:moveTo>
                  <a:cubicBezTo>
                    <a:pt x="514682" y="1748033"/>
                    <a:pt x="460406" y="1841612"/>
                    <a:pt x="451049" y="1841612"/>
                  </a:cubicBezTo>
                  <a:cubicBezTo>
                    <a:pt x="449177" y="1839740"/>
                    <a:pt x="456663" y="1822896"/>
                    <a:pt x="469764" y="1798566"/>
                  </a:cubicBezTo>
                  <a:cubicBezTo>
                    <a:pt x="490352" y="1759264"/>
                    <a:pt x="505324" y="1740548"/>
                    <a:pt x="509067" y="1740548"/>
                  </a:cubicBezTo>
                  <a:close/>
                  <a:moveTo>
                    <a:pt x="1010649" y="1734932"/>
                  </a:moveTo>
                  <a:cubicBezTo>
                    <a:pt x="1033108" y="1742418"/>
                    <a:pt x="1016264" y="1787336"/>
                    <a:pt x="986319" y="1802308"/>
                  </a:cubicBezTo>
                  <a:cubicBezTo>
                    <a:pt x="963860" y="1813538"/>
                    <a:pt x="948887" y="1800437"/>
                    <a:pt x="958245" y="1776106"/>
                  </a:cubicBezTo>
                  <a:cubicBezTo>
                    <a:pt x="960117" y="1772363"/>
                    <a:pt x="961988" y="1768620"/>
                    <a:pt x="963860" y="1764877"/>
                  </a:cubicBezTo>
                  <a:cubicBezTo>
                    <a:pt x="978832" y="1738675"/>
                    <a:pt x="1001291" y="1731189"/>
                    <a:pt x="1010649" y="1734932"/>
                  </a:cubicBezTo>
                  <a:close/>
                  <a:moveTo>
                    <a:pt x="552114" y="1716216"/>
                  </a:moveTo>
                  <a:cubicBezTo>
                    <a:pt x="563343" y="1716216"/>
                    <a:pt x="522168" y="1792951"/>
                    <a:pt x="497838" y="1815409"/>
                  </a:cubicBezTo>
                  <a:cubicBezTo>
                    <a:pt x="494095" y="1819153"/>
                    <a:pt x="488480" y="1822896"/>
                    <a:pt x="488480" y="1815409"/>
                  </a:cubicBezTo>
                  <a:cubicBezTo>
                    <a:pt x="488480" y="1811666"/>
                    <a:pt x="492223" y="1800437"/>
                    <a:pt x="507196" y="1772363"/>
                  </a:cubicBezTo>
                  <a:cubicBezTo>
                    <a:pt x="531526" y="1734932"/>
                    <a:pt x="548370" y="1716216"/>
                    <a:pt x="552114" y="1716216"/>
                  </a:cubicBezTo>
                  <a:close/>
                  <a:moveTo>
                    <a:pt x="2363797" y="1716216"/>
                  </a:moveTo>
                  <a:cubicBezTo>
                    <a:pt x="2365669" y="1714345"/>
                    <a:pt x="2369412" y="1716216"/>
                    <a:pt x="2371283" y="1718088"/>
                  </a:cubicBezTo>
                  <a:cubicBezTo>
                    <a:pt x="2375027" y="1721831"/>
                    <a:pt x="2375027" y="1725574"/>
                    <a:pt x="2371283" y="1725574"/>
                  </a:cubicBezTo>
                  <a:cubicBezTo>
                    <a:pt x="2367540" y="1725574"/>
                    <a:pt x="2360054" y="1719959"/>
                    <a:pt x="2363797" y="1716216"/>
                  </a:cubicBezTo>
                  <a:close/>
                  <a:moveTo>
                    <a:pt x="913327" y="1714345"/>
                  </a:moveTo>
                  <a:cubicBezTo>
                    <a:pt x="935786" y="1721831"/>
                    <a:pt x="913327" y="1776107"/>
                    <a:pt x="879639" y="1792951"/>
                  </a:cubicBezTo>
                  <a:cubicBezTo>
                    <a:pt x="857180" y="1804180"/>
                    <a:pt x="845951" y="1789208"/>
                    <a:pt x="855309" y="1764877"/>
                  </a:cubicBezTo>
                  <a:cubicBezTo>
                    <a:pt x="857180" y="1759262"/>
                    <a:pt x="859052" y="1755519"/>
                    <a:pt x="860923" y="1751776"/>
                  </a:cubicBezTo>
                  <a:cubicBezTo>
                    <a:pt x="879639" y="1719959"/>
                    <a:pt x="902098" y="1710602"/>
                    <a:pt x="913327" y="1714345"/>
                  </a:cubicBezTo>
                  <a:close/>
                  <a:moveTo>
                    <a:pt x="1746178" y="1709432"/>
                  </a:moveTo>
                  <a:cubicBezTo>
                    <a:pt x="1751792" y="1709198"/>
                    <a:pt x="1757407" y="1710601"/>
                    <a:pt x="1761150" y="1712473"/>
                  </a:cubicBezTo>
                  <a:cubicBezTo>
                    <a:pt x="1774251" y="1719959"/>
                    <a:pt x="1772380" y="1736803"/>
                    <a:pt x="1757407" y="1740546"/>
                  </a:cubicBezTo>
                  <a:cubicBezTo>
                    <a:pt x="1740563" y="1744290"/>
                    <a:pt x="1725590" y="1731189"/>
                    <a:pt x="1731205" y="1718088"/>
                  </a:cubicBezTo>
                  <a:cubicBezTo>
                    <a:pt x="1731205" y="1718088"/>
                    <a:pt x="1731205" y="1716216"/>
                    <a:pt x="1731205" y="1716216"/>
                  </a:cubicBezTo>
                  <a:cubicBezTo>
                    <a:pt x="1734948" y="1711537"/>
                    <a:pt x="1740563" y="1709665"/>
                    <a:pt x="1746178" y="1709432"/>
                  </a:cubicBezTo>
                  <a:close/>
                  <a:moveTo>
                    <a:pt x="1412335" y="1707560"/>
                  </a:moveTo>
                  <a:cubicBezTo>
                    <a:pt x="1419588" y="1705923"/>
                    <a:pt x="1426138" y="1706858"/>
                    <a:pt x="1429881" y="1708730"/>
                  </a:cubicBezTo>
                  <a:cubicBezTo>
                    <a:pt x="1448597" y="1718088"/>
                    <a:pt x="1441111" y="1746162"/>
                    <a:pt x="1416780" y="1751776"/>
                  </a:cubicBezTo>
                  <a:cubicBezTo>
                    <a:pt x="1396193" y="1757391"/>
                    <a:pt x="1379349" y="1742419"/>
                    <a:pt x="1388707" y="1723703"/>
                  </a:cubicBezTo>
                  <a:cubicBezTo>
                    <a:pt x="1388707" y="1723703"/>
                    <a:pt x="1390578" y="1721831"/>
                    <a:pt x="1390578" y="1721831"/>
                  </a:cubicBezTo>
                  <a:cubicBezTo>
                    <a:pt x="1397129" y="1713409"/>
                    <a:pt x="1405083" y="1709198"/>
                    <a:pt x="1412335" y="1707560"/>
                  </a:cubicBezTo>
                  <a:close/>
                  <a:moveTo>
                    <a:pt x="606389" y="1701244"/>
                  </a:moveTo>
                  <a:cubicBezTo>
                    <a:pt x="621362" y="1703115"/>
                    <a:pt x="580187" y="1781721"/>
                    <a:pt x="552113" y="1802309"/>
                  </a:cubicBezTo>
                  <a:cubicBezTo>
                    <a:pt x="542755" y="1809795"/>
                    <a:pt x="539012" y="1806052"/>
                    <a:pt x="540884" y="1796694"/>
                  </a:cubicBezTo>
                  <a:cubicBezTo>
                    <a:pt x="542755" y="1783593"/>
                    <a:pt x="553985" y="1764877"/>
                    <a:pt x="557728" y="1757391"/>
                  </a:cubicBezTo>
                  <a:cubicBezTo>
                    <a:pt x="580187" y="1716216"/>
                    <a:pt x="600774" y="1699372"/>
                    <a:pt x="606389" y="1701244"/>
                  </a:cubicBezTo>
                  <a:close/>
                  <a:moveTo>
                    <a:pt x="823492" y="1699372"/>
                  </a:moveTo>
                  <a:cubicBezTo>
                    <a:pt x="845950" y="1706858"/>
                    <a:pt x="816005" y="1770491"/>
                    <a:pt x="782317" y="1787335"/>
                  </a:cubicBezTo>
                  <a:cubicBezTo>
                    <a:pt x="763601" y="1796693"/>
                    <a:pt x="754243" y="1785464"/>
                    <a:pt x="763601" y="1761133"/>
                  </a:cubicBezTo>
                  <a:cubicBezTo>
                    <a:pt x="765473" y="1753647"/>
                    <a:pt x="769216" y="1748032"/>
                    <a:pt x="771087" y="1742418"/>
                  </a:cubicBezTo>
                  <a:cubicBezTo>
                    <a:pt x="789803" y="1706858"/>
                    <a:pt x="814134" y="1695628"/>
                    <a:pt x="823492" y="1699372"/>
                  </a:cubicBezTo>
                  <a:close/>
                  <a:moveTo>
                    <a:pt x="670023" y="1691886"/>
                  </a:moveTo>
                  <a:cubicBezTo>
                    <a:pt x="688739" y="1695629"/>
                    <a:pt x="649436" y="1772364"/>
                    <a:pt x="617619" y="1791079"/>
                  </a:cubicBezTo>
                  <a:cubicBezTo>
                    <a:pt x="606389" y="1798566"/>
                    <a:pt x="600775" y="1792951"/>
                    <a:pt x="604518" y="1776107"/>
                  </a:cubicBezTo>
                  <a:cubicBezTo>
                    <a:pt x="608261" y="1763006"/>
                    <a:pt x="615747" y="1749905"/>
                    <a:pt x="617619" y="1744290"/>
                  </a:cubicBezTo>
                  <a:cubicBezTo>
                    <a:pt x="641949" y="1706859"/>
                    <a:pt x="662537" y="1690015"/>
                    <a:pt x="670023" y="1691886"/>
                  </a:cubicBezTo>
                  <a:close/>
                  <a:moveTo>
                    <a:pt x="743015" y="1691885"/>
                  </a:moveTo>
                  <a:cubicBezTo>
                    <a:pt x="763602" y="1697500"/>
                    <a:pt x="729913" y="1766748"/>
                    <a:pt x="698097" y="1785464"/>
                  </a:cubicBezTo>
                  <a:cubicBezTo>
                    <a:pt x="683124" y="1794822"/>
                    <a:pt x="673766" y="1787335"/>
                    <a:pt x="679381" y="1768620"/>
                  </a:cubicBezTo>
                  <a:cubicBezTo>
                    <a:pt x="681253" y="1757390"/>
                    <a:pt x="686867" y="1748032"/>
                    <a:pt x="690610" y="1740546"/>
                  </a:cubicBezTo>
                  <a:cubicBezTo>
                    <a:pt x="711198" y="1703115"/>
                    <a:pt x="733657" y="1690014"/>
                    <a:pt x="743015" y="1691885"/>
                  </a:cubicBezTo>
                  <a:close/>
                  <a:moveTo>
                    <a:pt x="2163304" y="1688143"/>
                  </a:moveTo>
                  <a:cubicBezTo>
                    <a:pt x="2166345" y="1688611"/>
                    <a:pt x="2169152" y="1690014"/>
                    <a:pt x="2171024" y="1691886"/>
                  </a:cubicBezTo>
                  <a:cubicBezTo>
                    <a:pt x="2178511" y="1697501"/>
                    <a:pt x="2176639" y="1704987"/>
                    <a:pt x="2169153" y="1704987"/>
                  </a:cubicBezTo>
                  <a:cubicBezTo>
                    <a:pt x="2159795" y="1706858"/>
                    <a:pt x="2148565" y="1695629"/>
                    <a:pt x="2154180" y="1690014"/>
                  </a:cubicBezTo>
                  <a:cubicBezTo>
                    <a:pt x="2156987" y="1688142"/>
                    <a:pt x="2160263" y="1687675"/>
                    <a:pt x="2163304" y="1688143"/>
                  </a:cubicBezTo>
                  <a:close/>
                  <a:moveTo>
                    <a:pt x="1955793" y="1685803"/>
                  </a:moveTo>
                  <a:cubicBezTo>
                    <a:pt x="1960004" y="1686271"/>
                    <a:pt x="1964215" y="1688142"/>
                    <a:pt x="1967023" y="1690014"/>
                  </a:cubicBezTo>
                  <a:cubicBezTo>
                    <a:pt x="1976381" y="1697500"/>
                    <a:pt x="1974509" y="1708730"/>
                    <a:pt x="1963280" y="1710602"/>
                  </a:cubicBezTo>
                  <a:cubicBezTo>
                    <a:pt x="1950179" y="1712473"/>
                    <a:pt x="1937078" y="1701244"/>
                    <a:pt x="1944564" y="1690014"/>
                  </a:cubicBezTo>
                  <a:cubicBezTo>
                    <a:pt x="1947372" y="1686271"/>
                    <a:pt x="1951583" y="1685337"/>
                    <a:pt x="1955793" y="1685803"/>
                  </a:cubicBezTo>
                  <a:close/>
                  <a:moveTo>
                    <a:pt x="1313845" y="1661944"/>
                  </a:moveTo>
                  <a:cubicBezTo>
                    <a:pt x="1334432" y="1671301"/>
                    <a:pt x="1323202" y="1704986"/>
                    <a:pt x="1297000" y="1714344"/>
                  </a:cubicBezTo>
                  <a:cubicBezTo>
                    <a:pt x="1274542" y="1723702"/>
                    <a:pt x="1257697" y="1706858"/>
                    <a:pt x="1267055" y="1686271"/>
                  </a:cubicBezTo>
                  <a:cubicBezTo>
                    <a:pt x="1267055" y="1684401"/>
                    <a:pt x="1268927" y="1682529"/>
                    <a:pt x="1270798" y="1680659"/>
                  </a:cubicBezTo>
                  <a:cubicBezTo>
                    <a:pt x="1282028" y="1661944"/>
                    <a:pt x="1300743" y="1656330"/>
                    <a:pt x="1313845" y="1661944"/>
                  </a:cubicBezTo>
                  <a:close/>
                  <a:moveTo>
                    <a:pt x="2436788" y="1650712"/>
                  </a:moveTo>
                  <a:cubicBezTo>
                    <a:pt x="2438659" y="1648840"/>
                    <a:pt x="2442402" y="1648840"/>
                    <a:pt x="2444274" y="1652584"/>
                  </a:cubicBezTo>
                  <a:cubicBezTo>
                    <a:pt x="2448017" y="1656326"/>
                    <a:pt x="2446146" y="1660069"/>
                    <a:pt x="2444274" y="1660069"/>
                  </a:cubicBezTo>
                  <a:cubicBezTo>
                    <a:pt x="2440531" y="1660069"/>
                    <a:pt x="2434916" y="1654455"/>
                    <a:pt x="2436788" y="1650712"/>
                  </a:cubicBezTo>
                  <a:close/>
                  <a:moveTo>
                    <a:pt x="1617507" y="1643696"/>
                  </a:moveTo>
                  <a:cubicBezTo>
                    <a:pt x="1624058" y="1642760"/>
                    <a:pt x="1630140" y="1644163"/>
                    <a:pt x="1633883" y="1646971"/>
                  </a:cubicBezTo>
                  <a:cubicBezTo>
                    <a:pt x="1650728" y="1656330"/>
                    <a:pt x="1643241" y="1678787"/>
                    <a:pt x="1624525" y="1682529"/>
                  </a:cubicBezTo>
                  <a:cubicBezTo>
                    <a:pt x="1603938" y="1688143"/>
                    <a:pt x="1587094" y="1671300"/>
                    <a:pt x="1596452" y="1656330"/>
                  </a:cubicBezTo>
                  <a:cubicBezTo>
                    <a:pt x="1596452" y="1656330"/>
                    <a:pt x="1596452" y="1654457"/>
                    <a:pt x="1598323" y="1654457"/>
                  </a:cubicBezTo>
                  <a:cubicBezTo>
                    <a:pt x="1603938" y="1647907"/>
                    <a:pt x="1610957" y="1644631"/>
                    <a:pt x="1617507" y="1643696"/>
                  </a:cubicBezTo>
                  <a:close/>
                  <a:moveTo>
                    <a:pt x="1203421" y="1622644"/>
                  </a:moveTo>
                  <a:cubicBezTo>
                    <a:pt x="1225880" y="1633874"/>
                    <a:pt x="1209036" y="1675045"/>
                    <a:pt x="1177219" y="1686271"/>
                  </a:cubicBezTo>
                  <a:cubicBezTo>
                    <a:pt x="1152888" y="1695628"/>
                    <a:pt x="1137916" y="1678787"/>
                    <a:pt x="1149145" y="1654458"/>
                  </a:cubicBezTo>
                  <a:cubicBezTo>
                    <a:pt x="1151017" y="1652588"/>
                    <a:pt x="1151017" y="1648845"/>
                    <a:pt x="1152888" y="1646974"/>
                  </a:cubicBezTo>
                  <a:cubicBezTo>
                    <a:pt x="1169732" y="1622644"/>
                    <a:pt x="1190320" y="1617029"/>
                    <a:pt x="1203421" y="1622644"/>
                  </a:cubicBezTo>
                  <a:close/>
                  <a:moveTo>
                    <a:pt x="2240273" y="1609537"/>
                  </a:moveTo>
                  <a:cubicBezTo>
                    <a:pt x="2243081" y="1610005"/>
                    <a:pt x="2245888" y="1611409"/>
                    <a:pt x="2247760" y="1613281"/>
                  </a:cubicBezTo>
                  <a:cubicBezTo>
                    <a:pt x="2253374" y="1618896"/>
                    <a:pt x="2253374" y="1626382"/>
                    <a:pt x="2245888" y="1626382"/>
                  </a:cubicBezTo>
                  <a:cubicBezTo>
                    <a:pt x="2236530" y="1626382"/>
                    <a:pt x="2227172" y="1617024"/>
                    <a:pt x="2232787" y="1611409"/>
                  </a:cubicBezTo>
                  <a:cubicBezTo>
                    <a:pt x="2234659" y="1609537"/>
                    <a:pt x="2237466" y="1609070"/>
                    <a:pt x="2240273" y="1609537"/>
                  </a:cubicBezTo>
                  <a:close/>
                  <a:moveTo>
                    <a:pt x="1825719" y="1606731"/>
                  </a:moveTo>
                  <a:cubicBezTo>
                    <a:pt x="1830866" y="1606731"/>
                    <a:pt x="1836013" y="1608604"/>
                    <a:pt x="1839756" y="1611411"/>
                  </a:cubicBezTo>
                  <a:cubicBezTo>
                    <a:pt x="1852857" y="1620768"/>
                    <a:pt x="1849114" y="1635740"/>
                    <a:pt x="1834142" y="1639484"/>
                  </a:cubicBezTo>
                  <a:cubicBezTo>
                    <a:pt x="1817298" y="1643227"/>
                    <a:pt x="1800453" y="1628255"/>
                    <a:pt x="1809811" y="1615154"/>
                  </a:cubicBezTo>
                  <a:cubicBezTo>
                    <a:pt x="1809811" y="1615154"/>
                    <a:pt x="1809811" y="1613282"/>
                    <a:pt x="1811683" y="1613282"/>
                  </a:cubicBezTo>
                  <a:cubicBezTo>
                    <a:pt x="1815426" y="1608604"/>
                    <a:pt x="1820573" y="1606731"/>
                    <a:pt x="1825719" y="1606731"/>
                  </a:cubicBezTo>
                  <a:close/>
                  <a:moveTo>
                    <a:pt x="583930" y="1596452"/>
                  </a:moveTo>
                  <a:cubicBezTo>
                    <a:pt x="582058" y="1603940"/>
                    <a:pt x="524040" y="1691886"/>
                    <a:pt x="518425" y="1697501"/>
                  </a:cubicBezTo>
                  <a:cubicBezTo>
                    <a:pt x="518425" y="1695629"/>
                    <a:pt x="518425" y="1693758"/>
                    <a:pt x="542755" y="1656338"/>
                  </a:cubicBezTo>
                  <a:cubicBezTo>
                    <a:pt x="568957" y="1617039"/>
                    <a:pt x="583930" y="1596452"/>
                    <a:pt x="583930" y="1596452"/>
                  </a:cubicBezTo>
                  <a:close/>
                  <a:moveTo>
                    <a:pt x="2033698" y="1595736"/>
                  </a:moveTo>
                  <a:cubicBezTo>
                    <a:pt x="2038143" y="1596438"/>
                    <a:pt x="2041887" y="1598309"/>
                    <a:pt x="2043758" y="1600181"/>
                  </a:cubicBezTo>
                  <a:cubicBezTo>
                    <a:pt x="2053116" y="1607667"/>
                    <a:pt x="2051244" y="1620767"/>
                    <a:pt x="2038143" y="1620767"/>
                  </a:cubicBezTo>
                  <a:cubicBezTo>
                    <a:pt x="2025042" y="1622640"/>
                    <a:pt x="2011941" y="1609539"/>
                    <a:pt x="2019427" y="1598308"/>
                  </a:cubicBezTo>
                  <a:cubicBezTo>
                    <a:pt x="2024106" y="1595501"/>
                    <a:pt x="2029253" y="1595034"/>
                    <a:pt x="2033698" y="1595736"/>
                  </a:cubicBezTo>
                  <a:close/>
                  <a:moveTo>
                    <a:pt x="1100484" y="1588957"/>
                  </a:moveTo>
                  <a:cubicBezTo>
                    <a:pt x="1124815" y="1600186"/>
                    <a:pt x="1100484" y="1650717"/>
                    <a:pt x="1064924" y="1663817"/>
                  </a:cubicBezTo>
                  <a:cubicBezTo>
                    <a:pt x="1040594" y="1671303"/>
                    <a:pt x="1029365" y="1654461"/>
                    <a:pt x="1040594" y="1628259"/>
                  </a:cubicBezTo>
                  <a:cubicBezTo>
                    <a:pt x="1042466" y="1626387"/>
                    <a:pt x="1044337" y="1622645"/>
                    <a:pt x="1044337" y="1620774"/>
                  </a:cubicBezTo>
                  <a:cubicBezTo>
                    <a:pt x="1066796" y="1590828"/>
                    <a:pt x="1091127" y="1583343"/>
                    <a:pt x="1100484" y="1588957"/>
                  </a:cubicBezTo>
                  <a:close/>
                  <a:moveTo>
                    <a:pt x="2513523" y="1587077"/>
                  </a:moveTo>
                  <a:cubicBezTo>
                    <a:pt x="2517266" y="1585206"/>
                    <a:pt x="2519138" y="1587077"/>
                    <a:pt x="2521009" y="1588949"/>
                  </a:cubicBezTo>
                  <a:cubicBezTo>
                    <a:pt x="2522881" y="1590820"/>
                    <a:pt x="2522881" y="1594563"/>
                    <a:pt x="2519138" y="1594563"/>
                  </a:cubicBezTo>
                  <a:cubicBezTo>
                    <a:pt x="2515395" y="1594563"/>
                    <a:pt x="2511651" y="1588949"/>
                    <a:pt x="2513523" y="1587077"/>
                  </a:cubicBezTo>
                  <a:close/>
                  <a:moveTo>
                    <a:pt x="1494919" y="1586147"/>
                  </a:moveTo>
                  <a:cubicBezTo>
                    <a:pt x="1502405" y="1584743"/>
                    <a:pt x="1509423" y="1586147"/>
                    <a:pt x="1514102" y="1588953"/>
                  </a:cubicBezTo>
                  <a:cubicBezTo>
                    <a:pt x="1532818" y="1600183"/>
                    <a:pt x="1521589" y="1628256"/>
                    <a:pt x="1497258" y="1633871"/>
                  </a:cubicBezTo>
                  <a:cubicBezTo>
                    <a:pt x="1474799" y="1639486"/>
                    <a:pt x="1457955" y="1620771"/>
                    <a:pt x="1471056" y="1602054"/>
                  </a:cubicBezTo>
                  <a:cubicBezTo>
                    <a:pt x="1471056" y="1602054"/>
                    <a:pt x="1472928" y="1600183"/>
                    <a:pt x="1472928" y="1600183"/>
                  </a:cubicBezTo>
                  <a:cubicBezTo>
                    <a:pt x="1479479" y="1591761"/>
                    <a:pt x="1487433" y="1587550"/>
                    <a:pt x="1494919" y="1586147"/>
                  </a:cubicBezTo>
                  <a:close/>
                  <a:moveTo>
                    <a:pt x="617619" y="1564635"/>
                  </a:moveTo>
                  <a:cubicBezTo>
                    <a:pt x="621362" y="1573995"/>
                    <a:pt x="555857" y="1673178"/>
                    <a:pt x="546499" y="1673178"/>
                  </a:cubicBezTo>
                  <a:cubicBezTo>
                    <a:pt x="544628" y="1669437"/>
                    <a:pt x="553985" y="1654465"/>
                    <a:pt x="570830" y="1626395"/>
                  </a:cubicBezTo>
                  <a:cubicBezTo>
                    <a:pt x="598903" y="1585225"/>
                    <a:pt x="615747" y="1566507"/>
                    <a:pt x="617619" y="1564635"/>
                  </a:cubicBezTo>
                  <a:close/>
                  <a:moveTo>
                    <a:pt x="1006906" y="1562757"/>
                  </a:moveTo>
                  <a:cubicBezTo>
                    <a:pt x="1031237" y="1572115"/>
                    <a:pt x="1001291" y="1630132"/>
                    <a:pt x="965731" y="1646976"/>
                  </a:cubicBezTo>
                  <a:cubicBezTo>
                    <a:pt x="941401" y="1658205"/>
                    <a:pt x="930172" y="1641361"/>
                    <a:pt x="941401" y="1613289"/>
                  </a:cubicBezTo>
                  <a:cubicBezTo>
                    <a:pt x="943273" y="1607674"/>
                    <a:pt x="947016" y="1603932"/>
                    <a:pt x="948887" y="1600188"/>
                  </a:cubicBezTo>
                  <a:cubicBezTo>
                    <a:pt x="971346" y="1566500"/>
                    <a:pt x="997548" y="1557142"/>
                    <a:pt x="1006906" y="1562757"/>
                  </a:cubicBezTo>
                  <a:close/>
                  <a:moveTo>
                    <a:pt x="660665" y="1544048"/>
                  </a:moveTo>
                  <a:cubicBezTo>
                    <a:pt x="673766" y="1545922"/>
                    <a:pt x="623234" y="1626395"/>
                    <a:pt x="595160" y="1650723"/>
                  </a:cubicBezTo>
                  <a:cubicBezTo>
                    <a:pt x="591417" y="1654465"/>
                    <a:pt x="583931" y="1658208"/>
                    <a:pt x="585802" y="1650723"/>
                  </a:cubicBezTo>
                  <a:cubicBezTo>
                    <a:pt x="585802" y="1646981"/>
                    <a:pt x="589546" y="1633881"/>
                    <a:pt x="608261" y="1603938"/>
                  </a:cubicBezTo>
                  <a:cubicBezTo>
                    <a:pt x="636335" y="1560891"/>
                    <a:pt x="656922" y="1542176"/>
                    <a:pt x="660665" y="1544048"/>
                  </a:cubicBezTo>
                  <a:close/>
                  <a:moveTo>
                    <a:pt x="920814" y="1542171"/>
                  </a:moveTo>
                  <a:cubicBezTo>
                    <a:pt x="945145" y="1551530"/>
                    <a:pt x="907713" y="1620776"/>
                    <a:pt x="870282" y="1635749"/>
                  </a:cubicBezTo>
                  <a:cubicBezTo>
                    <a:pt x="849694" y="1645106"/>
                    <a:pt x="840336" y="1632006"/>
                    <a:pt x="851566" y="1605805"/>
                  </a:cubicBezTo>
                  <a:cubicBezTo>
                    <a:pt x="855309" y="1598319"/>
                    <a:pt x="857181" y="1592704"/>
                    <a:pt x="860924" y="1587089"/>
                  </a:cubicBezTo>
                  <a:cubicBezTo>
                    <a:pt x="885254" y="1549660"/>
                    <a:pt x="911456" y="1538429"/>
                    <a:pt x="920814" y="1542171"/>
                  </a:cubicBezTo>
                  <a:close/>
                  <a:moveTo>
                    <a:pt x="2321218" y="1535845"/>
                  </a:moveTo>
                  <a:cubicBezTo>
                    <a:pt x="2324025" y="1536546"/>
                    <a:pt x="2326365" y="1538418"/>
                    <a:pt x="2328237" y="1540290"/>
                  </a:cubicBezTo>
                  <a:cubicBezTo>
                    <a:pt x="2333851" y="1545904"/>
                    <a:pt x="2331980" y="1553391"/>
                    <a:pt x="2324493" y="1553391"/>
                  </a:cubicBezTo>
                  <a:cubicBezTo>
                    <a:pt x="2315136" y="1553391"/>
                    <a:pt x="2307649" y="1544033"/>
                    <a:pt x="2311392" y="1538418"/>
                  </a:cubicBezTo>
                  <a:cubicBezTo>
                    <a:pt x="2315136" y="1535610"/>
                    <a:pt x="2318411" y="1535142"/>
                    <a:pt x="2321218" y="1535845"/>
                  </a:cubicBezTo>
                  <a:close/>
                  <a:moveTo>
                    <a:pt x="1701494" y="1534210"/>
                  </a:moveTo>
                  <a:cubicBezTo>
                    <a:pt x="1708279" y="1533742"/>
                    <a:pt x="1714361" y="1535614"/>
                    <a:pt x="1718104" y="1538421"/>
                  </a:cubicBezTo>
                  <a:cubicBezTo>
                    <a:pt x="1733077" y="1549650"/>
                    <a:pt x="1725591" y="1572109"/>
                    <a:pt x="1705003" y="1575852"/>
                  </a:cubicBezTo>
                  <a:cubicBezTo>
                    <a:pt x="1684416" y="1579594"/>
                    <a:pt x="1667572" y="1562751"/>
                    <a:pt x="1678801" y="1545907"/>
                  </a:cubicBezTo>
                  <a:cubicBezTo>
                    <a:pt x="1678801" y="1545907"/>
                    <a:pt x="1680673" y="1544035"/>
                    <a:pt x="1680673" y="1544035"/>
                  </a:cubicBezTo>
                  <a:cubicBezTo>
                    <a:pt x="1687224" y="1537484"/>
                    <a:pt x="1694710" y="1534678"/>
                    <a:pt x="1701494" y="1534210"/>
                  </a:cubicBezTo>
                  <a:close/>
                  <a:moveTo>
                    <a:pt x="1380285" y="1533510"/>
                  </a:moveTo>
                  <a:cubicBezTo>
                    <a:pt x="1389175" y="1530937"/>
                    <a:pt x="1397129" y="1531873"/>
                    <a:pt x="1401808" y="1534680"/>
                  </a:cubicBezTo>
                  <a:cubicBezTo>
                    <a:pt x="1422395" y="1545910"/>
                    <a:pt x="1409294" y="1581469"/>
                    <a:pt x="1379349" y="1590827"/>
                  </a:cubicBezTo>
                  <a:cubicBezTo>
                    <a:pt x="1355019" y="1598313"/>
                    <a:pt x="1338174" y="1581469"/>
                    <a:pt x="1349404" y="1559010"/>
                  </a:cubicBezTo>
                  <a:cubicBezTo>
                    <a:pt x="1351275" y="1557138"/>
                    <a:pt x="1351275" y="1555267"/>
                    <a:pt x="1353147" y="1553395"/>
                  </a:cubicBezTo>
                  <a:cubicBezTo>
                    <a:pt x="1361569" y="1542166"/>
                    <a:pt x="1371395" y="1536083"/>
                    <a:pt x="1380285" y="1533510"/>
                  </a:cubicBezTo>
                  <a:close/>
                  <a:moveTo>
                    <a:pt x="713069" y="1530946"/>
                  </a:moveTo>
                  <a:cubicBezTo>
                    <a:pt x="729913" y="1534690"/>
                    <a:pt x="677509" y="1618907"/>
                    <a:pt x="647564" y="1639494"/>
                  </a:cubicBezTo>
                  <a:cubicBezTo>
                    <a:pt x="638206" y="1646980"/>
                    <a:pt x="632591" y="1643237"/>
                    <a:pt x="636334" y="1632008"/>
                  </a:cubicBezTo>
                  <a:cubicBezTo>
                    <a:pt x="640078" y="1617038"/>
                    <a:pt x="653179" y="1596450"/>
                    <a:pt x="656922" y="1590836"/>
                  </a:cubicBezTo>
                  <a:cubicBezTo>
                    <a:pt x="684995" y="1545920"/>
                    <a:pt x="707454" y="1529076"/>
                    <a:pt x="713069" y="1530946"/>
                  </a:cubicBezTo>
                  <a:close/>
                  <a:moveTo>
                    <a:pt x="844079" y="1529072"/>
                  </a:moveTo>
                  <a:cubicBezTo>
                    <a:pt x="866538" y="1536556"/>
                    <a:pt x="825363" y="1609548"/>
                    <a:pt x="787932" y="1630136"/>
                  </a:cubicBezTo>
                  <a:cubicBezTo>
                    <a:pt x="771088" y="1639492"/>
                    <a:pt x="761730" y="1630136"/>
                    <a:pt x="769216" y="1609548"/>
                  </a:cubicBezTo>
                  <a:cubicBezTo>
                    <a:pt x="772959" y="1598319"/>
                    <a:pt x="780445" y="1587091"/>
                    <a:pt x="784189" y="1579604"/>
                  </a:cubicBezTo>
                  <a:cubicBezTo>
                    <a:pt x="810391" y="1540301"/>
                    <a:pt x="834721" y="1527201"/>
                    <a:pt x="844079" y="1529072"/>
                  </a:cubicBezTo>
                  <a:close/>
                  <a:moveTo>
                    <a:pt x="2597743" y="1529059"/>
                  </a:moveTo>
                  <a:lnTo>
                    <a:pt x="2601486" y="1530931"/>
                  </a:lnTo>
                  <a:lnTo>
                    <a:pt x="2603358" y="1534674"/>
                  </a:lnTo>
                  <a:lnTo>
                    <a:pt x="2597743" y="1532802"/>
                  </a:lnTo>
                  <a:close/>
                  <a:moveTo>
                    <a:pt x="774830" y="1525330"/>
                  </a:moveTo>
                  <a:cubicBezTo>
                    <a:pt x="795418" y="1530945"/>
                    <a:pt x="744885" y="1615164"/>
                    <a:pt x="711197" y="1632007"/>
                  </a:cubicBezTo>
                  <a:cubicBezTo>
                    <a:pt x="698096" y="1639492"/>
                    <a:pt x="692481" y="1632007"/>
                    <a:pt x="698096" y="1615164"/>
                  </a:cubicBezTo>
                  <a:cubicBezTo>
                    <a:pt x="701839" y="1602063"/>
                    <a:pt x="711197" y="1587091"/>
                    <a:pt x="714940" y="1579605"/>
                  </a:cubicBezTo>
                  <a:cubicBezTo>
                    <a:pt x="743014" y="1538431"/>
                    <a:pt x="767344" y="1523459"/>
                    <a:pt x="774830" y="1525330"/>
                  </a:cubicBezTo>
                  <a:close/>
                  <a:moveTo>
                    <a:pt x="2117451" y="1509643"/>
                  </a:moveTo>
                  <a:cubicBezTo>
                    <a:pt x="2121428" y="1510345"/>
                    <a:pt x="2125171" y="1512216"/>
                    <a:pt x="2127979" y="1514088"/>
                  </a:cubicBezTo>
                  <a:cubicBezTo>
                    <a:pt x="2137337" y="1523446"/>
                    <a:pt x="2133594" y="1534675"/>
                    <a:pt x="2122364" y="1534675"/>
                  </a:cubicBezTo>
                  <a:cubicBezTo>
                    <a:pt x="2109263" y="1534675"/>
                    <a:pt x="2096162" y="1521574"/>
                    <a:pt x="2105520" y="1512216"/>
                  </a:cubicBezTo>
                  <a:cubicBezTo>
                    <a:pt x="2109263" y="1509408"/>
                    <a:pt x="2113474" y="1508941"/>
                    <a:pt x="2117451" y="1509643"/>
                  </a:cubicBezTo>
                  <a:close/>
                  <a:moveTo>
                    <a:pt x="1910174" y="1508708"/>
                  </a:moveTo>
                  <a:cubicBezTo>
                    <a:pt x="1916023" y="1508942"/>
                    <a:pt x="1921170" y="1511281"/>
                    <a:pt x="1923977" y="1514089"/>
                  </a:cubicBezTo>
                  <a:cubicBezTo>
                    <a:pt x="1937078" y="1525318"/>
                    <a:pt x="1931463" y="1542163"/>
                    <a:pt x="1912747" y="1544034"/>
                  </a:cubicBezTo>
                  <a:cubicBezTo>
                    <a:pt x="1895903" y="1545906"/>
                    <a:pt x="1880930" y="1529062"/>
                    <a:pt x="1892160" y="1515961"/>
                  </a:cubicBezTo>
                  <a:cubicBezTo>
                    <a:pt x="1897775" y="1510346"/>
                    <a:pt x="1904325" y="1508474"/>
                    <a:pt x="1910174" y="1508708"/>
                  </a:cubicBezTo>
                  <a:close/>
                  <a:moveTo>
                    <a:pt x="1297000" y="1487892"/>
                  </a:moveTo>
                  <a:cubicBezTo>
                    <a:pt x="1319459" y="1500992"/>
                    <a:pt x="1298871" y="1544039"/>
                    <a:pt x="1265183" y="1553396"/>
                  </a:cubicBezTo>
                  <a:cubicBezTo>
                    <a:pt x="1238981" y="1560883"/>
                    <a:pt x="1224008" y="1542167"/>
                    <a:pt x="1238981" y="1517838"/>
                  </a:cubicBezTo>
                  <a:cubicBezTo>
                    <a:pt x="1240853" y="1515966"/>
                    <a:pt x="1242724" y="1512222"/>
                    <a:pt x="1242724" y="1510350"/>
                  </a:cubicBezTo>
                  <a:cubicBezTo>
                    <a:pt x="1263311" y="1486021"/>
                    <a:pt x="1287642" y="1482278"/>
                    <a:pt x="1297000" y="1487892"/>
                  </a:cubicBezTo>
                  <a:close/>
                  <a:moveTo>
                    <a:pt x="2683836" y="1476655"/>
                  </a:moveTo>
                  <a:lnTo>
                    <a:pt x="2685707" y="1476655"/>
                  </a:lnTo>
                  <a:lnTo>
                    <a:pt x="2687579" y="1478527"/>
                  </a:lnTo>
                  <a:lnTo>
                    <a:pt x="2683836" y="1478527"/>
                  </a:lnTo>
                  <a:close/>
                  <a:moveTo>
                    <a:pt x="1585456" y="1469173"/>
                  </a:moveTo>
                  <a:cubicBezTo>
                    <a:pt x="1593644" y="1468237"/>
                    <a:pt x="1601131" y="1470109"/>
                    <a:pt x="1605809" y="1472918"/>
                  </a:cubicBezTo>
                  <a:cubicBezTo>
                    <a:pt x="1624525" y="1486018"/>
                    <a:pt x="1611424" y="1514091"/>
                    <a:pt x="1585222" y="1519706"/>
                  </a:cubicBezTo>
                  <a:cubicBezTo>
                    <a:pt x="1560892" y="1523450"/>
                    <a:pt x="1545919" y="1504733"/>
                    <a:pt x="1559020" y="1484146"/>
                  </a:cubicBezTo>
                  <a:cubicBezTo>
                    <a:pt x="1559020" y="1484146"/>
                    <a:pt x="1560892" y="1482275"/>
                    <a:pt x="1560892" y="1482275"/>
                  </a:cubicBezTo>
                  <a:cubicBezTo>
                    <a:pt x="1568378" y="1473852"/>
                    <a:pt x="1577268" y="1470109"/>
                    <a:pt x="1585456" y="1469173"/>
                  </a:cubicBezTo>
                  <a:close/>
                  <a:moveTo>
                    <a:pt x="2399356" y="1467298"/>
                  </a:moveTo>
                  <a:cubicBezTo>
                    <a:pt x="2404971" y="1465427"/>
                    <a:pt x="2410586" y="1467298"/>
                    <a:pt x="2412457" y="1471041"/>
                  </a:cubicBezTo>
                  <a:cubicBezTo>
                    <a:pt x="2418072" y="1476656"/>
                    <a:pt x="2416201" y="1484142"/>
                    <a:pt x="2408714" y="1482271"/>
                  </a:cubicBezTo>
                  <a:cubicBezTo>
                    <a:pt x="2401228" y="1482271"/>
                    <a:pt x="2393742" y="1471041"/>
                    <a:pt x="2399356" y="1467298"/>
                  </a:cubicBezTo>
                  <a:close/>
                  <a:moveTo>
                    <a:pt x="1199678" y="1448590"/>
                  </a:moveTo>
                  <a:cubicBezTo>
                    <a:pt x="1224009" y="1461691"/>
                    <a:pt x="1194064" y="1515966"/>
                    <a:pt x="1156632" y="1525324"/>
                  </a:cubicBezTo>
                  <a:cubicBezTo>
                    <a:pt x="1130430" y="1532811"/>
                    <a:pt x="1119201" y="1512223"/>
                    <a:pt x="1134173" y="1486021"/>
                  </a:cubicBezTo>
                  <a:cubicBezTo>
                    <a:pt x="1136045" y="1484150"/>
                    <a:pt x="1137916" y="1480409"/>
                    <a:pt x="1139788" y="1478536"/>
                  </a:cubicBezTo>
                  <a:cubicBezTo>
                    <a:pt x="1164118" y="1448590"/>
                    <a:pt x="1188449" y="1442975"/>
                    <a:pt x="1199678" y="1448590"/>
                  </a:cubicBezTo>
                  <a:close/>
                  <a:moveTo>
                    <a:pt x="1792499" y="1429635"/>
                  </a:moveTo>
                  <a:cubicBezTo>
                    <a:pt x="1799050" y="1429401"/>
                    <a:pt x="1805132" y="1431740"/>
                    <a:pt x="1809811" y="1435485"/>
                  </a:cubicBezTo>
                  <a:cubicBezTo>
                    <a:pt x="1824784" y="1446713"/>
                    <a:pt x="1815426" y="1471044"/>
                    <a:pt x="1794838" y="1472915"/>
                  </a:cubicBezTo>
                  <a:cubicBezTo>
                    <a:pt x="1772380" y="1476659"/>
                    <a:pt x="1759279" y="1457942"/>
                    <a:pt x="1770508" y="1441098"/>
                  </a:cubicBezTo>
                  <a:cubicBezTo>
                    <a:pt x="1770508" y="1441098"/>
                    <a:pt x="1772380" y="1439227"/>
                    <a:pt x="1772380" y="1439227"/>
                  </a:cubicBezTo>
                  <a:cubicBezTo>
                    <a:pt x="1778930" y="1432677"/>
                    <a:pt x="1785949" y="1429869"/>
                    <a:pt x="1792499" y="1429635"/>
                  </a:cubicBezTo>
                  <a:close/>
                  <a:moveTo>
                    <a:pt x="2207287" y="1429400"/>
                  </a:moveTo>
                  <a:cubicBezTo>
                    <a:pt x="2211263" y="1430336"/>
                    <a:pt x="2215007" y="1432676"/>
                    <a:pt x="2217814" y="1435483"/>
                  </a:cubicBezTo>
                  <a:cubicBezTo>
                    <a:pt x="2225300" y="1442969"/>
                    <a:pt x="2223429" y="1456069"/>
                    <a:pt x="2210328" y="1456069"/>
                  </a:cubicBezTo>
                  <a:cubicBezTo>
                    <a:pt x="2197227" y="1456069"/>
                    <a:pt x="2185997" y="1441097"/>
                    <a:pt x="2195355" y="1431739"/>
                  </a:cubicBezTo>
                  <a:cubicBezTo>
                    <a:pt x="2199099" y="1428931"/>
                    <a:pt x="2203309" y="1428464"/>
                    <a:pt x="2207287" y="1429400"/>
                  </a:cubicBezTo>
                  <a:close/>
                  <a:moveTo>
                    <a:pt x="705583" y="1426139"/>
                  </a:moveTo>
                  <a:cubicBezTo>
                    <a:pt x="701839" y="1433628"/>
                    <a:pt x="636334" y="1523463"/>
                    <a:pt x="628848" y="1530948"/>
                  </a:cubicBezTo>
                  <a:cubicBezTo>
                    <a:pt x="630720" y="1527205"/>
                    <a:pt x="632591" y="1525334"/>
                    <a:pt x="634463" y="1521590"/>
                  </a:cubicBezTo>
                  <a:lnTo>
                    <a:pt x="671894" y="1469184"/>
                  </a:lnTo>
                  <a:lnTo>
                    <a:pt x="698096" y="1433628"/>
                  </a:lnTo>
                  <a:cubicBezTo>
                    <a:pt x="699968" y="1431755"/>
                    <a:pt x="701839" y="1428013"/>
                    <a:pt x="705583" y="1426139"/>
                  </a:cubicBezTo>
                  <a:close/>
                  <a:moveTo>
                    <a:pt x="1109843" y="1416776"/>
                  </a:moveTo>
                  <a:cubicBezTo>
                    <a:pt x="1134173" y="1429875"/>
                    <a:pt x="1094870" y="1493510"/>
                    <a:pt x="1055567" y="1504738"/>
                  </a:cubicBezTo>
                  <a:cubicBezTo>
                    <a:pt x="1031236" y="1512224"/>
                    <a:pt x="1023750" y="1491636"/>
                    <a:pt x="1040594" y="1461692"/>
                  </a:cubicBezTo>
                  <a:cubicBezTo>
                    <a:pt x="1042466" y="1457948"/>
                    <a:pt x="1044337" y="1456076"/>
                    <a:pt x="1046209" y="1452334"/>
                  </a:cubicBezTo>
                  <a:cubicBezTo>
                    <a:pt x="1072411" y="1418647"/>
                    <a:pt x="1100485" y="1411160"/>
                    <a:pt x="1109843" y="1416776"/>
                  </a:cubicBezTo>
                  <a:close/>
                  <a:moveTo>
                    <a:pt x="2001180" y="1416533"/>
                  </a:moveTo>
                  <a:cubicBezTo>
                    <a:pt x="2006794" y="1417235"/>
                    <a:pt x="2011941" y="1419575"/>
                    <a:pt x="2015684" y="1422382"/>
                  </a:cubicBezTo>
                  <a:cubicBezTo>
                    <a:pt x="2028785" y="1433611"/>
                    <a:pt x="2021299" y="1450456"/>
                    <a:pt x="2002583" y="1450456"/>
                  </a:cubicBezTo>
                  <a:cubicBezTo>
                    <a:pt x="1985739" y="1450456"/>
                    <a:pt x="1972638" y="1433611"/>
                    <a:pt x="1983868" y="1420510"/>
                  </a:cubicBezTo>
                  <a:cubicBezTo>
                    <a:pt x="1989482" y="1416767"/>
                    <a:pt x="1995565" y="1415831"/>
                    <a:pt x="2001180" y="1416533"/>
                  </a:cubicBezTo>
                  <a:close/>
                  <a:moveTo>
                    <a:pt x="1475970" y="1410689"/>
                  </a:moveTo>
                  <a:cubicBezTo>
                    <a:pt x="1485094" y="1408817"/>
                    <a:pt x="1493516" y="1410221"/>
                    <a:pt x="1499130" y="1413029"/>
                  </a:cubicBezTo>
                  <a:cubicBezTo>
                    <a:pt x="1519717" y="1428001"/>
                    <a:pt x="1501002" y="1465431"/>
                    <a:pt x="1469185" y="1471046"/>
                  </a:cubicBezTo>
                  <a:cubicBezTo>
                    <a:pt x="1442983" y="1474791"/>
                    <a:pt x="1429882" y="1454201"/>
                    <a:pt x="1446726" y="1431744"/>
                  </a:cubicBezTo>
                  <a:cubicBezTo>
                    <a:pt x="1446726" y="1429872"/>
                    <a:pt x="1448598" y="1429872"/>
                    <a:pt x="1448598" y="1428001"/>
                  </a:cubicBezTo>
                  <a:cubicBezTo>
                    <a:pt x="1457020" y="1417708"/>
                    <a:pt x="1466846" y="1412561"/>
                    <a:pt x="1475970" y="1410689"/>
                  </a:cubicBezTo>
                  <a:close/>
                  <a:moveTo>
                    <a:pt x="2497380" y="1402728"/>
                  </a:moveTo>
                  <a:cubicBezTo>
                    <a:pt x="2499485" y="1403664"/>
                    <a:pt x="2501357" y="1405536"/>
                    <a:pt x="2502293" y="1407408"/>
                  </a:cubicBezTo>
                  <a:cubicBezTo>
                    <a:pt x="2506036" y="1413022"/>
                    <a:pt x="2504164" y="1418637"/>
                    <a:pt x="2498550" y="1416765"/>
                  </a:cubicBezTo>
                  <a:cubicBezTo>
                    <a:pt x="2491063" y="1414894"/>
                    <a:pt x="2487320" y="1407408"/>
                    <a:pt x="2491063" y="1403664"/>
                  </a:cubicBezTo>
                  <a:cubicBezTo>
                    <a:pt x="2492935" y="1401792"/>
                    <a:pt x="2495274" y="1401792"/>
                    <a:pt x="2497380" y="1402728"/>
                  </a:cubicBezTo>
                  <a:close/>
                  <a:moveTo>
                    <a:pt x="737399" y="1396196"/>
                  </a:moveTo>
                  <a:cubicBezTo>
                    <a:pt x="739271" y="1405555"/>
                    <a:pt x="662536" y="1508488"/>
                    <a:pt x="655050" y="1508488"/>
                  </a:cubicBezTo>
                  <a:cubicBezTo>
                    <a:pt x="655050" y="1504745"/>
                    <a:pt x="664408" y="1487901"/>
                    <a:pt x="684995" y="1459831"/>
                  </a:cubicBezTo>
                  <a:cubicBezTo>
                    <a:pt x="714940" y="1416785"/>
                    <a:pt x="733656" y="1398068"/>
                    <a:pt x="737399" y="1396196"/>
                  </a:cubicBezTo>
                  <a:close/>
                  <a:moveTo>
                    <a:pt x="1018048" y="1390457"/>
                  </a:moveTo>
                  <a:cubicBezTo>
                    <a:pt x="1022697" y="1389521"/>
                    <a:pt x="1026558" y="1389638"/>
                    <a:pt x="1029365" y="1390574"/>
                  </a:cubicBezTo>
                  <a:cubicBezTo>
                    <a:pt x="1053695" y="1401804"/>
                    <a:pt x="1008777" y="1472923"/>
                    <a:pt x="967603" y="1487895"/>
                  </a:cubicBezTo>
                  <a:cubicBezTo>
                    <a:pt x="945144" y="1495380"/>
                    <a:pt x="937658" y="1480414"/>
                    <a:pt x="950759" y="1454205"/>
                  </a:cubicBezTo>
                  <a:cubicBezTo>
                    <a:pt x="954502" y="1446721"/>
                    <a:pt x="958245" y="1439236"/>
                    <a:pt x="961988" y="1433621"/>
                  </a:cubicBezTo>
                  <a:cubicBezTo>
                    <a:pt x="983044" y="1405547"/>
                    <a:pt x="1004098" y="1393265"/>
                    <a:pt x="1018048" y="1390457"/>
                  </a:cubicBezTo>
                  <a:close/>
                  <a:moveTo>
                    <a:pt x="780446" y="1377479"/>
                  </a:moveTo>
                  <a:cubicBezTo>
                    <a:pt x="793547" y="1379350"/>
                    <a:pt x="731785" y="1465439"/>
                    <a:pt x="701840" y="1489774"/>
                  </a:cubicBezTo>
                  <a:cubicBezTo>
                    <a:pt x="694354" y="1495387"/>
                    <a:pt x="692482" y="1495387"/>
                    <a:pt x="692482" y="1491644"/>
                  </a:cubicBezTo>
                  <a:cubicBezTo>
                    <a:pt x="692482" y="1487901"/>
                    <a:pt x="696225" y="1476676"/>
                    <a:pt x="722427" y="1441114"/>
                  </a:cubicBezTo>
                  <a:cubicBezTo>
                    <a:pt x="752372" y="1396196"/>
                    <a:pt x="774831" y="1375607"/>
                    <a:pt x="780446" y="1377479"/>
                  </a:cubicBezTo>
                  <a:close/>
                  <a:moveTo>
                    <a:pt x="954502" y="1373731"/>
                  </a:moveTo>
                  <a:cubicBezTo>
                    <a:pt x="978833" y="1384960"/>
                    <a:pt x="922686" y="1467308"/>
                    <a:pt x="881511" y="1482281"/>
                  </a:cubicBezTo>
                  <a:cubicBezTo>
                    <a:pt x="862795" y="1489768"/>
                    <a:pt x="859052" y="1476671"/>
                    <a:pt x="868410" y="1452336"/>
                  </a:cubicBezTo>
                  <a:cubicBezTo>
                    <a:pt x="874025" y="1441110"/>
                    <a:pt x="879639" y="1431750"/>
                    <a:pt x="885254" y="1426134"/>
                  </a:cubicBezTo>
                  <a:cubicBezTo>
                    <a:pt x="917071" y="1383089"/>
                    <a:pt x="945145" y="1369987"/>
                    <a:pt x="954502" y="1373731"/>
                  </a:cubicBezTo>
                  <a:close/>
                  <a:moveTo>
                    <a:pt x="830978" y="1366247"/>
                  </a:moveTo>
                  <a:cubicBezTo>
                    <a:pt x="847822" y="1369990"/>
                    <a:pt x="786061" y="1459831"/>
                    <a:pt x="750501" y="1482284"/>
                  </a:cubicBezTo>
                  <a:cubicBezTo>
                    <a:pt x="741143" y="1487898"/>
                    <a:pt x="735528" y="1486028"/>
                    <a:pt x="737400" y="1476674"/>
                  </a:cubicBezTo>
                  <a:cubicBezTo>
                    <a:pt x="739271" y="1467310"/>
                    <a:pt x="748629" y="1450468"/>
                    <a:pt x="763602" y="1428011"/>
                  </a:cubicBezTo>
                  <a:cubicBezTo>
                    <a:pt x="799162" y="1381221"/>
                    <a:pt x="823492" y="1364375"/>
                    <a:pt x="830978" y="1366247"/>
                  </a:cubicBezTo>
                  <a:close/>
                  <a:moveTo>
                    <a:pt x="888997" y="1364374"/>
                  </a:moveTo>
                  <a:cubicBezTo>
                    <a:pt x="909584" y="1371861"/>
                    <a:pt x="849694" y="1459830"/>
                    <a:pt x="812262" y="1478542"/>
                  </a:cubicBezTo>
                  <a:cubicBezTo>
                    <a:pt x="797290" y="1486027"/>
                    <a:pt x="793546" y="1478542"/>
                    <a:pt x="799161" y="1459830"/>
                  </a:cubicBezTo>
                  <a:cubicBezTo>
                    <a:pt x="804776" y="1444853"/>
                    <a:pt x="816005" y="1429879"/>
                    <a:pt x="819749" y="1422397"/>
                  </a:cubicBezTo>
                  <a:cubicBezTo>
                    <a:pt x="853437" y="1377476"/>
                    <a:pt x="879639" y="1362502"/>
                    <a:pt x="888997" y="1364374"/>
                  </a:cubicBezTo>
                  <a:close/>
                  <a:moveTo>
                    <a:pt x="1374904" y="1359688"/>
                  </a:moveTo>
                  <a:cubicBezTo>
                    <a:pt x="1384964" y="1356881"/>
                    <a:pt x="1393386" y="1357816"/>
                    <a:pt x="1398065" y="1360624"/>
                  </a:cubicBezTo>
                  <a:cubicBezTo>
                    <a:pt x="1420524" y="1375596"/>
                    <a:pt x="1396194" y="1418645"/>
                    <a:pt x="1360634" y="1428002"/>
                  </a:cubicBezTo>
                  <a:cubicBezTo>
                    <a:pt x="1332560" y="1435489"/>
                    <a:pt x="1319459" y="1414900"/>
                    <a:pt x="1336303" y="1388698"/>
                  </a:cubicBezTo>
                  <a:cubicBezTo>
                    <a:pt x="1338175" y="1386827"/>
                    <a:pt x="1340047" y="1383084"/>
                    <a:pt x="1341918" y="1381212"/>
                  </a:cubicBezTo>
                  <a:cubicBezTo>
                    <a:pt x="1353148" y="1369046"/>
                    <a:pt x="1364845" y="1362495"/>
                    <a:pt x="1374904" y="1359688"/>
                  </a:cubicBezTo>
                  <a:close/>
                  <a:moveTo>
                    <a:pt x="1682545" y="1357815"/>
                  </a:moveTo>
                  <a:cubicBezTo>
                    <a:pt x="1690967" y="1357346"/>
                    <a:pt x="1698453" y="1359686"/>
                    <a:pt x="1703132" y="1362494"/>
                  </a:cubicBezTo>
                  <a:cubicBezTo>
                    <a:pt x="1721847" y="1377466"/>
                    <a:pt x="1705003" y="1405540"/>
                    <a:pt x="1678801" y="1409284"/>
                  </a:cubicBezTo>
                  <a:cubicBezTo>
                    <a:pt x="1654471" y="1413027"/>
                    <a:pt x="1639498" y="1392439"/>
                    <a:pt x="1654471" y="1371852"/>
                  </a:cubicBezTo>
                  <a:cubicBezTo>
                    <a:pt x="1654471" y="1371852"/>
                    <a:pt x="1656342" y="1369980"/>
                    <a:pt x="1656342" y="1369980"/>
                  </a:cubicBezTo>
                  <a:cubicBezTo>
                    <a:pt x="1664765" y="1361558"/>
                    <a:pt x="1674123" y="1358282"/>
                    <a:pt x="1682545" y="1357815"/>
                  </a:cubicBezTo>
                  <a:close/>
                  <a:moveTo>
                    <a:pt x="2300631" y="1354537"/>
                  </a:moveTo>
                  <a:cubicBezTo>
                    <a:pt x="2304374" y="1355472"/>
                    <a:pt x="2307650" y="1357812"/>
                    <a:pt x="2309521" y="1360619"/>
                  </a:cubicBezTo>
                  <a:cubicBezTo>
                    <a:pt x="2317008" y="1369976"/>
                    <a:pt x="2311393" y="1379335"/>
                    <a:pt x="2302035" y="1379335"/>
                  </a:cubicBezTo>
                  <a:cubicBezTo>
                    <a:pt x="2288934" y="1379335"/>
                    <a:pt x="2281448" y="1364363"/>
                    <a:pt x="2288934" y="1356875"/>
                  </a:cubicBezTo>
                  <a:cubicBezTo>
                    <a:pt x="2292677" y="1354068"/>
                    <a:pt x="2296888" y="1353601"/>
                    <a:pt x="2300631" y="1354537"/>
                  </a:cubicBezTo>
                  <a:close/>
                  <a:moveTo>
                    <a:pt x="2588386" y="1343774"/>
                  </a:moveTo>
                  <a:cubicBezTo>
                    <a:pt x="2590257" y="1341902"/>
                    <a:pt x="2594000" y="1345646"/>
                    <a:pt x="2595872" y="1347517"/>
                  </a:cubicBezTo>
                  <a:cubicBezTo>
                    <a:pt x="2599615" y="1353132"/>
                    <a:pt x="2595872" y="1356875"/>
                    <a:pt x="2592129" y="1355004"/>
                  </a:cubicBezTo>
                  <a:cubicBezTo>
                    <a:pt x="2586514" y="1353132"/>
                    <a:pt x="2582771" y="1347517"/>
                    <a:pt x="2588386" y="1343774"/>
                  </a:cubicBezTo>
                  <a:close/>
                  <a:moveTo>
                    <a:pt x="1890523" y="1331377"/>
                  </a:moveTo>
                  <a:cubicBezTo>
                    <a:pt x="1897307" y="1331611"/>
                    <a:pt x="1903390" y="1334418"/>
                    <a:pt x="1907133" y="1338161"/>
                  </a:cubicBezTo>
                  <a:cubicBezTo>
                    <a:pt x="1922106" y="1351262"/>
                    <a:pt x="1910876" y="1373722"/>
                    <a:pt x="1890289" y="1375594"/>
                  </a:cubicBezTo>
                  <a:cubicBezTo>
                    <a:pt x="1867830" y="1377465"/>
                    <a:pt x="1854729" y="1356878"/>
                    <a:pt x="1867830" y="1341904"/>
                  </a:cubicBezTo>
                  <a:cubicBezTo>
                    <a:pt x="1867830" y="1341904"/>
                    <a:pt x="1869702" y="1340033"/>
                    <a:pt x="1869702" y="1340033"/>
                  </a:cubicBezTo>
                  <a:cubicBezTo>
                    <a:pt x="1876252" y="1333482"/>
                    <a:pt x="1883739" y="1331143"/>
                    <a:pt x="1890523" y="1331377"/>
                  </a:cubicBezTo>
                  <a:close/>
                  <a:moveTo>
                    <a:pt x="2098501" y="1329504"/>
                  </a:moveTo>
                  <a:cubicBezTo>
                    <a:pt x="2103647" y="1330674"/>
                    <a:pt x="2108326" y="1333481"/>
                    <a:pt x="2111134" y="1336288"/>
                  </a:cubicBezTo>
                  <a:cubicBezTo>
                    <a:pt x="2122363" y="1347518"/>
                    <a:pt x="2114877" y="1364363"/>
                    <a:pt x="2098033" y="1362491"/>
                  </a:cubicBezTo>
                  <a:cubicBezTo>
                    <a:pt x="2081189" y="1362491"/>
                    <a:pt x="2069959" y="1345646"/>
                    <a:pt x="2083060" y="1332545"/>
                  </a:cubicBezTo>
                  <a:cubicBezTo>
                    <a:pt x="2087739" y="1328802"/>
                    <a:pt x="2093354" y="1328334"/>
                    <a:pt x="2098501" y="1329504"/>
                  </a:cubicBezTo>
                  <a:close/>
                  <a:moveTo>
                    <a:pt x="1306358" y="1315705"/>
                  </a:moveTo>
                  <a:cubicBezTo>
                    <a:pt x="1330688" y="1330679"/>
                    <a:pt x="1295128" y="1384956"/>
                    <a:pt x="1257697" y="1394314"/>
                  </a:cubicBezTo>
                  <a:cubicBezTo>
                    <a:pt x="1229623" y="1399929"/>
                    <a:pt x="1220265" y="1379341"/>
                    <a:pt x="1238981" y="1351267"/>
                  </a:cubicBezTo>
                  <a:cubicBezTo>
                    <a:pt x="1240853" y="1349395"/>
                    <a:pt x="1242724" y="1345652"/>
                    <a:pt x="1244596" y="1343780"/>
                  </a:cubicBezTo>
                  <a:cubicBezTo>
                    <a:pt x="1268926" y="1313833"/>
                    <a:pt x="1295128" y="1310090"/>
                    <a:pt x="1306358" y="1315705"/>
                  </a:cubicBezTo>
                  <a:close/>
                  <a:moveTo>
                    <a:pt x="1579139" y="1293947"/>
                  </a:moveTo>
                  <a:cubicBezTo>
                    <a:pt x="1588965" y="1292778"/>
                    <a:pt x="1597387" y="1295116"/>
                    <a:pt x="1602066" y="1298860"/>
                  </a:cubicBezTo>
                  <a:cubicBezTo>
                    <a:pt x="1622653" y="1313832"/>
                    <a:pt x="1600195" y="1351265"/>
                    <a:pt x="1566506" y="1355008"/>
                  </a:cubicBezTo>
                  <a:cubicBezTo>
                    <a:pt x="1540304" y="1358751"/>
                    <a:pt x="1529075" y="1336291"/>
                    <a:pt x="1545919" y="1313832"/>
                  </a:cubicBezTo>
                  <a:cubicBezTo>
                    <a:pt x="1545919" y="1313832"/>
                    <a:pt x="1547791" y="1311960"/>
                    <a:pt x="1547791" y="1310088"/>
                  </a:cubicBezTo>
                  <a:cubicBezTo>
                    <a:pt x="1558085" y="1299795"/>
                    <a:pt x="1569314" y="1295116"/>
                    <a:pt x="1579139" y="1293947"/>
                  </a:cubicBezTo>
                  <a:close/>
                  <a:moveTo>
                    <a:pt x="2687579" y="1291369"/>
                  </a:moveTo>
                  <a:cubicBezTo>
                    <a:pt x="2689451" y="1289499"/>
                    <a:pt x="2691322" y="1291369"/>
                    <a:pt x="2693194" y="1293241"/>
                  </a:cubicBezTo>
                  <a:cubicBezTo>
                    <a:pt x="2695066" y="1296985"/>
                    <a:pt x="2693194" y="1298856"/>
                    <a:pt x="2689451" y="1298856"/>
                  </a:cubicBezTo>
                  <a:cubicBezTo>
                    <a:pt x="2685708" y="1296985"/>
                    <a:pt x="2683836" y="1293241"/>
                    <a:pt x="2687579" y="1291369"/>
                  </a:cubicBezTo>
                  <a:close/>
                  <a:moveTo>
                    <a:pt x="2399591" y="1284118"/>
                  </a:moveTo>
                  <a:cubicBezTo>
                    <a:pt x="2403100" y="1285287"/>
                    <a:pt x="2405907" y="1287627"/>
                    <a:pt x="2406843" y="1289500"/>
                  </a:cubicBezTo>
                  <a:cubicBezTo>
                    <a:pt x="2412458" y="1296985"/>
                    <a:pt x="2408715" y="1306343"/>
                    <a:pt x="2397486" y="1306343"/>
                  </a:cubicBezTo>
                  <a:cubicBezTo>
                    <a:pt x="2386256" y="1304471"/>
                    <a:pt x="2378770" y="1291370"/>
                    <a:pt x="2388128" y="1285755"/>
                  </a:cubicBezTo>
                  <a:cubicBezTo>
                    <a:pt x="2391871" y="1282948"/>
                    <a:pt x="2396082" y="1282948"/>
                    <a:pt x="2399591" y="1284118"/>
                  </a:cubicBezTo>
                  <a:close/>
                  <a:moveTo>
                    <a:pt x="1210820" y="1275672"/>
                  </a:moveTo>
                  <a:cubicBezTo>
                    <a:pt x="1215469" y="1275467"/>
                    <a:pt x="1219330" y="1276403"/>
                    <a:pt x="1222137" y="1278274"/>
                  </a:cubicBezTo>
                  <a:cubicBezTo>
                    <a:pt x="1246467" y="1293249"/>
                    <a:pt x="1201549" y="1358755"/>
                    <a:pt x="1160375" y="1368114"/>
                  </a:cubicBezTo>
                  <a:cubicBezTo>
                    <a:pt x="1134173" y="1373729"/>
                    <a:pt x="1128558" y="1353140"/>
                    <a:pt x="1147274" y="1323194"/>
                  </a:cubicBezTo>
                  <a:cubicBezTo>
                    <a:pt x="1149145" y="1319451"/>
                    <a:pt x="1152888" y="1315707"/>
                    <a:pt x="1154760" y="1313835"/>
                  </a:cubicBezTo>
                  <a:cubicBezTo>
                    <a:pt x="1175815" y="1287166"/>
                    <a:pt x="1196870" y="1276286"/>
                    <a:pt x="1210820" y="1275672"/>
                  </a:cubicBezTo>
                  <a:close/>
                  <a:moveTo>
                    <a:pt x="834721" y="1265181"/>
                  </a:moveTo>
                  <a:lnTo>
                    <a:pt x="748629" y="1371865"/>
                  </a:lnTo>
                  <a:cubicBezTo>
                    <a:pt x="752372" y="1364377"/>
                    <a:pt x="821620" y="1282023"/>
                    <a:pt x="834721" y="1265181"/>
                  </a:cubicBezTo>
                  <a:close/>
                  <a:moveTo>
                    <a:pt x="1787586" y="1253240"/>
                  </a:moveTo>
                  <a:cubicBezTo>
                    <a:pt x="1795774" y="1253006"/>
                    <a:pt x="1802324" y="1255813"/>
                    <a:pt x="1806068" y="1259556"/>
                  </a:cubicBezTo>
                  <a:cubicBezTo>
                    <a:pt x="1822912" y="1274528"/>
                    <a:pt x="1806068" y="1302602"/>
                    <a:pt x="1777994" y="1304474"/>
                  </a:cubicBezTo>
                  <a:cubicBezTo>
                    <a:pt x="1753664" y="1306345"/>
                    <a:pt x="1740562" y="1283886"/>
                    <a:pt x="1757407" y="1267041"/>
                  </a:cubicBezTo>
                  <a:cubicBezTo>
                    <a:pt x="1757407" y="1267041"/>
                    <a:pt x="1759278" y="1265171"/>
                    <a:pt x="1759278" y="1265171"/>
                  </a:cubicBezTo>
                  <a:cubicBezTo>
                    <a:pt x="1769572" y="1256749"/>
                    <a:pt x="1779398" y="1253474"/>
                    <a:pt x="1787586" y="1253240"/>
                  </a:cubicBezTo>
                  <a:close/>
                  <a:moveTo>
                    <a:pt x="2199567" y="1249027"/>
                  </a:moveTo>
                  <a:cubicBezTo>
                    <a:pt x="2204713" y="1250197"/>
                    <a:pt x="2209392" y="1253004"/>
                    <a:pt x="2212199" y="1255811"/>
                  </a:cubicBezTo>
                  <a:cubicBezTo>
                    <a:pt x="2221557" y="1267041"/>
                    <a:pt x="2212199" y="1282013"/>
                    <a:pt x="2197227" y="1280142"/>
                  </a:cubicBezTo>
                  <a:cubicBezTo>
                    <a:pt x="2182254" y="1278270"/>
                    <a:pt x="2171025" y="1261426"/>
                    <a:pt x="2184126" y="1252068"/>
                  </a:cubicBezTo>
                  <a:cubicBezTo>
                    <a:pt x="2188805" y="1248325"/>
                    <a:pt x="2194420" y="1247858"/>
                    <a:pt x="2199567" y="1249027"/>
                  </a:cubicBezTo>
                  <a:close/>
                  <a:moveTo>
                    <a:pt x="1133764" y="1245291"/>
                  </a:moveTo>
                  <a:cubicBezTo>
                    <a:pt x="1138618" y="1244590"/>
                    <a:pt x="1142596" y="1245057"/>
                    <a:pt x="1145403" y="1246460"/>
                  </a:cubicBezTo>
                  <a:cubicBezTo>
                    <a:pt x="1169733" y="1259561"/>
                    <a:pt x="1117329" y="1332552"/>
                    <a:pt x="1074283" y="1347526"/>
                  </a:cubicBezTo>
                  <a:cubicBezTo>
                    <a:pt x="1049952" y="1355012"/>
                    <a:pt x="1044338" y="1338168"/>
                    <a:pt x="1059310" y="1310093"/>
                  </a:cubicBezTo>
                  <a:cubicBezTo>
                    <a:pt x="1064925" y="1300736"/>
                    <a:pt x="1068668" y="1295126"/>
                    <a:pt x="1074283" y="1289508"/>
                  </a:cubicBezTo>
                  <a:cubicBezTo>
                    <a:pt x="1096742" y="1260029"/>
                    <a:pt x="1119201" y="1247397"/>
                    <a:pt x="1133764" y="1245291"/>
                  </a:cubicBezTo>
                  <a:close/>
                  <a:moveTo>
                    <a:pt x="2792387" y="1244581"/>
                  </a:moveTo>
                  <a:lnTo>
                    <a:pt x="2794259" y="1244581"/>
                  </a:lnTo>
                  <a:lnTo>
                    <a:pt x="2794259" y="1248324"/>
                  </a:lnTo>
                  <a:lnTo>
                    <a:pt x="2790516" y="1246452"/>
                  </a:lnTo>
                  <a:close/>
                  <a:moveTo>
                    <a:pt x="1993459" y="1238267"/>
                  </a:moveTo>
                  <a:cubicBezTo>
                    <a:pt x="2000243" y="1238500"/>
                    <a:pt x="2006326" y="1240840"/>
                    <a:pt x="2010069" y="1244584"/>
                  </a:cubicBezTo>
                  <a:cubicBezTo>
                    <a:pt x="2023170" y="1259556"/>
                    <a:pt x="2010069" y="1280142"/>
                    <a:pt x="1987610" y="1280142"/>
                  </a:cubicBezTo>
                  <a:cubicBezTo>
                    <a:pt x="1968894" y="1280142"/>
                    <a:pt x="1955793" y="1261427"/>
                    <a:pt x="1972637" y="1244584"/>
                  </a:cubicBezTo>
                  <a:cubicBezTo>
                    <a:pt x="1979188" y="1239904"/>
                    <a:pt x="1986674" y="1238032"/>
                    <a:pt x="1993459" y="1238267"/>
                  </a:cubicBezTo>
                  <a:close/>
                  <a:moveTo>
                    <a:pt x="866538" y="1237109"/>
                  </a:moveTo>
                  <a:cubicBezTo>
                    <a:pt x="860924" y="1253952"/>
                    <a:pt x="784189" y="1345660"/>
                    <a:pt x="771088" y="1351276"/>
                  </a:cubicBezTo>
                  <a:cubicBezTo>
                    <a:pt x="772960" y="1345660"/>
                    <a:pt x="786061" y="1328815"/>
                    <a:pt x="806648" y="1302612"/>
                  </a:cubicBezTo>
                  <a:cubicBezTo>
                    <a:pt x="844079" y="1255824"/>
                    <a:pt x="862795" y="1237109"/>
                    <a:pt x="866538" y="1237109"/>
                  </a:cubicBezTo>
                  <a:close/>
                  <a:moveTo>
                    <a:pt x="1483221" y="1236865"/>
                  </a:moveTo>
                  <a:cubicBezTo>
                    <a:pt x="1493515" y="1234292"/>
                    <a:pt x="1501937" y="1236163"/>
                    <a:pt x="1506616" y="1240843"/>
                  </a:cubicBezTo>
                  <a:cubicBezTo>
                    <a:pt x="1529075" y="1257687"/>
                    <a:pt x="1497258" y="1304476"/>
                    <a:pt x="1459827" y="1308218"/>
                  </a:cubicBezTo>
                  <a:cubicBezTo>
                    <a:pt x="1431753" y="1311962"/>
                    <a:pt x="1424267" y="1287632"/>
                    <a:pt x="1444854" y="1263302"/>
                  </a:cubicBezTo>
                  <a:cubicBezTo>
                    <a:pt x="1444854" y="1261430"/>
                    <a:pt x="1446726" y="1261430"/>
                    <a:pt x="1448597" y="1259559"/>
                  </a:cubicBezTo>
                  <a:cubicBezTo>
                    <a:pt x="1460763" y="1246457"/>
                    <a:pt x="1472928" y="1239439"/>
                    <a:pt x="1483221" y="1236865"/>
                  </a:cubicBezTo>
                  <a:close/>
                  <a:moveTo>
                    <a:pt x="1076154" y="1224002"/>
                  </a:moveTo>
                  <a:cubicBezTo>
                    <a:pt x="1100485" y="1237105"/>
                    <a:pt x="1034980" y="1321324"/>
                    <a:pt x="991933" y="1336297"/>
                  </a:cubicBezTo>
                  <a:cubicBezTo>
                    <a:pt x="973218" y="1341912"/>
                    <a:pt x="967603" y="1328810"/>
                    <a:pt x="980704" y="1302607"/>
                  </a:cubicBezTo>
                  <a:cubicBezTo>
                    <a:pt x="986319" y="1291379"/>
                    <a:pt x="995677" y="1280147"/>
                    <a:pt x="999420" y="1274533"/>
                  </a:cubicBezTo>
                  <a:cubicBezTo>
                    <a:pt x="1034980" y="1231491"/>
                    <a:pt x="1064925" y="1220259"/>
                    <a:pt x="1076154" y="1224002"/>
                  </a:cubicBezTo>
                  <a:close/>
                  <a:moveTo>
                    <a:pt x="2492935" y="1220250"/>
                  </a:moveTo>
                  <a:cubicBezTo>
                    <a:pt x="2500421" y="1218378"/>
                    <a:pt x="2506036" y="1222121"/>
                    <a:pt x="2509779" y="1225865"/>
                  </a:cubicBezTo>
                  <a:cubicBezTo>
                    <a:pt x="2513522" y="1233352"/>
                    <a:pt x="2509779" y="1240837"/>
                    <a:pt x="2500421" y="1238966"/>
                  </a:cubicBezTo>
                  <a:cubicBezTo>
                    <a:pt x="2491064" y="1237094"/>
                    <a:pt x="2485449" y="1225865"/>
                    <a:pt x="2492935" y="1220250"/>
                  </a:cubicBezTo>
                  <a:close/>
                  <a:moveTo>
                    <a:pt x="907713" y="1218392"/>
                  </a:moveTo>
                  <a:cubicBezTo>
                    <a:pt x="920814" y="1222132"/>
                    <a:pt x="844079" y="1317584"/>
                    <a:pt x="812262" y="1336302"/>
                  </a:cubicBezTo>
                  <a:cubicBezTo>
                    <a:pt x="806648" y="1340045"/>
                    <a:pt x="804776" y="1340045"/>
                    <a:pt x="804776" y="1336302"/>
                  </a:cubicBezTo>
                  <a:cubicBezTo>
                    <a:pt x="804776" y="1332558"/>
                    <a:pt x="810391" y="1321328"/>
                    <a:pt x="840336" y="1283896"/>
                  </a:cubicBezTo>
                  <a:cubicBezTo>
                    <a:pt x="879639" y="1235234"/>
                    <a:pt x="902098" y="1216518"/>
                    <a:pt x="907713" y="1218392"/>
                  </a:cubicBezTo>
                  <a:close/>
                  <a:moveTo>
                    <a:pt x="1012520" y="1210908"/>
                  </a:moveTo>
                  <a:cubicBezTo>
                    <a:pt x="1033108" y="1220259"/>
                    <a:pt x="963859" y="1311966"/>
                    <a:pt x="920813" y="1328811"/>
                  </a:cubicBezTo>
                  <a:cubicBezTo>
                    <a:pt x="905841" y="1334427"/>
                    <a:pt x="902098" y="1328811"/>
                    <a:pt x="907712" y="1311966"/>
                  </a:cubicBezTo>
                  <a:cubicBezTo>
                    <a:pt x="913327" y="1295126"/>
                    <a:pt x="930171" y="1276405"/>
                    <a:pt x="935786" y="1268920"/>
                  </a:cubicBezTo>
                  <a:cubicBezTo>
                    <a:pt x="975089" y="1224003"/>
                    <a:pt x="1005034" y="1207159"/>
                    <a:pt x="1012520" y="1210908"/>
                  </a:cubicBezTo>
                  <a:close/>
                  <a:moveTo>
                    <a:pt x="956373" y="1209033"/>
                  </a:moveTo>
                  <a:cubicBezTo>
                    <a:pt x="975089" y="1216516"/>
                    <a:pt x="894611" y="1315712"/>
                    <a:pt x="859051" y="1330685"/>
                  </a:cubicBezTo>
                  <a:cubicBezTo>
                    <a:pt x="849693" y="1334428"/>
                    <a:pt x="845950" y="1330685"/>
                    <a:pt x="851565" y="1319455"/>
                  </a:cubicBezTo>
                  <a:cubicBezTo>
                    <a:pt x="859051" y="1302610"/>
                    <a:pt x="877767" y="1280150"/>
                    <a:pt x="883382" y="1270793"/>
                  </a:cubicBezTo>
                  <a:cubicBezTo>
                    <a:pt x="922685" y="1224005"/>
                    <a:pt x="950758" y="1207160"/>
                    <a:pt x="956373" y="1209033"/>
                  </a:cubicBezTo>
                  <a:close/>
                  <a:moveTo>
                    <a:pt x="1395492" y="1187506"/>
                  </a:moveTo>
                  <a:cubicBezTo>
                    <a:pt x="1406955" y="1184231"/>
                    <a:pt x="1415845" y="1185635"/>
                    <a:pt x="1420524" y="1188442"/>
                  </a:cubicBezTo>
                  <a:cubicBezTo>
                    <a:pt x="1442983" y="1205284"/>
                    <a:pt x="1403679" y="1259559"/>
                    <a:pt x="1364376" y="1267045"/>
                  </a:cubicBezTo>
                  <a:cubicBezTo>
                    <a:pt x="1336303" y="1272659"/>
                    <a:pt x="1326945" y="1250201"/>
                    <a:pt x="1347532" y="1222127"/>
                  </a:cubicBezTo>
                  <a:cubicBezTo>
                    <a:pt x="1349404" y="1220255"/>
                    <a:pt x="1351275" y="1216513"/>
                    <a:pt x="1355019" y="1214639"/>
                  </a:cubicBezTo>
                  <a:cubicBezTo>
                    <a:pt x="1369992" y="1198733"/>
                    <a:pt x="1384028" y="1190781"/>
                    <a:pt x="1395492" y="1187506"/>
                  </a:cubicBezTo>
                  <a:close/>
                  <a:moveTo>
                    <a:pt x="1689796" y="1183060"/>
                  </a:moveTo>
                  <a:cubicBezTo>
                    <a:pt x="1699388" y="1182357"/>
                    <a:pt x="1706874" y="1184697"/>
                    <a:pt x="1710617" y="1188439"/>
                  </a:cubicBezTo>
                  <a:cubicBezTo>
                    <a:pt x="1729333" y="1205282"/>
                    <a:pt x="1705003" y="1240842"/>
                    <a:pt x="1671314" y="1242714"/>
                  </a:cubicBezTo>
                  <a:cubicBezTo>
                    <a:pt x="1645112" y="1244585"/>
                    <a:pt x="1635754" y="1222125"/>
                    <a:pt x="1654470" y="1199667"/>
                  </a:cubicBezTo>
                  <a:cubicBezTo>
                    <a:pt x="1654470" y="1199667"/>
                    <a:pt x="1656341" y="1197796"/>
                    <a:pt x="1656341" y="1195924"/>
                  </a:cubicBezTo>
                  <a:cubicBezTo>
                    <a:pt x="1668507" y="1187503"/>
                    <a:pt x="1680204" y="1183761"/>
                    <a:pt x="1689796" y="1183060"/>
                  </a:cubicBezTo>
                  <a:close/>
                  <a:moveTo>
                    <a:pt x="2306947" y="1173931"/>
                  </a:moveTo>
                  <a:cubicBezTo>
                    <a:pt x="2311392" y="1175335"/>
                    <a:pt x="2315135" y="1178142"/>
                    <a:pt x="2317007" y="1180949"/>
                  </a:cubicBezTo>
                  <a:cubicBezTo>
                    <a:pt x="2324493" y="1192178"/>
                    <a:pt x="2315135" y="1205280"/>
                    <a:pt x="2302034" y="1203407"/>
                  </a:cubicBezTo>
                  <a:cubicBezTo>
                    <a:pt x="2287062" y="1201536"/>
                    <a:pt x="2281447" y="1186563"/>
                    <a:pt x="2290805" y="1177206"/>
                  </a:cubicBezTo>
                  <a:cubicBezTo>
                    <a:pt x="2290805" y="1177206"/>
                    <a:pt x="2290805" y="1177206"/>
                    <a:pt x="2292676" y="1175336"/>
                  </a:cubicBezTo>
                  <a:cubicBezTo>
                    <a:pt x="2297355" y="1172527"/>
                    <a:pt x="2302502" y="1172527"/>
                    <a:pt x="2306947" y="1173931"/>
                  </a:cubicBezTo>
                  <a:close/>
                  <a:moveTo>
                    <a:pt x="2603359" y="1162233"/>
                  </a:moveTo>
                  <a:cubicBezTo>
                    <a:pt x="2608973" y="1160361"/>
                    <a:pt x="2614588" y="1164104"/>
                    <a:pt x="2616460" y="1167848"/>
                  </a:cubicBezTo>
                  <a:cubicBezTo>
                    <a:pt x="2620203" y="1173462"/>
                    <a:pt x="2614588" y="1180949"/>
                    <a:pt x="2607102" y="1177205"/>
                  </a:cubicBezTo>
                  <a:cubicBezTo>
                    <a:pt x="2599616" y="1175334"/>
                    <a:pt x="2597744" y="1165976"/>
                    <a:pt x="2603359" y="1162233"/>
                  </a:cubicBezTo>
                  <a:close/>
                  <a:moveTo>
                    <a:pt x="1896371" y="1154750"/>
                  </a:moveTo>
                  <a:cubicBezTo>
                    <a:pt x="1904325" y="1155218"/>
                    <a:pt x="1910876" y="1158494"/>
                    <a:pt x="1914619" y="1162238"/>
                  </a:cubicBezTo>
                  <a:cubicBezTo>
                    <a:pt x="1929592" y="1177209"/>
                    <a:pt x="1910876" y="1205282"/>
                    <a:pt x="1884674" y="1205282"/>
                  </a:cubicBezTo>
                  <a:cubicBezTo>
                    <a:pt x="1860344" y="1205282"/>
                    <a:pt x="1850986" y="1184694"/>
                    <a:pt x="1867830" y="1165981"/>
                  </a:cubicBezTo>
                  <a:cubicBezTo>
                    <a:pt x="1867830" y="1165981"/>
                    <a:pt x="1869702" y="1164110"/>
                    <a:pt x="1869702" y="1164110"/>
                  </a:cubicBezTo>
                  <a:cubicBezTo>
                    <a:pt x="1879060" y="1156622"/>
                    <a:pt x="1888417" y="1154281"/>
                    <a:pt x="1896371" y="1154750"/>
                  </a:cubicBezTo>
                  <a:close/>
                  <a:moveTo>
                    <a:pt x="2104350" y="1151941"/>
                  </a:moveTo>
                  <a:cubicBezTo>
                    <a:pt x="2110667" y="1152877"/>
                    <a:pt x="2115813" y="1155685"/>
                    <a:pt x="2118621" y="1158493"/>
                  </a:cubicBezTo>
                  <a:cubicBezTo>
                    <a:pt x="2129851" y="1173465"/>
                    <a:pt x="2114878" y="1192180"/>
                    <a:pt x="2094291" y="1190307"/>
                  </a:cubicBezTo>
                  <a:cubicBezTo>
                    <a:pt x="2075575" y="1188437"/>
                    <a:pt x="2066217" y="1169722"/>
                    <a:pt x="2083061" y="1156621"/>
                  </a:cubicBezTo>
                  <a:cubicBezTo>
                    <a:pt x="2090547" y="1151941"/>
                    <a:pt x="2098034" y="1151006"/>
                    <a:pt x="2104350" y="1151941"/>
                  </a:cubicBezTo>
                  <a:close/>
                  <a:moveTo>
                    <a:pt x="1329431" y="1142498"/>
                  </a:moveTo>
                  <a:cubicBezTo>
                    <a:pt x="1334080" y="1142470"/>
                    <a:pt x="1337707" y="1143523"/>
                    <a:pt x="1340046" y="1145395"/>
                  </a:cubicBezTo>
                  <a:cubicBezTo>
                    <a:pt x="1364377" y="1162246"/>
                    <a:pt x="1311973" y="1227745"/>
                    <a:pt x="1268927" y="1235229"/>
                  </a:cubicBezTo>
                  <a:cubicBezTo>
                    <a:pt x="1240853" y="1238975"/>
                    <a:pt x="1237110" y="1216513"/>
                    <a:pt x="1259569" y="1188443"/>
                  </a:cubicBezTo>
                  <a:cubicBezTo>
                    <a:pt x="1261440" y="1184701"/>
                    <a:pt x="1265183" y="1180959"/>
                    <a:pt x="1267055" y="1179088"/>
                  </a:cubicBezTo>
                  <a:cubicBezTo>
                    <a:pt x="1292321" y="1152416"/>
                    <a:pt x="1315482" y="1142586"/>
                    <a:pt x="1329431" y="1142498"/>
                  </a:cubicBezTo>
                  <a:close/>
                  <a:moveTo>
                    <a:pt x="1599026" y="1120823"/>
                  </a:moveTo>
                  <a:cubicBezTo>
                    <a:pt x="1609553" y="1119187"/>
                    <a:pt x="1617975" y="1121057"/>
                    <a:pt x="1622654" y="1124799"/>
                  </a:cubicBezTo>
                  <a:cubicBezTo>
                    <a:pt x="1643241" y="1143520"/>
                    <a:pt x="1607682" y="1186569"/>
                    <a:pt x="1572122" y="1188440"/>
                  </a:cubicBezTo>
                  <a:cubicBezTo>
                    <a:pt x="1545920" y="1190311"/>
                    <a:pt x="1538433" y="1165985"/>
                    <a:pt x="1559021" y="1141647"/>
                  </a:cubicBezTo>
                  <a:cubicBezTo>
                    <a:pt x="1559021" y="1139776"/>
                    <a:pt x="1560892" y="1139776"/>
                    <a:pt x="1562764" y="1137903"/>
                  </a:cubicBezTo>
                  <a:cubicBezTo>
                    <a:pt x="1575865" y="1127608"/>
                    <a:pt x="1588498" y="1122461"/>
                    <a:pt x="1599026" y="1120823"/>
                  </a:cubicBezTo>
                  <a:close/>
                  <a:moveTo>
                    <a:pt x="967603" y="1115449"/>
                  </a:moveTo>
                  <a:lnTo>
                    <a:pt x="881511" y="1210911"/>
                  </a:lnTo>
                  <a:cubicBezTo>
                    <a:pt x="898355" y="1190321"/>
                    <a:pt x="954502" y="1128544"/>
                    <a:pt x="967603" y="1115449"/>
                  </a:cubicBezTo>
                  <a:close/>
                  <a:moveTo>
                    <a:pt x="2715652" y="1109827"/>
                  </a:moveTo>
                  <a:cubicBezTo>
                    <a:pt x="2721267" y="1109827"/>
                    <a:pt x="2725010" y="1111699"/>
                    <a:pt x="2725010" y="1113570"/>
                  </a:cubicBezTo>
                  <a:cubicBezTo>
                    <a:pt x="2726881" y="1117312"/>
                    <a:pt x="2723138" y="1122927"/>
                    <a:pt x="2717524" y="1121055"/>
                  </a:cubicBezTo>
                  <a:cubicBezTo>
                    <a:pt x="2711909" y="1119185"/>
                    <a:pt x="2710037" y="1111699"/>
                    <a:pt x="2715652" y="1109827"/>
                  </a:cubicBezTo>
                  <a:close/>
                  <a:moveTo>
                    <a:pt x="1256352" y="1108373"/>
                  </a:moveTo>
                  <a:cubicBezTo>
                    <a:pt x="1261089" y="1107847"/>
                    <a:pt x="1264716" y="1108431"/>
                    <a:pt x="1267055" y="1109834"/>
                  </a:cubicBezTo>
                  <a:cubicBezTo>
                    <a:pt x="1291385" y="1126670"/>
                    <a:pt x="1225880" y="1203413"/>
                    <a:pt x="1180962" y="1210905"/>
                  </a:cubicBezTo>
                  <a:cubicBezTo>
                    <a:pt x="1158504" y="1214638"/>
                    <a:pt x="1156632" y="1194057"/>
                    <a:pt x="1175348" y="1165990"/>
                  </a:cubicBezTo>
                  <a:cubicBezTo>
                    <a:pt x="1179091" y="1160375"/>
                    <a:pt x="1184706" y="1154758"/>
                    <a:pt x="1188449" y="1151013"/>
                  </a:cubicBezTo>
                  <a:cubicBezTo>
                    <a:pt x="1217926" y="1121526"/>
                    <a:pt x="1242140" y="1109952"/>
                    <a:pt x="1256352" y="1108373"/>
                  </a:cubicBezTo>
                  <a:close/>
                  <a:moveTo>
                    <a:pt x="2418540" y="1104682"/>
                  </a:moveTo>
                  <a:cubicBezTo>
                    <a:pt x="2422283" y="1106086"/>
                    <a:pt x="2425558" y="1108893"/>
                    <a:pt x="2427430" y="1111699"/>
                  </a:cubicBezTo>
                  <a:cubicBezTo>
                    <a:pt x="2434916" y="1122929"/>
                    <a:pt x="2425558" y="1134158"/>
                    <a:pt x="2412457" y="1130414"/>
                  </a:cubicBezTo>
                  <a:cubicBezTo>
                    <a:pt x="2399356" y="1128544"/>
                    <a:pt x="2393742" y="1113571"/>
                    <a:pt x="2404971" y="1106086"/>
                  </a:cubicBezTo>
                  <a:cubicBezTo>
                    <a:pt x="2404971" y="1106086"/>
                    <a:pt x="2404971" y="1106086"/>
                    <a:pt x="2406843" y="1106086"/>
                  </a:cubicBezTo>
                  <a:cubicBezTo>
                    <a:pt x="2410586" y="1103278"/>
                    <a:pt x="2414797" y="1103278"/>
                    <a:pt x="2418540" y="1104682"/>
                  </a:cubicBezTo>
                  <a:close/>
                  <a:moveTo>
                    <a:pt x="1003163" y="1083638"/>
                  </a:moveTo>
                  <a:cubicBezTo>
                    <a:pt x="1005035" y="1092994"/>
                    <a:pt x="905841" y="1192191"/>
                    <a:pt x="898355" y="1197803"/>
                  </a:cubicBezTo>
                  <a:cubicBezTo>
                    <a:pt x="902098" y="1192191"/>
                    <a:pt x="915199" y="1175354"/>
                    <a:pt x="939530" y="1149147"/>
                  </a:cubicBezTo>
                  <a:cubicBezTo>
                    <a:pt x="971346" y="1111708"/>
                    <a:pt x="997548" y="1087380"/>
                    <a:pt x="1003163" y="1083638"/>
                  </a:cubicBezTo>
                  <a:close/>
                  <a:moveTo>
                    <a:pt x="1192426" y="1082816"/>
                  </a:moveTo>
                  <a:cubicBezTo>
                    <a:pt x="1197339" y="1081880"/>
                    <a:pt x="1201082" y="1082231"/>
                    <a:pt x="1203421" y="1083634"/>
                  </a:cubicBezTo>
                  <a:cubicBezTo>
                    <a:pt x="1225880" y="1098605"/>
                    <a:pt x="1152889" y="1184703"/>
                    <a:pt x="1107971" y="1195930"/>
                  </a:cubicBezTo>
                  <a:cubicBezTo>
                    <a:pt x="1087384" y="1201543"/>
                    <a:pt x="1083641" y="1186574"/>
                    <a:pt x="1100485" y="1160377"/>
                  </a:cubicBezTo>
                  <a:cubicBezTo>
                    <a:pt x="1107971" y="1149142"/>
                    <a:pt x="1117329" y="1137907"/>
                    <a:pt x="1122944" y="1132288"/>
                  </a:cubicBezTo>
                  <a:cubicBezTo>
                    <a:pt x="1152421" y="1100013"/>
                    <a:pt x="1177688" y="1085622"/>
                    <a:pt x="1192426" y="1082816"/>
                  </a:cubicBezTo>
                  <a:close/>
                  <a:moveTo>
                    <a:pt x="1806302" y="1079418"/>
                  </a:moveTo>
                  <a:cubicBezTo>
                    <a:pt x="1815426" y="1078950"/>
                    <a:pt x="1822912" y="1081758"/>
                    <a:pt x="1826655" y="1085501"/>
                  </a:cubicBezTo>
                  <a:cubicBezTo>
                    <a:pt x="1843499" y="1102344"/>
                    <a:pt x="1817297" y="1136031"/>
                    <a:pt x="1785481" y="1137903"/>
                  </a:cubicBezTo>
                  <a:cubicBezTo>
                    <a:pt x="1759279" y="1137903"/>
                    <a:pt x="1751792" y="1115444"/>
                    <a:pt x="1772380" y="1094857"/>
                  </a:cubicBezTo>
                  <a:cubicBezTo>
                    <a:pt x="1772380" y="1094857"/>
                    <a:pt x="1774251" y="1092987"/>
                    <a:pt x="1776123" y="1092987"/>
                  </a:cubicBezTo>
                  <a:cubicBezTo>
                    <a:pt x="1786417" y="1083629"/>
                    <a:pt x="1797178" y="1079886"/>
                    <a:pt x="1806302" y="1079418"/>
                  </a:cubicBezTo>
                  <a:close/>
                  <a:moveTo>
                    <a:pt x="2217815" y="1071697"/>
                  </a:moveTo>
                  <a:cubicBezTo>
                    <a:pt x="2223429" y="1072866"/>
                    <a:pt x="2228108" y="1076141"/>
                    <a:pt x="2230915" y="1079884"/>
                  </a:cubicBezTo>
                  <a:cubicBezTo>
                    <a:pt x="2240273" y="1092985"/>
                    <a:pt x="2225301" y="1111700"/>
                    <a:pt x="2206585" y="1107958"/>
                  </a:cubicBezTo>
                  <a:cubicBezTo>
                    <a:pt x="2189741" y="1106086"/>
                    <a:pt x="2182255" y="1087370"/>
                    <a:pt x="2199099" y="1076141"/>
                  </a:cubicBezTo>
                  <a:cubicBezTo>
                    <a:pt x="2205649" y="1071463"/>
                    <a:pt x="2212200" y="1070527"/>
                    <a:pt x="2217815" y="1071697"/>
                  </a:cubicBezTo>
                  <a:close/>
                  <a:moveTo>
                    <a:pt x="1044338" y="1066798"/>
                  </a:moveTo>
                  <a:cubicBezTo>
                    <a:pt x="1057439" y="1070540"/>
                    <a:pt x="961988" y="1175352"/>
                    <a:pt x="933915" y="1186579"/>
                  </a:cubicBezTo>
                  <a:cubicBezTo>
                    <a:pt x="930172" y="1188449"/>
                    <a:pt x="930172" y="1186579"/>
                    <a:pt x="930172" y="1186579"/>
                  </a:cubicBezTo>
                  <a:cubicBezTo>
                    <a:pt x="928300" y="1180966"/>
                    <a:pt x="943273" y="1160384"/>
                    <a:pt x="971346" y="1130417"/>
                  </a:cubicBezTo>
                  <a:cubicBezTo>
                    <a:pt x="1014392" y="1085508"/>
                    <a:pt x="1040594" y="1064927"/>
                    <a:pt x="1044338" y="1066798"/>
                  </a:cubicBezTo>
                  <a:close/>
                  <a:moveTo>
                    <a:pt x="1515038" y="1066789"/>
                  </a:moveTo>
                  <a:cubicBezTo>
                    <a:pt x="1526735" y="1063983"/>
                    <a:pt x="1535625" y="1065854"/>
                    <a:pt x="1540304" y="1070532"/>
                  </a:cubicBezTo>
                  <a:cubicBezTo>
                    <a:pt x="1562763" y="1089245"/>
                    <a:pt x="1514102" y="1143520"/>
                    <a:pt x="1474799" y="1145393"/>
                  </a:cubicBezTo>
                  <a:cubicBezTo>
                    <a:pt x="1448597" y="1147265"/>
                    <a:pt x="1444854" y="1121058"/>
                    <a:pt x="1469184" y="1094859"/>
                  </a:cubicBezTo>
                  <a:cubicBezTo>
                    <a:pt x="1471056" y="1092988"/>
                    <a:pt x="1471056" y="1092988"/>
                    <a:pt x="1472927" y="1091116"/>
                  </a:cubicBezTo>
                  <a:cubicBezTo>
                    <a:pt x="1488836" y="1077081"/>
                    <a:pt x="1503340" y="1069596"/>
                    <a:pt x="1515038" y="1066789"/>
                  </a:cubicBezTo>
                  <a:close/>
                  <a:moveTo>
                    <a:pt x="1145403" y="1064925"/>
                  </a:moveTo>
                  <a:cubicBezTo>
                    <a:pt x="1167862" y="1078023"/>
                    <a:pt x="1078026" y="1177221"/>
                    <a:pt x="1034980" y="1188447"/>
                  </a:cubicBezTo>
                  <a:cubicBezTo>
                    <a:pt x="1020007" y="1192189"/>
                    <a:pt x="1018136" y="1180964"/>
                    <a:pt x="1033108" y="1158507"/>
                  </a:cubicBezTo>
                  <a:cubicBezTo>
                    <a:pt x="1042466" y="1143526"/>
                    <a:pt x="1053696" y="1130417"/>
                    <a:pt x="1061182" y="1122932"/>
                  </a:cubicBezTo>
                  <a:cubicBezTo>
                    <a:pt x="1106100" y="1076151"/>
                    <a:pt x="1137917" y="1061182"/>
                    <a:pt x="1145403" y="1064925"/>
                  </a:cubicBezTo>
                  <a:close/>
                  <a:moveTo>
                    <a:pt x="2835433" y="1064911"/>
                  </a:moveTo>
                  <a:lnTo>
                    <a:pt x="2839176" y="1066783"/>
                  </a:lnTo>
                  <a:lnTo>
                    <a:pt x="2837305" y="1072396"/>
                  </a:lnTo>
                  <a:lnTo>
                    <a:pt x="2833562" y="1070525"/>
                  </a:lnTo>
                  <a:close/>
                  <a:moveTo>
                    <a:pt x="2013344" y="1062809"/>
                  </a:moveTo>
                  <a:cubicBezTo>
                    <a:pt x="2020830" y="1063511"/>
                    <a:pt x="2026913" y="1066786"/>
                    <a:pt x="2030656" y="1070529"/>
                  </a:cubicBezTo>
                  <a:cubicBezTo>
                    <a:pt x="2045629" y="1087372"/>
                    <a:pt x="2023170" y="1113573"/>
                    <a:pt x="1996968" y="1109830"/>
                  </a:cubicBezTo>
                  <a:cubicBezTo>
                    <a:pt x="1976381" y="1107959"/>
                    <a:pt x="1968894" y="1087372"/>
                    <a:pt x="1987610" y="1070529"/>
                  </a:cubicBezTo>
                  <a:cubicBezTo>
                    <a:pt x="1996968" y="1063979"/>
                    <a:pt x="2005858" y="1062108"/>
                    <a:pt x="2013344" y="1062809"/>
                  </a:cubicBezTo>
                  <a:close/>
                  <a:moveTo>
                    <a:pt x="1092998" y="1059311"/>
                  </a:moveTo>
                  <a:cubicBezTo>
                    <a:pt x="1109842" y="1066797"/>
                    <a:pt x="1020007" y="1169738"/>
                    <a:pt x="980704" y="1184706"/>
                  </a:cubicBezTo>
                  <a:cubicBezTo>
                    <a:pt x="975089" y="1186577"/>
                    <a:pt x="967603" y="1188448"/>
                    <a:pt x="973218" y="1175351"/>
                  </a:cubicBezTo>
                  <a:cubicBezTo>
                    <a:pt x="976961" y="1164127"/>
                    <a:pt x="990062" y="1145399"/>
                    <a:pt x="1012521" y="1122931"/>
                  </a:cubicBezTo>
                  <a:cubicBezTo>
                    <a:pt x="1055567" y="1074281"/>
                    <a:pt x="1085512" y="1057439"/>
                    <a:pt x="1092998" y="1059311"/>
                  </a:cubicBezTo>
                  <a:close/>
                  <a:moveTo>
                    <a:pt x="2521009" y="1042451"/>
                  </a:moveTo>
                  <a:cubicBezTo>
                    <a:pt x="2521009" y="1042451"/>
                    <a:pt x="2521009" y="1042451"/>
                    <a:pt x="2522880" y="1042451"/>
                  </a:cubicBezTo>
                  <a:cubicBezTo>
                    <a:pt x="2532238" y="1038709"/>
                    <a:pt x="2539724" y="1044323"/>
                    <a:pt x="2541596" y="1048066"/>
                  </a:cubicBezTo>
                  <a:cubicBezTo>
                    <a:pt x="2547211" y="1057424"/>
                    <a:pt x="2537853" y="1066783"/>
                    <a:pt x="2526623" y="1063040"/>
                  </a:cubicBezTo>
                  <a:cubicBezTo>
                    <a:pt x="2515394" y="1061168"/>
                    <a:pt x="2513522" y="1048066"/>
                    <a:pt x="2521009" y="1042451"/>
                  </a:cubicBezTo>
                  <a:close/>
                  <a:moveTo>
                    <a:pt x="1436432" y="1021171"/>
                  </a:moveTo>
                  <a:cubicBezTo>
                    <a:pt x="1449533" y="1016726"/>
                    <a:pt x="1459827" y="1017194"/>
                    <a:pt x="1465441" y="1021872"/>
                  </a:cubicBezTo>
                  <a:cubicBezTo>
                    <a:pt x="1487900" y="1040588"/>
                    <a:pt x="1431753" y="1102347"/>
                    <a:pt x="1388707" y="1106091"/>
                  </a:cubicBezTo>
                  <a:cubicBezTo>
                    <a:pt x="1364376" y="1107963"/>
                    <a:pt x="1358762" y="1089246"/>
                    <a:pt x="1379349" y="1063049"/>
                  </a:cubicBezTo>
                  <a:cubicBezTo>
                    <a:pt x="1383092" y="1057433"/>
                    <a:pt x="1388707" y="1053689"/>
                    <a:pt x="1390578" y="1049948"/>
                  </a:cubicBezTo>
                  <a:cubicBezTo>
                    <a:pt x="1407423" y="1034973"/>
                    <a:pt x="1423331" y="1025616"/>
                    <a:pt x="1436432" y="1021171"/>
                  </a:cubicBezTo>
                  <a:close/>
                  <a:moveTo>
                    <a:pt x="1720911" y="1011577"/>
                  </a:moveTo>
                  <a:cubicBezTo>
                    <a:pt x="1731205" y="1010641"/>
                    <a:pt x="1739627" y="1013448"/>
                    <a:pt x="1744306" y="1018127"/>
                  </a:cubicBezTo>
                  <a:cubicBezTo>
                    <a:pt x="1763022" y="1036843"/>
                    <a:pt x="1727462" y="1078016"/>
                    <a:pt x="1690030" y="1078016"/>
                  </a:cubicBezTo>
                  <a:cubicBezTo>
                    <a:pt x="1663828" y="1078016"/>
                    <a:pt x="1660085" y="1053687"/>
                    <a:pt x="1682544" y="1031228"/>
                  </a:cubicBezTo>
                  <a:cubicBezTo>
                    <a:pt x="1684415" y="1029356"/>
                    <a:pt x="1684415" y="1029356"/>
                    <a:pt x="1686287" y="1027485"/>
                  </a:cubicBezTo>
                  <a:cubicBezTo>
                    <a:pt x="1698453" y="1017191"/>
                    <a:pt x="1710618" y="1012513"/>
                    <a:pt x="1720911" y="1011577"/>
                  </a:cubicBezTo>
                  <a:close/>
                  <a:moveTo>
                    <a:pt x="2338296" y="998004"/>
                  </a:moveTo>
                  <a:cubicBezTo>
                    <a:pt x="2343209" y="999407"/>
                    <a:pt x="2346952" y="1002215"/>
                    <a:pt x="2348824" y="1005022"/>
                  </a:cubicBezTo>
                  <a:cubicBezTo>
                    <a:pt x="2356310" y="1018123"/>
                    <a:pt x="2343209" y="1033096"/>
                    <a:pt x="2326365" y="1029353"/>
                  </a:cubicBezTo>
                  <a:cubicBezTo>
                    <a:pt x="2311392" y="1025610"/>
                    <a:pt x="2305778" y="1008766"/>
                    <a:pt x="2320750" y="999408"/>
                  </a:cubicBezTo>
                  <a:cubicBezTo>
                    <a:pt x="2327300" y="996600"/>
                    <a:pt x="2333383" y="996600"/>
                    <a:pt x="2338296" y="998004"/>
                  </a:cubicBezTo>
                  <a:close/>
                  <a:moveTo>
                    <a:pt x="2646404" y="986306"/>
                  </a:moveTo>
                  <a:cubicBezTo>
                    <a:pt x="2653890" y="984434"/>
                    <a:pt x="2659505" y="988177"/>
                    <a:pt x="2659505" y="991921"/>
                  </a:cubicBezTo>
                  <a:cubicBezTo>
                    <a:pt x="2663248" y="999407"/>
                    <a:pt x="2655762" y="1006893"/>
                    <a:pt x="2648276" y="1003150"/>
                  </a:cubicBezTo>
                  <a:cubicBezTo>
                    <a:pt x="2640789" y="1001278"/>
                    <a:pt x="2637046" y="990049"/>
                    <a:pt x="2646404" y="986306"/>
                  </a:cubicBezTo>
                  <a:close/>
                  <a:moveTo>
                    <a:pt x="1928656" y="982098"/>
                  </a:moveTo>
                  <a:cubicBezTo>
                    <a:pt x="1937547" y="982098"/>
                    <a:pt x="1944565" y="985373"/>
                    <a:pt x="1948308" y="990052"/>
                  </a:cubicBezTo>
                  <a:cubicBezTo>
                    <a:pt x="1963281" y="1006896"/>
                    <a:pt x="1935207" y="1038713"/>
                    <a:pt x="1905262" y="1036842"/>
                  </a:cubicBezTo>
                  <a:cubicBezTo>
                    <a:pt x="1880931" y="1034970"/>
                    <a:pt x="1875317" y="1012511"/>
                    <a:pt x="1895904" y="995667"/>
                  </a:cubicBezTo>
                  <a:cubicBezTo>
                    <a:pt x="1895904" y="995667"/>
                    <a:pt x="1897775" y="993795"/>
                    <a:pt x="1897775" y="993795"/>
                  </a:cubicBezTo>
                  <a:cubicBezTo>
                    <a:pt x="1909005" y="985373"/>
                    <a:pt x="1919766" y="982098"/>
                    <a:pt x="1928656" y="982098"/>
                  </a:cubicBezTo>
                  <a:close/>
                  <a:moveTo>
                    <a:pt x="1387333" y="979969"/>
                  </a:moveTo>
                  <a:cubicBezTo>
                    <a:pt x="1392099" y="979764"/>
                    <a:pt x="1395726" y="980699"/>
                    <a:pt x="1398065" y="982571"/>
                  </a:cubicBezTo>
                  <a:cubicBezTo>
                    <a:pt x="1420524" y="1001287"/>
                    <a:pt x="1351275" y="1074277"/>
                    <a:pt x="1306358" y="1078020"/>
                  </a:cubicBezTo>
                  <a:cubicBezTo>
                    <a:pt x="1283899" y="1079891"/>
                    <a:pt x="1283899" y="1061178"/>
                    <a:pt x="1304486" y="1033103"/>
                  </a:cubicBezTo>
                  <a:cubicBezTo>
                    <a:pt x="1310101" y="1027488"/>
                    <a:pt x="1313844" y="1021873"/>
                    <a:pt x="1317587" y="1018130"/>
                  </a:cubicBezTo>
                  <a:cubicBezTo>
                    <a:pt x="1348468" y="991461"/>
                    <a:pt x="1373033" y="980583"/>
                    <a:pt x="1387333" y="979969"/>
                  </a:cubicBezTo>
                  <a:close/>
                  <a:moveTo>
                    <a:pt x="2134763" y="976950"/>
                  </a:moveTo>
                  <a:cubicBezTo>
                    <a:pt x="2142016" y="977886"/>
                    <a:pt x="2147631" y="981629"/>
                    <a:pt x="2150438" y="986308"/>
                  </a:cubicBezTo>
                  <a:cubicBezTo>
                    <a:pt x="2161667" y="1003152"/>
                    <a:pt x="2139208" y="1025611"/>
                    <a:pt x="2114878" y="1021868"/>
                  </a:cubicBezTo>
                  <a:cubicBezTo>
                    <a:pt x="2098034" y="1018125"/>
                    <a:pt x="2088676" y="999409"/>
                    <a:pt x="2109263" y="984436"/>
                  </a:cubicBezTo>
                  <a:cubicBezTo>
                    <a:pt x="2118621" y="977886"/>
                    <a:pt x="2127511" y="976014"/>
                    <a:pt x="2134763" y="976950"/>
                  </a:cubicBezTo>
                  <a:close/>
                  <a:moveTo>
                    <a:pt x="1642305" y="953326"/>
                  </a:moveTo>
                  <a:cubicBezTo>
                    <a:pt x="1654002" y="951220"/>
                    <a:pt x="1662892" y="953560"/>
                    <a:pt x="1667571" y="958238"/>
                  </a:cubicBezTo>
                  <a:cubicBezTo>
                    <a:pt x="1688159" y="976953"/>
                    <a:pt x="1637626" y="1029357"/>
                    <a:pt x="1598323" y="1027486"/>
                  </a:cubicBezTo>
                  <a:cubicBezTo>
                    <a:pt x="1572121" y="1027486"/>
                    <a:pt x="1572121" y="1003155"/>
                    <a:pt x="1596451" y="978825"/>
                  </a:cubicBezTo>
                  <a:cubicBezTo>
                    <a:pt x="1598323" y="976953"/>
                    <a:pt x="1598323" y="976953"/>
                    <a:pt x="1600195" y="975082"/>
                  </a:cubicBezTo>
                  <a:cubicBezTo>
                    <a:pt x="1616103" y="961981"/>
                    <a:pt x="1630608" y="955431"/>
                    <a:pt x="1642305" y="953326"/>
                  </a:cubicBezTo>
                  <a:close/>
                  <a:moveTo>
                    <a:pt x="1327091" y="950435"/>
                  </a:moveTo>
                  <a:cubicBezTo>
                    <a:pt x="1332092" y="949938"/>
                    <a:pt x="1335835" y="950757"/>
                    <a:pt x="1338174" y="952628"/>
                  </a:cubicBezTo>
                  <a:cubicBezTo>
                    <a:pt x="1360633" y="969472"/>
                    <a:pt x="1272669" y="1057436"/>
                    <a:pt x="1229623" y="1061180"/>
                  </a:cubicBezTo>
                  <a:cubicBezTo>
                    <a:pt x="1210907" y="1063052"/>
                    <a:pt x="1212779" y="1042461"/>
                    <a:pt x="1237110" y="1014389"/>
                  </a:cubicBezTo>
                  <a:cubicBezTo>
                    <a:pt x="1242724" y="1006903"/>
                    <a:pt x="1248339" y="1001288"/>
                    <a:pt x="1252082" y="997545"/>
                  </a:cubicBezTo>
                  <a:cubicBezTo>
                    <a:pt x="1285771" y="965261"/>
                    <a:pt x="1312090" y="951926"/>
                    <a:pt x="1327091" y="950435"/>
                  </a:cubicBezTo>
                  <a:close/>
                  <a:moveTo>
                    <a:pt x="1147274" y="941405"/>
                  </a:moveTo>
                  <a:cubicBezTo>
                    <a:pt x="1147274" y="950763"/>
                    <a:pt x="1044338" y="1044339"/>
                    <a:pt x="1034980" y="1048082"/>
                  </a:cubicBezTo>
                  <a:cubicBezTo>
                    <a:pt x="1034980" y="1046210"/>
                    <a:pt x="1049953" y="1029367"/>
                    <a:pt x="1079898" y="1001294"/>
                  </a:cubicBezTo>
                  <a:cubicBezTo>
                    <a:pt x="1115458" y="967606"/>
                    <a:pt x="1143531" y="943277"/>
                    <a:pt x="1147274" y="941405"/>
                  </a:cubicBezTo>
                  <a:close/>
                  <a:moveTo>
                    <a:pt x="2773671" y="935773"/>
                  </a:moveTo>
                  <a:cubicBezTo>
                    <a:pt x="2779286" y="935773"/>
                    <a:pt x="2783029" y="939516"/>
                    <a:pt x="2783029" y="941388"/>
                  </a:cubicBezTo>
                  <a:cubicBezTo>
                    <a:pt x="2784900" y="947002"/>
                    <a:pt x="2779286" y="952617"/>
                    <a:pt x="2773671" y="948874"/>
                  </a:cubicBezTo>
                  <a:cubicBezTo>
                    <a:pt x="2768056" y="947002"/>
                    <a:pt x="2768056" y="939516"/>
                    <a:pt x="2773671" y="935773"/>
                  </a:cubicBezTo>
                  <a:close/>
                  <a:moveTo>
                    <a:pt x="2462990" y="930627"/>
                  </a:moveTo>
                  <a:cubicBezTo>
                    <a:pt x="2467201" y="932031"/>
                    <a:pt x="2470477" y="934838"/>
                    <a:pt x="2472348" y="937645"/>
                  </a:cubicBezTo>
                  <a:cubicBezTo>
                    <a:pt x="2477963" y="948875"/>
                    <a:pt x="2464861" y="961976"/>
                    <a:pt x="2449889" y="958233"/>
                  </a:cubicBezTo>
                  <a:cubicBezTo>
                    <a:pt x="2438659" y="954490"/>
                    <a:pt x="2433045" y="939517"/>
                    <a:pt x="2448017" y="932031"/>
                  </a:cubicBezTo>
                  <a:cubicBezTo>
                    <a:pt x="2453632" y="929224"/>
                    <a:pt x="2458779" y="929224"/>
                    <a:pt x="2462990" y="930627"/>
                  </a:cubicBezTo>
                  <a:close/>
                  <a:moveTo>
                    <a:pt x="1273839" y="929704"/>
                  </a:moveTo>
                  <a:cubicBezTo>
                    <a:pt x="1278635" y="928534"/>
                    <a:pt x="1282027" y="928768"/>
                    <a:pt x="1283899" y="930172"/>
                  </a:cubicBezTo>
                  <a:cubicBezTo>
                    <a:pt x="1304486" y="943273"/>
                    <a:pt x="1207164" y="1040593"/>
                    <a:pt x="1165990" y="1048079"/>
                  </a:cubicBezTo>
                  <a:cubicBezTo>
                    <a:pt x="1152889" y="1049954"/>
                    <a:pt x="1151017" y="1040593"/>
                    <a:pt x="1162246" y="1023749"/>
                  </a:cubicBezTo>
                  <a:cubicBezTo>
                    <a:pt x="1173476" y="1006904"/>
                    <a:pt x="1188448" y="991933"/>
                    <a:pt x="1195935" y="984446"/>
                  </a:cubicBezTo>
                  <a:cubicBezTo>
                    <a:pt x="1232431" y="949355"/>
                    <a:pt x="1259451" y="933213"/>
                    <a:pt x="1273839" y="929704"/>
                  </a:cubicBezTo>
                  <a:close/>
                  <a:moveTo>
                    <a:pt x="1186577" y="926431"/>
                  </a:moveTo>
                  <a:cubicBezTo>
                    <a:pt x="1197807" y="930174"/>
                    <a:pt x="1094870" y="1029366"/>
                    <a:pt x="1068668" y="1040594"/>
                  </a:cubicBezTo>
                  <a:cubicBezTo>
                    <a:pt x="1064925" y="1042466"/>
                    <a:pt x="1064925" y="1040594"/>
                    <a:pt x="1064925" y="1040594"/>
                  </a:cubicBezTo>
                  <a:cubicBezTo>
                    <a:pt x="1064925" y="1034979"/>
                    <a:pt x="1079898" y="1016265"/>
                    <a:pt x="1109843" y="986321"/>
                  </a:cubicBezTo>
                  <a:cubicBezTo>
                    <a:pt x="1156632" y="943275"/>
                    <a:pt x="1182834" y="924560"/>
                    <a:pt x="1186577" y="926431"/>
                  </a:cubicBezTo>
                  <a:close/>
                  <a:moveTo>
                    <a:pt x="1233367" y="922687"/>
                  </a:moveTo>
                  <a:cubicBezTo>
                    <a:pt x="1250211" y="932044"/>
                    <a:pt x="1141660" y="1036850"/>
                    <a:pt x="1109843" y="1042465"/>
                  </a:cubicBezTo>
                  <a:cubicBezTo>
                    <a:pt x="1102356" y="1044336"/>
                    <a:pt x="1102356" y="1036850"/>
                    <a:pt x="1109843" y="1023749"/>
                  </a:cubicBezTo>
                  <a:cubicBezTo>
                    <a:pt x="1121072" y="1006906"/>
                    <a:pt x="1139788" y="988190"/>
                    <a:pt x="1147274" y="980704"/>
                  </a:cubicBezTo>
                  <a:cubicBezTo>
                    <a:pt x="1197807" y="933916"/>
                    <a:pt x="1227752" y="918944"/>
                    <a:pt x="1233367" y="922687"/>
                  </a:cubicBezTo>
                  <a:close/>
                  <a:moveTo>
                    <a:pt x="1850518" y="910980"/>
                  </a:moveTo>
                  <a:cubicBezTo>
                    <a:pt x="1860344" y="910512"/>
                    <a:pt x="1867830" y="913320"/>
                    <a:pt x="1871573" y="917063"/>
                  </a:cubicBezTo>
                  <a:cubicBezTo>
                    <a:pt x="1888417" y="935778"/>
                    <a:pt x="1849114" y="973210"/>
                    <a:pt x="1815426" y="971338"/>
                  </a:cubicBezTo>
                  <a:cubicBezTo>
                    <a:pt x="1791095" y="969467"/>
                    <a:pt x="1789224" y="947008"/>
                    <a:pt x="1811683" y="926420"/>
                  </a:cubicBezTo>
                  <a:cubicBezTo>
                    <a:pt x="1813554" y="926420"/>
                    <a:pt x="1813554" y="924549"/>
                    <a:pt x="1815426" y="924549"/>
                  </a:cubicBezTo>
                  <a:cubicBezTo>
                    <a:pt x="1828527" y="915191"/>
                    <a:pt x="1840692" y="911448"/>
                    <a:pt x="1850518" y="910980"/>
                  </a:cubicBezTo>
                  <a:close/>
                  <a:moveTo>
                    <a:pt x="1587153" y="902240"/>
                  </a:moveTo>
                  <a:cubicBezTo>
                    <a:pt x="1591422" y="902679"/>
                    <a:pt x="1594581" y="903965"/>
                    <a:pt x="1596452" y="905837"/>
                  </a:cubicBezTo>
                  <a:cubicBezTo>
                    <a:pt x="1615168" y="924552"/>
                    <a:pt x="1557149" y="982570"/>
                    <a:pt x="1515974" y="984441"/>
                  </a:cubicBezTo>
                  <a:cubicBezTo>
                    <a:pt x="1491644" y="986312"/>
                    <a:pt x="1489772" y="965726"/>
                    <a:pt x="1510360" y="941396"/>
                  </a:cubicBezTo>
                  <a:cubicBezTo>
                    <a:pt x="1514103" y="935781"/>
                    <a:pt x="1519718" y="932038"/>
                    <a:pt x="1523461" y="928295"/>
                  </a:cubicBezTo>
                  <a:cubicBezTo>
                    <a:pt x="1551534" y="907240"/>
                    <a:pt x="1574344" y="900924"/>
                    <a:pt x="1587153" y="902240"/>
                  </a:cubicBezTo>
                  <a:close/>
                  <a:moveTo>
                    <a:pt x="2262965" y="899514"/>
                  </a:moveTo>
                  <a:cubicBezTo>
                    <a:pt x="2269282" y="900683"/>
                    <a:pt x="2273961" y="903959"/>
                    <a:pt x="2275832" y="907702"/>
                  </a:cubicBezTo>
                  <a:cubicBezTo>
                    <a:pt x="2285190" y="922675"/>
                    <a:pt x="2262731" y="943261"/>
                    <a:pt x="2242144" y="937646"/>
                  </a:cubicBezTo>
                  <a:cubicBezTo>
                    <a:pt x="2227171" y="933903"/>
                    <a:pt x="2219685" y="917059"/>
                    <a:pt x="2240273" y="903959"/>
                  </a:cubicBezTo>
                  <a:cubicBezTo>
                    <a:pt x="2248695" y="899280"/>
                    <a:pt x="2256649" y="898344"/>
                    <a:pt x="2262965" y="899514"/>
                  </a:cubicBezTo>
                  <a:close/>
                  <a:moveTo>
                    <a:pt x="2904681" y="894598"/>
                  </a:moveTo>
                  <a:cubicBezTo>
                    <a:pt x="2908425" y="894598"/>
                    <a:pt x="2910296" y="896470"/>
                    <a:pt x="2910296" y="898341"/>
                  </a:cubicBezTo>
                  <a:cubicBezTo>
                    <a:pt x="2910296" y="902084"/>
                    <a:pt x="2906553" y="903956"/>
                    <a:pt x="2904681" y="902084"/>
                  </a:cubicBezTo>
                  <a:cubicBezTo>
                    <a:pt x="2900938" y="900213"/>
                    <a:pt x="2900938" y="896470"/>
                    <a:pt x="2904681" y="894598"/>
                  </a:cubicBezTo>
                  <a:close/>
                  <a:moveTo>
                    <a:pt x="2057327" y="892497"/>
                  </a:moveTo>
                  <a:cubicBezTo>
                    <a:pt x="2065281" y="893199"/>
                    <a:pt x="2070895" y="896474"/>
                    <a:pt x="2073703" y="900217"/>
                  </a:cubicBezTo>
                  <a:cubicBezTo>
                    <a:pt x="2086804" y="918933"/>
                    <a:pt x="2054987" y="947006"/>
                    <a:pt x="2026914" y="941391"/>
                  </a:cubicBezTo>
                  <a:cubicBezTo>
                    <a:pt x="2008198" y="937648"/>
                    <a:pt x="2000712" y="918933"/>
                    <a:pt x="2026914" y="900217"/>
                  </a:cubicBezTo>
                  <a:cubicBezTo>
                    <a:pt x="2039079" y="893667"/>
                    <a:pt x="2049372" y="891795"/>
                    <a:pt x="2057327" y="892497"/>
                  </a:cubicBezTo>
                  <a:close/>
                  <a:moveTo>
                    <a:pt x="2577156" y="872140"/>
                  </a:moveTo>
                  <a:cubicBezTo>
                    <a:pt x="2590257" y="868397"/>
                    <a:pt x="2595871" y="874012"/>
                    <a:pt x="2597743" y="877755"/>
                  </a:cubicBezTo>
                  <a:cubicBezTo>
                    <a:pt x="2601486" y="887113"/>
                    <a:pt x="2590257" y="898342"/>
                    <a:pt x="2577156" y="894599"/>
                  </a:cubicBezTo>
                  <a:cubicBezTo>
                    <a:pt x="2567798" y="890856"/>
                    <a:pt x="2564055" y="879627"/>
                    <a:pt x="2577156" y="872140"/>
                  </a:cubicBezTo>
                  <a:close/>
                  <a:moveTo>
                    <a:pt x="3039435" y="860910"/>
                  </a:moveTo>
                  <a:lnTo>
                    <a:pt x="3041306" y="862782"/>
                  </a:lnTo>
                  <a:lnTo>
                    <a:pt x="3039435" y="862782"/>
                  </a:lnTo>
                  <a:close/>
                  <a:moveTo>
                    <a:pt x="1523197" y="860628"/>
                  </a:moveTo>
                  <a:cubicBezTo>
                    <a:pt x="1527671" y="860570"/>
                    <a:pt x="1530946" y="861389"/>
                    <a:pt x="1532818" y="862793"/>
                  </a:cubicBezTo>
                  <a:cubicBezTo>
                    <a:pt x="1553405" y="881509"/>
                    <a:pt x="1480414" y="948883"/>
                    <a:pt x="1437368" y="950755"/>
                  </a:cubicBezTo>
                  <a:cubicBezTo>
                    <a:pt x="1414909" y="950755"/>
                    <a:pt x="1416780" y="932040"/>
                    <a:pt x="1441111" y="905838"/>
                  </a:cubicBezTo>
                  <a:cubicBezTo>
                    <a:pt x="1446725" y="900223"/>
                    <a:pt x="1452340" y="894609"/>
                    <a:pt x="1456083" y="892737"/>
                  </a:cubicBezTo>
                  <a:cubicBezTo>
                    <a:pt x="1485560" y="868875"/>
                    <a:pt x="1509774" y="860804"/>
                    <a:pt x="1523197" y="860628"/>
                  </a:cubicBezTo>
                  <a:close/>
                  <a:moveTo>
                    <a:pt x="1777760" y="847816"/>
                  </a:moveTo>
                  <a:cubicBezTo>
                    <a:pt x="1788756" y="846413"/>
                    <a:pt x="1796710" y="848752"/>
                    <a:pt x="1800453" y="853431"/>
                  </a:cubicBezTo>
                  <a:cubicBezTo>
                    <a:pt x="1817297" y="874019"/>
                    <a:pt x="1766765" y="918936"/>
                    <a:pt x="1731205" y="915193"/>
                  </a:cubicBezTo>
                  <a:cubicBezTo>
                    <a:pt x="1706875" y="913322"/>
                    <a:pt x="1708746" y="888991"/>
                    <a:pt x="1733077" y="868404"/>
                  </a:cubicBezTo>
                  <a:cubicBezTo>
                    <a:pt x="1734948" y="866532"/>
                    <a:pt x="1734948" y="866532"/>
                    <a:pt x="1736820" y="864661"/>
                  </a:cubicBezTo>
                  <a:cubicBezTo>
                    <a:pt x="1752728" y="854367"/>
                    <a:pt x="1766765" y="849220"/>
                    <a:pt x="1777760" y="847816"/>
                  </a:cubicBezTo>
                  <a:close/>
                  <a:moveTo>
                    <a:pt x="2395379" y="829096"/>
                  </a:moveTo>
                  <a:cubicBezTo>
                    <a:pt x="2400760" y="830500"/>
                    <a:pt x="2404035" y="833775"/>
                    <a:pt x="2404971" y="836583"/>
                  </a:cubicBezTo>
                  <a:cubicBezTo>
                    <a:pt x="2412458" y="851555"/>
                    <a:pt x="2391870" y="868399"/>
                    <a:pt x="2373155" y="862785"/>
                  </a:cubicBezTo>
                  <a:cubicBezTo>
                    <a:pt x="2360054" y="859041"/>
                    <a:pt x="2354439" y="842197"/>
                    <a:pt x="2373155" y="832838"/>
                  </a:cubicBezTo>
                  <a:cubicBezTo>
                    <a:pt x="2382513" y="828160"/>
                    <a:pt x="2389999" y="827692"/>
                    <a:pt x="2395379" y="829096"/>
                  </a:cubicBezTo>
                  <a:close/>
                  <a:moveTo>
                    <a:pt x="1466991" y="828403"/>
                  </a:moveTo>
                  <a:cubicBezTo>
                    <a:pt x="1471524" y="828169"/>
                    <a:pt x="1474799" y="829105"/>
                    <a:pt x="1476671" y="830977"/>
                  </a:cubicBezTo>
                  <a:cubicBezTo>
                    <a:pt x="1495386" y="847821"/>
                    <a:pt x="1407422" y="928298"/>
                    <a:pt x="1368119" y="928298"/>
                  </a:cubicBezTo>
                  <a:cubicBezTo>
                    <a:pt x="1349404" y="928298"/>
                    <a:pt x="1355018" y="909583"/>
                    <a:pt x="1379349" y="883381"/>
                  </a:cubicBezTo>
                  <a:cubicBezTo>
                    <a:pt x="1384963" y="877766"/>
                    <a:pt x="1390578" y="872151"/>
                    <a:pt x="1396193" y="868408"/>
                  </a:cubicBezTo>
                  <a:cubicBezTo>
                    <a:pt x="1428478" y="840335"/>
                    <a:pt x="1453393" y="829105"/>
                    <a:pt x="1466991" y="828403"/>
                  </a:cubicBezTo>
                  <a:close/>
                  <a:moveTo>
                    <a:pt x="2725245" y="819035"/>
                  </a:moveTo>
                  <a:cubicBezTo>
                    <a:pt x="2727818" y="820205"/>
                    <a:pt x="2729689" y="822544"/>
                    <a:pt x="2730625" y="825351"/>
                  </a:cubicBezTo>
                  <a:cubicBezTo>
                    <a:pt x="2734368" y="834709"/>
                    <a:pt x="2723139" y="840324"/>
                    <a:pt x="2713781" y="836581"/>
                  </a:cubicBezTo>
                  <a:cubicBezTo>
                    <a:pt x="2708166" y="832838"/>
                    <a:pt x="2706295" y="823480"/>
                    <a:pt x="2715653" y="819737"/>
                  </a:cubicBezTo>
                  <a:cubicBezTo>
                    <a:pt x="2719396" y="817865"/>
                    <a:pt x="2722671" y="817865"/>
                    <a:pt x="2725245" y="819035"/>
                  </a:cubicBezTo>
                  <a:close/>
                  <a:moveTo>
                    <a:pt x="1984569" y="816466"/>
                  </a:moveTo>
                  <a:cubicBezTo>
                    <a:pt x="1993693" y="815998"/>
                    <a:pt x="2000711" y="818805"/>
                    <a:pt x="2004454" y="823484"/>
                  </a:cubicBezTo>
                  <a:cubicBezTo>
                    <a:pt x="2017555" y="842201"/>
                    <a:pt x="1980124" y="875889"/>
                    <a:pt x="1948307" y="872146"/>
                  </a:cubicBezTo>
                  <a:cubicBezTo>
                    <a:pt x="1925848" y="870274"/>
                    <a:pt x="1923977" y="847815"/>
                    <a:pt x="1948307" y="830970"/>
                  </a:cubicBezTo>
                  <a:cubicBezTo>
                    <a:pt x="1950179" y="830970"/>
                    <a:pt x="1950179" y="829099"/>
                    <a:pt x="1952050" y="829099"/>
                  </a:cubicBezTo>
                  <a:cubicBezTo>
                    <a:pt x="1964215" y="820677"/>
                    <a:pt x="1975445" y="816934"/>
                    <a:pt x="1984569" y="816466"/>
                  </a:cubicBezTo>
                  <a:close/>
                  <a:moveTo>
                    <a:pt x="2191378" y="809913"/>
                  </a:moveTo>
                  <a:cubicBezTo>
                    <a:pt x="2198630" y="810849"/>
                    <a:pt x="2203778" y="814124"/>
                    <a:pt x="2206585" y="817868"/>
                  </a:cubicBezTo>
                  <a:cubicBezTo>
                    <a:pt x="2217814" y="834712"/>
                    <a:pt x="2185997" y="860914"/>
                    <a:pt x="2161667" y="853427"/>
                  </a:cubicBezTo>
                  <a:cubicBezTo>
                    <a:pt x="2146694" y="849684"/>
                    <a:pt x="2139208" y="830969"/>
                    <a:pt x="2163539" y="815996"/>
                  </a:cubicBezTo>
                  <a:cubicBezTo>
                    <a:pt x="2174768" y="810381"/>
                    <a:pt x="2184126" y="808977"/>
                    <a:pt x="2191378" y="809913"/>
                  </a:cubicBezTo>
                  <a:close/>
                  <a:moveTo>
                    <a:pt x="1298872" y="808523"/>
                  </a:moveTo>
                  <a:cubicBezTo>
                    <a:pt x="1297000" y="817881"/>
                    <a:pt x="1192192" y="903974"/>
                    <a:pt x="1184706" y="905846"/>
                  </a:cubicBezTo>
                  <a:cubicBezTo>
                    <a:pt x="1184706" y="905846"/>
                    <a:pt x="1184706" y="902103"/>
                    <a:pt x="1231495" y="862800"/>
                  </a:cubicBezTo>
                  <a:cubicBezTo>
                    <a:pt x="1268927" y="832854"/>
                    <a:pt x="1295129" y="810395"/>
                    <a:pt x="1298872" y="808523"/>
                  </a:cubicBezTo>
                  <a:close/>
                  <a:moveTo>
                    <a:pt x="1416401" y="805770"/>
                  </a:moveTo>
                  <a:cubicBezTo>
                    <a:pt x="1420992" y="804893"/>
                    <a:pt x="1424268" y="805244"/>
                    <a:pt x="1426139" y="806648"/>
                  </a:cubicBezTo>
                  <a:cubicBezTo>
                    <a:pt x="1442983" y="819749"/>
                    <a:pt x="1347533" y="905841"/>
                    <a:pt x="1308230" y="911456"/>
                  </a:cubicBezTo>
                  <a:cubicBezTo>
                    <a:pt x="1295129" y="913327"/>
                    <a:pt x="1295129" y="903969"/>
                    <a:pt x="1308230" y="887126"/>
                  </a:cubicBezTo>
                  <a:cubicBezTo>
                    <a:pt x="1319459" y="872154"/>
                    <a:pt x="1336303" y="857181"/>
                    <a:pt x="1341918" y="851566"/>
                  </a:cubicBezTo>
                  <a:cubicBezTo>
                    <a:pt x="1377010" y="822088"/>
                    <a:pt x="1402627" y="808402"/>
                    <a:pt x="1416401" y="805770"/>
                  </a:cubicBezTo>
                  <a:close/>
                  <a:moveTo>
                    <a:pt x="1336303" y="797293"/>
                  </a:moveTo>
                  <a:cubicBezTo>
                    <a:pt x="1340047" y="801036"/>
                    <a:pt x="1306358" y="832853"/>
                    <a:pt x="1283899" y="851569"/>
                  </a:cubicBezTo>
                  <a:cubicBezTo>
                    <a:pt x="1250211" y="879643"/>
                    <a:pt x="1218394" y="902102"/>
                    <a:pt x="1214651" y="900230"/>
                  </a:cubicBezTo>
                  <a:cubicBezTo>
                    <a:pt x="1214651" y="894616"/>
                    <a:pt x="1231495" y="877771"/>
                    <a:pt x="1261440" y="851569"/>
                  </a:cubicBezTo>
                  <a:cubicBezTo>
                    <a:pt x="1298872" y="817880"/>
                    <a:pt x="1328817" y="795421"/>
                    <a:pt x="1336303" y="797293"/>
                  </a:cubicBezTo>
                  <a:close/>
                  <a:moveTo>
                    <a:pt x="1377478" y="795419"/>
                  </a:moveTo>
                  <a:cubicBezTo>
                    <a:pt x="1390579" y="804777"/>
                    <a:pt x="1283899" y="898357"/>
                    <a:pt x="1253954" y="902100"/>
                  </a:cubicBezTo>
                  <a:cubicBezTo>
                    <a:pt x="1246468" y="903971"/>
                    <a:pt x="1248339" y="896485"/>
                    <a:pt x="1255825" y="885256"/>
                  </a:cubicBezTo>
                  <a:cubicBezTo>
                    <a:pt x="1267055" y="870284"/>
                    <a:pt x="1285771" y="853439"/>
                    <a:pt x="1295128" y="845952"/>
                  </a:cubicBezTo>
                  <a:cubicBezTo>
                    <a:pt x="1345661" y="806648"/>
                    <a:pt x="1373734" y="791676"/>
                    <a:pt x="1377478" y="795419"/>
                  </a:cubicBezTo>
                  <a:close/>
                  <a:moveTo>
                    <a:pt x="1710618" y="794478"/>
                  </a:moveTo>
                  <a:cubicBezTo>
                    <a:pt x="1722783" y="792138"/>
                    <a:pt x="1731205" y="794478"/>
                    <a:pt x="1734948" y="799157"/>
                  </a:cubicBezTo>
                  <a:cubicBezTo>
                    <a:pt x="1753664" y="819744"/>
                    <a:pt x="1688159" y="874021"/>
                    <a:pt x="1650728" y="870277"/>
                  </a:cubicBezTo>
                  <a:cubicBezTo>
                    <a:pt x="1628269" y="868406"/>
                    <a:pt x="1633883" y="844075"/>
                    <a:pt x="1660085" y="821616"/>
                  </a:cubicBezTo>
                  <a:cubicBezTo>
                    <a:pt x="1661957" y="819744"/>
                    <a:pt x="1663828" y="819744"/>
                    <a:pt x="1663828" y="817872"/>
                  </a:cubicBezTo>
                  <a:cubicBezTo>
                    <a:pt x="1682544" y="803836"/>
                    <a:pt x="1698453" y="796817"/>
                    <a:pt x="1710618" y="794478"/>
                  </a:cubicBezTo>
                  <a:close/>
                  <a:moveTo>
                    <a:pt x="2856021" y="774819"/>
                  </a:moveTo>
                  <a:cubicBezTo>
                    <a:pt x="2861636" y="772947"/>
                    <a:pt x="2865379" y="776691"/>
                    <a:pt x="2867250" y="778562"/>
                  </a:cubicBezTo>
                  <a:cubicBezTo>
                    <a:pt x="2869122" y="784177"/>
                    <a:pt x="2859764" y="789792"/>
                    <a:pt x="2854149" y="786049"/>
                  </a:cubicBezTo>
                  <a:cubicBezTo>
                    <a:pt x="2848534" y="782305"/>
                    <a:pt x="2850406" y="776691"/>
                    <a:pt x="2856021" y="774819"/>
                  </a:cubicBezTo>
                  <a:close/>
                  <a:moveTo>
                    <a:pt x="2532004" y="765930"/>
                  </a:moveTo>
                  <a:cubicBezTo>
                    <a:pt x="2536449" y="767334"/>
                    <a:pt x="2539724" y="770141"/>
                    <a:pt x="2541596" y="772948"/>
                  </a:cubicBezTo>
                  <a:cubicBezTo>
                    <a:pt x="2547211" y="786049"/>
                    <a:pt x="2528495" y="799150"/>
                    <a:pt x="2513522" y="793536"/>
                  </a:cubicBezTo>
                  <a:cubicBezTo>
                    <a:pt x="2500422" y="789793"/>
                    <a:pt x="2500422" y="774820"/>
                    <a:pt x="2515394" y="767334"/>
                  </a:cubicBezTo>
                  <a:cubicBezTo>
                    <a:pt x="2521945" y="764527"/>
                    <a:pt x="2527559" y="764527"/>
                    <a:pt x="2532004" y="765930"/>
                  </a:cubicBezTo>
                  <a:close/>
                  <a:moveTo>
                    <a:pt x="1650493" y="751198"/>
                  </a:moveTo>
                  <a:cubicBezTo>
                    <a:pt x="1662892" y="747689"/>
                    <a:pt x="1671314" y="748625"/>
                    <a:pt x="1675057" y="752368"/>
                  </a:cubicBezTo>
                  <a:cubicBezTo>
                    <a:pt x="1691902" y="771084"/>
                    <a:pt x="1618910" y="830975"/>
                    <a:pt x="1581479" y="830975"/>
                  </a:cubicBezTo>
                  <a:cubicBezTo>
                    <a:pt x="1560891" y="830975"/>
                    <a:pt x="1564635" y="812260"/>
                    <a:pt x="1587094" y="789800"/>
                  </a:cubicBezTo>
                  <a:cubicBezTo>
                    <a:pt x="1592708" y="784185"/>
                    <a:pt x="1596451" y="780442"/>
                    <a:pt x="1602066" y="776699"/>
                  </a:cubicBezTo>
                  <a:cubicBezTo>
                    <a:pt x="1621718" y="762662"/>
                    <a:pt x="1638094" y="754708"/>
                    <a:pt x="1650493" y="751198"/>
                  </a:cubicBezTo>
                  <a:close/>
                  <a:moveTo>
                    <a:pt x="1917426" y="750259"/>
                  </a:moveTo>
                  <a:cubicBezTo>
                    <a:pt x="1927720" y="749557"/>
                    <a:pt x="1935207" y="752364"/>
                    <a:pt x="1938950" y="756108"/>
                  </a:cubicBezTo>
                  <a:cubicBezTo>
                    <a:pt x="1953922" y="774823"/>
                    <a:pt x="1903390" y="815999"/>
                    <a:pt x="1869701" y="810384"/>
                  </a:cubicBezTo>
                  <a:cubicBezTo>
                    <a:pt x="1847243" y="806641"/>
                    <a:pt x="1850986" y="786053"/>
                    <a:pt x="1875316" y="767337"/>
                  </a:cubicBezTo>
                  <a:cubicBezTo>
                    <a:pt x="1877188" y="767337"/>
                    <a:pt x="1877188" y="765466"/>
                    <a:pt x="1879059" y="765466"/>
                  </a:cubicBezTo>
                  <a:cubicBezTo>
                    <a:pt x="1894032" y="755172"/>
                    <a:pt x="1907133" y="750961"/>
                    <a:pt x="1917426" y="750259"/>
                  </a:cubicBezTo>
                  <a:close/>
                  <a:moveTo>
                    <a:pt x="3000132" y="737386"/>
                  </a:moveTo>
                  <a:cubicBezTo>
                    <a:pt x="3003875" y="735514"/>
                    <a:pt x="3005747" y="739258"/>
                    <a:pt x="3005747" y="739258"/>
                  </a:cubicBezTo>
                  <a:cubicBezTo>
                    <a:pt x="3005747" y="743002"/>
                    <a:pt x="3002004" y="744873"/>
                    <a:pt x="2998260" y="743002"/>
                  </a:cubicBezTo>
                  <a:cubicBezTo>
                    <a:pt x="2996389" y="741130"/>
                    <a:pt x="2996389" y="737386"/>
                    <a:pt x="3000132" y="737386"/>
                  </a:cubicBezTo>
                  <a:close/>
                  <a:moveTo>
                    <a:pt x="2330810" y="736688"/>
                  </a:moveTo>
                  <a:cubicBezTo>
                    <a:pt x="2337126" y="737858"/>
                    <a:pt x="2341337" y="741133"/>
                    <a:pt x="2343209" y="744876"/>
                  </a:cubicBezTo>
                  <a:cubicBezTo>
                    <a:pt x="2350696" y="761720"/>
                    <a:pt x="2322622" y="780436"/>
                    <a:pt x="2300163" y="774821"/>
                  </a:cubicBezTo>
                  <a:cubicBezTo>
                    <a:pt x="2285190" y="769207"/>
                    <a:pt x="2285190" y="752362"/>
                    <a:pt x="2305778" y="741133"/>
                  </a:cubicBezTo>
                  <a:cubicBezTo>
                    <a:pt x="2316071" y="736454"/>
                    <a:pt x="2324493" y="735518"/>
                    <a:pt x="2330810" y="736688"/>
                  </a:cubicBezTo>
                  <a:close/>
                  <a:moveTo>
                    <a:pt x="2125639" y="731074"/>
                  </a:moveTo>
                  <a:cubicBezTo>
                    <a:pt x="2134061" y="731308"/>
                    <a:pt x="2140144" y="734583"/>
                    <a:pt x="2142951" y="739262"/>
                  </a:cubicBezTo>
                  <a:cubicBezTo>
                    <a:pt x="2154181" y="757978"/>
                    <a:pt x="2113006" y="787923"/>
                    <a:pt x="2084933" y="780437"/>
                  </a:cubicBezTo>
                  <a:cubicBezTo>
                    <a:pt x="2068088" y="774822"/>
                    <a:pt x="2068088" y="756107"/>
                    <a:pt x="2094291" y="741133"/>
                  </a:cubicBezTo>
                  <a:cubicBezTo>
                    <a:pt x="2106456" y="733647"/>
                    <a:pt x="2117217" y="730840"/>
                    <a:pt x="2125639" y="731074"/>
                  </a:cubicBezTo>
                  <a:close/>
                  <a:moveTo>
                    <a:pt x="1613267" y="714908"/>
                  </a:moveTo>
                  <a:cubicBezTo>
                    <a:pt x="1617624" y="714703"/>
                    <a:pt x="1620782" y="715405"/>
                    <a:pt x="1622654" y="716809"/>
                  </a:cubicBezTo>
                  <a:cubicBezTo>
                    <a:pt x="1639498" y="733653"/>
                    <a:pt x="1551534" y="802902"/>
                    <a:pt x="1514102" y="801031"/>
                  </a:cubicBezTo>
                  <a:cubicBezTo>
                    <a:pt x="1497258" y="801031"/>
                    <a:pt x="1504744" y="782315"/>
                    <a:pt x="1529075" y="759855"/>
                  </a:cubicBezTo>
                  <a:cubicBezTo>
                    <a:pt x="1534690" y="754240"/>
                    <a:pt x="1540304" y="750497"/>
                    <a:pt x="1544048" y="746754"/>
                  </a:cubicBezTo>
                  <a:cubicBezTo>
                    <a:pt x="1576333" y="724295"/>
                    <a:pt x="1600195" y="715522"/>
                    <a:pt x="1613267" y="714908"/>
                  </a:cubicBezTo>
                  <a:close/>
                  <a:moveTo>
                    <a:pt x="2674010" y="709783"/>
                  </a:moveTo>
                  <a:cubicBezTo>
                    <a:pt x="2677753" y="711186"/>
                    <a:pt x="2680093" y="713994"/>
                    <a:pt x="2680093" y="716801"/>
                  </a:cubicBezTo>
                  <a:cubicBezTo>
                    <a:pt x="2683836" y="728031"/>
                    <a:pt x="2665120" y="737389"/>
                    <a:pt x="2653891" y="731774"/>
                  </a:cubicBezTo>
                  <a:cubicBezTo>
                    <a:pt x="2644533" y="728031"/>
                    <a:pt x="2646404" y="716801"/>
                    <a:pt x="2659505" y="711187"/>
                  </a:cubicBezTo>
                  <a:cubicBezTo>
                    <a:pt x="2665120" y="708379"/>
                    <a:pt x="2670267" y="708379"/>
                    <a:pt x="2674010" y="709783"/>
                  </a:cubicBezTo>
                  <a:close/>
                  <a:moveTo>
                    <a:pt x="1856834" y="694113"/>
                  </a:moveTo>
                  <a:cubicBezTo>
                    <a:pt x="1867830" y="692475"/>
                    <a:pt x="1875316" y="694347"/>
                    <a:pt x="1879059" y="698090"/>
                  </a:cubicBezTo>
                  <a:cubicBezTo>
                    <a:pt x="1894032" y="718677"/>
                    <a:pt x="1830398" y="765468"/>
                    <a:pt x="1796710" y="759853"/>
                  </a:cubicBezTo>
                  <a:cubicBezTo>
                    <a:pt x="1776122" y="756109"/>
                    <a:pt x="1783609" y="735521"/>
                    <a:pt x="1809811" y="714934"/>
                  </a:cubicBezTo>
                  <a:cubicBezTo>
                    <a:pt x="1811682" y="713063"/>
                    <a:pt x="1813554" y="713063"/>
                    <a:pt x="1813554" y="711191"/>
                  </a:cubicBezTo>
                  <a:cubicBezTo>
                    <a:pt x="1831334" y="700897"/>
                    <a:pt x="1845839" y="695750"/>
                    <a:pt x="1856834" y="694113"/>
                  </a:cubicBezTo>
                  <a:close/>
                  <a:moveTo>
                    <a:pt x="1565658" y="690958"/>
                  </a:moveTo>
                  <a:cubicBezTo>
                    <a:pt x="1569781" y="690490"/>
                    <a:pt x="1572589" y="691075"/>
                    <a:pt x="1573992" y="692479"/>
                  </a:cubicBezTo>
                  <a:cubicBezTo>
                    <a:pt x="1587093" y="707452"/>
                    <a:pt x="1486028" y="784187"/>
                    <a:pt x="1457955" y="782316"/>
                  </a:cubicBezTo>
                  <a:cubicBezTo>
                    <a:pt x="1444854" y="780444"/>
                    <a:pt x="1456083" y="763600"/>
                    <a:pt x="1484157" y="739270"/>
                  </a:cubicBezTo>
                  <a:cubicBezTo>
                    <a:pt x="1487900" y="735525"/>
                    <a:pt x="1491643" y="733654"/>
                    <a:pt x="1495386" y="729911"/>
                  </a:cubicBezTo>
                  <a:cubicBezTo>
                    <a:pt x="1529075" y="703241"/>
                    <a:pt x="1553288" y="692362"/>
                    <a:pt x="1565658" y="690958"/>
                  </a:cubicBezTo>
                  <a:close/>
                  <a:moveTo>
                    <a:pt x="1457955" y="684996"/>
                  </a:moveTo>
                  <a:cubicBezTo>
                    <a:pt x="1452340" y="692483"/>
                    <a:pt x="1351275" y="769219"/>
                    <a:pt x="1343789" y="771090"/>
                  </a:cubicBezTo>
                  <a:cubicBezTo>
                    <a:pt x="1343789" y="771090"/>
                    <a:pt x="1345661" y="767347"/>
                    <a:pt x="1390578" y="731786"/>
                  </a:cubicBezTo>
                  <a:cubicBezTo>
                    <a:pt x="1428010" y="705584"/>
                    <a:pt x="1454212" y="686869"/>
                    <a:pt x="1457955" y="684996"/>
                  </a:cubicBezTo>
                  <a:close/>
                  <a:moveTo>
                    <a:pt x="1529075" y="677508"/>
                  </a:moveTo>
                  <a:cubicBezTo>
                    <a:pt x="1540305" y="686865"/>
                    <a:pt x="1435497" y="767344"/>
                    <a:pt x="1409295" y="769217"/>
                  </a:cubicBezTo>
                  <a:cubicBezTo>
                    <a:pt x="1405551" y="769217"/>
                    <a:pt x="1401808" y="767344"/>
                    <a:pt x="1411166" y="757986"/>
                  </a:cubicBezTo>
                  <a:cubicBezTo>
                    <a:pt x="1422396" y="744885"/>
                    <a:pt x="1444855" y="726169"/>
                    <a:pt x="1452341" y="720554"/>
                  </a:cubicBezTo>
                  <a:cubicBezTo>
                    <a:pt x="1499130" y="684994"/>
                    <a:pt x="1525332" y="673764"/>
                    <a:pt x="1529075" y="677508"/>
                  </a:cubicBezTo>
                  <a:close/>
                  <a:moveTo>
                    <a:pt x="1489772" y="675637"/>
                  </a:moveTo>
                  <a:cubicBezTo>
                    <a:pt x="1489772" y="690610"/>
                    <a:pt x="1379349" y="767346"/>
                    <a:pt x="1369991" y="765475"/>
                  </a:cubicBezTo>
                  <a:cubicBezTo>
                    <a:pt x="1369991" y="761731"/>
                    <a:pt x="1384964" y="746759"/>
                    <a:pt x="1416780" y="722427"/>
                  </a:cubicBezTo>
                  <a:cubicBezTo>
                    <a:pt x="1456083" y="694353"/>
                    <a:pt x="1484157" y="675637"/>
                    <a:pt x="1489772" y="675637"/>
                  </a:cubicBezTo>
                  <a:close/>
                  <a:moveTo>
                    <a:pt x="2476325" y="669310"/>
                  </a:moveTo>
                  <a:cubicBezTo>
                    <a:pt x="2481706" y="670480"/>
                    <a:pt x="2485449" y="673756"/>
                    <a:pt x="2487321" y="677499"/>
                  </a:cubicBezTo>
                  <a:cubicBezTo>
                    <a:pt x="2492936" y="692472"/>
                    <a:pt x="2466734" y="709316"/>
                    <a:pt x="2448018" y="701830"/>
                  </a:cubicBezTo>
                  <a:cubicBezTo>
                    <a:pt x="2434917" y="696215"/>
                    <a:pt x="2436788" y="681242"/>
                    <a:pt x="2455504" y="673756"/>
                  </a:cubicBezTo>
                  <a:cubicBezTo>
                    <a:pt x="2463926" y="669076"/>
                    <a:pt x="2470944" y="668141"/>
                    <a:pt x="2476325" y="669310"/>
                  </a:cubicBezTo>
                  <a:close/>
                  <a:moveTo>
                    <a:pt x="2809231" y="662525"/>
                  </a:moveTo>
                  <a:cubicBezTo>
                    <a:pt x="2818589" y="660653"/>
                    <a:pt x="2824204" y="664396"/>
                    <a:pt x="2824204" y="668140"/>
                  </a:cubicBezTo>
                  <a:cubicBezTo>
                    <a:pt x="2826075" y="675626"/>
                    <a:pt x="2812974" y="683112"/>
                    <a:pt x="2803616" y="677497"/>
                  </a:cubicBezTo>
                  <a:cubicBezTo>
                    <a:pt x="2798001" y="673754"/>
                    <a:pt x="2798001" y="666268"/>
                    <a:pt x="2809231" y="662525"/>
                  </a:cubicBezTo>
                  <a:close/>
                  <a:moveTo>
                    <a:pt x="2064345" y="661827"/>
                  </a:moveTo>
                  <a:cubicBezTo>
                    <a:pt x="2073703" y="661593"/>
                    <a:pt x="2080254" y="664400"/>
                    <a:pt x="2083061" y="668143"/>
                  </a:cubicBezTo>
                  <a:cubicBezTo>
                    <a:pt x="2094290" y="686859"/>
                    <a:pt x="2045630" y="720548"/>
                    <a:pt x="2015684" y="714933"/>
                  </a:cubicBezTo>
                  <a:cubicBezTo>
                    <a:pt x="1996969" y="711189"/>
                    <a:pt x="2000712" y="690602"/>
                    <a:pt x="2025042" y="675629"/>
                  </a:cubicBezTo>
                  <a:cubicBezTo>
                    <a:pt x="2026914" y="675629"/>
                    <a:pt x="2026914" y="673758"/>
                    <a:pt x="2028785" y="673758"/>
                  </a:cubicBezTo>
                  <a:cubicBezTo>
                    <a:pt x="2042822" y="665336"/>
                    <a:pt x="2054987" y="662061"/>
                    <a:pt x="2064345" y="661827"/>
                  </a:cubicBezTo>
                  <a:close/>
                  <a:moveTo>
                    <a:pt x="2271387" y="652701"/>
                  </a:moveTo>
                  <a:cubicBezTo>
                    <a:pt x="2278640" y="653636"/>
                    <a:pt x="2283319" y="656912"/>
                    <a:pt x="2285190" y="660655"/>
                  </a:cubicBezTo>
                  <a:cubicBezTo>
                    <a:pt x="2294548" y="677500"/>
                    <a:pt x="2255245" y="701830"/>
                    <a:pt x="2230915" y="694344"/>
                  </a:cubicBezTo>
                  <a:cubicBezTo>
                    <a:pt x="2215942" y="688729"/>
                    <a:pt x="2217814" y="671885"/>
                    <a:pt x="2242144" y="658784"/>
                  </a:cubicBezTo>
                  <a:cubicBezTo>
                    <a:pt x="2254309" y="653169"/>
                    <a:pt x="2264135" y="651765"/>
                    <a:pt x="2271387" y="652701"/>
                  </a:cubicBezTo>
                  <a:close/>
                  <a:moveTo>
                    <a:pt x="1800921" y="647559"/>
                  </a:moveTo>
                  <a:cubicBezTo>
                    <a:pt x="1812619" y="645220"/>
                    <a:pt x="1820105" y="646623"/>
                    <a:pt x="1822912" y="649431"/>
                  </a:cubicBezTo>
                  <a:cubicBezTo>
                    <a:pt x="1837885" y="668146"/>
                    <a:pt x="1759279" y="724294"/>
                    <a:pt x="1727462" y="716807"/>
                  </a:cubicBezTo>
                  <a:cubicBezTo>
                    <a:pt x="1712489" y="713064"/>
                    <a:pt x="1718104" y="694348"/>
                    <a:pt x="1753664" y="668146"/>
                  </a:cubicBezTo>
                  <a:cubicBezTo>
                    <a:pt x="1773316" y="655981"/>
                    <a:pt x="1789224" y="649898"/>
                    <a:pt x="1800921" y="647559"/>
                  </a:cubicBezTo>
                  <a:close/>
                  <a:moveTo>
                    <a:pt x="2962701" y="623222"/>
                  </a:moveTo>
                  <a:cubicBezTo>
                    <a:pt x="2970187" y="621351"/>
                    <a:pt x="2973930" y="625094"/>
                    <a:pt x="2973930" y="626965"/>
                  </a:cubicBezTo>
                  <a:cubicBezTo>
                    <a:pt x="2975801" y="632580"/>
                    <a:pt x="2964572" y="636322"/>
                    <a:pt x="2958957" y="632580"/>
                  </a:cubicBezTo>
                  <a:cubicBezTo>
                    <a:pt x="2955214" y="630708"/>
                    <a:pt x="2957086" y="625094"/>
                    <a:pt x="2962701" y="623222"/>
                  </a:cubicBezTo>
                  <a:close/>
                  <a:moveTo>
                    <a:pt x="1774252" y="612000"/>
                  </a:moveTo>
                  <a:cubicBezTo>
                    <a:pt x="1787353" y="628846"/>
                    <a:pt x="1703132" y="686862"/>
                    <a:pt x="1669443" y="684991"/>
                  </a:cubicBezTo>
                  <a:cubicBezTo>
                    <a:pt x="1654471" y="683119"/>
                    <a:pt x="1661957" y="668147"/>
                    <a:pt x="1686288" y="649431"/>
                  </a:cubicBezTo>
                  <a:cubicBezTo>
                    <a:pt x="1691902" y="645688"/>
                    <a:pt x="1697517" y="640073"/>
                    <a:pt x="1701260" y="638201"/>
                  </a:cubicBezTo>
                  <a:cubicBezTo>
                    <a:pt x="1744306" y="610129"/>
                    <a:pt x="1768637" y="606386"/>
                    <a:pt x="1774252" y="612000"/>
                  </a:cubicBezTo>
                  <a:close/>
                  <a:moveTo>
                    <a:pt x="2625115" y="610590"/>
                  </a:moveTo>
                  <a:cubicBezTo>
                    <a:pt x="2629560" y="611994"/>
                    <a:pt x="2632368" y="614801"/>
                    <a:pt x="2633303" y="617608"/>
                  </a:cubicBezTo>
                  <a:cubicBezTo>
                    <a:pt x="2637047" y="630709"/>
                    <a:pt x="2614587" y="641939"/>
                    <a:pt x="2599615" y="636324"/>
                  </a:cubicBezTo>
                  <a:cubicBezTo>
                    <a:pt x="2588385" y="630709"/>
                    <a:pt x="2590257" y="619480"/>
                    <a:pt x="2607101" y="611994"/>
                  </a:cubicBezTo>
                  <a:cubicBezTo>
                    <a:pt x="2614588" y="609186"/>
                    <a:pt x="2620670" y="609186"/>
                    <a:pt x="2625115" y="610590"/>
                  </a:cubicBezTo>
                  <a:close/>
                  <a:moveTo>
                    <a:pt x="2009368" y="601470"/>
                  </a:moveTo>
                  <a:cubicBezTo>
                    <a:pt x="2019428" y="600300"/>
                    <a:pt x="2025978" y="602640"/>
                    <a:pt x="2028785" y="606383"/>
                  </a:cubicBezTo>
                  <a:cubicBezTo>
                    <a:pt x="2040015" y="625098"/>
                    <a:pt x="1980125" y="664401"/>
                    <a:pt x="1950179" y="658786"/>
                  </a:cubicBezTo>
                  <a:cubicBezTo>
                    <a:pt x="1933335" y="655043"/>
                    <a:pt x="1940821" y="636327"/>
                    <a:pt x="1965152" y="619484"/>
                  </a:cubicBezTo>
                  <a:cubicBezTo>
                    <a:pt x="1967024" y="619484"/>
                    <a:pt x="1968895" y="617613"/>
                    <a:pt x="1968895" y="617613"/>
                  </a:cubicBezTo>
                  <a:cubicBezTo>
                    <a:pt x="1985739" y="607319"/>
                    <a:pt x="1999308" y="602639"/>
                    <a:pt x="2009368" y="601470"/>
                  </a:cubicBezTo>
                  <a:close/>
                  <a:moveTo>
                    <a:pt x="3118041" y="593276"/>
                  </a:moveTo>
                  <a:lnTo>
                    <a:pt x="3123655" y="595148"/>
                  </a:lnTo>
                  <a:lnTo>
                    <a:pt x="3119912" y="598891"/>
                  </a:lnTo>
                  <a:lnTo>
                    <a:pt x="3116169" y="597019"/>
                  </a:lnTo>
                  <a:close/>
                  <a:moveTo>
                    <a:pt x="2423921" y="583219"/>
                  </a:moveTo>
                  <a:cubicBezTo>
                    <a:pt x="2430238" y="584389"/>
                    <a:pt x="2433981" y="587664"/>
                    <a:pt x="2434916" y="591407"/>
                  </a:cubicBezTo>
                  <a:cubicBezTo>
                    <a:pt x="2442402" y="606381"/>
                    <a:pt x="2404971" y="626968"/>
                    <a:pt x="2386255" y="617611"/>
                  </a:cubicBezTo>
                  <a:cubicBezTo>
                    <a:pt x="2373154" y="611995"/>
                    <a:pt x="2376897" y="597023"/>
                    <a:pt x="2397485" y="587664"/>
                  </a:cubicBezTo>
                  <a:cubicBezTo>
                    <a:pt x="2408715" y="582985"/>
                    <a:pt x="2417605" y="582049"/>
                    <a:pt x="2423921" y="583219"/>
                  </a:cubicBezTo>
                  <a:close/>
                  <a:moveTo>
                    <a:pt x="1722402" y="583078"/>
                  </a:moveTo>
                  <a:cubicBezTo>
                    <a:pt x="1726058" y="582639"/>
                    <a:pt x="1728397" y="582990"/>
                    <a:pt x="1729333" y="583925"/>
                  </a:cubicBezTo>
                  <a:cubicBezTo>
                    <a:pt x="1740562" y="597028"/>
                    <a:pt x="1643241" y="662534"/>
                    <a:pt x="1617038" y="658791"/>
                  </a:cubicBezTo>
                  <a:cubicBezTo>
                    <a:pt x="1605809" y="656920"/>
                    <a:pt x="1618910" y="641947"/>
                    <a:pt x="1645112" y="621361"/>
                  </a:cubicBezTo>
                  <a:cubicBezTo>
                    <a:pt x="1648855" y="619489"/>
                    <a:pt x="1652598" y="615746"/>
                    <a:pt x="1656341" y="613875"/>
                  </a:cubicBezTo>
                  <a:cubicBezTo>
                    <a:pt x="1688626" y="592817"/>
                    <a:pt x="1711436" y="584394"/>
                    <a:pt x="1722402" y="583078"/>
                  </a:cubicBezTo>
                  <a:close/>
                  <a:moveTo>
                    <a:pt x="2217580" y="580178"/>
                  </a:moveTo>
                  <a:cubicBezTo>
                    <a:pt x="2225769" y="580646"/>
                    <a:pt x="2230916" y="583921"/>
                    <a:pt x="2232787" y="587664"/>
                  </a:cubicBezTo>
                  <a:cubicBezTo>
                    <a:pt x="2242145" y="606382"/>
                    <a:pt x="2191612" y="636326"/>
                    <a:pt x="2167282" y="625097"/>
                  </a:cubicBezTo>
                  <a:cubicBezTo>
                    <a:pt x="2156052" y="619483"/>
                    <a:pt x="2156052" y="604510"/>
                    <a:pt x="2184126" y="589536"/>
                  </a:cubicBezTo>
                  <a:cubicBezTo>
                    <a:pt x="2198162" y="582049"/>
                    <a:pt x="2209392" y="579710"/>
                    <a:pt x="2217580" y="580178"/>
                  </a:cubicBezTo>
                  <a:close/>
                  <a:moveTo>
                    <a:pt x="1622654" y="570829"/>
                  </a:moveTo>
                  <a:cubicBezTo>
                    <a:pt x="1617039" y="576444"/>
                    <a:pt x="1525332" y="638208"/>
                    <a:pt x="1512231" y="645693"/>
                  </a:cubicBezTo>
                  <a:cubicBezTo>
                    <a:pt x="1514103" y="643823"/>
                    <a:pt x="1514103" y="641951"/>
                    <a:pt x="1551534" y="617621"/>
                  </a:cubicBezTo>
                  <a:lnTo>
                    <a:pt x="1577736" y="598904"/>
                  </a:lnTo>
                  <a:cubicBezTo>
                    <a:pt x="1594580" y="589545"/>
                    <a:pt x="1618911" y="572701"/>
                    <a:pt x="1622654" y="570829"/>
                  </a:cubicBezTo>
                  <a:close/>
                  <a:moveTo>
                    <a:pt x="1682573" y="568692"/>
                  </a:moveTo>
                  <a:cubicBezTo>
                    <a:pt x="1685819" y="567903"/>
                    <a:pt x="1687691" y="568020"/>
                    <a:pt x="1688159" y="568955"/>
                  </a:cubicBezTo>
                  <a:cubicBezTo>
                    <a:pt x="1697517" y="578312"/>
                    <a:pt x="1598323" y="645691"/>
                    <a:pt x="1573993" y="645691"/>
                  </a:cubicBezTo>
                  <a:cubicBezTo>
                    <a:pt x="1570250" y="645691"/>
                    <a:pt x="1568378" y="643819"/>
                    <a:pt x="1577736" y="634461"/>
                  </a:cubicBezTo>
                  <a:cubicBezTo>
                    <a:pt x="1588965" y="623233"/>
                    <a:pt x="1609553" y="608260"/>
                    <a:pt x="1617039" y="602645"/>
                  </a:cubicBezTo>
                  <a:cubicBezTo>
                    <a:pt x="1650728" y="581587"/>
                    <a:pt x="1672835" y="571061"/>
                    <a:pt x="1682573" y="568692"/>
                  </a:cubicBezTo>
                  <a:close/>
                  <a:moveTo>
                    <a:pt x="1652599" y="563343"/>
                  </a:moveTo>
                  <a:cubicBezTo>
                    <a:pt x="1650727" y="576442"/>
                    <a:pt x="1544048" y="641950"/>
                    <a:pt x="1538433" y="640078"/>
                  </a:cubicBezTo>
                  <a:cubicBezTo>
                    <a:pt x="1538433" y="636334"/>
                    <a:pt x="1555277" y="623234"/>
                    <a:pt x="1585222" y="602647"/>
                  </a:cubicBezTo>
                  <a:cubicBezTo>
                    <a:pt x="1620782" y="578314"/>
                    <a:pt x="1648856" y="563343"/>
                    <a:pt x="1652599" y="563343"/>
                  </a:cubicBezTo>
                  <a:close/>
                  <a:moveTo>
                    <a:pt x="2779988" y="560760"/>
                  </a:moveTo>
                  <a:cubicBezTo>
                    <a:pt x="2783497" y="561929"/>
                    <a:pt x="2785837" y="564269"/>
                    <a:pt x="2786772" y="567076"/>
                  </a:cubicBezTo>
                  <a:cubicBezTo>
                    <a:pt x="2788644" y="576433"/>
                    <a:pt x="2769928" y="585791"/>
                    <a:pt x="2758699" y="580176"/>
                  </a:cubicBezTo>
                  <a:cubicBezTo>
                    <a:pt x="2751212" y="576433"/>
                    <a:pt x="2753084" y="567076"/>
                    <a:pt x="2766185" y="561462"/>
                  </a:cubicBezTo>
                  <a:cubicBezTo>
                    <a:pt x="2771800" y="559590"/>
                    <a:pt x="2776479" y="559590"/>
                    <a:pt x="2779988" y="560760"/>
                  </a:cubicBezTo>
                  <a:close/>
                  <a:moveTo>
                    <a:pt x="1959069" y="551876"/>
                  </a:moveTo>
                  <a:cubicBezTo>
                    <a:pt x="1969830" y="550239"/>
                    <a:pt x="1976381" y="552110"/>
                    <a:pt x="1978253" y="555852"/>
                  </a:cubicBezTo>
                  <a:cubicBezTo>
                    <a:pt x="1989482" y="574567"/>
                    <a:pt x="1916491" y="619485"/>
                    <a:pt x="1886546" y="612000"/>
                  </a:cubicBezTo>
                  <a:cubicBezTo>
                    <a:pt x="1873445" y="608256"/>
                    <a:pt x="1879059" y="591411"/>
                    <a:pt x="1914619" y="568952"/>
                  </a:cubicBezTo>
                  <a:cubicBezTo>
                    <a:pt x="1933335" y="558660"/>
                    <a:pt x="1948308" y="553513"/>
                    <a:pt x="1959069" y="551876"/>
                  </a:cubicBezTo>
                  <a:close/>
                  <a:moveTo>
                    <a:pt x="2580665" y="521925"/>
                  </a:moveTo>
                  <a:cubicBezTo>
                    <a:pt x="2586046" y="523095"/>
                    <a:pt x="2589321" y="525904"/>
                    <a:pt x="2590257" y="529647"/>
                  </a:cubicBezTo>
                  <a:cubicBezTo>
                    <a:pt x="2594000" y="542748"/>
                    <a:pt x="2562183" y="557720"/>
                    <a:pt x="2545339" y="550233"/>
                  </a:cubicBezTo>
                  <a:cubicBezTo>
                    <a:pt x="2535981" y="544620"/>
                    <a:pt x="2537853" y="533390"/>
                    <a:pt x="2558440" y="524030"/>
                  </a:cubicBezTo>
                  <a:cubicBezTo>
                    <a:pt x="2567798" y="521223"/>
                    <a:pt x="2575284" y="520755"/>
                    <a:pt x="2580665" y="521925"/>
                  </a:cubicBezTo>
                  <a:close/>
                  <a:moveTo>
                    <a:pt x="2927140" y="518414"/>
                  </a:moveTo>
                  <a:cubicBezTo>
                    <a:pt x="2938369" y="516542"/>
                    <a:pt x="2942112" y="520285"/>
                    <a:pt x="2942112" y="524029"/>
                  </a:cubicBezTo>
                  <a:cubicBezTo>
                    <a:pt x="2943984" y="531517"/>
                    <a:pt x="2927140" y="537132"/>
                    <a:pt x="2919654" y="531517"/>
                  </a:cubicBezTo>
                  <a:cubicBezTo>
                    <a:pt x="2915911" y="527773"/>
                    <a:pt x="2915911" y="522157"/>
                    <a:pt x="2927140" y="518414"/>
                  </a:cubicBezTo>
                  <a:close/>
                  <a:moveTo>
                    <a:pt x="2167516" y="517716"/>
                  </a:moveTo>
                  <a:cubicBezTo>
                    <a:pt x="2176640" y="517482"/>
                    <a:pt x="2182255" y="520289"/>
                    <a:pt x="2184126" y="524032"/>
                  </a:cubicBezTo>
                  <a:cubicBezTo>
                    <a:pt x="2193484" y="540879"/>
                    <a:pt x="2135465" y="574566"/>
                    <a:pt x="2109263" y="567079"/>
                  </a:cubicBezTo>
                  <a:cubicBezTo>
                    <a:pt x="2094291" y="563337"/>
                    <a:pt x="2099905" y="546494"/>
                    <a:pt x="2129851" y="529650"/>
                  </a:cubicBezTo>
                  <a:cubicBezTo>
                    <a:pt x="2145759" y="521225"/>
                    <a:pt x="2158392" y="517950"/>
                    <a:pt x="2167516" y="517716"/>
                  </a:cubicBezTo>
                  <a:close/>
                  <a:moveTo>
                    <a:pt x="1926814" y="512074"/>
                  </a:moveTo>
                  <a:cubicBezTo>
                    <a:pt x="1930177" y="512337"/>
                    <a:pt x="1932399" y="513273"/>
                    <a:pt x="1933335" y="514676"/>
                  </a:cubicBezTo>
                  <a:cubicBezTo>
                    <a:pt x="1942693" y="529653"/>
                    <a:pt x="1862215" y="578311"/>
                    <a:pt x="1836013" y="574568"/>
                  </a:cubicBezTo>
                  <a:cubicBezTo>
                    <a:pt x="1822912" y="572696"/>
                    <a:pt x="1830398" y="559597"/>
                    <a:pt x="1854729" y="542754"/>
                  </a:cubicBezTo>
                  <a:cubicBezTo>
                    <a:pt x="1860343" y="539012"/>
                    <a:pt x="1864087" y="535269"/>
                    <a:pt x="1869701" y="533397"/>
                  </a:cubicBezTo>
                  <a:cubicBezTo>
                    <a:pt x="1896371" y="516548"/>
                    <a:pt x="1916725" y="511285"/>
                    <a:pt x="1926814" y="512074"/>
                  </a:cubicBezTo>
                  <a:close/>
                  <a:moveTo>
                    <a:pt x="2375728" y="507420"/>
                  </a:moveTo>
                  <a:cubicBezTo>
                    <a:pt x="2382980" y="508122"/>
                    <a:pt x="2387191" y="510930"/>
                    <a:pt x="2388127" y="514673"/>
                  </a:cubicBezTo>
                  <a:cubicBezTo>
                    <a:pt x="2395614" y="531520"/>
                    <a:pt x="2348824" y="553978"/>
                    <a:pt x="2328237" y="544621"/>
                  </a:cubicBezTo>
                  <a:cubicBezTo>
                    <a:pt x="2317008" y="539006"/>
                    <a:pt x="2320751" y="525904"/>
                    <a:pt x="2345081" y="512801"/>
                  </a:cubicBezTo>
                  <a:cubicBezTo>
                    <a:pt x="2358182" y="508122"/>
                    <a:pt x="2368476" y="506718"/>
                    <a:pt x="2375728" y="507420"/>
                  </a:cubicBezTo>
                  <a:close/>
                  <a:moveTo>
                    <a:pt x="3093710" y="486598"/>
                  </a:moveTo>
                  <a:cubicBezTo>
                    <a:pt x="3097454" y="486598"/>
                    <a:pt x="3101197" y="488470"/>
                    <a:pt x="3101197" y="490341"/>
                  </a:cubicBezTo>
                  <a:cubicBezTo>
                    <a:pt x="3101197" y="494084"/>
                    <a:pt x="3091839" y="497827"/>
                    <a:pt x="3088096" y="494084"/>
                  </a:cubicBezTo>
                  <a:cubicBezTo>
                    <a:pt x="3086224" y="492213"/>
                    <a:pt x="3086224" y="488470"/>
                    <a:pt x="3093710" y="486598"/>
                  </a:cubicBezTo>
                  <a:close/>
                  <a:moveTo>
                    <a:pt x="1892161" y="484733"/>
                  </a:moveTo>
                  <a:cubicBezTo>
                    <a:pt x="1901518" y="497834"/>
                    <a:pt x="1807940" y="552113"/>
                    <a:pt x="1787352" y="548370"/>
                  </a:cubicBezTo>
                  <a:cubicBezTo>
                    <a:pt x="1777994" y="546498"/>
                    <a:pt x="1789224" y="531527"/>
                    <a:pt x="1815426" y="516550"/>
                  </a:cubicBezTo>
                  <a:cubicBezTo>
                    <a:pt x="1819169" y="514679"/>
                    <a:pt x="1822912" y="512807"/>
                    <a:pt x="1826656" y="509064"/>
                  </a:cubicBezTo>
                  <a:cubicBezTo>
                    <a:pt x="1865959" y="484733"/>
                    <a:pt x="1888417" y="480990"/>
                    <a:pt x="1892161" y="484733"/>
                  </a:cubicBezTo>
                  <a:close/>
                  <a:moveTo>
                    <a:pt x="2742557" y="469989"/>
                  </a:moveTo>
                  <a:cubicBezTo>
                    <a:pt x="2747002" y="471158"/>
                    <a:pt x="2749341" y="473497"/>
                    <a:pt x="2749341" y="475369"/>
                  </a:cubicBezTo>
                  <a:cubicBezTo>
                    <a:pt x="2751213" y="486599"/>
                    <a:pt x="2725011" y="497828"/>
                    <a:pt x="2711910" y="490342"/>
                  </a:cubicBezTo>
                  <a:cubicBezTo>
                    <a:pt x="2704424" y="486599"/>
                    <a:pt x="2706295" y="477241"/>
                    <a:pt x="2723139" y="471626"/>
                  </a:cubicBezTo>
                  <a:cubicBezTo>
                    <a:pt x="2731561" y="468819"/>
                    <a:pt x="2738112" y="468819"/>
                    <a:pt x="2742557" y="469989"/>
                  </a:cubicBezTo>
                  <a:close/>
                  <a:moveTo>
                    <a:pt x="1849495" y="467276"/>
                  </a:moveTo>
                  <a:cubicBezTo>
                    <a:pt x="1852507" y="466720"/>
                    <a:pt x="1854261" y="466954"/>
                    <a:pt x="1854729" y="467890"/>
                  </a:cubicBezTo>
                  <a:cubicBezTo>
                    <a:pt x="1860344" y="477248"/>
                    <a:pt x="1759279" y="537144"/>
                    <a:pt x="1746178" y="531529"/>
                  </a:cubicBezTo>
                  <a:cubicBezTo>
                    <a:pt x="1740563" y="529656"/>
                    <a:pt x="1753664" y="518423"/>
                    <a:pt x="1789224" y="495964"/>
                  </a:cubicBezTo>
                  <a:cubicBezTo>
                    <a:pt x="1820105" y="477716"/>
                    <a:pt x="1840459" y="468943"/>
                    <a:pt x="1849495" y="467276"/>
                  </a:cubicBezTo>
                  <a:close/>
                  <a:moveTo>
                    <a:pt x="1794838" y="466020"/>
                  </a:moveTo>
                  <a:cubicBezTo>
                    <a:pt x="1789223" y="471635"/>
                    <a:pt x="1699388" y="524039"/>
                    <a:pt x="1690030" y="527787"/>
                  </a:cubicBezTo>
                  <a:cubicBezTo>
                    <a:pt x="1690030" y="527787"/>
                    <a:pt x="1690030" y="527787"/>
                    <a:pt x="1703131" y="518424"/>
                  </a:cubicBezTo>
                  <a:lnTo>
                    <a:pt x="1779866" y="473506"/>
                  </a:lnTo>
                  <a:cubicBezTo>
                    <a:pt x="1785480" y="471635"/>
                    <a:pt x="1789223" y="467892"/>
                    <a:pt x="1794838" y="466020"/>
                  </a:cubicBezTo>
                  <a:close/>
                  <a:moveTo>
                    <a:pt x="2121662" y="466015"/>
                  </a:moveTo>
                  <a:cubicBezTo>
                    <a:pt x="2131254" y="465079"/>
                    <a:pt x="2137336" y="466951"/>
                    <a:pt x="2139208" y="469758"/>
                  </a:cubicBezTo>
                  <a:cubicBezTo>
                    <a:pt x="2146694" y="486602"/>
                    <a:pt x="2077446" y="524033"/>
                    <a:pt x="2054987" y="514675"/>
                  </a:cubicBezTo>
                  <a:cubicBezTo>
                    <a:pt x="2043758" y="510932"/>
                    <a:pt x="2051244" y="495960"/>
                    <a:pt x="2083061" y="479115"/>
                  </a:cubicBezTo>
                  <a:cubicBezTo>
                    <a:pt x="2098969" y="470693"/>
                    <a:pt x="2112070" y="466950"/>
                    <a:pt x="2121662" y="466015"/>
                  </a:cubicBezTo>
                  <a:close/>
                  <a:moveTo>
                    <a:pt x="3256537" y="466010"/>
                  </a:moveTo>
                  <a:lnTo>
                    <a:pt x="3258409" y="466010"/>
                  </a:lnTo>
                  <a:lnTo>
                    <a:pt x="3256537" y="467882"/>
                  </a:lnTo>
                  <a:lnTo>
                    <a:pt x="3254666" y="467882"/>
                  </a:lnTo>
                  <a:close/>
                  <a:moveTo>
                    <a:pt x="1821040" y="460405"/>
                  </a:moveTo>
                  <a:cubicBezTo>
                    <a:pt x="1817297" y="473506"/>
                    <a:pt x="1718104" y="525914"/>
                    <a:pt x="1712489" y="524038"/>
                  </a:cubicBezTo>
                  <a:cubicBezTo>
                    <a:pt x="1714361" y="520295"/>
                    <a:pt x="1729333" y="509066"/>
                    <a:pt x="1757407" y="492222"/>
                  </a:cubicBezTo>
                  <a:cubicBezTo>
                    <a:pt x="1792967" y="471634"/>
                    <a:pt x="1819169" y="460405"/>
                    <a:pt x="1821040" y="460405"/>
                  </a:cubicBezTo>
                  <a:close/>
                  <a:moveTo>
                    <a:pt x="2539491" y="443788"/>
                  </a:moveTo>
                  <a:cubicBezTo>
                    <a:pt x="2545808" y="444958"/>
                    <a:pt x="2549083" y="447297"/>
                    <a:pt x="2549083" y="449169"/>
                  </a:cubicBezTo>
                  <a:cubicBezTo>
                    <a:pt x="2552826" y="464141"/>
                    <a:pt x="2511651" y="480985"/>
                    <a:pt x="2494807" y="471627"/>
                  </a:cubicBezTo>
                  <a:cubicBezTo>
                    <a:pt x="2487321" y="467884"/>
                    <a:pt x="2489192" y="454783"/>
                    <a:pt x="2511651" y="445425"/>
                  </a:cubicBezTo>
                  <a:cubicBezTo>
                    <a:pt x="2523817" y="442618"/>
                    <a:pt x="2533174" y="442618"/>
                    <a:pt x="2539491" y="443788"/>
                  </a:cubicBezTo>
                  <a:close/>
                  <a:moveTo>
                    <a:pt x="2330810" y="441215"/>
                  </a:moveTo>
                  <a:cubicBezTo>
                    <a:pt x="2338998" y="441215"/>
                    <a:pt x="2344145" y="443555"/>
                    <a:pt x="2345081" y="447298"/>
                  </a:cubicBezTo>
                  <a:cubicBezTo>
                    <a:pt x="2350696" y="462270"/>
                    <a:pt x="2298292" y="488472"/>
                    <a:pt x="2275833" y="480986"/>
                  </a:cubicBezTo>
                  <a:cubicBezTo>
                    <a:pt x="2262732" y="477243"/>
                    <a:pt x="2270218" y="462270"/>
                    <a:pt x="2298292" y="449169"/>
                  </a:cubicBezTo>
                  <a:cubicBezTo>
                    <a:pt x="2311393" y="443555"/>
                    <a:pt x="2322622" y="441215"/>
                    <a:pt x="2330810" y="441215"/>
                  </a:cubicBezTo>
                  <a:close/>
                  <a:moveTo>
                    <a:pt x="2080019" y="424841"/>
                  </a:moveTo>
                  <a:cubicBezTo>
                    <a:pt x="2090079" y="422970"/>
                    <a:pt x="2096162" y="423906"/>
                    <a:pt x="2098033" y="426713"/>
                  </a:cubicBezTo>
                  <a:cubicBezTo>
                    <a:pt x="2105520" y="441686"/>
                    <a:pt x="2025042" y="482860"/>
                    <a:pt x="2004455" y="475374"/>
                  </a:cubicBezTo>
                  <a:cubicBezTo>
                    <a:pt x="1996968" y="471631"/>
                    <a:pt x="2004455" y="458530"/>
                    <a:pt x="2038143" y="439814"/>
                  </a:cubicBezTo>
                  <a:cubicBezTo>
                    <a:pt x="2055923" y="431392"/>
                    <a:pt x="2069960" y="426713"/>
                    <a:pt x="2080019" y="424841"/>
                  </a:cubicBezTo>
                  <a:close/>
                  <a:moveTo>
                    <a:pt x="2895324" y="424837"/>
                  </a:moveTo>
                  <a:cubicBezTo>
                    <a:pt x="2906554" y="422965"/>
                    <a:pt x="2914040" y="426708"/>
                    <a:pt x="2914040" y="430452"/>
                  </a:cubicBezTo>
                  <a:cubicBezTo>
                    <a:pt x="2915911" y="439809"/>
                    <a:pt x="2893453" y="445424"/>
                    <a:pt x="2884095" y="439809"/>
                  </a:cubicBezTo>
                  <a:cubicBezTo>
                    <a:pt x="2878480" y="436066"/>
                    <a:pt x="2882223" y="428580"/>
                    <a:pt x="2895324" y="424837"/>
                  </a:cubicBezTo>
                  <a:close/>
                  <a:moveTo>
                    <a:pt x="2043992" y="394897"/>
                  </a:moveTo>
                  <a:cubicBezTo>
                    <a:pt x="2054051" y="392558"/>
                    <a:pt x="2059666" y="393026"/>
                    <a:pt x="2060602" y="394897"/>
                  </a:cubicBezTo>
                  <a:cubicBezTo>
                    <a:pt x="2066217" y="406126"/>
                    <a:pt x="1981996" y="451044"/>
                    <a:pt x="1963280" y="445429"/>
                  </a:cubicBezTo>
                  <a:cubicBezTo>
                    <a:pt x="1955794" y="443558"/>
                    <a:pt x="1967023" y="430457"/>
                    <a:pt x="1991354" y="417356"/>
                  </a:cubicBezTo>
                  <a:cubicBezTo>
                    <a:pt x="1995097" y="415484"/>
                    <a:pt x="1998840" y="413613"/>
                    <a:pt x="2000711" y="411741"/>
                  </a:cubicBezTo>
                  <a:cubicBezTo>
                    <a:pt x="2019427" y="402383"/>
                    <a:pt x="2033932" y="397236"/>
                    <a:pt x="2043992" y="394897"/>
                  </a:cubicBezTo>
                  <a:close/>
                  <a:moveTo>
                    <a:pt x="3067509" y="393020"/>
                  </a:moveTo>
                  <a:cubicBezTo>
                    <a:pt x="3074995" y="391149"/>
                    <a:pt x="3078738" y="394892"/>
                    <a:pt x="3078738" y="396763"/>
                  </a:cubicBezTo>
                  <a:cubicBezTo>
                    <a:pt x="3078738" y="402378"/>
                    <a:pt x="3065637" y="406121"/>
                    <a:pt x="3060022" y="402378"/>
                  </a:cubicBezTo>
                  <a:cubicBezTo>
                    <a:pt x="3056279" y="400506"/>
                    <a:pt x="3060022" y="394892"/>
                    <a:pt x="3067509" y="393020"/>
                  </a:cubicBezTo>
                  <a:close/>
                  <a:moveTo>
                    <a:pt x="2291273" y="388812"/>
                  </a:moveTo>
                  <a:cubicBezTo>
                    <a:pt x="2299695" y="388344"/>
                    <a:pt x="2304842" y="390216"/>
                    <a:pt x="2305778" y="393024"/>
                  </a:cubicBezTo>
                  <a:cubicBezTo>
                    <a:pt x="2311393" y="407996"/>
                    <a:pt x="2247759" y="437940"/>
                    <a:pt x="2229043" y="428583"/>
                  </a:cubicBezTo>
                  <a:cubicBezTo>
                    <a:pt x="2219686" y="424840"/>
                    <a:pt x="2227172" y="411739"/>
                    <a:pt x="2257117" y="398638"/>
                  </a:cubicBezTo>
                  <a:cubicBezTo>
                    <a:pt x="2271154" y="392087"/>
                    <a:pt x="2282851" y="389280"/>
                    <a:pt x="2291273" y="388812"/>
                  </a:cubicBezTo>
                  <a:close/>
                  <a:moveTo>
                    <a:pt x="2707932" y="388810"/>
                  </a:moveTo>
                  <a:cubicBezTo>
                    <a:pt x="2712845" y="389746"/>
                    <a:pt x="2715652" y="392086"/>
                    <a:pt x="2715652" y="394893"/>
                  </a:cubicBezTo>
                  <a:cubicBezTo>
                    <a:pt x="2717524" y="406122"/>
                    <a:pt x="2683836" y="419223"/>
                    <a:pt x="2670735" y="411737"/>
                  </a:cubicBezTo>
                  <a:cubicBezTo>
                    <a:pt x="2665120" y="407994"/>
                    <a:pt x="2666991" y="398636"/>
                    <a:pt x="2687579" y="391149"/>
                  </a:cubicBezTo>
                  <a:cubicBezTo>
                    <a:pt x="2696001" y="388342"/>
                    <a:pt x="2703019" y="387874"/>
                    <a:pt x="2707932" y="388810"/>
                  </a:cubicBezTo>
                  <a:close/>
                  <a:moveTo>
                    <a:pt x="2026914" y="376183"/>
                  </a:moveTo>
                  <a:cubicBezTo>
                    <a:pt x="2030657" y="383669"/>
                    <a:pt x="1937078" y="432330"/>
                    <a:pt x="1925849" y="426715"/>
                  </a:cubicBezTo>
                  <a:cubicBezTo>
                    <a:pt x="1922106" y="424844"/>
                    <a:pt x="1933335" y="415486"/>
                    <a:pt x="1967024" y="396770"/>
                  </a:cubicBezTo>
                  <a:cubicBezTo>
                    <a:pt x="2006327" y="378054"/>
                    <a:pt x="2025042" y="372440"/>
                    <a:pt x="2026914" y="376183"/>
                  </a:cubicBezTo>
                  <a:close/>
                  <a:moveTo>
                    <a:pt x="2501358" y="375945"/>
                  </a:moveTo>
                  <a:cubicBezTo>
                    <a:pt x="2508376" y="376646"/>
                    <a:pt x="2512587" y="378986"/>
                    <a:pt x="2513523" y="381793"/>
                  </a:cubicBezTo>
                  <a:cubicBezTo>
                    <a:pt x="2517266" y="396766"/>
                    <a:pt x="2466733" y="417353"/>
                    <a:pt x="2449889" y="406123"/>
                  </a:cubicBezTo>
                  <a:cubicBezTo>
                    <a:pt x="2442403" y="400509"/>
                    <a:pt x="2448018" y="389279"/>
                    <a:pt x="2472348" y="379921"/>
                  </a:cubicBezTo>
                  <a:cubicBezTo>
                    <a:pt x="2484513" y="376178"/>
                    <a:pt x="2494339" y="375243"/>
                    <a:pt x="2501358" y="375945"/>
                  </a:cubicBezTo>
                  <a:close/>
                  <a:moveTo>
                    <a:pt x="1974510" y="370571"/>
                  </a:moveTo>
                  <a:cubicBezTo>
                    <a:pt x="1967024" y="374313"/>
                    <a:pt x="1886546" y="417359"/>
                    <a:pt x="1877188" y="421102"/>
                  </a:cubicBezTo>
                  <a:cubicBezTo>
                    <a:pt x="1877188" y="421102"/>
                    <a:pt x="1879060" y="419231"/>
                    <a:pt x="1879060" y="419231"/>
                  </a:cubicBezTo>
                  <a:lnTo>
                    <a:pt x="1935207" y="391157"/>
                  </a:lnTo>
                  <a:lnTo>
                    <a:pt x="1970767" y="372442"/>
                  </a:lnTo>
                  <a:cubicBezTo>
                    <a:pt x="1972638" y="372442"/>
                    <a:pt x="1972638" y="370571"/>
                    <a:pt x="1974510" y="370571"/>
                  </a:cubicBezTo>
                  <a:close/>
                  <a:moveTo>
                    <a:pt x="3239693" y="368689"/>
                  </a:moveTo>
                  <a:cubicBezTo>
                    <a:pt x="3243436" y="368689"/>
                    <a:pt x="3245308" y="370561"/>
                    <a:pt x="3245308" y="370561"/>
                  </a:cubicBezTo>
                  <a:cubicBezTo>
                    <a:pt x="3245308" y="372432"/>
                    <a:pt x="3237822" y="376175"/>
                    <a:pt x="3235950" y="372432"/>
                  </a:cubicBezTo>
                  <a:cubicBezTo>
                    <a:pt x="3234079" y="370561"/>
                    <a:pt x="3235950" y="368689"/>
                    <a:pt x="3239693" y="368689"/>
                  </a:cubicBezTo>
                  <a:close/>
                  <a:moveTo>
                    <a:pt x="1998840" y="366827"/>
                  </a:moveTo>
                  <a:cubicBezTo>
                    <a:pt x="1993225" y="376184"/>
                    <a:pt x="1909004" y="417358"/>
                    <a:pt x="1897775" y="419230"/>
                  </a:cubicBezTo>
                  <a:cubicBezTo>
                    <a:pt x="1899647" y="415487"/>
                    <a:pt x="1916491" y="406129"/>
                    <a:pt x="1940821" y="393028"/>
                  </a:cubicBezTo>
                  <a:cubicBezTo>
                    <a:pt x="1970766" y="376184"/>
                    <a:pt x="1993225" y="366827"/>
                    <a:pt x="1998840" y="366827"/>
                  </a:cubicBezTo>
                  <a:close/>
                  <a:moveTo>
                    <a:pt x="2254076" y="345065"/>
                  </a:moveTo>
                  <a:cubicBezTo>
                    <a:pt x="2262732" y="343896"/>
                    <a:pt x="2267411" y="345299"/>
                    <a:pt x="2268347" y="348107"/>
                  </a:cubicBezTo>
                  <a:cubicBezTo>
                    <a:pt x="2273961" y="361208"/>
                    <a:pt x="2199098" y="394896"/>
                    <a:pt x="2184126" y="385538"/>
                  </a:cubicBezTo>
                  <a:cubicBezTo>
                    <a:pt x="2176639" y="381795"/>
                    <a:pt x="2185997" y="370566"/>
                    <a:pt x="2215943" y="357465"/>
                  </a:cubicBezTo>
                  <a:cubicBezTo>
                    <a:pt x="2232787" y="349978"/>
                    <a:pt x="2245420" y="346235"/>
                    <a:pt x="2254076" y="345065"/>
                  </a:cubicBezTo>
                  <a:close/>
                  <a:moveTo>
                    <a:pt x="2882222" y="343425"/>
                  </a:moveTo>
                  <a:cubicBezTo>
                    <a:pt x="2885966" y="344361"/>
                    <a:pt x="2887837" y="346232"/>
                    <a:pt x="2887837" y="348104"/>
                  </a:cubicBezTo>
                  <a:cubicBezTo>
                    <a:pt x="2889709" y="357461"/>
                    <a:pt x="2859764" y="366819"/>
                    <a:pt x="2850406" y="359333"/>
                  </a:cubicBezTo>
                  <a:cubicBezTo>
                    <a:pt x="2844791" y="355590"/>
                    <a:pt x="2848534" y="348104"/>
                    <a:pt x="2865378" y="344360"/>
                  </a:cubicBezTo>
                  <a:cubicBezTo>
                    <a:pt x="2872865" y="342489"/>
                    <a:pt x="2878479" y="342489"/>
                    <a:pt x="2882222" y="343425"/>
                  </a:cubicBezTo>
                  <a:close/>
                  <a:moveTo>
                    <a:pt x="2466265" y="319330"/>
                  </a:moveTo>
                  <a:cubicBezTo>
                    <a:pt x="2473284" y="319097"/>
                    <a:pt x="2477027" y="320968"/>
                    <a:pt x="2477963" y="323776"/>
                  </a:cubicBezTo>
                  <a:cubicBezTo>
                    <a:pt x="2481706" y="336877"/>
                    <a:pt x="2423687" y="359336"/>
                    <a:pt x="2408714" y="351849"/>
                  </a:cubicBezTo>
                  <a:cubicBezTo>
                    <a:pt x="2401228" y="348106"/>
                    <a:pt x="2408714" y="336877"/>
                    <a:pt x="2434917" y="327519"/>
                  </a:cubicBezTo>
                  <a:cubicBezTo>
                    <a:pt x="2448953" y="321904"/>
                    <a:pt x="2459247" y="319564"/>
                    <a:pt x="2466265" y="319330"/>
                  </a:cubicBezTo>
                  <a:close/>
                  <a:moveTo>
                    <a:pt x="2675882" y="319095"/>
                  </a:moveTo>
                  <a:cubicBezTo>
                    <a:pt x="2681496" y="320031"/>
                    <a:pt x="2684772" y="321903"/>
                    <a:pt x="2685707" y="323775"/>
                  </a:cubicBezTo>
                  <a:cubicBezTo>
                    <a:pt x="2687579" y="335003"/>
                    <a:pt x="2644532" y="349976"/>
                    <a:pt x="2631431" y="340618"/>
                  </a:cubicBezTo>
                  <a:cubicBezTo>
                    <a:pt x="2625817" y="336875"/>
                    <a:pt x="2631431" y="327518"/>
                    <a:pt x="2652019" y="320031"/>
                  </a:cubicBezTo>
                  <a:cubicBezTo>
                    <a:pt x="2662312" y="318159"/>
                    <a:pt x="2670267" y="318159"/>
                    <a:pt x="2675882" y="319095"/>
                  </a:cubicBezTo>
                  <a:close/>
                  <a:moveTo>
                    <a:pt x="2222025" y="313952"/>
                  </a:moveTo>
                  <a:cubicBezTo>
                    <a:pt x="2230915" y="312080"/>
                    <a:pt x="2235594" y="312548"/>
                    <a:pt x="2236530" y="314419"/>
                  </a:cubicBezTo>
                  <a:cubicBezTo>
                    <a:pt x="2240273" y="323777"/>
                    <a:pt x="2161667" y="359337"/>
                    <a:pt x="2146694" y="353722"/>
                  </a:cubicBezTo>
                  <a:cubicBezTo>
                    <a:pt x="2139208" y="351851"/>
                    <a:pt x="2154180" y="340621"/>
                    <a:pt x="2178511" y="329392"/>
                  </a:cubicBezTo>
                  <a:cubicBezTo>
                    <a:pt x="2180382" y="329392"/>
                    <a:pt x="2182254" y="327520"/>
                    <a:pt x="2182254" y="327520"/>
                  </a:cubicBezTo>
                  <a:cubicBezTo>
                    <a:pt x="2200034" y="320034"/>
                    <a:pt x="2213135" y="315823"/>
                    <a:pt x="2222025" y="313952"/>
                  </a:cubicBezTo>
                  <a:close/>
                  <a:moveTo>
                    <a:pt x="3045049" y="308800"/>
                  </a:moveTo>
                  <a:cubicBezTo>
                    <a:pt x="3056278" y="306929"/>
                    <a:pt x="3060022" y="310672"/>
                    <a:pt x="3060022" y="312543"/>
                  </a:cubicBezTo>
                  <a:cubicBezTo>
                    <a:pt x="3060022" y="320030"/>
                    <a:pt x="3039434" y="323773"/>
                    <a:pt x="3033820" y="318158"/>
                  </a:cubicBezTo>
                  <a:cubicBezTo>
                    <a:pt x="3030077" y="316286"/>
                    <a:pt x="3033820" y="310672"/>
                    <a:pt x="3045049" y="308800"/>
                  </a:cubicBezTo>
                  <a:close/>
                  <a:moveTo>
                    <a:pt x="2206584" y="291963"/>
                  </a:moveTo>
                  <a:cubicBezTo>
                    <a:pt x="2208456" y="299449"/>
                    <a:pt x="2122364" y="336879"/>
                    <a:pt x="2114877" y="333136"/>
                  </a:cubicBezTo>
                  <a:cubicBezTo>
                    <a:pt x="2111134" y="331265"/>
                    <a:pt x="2122364" y="323779"/>
                    <a:pt x="2154180" y="308807"/>
                  </a:cubicBezTo>
                  <a:cubicBezTo>
                    <a:pt x="2189740" y="293834"/>
                    <a:pt x="2206584" y="290091"/>
                    <a:pt x="2206584" y="291963"/>
                  </a:cubicBezTo>
                  <a:close/>
                  <a:moveTo>
                    <a:pt x="2182254" y="282606"/>
                  </a:moveTo>
                  <a:cubicBezTo>
                    <a:pt x="2176639" y="290092"/>
                    <a:pt x="2099905" y="321909"/>
                    <a:pt x="2090547" y="323781"/>
                  </a:cubicBezTo>
                  <a:cubicBezTo>
                    <a:pt x="2094290" y="320037"/>
                    <a:pt x="2107391" y="314423"/>
                    <a:pt x="2131722" y="303193"/>
                  </a:cubicBezTo>
                  <a:cubicBezTo>
                    <a:pt x="2157924" y="290092"/>
                    <a:pt x="2176639" y="282606"/>
                    <a:pt x="2182254" y="282606"/>
                  </a:cubicBezTo>
                  <a:close/>
                  <a:moveTo>
                    <a:pt x="3224720" y="282598"/>
                  </a:moveTo>
                  <a:cubicBezTo>
                    <a:pt x="3230335" y="282598"/>
                    <a:pt x="3232206" y="284470"/>
                    <a:pt x="3232206" y="286341"/>
                  </a:cubicBezTo>
                  <a:cubicBezTo>
                    <a:pt x="3232206" y="290084"/>
                    <a:pt x="3220977" y="291956"/>
                    <a:pt x="3217234" y="288213"/>
                  </a:cubicBezTo>
                  <a:cubicBezTo>
                    <a:pt x="3215362" y="286341"/>
                    <a:pt x="3217234" y="284470"/>
                    <a:pt x="3224720" y="282598"/>
                  </a:cubicBezTo>
                  <a:close/>
                  <a:moveTo>
                    <a:pt x="2434916" y="274180"/>
                  </a:moveTo>
                  <a:cubicBezTo>
                    <a:pt x="2442403" y="273712"/>
                    <a:pt x="2446146" y="275116"/>
                    <a:pt x="2446146" y="276987"/>
                  </a:cubicBezTo>
                  <a:cubicBezTo>
                    <a:pt x="2449889" y="288216"/>
                    <a:pt x="2382512" y="312547"/>
                    <a:pt x="2371283" y="305061"/>
                  </a:cubicBezTo>
                  <a:cubicBezTo>
                    <a:pt x="2365668" y="301318"/>
                    <a:pt x="2375026" y="291960"/>
                    <a:pt x="2401228" y="282602"/>
                  </a:cubicBezTo>
                  <a:cubicBezTo>
                    <a:pt x="2416200" y="276987"/>
                    <a:pt x="2427430" y="274648"/>
                    <a:pt x="2434916" y="274180"/>
                  </a:cubicBezTo>
                  <a:close/>
                  <a:moveTo>
                    <a:pt x="2856254" y="272306"/>
                  </a:moveTo>
                  <a:cubicBezTo>
                    <a:pt x="2860231" y="273242"/>
                    <a:pt x="2862571" y="275114"/>
                    <a:pt x="2863507" y="276986"/>
                  </a:cubicBezTo>
                  <a:cubicBezTo>
                    <a:pt x="2865378" y="286343"/>
                    <a:pt x="2829818" y="295701"/>
                    <a:pt x="2820460" y="288215"/>
                  </a:cubicBezTo>
                  <a:cubicBezTo>
                    <a:pt x="2816717" y="284472"/>
                    <a:pt x="2822332" y="276986"/>
                    <a:pt x="2839176" y="273242"/>
                  </a:cubicBezTo>
                  <a:cubicBezTo>
                    <a:pt x="2846663" y="271370"/>
                    <a:pt x="2852277" y="271370"/>
                    <a:pt x="2856254" y="272306"/>
                  </a:cubicBezTo>
                  <a:close/>
                  <a:moveTo>
                    <a:pt x="3402520" y="269497"/>
                  </a:moveTo>
                  <a:lnTo>
                    <a:pt x="3404391" y="271369"/>
                  </a:lnTo>
                  <a:lnTo>
                    <a:pt x="3402520" y="271369"/>
                  </a:lnTo>
                  <a:lnTo>
                    <a:pt x="3400648" y="271369"/>
                  </a:lnTo>
                  <a:close/>
                  <a:moveTo>
                    <a:pt x="2647106" y="260844"/>
                  </a:moveTo>
                  <a:cubicBezTo>
                    <a:pt x="2652955" y="261078"/>
                    <a:pt x="2655762" y="262949"/>
                    <a:pt x="2655762" y="265757"/>
                  </a:cubicBezTo>
                  <a:cubicBezTo>
                    <a:pt x="2657634" y="276986"/>
                    <a:pt x="2608973" y="291959"/>
                    <a:pt x="2595872" y="284472"/>
                  </a:cubicBezTo>
                  <a:cubicBezTo>
                    <a:pt x="2590257" y="280729"/>
                    <a:pt x="2597743" y="271371"/>
                    <a:pt x="2620202" y="265757"/>
                  </a:cubicBezTo>
                  <a:cubicBezTo>
                    <a:pt x="2632367" y="262013"/>
                    <a:pt x="2641257" y="260610"/>
                    <a:pt x="2647106" y="260844"/>
                  </a:cubicBezTo>
                  <a:close/>
                  <a:moveTo>
                    <a:pt x="2406609" y="240960"/>
                  </a:moveTo>
                  <a:cubicBezTo>
                    <a:pt x="2414329" y="240025"/>
                    <a:pt x="2418072" y="240493"/>
                    <a:pt x="2418072" y="241429"/>
                  </a:cubicBezTo>
                  <a:cubicBezTo>
                    <a:pt x="2419944" y="250787"/>
                    <a:pt x="2350696" y="276988"/>
                    <a:pt x="2337595" y="271373"/>
                  </a:cubicBezTo>
                  <a:cubicBezTo>
                    <a:pt x="2331980" y="269502"/>
                    <a:pt x="2343209" y="260144"/>
                    <a:pt x="2371283" y="248915"/>
                  </a:cubicBezTo>
                  <a:cubicBezTo>
                    <a:pt x="2387192" y="244236"/>
                    <a:pt x="2398889" y="241896"/>
                    <a:pt x="2406609" y="240960"/>
                  </a:cubicBezTo>
                  <a:close/>
                  <a:moveTo>
                    <a:pt x="3038967" y="235577"/>
                  </a:moveTo>
                  <a:cubicBezTo>
                    <a:pt x="3041774" y="236279"/>
                    <a:pt x="3043178" y="237682"/>
                    <a:pt x="3043178" y="239554"/>
                  </a:cubicBezTo>
                  <a:cubicBezTo>
                    <a:pt x="3043178" y="247041"/>
                    <a:pt x="3016976" y="252655"/>
                    <a:pt x="3011361" y="245169"/>
                  </a:cubicBezTo>
                  <a:cubicBezTo>
                    <a:pt x="3007618" y="241426"/>
                    <a:pt x="3013233" y="237683"/>
                    <a:pt x="3026334" y="235811"/>
                  </a:cubicBezTo>
                  <a:cubicBezTo>
                    <a:pt x="3031949" y="234875"/>
                    <a:pt x="3036160" y="234875"/>
                    <a:pt x="3038967" y="235577"/>
                  </a:cubicBezTo>
                  <a:close/>
                  <a:moveTo>
                    <a:pt x="2393742" y="218971"/>
                  </a:moveTo>
                  <a:cubicBezTo>
                    <a:pt x="2391871" y="226458"/>
                    <a:pt x="2315136" y="254531"/>
                    <a:pt x="2311393" y="248917"/>
                  </a:cubicBezTo>
                  <a:cubicBezTo>
                    <a:pt x="2311393" y="245174"/>
                    <a:pt x="2326366" y="239559"/>
                    <a:pt x="2346953" y="230201"/>
                  </a:cubicBezTo>
                  <a:cubicBezTo>
                    <a:pt x="2373155" y="220843"/>
                    <a:pt x="2391871" y="215228"/>
                    <a:pt x="2393742" y="218971"/>
                  </a:cubicBezTo>
                  <a:close/>
                  <a:moveTo>
                    <a:pt x="2621138" y="213822"/>
                  </a:moveTo>
                  <a:cubicBezTo>
                    <a:pt x="2627220" y="213822"/>
                    <a:pt x="2630496" y="215226"/>
                    <a:pt x="2631431" y="217097"/>
                  </a:cubicBezTo>
                  <a:cubicBezTo>
                    <a:pt x="2633303" y="226455"/>
                    <a:pt x="2575284" y="245171"/>
                    <a:pt x="2565926" y="237685"/>
                  </a:cubicBezTo>
                  <a:cubicBezTo>
                    <a:pt x="2562183" y="233941"/>
                    <a:pt x="2569669" y="226455"/>
                    <a:pt x="2594000" y="218969"/>
                  </a:cubicBezTo>
                  <a:cubicBezTo>
                    <a:pt x="2606165" y="215226"/>
                    <a:pt x="2615055" y="213823"/>
                    <a:pt x="2621138" y="213822"/>
                  </a:cubicBezTo>
                  <a:close/>
                  <a:moveTo>
                    <a:pt x="2833094" y="212183"/>
                  </a:moveTo>
                  <a:cubicBezTo>
                    <a:pt x="2837773" y="212885"/>
                    <a:pt x="2840112" y="214289"/>
                    <a:pt x="2841048" y="215224"/>
                  </a:cubicBezTo>
                  <a:cubicBezTo>
                    <a:pt x="2841048" y="224582"/>
                    <a:pt x="2798002" y="235812"/>
                    <a:pt x="2790516" y="226454"/>
                  </a:cubicBezTo>
                  <a:cubicBezTo>
                    <a:pt x="2788644" y="222710"/>
                    <a:pt x="2792387" y="217096"/>
                    <a:pt x="2811103" y="213353"/>
                  </a:cubicBezTo>
                  <a:cubicBezTo>
                    <a:pt x="2821397" y="211481"/>
                    <a:pt x="2828415" y="211481"/>
                    <a:pt x="2833094" y="212183"/>
                  </a:cubicBezTo>
                  <a:close/>
                  <a:moveTo>
                    <a:pt x="3209748" y="211480"/>
                  </a:moveTo>
                  <a:cubicBezTo>
                    <a:pt x="3217234" y="209609"/>
                    <a:pt x="3220977" y="211480"/>
                    <a:pt x="3220977" y="213352"/>
                  </a:cubicBezTo>
                  <a:cubicBezTo>
                    <a:pt x="3220977" y="217095"/>
                    <a:pt x="3204133" y="220838"/>
                    <a:pt x="3200390" y="217095"/>
                  </a:cubicBezTo>
                  <a:cubicBezTo>
                    <a:pt x="3198518" y="215223"/>
                    <a:pt x="3202262" y="213352"/>
                    <a:pt x="3209748" y="211480"/>
                  </a:cubicBezTo>
                  <a:close/>
                  <a:moveTo>
                    <a:pt x="2348824" y="209616"/>
                  </a:moveTo>
                  <a:cubicBezTo>
                    <a:pt x="2331980" y="215231"/>
                    <a:pt x="2285191" y="233946"/>
                    <a:pt x="2275833" y="235818"/>
                  </a:cubicBezTo>
                  <a:close/>
                  <a:moveTo>
                    <a:pt x="2371283" y="207743"/>
                  </a:moveTo>
                  <a:cubicBezTo>
                    <a:pt x="2365668" y="213358"/>
                    <a:pt x="2296420" y="237688"/>
                    <a:pt x="2290805" y="237688"/>
                  </a:cubicBezTo>
                  <a:cubicBezTo>
                    <a:pt x="2294548" y="235817"/>
                    <a:pt x="2307649" y="230202"/>
                    <a:pt x="2328236" y="222716"/>
                  </a:cubicBezTo>
                  <a:cubicBezTo>
                    <a:pt x="2350695" y="213358"/>
                    <a:pt x="2367539" y="207743"/>
                    <a:pt x="2371283" y="207743"/>
                  </a:cubicBezTo>
                  <a:close/>
                  <a:moveTo>
                    <a:pt x="3395033" y="194636"/>
                  </a:moveTo>
                  <a:lnTo>
                    <a:pt x="3398776" y="196508"/>
                  </a:lnTo>
                  <a:lnTo>
                    <a:pt x="3395033" y="198379"/>
                  </a:lnTo>
                  <a:lnTo>
                    <a:pt x="3391290" y="196508"/>
                  </a:lnTo>
                  <a:close/>
                  <a:moveTo>
                    <a:pt x="2597275" y="178966"/>
                  </a:moveTo>
                  <a:cubicBezTo>
                    <a:pt x="2603826" y="178264"/>
                    <a:pt x="2607101" y="178732"/>
                    <a:pt x="2607101" y="179668"/>
                  </a:cubicBezTo>
                  <a:cubicBezTo>
                    <a:pt x="2607101" y="187154"/>
                    <a:pt x="2543467" y="207741"/>
                    <a:pt x="2537853" y="200255"/>
                  </a:cubicBezTo>
                  <a:cubicBezTo>
                    <a:pt x="2535981" y="198384"/>
                    <a:pt x="2543467" y="192769"/>
                    <a:pt x="2567798" y="185282"/>
                  </a:cubicBezTo>
                  <a:cubicBezTo>
                    <a:pt x="2580899" y="181539"/>
                    <a:pt x="2590725" y="179667"/>
                    <a:pt x="2597275" y="178966"/>
                  </a:cubicBezTo>
                  <a:close/>
                  <a:moveTo>
                    <a:pt x="3020017" y="174752"/>
                  </a:moveTo>
                  <a:cubicBezTo>
                    <a:pt x="3023058" y="175454"/>
                    <a:pt x="3024462" y="176858"/>
                    <a:pt x="3024462" y="177793"/>
                  </a:cubicBezTo>
                  <a:cubicBezTo>
                    <a:pt x="3024462" y="185279"/>
                    <a:pt x="2994517" y="190894"/>
                    <a:pt x="2988902" y="185279"/>
                  </a:cubicBezTo>
                  <a:cubicBezTo>
                    <a:pt x="2985159" y="183408"/>
                    <a:pt x="2990774" y="177793"/>
                    <a:pt x="3005746" y="175922"/>
                  </a:cubicBezTo>
                  <a:cubicBezTo>
                    <a:pt x="3012297" y="174050"/>
                    <a:pt x="3016976" y="174050"/>
                    <a:pt x="3020017" y="174752"/>
                  </a:cubicBezTo>
                  <a:close/>
                  <a:moveTo>
                    <a:pt x="2811337" y="163056"/>
                  </a:moveTo>
                  <a:cubicBezTo>
                    <a:pt x="2816250" y="163290"/>
                    <a:pt x="2818589" y="164693"/>
                    <a:pt x="2818589" y="166565"/>
                  </a:cubicBezTo>
                  <a:cubicBezTo>
                    <a:pt x="2818589" y="174051"/>
                    <a:pt x="2771800" y="185280"/>
                    <a:pt x="2764313" y="179666"/>
                  </a:cubicBezTo>
                  <a:cubicBezTo>
                    <a:pt x="2762442" y="177794"/>
                    <a:pt x="2768057" y="172179"/>
                    <a:pt x="2788644" y="166565"/>
                  </a:cubicBezTo>
                  <a:cubicBezTo>
                    <a:pt x="2798937" y="163758"/>
                    <a:pt x="2806424" y="162822"/>
                    <a:pt x="2811337" y="163056"/>
                  </a:cubicBezTo>
                  <a:close/>
                  <a:moveTo>
                    <a:pt x="2584643" y="155338"/>
                  </a:moveTo>
                  <a:cubicBezTo>
                    <a:pt x="2584643" y="160953"/>
                    <a:pt x="2517266" y="181540"/>
                    <a:pt x="2513523" y="175925"/>
                  </a:cubicBezTo>
                  <a:cubicBezTo>
                    <a:pt x="2513523" y="174054"/>
                    <a:pt x="2526624" y="168439"/>
                    <a:pt x="2545340" y="162824"/>
                  </a:cubicBezTo>
                  <a:cubicBezTo>
                    <a:pt x="2571542" y="155338"/>
                    <a:pt x="2584643" y="153466"/>
                    <a:pt x="2584643" y="155338"/>
                  </a:cubicBezTo>
                  <a:close/>
                  <a:moveTo>
                    <a:pt x="2528496" y="149725"/>
                  </a:moveTo>
                  <a:cubicBezTo>
                    <a:pt x="2530367" y="149725"/>
                    <a:pt x="2530367" y="149725"/>
                    <a:pt x="2532239" y="149725"/>
                  </a:cubicBezTo>
                  <a:lnTo>
                    <a:pt x="2500422" y="159083"/>
                  </a:lnTo>
                  <a:cubicBezTo>
                    <a:pt x="2509780" y="155340"/>
                    <a:pt x="2519138" y="153468"/>
                    <a:pt x="2528496" y="149725"/>
                  </a:cubicBezTo>
                  <a:close/>
                  <a:moveTo>
                    <a:pt x="3206707" y="147381"/>
                  </a:moveTo>
                  <a:cubicBezTo>
                    <a:pt x="3208812" y="147848"/>
                    <a:pt x="3209748" y="148784"/>
                    <a:pt x="3209748" y="149720"/>
                  </a:cubicBezTo>
                  <a:cubicBezTo>
                    <a:pt x="3209748" y="153463"/>
                    <a:pt x="3189161" y="157206"/>
                    <a:pt x="3185418" y="153463"/>
                  </a:cubicBezTo>
                  <a:cubicBezTo>
                    <a:pt x="3183546" y="151591"/>
                    <a:pt x="3187290" y="149720"/>
                    <a:pt x="3196647" y="147848"/>
                  </a:cubicBezTo>
                  <a:cubicBezTo>
                    <a:pt x="3201326" y="146913"/>
                    <a:pt x="3204601" y="146913"/>
                    <a:pt x="3206707" y="147381"/>
                  </a:cubicBezTo>
                  <a:close/>
                  <a:moveTo>
                    <a:pt x="2565927" y="144110"/>
                  </a:moveTo>
                  <a:cubicBezTo>
                    <a:pt x="2562184" y="147853"/>
                    <a:pt x="2502293" y="166569"/>
                    <a:pt x="2496679" y="164697"/>
                  </a:cubicBezTo>
                  <a:cubicBezTo>
                    <a:pt x="2496679" y="162826"/>
                    <a:pt x="2517266" y="157211"/>
                    <a:pt x="2528496" y="153468"/>
                  </a:cubicBezTo>
                  <a:cubicBezTo>
                    <a:pt x="2549083" y="145982"/>
                    <a:pt x="2564055" y="142238"/>
                    <a:pt x="2565927" y="144110"/>
                  </a:cubicBezTo>
                  <a:close/>
                  <a:moveTo>
                    <a:pt x="3389419" y="131004"/>
                  </a:moveTo>
                  <a:cubicBezTo>
                    <a:pt x="3393162" y="132876"/>
                    <a:pt x="3395034" y="132876"/>
                    <a:pt x="3395034" y="132876"/>
                  </a:cubicBezTo>
                  <a:cubicBezTo>
                    <a:pt x="3395034" y="134747"/>
                    <a:pt x="3385676" y="134747"/>
                    <a:pt x="3383804" y="132876"/>
                  </a:cubicBezTo>
                  <a:cubicBezTo>
                    <a:pt x="3383804" y="132876"/>
                    <a:pt x="3385676" y="131004"/>
                    <a:pt x="3389419" y="131004"/>
                  </a:cubicBezTo>
                  <a:close/>
                  <a:moveTo>
                    <a:pt x="2792388" y="126562"/>
                  </a:moveTo>
                  <a:cubicBezTo>
                    <a:pt x="2797534" y="126328"/>
                    <a:pt x="2799874" y="127263"/>
                    <a:pt x="2799874" y="129135"/>
                  </a:cubicBezTo>
                  <a:cubicBezTo>
                    <a:pt x="2799874" y="136621"/>
                    <a:pt x="2745598" y="147850"/>
                    <a:pt x="2741855" y="142236"/>
                  </a:cubicBezTo>
                  <a:cubicBezTo>
                    <a:pt x="2741855" y="140364"/>
                    <a:pt x="2745598" y="136621"/>
                    <a:pt x="2768057" y="131006"/>
                  </a:cubicBezTo>
                  <a:cubicBezTo>
                    <a:pt x="2779286" y="128199"/>
                    <a:pt x="2787241" y="126795"/>
                    <a:pt x="2792388" y="126562"/>
                  </a:cubicBezTo>
                  <a:close/>
                  <a:moveTo>
                    <a:pt x="3005279" y="124923"/>
                  </a:moveTo>
                  <a:cubicBezTo>
                    <a:pt x="3009022" y="125391"/>
                    <a:pt x="3010426" y="126327"/>
                    <a:pt x="3009490" y="127263"/>
                  </a:cubicBezTo>
                  <a:cubicBezTo>
                    <a:pt x="3009490" y="132878"/>
                    <a:pt x="2972058" y="140364"/>
                    <a:pt x="2968315" y="134749"/>
                  </a:cubicBezTo>
                  <a:cubicBezTo>
                    <a:pt x="2966444" y="132878"/>
                    <a:pt x="2972058" y="129134"/>
                    <a:pt x="2987031" y="125391"/>
                  </a:cubicBezTo>
                  <a:cubicBezTo>
                    <a:pt x="2995453" y="124455"/>
                    <a:pt x="3001536" y="124455"/>
                    <a:pt x="3005279" y="124923"/>
                  </a:cubicBezTo>
                  <a:close/>
                  <a:moveTo>
                    <a:pt x="2774841" y="102701"/>
                  </a:moveTo>
                  <a:cubicBezTo>
                    <a:pt x="2780222" y="101999"/>
                    <a:pt x="2783029" y="101999"/>
                    <a:pt x="2783029" y="102934"/>
                  </a:cubicBezTo>
                  <a:cubicBezTo>
                    <a:pt x="2783029" y="106677"/>
                    <a:pt x="2726881" y="119778"/>
                    <a:pt x="2725010" y="116035"/>
                  </a:cubicBezTo>
                  <a:cubicBezTo>
                    <a:pt x="2723138" y="114164"/>
                    <a:pt x="2732496" y="110421"/>
                    <a:pt x="2751212" y="106677"/>
                  </a:cubicBezTo>
                  <a:cubicBezTo>
                    <a:pt x="2761505" y="104806"/>
                    <a:pt x="2769460" y="103402"/>
                    <a:pt x="2774841" y="102701"/>
                  </a:cubicBezTo>
                  <a:close/>
                  <a:moveTo>
                    <a:pt x="3197348" y="96849"/>
                  </a:moveTo>
                  <a:cubicBezTo>
                    <a:pt x="3199454" y="97317"/>
                    <a:pt x="3200390" y="98253"/>
                    <a:pt x="3200390" y="99189"/>
                  </a:cubicBezTo>
                  <a:cubicBezTo>
                    <a:pt x="3200390" y="102932"/>
                    <a:pt x="3176059" y="106675"/>
                    <a:pt x="3174188" y="102932"/>
                  </a:cubicBezTo>
                  <a:cubicBezTo>
                    <a:pt x="3172316" y="101060"/>
                    <a:pt x="3177931" y="99189"/>
                    <a:pt x="3187289" y="97317"/>
                  </a:cubicBezTo>
                  <a:cubicBezTo>
                    <a:pt x="3191968" y="96381"/>
                    <a:pt x="3195243" y="96381"/>
                    <a:pt x="3197348" y="96849"/>
                  </a:cubicBezTo>
                  <a:close/>
                  <a:moveTo>
                    <a:pt x="2768057" y="89835"/>
                  </a:moveTo>
                  <a:cubicBezTo>
                    <a:pt x="2764314" y="91707"/>
                    <a:pt x="2715653" y="104808"/>
                    <a:pt x="2710038" y="102936"/>
                  </a:cubicBezTo>
                  <a:cubicBezTo>
                    <a:pt x="2710038" y="101064"/>
                    <a:pt x="2726882" y="97321"/>
                    <a:pt x="2736240" y="95450"/>
                  </a:cubicBezTo>
                  <a:cubicBezTo>
                    <a:pt x="2754956" y="91707"/>
                    <a:pt x="2766185" y="89835"/>
                    <a:pt x="2768057" y="89835"/>
                  </a:cubicBezTo>
                  <a:close/>
                  <a:moveTo>
                    <a:pt x="2990773" y="86557"/>
                  </a:moveTo>
                  <a:cubicBezTo>
                    <a:pt x="2994516" y="86557"/>
                    <a:pt x="2996388" y="87025"/>
                    <a:pt x="2996388" y="87961"/>
                  </a:cubicBezTo>
                  <a:cubicBezTo>
                    <a:pt x="2996388" y="93575"/>
                    <a:pt x="2955214" y="99190"/>
                    <a:pt x="2953342" y="95447"/>
                  </a:cubicBezTo>
                  <a:cubicBezTo>
                    <a:pt x="2953342" y="93575"/>
                    <a:pt x="2957085" y="91704"/>
                    <a:pt x="2973929" y="87961"/>
                  </a:cubicBezTo>
                  <a:cubicBezTo>
                    <a:pt x="2981416" y="87025"/>
                    <a:pt x="2987030" y="86557"/>
                    <a:pt x="2990773" y="86557"/>
                  </a:cubicBezTo>
                  <a:close/>
                  <a:moveTo>
                    <a:pt x="3383804" y="80473"/>
                  </a:moveTo>
                  <a:cubicBezTo>
                    <a:pt x="3389419" y="80473"/>
                    <a:pt x="3391290" y="82345"/>
                    <a:pt x="3389419" y="82345"/>
                  </a:cubicBezTo>
                  <a:cubicBezTo>
                    <a:pt x="3389419" y="84216"/>
                    <a:pt x="3376318" y="84216"/>
                    <a:pt x="3376318" y="82345"/>
                  </a:cubicBezTo>
                  <a:cubicBezTo>
                    <a:pt x="3376318" y="82345"/>
                    <a:pt x="3378189" y="80473"/>
                    <a:pt x="3383804" y="80473"/>
                  </a:cubicBezTo>
                  <a:close/>
                  <a:moveTo>
                    <a:pt x="2975567" y="61292"/>
                  </a:moveTo>
                  <a:cubicBezTo>
                    <a:pt x="2979544" y="60824"/>
                    <a:pt x="2982351" y="60824"/>
                    <a:pt x="2983287" y="61760"/>
                  </a:cubicBezTo>
                  <a:cubicBezTo>
                    <a:pt x="2983287" y="63631"/>
                    <a:pt x="2943984" y="72989"/>
                    <a:pt x="2940241" y="69246"/>
                  </a:cubicBezTo>
                  <a:cubicBezTo>
                    <a:pt x="2940241" y="67374"/>
                    <a:pt x="2947727" y="65502"/>
                    <a:pt x="2960828" y="63631"/>
                  </a:cubicBezTo>
                  <a:cubicBezTo>
                    <a:pt x="2966443" y="62695"/>
                    <a:pt x="2971590" y="61760"/>
                    <a:pt x="2975567" y="61292"/>
                  </a:cubicBezTo>
                  <a:close/>
                  <a:moveTo>
                    <a:pt x="3187523" y="58483"/>
                  </a:moveTo>
                  <a:cubicBezTo>
                    <a:pt x="3190096" y="58483"/>
                    <a:pt x="3191032" y="58951"/>
                    <a:pt x="3191032" y="59887"/>
                  </a:cubicBezTo>
                  <a:cubicBezTo>
                    <a:pt x="3189161" y="63630"/>
                    <a:pt x="3162958" y="65501"/>
                    <a:pt x="3161087" y="63630"/>
                  </a:cubicBezTo>
                  <a:cubicBezTo>
                    <a:pt x="3161087" y="63630"/>
                    <a:pt x="3164830" y="61758"/>
                    <a:pt x="3174188" y="59887"/>
                  </a:cubicBezTo>
                  <a:cubicBezTo>
                    <a:pt x="3180739" y="58951"/>
                    <a:pt x="3184950" y="58483"/>
                    <a:pt x="3187523" y="58483"/>
                  </a:cubicBezTo>
                  <a:close/>
                  <a:moveTo>
                    <a:pt x="2964338" y="48192"/>
                  </a:moveTo>
                  <a:cubicBezTo>
                    <a:pt x="2968315" y="47724"/>
                    <a:pt x="2971122" y="47724"/>
                    <a:pt x="2972058" y="48660"/>
                  </a:cubicBezTo>
                  <a:cubicBezTo>
                    <a:pt x="2968315" y="50532"/>
                    <a:pt x="2930884" y="58018"/>
                    <a:pt x="2929012" y="56147"/>
                  </a:cubicBezTo>
                  <a:cubicBezTo>
                    <a:pt x="2929012" y="56147"/>
                    <a:pt x="2940242" y="52403"/>
                    <a:pt x="2949599" y="50532"/>
                  </a:cubicBezTo>
                  <a:cubicBezTo>
                    <a:pt x="2955214" y="49596"/>
                    <a:pt x="2960361" y="48660"/>
                    <a:pt x="2964338" y="48192"/>
                  </a:cubicBezTo>
                  <a:close/>
                  <a:moveTo>
                    <a:pt x="3378189" y="41171"/>
                  </a:moveTo>
                  <a:cubicBezTo>
                    <a:pt x="3383804" y="41171"/>
                    <a:pt x="3385676" y="41171"/>
                    <a:pt x="3385676" y="43043"/>
                  </a:cubicBezTo>
                  <a:cubicBezTo>
                    <a:pt x="3385676" y="44914"/>
                    <a:pt x="3370703" y="44914"/>
                    <a:pt x="3370703" y="43043"/>
                  </a:cubicBezTo>
                  <a:cubicBezTo>
                    <a:pt x="3370703" y="43043"/>
                    <a:pt x="3372574" y="41171"/>
                    <a:pt x="3378189" y="41171"/>
                  </a:cubicBezTo>
                  <a:close/>
                  <a:moveTo>
                    <a:pt x="3177697" y="32283"/>
                  </a:moveTo>
                  <a:cubicBezTo>
                    <a:pt x="3180270" y="32283"/>
                    <a:pt x="3181674" y="32751"/>
                    <a:pt x="3181674" y="33687"/>
                  </a:cubicBezTo>
                  <a:cubicBezTo>
                    <a:pt x="3181674" y="35558"/>
                    <a:pt x="3153600" y="39301"/>
                    <a:pt x="3151729" y="37430"/>
                  </a:cubicBezTo>
                  <a:cubicBezTo>
                    <a:pt x="3151729" y="37430"/>
                    <a:pt x="3157343" y="35558"/>
                    <a:pt x="3166701" y="33687"/>
                  </a:cubicBezTo>
                  <a:cubicBezTo>
                    <a:pt x="3171380" y="32751"/>
                    <a:pt x="3175123" y="32283"/>
                    <a:pt x="3177697" y="32283"/>
                  </a:cubicBezTo>
                  <a:close/>
                  <a:moveTo>
                    <a:pt x="3168106" y="18247"/>
                  </a:moveTo>
                  <a:cubicBezTo>
                    <a:pt x="3171382" y="17779"/>
                    <a:pt x="3174189" y="17779"/>
                    <a:pt x="3174189" y="18715"/>
                  </a:cubicBezTo>
                  <a:cubicBezTo>
                    <a:pt x="3174189" y="18715"/>
                    <a:pt x="3146115" y="24330"/>
                    <a:pt x="3146115" y="22458"/>
                  </a:cubicBezTo>
                  <a:cubicBezTo>
                    <a:pt x="3146115" y="22458"/>
                    <a:pt x="3151730" y="20587"/>
                    <a:pt x="3159216" y="20587"/>
                  </a:cubicBezTo>
                  <a:cubicBezTo>
                    <a:pt x="3161088" y="19651"/>
                    <a:pt x="3164831" y="18715"/>
                    <a:pt x="3168106" y="18247"/>
                  </a:cubicBezTo>
                  <a:close/>
                  <a:moveTo>
                    <a:pt x="3372575" y="13100"/>
                  </a:moveTo>
                  <a:cubicBezTo>
                    <a:pt x="3378190" y="14972"/>
                    <a:pt x="3381933" y="14972"/>
                    <a:pt x="3381933" y="14972"/>
                  </a:cubicBezTo>
                  <a:cubicBezTo>
                    <a:pt x="3381933" y="14972"/>
                    <a:pt x="3366961" y="16843"/>
                    <a:pt x="3365089" y="14972"/>
                  </a:cubicBezTo>
                  <a:cubicBezTo>
                    <a:pt x="3365089" y="14972"/>
                    <a:pt x="3368832" y="13100"/>
                    <a:pt x="3372575" y="13100"/>
                  </a:cubicBezTo>
                  <a:close/>
                  <a:moveTo>
                    <a:pt x="3363217" y="0"/>
                  </a:moveTo>
                  <a:cubicBezTo>
                    <a:pt x="3363217" y="0"/>
                    <a:pt x="3366960" y="0"/>
                    <a:pt x="3370703" y="0"/>
                  </a:cubicBezTo>
                  <a:cubicBezTo>
                    <a:pt x="3372575" y="0"/>
                    <a:pt x="3374447" y="0"/>
                    <a:pt x="3378190" y="0"/>
                  </a:cubicBezTo>
                  <a:cubicBezTo>
                    <a:pt x="3378190" y="0"/>
                    <a:pt x="3365089" y="1872"/>
                    <a:pt x="3363217" y="0"/>
                  </a:cubicBezTo>
                  <a:close/>
                </a:path>
              </a:pathLst>
            </a:custGeom>
            <a:gradFill>
              <a:gsLst>
                <a:gs pos="37200">
                  <a:srgbClr val="BEF6FF"/>
                </a:gs>
                <a:gs pos="0">
                  <a:schemeClr val="tx1">
                    <a:alpha val="0"/>
                  </a:schemeClr>
                </a:gs>
                <a:gs pos="100000">
                  <a:schemeClr val="accent3"/>
                </a:gs>
              </a:gsLst>
              <a:lin ang="0" scaled="1"/>
            </a:gradFill>
            <a:ln w="18703" cap="flat">
              <a:noFill/>
              <a:prstDash val="solid"/>
              <a:miter/>
            </a:ln>
          </p:spPr>
          <p:txBody>
            <a:bodyPr rtlCol="0" anchor="ctr"/>
            <a:lstStyle/>
            <a:p>
              <a:endParaRPr lang="en-US" sz="1765"/>
            </a:p>
          </p:txBody>
        </p:sp>
        <p:sp>
          <p:nvSpPr>
            <p:cNvPr id="11" name="Rectangle 2">
              <a:extLst>
                <a:ext uri="{FF2B5EF4-FFF2-40B4-BE49-F238E27FC236}">
                  <a16:creationId xmlns:a16="http://schemas.microsoft.com/office/drawing/2014/main" id="{BFEFB0C0-7F5C-4534-A3D3-3B56AD1DA7CE}"/>
                </a:ext>
                <a:ext uri="{C183D7F6-B498-43B3-948B-1728B52AA6E4}">
                  <adec:decorative xmlns:adec="http://schemas.microsoft.com/office/drawing/2017/decorative" val="1"/>
                </a:ext>
              </a:extLst>
            </p:cNvPr>
            <p:cNvSpPr/>
            <p:nvPr/>
          </p:nvSpPr>
          <p:spPr bwMode="auto">
            <a:xfrm>
              <a:off x="2772230" y="0"/>
              <a:ext cx="9664246" cy="6994525"/>
            </a:xfrm>
            <a:custGeom>
              <a:avLst/>
              <a:gdLst>
                <a:gd name="connsiteX0" fmla="*/ 0 w 9664246"/>
                <a:gd name="connsiteY0" fmla="*/ 0 h 6994525"/>
                <a:gd name="connsiteX1" fmla="*/ 9664246 w 9664246"/>
                <a:gd name="connsiteY1" fmla="*/ 0 h 6994525"/>
                <a:gd name="connsiteX2" fmla="*/ 9664246 w 9664246"/>
                <a:gd name="connsiteY2" fmla="*/ 6994525 h 6994525"/>
                <a:gd name="connsiteX3" fmla="*/ 0 w 9664246"/>
                <a:gd name="connsiteY3" fmla="*/ 6994525 h 6994525"/>
                <a:gd name="connsiteX4" fmla="*/ 0 w 9664246"/>
                <a:gd name="connsiteY4" fmla="*/ 0 h 6994525"/>
                <a:gd name="connsiteX0" fmla="*/ 0 w 9664246"/>
                <a:gd name="connsiteY0" fmla="*/ 6994525 h 6994525"/>
                <a:gd name="connsiteX1" fmla="*/ 9664246 w 9664246"/>
                <a:gd name="connsiteY1" fmla="*/ 0 h 6994525"/>
                <a:gd name="connsiteX2" fmla="*/ 9664246 w 9664246"/>
                <a:gd name="connsiteY2" fmla="*/ 6994525 h 6994525"/>
                <a:gd name="connsiteX3" fmla="*/ 0 w 9664246"/>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664246" h="6994525">
                  <a:moveTo>
                    <a:pt x="0" y="6994525"/>
                  </a:moveTo>
                  <a:lnTo>
                    <a:pt x="9664246" y="0"/>
                  </a:lnTo>
                  <a:lnTo>
                    <a:pt x="9664246" y="6994525"/>
                  </a:lnTo>
                  <a:lnTo>
                    <a:pt x="0" y="6994525"/>
                  </a:lnTo>
                  <a:close/>
                </a:path>
              </a:pathLst>
            </a:custGeom>
            <a:gradFill flip="none" rotWithShape="1">
              <a:gsLst>
                <a:gs pos="0">
                  <a:schemeClr val="accent2">
                    <a:lumMod val="75000"/>
                    <a:alpha val="0"/>
                  </a:schemeClr>
                </a:gs>
                <a:gs pos="45000">
                  <a:schemeClr val="accent2">
                    <a:lumMod val="7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79D8F2D1-FC59-4649-ABAE-B3199443892C}"/>
                </a:ext>
                <a:ext uri="{C183D7F6-B498-43B3-948B-1728B52AA6E4}">
                  <adec:decorative xmlns:adec="http://schemas.microsoft.com/office/drawing/2017/decorative" val="1"/>
                </a:ext>
              </a:extLst>
            </p:cNvPr>
            <p:cNvSpPr/>
            <p:nvPr/>
          </p:nvSpPr>
          <p:spPr>
            <a:xfrm rot="11220799">
              <a:off x="6284535" y="2306494"/>
              <a:ext cx="2635718" cy="2504201"/>
            </a:xfrm>
            <a:custGeom>
              <a:avLst/>
              <a:gdLst>
                <a:gd name="connsiteX0" fmla="*/ 2456925 w 2635718"/>
                <a:gd name="connsiteY0" fmla="*/ 16551 h 2504201"/>
                <a:gd name="connsiteX1" fmla="*/ 2446011 w 2635718"/>
                <a:gd name="connsiteY1" fmla="*/ 17460 h 2504201"/>
                <a:gd name="connsiteX2" fmla="*/ 2456197 w 2635718"/>
                <a:gd name="connsiteY2" fmla="*/ 16006 h 2504201"/>
                <a:gd name="connsiteX3" fmla="*/ 2463109 w 2635718"/>
                <a:gd name="connsiteY3" fmla="*/ 14186 h 2504201"/>
                <a:gd name="connsiteX4" fmla="*/ 2467838 w 2635718"/>
                <a:gd name="connsiteY4" fmla="*/ 14551 h 2504201"/>
                <a:gd name="connsiteX5" fmla="*/ 2456925 w 2635718"/>
                <a:gd name="connsiteY5" fmla="*/ 16551 h 2504201"/>
                <a:gd name="connsiteX6" fmla="*/ 2626443 w 2635718"/>
                <a:gd name="connsiteY6" fmla="*/ 0 h 2504201"/>
                <a:gd name="connsiteX7" fmla="*/ 2614801 w 2635718"/>
                <a:gd name="connsiteY7" fmla="*/ 0 h 2504201"/>
                <a:gd name="connsiteX8" fmla="*/ 2620621 w 2635718"/>
                <a:gd name="connsiteY8" fmla="*/ 0 h 2504201"/>
                <a:gd name="connsiteX9" fmla="*/ 2626443 w 2635718"/>
                <a:gd name="connsiteY9" fmla="*/ 0 h 2504201"/>
                <a:gd name="connsiteX10" fmla="*/ 2282654 w 2635718"/>
                <a:gd name="connsiteY10" fmla="*/ 43562 h 2504201"/>
                <a:gd name="connsiteX11" fmla="*/ 2277220 w 2635718"/>
                <a:gd name="connsiteY11" fmla="*/ 43653 h 2504201"/>
                <a:gd name="connsiteX12" fmla="*/ 2293226 w 2635718"/>
                <a:gd name="connsiteY12" fmla="*/ 39287 h 2504201"/>
                <a:gd name="connsiteX13" fmla="*/ 2304685 w 2635718"/>
                <a:gd name="connsiteY13" fmla="*/ 37468 h 2504201"/>
                <a:gd name="connsiteX14" fmla="*/ 2310687 w 2635718"/>
                <a:gd name="connsiteY14" fmla="*/ 37832 h 2504201"/>
                <a:gd name="connsiteX15" fmla="*/ 2282654 w 2635718"/>
                <a:gd name="connsiteY15" fmla="*/ 43562 h 2504201"/>
                <a:gd name="connsiteX16" fmla="*/ 2462562 w 2635718"/>
                <a:gd name="connsiteY16" fmla="*/ 28737 h 2504201"/>
                <a:gd name="connsiteX17" fmla="*/ 2450376 w 2635718"/>
                <a:gd name="connsiteY17" fmla="*/ 29101 h 2504201"/>
                <a:gd name="connsiteX18" fmla="*/ 2462016 w 2635718"/>
                <a:gd name="connsiteY18" fmla="*/ 26190 h 2504201"/>
                <a:gd name="connsiteX19" fmla="*/ 2470565 w 2635718"/>
                <a:gd name="connsiteY19" fmla="*/ 25099 h 2504201"/>
                <a:gd name="connsiteX20" fmla="*/ 2473657 w 2635718"/>
                <a:gd name="connsiteY20" fmla="*/ 26191 h 2504201"/>
                <a:gd name="connsiteX21" fmla="*/ 2462562 w 2635718"/>
                <a:gd name="connsiteY21" fmla="*/ 28737 h 2504201"/>
                <a:gd name="connsiteX22" fmla="*/ 2629353 w 2635718"/>
                <a:gd name="connsiteY22" fmla="*/ 11640 h 2504201"/>
                <a:gd name="connsiteX23" fmla="*/ 2616257 w 2635718"/>
                <a:gd name="connsiteY23" fmla="*/ 11640 h 2504201"/>
                <a:gd name="connsiteX24" fmla="*/ 2622077 w 2635718"/>
                <a:gd name="connsiteY24" fmla="*/ 10185 h 2504201"/>
                <a:gd name="connsiteX25" fmla="*/ 2629353 w 2635718"/>
                <a:gd name="connsiteY25" fmla="*/ 11640 h 2504201"/>
                <a:gd name="connsiteX26" fmla="*/ 2292407 w 2635718"/>
                <a:gd name="connsiteY26" fmla="*/ 54360 h 2504201"/>
                <a:gd name="connsiteX27" fmla="*/ 2285950 w 2635718"/>
                <a:gd name="connsiteY27" fmla="*/ 53836 h 2504201"/>
                <a:gd name="connsiteX28" fmla="*/ 2301956 w 2635718"/>
                <a:gd name="connsiteY28" fmla="*/ 49471 h 2504201"/>
                <a:gd name="connsiteX29" fmla="*/ 2313415 w 2635718"/>
                <a:gd name="connsiteY29" fmla="*/ 47653 h 2504201"/>
                <a:gd name="connsiteX30" fmla="*/ 2319417 w 2635718"/>
                <a:gd name="connsiteY30" fmla="*/ 48017 h 2504201"/>
                <a:gd name="connsiteX31" fmla="*/ 2292407 w 2635718"/>
                <a:gd name="connsiteY31" fmla="*/ 54360 h 2504201"/>
                <a:gd name="connsiteX32" fmla="*/ 2115455 w 2635718"/>
                <a:gd name="connsiteY32" fmla="*/ 79257 h 2504201"/>
                <a:gd name="connsiteX33" fmla="*/ 2106974 w 2635718"/>
                <a:gd name="connsiteY33" fmla="*/ 80030 h 2504201"/>
                <a:gd name="connsiteX34" fmla="*/ 2127346 w 2635718"/>
                <a:gd name="connsiteY34" fmla="*/ 74210 h 2504201"/>
                <a:gd name="connsiteX35" fmla="*/ 2152082 w 2635718"/>
                <a:gd name="connsiteY35" fmla="*/ 69844 h 2504201"/>
                <a:gd name="connsiteX36" fmla="*/ 2115455 w 2635718"/>
                <a:gd name="connsiteY36" fmla="*/ 79257 h 2504201"/>
                <a:gd name="connsiteX37" fmla="*/ 2126276 w 2635718"/>
                <a:gd name="connsiteY37" fmla="*/ 90259 h 2504201"/>
                <a:gd name="connsiteX38" fmla="*/ 2118614 w 2635718"/>
                <a:gd name="connsiteY38" fmla="*/ 90214 h 2504201"/>
                <a:gd name="connsiteX39" fmla="*/ 2138986 w 2635718"/>
                <a:gd name="connsiteY39" fmla="*/ 82938 h 2504201"/>
                <a:gd name="connsiteX40" fmla="*/ 2157357 w 2635718"/>
                <a:gd name="connsiteY40" fmla="*/ 79847 h 2504201"/>
                <a:gd name="connsiteX41" fmla="*/ 2163722 w 2635718"/>
                <a:gd name="connsiteY41" fmla="*/ 80028 h 2504201"/>
                <a:gd name="connsiteX42" fmla="*/ 2126276 w 2635718"/>
                <a:gd name="connsiteY42" fmla="*/ 90259 h 2504201"/>
                <a:gd name="connsiteX43" fmla="*/ 2469292 w 2635718"/>
                <a:gd name="connsiteY43" fmla="*/ 49652 h 2504201"/>
                <a:gd name="connsiteX44" fmla="*/ 2457651 w 2635718"/>
                <a:gd name="connsiteY44" fmla="*/ 49471 h 2504201"/>
                <a:gd name="connsiteX45" fmla="*/ 2467837 w 2635718"/>
                <a:gd name="connsiteY45" fmla="*/ 46560 h 2504201"/>
                <a:gd name="connsiteX46" fmla="*/ 2478205 w 2635718"/>
                <a:gd name="connsiteY46" fmla="*/ 45469 h 2504201"/>
                <a:gd name="connsiteX47" fmla="*/ 2480933 w 2635718"/>
                <a:gd name="connsiteY47" fmla="*/ 46560 h 2504201"/>
                <a:gd name="connsiteX48" fmla="*/ 2469292 w 2635718"/>
                <a:gd name="connsiteY48" fmla="*/ 49652 h 2504201"/>
                <a:gd name="connsiteX49" fmla="*/ 2626442 w 2635718"/>
                <a:gd name="connsiteY49" fmla="*/ 34556 h 2504201"/>
                <a:gd name="connsiteX50" fmla="*/ 2620622 w 2635718"/>
                <a:gd name="connsiteY50" fmla="*/ 33465 h 2504201"/>
                <a:gd name="connsiteX51" fmla="*/ 2626442 w 2635718"/>
                <a:gd name="connsiteY51" fmla="*/ 32009 h 2504201"/>
                <a:gd name="connsiteX52" fmla="*/ 2632263 w 2635718"/>
                <a:gd name="connsiteY52" fmla="*/ 33465 h 2504201"/>
                <a:gd name="connsiteX53" fmla="*/ 2626442 w 2635718"/>
                <a:gd name="connsiteY53" fmla="*/ 34556 h 2504201"/>
                <a:gd name="connsiteX54" fmla="*/ 2313415 w 2635718"/>
                <a:gd name="connsiteY54" fmla="*/ 74025 h 2504201"/>
                <a:gd name="connsiteX55" fmla="*/ 2296136 w 2635718"/>
                <a:gd name="connsiteY55" fmla="*/ 74207 h 2504201"/>
                <a:gd name="connsiteX56" fmla="*/ 2312141 w 2635718"/>
                <a:gd name="connsiteY56" fmla="*/ 68387 h 2504201"/>
                <a:gd name="connsiteX57" fmla="*/ 2325237 w 2635718"/>
                <a:gd name="connsiteY57" fmla="*/ 67296 h 2504201"/>
                <a:gd name="connsiteX58" fmla="*/ 2329603 w 2635718"/>
                <a:gd name="connsiteY58" fmla="*/ 68387 h 2504201"/>
                <a:gd name="connsiteX59" fmla="*/ 2313415 w 2635718"/>
                <a:gd name="connsiteY59" fmla="*/ 74025 h 2504201"/>
                <a:gd name="connsiteX60" fmla="*/ 1944004 w 2635718"/>
                <a:gd name="connsiteY60" fmla="*/ 123682 h 2504201"/>
                <a:gd name="connsiteX61" fmla="*/ 1965830 w 2635718"/>
                <a:gd name="connsiteY61" fmla="*/ 116407 h 2504201"/>
                <a:gd name="connsiteX62" fmla="*/ 1968741 w 2635718"/>
                <a:gd name="connsiteY62" fmla="*/ 116407 h 2504201"/>
                <a:gd name="connsiteX63" fmla="*/ 1941094 w 2635718"/>
                <a:gd name="connsiteY63" fmla="*/ 128047 h 2504201"/>
                <a:gd name="connsiteX64" fmla="*/ 1965831 w 2635718"/>
                <a:gd name="connsiteY64" fmla="*/ 119317 h 2504201"/>
                <a:gd name="connsiteX65" fmla="*/ 1994932 w 2635718"/>
                <a:gd name="connsiteY65" fmla="*/ 112041 h 2504201"/>
                <a:gd name="connsiteX66" fmla="*/ 1941094 w 2635718"/>
                <a:gd name="connsiteY66" fmla="*/ 128047 h 2504201"/>
                <a:gd name="connsiteX67" fmla="*/ 2139987 w 2635718"/>
                <a:gd name="connsiteY67" fmla="*/ 111653 h 2504201"/>
                <a:gd name="connsiteX68" fmla="*/ 2131711 w 2635718"/>
                <a:gd name="connsiteY68" fmla="*/ 110584 h 2504201"/>
                <a:gd name="connsiteX69" fmla="*/ 2152082 w 2635718"/>
                <a:gd name="connsiteY69" fmla="*/ 101853 h 2504201"/>
                <a:gd name="connsiteX70" fmla="*/ 2170999 w 2635718"/>
                <a:gd name="connsiteY70" fmla="*/ 98398 h 2504201"/>
                <a:gd name="connsiteX71" fmla="*/ 2176819 w 2635718"/>
                <a:gd name="connsiteY71" fmla="*/ 100399 h 2504201"/>
                <a:gd name="connsiteX72" fmla="*/ 2139987 w 2635718"/>
                <a:gd name="connsiteY72" fmla="*/ 111653 h 2504201"/>
                <a:gd name="connsiteX73" fmla="*/ 1964057 w 2635718"/>
                <a:gd name="connsiteY73" fmla="*/ 136731 h 2504201"/>
                <a:gd name="connsiteX74" fmla="*/ 1954190 w 2635718"/>
                <a:gd name="connsiteY74" fmla="*/ 136777 h 2504201"/>
                <a:gd name="connsiteX75" fmla="*/ 1978926 w 2635718"/>
                <a:gd name="connsiteY75" fmla="*/ 126591 h 2504201"/>
                <a:gd name="connsiteX76" fmla="*/ 2009483 w 2635718"/>
                <a:gd name="connsiteY76" fmla="*/ 120771 h 2504201"/>
                <a:gd name="connsiteX77" fmla="*/ 1964057 w 2635718"/>
                <a:gd name="connsiteY77" fmla="*/ 136731 h 2504201"/>
                <a:gd name="connsiteX78" fmla="*/ 2478568 w 2635718"/>
                <a:gd name="connsiteY78" fmla="*/ 80754 h 2504201"/>
                <a:gd name="connsiteX79" fmla="*/ 2467837 w 2635718"/>
                <a:gd name="connsiteY79" fmla="*/ 80027 h 2504201"/>
                <a:gd name="connsiteX80" fmla="*/ 2478023 w 2635718"/>
                <a:gd name="connsiteY80" fmla="*/ 75661 h 2504201"/>
                <a:gd name="connsiteX81" fmla="*/ 2485843 w 2635718"/>
                <a:gd name="connsiteY81" fmla="*/ 75297 h 2504201"/>
                <a:gd name="connsiteX82" fmla="*/ 2488208 w 2635718"/>
                <a:gd name="connsiteY82" fmla="*/ 77116 h 2504201"/>
                <a:gd name="connsiteX83" fmla="*/ 2478568 w 2635718"/>
                <a:gd name="connsiteY83" fmla="*/ 80754 h 2504201"/>
                <a:gd name="connsiteX84" fmla="*/ 2630080 w 2635718"/>
                <a:gd name="connsiteY84" fmla="*/ 65112 h 2504201"/>
                <a:gd name="connsiteX85" fmla="*/ 2624987 w 2635718"/>
                <a:gd name="connsiteY85" fmla="*/ 64021 h 2504201"/>
                <a:gd name="connsiteX86" fmla="*/ 2630807 w 2635718"/>
                <a:gd name="connsiteY86" fmla="*/ 62565 h 2504201"/>
                <a:gd name="connsiteX87" fmla="*/ 2635173 w 2635718"/>
                <a:gd name="connsiteY87" fmla="*/ 64021 h 2504201"/>
                <a:gd name="connsiteX88" fmla="*/ 2630080 w 2635718"/>
                <a:gd name="connsiteY88" fmla="*/ 65112 h 2504201"/>
                <a:gd name="connsiteX89" fmla="*/ 2324874 w 2635718"/>
                <a:gd name="connsiteY89" fmla="*/ 105128 h 2504201"/>
                <a:gd name="connsiteX90" fmla="*/ 2307777 w 2635718"/>
                <a:gd name="connsiteY90" fmla="*/ 104763 h 2504201"/>
                <a:gd name="connsiteX91" fmla="*/ 2322328 w 2635718"/>
                <a:gd name="connsiteY91" fmla="*/ 97488 h 2504201"/>
                <a:gd name="connsiteX92" fmla="*/ 2336515 w 2635718"/>
                <a:gd name="connsiteY92" fmla="*/ 97124 h 2504201"/>
                <a:gd name="connsiteX93" fmla="*/ 2339789 w 2635718"/>
                <a:gd name="connsiteY93" fmla="*/ 98943 h 2504201"/>
                <a:gd name="connsiteX94" fmla="*/ 2324874 w 2635718"/>
                <a:gd name="connsiteY94" fmla="*/ 105128 h 2504201"/>
                <a:gd name="connsiteX95" fmla="*/ 1983359 w 2635718"/>
                <a:gd name="connsiteY95" fmla="*/ 156465 h 2504201"/>
                <a:gd name="connsiteX96" fmla="*/ 1973105 w 2635718"/>
                <a:gd name="connsiteY96" fmla="*/ 155692 h 2504201"/>
                <a:gd name="connsiteX97" fmla="*/ 1996387 w 2635718"/>
                <a:gd name="connsiteY97" fmla="*/ 144051 h 2504201"/>
                <a:gd name="connsiteX98" fmla="*/ 2019304 w 2635718"/>
                <a:gd name="connsiteY98" fmla="*/ 139141 h 2504201"/>
                <a:gd name="connsiteX99" fmla="*/ 2026944 w 2635718"/>
                <a:gd name="connsiteY99" fmla="*/ 139687 h 2504201"/>
                <a:gd name="connsiteX100" fmla="*/ 1983359 w 2635718"/>
                <a:gd name="connsiteY100" fmla="*/ 156465 h 2504201"/>
                <a:gd name="connsiteX101" fmla="*/ 1769392 w 2635718"/>
                <a:gd name="connsiteY101" fmla="*/ 183342 h 2504201"/>
                <a:gd name="connsiteX102" fmla="*/ 1826141 w 2635718"/>
                <a:gd name="connsiteY102" fmla="*/ 162970 h 2504201"/>
                <a:gd name="connsiteX103" fmla="*/ 1769392 w 2635718"/>
                <a:gd name="connsiteY103" fmla="*/ 183342 h 2504201"/>
                <a:gd name="connsiteX104" fmla="*/ 1781033 w 2635718"/>
                <a:gd name="connsiteY104" fmla="*/ 184795 h 2504201"/>
                <a:gd name="connsiteX105" fmla="*/ 1810134 w 2635718"/>
                <a:gd name="connsiteY105" fmla="*/ 173155 h 2504201"/>
                <a:gd name="connsiteX106" fmla="*/ 1843602 w 2635718"/>
                <a:gd name="connsiteY106" fmla="*/ 161514 h 2504201"/>
                <a:gd name="connsiteX107" fmla="*/ 1781033 w 2635718"/>
                <a:gd name="connsiteY107" fmla="*/ 184795 h 2504201"/>
                <a:gd name="connsiteX108" fmla="*/ 2158220 w 2635718"/>
                <a:gd name="connsiteY108" fmla="*/ 140754 h 2504201"/>
                <a:gd name="connsiteX109" fmla="*/ 2149171 w 2635718"/>
                <a:gd name="connsiteY109" fmla="*/ 139685 h 2504201"/>
                <a:gd name="connsiteX110" fmla="*/ 2168088 w 2635718"/>
                <a:gd name="connsiteY110" fmla="*/ 129500 h 2504201"/>
                <a:gd name="connsiteX111" fmla="*/ 2185731 w 2635718"/>
                <a:gd name="connsiteY111" fmla="*/ 126771 h 2504201"/>
                <a:gd name="connsiteX112" fmla="*/ 2191369 w 2635718"/>
                <a:gd name="connsiteY112" fmla="*/ 129499 h 2504201"/>
                <a:gd name="connsiteX113" fmla="*/ 2158220 w 2635718"/>
                <a:gd name="connsiteY113" fmla="*/ 140754 h 2504201"/>
                <a:gd name="connsiteX114" fmla="*/ 1808066 w 2635718"/>
                <a:gd name="connsiteY114" fmla="*/ 192548 h 2504201"/>
                <a:gd name="connsiteX115" fmla="*/ 1797039 w 2635718"/>
                <a:gd name="connsiteY115" fmla="*/ 193526 h 2504201"/>
                <a:gd name="connsiteX116" fmla="*/ 1824686 w 2635718"/>
                <a:gd name="connsiteY116" fmla="*/ 178975 h 2504201"/>
                <a:gd name="connsiteX117" fmla="*/ 1861064 w 2635718"/>
                <a:gd name="connsiteY117" fmla="*/ 170244 h 2504201"/>
                <a:gd name="connsiteX118" fmla="*/ 1808066 w 2635718"/>
                <a:gd name="connsiteY118" fmla="*/ 192548 h 2504201"/>
                <a:gd name="connsiteX119" fmla="*/ 2487117 w 2635718"/>
                <a:gd name="connsiteY119" fmla="*/ 120040 h 2504201"/>
                <a:gd name="connsiteX120" fmla="*/ 2476568 w 2635718"/>
                <a:gd name="connsiteY120" fmla="*/ 119313 h 2504201"/>
                <a:gd name="connsiteX121" fmla="*/ 2485298 w 2635718"/>
                <a:gd name="connsiteY121" fmla="*/ 114947 h 2504201"/>
                <a:gd name="connsiteX122" fmla="*/ 2493119 w 2635718"/>
                <a:gd name="connsiteY122" fmla="*/ 114584 h 2504201"/>
                <a:gd name="connsiteX123" fmla="*/ 2495484 w 2635718"/>
                <a:gd name="connsiteY123" fmla="*/ 116403 h 2504201"/>
                <a:gd name="connsiteX124" fmla="*/ 2487117 w 2635718"/>
                <a:gd name="connsiteY124" fmla="*/ 120040 h 2504201"/>
                <a:gd name="connsiteX125" fmla="*/ 2006163 w 2635718"/>
                <a:gd name="connsiteY125" fmla="*/ 185771 h 2504201"/>
                <a:gd name="connsiteX126" fmla="*/ 1994931 w 2635718"/>
                <a:gd name="connsiteY126" fmla="*/ 184793 h 2504201"/>
                <a:gd name="connsiteX127" fmla="*/ 2016758 w 2635718"/>
                <a:gd name="connsiteY127" fmla="*/ 170242 h 2504201"/>
                <a:gd name="connsiteX128" fmla="*/ 2037857 w 2635718"/>
                <a:gd name="connsiteY128" fmla="*/ 166240 h 2504201"/>
                <a:gd name="connsiteX129" fmla="*/ 2045859 w 2635718"/>
                <a:gd name="connsiteY129" fmla="*/ 168787 h 2504201"/>
                <a:gd name="connsiteX130" fmla="*/ 2006163 w 2635718"/>
                <a:gd name="connsiteY130" fmla="*/ 185771 h 2504201"/>
                <a:gd name="connsiteX131" fmla="*/ 2339243 w 2635718"/>
                <a:gd name="connsiteY131" fmla="*/ 144958 h 2504201"/>
                <a:gd name="connsiteX132" fmla="*/ 2323783 w 2635718"/>
                <a:gd name="connsiteY132" fmla="*/ 144049 h 2504201"/>
                <a:gd name="connsiteX133" fmla="*/ 2336878 w 2635718"/>
                <a:gd name="connsiteY133" fmla="*/ 136774 h 2504201"/>
                <a:gd name="connsiteX134" fmla="*/ 2347974 w 2635718"/>
                <a:gd name="connsiteY134" fmla="*/ 135865 h 2504201"/>
                <a:gd name="connsiteX135" fmla="*/ 2351430 w 2635718"/>
                <a:gd name="connsiteY135" fmla="*/ 138229 h 2504201"/>
                <a:gd name="connsiteX136" fmla="*/ 2339243 w 2635718"/>
                <a:gd name="connsiteY136" fmla="*/ 144958 h 2504201"/>
                <a:gd name="connsiteX137" fmla="*/ 1831689 w 2635718"/>
                <a:gd name="connsiteY137" fmla="*/ 210212 h 2504201"/>
                <a:gd name="connsiteX138" fmla="*/ 1817411 w 2635718"/>
                <a:gd name="connsiteY138" fmla="*/ 210984 h 2504201"/>
                <a:gd name="connsiteX139" fmla="*/ 1843602 w 2635718"/>
                <a:gd name="connsiteY139" fmla="*/ 193524 h 2504201"/>
                <a:gd name="connsiteX140" fmla="*/ 1871067 w 2635718"/>
                <a:gd name="connsiteY140" fmla="*/ 187339 h 2504201"/>
                <a:gd name="connsiteX141" fmla="*/ 1879979 w 2635718"/>
                <a:gd name="connsiteY141" fmla="*/ 187704 h 2504201"/>
                <a:gd name="connsiteX142" fmla="*/ 1831689 w 2635718"/>
                <a:gd name="connsiteY142" fmla="*/ 210212 h 2504201"/>
                <a:gd name="connsiteX143" fmla="*/ 2178137 w 2635718"/>
                <a:gd name="connsiteY143" fmla="*/ 178790 h 2504201"/>
                <a:gd name="connsiteX144" fmla="*/ 2169544 w 2635718"/>
                <a:gd name="connsiteY144" fmla="*/ 176061 h 2504201"/>
                <a:gd name="connsiteX145" fmla="*/ 2185549 w 2635718"/>
                <a:gd name="connsiteY145" fmla="*/ 165876 h 2504201"/>
                <a:gd name="connsiteX146" fmla="*/ 2202646 w 2635718"/>
                <a:gd name="connsiteY146" fmla="*/ 164966 h 2504201"/>
                <a:gd name="connsiteX147" fmla="*/ 2208830 w 2635718"/>
                <a:gd name="connsiteY147" fmla="*/ 167330 h 2504201"/>
                <a:gd name="connsiteX148" fmla="*/ 2178137 w 2635718"/>
                <a:gd name="connsiteY148" fmla="*/ 178790 h 2504201"/>
                <a:gd name="connsiteX149" fmla="*/ 1625338 w 2635718"/>
                <a:gd name="connsiteY149" fmla="*/ 251730 h 2504201"/>
                <a:gd name="connsiteX150" fmla="*/ 1657350 w 2635718"/>
                <a:gd name="connsiteY150" fmla="*/ 235723 h 2504201"/>
                <a:gd name="connsiteX151" fmla="*/ 1696638 w 2635718"/>
                <a:gd name="connsiteY151" fmla="*/ 219718 h 2504201"/>
                <a:gd name="connsiteX152" fmla="*/ 1625338 w 2635718"/>
                <a:gd name="connsiteY152" fmla="*/ 251730 h 2504201"/>
                <a:gd name="connsiteX153" fmla="*/ 1644254 w 2635718"/>
                <a:gd name="connsiteY153" fmla="*/ 259003 h 2504201"/>
                <a:gd name="connsiteX154" fmla="*/ 1674811 w 2635718"/>
                <a:gd name="connsiteY154" fmla="*/ 240088 h 2504201"/>
                <a:gd name="connsiteX155" fmla="*/ 1715553 w 2635718"/>
                <a:gd name="connsiteY155" fmla="*/ 226993 h 2504201"/>
                <a:gd name="connsiteX156" fmla="*/ 1644254 w 2635718"/>
                <a:gd name="connsiteY156" fmla="*/ 259003 h 2504201"/>
                <a:gd name="connsiteX157" fmla="*/ 1856789 w 2635718"/>
                <a:gd name="connsiteY157" fmla="*/ 237448 h 2504201"/>
                <a:gd name="connsiteX158" fmla="*/ 1843602 w 2635718"/>
                <a:gd name="connsiteY158" fmla="*/ 237176 h 2504201"/>
                <a:gd name="connsiteX159" fmla="*/ 1866884 w 2635718"/>
                <a:gd name="connsiteY159" fmla="*/ 219715 h 2504201"/>
                <a:gd name="connsiteX160" fmla="*/ 1893075 w 2635718"/>
                <a:gd name="connsiteY160" fmla="*/ 213167 h 2504201"/>
                <a:gd name="connsiteX161" fmla="*/ 1901806 w 2635718"/>
                <a:gd name="connsiteY161" fmla="*/ 215349 h 2504201"/>
                <a:gd name="connsiteX162" fmla="*/ 1856789 w 2635718"/>
                <a:gd name="connsiteY162" fmla="*/ 237448 h 2504201"/>
                <a:gd name="connsiteX163" fmla="*/ 2029991 w 2635718"/>
                <a:gd name="connsiteY163" fmla="*/ 222579 h 2504201"/>
                <a:gd name="connsiteX164" fmla="*/ 2018213 w 2635718"/>
                <a:gd name="connsiteY164" fmla="*/ 221169 h 2504201"/>
                <a:gd name="connsiteX165" fmla="*/ 2037129 w 2635718"/>
                <a:gd name="connsiteY165" fmla="*/ 206618 h 2504201"/>
                <a:gd name="connsiteX166" fmla="*/ 2058046 w 2635718"/>
                <a:gd name="connsiteY166" fmla="*/ 202799 h 2504201"/>
                <a:gd name="connsiteX167" fmla="*/ 2064776 w 2635718"/>
                <a:gd name="connsiteY167" fmla="*/ 206618 h 2504201"/>
                <a:gd name="connsiteX168" fmla="*/ 2029991 w 2635718"/>
                <a:gd name="connsiteY168" fmla="*/ 222579 h 2504201"/>
                <a:gd name="connsiteX169" fmla="*/ 2497302 w 2635718"/>
                <a:gd name="connsiteY169" fmla="*/ 169512 h 2504201"/>
                <a:gd name="connsiteX170" fmla="*/ 2488208 w 2635718"/>
                <a:gd name="connsiteY170" fmla="*/ 168785 h 2504201"/>
                <a:gd name="connsiteX171" fmla="*/ 2495484 w 2635718"/>
                <a:gd name="connsiteY171" fmla="*/ 164419 h 2504201"/>
                <a:gd name="connsiteX172" fmla="*/ 2504214 w 2635718"/>
                <a:gd name="connsiteY172" fmla="*/ 165875 h 2504201"/>
                <a:gd name="connsiteX173" fmla="*/ 2497302 w 2635718"/>
                <a:gd name="connsiteY173" fmla="*/ 169512 h 2504201"/>
                <a:gd name="connsiteX174" fmla="*/ 1685224 w 2635718"/>
                <a:gd name="connsiteY174" fmla="*/ 273099 h 2504201"/>
                <a:gd name="connsiteX175" fmla="*/ 1668991 w 2635718"/>
                <a:gd name="connsiteY175" fmla="*/ 275009 h 2504201"/>
                <a:gd name="connsiteX176" fmla="*/ 1693728 w 2635718"/>
                <a:gd name="connsiteY176" fmla="*/ 256093 h 2504201"/>
                <a:gd name="connsiteX177" fmla="*/ 1696638 w 2635718"/>
                <a:gd name="connsiteY177" fmla="*/ 254637 h 2504201"/>
                <a:gd name="connsiteX178" fmla="*/ 1727559 w 2635718"/>
                <a:gd name="connsiteY178" fmla="*/ 244088 h 2504201"/>
                <a:gd name="connsiteX179" fmla="*/ 1738836 w 2635718"/>
                <a:gd name="connsiteY179" fmla="*/ 244451 h 2504201"/>
                <a:gd name="connsiteX180" fmla="*/ 1685224 w 2635718"/>
                <a:gd name="connsiteY180" fmla="*/ 273099 h 2504201"/>
                <a:gd name="connsiteX181" fmla="*/ 2355249 w 2635718"/>
                <a:gd name="connsiteY181" fmla="*/ 192794 h 2504201"/>
                <a:gd name="connsiteX182" fmla="*/ 2341244 w 2635718"/>
                <a:gd name="connsiteY182" fmla="*/ 190611 h 2504201"/>
                <a:gd name="connsiteX183" fmla="*/ 2352885 w 2635718"/>
                <a:gd name="connsiteY183" fmla="*/ 183336 h 2504201"/>
                <a:gd name="connsiteX184" fmla="*/ 2362707 w 2635718"/>
                <a:gd name="connsiteY184" fmla="*/ 183154 h 2504201"/>
                <a:gd name="connsiteX185" fmla="*/ 2365980 w 2635718"/>
                <a:gd name="connsiteY185" fmla="*/ 186246 h 2504201"/>
                <a:gd name="connsiteX186" fmla="*/ 2355249 w 2635718"/>
                <a:gd name="connsiteY186" fmla="*/ 192794 h 2504201"/>
                <a:gd name="connsiteX187" fmla="*/ 2212832 w 2635718"/>
                <a:gd name="connsiteY187" fmla="*/ 224624 h 2504201"/>
                <a:gd name="connsiteX188" fmla="*/ 2192824 w 2635718"/>
                <a:gd name="connsiteY188" fmla="*/ 224078 h 2504201"/>
                <a:gd name="connsiteX189" fmla="*/ 2207375 w 2635718"/>
                <a:gd name="connsiteY189" fmla="*/ 212438 h 2504201"/>
                <a:gd name="connsiteX190" fmla="*/ 2220653 w 2635718"/>
                <a:gd name="connsiteY190" fmla="*/ 211710 h 2504201"/>
                <a:gd name="connsiteX191" fmla="*/ 2226292 w 2635718"/>
                <a:gd name="connsiteY191" fmla="*/ 215348 h 2504201"/>
                <a:gd name="connsiteX192" fmla="*/ 2212832 w 2635718"/>
                <a:gd name="connsiteY192" fmla="*/ 224624 h 2504201"/>
                <a:gd name="connsiteX193" fmla="*/ 1886436 w 2635718"/>
                <a:gd name="connsiteY193" fmla="*/ 274030 h 2504201"/>
                <a:gd name="connsiteX194" fmla="*/ 1872704 w 2635718"/>
                <a:gd name="connsiteY194" fmla="*/ 273552 h 2504201"/>
                <a:gd name="connsiteX195" fmla="*/ 1893076 w 2635718"/>
                <a:gd name="connsiteY195" fmla="*/ 254636 h 2504201"/>
                <a:gd name="connsiteX196" fmla="*/ 1917448 w 2635718"/>
                <a:gd name="connsiteY196" fmla="*/ 248269 h 2504201"/>
                <a:gd name="connsiteX197" fmla="*/ 1926543 w 2635718"/>
                <a:gd name="connsiteY197" fmla="*/ 251726 h 2504201"/>
                <a:gd name="connsiteX198" fmla="*/ 1886436 w 2635718"/>
                <a:gd name="connsiteY198" fmla="*/ 274030 h 2504201"/>
                <a:gd name="connsiteX199" fmla="*/ 1459458 w 2635718"/>
                <a:gd name="connsiteY199" fmla="*/ 327395 h 2504201"/>
                <a:gd name="connsiteX200" fmla="*/ 1460914 w 2635718"/>
                <a:gd name="connsiteY200" fmla="*/ 325939 h 2504201"/>
                <a:gd name="connsiteX201" fmla="*/ 1504566 w 2635718"/>
                <a:gd name="connsiteY201" fmla="*/ 304113 h 2504201"/>
                <a:gd name="connsiteX202" fmla="*/ 1532213 w 2635718"/>
                <a:gd name="connsiteY202" fmla="*/ 289563 h 2504201"/>
                <a:gd name="connsiteX203" fmla="*/ 1535123 w 2635718"/>
                <a:gd name="connsiteY203" fmla="*/ 288108 h 2504201"/>
                <a:gd name="connsiteX204" fmla="*/ 1459458 w 2635718"/>
                <a:gd name="connsiteY204" fmla="*/ 327395 h 2504201"/>
                <a:gd name="connsiteX205" fmla="*/ 1475464 w 2635718"/>
                <a:gd name="connsiteY205" fmla="*/ 325939 h 2504201"/>
                <a:gd name="connsiteX206" fmla="*/ 1508931 w 2635718"/>
                <a:gd name="connsiteY206" fmla="*/ 305568 h 2504201"/>
                <a:gd name="connsiteX207" fmla="*/ 1554039 w 2635718"/>
                <a:gd name="connsiteY207" fmla="*/ 285197 h 2504201"/>
                <a:gd name="connsiteX208" fmla="*/ 1475464 w 2635718"/>
                <a:gd name="connsiteY208" fmla="*/ 325939 h 2504201"/>
                <a:gd name="connsiteX209" fmla="*/ 1713849 w 2635718"/>
                <a:gd name="connsiteY209" fmla="*/ 299699 h 2504201"/>
                <a:gd name="connsiteX210" fmla="*/ 1698093 w 2635718"/>
                <a:gd name="connsiteY210" fmla="*/ 299744 h 2504201"/>
                <a:gd name="connsiteX211" fmla="*/ 1722830 w 2635718"/>
                <a:gd name="connsiteY211" fmla="*/ 277919 h 2504201"/>
                <a:gd name="connsiteX212" fmla="*/ 1752477 w 2635718"/>
                <a:gd name="connsiteY212" fmla="*/ 268278 h 2504201"/>
                <a:gd name="connsiteX213" fmla="*/ 1763572 w 2635718"/>
                <a:gd name="connsiteY213" fmla="*/ 270643 h 2504201"/>
                <a:gd name="connsiteX214" fmla="*/ 1713849 w 2635718"/>
                <a:gd name="connsiteY214" fmla="*/ 299699 h 2504201"/>
                <a:gd name="connsiteX215" fmla="*/ 1497291 w 2635718"/>
                <a:gd name="connsiteY215" fmla="*/ 331758 h 2504201"/>
                <a:gd name="connsiteX216" fmla="*/ 1529303 w 2635718"/>
                <a:gd name="connsiteY216" fmla="*/ 308477 h 2504201"/>
                <a:gd name="connsiteX217" fmla="*/ 1575866 w 2635718"/>
                <a:gd name="connsiteY217" fmla="*/ 292471 h 2504201"/>
                <a:gd name="connsiteX218" fmla="*/ 1497291 w 2635718"/>
                <a:gd name="connsiteY218" fmla="*/ 331758 h 2504201"/>
                <a:gd name="connsiteX219" fmla="*/ 2071324 w 2635718"/>
                <a:gd name="connsiteY219" fmla="*/ 264275 h 2504201"/>
                <a:gd name="connsiteX220" fmla="*/ 2045860 w 2635718"/>
                <a:gd name="connsiteY220" fmla="*/ 264820 h 2504201"/>
                <a:gd name="connsiteX221" fmla="*/ 2061866 w 2635718"/>
                <a:gd name="connsiteY221" fmla="*/ 248815 h 2504201"/>
                <a:gd name="connsiteX222" fmla="*/ 2080419 w 2635718"/>
                <a:gd name="connsiteY222" fmla="*/ 248087 h 2504201"/>
                <a:gd name="connsiteX223" fmla="*/ 2088057 w 2635718"/>
                <a:gd name="connsiteY223" fmla="*/ 251725 h 2504201"/>
                <a:gd name="connsiteX224" fmla="*/ 2071324 w 2635718"/>
                <a:gd name="connsiteY224" fmla="*/ 264275 h 2504201"/>
                <a:gd name="connsiteX225" fmla="*/ 1526392 w 2635718"/>
                <a:gd name="connsiteY225" fmla="*/ 346308 h 2504201"/>
                <a:gd name="connsiteX226" fmla="*/ 1548219 w 2635718"/>
                <a:gd name="connsiteY226" fmla="*/ 324482 h 2504201"/>
                <a:gd name="connsiteX227" fmla="*/ 1555494 w 2635718"/>
                <a:gd name="connsiteY227" fmla="*/ 320117 h 2504201"/>
                <a:gd name="connsiteX228" fmla="*/ 1589143 w 2635718"/>
                <a:gd name="connsiteY228" fmla="*/ 307021 h 2504201"/>
                <a:gd name="connsiteX229" fmla="*/ 1602057 w 2635718"/>
                <a:gd name="connsiteY229" fmla="*/ 307021 h 2504201"/>
                <a:gd name="connsiteX230" fmla="*/ 1526392 w 2635718"/>
                <a:gd name="connsiteY230" fmla="*/ 346308 h 2504201"/>
                <a:gd name="connsiteX231" fmla="*/ 2370528 w 2635718"/>
                <a:gd name="connsiteY231" fmla="*/ 248995 h 2504201"/>
                <a:gd name="connsiteX232" fmla="*/ 2358705 w 2635718"/>
                <a:gd name="connsiteY232" fmla="*/ 247359 h 2504201"/>
                <a:gd name="connsiteX233" fmla="*/ 2367435 w 2635718"/>
                <a:gd name="connsiteY233" fmla="*/ 240083 h 2504201"/>
                <a:gd name="connsiteX234" fmla="*/ 2379076 w 2635718"/>
                <a:gd name="connsiteY234" fmla="*/ 242993 h 2504201"/>
                <a:gd name="connsiteX235" fmla="*/ 2370528 w 2635718"/>
                <a:gd name="connsiteY235" fmla="*/ 248995 h 2504201"/>
                <a:gd name="connsiteX236" fmla="*/ 1749089 w 2635718"/>
                <a:gd name="connsiteY236" fmla="*/ 333597 h 2504201"/>
                <a:gd name="connsiteX237" fmla="*/ 1733015 w 2635718"/>
                <a:gd name="connsiteY237" fmla="*/ 333211 h 2504201"/>
                <a:gd name="connsiteX238" fmla="*/ 1754841 w 2635718"/>
                <a:gd name="connsiteY238" fmla="*/ 309929 h 2504201"/>
                <a:gd name="connsiteX239" fmla="*/ 1781397 w 2635718"/>
                <a:gd name="connsiteY239" fmla="*/ 302290 h 2504201"/>
                <a:gd name="connsiteX240" fmla="*/ 1792674 w 2635718"/>
                <a:gd name="connsiteY240" fmla="*/ 305564 h 2504201"/>
                <a:gd name="connsiteX241" fmla="*/ 1749089 w 2635718"/>
                <a:gd name="connsiteY241" fmla="*/ 333597 h 2504201"/>
                <a:gd name="connsiteX242" fmla="*/ 1918380 w 2635718"/>
                <a:gd name="connsiteY242" fmla="*/ 318113 h 2504201"/>
                <a:gd name="connsiteX243" fmla="*/ 1904716 w 2635718"/>
                <a:gd name="connsiteY243" fmla="*/ 315748 h 2504201"/>
                <a:gd name="connsiteX244" fmla="*/ 1922177 w 2635718"/>
                <a:gd name="connsiteY244" fmla="*/ 295377 h 2504201"/>
                <a:gd name="connsiteX245" fmla="*/ 1944731 w 2635718"/>
                <a:gd name="connsiteY245" fmla="*/ 292286 h 2504201"/>
                <a:gd name="connsiteX246" fmla="*/ 1954189 w 2635718"/>
                <a:gd name="connsiteY246" fmla="*/ 296833 h 2504201"/>
                <a:gd name="connsiteX247" fmla="*/ 1918380 w 2635718"/>
                <a:gd name="connsiteY247" fmla="*/ 318113 h 2504201"/>
                <a:gd name="connsiteX248" fmla="*/ 2233931 w 2635718"/>
                <a:gd name="connsiteY248" fmla="*/ 279916 h 2504201"/>
                <a:gd name="connsiteX249" fmla="*/ 2216106 w 2635718"/>
                <a:gd name="connsiteY249" fmla="*/ 279371 h 2504201"/>
                <a:gd name="connsiteX250" fmla="*/ 2227747 w 2635718"/>
                <a:gd name="connsiteY250" fmla="*/ 267730 h 2504201"/>
                <a:gd name="connsiteX251" fmla="*/ 2240842 w 2635718"/>
                <a:gd name="connsiteY251" fmla="*/ 267003 h 2504201"/>
                <a:gd name="connsiteX252" fmla="*/ 2245207 w 2635718"/>
                <a:gd name="connsiteY252" fmla="*/ 270640 h 2504201"/>
                <a:gd name="connsiteX253" fmla="*/ 2233931 w 2635718"/>
                <a:gd name="connsiteY253" fmla="*/ 279916 h 2504201"/>
                <a:gd name="connsiteX254" fmla="*/ 1577343 w 2635718"/>
                <a:gd name="connsiteY254" fmla="*/ 367770 h 2504201"/>
                <a:gd name="connsiteX255" fmla="*/ 1558404 w 2635718"/>
                <a:gd name="connsiteY255" fmla="*/ 369589 h 2504201"/>
                <a:gd name="connsiteX256" fmla="*/ 1584596 w 2635718"/>
                <a:gd name="connsiteY256" fmla="*/ 341943 h 2504201"/>
                <a:gd name="connsiteX257" fmla="*/ 1617153 w 2635718"/>
                <a:gd name="connsiteY257" fmla="*/ 330301 h 2504201"/>
                <a:gd name="connsiteX258" fmla="*/ 1631158 w 2635718"/>
                <a:gd name="connsiteY258" fmla="*/ 331757 h 2504201"/>
                <a:gd name="connsiteX259" fmla="*/ 1577343 w 2635718"/>
                <a:gd name="connsiteY259" fmla="*/ 367770 h 2504201"/>
                <a:gd name="connsiteX260" fmla="*/ 1331409 w 2635718"/>
                <a:gd name="connsiteY260" fmla="*/ 407424 h 2504201"/>
                <a:gd name="connsiteX261" fmla="*/ 1366332 w 2635718"/>
                <a:gd name="connsiteY261" fmla="*/ 382688 h 2504201"/>
                <a:gd name="connsiteX262" fmla="*/ 1415805 w 2635718"/>
                <a:gd name="connsiteY262" fmla="*/ 357951 h 2504201"/>
                <a:gd name="connsiteX263" fmla="*/ 1331409 w 2635718"/>
                <a:gd name="connsiteY263" fmla="*/ 407424 h 2504201"/>
                <a:gd name="connsiteX264" fmla="*/ 1313948 w 2635718"/>
                <a:gd name="connsiteY264" fmla="*/ 410339 h 2504201"/>
                <a:gd name="connsiteX265" fmla="*/ 1324134 w 2635718"/>
                <a:gd name="connsiteY265" fmla="*/ 403059 h 2504201"/>
                <a:gd name="connsiteX266" fmla="*/ 1383793 w 2635718"/>
                <a:gd name="connsiteY266" fmla="*/ 368137 h 2504201"/>
                <a:gd name="connsiteX267" fmla="*/ 1395433 w 2635718"/>
                <a:gd name="connsiteY267" fmla="*/ 362317 h 2504201"/>
                <a:gd name="connsiteX268" fmla="*/ 1313948 w 2635718"/>
                <a:gd name="connsiteY268" fmla="*/ 410339 h 2504201"/>
                <a:gd name="connsiteX269" fmla="*/ 2098244 w 2635718"/>
                <a:gd name="connsiteY269" fmla="*/ 319022 h 2504201"/>
                <a:gd name="connsiteX270" fmla="*/ 2076417 w 2635718"/>
                <a:gd name="connsiteY270" fmla="*/ 320113 h 2504201"/>
                <a:gd name="connsiteX271" fmla="*/ 2089513 w 2635718"/>
                <a:gd name="connsiteY271" fmla="*/ 304107 h 2504201"/>
                <a:gd name="connsiteX272" fmla="*/ 2105337 w 2635718"/>
                <a:gd name="connsiteY272" fmla="*/ 302288 h 2504201"/>
                <a:gd name="connsiteX273" fmla="*/ 2111339 w 2635718"/>
                <a:gd name="connsiteY273" fmla="*/ 307017 h 2504201"/>
                <a:gd name="connsiteX274" fmla="*/ 2098244 w 2635718"/>
                <a:gd name="connsiteY274" fmla="*/ 319022 h 2504201"/>
                <a:gd name="connsiteX275" fmla="*/ 1357601 w 2635718"/>
                <a:gd name="connsiteY275" fmla="*/ 413248 h 2504201"/>
                <a:gd name="connsiteX276" fmla="*/ 1391069 w 2635718"/>
                <a:gd name="connsiteY276" fmla="*/ 385597 h 2504201"/>
                <a:gd name="connsiteX277" fmla="*/ 1437927 w 2635718"/>
                <a:gd name="connsiteY277" fmla="*/ 363293 h 2504201"/>
                <a:gd name="connsiteX278" fmla="*/ 1441997 w 2635718"/>
                <a:gd name="connsiteY278" fmla="*/ 363771 h 2504201"/>
                <a:gd name="connsiteX279" fmla="*/ 1357601 w 2635718"/>
                <a:gd name="connsiteY279" fmla="*/ 413248 h 2504201"/>
                <a:gd name="connsiteX280" fmla="*/ 1785785 w 2635718"/>
                <a:gd name="connsiteY280" fmla="*/ 373952 h 2504201"/>
                <a:gd name="connsiteX281" fmla="*/ 1769393 w 2635718"/>
                <a:gd name="connsiteY281" fmla="*/ 373952 h 2504201"/>
                <a:gd name="connsiteX282" fmla="*/ 1786854 w 2635718"/>
                <a:gd name="connsiteY282" fmla="*/ 349216 h 2504201"/>
                <a:gd name="connsiteX283" fmla="*/ 1812135 w 2635718"/>
                <a:gd name="connsiteY283" fmla="*/ 343032 h 2504201"/>
                <a:gd name="connsiteX284" fmla="*/ 1823231 w 2635718"/>
                <a:gd name="connsiteY284" fmla="*/ 347761 h 2504201"/>
                <a:gd name="connsiteX285" fmla="*/ 1785785 w 2635718"/>
                <a:gd name="connsiteY285" fmla="*/ 373952 h 2504201"/>
                <a:gd name="connsiteX286" fmla="*/ 1389613 w 2635718"/>
                <a:gd name="connsiteY286" fmla="*/ 426341 h 2504201"/>
                <a:gd name="connsiteX287" fmla="*/ 1411440 w 2635718"/>
                <a:gd name="connsiteY287" fmla="*/ 401602 h 2504201"/>
                <a:gd name="connsiteX288" fmla="*/ 1420171 w 2635718"/>
                <a:gd name="connsiteY288" fmla="*/ 395782 h 2504201"/>
                <a:gd name="connsiteX289" fmla="*/ 1471099 w 2635718"/>
                <a:gd name="connsiteY289" fmla="*/ 376865 h 2504201"/>
                <a:gd name="connsiteX290" fmla="*/ 1389613 w 2635718"/>
                <a:gd name="connsiteY290" fmla="*/ 426341 h 2504201"/>
                <a:gd name="connsiteX291" fmla="*/ 1616107 w 2635718"/>
                <a:gd name="connsiteY291" fmla="*/ 399599 h 2504201"/>
                <a:gd name="connsiteX292" fmla="*/ 1597691 w 2635718"/>
                <a:gd name="connsiteY292" fmla="*/ 400145 h 2504201"/>
                <a:gd name="connsiteX293" fmla="*/ 1619518 w 2635718"/>
                <a:gd name="connsiteY293" fmla="*/ 372498 h 2504201"/>
                <a:gd name="connsiteX294" fmla="*/ 1649529 w 2635718"/>
                <a:gd name="connsiteY294" fmla="*/ 362313 h 2504201"/>
                <a:gd name="connsiteX295" fmla="*/ 1663171 w 2635718"/>
                <a:gd name="connsiteY295" fmla="*/ 365223 h 2504201"/>
                <a:gd name="connsiteX296" fmla="*/ 1616107 w 2635718"/>
                <a:gd name="connsiteY296" fmla="*/ 399599 h 2504201"/>
                <a:gd name="connsiteX297" fmla="*/ 1966739 w 2635718"/>
                <a:gd name="connsiteY297" fmla="*/ 365039 h 2504201"/>
                <a:gd name="connsiteX298" fmla="*/ 1939638 w 2635718"/>
                <a:gd name="connsiteY298" fmla="*/ 366676 h 2504201"/>
                <a:gd name="connsiteX299" fmla="*/ 1952734 w 2635718"/>
                <a:gd name="connsiteY299" fmla="*/ 346304 h 2504201"/>
                <a:gd name="connsiteX300" fmla="*/ 1974379 w 2635718"/>
                <a:gd name="connsiteY300" fmla="*/ 345032 h 2504201"/>
                <a:gd name="connsiteX301" fmla="*/ 1981836 w 2635718"/>
                <a:gd name="connsiteY301" fmla="*/ 349215 h 2504201"/>
                <a:gd name="connsiteX302" fmla="*/ 1966739 w 2635718"/>
                <a:gd name="connsiteY302" fmla="*/ 365039 h 2504201"/>
                <a:gd name="connsiteX303" fmla="*/ 2387989 w 2635718"/>
                <a:gd name="connsiteY303" fmla="*/ 313383 h 2504201"/>
                <a:gd name="connsiteX304" fmla="*/ 2379076 w 2635718"/>
                <a:gd name="connsiteY304" fmla="*/ 312837 h 2504201"/>
                <a:gd name="connsiteX305" fmla="*/ 2384897 w 2635718"/>
                <a:gd name="connsiteY305" fmla="*/ 305561 h 2504201"/>
                <a:gd name="connsiteX306" fmla="*/ 2393627 w 2635718"/>
                <a:gd name="connsiteY306" fmla="*/ 308471 h 2504201"/>
                <a:gd name="connsiteX307" fmla="*/ 2387989 w 2635718"/>
                <a:gd name="connsiteY307" fmla="*/ 313383 h 2504201"/>
                <a:gd name="connsiteX308" fmla="*/ 2257212 w 2635718"/>
                <a:gd name="connsiteY308" fmla="*/ 342666 h 2504201"/>
                <a:gd name="connsiteX309" fmla="*/ 2242299 w 2635718"/>
                <a:gd name="connsiteY309" fmla="*/ 341938 h 2504201"/>
                <a:gd name="connsiteX310" fmla="*/ 2251029 w 2635718"/>
                <a:gd name="connsiteY310" fmla="*/ 330298 h 2504201"/>
                <a:gd name="connsiteX311" fmla="*/ 2265580 w 2635718"/>
                <a:gd name="connsiteY311" fmla="*/ 334663 h 2504201"/>
                <a:gd name="connsiteX312" fmla="*/ 2257212 w 2635718"/>
                <a:gd name="connsiteY312" fmla="*/ 342666 h 2504201"/>
                <a:gd name="connsiteX313" fmla="*/ 1427446 w 2635718"/>
                <a:gd name="connsiteY313" fmla="*/ 446709 h 2504201"/>
                <a:gd name="connsiteX314" fmla="*/ 1441997 w 2635718"/>
                <a:gd name="connsiteY314" fmla="*/ 421975 h 2504201"/>
                <a:gd name="connsiteX315" fmla="*/ 1453637 w 2635718"/>
                <a:gd name="connsiteY315" fmla="*/ 414701 h 2504201"/>
                <a:gd name="connsiteX316" fmla="*/ 1498041 w 2635718"/>
                <a:gd name="connsiteY316" fmla="*/ 398122 h 2504201"/>
                <a:gd name="connsiteX317" fmla="*/ 1503111 w 2635718"/>
                <a:gd name="connsiteY317" fmla="*/ 400145 h 2504201"/>
                <a:gd name="connsiteX318" fmla="*/ 1427446 w 2635718"/>
                <a:gd name="connsiteY318" fmla="*/ 446709 h 2504201"/>
                <a:gd name="connsiteX319" fmla="*/ 2127346 w 2635718"/>
                <a:gd name="connsiteY319" fmla="*/ 380862 h 2504201"/>
                <a:gd name="connsiteX320" fmla="*/ 2108429 w 2635718"/>
                <a:gd name="connsiteY320" fmla="*/ 381226 h 2504201"/>
                <a:gd name="connsiteX321" fmla="*/ 2117160 w 2635718"/>
                <a:gd name="connsiteY321" fmla="*/ 366675 h 2504201"/>
                <a:gd name="connsiteX322" fmla="*/ 2132257 w 2635718"/>
                <a:gd name="connsiteY322" fmla="*/ 365403 h 2504201"/>
                <a:gd name="connsiteX323" fmla="*/ 2137531 w 2635718"/>
                <a:gd name="connsiteY323" fmla="*/ 369585 h 2504201"/>
                <a:gd name="connsiteX324" fmla="*/ 2127346 w 2635718"/>
                <a:gd name="connsiteY324" fmla="*/ 380862 h 2504201"/>
                <a:gd name="connsiteX325" fmla="*/ 1658601 w 2635718"/>
                <a:gd name="connsiteY325" fmla="*/ 439955 h 2504201"/>
                <a:gd name="connsiteX326" fmla="*/ 1639889 w 2635718"/>
                <a:gd name="connsiteY326" fmla="*/ 440887 h 2504201"/>
                <a:gd name="connsiteX327" fmla="*/ 1655896 w 2635718"/>
                <a:gd name="connsiteY327" fmla="*/ 411787 h 2504201"/>
                <a:gd name="connsiteX328" fmla="*/ 1685179 w 2635718"/>
                <a:gd name="connsiteY328" fmla="*/ 402509 h 2504201"/>
                <a:gd name="connsiteX329" fmla="*/ 1698093 w 2635718"/>
                <a:gd name="connsiteY329" fmla="*/ 407419 h 2504201"/>
                <a:gd name="connsiteX330" fmla="*/ 1658601 w 2635718"/>
                <a:gd name="connsiteY330" fmla="*/ 439955 h 2504201"/>
                <a:gd name="connsiteX331" fmla="*/ 1196086 w 2635718"/>
                <a:gd name="connsiteY331" fmla="*/ 497642 h 2504201"/>
                <a:gd name="connsiteX332" fmla="*/ 1232463 w 2635718"/>
                <a:gd name="connsiteY332" fmla="*/ 468540 h 2504201"/>
                <a:gd name="connsiteX333" fmla="*/ 1284847 w 2635718"/>
                <a:gd name="connsiteY333" fmla="*/ 437982 h 2504201"/>
                <a:gd name="connsiteX334" fmla="*/ 1196086 w 2635718"/>
                <a:gd name="connsiteY334" fmla="*/ 497642 h 2504201"/>
                <a:gd name="connsiteX335" fmla="*/ 1175715 w 2635718"/>
                <a:gd name="connsiteY335" fmla="*/ 502007 h 2504201"/>
                <a:gd name="connsiteX336" fmla="*/ 1206272 w 2635718"/>
                <a:gd name="connsiteY336" fmla="*/ 480182 h 2504201"/>
                <a:gd name="connsiteX337" fmla="*/ 1226643 w 2635718"/>
                <a:gd name="connsiteY337" fmla="*/ 465630 h 2504201"/>
                <a:gd name="connsiteX338" fmla="*/ 1261566 w 2635718"/>
                <a:gd name="connsiteY338" fmla="*/ 443803 h 2504201"/>
                <a:gd name="connsiteX339" fmla="*/ 1175715 w 2635718"/>
                <a:gd name="connsiteY339" fmla="*/ 502007 h 2504201"/>
                <a:gd name="connsiteX340" fmla="*/ 1824982 w 2635718"/>
                <a:gd name="connsiteY340" fmla="*/ 424700 h 2504201"/>
                <a:gd name="connsiteX341" fmla="*/ 1810135 w 2635718"/>
                <a:gd name="connsiteY341" fmla="*/ 423427 h 2504201"/>
                <a:gd name="connsiteX342" fmla="*/ 1823231 w 2635718"/>
                <a:gd name="connsiteY342" fmla="*/ 398688 h 2504201"/>
                <a:gd name="connsiteX343" fmla="*/ 1847058 w 2635718"/>
                <a:gd name="connsiteY343" fmla="*/ 394504 h 2504201"/>
                <a:gd name="connsiteX344" fmla="*/ 1856698 w 2635718"/>
                <a:gd name="connsiteY344" fmla="*/ 400143 h 2504201"/>
                <a:gd name="connsiteX345" fmla="*/ 1824982 w 2635718"/>
                <a:gd name="connsiteY345" fmla="*/ 424700 h 2504201"/>
                <a:gd name="connsiteX346" fmla="*/ 1223733 w 2635718"/>
                <a:gd name="connsiteY346" fmla="*/ 502005 h 2504201"/>
                <a:gd name="connsiteX347" fmla="*/ 1226643 w 2635718"/>
                <a:gd name="connsiteY347" fmla="*/ 493274 h 2504201"/>
                <a:gd name="connsiteX348" fmla="*/ 1257200 w 2635718"/>
                <a:gd name="connsiteY348" fmla="*/ 468539 h 2504201"/>
                <a:gd name="connsiteX349" fmla="*/ 1308151 w 2635718"/>
                <a:gd name="connsiteY349" fmla="*/ 442141 h 2504201"/>
                <a:gd name="connsiteX350" fmla="*/ 1312494 w 2635718"/>
                <a:gd name="connsiteY350" fmla="*/ 442345 h 2504201"/>
                <a:gd name="connsiteX351" fmla="*/ 1223733 w 2635718"/>
                <a:gd name="connsiteY351" fmla="*/ 502005 h 2504201"/>
                <a:gd name="connsiteX352" fmla="*/ 1488923 w 2635718"/>
                <a:gd name="connsiteY352" fmla="*/ 473492 h 2504201"/>
                <a:gd name="connsiteX353" fmla="*/ 1466733 w 2635718"/>
                <a:gd name="connsiteY353" fmla="*/ 475812 h 2504201"/>
                <a:gd name="connsiteX354" fmla="*/ 1488559 w 2635718"/>
                <a:gd name="connsiteY354" fmla="*/ 442343 h 2504201"/>
                <a:gd name="connsiteX355" fmla="*/ 1523118 w 2635718"/>
                <a:gd name="connsiteY355" fmla="*/ 429067 h 2504201"/>
                <a:gd name="connsiteX356" fmla="*/ 1538033 w 2635718"/>
                <a:gd name="connsiteY356" fmla="*/ 432158 h 2504201"/>
                <a:gd name="connsiteX357" fmla="*/ 1488923 w 2635718"/>
                <a:gd name="connsiteY357" fmla="*/ 473492 h 2504201"/>
                <a:gd name="connsiteX358" fmla="*/ 1257199 w 2635718"/>
                <a:gd name="connsiteY358" fmla="*/ 512191 h 2504201"/>
                <a:gd name="connsiteX359" fmla="*/ 1279026 w 2635718"/>
                <a:gd name="connsiteY359" fmla="*/ 483090 h 2504201"/>
                <a:gd name="connsiteX360" fmla="*/ 1287756 w 2635718"/>
                <a:gd name="connsiteY360" fmla="*/ 477270 h 2504201"/>
                <a:gd name="connsiteX361" fmla="*/ 1339117 w 2635718"/>
                <a:gd name="connsiteY361" fmla="*/ 453326 h 2504201"/>
                <a:gd name="connsiteX362" fmla="*/ 1344505 w 2635718"/>
                <a:gd name="connsiteY362" fmla="*/ 453984 h 2504201"/>
                <a:gd name="connsiteX363" fmla="*/ 1257199 w 2635718"/>
                <a:gd name="connsiteY363" fmla="*/ 512191 h 2504201"/>
                <a:gd name="connsiteX364" fmla="*/ 2002389 w 2635718"/>
                <a:gd name="connsiteY364" fmla="*/ 425790 h 2504201"/>
                <a:gd name="connsiteX365" fmla="*/ 1978925 w 2635718"/>
                <a:gd name="connsiteY365" fmla="*/ 427790 h 2504201"/>
                <a:gd name="connsiteX366" fmla="*/ 1989111 w 2635718"/>
                <a:gd name="connsiteY366" fmla="*/ 407418 h 2504201"/>
                <a:gd name="connsiteX367" fmla="*/ 2006391 w 2635718"/>
                <a:gd name="connsiteY367" fmla="*/ 405781 h 2504201"/>
                <a:gd name="connsiteX368" fmla="*/ 2013848 w 2635718"/>
                <a:gd name="connsiteY368" fmla="*/ 411785 h 2504201"/>
                <a:gd name="connsiteX369" fmla="*/ 2002389 w 2635718"/>
                <a:gd name="connsiteY369" fmla="*/ 425790 h 2504201"/>
                <a:gd name="connsiteX370" fmla="*/ 1297943 w 2635718"/>
                <a:gd name="connsiteY370" fmla="*/ 532560 h 2504201"/>
                <a:gd name="connsiteX371" fmla="*/ 1311039 w 2635718"/>
                <a:gd name="connsiteY371" fmla="*/ 504913 h 2504201"/>
                <a:gd name="connsiteX372" fmla="*/ 1322679 w 2635718"/>
                <a:gd name="connsiteY372" fmla="*/ 496182 h 2504201"/>
                <a:gd name="connsiteX373" fmla="*/ 1379428 w 2635718"/>
                <a:gd name="connsiteY373" fmla="*/ 475812 h 2504201"/>
                <a:gd name="connsiteX374" fmla="*/ 1297943 w 2635718"/>
                <a:gd name="connsiteY374" fmla="*/ 532560 h 2504201"/>
                <a:gd name="connsiteX375" fmla="*/ 2281403 w 2635718"/>
                <a:gd name="connsiteY375" fmla="*/ 414148 h 2504201"/>
                <a:gd name="connsiteX376" fmla="*/ 2269944 w 2635718"/>
                <a:gd name="connsiteY376" fmla="*/ 413238 h 2504201"/>
                <a:gd name="connsiteX377" fmla="*/ 2275764 w 2635718"/>
                <a:gd name="connsiteY377" fmla="*/ 403052 h 2504201"/>
                <a:gd name="connsiteX378" fmla="*/ 2287405 w 2635718"/>
                <a:gd name="connsiteY378" fmla="*/ 407417 h 2504201"/>
                <a:gd name="connsiteX379" fmla="*/ 2281403 w 2635718"/>
                <a:gd name="connsiteY379" fmla="*/ 414148 h 2504201"/>
                <a:gd name="connsiteX380" fmla="*/ 1701958 w 2635718"/>
                <a:gd name="connsiteY380" fmla="*/ 487177 h 2504201"/>
                <a:gd name="connsiteX381" fmla="*/ 1684997 w 2635718"/>
                <a:gd name="connsiteY381" fmla="*/ 485994 h 2504201"/>
                <a:gd name="connsiteX382" fmla="*/ 1698093 w 2635718"/>
                <a:gd name="connsiteY382" fmla="*/ 458346 h 2504201"/>
                <a:gd name="connsiteX383" fmla="*/ 1724103 w 2635718"/>
                <a:gd name="connsiteY383" fmla="*/ 451071 h 2504201"/>
                <a:gd name="connsiteX384" fmla="*/ 1735925 w 2635718"/>
                <a:gd name="connsiteY384" fmla="*/ 456891 h 2504201"/>
                <a:gd name="connsiteX385" fmla="*/ 1701958 w 2635718"/>
                <a:gd name="connsiteY385" fmla="*/ 487177 h 2504201"/>
                <a:gd name="connsiteX386" fmla="*/ 1536805 w 2635718"/>
                <a:gd name="connsiteY386" fmla="*/ 509709 h 2504201"/>
                <a:gd name="connsiteX387" fmla="*/ 1516207 w 2635718"/>
                <a:gd name="connsiteY387" fmla="*/ 512187 h 2504201"/>
                <a:gd name="connsiteX388" fmla="*/ 1527847 w 2635718"/>
                <a:gd name="connsiteY388" fmla="*/ 481630 h 2504201"/>
                <a:gd name="connsiteX389" fmla="*/ 1530757 w 2635718"/>
                <a:gd name="connsiteY389" fmla="*/ 480175 h 2504201"/>
                <a:gd name="connsiteX390" fmla="*/ 1562224 w 2635718"/>
                <a:gd name="connsiteY390" fmla="*/ 467625 h 2504201"/>
                <a:gd name="connsiteX391" fmla="*/ 1577320 w 2635718"/>
                <a:gd name="connsiteY391" fmla="*/ 471445 h 2504201"/>
                <a:gd name="connsiteX392" fmla="*/ 1536805 w 2635718"/>
                <a:gd name="connsiteY392" fmla="*/ 509709 h 2504201"/>
                <a:gd name="connsiteX393" fmla="*/ 1868111 w 2635718"/>
                <a:gd name="connsiteY393" fmla="*/ 481697 h 2504201"/>
                <a:gd name="connsiteX394" fmla="*/ 1855243 w 2635718"/>
                <a:gd name="connsiteY394" fmla="*/ 480174 h 2504201"/>
                <a:gd name="connsiteX395" fmla="*/ 1863974 w 2635718"/>
                <a:gd name="connsiteY395" fmla="*/ 456891 h 2504201"/>
                <a:gd name="connsiteX396" fmla="*/ 1884527 w 2635718"/>
                <a:gd name="connsiteY396" fmla="*/ 453435 h 2504201"/>
                <a:gd name="connsiteX397" fmla="*/ 1893075 w 2635718"/>
                <a:gd name="connsiteY397" fmla="*/ 459802 h 2504201"/>
                <a:gd name="connsiteX398" fmla="*/ 1868111 w 2635718"/>
                <a:gd name="connsiteY398" fmla="*/ 481697 h 2504201"/>
                <a:gd name="connsiteX399" fmla="*/ 2159539 w 2635718"/>
                <a:gd name="connsiteY399" fmla="*/ 450342 h 2504201"/>
                <a:gd name="connsiteX400" fmla="*/ 2144807 w 2635718"/>
                <a:gd name="connsiteY400" fmla="*/ 451070 h 2504201"/>
                <a:gd name="connsiteX401" fmla="*/ 2150626 w 2635718"/>
                <a:gd name="connsiteY401" fmla="*/ 436520 h 2504201"/>
                <a:gd name="connsiteX402" fmla="*/ 2161358 w 2635718"/>
                <a:gd name="connsiteY402" fmla="*/ 435974 h 2504201"/>
                <a:gd name="connsiteX403" fmla="*/ 2166633 w 2635718"/>
                <a:gd name="connsiteY403" fmla="*/ 440885 h 2504201"/>
                <a:gd name="connsiteX404" fmla="*/ 2159539 w 2635718"/>
                <a:gd name="connsiteY404" fmla="*/ 450342 h 2504201"/>
                <a:gd name="connsiteX405" fmla="*/ 1343050 w 2635718"/>
                <a:gd name="connsiteY405" fmla="*/ 557296 h 2504201"/>
                <a:gd name="connsiteX406" fmla="*/ 1363422 w 2635718"/>
                <a:gd name="connsiteY406" fmla="*/ 519464 h 2504201"/>
                <a:gd name="connsiteX407" fmla="*/ 1400162 w 2635718"/>
                <a:gd name="connsiteY407" fmla="*/ 503458 h 2504201"/>
                <a:gd name="connsiteX408" fmla="*/ 1417260 w 2635718"/>
                <a:gd name="connsiteY408" fmla="*/ 504913 h 2504201"/>
                <a:gd name="connsiteX409" fmla="*/ 1343050 w 2635718"/>
                <a:gd name="connsiteY409" fmla="*/ 557296 h 2504201"/>
                <a:gd name="connsiteX410" fmla="*/ 1065127 w 2635718"/>
                <a:gd name="connsiteY410" fmla="*/ 595134 h 2504201"/>
                <a:gd name="connsiteX411" fmla="*/ 1101505 w 2635718"/>
                <a:gd name="connsiteY411" fmla="*/ 561665 h 2504201"/>
                <a:gd name="connsiteX412" fmla="*/ 1158253 w 2635718"/>
                <a:gd name="connsiteY412" fmla="*/ 525288 h 2504201"/>
                <a:gd name="connsiteX413" fmla="*/ 1065127 w 2635718"/>
                <a:gd name="connsiteY413" fmla="*/ 595134 h 2504201"/>
                <a:gd name="connsiteX414" fmla="*/ 1044756 w 2635718"/>
                <a:gd name="connsiteY414" fmla="*/ 599500 h 2504201"/>
                <a:gd name="connsiteX415" fmla="*/ 1081133 w 2635718"/>
                <a:gd name="connsiteY415" fmla="*/ 568942 h 2504201"/>
                <a:gd name="connsiteX416" fmla="*/ 1133517 w 2635718"/>
                <a:gd name="connsiteY416" fmla="*/ 532564 h 2504201"/>
                <a:gd name="connsiteX417" fmla="*/ 1044756 w 2635718"/>
                <a:gd name="connsiteY417" fmla="*/ 599500 h 2504201"/>
                <a:gd name="connsiteX418" fmla="*/ 1095685 w 2635718"/>
                <a:gd name="connsiteY418" fmla="*/ 598043 h 2504201"/>
                <a:gd name="connsiteX419" fmla="*/ 1097140 w 2635718"/>
                <a:gd name="connsiteY419" fmla="*/ 589312 h 2504201"/>
                <a:gd name="connsiteX420" fmla="*/ 1129152 w 2635718"/>
                <a:gd name="connsiteY420" fmla="*/ 560209 h 2504201"/>
                <a:gd name="connsiteX421" fmla="*/ 1188811 w 2635718"/>
                <a:gd name="connsiteY421" fmla="*/ 526742 h 2504201"/>
                <a:gd name="connsiteX422" fmla="*/ 1095685 w 2635718"/>
                <a:gd name="connsiteY422" fmla="*/ 598043 h 2504201"/>
                <a:gd name="connsiteX423" fmla="*/ 2039676 w 2635718"/>
                <a:gd name="connsiteY423" fmla="*/ 492904 h 2504201"/>
                <a:gd name="connsiteX424" fmla="*/ 2021124 w 2635718"/>
                <a:gd name="connsiteY424" fmla="*/ 494723 h 2504201"/>
                <a:gd name="connsiteX425" fmla="*/ 2026944 w 2635718"/>
                <a:gd name="connsiteY425" fmla="*/ 475807 h 2504201"/>
                <a:gd name="connsiteX426" fmla="*/ 2040949 w 2635718"/>
                <a:gd name="connsiteY426" fmla="*/ 474716 h 2504201"/>
                <a:gd name="connsiteX427" fmla="*/ 2047315 w 2635718"/>
                <a:gd name="connsiteY427" fmla="*/ 480172 h 2504201"/>
                <a:gd name="connsiteX428" fmla="*/ 2039676 w 2635718"/>
                <a:gd name="connsiteY428" fmla="*/ 492904 h 2504201"/>
                <a:gd name="connsiteX429" fmla="*/ 1133517 w 2635718"/>
                <a:gd name="connsiteY429" fmla="*/ 608227 h 2504201"/>
                <a:gd name="connsiteX430" fmla="*/ 1153888 w 2635718"/>
                <a:gd name="connsiteY430" fmla="*/ 574760 h 2504201"/>
                <a:gd name="connsiteX431" fmla="*/ 1162618 w 2635718"/>
                <a:gd name="connsiteY431" fmla="*/ 567484 h 2504201"/>
                <a:gd name="connsiteX432" fmla="*/ 1217253 w 2635718"/>
                <a:gd name="connsiteY432" fmla="*/ 537199 h 2504201"/>
                <a:gd name="connsiteX433" fmla="*/ 1223732 w 2635718"/>
                <a:gd name="connsiteY433" fmla="*/ 538382 h 2504201"/>
                <a:gd name="connsiteX434" fmla="*/ 1133517 w 2635718"/>
                <a:gd name="connsiteY434" fmla="*/ 608227 h 2504201"/>
                <a:gd name="connsiteX435" fmla="*/ 1586369 w 2635718"/>
                <a:gd name="connsiteY435" fmla="*/ 554043 h 2504201"/>
                <a:gd name="connsiteX436" fmla="*/ 1567135 w 2635718"/>
                <a:gd name="connsiteY436" fmla="*/ 555839 h 2504201"/>
                <a:gd name="connsiteX437" fmla="*/ 1574410 w 2635718"/>
                <a:gd name="connsiteY437" fmla="*/ 525282 h 2504201"/>
                <a:gd name="connsiteX438" fmla="*/ 1577320 w 2635718"/>
                <a:gd name="connsiteY438" fmla="*/ 523827 h 2504201"/>
                <a:gd name="connsiteX439" fmla="*/ 1604967 w 2635718"/>
                <a:gd name="connsiteY439" fmla="*/ 514551 h 2504201"/>
                <a:gd name="connsiteX440" fmla="*/ 1619518 w 2635718"/>
                <a:gd name="connsiteY440" fmla="*/ 519461 h 2504201"/>
                <a:gd name="connsiteX441" fmla="*/ 1586369 w 2635718"/>
                <a:gd name="connsiteY441" fmla="*/ 554043 h 2504201"/>
                <a:gd name="connsiteX442" fmla="*/ 1750067 w 2635718"/>
                <a:gd name="connsiteY442" fmla="*/ 540036 h 2504201"/>
                <a:gd name="connsiteX443" fmla="*/ 1734470 w 2635718"/>
                <a:gd name="connsiteY443" fmla="*/ 539832 h 2504201"/>
                <a:gd name="connsiteX444" fmla="*/ 1743200 w 2635718"/>
                <a:gd name="connsiteY444" fmla="*/ 512185 h 2504201"/>
                <a:gd name="connsiteX445" fmla="*/ 1765936 w 2635718"/>
                <a:gd name="connsiteY445" fmla="*/ 507456 h 2504201"/>
                <a:gd name="connsiteX446" fmla="*/ 1776667 w 2635718"/>
                <a:gd name="connsiteY446" fmla="*/ 513640 h 2504201"/>
                <a:gd name="connsiteX447" fmla="*/ 1750067 w 2635718"/>
                <a:gd name="connsiteY447" fmla="*/ 540036 h 2504201"/>
                <a:gd name="connsiteX448" fmla="*/ 1396889 w 2635718"/>
                <a:gd name="connsiteY448" fmla="*/ 590763 h 2504201"/>
                <a:gd name="connsiteX449" fmla="*/ 1407075 w 2635718"/>
                <a:gd name="connsiteY449" fmla="*/ 555840 h 2504201"/>
                <a:gd name="connsiteX450" fmla="*/ 1409985 w 2635718"/>
                <a:gd name="connsiteY450" fmla="*/ 552930 h 2504201"/>
                <a:gd name="connsiteX451" fmla="*/ 1443634 w 2635718"/>
                <a:gd name="connsiteY451" fmla="*/ 539652 h 2504201"/>
                <a:gd name="connsiteX452" fmla="*/ 1460912 w 2635718"/>
                <a:gd name="connsiteY452" fmla="*/ 542744 h 2504201"/>
                <a:gd name="connsiteX453" fmla="*/ 1396889 w 2635718"/>
                <a:gd name="connsiteY453" fmla="*/ 590763 h 2504201"/>
                <a:gd name="connsiteX454" fmla="*/ 1177169 w 2635718"/>
                <a:gd name="connsiteY454" fmla="*/ 622778 h 2504201"/>
                <a:gd name="connsiteX455" fmla="*/ 1188810 w 2635718"/>
                <a:gd name="connsiteY455" fmla="*/ 590765 h 2504201"/>
                <a:gd name="connsiteX456" fmla="*/ 1200452 w 2635718"/>
                <a:gd name="connsiteY456" fmla="*/ 580579 h 2504201"/>
                <a:gd name="connsiteX457" fmla="*/ 1254267 w 2635718"/>
                <a:gd name="connsiteY457" fmla="*/ 555820 h 2504201"/>
                <a:gd name="connsiteX458" fmla="*/ 1261565 w 2635718"/>
                <a:gd name="connsiteY458" fmla="*/ 557298 h 2504201"/>
                <a:gd name="connsiteX459" fmla="*/ 1177169 w 2635718"/>
                <a:gd name="connsiteY459" fmla="*/ 622778 h 2504201"/>
                <a:gd name="connsiteX460" fmla="*/ 1903261 w 2635718"/>
                <a:gd name="connsiteY460" fmla="*/ 545652 h 2504201"/>
                <a:gd name="connsiteX461" fmla="*/ 1909082 w 2635718"/>
                <a:gd name="connsiteY461" fmla="*/ 523825 h 2504201"/>
                <a:gd name="connsiteX462" fmla="*/ 1925269 w 2635718"/>
                <a:gd name="connsiteY462" fmla="*/ 520369 h 2504201"/>
                <a:gd name="connsiteX463" fmla="*/ 1933818 w 2635718"/>
                <a:gd name="connsiteY463" fmla="*/ 526735 h 2504201"/>
                <a:gd name="connsiteX464" fmla="*/ 1903261 w 2635718"/>
                <a:gd name="connsiteY464" fmla="*/ 545652 h 2504201"/>
                <a:gd name="connsiteX465" fmla="*/ 1229553 w 2635718"/>
                <a:gd name="connsiteY465" fmla="*/ 646058 h 2504201"/>
                <a:gd name="connsiteX466" fmla="*/ 1233918 w 2635718"/>
                <a:gd name="connsiteY466" fmla="*/ 614046 h 2504201"/>
                <a:gd name="connsiteX467" fmla="*/ 1245559 w 2635718"/>
                <a:gd name="connsiteY467" fmla="*/ 603860 h 2504201"/>
                <a:gd name="connsiteX468" fmla="*/ 1283209 w 2635718"/>
                <a:gd name="connsiteY468" fmla="*/ 584034 h 2504201"/>
                <a:gd name="connsiteX469" fmla="*/ 1302307 w 2635718"/>
                <a:gd name="connsiteY469" fmla="*/ 584944 h 2504201"/>
                <a:gd name="connsiteX470" fmla="*/ 1229553 w 2635718"/>
                <a:gd name="connsiteY470" fmla="*/ 646058 h 2504201"/>
                <a:gd name="connsiteX471" fmla="*/ 1638457 w 2635718"/>
                <a:gd name="connsiteY471" fmla="*/ 606266 h 2504201"/>
                <a:gd name="connsiteX472" fmla="*/ 1620974 w 2635718"/>
                <a:gd name="connsiteY472" fmla="*/ 606767 h 2504201"/>
                <a:gd name="connsiteX473" fmla="*/ 1628249 w 2635718"/>
                <a:gd name="connsiteY473" fmla="*/ 576209 h 2504201"/>
                <a:gd name="connsiteX474" fmla="*/ 1652621 w 2635718"/>
                <a:gd name="connsiteY474" fmla="*/ 568388 h 2504201"/>
                <a:gd name="connsiteX475" fmla="*/ 1666081 w 2635718"/>
                <a:gd name="connsiteY475" fmla="*/ 574754 h 2504201"/>
                <a:gd name="connsiteX476" fmla="*/ 1638457 w 2635718"/>
                <a:gd name="connsiteY476" fmla="*/ 606266 h 2504201"/>
                <a:gd name="connsiteX477" fmla="*/ 1453637 w 2635718"/>
                <a:gd name="connsiteY477" fmla="*/ 630050 h 2504201"/>
                <a:gd name="connsiteX478" fmla="*/ 1458003 w 2635718"/>
                <a:gd name="connsiteY478" fmla="*/ 596582 h 2504201"/>
                <a:gd name="connsiteX479" fmla="*/ 1460913 w 2635718"/>
                <a:gd name="connsiteY479" fmla="*/ 595127 h 2504201"/>
                <a:gd name="connsiteX480" fmla="*/ 1490742 w 2635718"/>
                <a:gd name="connsiteY480" fmla="*/ 583304 h 2504201"/>
                <a:gd name="connsiteX481" fmla="*/ 1507476 w 2635718"/>
                <a:gd name="connsiteY481" fmla="*/ 587851 h 2504201"/>
                <a:gd name="connsiteX482" fmla="*/ 1453637 w 2635718"/>
                <a:gd name="connsiteY482" fmla="*/ 630050 h 2504201"/>
                <a:gd name="connsiteX483" fmla="*/ 944355 w 2635718"/>
                <a:gd name="connsiteY483" fmla="*/ 699902 h 2504201"/>
                <a:gd name="connsiteX484" fmla="*/ 980732 w 2635718"/>
                <a:gd name="connsiteY484" fmla="*/ 662070 h 2504201"/>
                <a:gd name="connsiteX485" fmla="*/ 1038936 w 2635718"/>
                <a:gd name="connsiteY485" fmla="*/ 619872 h 2504201"/>
                <a:gd name="connsiteX486" fmla="*/ 998193 w 2635718"/>
                <a:gd name="connsiteY486" fmla="*/ 662070 h 2504201"/>
                <a:gd name="connsiteX487" fmla="*/ 944355 w 2635718"/>
                <a:gd name="connsiteY487" fmla="*/ 699902 h 2504201"/>
                <a:gd name="connsiteX488" fmla="*/ 921074 w 2635718"/>
                <a:gd name="connsiteY488" fmla="*/ 704268 h 2504201"/>
                <a:gd name="connsiteX489" fmla="*/ 957451 w 2635718"/>
                <a:gd name="connsiteY489" fmla="*/ 670801 h 2504201"/>
                <a:gd name="connsiteX490" fmla="*/ 1009835 w 2635718"/>
                <a:gd name="connsiteY490" fmla="*/ 628603 h 2504201"/>
                <a:gd name="connsiteX491" fmla="*/ 921074 w 2635718"/>
                <a:gd name="connsiteY491" fmla="*/ 704268 h 2504201"/>
                <a:gd name="connsiteX492" fmla="*/ 974912 w 2635718"/>
                <a:gd name="connsiteY492" fmla="*/ 701356 h 2504201"/>
                <a:gd name="connsiteX493" fmla="*/ 976366 w 2635718"/>
                <a:gd name="connsiteY493" fmla="*/ 688260 h 2504201"/>
                <a:gd name="connsiteX494" fmla="*/ 1006923 w 2635718"/>
                <a:gd name="connsiteY494" fmla="*/ 657702 h 2504201"/>
                <a:gd name="connsiteX495" fmla="*/ 1070948 w 2635718"/>
                <a:gd name="connsiteY495" fmla="*/ 618415 h 2504201"/>
                <a:gd name="connsiteX496" fmla="*/ 974912 w 2635718"/>
                <a:gd name="connsiteY496" fmla="*/ 701356 h 2504201"/>
                <a:gd name="connsiteX497" fmla="*/ 1788309 w 2635718"/>
                <a:gd name="connsiteY497" fmla="*/ 602400 h 2504201"/>
                <a:gd name="connsiteX498" fmla="*/ 1792674 w 2635718"/>
                <a:gd name="connsiteY498" fmla="*/ 576209 h 2504201"/>
                <a:gd name="connsiteX499" fmla="*/ 1812135 w 2635718"/>
                <a:gd name="connsiteY499" fmla="*/ 572753 h 2504201"/>
                <a:gd name="connsiteX500" fmla="*/ 1821775 w 2635718"/>
                <a:gd name="connsiteY500" fmla="*/ 579119 h 2504201"/>
                <a:gd name="connsiteX501" fmla="*/ 1788309 w 2635718"/>
                <a:gd name="connsiteY501" fmla="*/ 602400 h 2504201"/>
                <a:gd name="connsiteX502" fmla="*/ 2077872 w 2635718"/>
                <a:gd name="connsiteY502" fmla="*/ 568023 h 2504201"/>
                <a:gd name="connsiteX503" fmla="*/ 2063321 w 2635718"/>
                <a:gd name="connsiteY503" fmla="*/ 568933 h 2504201"/>
                <a:gd name="connsiteX504" fmla="*/ 2067686 w 2635718"/>
                <a:gd name="connsiteY504" fmla="*/ 552927 h 2504201"/>
                <a:gd name="connsiteX505" fmla="*/ 2078963 w 2635718"/>
                <a:gd name="connsiteY505" fmla="*/ 551835 h 2504201"/>
                <a:gd name="connsiteX506" fmla="*/ 2083693 w 2635718"/>
                <a:gd name="connsiteY506" fmla="*/ 557292 h 2504201"/>
                <a:gd name="connsiteX507" fmla="*/ 2077872 w 2635718"/>
                <a:gd name="connsiteY507" fmla="*/ 568023 h 2504201"/>
                <a:gd name="connsiteX508" fmla="*/ 1017110 w 2635718"/>
                <a:gd name="connsiteY508" fmla="*/ 708630 h 2504201"/>
                <a:gd name="connsiteX509" fmla="*/ 1017110 w 2635718"/>
                <a:gd name="connsiteY509" fmla="*/ 689714 h 2504201"/>
                <a:gd name="connsiteX510" fmla="*/ 1043302 w 2635718"/>
                <a:gd name="connsiteY510" fmla="*/ 662067 h 2504201"/>
                <a:gd name="connsiteX511" fmla="*/ 1101210 w 2635718"/>
                <a:gd name="connsiteY511" fmla="*/ 626462 h 2504201"/>
                <a:gd name="connsiteX512" fmla="*/ 1108781 w 2635718"/>
                <a:gd name="connsiteY512" fmla="*/ 627145 h 2504201"/>
                <a:gd name="connsiteX513" fmla="*/ 1017110 w 2635718"/>
                <a:gd name="connsiteY513" fmla="*/ 708630 h 2504201"/>
                <a:gd name="connsiteX514" fmla="*/ 1283392 w 2635718"/>
                <a:gd name="connsiteY514" fmla="*/ 676615 h 2504201"/>
                <a:gd name="connsiteX515" fmla="*/ 1290667 w 2635718"/>
                <a:gd name="connsiteY515" fmla="*/ 638782 h 2504201"/>
                <a:gd name="connsiteX516" fmla="*/ 1293577 w 2635718"/>
                <a:gd name="connsiteY516" fmla="*/ 635871 h 2504201"/>
                <a:gd name="connsiteX517" fmla="*/ 1329955 w 2635718"/>
                <a:gd name="connsiteY517" fmla="*/ 617683 h 2504201"/>
                <a:gd name="connsiteX518" fmla="*/ 1348871 w 2635718"/>
                <a:gd name="connsiteY518" fmla="*/ 621321 h 2504201"/>
                <a:gd name="connsiteX519" fmla="*/ 1283392 w 2635718"/>
                <a:gd name="connsiteY519" fmla="*/ 676615 h 2504201"/>
                <a:gd name="connsiteX520" fmla="*/ 1063672 w 2635718"/>
                <a:gd name="connsiteY520" fmla="*/ 721724 h 2504201"/>
                <a:gd name="connsiteX521" fmla="*/ 1072403 w 2635718"/>
                <a:gd name="connsiteY521" fmla="*/ 686802 h 2504201"/>
                <a:gd name="connsiteX522" fmla="*/ 1085499 w 2635718"/>
                <a:gd name="connsiteY522" fmla="*/ 675161 h 2504201"/>
                <a:gd name="connsiteX523" fmla="*/ 1140542 w 2635718"/>
                <a:gd name="connsiteY523" fmla="*/ 644059 h 2504201"/>
                <a:gd name="connsiteX524" fmla="*/ 1148068 w 2635718"/>
                <a:gd name="connsiteY524" fmla="*/ 646060 h 2504201"/>
                <a:gd name="connsiteX525" fmla="*/ 1063672 w 2635718"/>
                <a:gd name="connsiteY525" fmla="*/ 721724 h 2504201"/>
                <a:gd name="connsiteX526" fmla="*/ 1954189 w 2635718"/>
                <a:gd name="connsiteY526" fmla="*/ 616951 h 2504201"/>
                <a:gd name="connsiteX527" fmla="*/ 1955644 w 2635718"/>
                <a:gd name="connsiteY527" fmla="*/ 596579 h 2504201"/>
                <a:gd name="connsiteX528" fmla="*/ 1968558 w 2635718"/>
                <a:gd name="connsiteY528" fmla="*/ 595488 h 2504201"/>
                <a:gd name="connsiteX529" fmla="*/ 1976016 w 2635718"/>
                <a:gd name="connsiteY529" fmla="*/ 600944 h 2504201"/>
                <a:gd name="connsiteX530" fmla="*/ 1954189 w 2635718"/>
                <a:gd name="connsiteY530" fmla="*/ 616951 h 2504201"/>
                <a:gd name="connsiteX531" fmla="*/ 1514751 w 2635718"/>
                <a:gd name="connsiteY531" fmla="*/ 678068 h 2504201"/>
                <a:gd name="connsiteX532" fmla="*/ 1514751 w 2635718"/>
                <a:gd name="connsiteY532" fmla="*/ 646055 h 2504201"/>
                <a:gd name="connsiteX533" fmla="*/ 1517661 w 2635718"/>
                <a:gd name="connsiteY533" fmla="*/ 644600 h 2504201"/>
                <a:gd name="connsiteX534" fmla="*/ 1542944 w 2635718"/>
                <a:gd name="connsiteY534" fmla="*/ 634778 h 2504201"/>
                <a:gd name="connsiteX535" fmla="*/ 1558403 w 2635718"/>
                <a:gd name="connsiteY535" fmla="*/ 640234 h 2504201"/>
                <a:gd name="connsiteX536" fmla="*/ 1514751 w 2635718"/>
                <a:gd name="connsiteY536" fmla="*/ 678068 h 2504201"/>
                <a:gd name="connsiteX537" fmla="*/ 1695296 w 2635718"/>
                <a:gd name="connsiteY537" fmla="*/ 663492 h 2504201"/>
                <a:gd name="connsiteX538" fmla="*/ 1680632 w 2635718"/>
                <a:gd name="connsiteY538" fmla="*/ 663514 h 2504201"/>
                <a:gd name="connsiteX539" fmla="*/ 1682087 w 2635718"/>
                <a:gd name="connsiteY539" fmla="*/ 634413 h 2504201"/>
                <a:gd name="connsiteX540" fmla="*/ 1703731 w 2635718"/>
                <a:gd name="connsiteY540" fmla="*/ 629683 h 2504201"/>
                <a:gd name="connsiteX541" fmla="*/ 1715555 w 2635718"/>
                <a:gd name="connsiteY541" fmla="*/ 635868 h 2504201"/>
                <a:gd name="connsiteX542" fmla="*/ 1695296 w 2635718"/>
                <a:gd name="connsiteY542" fmla="*/ 663492 h 2504201"/>
                <a:gd name="connsiteX543" fmla="*/ 1117511 w 2635718"/>
                <a:gd name="connsiteY543" fmla="*/ 739184 h 2504201"/>
                <a:gd name="connsiteX544" fmla="*/ 1120421 w 2635718"/>
                <a:gd name="connsiteY544" fmla="*/ 704262 h 2504201"/>
                <a:gd name="connsiteX545" fmla="*/ 1132062 w 2635718"/>
                <a:gd name="connsiteY545" fmla="*/ 694076 h 2504201"/>
                <a:gd name="connsiteX546" fmla="*/ 1184240 w 2635718"/>
                <a:gd name="connsiteY546" fmla="*/ 669113 h 2504201"/>
                <a:gd name="connsiteX547" fmla="*/ 1191720 w 2635718"/>
                <a:gd name="connsiteY547" fmla="*/ 670796 h 2504201"/>
                <a:gd name="connsiteX548" fmla="*/ 1117511 w 2635718"/>
                <a:gd name="connsiteY548" fmla="*/ 739184 h 2504201"/>
                <a:gd name="connsiteX549" fmla="*/ 1345961 w 2635718"/>
                <a:gd name="connsiteY549" fmla="*/ 711535 h 2504201"/>
                <a:gd name="connsiteX550" fmla="*/ 1347416 w 2635718"/>
                <a:gd name="connsiteY550" fmla="*/ 675158 h 2504201"/>
                <a:gd name="connsiteX551" fmla="*/ 1350326 w 2635718"/>
                <a:gd name="connsiteY551" fmla="*/ 672248 h 2504201"/>
                <a:gd name="connsiteX552" fmla="*/ 1382155 w 2635718"/>
                <a:gd name="connsiteY552" fmla="*/ 659152 h 2504201"/>
                <a:gd name="connsiteX553" fmla="*/ 1399799 w 2635718"/>
                <a:gd name="connsiteY553" fmla="*/ 663517 h 2504201"/>
                <a:gd name="connsiteX554" fmla="*/ 1345961 w 2635718"/>
                <a:gd name="connsiteY554" fmla="*/ 711535 h 2504201"/>
                <a:gd name="connsiteX555" fmla="*/ 1845058 w 2635718"/>
                <a:gd name="connsiteY555" fmla="*/ 670790 h 2504201"/>
                <a:gd name="connsiteX556" fmla="*/ 1845058 w 2635718"/>
                <a:gd name="connsiteY556" fmla="*/ 647507 h 2504201"/>
                <a:gd name="connsiteX557" fmla="*/ 1862336 w 2635718"/>
                <a:gd name="connsiteY557" fmla="*/ 644597 h 2504201"/>
                <a:gd name="connsiteX558" fmla="*/ 1869794 w 2635718"/>
                <a:gd name="connsiteY558" fmla="*/ 650418 h 2504201"/>
                <a:gd name="connsiteX559" fmla="*/ 1845058 w 2635718"/>
                <a:gd name="connsiteY559" fmla="*/ 670790 h 2504201"/>
                <a:gd name="connsiteX560" fmla="*/ 1178625 w 2635718"/>
                <a:gd name="connsiteY560" fmla="*/ 765374 h 2504201"/>
                <a:gd name="connsiteX561" fmla="*/ 1174260 w 2635718"/>
                <a:gd name="connsiteY561" fmla="*/ 731907 h 2504201"/>
                <a:gd name="connsiteX562" fmla="*/ 1184446 w 2635718"/>
                <a:gd name="connsiteY562" fmla="*/ 721722 h 2504201"/>
                <a:gd name="connsiteX563" fmla="*/ 1233965 w 2635718"/>
                <a:gd name="connsiteY563" fmla="*/ 701465 h 2504201"/>
                <a:gd name="connsiteX564" fmla="*/ 1241194 w 2635718"/>
                <a:gd name="connsiteY564" fmla="*/ 704261 h 2504201"/>
                <a:gd name="connsiteX565" fmla="*/ 1178625 w 2635718"/>
                <a:gd name="connsiteY565" fmla="*/ 765374 h 2504201"/>
                <a:gd name="connsiteX566" fmla="*/ 830858 w 2635718"/>
                <a:gd name="connsiteY566" fmla="*/ 809031 h 2504201"/>
                <a:gd name="connsiteX567" fmla="*/ 827948 w 2635718"/>
                <a:gd name="connsiteY567" fmla="*/ 809031 h 2504201"/>
                <a:gd name="connsiteX568" fmla="*/ 862870 w 2635718"/>
                <a:gd name="connsiteY568" fmla="*/ 766835 h 2504201"/>
                <a:gd name="connsiteX569" fmla="*/ 922528 w 2635718"/>
                <a:gd name="connsiteY569" fmla="*/ 720272 h 2504201"/>
                <a:gd name="connsiteX570" fmla="*/ 830858 w 2635718"/>
                <a:gd name="connsiteY570" fmla="*/ 809031 h 2504201"/>
                <a:gd name="connsiteX571" fmla="*/ 804666 w 2635718"/>
                <a:gd name="connsiteY571" fmla="*/ 814853 h 2504201"/>
                <a:gd name="connsiteX572" fmla="*/ 839589 w 2635718"/>
                <a:gd name="connsiteY572" fmla="*/ 778476 h 2504201"/>
                <a:gd name="connsiteX573" fmla="*/ 891972 w 2635718"/>
                <a:gd name="connsiteY573" fmla="*/ 731914 h 2504201"/>
                <a:gd name="connsiteX574" fmla="*/ 804666 w 2635718"/>
                <a:gd name="connsiteY574" fmla="*/ 814853 h 2504201"/>
                <a:gd name="connsiteX575" fmla="*/ 862870 w 2635718"/>
                <a:gd name="connsiteY575" fmla="*/ 810486 h 2504201"/>
                <a:gd name="connsiteX576" fmla="*/ 862870 w 2635718"/>
                <a:gd name="connsiteY576" fmla="*/ 795934 h 2504201"/>
                <a:gd name="connsiteX577" fmla="*/ 891971 w 2635718"/>
                <a:gd name="connsiteY577" fmla="*/ 762468 h 2504201"/>
                <a:gd name="connsiteX578" fmla="*/ 958906 w 2635718"/>
                <a:gd name="connsiteY578" fmla="*/ 717362 h 2504201"/>
                <a:gd name="connsiteX579" fmla="*/ 862870 w 2635718"/>
                <a:gd name="connsiteY579" fmla="*/ 810486 h 2504201"/>
                <a:gd name="connsiteX580" fmla="*/ 906522 w 2635718"/>
                <a:gd name="connsiteY580" fmla="*/ 814850 h 2504201"/>
                <a:gd name="connsiteX581" fmla="*/ 903612 w 2635718"/>
                <a:gd name="connsiteY581" fmla="*/ 795934 h 2504201"/>
                <a:gd name="connsiteX582" fmla="*/ 929804 w 2635718"/>
                <a:gd name="connsiteY582" fmla="*/ 765378 h 2504201"/>
                <a:gd name="connsiteX583" fmla="*/ 990372 w 2635718"/>
                <a:gd name="connsiteY583" fmla="*/ 722817 h 2504201"/>
                <a:gd name="connsiteX584" fmla="*/ 998194 w 2635718"/>
                <a:gd name="connsiteY584" fmla="*/ 723181 h 2504201"/>
                <a:gd name="connsiteX585" fmla="*/ 906522 w 2635718"/>
                <a:gd name="connsiteY585" fmla="*/ 814850 h 2504201"/>
                <a:gd name="connsiteX586" fmla="*/ 1592189 w 2635718"/>
                <a:gd name="connsiteY586" fmla="*/ 730790 h 2504201"/>
                <a:gd name="connsiteX587" fmla="*/ 1575865 w 2635718"/>
                <a:gd name="connsiteY587" fmla="*/ 731904 h 2504201"/>
                <a:gd name="connsiteX588" fmla="*/ 1575866 w 2635718"/>
                <a:gd name="connsiteY588" fmla="*/ 699892 h 2504201"/>
                <a:gd name="connsiteX589" fmla="*/ 1599511 w 2635718"/>
                <a:gd name="connsiteY589" fmla="*/ 693890 h 2504201"/>
                <a:gd name="connsiteX590" fmla="*/ 1612242 w 2635718"/>
                <a:gd name="connsiteY590" fmla="*/ 699892 h 2504201"/>
                <a:gd name="connsiteX591" fmla="*/ 1592189 w 2635718"/>
                <a:gd name="connsiteY591" fmla="*/ 730790 h 2504201"/>
                <a:gd name="connsiteX592" fmla="*/ 1411440 w 2635718"/>
                <a:gd name="connsiteY592" fmla="*/ 755186 h 2504201"/>
                <a:gd name="connsiteX593" fmla="*/ 1408530 w 2635718"/>
                <a:gd name="connsiteY593" fmla="*/ 720264 h 2504201"/>
                <a:gd name="connsiteX594" fmla="*/ 1411440 w 2635718"/>
                <a:gd name="connsiteY594" fmla="*/ 718809 h 2504201"/>
                <a:gd name="connsiteX595" fmla="*/ 1438723 w 2635718"/>
                <a:gd name="connsiteY595" fmla="*/ 708260 h 2504201"/>
                <a:gd name="connsiteX596" fmla="*/ 1455092 w 2635718"/>
                <a:gd name="connsiteY596" fmla="*/ 712989 h 2504201"/>
                <a:gd name="connsiteX597" fmla="*/ 1411440 w 2635718"/>
                <a:gd name="connsiteY597" fmla="*/ 755186 h 2504201"/>
                <a:gd name="connsiteX598" fmla="*/ 1998708 w 2635718"/>
                <a:gd name="connsiteY598" fmla="*/ 685493 h 2504201"/>
                <a:gd name="connsiteX599" fmla="*/ 2003662 w 2635718"/>
                <a:gd name="connsiteY599" fmla="*/ 678063 h 2504201"/>
                <a:gd name="connsiteX600" fmla="*/ 2006703 w 2635718"/>
                <a:gd name="connsiteY600" fmla="*/ 678063 h 2504201"/>
                <a:gd name="connsiteX601" fmla="*/ 955995 w 2635718"/>
                <a:gd name="connsiteY601" fmla="*/ 825036 h 2504201"/>
                <a:gd name="connsiteX602" fmla="*/ 961817 w 2635718"/>
                <a:gd name="connsiteY602" fmla="*/ 788657 h 2504201"/>
                <a:gd name="connsiteX603" fmla="*/ 973457 w 2635718"/>
                <a:gd name="connsiteY603" fmla="*/ 775562 h 2504201"/>
                <a:gd name="connsiteX604" fmla="*/ 1031774 w 2635718"/>
                <a:gd name="connsiteY604" fmla="*/ 738935 h 2504201"/>
                <a:gd name="connsiteX605" fmla="*/ 1040391 w 2635718"/>
                <a:gd name="connsiteY605" fmla="*/ 740640 h 2504201"/>
                <a:gd name="connsiteX606" fmla="*/ 955995 w 2635718"/>
                <a:gd name="connsiteY606" fmla="*/ 825036 h 2504201"/>
                <a:gd name="connsiteX607" fmla="*/ 1755068 w 2635718"/>
                <a:gd name="connsiteY607" fmla="*/ 728833 h 2504201"/>
                <a:gd name="connsiteX608" fmla="*/ 1743200 w 2635718"/>
                <a:gd name="connsiteY608" fmla="*/ 728992 h 2504201"/>
                <a:gd name="connsiteX609" fmla="*/ 1741746 w 2635718"/>
                <a:gd name="connsiteY609" fmla="*/ 702801 h 2504201"/>
                <a:gd name="connsiteX610" fmla="*/ 1759388 w 2635718"/>
                <a:gd name="connsiteY610" fmla="*/ 699345 h 2504201"/>
                <a:gd name="connsiteX611" fmla="*/ 1769392 w 2635718"/>
                <a:gd name="connsiteY611" fmla="*/ 705711 h 2504201"/>
                <a:gd name="connsiteX612" fmla="*/ 1755068 w 2635718"/>
                <a:gd name="connsiteY612" fmla="*/ 728833 h 2504201"/>
                <a:gd name="connsiteX613" fmla="*/ 1242649 w 2635718"/>
                <a:gd name="connsiteY613" fmla="*/ 798840 h 2504201"/>
                <a:gd name="connsiteX614" fmla="*/ 1241193 w 2635718"/>
                <a:gd name="connsiteY614" fmla="*/ 761007 h 2504201"/>
                <a:gd name="connsiteX615" fmla="*/ 1244104 w 2635718"/>
                <a:gd name="connsiteY615" fmla="*/ 758097 h 2504201"/>
                <a:gd name="connsiteX616" fmla="*/ 1276843 w 2635718"/>
                <a:gd name="connsiteY616" fmla="*/ 741183 h 2504201"/>
                <a:gd name="connsiteX617" fmla="*/ 1296487 w 2635718"/>
                <a:gd name="connsiteY617" fmla="*/ 745002 h 2504201"/>
                <a:gd name="connsiteX618" fmla="*/ 1242649 w 2635718"/>
                <a:gd name="connsiteY618" fmla="*/ 798840 h 2504201"/>
                <a:gd name="connsiteX619" fmla="*/ 1015654 w 2635718"/>
                <a:gd name="connsiteY619" fmla="*/ 838129 h 2504201"/>
                <a:gd name="connsiteX620" fmla="*/ 1014199 w 2635718"/>
                <a:gd name="connsiteY620" fmla="*/ 803207 h 2504201"/>
                <a:gd name="connsiteX621" fmla="*/ 1024385 w 2635718"/>
                <a:gd name="connsiteY621" fmla="*/ 791566 h 2504201"/>
                <a:gd name="connsiteX622" fmla="*/ 1078610 w 2635718"/>
                <a:gd name="connsiteY622" fmla="*/ 761897 h 2504201"/>
                <a:gd name="connsiteX623" fmla="*/ 1086954 w 2635718"/>
                <a:gd name="connsiteY623" fmla="*/ 763920 h 2504201"/>
                <a:gd name="connsiteX624" fmla="*/ 1015654 w 2635718"/>
                <a:gd name="connsiteY624" fmla="*/ 838129 h 2504201"/>
                <a:gd name="connsiteX625" fmla="*/ 1904716 w 2635718"/>
                <a:gd name="connsiteY625" fmla="*/ 744998 h 2504201"/>
                <a:gd name="connsiteX626" fmla="*/ 1903260 w 2635718"/>
                <a:gd name="connsiteY626" fmla="*/ 724626 h 2504201"/>
                <a:gd name="connsiteX627" fmla="*/ 1914902 w 2635718"/>
                <a:gd name="connsiteY627" fmla="*/ 723535 h 2504201"/>
                <a:gd name="connsiteX628" fmla="*/ 1922177 w 2635718"/>
                <a:gd name="connsiteY628" fmla="*/ 728991 h 2504201"/>
                <a:gd name="connsiteX629" fmla="*/ 1904716 w 2635718"/>
                <a:gd name="connsiteY629" fmla="*/ 744998 h 2504201"/>
                <a:gd name="connsiteX630" fmla="*/ 1481285 w 2635718"/>
                <a:gd name="connsiteY630" fmla="*/ 806114 h 2504201"/>
                <a:gd name="connsiteX631" fmla="*/ 1474009 w 2635718"/>
                <a:gd name="connsiteY631" fmla="*/ 774101 h 2504201"/>
                <a:gd name="connsiteX632" fmla="*/ 1475464 w 2635718"/>
                <a:gd name="connsiteY632" fmla="*/ 772646 h 2504201"/>
                <a:gd name="connsiteX633" fmla="*/ 1499473 w 2635718"/>
                <a:gd name="connsiteY633" fmla="*/ 763552 h 2504201"/>
                <a:gd name="connsiteX634" fmla="*/ 1514751 w 2635718"/>
                <a:gd name="connsiteY634" fmla="*/ 769736 h 2504201"/>
                <a:gd name="connsiteX635" fmla="*/ 1481285 w 2635718"/>
                <a:gd name="connsiteY635" fmla="*/ 806114 h 2504201"/>
                <a:gd name="connsiteX636" fmla="*/ 1079679 w 2635718"/>
                <a:gd name="connsiteY636" fmla="*/ 859953 h 2504201"/>
                <a:gd name="connsiteX637" fmla="*/ 1072403 w 2635718"/>
                <a:gd name="connsiteY637" fmla="*/ 826489 h 2504201"/>
                <a:gd name="connsiteX638" fmla="*/ 1081133 w 2635718"/>
                <a:gd name="connsiteY638" fmla="*/ 816303 h 2504201"/>
                <a:gd name="connsiteX639" fmla="*/ 1116783 w 2635718"/>
                <a:gd name="connsiteY639" fmla="*/ 793930 h 2504201"/>
                <a:gd name="connsiteX640" fmla="*/ 1139337 w 2635718"/>
                <a:gd name="connsiteY640" fmla="*/ 794475 h 2504201"/>
                <a:gd name="connsiteX641" fmla="*/ 1079679 w 2635718"/>
                <a:gd name="connsiteY641" fmla="*/ 859953 h 2504201"/>
                <a:gd name="connsiteX642" fmla="*/ 1657782 w 2635718"/>
                <a:gd name="connsiteY642" fmla="*/ 793221 h 2504201"/>
                <a:gd name="connsiteX643" fmla="*/ 1644255 w 2635718"/>
                <a:gd name="connsiteY643" fmla="*/ 794472 h 2504201"/>
                <a:gd name="connsiteX644" fmla="*/ 1639890 w 2635718"/>
                <a:gd name="connsiteY644" fmla="*/ 765370 h 2504201"/>
                <a:gd name="connsiteX645" fmla="*/ 1659715 w 2635718"/>
                <a:gd name="connsiteY645" fmla="*/ 759550 h 2504201"/>
                <a:gd name="connsiteX646" fmla="*/ 1671902 w 2635718"/>
                <a:gd name="connsiteY646" fmla="*/ 766825 h 2504201"/>
                <a:gd name="connsiteX647" fmla="*/ 1657782 w 2635718"/>
                <a:gd name="connsiteY647" fmla="*/ 793221 h 2504201"/>
                <a:gd name="connsiteX648" fmla="*/ 1313948 w 2635718"/>
                <a:gd name="connsiteY648" fmla="*/ 838125 h 2504201"/>
                <a:gd name="connsiteX649" fmla="*/ 1308128 w 2635718"/>
                <a:gd name="connsiteY649" fmla="*/ 801749 h 2504201"/>
                <a:gd name="connsiteX650" fmla="*/ 1311038 w 2635718"/>
                <a:gd name="connsiteY650" fmla="*/ 798839 h 2504201"/>
                <a:gd name="connsiteX651" fmla="*/ 1337957 w 2635718"/>
                <a:gd name="connsiteY651" fmla="*/ 786471 h 2504201"/>
                <a:gd name="connsiteX652" fmla="*/ 1356146 w 2635718"/>
                <a:gd name="connsiteY652" fmla="*/ 791563 h 2504201"/>
                <a:gd name="connsiteX653" fmla="*/ 1313948 w 2635718"/>
                <a:gd name="connsiteY653" fmla="*/ 838125 h 2504201"/>
                <a:gd name="connsiteX654" fmla="*/ 726091 w 2635718"/>
                <a:gd name="connsiteY654" fmla="*/ 922530 h 2504201"/>
                <a:gd name="connsiteX655" fmla="*/ 723181 w 2635718"/>
                <a:gd name="connsiteY655" fmla="*/ 922530 h 2504201"/>
                <a:gd name="connsiteX656" fmla="*/ 755192 w 2635718"/>
                <a:gd name="connsiteY656" fmla="*/ 878866 h 2504201"/>
                <a:gd name="connsiteX657" fmla="*/ 811942 w 2635718"/>
                <a:gd name="connsiteY657" fmla="*/ 829404 h 2504201"/>
                <a:gd name="connsiteX658" fmla="*/ 726091 w 2635718"/>
                <a:gd name="connsiteY658" fmla="*/ 922530 h 2504201"/>
                <a:gd name="connsiteX659" fmla="*/ 762468 w 2635718"/>
                <a:gd name="connsiteY659" fmla="*/ 921074 h 2504201"/>
                <a:gd name="connsiteX660" fmla="*/ 756648 w 2635718"/>
                <a:gd name="connsiteY660" fmla="*/ 913800 h 2504201"/>
                <a:gd name="connsiteX661" fmla="*/ 787205 w 2635718"/>
                <a:gd name="connsiteY661" fmla="*/ 873046 h 2504201"/>
                <a:gd name="connsiteX662" fmla="*/ 849774 w 2635718"/>
                <a:gd name="connsiteY662" fmla="*/ 823583 h 2504201"/>
                <a:gd name="connsiteX663" fmla="*/ 762468 w 2635718"/>
                <a:gd name="connsiteY663" fmla="*/ 921074 h 2504201"/>
                <a:gd name="connsiteX664" fmla="*/ 698444 w 2635718"/>
                <a:gd name="connsiteY664" fmla="*/ 931256 h 2504201"/>
                <a:gd name="connsiteX665" fmla="*/ 730456 w 2635718"/>
                <a:gd name="connsiteY665" fmla="*/ 893428 h 2504201"/>
                <a:gd name="connsiteX666" fmla="*/ 779929 w 2635718"/>
                <a:gd name="connsiteY666" fmla="*/ 842496 h 2504201"/>
                <a:gd name="connsiteX667" fmla="*/ 698444 w 2635718"/>
                <a:gd name="connsiteY667" fmla="*/ 931256 h 2504201"/>
                <a:gd name="connsiteX668" fmla="*/ 1808680 w 2635718"/>
                <a:gd name="connsiteY668" fmla="*/ 800291 h 2504201"/>
                <a:gd name="connsiteX669" fmla="*/ 1804314 w 2635718"/>
                <a:gd name="connsiteY669" fmla="*/ 777010 h 2504201"/>
                <a:gd name="connsiteX670" fmla="*/ 1817956 w 2635718"/>
                <a:gd name="connsiteY670" fmla="*/ 775918 h 2504201"/>
                <a:gd name="connsiteX671" fmla="*/ 1826141 w 2635718"/>
                <a:gd name="connsiteY671" fmla="*/ 781375 h 2504201"/>
                <a:gd name="connsiteX672" fmla="*/ 1808680 w 2635718"/>
                <a:gd name="connsiteY672" fmla="*/ 800291 h 2504201"/>
                <a:gd name="connsiteX673" fmla="*/ 804666 w 2635718"/>
                <a:gd name="connsiteY673" fmla="*/ 923982 h 2504201"/>
                <a:gd name="connsiteX674" fmla="*/ 803211 w 2635718"/>
                <a:gd name="connsiteY674" fmla="*/ 900705 h 2504201"/>
                <a:gd name="connsiteX675" fmla="*/ 825038 w 2635718"/>
                <a:gd name="connsiteY675" fmla="*/ 873046 h 2504201"/>
                <a:gd name="connsiteX676" fmla="*/ 890517 w 2635718"/>
                <a:gd name="connsiteY676" fmla="*/ 827947 h 2504201"/>
                <a:gd name="connsiteX677" fmla="*/ 804666 w 2635718"/>
                <a:gd name="connsiteY677" fmla="*/ 923982 h 2504201"/>
                <a:gd name="connsiteX678" fmla="*/ 685349 w 2635718"/>
                <a:gd name="connsiteY678" fmla="*/ 941447 h 2504201"/>
                <a:gd name="connsiteX679" fmla="*/ 752283 w 2635718"/>
                <a:gd name="connsiteY679" fmla="*/ 867229 h 2504201"/>
                <a:gd name="connsiteX680" fmla="*/ 1146612 w 2635718"/>
                <a:gd name="connsiteY680" fmla="*/ 890509 h 2504201"/>
                <a:gd name="connsiteX681" fmla="*/ 1142247 w 2635718"/>
                <a:gd name="connsiteY681" fmla="*/ 851220 h 2504201"/>
                <a:gd name="connsiteX682" fmla="*/ 1145157 w 2635718"/>
                <a:gd name="connsiteY682" fmla="*/ 848310 h 2504201"/>
                <a:gd name="connsiteX683" fmla="*/ 1177897 w 2635718"/>
                <a:gd name="connsiteY683" fmla="*/ 829397 h 2504201"/>
                <a:gd name="connsiteX684" fmla="*/ 1197540 w 2635718"/>
                <a:gd name="connsiteY684" fmla="*/ 832307 h 2504201"/>
                <a:gd name="connsiteX685" fmla="*/ 1146612 w 2635718"/>
                <a:gd name="connsiteY685" fmla="*/ 890509 h 2504201"/>
                <a:gd name="connsiteX686" fmla="*/ 861414 w 2635718"/>
                <a:gd name="connsiteY686" fmla="*/ 929800 h 2504201"/>
                <a:gd name="connsiteX687" fmla="*/ 855594 w 2635718"/>
                <a:gd name="connsiteY687" fmla="*/ 902159 h 2504201"/>
                <a:gd name="connsiteX688" fmla="*/ 873055 w 2635718"/>
                <a:gd name="connsiteY688" fmla="*/ 880320 h 2504201"/>
                <a:gd name="connsiteX689" fmla="*/ 927076 w 2635718"/>
                <a:gd name="connsiteY689" fmla="*/ 841857 h 2504201"/>
                <a:gd name="connsiteX690" fmla="*/ 935624 w 2635718"/>
                <a:gd name="connsiteY690" fmla="*/ 842493 h 2504201"/>
                <a:gd name="connsiteX691" fmla="*/ 861414 w 2635718"/>
                <a:gd name="connsiteY691" fmla="*/ 929800 h 2504201"/>
                <a:gd name="connsiteX692" fmla="*/ 1566907 w 2635718"/>
                <a:gd name="connsiteY692" fmla="*/ 861155 h 2504201"/>
                <a:gd name="connsiteX693" fmla="*/ 1552583 w 2635718"/>
                <a:gd name="connsiteY693" fmla="*/ 862860 h 2504201"/>
                <a:gd name="connsiteX694" fmla="*/ 1545308 w 2635718"/>
                <a:gd name="connsiteY694" fmla="*/ 832304 h 2504201"/>
                <a:gd name="connsiteX695" fmla="*/ 1565315 w 2635718"/>
                <a:gd name="connsiteY695" fmla="*/ 826302 h 2504201"/>
                <a:gd name="connsiteX696" fmla="*/ 1578775 w 2635718"/>
                <a:gd name="connsiteY696" fmla="*/ 832305 h 2504201"/>
                <a:gd name="connsiteX697" fmla="*/ 1566907 w 2635718"/>
                <a:gd name="connsiteY697" fmla="*/ 861155 h 2504201"/>
                <a:gd name="connsiteX698" fmla="*/ 918163 w 2635718"/>
                <a:gd name="connsiteY698" fmla="*/ 941443 h 2504201"/>
                <a:gd name="connsiteX699" fmla="*/ 913798 w 2635718"/>
                <a:gd name="connsiteY699" fmla="*/ 906522 h 2504201"/>
                <a:gd name="connsiteX700" fmla="*/ 923984 w 2635718"/>
                <a:gd name="connsiteY700" fmla="*/ 894878 h 2504201"/>
                <a:gd name="connsiteX701" fmla="*/ 976776 w 2635718"/>
                <a:gd name="connsiteY701" fmla="*/ 861727 h 2504201"/>
                <a:gd name="connsiteX702" fmla="*/ 985098 w 2635718"/>
                <a:gd name="connsiteY702" fmla="*/ 862863 h 2504201"/>
                <a:gd name="connsiteX703" fmla="*/ 918163 w 2635718"/>
                <a:gd name="connsiteY703" fmla="*/ 941443 h 2504201"/>
                <a:gd name="connsiteX704" fmla="*/ 1388159 w 2635718"/>
                <a:gd name="connsiteY704" fmla="*/ 884686 h 2504201"/>
                <a:gd name="connsiteX705" fmla="*/ 1377973 w 2635718"/>
                <a:gd name="connsiteY705" fmla="*/ 851219 h 2504201"/>
                <a:gd name="connsiteX706" fmla="*/ 1380883 w 2635718"/>
                <a:gd name="connsiteY706" fmla="*/ 849765 h 2504201"/>
                <a:gd name="connsiteX707" fmla="*/ 1404346 w 2635718"/>
                <a:gd name="connsiteY707" fmla="*/ 839215 h 2504201"/>
                <a:gd name="connsiteX708" fmla="*/ 1420170 w 2635718"/>
                <a:gd name="connsiteY708" fmla="*/ 843945 h 2504201"/>
                <a:gd name="connsiteX709" fmla="*/ 1388159 w 2635718"/>
                <a:gd name="connsiteY709" fmla="*/ 884686 h 2504201"/>
                <a:gd name="connsiteX710" fmla="*/ 1715555 w 2635718"/>
                <a:gd name="connsiteY710" fmla="*/ 861404 h 2504201"/>
                <a:gd name="connsiteX711" fmla="*/ 1709734 w 2635718"/>
                <a:gd name="connsiteY711" fmla="*/ 836668 h 2504201"/>
                <a:gd name="connsiteX712" fmla="*/ 1724285 w 2635718"/>
                <a:gd name="connsiteY712" fmla="*/ 833212 h 2504201"/>
                <a:gd name="connsiteX713" fmla="*/ 1734470 w 2635718"/>
                <a:gd name="connsiteY713" fmla="*/ 839578 h 2504201"/>
                <a:gd name="connsiteX714" fmla="*/ 1715555 w 2635718"/>
                <a:gd name="connsiteY714" fmla="*/ 861404 h 2504201"/>
                <a:gd name="connsiteX715" fmla="*/ 1222278 w 2635718"/>
                <a:gd name="connsiteY715" fmla="*/ 923977 h 2504201"/>
                <a:gd name="connsiteX716" fmla="*/ 1212093 w 2635718"/>
                <a:gd name="connsiteY716" fmla="*/ 887597 h 2504201"/>
                <a:gd name="connsiteX717" fmla="*/ 1215003 w 2635718"/>
                <a:gd name="connsiteY717" fmla="*/ 884686 h 2504201"/>
                <a:gd name="connsiteX718" fmla="*/ 1243195 w 2635718"/>
                <a:gd name="connsiteY718" fmla="*/ 871407 h 2504201"/>
                <a:gd name="connsiteX719" fmla="*/ 1261565 w 2635718"/>
                <a:gd name="connsiteY719" fmla="*/ 874498 h 2504201"/>
                <a:gd name="connsiteX720" fmla="*/ 1222278 w 2635718"/>
                <a:gd name="connsiteY720" fmla="*/ 923977 h 2504201"/>
                <a:gd name="connsiteX721" fmla="*/ 986553 w 2635718"/>
                <a:gd name="connsiteY721" fmla="*/ 960354 h 2504201"/>
                <a:gd name="connsiteX722" fmla="*/ 979278 w 2635718"/>
                <a:gd name="connsiteY722" fmla="*/ 923979 h 2504201"/>
                <a:gd name="connsiteX723" fmla="*/ 985097 w 2635718"/>
                <a:gd name="connsiteY723" fmla="*/ 916706 h 2504201"/>
                <a:gd name="connsiteX724" fmla="*/ 1033593 w 2635718"/>
                <a:gd name="connsiteY724" fmla="*/ 888258 h 2504201"/>
                <a:gd name="connsiteX725" fmla="*/ 1041846 w 2635718"/>
                <a:gd name="connsiteY725" fmla="*/ 890511 h 2504201"/>
                <a:gd name="connsiteX726" fmla="*/ 986553 w 2635718"/>
                <a:gd name="connsiteY726" fmla="*/ 960354 h 2504201"/>
                <a:gd name="connsiteX727" fmla="*/ 1060762 w 2635718"/>
                <a:gd name="connsiteY727" fmla="*/ 985090 h 2504201"/>
                <a:gd name="connsiteX728" fmla="*/ 1047666 w 2635718"/>
                <a:gd name="connsiteY728" fmla="*/ 950167 h 2504201"/>
                <a:gd name="connsiteX729" fmla="*/ 1053487 w 2635718"/>
                <a:gd name="connsiteY729" fmla="*/ 944346 h 2504201"/>
                <a:gd name="connsiteX730" fmla="*/ 1084954 w 2635718"/>
                <a:gd name="connsiteY730" fmla="*/ 923251 h 2504201"/>
                <a:gd name="connsiteX731" fmla="*/ 1104415 w 2635718"/>
                <a:gd name="connsiteY731" fmla="*/ 923978 h 2504201"/>
                <a:gd name="connsiteX732" fmla="*/ 1060762 w 2635718"/>
                <a:gd name="connsiteY732" fmla="*/ 985090 h 2504201"/>
                <a:gd name="connsiteX733" fmla="*/ 631510 w 2635718"/>
                <a:gd name="connsiteY733" fmla="*/ 1038935 h 2504201"/>
                <a:gd name="connsiteX734" fmla="*/ 625690 w 2635718"/>
                <a:gd name="connsiteY734" fmla="*/ 1038935 h 2504201"/>
                <a:gd name="connsiteX735" fmla="*/ 653337 w 2635718"/>
                <a:gd name="connsiteY735" fmla="*/ 998191 h 2504201"/>
                <a:gd name="connsiteX736" fmla="*/ 705720 w 2635718"/>
                <a:gd name="connsiteY736" fmla="*/ 947263 h 2504201"/>
                <a:gd name="connsiteX737" fmla="*/ 631510 w 2635718"/>
                <a:gd name="connsiteY737" fmla="*/ 1038935 h 2504201"/>
                <a:gd name="connsiteX738" fmla="*/ 667887 w 2635718"/>
                <a:gd name="connsiteY738" fmla="*/ 1034568 h 2504201"/>
                <a:gd name="connsiteX739" fmla="*/ 662066 w 2635718"/>
                <a:gd name="connsiteY739" fmla="*/ 1025837 h 2504201"/>
                <a:gd name="connsiteX740" fmla="*/ 686803 w 2635718"/>
                <a:gd name="connsiteY740" fmla="*/ 988004 h 2504201"/>
                <a:gd name="connsiteX741" fmla="*/ 743552 w 2635718"/>
                <a:gd name="connsiteY741" fmla="*/ 939987 h 2504201"/>
                <a:gd name="connsiteX742" fmla="*/ 667887 w 2635718"/>
                <a:gd name="connsiteY742" fmla="*/ 1034568 h 2504201"/>
                <a:gd name="connsiteX743" fmla="*/ 1465278 w 2635718"/>
                <a:gd name="connsiteY743" fmla="*/ 937071 h 2504201"/>
                <a:gd name="connsiteX744" fmla="*/ 1452183 w 2635718"/>
                <a:gd name="connsiteY744" fmla="*/ 906515 h 2504201"/>
                <a:gd name="connsiteX745" fmla="*/ 1453638 w 2635718"/>
                <a:gd name="connsiteY745" fmla="*/ 905061 h 2504201"/>
                <a:gd name="connsiteX746" fmla="*/ 1474372 w 2635718"/>
                <a:gd name="connsiteY746" fmla="*/ 897784 h 2504201"/>
                <a:gd name="connsiteX747" fmla="*/ 1488559 w 2635718"/>
                <a:gd name="connsiteY747" fmla="*/ 903606 h 2504201"/>
                <a:gd name="connsiteX748" fmla="*/ 1465278 w 2635718"/>
                <a:gd name="connsiteY748" fmla="*/ 937071 h 2504201"/>
                <a:gd name="connsiteX749" fmla="*/ 715905 w 2635718"/>
                <a:gd name="connsiteY749" fmla="*/ 1033111 h 2504201"/>
                <a:gd name="connsiteX750" fmla="*/ 705719 w 2635718"/>
                <a:gd name="connsiteY750" fmla="*/ 1020015 h 2504201"/>
                <a:gd name="connsiteX751" fmla="*/ 727546 w 2635718"/>
                <a:gd name="connsiteY751" fmla="*/ 986548 h 2504201"/>
                <a:gd name="connsiteX752" fmla="*/ 787204 w 2635718"/>
                <a:gd name="connsiteY752" fmla="*/ 941445 h 2504201"/>
                <a:gd name="connsiteX753" fmla="*/ 715905 w 2635718"/>
                <a:gd name="connsiteY753" fmla="*/ 1033111 h 2504201"/>
                <a:gd name="connsiteX754" fmla="*/ 599498 w 2635718"/>
                <a:gd name="connsiteY754" fmla="*/ 1050577 h 2504201"/>
                <a:gd name="connsiteX755" fmla="*/ 627145 w 2635718"/>
                <a:gd name="connsiteY755" fmla="*/ 1012742 h 2504201"/>
                <a:gd name="connsiteX756" fmla="*/ 673707 w 2635718"/>
                <a:gd name="connsiteY756" fmla="*/ 961816 h 2504201"/>
                <a:gd name="connsiteX757" fmla="*/ 599498 w 2635718"/>
                <a:gd name="connsiteY757" fmla="*/ 1050577 h 2504201"/>
                <a:gd name="connsiteX758" fmla="*/ 1628249 w 2635718"/>
                <a:gd name="connsiteY758" fmla="*/ 925428 h 2504201"/>
                <a:gd name="connsiteX759" fmla="*/ 1619518 w 2635718"/>
                <a:gd name="connsiteY759" fmla="*/ 899239 h 2504201"/>
                <a:gd name="connsiteX760" fmla="*/ 1636070 w 2635718"/>
                <a:gd name="connsiteY760" fmla="*/ 895600 h 2504201"/>
                <a:gd name="connsiteX761" fmla="*/ 1647165 w 2635718"/>
                <a:gd name="connsiteY761" fmla="*/ 900694 h 2504201"/>
                <a:gd name="connsiteX762" fmla="*/ 1628249 w 2635718"/>
                <a:gd name="connsiteY762" fmla="*/ 925428 h 2504201"/>
                <a:gd name="connsiteX763" fmla="*/ 1299397 w 2635718"/>
                <a:gd name="connsiteY763" fmla="*/ 966173 h 2504201"/>
                <a:gd name="connsiteX764" fmla="*/ 1286301 w 2635718"/>
                <a:gd name="connsiteY764" fmla="*/ 932706 h 2504201"/>
                <a:gd name="connsiteX765" fmla="*/ 1287756 w 2635718"/>
                <a:gd name="connsiteY765" fmla="*/ 929795 h 2504201"/>
                <a:gd name="connsiteX766" fmla="*/ 1313766 w 2635718"/>
                <a:gd name="connsiteY766" fmla="*/ 919794 h 2504201"/>
                <a:gd name="connsiteX767" fmla="*/ 1329954 w 2635718"/>
                <a:gd name="connsiteY767" fmla="*/ 923976 h 2504201"/>
                <a:gd name="connsiteX768" fmla="*/ 1299397 w 2635718"/>
                <a:gd name="connsiteY768" fmla="*/ 966173 h 2504201"/>
                <a:gd name="connsiteX769" fmla="*/ 771198 w 2635718"/>
                <a:gd name="connsiteY769" fmla="*/ 1038931 h 2504201"/>
                <a:gd name="connsiteX770" fmla="*/ 762468 w 2635718"/>
                <a:gd name="connsiteY770" fmla="*/ 1012738 h 2504201"/>
                <a:gd name="connsiteX771" fmla="*/ 777020 w 2635718"/>
                <a:gd name="connsiteY771" fmla="*/ 990912 h 2504201"/>
                <a:gd name="connsiteX772" fmla="*/ 836678 w 2635718"/>
                <a:gd name="connsiteY772" fmla="*/ 951625 h 2504201"/>
                <a:gd name="connsiteX773" fmla="*/ 771198 w 2635718"/>
                <a:gd name="connsiteY773" fmla="*/ 1038931 h 2504201"/>
                <a:gd name="connsiteX774" fmla="*/ 582037 w 2635718"/>
                <a:gd name="connsiteY774" fmla="*/ 1066584 h 2504201"/>
                <a:gd name="connsiteX775" fmla="*/ 648971 w 2635718"/>
                <a:gd name="connsiteY775" fmla="*/ 983641 h 2504201"/>
                <a:gd name="connsiteX776" fmla="*/ 835223 w 2635718"/>
                <a:gd name="connsiteY776" fmla="*/ 1047661 h 2504201"/>
                <a:gd name="connsiteX777" fmla="*/ 823582 w 2635718"/>
                <a:gd name="connsiteY777" fmla="*/ 1018558 h 2504201"/>
                <a:gd name="connsiteX778" fmla="*/ 835223 w 2635718"/>
                <a:gd name="connsiteY778" fmla="*/ 1002554 h 2504201"/>
                <a:gd name="connsiteX779" fmla="*/ 881468 w 2635718"/>
                <a:gd name="connsiteY779" fmla="*/ 968177 h 2504201"/>
                <a:gd name="connsiteX780" fmla="*/ 890517 w 2635718"/>
                <a:gd name="connsiteY780" fmla="*/ 969085 h 2504201"/>
                <a:gd name="connsiteX781" fmla="*/ 835223 w 2635718"/>
                <a:gd name="connsiteY781" fmla="*/ 1047661 h 2504201"/>
                <a:gd name="connsiteX782" fmla="*/ 1134972 w 2635718"/>
                <a:gd name="connsiteY782" fmla="*/ 1017101 h 2504201"/>
                <a:gd name="connsiteX783" fmla="*/ 1123331 w 2635718"/>
                <a:gd name="connsiteY783" fmla="*/ 982180 h 2504201"/>
                <a:gd name="connsiteX784" fmla="*/ 1126241 w 2635718"/>
                <a:gd name="connsiteY784" fmla="*/ 979270 h 2504201"/>
                <a:gd name="connsiteX785" fmla="*/ 1153160 w 2635718"/>
                <a:gd name="connsiteY785" fmla="*/ 961626 h 2504201"/>
                <a:gd name="connsiteX786" fmla="*/ 1171349 w 2635718"/>
                <a:gd name="connsiteY786" fmla="*/ 964718 h 2504201"/>
                <a:gd name="connsiteX787" fmla="*/ 1134972 w 2635718"/>
                <a:gd name="connsiteY787" fmla="*/ 1017101 h 2504201"/>
                <a:gd name="connsiteX788" fmla="*/ 902157 w 2635718"/>
                <a:gd name="connsiteY788" fmla="*/ 1063668 h 2504201"/>
                <a:gd name="connsiteX789" fmla="*/ 891972 w 2635718"/>
                <a:gd name="connsiteY789" fmla="*/ 1028744 h 2504201"/>
                <a:gd name="connsiteX790" fmla="*/ 897792 w 2635718"/>
                <a:gd name="connsiteY790" fmla="*/ 1021468 h 2504201"/>
                <a:gd name="connsiteX791" fmla="*/ 941376 w 2635718"/>
                <a:gd name="connsiteY791" fmla="*/ 991797 h 2504201"/>
                <a:gd name="connsiteX792" fmla="*/ 950175 w 2635718"/>
                <a:gd name="connsiteY792" fmla="*/ 993820 h 2504201"/>
                <a:gd name="connsiteX793" fmla="*/ 902157 w 2635718"/>
                <a:gd name="connsiteY793" fmla="*/ 1063668 h 2504201"/>
                <a:gd name="connsiteX794" fmla="*/ 1382337 w 2635718"/>
                <a:gd name="connsiteY794" fmla="*/ 1014190 h 2504201"/>
                <a:gd name="connsiteX795" fmla="*/ 1366332 w 2635718"/>
                <a:gd name="connsiteY795" fmla="*/ 985087 h 2504201"/>
                <a:gd name="connsiteX796" fmla="*/ 1367787 w 2635718"/>
                <a:gd name="connsiteY796" fmla="*/ 983633 h 2504201"/>
                <a:gd name="connsiteX797" fmla="*/ 1389795 w 2635718"/>
                <a:gd name="connsiteY797" fmla="*/ 974357 h 2504201"/>
                <a:gd name="connsiteX798" fmla="*/ 1404164 w 2635718"/>
                <a:gd name="connsiteY798" fmla="*/ 979267 h 2504201"/>
                <a:gd name="connsiteX799" fmla="*/ 1382337 w 2635718"/>
                <a:gd name="connsiteY799" fmla="*/ 1014190 h 2504201"/>
                <a:gd name="connsiteX800" fmla="*/ 1545308 w 2635718"/>
                <a:gd name="connsiteY800" fmla="*/ 995272 h 2504201"/>
                <a:gd name="connsiteX801" fmla="*/ 1533667 w 2635718"/>
                <a:gd name="connsiteY801" fmla="*/ 967627 h 2504201"/>
                <a:gd name="connsiteX802" fmla="*/ 1549855 w 2635718"/>
                <a:gd name="connsiteY802" fmla="*/ 962716 h 2504201"/>
                <a:gd name="connsiteX803" fmla="*/ 1562769 w 2635718"/>
                <a:gd name="connsiteY803" fmla="*/ 967627 h 2504201"/>
                <a:gd name="connsiteX804" fmla="*/ 1545308 w 2635718"/>
                <a:gd name="connsiteY804" fmla="*/ 995272 h 2504201"/>
                <a:gd name="connsiteX805" fmla="*/ 1217912 w 2635718"/>
                <a:gd name="connsiteY805" fmla="*/ 1053478 h 2504201"/>
                <a:gd name="connsiteX806" fmla="*/ 1201906 w 2635718"/>
                <a:gd name="connsiteY806" fmla="*/ 1021465 h 2504201"/>
                <a:gd name="connsiteX807" fmla="*/ 1203362 w 2635718"/>
                <a:gd name="connsiteY807" fmla="*/ 1018555 h 2504201"/>
                <a:gd name="connsiteX808" fmla="*/ 1227734 w 2635718"/>
                <a:gd name="connsiteY808" fmla="*/ 1006005 h 2504201"/>
                <a:gd name="connsiteX809" fmla="*/ 1245559 w 2635718"/>
                <a:gd name="connsiteY809" fmla="*/ 1009825 h 2504201"/>
                <a:gd name="connsiteX810" fmla="*/ 1217912 w 2635718"/>
                <a:gd name="connsiteY810" fmla="*/ 1053478 h 2504201"/>
                <a:gd name="connsiteX811" fmla="*/ 977822 w 2635718"/>
                <a:gd name="connsiteY811" fmla="*/ 1084038 h 2504201"/>
                <a:gd name="connsiteX812" fmla="*/ 963271 w 2635718"/>
                <a:gd name="connsiteY812" fmla="*/ 1050570 h 2504201"/>
                <a:gd name="connsiteX813" fmla="*/ 967636 w 2635718"/>
                <a:gd name="connsiteY813" fmla="*/ 1044749 h 2504201"/>
                <a:gd name="connsiteX814" fmla="*/ 1015655 w 2635718"/>
                <a:gd name="connsiteY814" fmla="*/ 1022921 h 2504201"/>
                <a:gd name="connsiteX815" fmla="*/ 977822 w 2635718"/>
                <a:gd name="connsiteY815" fmla="*/ 1084038 h 2504201"/>
                <a:gd name="connsiteX816" fmla="*/ 575125 w 2635718"/>
                <a:gd name="connsiteY816" fmla="*/ 1154615 h 2504201"/>
                <a:gd name="connsiteX817" fmla="*/ 573306 w 2635718"/>
                <a:gd name="connsiteY817" fmla="*/ 1148070 h 2504201"/>
                <a:gd name="connsiteX818" fmla="*/ 593678 w 2635718"/>
                <a:gd name="connsiteY818" fmla="*/ 1110236 h 2504201"/>
                <a:gd name="connsiteX819" fmla="*/ 646061 w 2635718"/>
                <a:gd name="connsiteY819" fmla="*/ 1062216 h 2504201"/>
                <a:gd name="connsiteX820" fmla="*/ 583492 w 2635718"/>
                <a:gd name="connsiteY820" fmla="*/ 1152432 h 2504201"/>
                <a:gd name="connsiteX821" fmla="*/ 575125 w 2635718"/>
                <a:gd name="connsiteY821" fmla="*/ 1154615 h 2504201"/>
                <a:gd name="connsiteX822" fmla="*/ 538384 w 2635718"/>
                <a:gd name="connsiteY822" fmla="*/ 1159709 h 2504201"/>
                <a:gd name="connsiteX823" fmla="*/ 561666 w 2635718"/>
                <a:gd name="connsiteY823" fmla="*/ 1120423 h 2504201"/>
                <a:gd name="connsiteX824" fmla="*/ 606773 w 2635718"/>
                <a:gd name="connsiteY824" fmla="*/ 1070949 h 2504201"/>
                <a:gd name="connsiteX825" fmla="*/ 545660 w 2635718"/>
                <a:gd name="connsiteY825" fmla="*/ 1158255 h 2504201"/>
                <a:gd name="connsiteX826" fmla="*/ 538384 w 2635718"/>
                <a:gd name="connsiteY826" fmla="*/ 1159709 h 2504201"/>
                <a:gd name="connsiteX827" fmla="*/ 631510 w 2635718"/>
                <a:gd name="connsiteY827" fmla="*/ 1149522 h 2504201"/>
                <a:gd name="connsiteX828" fmla="*/ 621324 w 2635718"/>
                <a:gd name="connsiteY828" fmla="*/ 1134974 h 2504201"/>
                <a:gd name="connsiteX829" fmla="*/ 637331 w 2635718"/>
                <a:gd name="connsiteY829" fmla="*/ 1105871 h 2504201"/>
                <a:gd name="connsiteX830" fmla="*/ 691169 w 2635718"/>
                <a:gd name="connsiteY830" fmla="*/ 1060760 h 2504201"/>
                <a:gd name="connsiteX831" fmla="*/ 631510 w 2635718"/>
                <a:gd name="connsiteY831" fmla="*/ 1149522 h 2504201"/>
                <a:gd name="connsiteX832" fmla="*/ 509282 w 2635718"/>
                <a:gd name="connsiteY832" fmla="*/ 1172805 h 2504201"/>
                <a:gd name="connsiteX833" fmla="*/ 532563 w 2635718"/>
                <a:gd name="connsiteY833" fmla="*/ 1134975 h 2504201"/>
                <a:gd name="connsiteX834" fmla="*/ 573306 w 2635718"/>
                <a:gd name="connsiteY834" fmla="*/ 1085501 h 2504201"/>
                <a:gd name="connsiteX835" fmla="*/ 509282 w 2635718"/>
                <a:gd name="connsiteY835" fmla="*/ 1172805 h 2504201"/>
                <a:gd name="connsiteX836" fmla="*/ 685349 w 2635718"/>
                <a:gd name="connsiteY836" fmla="*/ 1152429 h 2504201"/>
                <a:gd name="connsiteX837" fmla="*/ 675163 w 2635718"/>
                <a:gd name="connsiteY837" fmla="*/ 1129148 h 2504201"/>
                <a:gd name="connsiteX838" fmla="*/ 688259 w 2635718"/>
                <a:gd name="connsiteY838" fmla="*/ 1108777 h 2504201"/>
                <a:gd name="connsiteX839" fmla="*/ 742097 w 2635718"/>
                <a:gd name="connsiteY839" fmla="*/ 1068035 h 2504201"/>
                <a:gd name="connsiteX840" fmla="*/ 685349 w 2635718"/>
                <a:gd name="connsiteY840" fmla="*/ 1152429 h 2504201"/>
                <a:gd name="connsiteX841" fmla="*/ 1619072 w 2635718"/>
                <a:gd name="connsiteY841" fmla="*/ 1038379 h 2504201"/>
                <a:gd name="connsiteX842" fmla="*/ 1619517 w 2635718"/>
                <a:gd name="connsiteY842" fmla="*/ 1036014 h 2504201"/>
                <a:gd name="connsiteX843" fmla="*/ 1622181 w 2635718"/>
                <a:gd name="connsiteY843" fmla="*/ 1035489 h 2504201"/>
                <a:gd name="connsiteX844" fmla="*/ 1057853 w 2635718"/>
                <a:gd name="connsiteY844" fmla="*/ 1110229 h 2504201"/>
                <a:gd name="connsiteX845" fmla="*/ 1038936 w 2635718"/>
                <a:gd name="connsiteY845" fmla="*/ 1079671 h 2504201"/>
                <a:gd name="connsiteX846" fmla="*/ 1043301 w 2635718"/>
                <a:gd name="connsiteY846" fmla="*/ 1073851 h 2504201"/>
                <a:gd name="connsiteX847" fmla="*/ 1068947 w 2635718"/>
                <a:gd name="connsiteY847" fmla="*/ 1057117 h 2504201"/>
                <a:gd name="connsiteX848" fmla="*/ 1086954 w 2635718"/>
                <a:gd name="connsiteY848" fmla="*/ 1057845 h 2504201"/>
                <a:gd name="connsiteX849" fmla="*/ 1057853 w 2635718"/>
                <a:gd name="connsiteY849" fmla="*/ 1110229 h 2504201"/>
                <a:gd name="connsiteX850" fmla="*/ 752283 w 2635718"/>
                <a:gd name="connsiteY850" fmla="*/ 1156794 h 2504201"/>
                <a:gd name="connsiteX851" fmla="*/ 739187 w 2635718"/>
                <a:gd name="connsiteY851" fmla="*/ 1130601 h 2504201"/>
                <a:gd name="connsiteX852" fmla="*/ 747917 w 2635718"/>
                <a:gd name="connsiteY852" fmla="*/ 1114598 h 2504201"/>
                <a:gd name="connsiteX853" fmla="*/ 791502 w 2635718"/>
                <a:gd name="connsiteY853" fmla="*/ 1081039 h 2504201"/>
                <a:gd name="connsiteX854" fmla="*/ 800301 w 2635718"/>
                <a:gd name="connsiteY854" fmla="*/ 1081130 h 2504201"/>
                <a:gd name="connsiteX855" fmla="*/ 752283 w 2635718"/>
                <a:gd name="connsiteY855" fmla="*/ 1156794 h 2504201"/>
                <a:gd name="connsiteX856" fmla="*/ 1469644 w 2635718"/>
                <a:gd name="connsiteY856" fmla="*/ 1069483 h 2504201"/>
                <a:gd name="connsiteX857" fmla="*/ 1452182 w 2635718"/>
                <a:gd name="connsiteY857" fmla="*/ 1043290 h 2504201"/>
                <a:gd name="connsiteX858" fmla="*/ 1453638 w 2635718"/>
                <a:gd name="connsiteY858" fmla="*/ 1041836 h 2504201"/>
                <a:gd name="connsiteX859" fmla="*/ 1469825 w 2635718"/>
                <a:gd name="connsiteY859" fmla="*/ 1035106 h 2504201"/>
                <a:gd name="connsiteX860" fmla="*/ 1482740 w 2635718"/>
                <a:gd name="connsiteY860" fmla="*/ 1040380 h 2504201"/>
                <a:gd name="connsiteX861" fmla="*/ 1469644 w 2635718"/>
                <a:gd name="connsiteY861" fmla="*/ 1069483 h 2504201"/>
                <a:gd name="connsiteX862" fmla="*/ 488910 w 2635718"/>
                <a:gd name="connsiteY862" fmla="*/ 1190267 h 2504201"/>
                <a:gd name="connsiteX863" fmla="*/ 493277 w 2635718"/>
                <a:gd name="connsiteY863" fmla="*/ 1182991 h 2504201"/>
                <a:gd name="connsiteX864" fmla="*/ 522378 w 2635718"/>
                <a:gd name="connsiteY864" fmla="*/ 1142247 h 2504201"/>
                <a:gd name="connsiteX865" fmla="*/ 542749 w 2635718"/>
                <a:gd name="connsiteY865" fmla="*/ 1114603 h 2504201"/>
                <a:gd name="connsiteX866" fmla="*/ 548570 w 2635718"/>
                <a:gd name="connsiteY866" fmla="*/ 1108781 h 2504201"/>
                <a:gd name="connsiteX867" fmla="*/ 488910 w 2635718"/>
                <a:gd name="connsiteY867" fmla="*/ 1190267 h 2504201"/>
                <a:gd name="connsiteX868" fmla="*/ 1305218 w 2635718"/>
                <a:gd name="connsiteY868" fmla="*/ 1095676 h 2504201"/>
                <a:gd name="connsiteX869" fmla="*/ 1286302 w 2635718"/>
                <a:gd name="connsiteY869" fmla="*/ 1066574 h 2504201"/>
                <a:gd name="connsiteX870" fmla="*/ 1287757 w 2635718"/>
                <a:gd name="connsiteY870" fmla="*/ 1065119 h 2504201"/>
                <a:gd name="connsiteX871" fmla="*/ 1308129 w 2635718"/>
                <a:gd name="connsiteY871" fmla="*/ 1055661 h 2504201"/>
                <a:gd name="connsiteX872" fmla="*/ 1324135 w 2635718"/>
                <a:gd name="connsiteY872" fmla="*/ 1059298 h 2504201"/>
                <a:gd name="connsiteX873" fmla="*/ 1305218 w 2635718"/>
                <a:gd name="connsiteY873" fmla="*/ 1095676 h 2504201"/>
                <a:gd name="connsiteX874" fmla="*/ 820672 w 2635718"/>
                <a:gd name="connsiteY874" fmla="*/ 1169889 h 2504201"/>
                <a:gd name="connsiteX875" fmla="*/ 809031 w 2635718"/>
                <a:gd name="connsiteY875" fmla="*/ 1136422 h 2504201"/>
                <a:gd name="connsiteX876" fmla="*/ 813396 w 2635718"/>
                <a:gd name="connsiteY876" fmla="*/ 1129147 h 2504201"/>
                <a:gd name="connsiteX877" fmla="*/ 862870 w 2635718"/>
                <a:gd name="connsiteY877" fmla="*/ 1101501 h 2504201"/>
                <a:gd name="connsiteX878" fmla="*/ 820672 w 2635718"/>
                <a:gd name="connsiteY878" fmla="*/ 1169889 h 2504201"/>
                <a:gd name="connsiteX879" fmla="*/ 1142248 w 2635718"/>
                <a:gd name="connsiteY879" fmla="*/ 1143695 h 2504201"/>
                <a:gd name="connsiteX880" fmla="*/ 1124787 w 2635718"/>
                <a:gd name="connsiteY880" fmla="*/ 1113138 h 2504201"/>
                <a:gd name="connsiteX881" fmla="*/ 1126242 w 2635718"/>
                <a:gd name="connsiteY881" fmla="*/ 1110228 h 2504201"/>
                <a:gd name="connsiteX882" fmla="*/ 1147523 w 2635718"/>
                <a:gd name="connsiteY882" fmla="*/ 1096769 h 2504201"/>
                <a:gd name="connsiteX883" fmla="*/ 1165529 w 2635718"/>
                <a:gd name="connsiteY883" fmla="*/ 1098588 h 2504201"/>
                <a:gd name="connsiteX884" fmla="*/ 1142248 w 2635718"/>
                <a:gd name="connsiteY884" fmla="*/ 1143695 h 2504201"/>
                <a:gd name="connsiteX885" fmla="*/ 899247 w 2635718"/>
                <a:gd name="connsiteY885" fmla="*/ 1185894 h 2504201"/>
                <a:gd name="connsiteX886" fmla="*/ 881786 w 2635718"/>
                <a:gd name="connsiteY886" fmla="*/ 1155337 h 2504201"/>
                <a:gd name="connsiteX887" fmla="*/ 886151 w 2635718"/>
                <a:gd name="connsiteY887" fmla="*/ 1149518 h 2504201"/>
                <a:gd name="connsiteX888" fmla="*/ 932714 w 2635718"/>
                <a:gd name="connsiteY888" fmla="*/ 1126236 h 2504201"/>
                <a:gd name="connsiteX889" fmla="*/ 899247 w 2635718"/>
                <a:gd name="connsiteY889" fmla="*/ 1185894 h 2504201"/>
                <a:gd name="connsiteX890" fmla="*/ 1542071 w 2635718"/>
                <a:gd name="connsiteY890" fmla="*/ 1109954 h 2504201"/>
                <a:gd name="connsiteX891" fmla="*/ 1542398 w 2635718"/>
                <a:gd name="connsiteY891" fmla="*/ 1104404 h 2504201"/>
                <a:gd name="connsiteX892" fmla="*/ 1549895 w 2635718"/>
                <a:gd name="connsiteY892" fmla="*/ 1102682 h 2504201"/>
                <a:gd name="connsiteX893" fmla="*/ 1395433 w 2635718"/>
                <a:gd name="connsiteY893" fmla="*/ 1145147 h 2504201"/>
                <a:gd name="connsiteX894" fmla="*/ 1376518 w 2635718"/>
                <a:gd name="connsiteY894" fmla="*/ 1120411 h 2504201"/>
                <a:gd name="connsiteX895" fmla="*/ 1377973 w 2635718"/>
                <a:gd name="connsiteY895" fmla="*/ 1118956 h 2504201"/>
                <a:gd name="connsiteX896" fmla="*/ 1393615 w 2635718"/>
                <a:gd name="connsiteY896" fmla="*/ 1111499 h 2504201"/>
                <a:gd name="connsiteX897" fmla="*/ 1407074 w 2635718"/>
                <a:gd name="connsiteY897" fmla="*/ 1116047 h 2504201"/>
                <a:gd name="connsiteX898" fmla="*/ 1395433 w 2635718"/>
                <a:gd name="connsiteY898" fmla="*/ 1145147 h 2504201"/>
                <a:gd name="connsiteX899" fmla="*/ 983642 w 2635718"/>
                <a:gd name="connsiteY899" fmla="*/ 1207719 h 2504201"/>
                <a:gd name="connsiteX900" fmla="*/ 963271 w 2635718"/>
                <a:gd name="connsiteY900" fmla="*/ 1180074 h 2504201"/>
                <a:gd name="connsiteX901" fmla="*/ 966181 w 2635718"/>
                <a:gd name="connsiteY901" fmla="*/ 1174252 h 2504201"/>
                <a:gd name="connsiteX902" fmla="*/ 1008379 w 2635718"/>
                <a:gd name="connsiteY902" fmla="*/ 1156792 h 2504201"/>
                <a:gd name="connsiteX903" fmla="*/ 983642 w 2635718"/>
                <a:gd name="connsiteY903" fmla="*/ 1207719 h 2504201"/>
                <a:gd name="connsiteX904" fmla="*/ 1232463 w 2635718"/>
                <a:gd name="connsiteY904" fmla="*/ 1181526 h 2504201"/>
                <a:gd name="connsiteX905" fmla="*/ 1212092 w 2635718"/>
                <a:gd name="connsiteY905" fmla="*/ 1153879 h 2504201"/>
                <a:gd name="connsiteX906" fmla="*/ 1213547 w 2635718"/>
                <a:gd name="connsiteY906" fmla="*/ 1152425 h 2504201"/>
                <a:gd name="connsiteX907" fmla="*/ 1232645 w 2635718"/>
                <a:gd name="connsiteY907" fmla="*/ 1142238 h 2504201"/>
                <a:gd name="connsiteX908" fmla="*/ 1248469 w 2635718"/>
                <a:gd name="connsiteY908" fmla="*/ 1145150 h 2504201"/>
                <a:gd name="connsiteX909" fmla="*/ 1232463 w 2635718"/>
                <a:gd name="connsiteY909" fmla="*/ 1181526 h 2504201"/>
                <a:gd name="connsiteX910" fmla="*/ 552935 w 2635718"/>
                <a:gd name="connsiteY910" fmla="*/ 1268837 h 2504201"/>
                <a:gd name="connsiteX911" fmla="*/ 542749 w 2635718"/>
                <a:gd name="connsiteY911" fmla="*/ 1255742 h 2504201"/>
                <a:gd name="connsiteX912" fmla="*/ 555844 w 2635718"/>
                <a:gd name="connsiteY912" fmla="*/ 1228096 h 2504201"/>
                <a:gd name="connsiteX913" fmla="*/ 602407 w 2635718"/>
                <a:gd name="connsiteY913" fmla="*/ 1185899 h 2504201"/>
                <a:gd name="connsiteX914" fmla="*/ 552935 w 2635718"/>
                <a:gd name="connsiteY914" fmla="*/ 1268837 h 2504201"/>
                <a:gd name="connsiteX915" fmla="*/ 495277 w 2635718"/>
                <a:gd name="connsiteY915" fmla="*/ 1277204 h 2504201"/>
                <a:gd name="connsiteX916" fmla="*/ 494731 w 2635718"/>
                <a:gd name="connsiteY916" fmla="*/ 1268837 h 2504201"/>
                <a:gd name="connsiteX917" fmla="*/ 510738 w 2635718"/>
                <a:gd name="connsiteY917" fmla="*/ 1236828 h 2504201"/>
                <a:gd name="connsiteX918" fmla="*/ 554390 w 2635718"/>
                <a:gd name="connsiteY918" fmla="*/ 1190265 h 2504201"/>
                <a:gd name="connsiteX919" fmla="*/ 503462 w 2635718"/>
                <a:gd name="connsiteY919" fmla="*/ 1274658 h 2504201"/>
                <a:gd name="connsiteX920" fmla="*/ 495277 w 2635718"/>
                <a:gd name="connsiteY920" fmla="*/ 1277204 h 2504201"/>
                <a:gd name="connsiteX921" fmla="*/ 612594 w 2635718"/>
                <a:gd name="connsiteY921" fmla="*/ 1267382 h 2504201"/>
                <a:gd name="connsiteX922" fmla="*/ 598043 w 2635718"/>
                <a:gd name="connsiteY922" fmla="*/ 1251376 h 2504201"/>
                <a:gd name="connsiteX923" fmla="*/ 609684 w 2635718"/>
                <a:gd name="connsiteY923" fmla="*/ 1228095 h 2504201"/>
                <a:gd name="connsiteX924" fmla="*/ 656246 w 2635718"/>
                <a:gd name="connsiteY924" fmla="*/ 1188808 h 2504201"/>
                <a:gd name="connsiteX925" fmla="*/ 612594 w 2635718"/>
                <a:gd name="connsiteY925" fmla="*/ 1267382 h 2504201"/>
                <a:gd name="connsiteX926" fmla="*/ 457445 w 2635718"/>
                <a:gd name="connsiteY926" fmla="*/ 1286661 h 2504201"/>
                <a:gd name="connsiteX927" fmla="*/ 455444 w 2635718"/>
                <a:gd name="connsiteY927" fmla="*/ 1283388 h 2504201"/>
                <a:gd name="connsiteX928" fmla="*/ 472905 w 2635718"/>
                <a:gd name="connsiteY928" fmla="*/ 1247014 h 2504201"/>
                <a:gd name="connsiteX929" fmla="*/ 513648 w 2635718"/>
                <a:gd name="connsiteY929" fmla="*/ 1200451 h 2504201"/>
                <a:gd name="connsiteX930" fmla="*/ 462719 w 2635718"/>
                <a:gd name="connsiteY930" fmla="*/ 1283388 h 2504201"/>
                <a:gd name="connsiteX931" fmla="*/ 457445 w 2635718"/>
                <a:gd name="connsiteY931" fmla="*/ 1286661 h 2504201"/>
                <a:gd name="connsiteX932" fmla="*/ 424887 w 2635718"/>
                <a:gd name="connsiteY932" fmla="*/ 1300846 h 2504201"/>
                <a:gd name="connsiteX933" fmla="*/ 443803 w 2635718"/>
                <a:gd name="connsiteY933" fmla="*/ 1264474 h 2504201"/>
                <a:gd name="connsiteX934" fmla="*/ 480181 w 2635718"/>
                <a:gd name="connsiteY934" fmla="*/ 1216457 h 2504201"/>
                <a:gd name="connsiteX935" fmla="*/ 424887 w 2635718"/>
                <a:gd name="connsiteY935" fmla="*/ 1300846 h 2504201"/>
                <a:gd name="connsiteX936" fmla="*/ 676618 w 2635718"/>
                <a:gd name="connsiteY936" fmla="*/ 1271746 h 2504201"/>
                <a:gd name="connsiteX937" fmla="*/ 662067 w 2635718"/>
                <a:gd name="connsiteY937" fmla="*/ 1248466 h 2504201"/>
                <a:gd name="connsiteX938" fmla="*/ 669343 w 2635718"/>
                <a:gd name="connsiteY938" fmla="*/ 1233915 h 2504201"/>
                <a:gd name="connsiteX939" fmla="*/ 715906 w 2635718"/>
                <a:gd name="connsiteY939" fmla="*/ 1198992 h 2504201"/>
                <a:gd name="connsiteX940" fmla="*/ 676618 w 2635718"/>
                <a:gd name="connsiteY940" fmla="*/ 1271746 h 2504201"/>
                <a:gd name="connsiteX941" fmla="*/ 1072403 w 2635718"/>
                <a:gd name="connsiteY941" fmla="*/ 1236821 h 2504201"/>
                <a:gd name="connsiteX942" fmla="*/ 1049122 w 2635718"/>
                <a:gd name="connsiteY942" fmla="*/ 1212084 h 2504201"/>
                <a:gd name="connsiteX943" fmla="*/ 1052031 w 2635718"/>
                <a:gd name="connsiteY943" fmla="*/ 1207718 h 2504201"/>
                <a:gd name="connsiteX944" fmla="*/ 1073131 w 2635718"/>
                <a:gd name="connsiteY944" fmla="*/ 1192258 h 2504201"/>
                <a:gd name="connsiteX945" fmla="*/ 1089864 w 2635718"/>
                <a:gd name="connsiteY945" fmla="*/ 1193168 h 2504201"/>
                <a:gd name="connsiteX946" fmla="*/ 1072403 w 2635718"/>
                <a:gd name="connsiteY946" fmla="*/ 1236821 h 2504201"/>
                <a:gd name="connsiteX947" fmla="*/ 403061 w 2635718"/>
                <a:gd name="connsiteY947" fmla="*/ 1319756 h 2504201"/>
                <a:gd name="connsiteX948" fmla="*/ 421976 w 2635718"/>
                <a:gd name="connsiteY948" fmla="*/ 1287753 h 2504201"/>
                <a:gd name="connsiteX949" fmla="*/ 453988 w 2635718"/>
                <a:gd name="connsiteY949" fmla="*/ 1241194 h 2504201"/>
                <a:gd name="connsiteX950" fmla="*/ 403061 w 2635718"/>
                <a:gd name="connsiteY950" fmla="*/ 1319756 h 2504201"/>
                <a:gd name="connsiteX951" fmla="*/ 738664 w 2635718"/>
                <a:gd name="connsiteY951" fmla="*/ 1283135 h 2504201"/>
                <a:gd name="connsiteX952" fmla="*/ 731911 w 2635718"/>
                <a:gd name="connsiteY952" fmla="*/ 1254284 h 2504201"/>
                <a:gd name="connsiteX953" fmla="*/ 737731 w 2635718"/>
                <a:gd name="connsiteY953" fmla="*/ 1244099 h 2504201"/>
                <a:gd name="connsiteX954" fmla="*/ 782840 w 2635718"/>
                <a:gd name="connsiteY954" fmla="*/ 1214997 h 2504201"/>
                <a:gd name="connsiteX955" fmla="*/ 750827 w 2635718"/>
                <a:gd name="connsiteY955" fmla="*/ 1280475 h 2504201"/>
                <a:gd name="connsiteX956" fmla="*/ 738664 w 2635718"/>
                <a:gd name="connsiteY956" fmla="*/ 1283135 h 2504201"/>
                <a:gd name="connsiteX957" fmla="*/ 1325589 w 2635718"/>
                <a:gd name="connsiteY957" fmla="*/ 1225178 h 2504201"/>
                <a:gd name="connsiteX958" fmla="*/ 1305218 w 2635718"/>
                <a:gd name="connsiteY958" fmla="*/ 1201897 h 2504201"/>
                <a:gd name="connsiteX959" fmla="*/ 1306673 w 2635718"/>
                <a:gd name="connsiteY959" fmla="*/ 1200441 h 2504201"/>
                <a:gd name="connsiteX960" fmla="*/ 1322861 w 2635718"/>
                <a:gd name="connsiteY960" fmla="*/ 1192803 h 2504201"/>
                <a:gd name="connsiteX961" fmla="*/ 1335775 w 2635718"/>
                <a:gd name="connsiteY961" fmla="*/ 1196077 h 2504201"/>
                <a:gd name="connsiteX962" fmla="*/ 1325589 w 2635718"/>
                <a:gd name="connsiteY962" fmla="*/ 1225178 h 2504201"/>
                <a:gd name="connsiteX963" fmla="*/ 827947 w 2635718"/>
                <a:gd name="connsiteY963" fmla="*/ 1293568 h 2504201"/>
                <a:gd name="connsiteX964" fmla="*/ 809031 w 2635718"/>
                <a:gd name="connsiteY964" fmla="*/ 1265923 h 2504201"/>
                <a:gd name="connsiteX965" fmla="*/ 811941 w 2635718"/>
                <a:gd name="connsiteY965" fmla="*/ 1260104 h 2504201"/>
                <a:gd name="connsiteX966" fmla="*/ 855594 w 2635718"/>
                <a:gd name="connsiteY966" fmla="*/ 1235367 h 2504201"/>
                <a:gd name="connsiteX967" fmla="*/ 827947 w 2635718"/>
                <a:gd name="connsiteY967" fmla="*/ 1293568 h 2504201"/>
                <a:gd name="connsiteX968" fmla="*/ 1164074 w 2635718"/>
                <a:gd name="connsiteY968" fmla="*/ 1270286 h 2504201"/>
                <a:gd name="connsiteX969" fmla="*/ 1143702 w 2635718"/>
                <a:gd name="connsiteY969" fmla="*/ 1245549 h 2504201"/>
                <a:gd name="connsiteX970" fmla="*/ 1145158 w 2635718"/>
                <a:gd name="connsiteY970" fmla="*/ 1244095 h 2504201"/>
                <a:gd name="connsiteX971" fmla="*/ 1162255 w 2635718"/>
                <a:gd name="connsiteY971" fmla="*/ 1233182 h 2504201"/>
                <a:gd name="connsiteX972" fmla="*/ 1177169 w 2635718"/>
                <a:gd name="connsiteY972" fmla="*/ 1235364 h 2504201"/>
                <a:gd name="connsiteX973" fmla="*/ 1164074 w 2635718"/>
                <a:gd name="connsiteY973" fmla="*/ 1270286 h 2504201"/>
                <a:gd name="connsiteX974" fmla="*/ 915253 w 2635718"/>
                <a:gd name="connsiteY974" fmla="*/ 1311025 h 2504201"/>
                <a:gd name="connsiteX975" fmla="*/ 893426 w 2635718"/>
                <a:gd name="connsiteY975" fmla="*/ 1286292 h 2504201"/>
                <a:gd name="connsiteX976" fmla="*/ 896336 w 2635718"/>
                <a:gd name="connsiteY976" fmla="*/ 1280473 h 2504201"/>
                <a:gd name="connsiteX977" fmla="*/ 935624 w 2635718"/>
                <a:gd name="connsiteY977" fmla="*/ 1261557 h 2504201"/>
                <a:gd name="connsiteX978" fmla="*/ 915253 w 2635718"/>
                <a:gd name="connsiteY978" fmla="*/ 1311025 h 2504201"/>
                <a:gd name="connsiteX979" fmla="*/ 470722 w 2635718"/>
                <a:gd name="connsiteY979" fmla="*/ 1393784 h 2504201"/>
                <a:gd name="connsiteX980" fmla="*/ 469994 w 2635718"/>
                <a:gd name="connsiteY980" fmla="*/ 1380870 h 2504201"/>
                <a:gd name="connsiteX981" fmla="*/ 480180 w 2635718"/>
                <a:gd name="connsiteY981" fmla="*/ 1356134 h 2504201"/>
                <a:gd name="connsiteX982" fmla="*/ 520923 w 2635718"/>
                <a:gd name="connsiteY982" fmla="*/ 1315391 h 2504201"/>
                <a:gd name="connsiteX983" fmla="*/ 480181 w 2635718"/>
                <a:gd name="connsiteY983" fmla="*/ 1392511 h 2504201"/>
                <a:gd name="connsiteX984" fmla="*/ 470722 w 2635718"/>
                <a:gd name="connsiteY984" fmla="*/ 1393784 h 2504201"/>
                <a:gd name="connsiteX985" fmla="*/ 529472 w 2635718"/>
                <a:gd name="connsiteY985" fmla="*/ 1389782 h 2504201"/>
                <a:gd name="connsiteX986" fmla="*/ 528198 w 2635718"/>
                <a:gd name="connsiteY986" fmla="*/ 1375049 h 2504201"/>
                <a:gd name="connsiteX987" fmla="*/ 536928 w 2635718"/>
                <a:gd name="connsiteY987" fmla="*/ 1353223 h 2504201"/>
                <a:gd name="connsiteX988" fmla="*/ 577672 w 2635718"/>
                <a:gd name="connsiteY988" fmla="*/ 1315390 h 2504201"/>
                <a:gd name="connsiteX989" fmla="*/ 542750 w 2635718"/>
                <a:gd name="connsiteY989" fmla="*/ 1388145 h 2504201"/>
                <a:gd name="connsiteX990" fmla="*/ 529472 w 2635718"/>
                <a:gd name="connsiteY990" fmla="*/ 1389782 h 2504201"/>
                <a:gd name="connsiteX991" fmla="*/ 421613 w 2635718"/>
                <a:gd name="connsiteY991" fmla="*/ 1403970 h 2504201"/>
                <a:gd name="connsiteX992" fmla="*/ 420522 w 2635718"/>
                <a:gd name="connsiteY992" fmla="*/ 1396876 h 2504201"/>
                <a:gd name="connsiteX993" fmla="*/ 433617 w 2635718"/>
                <a:gd name="connsiteY993" fmla="*/ 1366319 h 2504201"/>
                <a:gd name="connsiteX994" fmla="*/ 471450 w 2635718"/>
                <a:gd name="connsiteY994" fmla="*/ 1322667 h 2504201"/>
                <a:gd name="connsiteX995" fmla="*/ 429252 w 2635718"/>
                <a:gd name="connsiteY995" fmla="*/ 1401242 h 2504201"/>
                <a:gd name="connsiteX996" fmla="*/ 421613 w 2635718"/>
                <a:gd name="connsiteY996" fmla="*/ 1403970 h 2504201"/>
                <a:gd name="connsiteX997" fmla="*/ 1008379 w 2635718"/>
                <a:gd name="connsiteY997" fmla="*/ 1332852 h 2504201"/>
                <a:gd name="connsiteX998" fmla="*/ 985098 w 2635718"/>
                <a:gd name="connsiteY998" fmla="*/ 1311025 h 2504201"/>
                <a:gd name="connsiteX999" fmla="*/ 988008 w 2635718"/>
                <a:gd name="connsiteY999" fmla="*/ 1306662 h 2504201"/>
                <a:gd name="connsiteX1000" fmla="*/ 1021475 w 2635718"/>
                <a:gd name="connsiteY1000" fmla="*/ 1292112 h 2504201"/>
                <a:gd name="connsiteX1001" fmla="*/ 1008379 w 2635718"/>
                <a:gd name="connsiteY1001" fmla="*/ 1332852 h 2504201"/>
                <a:gd name="connsiteX1002" fmla="*/ 382325 w 2635718"/>
                <a:gd name="connsiteY1002" fmla="*/ 1414701 h 2504201"/>
                <a:gd name="connsiteX1003" fmla="*/ 379778 w 2635718"/>
                <a:gd name="connsiteY1003" fmla="*/ 1411427 h 2504201"/>
                <a:gd name="connsiteX1004" fmla="*/ 394330 w 2635718"/>
                <a:gd name="connsiteY1004" fmla="*/ 1377959 h 2504201"/>
                <a:gd name="connsiteX1005" fmla="*/ 429252 w 2635718"/>
                <a:gd name="connsiteY1005" fmla="*/ 1334307 h 2504201"/>
                <a:gd name="connsiteX1006" fmla="*/ 387055 w 2635718"/>
                <a:gd name="connsiteY1006" fmla="*/ 1411426 h 2504201"/>
                <a:gd name="connsiteX1007" fmla="*/ 382325 w 2635718"/>
                <a:gd name="connsiteY1007" fmla="*/ 1414701 h 2504201"/>
                <a:gd name="connsiteX1008" fmla="*/ 1263020 w 2635718"/>
                <a:gd name="connsiteY1008" fmla="*/ 1308116 h 2504201"/>
                <a:gd name="connsiteX1009" fmla="*/ 1241194 w 2635718"/>
                <a:gd name="connsiteY1009" fmla="*/ 1287747 h 2504201"/>
                <a:gd name="connsiteX1010" fmla="*/ 1242649 w 2635718"/>
                <a:gd name="connsiteY1010" fmla="*/ 1286291 h 2504201"/>
                <a:gd name="connsiteX1011" fmla="*/ 1257564 w 2635718"/>
                <a:gd name="connsiteY1011" fmla="*/ 1277925 h 2504201"/>
                <a:gd name="connsiteX1012" fmla="*/ 1270296 w 2635718"/>
                <a:gd name="connsiteY1012" fmla="*/ 1280471 h 2504201"/>
                <a:gd name="connsiteX1013" fmla="*/ 1263020 w 2635718"/>
                <a:gd name="connsiteY1013" fmla="*/ 1308116 h 2504201"/>
                <a:gd name="connsiteX1014" fmla="*/ 608228 w 2635718"/>
                <a:gd name="connsiteY1014" fmla="*/ 1389600 h 2504201"/>
                <a:gd name="connsiteX1015" fmla="*/ 593677 w 2635718"/>
                <a:gd name="connsiteY1015" fmla="*/ 1369229 h 2504201"/>
                <a:gd name="connsiteX1016" fmla="*/ 599497 w 2635718"/>
                <a:gd name="connsiteY1016" fmla="*/ 1354678 h 2504201"/>
                <a:gd name="connsiteX1017" fmla="*/ 640241 w 2635718"/>
                <a:gd name="connsiteY1017" fmla="*/ 1321211 h 2504201"/>
                <a:gd name="connsiteX1018" fmla="*/ 608228 w 2635718"/>
                <a:gd name="connsiteY1018" fmla="*/ 1389600 h 2504201"/>
                <a:gd name="connsiteX1019" fmla="*/ 350677 w 2635718"/>
                <a:gd name="connsiteY1019" fmla="*/ 1431799 h 2504201"/>
                <a:gd name="connsiteX1020" fmla="*/ 365228 w 2635718"/>
                <a:gd name="connsiteY1020" fmla="*/ 1398332 h 2504201"/>
                <a:gd name="connsiteX1021" fmla="*/ 395785 w 2635718"/>
                <a:gd name="connsiteY1021" fmla="*/ 1353224 h 2504201"/>
                <a:gd name="connsiteX1022" fmla="*/ 350677 w 2635718"/>
                <a:gd name="connsiteY1022" fmla="*/ 1431799 h 2504201"/>
                <a:gd name="connsiteX1023" fmla="*/ 683893 w 2635718"/>
                <a:gd name="connsiteY1023" fmla="*/ 1393966 h 2504201"/>
                <a:gd name="connsiteX1024" fmla="*/ 664977 w 2635718"/>
                <a:gd name="connsiteY1024" fmla="*/ 1372139 h 2504201"/>
                <a:gd name="connsiteX1025" fmla="*/ 669342 w 2635718"/>
                <a:gd name="connsiteY1025" fmla="*/ 1361954 h 2504201"/>
                <a:gd name="connsiteX1026" fmla="*/ 710085 w 2635718"/>
                <a:gd name="connsiteY1026" fmla="*/ 1332852 h 2504201"/>
                <a:gd name="connsiteX1027" fmla="*/ 683893 w 2635718"/>
                <a:gd name="connsiteY1027" fmla="*/ 1393966 h 2504201"/>
                <a:gd name="connsiteX1028" fmla="*/ 327396 w 2635718"/>
                <a:gd name="connsiteY1028" fmla="*/ 1452169 h 2504201"/>
                <a:gd name="connsiteX1029" fmla="*/ 343402 w 2635718"/>
                <a:gd name="connsiteY1029" fmla="*/ 1421612 h 2504201"/>
                <a:gd name="connsiteX1030" fmla="*/ 369594 w 2635718"/>
                <a:gd name="connsiteY1030" fmla="*/ 1377959 h 2504201"/>
                <a:gd name="connsiteX1031" fmla="*/ 327396 w 2635718"/>
                <a:gd name="connsiteY1031" fmla="*/ 1452169 h 2504201"/>
                <a:gd name="connsiteX1032" fmla="*/ 766834 w 2635718"/>
                <a:gd name="connsiteY1032" fmla="*/ 1401241 h 2504201"/>
                <a:gd name="connsiteX1033" fmla="*/ 745007 w 2635718"/>
                <a:gd name="connsiteY1033" fmla="*/ 1380870 h 2504201"/>
                <a:gd name="connsiteX1034" fmla="*/ 749373 w 2635718"/>
                <a:gd name="connsiteY1034" fmla="*/ 1372139 h 2504201"/>
                <a:gd name="connsiteX1035" fmla="*/ 785750 w 2635718"/>
                <a:gd name="connsiteY1035" fmla="*/ 1348858 h 2504201"/>
                <a:gd name="connsiteX1036" fmla="*/ 766834 w 2635718"/>
                <a:gd name="connsiteY1036" fmla="*/ 1401241 h 2504201"/>
                <a:gd name="connsiteX1037" fmla="*/ 1101504 w 2635718"/>
                <a:gd name="connsiteY1037" fmla="*/ 1361953 h 2504201"/>
                <a:gd name="connsiteX1038" fmla="*/ 1079678 w 2635718"/>
                <a:gd name="connsiteY1038" fmla="*/ 1340128 h 2504201"/>
                <a:gd name="connsiteX1039" fmla="*/ 1081133 w 2635718"/>
                <a:gd name="connsiteY1039" fmla="*/ 1338672 h 2504201"/>
                <a:gd name="connsiteX1040" fmla="*/ 1098049 w 2635718"/>
                <a:gd name="connsiteY1040" fmla="*/ 1327577 h 2504201"/>
                <a:gd name="connsiteX1041" fmla="*/ 1111690 w 2635718"/>
                <a:gd name="connsiteY1041" fmla="*/ 1328487 h 2504201"/>
                <a:gd name="connsiteX1042" fmla="*/ 1101504 w 2635718"/>
                <a:gd name="connsiteY1042" fmla="*/ 1361953 h 2504201"/>
                <a:gd name="connsiteX1043" fmla="*/ 852684 w 2635718"/>
                <a:gd name="connsiteY1043" fmla="*/ 1415792 h 2504201"/>
                <a:gd name="connsiteX1044" fmla="*/ 830858 w 2635718"/>
                <a:gd name="connsiteY1044" fmla="*/ 1393965 h 2504201"/>
                <a:gd name="connsiteX1045" fmla="*/ 833768 w 2635718"/>
                <a:gd name="connsiteY1045" fmla="*/ 1389600 h 2504201"/>
                <a:gd name="connsiteX1046" fmla="*/ 868690 w 2635718"/>
                <a:gd name="connsiteY1046" fmla="*/ 1370684 h 2504201"/>
                <a:gd name="connsiteX1047" fmla="*/ 852684 w 2635718"/>
                <a:gd name="connsiteY1047" fmla="*/ 1415792 h 2504201"/>
                <a:gd name="connsiteX1048" fmla="*/ 1203362 w 2635718"/>
                <a:gd name="connsiteY1048" fmla="*/ 1395421 h 2504201"/>
                <a:gd name="connsiteX1049" fmla="*/ 1181536 w 2635718"/>
                <a:gd name="connsiteY1049" fmla="*/ 1376505 h 2504201"/>
                <a:gd name="connsiteX1050" fmla="*/ 1182990 w 2635718"/>
                <a:gd name="connsiteY1050" fmla="*/ 1375049 h 2504201"/>
                <a:gd name="connsiteX1051" fmla="*/ 1196631 w 2635718"/>
                <a:gd name="connsiteY1051" fmla="*/ 1367228 h 2504201"/>
                <a:gd name="connsiteX1052" fmla="*/ 1209182 w 2635718"/>
                <a:gd name="connsiteY1052" fmla="*/ 1369229 h 2504201"/>
                <a:gd name="connsiteX1053" fmla="*/ 1203362 w 2635718"/>
                <a:gd name="connsiteY1053" fmla="*/ 1395421 h 2504201"/>
                <a:gd name="connsiteX1054" fmla="*/ 947265 w 2635718"/>
                <a:gd name="connsiteY1054" fmla="*/ 1433253 h 2504201"/>
                <a:gd name="connsiteX1055" fmla="*/ 923984 w 2635718"/>
                <a:gd name="connsiteY1055" fmla="*/ 1414337 h 2504201"/>
                <a:gd name="connsiteX1056" fmla="*/ 925439 w 2635718"/>
                <a:gd name="connsiteY1056" fmla="*/ 1409972 h 2504201"/>
                <a:gd name="connsiteX1057" fmla="*/ 957451 w 2635718"/>
                <a:gd name="connsiteY1057" fmla="*/ 1395421 h 2504201"/>
                <a:gd name="connsiteX1058" fmla="*/ 947265 w 2635718"/>
                <a:gd name="connsiteY1058" fmla="*/ 1433253 h 2504201"/>
                <a:gd name="connsiteX1059" fmla="*/ 478725 w 2635718"/>
                <a:gd name="connsiteY1059" fmla="*/ 1513284 h 2504201"/>
                <a:gd name="connsiteX1060" fmla="*/ 464175 w 2635718"/>
                <a:gd name="connsiteY1060" fmla="*/ 1498733 h 2504201"/>
                <a:gd name="connsiteX1061" fmla="*/ 469995 w 2635718"/>
                <a:gd name="connsiteY1061" fmla="*/ 1482727 h 2504201"/>
                <a:gd name="connsiteX1062" fmla="*/ 506373 w 2635718"/>
                <a:gd name="connsiteY1062" fmla="*/ 1446350 h 2504201"/>
                <a:gd name="connsiteX1063" fmla="*/ 478725 w 2635718"/>
                <a:gd name="connsiteY1063" fmla="*/ 1513284 h 2504201"/>
                <a:gd name="connsiteX1064" fmla="*/ 408699 w 2635718"/>
                <a:gd name="connsiteY1064" fmla="*/ 1524015 h 2504201"/>
                <a:gd name="connsiteX1065" fmla="*/ 405971 w 2635718"/>
                <a:gd name="connsiteY1065" fmla="*/ 1513284 h 2504201"/>
                <a:gd name="connsiteX1066" fmla="*/ 413246 w 2635718"/>
                <a:gd name="connsiteY1066" fmla="*/ 1490002 h 2504201"/>
                <a:gd name="connsiteX1067" fmla="*/ 448168 w 2635718"/>
                <a:gd name="connsiteY1067" fmla="*/ 1450714 h 2504201"/>
                <a:gd name="connsiteX1068" fmla="*/ 419066 w 2635718"/>
                <a:gd name="connsiteY1068" fmla="*/ 1520559 h 2504201"/>
                <a:gd name="connsiteX1069" fmla="*/ 408699 w 2635718"/>
                <a:gd name="connsiteY1069" fmla="*/ 1524015 h 2504201"/>
                <a:gd name="connsiteX1070" fmla="*/ 531654 w 2635718"/>
                <a:gd name="connsiteY1070" fmla="*/ 1511646 h 2504201"/>
                <a:gd name="connsiteX1071" fmla="*/ 528198 w 2635718"/>
                <a:gd name="connsiteY1071" fmla="*/ 1495822 h 2504201"/>
                <a:gd name="connsiteX1072" fmla="*/ 534019 w 2635718"/>
                <a:gd name="connsiteY1072" fmla="*/ 1479816 h 2504201"/>
                <a:gd name="connsiteX1073" fmla="*/ 570396 w 2635718"/>
                <a:gd name="connsiteY1073" fmla="*/ 1447804 h 2504201"/>
                <a:gd name="connsiteX1074" fmla="*/ 547114 w 2635718"/>
                <a:gd name="connsiteY1074" fmla="*/ 1508918 h 2504201"/>
                <a:gd name="connsiteX1075" fmla="*/ 531654 w 2635718"/>
                <a:gd name="connsiteY1075" fmla="*/ 1511646 h 2504201"/>
                <a:gd name="connsiteX1076" fmla="*/ 357224 w 2635718"/>
                <a:gd name="connsiteY1076" fmla="*/ 1533109 h 2504201"/>
                <a:gd name="connsiteX1077" fmla="*/ 355042 w 2635718"/>
                <a:gd name="connsiteY1077" fmla="*/ 1527835 h 2504201"/>
                <a:gd name="connsiteX1078" fmla="*/ 363772 w 2635718"/>
                <a:gd name="connsiteY1078" fmla="*/ 1500188 h 2504201"/>
                <a:gd name="connsiteX1079" fmla="*/ 397240 w 2635718"/>
                <a:gd name="connsiteY1079" fmla="*/ 1459445 h 2504201"/>
                <a:gd name="connsiteX1080" fmla="*/ 363772 w 2635718"/>
                <a:gd name="connsiteY1080" fmla="*/ 1530745 h 2504201"/>
                <a:gd name="connsiteX1081" fmla="*/ 357224 w 2635718"/>
                <a:gd name="connsiteY1081" fmla="*/ 1533109 h 2504201"/>
                <a:gd name="connsiteX1082" fmla="*/ 1046211 w 2635718"/>
                <a:gd name="connsiteY1082" fmla="*/ 1456535 h 2504201"/>
                <a:gd name="connsiteX1083" fmla="*/ 1022930 w 2635718"/>
                <a:gd name="connsiteY1083" fmla="*/ 1440528 h 2504201"/>
                <a:gd name="connsiteX1084" fmla="*/ 1024385 w 2635718"/>
                <a:gd name="connsiteY1084" fmla="*/ 1437619 h 2504201"/>
                <a:gd name="connsiteX1085" fmla="*/ 1039300 w 2635718"/>
                <a:gd name="connsiteY1085" fmla="*/ 1425796 h 2504201"/>
                <a:gd name="connsiteX1086" fmla="*/ 1052031 w 2635718"/>
                <a:gd name="connsiteY1086" fmla="*/ 1425978 h 2504201"/>
                <a:gd name="connsiteX1087" fmla="*/ 1046211 w 2635718"/>
                <a:gd name="connsiteY1087" fmla="*/ 1456535 h 2504201"/>
                <a:gd name="connsiteX1088" fmla="*/ 317573 w 2635718"/>
                <a:gd name="connsiteY1088" fmla="*/ 1547114 h 2504201"/>
                <a:gd name="connsiteX1089" fmla="*/ 314300 w 2635718"/>
                <a:gd name="connsiteY1089" fmla="*/ 1545295 h 2504201"/>
                <a:gd name="connsiteX1090" fmla="*/ 324485 w 2635718"/>
                <a:gd name="connsiteY1090" fmla="*/ 1514738 h 2504201"/>
                <a:gd name="connsiteX1091" fmla="*/ 353586 w 2635718"/>
                <a:gd name="connsiteY1091" fmla="*/ 1473996 h 2504201"/>
                <a:gd name="connsiteX1092" fmla="*/ 323030 w 2635718"/>
                <a:gd name="connsiteY1092" fmla="*/ 1542385 h 2504201"/>
                <a:gd name="connsiteX1093" fmla="*/ 317573 w 2635718"/>
                <a:gd name="connsiteY1093" fmla="*/ 1547114 h 2504201"/>
                <a:gd name="connsiteX1094" fmla="*/ 622779 w 2635718"/>
                <a:gd name="connsiteY1094" fmla="*/ 1510373 h 2504201"/>
                <a:gd name="connsiteX1095" fmla="*/ 603863 w 2635718"/>
                <a:gd name="connsiteY1095" fmla="*/ 1491457 h 2504201"/>
                <a:gd name="connsiteX1096" fmla="*/ 606773 w 2635718"/>
                <a:gd name="connsiteY1096" fmla="*/ 1482726 h 2504201"/>
                <a:gd name="connsiteX1097" fmla="*/ 643151 w 2635718"/>
                <a:gd name="connsiteY1097" fmla="*/ 1455079 h 2504201"/>
                <a:gd name="connsiteX1098" fmla="*/ 622779 w 2635718"/>
                <a:gd name="connsiteY1098" fmla="*/ 1510373 h 2504201"/>
                <a:gd name="connsiteX1099" fmla="*/ 707174 w 2635718"/>
                <a:gd name="connsiteY1099" fmla="*/ 1514739 h 2504201"/>
                <a:gd name="connsiteX1100" fmla="*/ 685348 w 2635718"/>
                <a:gd name="connsiteY1100" fmla="*/ 1497278 h 2504201"/>
                <a:gd name="connsiteX1101" fmla="*/ 688258 w 2635718"/>
                <a:gd name="connsiteY1101" fmla="*/ 1490002 h 2504201"/>
                <a:gd name="connsiteX1102" fmla="*/ 721726 w 2635718"/>
                <a:gd name="connsiteY1102" fmla="*/ 1466721 h 2504201"/>
                <a:gd name="connsiteX1103" fmla="*/ 707174 w 2635718"/>
                <a:gd name="connsiteY1103" fmla="*/ 1514739 h 2504201"/>
                <a:gd name="connsiteX1104" fmla="*/ 282288 w 2635718"/>
                <a:gd name="connsiteY1104" fmla="*/ 1567122 h 2504201"/>
                <a:gd name="connsiteX1105" fmla="*/ 293928 w 2635718"/>
                <a:gd name="connsiteY1105" fmla="*/ 1536565 h 2504201"/>
                <a:gd name="connsiteX1106" fmla="*/ 318665 w 2635718"/>
                <a:gd name="connsiteY1106" fmla="*/ 1494367 h 2504201"/>
                <a:gd name="connsiteX1107" fmla="*/ 282288 w 2635718"/>
                <a:gd name="connsiteY1107" fmla="*/ 1567122 h 2504201"/>
                <a:gd name="connsiteX1108" fmla="*/ 259006 w 2635718"/>
                <a:gd name="connsiteY1108" fmla="*/ 1588949 h 2504201"/>
                <a:gd name="connsiteX1109" fmla="*/ 270647 w 2635718"/>
                <a:gd name="connsiteY1109" fmla="*/ 1561302 h 2504201"/>
                <a:gd name="connsiteX1110" fmla="*/ 292473 w 2635718"/>
                <a:gd name="connsiteY1110" fmla="*/ 1520559 h 2504201"/>
                <a:gd name="connsiteX1111" fmla="*/ 259006 w 2635718"/>
                <a:gd name="connsiteY1111" fmla="*/ 1588949 h 2504201"/>
                <a:gd name="connsiteX1112" fmla="*/ 795935 w 2635718"/>
                <a:gd name="connsiteY1112" fmla="*/ 1524924 h 2504201"/>
                <a:gd name="connsiteX1113" fmla="*/ 775564 w 2635718"/>
                <a:gd name="connsiteY1113" fmla="*/ 1506007 h 2504201"/>
                <a:gd name="connsiteX1114" fmla="*/ 777018 w 2635718"/>
                <a:gd name="connsiteY1114" fmla="*/ 1501642 h 2504201"/>
                <a:gd name="connsiteX1115" fmla="*/ 807576 w 2635718"/>
                <a:gd name="connsiteY1115" fmla="*/ 1482726 h 2504201"/>
                <a:gd name="connsiteX1116" fmla="*/ 795935 w 2635718"/>
                <a:gd name="connsiteY1116" fmla="*/ 1524924 h 2504201"/>
                <a:gd name="connsiteX1117" fmla="*/ 1139126 w 2635718"/>
                <a:gd name="connsiteY1117" fmla="*/ 1484506 h 2504201"/>
                <a:gd name="connsiteX1118" fmla="*/ 1132790 w 2635718"/>
                <a:gd name="connsiteY1118" fmla="*/ 1483817 h 2504201"/>
                <a:gd name="connsiteX1119" fmla="*/ 1129152 w 2635718"/>
                <a:gd name="connsiteY1119" fmla="*/ 1471085 h 2504201"/>
                <a:gd name="connsiteX1120" fmla="*/ 1129152 w 2635718"/>
                <a:gd name="connsiteY1120" fmla="*/ 1469630 h 2504201"/>
                <a:gd name="connsiteX1121" fmla="*/ 1141339 w 2635718"/>
                <a:gd name="connsiteY1121" fmla="*/ 1459809 h 2504201"/>
                <a:gd name="connsiteX1122" fmla="*/ 1152433 w 2635718"/>
                <a:gd name="connsiteY1122" fmla="*/ 1460900 h 2504201"/>
                <a:gd name="connsiteX1123" fmla="*/ 1156832 w 2635718"/>
                <a:gd name="connsiteY1123" fmla="*/ 1468048 h 2504201"/>
                <a:gd name="connsiteX1124" fmla="*/ 891972 w 2635718"/>
                <a:gd name="connsiteY1124" fmla="*/ 1538019 h 2504201"/>
                <a:gd name="connsiteX1125" fmla="*/ 870145 w 2635718"/>
                <a:gd name="connsiteY1125" fmla="*/ 1522014 h 2504201"/>
                <a:gd name="connsiteX1126" fmla="*/ 871600 w 2635718"/>
                <a:gd name="connsiteY1126" fmla="*/ 1517648 h 2504201"/>
                <a:gd name="connsiteX1127" fmla="*/ 899247 w 2635718"/>
                <a:gd name="connsiteY1127" fmla="*/ 1503097 h 2504201"/>
                <a:gd name="connsiteX1128" fmla="*/ 891972 w 2635718"/>
                <a:gd name="connsiteY1128" fmla="*/ 1538019 h 2504201"/>
                <a:gd name="connsiteX1129" fmla="*/ 995283 w 2635718"/>
                <a:gd name="connsiteY1129" fmla="*/ 1555482 h 2504201"/>
                <a:gd name="connsiteX1130" fmla="*/ 973457 w 2635718"/>
                <a:gd name="connsiteY1130" fmla="*/ 1540930 h 2504201"/>
                <a:gd name="connsiteX1131" fmla="*/ 973457 w 2635718"/>
                <a:gd name="connsiteY1131" fmla="*/ 1539476 h 2504201"/>
                <a:gd name="connsiteX1132" fmla="*/ 986371 w 2635718"/>
                <a:gd name="connsiteY1132" fmla="*/ 1527653 h 2504201"/>
                <a:gd name="connsiteX1133" fmla="*/ 998193 w 2635718"/>
                <a:gd name="connsiteY1133" fmla="*/ 1527835 h 2504201"/>
                <a:gd name="connsiteX1134" fmla="*/ 995283 w 2635718"/>
                <a:gd name="connsiteY1134" fmla="*/ 1555482 h 2504201"/>
                <a:gd name="connsiteX1135" fmla="*/ 410518 w 2635718"/>
                <a:gd name="connsiteY1135" fmla="*/ 1643150 h 2504201"/>
                <a:gd name="connsiteX1136" fmla="*/ 408881 w 2635718"/>
                <a:gd name="connsiteY1136" fmla="*/ 1629691 h 2504201"/>
                <a:gd name="connsiteX1137" fmla="*/ 413246 w 2635718"/>
                <a:gd name="connsiteY1137" fmla="*/ 1615140 h 2504201"/>
                <a:gd name="connsiteX1138" fmla="*/ 442348 w 2635718"/>
                <a:gd name="connsiteY1138" fmla="*/ 1581673 h 2504201"/>
                <a:gd name="connsiteX1139" fmla="*/ 421976 w 2635718"/>
                <a:gd name="connsiteY1139" fmla="*/ 1641331 h 2504201"/>
                <a:gd name="connsiteX1140" fmla="*/ 410518 w 2635718"/>
                <a:gd name="connsiteY1140" fmla="*/ 1643150 h 2504201"/>
                <a:gd name="connsiteX1141" fmla="*/ 479816 w 2635718"/>
                <a:gd name="connsiteY1141" fmla="*/ 1635329 h 2504201"/>
                <a:gd name="connsiteX1142" fmla="*/ 477270 w 2635718"/>
                <a:gd name="connsiteY1142" fmla="*/ 1619505 h 2504201"/>
                <a:gd name="connsiteX1143" fmla="*/ 480181 w 2635718"/>
                <a:gd name="connsiteY1143" fmla="*/ 1607865 h 2504201"/>
                <a:gd name="connsiteX1144" fmla="*/ 509282 w 2635718"/>
                <a:gd name="connsiteY1144" fmla="*/ 1578762 h 2504201"/>
                <a:gd name="connsiteX1145" fmla="*/ 493276 w 2635718"/>
                <a:gd name="connsiteY1145" fmla="*/ 1632600 h 2504201"/>
                <a:gd name="connsiteX1146" fmla="*/ 479816 w 2635718"/>
                <a:gd name="connsiteY1146" fmla="*/ 1635329 h 2504201"/>
                <a:gd name="connsiteX1147" fmla="*/ 351767 w 2635718"/>
                <a:gd name="connsiteY1147" fmla="*/ 1653700 h 2504201"/>
                <a:gd name="connsiteX1148" fmla="*/ 349221 w 2635718"/>
                <a:gd name="connsiteY1148" fmla="*/ 1644242 h 2504201"/>
                <a:gd name="connsiteX1149" fmla="*/ 355042 w 2635718"/>
                <a:gd name="connsiteY1149" fmla="*/ 1623870 h 2504201"/>
                <a:gd name="connsiteX1150" fmla="*/ 382688 w 2635718"/>
                <a:gd name="connsiteY1150" fmla="*/ 1588948 h 2504201"/>
                <a:gd name="connsiteX1151" fmla="*/ 360862 w 2635718"/>
                <a:gd name="connsiteY1151" fmla="*/ 1650061 h 2504201"/>
                <a:gd name="connsiteX1152" fmla="*/ 351767 w 2635718"/>
                <a:gd name="connsiteY1152" fmla="*/ 1653700 h 2504201"/>
                <a:gd name="connsiteX1153" fmla="*/ 568940 w 2635718"/>
                <a:gd name="connsiteY1153" fmla="*/ 1631146 h 2504201"/>
                <a:gd name="connsiteX1154" fmla="*/ 551480 w 2635718"/>
                <a:gd name="connsiteY1154" fmla="*/ 1615140 h 2504201"/>
                <a:gd name="connsiteX1155" fmla="*/ 554390 w 2635718"/>
                <a:gd name="connsiteY1155" fmla="*/ 1607865 h 2504201"/>
                <a:gd name="connsiteX1156" fmla="*/ 583492 w 2635718"/>
                <a:gd name="connsiteY1156" fmla="*/ 1581672 h 2504201"/>
                <a:gd name="connsiteX1157" fmla="*/ 568940 w 2635718"/>
                <a:gd name="connsiteY1157" fmla="*/ 1631146 h 2504201"/>
                <a:gd name="connsiteX1158" fmla="*/ 299749 w 2635718"/>
                <a:gd name="connsiteY1158" fmla="*/ 1667341 h 2504201"/>
                <a:gd name="connsiteX1159" fmla="*/ 296838 w 2635718"/>
                <a:gd name="connsiteY1159" fmla="*/ 1661703 h 2504201"/>
                <a:gd name="connsiteX1160" fmla="*/ 304115 w 2635718"/>
                <a:gd name="connsiteY1160" fmla="*/ 1636966 h 2504201"/>
                <a:gd name="connsiteX1161" fmla="*/ 330306 w 2635718"/>
                <a:gd name="connsiteY1161" fmla="*/ 1600589 h 2504201"/>
                <a:gd name="connsiteX1162" fmla="*/ 307024 w 2635718"/>
                <a:gd name="connsiteY1162" fmla="*/ 1663158 h 2504201"/>
                <a:gd name="connsiteX1163" fmla="*/ 299749 w 2635718"/>
                <a:gd name="connsiteY1163" fmla="*/ 1667341 h 2504201"/>
                <a:gd name="connsiteX1164" fmla="*/ 638603 w 2635718"/>
                <a:gd name="connsiteY1164" fmla="*/ 1633147 h 2504201"/>
                <a:gd name="connsiteX1165" fmla="*/ 634420 w 2635718"/>
                <a:gd name="connsiteY1165" fmla="*/ 1616596 h 2504201"/>
                <a:gd name="connsiteX1166" fmla="*/ 635875 w 2635718"/>
                <a:gd name="connsiteY1166" fmla="*/ 1609320 h 2504201"/>
                <a:gd name="connsiteX1167" fmla="*/ 664976 w 2635718"/>
                <a:gd name="connsiteY1167" fmla="*/ 1587493 h 2504201"/>
                <a:gd name="connsiteX1168" fmla="*/ 654791 w 2635718"/>
                <a:gd name="connsiteY1168" fmla="*/ 1631147 h 2504201"/>
                <a:gd name="connsiteX1169" fmla="*/ 638603 w 2635718"/>
                <a:gd name="connsiteY1169" fmla="*/ 1633147 h 2504201"/>
                <a:gd name="connsiteX1170" fmla="*/ 256096 w 2635718"/>
                <a:gd name="connsiteY1170" fmla="*/ 1683529 h 2504201"/>
                <a:gd name="connsiteX1171" fmla="*/ 263371 w 2635718"/>
                <a:gd name="connsiteY1171" fmla="*/ 1657337 h 2504201"/>
                <a:gd name="connsiteX1172" fmla="*/ 286652 w 2635718"/>
                <a:gd name="connsiteY1172" fmla="*/ 1618050 h 2504201"/>
                <a:gd name="connsiteX1173" fmla="*/ 263371 w 2635718"/>
                <a:gd name="connsiteY1173" fmla="*/ 1680619 h 2504201"/>
                <a:gd name="connsiteX1174" fmla="*/ 256096 w 2635718"/>
                <a:gd name="connsiteY1174" fmla="*/ 1683529 h 2504201"/>
                <a:gd name="connsiteX1175" fmla="*/ 747917 w 2635718"/>
                <a:gd name="connsiteY1175" fmla="*/ 1634056 h 2504201"/>
                <a:gd name="connsiteX1176" fmla="*/ 726091 w 2635718"/>
                <a:gd name="connsiteY1176" fmla="*/ 1619505 h 2504201"/>
                <a:gd name="connsiteX1177" fmla="*/ 727546 w 2635718"/>
                <a:gd name="connsiteY1177" fmla="*/ 1615140 h 2504201"/>
                <a:gd name="connsiteX1178" fmla="*/ 753737 w 2635718"/>
                <a:gd name="connsiteY1178" fmla="*/ 1597679 h 2504201"/>
                <a:gd name="connsiteX1179" fmla="*/ 747917 w 2635718"/>
                <a:gd name="connsiteY1179" fmla="*/ 1634056 h 2504201"/>
                <a:gd name="connsiteX1180" fmla="*/ 221174 w 2635718"/>
                <a:gd name="connsiteY1180" fmla="*/ 1705355 h 2504201"/>
                <a:gd name="connsiteX1181" fmla="*/ 228450 w 2635718"/>
                <a:gd name="connsiteY1181" fmla="*/ 1677708 h 2504201"/>
                <a:gd name="connsiteX1182" fmla="*/ 250275 w 2635718"/>
                <a:gd name="connsiteY1182" fmla="*/ 1639876 h 2504201"/>
                <a:gd name="connsiteX1183" fmla="*/ 221174 w 2635718"/>
                <a:gd name="connsiteY1183" fmla="*/ 1705355 h 2504201"/>
                <a:gd name="connsiteX1184" fmla="*/ 843954 w 2635718"/>
                <a:gd name="connsiteY1184" fmla="*/ 1644241 h 2504201"/>
                <a:gd name="connsiteX1185" fmla="*/ 823582 w 2635718"/>
                <a:gd name="connsiteY1185" fmla="*/ 1629691 h 2504201"/>
                <a:gd name="connsiteX1186" fmla="*/ 823582 w 2635718"/>
                <a:gd name="connsiteY1186" fmla="*/ 1628236 h 2504201"/>
                <a:gd name="connsiteX1187" fmla="*/ 848319 w 2635718"/>
                <a:gd name="connsiteY1187" fmla="*/ 1613684 h 2504201"/>
                <a:gd name="connsiteX1188" fmla="*/ 843954 w 2635718"/>
                <a:gd name="connsiteY1188" fmla="*/ 1644241 h 2504201"/>
                <a:gd name="connsiteX1189" fmla="*/ 197892 w 2635718"/>
                <a:gd name="connsiteY1189" fmla="*/ 1730092 h 2504201"/>
                <a:gd name="connsiteX1190" fmla="*/ 206622 w 2635718"/>
                <a:gd name="connsiteY1190" fmla="*/ 1705355 h 2504201"/>
                <a:gd name="connsiteX1191" fmla="*/ 224084 w 2635718"/>
                <a:gd name="connsiteY1191" fmla="*/ 1667523 h 2504201"/>
                <a:gd name="connsiteX1192" fmla="*/ 197892 w 2635718"/>
                <a:gd name="connsiteY1192" fmla="*/ 1730092 h 2504201"/>
                <a:gd name="connsiteX1193" fmla="*/ 948720 w 2635718"/>
                <a:gd name="connsiteY1193" fmla="*/ 1654427 h 2504201"/>
                <a:gd name="connsiteX1194" fmla="*/ 929804 w 2635718"/>
                <a:gd name="connsiteY1194" fmla="*/ 1642786 h 2504201"/>
                <a:gd name="connsiteX1195" fmla="*/ 929804 w 2635718"/>
                <a:gd name="connsiteY1195" fmla="*/ 1641331 h 2504201"/>
                <a:gd name="connsiteX1196" fmla="*/ 950175 w 2635718"/>
                <a:gd name="connsiteY1196" fmla="*/ 1631146 h 2504201"/>
                <a:gd name="connsiteX1197" fmla="*/ 948720 w 2635718"/>
                <a:gd name="connsiteY1197" fmla="*/ 1654427 h 2504201"/>
                <a:gd name="connsiteX1198" fmla="*/ 183341 w 2635718"/>
                <a:gd name="connsiteY1198" fmla="*/ 1753374 h 2504201"/>
                <a:gd name="connsiteX1199" fmla="*/ 203713 w 2635718"/>
                <a:gd name="connsiteY1199" fmla="*/ 1703901 h 2504201"/>
                <a:gd name="connsiteX1200" fmla="*/ 432889 w 2635718"/>
                <a:gd name="connsiteY1200" fmla="*/ 1763741 h 2504201"/>
                <a:gd name="connsiteX1201" fmla="*/ 429252 w 2635718"/>
                <a:gd name="connsiteY1201" fmla="*/ 1750463 h 2504201"/>
                <a:gd name="connsiteX1202" fmla="*/ 432162 w 2635718"/>
                <a:gd name="connsiteY1202" fmla="*/ 1740278 h 2504201"/>
                <a:gd name="connsiteX1203" fmla="*/ 456898 w 2635718"/>
                <a:gd name="connsiteY1203" fmla="*/ 1712631 h 2504201"/>
                <a:gd name="connsiteX1204" fmla="*/ 445258 w 2635718"/>
                <a:gd name="connsiteY1204" fmla="*/ 1760649 h 2504201"/>
                <a:gd name="connsiteX1205" fmla="*/ 432889 w 2635718"/>
                <a:gd name="connsiteY1205" fmla="*/ 1763741 h 2504201"/>
                <a:gd name="connsiteX1206" fmla="*/ 362682 w 2635718"/>
                <a:gd name="connsiteY1206" fmla="*/ 1773017 h 2504201"/>
                <a:gd name="connsiteX1207" fmla="*/ 359408 w 2635718"/>
                <a:gd name="connsiteY1207" fmla="*/ 1762104 h 2504201"/>
                <a:gd name="connsiteX1208" fmla="*/ 362317 w 2635718"/>
                <a:gd name="connsiteY1208" fmla="*/ 1749008 h 2504201"/>
                <a:gd name="connsiteX1209" fmla="*/ 387054 w 2635718"/>
                <a:gd name="connsiteY1209" fmla="*/ 1719906 h 2504201"/>
                <a:gd name="connsiteX1210" fmla="*/ 372504 w 2635718"/>
                <a:gd name="connsiteY1210" fmla="*/ 1770835 h 2504201"/>
                <a:gd name="connsiteX1211" fmla="*/ 362682 w 2635718"/>
                <a:gd name="connsiteY1211" fmla="*/ 1773017 h 2504201"/>
                <a:gd name="connsiteX1212" fmla="*/ 509464 w 2635718"/>
                <a:gd name="connsiteY1212" fmla="*/ 1756466 h 2504201"/>
                <a:gd name="connsiteX1213" fmla="*/ 506372 w 2635718"/>
                <a:gd name="connsiteY1213" fmla="*/ 1741733 h 2504201"/>
                <a:gd name="connsiteX1214" fmla="*/ 507826 w 2635718"/>
                <a:gd name="connsiteY1214" fmla="*/ 1734458 h 2504201"/>
                <a:gd name="connsiteX1215" fmla="*/ 532563 w 2635718"/>
                <a:gd name="connsiteY1215" fmla="*/ 1711176 h 2504201"/>
                <a:gd name="connsiteX1216" fmla="*/ 522378 w 2635718"/>
                <a:gd name="connsiteY1216" fmla="*/ 1754829 h 2504201"/>
                <a:gd name="connsiteX1217" fmla="*/ 509464 w 2635718"/>
                <a:gd name="connsiteY1217" fmla="*/ 1756466 h 2504201"/>
                <a:gd name="connsiteX1218" fmla="*/ 609683 w 2635718"/>
                <a:gd name="connsiteY1218" fmla="*/ 1749008 h 2504201"/>
                <a:gd name="connsiteX1219" fmla="*/ 592221 w 2635718"/>
                <a:gd name="connsiteY1219" fmla="*/ 1735912 h 2504201"/>
                <a:gd name="connsiteX1220" fmla="*/ 593677 w 2635718"/>
                <a:gd name="connsiteY1220" fmla="*/ 1731547 h 2504201"/>
                <a:gd name="connsiteX1221" fmla="*/ 615504 w 2635718"/>
                <a:gd name="connsiteY1221" fmla="*/ 1712631 h 2504201"/>
                <a:gd name="connsiteX1222" fmla="*/ 609683 w 2635718"/>
                <a:gd name="connsiteY1222" fmla="*/ 1749008 h 2504201"/>
                <a:gd name="connsiteX1223" fmla="*/ 301568 w 2635718"/>
                <a:gd name="connsiteY1223" fmla="*/ 1787204 h 2504201"/>
                <a:gd name="connsiteX1224" fmla="*/ 299749 w 2635718"/>
                <a:gd name="connsiteY1224" fmla="*/ 1779566 h 2504201"/>
                <a:gd name="connsiteX1225" fmla="*/ 304114 w 2635718"/>
                <a:gd name="connsiteY1225" fmla="*/ 1762105 h 2504201"/>
                <a:gd name="connsiteX1226" fmla="*/ 325940 w 2635718"/>
                <a:gd name="connsiteY1226" fmla="*/ 1730092 h 2504201"/>
                <a:gd name="connsiteX1227" fmla="*/ 309934 w 2635718"/>
                <a:gd name="connsiteY1227" fmla="*/ 1783930 h 2504201"/>
                <a:gd name="connsiteX1228" fmla="*/ 301568 w 2635718"/>
                <a:gd name="connsiteY1228" fmla="*/ 1787204 h 2504201"/>
                <a:gd name="connsiteX1229" fmla="*/ 689350 w 2635718"/>
                <a:gd name="connsiteY1229" fmla="*/ 1750645 h 2504201"/>
                <a:gd name="connsiteX1230" fmla="*/ 685348 w 2635718"/>
                <a:gd name="connsiteY1230" fmla="*/ 1737368 h 2504201"/>
                <a:gd name="connsiteX1231" fmla="*/ 686803 w 2635718"/>
                <a:gd name="connsiteY1231" fmla="*/ 1734457 h 2504201"/>
                <a:gd name="connsiteX1232" fmla="*/ 707175 w 2635718"/>
                <a:gd name="connsiteY1232" fmla="*/ 1716996 h 2504201"/>
                <a:gd name="connsiteX1233" fmla="*/ 704265 w 2635718"/>
                <a:gd name="connsiteY1233" fmla="*/ 1747553 h 2504201"/>
                <a:gd name="connsiteX1234" fmla="*/ 689350 w 2635718"/>
                <a:gd name="connsiteY1234" fmla="*/ 1750645 h 2504201"/>
                <a:gd name="connsiteX1235" fmla="*/ 251549 w 2635718"/>
                <a:gd name="connsiteY1235" fmla="*/ 1805211 h 2504201"/>
                <a:gd name="connsiteX1236" fmla="*/ 248821 w 2635718"/>
                <a:gd name="connsiteY1236" fmla="*/ 1801392 h 2504201"/>
                <a:gd name="connsiteX1237" fmla="*/ 253187 w 2635718"/>
                <a:gd name="connsiteY1237" fmla="*/ 1779565 h 2504201"/>
                <a:gd name="connsiteX1238" fmla="*/ 273558 w 2635718"/>
                <a:gd name="connsiteY1238" fmla="*/ 1746098 h 2504201"/>
                <a:gd name="connsiteX1239" fmla="*/ 257551 w 2635718"/>
                <a:gd name="connsiteY1239" fmla="*/ 1801391 h 2504201"/>
                <a:gd name="connsiteX1240" fmla="*/ 251549 w 2635718"/>
                <a:gd name="connsiteY1240" fmla="*/ 1805211 h 2504201"/>
                <a:gd name="connsiteX1241" fmla="*/ 203713 w 2635718"/>
                <a:gd name="connsiteY1241" fmla="*/ 1821763 h 2504201"/>
                <a:gd name="connsiteX1242" fmla="*/ 208078 w 2635718"/>
                <a:gd name="connsiteY1242" fmla="*/ 1798482 h 2504201"/>
                <a:gd name="connsiteX1243" fmla="*/ 228449 w 2635718"/>
                <a:gd name="connsiteY1243" fmla="*/ 1765015 h 2504201"/>
                <a:gd name="connsiteX1244" fmla="*/ 210988 w 2635718"/>
                <a:gd name="connsiteY1244" fmla="*/ 1818853 h 2504201"/>
                <a:gd name="connsiteX1245" fmla="*/ 203713 w 2635718"/>
                <a:gd name="connsiteY1245" fmla="*/ 1821763 h 2504201"/>
                <a:gd name="connsiteX1246" fmla="*/ 801755 w 2635718"/>
                <a:gd name="connsiteY1246" fmla="*/ 1751919 h 2504201"/>
                <a:gd name="connsiteX1247" fmla="*/ 784294 w 2635718"/>
                <a:gd name="connsiteY1247" fmla="*/ 1740278 h 2504201"/>
                <a:gd name="connsiteX1248" fmla="*/ 784294 w 2635718"/>
                <a:gd name="connsiteY1248" fmla="*/ 1738822 h 2504201"/>
                <a:gd name="connsiteX1249" fmla="*/ 803211 w 2635718"/>
                <a:gd name="connsiteY1249" fmla="*/ 1727182 h 2504201"/>
                <a:gd name="connsiteX1250" fmla="*/ 801755 w 2635718"/>
                <a:gd name="connsiteY1250" fmla="*/ 1751919 h 2504201"/>
                <a:gd name="connsiteX1251" fmla="*/ 170246 w 2635718"/>
                <a:gd name="connsiteY1251" fmla="*/ 1845044 h 2504201"/>
                <a:gd name="connsiteX1252" fmla="*/ 176066 w 2635718"/>
                <a:gd name="connsiteY1252" fmla="*/ 1821763 h 2504201"/>
                <a:gd name="connsiteX1253" fmla="*/ 192072 w 2635718"/>
                <a:gd name="connsiteY1253" fmla="*/ 1789751 h 2504201"/>
                <a:gd name="connsiteX1254" fmla="*/ 177522 w 2635718"/>
                <a:gd name="connsiteY1254" fmla="*/ 1836314 h 2504201"/>
                <a:gd name="connsiteX1255" fmla="*/ 170246 w 2635718"/>
                <a:gd name="connsiteY1255" fmla="*/ 1845044 h 2504201"/>
                <a:gd name="connsiteX1256" fmla="*/ 144054 w 2635718"/>
                <a:gd name="connsiteY1256" fmla="*/ 1872691 h 2504201"/>
                <a:gd name="connsiteX1257" fmla="*/ 149874 w 2635718"/>
                <a:gd name="connsiteY1257" fmla="*/ 1850864 h 2504201"/>
                <a:gd name="connsiteX1258" fmla="*/ 164426 w 2635718"/>
                <a:gd name="connsiteY1258" fmla="*/ 1817397 h 2504201"/>
                <a:gd name="connsiteX1259" fmla="*/ 144054 w 2635718"/>
                <a:gd name="connsiteY1259" fmla="*/ 1872691 h 2504201"/>
                <a:gd name="connsiteX1260" fmla="*/ 128048 w 2635718"/>
                <a:gd name="connsiteY1260" fmla="*/ 1900339 h 2504201"/>
                <a:gd name="connsiteX1261" fmla="*/ 129503 w 2635718"/>
                <a:gd name="connsiteY1261" fmla="*/ 1895973 h 2504201"/>
                <a:gd name="connsiteX1262" fmla="*/ 144054 w 2635718"/>
                <a:gd name="connsiteY1262" fmla="*/ 1855230 h 2504201"/>
                <a:gd name="connsiteX1263" fmla="*/ 145509 w 2635718"/>
                <a:gd name="connsiteY1263" fmla="*/ 1850865 h 2504201"/>
                <a:gd name="connsiteX1264" fmla="*/ 128048 w 2635718"/>
                <a:gd name="connsiteY1264" fmla="*/ 1900339 h 2504201"/>
                <a:gd name="connsiteX1265" fmla="*/ 472723 w 2635718"/>
                <a:gd name="connsiteY1265" fmla="*/ 1882331 h 2504201"/>
                <a:gd name="connsiteX1266" fmla="*/ 468541 w 2635718"/>
                <a:gd name="connsiteY1266" fmla="*/ 1869781 h 2504201"/>
                <a:gd name="connsiteX1267" fmla="*/ 469995 w 2635718"/>
                <a:gd name="connsiteY1267" fmla="*/ 1863961 h 2504201"/>
                <a:gd name="connsiteX1268" fmla="*/ 488911 w 2635718"/>
                <a:gd name="connsiteY1268" fmla="*/ 1843590 h 2504201"/>
                <a:gd name="connsiteX1269" fmla="*/ 484546 w 2635718"/>
                <a:gd name="connsiteY1269" fmla="*/ 1878512 h 2504201"/>
                <a:gd name="connsiteX1270" fmla="*/ 472723 w 2635718"/>
                <a:gd name="connsiteY1270" fmla="*/ 1882331 h 2504201"/>
                <a:gd name="connsiteX1271" fmla="*/ 392511 w 2635718"/>
                <a:gd name="connsiteY1271" fmla="*/ 1892881 h 2504201"/>
                <a:gd name="connsiteX1272" fmla="*/ 388510 w 2635718"/>
                <a:gd name="connsiteY1272" fmla="*/ 1881422 h 2504201"/>
                <a:gd name="connsiteX1273" fmla="*/ 389965 w 2635718"/>
                <a:gd name="connsiteY1273" fmla="*/ 1872692 h 2504201"/>
                <a:gd name="connsiteX1274" fmla="*/ 410336 w 2635718"/>
                <a:gd name="connsiteY1274" fmla="*/ 1850865 h 2504201"/>
                <a:gd name="connsiteX1275" fmla="*/ 403061 w 2635718"/>
                <a:gd name="connsiteY1275" fmla="*/ 1890152 h 2504201"/>
                <a:gd name="connsiteX1276" fmla="*/ 392511 w 2635718"/>
                <a:gd name="connsiteY1276" fmla="*/ 1892881 h 2504201"/>
                <a:gd name="connsiteX1277" fmla="*/ 560029 w 2635718"/>
                <a:gd name="connsiteY1277" fmla="*/ 1872327 h 2504201"/>
                <a:gd name="connsiteX1278" fmla="*/ 555845 w 2635718"/>
                <a:gd name="connsiteY1278" fmla="*/ 1859595 h 2504201"/>
                <a:gd name="connsiteX1279" fmla="*/ 557300 w 2635718"/>
                <a:gd name="connsiteY1279" fmla="*/ 1856685 h 2504201"/>
                <a:gd name="connsiteX1280" fmla="*/ 574761 w 2635718"/>
                <a:gd name="connsiteY1280" fmla="*/ 1839224 h 2504201"/>
                <a:gd name="connsiteX1281" fmla="*/ 571851 w 2635718"/>
                <a:gd name="connsiteY1281" fmla="*/ 1869781 h 2504201"/>
                <a:gd name="connsiteX1282" fmla="*/ 560029 w 2635718"/>
                <a:gd name="connsiteY1282" fmla="*/ 1872327 h 2504201"/>
                <a:gd name="connsiteX1283" fmla="*/ 653154 w 2635718"/>
                <a:gd name="connsiteY1283" fmla="*/ 1866871 h 2504201"/>
                <a:gd name="connsiteX1284" fmla="*/ 648972 w 2635718"/>
                <a:gd name="connsiteY1284" fmla="*/ 1856685 h 2504201"/>
                <a:gd name="connsiteX1285" fmla="*/ 648972 w 2635718"/>
                <a:gd name="connsiteY1285" fmla="*/ 1853775 h 2504201"/>
                <a:gd name="connsiteX1286" fmla="*/ 666432 w 2635718"/>
                <a:gd name="connsiteY1286" fmla="*/ 1839224 h 2504201"/>
                <a:gd name="connsiteX1287" fmla="*/ 664977 w 2635718"/>
                <a:gd name="connsiteY1287" fmla="*/ 1863961 h 2504201"/>
                <a:gd name="connsiteX1288" fmla="*/ 653154 w 2635718"/>
                <a:gd name="connsiteY1288" fmla="*/ 1866871 h 2504201"/>
                <a:gd name="connsiteX1289" fmla="*/ 323031 w 2635718"/>
                <a:gd name="connsiteY1289" fmla="*/ 1909069 h 2504201"/>
                <a:gd name="connsiteX1290" fmla="*/ 318665 w 2635718"/>
                <a:gd name="connsiteY1290" fmla="*/ 1900339 h 2504201"/>
                <a:gd name="connsiteX1291" fmla="*/ 320120 w 2635718"/>
                <a:gd name="connsiteY1291" fmla="*/ 1887242 h 2504201"/>
                <a:gd name="connsiteX1292" fmla="*/ 340491 w 2635718"/>
                <a:gd name="connsiteY1292" fmla="*/ 1861050 h 2504201"/>
                <a:gd name="connsiteX1293" fmla="*/ 331760 w 2635718"/>
                <a:gd name="connsiteY1293" fmla="*/ 1904703 h 2504201"/>
                <a:gd name="connsiteX1294" fmla="*/ 323031 w 2635718"/>
                <a:gd name="connsiteY1294" fmla="*/ 1909069 h 2504201"/>
                <a:gd name="connsiteX1295" fmla="*/ 260461 w 2635718"/>
                <a:gd name="connsiteY1295" fmla="*/ 1925256 h 2504201"/>
                <a:gd name="connsiteX1296" fmla="*/ 257551 w 2635718"/>
                <a:gd name="connsiteY1296" fmla="*/ 1916343 h 2504201"/>
                <a:gd name="connsiteX1297" fmla="*/ 259006 w 2635718"/>
                <a:gd name="connsiteY1297" fmla="*/ 1903248 h 2504201"/>
                <a:gd name="connsiteX1298" fmla="*/ 277922 w 2635718"/>
                <a:gd name="connsiteY1298" fmla="*/ 1875601 h 2504201"/>
                <a:gd name="connsiteX1299" fmla="*/ 267737 w 2635718"/>
                <a:gd name="connsiteY1299" fmla="*/ 1922165 h 2504201"/>
                <a:gd name="connsiteX1300" fmla="*/ 260461 w 2635718"/>
                <a:gd name="connsiteY1300" fmla="*/ 1925256 h 2504201"/>
                <a:gd name="connsiteX1301" fmla="*/ 207168 w 2635718"/>
                <a:gd name="connsiteY1301" fmla="*/ 1944718 h 2504201"/>
                <a:gd name="connsiteX1302" fmla="*/ 205167 w 2635718"/>
                <a:gd name="connsiteY1302" fmla="*/ 1939626 h 2504201"/>
                <a:gd name="connsiteX1303" fmla="*/ 208078 w 2635718"/>
                <a:gd name="connsiteY1303" fmla="*/ 1922165 h 2504201"/>
                <a:gd name="connsiteX1304" fmla="*/ 224083 w 2635718"/>
                <a:gd name="connsiteY1304" fmla="*/ 1894518 h 2504201"/>
                <a:gd name="connsiteX1305" fmla="*/ 212443 w 2635718"/>
                <a:gd name="connsiteY1305" fmla="*/ 1941080 h 2504201"/>
                <a:gd name="connsiteX1306" fmla="*/ 207168 w 2635718"/>
                <a:gd name="connsiteY1306" fmla="*/ 1944718 h 2504201"/>
                <a:gd name="connsiteX1307" fmla="*/ 163333 w 2635718"/>
                <a:gd name="connsiteY1307" fmla="*/ 1966908 h 2504201"/>
                <a:gd name="connsiteX1308" fmla="*/ 161515 w 2635718"/>
                <a:gd name="connsiteY1308" fmla="*/ 1964362 h 2504201"/>
                <a:gd name="connsiteX1309" fmla="*/ 164425 w 2635718"/>
                <a:gd name="connsiteY1309" fmla="*/ 1945446 h 2504201"/>
                <a:gd name="connsiteX1310" fmla="*/ 178976 w 2635718"/>
                <a:gd name="connsiteY1310" fmla="*/ 1916344 h 2504201"/>
                <a:gd name="connsiteX1311" fmla="*/ 167335 w 2635718"/>
                <a:gd name="connsiteY1311" fmla="*/ 1962906 h 2504201"/>
                <a:gd name="connsiteX1312" fmla="*/ 163333 w 2635718"/>
                <a:gd name="connsiteY1312" fmla="*/ 1966908 h 2504201"/>
                <a:gd name="connsiteX1313" fmla="*/ 128411 w 2635718"/>
                <a:gd name="connsiteY1313" fmla="*/ 1989280 h 2504201"/>
                <a:gd name="connsiteX1314" fmla="*/ 126593 w 2635718"/>
                <a:gd name="connsiteY1314" fmla="*/ 1989098 h 2504201"/>
                <a:gd name="connsiteX1315" fmla="*/ 129503 w 2635718"/>
                <a:gd name="connsiteY1315" fmla="*/ 1970183 h 2504201"/>
                <a:gd name="connsiteX1316" fmla="*/ 141143 w 2635718"/>
                <a:gd name="connsiteY1316" fmla="*/ 1942536 h 2504201"/>
                <a:gd name="connsiteX1317" fmla="*/ 132413 w 2635718"/>
                <a:gd name="connsiteY1317" fmla="*/ 1981823 h 2504201"/>
                <a:gd name="connsiteX1318" fmla="*/ 128411 w 2635718"/>
                <a:gd name="connsiteY1318" fmla="*/ 1989280 h 2504201"/>
                <a:gd name="connsiteX1319" fmla="*/ 100401 w 2635718"/>
                <a:gd name="connsiteY1319" fmla="*/ 2018201 h 2504201"/>
                <a:gd name="connsiteX1320" fmla="*/ 103312 w 2635718"/>
                <a:gd name="connsiteY1320" fmla="*/ 1999284 h 2504201"/>
                <a:gd name="connsiteX1321" fmla="*/ 113497 w 2635718"/>
                <a:gd name="connsiteY1321" fmla="*/ 1973093 h 2504201"/>
                <a:gd name="connsiteX1322" fmla="*/ 100401 w 2635718"/>
                <a:gd name="connsiteY1322" fmla="*/ 2018201 h 2504201"/>
                <a:gd name="connsiteX1323" fmla="*/ 82939 w 2635718"/>
                <a:gd name="connsiteY1323" fmla="*/ 2048758 h 2504201"/>
                <a:gd name="connsiteX1324" fmla="*/ 87306 w 2635718"/>
                <a:gd name="connsiteY1324" fmla="*/ 2032751 h 2504201"/>
                <a:gd name="connsiteX1325" fmla="*/ 94581 w 2635718"/>
                <a:gd name="connsiteY1325" fmla="*/ 2006560 h 2504201"/>
                <a:gd name="connsiteX1326" fmla="*/ 82939 w 2635718"/>
                <a:gd name="connsiteY1326" fmla="*/ 2048758 h 2504201"/>
                <a:gd name="connsiteX1327" fmla="*/ 529108 w 2635718"/>
                <a:gd name="connsiteY1327" fmla="*/ 1995828 h 2504201"/>
                <a:gd name="connsiteX1328" fmla="*/ 525288 w 2635718"/>
                <a:gd name="connsiteY1328" fmla="*/ 1986188 h 2504201"/>
                <a:gd name="connsiteX1329" fmla="*/ 525288 w 2635718"/>
                <a:gd name="connsiteY1329" fmla="*/ 1983278 h 2504201"/>
                <a:gd name="connsiteX1330" fmla="*/ 539840 w 2635718"/>
                <a:gd name="connsiteY1330" fmla="*/ 1970183 h 2504201"/>
                <a:gd name="connsiteX1331" fmla="*/ 538384 w 2635718"/>
                <a:gd name="connsiteY1331" fmla="*/ 1993464 h 2504201"/>
                <a:gd name="connsiteX1332" fmla="*/ 529108 w 2635718"/>
                <a:gd name="connsiteY1332" fmla="*/ 1995828 h 2504201"/>
                <a:gd name="connsiteX1333" fmla="*/ 443257 w 2635718"/>
                <a:gd name="connsiteY1333" fmla="*/ 2009106 h 2504201"/>
                <a:gd name="connsiteX1334" fmla="*/ 439438 w 2635718"/>
                <a:gd name="connsiteY1334" fmla="*/ 2000739 h 2504201"/>
                <a:gd name="connsiteX1335" fmla="*/ 439438 w 2635718"/>
                <a:gd name="connsiteY1335" fmla="*/ 1996374 h 2504201"/>
                <a:gd name="connsiteX1336" fmla="*/ 453989 w 2635718"/>
                <a:gd name="connsiteY1336" fmla="*/ 1978913 h 2504201"/>
                <a:gd name="connsiteX1337" fmla="*/ 452533 w 2635718"/>
                <a:gd name="connsiteY1337" fmla="*/ 2006560 h 2504201"/>
                <a:gd name="connsiteX1338" fmla="*/ 443257 w 2635718"/>
                <a:gd name="connsiteY1338" fmla="*/ 2009106 h 2504201"/>
                <a:gd name="connsiteX1339" fmla="*/ 363045 w 2635718"/>
                <a:gd name="connsiteY1339" fmla="*/ 2026567 h 2504201"/>
                <a:gd name="connsiteX1340" fmla="*/ 359408 w 2635718"/>
                <a:gd name="connsiteY1340" fmla="*/ 2018200 h 2504201"/>
                <a:gd name="connsiteX1341" fmla="*/ 360863 w 2635718"/>
                <a:gd name="connsiteY1341" fmla="*/ 2010925 h 2504201"/>
                <a:gd name="connsiteX1342" fmla="*/ 373959 w 2635718"/>
                <a:gd name="connsiteY1342" fmla="*/ 1992008 h 2504201"/>
                <a:gd name="connsiteX1343" fmla="*/ 371049 w 2635718"/>
                <a:gd name="connsiteY1343" fmla="*/ 2024021 h 2504201"/>
                <a:gd name="connsiteX1344" fmla="*/ 363045 w 2635718"/>
                <a:gd name="connsiteY1344" fmla="*/ 2026567 h 2504201"/>
                <a:gd name="connsiteX1345" fmla="*/ 291019 w 2635718"/>
                <a:gd name="connsiteY1345" fmla="*/ 2044756 h 2504201"/>
                <a:gd name="connsiteX1346" fmla="*/ 288108 w 2635718"/>
                <a:gd name="connsiteY1346" fmla="*/ 2037117 h 2504201"/>
                <a:gd name="connsiteX1347" fmla="*/ 289563 w 2635718"/>
                <a:gd name="connsiteY1347" fmla="*/ 2028387 h 2504201"/>
                <a:gd name="connsiteX1348" fmla="*/ 302659 w 2635718"/>
                <a:gd name="connsiteY1348" fmla="*/ 2006560 h 2504201"/>
                <a:gd name="connsiteX1349" fmla="*/ 298293 w 2635718"/>
                <a:gd name="connsiteY1349" fmla="*/ 2041482 h 2504201"/>
                <a:gd name="connsiteX1350" fmla="*/ 291019 w 2635718"/>
                <a:gd name="connsiteY1350" fmla="*/ 2044756 h 2504201"/>
                <a:gd name="connsiteX1351" fmla="*/ 227358 w 2635718"/>
                <a:gd name="connsiteY1351" fmla="*/ 2062763 h 2504201"/>
                <a:gd name="connsiteX1352" fmla="*/ 224084 w 2635718"/>
                <a:gd name="connsiteY1352" fmla="*/ 2057488 h 2504201"/>
                <a:gd name="connsiteX1353" fmla="*/ 225540 w 2635718"/>
                <a:gd name="connsiteY1353" fmla="*/ 2047302 h 2504201"/>
                <a:gd name="connsiteX1354" fmla="*/ 238635 w 2635718"/>
                <a:gd name="connsiteY1354" fmla="*/ 2024021 h 2504201"/>
                <a:gd name="connsiteX1355" fmla="*/ 232814 w 2635718"/>
                <a:gd name="connsiteY1355" fmla="*/ 2060398 h 2504201"/>
                <a:gd name="connsiteX1356" fmla="*/ 227358 w 2635718"/>
                <a:gd name="connsiteY1356" fmla="*/ 2062763 h 2504201"/>
                <a:gd name="connsiteX1357" fmla="*/ 174793 w 2635718"/>
                <a:gd name="connsiteY1357" fmla="*/ 2086771 h 2504201"/>
                <a:gd name="connsiteX1358" fmla="*/ 171701 w 2635718"/>
                <a:gd name="connsiteY1358" fmla="*/ 2082224 h 2504201"/>
                <a:gd name="connsiteX1359" fmla="*/ 173156 w 2635718"/>
                <a:gd name="connsiteY1359" fmla="*/ 2069128 h 2504201"/>
                <a:gd name="connsiteX1360" fmla="*/ 184796 w 2635718"/>
                <a:gd name="connsiteY1360" fmla="*/ 2045847 h 2504201"/>
                <a:gd name="connsiteX1361" fmla="*/ 178976 w 2635718"/>
                <a:gd name="connsiteY1361" fmla="*/ 2083679 h 2504201"/>
                <a:gd name="connsiteX1362" fmla="*/ 174793 w 2635718"/>
                <a:gd name="connsiteY1362" fmla="*/ 2086771 h 2504201"/>
                <a:gd name="connsiteX1363" fmla="*/ 126592 w 2635718"/>
                <a:gd name="connsiteY1363" fmla="*/ 2109872 h 2504201"/>
                <a:gd name="connsiteX1364" fmla="*/ 128048 w 2635718"/>
                <a:gd name="connsiteY1364" fmla="*/ 2095320 h 2504201"/>
                <a:gd name="connsiteX1365" fmla="*/ 138233 w 2635718"/>
                <a:gd name="connsiteY1365" fmla="*/ 2070584 h 2504201"/>
                <a:gd name="connsiteX1366" fmla="*/ 130958 w 2635718"/>
                <a:gd name="connsiteY1366" fmla="*/ 2108416 h 2504201"/>
                <a:gd name="connsiteX1367" fmla="*/ 126592 w 2635718"/>
                <a:gd name="connsiteY1367" fmla="*/ 2109872 h 2504201"/>
                <a:gd name="connsiteX1368" fmla="*/ 90215 w 2635718"/>
                <a:gd name="connsiteY1368" fmla="*/ 2138973 h 2504201"/>
                <a:gd name="connsiteX1369" fmla="*/ 91670 w 2635718"/>
                <a:gd name="connsiteY1369" fmla="*/ 2122967 h 2504201"/>
                <a:gd name="connsiteX1370" fmla="*/ 100401 w 2635718"/>
                <a:gd name="connsiteY1370" fmla="*/ 2099686 h 2504201"/>
                <a:gd name="connsiteX1371" fmla="*/ 94581 w 2635718"/>
                <a:gd name="connsiteY1371" fmla="*/ 2133153 h 2504201"/>
                <a:gd name="connsiteX1372" fmla="*/ 90215 w 2635718"/>
                <a:gd name="connsiteY1372" fmla="*/ 2138973 h 2504201"/>
                <a:gd name="connsiteX1373" fmla="*/ 64024 w 2635718"/>
                <a:gd name="connsiteY1373" fmla="*/ 2166620 h 2504201"/>
                <a:gd name="connsiteX1374" fmla="*/ 65478 w 2635718"/>
                <a:gd name="connsiteY1374" fmla="*/ 2152069 h 2504201"/>
                <a:gd name="connsiteX1375" fmla="*/ 72755 w 2635718"/>
                <a:gd name="connsiteY1375" fmla="*/ 2130243 h 2504201"/>
                <a:gd name="connsiteX1376" fmla="*/ 64024 w 2635718"/>
                <a:gd name="connsiteY1376" fmla="*/ 2166620 h 2504201"/>
                <a:gd name="connsiteX1377" fmla="*/ 52489 w 2635718"/>
                <a:gd name="connsiteY1377" fmla="*/ 2172351 h 2504201"/>
                <a:gd name="connsiteX1378" fmla="*/ 52906 w 2635718"/>
                <a:gd name="connsiteY1378" fmla="*/ 2170371 h 2504201"/>
                <a:gd name="connsiteX1379" fmla="*/ 53838 w 2635718"/>
                <a:gd name="connsiteY1379" fmla="*/ 2165165 h 2504201"/>
                <a:gd name="connsiteX1380" fmla="*/ 52747 w 2635718"/>
                <a:gd name="connsiteY1380" fmla="*/ 2171349 h 2504201"/>
                <a:gd name="connsiteX1381" fmla="*/ 419613 w 2635718"/>
                <a:gd name="connsiteY1381" fmla="*/ 2139701 h 2504201"/>
                <a:gd name="connsiteX1382" fmla="*/ 416156 w 2635718"/>
                <a:gd name="connsiteY1382" fmla="*/ 2133153 h 2504201"/>
                <a:gd name="connsiteX1383" fmla="*/ 416157 w 2635718"/>
                <a:gd name="connsiteY1383" fmla="*/ 2130242 h 2504201"/>
                <a:gd name="connsiteX1384" fmla="*/ 426342 w 2635718"/>
                <a:gd name="connsiteY1384" fmla="*/ 2117147 h 2504201"/>
                <a:gd name="connsiteX1385" fmla="*/ 426343 w 2635718"/>
                <a:gd name="connsiteY1385" fmla="*/ 2137518 h 2504201"/>
                <a:gd name="connsiteX1386" fmla="*/ 419613 w 2635718"/>
                <a:gd name="connsiteY1386" fmla="*/ 2139701 h 2504201"/>
                <a:gd name="connsiteX1387" fmla="*/ 338855 w 2635718"/>
                <a:gd name="connsiteY1387" fmla="*/ 2160072 h 2504201"/>
                <a:gd name="connsiteX1388" fmla="*/ 336126 w 2635718"/>
                <a:gd name="connsiteY1388" fmla="*/ 2153524 h 2504201"/>
                <a:gd name="connsiteX1389" fmla="*/ 336126 w 2635718"/>
                <a:gd name="connsiteY1389" fmla="*/ 2149159 h 2504201"/>
                <a:gd name="connsiteX1390" fmla="*/ 346311 w 2635718"/>
                <a:gd name="connsiteY1390" fmla="*/ 2134607 h 2504201"/>
                <a:gd name="connsiteX1391" fmla="*/ 344856 w 2635718"/>
                <a:gd name="connsiteY1391" fmla="*/ 2157889 h 2504201"/>
                <a:gd name="connsiteX1392" fmla="*/ 338855 w 2635718"/>
                <a:gd name="connsiteY1392" fmla="*/ 2160072 h 2504201"/>
                <a:gd name="connsiteX1393" fmla="*/ 46562 w 2635718"/>
                <a:gd name="connsiteY1393" fmla="*/ 2197177 h 2504201"/>
                <a:gd name="connsiteX1394" fmla="*/ 49473 w 2635718"/>
                <a:gd name="connsiteY1394" fmla="*/ 2184082 h 2504201"/>
                <a:gd name="connsiteX1395" fmla="*/ 52489 w 2635718"/>
                <a:gd name="connsiteY1395" fmla="*/ 2172351 h 2504201"/>
                <a:gd name="connsiteX1396" fmla="*/ 50747 w 2635718"/>
                <a:gd name="connsiteY1396" fmla="*/ 2180625 h 2504201"/>
                <a:gd name="connsiteX1397" fmla="*/ 46562 w 2635718"/>
                <a:gd name="connsiteY1397" fmla="*/ 2197177 h 2504201"/>
                <a:gd name="connsiteX1398" fmla="*/ 266646 w 2635718"/>
                <a:gd name="connsiteY1398" fmla="*/ 2182080 h 2504201"/>
                <a:gd name="connsiteX1399" fmla="*/ 263371 w 2635718"/>
                <a:gd name="connsiteY1399" fmla="*/ 2176805 h 2504201"/>
                <a:gd name="connsiteX1400" fmla="*/ 263371 w 2635718"/>
                <a:gd name="connsiteY1400" fmla="*/ 2169530 h 2504201"/>
                <a:gd name="connsiteX1401" fmla="*/ 273557 w 2635718"/>
                <a:gd name="connsiteY1401" fmla="*/ 2153524 h 2504201"/>
                <a:gd name="connsiteX1402" fmla="*/ 272102 w 2635718"/>
                <a:gd name="connsiteY1402" fmla="*/ 2179715 h 2504201"/>
                <a:gd name="connsiteX1403" fmla="*/ 266646 w 2635718"/>
                <a:gd name="connsiteY1403" fmla="*/ 2182080 h 2504201"/>
                <a:gd name="connsiteX1404" fmla="*/ 202440 w 2635718"/>
                <a:gd name="connsiteY1404" fmla="*/ 2205361 h 2504201"/>
                <a:gd name="connsiteX1405" fmla="*/ 199348 w 2635718"/>
                <a:gd name="connsiteY1405" fmla="*/ 2200086 h 2504201"/>
                <a:gd name="connsiteX1406" fmla="*/ 199348 w 2635718"/>
                <a:gd name="connsiteY1406" fmla="*/ 2191357 h 2504201"/>
                <a:gd name="connsiteX1407" fmla="*/ 209533 w 2635718"/>
                <a:gd name="connsiteY1407" fmla="*/ 2175350 h 2504201"/>
                <a:gd name="connsiteX1408" fmla="*/ 206622 w 2635718"/>
                <a:gd name="connsiteY1408" fmla="*/ 2202997 h 2504201"/>
                <a:gd name="connsiteX1409" fmla="*/ 202440 w 2635718"/>
                <a:gd name="connsiteY1409" fmla="*/ 2205361 h 2504201"/>
                <a:gd name="connsiteX1410" fmla="*/ 151329 w 2635718"/>
                <a:gd name="connsiteY1410" fmla="*/ 2229189 h 2504201"/>
                <a:gd name="connsiteX1411" fmla="*/ 145509 w 2635718"/>
                <a:gd name="connsiteY1411" fmla="*/ 2229189 h 2504201"/>
                <a:gd name="connsiteX1412" fmla="*/ 145509 w 2635718"/>
                <a:gd name="connsiteY1412" fmla="*/ 2219004 h 2504201"/>
                <a:gd name="connsiteX1413" fmla="*/ 154239 w 2635718"/>
                <a:gd name="connsiteY1413" fmla="*/ 2200087 h 2504201"/>
                <a:gd name="connsiteX1414" fmla="*/ 151329 w 2635718"/>
                <a:gd name="connsiteY1414" fmla="*/ 2229189 h 2504201"/>
                <a:gd name="connsiteX1415" fmla="*/ 100401 w 2635718"/>
                <a:gd name="connsiteY1415" fmla="*/ 2258290 h 2504201"/>
                <a:gd name="connsiteX1416" fmla="*/ 100401 w 2635718"/>
                <a:gd name="connsiteY1416" fmla="*/ 2246649 h 2504201"/>
                <a:gd name="connsiteX1417" fmla="*/ 107676 w 2635718"/>
                <a:gd name="connsiteY1417" fmla="*/ 2227734 h 2504201"/>
                <a:gd name="connsiteX1418" fmla="*/ 104766 w 2635718"/>
                <a:gd name="connsiteY1418" fmla="*/ 2256836 h 2504201"/>
                <a:gd name="connsiteX1419" fmla="*/ 100401 w 2635718"/>
                <a:gd name="connsiteY1419" fmla="*/ 2258290 h 2504201"/>
                <a:gd name="connsiteX1420" fmla="*/ 64024 w 2635718"/>
                <a:gd name="connsiteY1420" fmla="*/ 2287393 h 2504201"/>
                <a:gd name="connsiteX1421" fmla="*/ 64024 w 2635718"/>
                <a:gd name="connsiteY1421" fmla="*/ 2275752 h 2504201"/>
                <a:gd name="connsiteX1422" fmla="*/ 69844 w 2635718"/>
                <a:gd name="connsiteY1422" fmla="*/ 2258290 h 2504201"/>
                <a:gd name="connsiteX1423" fmla="*/ 66934 w 2635718"/>
                <a:gd name="connsiteY1423" fmla="*/ 2283027 h 2504201"/>
                <a:gd name="connsiteX1424" fmla="*/ 64024 w 2635718"/>
                <a:gd name="connsiteY1424" fmla="*/ 2287393 h 2504201"/>
                <a:gd name="connsiteX1425" fmla="*/ 36377 w 2635718"/>
                <a:gd name="connsiteY1425" fmla="*/ 2317949 h 2504201"/>
                <a:gd name="connsiteX1426" fmla="*/ 36377 w 2635718"/>
                <a:gd name="connsiteY1426" fmla="*/ 2307764 h 2504201"/>
                <a:gd name="connsiteX1427" fmla="*/ 40743 w 2635718"/>
                <a:gd name="connsiteY1427" fmla="*/ 2291757 h 2504201"/>
                <a:gd name="connsiteX1428" fmla="*/ 36377 w 2635718"/>
                <a:gd name="connsiteY1428" fmla="*/ 2317949 h 2504201"/>
                <a:gd name="connsiteX1429" fmla="*/ 248099 w 2635718"/>
                <a:gd name="connsiteY1429" fmla="*/ 2312748 h 2504201"/>
                <a:gd name="connsiteX1430" fmla="*/ 250276 w 2635718"/>
                <a:gd name="connsiteY1430" fmla="*/ 2305945 h 2504201"/>
                <a:gd name="connsiteX1431" fmla="*/ 253186 w 2635718"/>
                <a:gd name="connsiteY1431" fmla="*/ 2303399 h 2504201"/>
                <a:gd name="connsiteX1432" fmla="*/ 254763 w 2635718"/>
                <a:gd name="connsiteY1432" fmla="*/ 2306553 h 2504201"/>
                <a:gd name="connsiteX1433" fmla="*/ 18916 w 2635718"/>
                <a:gd name="connsiteY1433" fmla="*/ 2349961 h 2504201"/>
                <a:gd name="connsiteX1434" fmla="*/ 20371 w 2635718"/>
                <a:gd name="connsiteY1434" fmla="*/ 2341231 h 2504201"/>
                <a:gd name="connsiteX1435" fmla="*/ 23281 w 2635718"/>
                <a:gd name="connsiteY1435" fmla="*/ 2326680 h 2504201"/>
                <a:gd name="connsiteX1436" fmla="*/ 18916 w 2635718"/>
                <a:gd name="connsiteY1436" fmla="*/ 2349961 h 2504201"/>
                <a:gd name="connsiteX1437" fmla="*/ 189162 w 2635718"/>
                <a:gd name="connsiteY1437" fmla="*/ 2347051 h 2504201"/>
                <a:gd name="connsiteX1438" fmla="*/ 184796 w 2635718"/>
                <a:gd name="connsiteY1438" fmla="*/ 2345596 h 2504201"/>
                <a:gd name="connsiteX1439" fmla="*/ 184796 w 2635718"/>
                <a:gd name="connsiteY1439" fmla="*/ 2339776 h 2504201"/>
                <a:gd name="connsiteX1440" fmla="*/ 189162 w 2635718"/>
                <a:gd name="connsiteY1440" fmla="*/ 2329590 h 2504201"/>
                <a:gd name="connsiteX1441" fmla="*/ 189162 w 2635718"/>
                <a:gd name="connsiteY1441" fmla="*/ 2347051 h 2504201"/>
                <a:gd name="connsiteX1442" fmla="*/ 132413 w 2635718"/>
                <a:gd name="connsiteY1442" fmla="*/ 2374698 h 2504201"/>
                <a:gd name="connsiteX1443" fmla="*/ 128048 w 2635718"/>
                <a:gd name="connsiteY1443" fmla="*/ 2374698 h 2504201"/>
                <a:gd name="connsiteX1444" fmla="*/ 128048 w 2635718"/>
                <a:gd name="connsiteY1444" fmla="*/ 2367423 h 2504201"/>
                <a:gd name="connsiteX1445" fmla="*/ 132413 w 2635718"/>
                <a:gd name="connsiteY1445" fmla="*/ 2357237 h 2504201"/>
                <a:gd name="connsiteX1446" fmla="*/ 132413 w 2635718"/>
                <a:gd name="connsiteY1446" fmla="*/ 2374698 h 2504201"/>
                <a:gd name="connsiteX1447" fmla="*/ 84395 w 2635718"/>
                <a:gd name="connsiteY1447" fmla="*/ 2406710 h 2504201"/>
                <a:gd name="connsiteX1448" fmla="*/ 81485 w 2635718"/>
                <a:gd name="connsiteY1448" fmla="*/ 2406709 h 2504201"/>
                <a:gd name="connsiteX1449" fmla="*/ 81485 w 2635718"/>
                <a:gd name="connsiteY1449" fmla="*/ 2399434 h 2504201"/>
                <a:gd name="connsiteX1450" fmla="*/ 85851 w 2635718"/>
                <a:gd name="connsiteY1450" fmla="*/ 2387794 h 2504201"/>
                <a:gd name="connsiteX1451" fmla="*/ 84395 w 2635718"/>
                <a:gd name="connsiteY1451" fmla="*/ 2406710 h 2504201"/>
                <a:gd name="connsiteX1452" fmla="*/ 45107 w 2635718"/>
                <a:gd name="connsiteY1452" fmla="*/ 2437267 h 2504201"/>
                <a:gd name="connsiteX1453" fmla="*/ 45107 w 2635718"/>
                <a:gd name="connsiteY1453" fmla="*/ 2429991 h 2504201"/>
                <a:gd name="connsiteX1454" fmla="*/ 48017 w 2635718"/>
                <a:gd name="connsiteY1454" fmla="*/ 2419806 h 2504201"/>
                <a:gd name="connsiteX1455" fmla="*/ 46563 w 2635718"/>
                <a:gd name="connsiteY1455" fmla="*/ 2435812 h 2504201"/>
                <a:gd name="connsiteX1456" fmla="*/ 45107 w 2635718"/>
                <a:gd name="connsiteY1456" fmla="*/ 2437267 h 2504201"/>
                <a:gd name="connsiteX1457" fmla="*/ 17461 w 2635718"/>
                <a:gd name="connsiteY1457" fmla="*/ 2470734 h 2504201"/>
                <a:gd name="connsiteX1458" fmla="*/ 17460 w 2635718"/>
                <a:gd name="connsiteY1458" fmla="*/ 2464914 h 2504201"/>
                <a:gd name="connsiteX1459" fmla="*/ 18916 w 2635718"/>
                <a:gd name="connsiteY1459" fmla="*/ 2454728 h 2504201"/>
                <a:gd name="connsiteX1460" fmla="*/ 18916 w 2635718"/>
                <a:gd name="connsiteY1460" fmla="*/ 2462003 h 2504201"/>
                <a:gd name="connsiteX1461" fmla="*/ 17461 w 2635718"/>
                <a:gd name="connsiteY1461" fmla="*/ 2470734 h 2504201"/>
                <a:gd name="connsiteX1462" fmla="*/ 0 w 2635718"/>
                <a:gd name="connsiteY1462" fmla="*/ 2504201 h 2504201"/>
                <a:gd name="connsiteX1463" fmla="*/ 0 w 2635718"/>
                <a:gd name="connsiteY1463" fmla="*/ 2499837 h 2504201"/>
                <a:gd name="connsiteX1464" fmla="*/ 1455 w 2635718"/>
                <a:gd name="connsiteY1464" fmla="*/ 2491106 h 2504201"/>
                <a:gd name="connsiteX1465" fmla="*/ 0 w 2635718"/>
                <a:gd name="connsiteY1465" fmla="*/ 2504201 h 250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Lst>
              <a:rect l="l" t="t" r="r" b="b"/>
              <a:pathLst>
                <a:path w="2635718" h="2504201">
                  <a:moveTo>
                    <a:pt x="2456925" y="16551"/>
                  </a:moveTo>
                  <a:cubicBezTo>
                    <a:pt x="2451468" y="17461"/>
                    <a:pt x="2446011" y="18188"/>
                    <a:pt x="2446011" y="17460"/>
                  </a:cubicBezTo>
                  <a:cubicBezTo>
                    <a:pt x="2446011" y="17460"/>
                    <a:pt x="2450377" y="16006"/>
                    <a:pt x="2456197" y="16006"/>
                  </a:cubicBezTo>
                  <a:cubicBezTo>
                    <a:pt x="2457652" y="15278"/>
                    <a:pt x="2460563" y="14550"/>
                    <a:pt x="2463109" y="14186"/>
                  </a:cubicBezTo>
                  <a:cubicBezTo>
                    <a:pt x="2465655" y="13823"/>
                    <a:pt x="2467838" y="13823"/>
                    <a:pt x="2467838" y="14551"/>
                  </a:cubicBezTo>
                  <a:cubicBezTo>
                    <a:pt x="2467838" y="14551"/>
                    <a:pt x="2462381" y="15642"/>
                    <a:pt x="2456925" y="16551"/>
                  </a:cubicBezTo>
                  <a:close/>
                  <a:moveTo>
                    <a:pt x="2626443" y="0"/>
                  </a:moveTo>
                  <a:cubicBezTo>
                    <a:pt x="2626443" y="0"/>
                    <a:pt x="2616257" y="1456"/>
                    <a:pt x="2614801" y="0"/>
                  </a:cubicBezTo>
                  <a:cubicBezTo>
                    <a:pt x="2614801" y="0"/>
                    <a:pt x="2617712" y="0"/>
                    <a:pt x="2620621" y="0"/>
                  </a:cubicBezTo>
                  <a:cubicBezTo>
                    <a:pt x="2622077" y="0"/>
                    <a:pt x="2623532" y="0"/>
                    <a:pt x="2626443" y="0"/>
                  </a:cubicBezTo>
                  <a:close/>
                  <a:moveTo>
                    <a:pt x="2282654" y="43562"/>
                  </a:moveTo>
                  <a:cubicBezTo>
                    <a:pt x="2279675" y="43925"/>
                    <a:pt x="2277584" y="44017"/>
                    <a:pt x="2277220" y="43653"/>
                  </a:cubicBezTo>
                  <a:cubicBezTo>
                    <a:pt x="2277220" y="43653"/>
                    <a:pt x="2285951" y="40742"/>
                    <a:pt x="2293226" y="39287"/>
                  </a:cubicBezTo>
                  <a:cubicBezTo>
                    <a:pt x="2297591" y="38559"/>
                    <a:pt x="2301593" y="37832"/>
                    <a:pt x="2304685" y="37468"/>
                  </a:cubicBezTo>
                  <a:cubicBezTo>
                    <a:pt x="2307777" y="37104"/>
                    <a:pt x="2309959" y="37104"/>
                    <a:pt x="2310687" y="37832"/>
                  </a:cubicBezTo>
                  <a:cubicBezTo>
                    <a:pt x="2308504" y="38923"/>
                    <a:pt x="2291589" y="42470"/>
                    <a:pt x="2282654" y="43562"/>
                  </a:cubicBezTo>
                  <a:close/>
                  <a:moveTo>
                    <a:pt x="2462562" y="28737"/>
                  </a:moveTo>
                  <a:cubicBezTo>
                    <a:pt x="2456923" y="29464"/>
                    <a:pt x="2451103" y="29828"/>
                    <a:pt x="2450376" y="29101"/>
                  </a:cubicBezTo>
                  <a:cubicBezTo>
                    <a:pt x="2450376" y="29101"/>
                    <a:pt x="2454740" y="27645"/>
                    <a:pt x="2462016" y="26190"/>
                  </a:cubicBezTo>
                  <a:cubicBezTo>
                    <a:pt x="2465654" y="25463"/>
                    <a:pt x="2468564" y="25099"/>
                    <a:pt x="2470565" y="25099"/>
                  </a:cubicBezTo>
                  <a:cubicBezTo>
                    <a:pt x="2472565" y="25099"/>
                    <a:pt x="2473657" y="25463"/>
                    <a:pt x="2473657" y="26191"/>
                  </a:cubicBezTo>
                  <a:cubicBezTo>
                    <a:pt x="2473657" y="26918"/>
                    <a:pt x="2468200" y="28009"/>
                    <a:pt x="2462562" y="28737"/>
                  </a:cubicBezTo>
                  <a:close/>
                  <a:moveTo>
                    <a:pt x="2629353" y="11640"/>
                  </a:moveTo>
                  <a:cubicBezTo>
                    <a:pt x="2629353" y="11640"/>
                    <a:pt x="2617712" y="13095"/>
                    <a:pt x="2616257" y="11640"/>
                  </a:cubicBezTo>
                  <a:cubicBezTo>
                    <a:pt x="2616257" y="11640"/>
                    <a:pt x="2619167" y="10185"/>
                    <a:pt x="2622077" y="10185"/>
                  </a:cubicBezTo>
                  <a:cubicBezTo>
                    <a:pt x="2626442" y="11640"/>
                    <a:pt x="2629353" y="11640"/>
                    <a:pt x="2629353" y="11640"/>
                  </a:cubicBezTo>
                  <a:close/>
                  <a:moveTo>
                    <a:pt x="2292407" y="54360"/>
                  </a:moveTo>
                  <a:cubicBezTo>
                    <a:pt x="2289133" y="54655"/>
                    <a:pt x="2286678" y="54564"/>
                    <a:pt x="2285950" y="53836"/>
                  </a:cubicBezTo>
                  <a:cubicBezTo>
                    <a:pt x="2285950" y="52381"/>
                    <a:pt x="2291770" y="50926"/>
                    <a:pt x="2301956" y="49471"/>
                  </a:cubicBezTo>
                  <a:cubicBezTo>
                    <a:pt x="2306321" y="48744"/>
                    <a:pt x="2310323" y="48016"/>
                    <a:pt x="2313415" y="47653"/>
                  </a:cubicBezTo>
                  <a:cubicBezTo>
                    <a:pt x="2316507" y="47289"/>
                    <a:pt x="2318689" y="47289"/>
                    <a:pt x="2319417" y="48017"/>
                  </a:cubicBezTo>
                  <a:cubicBezTo>
                    <a:pt x="2319417" y="49107"/>
                    <a:pt x="2302229" y="53473"/>
                    <a:pt x="2292407" y="54360"/>
                  </a:cubicBezTo>
                  <a:close/>
                  <a:moveTo>
                    <a:pt x="2115455" y="79257"/>
                  </a:moveTo>
                  <a:cubicBezTo>
                    <a:pt x="2111248" y="80030"/>
                    <a:pt x="2108066" y="80394"/>
                    <a:pt x="2106974" y="80030"/>
                  </a:cubicBezTo>
                  <a:cubicBezTo>
                    <a:pt x="2106974" y="78574"/>
                    <a:pt x="2120070" y="75664"/>
                    <a:pt x="2127346" y="74210"/>
                  </a:cubicBezTo>
                  <a:cubicBezTo>
                    <a:pt x="2141897" y="71300"/>
                    <a:pt x="2150627" y="69844"/>
                    <a:pt x="2152082" y="69844"/>
                  </a:cubicBezTo>
                  <a:cubicBezTo>
                    <a:pt x="2149900" y="70936"/>
                    <a:pt x="2128073" y="76938"/>
                    <a:pt x="2115455" y="79257"/>
                  </a:cubicBezTo>
                  <a:close/>
                  <a:moveTo>
                    <a:pt x="2126276" y="90259"/>
                  </a:moveTo>
                  <a:cubicBezTo>
                    <a:pt x="2121979" y="90850"/>
                    <a:pt x="2118978" y="90941"/>
                    <a:pt x="2118614" y="90214"/>
                  </a:cubicBezTo>
                  <a:cubicBezTo>
                    <a:pt x="2117159" y="88759"/>
                    <a:pt x="2124435" y="85849"/>
                    <a:pt x="2138986" y="82938"/>
                  </a:cubicBezTo>
                  <a:cubicBezTo>
                    <a:pt x="2146988" y="81484"/>
                    <a:pt x="2153173" y="80392"/>
                    <a:pt x="2157357" y="79847"/>
                  </a:cubicBezTo>
                  <a:cubicBezTo>
                    <a:pt x="2161540" y="79301"/>
                    <a:pt x="2163723" y="79301"/>
                    <a:pt x="2163722" y="80028"/>
                  </a:cubicBezTo>
                  <a:cubicBezTo>
                    <a:pt x="2163722" y="82211"/>
                    <a:pt x="2139167" y="88486"/>
                    <a:pt x="2126276" y="90259"/>
                  </a:cubicBezTo>
                  <a:close/>
                  <a:moveTo>
                    <a:pt x="2469292" y="49652"/>
                  </a:moveTo>
                  <a:cubicBezTo>
                    <a:pt x="2463835" y="50198"/>
                    <a:pt x="2458379" y="50198"/>
                    <a:pt x="2457651" y="49471"/>
                  </a:cubicBezTo>
                  <a:cubicBezTo>
                    <a:pt x="2457651" y="49471"/>
                    <a:pt x="2460562" y="48015"/>
                    <a:pt x="2467837" y="46560"/>
                  </a:cubicBezTo>
                  <a:cubicBezTo>
                    <a:pt x="2472930" y="45833"/>
                    <a:pt x="2476204" y="45469"/>
                    <a:pt x="2478205" y="45469"/>
                  </a:cubicBezTo>
                  <a:cubicBezTo>
                    <a:pt x="2480205" y="45469"/>
                    <a:pt x="2480933" y="45833"/>
                    <a:pt x="2480933" y="46560"/>
                  </a:cubicBezTo>
                  <a:cubicBezTo>
                    <a:pt x="2480205" y="48015"/>
                    <a:pt x="2474748" y="49106"/>
                    <a:pt x="2469292" y="49652"/>
                  </a:cubicBezTo>
                  <a:close/>
                  <a:moveTo>
                    <a:pt x="2626442" y="34556"/>
                  </a:moveTo>
                  <a:cubicBezTo>
                    <a:pt x="2623532" y="34555"/>
                    <a:pt x="2620621" y="34192"/>
                    <a:pt x="2620622" y="33465"/>
                  </a:cubicBezTo>
                  <a:cubicBezTo>
                    <a:pt x="2620622" y="33465"/>
                    <a:pt x="2622076" y="32009"/>
                    <a:pt x="2626442" y="32009"/>
                  </a:cubicBezTo>
                  <a:cubicBezTo>
                    <a:pt x="2630807" y="32009"/>
                    <a:pt x="2632263" y="32009"/>
                    <a:pt x="2632263" y="33465"/>
                  </a:cubicBezTo>
                  <a:cubicBezTo>
                    <a:pt x="2632262" y="34192"/>
                    <a:pt x="2629353" y="34555"/>
                    <a:pt x="2626442" y="34556"/>
                  </a:cubicBezTo>
                  <a:close/>
                  <a:moveTo>
                    <a:pt x="2313415" y="74025"/>
                  </a:moveTo>
                  <a:cubicBezTo>
                    <a:pt x="2305230" y="75298"/>
                    <a:pt x="2296863" y="75662"/>
                    <a:pt x="2296136" y="74207"/>
                  </a:cubicBezTo>
                  <a:cubicBezTo>
                    <a:pt x="2296136" y="72752"/>
                    <a:pt x="2299046" y="71297"/>
                    <a:pt x="2312141" y="68387"/>
                  </a:cubicBezTo>
                  <a:cubicBezTo>
                    <a:pt x="2317963" y="67659"/>
                    <a:pt x="2322327" y="67296"/>
                    <a:pt x="2325237" y="67296"/>
                  </a:cubicBezTo>
                  <a:cubicBezTo>
                    <a:pt x="2328147" y="67295"/>
                    <a:pt x="2329603" y="67659"/>
                    <a:pt x="2329603" y="68387"/>
                  </a:cubicBezTo>
                  <a:cubicBezTo>
                    <a:pt x="2329603" y="70569"/>
                    <a:pt x="2321600" y="72752"/>
                    <a:pt x="2313415" y="74025"/>
                  </a:cubicBezTo>
                  <a:close/>
                  <a:moveTo>
                    <a:pt x="1944004" y="123682"/>
                  </a:moveTo>
                  <a:cubicBezTo>
                    <a:pt x="1951280" y="120772"/>
                    <a:pt x="1958555" y="119317"/>
                    <a:pt x="1965830" y="116407"/>
                  </a:cubicBezTo>
                  <a:cubicBezTo>
                    <a:pt x="1967285" y="116407"/>
                    <a:pt x="1967285" y="116407"/>
                    <a:pt x="1968741" y="116407"/>
                  </a:cubicBezTo>
                  <a:close/>
                  <a:moveTo>
                    <a:pt x="1941094" y="128047"/>
                  </a:moveTo>
                  <a:cubicBezTo>
                    <a:pt x="1941094" y="126592"/>
                    <a:pt x="1957100" y="122227"/>
                    <a:pt x="1965831" y="119317"/>
                  </a:cubicBezTo>
                  <a:cubicBezTo>
                    <a:pt x="1981836" y="113497"/>
                    <a:pt x="1993477" y="110586"/>
                    <a:pt x="1994932" y="112041"/>
                  </a:cubicBezTo>
                  <a:cubicBezTo>
                    <a:pt x="1992022" y="114951"/>
                    <a:pt x="1945459" y="129503"/>
                    <a:pt x="1941094" y="128047"/>
                  </a:cubicBezTo>
                  <a:close/>
                  <a:moveTo>
                    <a:pt x="2139987" y="111653"/>
                  </a:moveTo>
                  <a:cubicBezTo>
                    <a:pt x="2135621" y="111948"/>
                    <a:pt x="2132438" y="111676"/>
                    <a:pt x="2131711" y="110584"/>
                  </a:cubicBezTo>
                  <a:cubicBezTo>
                    <a:pt x="2131711" y="109129"/>
                    <a:pt x="2134621" y="106219"/>
                    <a:pt x="2152082" y="101853"/>
                  </a:cubicBezTo>
                  <a:cubicBezTo>
                    <a:pt x="2160812" y="99671"/>
                    <a:pt x="2166997" y="98579"/>
                    <a:pt x="2170999" y="98398"/>
                  </a:cubicBezTo>
                  <a:cubicBezTo>
                    <a:pt x="2175000" y="98216"/>
                    <a:pt x="2176819" y="98943"/>
                    <a:pt x="2176819" y="100399"/>
                  </a:cubicBezTo>
                  <a:cubicBezTo>
                    <a:pt x="2176819" y="104764"/>
                    <a:pt x="2153083" y="110766"/>
                    <a:pt x="2139987" y="111653"/>
                  </a:cubicBezTo>
                  <a:close/>
                  <a:moveTo>
                    <a:pt x="1964057" y="136731"/>
                  </a:moveTo>
                  <a:cubicBezTo>
                    <a:pt x="1958737" y="137686"/>
                    <a:pt x="1954917" y="137868"/>
                    <a:pt x="1954190" y="136777"/>
                  </a:cubicBezTo>
                  <a:cubicBezTo>
                    <a:pt x="1954189" y="135322"/>
                    <a:pt x="1964375" y="130956"/>
                    <a:pt x="1978926" y="126591"/>
                  </a:cubicBezTo>
                  <a:cubicBezTo>
                    <a:pt x="1999298" y="120771"/>
                    <a:pt x="2009483" y="119315"/>
                    <a:pt x="2009483" y="120771"/>
                  </a:cubicBezTo>
                  <a:cubicBezTo>
                    <a:pt x="2009483" y="124045"/>
                    <a:pt x="1980017" y="133867"/>
                    <a:pt x="1964057" y="136731"/>
                  </a:cubicBezTo>
                  <a:close/>
                  <a:moveTo>
                    <a:pt x="2478568" y="80754"/>
                  </a:moveTo>
                  <a:cubicBezTo>
                    <a:pt x="2473657" y="81482"/>
                    <a:pt x="2468564" y="81482"/>
                    <a:pt x="2467837" y="80027"/>
                  </a:cubicBezTo>
                  <a:cubicBezTo>
                    <a:pt x="2466382" y="78571"/>
                    <a:pt x="2470747" y="77116"/>
                    <a:pt x="2478023" y="75661"/>
                  </a:cubicBezTo>
                  <a:cubicBezTo>
                    <a:pt x="2481661" y="74934"/>
                    <a:pt x="2484207" y="74933"/>
                    <a:pt x="2485843" y="75297"/>
                  </a:cubicBezTo>
                  <a:cubicBezTo>
                    <a:pt x="2487481" y="75661"/>
                    <a:pt x="2488208" y="76389"/>
                    <a:pt x="2488208" y="77116"/>
                  </a:cubicBezTo>
                  <a:cubicBezTo>
                    <a:pt x="2488208" y="78572"/>
                    <a:pt x="2483479" y="80027"/>
                    <a:pt x="2478568" y="80754"/>
                  </a:cubicBezTo>
                  <a:close/>
                  <a:moveTo>
                    <a:pt x="2630080" y="65112"/>
                  </a:moveTo>
                  <a:cubicBezTo>
                    <a:pt x="2627533" y="65112"/>
                    <a:pt x="2624987" y="64748"/>
                    <a:pt x="2624987" y="64021"/>
                  </a:cubicBezTo>
                  <a:cubicBezTo>
                    <a:pt x="2624987" y="64021"/>
                    <a:pt x="2626442" y="62565"/>
                    <a:pt x="2630807" y="62565"/>
                  </a:cubicBezTo>
                  <a:cubicBezTo>
                    <a:pt x="2635173" y="62565"/>
                    <a:pt x="2636627" y="64021"/>
                    <a:pt x="2635173" y="64021"/>
                  </a:cubicBezTo>
                  <a:cubicBezTo>
                    <a:pt x="2635173" y="64748"/>
                    <a:pt x="2632626" y="65112"/>
                    <a:pt x="2630080" y="65112"/>
                  </a:cubicBezTo>
                  <a:close/>
                  <a:moveTo>
                    <a:pt x="2324874" y="105128"/>
                  </a:moveTo>
                  <a:cubicBezTo>
                    <a:pt x="2317235" y="106582"/>
                    <a:pt x="2309232" y="106946"/>
                    <a:pt x="2307777" y="104763"/>
                  </a:cubicBezTo>
                  <a:cubicBezTo>
                    <a:pt x="2306322" y="103309"/>
                    <a:pt x="2310687" y="100398"/>
                    <a:pt x="2322328" y="97488"/>
                  </a:cubicBezTo>
                  <a:cubicBezTo>
                    <a:pt x="2328875" y="96760"/>
                    <a:pt x="2333605" y="96760"/>
                    <a:pt x="2336515" y="97124"/>
                  </a:cubicBezTo>
                  <a:cubicBezTo>
                    <a:pt x="2339425" y="97488"/>
                    <a:pt x="2340517" y="98215"/>
                    <a:pt x="2339789" y="98943"/>
                  </a:cubicBezTo>
                  <a:cubicBezTo>
                    <a:pt x="2339789" y="101126"/>
                    <a:pt x="2332514" y="103672"/>
                    <a:pt x="2324874" y="105128"/>
                  </a:cubicBezTo>
                  <a:close/>
                  <a:moveTo>
                    <a:pt x="1983359" y="156465"/>
                  </a:moveTo>
                  <a:cubicBezTo>
                    <a:pt x="1978107" y="157238"/>
                    <a:pt x="1974197" y="157148"/>
                    <a:pt x="1973105" y="155692"/>
                  </a:cubicBezTo>
                  <a:cubicBezTo>
                    <a:pt x="1971650" y="154238"/>
                    <a:pt x="1977470" y="149872"/>
                    <a:pt x="1996387" y="144051"/>
                  </a:cubicBezTo>
                  <a:cubicBezTo>
                    <a:pt x="2006572" y="141141"/>
                    <a:pt x="2014212" y="139686"/>
                    <a:pt x="2019304" y="139141"/>
                  </a:cubicBezTo>
                  <a:cubicBezTo>
                    <a:pt x="2024397" y="138595"/>
                    <a:pt x="2026944" y="138959"/>
                    <a:pt x="2026944" y="139687"/>
                  </a:cubicBezTo>
                  <a:cubicBezTo>
                    <a:pt x="2026944" y="144052"/>
                    <a:pt x="1999115" y="154146"/>
                    <a:pt x="1983359" y="156465"/>
                  </a:cubicBezTo>
                  <a:close/>
                  <a:moveTo>
                    <a:pt x="1769392" y="183342"/>
                  </a:moveTo>
                  <a:lnTo>
                    <a:pt x="1826141" y="162970"/>
                  </a:lnTo>
                  <a:cubicBezTo>
                    <a:pt x="1813045" y="167336"/>
                    <a:pt x="1776668" y="181886"/>
                    <a:pt x="1769392" y="183342"/>
                  </a:cubicBezTo>
                  <a:close/>
                  <a:moveTo>
                    <a:pt x="1781033" y="184795"/>
                  </a:moveTo>
                  <a:cubicBezTo>
                    <a:pt x="1783943" y="183341"/>
                    <a:pt x="1794128" y="178975"/>
                    <a:pt x="1810134" y="173155"/>
                  </a:cubicBezTo>
                  <a:cubicBezTo>
                    <a:pt x="1827596" y="165879"/>
                    <a:pt x="1840691" y="161514"/>
                    <a:pt x="1843602" y="161514"/>
                  </a:cubicBezTo>
                  <a:cubicBezTo>
                    <a:pt x="1839236" y="165880"/>
                    <a:pt x="1785398" y="184795"/>
                    <a:pt x="1781033" y="184795"/>
                  </a:cubicBezTo>
                  <a:close/>
                  <a:moveTo>
                    <a:pt x="2158220" y="140754"/>
                  </a:moveTo>
                  <a:cubicBezTo>
                    <a:pt x="2153991" y="141049"/>
                    <a:pt x="2150626" y="140776"/>
                    <a:pt x="2149171" y="139685"/>
                  </a:cubicBezTo>
                  <a:cubicBezTo>
                    <a:pt x="2147717" y="138230"/>
                    <a:pt x="2152082" y="133864"/>
                    <a:pt x="2168088" y="129500"/>
                  </a:cubicBezTo>
                  <a:cubicBezTo>
                    <a:pt x="2176090" y="127317"/>
                    <a:pt x="2181912" y="126589"/>
                    <a:pt x="2185731" y="126771"/>
                  </a:cubicBezTo>
                  <a:cubicBezTo>
                    <a:pt x="2189551" y="126953"/>
                    <a:pt x="2191369" y="128044"/>
                    <a:pt x="2191369" y="129499"/>
                  </a:cubicBezTo>
                  <a:cubicBezTo>
                    <a:pt x="2191369" y="133865"/>
                    <a:pt x="2170907" y="139866"/>
                    <a:pt x="2158220" y="140754"/>
                  </a:cubicBezTo>
                  <a:close/>
                  <a:moveTo>
                    <a:pt x="1808066" y="192548"/>
                  </a:moveTo>
                  <a:cubicBezTo>
                    <a:pt x="1802041" y="194071"/>
                    <a:pt x="1797766" y="194617"/>
                    <a:pt x="1797039" y="193526"/>
                  </a:cubicBezTo>
                  <a:cubicBezTo>
                    <a:pt x="1797039" y="190615"/>
                    <a:pt x="1808681" y="186250"/>
                    <a:pt x="1824686" y="178975"/>
                  </a:cubicBezTo>
                  <a:cubicBezTo>
                    <a:pt x="1845058" y="171699"/>
                    <a:pt x="1859609" y="167333"/>
                    <a:pt x="1861064" y="170244"/>
                  </a:cubicBezTo>
                  <a:cubicBezTo>
                    <a:pt x="1859972" y="174609"/>
                    <a:pt x="1826141" y="187978"/>
                    <a:pt x="1808066" y="192548"/>
                  </a:cubicBezTo>
                  <a:close/>
                  <a:moveTo>
                    <a:pt x="2487117" y="120040"/>
                  </a:moveTo>
                  <a:cubicBezTo>
                    <a:pt x="2482752" y="120768"/>
                    <a:pt x="2478023" y="120768"/>
                    <a:pt x="2476568" y="119313"/>
                  </a:cubicBezTo>
                  <a:cubicBezTo>
                    <a:pt x="2475113" y="117857"/>
                    <a:pt x="2478023" y="116403"/>
                    <a:pt x="2485298" y="114947"/>
                  </a:cubicBezTo>
                  <a:cubicBezTo>
                    <a:pt x="2488936" y="114221"/>
                    <a:pt x="2491482" y="114220"/>
                    <a:pt x="2493119" y="114584"/>
                  </a:cubicBezTo>
                  <a:cubicBezTo>
                    <a:pt x="2494756" y="114947"/>
                    <a:pt x="2495484" y="115675"/>
                    <a:pt x="2495484" y="116403"/>
                  </a:cubicBezTo>
                  <a:cubicBezTo>
                    <a:pt x="2495484" y="117858"/>
                    <a:pt x="2491482" y="119313"/>
                    <a:pt x="2487117" y="120040"/>
                  </a:cubicBezTo>
                  <a:close/>
                  <a:moveTo>
                    <a:pt x="2006163" y="185771"/>
                  </a:moveTo>
                  <a:cubicBezTo>
                    <a:pt x="2000933" y="186430"/>
                    <a:pt x="1996750" y="186248"/>
                    <a:pt x="1994931" y="184793"/>
                  </a:cubicBezTo>
                  <a:cubicBezTo>
                    <a:pt x="1992021" y="181882"/>
                    <a:pt x="1997841" y="176062"/>
                    <a:pt x="2016758" y="170242"/>
                  </a:cubicBezTo>
                  <a:cubicBezTo>
                    <a:pt x="2026216" y="167332"/>
                    <a:pt x="2033128" y="166241"/>
                    <a:pt x="2037857" y="166240"/>
                  </a:cubicBezTo>
                  <a:cubicBezTo>
                    <a:pt x="2042585" y="166240"/>
                    <a:pt x="2045133" y="167332"/>
                    <a:pt x="2045859" y="168787"/>
                  </a:cubicBezTo>
                  <a:cubicBezTo>
                    <a:pt x="2046951" y="174243"/>
                    <a:pt x="2021850" y="183792"/>
                    <a:pt x="2006163" y="185771"/>
                  </a:cubicBezTo>
                  <a:close/>
                  <a:moveTo>
                    <a:pt x="2339243" y="144958"/>
                  </a:moveTo>
                  <a:cubicBezTo>
                    <a:pt x="2332877" y="146232"/>
                    <a:pt x="2325965" y="146231"/>
                    <a:pt x="2323783" y="144049"/>
                  </a:cubicBezTo>
                  <a:cubicBezTo>
                    <a:pt x="2320872" y="142594"/>
                    <a:pt x="2325238" y="138229"/>
                    <a:pt x="2336878" y="136774"/>
                  </a:cubicBezTo>
                  <a:cubicBezTo>
                    <a:pt x="2341972" y="135319"/>
                    <a:pt x="2345609" y="135319"/>
                    <a:pt x="2347974" y="135865"/>
                  </a:cubicBezTo>
                  <a:cubicBezTo>
                    <a:pt x="2350338" y="136410"/>
                    <a:pt x="2351429" y="137502"/>
                    <a:pt x="2351430" y="138229"/>
                  </a:cubicBezTo>
                  <a:cubicBezTo>
                    <a:pt x="2351429" y="141139"/>
                    <a:pt x="2345609" y="143685"/>
                    <a:pt x="2339243" y="144958"/>
                  </a:cubicBezTo>
                  <a:close/>
                  <a:moveTo>
                    <a:pt x="1831689" y="210212"/>
                  </a:moveTo>
                  <a:cubicBezTo>
                    <a:pt x="1825232" y="211621"/>
                    <a:pt x="1819957" y="212076"/>
                    <a:pt x="1817411" y="210984"/>
                  </a:cubicBezTo>
                  <a:cubicBezTo>
                    <a:pt x="1813045" y="209530"/>
                    <a:pt x="1821776" y="202254"/>
                    <a:pt x="1843602" y="193524"/>
                  </a:cubicBezTo>
                  <a:cubicBezTo>
                    <a:pt x="1855971" y="189886"/>
                    <a:pt x="1865065" y="188067"/>
                    <a:pt x="1871067" y="187339"/>
                  </a:cubicBezTo>
                  <a:cubicBezTo>
                    <a:pt x="1877069" y="186612"/>
                    <a:pt x="1879979" y="186976"/>
                    <a:pt x="1879979" y="187704"/>
                  </a:cubicBezTo>
                  <a:cubicBezTo>
                    <a:pt x="1881070" y="193161"/>
                    <a:pt x="1851060" y="205983"/>
                    <a:pt x="1831689" y="210212"/>
                  </a:cubicBezTo>
                  <a:close/>
                  <a:moveTo>
                    <a:pt x="2178137" y="178790"/>
                  </a:moveTo>
                  <a:cubicBezTo>
                    <a:pt x="2174181" y="178699"/>
                    <a:pt x="2170999" y="177880"/>
                    <a:pt x="2169544" y="176061"/>
                  </a:cubicBezTo>
                  <a:cubicBezTo>
                    <a:pt x="2168088" y="173150"/>
                    <a:pt x="2170998" y="168786"/>
                    <a:pt x="2185549" y="165876"/>
                  </a:cubicBezTo>
                  <a:cubicBezTo>
                    <a:pt x="2193552" y="164420"/>
                    <a:pt x="2199009" y="164420"/>
                    <a:pt x="2202646" y="164966"/>
                  </a:cubicBezTo>
                  <a:cubicBezTo>
                    <a:pt x="2206284" y="165512"/>
                    <a:pt x="2208103" y="166603"/>
                    <a:pt x="2208830" y="167330"/>
                  </a:cubicBezTo>
                  <a:cubicBezTo>
                    <a:pt x="2208830" y="172787"/>
                    <a:pt x="2190005" y="179062"/>
                    <a:pt x="2178137" y="178790"/>
                  </a:cubicBezTo>
                  <a:close/>
                  <a:moveTo>
                    <a:pt x="1625338" y="251730"/>
                  </a:moveTo>
                  <a:cubicBezTo>
                    <a:pt x="1628248" y="248819"/>
                    <a:pt x="1638434" y="244454"/>
                    <a:pt x="1657350" y="235723"/>
                  </a:cubicBezTo>
                  <a:cubicBezTo>
                    <a:pt x="1677722" y="225538"/>
                    <a:pt x="1692272" y="219718"/>
                    <a:pt x="1696638" y="219718"/>
                  </a:cubicBezTo>
                  <a:cubicBezTo>
                    <a:pt x="1692272" y="225538"/>
                    <a:pt x="1632614" y="250275"/>
                    <a:pt x="1625338" y="251730"/>
                  </a:cubicBezTo>
                  <a:close/>
                  <a:moveTo>
                    <a:pt x="1644254" y="259003"/>
                  </a:moveTo>
                  <a:cubicBezTo>
                    <a:pt x="1641344" y="257549"/>
                    <a:pt x="1650075" y="251728"/>
                    <a:pt x="1674811" y="240088"/>
                  </a:cubicBezTo>
                  <a:cubicBezTo>
                    <a:pt x="1702458" y="228447"/>
                    <a:pt x="1715554" y="225537"/>
                    <a:pt x="1715553" y="226993"/>
                  </a:cubicBezTo>
                  <a:cubicBezTo>
                    <a:pt x="1717009" y="232813"/>
                    <a:pt x="1650075" y="261913"/>
                    <a:pt x="1644254" y="259003"/>
                  </a:cubicBezTo>
                  <a:close/>
                  <a:moveTo>
                    <a:pt x="1856789" y="237448"/>
                  </a:moveTo>
                  <a:cubicBezTo>
                    <a:pt x="1850696" y="238540"/>
                    <a:pt x="1845785" y="238631"/>
                    <a:pt x="1843602" y="237176"/>
                  </a:cubicBezTo>
                  <a:cubicBezTo>
                    <a:pt x="1839236" y="234266"/>
                    <a:pt x="1846512" y="226990"/>
                    <a:pt x="1866884" y="219715"/>
                  </a:cubicBezTo>
                  <a:cubicBezTo>
                    <a:pt x="1878524" y="215349"/>
                    <a:pt x="1887255" y="213531"/>
                    <a:pt x="1893075" y="213167"/>
                  </a:cubicBezTo>
                  <a:cubicBezTo>
                    <a:pt x="1898896" y="212803"/>
                    <a:pt x="1901806" y="213895"/>
                    <a:pt x="1901806" y="215349"/>
                  </a:cubicBezTo>
                  <a:cubicBezTo>
                    <a:pt x="1903988" y="221897"/>
                    <a:pt x="1875068" y="234174"/>
                    <a:pt x="1856789" y="237448"/>
                  </a:cubicBezTo>
                  <a:close/>
                  <a:moveTo>
                    <a:pt x="2029991" y="222579"/>
                  </a:moveTo>
                  <a:cubicBezTo>
                    <a:pt x="2025034" y="222988"/>
                    <a:pt x="2020760" y="222624"/>
                    <a:pt x="2018213" y="221169"/>
                  </a:cubicBezTo>
                  <a:cubicBezTo>
                    <a:pt x="2013848" y="218258"/>
                    <a:pt x="2019668" y="210983"/>
                    <a:pt x="2037129" y="206618"/>
                  </a:cubicBezTo>
                  <a:cubicBezTo>
                    <a:pt x="2046587" y="203708"/>
                    <a:pt x="2053499" y="202616"/>
                    <a:pt x="2058046" y="202799"/>
                  </a:cubicBezTo>
                  <a:cubicBezTo>
                    <a:pt x="2062594" y="202980"/>
                    <a:pt x="2064776" y="204435"/>
                    <a:pt x="2064776" y="206618"/>
                  </a:cubicBezTo>
                  <a:cubicBezTo>
                    <a:pt x="2065867" y="213166"/>
                    <a:pt x="2044860" y="221351"/>
                    <a:pt x="2029991" y="222579"/>
                  </a:cubicBezTo>
                  <a:close/>
                  <a:moveTo>
                    <a:pt x="2497302" y="169512"/>
                  </a:moveTo>
                  <a:cubicBezTo>
                    <a:pt x="2493665" y="170240"/>
                    <a:pt x="2489663" y="170240"/>
                    <a:pt x="2488208" y="168785"/>
                  </a:cubicBezTo>
                  <a:cubicBezTo>
                    <a:pt x="2486753" y="167330"/>
                    <a:pt x="2489664" y="165875"/>
                    <a:pt x="2495484" y="164419"/>
                  </a:cubicBezTo>
                  <a:cubicBezTo>
                    <a:pt x="2501304" y="162965"/>
                    <a:pt x="2504214" y="164419"/>
                    <a:pt x="2504214" y="165875"/>
                  </a:cubicBezTo>
                  <a:cubicBezTo>
                    <a:pt x="2504214" y="167330"/>
                    <a:pt x="2500940" y="168785"/>
                    <a:pt x="2497302" y="169512"/>
                  </a:cubicBezTo>
                  <a:close/>
                  <a:moveTo>
                    <a:pt x="1685224" y="273099"/>
                  </a:moveTo>
                  <a:cubicBezTo>
                    <a:pt x="1677903" y="275190"/>
                    <a:pt x="1671901" y="276100"/>
                    <a:pt x="1668991" y="275009"/>
                  </a:cubicBezTo>
                  <a:cubicBezTo>
                    <a:pt x="1663171" y="273554"/>
                    <a:pt x="1674811" y="264823"/>
                    <a:pt x="1693728" y="256093"/>
                  </a:cubicBezTo>
                  <a:cubicBezTo>
                    <a:pt x="1695183" y="256093"/>
                    <a:pt x="1696638" y="254637"/>
                    <a:pt x="1696638" y="254637"/>
                  </a:cubicBezTo>
                  <a:cubicBezTo>
                    <a:pt x="1710461" y="248817"/>
                    <a:pt x="1720647" y="245543"/>
                    <a:pt x="1727559" y="244088"/>
                  </a:cubicBezTo>
                  <a:cubicBezTo>
                    <a:pt x="1734470" y="242633"/>
                    <a:pt x="1738108" y="242997"/>
                    <a:pt x="1738836" y="244451"/>
                  </a:cubicBezTo>
                  <a:cubicBezTo>
                    <a:pt x="1741018" y="249908"/>
                    <a:pt x="1707187" y="266824"/>
                    <a:pt x="1685224" y="273099"/>
                  </a:cubicBezTo>
                  <a:close/>
                  <a:moveTo>
                    <a:pt x="2355249" y="192794"/>
                  </a:moveTo>
                  <a:cubicBezTo>
                    <a:pt x="2349611" y="193885"/>
                    <a:pt x="2343426" y="193521"/>
                    <a:pt x="2341244" y="190611"/>
                  </a:cubicBezTo>
                  <a:cubicBezTo>
                    <a:pt x="2338334" y="187702"/>
                    <a:pt x="2342699" y="184791"/>
                    <a:pt x="2352885" y="183336"/>
                  </a:cubicBezTo>
                  <a:cubicBezTo>
                    <a:pt x="2357250" y="182608"/>
                    <a:pt x="2360524" y="182608"/>
                    <a:pt x="2362707" y="183154"/>
                  </a:cubicBezTo>
                  <a:cubicBezTo>
                    <a:pt x="2364889" y="183700"/>
                    <a:pt x="2365981" y="184791"/>
                    <a:pt x="2365980" y="186246"/>
                  </a:cubicBezTo>
                  <a:cubicBezTo>
                    <a:pt x="2365980" y="189156"/>
                    <a:pt x="2360888" y="191703"/>
                    <a:pt x="2355249" y="192794"/>
                  </a:cubicBezTo>
                  <a:close/>
                  <a:moveTo>
                    <a:pt x="2212832" y="224624"/>
                  </a:moveTo>
                  <a:cubicBezTo>
                    <a:pt x="2205193" y="226625"/>
                    <a:pt x="2196462" y="226989"/>
                    <a:pt x="2192824" y="224078"/>
                  </a:cubicBezTo>
                  <a:cubicBezTo>
                    <a:pt x="2189914" y="221168"/>
                    <a:pt x="2194280" y="215348"/>
                    <a:pt x="2207375" y="212438"/>
                  </a:cubicBezTo>
                  <a:cubicBezTo>
                    <a:pt x="2213196" y="210982"/>
                    <a:pt x="2217561" y="210982"/>
                    <a:pt x="2220653" y="211710"/>
                  </a:cubicBezTo>
                  <a:cubicBezTo>
                    <a:pt x="2223745" y="212437"/>
                    <a:pt x="2225564" y="213893"/>
                    <a:pt x="2226292" y="215348"/>
                  </a:cubicBezTo>
                  <a:cubicBezTo>
                    <a:pt x="2227019" y="218986"/>
                    <a:pt x="2220471" y="222623"/>
                    <a:pt x="2212832" y="224624"/>
                  </a:cubicBezTo>
                  <a:close/>
                  <a:moveTo>
                    <a:pt x="1886436" y="274030"/>
                  </a:moveTo>
                  <a:cubicBezTo>
                    <a:pt x="1880616" y="275008"/>
                    <a:pt x="1875614" y="275007"/>
                    <a:pt x="1872704" y="273552"/>
                  </a:cubicBezTo>
                  <a:cubicBezTo>
                    <a:pt x="1866883" y="270642"/>
                    <a:pt x="1872704" y="261912"/>
                    <a:pt x="1893076" y="254636"/>
                  </a:cubicBezTo>
                  <a:cubicBezTo>
                    <a:pt x="1903988" y="250271"/>
                    <a:pt x="1911992" y="248451"/>
                    <a:pt x="1917448" y="248269"/>
                  </a:cubicBezTo>
                  <a:cubicBezTo>
                    <a:pt x="1922905" y="248088"/>
                    <a:pt x="1925815" y="249543"/>
                    <a:pt x="1926543" y="251726"/>
                  </a:cubicBezTo>
                  <a:cubicBezTo>
                    <a:pt x="1928725" y="259365"/>
                    <a:pt x="1903898" y="271097"/>
                    <a:pt x="1886436" y="274030"/>
                  </a:cubicBezTo>
                  <a:close/>
                  <a:moveTo>
                    <a:pt x="1459458" y="327395"/>
                  </a:moveTo>
                  <a:cubicBezTo>
                    <a:pt x="1459458" y="327395"/>
                    <a:pt x="1460914" y="325939"/>
                    <a:pt x="1460914" y="325939"/>
                  </a:cubicBezTo>
                  <a:lnTo>
                    <a:pt x="1504566" y="304113"/>
                  </a:lnTo>
                  <a:lnTo>
                    <a:pt x="1532213" y="289563"/>
                  </a:lnTo>
                  <a:cubicBezTo>
                    <a:pt x="1533667" y="289562"/>
                    <a:pt x="1533668" y="288108"/>
                    <a:pt x="1535123" y="288108"/>
                  </a:cubicBezTo>
                  <a:cubicBezTo>
                    <a:pt x="1529303" y="291017"/>
                    <a:pt x="1466733" y="324484"/>
                    <a:pt x="1459458" y="327395"/>
                  </a:cubicBezTo>
                  <a:close/>
                  <a:moveTo>
                    <a:pt x="1475464" y="325939"/>
                  </a:moveTo>
                  <a:cubicBezTo>
                    <a:pt x="1476919" y="323029"/>
                    <a:pt x="1490015" y="315753"/>
                    <a:pt x="1508931" y="305568"/>
                  </a:cubicBezTo>
                  <a:cubicBezTo>
                    <a:pt x="1532212" y="292472"/>
                    <a:pt x="1549673" y="285197"/>
                    <a:pt x="1554039" y="285197"/>
                  </a:cubicBezTo>
                  <a:cubicBezTo>
                    <a:pt x="1549673" y="292472"/>
                    <a:pt x="1484194" y="324483"/>
                    <a:pt x="1475464" y="325939"/>
                  </a:cubicBezTo>
                  <a:close/>
                  <a:moveTo>
                    <a:pt x="1713849" y="299699"/>
                  </a:moveTo>
                  <a:cubicBezTo>
                    <a:pt x="1706823" y="301290"/>
                    <a:pt x="1701003" y="301563"/>
                    <a:pt x="1698093" y="299744"/>
                  </a:cubicBezTo>
                  <a:cubicBezTo>
                    <a:pt x="1692272" y="296834"/>
                    <a:pt x="1699548" y="288104"/>
                    <a:pt x="1722830" y="277919"/>
                  </a:cubicBezTo>
                  <a:cubicBezTo>
                    <a:pt x="1735926" y="272098"/>
                    <a:pt x="1745747" y="269188"/>
                    <a:pt x="1752477" y="268278"/>
                  </a:cubicBezTo>
                  <a:cubicBezTo>
                    <a:pt x="1759207" y="267369"/>
                    <a:pt x="1762845" y="268459"/>
                    <a:pt x="1763572" y="270643"/>
                  </a:cubicBezTo>
                  <a:cubicBezTo>
                    <a:pt x="1766846" y="278282"/>
                    <a:pt x="1734925" y="294925"/>
                    <a:pt x="1713849" y="299699"/>
                  </a:cubicBezTo>
                  <a:close/>
                  <a:moveTo>
                    <a:pt x="1497291" y="331758"/>
                  </a:moveTo>
                  <a:cubicBezTo>
                    <a:pt x="1494380" y="330304"/>
                    <a:pt x="1503111" y="323028"/>
                    <a:pt x="1529303" y="308477"/>
                  </a:cubicBezTo>
                  <a:cubicBezTo>
                    <a:pt x="1559859" y="293926"/>
                    <a:pt x="1574410" y="289561"/>
                    <a:pt x="1575866" y="292471"/>
                  </a:cubicBezTo>
                  <a:cubicBezTo>
                    <a:pt x="1578776" y="298291"/>
                    <a:pt x="1506021" y="336124"/>
                    <a:pt x="1497291" y="331758"/>
                  </a:cubicBezTo>
                  <a:close/>
                  <a:moveTo>
                    <a:pt x="2071324" y="264275"/>
                  </a:moveTo>
                  <a:cubicBezTo>
                    <a:pt x="2061866" y="267367"/>
                    <a:pt x="2050952" y="268458"/>
                    <a:pt x="2045860" y="264820"/>
                  </a:cubicBezTo>
                  <a:cubicBezTo>
                    <a:pt x="2041495" y="261910"/>
                    <a:pt x="2045860" y="254635"/>
                    <a:pt x="2061866" y="248815"/>
                  </a:cubicBezTo>
                  <a:cubicBezTo>
                    <a:pt x="2069869" y="247359"/>
                    <a:pt x="2076054" y="247359"/>
                    <a:pt x="2080419" y="248087"/>
                  </a:cubicBezTo>
                  <a:cubicBezTo>
                    <a:pt x="2084784" y="248815"/>
                    <a:pt x="2087331" y="250270"/>
                    <a:pt x="2088057" y="251725"/>
                  </a:cubicBezTo>
                  <a:cubicBezTo>
                    <a:pt x="2088785" y="256090"/>
                    <a:pt x="2080782" y="261183"/>
                    <a:pt x="2071324" y="264275"/>
                  </a:cubicBezTo>
                  <a:close/>
                  <a:moveTo>
                    <a:pt x="1526392" y="346308"/>
                  </a:moveTo>
                  <a:cubicBezTo>
                    <a:pt x="1520572" y="344853"/>
                    <a:pt x="1529302" y="334667"/>
                    <a:pt x="1548219" y="324482"/>
                  </a:cubicBezTo>
                  <a:cubicBezTo>
                    <a:pt x="1551129" y="323026"/>
                    <a:pt x="1554039" y="321572"/>
                    <a:pt x="1555494" y="320117"/>
                  </a:cubicBezTo>
                  <a:cubicBezTo>
                    <a:pt x="1570045" y="312841"/>
                    <a:pt x="1581322" y="308839"/>
                    <a:pt x="1589143" y="307021"/>
                  </a:cubicBezTo>
                  <a:cubicBezTo>
                    <a:pt x="1596964" y="305202"/>
                    <a:pt x="1601329" y="305566"/>
                    <a:pt x="1602057" y="307021"/>
                  </a:cubicBezTo>
                  <a:cubicBezTo>
                    <a:pt x="1606422" y="315751"/>
                    <a:pt x="1540943" y="350673"/>
                    <a:pt x="1526392" y="346308"/>
                  </a:cubicBezTo>
                  <a:close/>
                  <a:moveTo>
                    <a:pt x="2370528" y="248995"/>
                  </a:moveTo>
                  <a:cubicBezTo>
                    <a:pt x="2365980" y="249905"/>
                    <a:pt x="2360888" y="249541"/>
                    <a:pt x="2358705" y="247359"/>
                  </a:cubicBezTo>
                  <a:cubicBezTo>
                    <a:pt x="2355795" y="245903"/>
                    <a:pt x="2358705" y="241538"/>
                    <a:pt x="2367435" y="240083"/>
                  </a:cubicBezTo>
                  <a:cubicBezTo>
                    <a:pt x="2376165" y="238628"/>
                    <a:pt x="2379076" y="241538"/>
                    <a:pt x="2379076" y="242993"/>
                  </a:cubicBezTo>
                  <a:cubicBezTo>
                    <a:pt x="2379076" y="245903"/>
                    <a:pt x="2375075" y="248086"/>
                    <a:pt x="2370528" y="248995"/>
                  </a:cubicBezTo>
                  <a:close/>
                  <a:moveTo>
                    <a:pt x="1749089" y="333597"/>
                  </a:moveTo>
                  <a:cubicBezTo>
                    <a:pt x="1742473" y="334938"/>
                    <a:pt x="1736653" y="335030"/>
                    <a:pt x="1733015" y="333211"/>
                  </a:cubicBezTo>
                  <a:cubicBezTo>
                    <a:pt x="1725740" y="330301"/>
                    <a:pt x="1731560" y="320115"/>
                    <a:pt x="1754841" y="309929"/>
                  </a:cubicBezTo>
                  <a:cubicBezTo>
                    <a:pt x="1765755" y="304836"/>
                    <a:pt x="1774849" y="302654"/>
                    <a:pt x="1781397" y="302290"/>
                  </a:cubicBezTo>
                  <a:cubicBezTo>
                    <a:pt x="1787944" y="301926"/>
                    <a:pt x="1791946" y="303382"/>
                    <a:pt x="1792674" y="305564"/>
                  </a:cubicBezTo>
                  <a:cubicBezTo>
                    <a:pt x="1795948" y="314295"/>
                    <a:pt x="1768937" y="329573"/>
                    <a:pt x="1749089" y="333597"/>
                  </a:cubicBezTo>
                  <a:close/>
                  <a:moveTo>
                    <a:pt x="1918380" y="318113"/>
                  </a:moveTo>
                  <a:cubicBezTo>
                    <a:pt x="1912901" y="318568"/>
                    <a:pt x="1907990" y="317931"/>
                    <a:pt x="1904716" y="315748"/>
                  </a:cubicBezTo>
                  <a:cubicBezTo>
                    <a:pt x="1898896" y="311384"/>
                    <a:pt x="1903262" y="302653"/>
                    <a:pt x="1922177" y="295377"/>
                  </a:cubicBezTo>
                  <a:cubicBezTo>
                    <a:pt x="1931635" y="292467"/>
                    <a:pt x="1939274" y="291740"/>
                    <a:pt x="1944731" y="292286"/>
                  </a:cubicBezTo>
                  <a:cubicBezTo>
                    <a:pt x="1950188" y="292831"/>
                    <a:pt x="1953462" y="294650"/>
                    <a:pt x="1954189" y="296833"/>
                  </a:cubicBezTo>
                  <a:cubicBezTo>
                    <a:pt x="1956372" y="305563"/>
                    <a:pt x="1934818" y="316749"/>
                    <a:pt x="1918380" y="318113"/>
                  </a:cubicBezTo>
                  <a:close/>
                  <a:moveTo>
                    <a:pt x="2233931" y="279916"/>
                  </a:moveTo>
                  <a:cubicBezTo>
                    <a:pt x="2227383" y="281917"/>
                    <a:pt x="2219744" y="282281"/>
                    <a:pt x="2216106" y="279371"/>
                  </a:cubicBezTo>
                  <a:cubicBezTo>
                    <a:pt x="2211741" y="276461"/>
                    <a:pt x="2214651" y="270640"/>
                    <a:pt x="2227747" y="267730"/>
                  </a:cubicBezTo>
                  <a:cubicBezTo>
                    <a:pt x="2233567" y="266275"/>
                    <a:pt x="2237932" y="266275"/>
                    <a:pt x="2240842" y="267003"/>
                  </a:cubicBezTo>
                  <a:cubicBezTo>
                    <a:pt x="2243753" y="267731"/>
                    <a:pt x="2245208" y="269185"/>
                    <a:pt x="2245207" y="270640"/>
                  </a:cubicBezTo>
                  <a:cubicBezTo>
                    <a:pt x="2245935" y="274278"/>
                    <a:pt x="2240479" y="277915"/>
                    <a:pt x="2233931" y="279916"/>
                  </a:cubicBezTo>
                  <a:close/>
                  <a:moveTo>
                    <a:pt x="1577343" y="367770"/>
                  </a:moveTo>
                  <a:cubicBezTo>
                    <a:pt x="1569317" y="370135"/>
                    <a:pt x="1562406" y="371044"/>
                    <a:pt x="1558404" y="369589"/>
                  </a:cubicBezTo>
                  <a:cubicBezTo>
                    <a:pt x="1552583" y="366679"/>
                    <a:pt x="1558404" y="356493"/>
                    <a:pt x="1584596" y="341943"/>
                  </a:cubicBezTo>
                  <a:cubicBezTo>
                    <a:pt x="1598419" y="335394"/>
                    <a:pt x="1609332" y="331756"/>
                    <a:pt x="1617153" y="330301"/>
                  </a:cubicBezTo>
                  <a:cubicBezTo>
                    <a:pt x="1624975" y="328847"/>
                    <a:pt x="1629704" y="329574"/>
                    <a:pt x="1631158" y="331757"/>
                  </a:cubicBezTo>
                  <a:cubicBezTo>
                    <a:pt x="1635524" y="340488"/>
                    <a:pt x="1601420" y="360676"/>
                    <a:pt x="1577343" y="367770"/>
                  </a:cubicBezTo>
                  <a:close/>
                  <a:moveTo>
                    <a:pt x="1331409" y="407424"/>
                  </a:moveTo>
                  <a:cubicBezTo>
                    <a:pt x="1332865" y="404514"/>
                    <a:pt x="1344505" y="395783"/>
                    <a:pt x="1366332" y="382688"/>
                  </a:cubicBezTo>
                  <a:cubicBezTo>
                    <a:pt x="1393979" y="366681"/>
                    <a:pt x="1414350" y="357951"/>
                    <a:pt x="1415805" y="357951"/>
                  </a:cubicBezTo>
                  <a:cubicBezTo>
                    <a:pt x="1412895" y="368137"/>
                    <a:pt x="1335775" y="408882"/>
                    <a:pt x="1331409" y="407424"/>
                  </a:cubicBezTo>
                  <a:close/>
                  <a:moveTo>
                    <a:pt x="1313948" y="410339"/>
                  </a:moveTo>
                  <a:cubicBezTo>
                    <a:pt x="1313948" y="410339"/>
                    <a:pt x="1313948" y="410339"/>
                    <a:pt x="1324134" y="403059"/>
                  </a:cubicBezTo>
                  <a:lnTo>
                    <a:pt x="1383793" y="368137"/>
                  </a:lnTo>
                  <a:cubicBezTo>
                    <a:pt x="1388158" y="366682"/>
                    <a:pt x="1391068" y="363772"/>
                    <a:pt x="1395433" y="362317"/>
                  </a:cubicBezTo>
                  <a:cubicBezTo>
                    <a:pt x="1391068" y="366682"/>
                    <a:pt x="1321224" y="407425"/>
                    <a:pt x="1313948" y="410339"/>
                  </a:cubicBezTo>
                  <a:close/>
                  <a:moveTo>
                    <a:pt x="2098244" y="319022"/>
                  </a:moveTo>
                  <a:cubicBezTo>
                    <a:pt x="2090604" y="321932"/>
                    <a:pt x="2081510" y="323023"/>
                    <a:pt x="2076417" y="320113"/>
                  </a:cubicBezTo>
                  <a:cubicBezTo>
                    <a:pt x="2072051" y="317203"/>
                    <a:pt x="2073507" y="309927"/>
                    <a:pt x="2089513" y="304107"/>
                  </a:cubicBezTo>
                  <a:cubicBezTo>
                    <a:pt x="2096061" y="301924"/>
                    <a:pt x="2101517" y="301560"/>
                    <a:pt x="2105337" y="302288"/>
                  </a:cubicBezTo>
                  <a:cubicBezTo>
                    <a:pt x="2109156" y="303016"/>
                    <a:pt x="2111339" y="304835"/>
                    <a:pt x="2111339" y="307017"/>
                  </a:cubicBezTo>
                  <a:cubicBezTo>
                    <a:pt x="2112066" y="311383"/>
                    <a:pt x="2105882" y="316112"/>
                    <a:pt x="2098244" y="319022"/>
                  </a:cubicBezTo>
                  <a:close/>
                  <a:moveTo>
                    <a:pt x="1357601" y="413248"/>
                  </a:moveTo>
                  <a:cubicBezTo>
                    <a:pt x="1353236" y="411792"/>
                    <a:pt x="1363422" y="403059"/>
                    <a:pt x="1391069" y="385597"/>
                  </a:cubicBezTo>
                  <a:cubicBezTo>
                    <a:pt x="1415078" y="371410"/>
                    <a:pt x="1430902" y="364589"/>
                    <a:pt x="1437927" y="363293"/>
                  </a:cubicBezTo>
                  <a:cubicBezTo>
                    <a:pt x="1440269" y="362861"/>
                    <a:pt x="1441633" y="363043"/>
                    <a:pt x="1441997" y="363771"/>
                  </a:cubicBezTo>
                  <a:cubicBezTo>
                    <a:pt x="1446362" y="371046"/>
                    <a:pt x="1367787" y="417614"/>
                    <a:pt x="1357601" y="413248"/>
                  </a:cubicBezTo>
                  <a:close/>
                  <a:moveTo>
                    <a:pt x="1785785" y="373952"/>
                  </a:moveTo>
                  <a:cubicBezTo>
                    <a:pt x="1779578" y="375225"/>
                    <a:pt x="1773758" y="375407"/>
                    <a:pt x="1769393" y="373952"/>
                  </a:cubicBezTo>
                  <a:cubicBezTo>
                    <a:pt x="1759207" y="371042"/>
                    <a:pt x="1765027" y="359401"/>
                    <a:pt x="1786854" y="349216"/>
                  </a:cubicBezTo>
                  <a:cubicBezTo>
                    <a:pt x="1797040" y="344851"/>
                    <a:pt x="1805770" y="343031"/>
                    <a:pt x="1812135" y="343032"/>
                  </a:cubicBezTo>
                  <a:cubicBezTo>
                    <a:pt x="1818502" y="343031"/>
                    <a:pt x="1822503" y="344851"/>
                    <a:pt x="1823231" y="347761"/>
                  </a:cubicBezTo>
                  <a:cubicBezTo>
                    <a:pt x="1826505" y="356491"/>
                    <a:pt x="1804406" y="370133"/>
                    <a:pt x="1785785" y="373952"/>
                  </a:cubicBezTo>
                  <a:close/>
                  <a:moveTo>
                    <a:pt x="1389613" y="426341"/>
                  </a:moveTo>
                  <a:cubicBezTo>
                    <a:pt x="1382337" y="424886"/>
                    <a:pt x="1391069" y="413246"/>
                    <a:pt x="1411440" y="401602"/>
                  </a:cubicBezTo>
                  <a:cubicBezTo>
                    <a:pt x="1414350" y="400148"/>
                    <a:pt x="1417260" y="398692"/>
                    <a:pt x="1420171" y="395782"/>
                  </a:cubicBezTo>
                  <a:cubicBezTo>
                    <a:pt x="1450728" y="376866"/>
                    <a:pt x="1468188" y="373955"/>
                    <a:pt x="1471099" y="376865"/>
                  </a:cubicBezTo>
                  <a:cubicBezTo>
                    <a:pt x="1478374" y="387051"/>
                    <a:pt x="1405620" y="429251"/>
                    <a:pt x="1389613" y="426341"/>
                  </a:cubicBezTo>
                  <a:close/>
                  <a:moveTo>
                    <a:pt x="1616107" y="399599"/>
                  </a:moveTo>
                  <a:cubicBezTo>
                    <a:pt x="1608695" y="401509"/>
                    <a:pt x="1602057" y="401964"/>
                    <a:pt x="1597691" y="400145"/>
                  </a:cubicBezTo>
                  <a:cubicBezTo>
                    <a:pt x="1588961" y="397234"/>
                    <a:pt x="1594781" y="385594"/>
                    <a:pt x="1619518" y="372498"/>
                  </a:cubicBezTo>
                  <a:cubicBezTo>
                    <a:pt x="1631886" y="365950"/>
                    <a:pt x="1642072" y="363040"/>
                    <a:pt x="1649529" y="362313"/>
                  </a:cubicBezTo>
                  <a:cubicBezTo>
                    <a:pt x="1656987" y="361585"/>
                    <a:pt x="1661716" y="363041"/>
                    <a:pt x="1663171" y="365223"/>
                  </a:cubicBezTo>
                  <a:cubicBezTo>
                    <a:pt x="1667536" y="375045"/>
                    <a:pt x="1638343" y="393870"/>
                    <a:pt x="1616107" y="399599"/>
                  </a:cubicBezTo>
                  <a:close/>
                  <a:moveTo>
                    <a:pt x="1966739" y="365039"/>
                  </a:moveTo>
                  <a:cubicBezTo>
                    <a:pt x="1957463" y="368859"/>
                    <a:pt x="1946186" y="370314"/>
                    <a:pt x="1939638" y="366676"/>
                  </a:cubicBezTo>
                  <a:cubicBezTo>
                    <a:pt x="1933818" y="363766"/>
                    <a:pt x="1935273" y="353580"/>
                    <a:pt x="1952734" y="346304"/>
                  </a:cubicBezTo>
                  <a:cubicBezTo>
                    <a:pt x="1962193" y="344122"/>
                    <a:pt x="1969468" y="344122"/>
                    <a:pt x="1974379" y="345032"/>
                  </a:cubicBezTo>
                  <a:cubicBezTo>
                    <a:pt x="1979290" y="345942"/>
                    <a:pt x="1981836" y="347760"/>
                    <a:pt x="1981836" y="349215"/>
                  </a:cubicBezTo>
                  <a:cubicBezTo>
                    <a:pt x="1983291" y="355035"/>
                    <a:pt x="1976016" y="361219"/>
                    <a:pt x="1966739" y="365039"/>
                  </a:cubicBezTo>
                  <a:close/>
                  <a:moveTo>
                    <a:pt x="2387989" y="313383"/>
                  </a:moveTo>
                  <a:cubicBezTo>
                    <a:pt x="2384897" y="314292"/>
                    <a:pt x="2381259" y="314292"/>
                    <a:pt x="2379076" y="312837"/>
                  </a:cubicBezTo>
                  <a:cubicBezTo>
                    <a:pt x="2376166" y="311382"/>
                    <a:pt x="2379076" y="307017"/>
                    <a:pt x="2384897" y="305561"/>
                  </a:cubicBezTo>
                  <a:cubicBezTo>
                    <a:pt x="2390718" y="304107"/>
                    <a:pt x="2393627" y="307017"/>
                    <a:pt x="2393627" y="308471"/>
                  </a:cubicBezTo>
                  <a:cubicBezTo>
                    <a:pt x="2393627" y="310654"/>
                    <a:pt x="2391081" y="312473"/>
                    <a:pt x="2387989" y="313383"/>
                  </a:cubicBezTo>
                  <a:close/>
                  <a:moveTo>
                    <a:pt x="2257212" y="342666"/>
                  </a:moveTo>
                  <a:cubicBezTo>
                    <a:pt x="2252120" y="344121"/>
                    <a:pt x="2245936" y="344121"/>
                    <a:pt x="2242299" y="341938"/>
                  </a:cubicBezTo>
                  <a:cubicBezTo>
                    <a:pt x="2237933" y="339028"/>
                    <a:pt x="2240843" y="333208"/>
                    <a:pt x="2251029" y="330298"/>
                  </a:cubicBezTo>
                  <a:cubicBezTo>
                    <a:pt x="2259760" y="328842"/>
                    <a:pt x="2265580" y="331753"/>
                    <a:pt x="2265580" y="334663"/>
                  </a:cubicBezTo>
                  <a:cubicBezTo>
                    <a:pt x="2266307" y="338301"/>
                    <a:pt x="2262305" y="341211"/>
                    <a:pt x="2257212" y="342666"/>
                  </a:cubicBezTo>
                  <a:close/>
                  <a:moveTo>
                    <a:pt x="1427446" y="446709"/>
                  </a:moveTo>
                  <a:cubicBezTo>
                    <a:pt x="1417260" y="445254"/>
                    <a:pt x="1423080" y="435070"/>
                    <a:pt x="1441997" y="421975"/>
                  </a:cubicBezTo>
                  <a:cubicBezTo>
                    <a:pt x="1446361" y="419066"/>
                    <a:pt x="1449272" y="416156"/>
                    <a:pt x="1453637" y="414701"/>
                  </a:cubicBezTo>
                  <a:cubicBezTo>
                    <a:pt x="1474372" y="401601"/>
                    <a:pt x="1490197" y="397509"/>
                    <a:pt x="1498041" y="398122"/>
                  </a:cubicBezTo>
                  <a:cubicBezTo>
                    <a:pt x="1500655" y="398327"/>
                    <a:pt x="1502383" y="399055"/>
                    <a:pt x="1503111" y="400145"/>
                  </a:cubicBezTo>
                  <a:cubicBezTo>
                    <a:pt x="1510386" y="411790"/>
                    <a:pt x="1447817" y="449619"/>
                    <a:pt x="1427446" y="446709"/>
                  </a:cubicBezTo>
                  <a:close/>
                  <a:moveTo>
                    <a:pt x="2127346" y="380862"/>
                  </a:moveTo>
                  <a:cubicBezTo>
                    <a:pt x="2121162" y="383409"/>
                    <a:pt x="2113522" y="384137"/>
                    <a:pt x="2108429" y="381226"/>
                  </a:cubicBezTo>
                  <a:cubicBezTo>
                    <a:pt x="2102610" y="378316"/>
                    <a:pt x="2104064" y="371041"/>
                    <a:pt x="2117160" y="366675"/>
                  </a:cubicBezTo>
                  <a:cubicBezTo>
                    <a:pt x="2123708" y="364493"/>
                    <a:pt x="2128801" y="364493"/>
                    <a:pt x="2132257" y="365403"/>
                  </a:cubicBezTo>
                  <a:cubicBezTo>
                    <a:pt x="2135712" y="366312"/>
                    <a:pt x="2137531" y="368130"/>
                    <a:pt x="2137531" y="369585"/>
                  </a:cubicBezTo>
                  <a:cubicBezTo>
                    <a:pt x="2138259" y="373951"/>
                    <a:pt x="2133530" y="378316"/>
                    <a:pt x="2127346" y="380862"/>
                  </a:cubicBezTo>
                  <a:close/>
                  <a:moveTo>
                    <a:pt x="1658601" y="439955"/>
                  </a:moveTo>
                  <a:cubicBezTo>
                    <a:pt x="1651621" y="441797"/>
                    <a:pt x="1644982" y="442342"/>
                    <a:pt x="1639889" y="440887"/>
                  </a:cubicBezTo>
                  <a:cubicBezTo>
                    <a:pt x="1628249" y="437978"/>
                    <a:pt x="1632614" y="424883"/>
                    <a:pt x="1655896" y="411787"/>
                  </a:cubicBezTo>
                  <a:cubicBezTo>
                    <a:pt x="1668264" y="405237"/>
                    <a:pt x="1678086" y="402691"/>
                    <a:pt x="1685179" y="402509"/>
                  </a:cubicBezTo>
                  <a:cubicBezTo>
                    <a:pt x="1692273" y="402327"/>
                    <a:pt x="1696639" y="404509"/>
                    <a:pt x="1698093" y="407419"/>
                  </a:cubicBezTo>
                  <a:cubicBezTo>
                    <a:pt x="1703550" y="417243"/>
                    <a:pt x="1679541" y="434431"/>
                    <a:pt x="1658601" y="439955"/>
                  </a:cubicBezTo>
                  <a:close/>
                  <a:moveTo>
                    <a:pt x="1196086" y="497642"/>
                  </a:moveTo>
                  <a:cubicBezTo>
                    <a:pt x="1196086" y="494731"/>
                    <a:pt x="1209182" y="484546"/>
                    <a:pt x="1232463" y="468540"/>
                  </a:cubicBezTo>
                  <a:cubicBezTo>
                    <a:pt x="1260110" y="449622"/>
                    <a:pt x="1281937" y="437982"/>
                    <a:pt x="1284847" y="437982"/>
                  </a:cubicBezTo>
                  <a:cubicBezTo>
                    <a:pt x="1283391" y="448166"/>
                    <a:pt x="1200451" y="499097"/>
                    <a:pt x="1196086" y="497642"/>
                  </a:cubicBezTo>
                  <a:close/>
                  <a:moveTo>
                    <a:pt x="1175715" y="502007"/>
                  </a:moveTo>
                  <a:cubicBezTo>
                    <a:pt x="1177170" y="500553"/>
                    <a:pt x="1177170" y="499098"/>
                    <a:pt x="1206272" y="480182"/>
                  </a:cubicBezTo>
                  <a:lnTo>
                    <a:pt x="1226643" y="465630"/>
                  </a:lnTo>
                  <a:cubicBezTo>
                    <a:pt x="1239738" y="458354"/>
                    <a:pt x="1258655" y="445258"/>
                    <a:pt x="1261566" y="443803"/>
                  </a:cubicBezTo>
                  <a:cubicBezTo>
                    <a:pt x="1257200" y="448168"/>
                    <a:pt x="1185900" y="496188"/>
                    <a:pt x="1175715" y="502007"/>
                  </a:cubicBezTo>
                  <a:close/>
                  <a:moveTo>
                    <a:pt x="1824982" y="424700"/>
                  </a:moveTo>
                  <a:cubicBezTo>
                    <a:pt x="1819411" y="425518"/>
                    <a:pt x="1814137" y="425245"/>
                    <a:pt x="1810135" y="423427"/>
                  </a:cubicBezTo>
                  <a:cubicBezTo>
                    <a:pt x="1801405" y="419061"/>
                    <a:pt x="1804315" y="408875"/>
                    <a:pt x="1823231" y="398688"/>
                  </a:cubicBezTo>
                  <a:cubicBezTo>
                    <a:pt x="1833417" y="395050"/>
                    <a:pt x="1841420" y="393958"/>
                    <a:pt x="1847058" y="394504"/>
                  </a:cubicBezTo>
                  <a:cubicBezTo>
                    <a:pt x="1852696" y="395050"/>
                    <a:pt x="1855970" y="397233"/>
                    <a:pt x="1856698" y="400143"/>
                  </a:cubicBezTo>
                  <a:cubicBezTo>
                    <a:pt x="1861063" y="409966"/>
                    <a:pt x="1841692" y="422244"/>
                    <a:pt x="1824982" y="424700"/>
                  </a:cubicBezTo>
                  <a:close/>
                  <a:moveTo>
                    <a:pt x="1223733" y="502005"/>
                  </a:moveTo>
                  <a:cubicBezTo>
                    <a:pt x="1220823" y="502005"/>
                    <a:pt x="1219367" y="500550"/>
                    <a:pt x="1226643" y="493274"/>
                  </a:cubicBezTo>
                  <a:cubicBezTo>
                    <a:pt x="1235373" y="484545"/>
                    <a:pt x="1251380" y="472904"/>
                    <a:pt x="1257200" y="468539"/>
                  </a:cubicBezTo>
                  <a:cubicBezTo>
                    <a:pt x="1283392" y="452167"/>
                    <a:pt x="1300580" y="443983"/>
                    <a:pt x="1308151" y="442141"/>
                  </a:cubicBezTo>
                  <a:cubicBezTo>
                    <a:pt x="1310674" y="441527"/>
                    <a:pt x="1312130" y="441618"/>
                    <a:pt x="1312494" y="442345"/>
                  </a:cubicBezTo>
                  <a:cubicBezTo>
                    <a:pt x="1319769" y="449621"/>
                    <a:pt x="1242649" y="502005"/>
                    <a:pt x="1223733" y="502005"/>
                  </a:cubicBezTo>
                  <a:close/>
                  <a:moveTo>
                    <a:pt x="1488923" y="473492"/>
                  </a:moveTo>
                  <a:cubicBezTo>
                    <a:pt x="1480466" y="476175"/>
                    <a:pt x="1472554" y="477266"/>
                    <a:pt x="1466733" y="475812"/>
                  </a:cubicBezTo>
                  <a:cubicBezTo>
                    <a:pt x="1456548" y="472901"/>
                    <a:pt x="1460912" y="459805"/>
                    <a:pt x="1488559" y="442343"/>
                  </a:cubicBezTo>
                  <a:cubicBezTo>
                    <a:pt x="1503111" y="434342"/>
                    <a:pt x="1514752" y="430340"/>
                    <a:pt x="1523118" y="429067"/>
                  </a:cubicBezTo>
                  <a:cubicBezTo>
                    <a:pt x="1531485" y="427794"/>
                    <a:pt x="1536578" y="429249"/>
                    <a:pt x="1538033" y="432158"/>
                  </a:cubicBezTo>
                  <a:cubicBezTo>
                    <a:pt x="1544580" y="443071"/>
                    <a:pt x="1514296" y="465443"/>
                    <a:pt x="1488923" y="473492"/>
                  </a:cubicBezTo>
                  <a:close/>
                  <a:moveTo>
                    <a:pt x="1257199" y="512191"/>
                  </a:moveTo>
                  <a:cubicBezTo>
                    <a:pt x="1248469" y="510736"/>
                    <a:pt x="1258654" y="499095"/>
                    <a:pt x="1279026" y="483090"/>
                  </a:cubicBezTo>
                  <a:cubicBezTo>
                    <a:pt x="1281936" y="481635"/>
                    <a:pt x="1284846" y="478724"/>
                    <a:pt x="1287756" y="477270"/>
                  </a:cubicBezTo>
                  <a:cubicBezTo>
                    <a:pt x="1312857" y="460897"/>
                    <a:pt x="1330591" y="454349"/>
                    <a:pt x="1339117" y="453326"/>
                  </a:cubicBezTo>
                  <a:cubicBezTo>
                    <a:pt x="1341959" y="452984"/>
                    <a:pt x="1343777" y="453257"/>
                    <a:pt x="1344505" y="453984"/>
                  </a:cubicBezTo>
                  <a:cubicBezTo>
                    <a:pt x="1353236" y="464172"/>
                    <a:pt x="1277571" y="515100"/>
                    <a:pt x="1257199" y="512191"/>
                  </a:cubicBezTo>
                  <a:close/>
                  <a:moveTo>
                    <a:pt x="2002389" y="425790"/>
                  </a:moveTo>
                  <a:cubicBezTo>
                    <a:pt x="1994931" y="429245"/>
                    <a:pt x="1985473" y="430700"/>
                    <a:pt x="1978925" y="427790"/>
                  </a:cubicBezTo>
                  <a:cubicBezTo>
                    <a:pt x="1971650" y="423426"/>
                    <a:pt x="1973105" y="414695"/>
                    <a:pt x="1989111" y="407418"/>
                  </a:cubicBezTo>
                  <a:cubicBezTo>
                    <a:pt x="1996387" y="405235"/>
                    <a:pt x="2002207" y="404872"/>
                    <a:pt x="2006391" y="405781"/>
                  </a:cubicBezTo>
                  <a:cubicBezTo>
                    <a:pt x="2010574" y="406691"/>
                    <a:pt x="2013120" y="408874"/>
                    <a:pt x="2013848" y="411785"/>
                  </a:cubicBezTo>
                  <a:cubicBezTo>
                    <a:pt x="2015303" y="416877"/>
                    <a:pt x="2009846" y="422334"/>
                    <a:pt x="2002389" y="425790"/>
                  </a:cubicBezTo>
                  <a:close/>
                  <a:moveTo>
                    <a:pt x="1297943" y="532560"/>
                  </a:moveTo>
                  <a:cubicBezTo>
                    <a:pt x="1286302" y="531105"/>
                    <a:pt x="1292122" y="519464"/>
                    <a:pt x="1311039" y="504913"/>
                  </a:cubicBezTo>
                  <a:cubicBezTo>
                    <a:pt x="1315404" y="502003"/>
                    <a:pt x="1319769" y="497638"/>
                    <a:pt x="1322679" y="496182"/>
                  </a:cubicBezTo>
                  <a:cubicBezTo>
                    <a:pt x="1356146" y="474357"/>
                    <a:pt x="1375063" y="471447"/>
                    <a:pt x="1379428" y="475812"/>
                  </a:cubicBezTo>
                  <a:cubicBezTo>
                    <a:pt x="1389614" y="488909"/>
                    <a:pt x="1324135" y="534015"/>
                    <a:pt x="1297943" y="532560"/>
                  </a:cubicBezTo>
                  <a:close/>
                  <a:moveTo>
                    <a:pt x="2281403" y="414148"/>
                  </a:moveTo>
                  <a:cubicBezTo>
                    <a:pt x="2277583" y="415421"/>
                    <a:pt x="2272854" y="415421"/>
                    <a:pt x="2269944" y="413238"/>
                  </a:cubicBezTo>
                  <a:cubicBezTo>
                    <a:pt x="2267034" y="410328"/>
                    <a:pt x="2267034" y="405962"/>
                    <a:pt x="2275764" y="403052"/>
                  </a:cubicBezTo>
                  <a:cubicBezTo>
                    <a:pt x="2284495" y="401596"/>
                    <a:pt x="2287405" y="404506"/>
                    <a:pt x="2287405" y="407417"/>
                  </a:cubicBezTo>
                  <a:cubicBezTo>
                    <a:pt x="2288132" y="410328"/>
                    <a:pt x="2285222" y="412875"/>
                    <a:pt x="2281403" y="414148"/>
                  </a:cubicBezTo>
                  <a:close/>
                  <a:moveTo>
                    <a:pt x="1701958" y="487177"/>
                  </a:moveTo>
                  <a:cubicBezTo>
                    <a:pt x="1695728" y="488359"/>
                    <a:pt x="1689726" y="488177"/>
                    <a:pt x="1684997" y="485994"/>
                  </a:cubicBezTo>
                  <a:cubicBezTo>
                    <a:pt x="1676267" y="481630"/>
                    <a:pt x="1676266" y="469989"/>
                    <a:pt x="1698093" y="458346"/>
                  </a:cubicBezTo>
                  <a:cubicBezTo>
                    <a:pt x="1709006" y="452526"/>
                    <a:pt x="1717737" y="450707"/>
                    <a:pt x="1724103" y="451071"/>
                  </a:cubicBezTo>
                  <a:cubicBezTo>
                    <a:pt x="1730469" y="451435"/>
                    <a:pt x="1734471" y="453981"/>
                    <a:pt x="1735925" y="456891"/>
                  </a:cubicBezTo>
                  <a:cubicBezTo>
                    <a:pt x="1741382" y="467806"/>
                    <a:pt x="1720647" y="483630"/>
                    <a:pt x="1701958" y="487177"/>
                  </a:cubicBezTo>
                  <a:close/>
                  <a:moveTo>
                    <a:pt x="1536805" y="509709"/>
                  </a:moveTo>
                  <a:cubicBezTo>
                    <a:pt x="1529303" y="512187"/>
                    <a:pt x="1522027" y="513278"/>
                    <a:pt x="1516207" y="512187"/>
                  </a:cubicBezTo>
                  <a:cubicBezTo>
                    <a:pt x="1503111" y="509276"/>
                    <a:pt x="1508931" y="494725"/>
                    <a:pt x="1527847" y="481630"/>
                  </a:cubicBezTo>
                  <a:cubicBezTo>
                    <a:pt x="1529303" y="481630"/>
                    <a:pt x="1530757" y="480175"/>
                    <a:pt x="1530757" y="480175"/>
                  </a:cubicBezTo>
                  <a:cubicBezTo>
                    <a:pt x="1543853" y="472173"/>
                    <a:pt x="1554403" y="468534"/>
                    <a:pt x="1562224" y="467625"/>
                  </a:cubicBezTo>
                  <a:cubicBezTo>
                    <a:pt x="1570045" y="466715"/>
                    <a:pt x="1575138" y="468535"/>
                    <a:pt x="1577320" y="471445"/>
                  </a:cubicBezTo>
                  <a:cubicBezTo>
                    <a:pt x="1583868" y="482357"/>
                    <a:pt x="1559314" y="502274"/>
                    <a:pt x="1536805" y="509709"/>
                  </a:cubicBezTo>
                  <a:close/>
                  <a:moveTo>
                    <a:pt x="1868111" y="481697"/>
                  </a:moveTo>
                  <a:cubicBezTo>
                    <a:pt x="1863427" y="482357"/>
                    <a:pt x="1858880" y="481993"/>
                    <a:pt x="1855243" y="480174"/>
                  </a:cubicBezTo>
                  <a:cubicBezTo>
                    <a:pt x="1845057" y="475808"/>
                    <a:pt x="1847967" y="464167"/>
                    <a:pt x="1863974" y="456891"/>
                  </a:cubicBezTo>
                  <a:cubicBezTo>
                    <a:pt x="1872705" y="453253"/>
                    <a:pt x="1879616" y="452526"/>
                    <a:pt x="1884527" y="453435"/>
                  </a:cubicBezTo>
                  <a:cubicBezTo>
                    <a:pt x="1889438" y="454345"/>
                    <a:pt x="1892348" y="456891"/>
                    <a:pt x="1893075" y="459802"/>
                  </a:cubicBezTo>
                  <a:cubicBezTo>
                    <a:pt x="1897440" y="468533"/>
                    <a:pt x="1882162" y="479719"/>
                    <a:pt x="1868111" y="481697"/>
                  </a:cubicBezTo>
                  <a:close/>
                  <a:moveTo>
                    <a:pt x="2159539" y="450342"/>
                  </a:moveTo>
                  <a:cubicBezTo>
                    <a:pt x="2154992" y="452525"/>
                    <a:pt x="2149172" y="453253"/>
                    <a:pt x="2144807" y="451070"/>
                  </a:cubicBezTo>
                  <a:cubicBezTo>
                    <a:pt x="2138986" y="448160"/>
                    <a:pt x="2140441" y="440885"/>
                    <a:pt x="2150626" y="436520"/>
                  </a:cubicBezTo>
                  <a:cubicBezTo>
                    <a:pt x="2154992" y="435064"/>
                    <a:pt x="2158630" y="435065"/>
                    <a:pt x="2161358" y="435974"/>
                  </a:cubicBezTo>
                  <a:cubicBezTo>
                    <a:pt x="2164086" y="436883"/>
                    <a:pt x="2165905" y="438703"/>
                    <a:pt x="2166633" y="440885"/>
                  </a:cubicBezTo>
                  <a:cubicBezTo>
                    <a:pt x="2167360" y="444522"/>
                    <a:pt x="2164086" y="448160"/>
                    <a:pt x="2159539" y="450342"/>
                  </a:cubicBezTo>
                  <a:close/>
                  <a:moveTo>
                    <a:pt x="1343050" y="557296"/>
                  </a:moveTo>
                  <a:cubicBezTo>
                    <a:pt x="1331409" y="554386"/>
                    <a:pt x="1335775" y="539835"/>
                    <a:pt x="1363422" y="519464"/>
                  </a:cubicBezTo>
                  <a:cubicBezTo>
                    <a:pt x="1378700" y="510006"/>
                    <a:pt x="1391068" y="505276"/>
                    <a:pt x="1400162" y="503458"/>
                  </a:cubicBezTo>
                  <a:cubicBezTo>
                    <a:pt x="1409257" y="501639"/>
                    <a:pt x="1415078" y="502730"/>
                    <a:pt x="1417260" y="504913"/>
                  </a:cubicBezTo>
                  <a:cubicBezTo>
                    <a:pt x="1428901" y="519464"/>
                    <a:pt x="1367787" y="563117"/>
                    <a:pt x="1343050" y="557296"/>
                  </a:cubicBezTo>
                  <a:close/>
                  <a:moveTo>
                    <a:pt x="1065127" y="595134"/>
                  </a:moveTo>
                  <a:cubicBezTo>
                    <a:pt x="1065127" y="592223"/>
                    <a:pt x="1076768" y="580583"/>
                    <a:pt x="1101505" y="561665"/>
                  </a:cubicBezTo>
                  <a:cubicBezTo>
                    <a:pt x="1132062" y="539839"/>
                    <a:pt x="1153888" y="525288"/>
                    <a:pt x="1158253" y="525288"/>
                  </a:cubicBezTo>
                  <a:cubicBezTo>
                    <a:pt x="1158253" y="536929"/>
                    <a:pt x="1072403" y="596589"/>
                    <a:pt x="1065127" y="595134"/>
                  </a:cubicBezTo>
                  <a:close/>
                  <a:moveTo>
                    <a:pt x="1044756" y="599500"/>
                  </a:moveTo>
                  <a:cubicBezTo>
                    <a:pt x="1044756" y="599500"/>
                    <a:pt x="1046212" y="596590"/>
                    <a:pt x="1081133" y="568942"/>
                  </a:cubicBezTo>
                  <a:cubicBezTo>
                    <a:pt x="1110235" y="548570"/>
                    <a:pt x="1130607" y="534020"/>
                    <a:pt x="1133517" y="532564"/>
                  </a:cubicBezTo>
                  <a:cubicBezTo>
                    <a:pt x="1129151" y="538385"/>
                    <a:pt x="1050576" y="598045"/>
                    <a:pt x="1044756" y="599500"/>
                  </a:cubicBezTo>
                  <a:close/>
                  <a:moveTo>
                    <a:pt x="1095685" y="598043"/>
                  </a:moveTo>
                  <a:cubicBezTo>
                    <a:pt x="1092774" y="598043"/>
                    <a:pt x="1089864" y="596587"/>
                    <a:pt x="1097140" y="589312"/>
                  </a:cubicBezTo>
                  <a:cubicBezTo>
                    <a:pt x="1105871" y="579126"/>
                    <a:pt x="1123332" y="564575"/>
                    <a:pt x="1129152" y="560209"/>
                  </a:cubicBezTo>
                  <a:cubicBezTo>
                    <a:pt x="1165529" y="532562"/>
                    <a:pt x="1185900" y="523832"/>
                    <a:pt x="1188811" y="526742"/>
                  </a:cubicBezTo>
                  <a:cubicBezTo>
                    <a:pt x="1197542" y="534017"/>
                    <a:pt x="1116056" y="596587"/>
                    <a:pt x="1095685" y="598043"/>
                  </a:cubicBezTo>
                  <a:close/>
                  <a:moveTo>
                    <a:pt x="2039676" y="492904"/>
                  </a:moveTo>
                  <a:cubicBezTo>
                    <a:pt x="2034219" y="495814"/>
                    <a:pt x="2026944" y="496906"/>
                    <a:pt x="2021124" y="494723"/>
                  </a:cubicBezTo>
                  <a:cubicBezTo>
                    <a:pt x="2012392" y="490358"/>
                    <a:pt x="2013848" y="481627"/>
                    <a:pt x="2026944" y="475807"/>
                  </a:cubicBezTo>
                  <a:cubicBezTo>
                    <a:pt x="2032765" y="473624"/>
                    <a:pt x="2037493" y="473624"/>
                    <a:pt x="2040949" y="474716"/>
                  </a:cubicBezTo>
                  <a:cubicBezTo>
                    <a:pt x="2044405" y="475807"/>
                    <a:pt x="2046588" y="477990"/>
                    <a:pt x="2047315" y="480172"/>
                  </a:cubicBezTo>
                  <a:cubicBezTo>
                    <a:pt x="2048770" y="485265"/>
                    <a:pt x="2045132" y="489994"/>
                    <a:pt x="2039676" y="492904"/>
                  </a:cubicBezTo>
                  <a:close/>
                  <a:moveTo>
                    <a:pt x="1133517" y="608227"/>
                  </a:moveTo>
                  <a:cubicBezTo>
                    <a:pt x="1123331" y="606772"/>
                    <a:pt x="1132061" y="593677"/>
                    <a:pt x="1153888" y="574760"/>
                  </a:cubicBezTo>
                  <a:cubicBezTo>
                    <a:pt x="1156798" y="571849"/>
                    <a:pt x="1159708" y="570394"/>
                    <a:pt x="1162618" y="567484"/>
                  </a:cubicBezTo>
                  <a:cubicBezTo>
                    <a:pt x="1188810" y="546749"/>
                    <a:pt x="1207636" y="538291"/>
                    <a:pt x="1217253" y="537199"/>
                  </a:cubicBezTo>
                  <a:cubicBezTo>
                    <a:pt x="1220458" y="536835"/>
                    <a:pt x="1222641" y="537290"/>
                    <a:pt x="1223732" y="538382"/>
                  </a:cubicBezTo>
                  <a:cubicBezTo>
                    <a:pt x="1233918" y="550023"/>
                    <a:pt x="1155343" y="609682"/>
                    <a:pt x="1133517" y="608227"/>
                  </a:cubicBezTo>
                  <a:close/>
                  <a:moveTo>
                    <a:pt x="1586369" y="554043"/>
                  </a:moveTo>
                  <a:cubicBezTo>
                    <a:pt x="1579685" y="556112"/>
                    <a:pt x="1572955" y="556930"/>
                    <a:pt x="1567135" y="555839"/>
                  </a:cubicBezTo>
                  <a:cubicBezTo>
                    <a:pt x="1552584" y="552928"/>
                    <a:pt x="1555494" y="536923"/>
                    <a:pt x="1574410" y="525282"/>
                  </a:cubicBezTo>
                  <a:cubicBezTo>
                    <a:pt x="1575865" y="525281"/>
                    <a:pt x="1575866" y="523827"/>
                    <a:pt x="1577320" y="523827"/>
                  </a:cubicBezTo>
                  <a:cubicBezTo>
                    <a:pt x="1588234" y="517279"/>
                    <a:pt x="1597692" y="514733"/>
                    <a:pt x="1604967" y="514551"/>
                  </a:cubicBezTo>
                  <a:cubicBezTo>
                    <a:pt x="1612243" y="514369"/>
                    <a:pt x="1617336" y="516551"/>
                    <a:pt x="1619518" y="519461"/>
                  </a:cubicBezTo>
                  <a:cubicBezTo>
                    <a:pt x="1626066" y="530375"/>
                    <a:pt x="1606422" y="547836"/>
                    <a:pt x="1586369" y="554043"/>
                  </a:cubicBezTo>
                  <a:close/>
                  <a:moveTo>
                    <a:pt x="1750067" y="540036"/>
                  </a:moveTo>
                  <a:cubicBezTo>
                    <a:pt x="1744655" y="541196"/>
                    <a:pt x="1739199" y="541287"/>
                    <a:pt x="1734470" y="539832"/>
                  </a:cubicBezTo>
                  <a:cubicBezTo>
                    <a:pt x="1722829" y="535466"/>
                    <a:pt x="1724284" y="522371"/>
                    <a:pt x="1743200" y="512185"/>
                  </a:cubicBezTo>
                  <a:cubicBezTo>
                    <a:pt x="1752659" y="507820"/>
                    <a:pt x="1760298" y="506728"/>
                    <a:pt x="1765936" y="507456"/>
                  </a:cubicBezTo>
                  <a:cubicBezTo>
                    <a:pt x="1771575" y="508183"/>
                    <a:pt x="1775213" y="510730"/>
                    <a:pt x="1776667" y="513640"/>
                  </a:cubicBezTo>
                  <a:cubicBezTo>
                    <a:pt x="1782124" y="523462"/>
                    <a:pt x="1766300" y="536558"/>
                    <a:pt x="1750067" y="540036"/>
                  </a:cubicBezTo>
                  <a:close/>
                  <a:moveTo>
                    <a:pt x="1396889" y="590763"/>
                  </a:moveTo>
                  <a:cubicBezTo>
                    <a:pt x="1380882" y="587852"/>
                    <a:pt x="1386703" y="571846"/>
                    <a:pt x="1407075" y="555840"/>
                  </a:cubicBezTo>
                  <a:cubicBezTo>
                    <a:pt x="1408529" y="554385"/>
                    <a:pt x="1409984" y="554385"/>
                    <a:pt x="1409985" y="552930"/>
                  </a:cubicBezTo>
                  <a:cubicBezTo>
                    <a:pt x="1423808" y="544927"/>
                    <a:pt x="1435085" y="540925"/>
                    <a:pt x="1443634" y="539652"/>
                  </a:cubicBezTo>
                  <a:cubicBezTo>
                    <a:pt x="1452183" y="538378"/>
                    <a:pt x="1458002" y="539834"/>
                    <a:pt x="1460912" y="542744"/>
                  </a:cubicBezTo>
                  <a:cubicBezTo>
                    <a:pt x="1472554" y="558750"/>
                    <a:pt x="1423080" y="595129"/>
                    <a:pt x="1396889" y="590763"/>
                  </a:cubicBezTo>
                  <a:close/>
                  <a:moveTo>
                    <a:pt x="1177169" y="622778"/>
                  </a:moveTo>
                  <a:cubicBezTo>
                    <a:pt x="1164073" y="622778"/>
                    <a:pt x="1169894" y="608227"/>
                    <a:pt x="1188810" y="590765"/>
                  </a:cubicBezTo>
                  <a:cubicBezTo>
                    <a:pt x="1193176" y="586399"/>
                    <a:pt x="1197541" y="583489"/>
                    <a:pt x="1200452" y="580579"/>
                  </a:cubicBezTo>
                  <a:cubicBezTo>
                    <a:pt x="1225552" y="563118"/>
                    <a:pt x="1244104" y="556297"/>
                    <a:pt x="1254267" y="555820"/>
                  </a:cubicBezTo>
                  <a:cubicBezTo>
                    <a:pt x="1257655" y="555660"/>
                    <a:pt x="1260110" y="556206"/>
                    <a:pt x="1261565" y="557298"/>
                  </a:cubicBezTo>
                  <a:cubicBezTo>
                    <a:pt x="1274661" y="570393"/>
                    <a:pt x="1206272" y="624233"/>
                    <a:pt x="1177169" y="622778"/>
                  </a:cubicBezTo>
                  <a:close/>
                  <a:moveTo>
                    <a:pt x="1903261" y="545652"/>
                  </a:moveTo>
                  <a:cubicBezTo>
                    <a:pt x="1893076" y="541286"/>
                    <a:pt x="1894530" y="529645"/>
                    <a:pt x="1909082" y="523825"/>
                  </a:cubicBezTo>
                  <a:cubicBezTo>
                    <a:pt x="1915629" y="520186"/>
                    <a:pt x="1921085" y="519460"/>
                    <a:pt x="1925269" y="520369"/>
                  </a:cubicBezTo>
                  <a:cubicBezTo>
                    <a:pt x="1929453" y="521278"/>
                    <a:pt x="1932363" y="523825"/>
                    <a:pt x="1933818" y="526735"/>
                  </a:cubicBezTo>
                  <a:cubicBezTo>
                    <a:pt x="1938184" y="538376"/>
                    <a:pt x="1917813" y="551472"/>
                    <a:pt x="1903261" y="545652"/>
                  </a:cubicBezTo>
                  <a:close/>
                  <a:moveTo>
                    <a:pt x="1229553" y="646058"/>
                  </a:moveTo>
                  <a:cubicBezTo>
                    <a:pt x="1213547" y="646058"/>
                    <a:pt x="1216457" y="631508"/>
                    <a:pt x="1233918" y="614046"/>
                  </a:cubicBezTo>
                  <a:cubicBezTo>
                    <a:pt x="1238283" y="609681"/>
                    <a:pt x="1241193" y="606771"/>
                    <a:pt x="1245559" y="603860"/>
                  </a:cubicBezTo>
                  <a:cubicBezTo>
                    <a:pt x="1260838" y="592947"/>
                    <a:pt x="1273569" y="586763"/>
                    <a:pt x="1283209" y="584034"/>
                  </a:cubicBezTo>
                  <a:cubicBezTo>
                    <a:pt x="1292849" y="581306"/>
                    <a:pt x="1299397" y="582034"/>
                    <a:pt x="1302307" y="584944"/>
                  </a:cubicBezTo>
                  <a:cubicBezTo>
                    <a:pt x="1315403" y="599495"/>
                    <a:pt x="1258655" y="646058"/>
                    <a:pt x="1229553" y="646058"/>
                  </a:cubicBezTo>
                  <a:close/>
                  <a:moveTo>
                    <a:pt x="1638457" y="606266"/>
                  </a:moveTo>
                  <a:cubicBezTo>
                    <a:pt x="1632523" y="607858"/>
                    <a:pt x="1626430" y="608222"/>
                    <a:pt x="1620974" y="606767"/>
                  </a:cubicBezTo>
                  <a:cubicBezTo>
                    <a:pt x="1607877" y="602401"/>
                    <a:pt x="1607877" y="587851"/>
                    <a:pt x="1628249" y="576209"/>
                  </a:cubicBezTo>
                  <a:cubicBezTo>
                    <a:pt x="1637707" y="570389"/>
                    <a:pt x="1646073" y="568207"/>
                    <a:pt x="1652621" y="568388"/>
                  </a:cubicBezTo>
                  <a:cubicBezTo>
                    <a:pt x="1659169" y="568570"/>
                    <a:pt x="1663898" y="571116"/>
                    <a:pt x="1666081" y="574754"/>
                  </a:cubicBezTo>
                  <a:cubicBezTo>
                    <a:pt x="1672629" y="585668"/>
                    <a:pt x="1656259" y="601492"/>
                    <a:pt x="1638457" y="606266"/>
                  </a:cubicBezTo>
                  <a:close/>
                  <a:moveTo>
                    <a:pt x="1453637" y="630050"/>
                  </a:moveTo>
                  <a:cubicBezTo>
                    <a:pt x="1436176" y="627139"/>
                    <a:pt x="1439087" y="611133"/>
                    <a:pt x="1458003" y="596582"/>
                  </a:cubicBezTo>
                  <a:cubicBezTo>
                    <a:pt x="1459458" y="596582"/>
                    <a:pt x="1459458" y="595127"/>
                    <a:pt x="1460913" y="595127"/>
                  </a:cubicBezTo>
                  <a:cubicBezTo>
                    <a:pt x="1472554" y="587124"/>
                    <a:pt x="1482739" y="583850"/>
                    <a:pt x="1490742" y="583304"/>
                  </a:cubicBezTo>
                  <a:cubicBezTo>
                    <a:pt x="1498745" y="582758"/>
                    <a:pt x="1504566" y="584941"/>
                    <a:pt x="1507476" y="587851"/>
                  </a:cubicBezTo>
                  <a:cubicBezTo>
                    <a:pt x="1519117" y="602402"/>
                    <a:pt x="1479829" y="634415"/>
                    <a:pt x="1453637" y="630050"/>
                  </a:cubicBezTo>
                  <a:close/>
                  <a:moveTo>
                    <a:pt x="944355" y="699902"/>
                  </a:moveTo>
                  <a:cubicBezTo>
                    <a:pt x="944355" y="695537"/>
                    <a:pt x="957451" y="682441"/>
                    <a:pt x="980732" y="662070"/>
                  </a:cubicBezTo>
                  <a:cubicBezTo>
                    <a:pt x="1009834" y="635877"/>
                    <a:pt x="1033116" y="618416"/>
                    <a:pt x="1038936" y="619872"/>
                  </a:cubicBezTo>
                  <a:cubicBezTo>
                    <a:pt x="1041847" y="622781"/>
                    <a:pt x="1015654" y="647519"/>
                    <a:pt x="998193" y="662070"/>
                  </a:cubicBezTo>
                  <a:cubicBezTo>
                    <a:pt x="972002" y="683896"/>
                    <a:pt x="947265" y="701357"/>
                    <a:pt x="944355" y="699902"/>
                  </a:cubicBezTo>
                  <a:close/>
                  <a:moveTo>
                    <a:pt x="921074" y="704268"/>
                  </a:moveTo>
                  <a:cubicBezTo>
                    <a:pt x="921074" y="704268"/>
                    <a:pt x="921074" y="701358"/>
                    <a:pt x="957451" y="670801"/>
                  </a:cubicBezTo>
                  <a:cubicBezTo>
                    <a:pt x="986553" y="647519"/>
                    <a:pt x="1006925" y="630058"/>
                    <a:pt x="1009835" y="628603"/>
                  </a:cubicBezTo>
                  <a:cubicBezTo>
                    <a:pt x="1008379" y="635878"/>
                    <a:pt x="926894" y="702813"/>
                    <a:pt x="921074" y="704268"/>
                  </a:cubicBezTo>
                  <a:close/>
                  <a:moveTo>
                    <a:pt x="974912" y="701356"/>
                  </a:moveTo>
                  <a:cubicBezTo>
                    <a:pt x="969092" y="702811"/>
                    <a:pt x="970546" y="696991"/>
                    <a:pt x="976366" y="688260"/>
                  </a:cubicBezTo>
                  <a:cubicBezTo>
                    <a:pt x="985097" y="676620"/>
                    <a:pt x="999649" y="663523"/>
                    <a:pt x="1006923" y="657702"/>
                  </a:cubicBezTo>
                  <a:cubicBezTo>
                    <a:pt x="1046211" y="627145"/>
                    <a:pt x="1068037" y="615505"/>
                    <a:pt x="1070948" y="618415"/>
                  </a:cubicBezTo>
                  <a:cubicBezTo>
                    <a:pt x="1081134" y="625690"/>
                    <a:pt x="998193" y="698446"/>
                    <a:pt x="974912" y="701356"/>
                  </a:cubicBezTo>
                  <a:close/>
                  <a:moveTo>
                    <a:pt x="1788309" y="602400"/>
                  </a:moveTo>
                  <a:cubicBezTo>
                    <a:pt x="1776668" y="598035"/>
                    <a:pt x="1776667" y="584939"/>
                    <a:pt x="1792674" y="576209"/>
                  </a:cubicBezTo>
                  <a:cubicBezTo>
                    <a:pt x="1800676" y="572571"/>
                    <a:pt x="1807225" y="571843"/>
                    <a:pt x="1812135" y="572753"/>
                  </a:cubicBezTo>
                  <a:cubicBezTo>
                    <a:pt x="1817046" y="573663"/>
                    <a:pt x="1820320" y="576209"/>
                    <a:pt x="1821775" y="579119"/>
                  </a:cubicBezTo>
                  <a:cubicBezTo>
                    <a:pt x="1827596" y="592215"/>
                    <a:pt x="1805770" y="606766"/>
                    <a:pt x="1788309" y="602400"/>
                  </a:cubicBezTo>
                  <a:close/>
                  <a:moveTo>
                    <a:pt x="2077872" y="568023"/>
                  </a:moveTo>
                  <a:cubicBezTo>
                    <a:pt x="2073507" y="570388"/>
                    <a:pt x="2067687" y="571115"/>
                    <a:pt x="2063321" y="568933"/>
                  </a:cubicBezTo>
                  <a:cubicBezTo>
                    <a:pt x="2056046" y="566023"/>
                    <a:pt x="2057500" y="557291"/>
                    <a:pt x="2067686" y="552927"/>
                  </a:cubicBezTo>
                  <a:cubicBezTo>
                    <a:pt x="2072052" y="550744"/>
                    <a:pt x="2076053" y="550744"/>
                    <a:pt x="2078963" y="551835"/>
                  </a:cubicBezTo>
                  <a:cubicBezTo>
                    <a:pt x="2081874" y="552926"/>
                    <a:pt x="2083693" y="555109"/>
                    <a:pt x="2083693" y="557292"/>
                  </a:cubicBezTo>
                  <a:cubicBezTo>
                    <a:pt x="2085148" y="561657"/>
                    <a:pt x="2082237" y="565659"/>
                    <a:pt x="2077872" y="568023"/>
                  </a:cubicBezTo>
                  <a:close/>
                  <a:moveTo>
                    <a:pt x="1017110" y="708630"/>
                  </a:moveTo>
                  <a:cubicBezTo>
                    <a:pt x="1006924" y="710084"/>
                    <a:pt x="1006924" y="702809"/>
                    <a:pt x="1017110" y="689714"/>
                  </a:cubicBezTo>
                  <a:cubicBezTo>
                    <a:pt x="1025840" y="678074"/>
                    <a:pt x="1038936" y="666433"/>
                    <a:pt x="1043302" y="662067"/>
                  </a:cubicBezTo>
                  <a:cubicBezTo>
                    <a:pt x="1070584" y="639149"/>
                    <a:pt x="1090501" y="628509"/>
                    <a:pt x="1101210" y="626462"/>
                  </a:cubicBezTo>
                  <a:cubicBezTo>
                    <a:pt x="1104779" y="625780"/>
                    <a:pt x="1107326" y="626053"/>
                    <a:pt x="1108781" y="627145"/>
                  </a:cubicBezTo>
                  <a:cubicBezTo>
                    <a:pt x="1121877" y="637330"/>
                    <a:pt x="1047667" y="704265"/>
                    <a:pt x="1017110" y="708630"/>
                  </a:cubicBezTo>
                  <a:close/>
                  <a:moveTo>
                    <a:pt x="1283392" y="676615"/>
                  </a:moveTo>
                  <a:cubicBezTo>
                    <a:pt x="1265931" y="675160"/>
                    <a:pt x="1270295" y="656243"/>
                    <a:pt x="1290667" y="638782"/>
                  </a:cubicBezTo>
                  <a:cubicBezTo>
                    <a:pt x="1292123" y="637327"/>
                    <a:pt x="1293577" y="637327"/>
                    <a:pt x="1293577" y="635871"/>
                  </a:cubicBezTo>
                  <a:cubicBezTo>
                    <a:pt x="1308128" y="624959"/>
                    <a:pt x="1320497" y="619502"/>
                    <a:pt x="1329955" y="617683"/>
                  </a:cubicBezTo>
                  <a:cubicBezTo>
                    <a:pt x="1339413" y="615864"/>
                    <a:pt x="1345960" y="617683"/>
                    <a:pt x="1348871" y="621321"/>
                  </a:cubicBezTo>
                  <a:cubicBezTo>
                    <a:pt x="1363422" y="637326"/>
                    <a:pt x="1312493" y="679525"/>
                    <a:pt x="1283392" y="676615"/>
                  </a:cubicBezTo>
                  <a:close/>
                  <a:moveTo>
                    <a:pt x="1063672" y="721724"/>
                  </a:moveTo>
                  <a:cubicBezTo>
                    <a:pt x="1049122" y="721724"/>
                    <a:pt x="1053486" y="707174"/>
                    <a:pt x="1072403" y="686802"/>
                  </a:cubicBezTo>
                  <a:cubicBezTo>
                    <a:pt x="1076768" y="682437"/>
                    <a:pt x="1081133" y="678071"/>
                    <a:pt x="1085499" y="675161"/>
                  </a:cubicBezTo>
                  <a:cubicBezTo>
                    <a:pt x="1110599" y="653335"/>
                    <a:pt x="1129970" y="644604"/>
                    <a:pt x="1140542" y="644059"/>
                  </a:cubicBezTo>
                  <a:cubicBezTo>
                    <a:pt x="1144066" y="643877"/>
                    <a:pt x="1146612" y="644604"/>
                    <a:pt x="1148068" y="646060"/>
                  </a:cubicBezTo>
                  <a:cubicBezTo>
                    <a:pt x="1162618" y="659156"/>
                    <a:pt x="1094229" y="721724"/>
                    <a:pt x="1063672" y="721724"/>
                  </a:cubicBezTo>
                  <a:close/>
                  <a:moveTo>
                    <a:pt x="1954189" y="616951"/>
                  </a:moveTo>
                  <a:cubicBezTo>
                    <a:pt x="1944004" y="614041"/>
                    <a:pt x="1944004" y="602400"/>
                    <a:pt x="1955644" y="596579"/>
                  </a:cubicBezTo>
                  <a:cubicBezTo>
                    <a:pt x="1960738" y="594397"/>
                    <a:pt x="1965102" y="594397"/>
                    <a:pt x="1968558" y="595488"/>
                  </a:cubicBezTo>
                  <a:cubicBezTo>
                    <a:pt x="1972014" y="596579"/>
                    <a:pt x="1974560" y="598762"/>
                    <a:pt x="1976016" y="600944"/>
                  </a:cubicBezTo>
                  <a:cubicBezTo>
                    <a:pt x="1980381" y="611130"/>
                    <a:pt x="1965830" y="621315"/>
                    <a:pt x="1954189" y="616951"/>
                  </a:cubicBezTo>
                  <a:close/>
                  <a:moveTo>
                    <a:pt x="1514751" y="678068"/>
                  </a:moveTo>
                  <a:cubicBezTo>
                    <a:pt x="1497290" y="676612"/>
                    <a:pt x="1495835" y="659151"/>
                    <a:pt x="1514751" y="646055"/>
                  </a:cubicBezTo>
                  <a:cubicBezTo>
                    <a:pt x="1516206" y="646055"/>
                    <a:pt x="1516206" y="644600"/>
                    <a:pt x="1517661" y="644600"/>
                  </a:cubicBezTo>
                  <a:cubicBezTo>
                    <a:pt x="1527119" y="638052"/>
                    <a:pt x="1535850" y="635142"/>
                    <a:pt x="1542944" y="634778"/>
                  </a:cubicBezTo>
                  <a:cubicBezTo>
                    <a:pt x="1550037" y="634414"/>
                    <a:pt x="1555493" y="636597"/>
                    <a:pt x="1558403" y="640234"/>
                  </a:cubicBezTo>
                  <a:cubicBezTo>
                    <a:pt x="1568589" y="654786"/>
                    <a:pt x="1539488" y="680978"/>
                    <a:pt x="1514751" y="678068"/>
                  </a:cubicBezTo>
                  <a:close/>
                  <a:moveTo>
                    <a:pt x="1695296" y="663492"/>
                  </a:moveTo>
                  <a:cubicBezTo>
                    <a:pt x="1690453" y="664788"/>
                    <a:pt x="1685360" y="664969"/>
                    <a:pt x="1680632" y="663514"/>
                  </a:cubicBezTo>
                  <a:cubicBezTo>
                    <a:pt x="1668991" y="660604"/>
                    <a:pt x="1663171" y="646054"/>
                    <a:pt x="1682087" y="634413"/>
                  </a:cubicBezTo>
                  <a:cubicBezTo>
                    <a:pt x="1690818" y="630047"/>
                    <a:pt x="1698093" y="628956"/>
                    <a:pt x="1703731" y="629683"/>
                  </a:cubicBezTo>
                  <a:cubicBezTo>
                    <a:pt x="1709370" y="630411"/>
                    <a:pt x="1713372" y="632957"/>
                    <a:pt x="1715555" y="635868"/>
                  </a:cubicBezTo>
                  <a:cubicBezTo>
                    <a:pt x="1722102" y="645690"/>
                    <a:pt x="1709824" y="659604"/>
                    <a:pt x="1695296" y="663492"/>
                  </a:cubicBezTo>
                  <a:close/>
                  <a:moveTo>
                    <a:pt x="1117511" y="739184"/>
                  </a:moveTo>
                  <a:cubicBezTo>
                    <a:pt x="1100050" y="739184"/>
                    <a:pt x="1101504" y="724633"/>
                    <a:pt x="1120421" y="704262"/>
                  </a:cubicBezTo>
                  <a:cubicBezTo>
                    <a:pt x="1124786" y="699897"/>
                    <a:pt x="1129151" y="695532"/>
                    <a:pt x="1132062" y="694076"/>
                  </a:cubicBezTo>
                  <a:cubicBezTo>
                    <a:pt x="1154979" y="675524"/>
                    <a:pt x="1173804" y="669249"/>
                    <a:pt x="1184240" y="669113"/>
                  </a:cubicBezTo>
                  <a:cubicBezTo>
                    <a:pt x="1187719" y="669068"/>
                    <a:pt x="1190265" y="669704"/>
                    <a:pt x="1191720" y="670796"/>
                  </a:cubicBezTo>
                  <a:cubicBezTo>
                    <a:pt x="1207726" y="685347"/>
                    <a:pt x="1150978" y="737728"/>
                    <a:pt x="1117511" y="739184"/>
                  </a:cubicBezTo>
                  <a:close/>
                  <a:moveTo>
                    <a:pt x="1345961" y="711535"/>
                  </a:moveTo>
                  <a:cubicBezTo>
                    <a:pt x="1327045" y="710081"/>
                    <a:pt x="1328499" y="691164"/>
                    <a:pt x="1347416" y="675158"/>
                  </a:cubicBezTo>
                  <a:cubicBezTo>
                    <a:pt x="1348871" y="673703"/>
                    <a:pt x="1348871" y="673703"/>
                    <a:pt x="1350326" y="672248"/>
                  </a:cubicBezTo>
                  <a:cubicBezTo>
                    <a:pt x="1362694" y="664245"/>
                    <a:pt x="1373607" y="660243"/>
                    <a:pt x="1382155" y="659152"/>
                  </a:cubicBezTo>
                  <a:cubicBezTo>
                    <a:pt x="1390705" y="658061"/>
                    <a:pt x="1396889" y="659879"/>
                    <a:pt x="1399799" y="663517"/>
                  </a:cubicBezTo>
                  <a:cubicBezTo>
                    <a:pt x="1412894" y="679524"/>
                    <a:pt x="1373607" y="714445"/>
                    <a:pt x="1345961" y="711535"/>
                  </a:cubicBezTo>
                  <a:close/>
                  <a:moveTo>
                    <a:pt x="1845058" y="670790"/>
                  </a:moveTo>
                  <a:cubicBezTo>
                    <a:pt x="1834872" y="667879"/>
                    <a:pt x="1830507" y="654783"/>
                    <a:pt x="1845058" y="647507"/>
                  </a:cubicBezTo>
                  <a:cubicBezTo>
                    <a:pt x="1852333" y="643870"/>
                    <a:pt x="1858153" y="643506"/>
                    <a:pt x="1862336" y="644597"/>
                  </a:cubicBezTo>
                  <a:cubicBezTo>
                    <a:pt x="1866520" y="645689"/>
                    <a:pt x="1869066" y="648235"/>
                    <a:pt x="1869794" y="650418"/>
                  </a:cubicBezTo>
                  <a:cubicBezTo>
                    <a:pt x="1875615" y="662059"/>
                    <a:pt x="1859608" y="675154"/>
                    <a:pt x="1845058" y="670790"/>
                  </a:cubicBezTo>
                  <a:close/>
                  <a:moveTo>
                    <a:pt x="1178625" y="765374"/>
                  </a:moveTo>
                  <a:cubicBezTo>
                    <a:pt x="1159709" y="766828"/>
                    <a:pt x="1158253" y="750823"/>
                    <a:pt x="1174260" y="731907"/>
                  </a:cubicBezTo>
                  <a:cubicBezTo>
                    <a:pt x="1177170" y="727542"/>
                    <a:pt x="1181536" y="724632"/>
                    <a:pt x="1184446" y="721722"/>
                  </a:cubicBezTo>
                  <a:cubicBezTo>
                    <a:pt x="1206272" y="705352"/>
                    <a:pt x="1224006" y="700442"/>
                    <a:pt x="1233965" y="701465"/>
                  </a:cubicBezTo>
                  <a:cubicBezTo>
                    <a:pt x="1237284" y="701806"/>
                    <a:pt x="1239740" y="702806"/>
                    <a:pt x="1241194" y="704261"/>
                  </a:cubicBezTo>
                  <a:cubicBezTo>
                    <a:pt x="1255745" y="718812"/>
                    <a:pt x="1210637" y="763919"/>
                    <a:pt x="1178625" y="765374"/>
                  </a:cubicBezTo>
                  <a:close/>
                  <a:moveTo>
                    <a:pt x="830858" y="809031"/>
                  </a:moveTo>
                  <a:cubicBezTo>
                    <a:pt x="827948" y="810486"/>
                    <a:pt x="827948" y="809031"/>
                    <a:pt x="827948" y="809031"/>
                  </a:cubicBezTo>
                  <a:cubicBezTo>
                    <a:pt x="827948" y="804665"/>
                    <a:pt x="839589" y="790116"/>
                    <a:pt x="862870" y="766835"/>
                  </a:cubicBezTo>
                  <a:cubicBezTo>
                    <a:pt x="899247" y="733368"/>
                    <a:pt x="919618" y="718818"/>
                    <a:pt x="922528" y="720272"/>
                  </a:cubicBezTo>
                  <a:cubicBezTo>
                    <a:pt x="931259" y="723183"/>
                    <a:pt x="851229" y="800301"/>
                    <a:pt x="830858" y="809031"/>
                  </a:cubicBezTo>
                  <a:close/>
                  <a:moveTo>
                    <a:pt x="804666" y="814853"/>
                  </a:moveTo>
                  <a:cubicBezTo>
                    <a:pt x="804666" y="813397"/>
                    <a:pt x="816307" y="800302"/>
                    <a:pt x="839589" y="778476"/>
                  </a:cubicBezTo>
                  <a:cubicBezTo>
                    <a:pt x="867235" y="752285"/>
                    <a:pt x="889062" y="733370"/>
                    <a:pt x="891972" y="731914"/>
                  </a:cubicBezTo>
                  <a:cubicBezTo>
                    <a:pt x="891972" y="739190"/>
                    <a:pt x="811942" y="811942"/>
                    <a:pt x="804666" y="814853"/>
                  </a:cubicBezTo>
                  <a:close/>
                  <a:moveTo>
                    <a:pt x="862870" y="810486"/>
                  </a:moveTo>
                  <a:cubicBezTo>
                    <a:pt x="857049" y="811940"/>
                    <a:pt x="857049" y="806120"/>
                    <a:pt x="862870" y="795934"/>
                  </a:cubicBezTo>
                  <a:cubicBezTo>
                    <a:pt x="871600" y="782839"/>
                    <a:pt x="886151" y="768288"/>
                    <a:pt x="891971" y="762468"/>
                  </a:cubicBezTo>
                  <a:cubicBezTo>
                    <a:pt x="931259" y="726092"/>
                    <a:pt x="954541" y="714452"/>
                    <a:pt x="958906" y="717362"/>
                  </a:cubicBezTo>
                  <a:cubicBezTo>
                    <a:pt x="972002" y="724636"/>
                    <a:pt x="887607" y="806120"/>
                    <a:pt x="862870" y="810486"/>
                  </a:cubicBezTo>
                  <a:close/>
                  <a:moveTo>
                    <a:pt x="906522" y="814850"/>
                  </a:moveTo>
                  <a:cubicBezTo>
                    <a:pt x="896337" y="816308"/>
                    <a:pt x="894882" y="809030"/>
                    <a:pt x="903612" y="795934"/>
                  </a:cubicBezTo>
                  <a:cubicBezTo>
                    <a:pt x="912343" y="782838"/>
                    <a:pt x="923983" y="771198"/>
                    <a:pt x="929804" y="765378"/>
                  </a:cubicBezTo>
                  <a:cubicBezTo>
                    <a:pt x="958179" y="738095"/>
                    <a:pt x="979186" y="725545"/>
                    <a:pt x="990372" y="722817"/>
                  </a:cubicBezTo>
                  <a:cubicBezTo>
                    <a:pt x="994101" y="721907"/>
                    <a:pt x="996738" y="722090"/>
                    <a:pt x="998194" y="723181"/>
                  </a:cubicBezTo>
                  <a:cubicBezTo>
                    <a:pt x="1014199" y="733367"/>
                    <a:pt x="938534" y="809030"/>
                    <a:pt x="906522" y="814850"/>
                  </a:cubicBezTo>
                  <a:close/>
                  <a:moveTo>
                    <a:pt x="1592189" y="730790"/>
                  </a:moveTo>
                  <a:cubicBezTo>
                    <a:pt x="1586960" y="732449"/>
                    <a:pt x="1581321" y="732995"/>
                    <a:pt x="1575865" y="731904"/>
                  </a:cubicBezTo>
                  <a:cubicBezTo>
                    <a:pt x="1561314" y="728993"/>
                    <a:pt x="1555494" y="714443"/>
                    <a:pt x="1575866" y="699892"/>
                  </a:cubicBezTo>
                  <a:cubicBezTo>
                    <a:pt x="1585323" y="694800"/>
                    <a:pt x="1593326" y="693344"/>
                    <a:pt x="1599511" y="693890"/>
                  </a:cubicBezTo>
                  <a:cubicBezTo>
                    <a:pt x="1605695" y="694436"/>
                    <a:pt x="1610059" y="696982"/>
                    <a:pt x="1612242" y="699892"/>
                  </a:cubicBezTo>
                  <a:cubicBezTo>
                    <a:pt x="1619882" y="710805"/>
                    <a:pt x="1607877" y="725811"/>
                    <a:pt x="1592189" y="730790"/>
                  </a:cubicBezTo>
                  <a:close/>
                  <a:moveTo>
                    <a:pt x="1411440" y="755186"/>
                  </a:moveTo>
                  <a:cubicBezTo>
                    <a:pt x="1392523" y="753732"/>
                    <a:pt x="1391068" y="736271"/>
                    <a:pt x="1408530" y="720264"/>
                  </a:cubicBezTo>
                  <a:cubicBezTo>
                    <a:pt x="1409985" y="720264"/>
                    <a:pt x="1409984" y="718809"/>
                    <a:pt x="1411440" y="718809"/>
                  </a:cubicBezTo>
                  <a:cubicBezTo>
                    <a:pt x="1421626" y="711534"/>
                    <a:pt x="1431084" y="708624"/>
                    <a:pt x="1438723" y="708260"/>
                  </a:cubicBezTo>
                  <a:cubicBezTo>
                    <a:pt x="1446362" y="707896"/>
                    <a:pt x="1452182" y="710079"/>
                    <a:pt x="1455092" y="712989"/>
                  </a:cubicBezTo>
                  <a:cubicBezTo>
                    <a:pt x="1468188" y="727539"/>
                    <a:pt x="1437631" y="756642"/>
                    <a:pt x="1411440" y="755186"/>
                  </a:cubicBezTo>
                  <a:close/>
                  <a:moveTo>
                    <a:pt x="1998708" y="685493"/>
                  </a:moveTo>
                  <a:lnTo>
                    <a:pt x="2003662" y="678063"/>
                  </a:lnTo>
                  <a:lnTo>
                    <a:pt x="2006703" y="678063"/>
                  </a:lnTo>
                  <a:close/>
                  <a:moveTo>
                    <a:pt x="955995" y="825036"/>
                  </a:moveTo>
                  <a:cubicBezTo>
                    <a:pt x="941444" y="826491"/>
                    <a:pt x="942900" y="810482"/>
                    <a:pt x="961817" y="788657"/>
                  </a:cubicBezTo>
                  <a:cubicBezTo>
                    <a:pt x="966181" y="782837"/>
                    <a:pt x="970547" y="778472"/>
                    <a:pt x="973457" y="775562"/>
                  </a:cubicBezTo>
                  <a:cubicBezTo>
                    <a:pt x="999649" y="750462"/>
                    <a:pt x="1020111" y="740094"/>
                    <a:pt x="1031774" y="738935"/>
                  </a:cubicBezTo>
                  <a:cubicBezTo>
                    <a:pt x="1035662" y="738549"/>
                    <a:pt x="1038572" y="739185"/>
                    <a:pt x="1040391" y="740640"/>
                  </a:cubicBezTo>
                  <a:cubicBezTo>
                    <a:pt x="1057852" y="753736"/>
                    <a:pt x="989462" y="822125"/>
                    <a:pt x="955995" y="825036"/>
                  </a:cubicBezTo>
                  <a:close/>
                  <a:moveTo>
                    <a:pt x="1755068" y="728833"/>
                  </a:moveTo>
                  <a:cubicBezTo>
                    <a:pt x="1751294" y="729901"/>
                    <a:pt x="1747202" y="730083"/>
                    <a:pt x="1743200" y="728992"/>
                  </a:cubicBezTo>
                  <a:cubicBezTo>
                    <a:pt x="1731559" y="726082"/>
                    <a:pt x="1725739" y="712986"/>
                    <a:pt x="1741746" y="702801"/>
                  </a:cubicBezTo>
                  <a:cubicBezTo>
                    <a:pt x="1748293" y="699163"/>
                    <a:pt x="1754478" y="698436"/>
                    <a:pt x="1759388" y="699345"/>
                  </a:cubicBezTo>
                  <a:cubicBezTo>
                    <a:pt x="1764299" y="700254"/>
                    <a:pt x="1767937" y="702801"/>
                    <a:pt x="1769392" y="705711"/>
                  </a:cubicBezTo>
                  <a:cubicBezTo>
                    <a:pt x="1774849" y="714442"/>
                    <a:pt x="1766391" y="725628"/>
                    <a:pt x="1755068" y="728833"/>
                  </a:cubicBezTo>
                  <a:close/>
                  <a:moveTo>
                    <a:pt x="1242649" y="798840"/>
                  </a:moveTo>
                  <a:cubicBezTo>
                    <a:pt x="1222277" y="798840"/>
                    <a:pt x="1222277" y="779923"/>
                    <a:pt x="1241193" y="761007"/>
                  </a:cubicBezTo>
                  <a:cubicBezTo>
                    <a:pt x="1242649" y="759552"/>
                    <a:pt x="1242649" y="759552"/>
                    <a:pt x="1244104" y="758097"/>
                  </a:cubicBezTo>
                  <a:cubicBezTo>
                    <a:pt x="1256472" y="747912"/>
                    <a:pt x="1267749" y="742819"/>
                    <a:pt x="1276843" y="741183"/>
                  </a:cubicBezTo>
                  <a:cubicBezTo>
                    <a:pt x="1285938" y="739545"/>
                    <a:pt x="1292849" y="741365"/>
                    <a:pt x="1296487" y="745002"/>
                  </a:cubicBezTo>
                  <a:cubicBezTo>
                    <a:pt x="1312494" y="759552"/>
                    <a:pt x="1273206" y="800294"/>
                    <a:pt x="1242649" y="798840"/>
                  </a:cubicBezTo>
                  <a:close/>
                  <a:moveTo>
                    <a:pt x="1015654" y="838129"/>
                  </a:moveTo>
                  <a:cubicBezTo>
                    <a:pt x="998193" y="839583"/>
                    <a:pt x="998193" y="825034"/>
                    <a:pt x="1014199" y="803207"/>
                  </a:cubicBezTo>
                  <a:cubicBezTo>
                    <a:pt x="1018565" y="798841"/>
                    <a:pt x="1021475" y="794476"/>
                    <a:pt x="1024385" y="791566"/>
                  </a:cubicBezTo>
                  <a:cubicBezTo>
                    <a:pt x="1048394" y="770831"/>
                    <a:pt x="1067493" y="762374"/>
                    <a:pt x="1078610" y="761897"/>
                  </a:cubicBezTo>
                  <a:cubicBezTo>
                    <a:pt x="1082316" y="761737"/>
                    <a:pt x="1085136" y="762464"/>
                    <a:pt x="1086954" y="763920"/>
                  </a:cubicBezTo>
                  <a:cubicBezTo>
                    <a:pt x="1104415" y="778471"/>
                    <a:pt x="1050576" y="835218"/>
                    <a:pt x="1015654" y="838129"/>
                  </a:cubicBezTo>
                  <a:close/>
                  <a:moveTo>
                    <a:pt x="1904716" y="744998"/>
                  </a:moveTo>
                  <a:cubicBezTo>
                    <a:pt x="1895985" y="742088"/>
                    <a:pt x="1891620" y="730446"/>
                    <a:pt x="1903260" y="724626"/>
                  </a:cubicBezTo>
                  <a:cubicBezTo>
                    <a:pt x="1907626" y="722444"/>
                    <a:pt x="1911628" y="722444"/>
                    <a:pt x="1914902" y="723535"/>
                  </a:cubicBezTo>
                  <a:cubicBezTo>
                    <a:pt x="1918176" y="724626"/>
                    <a:pt x="1920723" y="726809"/>
                    <a:pt x="1922177" y="728991"/>
                  </a:cubicBezTo>
                  <a:cubicBezTo>
                    <a:pt x="1926543" y="737722"/>
                    <a:pt x="1916356" y="747908"/>
                    <a:pt x="1904716" y="744998"/>
                  </a:cubicBezTo>
                  <a:close/>
                  <a:moveTo>
                    <a:pt x="1481285" y="806114"/>
                  </a:moveTo>
                  <a:cubicBezTo>
                    <a:pt x="1462368" y="804658"/>
                    <a:pt x="1458003" y="787197"/>
                    <a:pt x="1474009" y="774101"/>
                  </a:cubicBezTo>
                  <a:cubicBezTo>
                    <a:pt x="1474009" y="774101"/>
                    <a:pt x="1475464" y="772646"/>
                    <a:pt x="1475464" y="772646"/>
                  </a:cubicBezTo>
                  <a:cubicBezTo>
                    <a:pt x="1484195" y="766098"/>
                    <a:pt x="1492561" y="763552"/>
                    <a:pt x="1499473" y="763552"/>
                  </a:cubicBezTo>
                  <a:cubicBezTo>
                    <a:pt x="1506385" y="763552"/>
                    <a:pt x="1511841" y="766098"/>
                    <a:pt x="1514751" y="769736"/>
                  </a:cubicBezTo>
                  <a:cubicBezTo>
                    <a:pt x="1526393" y="782832"/>
                    <a:pt x="1504566" y="807568"/>
                    <a:pt x="1481285" y="806114"/>
                  </a:cubicBezTo>
                  <a:close/>
                  <a:moveTo>
                    <a:pt x="1079679" y="859953"/>
                  </a:moveTo>
                  <a:cubicBezTo>
                    <a:pt x="1060762" y="861408"/>
                    <a:pt x="1056397" y="846856"/>
                    <a:pt x="1072403" y="826489"/>
                  </a:cubicBezTo>
                  <a:cubicBezTo>
                    <a:pt x="1075313" y="822123"/>
                    <a:pt x="1079679" y="819212"/>
                    <a:pt x="1081133" y="816303"/>
                  </a:cubicBezTo>
                  <a:cubicBezTo>
                    <a:pt x="1094230" y="804661"/>
                    <a:pt x="1106598" y="797386"/>
                    <a:pt x="1116783" y="793930"/>
                  </a:cubicBezTo>
                  <a:cubicBezTo>
                    <a:pt x="1126969" y="790474"/>
                    <a:pt x="1134972" y="790838"/>
                    <a:pt x="1139337" y="794475"/>
                  </a:cubicBezTo>
                  <a:cubicBezTo>
                    <a:pt x="1156798" y="809026"/>
                    <a:pt x="1113146" y="857042"/>
                    <a:pt x="1079679" y="859953"/>
                  </a:cubicBezTo>
                  <a:close/>
                  <a:moveTo>
                    <a:pt x="1657782" y="793221"/>
                  </a:moveTo>
                  <a:cubicBezTo>
                    <a:pt x="1653621" y="794654"/>
                    <a:pt x="1648983" y="795199"/>
                    <a:pt x="1644255" y="794472"/>
                  </a:cubicBezTo>
                  <a:cubicBezTo>
                    <a:pt x="1631159" y="791562"/>
                    <a:pt x="1623884" y="777011"/>
                    <a:pt x="1639890" y="765370"/>
                  </a:cubicBezTo>
                  <a:cubicBezTo>
                    <a:pt x="1647165" y="760277"/>
                    <a:pt x="1654077" y="758822"/>
                    <a:pt x="1659715" y="759550"/>
                  </a:cubicBezTo>
                  <a:cubicBezTo>
                    <a:pt x="1665354" y="760277"/>
                    <a:pt x="1669719" y="763187"/>
                    <a:pt x="1671902" y="766825"/>
                  </a:cubicBezTo>
                  <a:cubicBezTo>
                    <a:pt x="1678450" y="776647"/>
                    <a:pt x="1670264" y="788924"/>
                    <a:pt x="1657782" y="793221"/>
                  </a:cubicBezTo>
                  <a:close/>
                  <a:moveTo>
                    <a:pt x="1313948" y="838125"/>
                  </a:moveTo>
                  <a:cubicBezTo>
                    <a:pt x="1293577" y="838125"/>
                    <a:pt x="1290667" y="819210"/>
                    <a:pt x="1308128" y="801749"/>
                  </a:cubicBezTo>
                  <a:cubicBezTo>
                    <a:pt x="1309583" y="800294"/>
                    <a:pt x="1309583" y="800294"/>
                    <a:pt x="1311038" y="798839"/>
                  </a:cubicBezTo>
                  <a:cubicBezTo>
                    <a:pt x="1320497" y="790836"/>
                    <a:pt x="1329955" y="787199"/>
                    <a:pt x="1337957" y="786471"/>
                  </a:cubicBezTo>
                  <a:cubicBezTo>
                    <a:pt x="1345961" y="785743"/>
                    <a:pt x="1352508" y="787926"/>
                    <a:pt x="1356146" y="791563"/>
                  </a:cubicBezTo>
                  <a:cubicBezTo>
                    <a:pt x="1370697" y="806115"/>
                    <a:pt x="1343051" y="838125"/>
                    <a:pt x="1313948" y="838125"/>
                  </a:cubicBezTo>
                  <a:close/>
                  <a:moveTo>
                    <a:pt x="726091" y="922530"/>
                  </a:moveTo>
                  <a:cubicBezTo>
                    <a:pt x="723181" y="923984"/>
                    <a:pt x="723181" y="922530"/>
                    <a:pt x="723181" y="922530"/>
                  </a:cubicBezTo>
                  <a:cubicBezTo>
                    <a:pt x="721726" y="918166"/>
                    <a:pt x="733367" y="902164"/>
                    <a:pt x="755192" y="878866"/>
                  </a:cubicBezTo>
                  <a:cubicBezTo>
                    <a:pt x="788660" y="843950"/>
                    <a:pt x="809031" y="827949"/>
                    <a:pt x="811942" y="829404"/>
                  </a:cubicBezTo>
                  <a:cubicBezTo>
                    <a:pt x="822127" y="832313"/>
                    <a:pt x="747917" y="913801"/>
                    <a:pt x="726091" y="922530"/>
                  </a:cubicBezTo>
                  <a:close/>
                  <a:moveTo>
                    <a:pt x="762468" y="921074"/>
                  </a:moveTo>
                  <a:cubicBezTo>
                    <a:pt x="758103" y="922528"/>
                    <a:pt x="752283" y="923983"/>
                    <a:pt x="756648" y="913800"/>
                  </a:cubicBezTo>
                  <a:cubicBezTo>
                    <a:pt x="759558" y="905074"/>
                    <a:pt x="769744" y="890514"/>
                    <a:pt x="787205" y="873046"/>
                  </a:cubicBezTo>
                  <a:cubicBezTo>
                    <a:pt x="820672" y="835221"/>
                    <a:pt x="843953" y="822127"/>
                    <a:pt x="849774" y="823583"/>
                  </a:cubicBezTo>
                  <a:cubicBezTo>
                    <a:pt x="862869" y="829403"/>
                    <a:pt x="793025" y="909436"/>
                    <a:pt x="762468" y="921074"/>
                  </a:cubicBezTo>
                  <a:close/>
                  <a:moveTo>
                    <a:pt x="698444" y="931256"/>
                  </a:moveTo>
                  <a:cubicBezTo>
                    <a:pt x="701354" y="926893"/>
                    <a:pt x="711540" y="913803"/>
                    <a:pt x="730456" y="893428"/>
                  </a:cubicBezTo>
                  <a:cubicBezTo>
                    <a:pt x="755192" y="864320"/>
                    <a:pt x="775564" y="845406"/>
                    <a:pt x="779929" y="842496"/>
                  </a:cubicBezTo>
                  <a:cubicBezTo>
                    <a:pt x="781385" y="849770"/>
                    <a:pt x="704265" y="926893"/>
                    <a:pt x="698444" y="931256"/>
                  </a:cubicBezTo>
                  <a:close/>
                  <a:moveTo>
                    <a:pt x="1808680" y="800291"/>
                  </a:moveTo>
                  <a:cubicBezTo>
                    <a:pt x="1797039" y="797381"/>
                    <a:pt x="1792674" y="784286"/>
                    <a:pt x="1804314" y="777010"/>
                  </a:cubicBezTo>
                  <a:cubicBezTo>
                    <a:pt x="1809407" y="774827"/>
                    <a:pt x="1814136" y="774827"/>
                    <a:pt x="1817956" y="775918"/>
                  </a:cubicBezTo>
                  <a:cubicBezTo>
                    <a:pt x="1821776" y="777009"/>
                    <a:pt x="1824686" y="779192"/>
                    <a:pt x="1826141" y="781375"/>
                  </a:cubicBezTo>
                  <a:cubicBezTo>
                    <a:pt x="1831961" y="791560"/>
                    <a:pt x="1821775" y="803201"/>
                    <a:pt x="1808680" y="800291"/>
                  </a:cubicBezTo>
                  <a:close/>
                  <a:moveTo>
                    <a:pt x="804666" y="923982"/>
                  </a:moveTo>
                  <a:cubicBezTo>
                    <a:pt x="793025" y="926892"/>
                    <a:pt x="791571" y="918164"/>
                    <a:pt x="803211" y="900705"/>
                  </a:cubicBezTo>
                  <a:cubicBezTo>
                    <a:pt x="810486" y="889057"/>
                    <a:pt x="819218" y="878866"/>
                    <a:pt x="825038" y="873046"/>
                  </a:cubicBezTo>
                  <a:cubicBezTo>
                    <a:pt x="859960" y="836675"/>
                    <a:pt x="884697" y="825037"/>
                    <a:pt x="890517" y="827947"/>
                  </a:cubicBezTo>
                  <a:cubicBezTo>
                    <a:pt x="907978" y="838131"/>
                    <a:pt x="838133" y="915254"/>
                    <a:pt x="804666" y="923982"/>
                  </a:cubicBezTo>
                  <a:close/>
                  <a:moveTo>
                    <a:pt x="685349" y="941447"/>
                  </a:moveTo>
                  <a:cubicBezTo>
                    <a:pt x="698445" y="925439"/>
                    <a:pt x="742097" y="877409"/>
                    <a:pt x="752283" y="867229"/>
                  </a:cubicBezTo>
                  <a:close/>
                  <a:moveTo>
                    <a:pt x="1146612" y="890509"/>
                  </a:moveTo>
                  <a:cubicBezTo>
                    <a:pt x="1126241" y="891964"/>
                    <a:pt x="1123331" y="871589"/>
                    <a:pt x="1142247" y="851220"/>
                  </a:cubicBezTo>
                  <a:cubicBezTo>
                    <a:pt x="1143702" y="849766"/>
                    <a:pt x="1143702" y="849766"/>
                    <a:pt x="1145157" y="848310"/>
                  </a:cubicBezTo>
                  <a:cubicBezTo>
                    <a:pt x="1157526" y="837398"/>
                    <a:pt x="1168802" y="831579"/>
                    <a:pt x="1177897" y="829397"/>
                  </a:cubicBezTo>
                  <a:cubicBezTo>
                    <a:pt x="1186991" y="827215"/>
                    <a:pt x="1193903" y="828670"/>
                    <a:pt x="1197540" y="832307"/>
                  </a:cubicBezTo>
                  <a:cubicBezTo>
                    <a:pt x="1215002" y="846856"/>
                    <a:pt x="1177169" y="889053"/>
                    <a:pt x="1146612" y="890509"/>
                  </a:cubicBezTo>
                  <a:close/>
                  <a:moveTo>
                    <a:pt x="861414" y="929800"/>
                  </a:moveTo>
                  <a:cubicBezTo>
                    <a:pt x="845409" y="934164"/>
                    <a:pt x="842499" y="922526"/>
                    <a:pt x="855594" y="902159"/>
                  </a:cubicBezTo>
                  <a:cubicBezTo>
                    <a:pt x="861414" y="893424"/>
                    <a:pt x="868690" y="884689"/>
                    <a:pt x="873055" y="880320"/>
                  </a:cubicBezTo>
                  <a:cubicBezTo>
                    <a:pt x="895973" y="855227"/>
                    <a:pt x="915617" y="844039"/>
                    <a:pt x="927076" y="841857"/>
                  </a:cubicBezTo>
                  <a:cubicBezTo>
                    <a:pt x="930896" y="841130"/>
                    <a:pt x="933806" y="841402"/>
                    <a:pt x="935624" y="842493"/>
                  </a:cubicBezTo>
                  <a:cubicBezTo>
                    <a:pt x="953085" y="854133"/>
                    <a:pt x="896337" y="921071"/>
                    <a:pt x="861414" y="929800"/>
                  </a:cubicBezTo>
                  <a:close/>
                  <a:moveTo>
                    <a:pt x="1566907" y="861155"/>
                  </a:moveTo>
                  <a:cubicBezTo>
                    <a:pt x="1562587" y="862860"/>
                    <a:pt x="1557676" y="863587"/>
                    <a:pt x="1552583" y="862860"/>
                  </a:cubicBezTo>
                  <a:cubicBezTo>
                    <a:pt x="1536578" y="861405"/>
                    <a:pt x="1530757" y="845399"/>
                    <a:pt x="1545308" y="832304"/>
                  </a:cubicBezTo>
                  <a:cubicBezTo>
                    <a:pt x="1552583" y="827212"/>
                    <a:pt x="1559495" y="825757"/>
                    <a:pt x="1565315" y="826302"/>
                  </a:cubicBezTo>
                  <a:cubicBezTo>
                    <a:pt x="1571135" y="826848"/>
                    <a:pt x="1575865" y="829394"/>
                    <a:pt x="1578775" y="832305"/>
                  </a:cubicBezTo>
                  <a:cubicBezTo>
                    <a:pt x="1587506" y="842126"/>
                    <a:pt x="1579866" y="856039"/>
                    <a:pt x="1566907" y="861155"/>
                  </a:cubicBezTo>
                  <a:close/>
                  <a:moveTo>
                    <a:pt x="918163" y="941443"/>
                  </a:moveTo>
                  <a:cubicBezTo>
                    <a:pt x="900702" y="944345"/>
                    <a:pt x="899247" y="928344"/>
                    <a:pt x="913798" y="906522"/>
                  </a:cubicBezTo>
                  <a:cubicBezTo>
                    <a:pt x="916708" y="902157"/>
                    <a:pt x="921074" y="897790"/>
                    <a:pt x="923984" y="894878"/>
                  </a:cubicBezTo>
                  <a:cubicBezTo>
                    <a:pt x="946901" y="871953"/>
                    <a:pt x="965727" y="862955"/>
                    <a:pt x="976776" y="861727"/>
                  </a:cubicBezTo>
                  <a:cubicBezTo>
                    <a:pt x="980459" y="861318"/>
                    <a:pt x="983279" y="861772"/>
                    <a:pt x="985098" y="862863"/>
                  </a:cubicBezTo>
                  <a:cubicBezTo>
                    <a:pt x="1004014" y="875952"/>
                    <a:pt x="953085" y="935618"/>
                    <a:pt x="918163" y="941443"/>
                  </a:cubicBezTo>
                  <a:close/>
                  <a:moveTo>
                    <a:pt x="1388159" y="884686"/>
                  </a:moveTo>
                  <a:cubicBezTo>
                    <a:pt x="1367787" y="884686"/>
                    <a:pt x="1361966" y="867225"/>
                    <a:pt x="1377973" y="851219"/>
                  </a:cubicBezTo>
                  <a:cubicBezTo>
                    <a:pt x="1377973" y="851219"/>
                    <a:pt x="1379427" y="849765"/>
                    <a:pt x="1380883" y="849765"/>
                  </a:cubicBezTo>
                  <a:cubicBezTo>
                    <a:pt x="1388886" y="842489"/>
                    <a:pt x="1397253" y="839579"/>
                    <a:pt x="1404346" y="839215"/>
                  </a:cubicBezTo>
                  <a:cubicBezTo>
                    <a:pt x="1411440" y="838852"/>
                    <a:pt x="1417260" y="841035"/>
                    <a:pt x="1420170" y="843945"/>
                  </a:cubicBezTo>
                  <a:cubicBezTo>
                    <a:pt x="1433266" y="857040"/>
                    <a:pt x="1412894" y="883230"/>
                    <a:pt x="1388159" y="884686"/>
                  </a:cubicBezTo>
                  <a:close/>
                  <a:moveTo>
                    <a:pt x="1715555" y="861404"/>
                  </a:moveTo>
                  <a:cubicBezTo>
                    <a:pt x="1702458" y="859949"/>
                    <a:pt x="1696639" y="845398"/>
                    <a:pt x="1709734" y="836668"/>
                  </a:cubicBezTo>
                  <a:cubicBezTo>
                    <a:pt x="1714827" y="833030"/>
                    <a:pt x="1719920" y="832303"/>
                    <a:pt x="1724285" y="833212"/>
                  </a:cubicBezTo>
                  <a:cubicBezTo>
                    <a:pt x="1728650" y="834121"/>
                    <a:pt x="1732288" y="836668"/>
                    <a:pt x="1734470" y="839578"/>
                  </a:cubicBezTo>
                  <a:cubicBezTo>
                    <a:pt x="1741746" y="849763"/>
                    <a:pt x="1730106" y="864314"/>
                    <a:pt x="1715555" y="861404"/>
                  </a:cubicBezTo>
                  <a:close/>
                  <a:moveTo>
                    <a:pt x="1222278" y="923977"/>
                  </a:moveTo>
                  <a:cubicBezTo>
                    <a:pt x="1201907" y="925431"/>
                    <a:pt x="1196086" y="906519"/>
                    <a:pt x="1212093" y="887597"/>
                  </a:cubicBezTo>
                  <a:cubicBezTo>
                    <a:pt x="1212093" y="886142"/>
                    <a:pt x="1213547" y="886142"/>
                    <a:pt x="1215003" y="884686"/>
                  </a:cubicBezTo>
                  <a:cubicBezTo>
                    <a:pt x="1225188" y="876682"/>
                    <a:pt x="1235010" y="872680"/>
                    <a:pt x="1243195" y="871407"/>
                  </a:cubicBezTo>
                  <a:cubicBezTo>
                    <a:pt x="1251380" y="870135"/>
                    <a:pt x="1257928" y="871588"/>
                    <a:pt x="1261565" y="874498"/>
                  </a:cubicBezTo>
                  <a:cubicBezTo>
                    <a:pt x="1277571" y="889053"/>
                    <a:pt x="1249925" y="922522"/>
                    <a:pt x="1222278" y="923977"/>
                  </a:cubicBezTo>
                  <a:close/>
                  <a:moveTo>
                    <a:pt x="986553" y="960354"/>
                  </a:moveTo>
                  <a:cubicBezTo>
                    <a:pt x="964727" y="963266"/>
                    <a:pt x="961817" y="945803"/>
                    <a:pt x="979278" y="923979"/>
                  </a:cubicBezTo>
                  <a:cubicBezTo>
                    <a:pt x="980732" y="921070"/>
                    <a:pt x="983642" y="918161"/>
                    <a:pt x="985097" y="916706"/>
                  </a:cubicBezTo>
                  <a:cubicBezTo>
                    <a:pt x="1004741" y="895969"/>
                    <a:pt x="1022748" y="888327"/>
                    <a:pt x="1033593" y="888258"/>
                  </a:cubicBezTo>
                  <a:cubicBezTo>
                    <a:pt x="1037208" y="888236"/>
                    <a:pt x="1040027" y="889055"/>
                    <a:pt x="1041846" y="890511"/>
                  </a:cubicBezTo>
                  <a:cubicBezTo>
                    <a:pt x="1060763" y="903612"/>
                    <a:pt x="1020020" y="954535"/>
                    <a:pt x="986553" y="960354"/>
                  </a:cubicBezTo>
                  <a:close/>
                  <a:moveTo>
                    <a:pt x="1060762" y="985090"/>
                  </a:moveTo>
                  <a:cubicBezTo>
                    <a:pt x="1038936" y="989454"/>
                    <a:pt x="1031661" y="971994"/>
                    <a:pt x="1047666" y="950167"/>
                  </a:cubicBezTo>
                  <a:cubicBezTo>
                    <a:pt x="1049121" y="948712"/>
                    <a:pt x="1050576" y="945803"/>
                    <a:pt x="1053487" y="944346"/>
                  </a:cubicBezTo>
                  <a:cubicBezTo>
                    <a:pt x="1065128" y="931979"/>
                    <a:pt x="1076041" y="925797"/>
                    <a:pt x="1084954" y="923251"/>
                  </a:cubicBezTo>
                  <a:cubicBezTo>
                    <a:pt x="1093866" y="920704"/>
                    <a:pt x="1100778" y="921796"/>
                    <a:pt x="1104415" y="923978"/>
                  </a:cubicBezTo>
                  <a:cubicBezTo>
                    <a:pt x="1121877" y="937072"/>
                    <a:pt x="1091319" y="979270"/>
                    <a:pt x="1060762" y="985090"/>
                  </a:cubicBezTo>
                  <a:close/>
                  <a:moveTo>
                    <a:pt x="631510" y="1038935"/>
                  </a:moveTo>
                  <a:cubicBezTo>
                    <a:pt x="627145" y="1041845"/>
                    <a:pt x="625689" y="1041845"/>
                    <a:pt x="625690" y="1038935"/>
                  </a:cubicBezTo>
                  <a:cubicBezTo>
                    <a:pt x="625690" y="1036024"/>
                    <a:pt x="630055" y="1027293"/>
                    <a:pt x="653337" y="998191"/>
                  </a:cubicBezTo>
                  <a:cubicBezTo>
                    <a:pt x="683893" y="960358"/>
                    <a:pt x="701355" y="945807"/>
                    <a:pt x="705720" y="947263"/>
                  </a:cubicBezTo>
                  <a:cubicBezTo>
                    <a:pt x="715905" y="950171"/>
                    <a:pt x="656246" y="1024382"/>
                    <a:pt x="631510" y="1038935"/>
                  </a:cubicBezTo>
                  <a:close/>
                  <a:moveTo>
                    <a:pt x="667887" y="1034568"/>
                  </a:moveTo>
                  <a:cubicBezTo>
                    <a:pt x="660611" y="1037478"/>
                    <a:pt x="657701" y="1034568"/>
                    <a:pt x="662066" y="1025837"/>
                  </a:cubicBezTo>
                  <a:cubicBezTo>
                    <a:pt x="667887" y="1012741"/>
                    <a:pt x="682438" y="995279"/>
                    <a:pt x="686803" y="988004"/>
                  </a:cubicBezTo>
                  <a:cubicBezTo>
                    <a:pt x="717360" y="951628"/>
                    <a:pt x="739186" y="938531"/>
                    <a:pt x="743552" y="939987"/>
                  </a:cubicBezTo>
                  <a:cubicBezTo>
                    <a:pt x="758103" y="945805"/>
                    <a:pt x="695533" y="1022927"/>
                    <a:pt x="667887" y="1034568"/>
                  </a:cubicBezTo>
                  <a:close/>
                  <a:moveTo>
                    <a:pt x="1465278" y="937071"/>
                  </a:moveTo>
                  <a:cubicBezTo>
                    <a:pt x="1446362" y="937071"/>
                    <a:pt x="1439087" y="921064"/>
                    <a:pt x="1452183" y="906515"/>
                  </a:cubicBezTo>
                  <a:cubicBezTo>
                    <a:pt x="1452183" y="906515"/>
                    <a:pt x="1453638" y="905061"/>
                    <a:pt x="1453638" y="905061"/>
                  </a:cubicBezTo>
                  <a:cubicBezTo>
                    <a:pt x="1460913" y="899239"/>
                    <a:pt x="1468188" y="897419"/>
                    <a:pt x="1474372" y="897784"/>
                  </a:cubicBezTo>
                  <a:cubicBezTo>
                    <a:pt x="1480556" y="898148"/>
                    <a:pt x="1485649" y="900695"/>
                    <a:pt x="1488559" y="903606"/>
                  </a:cubicBezTo>
                  <a:cubicBezTo>
                    <a:pt x="1500201" y="915245"/>
                    <a:pt x="1485649" y="937071"/>
                    <a:pt x="1465278" y="937071"/>
                  </a:cubicBezTo>
                  <a:close/>
                  <a:moveTo>
                    <a:pt x="715905" y="1033111"/>
                  </a:moveTo>
                  <a:cubicBezTo>
                    <a:pt x="704264" y="1037477"/>
                    <a:pt x="701355" y="1033111"/>
                    <a:pt x="705719" y="1020015"/>
                  </a:cubicBezTo>
                  <a:cubicBezTo>
                    <a:pt x="710085" y="1006922"/>
                    <a:pt x="723180" y="992367"/>
                    <a:pt x="727546" y="986548"/>
                  </a:cubicBezTo>
                  <a:cubicBezTo>
                    <a:pt x="758103" y="951626"/>
                    <a:pt x="781384" y="938530"/>
                    <a:pt x="787204" y="941445"/>
                  </a:cubicBezTo>
                  <a:cubicBezTo>
                    <a:pt x="803211" y="948715"/>
                    <a:pt x="749372" y="1020015"/>
                    <a:pt x="715905" y="1033111"/>
                  </a:cubicBezTo>
                  <a:close/>
                  <a:moveTo>
                    <a:pt x="599498" y="1050577"/>
                  </a:moveTo>
                  <a:cubicBezTo>
                    <a:pt x="600953" y="1046211"/>
                    <a:pt x="611139" y="1033114"/>
                    <a:pt x="627145" y="1012742"/>
                  </a:cubicBezTo>
                  <a:cubicBezTo>
                    <a:pt x="656246" y="976366"/>
                    <a:pt x="670798" y="961815"/>
                    <a:pt x="673707" y="961816"/>
                  </a:cubicBezTo>
                  <a:cubicBezTo>
                    <a:pt x="669343" y="974910"/>
                    <a:pt x="609684" y="1046211"/>
                    <a:pt x="599498" y="1050577"/>
                  </a:cubicBezTo>
                  <a:close/>
                  <a:moveTo>
                    <a:pt x="1628249" y="925428"/>
                  </a:moveTo>
                  <a:cubicBezTo>
                    <a:pt x="1613698" y="923975"/>
                    <a:pt x="1606422" y="909424"/>
                    <a:pt x="1619518" y="899239"/>
                  </a:cubicBezTo>
                  <a:cubicBezTo>
                    <a:pt x="1625338" y="895600"/>
                    <a:pt x="1631159" y="894873"/>
                    <a:pt x="1636070" y="895600"/>
                  </a:cubicBezTo>
                  <a:cubicBezTo>
                    <a:pt x="1640981" y="896328"/>
                    <a:pt x="1644982" y="898511"/>
                    <a:pt x="1647165" y="900694"/>
                  </a:cubicBezTo>
                  <a:cubicBezTo>
                    <a:pt x="1655896" y="912334"/>
                    <a:pt x="1644255" y="926885"/>
                    <a:pt x="1628249" y="925428"/>
                  </a:cubicBezTo>
                  <a:close/>
                  <a:moveTo>
                    <a:pt x="1299397" y="966173"/>
                  </a:moveTo>
                  <a:cubicBezTo>
                    <a:pt x="1279026" y="967628"/>
                    <a:pt x="1271750" y="950166"/>
                    <a:pt x="1286301" y="932706"/>
                  </a:cubicBezTo>
                  <a:cubicBezTo>
                    <a:pt x="1286301" y="932706"/>
                    <a:pt x="1287756" y="931251"/>
                    <a:pt x="1287756" y="929795"/>
                  </a:cubicBezTo>
                  <a:cubicBezTo>
                    <a:pt x="1297215" y="923248"/>
                    <a:pt x="1306309" y="920339"/>
                    <a:pt x="1313766" y="919794"/>
                  </a:cubicBezTo>
                  <a:cubicBezTo>
                    <a:pt x="1321224" y="919247"/>
                    <a:pt x="1327044" y="921067"/>
                    <a:pt x="1329954" y="923976"/>
                  </a:cubicBezTo>
                  <a:cubicBezTo>
                    <a:pt x="1344505" y="937071"/>
                    <a:pt x="1325589" y="964718"/>
                    <a:pt x="1299397" y="966173"/>
                  </a:cubicBezTo>
                  <a:close/>
                  <a:moveTo>
                    <a:pt x="771198" y="1038931"/>
                  </a:moveTo>
                  <a:cubicBezTo>
                    <a:pt x="756648" y="1043297"/>
                    <a:pt x="752282" y="1033110"/>
                    <a:pt x="762468" y="1012738"/>
                  </a:cubicBezTo>
                  <a:cubicBezTo>
                    <a:pt x="766834" y="1004009"/>
                    <a:pt x="774109" y="995276"/>
                    <a:pt x="777020" y="990912"/>
                  </a:cubicBezTo>
                  <a:cubicBezTo>
                    <a:pt x="804666" y="957448"/>
                    <a:pt x="827947" y="948715"/>
                    <a:pt x="836678" y="951625"/>
                  </a:cubicBezTo>
                  <a:cubicBezTo>
                    <a:pt x="855595" y="961812"/>
                    <a:pt x="804666" y="1027290"/>
                    <a:pt x="771198" y="1038931"/>
                  </a:cubicBezTo>
                  <a:close/>
                  <a:moveTo>
                    <a:pt x="582037" y="1066584"/>
                  </a:moveTo>
                  <a:cubicBezTo>
                    <a:pt x="584947" y="1060763"/>
                    <a:pt x="638785" y="996735"/>
                    <a:pt x="648971" y="983641"/>
                  </a:cubicBezTo>
                  <a:close/>
                  <a:moveTo>
                    <a:pt x="835223" y="1047661"/>
                  </a:moveTo>
                  <a:cubicBezTo>
                    <a:pt x="816306" y="1053482"/>
                    <a:pt x="811942" y="1040386"/>
                    <a:pt x="823582" y="1018558"/>
                  </a:cubicBezTo>
                  <a:cubicBezTo>
                    <a:pt x="827948" y="1011283"/>
                    <a:pt x="830858" y="1006922"/>
                    <a:pt x="835223" y="1002554"/>
                  </a:cubicBezTo>
                  <a:cubicBezTo>
                    <a:pt x="852684" y="979635"/>
                    <a:pt x="870145" y="969814"/>
                    <a:pt x="881468" y="968177"/>
                  </a:cubicBezTo>
                  <a:cubicBezTo>
                    <a:pt x="885242" y="967632"/>
                    <a:pt x="888334" y="967995"/>
                    <a:pt x="890517" y="969085"/>
                  </a:cubicBezTo>
                  <a:cubicBezTo>
                    <a:pt x="909433" y="979271"/>
                    <a:pt x="868690" y="1036020"/>
                    <a:pt x="835223" y="1047661"/>
                  </a:cubicBezTo>
                  <a:close/>
                  <a:moveTo>
                    <a:pt x="1134972" y="1017101"/>
                  </a:moveTo>
                  <a:cubicBezTo>
                    <a:pt x="1113146" y="1020011"/>
                    <a:pt x="1107326" y="1001096"/>
                    <a:pt x="1123331" y="982180"/>
                  </a:cubicBezTo>
                  <a:cubicBezTo>
                    <a:pt x="1123331" y="980724"/>
                    <a:pt x="1124786" y="980724"/>
                    <a:pt x="1126241" y="979270"/>
                  </a:cubicBezTo>
                  <a:cubicBezTo>
                    <a:pt x="1135700" y="969083"/>
                    <a:pt x="1145158" y="963627"/>
                    <a:pt x="1153160" y="961626"/>
                  </a:cubicBezTo>
                  <a:cubicBezTo>
                    <a:pt x="1161164" y="959625"/>
                    <a:pt x="1167711" y="961080"/>
                    <a:pt x="1171349" y="964718"/>
                  </a:cubicBezTo>
                  <a:cubicBezTo>
                    <a:pt x="1188811" y="977814"/>
                    <a:pt x="1164074" y="1014191"/>
                    <a:pt x="1134972" y="1017101"/>
                  </a:cubicBezTo>
                  <a:close/>
                  <a:moveTo>
                    <a:pt x="902157" y="1063668"/>
                  </a:moveTo>
                  <a:cubicBezTo>
                    <a:pt x="881786" y="1068033"/>
                    <a:pt x="877420" y="1052026"/>
                    <a:pt x="891972" y="1028744"/>
                  </a:cubicBezTo>
                  <a:cubicBezTo>
                    <a:pt x="893426" y="1025834"/>
                    <a:pt x="896336" y="1022923"/>
                    <a:pt x="897792" y="1021468"/>
                  </a:cubicBezTo>
                  <a:cubicBezTo>
                    <a:pt x="914161" y="1000733"/>
                    <a:pt x="930531" y="992274"/>
                    <a:pt x="941376" y="991797"/>
                  </a:cubicBezTo>
                  <a:cubicBezTo>
                    <a:pt x="944991" y="991638"/>
                    <a:pt x="947993" y="992365"/>
                    <a:pt x="950175" y="993820"/>
                  </a:cubicBezTo>
                  <a:cubicBezTo>
                    <a:pt x="969091" y="1005463"/>
                    <a:pt x="934169" y="1056392"/>
                    <a:pt x="902157" y="1063668"/>
                  </a:cubicBezTo>
                  <a:close/>
                  <a:moveTo>
                    <a:pt x="1382337" y="1014190"/>
                  </a:moveTo>
                  <a:cubicBezTo>
                    <a:pt x="1363422" y="1015644"/>
                    <a:pt x="1353235" y="998183"/>
                    <a:pt x="1366332" y="985087"/>
                  </a:cubicBezTo>
                  <a:cubicBezTo>
                    <a:pt x="1366332" y="985087"/>
                    <a:pt x="1367787" y="983633"/>
                    <a:pt x="1367787" y="983633"/>
                  </a:cubicBezTo>
                  <a:cubicBezTo>
                    <a:pt x="1375790" y="977085"/>
                    <a:pt x="1383429" y="974539"/>
                    <a:pt x="1389795" y="974357"/>
                  </a:cubicBezTo>
                  <a:cubicBezTo>
                    <a:pt x="1396161" y="974175"/>
                    <a:pt x="1401254" y="976357"/>
                    <a:pt x="1404164" y="979267"/>
                  </a:cubicBezTo>
                  <a:cubicBezTo>
                    <a:pt x="1417260" y="990908"/>
                    <a:pt x="1404164" y="1012734"/>
                    <a:pt x="1382337" y="1014190"/>
                  </a:cubicBezTo>
                  <a:close/>
                  <a:moveTo>
                    <a:pt x="1545308" y="995272"/>
                  </a:moveTo>
                  <a:cubicBezTo>
                    <a:pt x="1530757" y="995272"/>
                    <a:pt x="1520571" y="980722"/>
                    <a:pt x="1533667" y="967627"/>
                  </a:cubicBezTo>
                  <a:cubicBezTo>
                    <a:pt x="1538760" y="963989"/>
                    <a:pt x="1544580" y="962533"/>
                    <a:pt x="1549855" y="962716"/>
                  </a:cubicBezTo>
                  <a:cubicBezTo>
                    <a:pt x="1555130" y="962897"/>
                    <a:pt x="1559859" y="964716"/>
                    <a:pt x="1562769" y="967627"/>
                  </a:cubicBezTo>
                  <a:cubicBezTo>
                    <a:pt x="1572955" y="979267"/>
                    <a:pt x="1562769" y="995272"/>
                    <a:pt x="1545308" y="995272"/>
                  </a:cubicBezTo>
                  <a:close/>
                  <a:moveTo>
                    <a:pt x="1217912" y="1053478"/>
                  </a:moveTo>
                  <a:cubicBezTo>
                    <a:pt x="1197541" y="1056389"/>
                    <a:pt x="1188810" y="1038926"/>
                    <a:pt x="1201906" y="1021465"/>
                  </a:cubicBezTo>
                  <a:cubicBezTo>
                    <a:pt x="1201906" y="1021465"/>
                    <a:pt x="1203362" y="1020010"/>
                    <a:pt x="1203362" y="1018555"/>
                  </a:cubicBezTo>
                  <a:cubicBezTo>
                    <a:pt x="1211365" y="1010552"/>
                    <a:pt x="1220095" y="1006914"/>
                    <a:pt x="1227734" y="1006005"/>
                  </a:cubicBezTo>
                  <a:cubicBezTo>
                    <a:pt x="1235373" y="1005096"/>
                    <a:pt x="1241921" y="1006914"/>
                    <a:pt x="1245559" y="1009825"/>
                  </a:cubicBezTo>
                  <a:cubicBezTo>
                    <a:pt x="1261565" y="1021465"/>
                    <a:pt x="1244104" y="1050568"/>
                    <a:pt x="1217912" y="1053478"/>
                  </a:cubicBezTo>
                  <a:close/>
                  <a:moveTo>
                    <a:pt x="977822" y="1084038"/>
                  </a:moveTo>
                  <a:cubicBezTo>
                    <a:pt x="955995" y="1088403"/>
                    <a:pt x="948720" y="1072397"/>
                    <a:pt x="963271" y="1050570"/>
                  </a:cubicBezTo>
                  <a:cubicBezTo>
                    <a:pt x="964726" y="1049115"/>
                    <a:pt x="966181" y="1046204"/>
                    <a:pt x="967636" y="1044749"/>
                  </a:cubicBezTo>
                  <a:cubicBezTo>
                    <a:pt x="986552" y="1021466"/>
                    <a:pt x="1006924" y="1018556"/>
                    <a:pt x="1015655" y="1022921"/>
                  </a:cubicBezTo>
                  <a:cubicBezTo>
                    <a:pt x="1034571" y="1034563"/>
                    <a:pt x="1006924" y="1076762"/>
                    <a:pt x="977822" y="1084038"/>
                  </a:cubicBezTo>
                  <a:close/>
                  <a:moveTo>
                    <a:pt x="575125" y="1154615"/>
                  </a:moveTo>
                  <a:cubicBezTo>
                    <a:pt x="573306" y="1153888"/>
                    <a:pt x="572579" y="1151706"/>
                    <a:pt x="573306" y="1148070"/>
                  </a:cubicBezTo>
                  <a:cubicBezTo>
                    <a:pt x="574761" y="1140790"/>
                    <a:pt x="582037" y="1127696"/>
                    <a:pt x="593678" y="1110236"/>
                  </a:cubicBezTo>
                  <a:cubicBezTo>
                    <a:pt x="621325" y="1073858"/>
                    <a:pt x="640241" y="1060761"/>
                    <a:pt x="646061" y="1062216"/>
                  </a:cubicBezTo>
                  <a:cubicBezTo>
                    <a:pt x="659156" y="1065126"/>
                    <a:pt x="611139" y="1134975"/>
                    <a:pt x="583492" y="1152432"/>
                  </a:cubicBezTo>
                  <a:cubicBezTo>
                    <a:pt x="579854" y="1154614"/>
                    <a:pt x="576944" y="1155342"/>
                    <a:pt x="575125" y="1154615"/>
                  </a:cubicBezTo>
                  <a:close/>
                  <a:moveTo>
                    <a:pt x="538384" y="1159709"/>
                  </a:moveTo>
                  <a:cubicBezTo>
                    <a:pt x="538384" y="1156799"/>
                    <a:pt x="541294" y="1148072"/>
                    <a:pt x="561666" y="1120423"/>
                  </a:cubicBezTo>
                  <a:cubicBezTo>
                    <a:pt x="584947" y="1085501"/>
                    <a:pt x="602408" y="1069494"/>
                    <a:pt x="606773" y="1070949"/>
                  </a:cubicBezTo>
                  <a:cubicBezTo>
                    <a:pt x="616959" y="1072404"/>
                    <a:pt x="568941" y="1139335"/>
                    <a:pt x="545660" y="1158255"/>
                  </a:cubicBezTo>
                  <a:cubicBezTo>
                    <a:pt x="539839" y="1162619"/>
                    <a:pt x="538384" y="1162619"/>
                    <a:pt x="538384" y="1159709"/>
                  </a:cubicBezTo>
                  <a:close/>
                  <a:moveTo>
                    <a:pt x="631510" y="1149522"/>
                  </a:moveTo>
                  <a:cubicBezTo>
                    <a:pt x="619869" y="1155342"/>
                    <a:pt x="616958" y="1149522"/>
                    <a:pt x="621324" y="1134974"/>
                  </a:cubicBezTo>
                  <a:cubicBezTo>
                    <a:pt x="625690" y="1123330"/>
                    <a:pt x="634420" y="1111688"/>
                    <a:pt x="637331" y="1105871"/>
                  </a:cubicBezTo>
                  <a:cubicBezTo>
                    <a:pt x="663522" y="1070947"/>
                    <a:pt x="683893" y="1059305"/>
                    <a:pt x="691169" y="1060760"/>
                  </a:cubicBezTo>
                  <a:cubicBezTo>
                    <a:pt x="707175" y="1066581"/>
                    <a:pt x="660612" y="1134974"/>
                    <a:pt x="631510" y="1149522"/>
                  </a:cubicBezTo>
                  <a:close/>
                  <a:moveTo>
                    <a:pt x="509282" y="1172805"/>
                  </a:moveTo>
                  <a:cubicBezTo>
                    <a:pt x="509282" y="1169895"/>
                    <a:pt x="516558" y="1156799"/>
                    <a:pt x="532563" y="1134975"/>
                  </a:cubicBezTo>
                  <a:cubicBezTo>
                    <a:pt x="555845" y="1101508"/>
                    <a:pt x="570396" y="1086956"/>
                    <a:pt x="573306" y="1085501"/>
                  </a:cubicBezTo>
                  <a:cubicBezTo>
                    <a:pt x="574761" y="1092777"/>
                    <a:pt x="515102" y="1172804"/>
                    <a:pt x="509282" y="1172805"/>
                  </a:cubicBezTo>
                  <a:close/>
                  <a:moveTo>
                    <a:pt x="685349" y="1152429"/>
                  </a:moveTo>
                  <a:cubicBezTo>
                    <a:pt x="670797" y="1158250"/>
                    <a:pt x="667887" y="1148068"/>
                    <a:pt x="675163" y="1129148"/>
                  </a:cubicBezTo>
                  <a:cubicBezTo>
                    <a:pt x="679529" y="1120420"/>
                    <a:pt x="683893" y="1113143"/>
                    <a:pt x="688259" y="1108777"/>
                  </a:cubicBezTo>
                  <a:cubicBezTo>
                    <a:pt x="712996" y="1075310"/>
                    <a:pt x="734822" y="1065124"/>
                    <a:pt x="742097" y="1068035"/>
                  </a:cubicBezTo>
                  <a:cubicBezTo>
                    <a:pt x="761014" y="1076765"/>
                    <a:pt x="717361" y="1140788"/>
                    <a:pt x="685349" y="1152429"/>
                  </a:cubicBezTo>
                  <a:close/>
                  <a:moveTo>
                    <a:pt x="1619072" y="1038379"/>
                  </a:moveTo>
                  <a:lnTo>
                    <a:pt x="1619517" y="1036014"/>
                  </a:lnTo>
                  <a:lnTo>
                    <a:pt x="1622181" y="1035489"/>
                  </a:lnTo>
                  <a:close/>
                  <a:moveTo>
                    <a:pt x="1057853" y="1110229"/>
                  </a:moveTo>
                  <a:cubicBezTo>
                    <a:pt x="1036026" y="1116050"/>
                    <a:pt x="1025840" y="1100043"/>
                    <a:pt x="1038936" y="1079671"/>
                  </a:cubicBezTo>
                  <a:cubicBezTo>
                    <a:pt x="1040391" y="1078217"/>
                    <a:pt x="1041847" y="1075307"/>
                    <a:pt x="1043301" y="1073851"/>
                  </a:cubicBezTo>
                  <a:cubicBezTo>
                    <a:pt x="1052032" y="1064393"/>
                    <a:pt x="1061127" y="1059299"/>
                    <a:pt x="1068947" y="1057117"/>
                  </a:cubicBezTo>
                  <a:cubicBezTo>
                    <a:pt x="1076769" y="1054934"/>
                    <a:pt x="1083316" y="1055661"/>
                    <a:pt x="1086954" y="1057845"/>
                  </a:cubicBezTo>
                  <a:cubicBezTo>
                    <a:pt x="1104415" y="1069485"/>
                    <a:pt x="1085499" y="1102954"/>
                    <a:pt x="1057853" y="1110229"/>
                  </a:cubicBezTo>
                  <a:close/>
                  <a:moveTo>
                    <a:pt x="752283" y="1156794"/>
                  </a:moveTo>
                  <a:cubicBezTo>
                    <a:pt x="734821" y="1162613"/>
                    <a:pt x="729001" y="1150978"/>
                    <a:pt x="739187" y="1130601"/>
                  </a:cubicBezTo>
                  <a:cubicBezTo>
                    <a:pt x="742097" y="1124783"/>
                    <a:pt x="745007" y="1118963"/>
                    <a:pt x="747917" y="1114598"/>
                  </a:cubicBezTo>
                  <a:cubicBezTo>
                    <a:pt x="764287" y="1092771"/>
                    <a:pt x="780656" y="1083222"/>
                    <a:pt x="791502" y="1081039"/>
                  </a:cubicBezTo>
                  <a:cubicBezTo>
                    <a:pt x="795117" y="1080311"/>
                    <a:pt x="798118" y="1080402"/>
                    <a:pt x="800301" y="1081130"/>
                  </a:cubicBezTo>
                  <a:cubicBezTo>
                    <a:pt x="819217" y="1089861"/>
                    <a:pt x="784294" y="1145154"/>
                    <a:pt x="752283" y="1156794"/>
                  </a:cubicBezTo>
                  <a:close/>
                  <a:moveTo>
                    <a:pt x="1469644" y="1069483"/>
                  </a:moveTo>
                  <a:cubicBezTo>
                    <a:pt x="1452183" y="1070938"/>
                    <a:pt x="1441997" y="1054932"/>
                    <a:pt x="1452182" y="1043290"/>
                  </a:cubicBezTo>
                  <a:cubicBezTo>
                    <a:pt x="1452182" y="1043290"/>
                    <a:pt x="1453638" y="1041836"/>
                    <a:pt x="1453638" y="1041836"/>
                  </a:cubicBezTo>
                  <a:cubicBezTo>
                    <a:pt x="1458730" y="1036743"/>
                    <a:pt x="1464551" y="1034924"/>
                    <a:pt x="1469825" y="1035106"/>
                  </a:cubicBezTo>
                  <a:cubicBezTo>
                    <a:pt x="1475100" y="1035288"/>
                    <a:pt x="1479829" y="1037470"/>
                    <a:pt x="1482740" y="1040380"/>
                  </a:cubicBezTo>
                  <a:cubicBezTo>
                    <a:pt x="1494380" y="1050566"/>
                    <a:pt x="1485649" y="1068028"/>
                    <a:pt x="1469644" y="1069483"/>
                  </a:cubicBezTo>
                  <a:close/>
                  <a:moveTo>
                    <a:pt x="488910" y="1190267"/>
                  </a:moveTo>
                  <a:cubicBezTo>
                    <a:pt x="490366" y="1187357"/>
                    <a:pt x="491821" y="1185902"/>
                    <a:pt x="493277" y="1182991"/>
                  </a:cubicBezTo>
                  <a:lnTo>
                    <a:pt x="522378" y="1142247"/>
                  </a:lnTo>
                  <a:lnTo>
                    <a:pt x="542749" y="1114603"/>
                  </a:lnTo>
                  <a:cubicBezTo>
                    <a:pt x="544205" y="1113147"/>
                    <a:pt x="545659" y="1110238"/>
                    <a:pt x="548570" y="1108781"/>
                  </a:cubicBezTo>
                  <a:cubicBezTo>
                    <a:pt x="545659" y="1114603"/>
                    <a:pt x="494731" y="1184447"/>
                    <a:pt x="488910" y="1190267"/>
                  </a:cubicBezTo>
                  <a:close/>
                  <a:moveTo>
                    <a:pt x="1305218" y="1095676"/>
                  </a:moveTo>
                  <a:cubicBezTo>
                    <a:pt x="1286302" y="1098587"/>
                    <a:pt x="1274661" y="1082580"/>
                    <a:pt x="1286302" y="1066574"/>
                  </a:cubicBezTo>
                  <a:cubicBezTo>
                    <a:pt x="1286302" y="1066574"/>
                    <a:pt x="1287757" y="1065119"/>
                    <a:pt x="1287757" y="1065119"/>
                  </a:cubicBezTo>
                  <a:cubicBezTo>
                    <a:pt x="1294305" y="1058571"/>
                    <a:pt x="1301581" y="1056024"/>
                    <a:pt x="1308129" y="1055661"/>
                  </a:cubicBezTo>
                  <a:cubicBezTo>
                    <a:pt x="1314677" y="1055296"/>
                    <a:pt x="1320497" y="1057115"/>
                    <a:pt x="1324135" y="1059298"/>
                  </a:cubicBezTo>
                  <a:cubicBezTo>
                    <a:pt x="1338685" y="1070939"/>
                    <a:pt x="1325589" y="1092766"/>
                    <a:pt x="1305218" y="1095676"/>
                  </a:cubicBezTo>
                  <a:close/>
                  <a:moveTo>
                    <a:pt x="820672" y="1169889"/>
                  </a:moveTo>
                  <a:cubicBezTo>
                    <a:pt x="801755" y="1175709"/>
                    <a:pt x="795935" y="1159703"/>
                    <a:pt x="809031" y="1136422"/>
                  </a:cubicBezTo>
                  <a:cubicBezTo>
                    <a:pt x="810486" y="1133511"/>
                    <a:pt x="811941" y="1132056"/>
                    <a:pt x="813396" y="1129147"/>
                  </a:cubicBezTo>
                  <a:cubicBezTo>
                    <a:pt x="833768" y="1102956"/>
                    <a:pt x="855594" y="1097135"/>
                    <a:pt x="862870" y="1101501"/>
                  </a:cubicBezTo>
                  <a:cubicBezTo>
                    <a:pt x="881786" y="1111685"/>
                    <a:pt x="851229" y="1161160"/>
                    <a:pt x="820672" y="1169889"/>
                  </a:cubicBezTo>
                  <a:close/>
                  <a:moveTo>
                    <a:pt x="1142248" y="1143695"/>
                  </a:moveTo>
                  <a:cubicBezTo>
                    <a:pt x="1121877" y="1146606"/>
                    <a:pt x="1111691" y="1130598"/>
                    <a:pt x="1124787" y="1113138"/>
                  </a:cubicBezTo>
                  <a:cubicBezTo>
                    <a:pt x="1124786" y="1111683"/>
                    <a:pt x="1126242" y="1111683"/>
                    <a:pt x="1126242" y="1110228"/>
                  </a:cubicBezTo>
                  <a:cubicBezTo>
                    <a:pt x="1132790" y="1102226"/>
                    <a:pt x="1140429" y="1098224"/>
                    <a:pt x="1147523" y="1096769"/>
                  </a:cubicBezTo>
                  <a:cubicBezTo>
                    <a:pt x="1154616" y="1095313"/>
                    <a:pt x="1161165" y="1096405"/>
                    <a:pt x="1165529" y="1098588"/>
                  </a:cubicBezTo>
                  <a:cubicBezTo>
                    <a:pt x="1181535" y="1110228"/>
                    <a:pt x="1166985" y="1139329"/>
                    <a:pt x="1142248" y="1143695"/>
                  </a:cubicBezTo>
                  <a:close/>
                  <a:moveTo>
                    <a:pt x="899247" y="1185894"/>
                  </a:moveTo>
                  <a:cubicBezTo>
                    <a:pt x="878876" y="1191715"/>
                    <a:pt x="870146" y="1175708"/>
                    <a:pt x="881786" y="1155337"/>
                  </a:cubicBezTo>
                  <a:cubicBezTo>
                    <a:pt x="883241" y="1153883"/>
                    <a:pt x="884696" y="1150974"/>
                    <a:pt x="886151" y="1149518"/>
                  </a:cubicBezTo>
                  <a:cubicBezTo>
                    <a:pt x="905067" y="1126236"/>
                    <a:pt x="923984" y="1121870"/>
                    <a:pt x="932714" y="1126236"/>
                  </a:cubicBezTo>
                  <a:cubicBezTo>
                    <a:pt x="951631" y="1136421"/>
                    <a:pt x="928349" y="1178618"/>
                    <a:pt x="899247" y="1185894"/>
                  </a:cubicBezTo>
                  <a:close/>
                  <a:moveTo>
                    <a:pt x="1542071" y="1109954"/>
                  </a:moveTo>
                  <a:lnTo>
                    <a:pt x="1542398" y="1104404"/>
                  </a:lnTo>
                  <a:lnTo>
                    <a:pt x="1549895" y="1102682"/>
                  </a:lnTo>
                  <a:close/>
                  <a:moveTo>
                    <a:pt x="1395433" y="1145147"/>
                  </a:moveTo>
                  <a:cubicBezTo>
                    <a:pt x="1377973" y="1148058"/>
                    <a:pt x="1367787" y="1133507"/>
                    <a:pt x="1376518" y="1120411"/>
                  </a:cubicBezTo>
                  <a:cubicBezTo>
                    <a:pt x="1376518" y="1120411"/>
                    <a:pt x="1377973" y="1118956"/>
                    <a:pt x="1377973" y="1118956"/>
                  </a:cubicBezTo>
                  <a:cubicBezTo>
                    <a:pt x="1383065" y="1113864"/>
                    <a:pt x="1388522" y="1111681"/>
                    <a:pt x="1393615" y="1111499"/>
                  </a:cubicBezTo>
                  <a:cubicBezTo>
                    <a:pt x="1398708" y="1111317"/>
                    <a:pt x="1403437" y="1113135"/>
                    <a:pt x="1407074" y="1116047"/>
                  </a:cubicBezTo>
                  <a:cubicBezTo>
                    <a:pt x="1418715" y="1124776"/>
                    <a:pt x="1411440" y="1143693"/>
                    <a:pt x="1395433" y="1145147"/>
                  </a:cubicBezTo>
                  <a:close/>
                  <a:moveTo>
                    <a:pt x="983642" y="1207719"/>
                  </a:moveTo>
                  <a:cubicBezTo>
                    <a:pt x="963271" y="1213540"/>
                    <a:pt x="951630" y="1198989"/>
                    <a:pt x="963271" y="1180074"/>
                  </a:cubicBezTo>
                  <a:cubicBezTo>
                    <a:pt x="964727" y="1178619"/>
                    <a:pt x="966181" y="1175708"/>
                    <a:pt x="966181" y="1174252"/>
                  </a:cubicBezTo>
                  <a:cubicBezTo>
                    <a:pt x="982187" y="1155337"/>
                    <a:pt x="1001103" y="1152427"/>
                    <a:pt x="1008379" y="1156792"/>
                  </a:cubicBezTo>
                  <a:cubicBezTo>
                    <a:pt x="1025840" y="1166977"/>
                    <a:pt x="1009834" y="1200444"/>
                    <a:pt x="983642" y="1207719"/>
                  </a:cubicBezTo>
                  <a:close/>
                  <a:moveTo>
                    <a:pt x="1232463" y="1181526"/>
                  </a:moveTo>
                  <a:cubicBezTo>
                    <a:pt x="1213547" y="1184437"/>
                    <a:pt x="1201906" y="1169885"/>
                    <a:pt x="1212092" y="1153879"/>
                  </a:cubicBezTo>
                  <a:cubicBezTo>
                    <a:pt x="1212092" y="1153879"/>
                    <a:pt x="1213547" y="1152425"/>
                    <a:pt x="1213547" y="1152425"/>
                  </a:cubicBezTo>
                  <a:cubicBezTo>
                    <a:pt x="1219368" y="1145876"/>
                    <a:pt x="1226279" y="1142966"/>
                    <a:pt x="1232645" y="1142238"/>
                  </a:cubicBezTo>
                  <a:cubicBezTo>
                    <a:pt x="1239011" y="1141511"/>
                    <a:pt x="1244832" y="1142966"/>
                    <a:pt x="1248469" y="1145150"/>
                  </a:cubicBezTo>
                  <a:cubicBezTo>
                    <a:pt x="1263020" y="1155335"/>
                    <a:pt x="1252834" y="1177161"/>
                    <a:pt x="1232463" y="1181526"/>
                  </a:cubicBezTo>
                  <a:close/>
                  <a:moveTo>
                    <a:pt x="552935" y="1268837"/>
                  </a:moveTo>
                  <a:cubicBezTo>
                    <a:pt x="542749" y="1274656"/>
                    <a:pt x="538383" y="1268837"/>
                    <a:pt x="542749" y="1255742"/>
                  </a:cubicBezTo>
                  <a:cubicBezTo>
                    <a:pt x="545659" y="1245556"/>
                    <a:pt x="552934" y="1233916"/>
                    <a:pt x="555844" y="1228096"/>
                  </a:cubicBezTo>
                  <a:cubicBezTo>
                    <a:pt x="577671" y="1196084"/>
                    <a:pt x="596587" y="1184444"/>
                    <a:pt x="602407" y="1185899"/>
                  </a:cubicBezTo>
                  <a:cubicBezTo>
                    <a:pt x="618414" y="1190264"/>
                    <a:pt x="579126" y="1255742"/>
                    <a:pt x="552935" y="1268837"/>
                  </a:cubicBezTo>
                  <a:close/>
                  <a:moveTo>
                    <a:pt x="495277" y="1277204"/>
                  </a:moveTo>
                  <a:cubicBezTo>
                    <a:pt x="493639" y="1276113"/>
                    <a:pt x="493276" y="1273203"/>
                    <a:pt x="494731" y="1268837"/>
                  </a:cubicBezTo>
                  <a:cubicBezTo>
                    <a:pt x="497642" y="1257199"/>
                    <a:pt x="507828" y="1241192"/>
                    <a:pt x="510738" y="1236828"/>
                  </a:cubicBezTo>
                  <a:cubicBezTo>
                    <a:pt x="532563" y="1201907"/>
                    <a:pt x="550025" y="1188811"/>
                    <a:pt x="554390" y="1190265"/>
                  </a:cubicBezTo>
                  <a:cubicBezTo>
                    <a:pt x="567486" y="1193176"/>
                    <a:pt x="526743" y="1258652"/>
                    <a:pt x="503462" y="1274658"/>
                  </a:cubicBezTo>
                  <a:cubicBezTo>
                    <a:pt x="499824" y="1277568"/>
                    <a:pt x="496913" y="1278296"/>
                    <a:pt x="495277" y="1277204"/>
                  </a:cubicBezTo>
                  <a:close/>
                  <a:moveTo>
                    <a:pt x="612594" y="1267382"/>
                  </a:moveTo>
                  <a:cubicBezTo>
                    <a:pt x="599498" y="1274656"/>
                    <a:pt x="592223" y="1267382"/>
                    <a:pt x="598043" y="1251376"/>
                  </a:cubicBezTo>
                  <a:cubicBezTo>
                    <a:pt x="600952" y="1242646"/>
                    <a:pt x="606773" y="1233916"/>
                    <a:pt x="609684" y="1228095"/>
                  </a:cubicBezTo>
                  <a:cubicBezTo>
                    <a:pt x="630055" y="1197538"/>
                    <a:pt x="648971" y="1187353"/>
                    <a:pt x="656246" y="1188808"/>
                  </a:cubicBezTo>
                  <a:cubicBezTo>
                    <a:pt x="673708" y="1194627"/>
                    <a:pt x="641695" y="1251376"/>
                    <a:pt x="612594" y="1267382"/>
                  </a:cubicBezTo>
                  <a:close/>
                  <a:moveTo>
                    <a:pt x="457445" y="1286661"/>
                  </a:moveTo>
                  <a:cubicBezTo>
                    <a:pt x="455808" y="1287025"/>
                    <a:pt x="454716" y="1286298"/>
                    <a:pt x="455444" y="1283388"/>
                  </a:cubicBezTo>
                  <a:cubicBezTo>
                    <a:pt x="455444" y="1280479"/>
                    <a:pt x="458355" y="1270294"/>
                    <a:pt x="472905" y="1247014"/>
                  </a:cubicBezTo>
                  <a:cubicBezTo>
                    <a:pt x="494731" y="1213547"/>
                    <a:pt x="510737" y="1198996"/>
                    <a:pt x="513648" y="1200451"/>
                  </a:cubicBezTo>
                  <a:cubicBezTo>
                    <a:pt x="523833" y="1201908"/>
                    <a:pt x="484546" y="1264474"/>
                    <a:pt x="462719" y="1283388"/>
                  </a:cubicBezTo>
                  <a:cubicBezTo>
                    <a:pt x="461264" y="1284843"/>
                    <a:pt x="459081" y="1286297"/>
                    <a:pt x="457445" y="1286661"/>
                  </a:cubicBezTo>
                  <a:close/>
                  <a:moveTo>
                    <a:pt x="424887" y="1300846"/>
                  </a:moveTo>
                  <a:cubicBezTo>
                    <a:pt x="423432" y="1297938"/>
                    <a:pt x="430707" y="1286297"/>
                    <a:pt x="443803" y="1264474"/>
                  </a:cubicBezTo>
                  <a:cubicBezTo>
                    <a:pt x="465629" y="1232465"/>
                    <a:pt x="478725" y="1217913"/>
                    <a:pt x="480181" y="1216457"/>
                  </a:cubicBezTo>
                  <a:cubicBezTo>
                    <a:pt x="483090" y="1223734"/>
                    <a:pt x="432162" y="1300846"/>
                    <a:pt x="424887" y="1300846"/>
                  </a:cubicBezTo>
                  <a:close/>
                  <a:moveTo>
                    <a:pt x="676618" y="1271746"/>
                  </a:moveTo>
                  <a:cubicBezTo>
                    <a:pt x="660612" y="1279021"/>
                    <a:pt x="653336" y="1268836"/>
                    <a:pt x="662067" y="1248466"/>
                  </a:cubicBezTo>
                  <a:cubicBezTo>
                    <a:pt x="664978" y="1242645"/>
                    <a:pt x="666433" y="1238280"/>
                    <a:pt x="669343" y="1233915"/>
                  </a:cubicBezTo>
                  <a:cubicBezTo>
                    <a:pt x="688259" y="1204815"/>
                    <a:pt x="708630" y="1196083"/>
                    <a:pt x="715906" y="1198992"/>
                  </a:cubicBezTo>
                  <a:cubicBezTo>
                    <a:pt x="734822" y="1206268"/>
                    <a:pt x="705720" y="1260105"/>
                    <a:pt x="676618" y="1271746"/>
                  </a:cubicBezTo>
                  <a:close/>
                  <a:moveTo>
                    <a:pt x="1072403" y="1236821"/>
                  </a:moveTo>
                  <a:cubicBezTo>
                    <a:pt x="1053487" y="1242641"/>
                    <a:pt x="1040390" y="1229545"/>
                    <a:pt x="1049122" y="1212084"/>
                  </a:cubicBezTo>
                  <a:cubicBezTo>
                    <a:pt x="1050576" y="1210628"/>
                    <a:pt x="1050576" y="1209174"/>
                    <a:pt x="1052031" y="1207718"/>
                  </a:cubicBezTo>
                  <a:cubicBezTo>
                    <a:pt x="1058579" y="1198988"/>
                    <a:pt x="1066219" y="1194259"/>
                    <a:pt x="1073131" y="1192258"/>
                  </a:cubicBezTo>
                  <a:cubicBezTo>
                    <a:pt x="1080043" y="1190258"/>
                    <a:pt x="1086226" y="1190986"/>
                    <a:pt x="1089864" y="1193168"/>
                  </a:cubicBezTo>
                  <a:cubicBezTo>
                    <a:pt x="1105870" y="1201899"/>
                    <a:pt x="1095684" y="1229545"/>
                    <a:pt x="1072403" y="1236821"/>
                  </a:cubicBezTo>
                  <a:close/>
                  <a:moveTo>
                    <a:pt x="403061" y="1319756"/>
                  </a:moveTo>
                  <a:cubicBezTo>
                    <a:pt x="403060" y="1318301"/>
                    <a:pt x="403060" y="1316846"/>
                    <a:pt x="421976" y="1287753"/>
                  </a:cubicBezTo>
                  <a:cubicBezTo>
                    <a:pt x="442347" y="1257200"/>
                    <a:pt x="453988" y="1241194"/>
                    <a:pt x="453988" y="1241194"/>
                  </a:cubicBezTo>
                  <a:cubicBezTo>
                    <a:pt x="452533" y="1247016"/>
                    <a:pt x="407425" y="1315391"/>
                    <a:pt x="403061" y="1319756"/>
                  </a:cubicBezTo>
                  <a:close/>
                  <a:moveTo>
                    <a:pt x="738664" y="1283135"/>
                  </a:moveTo>
                  <a:cubicBezTo>
                    <a:pt x="728637" y="1282112"/>
                    <a:pt x="725364" y="1270653"/>
                    <a:pt x="731911" y="1254284"/>
                  </a:cubicBezTo>
                  <a:cubicBezTo>
                    <a:pt x="733367" y="1249919"/>
                    <a:pt x="736277" y="1247009"/>
                    <a:pt x="737731" y="1244099"/>
                  </a:cubicBezTo>
                  <a:cubicBezTo>
                    <a:pt x="755192" y="1217907"/>
                    <a:pt x="775564" y="1210632"/>
                    <a:pt x="782840" y="1214997"/>
                  </a:cubicBezTo>
                  <a:cubicBezTo>
                    <a:pt x="801756" y="1222273"/>
                    <a:pt x="778474" y="1267379"/>
                    <a:pt x="750827" y="1280475"/>
                  </a:cubicBezTo>
                  <a:cubicBezTo>
                    <a:pt x="746098" y="1282657"/>
                    <a:pt x="742006" y="1283476"/>
                    <a:pt x="738664" y="1283135"/>
                  </a:cubicBezTo>
                  <a:close/>
                  <a:moveTo>
                    <a:pt x="1325589" y="1225178"/>
                  </a:moveTo>
                  <a:cubicBezTo>
                    <a:pt x="1309584" y="1228087"/>
                    <a:pt x="1296488" y="1214992"/>
                    <a:pt x="1305218" y="1201897"/>
                  </a:cubicBezTo>
                  <a:cubicBezTo>
                    <a:pt x="1305218" y="1201897"/>
                    <a:pt x="1306673" y="1200441"/>
                    <a:pt x="1306673" y="1200441"/>
                  </a:cubicBezTo>
                  <a:cubicBezTo>
                    <a:pt x="1311766" y="1195348"/>
                    <a:pt x="1317587" y="1193167"/>
                    <a:pt x="1322861" y="1192803"/>
                  </a:cubicBezTo>
                  <a:cubicBezTo>
                    <a:pt x="1328136" y="1192439"/>
                    <a:pt x="1332865" y="1193894"/>
                    <a:pt x="1335775" y="1196077"/>
                  </a:cubicBezTo>
                  <a:cubicBezTo>
                    <a:pt x="1347416" y="1204807"/>
                    <a:pt x="1341596" y="1222268"/>
                    <a:pt x="1325589" y="1225178"/>
                  </a:cubicBezTo>
                  <a:close/>
                  <a:moveTo>
                    <a:pt x="827947" y="1293568"/>
                  </a:moveTo>
                  <a:cubicBezTo>
                    <a:pt x="809031" y="1299388"/>
                    <a:pt x="800301" y="1286294"/>
                    <a:pt x="809031" y="1265923"/>
                  </a:cubicBezTo>
                  <a:cubicBezTo>
                    <a:pt x="810486" y="1264468"/>
                    <a:pt x="811941" y="1261558"/>
                    <a:pt x="811941" y="1260104"/>
                  </a:cubicBezTo>
                  <a:cubicBezTo>
                    <a:pt x="829402" y="1236822"/>
                    <a:pt x="848319" y="1231002"/>
                    <a:pt x="855594" y="1235367"/>
                  </a:cubicBezTo>
                  <a:cubicBezTo>
                    <a:pt x="874511" y="1244097"/>
                    <a:pt x="855594" y="1283383"/>
                    <a:pt x="827947" y="1293568"/>
                  </a:cubicBezTo>
                  <a:close/>
                  <a:moveTo>
                    <a:pt x="1164074" y="1270286"/>
                  </a:moveTo>
                  <a:cubicBezTo>
                    <a:pt x="1146613" y="1274651"/>
                    <a:pt x="1133517" y="1260101"/>
                    <a:pt x="1143702" y="1245549"/>
                  </a:cubicBezTo>
                  <a:cubicBezTo>
                    <a:pt x="1143702" y="1245549"/>
                    <a:pt x="1145158" y="1244095"/>
                    <a:pt x="1145158" y="1244095"/>
                  </a:cubicBezTo>
                  <a:cubicBezTo>
                    <a:pt x="1150251" y="1237547"/>
                    <a:pt x="1156435" y="1234273"/>
                    <a:pt x="1162255" y="1233182"/>
                  </a:cubicBezTo>
                  <a:cubicBezTo>
                    <a:pt x="1168076" y="1232090"/>
                    <a:pt x="1173532" y="1233182"/>
                    <a:pt x="1177169" y="1235364"/>
                  </a:cubicBezTo>
                  <a:cubicBezTo>
                    <a:pt x="1191721" y="1244095"/>
                    <a:pt x="1182990" y="1265921"/>
                    <a:pt x="1164074" y="1270286"/>
                  </a:cubicBezTo>
                  <a:close/>
                  <a:moveTo>
                    <a:pt x="915253" y="1311025"/>
                  </a:moveTo>
                  <a:cubicBezTo>
                    <a:pt x="896336" y="1318300"/>
                    <a:pt x="884696" y="1305207"/>
                    <a:pt x="893426" y="1286292"/>
                  </a:cubicBezTo>
                  <a:cubicBezTo>
                    <a:pt x="894881" y="1284838"/>
                    <a:pt x="894882" y="1281928"/>
                    <a:pt x="896336" y="1280473"/>
                  </a:cubicBezTo>
                  <a:cubicBezTo>
                    <a:pt x="909432" y="1261557"/>
                    <a:pt x="925438" y="1257192"/>
                    <a:pt x="935624" y="1261557"/>
                  </a:cubicBezTo>
                  <a:cubicBezTo>
                    <a:pt x="953085" y="1270288"/>
                    <a:pt x="939990" y="1302298"/>
                    <a:pt x="915253" y="1311025"/>
                  </a:cubicBezTo>
                  <a:close/>
                  <a:moveTo>
                    <a:pt x="470722" y="1393784"/>
                  </a:moveTo>
                  <a:cubicBezTo>
                    <a:pt x="468903" y="1391784"/>
                    <a:pt x="468539" y="1387418"/>
                    <a:pt x="469994" y="1380870"/>
                  </a:cubicBezTo>
                  <a:cubicBezTo>
                    <a:pt x="472905" y="1370685"/>
                    <a:pt x="478725" y="1360499"/>
                    <a:pt x="480180" y="1356134"/>
                  </a:cubicBezTo>
                  <a:cubicBezTo>
                    <a:pt x="499096" y="1327032"/>
                    <a:pt x="515103" y="1313936"/>
                    <a:pt x="520923" y="1315391"/>
                  </a:cubicBezTo>
                  <a:cubicBezTo>
                    <a:pt x="535474" y="1318301"/>
                    <a:pt x="504917" y="1377960"/>
                    <a:pt x="480181" y="1392511"/>
                  </a:cubicBezTo>
                  <a:cubicBezTo>
                    <a:pt x="475816" y="1395421"/>
                    <a:pt x="472541" y="1395785"/>
                    <a:pt x="470722" y="1393784"/>
                  </a:cubicBezTo>
                  <a:close/>
                  <a:moveTo>
                    <a:pt x="529472" y="1389782"/>
                  </a:moveTo>
                  <a:cubicBezTo>
                    <a:pt x="526743" y="1387417"/>
                    <a:pt x="526015" y="1382325"/>
                    <a:pt x="528198" y="1375049"/>
                  </a:cubicBezTo>
                  <a:cubicBezTo>
                    <a:pt x="529654" y="1366319"/>
                    <a:pt x="534018" y="1359043"/>
                    <a:pt x="536928" y="1353223"/>
                  </a:cubicBezTo>
                  <a:cubicBezTo>
                    <a:pt x="552935" y="1324121"/>
                    <a:pt x="570396" y="1313936"/>
                    <a:pt x="577672" y="1315390"/>
                  </a:cubicBezTo>
                  <a:cubicBezTo>
                    <a:pt x="593678" y="1319756"/>
                    <a:pt x="567486" y="1373594"/>
                    <a:pt x="542750" y="1388145"/>
                  </a:cubicBezTo>
                  <a:cubicBezTo>
                    <a:pt x="536929" y="1391783"/>
                    <a:pt x="532200" y="1392147"/>
                    <a:pt x="529472" y="1389782"/>
                  </a:cubicBezTo>
                  <a:close/>
                  <a:moveTo>
                    <a:pt x="421613" y="1403970"/>
                  </a:moveTo>
                  <a:cubicBezTo>
                    <a:pt x="420158" y="1403060"/>
                    <a:pt x="419793" y="1400514"/>
                    <a:pt x="420522" y="1396876"/>
                  </a:cubicBezTo>
                  <a:cubicBezTo>
                    <a:pt x="421976" y="1386690"/>
                    <a:pt x="430707" y="1372139"/>
                    <a:pt x="433617" y="1366319"/>
                  </a:cubicBezTo>
                  <a:cubicBezTo>
                    <a:pt x="451078" y="1334307"/>
                    <a:pt x="467084" y="1321211"/>
                    <a:pt x="471450" y="1322667"/>
                  </a:cubicBezTo>
                  <a:cubicBezTo>
                    <a:pt x="483090" y="1324121"/>
                    <a:pt x="451078" y="1385235"/>
                    <a:pt x="429252" y="1401242"/>
                  </a:cubicBezTo>
                  <a:cubicBezTo>
                    <a:pt x="425614" y="1404152"/>
                    <a:pt x="423068" y="1404879"/>
                    <a:pt x="421613" y="1403970"/>
                  </a:cubicBezTo>
                  <a:close/>
                  <a:moveTo>
                    <a:pt x="1008379" y="1332852"/>
                  </a:moveTo>
                  <a:cubicBezTo>
                    <a:pt x="990919" y="1340127"/>
                    <a:pt x="977822" y="1327031"/>
                    <a:pt x="985098" y="1311025"/>
                  </a:cubicBezTo>
                  <a:cubicBezTo>
                    <a:pt x="985098" y="1309571"/>
                    <a:pt x="986553" y="1308116"/>
                    <a:pt x="988008" y="1306662"/>
                  </a:cubicBezTo>
                  <a:cubicBezTo>
                    <a:pt x="996739" y="1292112"/>
                    <a:pt x="1011289" y="1287747"/>
                    <a:pt x="1021475" y="1292112"/>
                  </a:cubicBezTo>
                  <a:cubicBezTo>
                    <a:pt x="1037481" y="1299387"/>
                    <a:pt x="1028750" y="1325576"/>
                    <a:pt x="1008379" y="1332852"/>
                  </a:cubicBezTo>
                  <a:close/>
                  <a:moveTo>
                    <a:pt x="382325" y="1414701"/>
                  </a:moveTo>
                  <a:cubicBezTo>
                    <a:pt x="380870" y="1415065"/>
                    <a:pt x="379779" y="1414337"/>
                    <a:pt x="379778" y="1411427"/>
                  </a:cubicBezTo>
                  <a:cubicBezTo>
                    <a:pt x="379779" y="1408516"/>
                    <a:pt x="382689" y="1399786"/>
                    <a:pt x="394330" y="1377959"/>
                  </a:cubicBezTo>
                  <a:cubicBezTo>
                    <a:pt x="413246" y="1348858"/>
                    <a:pt x="426341" y="1334307"/>
                    <a:pt x="429252" y="1334307"/>
                  </a:cubicBezTo>
                  <a:cubicBezTo>
                    <a:pt x="437982" y="1334307"/>
                    <a:pt x="405970" y="1393966"/>
                    <a:pt x="387055" y="1411426"/>
                  </a:cubicBezTo>
                  <a:cubicBezTo>
                    <a:pt x="385600" y="1412882"/>
                    <a:pt x="383781" y="1414337"/>
                    <a:pt x="382325" y="1414701"/>
                  </a:cubicBezTo>
                  <a:close/>
                  <a:moveTo>
                    <a:pt x="1263020" y="1308116"/>
                  </a:moveTo>
                  <a:cubicBezTo>
                    <a:pt x="1247014" y="1312481"/>
                    <a:pt x="1233918" y="1299386"/>
                    <a:pt x="1241194" y="1287747"/>
                  </a:cubicBezTo>
                  <a:cubicBezTo>
                    <a:pt x="1241194" y="1287747"/>
                    <a:pt x="1241194" y="1286291"/>
                    <a:pt x="1242649" y="1286291"/>
                  </a:cubicBezTo>
                  <a:cubicBezTo>
                    <a:pt x="1247014" y="1281199"/>
                    <a:pt x="1252471" y="1278652"/>
                    <a:pt x="1257564" y="1277925"/>
                  </a:cubicBezTo>
                  <a:cubicBezTo>
                    <a:pt x="1262657" y="1277197"/>
                    <a:pt x="1267385" y="1278288"/>
                    <a:pt x="1270296" y="1280471"/>
                  </a:cubicBezTo>
                  <a:cubicBezTo>
                    <a:pt x="1283392" y="1287747"/>
                    <a:pt x="1277571" y="1305207"/>
                    <a:pt x="1263020" y="1308116"/>
                  </a:cubicBezTo>
                  <a:close/>
                  <a:moveTo>
                    <a:pt x="608228" y="1389600"/>
                  </a:moveTo>
                  <a:cubicBezTo>
                    <a:pt x="593677" y="1396875"/>
                    <a:pt x="586402" y="1388145"/>
                    <a:pt x="593677" y="1369229"/>
                  </a:cubicBezTo>
                  <a:cubicBezTo>
                    <a:pt x="595133" y="1363408"/>
                    <a:pt x="598043" y="1359043"/>
                    <a:pt x="599497" y="1354678"/>
                  </a:cubicBezTo>
                  <a:cubicBezTo>
                    <a:pt x="614048" y="1327031"/>
                    <a:pt x="632965" y="1318300"/>
                    <a:pt x="640241" y="1321211"/>
                  </a:cubicBezTo>
                  <a:cubicBezTo>
                    <a:pt x="657701" y="1327031"/>
                    <a:pt x="634420" y="1376504"/>
                    <a:pt x="608228" y="1389600"/>
                  </a:cubicBezTo>
                  <a:close/>
                  <a:moveTo>
                    <a:pt x="350677" y="1431799"/>
                  </a:moveTo>
                  <a:cubicBezTo>
                    <a:pt x="349221" y="1430343"/>
                    <a:pt x="355042" y="1417247"/>
                    <a:pt x="365228" y="1398332"/>
                  </a:cubicBezTo>
                  <a:cubicBezTo>
                    <a:pt x="381234" y="1367775"/>
                    <a:pt x="392875" y="1353224"/>
                    <a:pt x="395785" y="1353224"/>
                  </a:cubicBezTo>
                  <a:cubicBezTo>
                    <a:pt x="400150" y="1359044"/>
                    <a:pt x="357952" y="1431798"/>
                    <a:pt x="350677" y="1431799"/>
                  </a:cubicBezTo>
                  <a:close/>
                  <a:moveTo>
                    <a:pt x="683893" y="1393966"/>
                  </a:moveTo>
                  <a:cubicBezTo>
                    <a:pt x="666432" y="1402696"/>
                    <a:pt x="657702" y="1391056"/>
                    <a:pt x="664977" y="1372139"/>
                  </a:cubicBezTo>
                  <a:cubicBezTo>
                    <a:pt x="666432" y="1367774"/>
                    <a:pt x="667888" y="1364864"/>
                    <a:pt x="669342" y="1361954"/>
                  </a:cubicBezTo>
                  <a:cubicBezTo>
                    <a:pt x="683893" y="1337217"/>
                    <a:pt x="701355" y="1329942"/>
                    <a:pt x="710085" y="1332852"/>
                  </a:cubicBezTo>
                  <a:cubicBezTo>
                    <a:pt x="727546" y="1338672"/>
                    <a:pt x="710085" y="1380870"/>
                    <a:pt x="683893" y="1393966"/>
                  </a:cubicBezTo>
                  <a:close/>
                  <a:moveTo>
                    <a:pt x="327396" y="1452169"/>
                  </a:moveTo>
                  <a:cubicBezTo>
                    <a:pt x="327395" y="1450714"/>
                    <a:pt x="327395" y="1450714"/>
                    <a:pt x="343402" y="1421612"/>
                  </a:cubicBezTo>
                  <a:cubicBezTo>
                    <a:pt x="359408" y="1392511"/>
                    <a:pt x="368139" y="1379415"/>
                    <a:pt x="369594" y="1377959"/>
                  </a:cubicBezTo>
                  <a:cubicBezTo>
                    <a:pt x="369594" y="1382325"/>
                    <a:pt x="330305" y="1449259"/>
                    <a:pt x="327396" y="1452169"/>
                  </a:cubicBezTo>
                  <a:close/>
                  <a:moveTo>
                    <a:pt x="766834" y="1401241"/>
                  </a:moveTo>
                  <a:cubicBezTo>
                    <a:pt x="749373" y="1409972"/>
                    <a:pt x="737731" y="1399786"/>
                    <a:pt x="745007" y="1380870"/>
                  </a:cubicBezTo>
                  <a:cubicBezTo>
                    <a:pt x="746463" y="1377960"/>
                    <a:pt x="747917" y="1375049"/>
                    <a:pt x="749373" y="1372139"/>
                  </a:cubicBezTo>
                  <a:cubicBezTo>
                    <a:pt x="761013" y="1351768"/>
                    <a:pt x="778474" y="1345948"/>
                    <a:pt x="785750" y="1348858"/>
                  </a:cubicBezTo>
                  <a:cubicBezTo>
                    <a:pt x="803211" y="1354678"/>
                    <a:pt x="790115" y="1389601"/>
                    <a:pt x="766834" y="1401241"/>
                  </a:cubicBezTo>
                  <a:close/>
                  <a:moveTo>
                    <a:pt x="1101504" y="1361953"/>
                  </a:moveTo>
                  <a:cubicBezTo>
                    <a:pt x="1085499" y="1366319"/>
                    <a:pt x="1072403" y="1354679"/>
                    <a:pt x="1079678" y="1340128"/>
                  </a:cubicBezTo>
                  <a:cubicBezTo>
                    <a:pt x="1079678" y="1340128"/>
                    <a:pt x="1081133" y="1338672"/>
                    <a:pt x="1081133" y="1338672"/>
                  </a:cubicBezTo>
                  <a:cubicBezTo>
                    <a:pt x="1086226" y="1332124"/>
                    <a:pt x="1092410" y="1328851"/>
                    <a:pt x="1098049" y="1327577"/>
                  </a:cubicBezTo>
                  <a:cubicBezTo>
                    <a:pt x="1103687" y="1326304"/>
                    <a:pt x="1108780" y="1327031"/>
                    <a:pt x="1111690" y="1328487"/>
                  </a:cubicBezTo>
                  <a:cubicBezTo>
                    <a:pt x="1126241" y="1335762"/>
                    <a:pt x="1120421" y="1357589"/>
                    <a:pt x="1101504" y="1361953"/>
                  </a:cubicBezTo>
                  <a:close/>
                  <a:moveTo>
                    <a:pt x="852684" y="1415792"/>
                  </a:moveTo>
                  <a:cubicBezTo>
                    <a:pt x="835222" y="1423067"/>
                    <a:pt x="825037" y="1411426"/>
                    <a:pt x="830858" y="1393965"/>
                  </a:cubicBezTo>
                  <a:cubicBezTo>
                    <a:pt x="830858" y="1392511"/>
                    <a:pt x="832312" y="1391055"/>
                    <a:pt x="833768" y="1389600"/>
                  </a:cubicBezTo>
                  <a:cubicBezTo>
                    <a:pt x="843953" y="1370684"/>
                    <a:pt x="859959" y="1366318"/>
                    <a:pt x="868690" y="1370684"/>
                  </a:cubicBezTo>
                  <a:cubicBezTo>
                    <a:pt x="886151" y="1377960"/>
                    <a:pt x="875966" y="1407061"/>
                    <a:pt x="852684" y="1415792"/>
                  </a:cubicBezTo>
                  <a:close/>
                  <a:moveTo>
                    <a:pt x="1203362" y="1395421"/>
                  </a:moveTo>
                  <a:cubicBezTo>
                    <a:pt x="1188810" y="1399786"/>
                    <a:pt x="1175715" y="1389601"/>
                    <a:pt x="1181536" y="1376505"/>
                  </a:cubicBezTo>
                  <a:cubicBezTo>
                    <a:pt x="1181536" y="1376505"/>
                    <a:pt x="1181536" y="1375049"/>
                    <a:pt x="1182990" y="1375049"/>
                  </a:cubicBezTo>
                  <a:cubicBezTo>
                    <a:pt x="1186628" y="1370684"/>
                    <a:pt x="1191721" y="1368138"/>
                    <a:pt x="1196631" y="1367228"/>
                  </a:cubicBezTo>
                  <a:cubicBezTo>
                    <a:pt x="1201543" y="1366319"/>
                    <a:pt x="1206272" y="1367046"/>
                    <a:pt x="1209182" y="1369229"/>
                  </a:cubicBezTo>
                  <a:cubicBezTo>
                    <a:pt x="1220823" y="1375049"/>
                    <a:pt x="1217913" y="1391055"/>
                    <a:pt x="1203362" y="1395421"/>
                  </a:cubicBezTo>
                  <a:close/>
                  <a:moveTo>
                    <a:pt x="947265" y="1433253"/>
                  </a:moveTo>
                  <a:cubicBezTo>
                    <a:pt x="931259" y="1440529"/>
                    <a:pt x="918164" y="1430343"/>
                    <a:pt x="923984" y="1414337"/>
                  </a:cubicBezTo>
                  <a:cubicBezTo>
                    <a:pt x="923984" y="1412882"/>
                    <a:pt x="925439" y="1411427"/>
                    <a:pt x="925439" y="1409972"/>
                  </a:cubicBezTo>
                  <a:cubicBezTo>
                    <a:pt x="935625" y="1395421"/>
                    <a:pt x="950175" y="1392510"/>
                    <a:pt x="957451" y="1395421"/>
                  </a:cubicBezTo>
                  <a:cubicBezTo>
                    <a:pt x="972002" y="1401242"/>
                    <a:pt x="966182" y="1425978"/>
                    <a:pt x="947265" y="1433253"/>
                  </a:cubicBezTo>
                  <a:close/>
                  <a:moveTo>
                    <a:pt x="478725" y="1513284"/>
                  </a:moveTo>
                  <a:cubicBezTo>
                    <a:pt x="467085" y="1520559"/>
                    <a:pt x="461264" y="1514739"/>
                    <a:pt x="464175" y="1498733"/>
                  </a:cubicBezTo>
                  <a:cubicBezTo>
                    <a:pt x="465629" y="1491457"/>
                    <a:pt x="468540" y="1485637"/>
                    <a:pt x="469995" y="1482727"/>
                  </a:cubicBezTo>
                  <a:cubicBezTo>
                    <a:pt x="484546" y="1455080"/>
                    <a:pt x="499097" y="1444894"/>
                    <a:pt x="506373" y="1446350"/>
                  </a:cubicBezTo>
                  <a:cubicBezTo>
                    <a:pt x="522379" y="1449260"/>
                    <a:pt x="502007" y="1497278"/>
                    <a:pt x="478725" y="1513284"/>
                  </a:cubicBezTo>
                  <a:close/>
                  <a:moveTo>
                    <a:pt x="408699" y="1524015"/>
                  </a:moveTo>
                  <a:cubicBezTo>
                    <a:pt x="406335" y="1522741"/>
                    <a:pt x="405243" y="1519104"/>
                    <a:pt x="405971" y="1513284"/>
                  </a:cubicBezTo>
                  <a:cubicBezTo>
                    <a:pt x="407426" y="1504553"/>
                    <a:pt x="411791" y="1494367"/>
                    <a:pt x="413246" y="1490002"/>
                  </a:cubicBezTo>
                  <a:cubicBezTo>
                    <a:pt x="427797" y="1460900"/>
                    <a:pt x="442348" y="1449259"/>
                    <a:pt x="448168" y="1450714"/>
                  </a:cubicBezTo>
                  <a:cubicBezTo>
                    <a:pt x="461264" y="1452170"/>
                    <a:pt x="439438" y="1503098"/>
                    <a:pt x="419066" y="1520559"/>
                  </a:cubicBezTo>
                  <a:cubicBezTo>
                    <a:pt x="414701" y="1524197"/>
                    <a:pt x="411063" y="1525288"/>
                    <a:pt x="408699" y="1524015"/>
                  </a:cubicBezTo>
                  <a:close/>
                  <a:moveTo>
                    <a:pt x="531654" y="1511646"/>
                  </a:moveTo>
                  <a:cubicBezTo>
                    <a:pt x="528198" y="1509282"/>
                    <a:pt x="526743" y="1503825"/>
                    <a:pt x="528198" y="1495822"/>
                  </a:cubicBezTo>
                  <a:cubicBezTo>
                    <a:pt x="529653" y="1490002"/>
                    <a:pt x="532563" y="1484181"/>
                    <a:pt x="534019" y="1479816"/>
                  </a:cubicBezTo>
                  <a:cubicBezTo>
                    <a:pt x="548569" y="1455080"/>
                    <a:pt x="564575" y="1446349"/>
                    <a:pt x="570396" y="1447804"/>
                  </a:cubicBezTo>
                  <a:cubicBezTo>
                    <a:pt x="586401" y="1452170"/>
                    <a:pt x="570396" y="1494367"/>
                    <a:pt x="547114" y="1508918"/>
                  </a:cubicBezTo>
                  <a:cubicBezTo>
                    <a:pt x="540567" y="1513283"/>
                    <a:pt x="535110" y="1514011"/>
                    <a:pt x="531654" y="1511646"/>
                  </a:cubicBezTo>
                  <a:close/>
                  <a:moveTo>
                    <a:pt x="357224" y="1533109"/>
                  </a:moveTo>
                  <a:cubicBezTo>
                    <a:pt x="355769" y="1532564"/>
                    <a:pt x="355042" y="1530745"/>
                    <a:pt x="355042" y="1527835"/>
                  </a:cubicBezTo>
                  <a:cubicBezTo>
                    <a:pt x="355042" y="1519104"/>
                    <a:pt x="362317" y="1504553"/>
                    <a:pt x="363772" y="1500188"/>
                  </a:cubicBezTo>
                  <a:cubicBezTo>
                    <a:pt x="379779" y="1471086"/>
                    <a:pt x="392874" y="1459445"/>
                    <a:pt x="397240" y="1459445"/>
                  </a:cubicBezTo>
                  <a:cubicBezTo>
                    <a:pt x="408880" y="1460901"/>
                    <a:pt x="382689" y="1516194"/>
                    <a:pt x="363772" y="1530745"/>
                  </a:cubicBezTo>
                  <a:cubicBezTo>
                    <a:pt x="360862" y="1532928"/>
                    <a:pt x="358680" y="1533655"/>
                    <a:pt x="357224" y="1533109"/>
                  </a:cubicBezTo>
                  <a:close/>
                  <a:moveTo>
                    <a:pt x="1046211" y="1456535"/>
                  </a:moveTo>
                  <a:cubicBezTo>
                    <a:pt x="1031660" y="1463810"/>
                    <a:pt x="1018565" y="1453625"/>
                    <a:pt x="1022930" y="1440528"/>
                  </a:cubicBezTo>
                  <a:cubicBezTo>
                    <a:pt x="1022930" y="1439073"/>
                    <a:pt x="1024385" y="1437619"/>
                    <a:pt x="1024385" y="1437619"/>
                  </a:cubicBezTo>
                  <a:cubicBezTo>
                    <a:pt x="1028750" y="1431070"/>
                    <a:pt x="1034207" y="1427432"/>
                    <a:pt x="1039300" y="1425796"/>
                  </a:cubicBezTo>
                  <a:cubicBezTo>
                    <a:pt x="1044393" y="1424158"/>
                    <a:pt x="1049121" y="1424522"/>
                    <a:pt x="1052031" y="1425978"/>
                  </a:cubicBezTo>
                  <a:cubicBezTo>
                    <a:pt x="1065128" y="1431798"/>
                    <a:pt x="1062217" y="1449259"/>
                    <a:pt x="1046211" y="1456535"/>
                  </a:cubicBezTo>
                  <a:close/>
                  <a:moveTo>
                    <a:pt x="317573" y="1547114"/>
                  </a:moveTo>
                  <a:cubicBezTo>
                    <a:pt x="316119" y="1547478"/>
                    <a:pt x="315027" y="1546750"/>
                    <a:pt x="314300" y="1545295"/>
                  </a:cubicBezTo>
                  <a:cubicBezTo>
                    <a:pt x="314299" y="1542385"/>
                    <a:pt x="315755" y="1535110"/>
                    <a:pt x="324485" y="1514738"/>
                  </a:cubicBezTo>
                  <a:cubicBezTo>
                    <a:pt x="339036" y="1487091"/>
                    <a:pt x="350676" y="1473996"/>
                    <a:pt x="353586" y="1473996"/>
                  </a:cubicBezTo>
                  <a:cubicBezTo>
                    <a:pt x="362317" y="1473996"/>
                    <a:pt x="339036" y="1523469"/>
                    <a:pt x="323030" y="1542385"/>
                  </a:cubicBezTo>
                  <a:cubicBezTo>
                    <a:pt x="320848" y="1545295"/>
                    <a:pt x="319029" y="1546750"/>
                    <a:pt x="317573" y="1547114"/>
                  </a:cubicBezTo>
                  <a:close/>
                  <a:moveTo>
                    <a:pt x="622779" y="1510373"/>
                  </a:moveTo>
                  <a:cubicBezTo>
                    <a:pt x="608228" y="1519104"/>
                    <a:pt x="599498" y="1508918"/>
                    <a:pt x="603863" y="1491457"/>
                  </a:cubicBezTo>
                  <a:cubicBezTo>
                    <a:pt x="605318" y="1488547"/>
                    <a:pt x="606773" y="1485637"/>
                    <a:pt x="606773" y="1482726"/>
                  </a:cubicBezTo>
                  <a:cubicBezTo>
                    <a:pt x="619869" y="1459445"/>
                    <a:pt x="635875" y="1452169"/>
                    <a:pt x="643151" y="1455079"/>
                  </a:cubicBezTo>
                  <a:cubicBezTo>
                    <a:pt x="659157" y="1459445"/>
                    <a:pt x="646061" y="1498732"/>
                    <a:pt x="622779" y="1510373"/>
                  </a:cubicBezTo>
                  <a:close/>
                  <a:moveTo>
                    <a:pt x="707174" y="1514739"/>
                  </a:moveTo>
                  <a:cubicBezTo>
                    <a:pt x="692623" y="1523469"/>
                    <a:pt x="680982" y="1514739"/>
                    <a:pt x="685348" y="1497278"/>
                  </a:cubicBezTo>
                  <a:cubicBezTo>
                    <a:pt x="686803" y="1494368"/>
                    <a:pt x="686803" y="1491457"/>
                    <a:pt x="688258" y="1490002"/>
                  </a:cubicBezTo>
                  <a:cubicBezTo>
                    <a:pt x="699899" y="1469631"/>
                    <a:pt x="714450" y="1463811"/>
                    <a:pt x="721726" y="1466721"/>
                  </a:cubicBezTo>
                  <a:cubicBezTo>
                    <a:pt x="737731" y="1471086"/>
                    <a:pt x="727546" y="1503098"/>
                    <a:pt x="707174" y="1514739"/>
                  </a:cubicBezTo>
                  <a:close/>
                  <a:moveTo>
                    <a:pt x="282288" y="1567122"/>
                  </a:moveTo>
                  <a:cubicBezTo>
                    <a:pt x="280833" y="1565666"/>
                    <a:pt x="285198" y="1554026"/>
                    <a:pt x="293928" y="1536565"/>
                  </a:cubicBezTo>
                  <a:cubicBezTo>
                    <a:pt x="307024" y="1508918"/>
                    <a:pt x="317209" y="1494367"/>
                    <a:pt x="318665" y="1494367"/>
                  </a:cubicBezTo>
                  <a:cubicBezTo>
                    <a:pt x="323031" y="1498732"/>
                    <a:pt x="289563" y="1565666"/>
                    <a:pt x="282288" y="1567122"/>
                  </a:cubicBezTo>
                  <a:close/>
                  <a:moveTo>
                    <a:pt x="259006" y="1588949"/>
                  </a:moveTo>
                  <a:cubicBezTo>
                    <a:pt x="259007" y="1586039"/>
                    <a:pt x="263372" y="1577307"/>
                    <a:pt x="270647" y="1561302"/>
                  </a:cubicBezTo>
                  <a:cubicBezTo>
                    <a:pt x="285198" y="1532200"/>
                    <a:pt x="291019" y="1520559"/>
                    <a:pt x="292473" y="1520559"/>
                  </a:cubicBezTo>
                  <a:cubicBezTo>
                    <a:pt x="291019" y="1527835"/>
                    <a:pt x="263372" y="1583128"/>
                    <a:pt x="259006" y="1588949"/>
                  </a:cubicBezTo>
                  <a:close/>
                  <a:moveTo>
                    <a:pt x="795935" y="1524924"/>
                  </a:moveTo>
                  <a:cubicBezTo>
                    <a:pt x="781384" y="1532199"/>
                    <a:pt x="769743" y="1522014"/>
                    <a:pt x="775564" y="1506007"/>
                  </a:cubicBezTo>
                  <a:cubicBezTo>
                    <a:pt x="775564" y="1504553"/>
                    <a:pt x="777019" y="1503097"/>
                    <a:pt x="777018" y="1501642"/>
                  </a:cubicBezTo>
                  <a:cubicBezTo>
                    <a:pt x="785750" y="1484181"/>
                    <a:pt x="800301" y="1479816"/>
                    <a:pt x="807576" y="1482726"/>
                  </a:cubicBezTo>
                  <a:cubicBezTo>
                    <a:pt x="823582" y="1487092"/>
                    <a:pt x="816306" y="1514738"/>
                    <a:pt x="795935" y="1524924"/>
                  </a:cubicBezTo>
                  <a:close/>
                  <a:moveTo>
                    <a:pt x="1139126" y="1484506"/>
                  </a:moveTo>
                  <a:lnTo>
                    <a:pt x="1132790" y="1483817"/>
                  </a:lnTo>
                  <a:cubicBezTo>
                    <a:pt x="1128788" y="1480907"/>
                    <a:pt x="1126970" y="1476178"/>
                    <a:pt x="1129152" y="1471085"/>
                  </a:cubicBezTo>
                  <a:cubicBezTo>
                    <a:pt x="1129152" y="1471085"/>
                    <a:pt x="1129152" y="1469630"/>
                    <a:pt x="1129152" y="1469630"/>
                  </a:cubicBezTo>
                  <a:cubicBezTo>
                    <a:pt x="1132790" y="1463809"/>
                    <a:pt x="1137155" y="1460899"/>
                    <a:pt x="1141339" y="1459809"/>
                  </a:cubicBezTo>
                  <a:cubicBezTo>
                    <a:pt x="1145522" y="1458717"/>
                    <a:pt x="1149523" y="1459444"/>
                    <a:pt x="1152433" y="1460900"/>
                  </a:cubicBezTo>
                  <a:lnTo>
                    <a:pt x="1156832" y="1468048"/>
                  </a:lnTo>
                  <a:close/>
                  <a:moveTo>
                    <a:pt x="891972" y="1538019"/>
                  </a:moveTo>
                  <a:cubicBezTo>
                    <a:pt x="877421" y="1545295"/>
                    <a:pt x="865780" y="1536565"/>
                    <a:pt x="870145" y="1522014"/>
                  </a:cubicBezTo>
                  <a:cubicBezTo>
                    <a:pt x="870145" y="1520558"/>
                    <a:pt x="871600" y="1519104"/>
                    <a:pt x="871600" y="1517648"/>
                  </a:cubicBezTo>
                  <a:cubicBezTo>
                    <a:pt x="880331" y="1503097"/>
                    <a:pt x="893426" y="1500187"/>
                    <a:pt x="899247" y="1503097"/>
                  </a:cubicBezTo>
                  <a:cubicBezTo>
                    <a:pt x="913797" y="1507463"/>
                    <a:pt x="909433" y="1529289"/>
                    <a:pt x="891972" y="1538019"/>
                  </a:cubicBezTo>
                  <a:close/>
                  <a:moveTo>
                    <a:pt x="995283" y="1555482"/>
                  </a:moveTo>
                  <a:cubicBezTo>
                    <a:pt x="982188" y="1562757"/>
                    <a:pt x="969092" y="1554026"/>
                    <a:pt x="973457" y="1540930"/>
                  </a:cubicBezTo>
                  <a:cubicBezTo>
                    <a:pt x="973457" y="1540930"/>
                    <a:pt x="973457" y="1539476"/>
                    <a:pt x="973457" y="1539476"/>
                  </a:cubicBezTo>
                  <a:cubicBezTo>
                    <a:pt x="977094" y="1532927"/>
                    <a:pt x="981824" y="1529289"/>
                    <a:pt x="986371" y="1527653"/>
                  </a:cubicBezTo>
                  <a:cubicBezTo>
                    <a:pt x="990918" y="1526015"/>
                    <a:pt x="995283" y="1526379"/>
                    <a:pt x="998193" y="1527835"/>
                  </a:cubicBezTo>
                  <a:cubicBezTo>
                    <a:pt x="1009834" y="1532200"/>
                    <a:pt x="1008379" y="1548206"/>
                    <a:pt x="995283" y="1555482"/>
                  </a:cubicBezTo>
                  <a:close/>
                  <a:moveTo>
                    <a:pt x="410518" y="1643150"/>
                  </a:moveTo>
                  <a:cubicBezTo>
                    <a:pt x="408154" y="1640968"/>
                    <a:pt x="407426" y="1636239"/>
                    <a:pt x="408881" y="1629691"/>
                  </a:cubicBezTo>
                  <a:cubicBezTo>
                    <a:pt x="410335" y="1623870"/>
                    <a:pt x="411792" y="1618050"/>
                    <a:pt x="413246" y="1615140"/>
                  </a:cubicBezTo>
                  <a:cubicBezTo>
                    <a:pt x="423431" y="1590403"/>
                    <a:pt x="436527" y="1580217"/>
                    <a:pt x="442348" y="1581673"/>
                  </a:cubicBezTo>
                  <a:cubicBezTo>
                    <a:pt x="456898" y="1583128"/>
                    <a:pt x="440892" y="1626780"/>
                    <a:pt x="421976" y="1641331"/>
                  </a:cubicBezTo>
                  <a:cubicBezTo>
                    <a:pt x="416883" y="1644969"/>
                    <a:pt x="412882" y="1645333"/>
                    <a:pt x="410518" y="1643150"/>
                  </a:cubicBezTo>
                  <a:close/>
                  <a:moveTo>
                    <a:pt x="479816" y="1635329"/>
                  </a:moveTo>
                  <a:cubicBezTo>
                    <a:pt x="476906" y="1632964"/>
                    <a:pt x="475815" y="1627508"/>
                    <a:pt x="477270" y="1619505"/>
                  </a:cubicBezTo>
                  <a:cubicBezTo>
                    <a:pt x="478725" y="1615140"/>
                    <a:pt x="478725" y="1612229"/>
                    <a:pt x="480181" y="1607865"/>
                  </a:cubicBezTo>
                  <a:cubicBezTo>
                    <a:pt x="490366" y="1586038"/>
                    <a:pt x="503462" y="1577308"/>
                    <a:pt x="509282" y="1578762"/>
                  </a:cubicBezTo>
                  <a:cubicBezTo>
                    <a:pt x="523833" y="1581672"/>
                    <a:pt x="512192" y="1618050"/>
                    <a:pt x="493276" y="1632600"/>
                  </a:cubicBezTo>
                  <a:cubicBezTo>
                    <a:pt x="487455" y="1636966"/>
                    <a:pt x="482727" y="1637693"/>
                    <a:pt x="479816" y="1635329"/>
                  </a:cubicBezTo>
                  <a:close/>
                  <a:moveTo>
                    <a:pt x="351767" y="1653700"/>
                  </a:moveTo>
                  <a:cubicBezTo>
                    <a:pt x="349585" y="1652608"/>
                    <a:pt x="348494" y="1649334"/>
                    <a:pt x="349221" y="1644242"/>
                  </a:cubicBezTo>
                  <a:cubicBezTo>
                    <a:pt x="349222" y="1636966"/>
                    <a:pt x="353587" y="1628236"/>
                    <a:pt x="355042" y="1623870"/>
                  </a:cubicBezTo>
                  <a:cubicBezTo>
                    <a:pt x="365227" y="1599133"/>
                    <a:pt x="376868" y="1587492"/>
                    <a:pt x="382688" y="1588948"/>
                  </a:cubicBezTo>
                  <a:cubicBezTo>
                    <a:pt x="395784" y="1590403"/>
                    <a:pt x="378323" y="1635510"/>
                    <a:pt x="360862" y="1650061"/>
                  </a:cubicBezTo>
                  <a:cubicBezTo>
                    <a:pt x="357224" y="1653699"/>
                    <a:pt x="353950" y="1654791"/>
                    <a:pt x="351767" y="1653700"/>
                  </a:cubicBezTo>
                  <a:close/>
                  <a:moveTo>
                    <a:pt x="568940" y="1631146"/>
                  </a:moveTo>
                  <a:cubicBezTo>
                    <a:pt x="555845" y="1638421"/>
                    <a:pt x="547114" y="1631146"/>
                    <a:pt x="551480" y="1615140"/>
                  </a:cubicBezTo>
                  <a:cubicBezTo>
                    <a:pt x="551480" y="1612230"/>
                    <a:pt x="552935" y="1609319"/>
                    <a:pt x="554390" y="1607865"/>
                  </a:cubicBezTo>
                  <a:cubicBezTo>
                    <a:pt x="563120" y="1586038"/>
                    <a:pt x="577671" y="1580217"/>
                    <a:pt x="583492" y="1581672"/>
                  </a:cubicBezTo>
                  <a:cubicBezTo>
                    <a:pt x="598043" y="1584583"/>
                    <a:pt x="589311" y="1619505"/>
                    <a:pt x="568940" y="1631146"/>
                  </a:cubicBezTo>
                  <a:close/>
                  <a:moveTo>
                    <a:pt x="299749" y="1667341"/>
                  </a:moveTo>
                  <a:cubicBezTo>
                    <a:pt x="297930" y="1667159"/>
                    <a:pt x="296839" y="1665340"/>
                    <a:pt x="296838" y="1661703"/>
                  </a:cubicBezTo>
                  <a:cubicBezTo>
                    <a:pt x="296839" y="1654427"/>
                    <a:pt x="301205" y="1641331"/>
                    <a:pt x="304115" y="1636966"/>
                  </a:cubicBezTo>
                  <a:cubicBezTo>
                    <a:pt x="315754" y="1612230"/>
                    <a:pt x="325940" y="1600589"/>
                    <a:pt x="330306" y="1600589"/>
                  </a:cubicBezTo>
                  <a:cubicBezTo>
                    <a:pt x="340492" y="1600589"/>
                    <a:pt x="323030" y="1645697"/>
                    <a:pt x="307024" y="1663158"/>
                  </a:cubicBezTo>
                  <a:cubicBezTo>
                    <a:pt x="304115" y="1666068"/>
                    <a:pt x="301569" y="1667523"/>
                    <a:pt x="299749" y="1667341"/>
                  </a:cubicBezTo>
                  <a:close/>
                  <a:moveTo>
                    <a:pt x="638603" y="1633147"/>
                  </a:moveTo>
                  <a:cubicBezTo>
                    <a:pt x="634784" y="1630419"/>
                    <a:pt x="632964" y="1624598"/>
                    <a:pt x="634420" y="1616596"/>
                  </a:cubicBezTo>
                  <a:cubicBezTo>
                    <a:pt x="634420" y="1613685"/>
                    <a:pt x="635875" y="1610774"/>
                    <a:pt x="635875" y="1609320"/>
                  </a:cubicBezTo>
                  <a:cubicBezTo>
                    <a:pt x="646061" y="1591858"/>
                    <a:pt x="659156" y="1586038"/>
                    <a:pt x="664976" y="1587493"/>
                  </a:cubicBezTo>
                  <a:cubicBezTo>
                    <a:pt x="679528" y="1590404"/>
                    <a:pt x="673707" y="1619506"/>
                    <a:pt x="654791" y="1631147"/>
                  </a:cubicBezTo>
                  <a:cubicBezTo>
                    <a:pt x="648243" y="1635512"/>
                    <a:pt x="642423" y="1635875"/>
                    <a:pt x="638603" y="1633147"/>
                  </a:cubicBezTo>
                  <a:close/>
                  <a:moveTo>
                    <a:pt x="256096" y="1683529"/>
                  </a:moveTo>
                  <a:cubicBezTo>
                    <a:pt x="256095" y="1680619"/>
                    <a:pt x="256096" y="1674798"/>
                    <a:pt x="263371" y="1657337"/>
                  </a:cubicBezTo>
                  <a:cubicBezTo>
                    <a:pt x="273557" y="1629691"/>
                    <a:pt x="283742" y="1618050"/>
                    <a:pt x="286652" y="1618050"/>
                  </a:cubicBezTo>
                  <a:cubicBezTo>
                    <a:pt x="293928" y="1616595"/>
                    <a:pt x="277923" y="1663158"/>
                    <a:pt x="263371" y="1680619"/>
                  </a:cubicBezTo>
                  <a:cubicBezTo>
                    <a:pt x="259006" y="1684984"/>
                    <a:pt x="256096" y="1686439"/>
                    <a:pt x="256096" y="1683529"/>
                  </a:cubicBezTo>
                  <a:close/>
                  <a:moveTo>
                    <a:pt x="747917" y="1634056"/>
                  </a:moveTo>
                  <a:cubicBezTo>
                    <a:pt x="734821" y="1642786"/>
                    <a:pt x="723180" y="1635511"/>
                    <a:pt x="726091" y="1619505"/>
                  </a:cubicBezTo>
                  <a:cubicBezTo>
                    <a:pt x="726091" y="1618050"/>
                    <a:pt x="727546" y="1616595"/>
                    <a:pt x="727546" y="1615140"/>
                  </a:cubicBezTo>
                  <a:cubicBezTo>
                    <a:pt x="734821" y="1600589"/>
                    <a:pt x="747917" y="1596223"/>
                    <a:pt x="753737" y="1597679"/>
                  </a:cubicBezTo>
                  <a:cubicBezTo>
                    <a:pt x="766834" y="1600589"/>
                    <a:pt x="763924" y="1623870"/>
                    <a:pt x="747917" y="1634056"/>
                  </a:cubicBezTo>
                  <a:close/>
                  <a:moveTo>
                    <a:pt x="221174" y="1705355"/>
                  </a:moveTo>
                  <a:cubicBezTo>
                    <a:pt x="219719" y="1703900"/>
                    <a:pt x="222630" y="1693714"/>
                    <a:pt x="228450" y="1677708"/>
                  </a:cubicBezTo>
                  <a:cubicBezTo>
                    <a:pt x="240090" y="1652972"/>
                    <a:pt x="248821" y="1639876"/>
                    <a:pt x="250275" y="1639876"/>
                  </a:cubicBezTo>
                  <a:cubicBezTo>
                    <a:pt x="256097" y="1644241"/>
                    <a:pt x="228450" y="1703900"/>
                    <a:pt x="221174" y="1705355"/>
                  </a:cubicBezTo>
                  <a:close/>
                  <a:moveTo>
                    <a:pt x="843954" y="1644241"/>
                  </a:moveTo>
                  <a:cubicBezTo>
                    <a:pt x="830858" y="1651517"/>
                    <a:pt x="819217" y="1642786"/>
                    <a:pt x="823582" y="1629691"/>
                  </a:cubicBezTo>
                  <a:cubicBezTo>
                    <a:pt x="823582" y="1629691"/>
                    <a:pt x="823582" y="1628236"/>
                    <a:pt x="823582" y="1628236"/>
                  </a:cubicBezTo>
                  <a:cubicBezTo>
                    <a:pt x="830858" y="1615140"/>
                    <a:pt x="842498" y="1610775"/>
                    <a:pt x="848319" y="1613684"/>
                  </a:cubicBezTo>
                  <a:cubicBezTo>
                    <a:pt x="861415" y="1616595"/>
                    <a:pt x="858504" y="1635511"/>
                    <a:pt x="843954" y="1644241"/>
                  </a:cubicBezTo>
                  <a:close/>
                  <a:moveTo>
                    <a:pt x="197892" y="1730092"/>
                  </a:moveTo>
                  <a:cubicBezTo>
                    <a:pt x="197893" y="1728637"/>
                    <a:pt x="197893" y="1727181"/>
                    <a:pt x="206622" y="1705355"/>
                  </a:cubicBezTo>
                  <a:cubicBezTo>
                    <a:pt x="215353" y="1680619"/>
                    <a:pt x="222630" y="1667523"/>
                    <a:pt x="224084" y="1667523"/>
                  </a:cubicBezTo>
                  <a:cubicBezTo>
                    <a:pt x="225539" y="1673343"/>
                    <a:pt x="199348" y="1728637"/>
                    <a:pt x="197892" y="1730092"/>
                  </a:cubicBezTo>
                  <a:close/>
                  <a:moveTo>
                    <a:pt x="948720" y="1654427"/>
                  </a:moveTo>
                  <a:cubicBezTo>
                    <a:pt x="937080" y="1660247"/>
                    <a:pt x="925438" y="1654427"/>
                    <a:pt x="929804" y="1642786"/>
                  </a:cubicBezTo>
                  <a:cubicBezTo>
                    <a:pt x="929804" y="1642786"/>
                    <a:pt x="929804" y="1641331"/>
                    <a:pt x="929804" y="1641331"/>
                  </a:cubicBezTo>
                  <a:cubicBezTo>
                    <a:pt x="934170" y="1632601"/>
                    <a:pt x="944355" y="1629690"/>
                    <a:pt x="950175" y="1631146"/>
                  </a:cubicBezTo>
                  <a:cubicBezTo>
                    <a:pt x="960361" y="1634056"/>
                    <a:pt x="960361" y="1648607"/>
                    <a:pt x="948720" y="1654427"/>
                  </a:cubicBezTo>
                  <a:close/>
                  <a:moveTo>
                    <a:pt x="183341" y="1753374"/>
                  </a:moveTo>
                  <a:cubicBezTo>
                    <a:pt x="189161" y="1737367"/>
                    <a:pt x="200803" y="1711176"/>
                    <a:pt x="203713" y="1703901"/>
                  </a:cubicBezTo>
                  <a:close/>
                  <a:moveTo>
                    <a:pt x="432889" y="1763741"/>
                  </a:moveTo>
                  <a:cubicBezTo>
                    <a:pt x="429979" y="1761740"/>
                    <a:pt x="428524" y="1757011"/>
                    <a:pt x="429252" y="1750463"/>
                  </a:cubicBezTo>
                  <a:cubicBezTo>
                    <a:pt x="429252" y="1746098"/>
                    <a:pt x="430707" y="1743188"/>
                    <a:pt x="432162" y="1740278"/>
                  </a:cubicBezTo>
                  <a:cubicBezTo>
                    <a:pt x="439437" y="1719906"/>
                    <a:pt x="451078" y="1712631"/>
                    <a:pt x="456898" y="1712631"/>
                  </a:cubicBezTo>
                  <a:cubicBezTo>
                    <a:pt x="469995" y="1714086"/>
                    <a:pt x="462719" y="1747553"/>
                    <a:pt x="445258" y="1760649"/>
                  </a:cubicBezTo>
                  <a:cubicBezTo>
                    <a:pt x="440165" y="1765014"/>
                    <a:pt x="435799" y="1765742"/>
                    <a:pt x="432889" y="1763741"/>
                  </a:cubicBezTo>
                  <a:close/>
                  <a:moveTo>
                    <a:pt x="362682" y="1773017"/>
                  </a:moveTo>
                  <a:cubicBezTo>
                    <a:pt x="360500" y="1771562"/>
                    <a:pt x="359408" y="1767924"/>
                    <a:pt x="359408" y="1762104"/>
                  </a:cubicBezTo>
                  <a:cubicBezTo>
                    <a:pt x="359408" y="1756283"/>
                    <a:pt x="360863" y="1751919"/>
                    <a:pt x="362317" y="1749008"/>
                  </a:cubicBezTo>
                  <a:cubicBezTo>
                    <a:pt x="371048" y="1728637"/>
                    <a:pt x="382688" y="1719906"/>
                    <a:pt x="387054" y="1719906"/>
                  </a:cubicBezTo>
                  <a:cubicBezTo>
                    <a:pt x="400150" y="1721362"/>
                    <a:pt x="388509" y="1757739"/>
                    <a:pt x="372504" y="1770835"/>
                  </a:cubicBezTo>
                  <a:cubicBezTo>
                    <a:pt x="368138" y="1773745"/>
                    <a:pt x="364865" y="1774472"/>
                    <a:pt x="362682" y="1773017"/>
                  </a:cubicBezTo>
                  <a:close/>
                  <a:moveTo>
                    <a:pt x="509464" y="1756466"/>
                  </a:moveTo>
                  <a:cubicBezTo>
                    <a:pt x="506372" y="1754101"/>
                    <a:pt x="504917" y="1749008"/>
                    <a:pt x="506372" y="1741733"/>
                  </a:cubicBezTo>
                  <a:cubicBezTo>
                    <a:pt x="506372" y="1738823"/>
                    <a:pt x="507827" y="1737367"/>
                    <a:pt x="507826" y="1734458"/>
                  </a:cubicBezTo>
                  <a:cubicBezTo>
                    <a:pt x="515102" y="1716996"/>
                    <a:pt x="526743" y="1709721"/>
                    <a:pt x="532563" y="1711176"/>
                  </a:cubicBezTo>
                  <a:cubicBezTo>
                    <a:pt x="545659" y="1712631"/>
                    <a:pt x="539839" y="1743188"/>
                    <a:pt x="522378" y="1754829"/>
                  </a:cubicBezTo>
                  <a:cubicBezTo>
                    <a:pt x="517285" y="1758466"/>
                    <a:pt x="512556" y="1758830"/>
                    <a:pt x="509464" y="1756466"/>
                  </a:cubicBezTo>
                  <a:close/>
                  <a:moveTo>
                    <a:pt x="609683" y="1749008"/>
                  </a:moveTo>
                  <a:cubicBezTo>
                    <a:pt x="598042" y="1756284"/>
                    <a:pt x="589311" y="1750463"/>
                    <a:pt x="592221" y="1735912"/>
                  </a:cubicBezTo>
                  <a:cubicBezTo>
                    <a:pt x="592222" y="1734457"/>
                    <a:pt x="593677" y="1733002"/>
                    <a:pt x="593677" y="1731547"/>
                  </a:cubicBezTo>
                  <a:cubicBezTo>
                    <a:pt x="599497" y="1716996"/>
                    <a:pt x="609683" y="1711176"/>
                    <a:pt x="615504" y="1712631"/>
                  </a:cubicBezTo>
                  <a:cubicBezTo>
                    <a:pt x="628600" y="1714086"/>
                    <a:pt x="624234" y="1738822"/>
                    <a:pt x="609683" y="1749008"/>
                  </a:cubicBezTo>
                  <a:close/>
                  <a:moveTo>
                    <a:pt x="301568" y="1787204"/>
                  </a:moveTo>
                  <a:cubicBezTo>
                    <a:pt x="299749" y="1786477"/>
                    <a:pt x="299022" y="1783931"/>
                    <a:pt x="299749" y="1779566"/>
                  </a:cubicBezTo>
                  <a:cubicBezTo>
                    <a:pt x="299749" y="1772290"/>
                    <a:pt x="302659" y="1765014"/>
                    <a:pt x="304114" y="1762105"/>
                  </a:cubicBezTo>
                  <a:cubicBezTo>
                    <a:pt x="311389" y="1740278"/>
                    <a:pt x="321575" y="1730092"/>
                    <a:pt x="325940" y="1730092"/>
                  </a:cubicBezTo>
                  <a:cubicBezTo>
                    <a:pt x="337582" y="1730092"/>
                    <a:pt x="325940" y="1769379"/>
                    <a:pt x="309934" y="1783930"/>
                  </a:cubicBezTo>
                  <a:cubicBezTo>
                    <a:pt x="306297" y="1786840"/>
                    <a:pt x="303386" y="1787932"/>
                    <a:pt x="301568" y="1787204"/>
                  </a:cubicBezTo>
                  <a:close/>
                  <a:moveTo>
                    <a:pt x="689350" y="1750645"/>
                  </a:moveTo>
                  <a:cubicBezTo>
                    <a:pt x="685712" y="1748644"/>
                    <a:pt x="683893" y="1743915"/>
                    <a:pt x="685348" y="1737368"/>
                  </a:cubicBezTo>
                  <a:cubicBezTo>
                    <a:pt x="685348" y="1735913"/>
                    <a:pt x="685348" y="1734458"/>
                    <a:pt x="686803" y="1734457"/>
                  </a:cubicBezTo>
                  <a:cubicBezTo>
                    <a:pt x="689713" y="1721362"/>
                    <a:pt x="701353" y="1716996"/>
                    <a:pt x="707175" y="1716996"/>
                  </a:cubicBezTo>
                  <a:cubicBezTo>
                    <a:pt x="718815" y="1719907"/>
                    <a:pt x="717360" y="1738823"/>
                    <a:pt x="704265" y="1747553"/>
                  </a:cubicBezTo>
                  <a:cubicBezTo>
                    <a:pt x="698444" y="1751918"/>
                    <a:pt x="692988" y="1752646"/>
                    <a:pt x="689350" y="1750645"/>
                  </a:cubicBezTo>
                  <a:close/>
                  <a:moveTo>
                    <a:pt x="251549" y="1805211"/>
                  </a:moveTo>
                  <a:cubicBezTo>
                    <a:pt x="249913" y="1805393"/>
                    <a:pt x="248820" y="1804302"/>
                    <a:pt x="248821" y="1801392"/>
                  </a:cubicBezTo>
                  <a:cubicBezTo>
                    <a:pt x="248821" y="1794116"/>
                    <a:pt x="251731" y="1783930"/>
                    <a:pt x="253187" y="1779565"/>
                  </a:cubicBezTo>
                  <a:cubicBezTo>
                    <a:pt x="260462" y="1756283"/>
                    <a:pt x="269192" y="1746098"/>
                    <a:pt x="273558" y="1746098"/>
                  </a:cubicBezTo>
                  <a:cubicBezTo>
                    <a:pt x="282288" y="1746098"/>
                    <a:pt x="270647" y="1785385"/>
                    <a:pt x="257551" y="1801391"/>
                  </a:cubicBezTo>
                  <a:cubicBezTo>
                    <a:pt x="255370" y="1803574"/>
                    <a:pt x="253187" y="1805029"/>
                    <a:pt x="251549" y="1805211"/>
                  </a:cubicBezTo>
                  <a:close/>
                  <a:moveTo>
                    <a:pt x="203713" y="1821763"/>
                  </a:moveTo>
                  <a:cubicBezTo>
                    <a:pt x="203712" y="1820308"/>
                    <a:pt x="203713" y="1814487"/>
                    <a:pt x="208078" y="1798482"/>
                  </a:cubicBezTo>
                  <a:cubicBezTo>
                    <a:pt x="216808" y="1776655"/>
                    <a:pt x="225540" y="1766469"/>
                    <a:pt x="228449" y="1765015"/>
                  </a:cubicBezTo>
                  <a:cubicBezTo>
                    <a:pt x="235725" y="1763559"/>
                    <a:pt x="222629" y="1804302"/>
                    <a:pt x="210988" y="1818853"/>
                  </a:cubicBezTo>
                  <a:cubicBezTo>
                    <a:pt x="208078" y="1823218"/>
                    <a:pt x="205168" y="1824673"/>
                    <a:pt x="203713" y="1821763"/>
                  </a:cubicBezTo>
                  <a:close/>
                  <a:moveTo>
                    <a:pt x="801755" y="1751919"/>
                  </a:moveTo>
                  <a:cubicBezTo>
                    <a:pt x="791570" y="1759194"/>
                    <a:pt x="781384" y="1751919"/>
                    <a:pt x="784294" y="1740278"/>
                  </a:cubicBezTo>
                  <a:cubicBezTo>
                    <a:pt x="784294" y="1740278"/>
                    <a:pt x="784294" y="1738822"/>
                    <a:pt x="784294" y="1738822"/>
                  </a:cubicBezTo>
                  <a:cubicBezTo>
                    <a:pt x="788660" y="1728637"/>
                    <a:pt x="798845" y="1725727"/>
                    <a:pt x="803211" y="1727182"/>
                  </a:cubicBezTo>
                  <a:cubicBezTo>
                    <a:pt x="813396" y="1730092"/>
                    <a:pt x="811941" y="1744643"/>
                    <a:pt x="801755" y="1751919"/>
                  </a:cubicBezTo>
                  <a:close/>
                  <a:moveTo>
                    <a:pt x="170246" y="1845044"/>
                  </a:moveTo>
                  <a:cubicBezTo>
                    <a:pt x="170246" y="1843590"/>
                    <a:pt x="170246" y="1839224"/>
                    <a:pt x="176066" y="1821763"/>
                  </a:cubicBezTo>
                  <a:cubicBezTo>
                    <a:pt x="183341" y="1801392"/>
                    <a:pt x="189161" y="1789751"/>
                    <a:pt x="192072" y="1789751"/>
                  </a:cubicBezTo>
                  <a:cubicBezTo>
                    <a:pt x="196437" y="1788296"/>
                    <a:pt x="187707" y="1817397"/>
                    <a:pt x="177522" y="1836314"/>
                  </a:cubicBezTo>
                  <a:cubicBezTo>
                    <a:pt x="173155" y="1843590"/>
                    <a:pt x="170246" y="1847954"/>
                    <a:pt x="170246" y="1845044"/>
                  </a:cubicBezTo>
                  <a:close/>
                  <a:moveTo>
                    <a:pt x="144054" y="1872691"/>
                  </a:moveTo>
                  <a:cubicBezTo>
                    <a:pt x="144054" y="1872691"/>
                    <a:pt x="142599" y="1869781"/>
                    <a:pt x="149874" y="1850864"/>
                  </a:cubicBezTo>
                  <a:cubicBezTo>
                    <a:pt x="157150" y="1829038"/>
                    <a:pt x="162970" y="1818853"/>
                    <a:pt x="164426" y="1817397"/>
                  </a:cubicBezTo>
                  <a:cubicBezTo>
                    <a:pt x="165881" y="1823217"/>
                    <a:pt x="146964" y="1871235"/>
                    <a:pt x="144054" y="1872691"/>
                  </a:cubicBezTo>
                  <a:close/>
                  <a:moveTo>
                    <a:pt x="128048" y="1900339"/>
                  </a:moveTo>
                  <a:cubicBezTo>
                    <a:pt x="128048" y="1898883"/>
                    <a:pt x="129503" y="1897428"/>
                    <a:pt x="129503" y="1895973"/>
                  </a:cubicBezTo>
                  <a:lnTo>
                    <a:pt x="144054" y="1855230"/>
                  </a:lnTo>
                  <a:cubicBezTo>
                    <a:pt x="144053" y="1853775"/>
                    <a:pt x="145509" y="1852321"/>
                    <a:pt x="145509" y="1850865"/>
                  </a:cubicBezTo>
                  <a:cubicBezTo>
                    <a:pt x="145509" y="1852321"/>
                    <a:pt x="129503" y="1895973"/>
                    <a:pt x="128048" y="1900339"/>
                  </a:cubicBezTo>
                  <a:close/>
                  <a:moveTo>
                    <a:pt x="472723" y="1882331"/>
                  </a:moveTo>
                  <a:cubicBezTo>
                    <a:pt x="469631" y="1880694"/>
                    <a:pt x="467813" y="1876329"/>
                    <a:pt x="468541" y="1869781"/>
                  </a:cubicBezTo>
                  <a:cubicBezTo>
                    <a:pt x="468540" y="1866871"/>
                    <a:pt x="469994" y="1865416"/>
                    <a:pt x="469995" y="1863961"/>
                  </a:cubicBezTo>
                  <a:cubicBezTo>
                    <a:pt x="474361" y="1849409"/>
                    <a:pt x="484546" y="1843589"/>
                    <a:pt x="488911" y="1843590"/>
                  </a:cubicBezTo>
                  <a:cubicBezTo>
                    <a:pt x="500552" y="1845045"/>
                    <a:pt x="497642" y="1866871"/>
                    <a:pt x="484546" y="1878512"/>
                  </a:cubicBezTo>
                  <a:cubicBezTo>
                    <a:pt x="480181" y="1882877"/>
                    <a:pt x="475815" y="1883968"/>
                    <a:pt x="472723" y="1882331"/>
                  </a:cubicBezTo>
                  <a:close/>
                  <a:moveTo>
                    <a:pt x="392511" y="1892881"/>
                  </a:moveTo>
                  <a:cubicBezTo>
                    <a:pt x="389965" y="1891244"/>
                    <a:pt x="388510" y="1887243"/>
                    <a:pt x="388510" y="1881422"/>
                  </a:cubicBezTo>
                  <a:cubicBezTo>
                    <a:pt x="388510" y="1878512"/>
                    <a:pt x="389965" y="1875602"/>
                    <a:pt x="389965" y="1872692"/>
                  </a:cubicBezTo>
                  <a:cubicBezTo>
                    <a:pt x="397240" y="1858140"/>
                    <a:pt x="405971" y="1850865"/>
                    <a:pt x="410336" y="1850865"/>
                  </a:cubicBezTo>
                  <a:cubicBezTo>
                    <a:pt x="421976" y="1850865"/>
                    <a:pt x="416157" y="1878512"/>
                    <a:pt x="403061" y="1890152"/>
                  </a:cubicBezTo>
                  <a:cubicBezTo>
                    <a:pt x="398695" y="1893790"/>
                    <a:pt x="395058" y="1894518"/>
                    <a:pt x="392511" y="1892881"/>
                  </a:cubicBezTo>
                  <a:close/>
                  <a:moveTo>
                    <a:pt x="560029" y="1872327"/>
                  </a:moveTo>
                  <a:cubicBezTo>
                    <a:pt x="556937" y="1870508"/>
                    <a:pt x="555117" y="1866143"/>
                    <a:pt x="555845" y="1859595"/>
                  </a:cubicBezTo>
                  <a:cubicBezTo>
                    <a:pt x="555845" y="1858140"/>
                    <a:pt x="555846" y="1856685"/>
                    <a:pt x="557300" y="1856685"/>
                  </a:cubicBezTo>
                  <a:cubicBezTo>
                    <a:pt x="560210" y="1843589"/>
                    <a:pt x="568941" y="1839224"/>
                    <a:pt x="574761" y="1839224"/>
                  </a:cubicBezTo>
                  <a:cubicBezTo>
                    <a:pt x="584947" y="1840680"/>
                    <a:pt x="583492" y="1861050"/>
                    <a:pt x="571851" y="1869781"/>
                  </a:cubicBezTo>
                  <a:cubicBezTo>
                    <a:pt x="567486" y="1873418"/>
                    <a:pt x="563120" y="1874146"/>
                    <a:pt x="560029" y="1872327"/>
                  </a:cubicBezTo>
                  <a:close/>
                  <a:moveTo>
                    <a:pt x="653154" y="1866871"/>
                  </a:moveTo>
                  <a:cubicBezTo>
                    <a:pt x="650063" y="1865416"/>
                    <a:pt x="648244" y="1861778"/>
                    <a:pt x="648972" y="1856685"/>
                  </a:cubicBezTo>
                  <a:cubicBezTo>
                    <a:pt x="648971" y="1855230"/>
                    <a:pt x="648971" y="1855230"/>
                    <a:pt x="648972" y="1853775"/>
                  </a:cubicBezTo>
                  <a:cubicBezTo>
                    <a:pt x="653336" y="1842134"/>
                    <a:pt x="662067" y="1839224"/>
                    <a:pt x="666432" y="1839224"/>
                  </a:cubicBezTo>
                  <a:cubicBezTo>
                    <a:pt x="676618" y="1840679"/>
                    <a:pt x="675163" y="1855230"/>
                    <a:pt x="664977" y="1863961"/>
                  </a:cubicBezTo>
                  <a:cubicBezTo>
                    <a:pt x="660612" y="1867599"/>
                    <a:pt x="656246" y="1868326"/>
                    <a:pt x="653154" y="1866871"/>
                  </a:cubicBezTo>
                  <a:close/>
                  <a:moveTo>
                    <a:pt x="323031" y="1909069"/>
                  </a:moveTo>
                  <a:cubicBezTo>
                    <a:pt x="320848" y="1908341"/>
                    <a:pt x="319393" y="1905431"/>
                    <a:pt x="318665" y="1900339"/>
                  </a:cubicBezTo>
                  <a:cubicBezTo>
                    <a:pt x="318665" y="1895973"/>
                    <a:pt x="320120" y="1890152"/>
                    <a:pt x="320120" y="1887242"/>
                  </a:cubicBezTo>
                  <a:cubicBezTo>
                    <a:pt x="327395" y="1868327"/>
                    <a:pt x="336126" y="1861051"/>
                    <a:pt x="340491" y="1861050"/>
                  </a:cubicBezTo>
                  <a:cubicBezTo>
                    <a:pt x="350678" y="1861051"/>
                    <a:pt x="344856" y="1891607"/>
                    <a:pt x="331760" y="1904703"/>
                  </a:cubicBezTo>
                  <a:cubicBezTo>
                    <a:pt x="328122" y="1908341"/>
                    <a:pt x="325213" y="1909796"/>
                    <a:pt x="323031" y="1909069"/>
                  </a:cubicBezTo>
                  <a:close/>
                  <a:moveTo>
                    <a:pt x="260461" y="1925256"/>
                  </a:moveTo>
                  <a:cubicBezTo>
                    <a:pt x="258642" y="1924347"/>
                    <a:pt x="257551" y="1921436"/>
                    <a:pt x="257551" y="1916343"/>
                  </a:cubicBezTo>
                  <a:cubicBezTo>
                    <a:pt x="257551" y="1910523"/>
                    <a:pt x="259006" y="1906158"/>
                    <a:pt x="259006" y="1903248"/>
                  </a:cubicBezTo>
                  <a:cubicBezTo>
                    <a:pt x="266281" y="1884332"/>
                    <a:pt x="273557" y="1875601"/>
                    <a:pt x="277922" y="1875601"/>
                  </a:cubicBezTo>
                  <a:cubicBezTo>
                    <a:pt x="288108" y="1875601"/>
                    <a:pt x="279378" y="1909068"/>
                    <a:pt x="267737" y="1922165"/>
                  </a:cubicBezTo>
                  <a:cubicBezTo>
                    <a:pt x="264827" y="1925075"/>
                    <a:pt x="262280" y="1926166"/>
                    <a:pt x="260461" y="1925256"/>
                  </a:cubicBezTo>
                  <a:close/>
                  <a:moveTo>
                    <a:pt x="207168" y="1944718"/>
                  </a:moveTo>
                  <a:cubicBezTo>
                    <a:pt x="205895" y="1944355"/>
                    <a:pt x="205167" y="1942536"/>
                    <a:pt x="205167" y="1939626"/>
                  </a:cubicBezTo>
                  <a:cubicBezTo>
                    <a:pt x="205167" y="1933805"/>
                    <a:pt x="206623" y="1926529"/>
                    <a:pt x="208078" y="1922165"/>
                  </a:cubicBezTo>
                  <a:cubicBezTo>
                    <a:pt x="213898" y="1903248"/>
                    <a:pt x="221173" y="1894518"/>
                    <a:pt x="224083" y="1894518"/>
                  </a:cubicBezTo>
                  <a:cubicBezTo>
                    <a:pt x="232814" y="1893062"/>
                    <a:pt x="224083" y="1927985"/>
                    <a:pt x="212443" y="1941080"/>
                  </a:cubicBezTo>
                  <a:cubicBezTo>
                    <a:pt x="210260" y="1943991"/>
                    <a:pt x="208441" y="1945082"/>
                    <a:pt x="207168" y="1944718"/>
                  </a:cubicBezTo>
                  <a:close/>
                  <a:moveTo>
                    <a:pt x="163333" y="1966908"/>
                  </a:moveTo>
                  <a:cubicBezTo>
                    <a:pt x="162242" y="1967272"/>
                    <a:pt x="161514" y="1966544"/>
                    <a:pt x="161515" y="1964362"/>
                  </a:cubicBezTo>
                  <a:cubicBezTo>
                    <a:pt x="161515" y="1961451"/>
                    <a:pt x="161515" y="1954176"/>
                    <a:pt x="164425" y="1945446"/>
                  </a:cubicBezTo>
                  <a:cubicBezTo>
                    <a:pt x="168791" y="1926529"/>
                    <a:pt x="176066" y="1917799"/>
                    <a:pt x="178976" y="1916344"/>
                  </a:cubicBezTo>
                  <a:cubicBezTo>
                    <a:pt x="184796" y="1914889"/>
                    <a:pt x="177521" y="1948356"/>
                    <a:pt x="167335" y="1962906"/>
                  </a:cubicBezTo>
                  <a:cubicBezTo>
                    <a:pt x="165880" y="1965089"/>
                    <a:pt x="164425" y="1966544"/>
                    <a:pt x="163333" y="1966908"/>
                  </a:cubicBezTo>
                  <a:close/>
                  <a:moveTo>
                    <a:pt x="128411" y="1989280"/>
                  </a:moveTo>
                  <a:cubicBezTo>
                    <a:pt x="127320" y="1990553"/>
                    <a:pt x="126592" y="1990554"/>
                    <a:pt x="126593" y="1989098"/>
                  </a:cubicBezTo>
                  <a:cubicBezTo>
                    <a:pt x="126592" y="1987644"/>
                    <a:pt x="125138" y="1984733"/>
                    <a:pt x="129503" y="1970183"/>
                  </a:cubicBezTo>
                  <a:cubicBezTo>
                    <a:pt x="133867" y="1952722"/>
                    <a:pt x="139689" y="1943991"/>
                    <a:pt x="141143" y="1942536"/>
                  </a:cubicBezTo>
                  <a:cubicBezTo>
                    <a:pt x="145509" y="1941080"/>
                    <a:pt x="139689" y="1965817"/>
                    <a:pt x="132413" y="1981823"/>
                  </a:cubicBezTo>
                  <a:cubicBezTo>
                    <a:pt x="130958" y="1985461"/>
                    <a:pt x="129503" y="1988007"/>
                    <a:pt x="128411" y="1989280"/>
                  </a:cubicBezTo>
                  <a:close/>
                  <a:moveTo>
                    <a:pt x="100401" y="2018201"/>
                  </a:moveTo>
                  <a:cubicBezTo>
                    <a:pt x="100401" y="2018201"/>
                    <a:pt x="98946" y="2016745"/>
                    <a:pt x="103312" y="1999284"/>
                  </a:cubicBezTo>
                  <a:cubicBezTo>
                    <a:pt x="109132" y="1983278"/>
                    <a:pt x="112042" y="1973093"/>
                    <a:pt x="113497" y="1973093"/>
                  </a:cubicBezTo>
                  <a:cubicBezTo>
                    <a:pt x="116408" y="1974547"/>
                    <a:pt x="103312" y="2016745"/>
                    <a:pt x="100401" y="2018201"/>
                  </a:cubicBezTo>
                  <a:close/>
                  <a:moveTo>
                    <a:pt x="82939" y="2048758"/>
                  </a:moveTo>
                  <a:cubicBezTo>
                    <a:pt x="82939" y="2048758"/>
                    <a:pt x="82939" y="2048758"/>
                    <a:pt x="87306" y="2032751"/>
                  </a:cubicBezTo>
                  <a:cubicBezTo>
                    <a:pt x="91670" y="2016745"/>
                    <a:pt x="94581" y="2008015"/>
                    <a:pt x="94581" y="2006560"/>
                  </a:cubicBezTo>
                  <a:cubicBezTo>
                    <a:pt x="94581" y="2008015"/>
                    <a:pt x="84395" y="2044392"/>
                    <a:pt x="82939" y="2048758"/>
                  </a:cubicBezTo>
                  <a:close/>
                  <a:moveTo>
                    <a:pt x="529108" y="1995828"/>
                  </a:moveTo>
                  <a:cubicBezTo>
                    <a:pt x="526743" y="1994555"/>
                    <a:pt x="525288" y="1991281"/>
                    <a:pt x="525288" y="1986188"/>
                  </a:cubicBezTo>
                  <a:cubicBezTo>
                    <a:pt x="525289" y="1984734"/>
                    <a:pt x="525289" y="1984734"/>
                    <a:pt x="525288" y="1983278"/>
                  </a:cubicBezTo>
                  <a:cubicBezTo>
                    <a:pt x="529654" y="1974548"/>
                    <a:pt x="536929" y="1970183"/>
                    <a:pt x="539840" y="1970183"/>
                  </a:cubicBezTo>
                  <a:cubicBezTo>
                    <a:pt x="548570" y="1970183"/>
                    <a:pt x="547115" y="1986189"/>
                    <a:pt x="538384" y="1993464"/>
                  </a:cubicBezTo>
                  <a:cubicBezTo>
                    <a:pt x="534746" y="1996374"/>
                    <a:pt x="531472" y="1997101"/>
                    <a:pt x="529108" y="1995828"/>
                  </a:cubicBezTo>
                  <a:close/>
                  <a:moveTo>
                    <a:pt x="443257" y="2009106"/>
                  </a:moveTo>
                  <a:cubicBezTo>
                    <a:pt x="440893" y="2008015"/>
                    <a:pt x="439438" y="2005104"/>
                    <a:pt x="439438" y="2000739"/>
                  </a:cubicBezTo>
                  <a:cubicBezTo>
                    <a:pt x="439438" y="1999284"/>
                    <a:pt x="439437" y="1997830"/>
                    <a:pt x="439438" y="1996374"/>
                  </a:cubicBezTo>
                  <a:cubicBezTo>
                    <a:pt x="442348" y="1984733"/>
                    <a:pt x="449624" y="1978913"/>
                    <a:pt x="453989" y="1978913"/>
                  </a:cubicBezTo>
                  <a:cubicBezTo>
                    <a:pt x="462719" y="1978913"/>
                    <a:pt x="461265" y="1997829"/>
                    <a:pt x="452533" y="2006560"/>
                  </a:cubicBezTo>
                  <a:cubicBezTo>
                    <a:pt x="448896" y="2009470"/>
                    <a:pt x="445622" y="2010197"/>
                    <a:pt x="443257" y="2009106"/>
                  </a:cubicBezTo>
                  <a:close/>
                  <a:moveTo>
                    <a:pt x="363045" y="2026567"/>
                  </a:moveTo>
                  <a:cubicBezTo>
                    <a:pt x="360862" y="2025476"/>
                    <a:pt x="359408" y="2022565"/>
                    <a:pt x="359408" y="2018200"/>
                  </a:cubicBezTo>
                  <a:cubicBezTo>
                    <a:pt x="359408" y="2015290"/>
                    <a:pt x="359407" y="2013835"/>
                    <a:pt x="360863" y="2010925"/>
                  </a:cubicBezTo>
                  <a:cubicBezTo>
                    <a:pt x="363773" y="1997829"/>
                    <a:pt x="369593" y="1992009"/>
                    <a:pt x="373959" y="1992008"/>
                  </a:cubicBezTo>
                  <a:cubicBezTo>
                    <a:pt x="382689" y="1992008"/>
                    <a:pt x="379778" y="2013835"/>
                    <a:pt x="371049" y="2024021"/>
                  </a:cubicBezTo>
                  <a:cubicBezTo>
                    <a:pt x="368138" y="2026931"/>
                    <a:pt x="365227" y="2027659"/>
                    <a:pt x="363045" y="2026567"/>
                  </a:cubicBezTo>
                  <a:close/>
                  <a:moveTo>
                    <a:pt x="291019" y="2044756"/>
                  </a:moveTo>
                  <a:cubicBezTo>
                    <a:pt x="289199" y="2044028"/>
                    <a:pt x="288108" y="2041482"/>
                    <a:pt x="288108" y="2037117"/>
                  </a:cubicBezTo>
                  <a:cubicBezTo>
                    <a:pt x="288108" y="2034207"/>
                    <a:pt x="288108" y="2029841"/>
                    <a:pt x="289563" y="2028387"/>
                  </a:cubicBezTo>
                  <a:cubicBezTo>
                    <a:pt x="292473" y="2012380"/>
                    <a:pt x="298293" y="2006560"/>
                    <a:pt x="302659" y="2006560"/>
                  </a:cubicBezTo>
                  <a:cubicBezTo>
                    <a:pt x="311389" y="2006560"/>
                    <a:pt x="308479" y="2029841"/>
                    <a:pt x="298293" y="2041482"/>
                  </a:cubicBezTo>
                  <a:cubicBezTo>
                    <a:pt x="295384" y="2044392"/>
                    <a:pt x="292837" y="2045484"/>
                    <a:pt x="291019" y="2044756"/>
                  </a:cubicBezTo>
                  <a:close/>
                  <a:moveTo>
                    <a:pt x="227358" y="2062763"/>
                  </a:moveTo>
                  <a:cubicBezTo>
                    <a:pt x="225902" y="2062217"/>
                    <a:pt x="224811" y="2060398"/>
                    <a:pt x="224084" y="2057488"/>
                  </a:cubicBezTo>
                  <a:cubicBezTo>
                    <a:pt x="224084" y="2053122"/>
                    <a:pt x="224085" y="2048758"/>
                    <a:pt x="225540" y="2047302"/>
                  </a:cubicBezTo>
                  <a:cubicBezTo>
                    <a:pt x="229905" y="2032751"/>
                    <a:pt x="235725" y="2025475"/>
                    <a:pt x="238635" y="2024021"/>
                  </a:cubicBezTo>
                  <a:cubicBezTo>
                    <a:pt x="245910" y="2024021"/>
                    <a:pt x="241546" y="2050212"/>
                    <a:pt x="232814" y="2060398"/>
                  </a:cubicBezTo>
                  <a:cubicBezTo>
                    <a:pt x="230631" y="2062581"/>
                    <a:pt x="228813" y="2063308"/>
                    <a:pt x="227358" y="2062763"/>
                  </a:cubicBezTo>
                  <a:close/>
                  <a:moveTo>
                    <a:pt x="174793" y="2086771"/>
                  </a:moveTo>
                  <a:cubicBezTo>
                    <a:pt x="173519" y="2086590"/>
                    <a:pt x="172429" y="2085134"/>
                    <a:pt x="171701" y="2082224"/>
                  </a:cubicBezTo>
                  <a:cubicBezTo>
                    <a:pt x="171701" y="2077859"/>
                    <a:pt x="171700" y="2072038"/>
                    <a:pt x="173156" y="2069128"/>
                  </a:cubicBezTo>
                  <a:cubicBezTo>
                    <a:pt x="176066" y="2054577"/>
                    <a:pt x="181886" y="2045847"/>
                    <a:pt x="184796" y="2045847"/>
                  </a:cubicBezTo>
                  <a:cubicBezTo>
                    <a:pt x="190616" y="2044392"/>
                    <a:pt x="186252" y="2072038"/>
                    <a:pt x="178976" y="2083679"/>
                  </a:cubicBezTo>
                  <a:cubicBezTo>
                    <a:pt x="177521" y="2085862"/>
                    <a:pt x="176066" y="2086953"/>
                    <a:pt x="174793" y="2086771"/>
                  </a:cubicBezTo>
                  <a:close/>
                  <a:moveTo>
                    <a:pt x="126592" y="2109872"/>
                  </a:moveTo>
                  <a:cubicBezTo>
                    <a:pt x="126593" y="2106960"/>
                    <a:pt x="126593" y="2102596"/>
                    <a:pt x="128048" y="2095320"/>
                  </a:cubicBezTo>
                  <a:cubicBezTo>
                    <a:pt x="130958" y="2079314"/>
                    <a:pt x="135323" y="2072039"/>
                    <a:pt x="138233" y="2070584"/>
                  </a:cubicBezTo>
                  <a:cubicBezTo>
                    <a:pt x="144054" y="2069128"/>
                    <a:pt x="138233" y="2096776"/>
                    <a:pt x="130958" y="2108416"/>
                  </a:cubicBezTo>
                  <a:cubicBezTo>
                    <a:pt x="128048" y="2112781"/>
                    <a:pt x="126592" y="2112782"/>
                    <a:pt x="126592" y="2109872"/>
                  </a:cubicBezTo>
                  <a:close/>
                  <a:moveTo>
                    <a:pt x="90215" y="2138973"/>
                  </a:moveTo>
                  <a:cubicBezTo>
                    <a:pt x="90216" y="2137518"/>
                    <a:pt x="88760" y="2134608"/>
                    <a:pt x="91670" y="2122967"/>
                  </a:cubicBezTo>
                  <a:cubicBezTo>
                    <a:pt x="94581" y="2106961"/>
                    <a:pt x="98946" y="2099686"/>
                    <a:pt x="100401" y="2099686"/>
                  </a:cubicBezTo>
                  <a:cubicBezTo>
                    <a:pt x="103311" y="2098231"/>
                    <a:pt x="100401" y="2120057"/>
                    <a:pt x="94581" y="2133153"/>
                  </a:cubicBezTo>
                  <a:cubicBezTo>
                    <a:pt x="93125" y="2137518"/>
                    <a:pt x="91670" y="2138973"/>
                    <a:pt x="90215" y="2138973"/>
                  </a:cubicBezTo>
                  <a:close/>
                  <a:moveTo>
                    <a:pt x="64024" y="2166620"/>
                  </a:moveTo>
                  <a:cubicBezTo>
                    <a:pt x="64024" y="2166620"/>
                    <a:pt x="62569" y="2163710"/>
                    <a:pt x="65478" y="2152069"/>
                  </a:cubicBezTo>
                  <a:cubicBezTo>
                    <a:pt x="68389" y="2138974"/>
                    <a:pt x="71299" y="2131698"/>
                    <a:pt x="72755" y="2130243"/>
                  </a:cubicBezTo>
                  <a:cubicBezTo>
                    <a:pt x="75664" y="2131698"/>
                    <a:pt x="66934" y="2165165"/>
                    <a:pt x="64024" y="2166620"/>
                  </a:cubicBezTo>
                  <a:close/>
                  <a:moveTo>
                    <a:pt x="52489" y="2172351"/>
                  </a:moveTo>
                  <a:lnTo>
                    <a:pt x="52906" y="2170371"/>
                  </a:lnTo>
                  <a:cubicBezTo>
                    <a:pt x="53474" y="2167529"/>
                    <a:pt x="53838" y="2165529"/>
                    <a:pt x="53838" y="2165165"/>
                  </a:cubicBezTo>
                  <a:cubicBezTo>
                    <a:pt x="53838" y="2165892"/>
                    <a:pt x="53475" y="2168075"/>
                    <a:pt x="52747" y="2171349"/>
                  </a:cubicBezTo>
                  <a:close/>
                  <a:moveTo>
                    <a:pt x="419613" y="2139701"/>
                  </a:moveTo>
                  <a:cubicBezTo>
                    <a:pt x="417612" y="2138973"/>
                    <a:pt x="416156" y="2136791"/>
                    <a:pt x="416156" y="2133153"/>
                  </a:cubicBezTo>
                  <a:cubicBezTo>
                    <a:pt x="416157" y="2131698"/>
                    <a:pt x="416157" y="2130242"/>
                    <a:pt x="416157" y="2130242"/>
                  </a:cubicBezTo>
                  <a:cubicBezTo>
                    <a:pt x="417612" y="2121512"/>
                    <a:pt x="423432" y="2117147"/>
                    <a:pt x="426342" y="2117147"/>
                  </a:cubicBezTo>
                  <a:cubicBezTo>
                    <a:pt x="432163" y="2117147"/>
                    <a:pt x="432163" y="2130243"/>
                    <a:pt x="426343" y="2137518"/>
                  </a:cubicBezTo>
                  <a:cubicBezTo>
                    <a:pt x="424160" y="2139701"/>
                    <a:pt x="421613" y="2140429"/>
                    <a:pt x="419613" y="2139701"/>
                  </a:cubicBezTo>
                  <a:close/>
                  <a:moveTo>
                    <a:pt x="338855" y="2160072"/>
                  </a:moveTo>
                  <a:cubicBezTo>
                    <a:pt x="337218" y="2159344"/>
                    <a:pt x="336126" y="2157162"/>
                    <a:pt x="336126" y="2153524"/>
                  </a:cubicBezTo>
                  <a:cubicBezTo>
                    <a:pt x="336126" y="2152068"/>
                    <a:pt x="336126" y="2150613"/>
                    <a:pt x="336126" y="2149159"/>
                  </a:cubicBezTo>
                  <a:cubicBezTo>
                    <a:pt x="337582" y="2138973"/>
                    <a:pt x="343401" y="2134607"/>
                    <a:pt x="346311" y="2134607"/>
                  </a:cubicBezTo>
                  <a:cubicBezTo>
                    <a:pt x="353588" y="2134607"/>
                    <a:pt x="352132" y="2150613"/>
                    <a:pt x="344856" y="2157889"/>
                  </a:cubicBezTo>
                  <a:cubicBezTo>
                    <a:pt x="342673" y="2160072"/>
                    <a:pt x="340492" y="2160799"/>
                    <a:pt x="338855" y="2160072"/>
                  </a:cubicBezTo>
                  <a:close/>
                  <a:moveTo>
                    <a:pt x="46562" y="2197177"/>
                  </a:moveTo>
                  <a:cubicBezTo>
                    <a:pt x="46562" y="2197177"/>
                    <a:pt x="46562" y="2197177"/>
                    <a:pt x="49473" y="2184082"/>
                  </a:cubicBezTo>
                  <a:lnTo>
                    <a:pt x="52489" y="2172351"/>
                  </a:lnTo>
                  <a:lnTo>
                    <a:pt x="50747" y="2180625"/>
                  </a:lnTo>
                  <a:cubicBezTo>
                    <a:pt x="49110" y="2188083"/>
                    <a:pt x="47290" y="2195722"/>
                    <a:pt x="46562" y="2197177"/>
                  </a:cubicBezTo>
                  <a:close/>
                  <a:moveTo>
                    <a:pt x="266646" y="2182080"/>
                  </a:moveTo>
                  <a:cubicBezTo>
                    <a:pt x="265190" y="2181534"/>
                    <a:pt x="264099" y="2179716"/>
                    <a:pt x="263371" y="2176805"/>
                  </a:cubicBezTo>
                  <a:cubicBezTo>
                    <a:pt x="263371" y="2173895"/>
                    <a:pt x="263371" y="2170985"/>
                    <a:pt x="263371" y="2169530"/>
                  </a:cubicBezTo>
                  <a:cubicBezTo>
                    <a:pt x="266281" y="2159344"/>
                    <a:pt x="270647" y="2153524"/>
                    <a:pt x="273557" y="2153524"/>
                  </a:cubicBezTo>
                  <a:cubicBezTo>
                    <a:pt x="279377" y="2153524"/>
                    <a:pt x="279377" y="2170985"/>
                    <a:pt x="272102" y="2179715"/>
                  </a:cubicBezTo>
                  <a:cubicBezTo>
                    <a:pt x="269920" y="2181898"/>
                    <a:pt x="268101" y="2182626"/>
                    <a:pt x="266646" y="2182080"/>
                  </a:cubicBezTo>
                  <a:close/>
                  <a:moveTo>
                    <a:pt x="202440" y="2205361"/>
                  </a:moveTo>
                  <a:cubicBezTo>
                    <a:pt x="201167" y="2204816"/>
                    <a:pt x="200075" y="2202997"/>
                    <a:pt x="199348" y="2200086"/>
                  </a:cubicBezTo>
                  <a:cubicBezTo>
                    <a:pt x="199347" y="2197176"/>
                    <a:pt x="199347" y="2194267"/>
                    <a:pt x="199348" y="2191357"/>
                  </a:cubicBezTo>
                  <a:cubicBezTo>
                    <a:pt x="202258" y="2181170"/>
                    <a:pt x="206623" y="2175350"/>
                    <a:pt x="209533" y="2175350"/>
                  </a:cubicBezTo>
                  <a:cubicBezTo>
                    <a:pt x="215353" y="2173895"/>
                    <a:pt x="213899" y="2195721"/>
                    <a:pt x="206622" y="2202997"/>
                  </a:cubicBezTo>
                  <a:cubicBezTo>
                    <a:pt x="205167" y="2205180"/>
                    <a:pt x="203712" y="2205907"/>
                    <a:pt x="202440" y="2205361"/>
                  </a:cubicBezTo>
                  <a:close/>
                  <a:moveTo>
                    <a:pt x="151329" y="2229189"/>
                  </a:moveTo>
                  <a:cubicBezTo>
                    <a:pt x="148419" y="2232099"/>
                    <a:pt x="146963" y="2232099"/>
                    <a:pt x="145509" y="2229189"/>
                  </a:cubicBezTo>
                  <a:cubicBezTo>
                    <a:pt x="144054" y="2226279"/>
                    <a:pt x="145509" y="2220458"/>
                    <a:pt x="145509" y="2219004"/>
                  </a:cubicBezTo>
                  <a:cubicBezTo>
                    <a:pt x="146964" y="2207362"/>
                    <a:pt x="151329" y="2200087"/>
                    <a:pt x="154239" y="2200087"/>
                  </a:cubicBezTo>
                  <a:cubicBezTo>
                    <a:pt x="160060" y="2198632"/>
                    <a:pt x="157149" y="2220458"/>
                    <a:pt x="151329" y="2229189"/>
                  </a:cubicBezTo>
                  <a:close/>
                  <a:moveTo>
                    <a:pt x="100401" y="2258290"/>
                  </a:moveTo>
                  <a:cubicBezTo>
                    <a:pt x="100401" y="2256836"/>
                    <a:pt x="100401" y="2252470"/>
                    <a:pt x="100401" y="2246649"/>
                  </a:cubicBezTo>
                  <a:cubicBezTo>
                    <a:pt x="101856" y="2235009"/>
                    <a:pt x="104767" y="2227734"/>
                    <a:pt x="107676" y="2227734"/>
                  </a:cubicBezTo>
                  <a:cubicBezTo>
                    <a:pt x="112042" y="2226278"/>
                    <a:pt x="109131" y="2246649"/>
                    <a:pt x="104766" y="2256836"/>
                  </a:cubicBezTo>
                  <a:cubicBezTo>
                    <a:pt x="103312" y="2259746"/>
                    <a:pt x="101857" y="2259746"/>
                    <a:pt x="100401" y="2258290"/>
                  </a:cubicBezTo>
                  <a:close/>
                  <a:moveTo>
                    <a:pt x="64024" y="2287393"/>
                  </a:moveTo>
                  <a:cubicBezTo>
                    <a:pt x="64024" y="2285937"/>
                    <a:pt x="64024" y="2283027"/>
                    <a:pt x="64024" y="2275752"/>
                  </a:cubicBezTo>
                  <a:cubicBezTo>
                    <a:pt x="65479" y="2264111"/>
                    <a:pt x="68390" y="2258291"/>
                    <a:pt x="69844" y="2258290"/>
                  </a:cubicBezTo>
                  <a:cubicBezTo>
                    <a:pt x="72755" y="2256836"/>
                    <a:pt x="71300" y="2274296"/>
                    <a:pt x="66934" y="2283027"/>
                  </a:cubicBezTo>
                  <a:cubicBezTo>
                    <a:pt x="65479" y="2287393"/>
                    <a:pt x="64024" y="2288848"/>
                    <a:pt x="64024" y="2287393"/>
                  </a:cubicBezTo>
                  <a:close/>
                  <a:moveTo>
                    <a:pt x="36377" y="2317949"/>
                  </a:moveTo>
                  <a:cubicBezTo>
                    <a:pt x="36377" y="2317949"/>
                    <a:pt x="34922" y="2316494"/>
                    <a:pt x="36377" y="2307764"/>
                  </a:cubicBezTo>
                  <a:cubicBezTo>
                    <a:pt x="39287" y="2297578"/>
                    <a:pt x="40743" y="2291757"/>
                    <a:pt x="40743" y="2291757"/>
                  </a:cubicBezTo>
                  <a:cubicBezTo>
                    <a:pt x="42197" y="2291758"/>
                    <a:pt x="37832" y="2317949"/>
                    <a:pt x="36377" y="2317949"/>
                  </a:cubicBezTo>
                  <a:close/>
                  <a:moveTo>
                    <a:pt x="248099" y="2312748"/>
                  </a:moveTo>
                  <a:lnTo>
                    <a:pt x="250276" y="2305945"/>
                  </a:lnTo>
                  <a:cubicBezTo>
                    <a:pt x="251367" y="2304126"/>
                    <a:pt x="252458" y="2303399"/>
                    <a:pt x="253186" y="2303399"/>
                  </a:cubicBezTo>
                  <a:lnTo>
                    <a:pt x="254763" y="2306553"/>
                  </a:lnTo>
                  <a:close/>
                  <a:moveTo>
                    <a:pt x="18916" y="2349961"/>
                  </a:moveTo>
                  <a:cubicBezTo>
                    <a:pt x="18916" y="2349961"/>
                    <a:pt x="18915" y="2345597"/>
                    <a:pt x="20371" y="2341231"/>
                  </a:cubicBezTo>
                  <a:cubicBezTo>
                    <a:pt x="21825" y="2331045"/>
                    <a:pt x="21825" y="2326680"/>
                    <a:pt x="23281" y="2326680"/>
                  </a:cubicBezTo>
                  <a:cubicBezTo>
                    <a:pt x="23281" y="2328135"/>
                    <a:pt x="20371" y="2349961"/>
                    <a:pt x="18916" y="2349961"/>
                  </a:cubicBezTo>
                  <a:close/>
                  <a:moveTo>
                    <a:pt x="189162" y="2347051"/>
                  </a:moveTo>
                  <a:cubicBezTo>
                    <a:pt x="187706" y="2349961"/>
                    <a:pt x="184796" y="2349961"/>
                    <a:pt x="184796" y="2345596"/>
                  </a:cubicBezTo>
                  <a:cubicBezTo>
                    <a:pt x="184796" y="2344141"/>
                    <a:pt x="184796" y="2341230"/>
                    <a:pt x="184796" y="2339776"/>
                  </a:cubicBezTo>
                  <a:cubicBezTo>
                    <a:pt x="184796" y="2332500"/>
                    <a:pt x="187706" y="2329590"/>
                    <a:pt x="189162" y="2329590"/>
                  </a:cubicBezTo>
                  <a:cubicBezTo>
                    <a:pt x="193527" y="2328134"/>
                    <a:pt x="192072" y="2341230"/>
                    <a:pt x="189162" y="2347051"/>
                  </a:cubicBezTo>
                  <a:close/>
                  <a:moveTo>
                    <a:pt x="132413" y="2374698"/>
                  </a:moveTo>
                  <a:cubicBezTo>
                    <a:pt x="130958" y="2377608"/>
                    <a:pt x="129503" y="2377608"/>
                    <a:pt x="128048" y="2374698"/>
                  </a:cubicBezTo>
                  <a:cubicBezTo>
                    <a:pt x="128048" y="2373243"/>
                    <a:pt x="128048" y="2368878"/>
                    <a:pt x="128048" y="2367423"/>
                  </a:cubicBezTo>
                  <a:cubicBezTo>
                    <a:pt x="129503" y="2361603"/>
                    <a:pt x="130958" y="2357237"/>
                    <a:pt x="132413" y="2357237"/>
                  </a:cubicBezTo>
                  <a:cubicBezTo>
                    <a:pt x="135323" y="2355781"/>
                    <a:pt x="135323" y="2368878"/>
                    <a:pt x="132413" y="2374698"/>
                  </a:cubicBezTo>
                  <a:close/>
                  <a:moveTo>
                    <a:pt x="84395" y="2406710"/>
                  </a:moveTo>
                  <a:cubicBezTo>
                    <a:pt x="82940" y="2408165"/>
                    <a:pt x="81485" y="2409620"/>
                    <a:pt x="81485" y="2406709"/>
                  </a:cubicBezTo>
                  <a:cubicBezTo>
                    <a:pt x="81485" y="2405255"/>
                    <a:pt x="81485" y="2400890"/>
                    <a:pt x="81485" y="2399434"/>
                  </a:cubicBezTo>
                  <a:cubicBezTo>
                    <a:pt x="82941" y="2392159"/>
                    <a:pt x="84396" y="2387794"/>
                    <a:pt x="85851" y="2387794"/>
                  </a:cubicBezTo>
                  <a:cubicBezTo>
                    <a:pt x="88761" y="2386339"/>
                    <a:pt x="87305" y="2400889"/>
                    <a:pt x="84395" y="2406710"/>
                  </a:cubicBezTo>
                  <a:close/>
                  <a:moveTo>
                    <a:pt x="45107" y="2437267"/>
                  </a:moveTo>
                  <a:cubicBezTo>
                    <a:pt x="45107" y="2437267"/>
                    <a:pt x="45107" y="2434357"/>
                    <a:pt x="45107" y="2429991"/>
                  </a:cubicBezTo>
                  <a:cubicBezTo>
                    <a:pt x="45107" y="2424171"/>
                    <a:pt x="46563" y="2419805"/>
                    <a:pt x="48017" y="2419806"/>
                  </a:cubicBezTo>
                  <a:cubicBezTo>
                    <a:pt x="49472" y="2418351"/>
                    <a:pt x="49473" y="2429991"/>
                    <a:pt x="46563" y="2435812"/>
                  </a:cubicBezTo>
                  <a:cubicBezTo>
                    <a:pt x="46563" y="2437266"/>
                    <a:pt x="45107" y="2438722"/>
                    <a:pt x="45107" y="2437267"/>
                  </a:cubicBezTo>
                  <a:close/>
                  <a:moveTo>
                    <a:pt x="17461" y="2470734"/>
                  </a:moveTo>
                  <a:cubicBezTo>
                    <a:pt x="17461" y="2470734"/>
                    <a:pt x="17461" y="2466368"/>
                    <a:pt x="17460" y="2464914"/>
                  </a:cubicBezTo>
                  <a:cubicBezTo>
                    <a:pt x="18916" y="2457638"/>
                    <a:pt x="18916" y="2454728"/>
                    <a:pt x="18916" y="2454728"/>
                  </a:cubicBezTo>
                  <a:cubicBezTo>
                    <a:pt x="18916" y="2454728"/>
                    <a:pt x="18916" y="2457638"/>
                    <a:pt x="18916" y="2462003"/>
                  </a:cubicBezTo>
                  <a:cubicBezTo>
                    <a:pt x="18916" y="2464914"/>
                    <a:pt x="17460" y="2469279"/>
                    <a:pt x="17461" y="2470734"/>
                  </a:cubicBezTo>
                  <a:close/>
                  <a:moveTo>
                    <a:pt x="0" y="2504201"/>
                  </a:moveTo>
                  <a:cubicBezTo>
                    <a:pt x="0" y="2504201"/>
                    <a:pt x="0" y="2504201"/>
                    <a:pt x="0" y="2499837"/>
                  </a:cubicBezTo>
                  <a:cubicBezTo>
                    <a:pt x="0" y="2494016"/>
                    <a:pt x="1455" y="2491106"/>
                    <a:pt x="1455" y="2491106"/>
                  </a:cubicBezTo>
                  <a:cubicBezTo>
                    <a:pt x="1455" y="2492561"/>
                    <a:pt x="0" y="2502747"/>
                    <a:pt x="0" y="2504201"/>
                  </a:cubicBezTo>
                  <a:close/>
                </a:path>
              </a:pathLst>
            </a:custGeom>
            <a:gradFill>
              <a:gsLst>
                <a:gs pos="0">
                  <a:schemeClr val="tx1">
                    <a:alpha val="0"/>
                  </a:schemeClr>
                </a:gs>
                <a:gs pos="100000">
                  <a:schemeClr val="accent3">
                    <a:alpha val="27000"/>
                  </a:schemeClr>
                </a:gs>
              </a:gsLst>
              <a:lin ang="0" scaled="1"/>
            </a:gradFill>
            <a:ln w="18703" cap="flat">
              <a:noFill/>
              <a:prstDash val="solid"/>
              <a:miter/>
            </a:ln>
          </p:spPr>
          <p:txBody>
            <a:bodyPr rtlCol="0" anchor="ctr"/>
            <a:lstStyle/>
            <a:p>
              <a:endParaRPr lang="en-US" sz="1765"/>
            </a:p>
          </p:txBody>
        </p:sp>
        <p:sp>
          <p:nvSpPr>
            <p:cNvPr id="13" name="Freeform: Shape 12">
              <a:extLst>
                <a:ext uri="{FF2B5EF4-FFF2-40B4-BE49-F238E27FC236}">
                  <a16:creationId xmlns:a16="http://schemas.microsoft.com/office/drawing/2014/main" id="{7AB3EAA6-12CC-4135-9ABA-69DF021EC3F2}"/>
                </a:ext>
                <a:ext uri="{C183D7F6-B498-43B3-948B-1728B52AA6E4}">
                  <adec:decorative xmlns:adec="http://schemas.microsoft.com/office/drawing/2017/decorative" val="1"/>
                </a:ext>
              </a:extLst>
            </p:cNvPr>
            <p:cNvSpPr/>
            <p:nvPr/>
          </p:nvSpPr>
          <p:spPr bwMode="auto">
            <a:xfrm rot="14039701">
              <a:off x="10618934" y="-793110"/>
              <a:ext cx="267051" cy="4357441"/>
            </a:xfrm>
            <a:custGeom>
              <a:avLst/>
              <a:gdLst>
                <a:gd name="connsiteX0" fmla="*/ 267051 w 267051"/>
                <a:gd name="connsiteY0" fmla="*/ 4357441 h 4357441"/>
                <a:gd name="connsiteX1" fmla="*/ 0 w 267051"/>
                <a:gd name="connsiteY1" fmla="*/ 4163382 h 4357441"/>
                <a:gd name="connsiteX2" fmla="*/ 267051 w 267051"/>
                <a:gd name="connsiteY2" fmla="*/ 0 h 4357441"/>
              </a:gdLst>
              <a:ahLst/>
              <a:cxnLst>
                <a:cxn ang="0">
                  <a:pos x="connsiteX0" y="connsiteY0"/>
                </a:cxn>
                <a:cxn ang="0">
                  <a:pos x="connsiteX1" y="connsiteY1"/>
                </a:cxn>
                <a:cxn ang="0">
                  <a:pos x="connsiteX2" y="connsiteY2"/>
                </a:cxn>
              </a:cxnLst>
              <a:rect l="l" t="t" r="r" b="b"/>
              <a:pathLst>
                <a:path w="267051" h="4357441">
                  <a:moveTo>
                    <a:pt x="267051" y="4357441"/>
                  </a:moveTo>
                  <a:lnTo>
                    <a:pt x="0" y="4163382"/>
                  </a:lnTo>
                  <a:lnTo>
                    <a:pt x="267051" y="0"/>
                  </a:lnTo>
                  <a:close/>
                </a:path>
              </a:pathLst>
            </a:custGeom>
            <a:gradFill flip="none" rotWithShape="1">
              <a:gsLst>
                <a:gs pos="0">
                  <a:srgbClr val="0B79D5">
                    <a:alpha val="0"/>
                  </a:srgbClr>
                </a:gs>
                <a:gs pos="100000">
                  <a:srgbClr val="4CB1FF">
                    <a:alpha val="56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4FD836CC-9A46-4258-9101-90B784525413}"/>
                </a:ext>
                <a:ext uri="{C183D7F6-B498-43B3-948B-1728B52AA6E4}">
                  <adec:decorative xmlns:adec="http://schemas.microsoft.com/office/drawing/2017/decorative" val="1"/>
                </a:ext>
              </a:extLst>
            </p:cNvPr>
            <p:cNvSpPr/>
            <p:nvPr/>
          </p:nvSpPr>
          <p:spPr>
            <a:xfrm rot="1213765">
              <a:off x="9061077" y="-81611"/>
              <a:ext cx="2970322" cy="7807478"/>
            </a:xfrm>
            <a:custGeom>
              <a:avLst/>
              <a:gdLst>
                <a:gd name="connsiteX0" fmla="*/ 2237818 w 2649035"/>
                <a:gd name="connsiteY0" fmla="*/ 6961437 h 6962977"/>
                <a:gd name="connsiteX1" fmla="*/ 2239358 w 2649035"/>
                <a:gd name="connsiteY1" fmla="*/ 6961437 h 6962977"/>
                <a:gd name="connsiteX2" fmla="*/ 2237818 w 2649035"/>
                <a:gd name="connsiteY2" fmla="*/ 6962977 h 6962977"/>
                <a:gd name="connsiteX3" fmla="*/ 2236278 w 2649035"/>
                <a:gd name="connsiteY3" fmla="*/ 6962977 h 6962977"/>
                <a:gd name="connsiteX4" fmla="*/ 2300964 w 2649035"/>
                <a:gd name="connsiteY4" fmla="*/ 6792021 h 6962977"/>
                <a:gd name="connsiteX5" fmla="*/ 2300964 w 2649035"/>
                <a:gd name="connsiteY5" fmla="*/ 6793561 h 6962977"/>
                <a:gd name="connsiteX6" fmla="*/ 2299424 w 2649035"/>
                <a:gd name="connsiteY6" fmla="*/ 6793561 h 6962977"/>
                <a:gd name="connsiteX7" fmla="*/ 2359488 w 2649035"/>
                <a:gd name="connsiteY7" fmla="*/ 6614906 h 6962977"/>
                <a:gd name="connsiteX8" fmla="*/ 2361029 w 2649035"/>
                <a:gd name="connsiteY8" fmla="*/ 6614906 h 6962977"/>
                <a:gd name="connsiteX9" fmla="*/ 2357948 w 2649035"/>
                <a:gd name="connsiteY9" fmla="*/ 6619526 h 6962977"/>
                <a:gd name="connsiteX10" fmla="*/ 2354868 w 2649035"/>
                <a:gd name="connsiteY10" fmla="*/ 6619526 h 6962977"/>
                <a:gd name="connsiteX11" fmla="*/ 2156190 w 2649035"/>
                <a:gd name="connsiteY11" fmla="*/ 6602585 h 6962977"/>
                <a:gd name="connsiteX12" fmla="*/ 2162351 w 2649035"/>
                <a:gd name="connsiteY12" fmla="*/ 6602585 h 6962977"/>
                <a:gd name="connsiteX13" fmla="*/ 2154650 w 2649035"/>
                <a:gd name="connsiteY13" fmla="*/ 6611825 h 6962977"/>
                <a:gd name="connsiteX14" fmla="*/ 2150030 w 2649035"/>
                <a:gd name="connsiteY14" fmla="*/ 6610286 h 6962977"/>
                <a:gd name="connsiteX15" fmla="*/ 2410314 w 2649035"/>
                <a:gd name="connsiteY15" fmla="*/ 6431630 h 6962977"/>
                <a:gd name="connsiteX16" fmla="*/ 2416474 w 2649035"/>
                <a:gd name="connsiteY16" fmla="*/ 6431630 h 6962977"/>
                <a:gd name="connsiteX17" fmla="*/ 2408773 w 2649035"/>
                <a:gd name="connsiteY17" fmla="*/ 6440871 h 6962977"/>
                <a:gd name="connsiteX18" fmla="*/ 2402613 w 2649035"/>
                <a:gd name="connsiteY18" fmla="*/ 6440871 h 6962977"/>
                <a:gd name="connsiteX19" fmla="*/ 2197774 w 2649035"/>
                <a:gd name="connsiteY19" fmla="*/ 6413148 h 6962977"/>
                <a:gd name="connsiteX20" fmla="*/ 2207015 w 2649035"/>
                <a:gd name="connsiteY20" fmla="*/ 6413148 h 6962977"/>
                <a:gd name="connsiteX21" fmla="*/ 2191614 w 2649035"/>
                <a:gd name="connsiteY21" fmla="*/ 6427009 h 6962977"/>
                <a:gd name="connsiteX22" fmla="*/ 2194694 w 2649035"/>
                <a:gd name="connsiteY22" fmla="*/ 6416228 h 6962977"/>
                <a:gd name="connsiteX23" fmla="*/ 2197774 w 2649035"/>
                <a:gd name="connsiteY23" fmla="*/ 6413148 h 6962977"/>
                <a:gd name="connsiteX24" fmla="*/ 1974455 w 2649035"/>
                <a:gd name="connsiteY24" fmla="*/ 6391586 h 6962977"/>
                <a:gd name="connsiteX25" fmla="*/ 1975995 w 2649035"/>
                <a:gd name="connsiteY25" fmla="*/ 6391586 h 6962977"/>
                <a:gd name="connsiteX26" fmla="*/ 1974455 w 2649035"/>
                <a:gd name="connsiteY26" fmla="*/ 6393126 h 6962977"/>
                <a:gd name="connsiteX27" fmla="*/ 1972915 w 2649035"/>
                <a:gd name="connsiteY27" fmla="*/ 6393126 h 6962977"/>
                <a:gd name="connsiteX28" fmla="*/ 2462101 w 2649035"/>
                <a:gd name="connsiteY28" fmla="*/ 6239306 h 6962977"/>
                <a:gd name="connsiteX29" fmla="*/ 2464219 w 2649035"/>
                <a:gd name="connsiteY29" fmla="*/ 6242193 h 6962977"/>
                <a:gd name="connsiteX30" fmla="*/ 2448817 w 2649035"/>
                <a:gd name="connsiteY30" fmla="*/ 6256055 h 6962977"/>
                <a:gd name="connsiteX31" fmla="*/ 2453438 w 2649035"/>
                <a:gd name="connsiteY31" fmla="*/ 6245273 h 6962977"/>
                <a:gd name="connsiteX32" fmla="*/ 2456518 w 2649035"/>
                <a:gd name="connsiteY32" fmla="*/ 6242193 h 6962977"/>
                <a:gd name="connsiteX33" fmla="*/ 2462101 w 2649035"/>
                <a:gd name="connsiteY33" fmla="*/ 6239306 h 6962977"/>
                <a:gd name="connsiteX34" fmla="*/ 2241668 w 2649035"/>
                <a:gd name="connsiteY34" fmla="*/ 6215048 h 6962977"/>
                <a:gd name="connsiteX35" fmla="*/ 2245519 w 2649035"/>
                <a:gd name="connsiteY35" fmla="*/ 6219090 h 6962977"/>
                <a:gd name="connsiteX36" fmla="*/ 2225497 w 2649035"/>
                <a:gd name="connsiteY36" fmla="*/ 6237572 h 6962977"/>
                <a:gd name="connsiteX37" fmla="*/ 2230117 w 2649035"/>
                <a:gd name="connsiteY37" fmla="*/ 6222171 h 6962977"/>
                <a:gd name="connsiteX38" fmla="*/ 2233198 w 2649035"/>
                <a:gd name="connsiteY38" fmla="*/ 6219090 h 6962977"/>
                <a:gd name="connsiteX39" fmla="*/ 2241668 w 2649035"/>
                <a:gd name="connsiteY39" fmla="*/ 6215048 h 6962977"/>
                <a:gd name="connsiteX40" fmla="*/ 2002177 w 2649035"/>
                <a:gd name="connsiteY40" fmla="*/ 6192908 h 6962977"/>
                <a:gd name="connsiteX41" fmla="*/ 2006798 w 2649035"/>
                <a:gd name="connsiteY41" fmla="*/ 6192908 h 6962977"/>
                <a:gd name="connsiteX42" fmla="*/ 2002177 w 2649035"/>
                <a:gd name="connsiteY42" fmla="*/ 6199068 h 6962977"/>
                <a:gd name="connsiteX43" fmla="*/ 1997557 w 2649035"/>
                <a:gd name="connsiteY43" fmla="*/ 6199068 h 6962977"/>
                <a:gd name="connsiteX44" fmla="*/ 2503492 w 2649035"/>
                <a:gd name="connsiteY44" fmla="*/ 6044093 h 6962977"/>
                <a:gd name="connsiteX45" fmla="*/ 2507342 w 2649035"/>
                <a:gd name="connsiteY45" fmla="*/ 6048136 h 6962977"/>
                <a:gd name="connsiteX46" fmla="*/ 2487320 w 2649035"/>
                <a:gd name="connsiteY46" fmla="*/ 6066617 h 6962977"/>
                <a:gd name="connsiteX47" fmla="*/ 2491941 w 2649035"/>
                <a:gd name="connsiteY47" fmla="*/ 6051216 h 6962977"/>
                <a:gd name="connsiteX48" fmla="*/ 2495021 w 2649035"/>
                <a:gd name="connsiteY48" fmla="*/ 6048136 h 6962977"/>
                <a:gd name="connsiteX49" fmla="*/ 2503492 w 2649035"/>
                <a:gd name="connsiteY49" fmla="*/ 6044093 h 6962977"/>
                <a:gd name="connsiteX50" fmla="*/ 2272279 w 2649035"/>
                <a:gd name="connsiteY50" fmla="*/ 6014445 h 6962977"/>
                <a:gd name="connsiteX51" fmla="*/ 2277862 w 2649035"/>
                <a:gd name="connsiteY51" fmla="*/ 6018873 h 6962977"/>
                <a:gd name="connsiteX52" fmla="*/ 2254759 w 2649035"/>
                <a:gd name="connsiteY52" fmla="*/ 6041975 h 6962977"/>
                <a:gd name="connsiteX53" fmla="*/ 2259380 w 2649035"/>
                <a:gd name="connsiteY53" fmla="*/ 6023494 h 6962977"/>
                <a:gd name="connsiteX54" fmla="*/ 2260920 w 2649035"/>
                <a:gd name="connsiteY54" fmla="*/ 6020413 h 6962977"/>
                <a:gd name="connsiteX55" fmla="*/ 2272279 w 2649035"/>
                <a:gd name="connsiteY55" fmla="*/ 6014445 h 6962977"/>
                <a:gd name="connsiteX56" fmla="*/ 2026820 w 2649035"/>
                <a:gd name="connsiteY56" fmla="*/ 5994231 h 6962977"/>
                <a:gd name="connsiteX57" fmla="*/ 2032980 w 2649035"/>
                <a:gd name="connsiteY57" fmla="*/ 5994231 h 6962977"/>
                <a:gd name="connsiteX58" fmla="*/ 2026820 w 2649035"/>
                <a:gd name="connsiteY58" fmla="*/ 6003471 h 6962977"/>
                <a:gd name="connsiteX59" fmla="*/ 2020659 w 2649035"/>
                <a:gd name="connsiteY59" fmla="*/ 6003471 h 6962977"/>
                <a:gd name="connsiteX60" fmla="*/ 2536220 w 2649035"/>
                <a:gd name="connsiteY60" fmla="*/ 5842912 h 6962977"/>
                <a:gd name="connsiteX61" fmla="*/ 2541225 w 2649035"/>
                <a:gd name="connsiteY61" fmla="*/ 5847918 h 6962977"/>
                <a:gd name="connsiteX62" fmla="*/ 2518123 w 2649035"/>
                <a:gd name="connsiteY62" fmla="*/ 5871020 h 6962977"/>
                <a:gd name="connsiteX63" fmla="*/ 2522744 w 2649035"/>
                <a:gd name="connsiteY63" fmla="*/ 5852538 h 6962977"/>
                <a:gd name="connsiteX64" fmla="*/ 2524284 w 2649035"/>
                <a:gd name="connsiteY64" fmla="*/ 5849458 h 6962977"/>
                <a:gd name="connsiteX65" fmla="*/ 2536220 w 2649035"/>
                <a:gd name="connsiteY65" fmla="*/ 5842912 h 6962977"/>
                <a:gd name="connsiteX66" fmla="*/ 2303658 w 2649035"/>
                <a:gd name="connsiteY66" fmla="*/ 5812495 h 6962977"/>
                <a:gd name="connsiteX67" fmla="*/ 2310204 w 2649035"/>
                <a:gd name="connsiteY67" fmla="*/ 5818655 h 6962977"/>
                <a:gd name="connsiteX68" fmla="*/ 2280942 w 2649035"/>
                <a:gd name="connsiteY68" fmla="*/ 5846378 h 6962977"/>
                <a:gd name="connsiteX69" fmla="*/ 2285562 w 2649035"/>
                <a:gd name="connsiteY69" fmla="*/ 5823276 h 6962977"/>
                <a:gd name="connsiteX70" fmla="*/ 2290182 w 2649035"/>
                <a:gd name="connsiteY70" fmla="*/ 5820196 h 6962977"/>
                <a:gd name="connsiteX71" fmla="*/ 2303658 w 2649035"/>
                <a:gd name="connsiteY71" fmla="*/ 5812495 h 6962977"/>
                <a:gd name="connsiteX72" fmla="*/ 2053001 w 2649035"/>
                <a:gd name="connsiteY72" fmla="*/ 5789393 h 6962977"/>
                <a:gd name="connsiteX73" fmla="*/ 2057622 w 2649035"/>
                <a:gd name="connsiteY73" fmla="*/ 5792473 h 6962977"/>
                <a:gd name="connsiteX74" fmla="*/ 2040681 w 2649035"/>
                <a:gd name="connsiteY74" fmla="*/ 5807874 h 6962977"/>
                <a:gd name="connsiteX75" fmla="*/ 2043761 w 2649035"/>
                <a:gd name="connsiteY75" fmla="*/ 5795553 h 6962977"/>
                <a:gd name="connsiteX76" fmla="*/ 2053001 w 2649035"/>
                <a:gd name="connsiteY76" fmla="*/ 5789393 h 6962977"/>
                <a:gd name="connsiteX77" fmla="*/ 2566060 w 2649035"/>
                <a:gd name="connsiteY77" fmla="*/ 5645197 h 6962977"/>
                <a:gd name="connsiteX78" fmla="*/ 2572028 w 2649035"/>
                <a:gd name="connsiteY78" fmla="*/ 5650780 h 6962977"/>
                <a:gd name="connsiteX79" fmla="*/ 2544306 w 2649035"/>
                <a:gd name="connsiteY79" fmla="*/ 5678503 h 6962977"/>
                <a:gd name="connsiteX80" fmla="*/ 2548926 w 2649035"/>
                <a:gd name="connsiteY80" fmla="*/ 5655400 h 6962977"/>
                <a:gd name="connsiteX81" fmla="*/ 2552006 w 2649035"/>
                <a:gd name="connsiteY81" fmla="*/ 5652320 h 6962977"/>
                <a:gd name="connsiteX82" fmla="*/ 2566060 w 2649035"/>
                <a:gd name="connsiteY82" fmla="*/ 5645197 h 6962977"/>
                <a:gd name="connsiteX83" fmla="*/ 2325799 w 2649035"/>
                <a:gd name="connsiteY83" fmla="*/ 5610352 h 6962977"/>
                <a:gd name="connsiteX84" fmla="*/ 2334847 w 2649035"/>
                <a:gd name="connsiteY84" fmla="*/ 5616897 h 6962977"/>
                <a:gd name="connsiteX85" fmla="*/ 2300964 w 2649035"/>
                <a:gd name="connsiteY85" fmla="*/ 5649240 h 6962977"/>
                <a:gd name="connsiteX86" fmla="*/ 2307125 w 2649035"/>
                <a:gd name="connsiteY86" fmla="*/ 5621517 h 6962977"/>
                <a:gd name="connsiteX87" fmla="*/ 2308665 w 2649035"/>
                <a:gd name="connsiteY87" fmla="*/ 5619977 h 6962977"/>
                <a:gd name="connsiteX88" fmla="*/ 2325799 w 2649035"/>
                <a:gd name="connsiteY88" fmla="*/ 5610352 h 6962977"/>
                <a:gd name="connsiteX89" fmla="*/ 2071483 w 2649035"/>
                <a:gd name="connsiteY89" fmla="*/ 5585709 h 6962977"/>
                <a:gd name="connsiteX90" fmla="*/ 2077644 w 2649035"/>
                <a:gd name="connsiteY90" fmla="*/ 5589174 h 6962977"/>
                <a:gd name="connsiteX91" fmla="*/ 2057622 w 2649035"/>
                <a:gd name="connsiteY91" fmla="*/ 5609196 h 6962977"/>
                <a:gd name="connsiteX92" fmla="*/ 2060703 w 2649035"/>
                <a:gd name="connsiteY92" fmla="*/ 5593795 h 6962977"/>
                <a:gd name="connsiteX93" fmla="*/ 2071483 w 2649035"/>
                <a:gd name="connsiteY93" fmla="*/ 5585709 h 6962977"/>
                <a:gd name="connsiteX94" fmla="*/ 1809660 w 2649035"/>
                <a:gd name="connsiteY94" fmla="*/ 5559912 h 6962977"/>
                <a:gd name="connsiteX95" fmla="*/ 1814280 w 2649035"/>
                <a:gd name="connsiteY95" fmla="*/ 5559912 h 6962977"/>
                <a:gd name="connsiteX96" fmla="*/ 1809660 w 2649035"/>
                <a:gd name="connsiteY96" fmla="*/ 5567613 h 6962977"/>
                <a:gd name="connsiteX97" fmla="*/ 1803499 w 2649035"/>
                <a:gd name="connsiteY97" fmla="*/ 5567613 h 6962977"/>
                <a:gd name="connsiteX98" fmla="*/ 2586659 w 2649035"/>
                <a:gd name="connsiteY98" fmla="*/ 5441899 h 6962977"/>
                <a:gd name="connsiteX99" fmla="*/ 2595130 w 2649035"/>
                <a:gd name="connsiteY99" fmla="*/ 5449022 h 6962977"/>
                <a:gd name="connsiteX100" fmla="*/ 2562787 w 2649035"/>
                <a:gd name="connsiteY100" fmla="*/ 5481365 h 6962977"/>
                <a:gd name="connsiteX101" fmla="*/ 2568948 w 2649035"/>
                <a:gd name="connsiteY101" fmla="*/ 5455183 h 6962977"/>
                <a:gd name="connsiteX102" fmla="*/ 2568948 w 2649035"/>
                <a:gd name="connsiteY102" fmla="*/ 5452102 h 6962977"/>
                <a:gd name="connsiteX103" fmla="*/ 2586659 w 2649035"/>
                <a:gd name="connsiteY103" fmla="*/ 5441899 h 6962977"/>
                <a:gd name="connsiteX104" fmla="*/ 2344665 w 2649035"/>
                <a:gd name="connsiteY104" fmla="*/ 5407824 h 6962977"/>
                <a:gd name="connsiteX105" fmla="*/ 2354868 w 2649035"/>
                <a:gd name="connsiteY105" fmla="*/ 5415139 h 6962977"/>
                <a:gd name="connsiteX106" fmla="*/ 2317905 w 2649035"/>
                <a:gd name="connsiteY106" fmla="*/ 5450562 h 6962977"/>
                <a:gd name="connsiteX107" fmla="*/ 2324065 w 2649035"/>
                <a:gd name="connsiteY107" fmla="*/ 5421300 h 6962977"/>
                <a:gd name="connsiteX108" fmla="*/ 2344665 w 2649035"/>
                <a:gd name="connsiteY108" fmla="*/ 5407824 h 6962977"/>
                <a:gd name="connsiteX109" fmla="*/ 2087270 w 2649035"/>
                <a:gd name="connsiteY109" fmla="*/ 5380294 h 6962977"/>
                <a:gd name="connsiteX110" fmla="*/ 2094586 w 2649035"/>
                <a:gd name="connsiteY110" fmla="*/ 5384337 h 6962977"/>
                <a:gd name="connsiteX111" fmla="*/ 2069944 w 2649035"/>
                <a:gd name="connsiteY111" fmla="*/ 5408979 h 6962977"/>
                <a:gd name="connsiteX112" fmla="*/ 2073024 w 2649035"/>
                <a:gd name="connsiteY112" fmla="*/ 5388957 h 6962977"/>
                <a:gd name="connsiteX113" fmla="*/ 2087270 w 2649035"/>
                <a:gd name="connsiteY113" fmla="*/ 5380294 h 6962977"/>
                <a:gd name="connsiteX114" fmla="*/ 1822944 w 2649035"/>
                <a:gd name="connsiteY114" fmla="*/ 5354689 h 6962977"/>
                <a:gd name="connsiteX115" fmla="*/ 1826602 w 2649035"/>
                <a:gd name="connsiteY115" fmla="*/ 5356613 h 6962977"/>
                <a:gd name="connsiteX116" fmla="*/ 1814281 w 2649035"/>
                <a:gd name="connsiteY116" fmla="*/ 5368935 h 6962977"/>
                <a:gd name="connsiteX117" fmla="*/ 1815821 w 2649035"/>
                <a:gd name="connsiteY117" fmla="*/ 5359694 h 6962977"/>
                <a:gd name="connsiteX118" fmla="*/ 1822944 w 2649035"/>
                <a:gd name="connsiteY118" fmla="*/ 5354689 h 6962977"/>
                <a:gd name="connsiteX119" fmla="*/ 2604755 w 2649035"/>
                <a:gd name="connsiteY119" fmla="*/ 5243606 h 6962977"/>
                <a:gd name="connsiteX120" fmla="*/ 2613611 w 2649035"/>
                <a:gd name="connsiteY120" fmla="*/ 5250344 h 6962977"/>
                <a:gd name="connsiteX121" fmla="*/ 2578188 w 2649035"/>
                <a:gd name="connsiteY121" fmla="*/ 5285768 h 6962977"/>
                <a:gd name="connsiteX122" fmla="*/ 2584349 w 2649035"/>
                <a:gd name="connsiteY122" fmla="*/ 5256505 h 6962977"/>
                <a:gd name="connsiteX123" fmla="*/ 2604755 w 2649035"/>
                <a:gd name="connsiteY123" fmla="*/ 5243606 h 6962977"/>
                <a:gd name="connsiteX124" fmla="*/ 2358911 w 2649035"/>
                <a:gd name="connsiteY124" fmla="*/ 5204911 h 6962977"/>
                <a:gd name="connsiteX125" fmla="*/ 2370269 w 2649035"/>
                <a:gd name="connsiteY125" fmla="*/ 5213381 h 6962977"/>
                <a:gd name="connsiteX126" fmla="*/ 2328686 w 2649035"/>
                <a:gd name="connsiteY126" fmla="*/ 5253425 h 6962977"/>
                <a:gd name="connsiteX127" fmla="*/ 2334846 w 2649035"/>
                <a:gd name="connsiteY127" fmla="*/ 5219542 h 6962977"/>
                <a:gd name="connsiteX128" fmla="*/ 2358911 w 2649035"/>
                <a:gd name="connsiteY128" fmla="*/ 5204911 h 6962977"/>
                <a:gd name="connsiteX129" fmla="*/ 2098244 w 2649035"/>
                <a:gd name="connsiteY129" fmla="*/ 5176033 h 6962977"/>
                <a:gd name="connsiteX130" fmla="*/ 2108447 w 2649035"/>
                <a:gd name="connsiteY130" fmla="*/ 5181038 h 6962977"/>
                <a:gd name="connsiteX131" fmla="*/ 2079184 w 2649035"/>
                <a:gd name="connsiteY131" fmla="*/ 5210301 h 6962977"/>
                <a:gd name="connsiteX132" fmla="*/ 2082265 w 2649035"/>
                <a:gd name="connsiteY132" fmla="*/ 5187199 h 6962977"/>
                <a:gd name="connsiteX133" fmla="*/ 2098244 w 2649035"/>
                <a:gd name="connsiteY133" fmla="*/ 5176033 h 6962977"/>
                <a:gd name="connsiteX134" fmla="*/ 1831029 w 2649035"/>
                <a:gd name="connsiteY134" fmla="*/ 5148696 h 6962977"/>
                <a:gd name="connsiteX135" fmla="*/ 1835842 w 2649035"/>
                <a:gd name="connsiteY135" fmla="*/ 5151776 h 6962977"/>
                <a:gd name="connsiteX136" fmla="*/ 1818901 w 2649035"/>
                <a:gd name="connsiteY136" fmla="*/ 5168718 h 6962977"/>
                <a:gd name="connsiteX137" fmla="*/ 1820441 w 2649035"/>
                <a:gd name="connsiteY137" fmla="*/ 5154856 h 6962977"/>
                <a:gd name="connsiteX138" fmla="*/ 1831029 w 2649035"/>
                <a:gd name="connsiteY138" fmla="*/ 5148696 h 6962977"/>
                <a:gd name="connsiteX139" fmla="*/ 1555537 w 2649035"/>
                <a:gd name="connsiteY139" fmla="*/ 5124054 h 6962977"/>
                <a:gd name="connsiteX140" fmla="*/ 1558617 w 2649035"/>
                <a:gd name="connsiteY140" fmla="*/ 5125594 h 6962977"/>
                <a:gd name="connsiteX141" fmla="*/ 1555537 w 2649035"/>
                <a:gd name="connsiteY141" fmla="*/ 5128674 h 6962977"/>
                <a:gd name="connsiteX142" fmla="*/ 1552457 w 2649035"/>
                <a:gd name="connsiteY142" fmla="*/ 5128674 h 6962977"/>
                <a:gd name="connsiteX143" fmla="*/ 2617847 w 2649035"/>
                <a:gd name="connsiteY143" fmla="*/ 5043966 h 6962977"/>
                <a:gd name="connsiteX144" fmla="*/ 2629013 w 2649035"/>
                <a:gd name="connsiteY144" fmla="*/ 5053207 h 6962977"/>
                <a:gd name="connsiteX145" fmla="*/ 2588970 w 2649035"/>
                <a:gd name="connsiteY145" fmla="*/ 5091710 h 6962977"/>
                <a:gd name="connsiteX146" fmla="*/ 2595130 w 2649035"/>
                <a:gd name="connsiteY146" fmla="*/ 5057827 h 6962977"/>
                <a:gd name="connsiteX147" fmla="*/ 2617847 w 2649035"/>
                <a:gd name="connsiteY147" fmla="*/ 5043966 h 6962977"/>
                <a:gd name="connsiteX148" fmla="*/ 2368345 w 2649035"/>
                <a:gd name="connsiteY148" fmla="*/ 5003538 h 6962977"/>
                <a:gd name="connsiteX149" fmla="*/ 2382591 w 2649035"/>
                <a:gd name="connsiteY149" fmla="*/ 5013164 h 6962977"/>
                <a:gd name="connsiteX150" fmla="*/ 2337927 w 2649035"/>
                <a:gd name="connsiteY150" fmla="*/ 5056287 h 6962977"/>
                <a:gd name="connsiteX151" fmla="*/ 2342548 w 2649035"/>
                <a:gd name="connsiteY151" fmla="*/ 5019324 h 6962977"/>
                <a:gd name="connsiteX152" fmla="*/ 2368345 w 2649035"/>
                <a:gd name="connsiteY152" fmla="*/ 5003538 h 6962977"/>
                <a:gd name="connsiteX153" fmla="*/ 2106136 w 2649035"/>
                <a:gd name="connsiteY153" fmla="*/ 4972157 h 6962977"/>
                <a:gd name="connsiteX154" fmla="*/ 2116147 w 2649035"/>
                <a:gd name="connsiteY154" fmla="*/ 4977740 h 6962977"/>
                <a:gd name="connsiteX155" fmla="*/ 2083805 w 2649035"/>
                <a:gd name="connsiteY155" fmla="*/ 5010083 h 6962977"/>
                <a:gd name="connsiteX156" fmla="*/ 2086885 w 2649035"/>
                <a:gd name="connsiteY156" fmla="*/ 4983901 h 6962977"/>
                <a:gd name="connsiteX157" fmla="*/ 2106136 w 2649035"/>
                <a:gd name="connsiteY157" fmla="*/ 4972157 h 6962977"/>
                <a:gd name="connsiteX158" fmla="*/ 1835842 w 2649035"/>
                <a:gd name="connsiteY158" fmla="*/ 4945205 h 6962977"/>
                <a:gd name="connsiteX159" fmla="*/ 1843543 w 2649035"/>
                <a:gd name="connsiteY159" fmla="*/ 4950018 h 6962977"/>
                <a:gd name="connsiteX160" fmla="*/ 1821981 w 2649035"/>
                <a:gd name="connsiteY160" fmla="*/ 4970040 h 6962977"/>
                <a:gd name="connsiteX161" fmla="*/ 1823521 w 2649035"/>
                <a:gd name="connsiteY161" fmla="*/ 4953098 h 6962977"/>
                <a:gd name="connsiteX162" fmla="*/ 1835842 w 2649035"/>
                <a:gd name="connsiteY162" fmla="*/ 4945205 h 6962977"/>
                <a:gd name="connsiteX163" fmla="*/ 1555537 w 2649035"/>
                <a:gd name="connsiteY163" fmla="*/ 4922296 h 6962977"/>
                <a:gd name="connsiteX164" fmla="*/ 1560158 w 2649035"/>
                <a:gd name="connsiteY164" fmla="*/ 4922296 h 6962977"/>
                <a:gd name="connsiteX165" fmla="*/ 1555537 w 2649035"/>
                <a:gd name="connsiteY165" fmla="*/ 4929997 h 6962977"/>
                <a:gd name="connsiteX166" fmla="*/ 1550917 w 2649035"/>
                <a:gd name="connsiteY166" fmla="*/ 4929997 h 6962977"/>
                <a:gd name="connsiteX167" fmla="*/ 2626703 w 2649035"/>
                <a:gd name="connsiteY167" fmla="*/ 4844519 h 6962977"/>
                <a:gd name="connsiteX168" fmla="*/ 2641334 w 2649035"/>
                <a:gd name="connsiteY168" fmla="*/ 4852989 h 6962977"/>
                <a:gd name="connsiteX169" fmla="*/ 2598210 w 2649035"/>
                <a:gd name="connsiteY169" fmla="*/ 4894573 h 6962977"/>
                <a:gd name="connsiteX170" fmla="*/ 2602831 w 2649035"/>
                <a:gd name="connsiteY170" fmla="*/ 4859150 h 6962977"/>
                <a:gd name="connsiteX171" fmla="*/ 2626703 w 2649035"/>
                <a:gd name="connsiteY171" fmla="*/ 4844519 h 6962977"/>
                <a:gd name="connsiteX172" fmla="*/ 2374506 w 2649035"/>
                <a:gd name="connsiteY172" fmla="*/ 4801972 h 6962977"/>
                <a:gd name="connsiteX173" fmla="*/ 2390292 w 2649035"/>
                <a:gd name="connsiteY173" fmla="*/ 4811405 h 6962977"/>
                <a:gd name="connsiteX174" fmla="*/ 2342548 w 2649035"/>
                <a:gd name="connsiteY174" fmla="*/ 4857609 h 6962977"/>
                <a:gd name="connsiteX175" fmla="*/ 2347168 w 2649035"/>
                <a:gd name="connsiteY175" fmla="*/ 4819106 h 6962977"/>
                <a:gd name="connsiteX176" fmla="*/ 2374506 w 2649035"/>
                <a:gd name="connsiteY176" fmla="*/ 4801972 h 6962977"/>
                <a:gd name="connsiteX177" fmla="*/ 2109408 w 2649035"/>
                <a:gd name="connsiteY177" fmla="*/ 4770977 h 6962977"/>
                <a:gd name="connsiteX178" fmla="*/ 2122307 w 2649035"/>
                <a:gd name="connsiteY178" fmla="*/ 4779062 h 6962977"/>
                <a:gd name="connsiteX179" fmla="*/ 2085344 w 2649035"/>
                <a:gd name="connsiteY179" fmla="*/ 4814486 h 6962977"/>
                <a:gd name="connsiteX180" fmla="*/ 2088424 w 2649035"/>
                <a:gd name="connsiteY180" fmla="*/ 4783683 h 6962977"/>
                <a:gd name="connsiteX181" fmla="*/ 2109408 w 2649035"/>
                <a:gd name="connsiteY181" fmla="*/ 4770977 h 6962977"/>
                <a:gd name="connsiteX182" fmla="*/ 1837960 w 2649035"/>
                <a:gd name="connsiteY182" fmla="*/ 4742677 h 6962977"/>
                <a:gd name="connsiteX183" fmla="*/ 1846623 w 2649035"/>
                <a:gd name="connsiteY183" fmla="*/ 4746720 h 6962977"/>
                <a:gd name="connsiteX184" fmla="*/ 1820441 w 2649035"/>
                <a:gd name="connsiteY184" fmla="*/ 4771361 h 6962977"/>
                <a:gd name="connsiteX185" fmla="*/ 1823521 w 2649035"/>
                <a:gd name="connsiteY185" fmla="*/ 4751340 h 6962977"/>
                <a:gd name="connsiteX186" fmla="*/ 1837960 w 2649035"/>
                <a:gd name="connsiteY186" fmla="*/ 4742677 h 6962977"/>
                <a:gd name="connsiteX187" fmla="*/ 1559387 w 2649035"/>
                <a:gd name="connsiteY187" fmla="*/ 4718613 h 6962977"/>
                <a:gd name="connsiteX188" fmla="*/ 1563238 w 2649035"/>
                <a:gd name="connsiteY188" fmla="*/ 4720538 h 6962977"/>
                <a:gd name="connsiteX189" fmla="*/ 1549377 w 2649035"/>
                <a:gd name="connsiteY189" fmla="*/ 4734399 h 6962977"/>
                <a:gd name="connsiteX190" fmla="*/ 1550917 w 2649035"/>
                <a:gd name="connsiteY190" fmla="*/ 4723618 h 6962977"/>
                <a:gd name="connsiteX191" fmla="*/ 1559387 w 2649035"/>
                <a:gd name="connsiteY191" fmla="*/ 4718613 h 6962977"/>
                <a:gd name="connsiteX192" fmla="*/ 2632093 w 2649035"/>
                <a:gd name="connsiteY192" fmla="*/ 4646227 h 6962977"/>
                <a:gd name="connsiteX193" fmla="*/ 2645954 w 2649035"/>
                <a:gd name="connsiteY193" fmla="*/ 4655852 h 6962977"/>
                <a:gd name="connsiteX194" fmla="*/ 2599750 w 2649035"/>
                <a:gd name="connsiteY194" fmla="*/ 4700516 h 6962977"/>
                <a:gd name="connsiteX195" fmla="*/ 2604370 w 2649035"/>
                <a:gd name="connsiteY195" fmla="*/ 4662013 h 6962977"/>
                <a:gd name="connsiteX196" fmla="*/ 2632093 w 2649035"/>
                <a:gd name="connsiteY196" fmla="*/ 4646227 h 6962977"/>
                <a:gd name="connsiteX197" fmla="*/ 2376815 w 2649035"/>
                <a:gd name="connsiteY197" fmla="*/ 4601755 h 6962977"/>
                <a:gd name="connsiteX198" fmla="*/ 2394912 w 2649035"/>
                <a:gd name="connsiteY198" fmla="*/ 4614268 h 6962977"/>
                <a:gd name="connsiteX199" fmla="*/ 2342547 w 2649035"/>
                <a:gd name="connsiteY199" fmla="*/ 4663552 h 6962977"/>
                <a:gd name="connsiteX200" fmla="*/ 2347168 w 2649035"/>
                <a:gd name="connsiteY200" fmla="*/ 4620429 h 6962977"/>
                <a:gd name="connsiteX201" fmla="*/ 2376815 w 2649035"/>
                <a:gd name="connsiteY201" fmla="*/ 4601755 h 6962977"/>
                <a:gd name="connsiteX202" fmla="*/ 2109024 w 2649035"/>
                <a:gd name="connsiteY202" fmla="*/ 4570567 h 6962977"/>
                <a:gd name="connsiteX203" fmla="*/ 2122308 w 2649035"/>
                <a:gd name="connsiteY203" fmla="*/ 4580385 h 6962977"/>
                <a:gd name="connsiteX204" fmla="*/ 2082265 w 2649035"/>
                <a:gd name="connsiteY204" fmla="*/ 4618888 h 6962977"/>
                <a:gd name="connsiteX205" fmla="*/ 2085345 w 2649035"/>
                <a:gd name="connsiteY205" fmla="*/ 4585005 h 6962977"/>
                <a:gd name="connsiteX206" fmla="*/ 2109024 w 2649035"/>
                <a:gd name="connsiteY206" fmla="*/ 4570567 h 6962977"/>
                <a:gd name="connsiteX207" fmla="*/ 1836035 w 2649035"/>
                <a:gd name="connsiteY207" fmla="*/ 4542267 h 6962977"/>
                <a:gd name="connsiteX208" fmla="*/ 1845083 w 2649035"/>
                <a:gd name="connsiteY208" fmla="*/ 4548042 h 6962977"/>
                <a:gd name="connsiteX209" fmla="*/ 1815821 w 2649035"/>
                <a:gd name="connsiteY209" fmla="*/ 4575765 h 6962977"/>
                <a:gd name="connsiteX210" fmla="*/ 1818901 w 2649035"/>
                <a:gd name="connsiteY210" fmla="*/ 4552663 h 6962977"/>
                <a:gd name="connsiteX211" fmla="*/ 1836035 w 2649035"/>
                <a:gd name="connsiteY211" fmla="*/ 4542267 h 6962977"/>
                <a:gd name="connsiteX212" fmla="*/ 1557078 w 2649035"/>
                <a:gd name="connsiteY212" fmla="*/ 4518202 h 6962977"/>
                <a:gd name="connsiteX213" fmla="*/ 1563239 w 2649035"/>
                <a:gd name="connsiteY213" fmla="*/ 4521860 h 6962977"/>
                <a:gd name="connsiteX214" fmla="*/ 1544757 w 2649035"/>
                <a:gd name="connsiteY214" fmla="*/ 4538802 h 6962977"/>
                <a:gd name="connsiteX215" fmla="*/ 1546297 w 2649035"/>
                <a:gd name="connsiteY215" fmla="*/ 4524940 h 6962977"/>
                <a:gd name="connsiteX216" fmla="*/ 1557078 w 2649035"/>
                <a:gd name="connsiteY216" fmla="*/ 4518202 h 6962977"/>
                <a:gd name="connsiteX217" fmla="*/ 1272152 w 2649035"/>
                <a:gd name="connsiteY217" fmla="*/ 4501838 h 6962977"/>
                <a:gd name="connsiteX218" fmla="*/ 1275233 w 2649035"/>
                <a:gd name="connsiteY218" fmla="*/ 4501838 h 6962977"/>
                <a:gd name="connsiteX219" fmla="*/ 1272152 w 2649035"/>
                <a:gd name="connsiteY219" fmla="*/ 4504918 h 6962977"/>
                <a:gd name="connsiteX220" fmla="*/ 1269072 w 2649035"/>
                <a:gd name="connsiteY220" fmla="*/ 4504918 h 6962977"/>
                <a:gd name="connsiteX221" fmla="*/ 2632286 w 2649035"/>
                <a:gd name="connsiteY221" fmla="*/ 4448318 h 6962977"/>
                <a:gd name="connsiteX222" fmla="*/ 2649035 w 2649035"/>
                <a:gd name="connsiteY222" fmla="*/ 4460254 h 6962977"/>
                <a:gd name="connsiteX223" fmla="*/ 2598210 w 2649035"/>
                <a:gd name="connsiteY223" fmla="*/ 4507998 h 6962977"/>
                <a:gd name="connsiteX224" fmla="*/ 2602831 w 2649035"/>
                <a:gd name="connsiteY224" fmla="*/ 4466415 h 6962977"/>
                <a:gd name="connsiteX225" fmla="*/ 2632286 w 2649035"/>
                <a:gd name="connsiteY225" fmla="*/ 4448318 h 6962977"/>
                <a:gd name="connsiteX226" fmla="*/ 2374890 w 2649035"/>
                <a:gd name="connsiteY226" fmla="*/ 4404424 h 6962977"/>
                <a:gd name="connsiteX227" fmla="*/ 2393372 w 2649035"/>
                <a:gd name="connsiteY227" fmla="*/ 4415591 h 6962977"/>
                <a:gd name="connsiteX228" fmla="*/ 2337927 w 2649035"/>
                <a:gd name="connsiteY228" fmla="*/ 4467955 h 6962977"/>
                <a:gd name="connsiteX229" fmla="*/ 2342548 w 2649035"/>
                <a:gd name="connsiteY229" fmla="*/ 4423291 h 6962977"/>
                <a:gd name="connsiteX230" fmla="*/ 2374890 w 2649035"/>
                <a:gd name="connsiteY230" fmla="*/ 4404424 h 6962977"/>
                <a:gd name="connsiteX231" fmla="*/ 2106714 w 2649035"/>
                <a:gd name="connsiteY231" fmla="*/ 4372082 h 6962977"/>
                <a:gd name="connsiteX232" fmla="*/ 2122308 w 2649035"/>
                <a:gd name="connsiteY232" fmla="*/ 4381707 h 6962977"/>
                <a:gd name="connsiteX233" fmla="*/ 2077644 w 2649035"/>
                <a:gd name="connsiteY233" fmla="*/ 4424831 h 6962977"/>
                <a:gd name="connsiteX234" fmla="*/ 2080725 w 2649035"/>
                <a:gd name="connsiteY234" fmla="*/ 4387868 h 6962977"/>
                <a:gd name="connsiteX235" fmla="*/ 2106714 w 2649035"/>
                <a:gd name="connsiteY235" fmla="*/ 4372082 h 6962977"/>
                <a:gd name="connsiteX236" fmla="*/ 1832184 w 2649035"/>
                <a:gd name="connsiteY236" fmla="*/ 4343782 h 6962977"/>
                <a:gd name="connsiteX237" fmla="*/ 1843543 w 2649035"/>
                <a:gd name="connsiteY237" fmla="*/ 4349365 h 6962977"/>
                <a:gd name="connsiteX238" fmla="*/ 1809660 w 2649035"/>
                <a:gd name="connsiteY238" fmla="*/ 4381708 h 6962977"/>
                <a:gd name="connsiteX239" fmla="*/ 1812740 w 2649035"/>
                <a:gd name="connsiteY239" fmla="*/ 4355525 h 6962977"/>
                <a:gd name="connsiteX240" fmla="*/ 1832184 w 2649035"/>
                <a:gd name="connsiteY240" fmla="*/ 4343782 h 6962977"/>
                <a:gd name="connsiteX241" fmla="*/ 1552457 w 2649035"/>
                <a:gd name="connsiteY241" fmla="*/ 4321835 h 6962977"/>
                <a:gd name="connsiteX242" fmla="*/ 1560158 w 2649035"/>
                <a:gd name="connsiteY242" fmla="*/ 4324722 h 6962977"/>
                <a:gd name="connsiteX243" fmla="*/ 1538596 w 2649035"/>
                <a:gd name="connsiteY243" fmla="*/ 4346284 h 6962977"/>
                <a:gd name="connsiteX244" fmla="*/ 1540136 w 2649035"/>
                <a:gd name="connsiteY244" fmla="*/ 4329343 h 6962977"/>
                <a:gd name="connsiteX245" fmla="*/ 1552457 w 2649035"/>
                <a:gd name="connsiteY245" fmla="*/ 4321835 h 6962977"/>
                <a:gd name="connsiteX246" fmla="*/ 1265991 w 2649035"/>
                <a:gd name="connsiteY246" fmla="*/ 4306241 h 6962977"/>
                <a:gd name="connsiteX247" fmla="*/ 1272152 w 2649035"/>
                <a:gd name="connsiteY247" fmla="*/ 4306241 h 6962977"/>
                <a:gd name="connsiteX248" fmla="*/ 1265991 w 2649035"/>
                <a:gd name="connsiteY248" fmla="*/ 4313942 h 6962977"/>
                <a:gd name="connsiteX249" fmla="*/ 1259831 w 2649035"/>
                <a:gd name="connsiteY249" fmla="*/ 4313942 h 6962977"/>
                <a:gd name="connsiteX250" fmla="*/ 981066 w 2649035"/>
                <a:gd name="connsiteY250" fmla="*/ 4290840 h 6962977"/>
                <a:gd name="connsiteX251" fmla="*/ 984146 w 2649035"/>
                <a:gd name="connsiteY251" fmla="*/ 4290840 h 6962977"/>
                <a:gd name="connsiteX252" fmla="*/ 981066 w 2649035"/>
                <a:gd name="connsiteY252" fmla="*/ 4293920 h 6962977"/>
                <a:gd name="connsiteX253" fmla="*/ 979526 w 2649035"/>
                <a:gd name="connsiteY253" fmla="*/ 4293920 h 6962977"/>
                <a:gd name="connsiteX254" fmla="*/ 2629013 w 2649035"/>
                <a:gd name="connsiteY254" fmla="*/ 4253684 h 6962977"/>
                <a:gd name="connsiteX255" fmla="*/ 2645954 w 2649035"/>
                <a:gd name="connsiteY255" fmla="*/ 4266197 h 6962977"/>
                <a:gd name="connsiteX256" fmla="*/ 2593589 w 2649035"/>
                <a:gd name="connsiteY256" fmla="*/ 4317022 h 6962977"/>
                <a:gd name="connsiteX257" fmla="*/ 2598210 w 2649035"/>
                <a:gd name="connsiteY257" fmla="*/ 4272358 h 6962977"/>
                <a:gd name="connsiteX258" fmla="*/ 2629013 w 2649035"/>
                <a:gd name="connsiteY258" fmla="*/ 4253684 h 6962977"/>
                <a:gd name="connsiteX259" fmla="*/ 2369114 w 2649035"/>
                <a:gd name="connsiteY259" fmla="*/ 4207672 h 6962977"/>
                <a:gd name="connsiteX260" fmla="*/ 2390291 w 2649035"/>
                <a:gd name="connsiteY260" fmla="*/ 4219993 h 6962977"/>
                <a:gd name="connsiteX261" fmla="*/ 2331766 w 2649035"/>
                <a:gd name="connsiteY261" fmla="*/ 4276978 h 6962977"/>
                <a:gd name="connsiteX262" fmla="*/ 2336386 w 2649035"/>
                <a:gd name="connsiteY262" fmla="*/ 4227693 h 6962977"/>
                <a:gd name="connsiteX263" fmla="*/ 2369114 w 2649035"/>
                <a:gd name="connsiteY263" fmla="*/ 4207672 h 6962977"/>
                <a:gd name="connsiteX264" fmla="*/ 2100361 w 2649035"/>
                <a:gd name="connsiteY264" fmla="*/ 4175137 h 6962977"/>
                <a:gd name="connsiteX265" fmla="*/ 2117687 w 2649035"/>
                <a:gd name="connsiteY265" fmla="*/ 4184570 h 6962977"/>
                <a:gd name="connsiteX266" fmla="*/ 2068403 w 2649035"/>
                <a:gd name="connsiteY266" fmla="*/ 4232314 h 6962977"/>
                <a:gd name="connsiteX267" fmla="*/ 2071483 w 2649035"/>
                <a:gd name="connsiteY267" fmla="*/ 4192271 h 6962977"/>
                <a:gd name="connsiteX268" fmla="*/ 2100361 w 2649035"/>
                <a:gd name="connsiteY268" fmla="*/ 4175137 h 6962977"/>
                <a:gd name="connsiteX269" fmla="*/ 1824484 w 2649035"/>
                <a:gd name="connsiteY269" fmla="*/ 4148569 h 6962977"/>
                <a:gd name="connsiteX270" fmla="*/ 1837383 w 2649035"/>
                <a:gd name="connsiteY270" fmla="*/ 4155307 h 6962977"/>
                <a:gd name="connsiteX271" fmla="*/ 1800420 w 2649035"/>
                <a:gd name="connsiteY271" fmla="*/ 4190730 h 6962977"/>
                <a:gd name="connsiteX272" fmla="*/ 1803500 w 2649035"/>
                <a:gd name="connsiteY272" fmla="*/ 4161468 h 6962977"/>
                <a:gd name="connsiteX273" fmla="*/ 1824484 w 2649035"/>
                <a:gd name="connsiteY273" fmla="*/ 4148569 h 6962977"/>
                <a:gd name="connsiteX274" fmla="*/ 1546104 w 2649035"/>
                <a:gd name="connsiteY274" fmla="*/ 4126815 h 6962977"/>
                <a:gd name="connsiteX275" fmla="*/ 1555538 w 2649035"/>
                <a:gd name="connsiteY275" fmla="*/ 4130665 h 6962977"/>
                <a:gd name="connsiteX276" fmla="*/ 1529355 w 2649035"/>
                <a:gd name="connsiteY276" fmla="*/ 4156847 h 6962977"/>
                <a:gd name="connsiteX277" fmla="*/ 1530895 w 2649035"/>
                <a:gd name="connsiteY277" fmla="*/ 4136826 h 6962977"/>
                <a:gd name="connsiteX278" fmla="*/ 1546104 w 2649035"/>
                <a:gd name="connsiteY278" fmla="*/ 4126815 h 6962977"/>
                <a:gd name="connsiteX279" fmla="*/ 1262334 w 2649035"/>
                <a:gd name="connsiteY279" fmla="*/ 4111222 h 6962977"/>
                <a:gd name="connsiteX280" fmla="*/ 1267532 w 2649035"/>
                <a:gd name="connsiteY280" fmla="*/ 4113724 h 6962977"/>
                <a:gd name="connsiteX281" fmla="*/ 1252131 w 2649035"/>
                <a:gd name="connsiteY281" fmla="*/ 4127585 h 6962977"/>
                <a:gd name="connsiteX282" fmla="*/ 1253671 w 2649035"/>
                <a:gd name="connsiteY282" fmla="*/ 4116804 h 6962977"/>
                <a:gd name="connsiteX283" fmla="*/ 1262334 w 2649035"/>
                <a:gd name="connsiteY283" fmla="*/ 4111222 h 6962977"/>
                <a:gd name="connsiteX284" fmla="*/ 974906 w 2649035"/>
                <a:gd name="connsiteY284" fmla="*/ 4102943 h 6962977"/>
                <a:gd name="connsiteX285" fmla="*/ 976446 w 2649035"/>
                <a:gd name="connsiteY285" fmla="*/ 4102943 h 6962977"/>
                <a:gd name="connsiteX286" fmla="*/ 974906 w 2649035"/>
                <a:gd name="connsiteY286" fmla="*/ 4106023 h 6962977"/>
                <a:gd name="connsiteX287" fmla="*/ 973366 w 2649035"/>
                <a:gd name="connsiteY287" fmla="*/ 4106023 h 6962977"/>
                <a:gd name="connsiteX288" fmla="*/ 2621697 w 2649035"/>
                <a:gd name="connsiteY288" fmla="*/ 4059627 h 6962977"/>
                <a:gd name="connsiteX289" fmla="*/ 2642874 w 2649035"/>
                <a:gd name="connsiteY289" fmla="*/ 4072140 h 6962977"/>
                <a:gd name="connsiteX290" fmla="*/ 2588970 w 2649035"/>
                <a:gd name="connsiteY290" fmla="*/ 4126045 h 6962977"/>
                <a:gd name="connsiteX291" fmla="*/ 2588970 w 2649035"/>
                <a:gd name="connsiteY291" fmla="*/ 4078301 h 6962977"/>
                <a:gd name="connsiteX292" fmla="*/ 2621697 w 2649035"/>
                <a:gd name="connsiteY292" fmla="*/ 4059627 h 6962977"/>
                <a:gd name="connsiteX293" fmla="*/ 2362568 w 2649035"/>
                <a:gd name="connsiteY293" fmla="*/ 4013423 h 6962977"/>
                <a:gd name="connsiteX294" fmla="*/ 2385671 w 2649035"/>
                <a:gd name="connsiteY294" fmla="*/ 4027476 h 6962977"/>
                <a:gd name="connsiteX295" fmla="*/ 2322525 w 2649035"/>
                <a:gd name="connsiteY295" fmla="*/ 4087541 h 6962977"/>
                <a:gd name="connsiteX296" fmla="*/ 2325605 w 2649035"/>
                <a:gd name="connsiteY296" fmla="*/ 4035177 h 6962977"/>
                <a:gd name="connsiteX297" fmla="*/ 2362568 w 2649035"/>
                <a:gd name="connsiteY297" fmla="*/ 4013423 h 6962977"/>
                <a:gd name="connsiteX298" fmla="*/ 2092275 w 2649035"/>
                <a:gd name="connsiteY298" fmla="*/ 3982042 h 6962977"/>
                <a:gd name="connsiteX299" fmla="*/ 2109986 w 2649035"/>
                <a:gd name="connsiteY299" fmla="*/ 3992053 h 6962977"/>
                <a:gd name="connsiteX300" fmla="*/ 2057622 w 2649035"/>
                <a:gd name="connsiteY300" fmla="*/ 4041337 h 6962977"/>
                <a:gd name="connsiteX301" fmla="*/ 2060702 w 2649035"/>
                <a:gd name="connsiteY301" fmla="*/ 3999754 h 6962977"/>
                <a:gd name="connsiteX302" fmla="*/ 2092275 w 2649035"/>
                <a:gd name="connsiteY302" fmla="*/ 3982042 h 6962977"/>
                <a:gd name="connsiteX303" fmla="*/ 1826505 w 2649035"/>
                <a:gd name="connsiteY303" fmla="*/ 3956197 h 6962977"/>
                <a:gd name="connsiteX304" fmla="*/ 1831222 w 2649035"/>
                <a:gd name="connsiteY304" fmla="*/ 3962791 h 6962977"/>
                <a:gd name="connsiteX305" fmla="*/ 1789639 w 2649035"/>
                <a:gd name="connsiteY305" fmla="*/ 4002834 h 6962977"/>
                <a:gd name="connsiteX306" fmla="*/ 1792719 w 2649035"/>
                <a:gd name="connsiteY306" fmla="*/ 3970491 h 6962977"/>
                <a:gd name="connsiteX307" fmla="*/ 1826505 w 2649035"/>
                <a:gd name="connsiteY307" fmla="*/ 3956197 h 6962977"/>
                <a:gd name="connsiteX308" fmla="*/ 1536863 w 2649035"/>
                <a:gd name="connsiteY308" fmla="*/ 3936416 h 6962977"/>
                <a:gd name="connsiteX309" fmla="*/ 1547836 w 2649035"/>
                <a:gd name="connsiteY309" fmla="*/ 3942769 h 6962977"/>
                <a:gd name="connsiteX310" fmla="*/ 1518574 w 2649035"/>
                <a:gd name="connsiteY310" fmla="*/ 3970491 h 6962977"/>
                <a:gd name="connsiteX311" fmla="*/ 1520114 w 2649035"/>
                <a:gd name="connsiteY311" fmla="*/ 3947389 h 6962977"/>
                <a:gd name="connsiteX312" fmla="*/ 1536863 w 2649035"/>
                <a:gd name="connsiteY312" fmla="*/ 3936416 h 6962977"/>
                <a:gd name="connsiteX313" fmla="*/ 1254056 w 2649035"/>
                <a:gd name="connsiteY313" fmla="*/ 3923709 h 6962977"/>
                <a:gd name="connsiteX314" fmla="*/ 1261371 w 2649035"/>
                <a:gd name="connsiteY314" fmla="*/ 3927367 h 6962977"/>
                <a:gd name="connsiteX315" fmla="*/ 1242890 w 2649035"/>
                <a:gd name="connsiteY315" fmla="*/ 3944308 h 6962977"/>
                <a:gd name="connsiteX316" fmla="*/ 1244430 w 2649035"/>
                <a:gd name="connsiteY316" fmla="*/ 3930447 h 6962977"/>
                <a:gd name="connsiteX317" fmla="*/ 1254056 w 2649035"/>
                <a:gd name="connsiteY317" fmla="*/ 3923709 h 6962977"/>
                <a:gd name="connsiteX318" fmla="*/ 967205 w 2649035"/>
                <a:gd name="connsiteY318" fmla="*/ 3918126 h 6962977"/>
                <a:gd name="connsiteX319" fmla="*/ 971826 w 2649035"/>
                <a:gd name="connsiteY319" fmla="*/ 3918126 h 6962977"/>
                <a:gd name="connsiteX320" fmla="*/ 967205 w 2649035"/>
                <a:gd name="connsiteY320" fmla="*/ 3924287 h 6962977"/>
                <a:gd name="connsiteX321" fmla="*/ 962585 w 2649035"/>
                <a:gd name="connsiteY321" fmla="*/ 3924287 h 6962977"/>
                <a:gd name="connsiteX322" fmla="*/ 2612071 w 2649035"/>
                <a:gd name="connsiteY322" fmla="*/ 3866725 h 6962977"/>
                <a:gd name="connsiteX323" fmla="*/ 2633633 w 2649035"/>
                <a:gd name="connsiteY323" fmla="*/ 3879623 h 6962977"/>
                <a:gd name="connsiteX324" fmla="*/ 2573568 w 2649035"/>
                <a:gd name="connsiteY324" fmla="*/ 3938148 h 6962977"/>
                <a:gd name="connsiteX325" fmla="*/ 2576648 w 2649035"/>
                <a:gd name="connsiteY325" fmla="*/ 3887324 h 6962977"/>
                <a:gd name="connsiteX326" fmla="*/ 2612071 w 2649035"/>
                <a:gd name="connsiteY326" fmla="*/ 3866725 h 6962977"/>
                <a:gd name="connsiteX327" fmla="*/ 2350632 w 2649035"/>
                <a:gd name="connsiteY327" fmla="*/ 3821868 h 6962977"/>
                <a:gd name="connsiteX328" fmla="*/ 2373350 w 2649035"/>
                <a:gd name="connsiteY328" fmla="*/ 3836499 h 6962977"/>
                <a:gd name="connsiteX329" fmla="*/ 2308664 w 2649035"/>
                <a:gd name="connsiteY329" fmla="*/ 3898105 h 6962977"/>
                <a:gd name="connsiteX330" fmla="*/ 2311744 w 2649035"/>
                <a:gd name="connsiteY330" fmla="*/ 3844200 h 6962977"/>
                <a:gd name="connsiteX331" fmla="*/ 2350632 w 2649035"/>
                <a:gd name="connsiteY331" fmla="*/ 3821868 h 6962977"/>
                <a:gd name="connsiteX332" fmla="*/ 2080339 w 2649035"/>
                <a:gd name="connsiteY332" fmla="*/ 3790680 h 6962977"/>
                <a:gd name="connsiteX333" fmla="*/ 2100746 w 2649035"/>
                <a:gd name="connsiteY333" fmla="*/ 3801076 h 6962977"/>
                <a:gd name="connsiteX334" fmla="*/ 2045301 w 2649035"/>
                <a:gd name="connsiteY334" fmla="*/ 3854981 h 6962977"/>
                <a:gd name="connsiteX335" fmla="*/ 2048382 w 2649035"/>
                <a:gd name="connsiteY335" fmla="*/ 3810317 h 6962977"/>
                <a:gd name="connsiteX336" fmla="*/ 2080339 w 2649035"/>
                <a:gd name="connsiteY336" fmla="*/ 3790680 h 6962977"/>
                <a:gd name="connsiteX337" fmla="*/ 1805617 w 2649035"/>
                <a:gd name="connsiteY337" fmla="*/ 3766616 h 6962977"/>
                <a:gd name="connsiteX338" fmla="*/ 1821981 w 2649035"/>
                <a:gd name="connsiteY338" fmla="*/ 3774894 h 6962977"/>
                <a:gd name="connsiteX339" fmla="*/ 1777317 w 2649035"/>
                <a:gd name="connsiteY339" fmla="*/ 3818018 h 6962977"/>
                <a:gd name="connsiteX340" fmla="*/ 1778857 w 2649035"/>
                <a:gd name="connsiteY340" fmla="*/ 3782595 h 6962977"/>
                <a:gd name="connsiteX341" fmla="*/ 1805617 w 2649035"/>
                <a:gd name="connsiteY341" fmla="*/ 3766616 h 6962977"/>
                <a:gd name="connsiteX342" fmla="*/ 1527430 w 2649035"/>
                <a:gd name="connsiteY342" fmla="*/ 3748711 h 6962977"/>
                <a:gd name="connsiteX343" fmla="*/ 1540136 w 2649035"/>
                <a:gd name="connsiteY343" fmla="*/ 3754872 h 6962977"/>
                <a:gd name="connsiteX344" fmla="*/ 1506253 w 2649035"/>
                <a:gd name="connsiteY344" fmla="*/ 3787215 h 6962977"/>
                <a:gd name="connsiteX345" fmla="*/ 1507793 w 2649035"/>
                <a:gd name="connsiteY345" fmla="*/ 3761033 h 6962977"/>
                <a:gd name="connsiteX346" fmla="*/ 1527430 w 2649035"/>
                <a:gd name="connsiteY346" fmla="*/ 3748711 h 6962977"/>
                <a:gd name="connsiteX347" fmla="*/ 1246355 w 2649035"/>
                <a:gd name="connsiteY347" fmla="*/ 3738508 h 6962977"/>
                <a:gd name="connsiteX348" fmla="*/ 1253671 w 2649035"/>
                <a:gd name="connsiteY348" fmla="*/ 3742551 h 6962977"/>
                <a:gd name="connsiteX349" fmla="*/ 1229028 w 2649035"/>
                <a:gd name="connsiteY349" fmla="*/ 3764112 h 6962977"/>
                <a:gd name="connsiteX350" fmla="*/ 1232109 w 2649035"/>
                <a:gd name="connsiteY350" fmla="*/ 3747171 h 6962977"/>
                <a:gd name="connsiteX351" fmla="*/ 1246355 w 2649035"/>
                <a:gd name="connsiteY351" fmla="*/ 3738508 h 6962977"/>
                <a:gd name="connsiteX352" fmla="*/ 957965 w 2649035"/>
                <a:gd name="connsiteY352" fmla="*/ 3737930 h 6962977"/>
                <a:gd name="connsiteX353" fmla="*/ 965665 w 2649035"/>
                <a:gd name="connsiteY353" fmla="*/ 3737930 h 6962977"/>
                <a:gd name="connsiteX354" fmla="*/ 959505 w 2649035"/>
                <a:gd name="connsiteY354" fmla="*/ 3747171 h 6962977"/>
                <a:gd name="connsiteX355" fmla="*/ 951804 w 2649035"/>
                <a:gd name="connsiteY355" fmla="*/ 3747171 h 6962977"/>
                <a:gd name="connsiteX356" fmla="*/ 2598210 w 2649035"/>
                <a:gd name="connsiteY356" fmla="*/ 3677095 h 6962977"/>
                <a:gd name="connsiteX357" fmla="*/ 2621312 w 2649035"/>
                <a:gd name="connsiteY357" fmla="*/ 3691726 h 6962977"/>
                <a:gd name="connsiteX358" fmla="*/ 2562787 w 2649035"/>
                <a:gd name="connsiteY358" fmla="*/ 3751792 h 6962977"/>
                <a:gd name="connsiteX359" fmla="*/ 2561247 w 2649035"/>
                <a:gd name="connsiteY359" fmla="*/ 3699427 h 6962977"/>
                <a:gd name="connsiteX360" fmla="*/ 2598210 w 2649035"/>
                <a:gd name="connsiteY360" fmla="*/ 3677095 h 6962977"/>
                <a:gd name="connsiteX361" fmla="*/ 2336771 w 2649035"/>
                <a:gd name="connsiteY361" fmla="*/ 3632046 h 6962977"/>
                <a:gd name="connsiteX362" fmla="*/ 2361029 w 2649035"/>
                <a:gd name="connsiteY362" fmla="*/ 3647063 h 6962977"/>
                <a:gd name="connsiteX363" fmla="*/ 2293263 w 2649035"/>
                <a:gd name="connsiteY363" fmla="*/ 3713289 h 6962977"/>
                <a:gd name="connsiteX364" fmla="*/ 2296343 w 2649035"/>
                <a:gd name="connsiteY364" fmla="*/ 3656303 h 6962977"/>
                <a:gd name="connsiteX365" fmla="*/ 2336771 w 2649035"/>
                <a:gd name="connsiteY365" fmla="*/ 3632046 h 6962977"/>
                <a:gd name="connsiteX366" fmla="*/ 2066286 w 2649035"/>
                <a:gd name="connsiteY366" fmla="*/ 3603168 h 6962977"/>
                <a:gd name="connsiteX367" fmla="*/ 2088425 w 2649035"/>
                <a:gd name="connsiteY367" fmla="*/ 3614719 h 6962977"/>
                <a:gd name="connsiteX368" fmla="*/ 2029900 w 2649035"/>
                <a:gd name="connsiteY368" fmla="*/ 3671704 h 6962977"/>
                <a:gd name="connsiteX369" fmla="*/ 2031440 w 2649035"/>
                <a:gd name="connsiteY369" fmla="*/ 3623960 h 6962977"/>
                <a:gd name="connsiteX370" fmla="*/ 2066286 w 2649035"/>
                <a:gd name="connsiteY370" fmla="*/ 3603168 h 6962977"/>
                <a:gd name="connsiteX371" fmla="*/ 1792719 w 2649035"/>
                <a:gd name="connsiteY371" fmla="*/ 3580644 h 6962977"/>
                <a:gd name="connsiteX372" fmla="*/ 1811200 w 2649035"/>
                <a:gd name="connsiteY372" fmla="*/ 3590077 h 6962977"/>
                <a:gd name="connsiteX373" fmla="*/ 1763456 w 2649035"/>
                <a:gd name="connsiteY373" fmla="*/ 3636281 h 6962977"/>
                <a:gd name="connsiteX374" fmla="*/ 1764996 w 2649035"/>
                <a:gd name="connsiteY374" fmla="*/ 3597778 h 6962977"/>
                <a:gd name="connsiteX375" fmla="*/ 1792719 w 2649035"/>
                <a:gd name="connsiteY375" fmla="*/ 3580644 h 6962977"/>
                <a:gd name="connsiteX376" fmla="*/ 669959 w 2649035"/>
                <a:gd name="connsiteY376" fmla="*/ 3570055 h 6962977"/>
                <a:gd name="connsiteX377" fmla="*/ 673039 w 2649035"/>
                <a:gd name="connsiteY377" fmla="*/ 3570055 h 6962977"/>
                <a:gd name="connsiteX378" fmla="*/ 669959 w 2649035"/>
                <a:gd name="connsiteY378" fmla="*/ 3573135 h 6962977"/>
                <a:gd name="connsiteX379" fmla="*/ 668419 w 2649035"/>
                <a:gd name="connsiteY379" fmla="*/ 3573135 h 6962977"/>
                <a:gd name="connsiteX380" fmla="*/ 1516456 w 2649035"/>
                <a:gd name="connsiteY380" fmla="*/ 3564473 h 6962977"/>
                <a:gd name="connsiteX381" fmla="*/ 1530895 w 2649035"/>
                <a:gd name="connsiteY381" fmla="*/ 3571596 h 6962977"/>
                <a:gd name="connsiteX382" fmla="*/ 1492392 w 2649035"/>
                <a:gd name="connsiteY382" fmla="*/ 3608559 h 6962977"/>
                <a:gd name="connsiteX383" fmla="*/ 1493932 w 2649035"/>
                <a:gd name="connsiteY383" fmla="*/ 3579296 h 6962977"/>
                <a:gd name="connsiteX384" fmla="*/ 1516456 w 2649035"/>
                <a:gd name="connsiteY384" fmla="*/ 3564473 h 6962977"/>
                <a:gd name="connsiteX385" fmla="*/ 953729 w 2649035"/>
                <a:gd name="connsiteY385" fmla="*/ 3559852 h 6962977"/>
                <a:gd name="connsiteX386" fmla="*/ 959504 w 2649035"/>
                <a:gd name="connsiteY386" fmla="*/ 3562355 h 6962977"/>
                <a:gd name="connsiteX387" fmla="*/ 944103 w 2649035"/>
                <a:gd name="connsiteY387" fmla="*/ 3576216 h 6962977"/>
                <a:gd name="connsiteX388" fmla="*/ 945643 w 2649035"/>
                <a:gd name="connsiteY388" fmla="*/ 3565435 h 6962977"/>
                <a:gd name="connsiteX389" fmla="*/ 953729 w 2649035"/>
                <a:gd name="connsiteY389" fmla="*/ 3559852 h 6962977"/>
                <a:gd name="connsiteX390" fmla="*/ 1235574 w 2649035"/>
                <a:gd name="connsiteY390" fmla="*/ 3558696 h 6962977"/>
                <a:gd name="connsiteX391" fmla="*/ 1244430 w 2649035"/>
                <a:gd name="connsiteY391" fmla="*/ 3563894 h 6962977"/>
                <a:gd name="connsiteX392" fmla="*/ 1216708 w 2649035"/>
                <a:gd name="connsiteY392" fmla="*/ 3588537 h 6962977"/>
                <a:gd name="connsiteX393" fmla="*/ 1219788 w 2649035"/>
                <a:gd name="connsiteY393" fmla="*/ 3568515 h 6962977"/>
                <a:gd name="connsiteX394" fmla="*/ 1235574 w 2649035"/>
                <a:gd name="connsiteY394" fmla="*/ 3558696 h 6962977"/>
                <a:gd name="connsiteX395" fmla="*/ 2581269 w 2649035"/>
                <a:gd name="connsiteY395" fmla="*/ 3489584 h 6962977"/>
                <a:gd name="connsiteX396" fmla="*/ 2605911 w 2649035"/>
                <a:gd name="connsiteY396" fmla="*/ 3505370 h 6962977"/>
                <a:gd name="connsiteX397" fmla="*/ 2544306 w 2649035"/>
                <a:gd name="connsiteY397" fmla="*/ 3568516 h 6962977"/>
                <a:gd name="connsiteX398" fmla="*/ 2542766 w 2649035"/>
                <a:gd name="connsiteY398" fmla="*/ 3513071 h 6962977"/>
                <a:gd name="connsiteX399" fmla="*/ 2581269 w 2649035"/>
                <a:gd name="connsiteY399" fmla="*/ 3489584 h 6962977"/>
                <a:gd name="connsiteX400" fmla="*/ 2318675 w 2649035"/>
                <a:gd name="connsiteY400" fmla="*/ 3446653 h 6962977"/>
                <a:gd name="connsiteX401" fmla="*/ 2345628 w 2649035"/>
                <a:gd name="connsiteY401" fmla="*/ 3462246 h 6962977"/>
                <a:gd name="connsiteX402" fmla="*/ 2276322 w 2649035"/>
                <a:gd name="connsiteY402" fmla="*/ 3530012 h 6962977"/>
                <a:gd name="connsiteX403" fmla="*/ 2277862 w 2649035"/>
                <a:gd name="connsiteY403" fmla="*/ 3471486 h 6962977"/>
                <a:gd name="connsiteX404" fmla="*/ 2318675 w 2649035"/>
                <a:gd name="connsiteY404" fmla="*/ 3446653 h 6962977"/>
                <a:gd name="connsiteX405" fmla="*/ 2050306 w 2649035"/>
                <a:gd name="connsiteY405" fmla="*/ 3418738 h 6962977"/>
                <a:gd name="connsiteX406" fmla="*/ 2074563 w 2649035"/>
                <a:gd name="connsiteY406" fmla="*/ 3431445 h 6962977"/>
                <a:gd name="connsiteX407" fmla="*/ 2012958 w 2649035"/>
                <a:gd name="connsiteY407" fmla="*/ 3491509 h 6962977"/>
                <a:gd name="connsiteX408" fmla="*/ 2014498 w 2649035"/>
                <a:gd name="connsiteY408" fmla="*/ 3440685 h 6962977"/>
                <a:gd name="connsiteX409" fmla="*/ 2050306 w 2649035"/>
                <a:gd name="connsiteY409" fmla="*/ 3418738 h 6962977"/>
                <a:gd name="connsiteX410" fmla="*/ 668419 w 2649035"/>
                <a:gd name="connsiteY410" fmla="*/ 3403722 h 6962977"/>
                <a:gd name="connsiteX411" fmla="*/ 663798 w 2649035"/>
                <a:gd name="connsiteY411" fmla="*/ 3409882 h 6962977"/>
                <a:gd name="connsiteX412" fmla="*/ 659178 w 2649035"/>
                <a:gd name="connsiteY412" fmla="*/ 3409882 h 6962977"/>
                <a:gd name="connsiteX413" fmla="*/ 663798 w 2649035"/>
                <a:gd name="connsiteY413" fmla="*/ 3405262 h 6962977"/>
                <a:gd name="connsiteX414" fmla="*/ 1791371 w 2649035"/>
                <a:gd name="connsiteY414" fmla="*/ 3398091 h 6962977"/>
                <a:gd name="connsiteX415" fmla="*/ 1798879 w 2649035"/>
                <a:gd name="connsiteY415" fmla="*/ 3406802 h 6962977"/>
                <a:gd name="connsiteX416" fmla="*/ 1746515 w 2649035"/>
                <a:gd name="connsiteY416" fmla="*/ 3457626 h 6962977"/>
                <a:gd name="connsiteX417" fmla="*/ 1748055 w 2649035"/>
                <a:gd name="connsiteY417" fmla="*/ 3417583 h 6962977"/>
                <a:gd name="connsiteX418" fmla="*/ 1791371 w 2649035"/>
                <a:gd name="connsiteY418" fmla="*/ 3398091 h 6962977"/>
                <a:gd name="connsiteX419" fmla="*/ 946413 w 2649035"/>
                <a:gd name="connsiteY419" fmla="*/ 3388513 h 6962977"/>
                <a:gd name="connsiteX420" fmla="*/ 953344 w 2649035"/>
                <a:gd name="connsiteY420" fmla="*/ 3391400 h 6962977"/>
                <a:gd name="connsiteX421" fmla="*/ 933322 w 2649035"/>
                <a:gd name="connsiteY421" fmla="*/ 3409882 h 6962977"/>
                <a:gd name="connsiteX422" fmla="*/ 934862 w 2649035"/>
                <a:gd name="connsiteY422" fmla="*/ 3396021 h 6962977"/>
                <a:gd name="connsiteX423" fmla="*/ 946413 w 2649035"/>
                <a:gd name="connsiteY423" fmla="*/ 3388513 h 6962977"/>
                <a:gd name="connsiteX424" fmla="*/ 1512967 w 2649035"/>
                <a:gd name="connsiteY424" fmla="*/ 3385722 h 6962977"/>
                <a:gd name="connsiteX425" fmla="*/ 1518574 w 2649035"/>
                <a:gd name="connsiteY425" fmla="*/ 3392941 h 6962977"/>
                <a:gd name="connsiteX426" fmla="*/ 1476991 w 2649035"/>
                <a:gd name="connsiteY426" fmla="*/ 3432983 h 6962977"/>
                <a:gd name="connsiteX427" fmla="*/ 1478531 w 2649035"/>
                <a:gd name="connsiteY427" fmla="*/ 3402182 h 6962977"/>
                <a:gd name="connsiteX428" fmla="*/ 1512967 w 2649035"/>
                <a:gd name="connsiteY428" fmla="*/ 3385722 h 6962977"/>
                <a:gd name="connsiteX429" fmla="*/ 1225564 w 2649035"/>
                <a:gd name="connsiteY429" fmla="*/ 3382738 h 6962977"/>
                <a:gd name="connsiteX430" fmla="*/ 1236730 w 2649035"/>
                <a:gd name="connsiteY430" fmla="*/ 3388319 h 6962977"/>
                <a:gd name="connsiteX431" fmla="*/ 1204387 w 2649035"/>
                <a:gd name="connsiteY431" fmla="*/ 3417583 h 6962977"/>
                <a:gd name="connsiteX432" fmla="*/ 1207467 w 2649035"/>
                <a:gd name="connsiteY432" fmla="*/ 3394481 h 6962977"/>
                <a:gd name="connsiteX433" fmla="*/ 1225564 w 2649035"/>
                <a:gd name="connsiteY433" fmla="*/ 3382738 h 6962977"/>
                <a:gd name="connsiteX434" fmla="*/ 2559707 w 2649035"/>
                <a:gd name="connsiteY434" fmla="*/ 3305346 h 6962977"/>
                <a:gd name="connsiteX435" fmla="*/ 2585889 w 2649035"/>
                <a:gd name="connsiteY435" fmla="*/ 3320554 h 6962977"/>
                <a:gd name="connsiteX436" fmla="*/ 2522744 w 2649035"/>
                <a:gd name="connsiteY436" fmla="*/ 3386780 h 6962977"/>
                <a:gd name="connsiteX437" fmla="*/ 2519663 w 2649035"/>
                <a:gd name="connsiteY437" fmla="*/ 3328255 h 6962977"/>
                <a:gd name="connsiteX438" fmla="*/ 2559707 w 2649035"/>
                <a:gd name="connsiteY438" fmla="*/ 3305346 h 6962977"/>
                <a:gd name="connsiteX439" fmla="*/ 2299808 w 2649035"/>
                <a:gd name="connsiteY439" fmla="*/ 3262992 h 6962977"/>
                <a:gd name="connsiteX440" fmla="*/ 2327146 w 2649035"/>
                <a:gd name="connsiteY440" fmla="*/ 3278971 h 6962977"/>
                <a:gd name="connsiteX441" fmla="*/ 2254759 w 2649035"/>
                <a:gd name="connsiteY441" fmla="*/ 3351358 h 6962977"/>
                <a:gd name="connsiteX442" fmla="*/ 2256300 w 2649035"/>
                <a:gd name="connsiteY442" fmla="*/ 3289751 h 6962977"/>
                <a:gd name="connsiteX443" fmla="*/ 2299808 w 2649035"/>
                <a:gd name="connsiteY443" fmla="*/ 3262992 h 6962977"/>
                <a:gd name="connsiteX444" fmla="*/ 661681 w 2649035"/>
                <a:gd name="connsiteY444" fmla="*/ 3241622 h 6962977"/>
                <a:gd name="connsiteX445" fmla="*/ 665339 w 2649035"/>
                <a:gd name="connsiteY445" fmla="*/ 3243549 h 6962977"/>
                <a:gd name="connsiteX446" fmla="*/ 653018 w 2649035"/>
                <a:gd name="connsiteY446" fmla="*/ 3254330 h 6962977"/>
                <a:gd name="connsiteX447" fmla="*/ 654558 w 2649035"/>
                <a:gd name="connsiteY447" fmla="*/ 3246629 h 6962977"/>
                <a:gd name="connsiteX448" fmla="*/ 661681 w 2649035"/>
                <a:gd name="connsiteY448" fmla="*/ 3241622 h 6962977"/>
                <a:gd name="connsiteX449" fmla="*/ 2031825 w 2649035"/>
                <a:gd name="connsiteY449" fmla="*/ 3237772 h 6962977"/>
                <a:gd name="connsiteX450" fmla="*/ 2057623 w 2649035"/>
                <a:gd name="connsiteY450" fmla="*/ 3249709 h 6962977"/>
                <a:gd name="connsiteX451" fmla="*/ 1992937 w 2649035"/>
                <a:gd name="connsiteY451" fmla="*/ 3312855 h 6962977"/>
                <a:gd name="connsiteX452" fmla="*/ 1994477 w 2649035"/>
                <a:gd name="connsiteY452" fmla="*/ 3260490 h 6962977"/>
                <a:gd name="connsiteX453" fmla="*/ 2031825 w 2649035"/>
                <a:gd name="connsiteY453" fmla="*/ 3237772 h 6962977"/>
                <a:gd name="connsiteX454" fmla="*/ 936980 w 2649035"/>
                <a:gd name="connsiteY454" fmla="*/ 3222371 h 6962977"/>
                <a:gd name="connsiteX455" fmla="*/ 944103 w 2649035"/>
                <a:gd name="connsiteY455" fmla="*/ 3225067 h 6962977"/>
                <a:gd name="connsiteX456" fmla="*/ 921001 w 2649035"/>
                <a:gd name="connsiteY456" fmla="*/ 3246629 h 6962977"/>
                <a:gd name="connsiteX457" fmla="*/ 924082 w 2649035"/>
                <a:gd name="connsiteY457" fmla="*/ 3231228 h 6962977"/>
                <a:gd name="connsiteX458" fmla="*/ 936980 w 2649035"/>
                <a:gd name="connsiteY458" fmla="*/ 3222371 h 6962977"/>
                <a:gd name="connsiteX459" fmla="*/ 1761530 w 2649035"/>
                <a:gd name="connsiteY459" fmla="*/ 3220832 h 6962977"/>
                <a:gd name="connsiteX460" fmla="*/ 1781937 w 2649035"/>
                <a:gd name="connsiteY460" fmla="*/ 3231228 h 6962977"/>
                <a:gd name="connsiteX461" fmla="*/ 1728032 w 2649035"/>
                <a:gd name="connsiteY461" fmla="*/ 3283592 h 6962977"/>
                <a:gd name="connsiteX462" fmla="*/ 1729573 w 2649035"/>
                <a:gd name="connsiteY462" fmla="*/ 3240468 h 6962977"/>
                <a:gd name="connsiteX463" fmla="*/ 1761530 w 2649035"/>
                <a:gd name="connsiteY463" fmla="*/ 3220832 h 6962977"/>
                <a:gd name="connsiteX464" fmla="*/ 1214013 w 2649035"/>
                <a:gd name="connsiteY464" fmla="*/ 3211783 h 6962977"/>
                <a:gd name="connsiteX465" fmla="*/ 1227489 w 2649035"/>
                <a:gd name="connsiteY465" fmla="*/ 3215826 h 6962977"/>
                <a:gd name="connsiteX466" fmla="*/ 1190526 w 2649035"/>
                <a:gd name="connsiteY466" fmla="*/ 3249709 h 6962977"/>
                <a:gd name="connsiteX467" fmla="*/ 1193606 w 2649035"/>
                <a:gd name="connsiteY467" fmla="*/ 3225066 h 6962977"/>
                <a:gd name="connsiteX468" fmla="*/ 1214013 w 2649035"/>
                <a:gd name="connsiteY468" fmla="*/ 3211783 h 6962977"/>
                <a:gd name="connsiteX469" fmla="*/ 1499515 w 2649035"/>
                <a:gd name="connsiteY469" fmla="*/ 3211686 h 6962977"/>
                <a:gd name="connsiteX470" fmla="*/ 1506253 w 2649035"/>
                <a:gd name="connsiteY470" fmla="*/ 3218906 h 6962977"/>
                <a:gd name="connsiteX471" fmla="*/ 1460049 w 2649035"/>
                <a:gd name="connsiteY471" fmla="*/ 3262029 h 6962977"/>
                <a:gd name="connsiteX472" fmla="*/ 1463129 w 2649035"/>
                <a:gd name="connsiteY472" fmla="*/ 3228146 h 6962977"/>
                <a:gd name="connsiteX473" fmla="*/ 1499515 w 2649035"/>
                <a:gd name="connsiteY473" fmla="*/ 3211686 h 6962977"/>
                <a:gd name="connsiteX474" fmla="*/ 2537952 w 2649035"/>
                <a:gd name="connsiteY474" fmla="*/ 3122455 h 6962977"/>
                <a:gd name="connsiteX475" fmla="*/ 2565867 w 2649035"/>
                <a:gd name="connsiteY475" fmla="*/ 3138819 h 6962977"/>
                <a:gd name="connsiteX476" fmla="*/ 2499641 w 2649035"/>
                <a:gd name="connsiteY476" fmla="*/ 3208125 h 6962977"/>
                <a:gd name="connsiteX477" fmla="*/ 2495021 w 2649035"/>
                <a:gd name="connsiteY477" fmla="*/ 3146519 h 6962977"/>
                <a:gd name="connsiteX478" fmla="*/ 2537952 w 2649035"/>
                <a:gd name="connsiteY478" fmla="*/ 3122455 h 6962977"/>
                <a:gd name="connsiteX479" fmla="*/ 657638 w 2649035"/>
                <a:gd name="connsiteY479" fmla="*/ 3086261 h 6962977"/>
                <a:gd name="connsiteX480" fmla="*/ 662258 w 2649035"/>
                <a:gd name="connsiteY480" fmla="*/ 3087995 h 6962977"/>
                <a:gd name="connsiteX481" fmla="*/ 645317 w 2649035"/>
                <a:gd name="connsiteY481" fmla="*/ 3103396 h 6962977"/>
                <a:gd name="connsiteX482" fmla="*/ 648397 w 2649035"/>
                <a:gd name="connsiteY482" fmla="*/ 3092615 h 6962977"/>
                <a:gd name="connsiteX483" fmla="*/ 657638 w 2649035"/>
                <a:gd name="connsiteY483" fmla="*/ 3086261 h 6962977"/>
                <a:gd name="connsiteX484" fmla="*/ 2277862 w 2649035"/>
                <a:gd name="connsiteY484" fmla="*/ 3082219 h 6962977"/>
                <a:gd name="connsiteX485" fmla="*/ 2308664 w 2649035"/>
                <a:gd name="connsiteY485" fmla="*/ 3098775 h 6962977"/>
                <a:gd name="connsiteX486" fmla="*/ 2233198 w 2649035"/>
                <a:gd name="connsiteY486" fmla="*/ 3174242 h 6962977"/>
                <a:gd name="connsiteX487" fmla="*/ 2233198 w 2649035"/>
                <a:gd name="connsiteY487" fmla="*/ 3109556 h 6962977"/>
                <a:gd name="connsiteX488" fmla="*/ 2277862 w 2649035"/>
                <a:gd name="connsiteY488" fmla="*/ 3082219 h 6962977"/>
                <a:gd name="connsiteX489" fmla="*/ 930050 w 2649035"/>
                <a:gd name="connsiteY489" fmla="*/ 3060849 h 6962977"/>
                <a:gd name="connsiteX490" fmla="*/ 939483 w 2649035"/>
                <a:gd name="connsiteY490" fmla="*/ 3063352 h 6962977"/>
                <a:gd name="connsiteX491" fmla="*/ 911761 w 2649035"/>
                <a:gd name="connsiteY491" fmla="*/ 3089535 h 6962977"/>
                <a:gd name="connsiteX492" fmla="*/ 914841 w 2649035"/>
                <a:gd name="connsiteY492" fmla="*/ 3071053 h 6962977"/>
                <a:gd name="connsiteX493" fmla="*/ 930050 w 2649035"/>
                <a:gd name="connsiteY493" fmla="*/ 3060849 h 6962977"/>
                <a:gd name="connsiteX494" fmla="*/ 2011803 w 2649035"/>
                <a:gd name="connsiteY494" fmla="*/ 3060465 h 6962977"/>
                <a:gd name="connsiteX495" fmla="*/ 2039140 w 2649035"/>
                <a:gd name="connsiteY495" fmla="*/ 3074132 h 6962977"/>
                <a:gd name="connsiteX496" fmla="*/ 1972915 w 2649035"/>
                <a:gd name="connsiteY496" fmla="*/ 3138819 h 6962977"/>
                <a:gd name="connsiteX497" fmla="*/ 1972915 w 2649035"/>
                <a:gd name="connsiteY497" fmla="*/ 3084914 h 6962977"/>
                <a:gd name="connsiteX498" fmla="*/ 2011803 w 2649035"/>
                <a:gd name="connsiteY498" fmla="*/ 3060465 h 6962977"/>
                <a:gd name="connsiteX499" fmla="*/ 1210715 w 2649035"/>
                <a:gd name="connsiteY499" fmla="*/ 3045544 h 6962977"/>
                <a:gd name="connsiteX500" fmla="*/ 1215167 w 2649035"/>
                <a:gd name="connsiteY500" fmla="*/ 3051031 h 6962977"/>
                <a:gd name="connsiteX501" fmla="*/ 1176664 w 2649035"/>
                <a:gd name="connsiteY501" fmla="*/ 3086454 h 6962977"/>
                <a:gd name="connsiteX502" fmla="*/ 1179744 w 2649035"/>
                <a:gd name="connsiteY502" fmla="*/ 3060272 h 6962977"/>
                <a:gd name="connsiteX503" fmla="*/ 1210715 w 2649035"/>
                <a:gd name="connsiteY503" fmla="*/ 3045544 h 6962977"/>
                <a:gd name="connsiteX504" fmla="*/ 1758066 w 2649035"/>
                <a:gd name="connsiteY504" fmla="*/ 3045207 h 6962977"/>
                <a:gd name="connsiteX505" fmla="*/ 1764996 w 2649035"/>
                <a:gd name="connsiteY505" fmla="*/ 3054111 h 6962977"/>
                <a:gd name="connsiteX506" fmla="*/ 1708011 w 2649035"/>
                <a:gd name="connsiteY506" fmla="*/ 3111096 h 6962977"/>
                <a:gd name="connsiteX507" fmla="*/ 1709551 w 2649035"/>
                <a:gd name="connsiteY507" fmla="*/ 3066432 h 6962977"/>
                <a:gd name="connsiteX508" fmla="*/ 1758066 w 2649035"/>
                <a:gd name="connsiteY508" fmla="*/ 3045207 h 6962977"/>
                <a:gd name="connsiteX509" fmla="*/ 1486039 w 2649035"/>
                <a:gd name="connsiteY509" fmla="*/ 3040322 h 6962977"/>
                <a:gd name="connsiteX510" fmla="*/ 1492392 w 2649035"/>
                <a:gd name="connsiteY510" fmla="*/ 3047951 h 6962977"/>
                <a:gd name="connsiteX511" fmla="*/ 1441567 w 2649035"/>
                <a:gd name="connsiteY511" fmla="*/ 3094155 h 6962977"/>
                <a:gd name="connsiteX512" fmla="*/ 1446188 w 2649035"/>
                <a:gd name="connsiteY512" fmla="*/ 3058732 h 6962977"/>
                <a:gd name="connsiteX513" fmla="*/ 1486039 w 2649035"/>
                <a:gd name="connsiteY513" fmla="*/ 3040322 h 6962977"/>
                <a:gd name="connsiteX514" fmla="*/ 389654 w 2649035"/>
                <a:gd name="connsiteY514" fmla="*/ 2981725 h 6962977"/>
                <a:gd name="connsiteX515" fmla="*/ 385033 w 2649035"/>
                <a:gd name="connsiteY515" fmla="*/ 2987885 h 6962977"/>
                <a:gd name="connsiteX516" fmla="*/ 380413 w 2649035"/>
                <a:gd name="connsiteY516" fmla="*/ 2987885 h 6962977"/>
                <a:gd name="connsiteX517" fmla="*/ 385033 w 2649035"/>
                <a:gd name="connsiteY517" fmla="*/ 2983265 h 6962977"/>
                <a:gd name="connsiteX518" fmla="*/ 2511192 w 2649035"/>
                <a:gd name="connsiteY518" fmla="*/ 2941685 h 6962977"/>
                <a:gd name="connsiteX519" fmla="*/ 2541225 w 2649035"/>
                <a:gd name="connsiteY519" fmla="*/ 2957086 h 6962977"/>
                <a:gd name="connsiteX520" fmla="*/ 2473459 w 2649035"/>
                <a:gd name="connsiteY520" fmla="*/ 3031009 h 6962977"/>
                <a:gd name="connsiteX521" fmla="*/ 2467298 w 2649035"/>
                <a:gd name="connsiteY521" fmla="*/ 2967866 h 6962977"/>
                <a:gd name="connsiteX522" fmla="*/ 2511192 w 2649035"/>
                <a:gd name="connsiteY522" fmla="*/ 2941685 h 6962977"/>
                <a:gd name="connsiteX523" fmla="*/ 654365 w 2649035"/>
                <a:gd name="connsiteY523" fmla="*/ 2937062 h 6962977"/>
                <a:gd name="connsiteX524" fmla="*/ 660718 w 2649035"/>
                <a:gd name="connsiteY524" fmla="*/ 2938603 h 6962977"/>
                <a:gd name="connsiteX525" fmla="*/ 639157 w 2649035"/>
                <a:gd name="connsiteY525" fmla="*/ 2957083 h 6962977"/>
                <a:gd name="connsiteX526" fmla="*/ 642237 w 2649035"/>
                <a:gd name="connsiteY526" fmla="*/ 2944762 h 6962977"/>
                <a:gd name="connsiteX527" fmla="*/ 654365 w 2649035"/>
                <a:gd name="connsiteY527" fmla="*/ 2937062 h 6962977"/>
                <a:gd name="connsiteX528" fmla="*/ 2252064 w 2649035"/>
                <a:gd name="connsiteY528" fmla="*/ 2905300 h 6962977"/>
                <a:gd name="connsiteX529" fmla="*/ 2285562 w 2649035"/>
                <a:gd name="connsiteY529" fmla="*/ 2921663 h 6962977"/>
                <a:gd name="connsiteX530" fmla="*/ 2208555 w 2649035"/>
                <a:gd name="connsiteY530" fmla="*/ 2998668 h 6962977"/>
                <a:gd name="connsiteX531" fmla="*/ 2207015 w 2649035"/>
                <a:gd name="connsiteY531" fmla="*/ 2933984 h 6962977"/>
                <a:gd name="connsiteX532" fmla="*/ 2252064 w 2649035"/>
                <a:gd name="connsiteY532" fmla="*/ 2905300 h 6962977"/>
                <a:gd name="connsiteX533" fmla="*/ 922156 w 2649035"/>
                <a:gd name="connsiteY533" fmla="*/ 2905104 h 6962977"/>
                <a:gd name="connsiteX534" fmla="*/ 933322 w 2649035"/>
                <a:gd name="connsiteY534" fmla="*/ 2909339 h 6962977"/>
                <a:gd name="connsiteX535" fmla="*/ 899439 w 2649035"/>
                <a:gd name="connsiteY535" fmla="*/ 2938602 h 6962977"/>
                <a:gd name="connsiteX536" fmla="*/ 904059 w 2649035"/>
                <a:gd name="connsiteY536" fmla="*/ 2917040 h 6962977"/>
                <a:gd name="connsiteX537" fmla="*/ 922156 w 2649035"/>
                <a:gd name="connsiteY537" fmla="*/ 2905104 h 6962977"/>
                <a:gd name="connsiteX538" fmla="*/ 2006750 w 2649035"/>
                <a:gd name="connsiteY538" fmla="*/ 2886217 h 6962977"/>
                <a:gd name="connsiteX539" fmla="*/ 2016039 w 2649035"/>
                <a:gd name="connsiteY539" fmla="*/ 2898562 h 6962977"/>
                <a:gd name="connsiteX540" fmla="*/ 1948273 w 2649035"/>
                <a:gd name="connsiteY540" fmla="*/ 2967866 h 6962977"/>
                <a:gd name="connsiteX541" fmla="*/ 1948273 w 2649035"/>
                <a:gd name="connsiteY541" fmla="*/ 2912422 h 6962977"/>
                <a:gd name="connsiteX542" fmla="*/ 2006750 w 2649035"/>
                <a:gd name="connsiteY542" fmla="*/ 2886217 h 6962977"/>
                <a:gd name="connsiteX543" fmla="*/ 1199669 w 2649035"/>
                <a:gd name="connsiteY543" fmla="*/ 2884530 h 6962977"/>
                <a:gd name="connsiteX544" fmla="*/ 1204386 w 2649035"/>
                <a:gd name="connsiteY544" fmla="*/ 2890859 h 6962977"/>
                <a:gd name="connsiteX545" fmla="*/ 1161262 w 2649035"/>
                <a:gd name="connsiteY545" fmla="*/ 2930903 h 6962977"/>
                <a:gd name="connsiteX546" fmla="*/ 1165882 w 2649035"/>
                <a:gd name="connsiteY546" fmla="*/ 2901640 h 6962977"/>
                <a:gd name="connsiteX547" fmla="*/ 1199669 w 2649035"/>
                <a:gd name="connsiteY547" fmla="*/ 2884530 h 6962977"/>
                <a:gd name="connsiteX548" fmla="*/ 1739343 w 2649035"/>
                <a:gd name="connsiteY548" fmla="*/ 2875170 h 6962977"/>
                <a:gd name="connsiteX549" fmla="*/ 1746514 w 2649035"/>
                <a:gd name="connsiteY549" fmla="*/ 2884700 h 6962977"/>
                <a:gd name="connsiteX550" fmla="*/ 1687989 w 2649035"/>
                <a:gd name="connsiteY550" fmla="*/ 2944764 h 6962977"/>
                <a:gd name="connsiteX551" fmla="*/ 1689529 w 2649035"/>
                <a:gd name="connsiteY551" fmla="*/ 2898561 h 6962977"/>
                <a:gd name="connsiteX552" fmla="*/ 1739343 w 2649035"/>
                <a:gd name="connsiteY552" fmla="*/ 2875170 h 6962977"/>
                <a:gd name="connsiteX553" fmla="*/ 1469723 w 2649035"/>
                <a:gd name="connsiteY553" fmla="*/ 2874688 h 6962977"/>
                <a:gd name="connsiteX554" fmla="*/ 1475451 w 2649035"/>
                <a:gd name="connsiteY554" fmla="*/ 2883158 h 6962977"/>
                <a:gd name="connsiteX555" fmla="*/ 1423086 w 2649035"/>
                <a:gd name="connsiteY555" fmla="*/ 2932442 h 6962977"/>
                <a:gd name="connsiteX556" fmla="*/ 1427706 w 2649035"/>
                <a:gd name="connsiteY556" fmla="*/ 2895480 h 6962977"/>
                <a:gd name="connsiteX557" fmla="*/ 1469723 w 2649035"/>
                <a:gd name="connsiteY557" fmla="*/ 2874688 h 6962977"/>
                <a:gd name="connsiteX558" fmla="*/ 395814 w 2649035"/>
                <a:gd name="connsiteY558" fmla="*/ 2846195 h 6962977"/>
                <a:gd name="connsiteX559" fmla="*/ 381953 w 2649035"/>
                <a:gd name="connsiteY559" fmla="*/ 2856975 h 6962977"/>
                <a:gd name="connsiteX560" fmla="*/ 385033 w 2649035"/>
                <a:gd name="connsiteY560" fmla="*/ 2850815 h 6962977"/>
                <a:gd name="connsiteX561" fmla="*/ 395814 w 2649035"/>
                <a:gd name="connsiteY561" fmla="*/ 2846195 h 6962977"/>
                <a:gd name="connsiteX562" fmla="*/ 651862 w 2649035"/>
                <a:gd name="connsiteY562" fmla="*/ 2794022 h 6962977"/>
                <a:gd name="connsiteX563" fmla="*/ 659178 w 2649035"/>
                <a:gd name="connsiteY563" fmla="*/ 2795370 h 6962977"/>
                <a:gd name="connsiteX564" fmla="*/ 632995 w 2649035"/>
                <a:gd name="connsiteY564" fmla="*/ 2818472 h 6962977"/>
                <a:gd name="connsiteX565" fmla="*/ 637616 w 2649035"/>
                <a:gd name="connsiteY565" fmla="*/ 2803070 h 6962977"/>
                <a:gd name="connsiteX566" fmla="*/ 651862 w 2649035"/>
                <a:gd name="connsiteY566" fmla="*/ 2794022 h 6962977"/>
                <a:gd name="connsiteX567" fmla="*/ 2481160 w 2649035"/>
                <a:gd name="connsiteY567" fmla="*/ 2764960 h 6962977"/>
                <a:gd name="connsiteX568" fmla="*/ 2511963 w 2649035"/>
                <a:gd name="connsiteY568" fmla="*/ 2781516 h 6962977"/>
                <a:gd name="connsiteX569" fmla="*/ 2444197 w 2649035"/>
                <a:gd name="connsiteY569" fmla="*/ 2856980 h 6962977"/>
                <a:gd name="connsiteX570" fmla="*/ 2436496 w 2649035"/>
                <a:gd name="connsiteY570" fmla="*/ 2792297 h 6962977"/>
                <a:gd name="connsiteX571" fmla="*/ 2481160 w 2649035"/>
                <a:gd name="connsiteY571" fmla="*/ 2764960 h 6962977"/>
                <a:gd name="connsiteX572" fmla="*/ 914456 w 2649035"/>
                <a:gd name="connsiteY572" fmla="*/ 2755906 h 6962977"/>
                <a:gd name="connsiteX573" fmla="*/ 927162 w 2649035"/>
                <a:gd name="connsiteY573" fmla="*/ 2759949 h 6962977"/>
                <a:gd name="connsiteX574" fmla="*/ 890199 w 2649035"/>
                <a:gd name="connsiteY574" fmla="*/ 2792291 h 6962977"/>
                <a:gd name="connsiteX575" fmla="*/ 894819 w 2649035"/>
                <a:gd name="connsiteY575" fmla="*/ 2769189 h 6962977"/>
                <a:gd name="connsiteX576" fmla="*/ 914456 w 2649035"/>
                <a:gd name="connsiteY576" fmla="*/ 2755906 h 6962977"/>
                <a:gd name="connsiteX577" fmla="*/ 2224727 w 2649035"/>
                <a:gd name="connsiteY577" fmla="*/ 2730886 h 6962977"/>
                <a:gd name="connsiteX578" fmla="*/ 2257840 w 2649035"/>
                <a:gd name="connsiteY578" fmla="*/ 2747634 h 6962977"/>
                <a:gd name="connsiteX579" fmla="*/ 2179293 w 2649035"/>
                <a:gd name="connsiteY579" fmla="*/ 2829257 h 6962977"/>
                <a:gd name="connsiteX580" fmla="*/ 2177753 w 2649035"/>
                <a:gd name="connsiteY580" fmla="*/ 2761494 h 6962977"/>
                <a:gd name="connsiteX581" fmla="*/ 2224727 w 2649035"/>
                <a:gd name="connsiteY581" fmla="*/ 2730886 h 6962977"/>
                <a:gd name="connsiteX582" fmla="*/ 1187974 w 2649035"/>
                <a:gd name="connsiteY582" fmla="*/ 2729001 h 6962977"/>
                <a:gd name="connsiteX583" fmla="*/ 1193605 w 2649035"/>
                <a:gd name="connsiteY583" fmla="*/ 2735308 h 6962977"/>
                <a:gd name="connsiteX584" fmla="*/ 1147401 w 2649035"/>
                <a:gd name="connsiteY584" fmla="*/ 2778430 h 6962977"/>
                <a:gd name="connsiteX585" fmla="*/ 1152021 w 2649035"/>
                <a:gd name="connsiteY585" fmla="*/ 2747628 h 6962977"/>
                <a:gd name="connsiteX586" fmla="*/ 1187974 w 2649035"/>
                <a:gd name="connsiteY586" fmla="*/ 2729001 h 6962977"/>
                <a:gd name="connsiteX587" fmla="*/ 401397 w 2649035"/>
                <a:gd name="connsiteY587" fmla="*/ 2719519 h 6962977"/>
                <a:gd name="connsiteX588" fmla="*/ 406595 w 2649035"/>
                <a:gd name="connsiteY588" fmla="*/ 2719904 h 6962977"/>
                <a:gd name="connsiteX589" fmla="*/ 388114 w 2649035"/>
                <a:gd name="connsiteY589" fmla="*/ 2735304 h 6962977"/>
                <a:gd name="connsiteX590" fmla="*/ 392734 w 2649035"/>
                <a:gd name="connsiteY590" fmla="*/ 2726065 h 6962977"/>
                <a:gd name="connsiteX591" fmla="*/ 401397 w 2649035"/>
                <a:gd name="connsiteY591" fmla="*/ 2719519 h 6962977"/>
                <a:gd name="connsiteX592" fmla="*/ 1964637 w 2649035"/>
                <a:gd name="connsiteY592" fmla="*/ 2715868 h 6962977"/>
                <a:gd name="connsiteX593" fmla="*/ 1994477 w 2649035"/>
                <a:gd name="connsiteY593" fmla="*/ 2729151 h 6962977"/>
                <a:gd name="connsiteX594" fmla="*/ 1923631 w 2649035"/>
                <a:gd name="connsiteY594" fmla="*/ 2801535 h 6962977"/>
                <a:gd name="connsiteX595" fmla="*/ 1922090 w 2649035"/>
                <a:gd name="connsiteY595" fmla="*/ 2743013 h 6962977"/>
                <a:gd name="connsiteX596" fmla="*/ 1964637 w 2649035"/>
                <a:gd name="connsiteY596" fmla="*/ 2715868 h 6962977"/>
                <a:gd name="connsiteX597" fmla="*/ 1454057 w 2649035"/>
                <a:gd name="connsiteY597" fmla="*/ 2713218 h 6962977"/>
                <a:gd name="connsiteX598" fmla="*/ 1460049 w 2649035"/>
                <a:gd name="connsiteY598" fmla="*/ 2721448 h 6962977"/>
                <a:gd name="connsiteX599" fmla="*/ 1404604 w 2649035"/>
                <a:gd name="connsiteY599" fmla="*/ 2775352 h 6962977"/>
                <a:gd name="connsiteX600" fmla="*/ 1409224 w 2649035"/>
                <a:gd name="connsiteY600" fmla="*/ 2735309 h 6962977"/>
                <a:gd name="connsiteX601" fmla="*/ 1454057 w 2649035"/>
                <a:gd name="connsiteY601" fmla="*/ 2713218 h 6962977"/>
                <a:gd name="connsiteX602" fmla="*/ 1719490 w 2649035"/>
                <a:gd name="connsiteY602" fmla="*/ 2709297 h 6962977"/>
                <a:gd name="connsiteX603" fmla="*/ 1728033 w 2649035"/>
                <a:gd name="connsiteY603" fmla="*/ 2719910 h 6962977"/>
                <a:gd name="connsiteX604" fmla="*/ 1666428 w 2649035"/>
                <a:gd name="connsiteY604" fmla="*/ 2783052 h 6962977"/>
                <a:gd name="connsiteX605" fmla="*/ 1666428 w 2649035"/>
                <a:gd name="connsiteY605" fmla="*/ 2733770 h 6962977"/>
                <a:gd name="connsiteX606" fmla="*/ 1719490 w 2649035"/>
                <a:gd name="connsiteY606" fmla="*/ 2709297 h 6962977"/>
                <a:gd name="connsiteX607" fmla="*/ 183276 w 2649035"/>
                <a:gd name="connsiteY607" fmla="*/ 2686020 h 6962977"/>
                <a:gd name="connsiteX608" fmla="*/ 178655 w 2649035"/>
                <a:gd name="connsiteY608" fmla="*/ 2692181 h 6962977"/>
                <a:gd name="connsiteX609" fmla="*/ 174035 w 2649035"/>
                <a:gd name="connsiteY609" fmla="*/ 2693721 h 6962977"/>
                <a:gd name="connsiteX610" fmla="*/ 178655 w 2649035"/>
                <a:gd name="connsiteY610" fmla="*/ 2687560 h 6962977"/>
                <a:gd name="connsiteX611" fmla="*/ 651285 w 2649035"/>
                <a:gd name="connsiteY611" fmla="*/ 2658684 h 6962977"/>
                <a:gd name="connsiteX612" fmla="*/ 660718 w 2649035"/>
                <a:gd name="connsiteY612" fmla="*/ 2659839 h 6962977"/>
                <a:gd name="connsiteX613" fmla="*/ 629915 w 2649035"/>
                <a:gd name="connsiteY613" fmla="*/ 2686021 h 6962977"/>
                <a:gd name="connsiteX614" fmla="*/ 636076 w 2649035"/>
                <a:gd name="connsiteY614" fmla="*/ 2669080 h 6962977"/>
                <a:gd name="connsiteX615" fmla="*/ 651285 w 2649035"/>
                <a:gd name="connsiteY615" fmla="*/ 2658684 h 6962977"/>
                <a:gd name="connsiteX616" fmla="*/ 916549 w 2649035"/>
                <a:gd name="connsiteY616" fmla="*/ 2610820 h 6962977"/>
                <a:gd name="connsiteX617" fmla="*/ 921001 w 2649035"/>
                <a:gd name="connsiteY617" fmla="*/ 2615175 h 6962977"/>
                <a:gd name="connsiteX618" fmla="*/ 879417 w 2649035"/>
                <a:gd name="connsiteY618" fmla="*/ 2652139 h 6962977"/>
                <a:gd name="connsiteX619" fmla="*/ 885578 w 2649035"/>
                <a:gd name="connsiteY619" fmla="*/ 2627497 h 6962977"/>
                <a:gd name="connsiteX620" fmla="*/ 916549 w 2649035"/>
                <a:gd name="connsiteY620" fmla="*/ 2610820 h 6962977"/>
                <a:gd name="connsiteX621" fmla="*/ 32343 w 2649035"/>
                <a:gd name="connsiteY621" fmla="*/ 2605932 h 6962977"/>
                <a:gd name="connsiteX622" fmla="*/ 27722 w 2649035"/>
                <a:gd name="connsiteY622" fmla="*/ 2609012 h 6962977"/>
                <a:gd name="connsiteX623" fmla="*/ 29262 w 2649035"/>
                <a:gd name="connsiteY623" fmla="*/ 2607472 h 6962977"/>
                <a:gd name="connsiteX624" fmla="*/ 420456 w 2649035"/>
                <a:gd name="connsiteY624" fmla="*/ 2601311 h 6962977"/>
                <a:gd name="connsiteX625" fmla="*/ 397354 w 2649035"/>
                <a:gd name="connsiteY625" fmla="*/ 2621334 h 6962977"/>
                <a:gd name="connsiteX626" fmla="*/ 403515 w 2649035"/>
                <a:gd name="connsiteY626" fmla="*/ 2610552 h 6962977"/>
                <a:gd name="connsiteX627" fmla="*/ 420456 w 2649035"/>
                <a:gd name="connsiteY627" fmla="*/ 2601311 h 6962977"/>
                <a:gd name="connsiteX628" fmla="*/ 2446507 w 2649035"/>
                <a:gd name="connsiteY628" fmla="*/ 2590732 h 6962977"/>
                <a:gd name="connsiteX629" fmla="*/ 2481160 w 2649035"/>
                <a:gd name="connsiteY629" fmla="*/ 2609023 h 6962977"/>
                <a:gd name="connsiteX630" fmla="*/ 2411854 w 2649035"/>
                <a:gd name="connsiteY630" fmla="*/ 2687571 h 6962977"/>
                <a:gd name="connsiteX631" fmla="*/ 2402613 w 2649035"/>
                <a:gd name="connsiteY631" fmla="*/ 2619802 h 6962977"/>
                <a:gd name="connsiteX632" fmla="*/ 2446507 w 2649035"/>
                <a:gd name="connsiteY632" fmla="*/ 2590732 h 6962977"/>
                <a:gd name="connsiteX633" fmla="*/ 209458 w 2649035"/>
                <a:gd name="connsiteY633" fmla="*/ 2582831 h 6962977"/>
                <a:gd name="connsiteX634" fmla="*/ 195597 w 2649035"/>
                <a:gd name="connsiteY634" fmla="*/ 2595152 h 6962977"/>
                <a:gd name="connsiteX635" fmla="*/ 200217 w 2649035"/>
                <a:gd name="connsiteY635" fmla="*/ 2588991 h 6962977"/>
                <a:gd name="connsiteX636" fmla="*/ 204837 w 2649035"/>
                <a:gd name="connsiteY636" fmla="*/ 2584370 h 6962977"/>
                <a:gd name="connsiteX637" fmla="*/ 209458 w 2649035"/>
                <a:gd name="connsiteY637" fmla="*/ 2582831 h 6962977"/>
                <a:gd name="connsiteX638" fmla="*/ 1176928 w 2649035"/>
                <a:gd name="connsiteY638" fmla="*/ 2577659 h 6962977"/>
                <a:gd name="connsiteX639" fmla="*/ 1182824 w 2649035"/>
                <a:gd name="connsiteY639" fmla="*/ 2582833 h 6962977"/>
                <a:gd name="connsiteX640" fmla="*/ 1132000 w 2649035"/>
                <a:gd name="connsiteY640" fmla="*/ 2630579 h 6962977"/>
                <a:gd name="connsiteX641" fmla="*/ 1138160 w 2649035"/>
                <a:gd name="connsiteY641" fmla="*/ 2598234 h 6962977"/>
                <a:gd name="connsiteX642" fmla="*/ 1176928 w 2649035"/>
                <a:gd name="connsiteY642" fmla="*/ 2577659 h 6962977"/>
                <a:gd name="connsiteX643" fmla="*/ 2194116 w 2649035"/>
                <a:gd name="connsiteY643" fmla="*/ 2561274 h 6962977"/>
                <a:gd name="connsiteX644" fmla="*/ 2228577 w 2649035"/>
                <a:gd name="connsiteY644" fmla="*/ 2576675 h 6962977"/>
                <a:gd name="connsiteX645" fmla="*/ 2150030 w 2649035"/>
                <a:gd name="connsiteY645" fmla="*/ 2661389 h 6962977"/>
                <a:gd name="connsiteX646" fmla="*/ 2146950 w 2649035"/>
                <a:gd name="connsiteY646" fmla="*/ 2592079 h 6962977"/>
                <a:gd name="connsiteX647" fmla="*/ 2194116 w 2649035"/>
                <a:gd name="connsiteY647" fmla="*/ 2561274 h 6962977"/>
                <a:gd name="connsiteX648" fmla="*/ 1436875 w 2649035"/>
                <a:gd name="connsiteY648" fmla="*/ 2558335 h 6962977"/>
                <a:gd name="connsiteX649" fmla="*/ 1444648 w 2649035"/>
                <a:gd name="connsiteY649" fmla="*/ 2567430 h 6962977"/>
                <a:gd name="connsiteX650" fmla="*/ 1386122 w 2649035"/>
                <a:gd name="connsiteY650" fmla="*/ 2622878 h 6962977"/>
                <a:gd name="connsiteX651" fmla="*/ 1390743 w 2649035"/>
                <a:gd name="connsiteY651" fmla="*/ 2581293 h 6962977"/>
                <a:gd name="connsiteX652" fmla="*/ 1436875 w 2649035"/>
                <a:gd name="connsiteY652" fmla="*/ 2558335 h 6962977"/>
                <a:gd name="connsiteX653" fmla="*/ 1956984 w 2649035"/>
                <a:gd name="connsiteY653" fmla="*/ 2548544 h 6962977"/>
                <a:gd name="connsiteX654" fmla="*/ 1968294 w 2649035"/>
                <a:gd name="connsiteY654" fmla="*/ 2561273 h 6962977"/>
                <a:gd name="connsiteX655" fmla="*/ 1897448 w 2649035"/>
                <a:gd name="connsiteY655" fmla="*/ 2636742 h 6962977"/>
                <a:gd name="connsiteX656" fmla="*/ 1895908 w 2649035"/>
                <a:gd name="connsiteY656" fmla="*/ 2578215 h 6962977"/>
                <a:gd name="connsiteX657" fmla="*/ 1956984 w 2649035"/>
                <a:gd name="connsiteY657" fmla="*/ 2548544 h 6962977"/>
                <a:gd name="connsiteX658" fmla="*/ 3854 w 2649035"/>
                <a:gd name="connsiteY658" fmla="*/ 2548182 h 6962977"/>
                <a:gd name="connsiteX659" fmla="*/ 0 w 2649035"/>
                <a:gd name="connsiteY659" fmla="*/ 2552037 h 6962977"/>
                <a:gd name="connsiteX660" fmla="*/ 3080 w 2649035"/>
                <a:gd name="connsiteY660" fmla="*/ 2548956 h 6962977"/>
                <a:gd name="connsiteX661" fmla="*/ 1698553 w 2649035"/>
                <a:gd name="connsiteY661" fmla="*/ 2548062 h 6962977"/>
                <a:gd name="connsiteX662" fmla="*/ 1708011 w 2649035"/>
                <a:gd name="connsiteY662" fmla="*/ 2559731 h 6962977"/>
                <a:gd name="connsiteX663" fmla="*/ 1640245 w 2649035"/>
                <a:gd name="connsiteY663" fmla="*/ 2625961 h 6962977"/>
                <a:gd name="connsiteX664" fmla="*/ 1643325 w 2649035"/>
                <a:gd name="connsiteY664" fmla="*/ 2575134 h 6962977"/>
                <a:gd name="connsiteX665" fmla="*/ 1698553 w 2649035"/>
                <a:gd name="connsiteY665" fmla="*/ 2548062 h 6962977"/>
                <a:gd name="connsiteX666" fmla="*/ 7701 w 2649035"/>
                <a:gd name="connsiteY666" fmla="*/ 2544337 h 6962977"/>
                <a:gd name="connsiteX667" fmla="*/ 4620 w 2649035"/>
                <a:gd name="connsiteY667" fmla="*/ 2547416 h 6962977"/>
                <a:gd name="connsiteX668" fmla="*/ 3854 w 2649035"/>
                <a:gd name="connsiteY668" fmla="*/ 2548182 h 6962977"/>
                <a:gd name="connsiteX669" fmla="*/ 654366 w 2649035"/>
                <a:gd name="connsiteY669" fmla="*/ 2531236 h 6962977"/>
                <a:gd name="connsiteX670" fmla="*/ 665339 w 2649035"/>
                <a:gd name="connsiteY670" fmla="*/ 2532006 h 6962977"/>
                <a:gd name="connsiteX671" fmla="*/ 629916 w 2649035"/>
                <a:gd name="connsiteY671" fmla="*/ 2562808 h 6962977"/>
                <a:gd name="connsiteX672" fmla="*/ 637617 w 2649035"/>
                <a:gd name="connsiteY672" fmla="*/ 2544328 h 6962977"/>
                <a:gd name="connsiteX673" fmla="*/ 654366 w 2649035"/>
                <a:gd name="connsiteY673" fmla="*/ 2531236 h 6962977"/>
                <a:gd name="connsiteX674" fmla="*/ 77006 w 2649035"/>
                <a:gd name="connsiteY674" fmla="*/ 2525845 h 6962977"/>
                <a:gd name="connsiteX675" fmla="*/ 70845 w 2649035"/>
                <a:gd name="connsiteY675" fmla="*/ 2533546 h 6962977"/>
                <a:gd name="connsiteX676" fmla="*/ 66225 w 2649035"/>
                <a:gd name="connsiteY676" fmla="*/ 2536626 h 6962977"/>
                <a:gd name="connsiteX677" fmla="*/ 72386 w 2649035"/>
                <a:gd name="connsiteY677" fmla="*/ 2528925 h 6962977"/>
                <a:gd name="connsiteX678" fmla="*/ 73926 w 2649035"/>
                <a:gd name="connsiteY678" fmla="*/ 2495060 h 6962977"/>
                <a:gd name="connsiteX679" fmla="*/ 70846 w 2649035"/>
                <a:gd name="connsiteY679" fmla="*/ 2499679 h 6962977"/>
                <a:gd name="connsiteX680" fmla="*/ 63145 w 2649035"/>
                <a:gd name="connsiteY680" fmla="*/ 2505841 h 6962977"/>
                <a:gd name="connsiteX681" fmla="*/ 66225 w 2649035"/>
                <a:gd name="connsiteY681" fmla="*/ 2501220 h 6962977"/>
                <a:gd name="connsiteX682" fmla="*/ 438938 w 2649035"/>
                <a:gd name="connsiteY682" fmla="*/ 2490423 h 6962977"/>
                <a:gd name="connsiteX683" fmla="*/ 412756 w 2649035"/>
                <a:gd name="connsiteY683" fmla="*/ 2513525 h 6962977"/>
                <a:gd name="connsiteX684" fmla="*/ 418916 w 2649035"/>
                <a:gd name="connsiteY684" fmla="*/ 2501205 h 6962977"/>
                <a:gd name="connsiteX685" fmla="*/ 438938 w 2649035"/>
                <a:gd name="connsiteY685" fmla="*/ 2490423 h 6962977"/>
                <a:gd name="connsiteX686" fmla="*/ 240261 w 2649035"/>
                <a:gd name="connsiteY686" fmla="*/ 2487342 h 6962977"/>
                <a:gd name="connsiteX687" fmla="*/ 243341 w 2649035"/>
                <a:gd name="connsiteY687" fmla="*/ 2487342 h 6962977"/>
                <a:gd name="connsiteX688" fmla="*/ 223320 w 2649035"/>
                <a:gd name="connsiteY688" fmla="*/ 2504283 h 6962977"/>
                <a:gd name="connsiteX689" fmla="*/ 229480 w 2649035"/>
                <a:gd name="connsiteY689" fmla="*/ 2496582 h 6962977"/>
                <a:gd name="connsiteX690" fmla="*/ 240261 w 2649035"/>
                <a:gd name="connsiteY690" fmla="*/ 2487342 h 6962977"/>
                <a:gd name="connsiteX691" fmla="*/ 901557 w 2649035"/>
                <a:gd name="connsiteY691" fmla="*/ 2476180 h 6962977"/>
                <a:gd name="connsiteX692" fmla="*/ 914841 w 2649035"/>
                <a:gd name="connsiteY692" fmla="*/ 2479645 h 6962977"/>
                <a:gd name="connsiteX693" fmla="*/ 871717 w 2649035"/>
                <a:gd name="connsiteY693" fmla="*/ 2519688 h 6962977"/>
                <a:gd name="connsiteX694" fmla="*/ 877877 w 2649035"/>
                <a:gd name="connsiteY694" fmla="*/ 2493506 h 6962977"/>
                <a:gd name="connsiteX695" fmla="*/ 901557 w 2649035"/>
                <a:gd name="connsiteY695" fmla="*/ 2476180 h 6962977"/>
                <a:gd name="connsiteX696" fmla="*/ 124750 w 2649035"/>
                <a:gd name="connsiteY696" fmla="*/ 2454998 h 6962977"/>
                <a:gd name="connsiteX697" fmla="*/ 109349 w 2649035"/>
                <a:gd name="connsiteY697" fmla="*/ 2468859 h 6962977"/>
                <a:gd name="connsiteX698" fmla="*/ 115510 w 2649035"/>
                <a:gd name="connsiteY698" fmla="*/ 2462700 h 6962977"/>
                <a:gd name="connsiteX699" fmla="*/ 124750 w 2649035"/>
                <a:gd name="connsiteY699" fmla="*/ 2454998 h 6962977"/>
                <a:gd name="connsiteX700" fmla="*/ 144772 w 2649035"/>
                <a:gd name="connsiteY700" fmla="*/ 2450385 h 6962977"/>
                <a:gd name="connsiteX701" fmla="*/ 135532 w 2649035"/>
                <a:gd name="connsiteY701" fmla="*/ 2461169 h 6962977"/>
                <a:gd name="connsiteX702" fmla="*/ 129371 w 2649035"/>
                <a:gd name="connsiteY702" fmla="*/ 2465790 h 6962977"/>
                <a:gd name="connsiteX703" fmla="*/ 144772 w 2649035"/>
                <a:gd name="connsiteY703" fmla="*/ 2450385 h 6962977"/>
                <a:gd name="connsiteX704" fmla="*/ 1164126 w 2649035"/>
                <a:gd name="connsiteY704" fmla="*/ 2434665 h 6962977"/>
                <a:gd name="connsiteX705" fmla="*/ 1170503 w 2649035"/>
                <a:gd name="connsiteY705" fmla="*/ 2441139 h 6962977"/>
                <a:gd name="connsiteX706" fmla="*/ 1116598 w 2649035"/>
                <a:gd name="connsiteY706" fmla="*/ 2490427 h 6962977"/>
                <a:gd name="connsiteX707" fmla="*/ 1122759 w 2649035"/>
                <a:gd name="connsiteY707" fmla="*/ 2456543 h 6962977"/>
                <a:gd name="connsiteX708" fmla="*/ 1164126 w 2649035"/>
                <a:gd name="connsiteY708" fmla="*/ 2434665 h 6962977"/>
                <a:gd name="connsiteX709" fmla="*/ 2411468 w 2649035"/>
                <a:gd name="connsiteY709" fmla="*/ 2419964 h 6962977"/>
                <a:gd name="connsiteX710" fmla="*/ 2445736 w 2649035"/>
                <a:gd name="connsiteY710" fmla="*/ 2438060 h 6962977"/>
                <a:gd name="connsiteX711" fmla="*/ 2376430 w 2649035"/>
                <a:gd name="connsiteY711" fmla="*/ 2519699 h 6962977"/>
                <a:gd name="connsiteX712" fmla="*/ 2365649 w 2649035"/>
                <a:gd name="connsiteY712" fmla="*/ 2450385 h 6962977"/>
                <a:gd name="connsiteX713" fmla="*/ 2411468 w 2649035"/>
                <a:gd name="connsiteY713" fmla="*/ 2419964 h 6962977"/>
                <a:gd name="connsiteX714" fmla="*/ 220239 w 2649035"/>
                <a:gd name="connsiteY714" fmla="*/ 2414959 h 6962977"/>
                <a:gd name="connsiteX715" fmla="*/ 209458 w 2649035"/>
                <a:gd name="connsiteY715" fmla="*/ 2427277 h 6962977"/>
                <a:gd name="connsiteX716" fmla="*/ 201757 w 2649035"/>
                <a:gd name="connsiteY716" fmla="*/ 2433438 h 6962977"/>
                <a:gd name="connsiteX717" fmla="*/ 220239 w 2649035"/>
                <a:gd name="connsiteY717" fmla="*/ 2414959 h 6962977"/>
                <a:gd name="connsiteX718" fmla="*/ 660911 w 2649035"/>
                <a:gd name="connsiteY718" fmla="*/ 2411875 h 6962977"/>
                <a:gd name="connsiteX719" fmla="*/ 671499 w 2649035"/>
                <a:gd name="connsiteY719" fmla="*/ 2411875 h 6962977"/>
                <a:gd name="connsiteX720" fmla="*/ 634536 w 2649035"/>
                <a:gd name="connsiteY720" fmla="*/ 2445760 h 6962977"/>
                <a:gd name="connsiteX721" fmla="*/ 642237 w 2649035"/>
                <a:gd name="connsiteY721" fmla="*/ 2425737 h 6962977"/>
                <a:gd name="connsiteX722" fmla="*/ 660911 w 2649035"/>
                <a:gd name="connsiteY722" fmla="*/ 2411875 h 6962977"/>
                <a:gd name="connsiteX723" fmla="*/ 1419885 w 2649035"/>
                <a:gd name="connsiteY723" fmla="*/ 2406558 h 6962977"/>
                <a:gd name="connsiteX724" fmla="*/ 1427706 w 2649035"/>
                <a:gd name="connsiteY724" fmla="*/ 2414957 h 6962977"/>
                <a:gd name="connsiteX725" fmla="*/ 1367641 w 2649035"/>
                <a:gd name="connsiteY725" fmla="*/ 2475027 h 6962977"/>
                <a:gd name="connsiteX726" fmla="*/ 1370721 w 2649035"/>
                <a:gd name="connsiteY726" fmla="*/ 2431897 h 6962977"/>
                <a:gd name="connsiteX727" fmla="*/ 1419885 w 2649035"/>
                <a:gd name="connsiteY727" fmla="*/ 2406558 h 6962977"/>
                <a:gd name="connsiteX728" fmla="*/ 275684 w 2649035"/>
                <a:gd name="connsiteY728" fmla="*/ 2401093 h 6962977"/>
                <a:gd name="connsiteX729" fmla="*/ 277225 w 2649035"/>
                <a:gd name="connsiteY729" fmla="*/ 2401093 h 6962977"/>
                <a:gd name="connsiteX730" fmla="*/ 254122 w 2649035"/>
                <a:gd name="connsiteY730" fmla="*/ 2421115 h 6962977"/>
                <a:gd name="connsiteX731" fmla="*/ 261823 w 2649035"/>
                <a:gd name="connsiteY731" fmla="*/ 2411875 h 6962977"/>
                <a:gd name="connsiteX732" fmla="*/ 275684 w 2649035"/>
                <a:gd name="connsiteY732" fmla="*/ 2401093 h 6962977"/>
                <a:gd name="connsiteX733" fmla="*/ 172108 w 2649035"/>
                <a:gd name="connsiteY733" fmla="*/ 2394844 h 6962977"/>
                <a:gd name="connsiteX734" fmla="*/ 168067 w 2649035"/>
                <a:gd name="connsiteY734" fmla="*/ 2398591 h 6962977"/>
                <a:gd name="connsiteX735" fmla="*/ 158634 w 2649035"/>
                <a:gd name="connsiteY735" fmla="*/ 2407255 h 6962977"/>
                <a:gd name="connsiteX736" fmla="*/ 166335 w 2649035"/>
                <a:gd name="connsiteY736" fmla="*/ 2399554 h 6962977"/>
                <a:gd name="connsiteX737" fmla="*/ 2162929 w 2649035"/>
                <a:gd name="connsiteY737" fmla="*/ 2393976 h 6962977"/>
                <a:gd name="connsiteX738" fmla="*/ 2197775 w 2649035"/>
                <a:gd name="connsiteY738" fmla="*/ 2410338 h 6962977"/>
                <a:gd name="connsiteX739" fmla="*/ 2117688 w 2649035"/>
                <a:gd name="connsiteY739" fmla="*/ 2498139 h 6962977"/>
                <a:gd name="connsiteX740" fmla="*/ 2113067 w 2649035"/>
                <a:gd name="connsiteY740" fmla="*/ 2427277 h 6962977"/>
                <a:gd name="connsiteX741" fmla="*/ 2162929 w 2649035"/>
                <a:gd name="connsiteY741" fmla="*/ 2393976 h 6962977"/>
                <a:gd name="connsiteX742" fmla="*/ 1675427 w 2649035"/>
                <a:gd name="connsiteY742" fmla="*/ 2391209 h 6962977"/>
                <a:gd name="connsiteX743" fmla="*/ 1684909 w 2649035"/>
                <a:gd name="connsiteY743" fmla="*/ 2402638 h 6962977"/>
                <a:gd name="connsiteX744" fmla="*/ 1615603 w 2649035"/>
                <a:gd name="connsiteY744" fmla="*/ 2471948 h 6962977"/>
                <a:gd name="connsiteX745" fmla="*/ 1618683 w 2649035"/>
                <a:gd name="connsiteY745" fmla="*/ 2419577 h 6962977"/>
                <a:gd name="connsiteX746" fmla="*/ 1675427 w 2649035"/>
                <a:gd name="connsiteY746" fmla="*/ 2391209 h 6962977"/>
                <a:gd name="connsiteX747" fmla="*/ 178656 w 2649035"/>
                <a:gd name="connsiteY747" fmla="*/ 2388773 h 6962977"/>
                <a:gd name="connsiteX748" fmla="*/ 173651 w 2649035"/>
                <a:gd name="connsiteY748" fmla="*/ 2393586 h 6962977"/>
                <a:gd name="connsiteX749" fmla="*/ 172108 w 2649035"/>
                <a:gd name="connsiteY749" fmla="*/ 2394844 h 6962977"/>
                <a:gd name="connsiteX750" fmla="*/ 1929670 w 2649035"/>
                <a:gd name="connsiteY750" fmla="*/ 2386852 h 6962977"/>
                <a:gd name="connsiteX751" fmla="*/ 1942112 w 2649035"/>
                <a:gd name="connsiteY751" fmla="*/ 2401099 h 6962977"/>
                <a:gd name="connsiteX752" fmla="*/ 1869726 w 2649035"/>
                <a:gd name="connsiteY752" fmla="*/ 2479650 h 6962977"/>
                <a:gd name="connsiteX753" fmla="*/ 1866645 w 2649035"/>
                <a:gd name="connsiteY753" fmla="*/ 2418037 h 6962977"/>
                <a:gd name="connsiteX754" fmla="*/ 1929670 w 2649035"/>
                <a:gd name="connsiteY754" fmla="*/ 2386852 h 6962977"/>
                <a:gd name="connsiteX755" fmla="*/ 451838 w 2649035"/>
                <a:gd name="connsiteY755" fmla="*/ 2385499 h 6962977"/>
                <a:gd name="connsiteX756" fmla="*/ 457421 w 2649035"/>
                <a:gd name="connsiteY756" fmla="*/ 2385693 h 6962977"/>
                <a:gd name="connsiteX757" fmla="*/ 426618 w 2649035"/>
                <a:gd name="connsiteY757" fmla="*/ 2413415 h 6962977"/>
                <a:gd name="connsiteX758" fmla="*/ 435859 w 2649035"/>
                <a:gd name="connsiteY758" fmla="*/ 2399554 h 6962977"/>
                <a:gd name="connsiteX759" fmla="*/ 440479 w 2649035"/>
                <a:gd name="connsiteY759" fmla="*/ 2393394 h 6962977"/>
                <a:gd name="connsiteX760" fmla="*/ 451838 w 2649035"/>
                <a:gd name="connsiteY760" fmla="*/ 2385499 h 6962977"/>
                <a:gd name="connsiteX761" fmla="*/ 907694 w 2649035"/>
                <a:gd name="connsiteY761" fmla="*/ 2344016 h 6962977"/>
                <a:gd name="connsiteX762" fmla="*/ 913301 w 2649035"/>
                <a:gd name="connsiteY762" fmla="*/ 2348731 h 6962977"/>
                <a:gd name="connsiteX763" fmla="*/ 864017 w 2649035"/>
                <a:gd name="connsiteY763" fmla="*/ 2393395 h 6962977"/>
                <a:gd name="connsiteX764" fmla="*/ 873257 w 2649035"/>
                <a:gd name="connsiteY764" fmla="*/ 2365673 h 6962977"/>
                <a:gd name="connsiteX765" fmla="*/ 907694 w 2649035"/>
                <a:gd name="connsiteY765" fmla="*/ 2344016 h 6962977"/>
                <a:gd name="connsiteX766" fmla="*/ 232560 w 2649035"/>
                <a:gd name="connsiteY766" fmla="*/ 2331796 h 6962977"/>
                <a:gd name="connsiteX767" fmla="*/ 220239 w 2649035"/>
                <a:gd name="connsiteY767" fmla="*/ 2345657 h 6962977"/>
                <a:gd name="connsiteX768" fmla="*/ 210998 w 2649035"/>
                <a:gd name="connsiteY768" fmla="*/ 2353358 h 6962977"/>
                <a:gd name="connsiteX769" fmla="*/ 217159 w 2649035"/>
                <a:gd name="connsiteY769" fmla="*/ 2347199 h 6962977"/>
                <a:gd name="connsiteX770" fmla="*/ 231020 w 2649035"/>
                <a:gd name="connsiteY770" fmla="*/ 2333335 h 6962977"/>
                <a:gd name="connsiteX771" fmla="*/ 232560 w 2649035"/>
                <a:gd name="connsiteY771" fmla="*/ 2331796 h 6962977"/>
                <a:gd name="connsiteX772" fmla="*/ 315727 w 2649035"/>
                <a:gd name="connsiteY772" fmla="*/ 2321006 h 6962977"/>
                <a:gd name="connsiteX773" fmla="*/ 288005 w 2649035"/>
                <a:gd name="connsiteY773" fmla="*/ 2345649 h 6962977"/>
                <a:gd name="connsiteX774" fmla="*/ 297246 w 2649035"/>
                <a:gd name="connsiteY774" fmla="*/ 2334867 h 6962977"/>
                <a:gd name="connsiteX775" fmla="*/ 315727 w 2649035"/>
                <a:gd name="connsiteY775" fmla="*/ 2321006 h 6962977"/>
                <a:gd name="connsiteX776" fmla="*/ 678309 w 2649035"/>
                <a:gd name="connsiteY776" fmla="*/ 2297111 h 6962977"/>
                <a:gd name="connsiteX777" fmla="*/ 680740 w 2649035"/>
                <a:gd name="connsiteY777" fmla="*/ 2299445 h 6962977"/>
                <a:gd name="connsiteX778" fmla="*/ 639156 w 2649035"/>
                <a:gd name="connsiteY778" fmla="*/ 2336409 h 6962977"/>
                <a:gd name="connsiteX779" fmla="*/ 649937 w 2649035"/>
                <a:gd name="connsiteY779" fmla="*/ 2316387 h 6962977"/>
                <a:gd name="connsiteX780" fmla="*/ 678309 w 2649035"/>
                <a:gd name="connsiteY780" fmla="*/ 2297111 h 6962977"/>
                <a:gd name="connsiteX781" fmla="*/ 1151564 w 2649035"/>
                <a:gd name="connsiteY781" fmla="*/ 2295453 h 6962977"/>
                <a:gd name="connsiteX782" fmla="*/ 1158182 w 2649035"/>
                <a:gd name="connsiteY782" fmla="*/ 2302528 h 6962977"/>
                <a:gd name="connsiteX783" fmla="*/ 1101197 w 2649035"/>
                <a:gd name="connsiteY783" fmla="*/ 2356434 h 6962977"/>
                <a:gd name="connsiteX784" fmla="*/ 1108897 w 2649035"/>
                <a:gd name="connsiteY784" fmla="*/ 2321008 h 6962977"/>
                <a:gd name="connsiteX785" fmla="*/ 1151564 w 2649035"/>
                <a:gd name="connsiteY785" fmla="*/ 2295453 h 6962977"/>
                <a:gd name="connsiteX786" fmla="*/ 479368 w 2649035"/>
                <a:gd name="connsiteY786" fmla="*/ 2289435 h 6962977"/>
                <a:gd name="connsiteX787" fmla="*/ 483603 w 2649035"/>
                <a:gd name="connsiteY787" fmla="*/ 2290204 h 6962977"/>
                <a:gd name="connsiteX788" fmla="*/ 449720 w 2649035"/>
                <a:gd name="connsiteY788" fmla="*/ 2321006 h 6962977"/>
                <a:gd name="connsiteX789" fmla="*/ 458960 w 2649035"/>
                <a:gd name="connsiteY789" fmla="*/ 2305606 h 6962977"/>
                <a:gd name="connsiteX790" fmla="*/ 472822 w 2649035"/>
                <a:gd name="connsiteY790" fmla="*/ 2293285 h 6962977"/>
                <a:gd name="connsiteX791" fmla="*/ 479368 w 2649035"/>
                <a:gd name="connsiteY791" fmla="*/ 2289435 h 6962977"/>
                <a:gd name="connsiteX792" fmla="*/ 292625 w 2649035"/>
                <a:gd name="connsiteY792" fmla="*/ 2279431 h 6962977"/>
                <a:gd name="connsiteX793" fmla="*/ 277224 w 2649035"/>
                <a:gd name="connsiteY793" fmla="*/ 2296373 h 6962977"/>
                <a:gd name="connsiteX794" fmla="*/ 266443 w 2649035"/>
                <a:gd name="connsiteY794" fmla="*/ 2305616 h 6962977"/>
                <a:gd name="connsiteX795" fmla="*/ 292625 w 2649035"/>
                <a:gd name="connsiteY795" fmla="*/ 2279431 h 6962977"/>
                <a:gd name="connsiteX796" fmla="*/ 1401812 w 2649035"/>
                <a:gd name="connsiteY796" fmla="*/ 2260512 h 6962977"/>
                <a:gd name="connsiteX797" fmla="*/ 1410764 w 2649035"/>
                <a:gd name="connsiteY797" fmla="*/ 2268645 h 6962977"/>
                <a:gd name="connsiteX798" fmla="*/ 1347619 w 2649035"/>
                <a:gd name="connsiteY798" fmla="*/ 2333332 h 6962977"/>
                <a:gd name="connsiteX799" fmla="*/ 1350699 w 2649035"/>
                <a:gd name="connsiteY799" fmla="*/ 2288667 h 6962977"/>
                <a:gd name="connsiteX800" fmla="*/ 1401812 w 2649035"/>
                <a:gd name="connsiteY800" fmla="*/ 2260512 h 6962977"/>
                <a:gd name="connsiteX801" fmla="*/ 2371617 w 2649035"/>
                <a:gd name="connsiteY801" fmla="*/ 2251133 h 6962977"/>
                <a:gd name="connsiteX802" fmla="*/ 2407233 w 2649035"/>
                <a:gd name="connsiteY802" fmla="*/ 2267111 h 6962977"/>
                <a:gd name="connsiteX803" fmla="*/ 2337927 w 2649035"/>
                <a:gd name="connsiteY803" fmla="*/ 2353358 h 6962977"/>
                <a:gd name="connsiteX804" fmla="*/ 2325605 w 2649035"/>
                <a:gd name="connsiteY804" fmla="*/ 2282514 h 6962977"/>
                <a:gd name="connsiteX805" fmla="*/ 2371617 w 2649035"/>
                <a:gd name="connsiteY805" fmla="*/ 2251133 h 6962977"/>
                <a:gd name="connsiteX806" fmla="*/ 355771 w 2649035"/>
                <a:gd name="connsiteY806" fmla="*/ 2248621 h 6962977"/>
                <a:gd name="connsiteX807" fmla="*/ 324968 w 2649035"/>
                <a:gd name="connsiteY807" fmla="*/ 2276343 h 6962977"/>
                <a:gd name="connsiteX808" fmla="*/ 335749 w 2649035"/>
                <a:gd name="connsiteY808" fmla="*/ 2264021 h 6962977"/>
                <a:gd name="connsiteX809" fmla="*/ 355771 w 2649035"/>
                <a:gd name="connsiteY809" fmla="*/ 2248621 h 6962977"/>
                <a:gd name="connsiteX810" fmla="*/ 1651194 w 2649035"/>
                <a:gd name="connsiteY810" fmla="*/ 2238783 h 6962977"/>
                <a:gd name="connsiteX811" fmla="*/ 1661807 w 2649035"/>
                <a:gd name="connsiteY811" fmla="*/ 2250166 h 6962977"/>
                <a:gd name="connsiteX812" fmla="*/ 1590961 w 2649035"/>
                <a:gd name="connsiteY812" fmla="*/ 2324091 h 6962977"/>
                <a:gd name="connsiteX813" fmla="*/ 1592501 w 2649035"/>
                <a:gd name="connsiteY813" fmla="*/ 2270188 h 6962977"/>
                <a:gd name="connsiteX814" fmla="*/ 1651194 w 2649035"/>
                <a:gd name="connsiteY814" fmla="*/ 2238783 h 6962977"/>
                <a:gd name="connsiteX815" fmla="*/ 357311 w 2649035"/>
                <a:gd name="connsiteY815" fmla="*/ 2234769 h 6962977"/>
                <a:gd name="connsiteX816" fmla="*/ 338829 w 2649035"/>
                <a:gd name="connsiteY816" fmla="*/ 2254791 h 6962977"/>
                <a:gd name="connsiteX817" fmla="*/ 326508 w 2649035"/>
                <a:gd name="connsiteY817" fmla="*/ 2265571 h 6962977"/>
                <a:gd name="connsiteX818" fmla="*/ 357311 w 2649035"/>
                <a:gd name="connsiteY818" fmla="*/ 2234769 h 6962977"/>
                <a:gd name="connsiteX819" fmla="*/ 1899277 w 2649035"/>
                <a:gd name="connsiteY819" fmla="*/ 2229350 h 6962977"/>
                <a:gd name="connsiteX820" fmla="*/ 1909769 w 2649035"/>
                <a:gd name="connsiteY820" fmla="*/ 2242465 h 6962977"/>
                <a:gd name="connsiteX821" fmla="*/ 1837383 w 2649035"/>
                <a:gd name="connsiteY821" fmla="*/ 2324091 h 6962977"/>
                <a:gd name="connsiteX822" fmla="*/ 1834302 w 2649035"/>
                <a:gd name="connsiteY822" fmla="*/ 2262488 h 6962977"/>
                <a:gd name="connsiteX823" fmla="*/ 1899277 w 2649035"/>
                <a:gd name="connsiteY823" fmla="*/ 2229350 h 6962977"/>
                <a:gd name="connsiteX824" fmla="*/ 2148899 w 2649035"/>
                <a:gd name="connsiteY824" fmla="*/ 2229184 h 6962977"/>
                <a:gd name="connsiteX825" fmla="*/ 2163891 w 2649035"/>
                <a:gd name="connsiteY825" fmla="*/ 2245547 h 6962977"/>
                <a:gd name="connsiteX826" fmla="*/ 2083804 w 2649035"/>
                <a:gd name="connsiteY826" fmla="*/ 2337955 h 6962977"/>
                <a:gd name="connsiteX827" fmla="*/ 2077643 w 2649035"/>
                <a:gd name="connsiteY827" fmla="*/ 2265571 h 6962977"/>
                <a:gd name="connsiteX828" fmla="*/ 2148899 w 2649035"/>
                <a:gd name="connsiteY828" fmla="*/ 2229184 h 6962977"/>
                <a:gd name="connsiteX829" fmla="*/ 906779 w 2649035"/>
                <a:gd name="connsiteY829" fmla="*/ 2223259 h 6962977"/>
                <a:gd name="connsiteX830" fmla="*/ 911760 w 2649035"/>
                <a:gd name="connsiteY830" fmla="*/ 2228601 h 6962977"/>
                <a:gd name="connsiteX831" fmla="*/ 859395 w 2649035"/>
                <a:gd name="connsiteY831" fmla="*/ 2276345 h 6962977"/>
                <a:gd name="connsiteX832" fmla="*/ 870176 w 2649035"/>
                <a:gd name="connsiteY832" fmla="*/ 2247083 h 6962977"/>
                <a:gd name="connsiteX833" fmla="*/ 906779 w 2649035"/>
                <a:gd name="connsiteY833" fmla="*/ 2223259 h 6962977"/>
                <a:gd name="connsiteX834" fmla="*/ 509015 w 2649035"/>
                <a:gd name="connsiteY834" fmla="*/ 2199337 h 6962977"/>
                <a:gd name="connsiteX835" fmla="*/ 509785 w 2649035"/>
                <a:gd name="connsiteY835" fmla="*/ 2200877 h 6962977"/>
                <a:gd name="connsiteX836" fmla="*/ 471281 w 2649035"/>
                <a:gd name="connsiteY836" fmla="*/ 2236300 h 6962977"/>
                <a:gd name="connsiteX837" fmla="*/ 483603 w 2649035"/>
                <a:gd name="connsiteY837" fmla="*/ 2219359 h 6962977"/>
                <a:gd name="connsiteX838" fmla="*/ 503624 w 2649035"/>
                <a:gd name="connsiteY838" fmla="*/ 2202416 h 6962977"/>
                <a:gd name="connsiteX839" fmla="*/ 509015 w 2649035"/>
                <a:gd name="connsiteY839" fmla="*/ 2199337 h 6962977"/>
                <a:gd name="connsiteX840" fmla="*/ 421997 w 2649035"/>
                <a:gd name="connsiteY840" fmla="*/ 2197806 h 6962977"/>
                <a:gd name="connsiteX841" fmla="*/ 423537 w 2649035"/>
                <a:gd name="connsiteY841" fmla="*/ 2197806 h 6962977"/>
                <a:gd name="connsiteX842" fmla="*/ 403515 w 2649035"/>
                <a:gd name="connsiteY842" fmla="*/ 2220906 h 6962977"/>
                <a:gd name="connsiteX843" fmla="*/ 389654 w 2649035"/>
                <a:gd name="connsiteY843" fmla="*/ 2233229 h 6962977"/>
                <a:gd name="connsiteX844" fmla="*/ 421997 w 2649035"/>
                <a:gd name="connsiteY844" fmla="*/ 2197806 h 6962977"/>
                <a:gd name="connsiteX845" fmla="*/ 686707 w 2649035"/>
                <a:gd name="connsiteY845" fmla="*/ 2192792 h 6962977"/>
                <a:gd name="connsiteX846" fmla="*/ 696141 w 2649035"/>
                <a:gd name="connsiteY846" fmla="*/ 2193176 h 6962977"/>
                <a:gd name="connsiteX847" fmla="*/ 651477 w 2649035"/>
                <a:gd name="connsiteY847" fmla="*/ 2234760 h 6962977"/>
                <a:gd name="connsiteX848" fmla="*/ 662258 w 2649035"/>
                <a:gd name="connsiteY848" fmla="*/ 2213198 h 6962977"/>
                <a:gd name="connsiteX849" fmla="*/ 666878 w 2649035"/>
                <a:gd name="connsiteY849" fmla="*/ 2208579 h 6962977"/>
                <a:gd name="connsiteX850" fmla="*/ 686707 w 2649035"/>
                <a:gd name="connsiteY850" fmla="*/ 2192792 h 6962977"/>
                <a:gd name="connsiteX851" fmla="*/ 400435 w 2649035"/>
                <a:gd name="connsiteY851" fmla="*/ 2182394 h 6962977"/>
                <a:gd name="connsiteX852" fmla="*/ 366552 w 2649035"/>
                <a:gd name="connsiteY852" fmla="*/ 2214736 h 6962977"/>
                <a:gd name="connsiteX853" fmla="*/ 378873 w 2649035"/>
                <a:gd name="connsiteY853" fmla="*/ 2200876 h 6962977"/>
                <a:gd name="connsiteX854" fmla="*/ 400435 w 2649035"/>
                <a:gd name="connsiteY854" fmla="*/ 2182394 h 6962977"/>
                <a:gd name="connsiteX855" fmla="*/ 1140759 w 2649035"/>
                <a:gd name="connsiteY855" fmla="*/ 2163481 h 6962977"/>
                <a:gd name="connsiteX856" fmla="*/ 1147401 w 2649035"/>
                <a:gd name="connsiteY856" fmla="*/ 2170074 h 6962977"/>
                <a:gd name="connsiteX857" fmla="*/ 1088876 w 2649035"/>
                <a:gd name="connsiteY857" fmla="*/ 2228601 h 6962977"/>
                <a:gd name="connsiteX858" fmla="*/ 1096577 w 2649035"/>
                <a:gd name="connsiteY858" fmla="*/ 2191638 h 6962977"/>
                <a:gd name="connsiteX859" fmla="*/ 1140759 w 2649035"/>
                <a:gd name="connsiteY859" fmla="*/ 2163481 h 6962977"/>
                <a:gd name="connsiteX860" fmla="*/ 448179 w 2649035"/>
                <a:gd name="connsiteY860" fmla="*/ 2120789 h 6962977"/>
                <a:gd name="connsiteX861" fmla="*/ 411216 w 2649035"/>
                <a:gd name="connsiteY861" fmla="*/ 2157752 h 6962977"/>
                <a:gd name="connsiteX862" fmla="*/ 425077 w 2649035"/>
                <a:gd name="connsiteY862" fmla="*/ 2143891 h 6962977"/>
                <a:gd name="connsiteX863" fmla="*/ 448179 w 2649035"/>
                <a:gd name="connsiteY863" fmla="*/ 2120789 h 6962977"/>
                <a:gd name="connsiteX864" fmla="*/ 1381116 w 2649035"/>
                <a:gd name="connsiteY864" fmla="*/ 2120622 h 6962977"/>
                <a:gd name="connsiteX865" fmla="*/ 1389202 w 2649035"/>
                <a:gd name="connsiteY865" fmla="*/ 2128491 h 6962977"/>
                <a:gd name="connsiteX866" fmla="*/ 1326057 w 2649035"/>
                <a:gd name="connsiteY866" fmla="*/ 2196258 h 6962977"/>
                <a:gd name="connsiteX867" fmla="*/ 1329137 w 2649035"/>
                <a:gd name="connsiteY867" fmla="*/ 2151594 h 6962977"/>
                <a:gd name="connsiteX868" fmla="*/ 1381116 w 2649035"/>
                <a:gd name="connsiteY868" fmla="*/ 2120622 h 6962977"/>
                <a:gd name="connsiteX869" fmla="*/ 537507 w 2649035"/>
                <a:gd name="connsiteY869" fmla="*/ 2119250 h 6962977"/>
                <a:gd name="connsiteX870" fmla="*/ 540587 w 2649035"/>
                <a:gd name="connsiteY870" fmla="*/ 2119250 h 6962977"/>
                <a:gd name="connsiteX871" fmla="*/ 499004 w 2649035"/>
                <a:gd name="connsiteY871" fmla="*/ 2159293 h 6962977"/>
                <a:gd name="connsiteX872" fmla="*/ 512865 w 2649035"/>
                <a:gd name="connsiteY872" fmla="*/ 2140811 h 6962977"/>
                <a:gd name="connsiteX873" fmla="*/ 537507 w 2649035"/>
                <a:gd name="connsiteY873" fmla="*/ 2119250 h 6962977"/>
                <a:gd name="connsiteX874" fmla="*/ 909836 w 2649035"/>
                <a:gd name="connsiteY874" fmla="*/ 2107578 h 6962977"/>
                <a:gd name="connsiteX875" fmla="*/ 914841 w 2649035"/>
                <a:gd name="connsiteY875" fmla="*/ 2111549 h 6962977"/>
                <a:gd name="connsiteX876" fmla="*/ 860936 w 2649035"/>
                <a:gd name="connsiteY876" fmla="*/ 2163915 h 6962977"/>
                <a:gd name="connsiteX877" fmla="*/ 871717 w 2649035"/>
                <a:gd name="connsiteY877" fmla="*/ 2134651 h 6962977"/>
                <a:gd name="connsiteX878" fmla="*/ 909836 w 2649035"/>
                <a:gd name="connsiteY878" fmla="*/ 2107578 h 6962977"/>
                <a:gd name="connsiteX879" fmla="*/ 703650 w 2649035"/>
                <a:gd name="connsiteY879" fmla="*/ 2094609 h 6962977"/>
                <a:gd name="connsiteX880" fmla="*/ 711543 w 2649035"/>
                <a:gd name="connsiteY880" fmla="*/ 2094609 h 6962977"/>
                <a:gd name="connsiteX881" fmla="*/ 663799 w 2649035"/>
                <a:gd name="connsiteY881" fmla="*/ 2140811 h 6962977"/>
                <a:gd name="connsiteX882" fmla="*/ 676120 w 2649035"/>
                <a:gd name="connsiteY882" fmla="*/ 2117709 h 6962977"/>
                <a:gd name="connsiteX883" fmla="*/ 685361 w 2649035"/>
                <a:gd name="connsiteY883" fmla="*/ 2108468 h 6962977"/>
                <a:gd name="connsiteX884" fmla="*/ 703650 w 2649035"/>
                <a:gd name="connsiteY884" fmla="*/ 2094609 h 6962977"/>
                <a:gd name="connsiteX885" fmla="*/ 1624121 w 2649035"/>
                <a:gd name="connsiteY885" fmla="*/ 2091202 h 6962977"/>
                <a:gd name="connsiteX886" fmla="*/ 1634084 w 2649035"/>
                <a:gd name="connsiteY886" fmla="*/ 2102311 h 6962977"/>
                <a:gd name="connsiteX887" fmla="*/ 1563238 w 2649035"/>
                <a:gd name="connsiteY887" fmla="*/ 2179318 h 6962977"/>
                <a:gd name="connsiteX888" fmla="*/ 1564778 w 2649035"/>
                <a:gd name="connsiteY888" fmla="*/ 2125412 h 6962977"/>
                <a:gd name="connsiteX889" fmla="*/ 1624121 w 2649035"/>
                <a:gd name="connsiteY889" fmla="*/ 2091202 h 6962977"/>
                <a:gd name="connsiteX890" fmla="*/ 2349382 w 2649035"/>
                <a:gd name="connsiteY890" fmla="*/ 2085703 h 6962977"/>
                <a:gd name="connsiteX891" fmla="*/ 2364109 w 2649035"/>
                <a:gd name="connsiteY891" fmla="*/ 2102311 h 6962977"/>
                <a:gd name="connsiteX892" fmla="*/ 2294803 w 2649035"/>
                <a:gd name="connsiteY892" fmla="*/ 2191642 h 6962977"/>
                <a:gd name="connsiteX893" fmla="*/ 2280942 w 2649035"/>
                <a:gd name="connsiteY893" fmla="*/ 2119254 h 6962977"/>
                <a:gd name="connsiteX894" fmla="*/ 2349382 w 2649035"/>
                <a:gd name="connsiteY894" fmla="*/ 2085703 h 6962977"/>
                <a:gd name="connsiteX895" fmla="*/ 1868017 w 2649035"/>
                <a:gd name="connsiteY895" fmla="*/ 2074072 h 6962977"/>
                <a:gd name="connsiteX896" fmla="*/ 1880507 w 2649035"/>
                <a:gd name="connsiteY896" fmla="*/ 2086923 h 6962977"/>
                <a:gd name="connsiteX897" fmla="*/ 1806580 w 2649035"/>
                <a:gd name="connsiteY897" fmla="*/ 2173158 h 6962977"/>
                <a:gd name="connsiteX898" fmla="*/ 1801960 w 2649035"/>
                <a:gd name="connsiteY898" fmla="*/ 2110012 h 6962977"/>
                <a:gd name="connsiteX899" fmla="*/ 1868017 w 2649035"/>
                <a:gd name="connsiteY899" fmla="*/ 2074072 h 6962977"/>
                <a:gd name="connsiteX900" fmla="*/ 2111479 w 2649035"/>
                <a:gd name="connsiteY900" fmla="*/ 2070803 h 6962977"/>
                <a:gd name="connsiteX901" fmla="*/ 2125388 w 2649035"/>
                <a:gd name="connsiteY901" fmla="*/ 2086926 h 6962977"/>
                <a:gd name="connsiteX902" fmla="*/ 2046841 w 2649035"/>
                <a:gd name="connsiteY902" fmla="*/ 2182401 h 6962977"/>
                <a:gd name="connsiteX903" fmla="*/ 2039141 w 2649035"/>
                <a:gd name="connsiteY903" fmla="*/ 2108471 h 6962977"/>
                <a:gd name="connsiteX904" fmla="*/ 2111479 w 2649035"/>
                <a:gd name="connsiteY904" fmla="*/ 2070803 h 6962977"/>
                <a:gd name="connsiteX905" fmla="*/ 497463 w 2649035"/>
                <a:gd name="connsiteY905" fmla="*/ 2068450 h 6962977"/>
                <a:gd name="connsiteX906" fmla="*/ 474361 w 2649035"/>
                <a:gd name="connsiteY906" fmla="*/ 2094632 h 6962977"/>
                <a:gd name="connsiteX907" fmla="*/ 458960 w 2649035"/>
                <a:gd name="connsiteY907" fmla="*/ 2110012 h 6962977"/>
                <a:gd name="connsiteX908" fmla="*/ 497463 w 2649035"/>
                <a:gd name="connsiteY908" fmla="*/ 2068450 h 6962977"/>
                <a:gd name="connsiteX909" fmla="*/ 572930 w 2649035"/>
                <a:gd name="connsiteY909" fmla="*/ 2042244 h 6962977"/>
                <a:gd name="connsiteX910" fmla="*/ 572930 w 2649035"/>
                <a:gd name="connsiteY910" fmla="*/ 2043784 h 6962977"/>
                <a:gd name="connsiteX911" fmla="*/ 528266 w 2649035"/>
                <a:gd name="connsiteY911" fmla="*/ 2086908 h 6962977"/>
                <a:gd name="connsiteX912" fmla="*/ 543667 w 2649035"/>
                <a:gd name="connsiteY912" fmla="*/ 2068426 h 6962977"/>
                <a:gd name="connsiteX913" fmla="*/ 572930 w 2649035"/>
                <a:gd name="connsiteY913" fmla="*/ 2042244 h 6962977"/>
                <a:gd name="connsiteX914" fmla="*/ 1132819 w 2649035"/>
                <a:gd name="connsiteY914" fmla="*/ 2039867 h 6962977"/>
                <a:gd name="connsiteX915" fmla="*/ 1139701 w 2649035"/>
                <a:gd name="connsiteY915" fmla="*/ 2045330 h 6962977"/>
                <a:gd name="connsiteX916" fmla="*/ 1076555 w 2649035"/>
                <a:gd name="connsiteY916" fmla="*/ 2106928 h 6962977"/>
                <a:gd name="connsiteX917" fmla="*/ 1087336 w 2649035"/>
                <a:gd name="connsiteY917" fmla="*/ 2069972 h 6962977"/>
                <a:gd name="connsiteX918" fmla="*/ 1132819 w 2649035"/>
                <a:gd name="connsiteY918" fmla="*/ 2039867 h 6962977"/>
                <a:gd name="connsiteX919" fmla="*/ 551369 w 2649035"/>
                <a:gd name="connsiteY919" fmla="*/ 2022243 h 6962977"/>
                <a:gd name="connsiteX920" fmla="*/ 552909 w 2649035"/>
                <a:gd name="connsiteY920" fmla="*/ 2022243 h 6962977"/>
                <a:gd name="connsiteX921" fmla="*/ 526727 w 2649035"/>
                <a:gd name="connsiteY921" fmla="*/ 2051507 h 6962977"/>
                <a:gd name="connsiteX922" fmla="*/ 509785 w 2649035"/>
                <a:gd name="connsiteY922" fmla="*/ 2068450 h 6962977"/>
                <a:gd name="connsiteX923" fmla="*/ 551369 w 2649035"/>
                <a:gd name="connsiteY923" fmla="*/ 2022243 h 6962977"/>
                <a:gd name="connsiteX924" fmla="*/ 724056 w 2649035"/>
                <a:gd name="connsiteY924" fmla="*/ 2004319 h 6962977"/>
                <a:gd name="connsiteX925" fmla="*/ 730024 w 2649035"/>
                <a:gd name="connsiteY925" fmla="*/ 2005282 h 6962977"/>
                <a:gd name="connsiteX926" fmla="*/ 679200 w 2649035"/>
                <a:gd name="connsiteY926" fmla="*/ 2054566 h 6962977"/>
                <a:gd name="connsiteX927" fmla="*/ 694601 w 2649035"/>
                <a:gd name="connsiteY927" fmla="*/ 2029924 h 6962977"/>
                <a:gd name="connsiteX928" fmla="*/ 714623 w 2649035"/>
                <a:gd name="connsiteY928" fmla="*/ 2011442 h 6962977"/>
                <a:gd name="connsiteX929" fmla="*/ 724056 w 2649035"/>
                <a:gd name="connsiteY929" fmla="*/ 2004319 h 6962977"/>
                <a:gd name="connsiteX930" fmla="*/ 914889 w 2649035"/>
                <a:gd name="connsiteY930" fmla="*/ 2000687 h 6962977"/>
                <a:gd name="connsiteX931" fmla="*/ 919461 w 2649035"/>
                <a:gd name="connsiteY931" fmla="*/ 2005284 h 6962977"/>
                <a:gd name="connsiteX932" fmla="*/ 862476 w 2649035"/>
                <a:gd name="connsiteY932" fmla="*/ 2060729 h 6962977"/>
                <a:gd name="connsiteX933" fmla="*/ 876337 w 2649035"/>
                <a:gd name="connsiteY933" fmla="*/ 2029926 h 6962977"/>
                <a:gd name="connsiteX934" fmla="*/ 914889 w 2649035"/>
                <a:gd name="connsiteY934" fmla="*/ 2000687 h 6962977"/>
                <a:gd name="connsiteX935" fmla="*/ 1361312 w 2649035"/>
                <a:gd name="connsiteY935" fmla="*/ 1986686 h 6962977"/>
                <a:gd name="connsiteX936" fmla="*/ 1370721 w 2649035"/>
                <a:gd name="connsiteY936" fmla="*/ 1996047 h 6962977"/>
                <a:gd name="connsiteX937" fmla="*/ 1302955 w 2649035"/>
                <a:gd name="connsiteY937" fmla="*/ 2066894 h 6962977"/>
                <a:gd name="connsiteX938" fmla="*/ 1309116 w 2649035"/>
                <a:gd name="connsiteY938" fmla="*/ 2020689 h 6962977"/>
                <a:gd name="connsiteX939" fmla="*/ 1361312 w 2649035"/>
                <a:gd name="connsiteY939" fmla="*/ 1986686 h 6962977"/>
                <a:gd name="connsiteX940" fmla="*/ 605273 w 2649035"/>
                <a:gd name="connsiteY940" fmla="*/ 1983739 h 6962977"/>
                <a:gd name="connsiteX941" fmla="*/ 606813 w 2649035"/>
                <a:gd name="connsiteY941" fmla="*/ 1983739 h 6962977"/>
                <a:gd name="connsiteX942" fmla="*/ 582171 w 2649035"/>
                <a:gd name="connsiteY942" fmla="*/ 2016083 h 6962977"/>
                <a:gd name="connsiteX943" fmla="*/ 563689 w 2649035"/>
                <a:gd name="connsiteY943" fmla="*/ 2033025 h 6962977"/>
                <a:gd name="connsiteX944" fmla="*/ 605273 w 2649035"/>
                <a:gd name="connsiteY944" fmla="*/ 1983739 h 6962977"/>
                <a:gd name="connsiteX945" fmla="*/ 608353 w 2649035"/>
                <a:gd name="connsiteY945" fmla="*/ 1974478 h 6962977"/>
                <a:gd name="connsiteX946" fmla="*/ 608353 w 2649035"/>
                <a:gd name="connsiteY946" fmla="*/ 1976017 h 6962977"/>
                <a:gd name="connsiteX947" fmla="*/ 562149 w 2649035"/>
                <a:gd name="connsiteY947" fmla="*/ 2023762 h 6962977"/>
                <a:gd name="connsiteX948" fmla="*/ 579090 w 2649035"/>
                <a:gd name="connsiteY948" fmla="*/ 2003741 h 6962977"/>
                <a:gd name="connsiteX949" fmla="*/ 608353 w 2649035"/>
                <a:gd name="connsiteY949" fmla="*/ 1974478 h 6962977"/>
                <a:gd name="connsiteX950" fmla="*/ 1596399 w 2649035"/>
                <a:gd name="connsiteY950" fmla="*/ 1949098 h 6962977"/>
                <a:gd name="connsiteX951" fmla="*/ 1606362 w 2649035"/>
                <a:gd name="connsiteY951" fmla="*/ 1959085 h 6962977"/>
                <a:gd name="connsiteX952" fmla="*/ 1535516 w 2649035"/>
                <a:gd name="connsiteY952" fmla="*/ 2040715 h 6962977"/>
                <a:gd name="connsiteX953" fmla="*/ 1537056 w 2649035"/>
                <a:gd name="connsiteY953" fmla="*/ 1985268 h 6962977"/>
                <a:gd name="connsiteX954" fmla="*/ 1596399 w 2649035"/>
                <a:gd name="connsiteY954" fmla="*/ 1949098 h 6962977"/>
                <a:gd name="connsiteX955" fmla="*/ 1832593 w 2649035"/>
                <a:gd name="connsiteY955" fmla="*/ 1925589 h 6962977"/>
                <a:gd name="connsiteX956" fmla="*/ 1845083 w 2649035"/>
                <a:gd name="connsiteY956" fmla="*/ 1939065 h 6962977"/>
                <a:gd name="connsiteX957" fmla="*/ 1772697 w 2649035"/>
                <a:gd name="connsiteY957" fmla="*/ 2028395 h 6962977"/>
                <a:gd name="connsiteX958" fmla="*/ 1766536 w 2649035"/>
                <a:gd name="connsiteY958" fmla="*/ 1963708 h 6962977"/>
                <a:gd name="connsiteX959" fmla="*/ 1832593 w 2649035"/>
                <a:gd name="connsiteY959" fmla="*/ 1925589 h 6962977"/>
                <a:gd name="connsiteX960" fmla="*/ 2281520 w 2649035"/>
                <a:gd name="connsiteY960" fmla="*/ 1924249 h 6962977"/>
                <a:gd name="connsiteX961" fmla="*/ 2317906 w 2649035"/>
                <a:gd name="connsiteY961" fmla="*/ 1942151 h 6962977"/>
                <a:gd name="connsiteX962" fmla="*/ 2251680 w 2649035"/>
                <a:gd name="connsiteY962" fmla="*/ 2034564 h 6962977"/>
                <a:gd name="connsiteX963" fmla="*/ 2234738 w 2649035"/>
                <a:gd name="connsiteY963" fmla="*/ 1960634 h 6962977"/>
                <a:gd name="connsiteX964" fmla="*/ 2281520 w 2649035"/>
                <a:gd name="connsiteY964" fmla="*/ 1924249 h 6962977"/>
                <a:gd name="connsiteX965" fmla="*/ 1126658 w 2649035"/>
                <a:gd name="connsiteY965" fmla="*/ 1923080 h 6962977"/>
                <a:gd name="connsiteX966" fmla="*/ 1133540 w 2649035"/>
                <a:gd name="connsiteY966" fmla="*/ 1928278 h 6962977"/>
                <a:gd name="connsiteX967" fmla="*/ 1070395 w 2649035"/>
                <a:gd name="connsiteY967" fmla="*/ 1992965 h 6962977"/>
                <a:gd name="connsiteX968" fmla="*/ 1081176 w 2649035"/>
                <a:gd name="connsiteY968" fmla="*/ 1956000 h 6962977"/>
                <a:gd name="connsiteX969" fmla="*/ 1126658 w 2649035"/>
                <a:gd name="connsiteY969" fmla="*/ 1923080 h 6962977"/>
                <a:gd name="connsiteX970" fmla="*/ 750431 w 2649035"/>
                <a:gd name="connsiteY970" fmla="*/ 1918648 h 6962977"/>
                <a:gd name="connsiteX971" fmla="*/ 751586 w 2649035"/>
                <a:gd name="connsiteY971" fmla="*/ 1920574 h 6962977"/>
                <a:gd name="connsiteX972" fmla="*/ 699221 w 2649035"/>
                <a:gd name="connsiteY972" fmla="*/ 1974479 h 6962977"/>
                <a:gd name="connsiteX973" fmla="*/ 714623 w 2649035"/>
                <a:gd name="connsiteY973" fmla="*/ 1949836 h 6962977"/>
                <a:gd name="connsiteX974" fmla="*/ 742345 w 2649035"/>
                <a:gd name="connsiteY974" fmla="*/ 1923653 h 6962977"/>
                <a:gd name="connsiteX975" fmla="*/ 750431 w 2649035"/>
                <a:gd name="connsiteY975" fmla="*/ 1918648 h 6962977"/>
                <a:gd name="connsiteX976" fmla="*/ 2069895 w 2649035"/>
                <a:gd name="connsiteY976" fmla="*/ 1913970 h 6962977"/>
                <a:gd name="connsiteX977" fmla="*/ 2083804 w 2649035"/>
                <a:gd name="connsiteY977" fmla="*/ 1929829 h 6962977"/>
                <a:gd name="connsiteX978" fmla="*/ 2006798 w 2649035"/>
                <a:gd name="connsiteY978" fmla="*/ 2028399 h 6962977"/>
                <a:gd name="connsiteX979" fmla="*/ 1997557 w 2649035"/>
                <a:gd name="connsiteY979" fmla="*/ 1954470 h 6962977"/>
                <a:gd name="connsiteX980" fmla="*/ 2069895 w 2649035"/>
                <a:gd name="connsiteY980" fmla="*/ 1913970 h 6962977"/>
                <a:gd name="connsiteX981" fmla="*/ 646857 w 2649035"/>
                <a:gd name="connsiteY981" fmla="*/ 1911331 h 6962977"/>
                <a:gd name="connsiteX982" fmla="*/ 646857 w 2649035"/>
                <a:gd name="connsiteY982" fmla="*/ 1912871 h 6962977"/>
                <a:gd name="connsiteX983" fmla="*/ 599113 w 2649035"/>
                <a:gd name="connsiteY983" fmla="*/ 1965236 h 6962977"/>
                <a:gd name="connsiteX984" fmla="*/ 616054 w 2649035"/>
                <a:gd name="connsiteY984" fmla="*/ 1945214 h 6962977"/>
                <a:gd name="connsiteX985" fmla="*/ 646857 w 2649035"/>
                <a:gd name="connsiteY985" fmla="*/ 1911331 h 6962977"/>
                <a:gd name="connsiteX986" fmla="*/ 923046 w 2649035"/>
                <a:gd name="connsiteY986" fmla="*/ 1900577 h 6962977"/>
                <a:gd name="connsiteX987" fmla="*/ 927161 w 2649035"/>
                <a:gd name="connsiteY987" fmla="*/ 1903633 h 6962977"/>
                <a:gd name="connsiteX988" fmla="*/ 868636 w 2649035"/>
                <a:gd name="connsiteY988" fmla="*/ 1963698 h 6962977"/>
                <a:gd name="connsiteX989" fmla="*/ 882497 w 2649035"/>
                <a:gd name="connsiteY989" fmla="*/ 1932896 h 6962977"/>
                <a:gd name="connsiteX990" fmla="*/ 885578 w 2649035"/>
                <a:gd name="connsiteY990" fmla="*/ 1929815 h 6962977"/>
                <a:gd name="connsiteX991" fmla="*/ 923046 w 2649035"/>
                <a:gd name="connsiteY991" fmla="*/ 1900577 h 6962977"/>
                <a:gd name="connsiteX992" fmla="*/ 1343046 w 2649035"/>
                <a:gd name="connsiteY992" fmla="*/ 1859333 h 6962977"/>
                <a:gd name="connsiteX993" fmla="*/ 1350699 w 2649035"/>
                <a:gd name="connsiteY993" fmla="*/ 1866673 h 6962977"/>
                <a:gd name="connsiteX994" fmla="*/ 1282933 w 2649035"/>
                <a:gd name="connsiteY994" fmla="*/ 1942141 h 6962977"/>
                <a:gd name="connsiteX995" fmla="*/ 1290634 w 2649035"/>
                <a:gd name="connsiteY995" fmla="*/ 1895937 h 6962977"/>
                <a:gd name="connsiteX996" fmla="*/ 1343046 w 2649035"/>
                <a:gd name="connsiteY996" fmla="*/ 1859333 h 6962977"/>
                <a:gd name="connsiteX997" fmla="*/ 686900 w 2649035"/>
                <a:gd name="connsiteY997" fmla="*/ 1858984 h 6962977"/>
                <a:gd name="connsiteX998" fmla="*/ 637616 w 2649035"/>
                <a:gd name="connsiteY998" fmla="*/ 1915971 h 6962977"/>
                <a:gd name="connsiteX999" fmla="*/ 656098 w 2649035"/>
                <a:gd name="connsiteY999" fmla="*/ 1894408 h 6962977"/>
                <a:gd name="connsiteX1000" fmla="*/ 686900 w 2649035"/>
                <a:gd name="connsiteY1000" fmla="*/ 1858984 h 6962977"/>
                <a:gd name="connsiteX1001" fmla="*/ 770068 w 2649035"/>
                <a:gd name="connsiteY1001" fmla="*/ 1843566 h 6962977"/>
                <a:gd name="connsiteX1002" fmla="*/ 774688 w 2649035"/>
                <a:gd name="connsiteY1002" fmla="*/ 1843566 h 6962977"/>
                <a:gd name="connsiteX1003" fmla="*/ 720783 w 2649035"/>
                <a:gd name="connsiteY1003" fmla="*/ 1900552 h 6962977"/>
                <a:gd name="connsiteX1004" fmla="*/ 737725 w 2649035"/>
                <a:gd name="connsiteY1004" fmla="*/ 1875909 h 6962977"/>
                <a:gd name="connsiteX1005" fmla="*/ 770068 w 2649035"/>
                <a:gd name="connsiteY1005" fmla="*/ 1843566 h 6962977"/>
                <a:gd name="connsiteX1006" fmla="*/ 1121364 w 2649035"/>
                <a:gd name="connsiteY1006" fmla="*/ 1813129 h 6962977"/>
                <a:gd name="connsiteX1007" fmla="*/ 1127380 w 2649035"/>
                <a:gd name="connsiteY1007" fmla="*/ 1818929 h 6962977"/>
                <a:gd name="connsiteX1008" fmla="*/ 1062694 w 2649035"/>
                <a:gd name="connsiteY1008" fmla="*/ 1888233 h 6962977"/>
                <a:gd name="connsiteX1009" fmla="*/ 1075015 w 2649035"/>
                <a:gd name="connsiteY1009" fmla="*/ 1849730 h 6962977"/>
                <a:gd name="connsiteX1010" fmla="*/ 1121364 w 2649035"/>
                <a:gd name="connsiteY1010" fmla="*/ 1813129 h 6962977"/>
                <a:gd name="connsiteX1011" fmla="*/ 1566920 w 2649035"/>
                <a:gd name="connsiteY1011" fmla="*/ 1811426 h 6962977"/>
                <a:gd name="connsiteX1012" fmla="*/ 1578640 w 2649035"/>
                <a:gd name="connsiteY1012" fmla="*/ 1822013 h 6962977"/>
                <a:gd name="connsiteX1013" fmla="*/ 1507794 w 2649035"/>
                <a:gd name="connsiteY1013" fmla="*/ 1906720 h 6962977"/>
                <a:gd name="connsiteX1014" fmla="*/ 1507794 w 2649035"/>
                <a:gd name="connsiteY1014" fmla="*/ 1851275 h 6962977"/>
                <a:gd name="connsiteX1015" fmla="*/ 1566920 w 2649035"/>
                <a:gd name="connsiteY1015" fmla="*/ 1811426 h 6962977"/>
                <a:gd name="connsiteX1016" fmla="*/ 730024 w 2649035"/>
                <a:gd name="connsiteY1016" fmla="*/ 1811244 h 6962977"/>
                <a:gd name="connsiteX1017" fmla="*/ 699222 w 2649035"/>
                <a:gd name="connsiteY1017" fmla="*/ 1849743 h 6962977"/>
                <a:gd name="connsiteX1018" fmla="*/ 680740 w 2649035"/>
                <a:gd name="connsiteY1018" fmla="*/ 1871303 h 6962977"/>
                <a:gd name="connsiteX1019" fmla="*/ 730024 w 2649035"/>
                <a:gd name="connsiteY1019" fmla="*/ 1811244 h 6962977"/>
                <a:gd name="connsiteX1020" fmla="*/ 931276 w 2649035"/>
                <a:gd name="connsiteY1020" fmla="*/ 1806581 h 6962977"/>
                <a:gd name="connsiteX1021" fmla="*/ 934862 w 2649035"/>
                <a:gd name="connsiteY1021" fmla="*/ 1809685 h 6962977"/>
                <a:gd name="connsiteX1022" fmla="*/ 874797 w 2649035"/>
                <a:gd name="connsiteY1022" fmla="*/ 1874370 h 6962977"/>
                <a:gd name="connsiteX1023" fmla="*/ 890198 w 2649035"/>
                <a:gd name="connsiteY1023" fmla="*/ 1842028 h 6962977"/>
                <a:gd name="connsiteX1024" fmla="*/ 899439 w 2649035"/>
                <a:gd name="connsiteY1024" fmla="*/ 1832787 h 6962977"/>
                <a:gd name="connsiteX1025" fmla="*/ 931276 w 2649035"/>
                <a:gd name="connsiteY1025" fmla="*/ 1806581 h 6962977"/>
                <a:gd name="connsiteX1026" fmla="*/ 1795630 w 2649035"/>
                <a:gd name="connsiteY1026" fmla="*/ 1780436 h 6962977"/>
                <a:gd name="connsiteX1027" fmla="*/ 1808120 w 2649035"/>
                <a:gd name="connsiteY1027" fmla="*/ 1792755 h 6962977"/>
                <a:gd name="connsiteX1028" fmla="*/ 1737274 w 2649035"/>
                <a:gd name="connsiteY1028" fmla="*/ 1886699 h 6962977"/>
                <a:gd name="connsiteX1029" fmla="*/ 1729573 w 2649035"/>
                <a:gd name="connsiteY1029" fmla="*/ 1822017 h 6962977"/>
                <a:gd name="connsiteX1030" fmla="*/ 1795630 w 2649035"/>
                <a:gd name="connsiteY1030" fmla="*/ 1780436 h 6962977"/>
                <a:gd name="connsiteX1031" fmla="*/ 774688 w 2649035"/>
                <a:gd name="connsiteY1031" fmla="*/ 1771204 h 6962977"/>
                <a:gd name="connsiteX1032" fmla="*/ 745426 w 2649035"/>
                <a:gd name="connsiteY1032" fmla="*/ 1812785 h 6962977"/>
                <a:gd name="connsiteX1033" fmla="*/ 725404 w 2649035"/>
                <a:gd name="connsiteY1033" fmla="*/ 1834345 h 6962977"/>
                <a:gd name="connsiteX1034" fmla="*/ 774688 w 2649035"/>
                <a:gd name="connsiteY1034" fmla="*/ 1771204 h 6962977"/>
                <a:gd name="connsiteX1035" fmla="*/ 799330 w 2649035"/>
                <a:gd name="connsiteY1035" fmla="*/ 1771181 h 6962977"/>
                <a:gd name="connsiteX1036" fmla="*/ 799330 w 2649035"/>
                <a:gd name="connsiteY1036" fmla="*/ 1772721 h 6962977"/>
                <a:gd name="connsiteX1037" fmla="*/ 743885 w 2649035"/>
                <a:gd name="connsiteY1037" fmla="*/ 1834326 h 6962977"/>
                <a:gd name="connsiteX1038" fmla="*/ 762367 w 2649035"/>
                <a:gd name="connsiteY1038" fmla="*/ 1808143 h 6962977"/>
                <a:gd name="connsiteX1039" fmla="*/ 799330 w 2649035"/>
                <a:gd name="connsiteY1039" fmla="*/ 1771181 h 6962977"/>
                <a:gd name="connsiteX1040" fmla="*/ 2253243 w 2649035"/>
                <a:gd name="connsiteY1040" fmla="*/ 1764994 h 6962977"/>
                <a:gd name="connsiteX1041" fmla="*/ 2268621 w 2649035"/>
                <a:gd name="connsiteY1041" fmla="*/ 1781983 h 6962977"/>
                <a:gd name="connsiteX1042" fmla="*/ 2203935 w 2649035"/>
                <a:gd name="connsiteY1042" fmla="*/ 1879003 h 6962977"/>
                <a:gd name="connsiteX1043" fmla="*/ 2185453 w 2649035"/>
                <a:gd name="connsiteY1043" fmla="*/ 1803543 h 6962977"/>
                <a:gd name="connsiteX1044" fmla="*/ 2253243 w 2649035"/>
                <a:gd name="connsiteY1044" fmla="*/ 1764994 h 6962977"/>
                <a:gd name="connsiteX1045" fmla="*/ 2025905 w 2649035"/>
                <a:gd name="connsiteY1045" fmla="*/ 1761765 h 6962977"/>
                <a:gd name="connsiteX1046" fmla="*/ 2040681 w 2649035"/>
                <a:gd name="connsiteY1046" fmla="*/ 1777359 h 6962977"/>
                <a:gd name="connsiteX1047" fmla="*/ 1965214 w 2649035"/>
                <a:gd name="connsiteY1047" fmla="*/ 1880541 h 6962977"/>
                <a:gd name="connsiteX1048" fmla="*/ 1954433 w 2649035"/>
                <a:gd name="connsiteY1048" fmla="*/ 1805078 h 6962977"/>
                <a:gd name="connsiteX1049" fmla="*/ 2025905 w 2649035"/>
                <a:gd name="connsiteY1049" fmla="*/ 1761765 h 6962977"/>
                <a:gd name="connsiteX1050" fmla="*/ 1326779 w 2649035"/>
                <a:gd name="connsiteY1050" fmla="*/ 1738823 h 6962977"/>
                <a:gd name="connsiteX1051" fmla="*/ 1335298 w 2649035"/>
                <a:gd name="connsiteY1051" fmla="*/ 1745008 h 6962977"/>
                <a:gd name="connsiteX1052" fmla="*/ 1267532 w 2649035"/>
                <a:gd name="connsiteY1052" fmla="*/ 1825091 h 6962977"/>
                <a:gd name="connsiteX1053" fmla="*/ 1275233 w 2649035"/>
                <a:gd name="connsiteY1053" fmla="*/ 1778889 h 6962977"/>
                <a:gd name="connsiteX1054" fmla="*/ 1326779 w 2649035"/>
                <a:gd name="connsiteY1054" fmla="*/ 1738823 h 6962977"/>
                <a:gd name="connsiteX1055" fmla="*/ 947183 w 2649035"/>
                <a:gd name="connsiteY1055" fmla="*/ 1723439 h 6962977"/>
                <a:gd name="connsiteX1056" fmla="*/ 885578 w 2649035"/>
                <a:gd name="connsiteY1056" fmla="*/ 1791205 h 6962977"/>
                <a:gd name="connsiteX1057" fmla="*/ 902519 w 2649035"/>
                <a:gd name="connsiteY1057" fmla="*/ 1758862 h 6962977"/>
                <a:gd name="connsiteX1058" fmla="*/ 924081 w 2649035"/>
                <a:gd name="connsiteY1058" fmla="*/ 1735760 h 6962977"/>
                <a:gd name="connsiteX1059" fmla="*/ 947183 w 2649035"/>
                <a:gd name="connsiteY1059" fmla="*/ 1723439 h 6962977"/>
                <a:gd name="connsiteX1060" fmla="*/ 1118307 w 2649035"/>
                <a:gd name="connsiteY1060" fmla="*/ 1710423 h 6962977"/>
                <a:gd name="connsiteX1061" fmla="*/ 1124299 w 2649035"/>
                <a:gd name="connsiteY1061" fmla="*/ 1715742 h 6962977"/>
                <a:gd name="connsiteX1062" fmla="*/ 1061154 w 2649035"/>
                <a:gd name="connsiteY1062" fmla="*/ 1788126 h 6962977"/>
                <a:gd name="connsiteX1063" fmla="*/ 1073475 w 2649035"/>
                <a:gd name="connsiteY1063" fmla="*/ 1749624 h 6962977"/>
                <a:gd name="connsiteX1064" fmla="*/ 1118307 w 2649035"/>
                <a:gd name="connsiteY1064" fmla="*/ 1710423 h 6962977"/>
                <a:gd name="connsiteX1065" fmla="*/ 825513 w 2649035"/>
                <a:gd name="connsiteY1065" fmla="*/ 1706495 h 6962977"/>
                <a:gd name="connsiteX1066" fmla="*/ 825513 w 2649035"/>
                <a:gd name="connsiteY1066" fmla="*/ 1708035 h 6962977"/>
                <a:gd name="connsiteX1067" fmla="*/ 770068 w 2649035"/>
                <a:gd name="connsiteY1067" fmla="*/ 1774261 h 6962977"/>
                <a:gd name="connsiteX1068" fmla="*/ 790090 w 2649035"/>
                <a:gd name="connsiteY1068" fmla="*/ 1748079 h 6962977"/>
                <a:gd name="connsiteX1069" fmla="*/ 825513 w 2649035"/>
                <a:gd name="connsiteY1069" fmla="*/ 1706495 h 6962977"/>
                <a:gd name="connsiteX1070" fmla="*/ 1538981 w 2649035"/>
                <a:gd name="connsiteY1070" fmla="*/ 1680782 h 6962977"/>
                <a:gd name="connsiteX1071" fmla="*/ 1550917 w 2649035"/>
                <a:gd name="connsiteY1071" fmla="*/ 1689565 h 6962977"/>
                <a:gd name="connsiteX1072" fmla="*/ 1480071 w 2649035"/>
                <a:gd name="connsiteY1072" fmla="*/ 1778892 h 6962977"/>
                <a:gd name="connsiteX1073" fmla="*/ 1480071 w 2649035"/>
                <a:gd name="connsiteY1073" fmla="*/ 1723450 h 6962977"/>
                <a:gd name="connsiteX1074" fmla="*/ 1538981 w 2649035"/>
                <a:gd name="connsiteY1074" fmla="*/ 1680782 h 6962977"/>
                <a:gd name="connsiteX1075" fmla="*/ 838606 w 2649035"/>
                <a:gd name="connsiteY1075" fmla="*/ 1669427 h 6962977"/>
                <a:gd name="connsiteX1076" fmla="*/ 833213 w 2649035"/>
                <a:gd name="connsiteY1076" fmla="*/ 1677256 h 6962977"/>
                <a:gd name="connsiteX1077" fmla="*/ 836293 w 2649035"/>
                <a:gd name="connsiteY1077" fmla="*/ 1672636 h 6962977"/>
                <a:gd name="connsiteX1078" fmla="*/ 840379 w 2649035"/>
                <a:gd name="connsiteY1078" fmla="*/ 1666968 h 6962977"/>
                <a:gd name="connsiteX1079" fmla="*/ 838606 w 2649035"/>
                <a:gd name="connsiteY1079" fmla="*/ 1669427 h 6962977"/>
                <a:gd name="connsiteX1080" fmla="*/ 839181 w 2649035"/>
                <a:gd name="connsiteY1080" fmla="*/ 1668592 h 6962977"/>
                <a:gd name="connsiteX1081" fmla="*/ 856316 w 2649035"/>
                <a:gd name="connsiteY1081" fmla="*/ 1649509 h 6962977"/>
                <a:gd name="connsiteX1082" fmla="*/ 856316 w 2649035"/>
                <a:gd name="connsiteY1082" fmla="*/ 1651050 h 6962977"/>
                <a:gd name="connsiteX1083" fmla="*/ 856239 w 2649035"/>
                <a:gd name="connsiteY1083" fmla="*/ 1651163 h 6962977"/>
                <a:gd name="connsiteX1084" fmla="*/ 856316 w 2649035"/>
                <a:gd name="connsiteY1084" fmla="*/ 1651072 h 6962977"/>
                <a:gd name="connsiteX1085" fmla="*/ 856194 w 2649035"/>
                <a:gd name="connsiteY1085" fmla="*/ 1651227 h 6962977"/>
                <a:gd name="connsiteX1086" fmla="*/ 845054 w 2649035"/>
                <a:gd name="connsiteY1086" fmla="*/ 1667533 h 6962977"/>
                <a:gd name="connsiteX1087" fmla="*/ 812133 w 2649035"/>
                <a:gd name="connsiteY1087" fmla="*/ 1709744 h 6962977"/>
                <a:gd name="connsiteX1088" fmla="*/ 801133 w 2649035"/>
                <a:gd name="connsiteY1088" fmla="*/ 1721614 h 6962977"/>
                <a:gd name="connsiteX1089" fmla="*/ 800871 w 2649035"/>
                <a:gd name="connsiteY1089" fmla="*/ 1721924 h 6962977"/>
                <a:gd name="connsiteX1090" fmla="*/ 801007 w 2649035"/>
                <a:gd name="connsiteY1090" fmla="*/ 1721750 h 6962977"/>
                <a:gd name="connsiteX1091" fmla="*/ 800871 w 2649035"/>
                <a:gd name="connsiteY1091" fmla="*/ 1721897 h 6962977"/>
                <a:gd name="connsiteX1092" fmla="*/ 820381 w 2649035"/>
                <a:gd name="connsiteY1092" fmla="*/ 1696425 h 6962977"/>
                <a:gd name="connsiteX1093" fmla="*/ 820893 w 2649035"/>
                <a:gd name="connsiteY1093" fmla="*/ 1695738 h 6962977"/>
                <a:gd name="connsiteX1094" fmla="*/ 822231 w 2649035"/>
                <a:gd name="connsiteY1094" fmla="*/ 1694010 h 6962977"/>
                <a:gd name="connsiteX1095" fmla="*/ 957964 w 2649035"/>
                <a:gd name="connsiteY1095" fmla="*/ 1641040 h 6962977"/>
                <a:gd name="connsiteX1096" fmla="*/ 959504 w 2649035"/>
                <a:gd name="connsiteY1096" fmla="*/ 1643351 h 6962977"/>
                <a:gd name="connsiteX1097" fmla="*/ 897899 w 2649035"/>
                <a:gd name="connsiteY1097" fmla="*/ 1715738 h 6962977"/>
                <a:gd name="connsiteX1098" fmla="*/ 914840 w 2649035"/>
                <a:gd name="connsiteY1098" fmla="*/ 1683395 h 6962977"/>
                <a:gd name="connsiteX1099" fmla="*/ 947183 w 2649035"/>
                <a:gd name="connsiteY1099" fmla="*/ 1647972 h 6962977"/>
                <a:gd name="connsiteX1100" fmla="*/ 957964 w 2649035"/>
                <a:gd name="connsiteY1100" fmla="*/ 1641040 h 6962977"/>
                <a:gd name="connsiteX1101" fmla="*/ 1756044 w 2649035"/>
                <a:gd name="connsiteY1101" fmla="*/ 1639680 h 6962977"/>
                <a:gd name="connsiteX1102" fmla="*/ 1771156 w 2649035"/>
                <a:gd name="connsiteY1102" fmla="*/ 1652604 h 6962977"/>
                <a:gd name="connsiteX1103" fmla="*/ 1700310 w 2649035"/>
                <a:gd name="connsiteY1103" fmla="*/ 1751175 h 6962977"/>
                <a:gd name="connsiteX1104" fmla="*/ 1691069 w 2649035"/>
                <a:gd name="connsiteY1104" fmla="*/ 1684947 h 6962977"/>
                <a:gd name="connsiteX1105" fmla="*/ 1756044 w 2649035"/>
                <a:gd name="connsiteY1105" fmla="*/ 1639680 h 6962977"/>
                <a:gd name="connsiteX1106" fmla="*/ 1311594 w 2649035"/>
                <a:gd name="connsiteY1106" fmla="*/ 1626005 h 6962977"/>
                <a:gd name="connsiteX1107" fmla="*/ 1319897 w 2649035"/>
                <a:gd name="connsiteY1107" fmla="*/ 1632575 h 6962977"/>
                <a:gd name="connsiteX1108" fmla="*/ 1249051 w 2649035"/>
                <a:gd name="connsiteY1108" fmla="*/ 1717285 h 6962977"/>
                <a:gd name="connsiteX1109" fmla="*/ 1259832 w 2649035"/>
                <a:gd name="connsiteY1109" fmla="*/ 1669539 h 6962977"/>
                <a:gd name="connsiteX1110" fmla="*/ 1311594 w 2649035"/>
                <a:gd name="connsiteY1110" fmla="*/ 1626005 h 6962977"/>
                <a:gd name="connsiteX1111" fmla="*/ 1117417 w 2649035"/>
                <a:gd name="connsiteY1111" fmla="*/ 1614548 h 6962977"/>
                <a:gd name="connsiteX1112" fmla="*/ 1124299 w 2649035"/>
                <a:gd name="connsiteY1112" fmla="*/ 1618711 h 6962977"/>
                <a:gd name="connsiteX1113" fmla="*/ 1058073 w 2649035"/>
                <a:gd name="connsiteY1113" fmla="*/ 1697259 h 6962977"/>
                <a:gd name="connsiteX1114" fmla="*/ 1071935 w 2649035"/>
                <a:gd name="connsiteY1114" fmla="*/ 1657215 h 6962977"/>
                <a:gd name="connsiteX1115" fmla="*/ 1117417 w 2649035"/>
                <a:gd name="connsiteY1115" fmla="*/ 1614548 h 6962977"/>
                <a:gd name="connsiteX1116" fmla="*/ 1977968 w 2649035"/>
                <a:gd name="connsiteY1116" fmla="*/ 1613309 h 6962977"/>
                <a:gd name="connsiteX1117" fmla="*/ 1994477 w 2649035"/>
                <a:gd name="connsiteY1117" fmla="*/ 1629505 h 6962977"/>
                <a:gd name="connsiteX1118" fmla="*/ 1922090 w 2649035"/>
                <a:gd name="connsiteY1118" fmla="*/ 1735778 h 6962977"/>
                <a:gd name="connsiteX1119" fmla="*/ 1908229 w 2649035"/>
                <a:gd name="connsiteY1119" fmla="*/ 1660309 h 6962977"/>
                <a:gd name="connsiteX1120" fmla="*/ 1977968 w 2649035"/>
                <a:gd name="connsiteY1120" fmla="*/ 1613309 h 6962977"/>
                <a:gd name="connsiteX1121" fmla="*/ 2198689 w 2649035"/>
                <a:gd name="connsiteY1121" fmla="*/ 1608837 h 6962977"/>
                <a:gd name="connsiteX1122" fmla="*/ 2214716 w 2649035"/>
                <a:gd name="connsiteY1122" fmla="*/ 1624889 h 6962977"/>
                <a:gd name="connsiteX1123" fmla="*/ 2153111 w 2649035"/>
                <a:gd name="connsiteY1123" fmla="*/ 1726542 h 6962977"/>
                <a:gd name="connsiteX1124" fmla="*/ 2131549 w 2649035"/>
                <a:gd name="connsiteY1124" fmla="*/ 1651070 h 6962977"/>
                <a:gd name="connsiteX1125" fmla="*/ 2198689 w 2649035"/>
                <a:gd name="connsiteY1125" fmla="*/ 1608837 h 6962977"/>
                <a:gd name="connsiteX1126" fmla="*/ 884038 w 2649035"/>
                <a:gd name="connsiteY1126" fmla="*/ 1606409 h 6962977"/>
                <a:gd name="connsiteX1127" fmla="*/ 853235 w 2649035"/>
                <a:gd name="connsiteY1127" fmla="*/ 1649532 h 6962977"/>
                <a:gd name="connsiteX1128" fmla="*/ 840379 w 2649035"/>
                <a:gd name="connsiteY1128" fmla="*/ 1666968 h 6962977"/>
                <a:gd name="connsiteX1129" fmla="*/ 887118 w 2649035"/>
                <a:gd name="connsiteY1129" fmla="*/ 1600248 h 6962977"/>
                <a:gd name="connsiteX1130" fmla="*/ 884038 w 2649035"/>
                <a:gd name="connsiteY1130" fmla="*/ 1604869 h 6962977"/>
                <a:gd name="connsiteX1131" fmla="*/ 836294 w 2649035"/>
                <a:gd name="connsiteY1131" fmla="*/ 1671095 h 6962977"/>
                <a:gd name="connsiteX1132" fmla="*/ 887118 w 2649035"/>
                <a:gd name="connsiteY1132" fmla="*/ 1600248 h 6962977"/>
                <a:gd name="connsiteX1133" fmla="*/ 968746 w 2649035"/>
                <a:gd name="connsiteY1133" fmla="*/ 1570964 h 6962977"/>
                <a:gd name="connsiteX1134" fmla="*/ 973366 w 2649035"/>
                <a:gd name="connsiteY1134" fmla="*/ 1570964 h 6962977"/>
                <a:gd name="connsiteX1135" fmla="*/ 911761 w 2649035"/>
                <a:gd name="connsiteY1135" fmla="*/ 1647971 h 6962977"/>
                <a:gd name="connsiteX1136" fmla="*/ 930242 w 2649035"/>
                <a:gd name="connsiteY1136" fmla="*/ 1614089 h 6962977"/>
                <a:gd name="connsiteX1137" fmla="*/ 968746 w 2649035"/>
                <a:gd name="connsiteY1137" fmla="*/ 1570964 h 6962977"/>
                <a:gd name="connsiteX1138" fmla="*/ 1510199 w 2649035"/>
                <a:gd name="connsiteY1138" fmla="*/ 1558723 h 6962977"/>
                <a:gd name="connsiteX1139" fmla="*/ 1521654 w 2649035"/>
                <a:gd name="connsiteY1139" fmla="*/ 1567892 h 6962977"/>
                <a:gd name="connsiteX1140" fmla="*/ 1450808 w 2649035"/>
                <a:gd name="connsiteY1140" fmla="*/ 1660301 h 6962977"/>
                <a:gd name="connsiteX1141" fmla="*/ 1453888 w 2649035"/>
                <a:gd name="connsiteY1141" fmla="*/ 1604856 h 6962977"/>
                <a:gd name="connsiteX1142" fmla="*/ 1510199 w 2649035"/>
                <a:gd name="connsiteY1142" fmla="*/ 1558723 h 6962977"/>
                <a:gd name="connsiteX1143" fmla="*/ 921002 w 2649035"/>
                <a:gd name="connsiteY1143" fmla="*/ 1557124 h 6962977"/>
                <a:gd name="connsiteX1144" fmla="*/ 888659 w 2649035"/>
                <a:gd name="connsiteY1144" fmla="*/ 1609489 h 6962977"/>
                <a:gd name="connsiteX1145" fmla="*/ 868637 w 2649035"/>
                <a:gd name="connsiteY1145" fmla="*/ 1637211 h 6962977"/>
                <a:gd name="connsiteX1146" fmla="*/ 921002 w 2649035"/>
                <a:gd name="connsiteY1146" fmla="*/ 1557124 h 6962977"/>
                <a:gd name="connsiteX1147" fmla="*/ 1115972 w 2649035"/>
                <a:gd name="connsiteY1147" fmla="*/ 1524282 h 6962977"/>
                <a:gd name="connsiteX1148" fmla="*/ 1121219 w 2649035"/>
                <a:gd name="connsiteY1148" fmla="*/ 1527843 h 6962977"/>
                <a:gd name="connsiteX1149" fmla="*/ 1056533 w 2649035"/>
                <a:gd name="connsiteY1149" fmla="*/ 1611010 h 6962977"/>
                <a:gd name="connsiteX1150" fmla="*/ 1071934 w 2649035"/>
                <a:gd name="connsiteY1150" fmla="*/ 1570967 h 6962977"/>
                <a:gd name="connsiteX1151" fmla="*/ 1076555 w 2649035"/>
                <a:gd name="connsiteY1151" fmla="*/ 1563266 h 6962977"/>
                <a:gd name="connsiteX1152" fmla="*/ 1115972 w 2649035"/>
                <a:gd name="connsiteY1152" fmla="*/ 1524282 h 6962977"/>
                <a:gd name="connsiteX1153" fmla="*/ 1298407 w 2649035"/>
                <a:gd name="connsiteY1153" fmla="*/ 1520650 h 6962977"/>
                <a:gd name="connsiteX1154" fmla="*/ 1307576 w 2649035"/>
                <a:gd name="connsiteY1154" fmla="*/ 1526306 h 6962977"/>
                <a:gd name="connsiteX1155" fmla="*/ 1238270 w 2649035"/>
                <a:gd name="connsiteY1155" fmla="*/ 1614093 h 6962977"/>
                <a:gd name="connsiteX1156" fmla="*/ 1247511 w 2649035"/>
                <a:gd name="connsiteY1156" fmla="*/ 1566349 h 6962977"/>
                <a:gd name="connsiteX1157" fmla="*/ 1298407 w 2649035"/>
                <a:gd name="connsiteY1157" fmla="*/ 1520650 h 6962977"/>
                <a:gd name="connsiteX1158" fmla="*/ 1714942 w 2649035"/>
                <a:gd name="connsiteY1158" fmla="*/ 1505520 h 6962977"/>
                <a:gd name="connsiteX1159" fmla="*/ 1728033 w 2649035"/>
                <a:gd name="connsiteY1159" fmla="*/ 1517071 h 6962977"/>
                <a:gd name="connsiteX1160" fmla="*/ 1657187 w 2649035"/>
                <a:gd name="connsiteY1160" fmla="*/ 1620259 h 6962977"/>
                <a:gd name="connsiteX1161" fmla="*/ 1652566 w 2649035"/>
                <a:gd name="connsiteY1161" fmla="*/ 1554035 h 6962977"/>
                <a:gd name="connsiteX1162" fmla="*/ 1714942 w 2649035"/>
                <a:gd name="connsiteY1162" fmla="*/ 1505520 h 6962977"/>
                <a:gd name="connsiteX1163" fmla="*/ 987227 w 2649035"/>
                <a:gd name="connsiteY1163" fmla="*/ 1501658 h 6962977"/>
                <a:gd name="connsiteX1164" fmla="*/ 987227 w 2649035"/>
                <a:gd name="connsiteY1164" fmla="*/ 1503198 h 6962977"/>
                <a:gd name="connsiteX1165" fmla="*/ 927162 w 2649035"/>
                <a:gd name="connsiteY1165" fmla="*/ 1584826 h 6962977"/>
                <a:gd name="connsiteX1166" fmla="*/ 947184 w 2649035"/>
                <a:gd name="connsiteY1166" fmla="*/ 1552483 h 6962977"/>
                <a:gd name="connsiteX1167" fmla="*/ 987227 w 2649035"/>
                <a:gd name="connsiteY1167" fmla="*/ 1501658 h 6962977"/>
                <a:gd name="connsiteX1168" fmla="*/ 1927167 w 2649035"/>
                <a:gd name="connsiteY1168" fmla="*/ 1468368 h 6962977"/>
                <a:gd name="connsiteX1169" fmla="*/ 1943652 w 2649035"/>
                <a:gd name="connsiteY1169" fmla="*/ 1483190 h 6962977"/>
                <a:gd name="connsiteX1170" fmla="*/ 1874345 w 2649035"/>
                <a:gd name="connsiteY1170" fmla="*/ 1594081 h 6962977"/>
                <a:gd name="connsiteX1171" fmla="*/ 1858944 w 2649035"/>
                <a:gd name="connsiteY1171" fmla="*/ 1518614 h 6962977"/>
                <a:gd name="connsiteX1172" fmla="*/ 1927167 w 2649035"/>
                <a:gd name="connsiteY1172" fmla="*/ 1468368 h 6962977"/>
                <a:gd name="connsiteX1173" fmla="*/ 2139538 w 2649035"/>
                <a:gd name="connsiteY1173" fmla="*/ 1457494 h 6962977"/>
                <a:gd name="connsiteX1174" fmla="*/ 2156191 w 2649035"/>
                <a:gd name="connsiteY1174" fmla="*/ 1473955 h 6962977"/>
                <a:gd name="connsiteX1175" fmla="*/ 2099206 w 2649035"/>
                <a:gd name="connsiteY1175" fmla="*/ 1578683 h 6962977"/>
                <a:gd name="connsiteX1176" fmla="*/ 2074563 w 2649035"/>
                <a:gd name="connsiteY1176" fmla="*/ 1501675 h 6962977"/>
                <a:gd name="connsiteX1177" fmla="*/ 2139538 w 2649035"/>
                <a:gd name="connsiteY1177" fmla="*/ 1457494 h 6962977"/>
                <a:gd name="connsiteX1178" fmla="*/ 1122759 w 2649035"/>
                <a:gd name="connsiteY1178" fmla="*/ 1444676 h 6962977"/>
                <a:gd name="connsiteX1179" fmla="*/ 1058074 w 2649035"/>
                <a:gd name="connsiteY1179" fmla="*/ 1532463 h 6962977"/>
                <a:gd name="connsiteX1180" fmla="*/ 1075015 w 2649035"/>
                <a:gd name="connsiteY1180" fmla="*/ 1492419 h 6962977"/>
                <a:gd name="connsiteX1181" fmla="*/ 1090417 w 2649035"/>
                <a:gd name="connsiteY1181" fmla="*/ 1470858 h 6962977"/>
                <a:gd name="connsiteX1182" fmla="*/ 1122759 w 2649035"/>
                <a:gd name="connsiteY1182" fmla="*/ 1444676 h 6962977"/>
                <a:gd name="connsiteX1183" fmla="*/ 1002628 w 2649035"/>
                <a:gd name="connsiteY1183" fmla="*/ 1441592 h 6962977"/>
                <a:gd name="connsiteX1184" fmla="*/ 1002628 w 2649035"/>
                <a:gd name="connsiteY1184" fmla="*/ 1443132 h 6962977"/>
                <a:gd name="connsiteX1185" fmla="*/ 945643 w 2649035"/>
                <a:gd name="connsiteY1185" fmla="*/ 1529380 h 6962977"/>
                <a:gd name="connsiteX1186" fmla="*/ 965665 w 2649035"/>
                <a:gd name="connsiteY1186" fmla="*/ 1497037 h 6962977"/>
                <a:gd name="connsiteX1187" fmla="*/ 1002628 w 2649035"/>
                <a:gd name="connsiteY1187" fmla="*/ 1441592 h 6962977"/>
                <a:gd name="connsiteX1188" fmla="*/ 1482501 w 2649035"/>
                <a:gd name="connsiteY1188" fmla="*/ 1440205 h 6962977"/>
                <a:gd name="connsiteX1189" fmla="*/ 1493932 w 2649035"/>
                <a:gd name="connsiteY1189" fmla="*/ 1447762 h 6962977"/>
                <a:gd name="connsiteX1190" fmla="*/ 1424626 w 2649035"/>
                <a:gd name="connsiteY1190" fmla="*/ 1546330 h 6962977"/>
                <a:gd name="connsiteX1191" fmla="*/ 1427706 w 2649035"/>
                <a:gd name="connsiteY1191" fmla="*/ 1490885 h 6962977"/>
                <a:gd name="connsiteX1192" fmla="*/ 1482501 w 2649035"/>
                <a:gd name="connsiteY1192" fmla="*/ 1440205 h 6962977"/>
                <a:gd name="connsiteX1193" fmla="*/ 1284569 w 2649035"/>
                <a:gd name="connsiteY1193" fmla="*/ 1420397 h 6962977"/>
                <a:gd name="connsiteX1194" fmla="*/ 1293714 w 2649035"/>
                <a:gd name="connsiteY1194" fmla="*/ 1424656 h 6962977"/>
                <a:gd name="connsiteX1195" fmla="*/ 1225948 w 2649035"/>
                <a:gd name="connsiteY1195" fmla="*/ 1518605 h 6962977"/>
                <a:gd name="connsiteX1196" fmla="*/ 1235189 w 2649035"/>
                <a:gd name="connsiteY1196" fmla="*/ 1470860 h 6962977"/>
                <a:gd name="connsiteX1197" fmla="*/ 1284569 w 2649035"/>
                <a:gd name="connsiteY1197" fmla="*/ 1420397 h 6962977"/>
                <a:gd name="connsiteX1198" fmla="*/ 1674272 w 2649035"/>
                <a:gd name="connsiteY1198" fmla="*/ 1378194 h 6962977"/>
                <a:gd name="connsiteX1199" fmla="*/ 1687989 w 2649035"/>
                <a:gd name="connsiteY1199" fmla="*/ 1389239 h 6962977"/>
                <a:gd name="connsiteX1200" fmla="*/ 1620223 w 2649035"/>
                <a:gd name="connsiteY1200" fmla="*/ 1497048 h 6962977"/>
                <a:gd name="connsiteX1201" fmla="*/ 1614063 w 2649035"/>
                <a:gd name="connsiteY1201" fmla="*/ 1430823 h 6962977"/>
                <a:gd name="connsiteX1202" fmla="*/ 1674272 w 2649035"/>
                <a:gd name="connsiteY1202" fmla="*/ 1378194 h 6962977"/>
                <a:gd name="connsiteX1203" fmla="*/ 1117369 w 2649035"/>
                <a:gd name="connsiteY1203" fmla="*/ 1367476 h 6962977"/>
                <a:gd name="connsiteX1204" fmla="*/ 1124299 w 2649035"/>
                <a:gd name="connsiteY1204" fmla="*/ 1367668 h 6962977"/>
                <a:gd name="connsiteX1205" fmla="*/ 1061154 w 2649035"/>
                <a:gd name="connsiteY1205" fmla="*/ 1460077 h 6962977"/>
                <a:gd name="connsiteX1206" fmla="*/ 1078095 w 2649035"/>
                <a:gd name="connsiteY1206" fmla="*/ 1420033 h 6962977"/>
                <a:gd name="connsiteX1207" fmla="*/ 1105818 w 2649035"/>
                <a:gd name="connsiteY1207" fmla="*/ 1379989 h 6962977"/>
                <a:gd name="connsiteX1208" fmla="*/ 1117369 w 2649035"/>
                <a:gd name="connsiteY1208" fmla="*/ 1367476 h 6962977"/>
                <a:gd name="connsiteX1209" fmla="*/ 1032940 w 2649035"/>
                <a:gd name="connsiteY1209" fmla="*/ 1364874 h 6962977"/>
                <a:gd name="connsiteX1210" fmla="*/ 1029581 w 2649035"/>
                <a:gd name="connsiteY1210" fmla="*/ 1371345 h 6962977"/>
                <a:gd name="connsiteX1211" fmla="*/ 998008 w 2649035"/>
                <a:gd name="connsiteY1211" fmla="*/ 1427752 h 6962977"/>
                <a:gd name="connsiteX1212" fmla="*/ 1038052 w 2649035"/>
                <a:gd name="connsiteY1212" fmla="*/ 1358445 h 6962977"/>
                <a:gd name="connsiteX1213" fmla="*/ 1000364 w 2649035"/>
                <a:gd name="connsiteY1213" fmla="*/ 1426285 h 6962977"/>
                <a:gd name="connsiteX1214" fmla="*/ 1006190 w 2649035"/>
                <a:gd name="connsiteY1214" fmla="*/ 1416755 h 6962977"/>
                <a:gd name="connsiteX1215" fmla="*/ 1022650 w 2649035"/>
                <a:gd name="connsiteY1215" fmla="*/ 1389249 h 6962977"/>
                <a:gd name="connsiteX1216" fmla="*/ 1022650 w 2649035"/>
                <a:gd name="connsiteY1216" fmla="*/ 1390789 h 6962977"/>
                <a:gd name="connsiteX1217" fmla="*/ 967205 w 2649035"/>
                <a:gd name="connsiteY1217" fmla="*/ 1481657 h 6962977"/>
                <a:gd name="connsiteX1218" fmla="*/ 987227 w 2649035"/>
                <a:gd name="connsiteY1218" fmla="*/ 1447775 h 6962977"/>
                <a:gd name="connsiteX1219" fmla="*/ 996547 w 2649035"/>
                <a:gd name="connsiteY1219" fmla="*/ 1432529 h 6962977"/>
                <a:gd name="connsiteX1220" fmla="*/ 997624 w 2649035"/>
                <a:gd name="connsiteY1220" fmla="*/ 1430447 h 6962977"/>
                <a:gd name="connsiteX1221" fmla="*/ 1010330 w 2649035"/>
                <a:gd name="connsiteY1221" fmla="*/ 1407727 h 6962977"/>
                <a:gd name="connsiteX1222" fmla="*/ 1038052 w 2649035"/>
                <a:gd name="connsiteY1222" fmla="*/ 1358445 h 6962977"/>
                <a:gd name="connsiteX1223" fmla="*/ 1042672 w 2649035"/>
                <a:gd name="connsiteY1223" fmla="*/ 1346124 h 6962977"/>
                <a:gd name="connsiteX1224" fmla="*/ 1036511 w 2649035"/>
                <a:gd name="connsiteY1224" fmla="*/ 1358445 h 6962977"/>
                <a:gd name="connsiteX1225" fmla="*/ 1032940 w 2649035"/>
                <a:gd name="connsiteY1225" fmla="*/ 1364874 h 6962977"/>
                <a:gd name="connsiteX1226" fmla="*/ 1456343 w 2649035"/>
                <a:gd name="connsiteY1226" fmla="*/ 1331120 h 6962977"/>
                <a:gd name="connsiteX1227" fmla="*/ 1466209 w 2649035"/>
                <a:gd name="connsiteY1227" fmla="*/ 1338411 h 6962977"/>
                <a:gd name="connsiteX1228" fmla="*/ 1399984 w 2649035"/>
                <a:gd name="connsiteY1228" fmla="*/ 1440060 h 6962977"/>
                <a:gd name="connsiteX1229" fmla="*/ 1403064 w 2649035"/>
                <a:gd name="connsiteY1229" fmla="*/ 1384615 h 6962977"/>
                <a:gd name="connsiteX1230" fmla="*/ 1456343 w 2649035"/>
                <a:gd name="connsiteY1230" fmla="*/ 1331120 h 6962977"/>
                <a:gd name="connsiteX1231" fmla="*/ 1873527 w 2649035"/>
                <a:gd name="connsiteY1231" fmla="*/ 1330910 h 6962977"/>
                <a:gd name="connsiteX1232" fmla="*/ 1889747 w 2649035"/>
                <a:gd name="connsiteY1232" fmla="*/ 1346119 h 6962977"/>
                <a:gd name="connsiteX1233" fmla="*/ 1825061 w 2649035"/>
                <a:gd name="connsiteY1233" fmla="*/ 1461630 h 6962977"/>
                <a:gd name="connsiteX1234" fmla="*/ 1808120 w 2649035"/>
                <a:gd name="connsiteY1234" fmla="*/ 1384623 h 6962977"/>
                <a:gd name="connsiteX1235" fmla="*/ 1873527 w 2649035"/>
                <a:gd name="connsiteY1235" fmla="*/ 1330910 h 6962977"/>
                <a:gd name="connsiteX1236" fmla="*/ 1270540 w 2649035"/>
                <a:gd name="connsiteY1236" fmla="*/ 1328494 h 6962977"/>
                <a:gd name="connsiteX1237" fmla="*/ 1278313 w 2649035"/>
                <a:gd name="connsiteY1237" fmla="*/ 1333788 h 6962977"/>
                <a:gd name="connsiteX1238" fmla="*/ 1212087 w 2649035"/>
                <a:gd name="connsiteY1238" fmla="*/ 1430817 h 6962977"/>
                <a:gd name="connsiteX1239" fmla="*/ 1224408 w 2649035"/>
                <a:gd name="connsiteY1239" fmla="*/ 1383074 h 6962977"/>
                <a:gd name="connsiteX1240" fmla="*/ 1270540 w 2649035"/>
                <a:gd name="connsiteY1240" fmla="*/ 1328494 h 6962977"/>
                <a:gd name="connsiteX1241" fmla="*/ 2076224 w 2649035"/>
                <a:gd name="connsiteY1241" fmla="*/ 1308605 h 6962977"/>
                <a:gd name="connsiteX1242" fmla="*/ 2094585 w 2649035"/>
                <a:gd name="connsiteY1242" fmla="*/ 1324561 h 6962977"/>
                <a:gd name="connsiteX1243" fmla="*/ 2040680 w 2649035"/>
                <a:gd name="connsiteY1243" fmla="*/ 1433911 h 6962977"/>
                <a:gd name="connsiteX1244" fmla="*/ 2014498 w 2649035"/>
                <a:gd name="connsiteY1244" fmla="*/ 1356902 h 6962977"/>
                <a:gd name="connsiteX1245" fmla="*/ 2076224 w 2649035"/>
                <a:gd name="connsiteY1245" fmla="*/ 1308605 h 6962977"/>
                <a:gd name="connsiteX1246" fmla="*/ 1126417 w 2649035"/>
                <a:gd name="connsiteY1246" fmla="*/ 1295859 h 6962977"/>
                <a:gd name="connsiteX1247" fmla="*/ 1127380 w 2649035"/>
                <a:gd name="connsiteY1247" fmla="*/ 1298362 h 6962977"/>
                <a:gd name="connsiteX1248" fmla="*/ 1068855 w 2649035"/>
                <a:gd name="connsiteY1248" fmla="*/ 1395390 h 6962977"/>
                <a:gd name="connsiteX1249" fmla="*/ 1084256 w 2649035"/>
                <a:gd name="connsiteY1249" fmla="*/ 1355347 h 6962977"/>
                <a:gd name="connsiteX1250" fmla="*/ 1119679 w 2649035"/>
                <a:gd name="connsiteY1250" fmla="*/ 1301442 h 6962977"/>
                <a:gd name="connsiteX1251" fmla="*/ 1126417 w 2649035"/>
                <a:gd name="connsiteY1251" fmla="*/ 1295859 h 6962977"/>
                <a:gd name="connsiteX1252" fmla="*/ 1634493 w 2649035"/>
                <a:gd name="connsiteY1252" fmla="*/ 1255728 h 6962977"/>
                <a:gd name="connsiteX1253" fmla="*/ 1647945 w 2649035"/>
                <a:gd name="connsiteY1253" fmla="*/ 1266028 h 6962977"/>
                <a:gd name="connsiteX1254" fmla="*/ 1583260 w 2649035"/>
                <a:gd name="connsiteY1254" fmla="*/ 1378459 h 6962977"/>
                <a:gd name="connsiteX1255" fmla="*/ 1577099 w 2649035"/>
                <a:gd name="connsiteY1255" fmla="*/ 1313773 h 6962977"/>
                <a:gd name="connsiteX1256" fmla="*/ 1634493 w 2649035"/>
                <a:gd name="connsiteY1256" fmla="*/ 1255728 h 6962977"/>
                <a:gd name="connsiteX1257" fmla="*/ 1258941 w 2649035"/>
                <a:gd name="connsiteY1257" fmla="*/ 1241332 h 6962977"/>
                <a:gd name="connsiteX1258" fmla="*/ 1265992 w 2649035"/>
                <a:gd name="connsiteY1258" fmla="*/ 1244460 h 6962977"/>
                <a:gd name="connsiteX1259" fmla="*/ 1202847 w 2649035"/>
                <a:gd name="connsiteY1259" fmla="*/ 1347650 h 6962977"/>
                <a:gd name="connsiteX1260" fmla="*/ 1213628 w 2649035"/>
                <a:gd name="connsiteY1260" fmla="*/ 1299905 h 6962977"/>
                <a:gd name="connsiteX1261" fmla="*/ 1216708 w 2649035"/>
                <a:gd name="connsiteY1261" fmla="*/ 1293745 h 6962977"/>
                <a:gd name="connsiteX1262" fmla="*/ 1258941 w 2649035"/>
                <a:gd name="connsiteY1262" fmla="*/ 1241332 h 6962977"/>
                <a:gd name="connsiteX1263" fmla="*/ 1130460 w 2649035"/>
                <a:gd name="connsiteY1263" fmla="*/ 1233677 h 6962977"/>
                <a:gd name="connsiteX1264" fmla="*/ 1130460 w 2649035"/>
                <a:gd name="connsiteY1264" fmla="*/ 1235216 h 6962977"/>
                <a:gd name="connsiteX1265" fmla="*/ 1073474 w 2649035"/>
                <a:gd name="connsiteY1265" fmla="*/ 1336865 h 6962977"/>
                <a:gd name="connsiteX1266" fmla="*/ 1090416 w 2649035"/>
                <a:gd name="connsiteY1266" fmla="*/ 1296821 h 6962977"/>
                <a:gd name="connsiteX1267" fmla="*/ 1130460 w 2649035"/>
                <a:gd name="connsiteY1267" fmla="*/ 1233677 h 6962977"/>
                <a:gd name="connsiteX1268" fmla="*/ 1429318 w 2649035"/>
                <a:gd name="connsiteY1268" fmla="*/ 1226920 h 6962977"/>
                <a:gd name="connsiteX1269" fmla="*/ 1440027 w 2649035"/>
                <a:gd name="connsiteY1269" fmla="*/ 1233682 h 6962977"/>
                <a:gd name="connsiteX1270" fmla="*/ 1376882 w 2649035"/>
                <a:gd name="connsiteY1270" fmla="*/ 1341491 h 6962977"/>
                <a:gd name="connsiteX1271" fmla="*/ 1378422 w 2649035"/>
                <a:gd name="connsiteY1271" fmla="*/ 1286046 h 6962977"/>
                <a:gd name="connsiteX1272" fmla="*/ 1429318 w 2649035"/>
                <a:gd name="connsiteY1272" fmla="*/ 1226920 h 6962977"/>
                <a:gd name="connsiteX1273" fmla="*/ 1820995 w 2649035"/>
                <a:gd name="connsiteY1273" fmla="*/ 1198099 h 6962977"/>
                <a:gd name="connsiteX1274" fmla="*/ 1837383 w 2649035"/>
                <a:gd name="connsiteY1274" fmla="*/ 1212128 h 6962977"/>
                <a:gd name="connsiteX1275" fmla="*/ 1777318 w 2649035"/>
                <a:gd name="connsiteY1275" fmla="*/ 1332258 h 6962977"/>
                <a:gd name="connsiteX1276" fmla="*/ 1758836 w 2649035"/>
                <a:gd name="connsiteY1276" fmla="*/ 1256792 h 6962977"/>
                <a:gd name="connsiteX1277" fmla="*/ 1820995 w 2649035"/>
                <a:gd name="connsiteY1277" fmla="*/ 1198099 h 6962977"/>
                <a:gd name="connsiteX1278" fmla="*/ 1130460 w 2649035"/>
                <a:gd name="connsiteY1278" fmla="*/ 1190553 h 6962977"/>
                <a:gd name="connsiteX1279" fmla="*/ 1098117 w 2649035"/>
                <a:gd name="connsiteY1279" fmla="*/ 1261398 h 6962977"/>
                <a:gd name="connsiteX1280" fmla="*/ 1130460 w 2649035"/>
                <a:gd name="connsiteY1280" fmla="*/ 1190553 h 6962977"/>
                <a:gd name="connsiteX1281" fmla="*/ 1132000 w 2649035"/>
                <a:gd name="connsiteY1281" fmla="*/ 1176710 h 6962977"/>
                <a:gd name="connsiteX1282" fmla="*/ 1132000 w 2649035"/>
                <a:gd name="connsiteY1282" fmla="*/ 1178250 h 6962977"/>
                <a:gd name="connsiteX1283" fmla="*/ 1128919 w 2649035"/>
                <a:gd name="connsiteY1283" fmla="*/ 1190571 h 6962977"/>
                <a:gd name="connsiteX1284" fmla="*/ 1096576 w 2649035"/>
                <a:gd name="connsiteY1284" fmla="*/ 1261418 h 6962977"/>
                <a:gd name="connsiteX1285" fmla="*/ 1081175 w 2649035"/>
                <a:gd name="connsiteY1285" fmla="*/ 1286060 h 6962977"/>
                <a:gd name="connsiteX1286" fmla="*/ 1098117 w 2649035"/>
                <a:gd name="connsiteY1286" fmla="*/ 1246016 h 6962977"/>
                <a:gd name="connsiteX1287" fmla="*/ 1132000 w 2649035"/>
                <a:gd name="connsiteY1287" fmla="*/ 1176710 h 6962977"/>
                <a:gd name="connsiteX1288" fmla="*/ 1253671 w 2649035"/>
                <a:gd name="connsiteY1288" fmla="*/ 1164374 h 6962977"/>
                <a:gd name="connsiteX1289" fmla="*/ 1195145 w 2649035"/>
                <a:gd name="connsiteY1289" fmla="*/ 1273723 h 6962977"/>
                <a:gd name="connsiteX1290" fmla="*/ 1205926 w 2649035"/>
                <a:gd name="connsiteY1290" fmla="*/ 1225979 h 6962977"/>
                <a:gd name="connsiteX1291" fmla="*/ 1213627 w 2649035"/>
                <a:gd name="connsiteY1291" fmla="*/ 1209037 h 6962977"/>
                <a:gd name="connsiteX1292" fmla="*/ 1253671 w 2649035"/>
                <a:gd name="connsiteY1292" fmla="*/ 1164374 h 6962977"/>
                <a:gd name="connsiteX1293" fmla="*/ 2010480 w 2649035"/>
                <a:gd name="connsiteY1293" fmla="*/ 1163689 h 6962977"/>
                <a:gd name="connsiteX1294" fmla="*/ 2028360 w 2649035"/>
                <a:gd name="connsiteY1294" fmla="*/ 1178249 h 6962977"/>
                <a:gd name="connsiteX1295" fmla="*/ 1980616 w 2649035"/>
                <a:gd name="connsiteY1295" fmla="*/ 1293757 h 6962977"/>
                <a:gd name="connsiteX1296" fmla="*/ 1951353 w 2649035"/>
                <a:gd name="connsiteY1296" fmla="*/ 1216751 h 6962977"/>
                <a:gd name="connsiteX1297" fmla="*/ 2010480 w 2649035"/>
                <a:gd name="connsiteY1297" fmla="*/ 1163689 h 6962977"/>
                <a:gd name="connsiteX1298" fmla="*/ 1593848 w 2649035"/>
                <a:gd name="connsiteY1298" fmla="*/ 1141591 h 6962977"/>
                <a:gd name="connsiteX1299" fmla="*/ 1607902 w 2649035"/>
                <a:gd name="connsiteY1299" fmla="*/ 1150519 h 6962977"/>
                <a:gd name="connsiteX1300" fmla="*/ 1547837 w 2649035"/>
                <a:gd name="connsiteY1300" fmla="*/ 1267568 h 6962977"/>
                <a:gd name="connsiteX1301" fmla="*/ 1540136 w 2649035"/>
                <a:gd name="connsiteY1301" fmla="*/ 1202884 h 6962977"/>
                <a:gd name="connsiteX1302" fmla="*/ 1593848 w 2649035"/>
                <a:gd name="connsiteY1302" fmla="*/ 1141591 h 6962977"/>
                <a:gd name="connsiteX1303" fmla="*/ 1402751 w 2649035"/>
                <a:gd name="connsiteY1303" fmla="*/ 1131047 h 6962977"/>
                <a:gd name="connsiteX1304" fmla="*/ 1412305 w 2649035"/>
                <a:gd name="connsiteY1304" fmla="*/ 1136654 h 6962977"/>
                <a:gd name="connsiteX1305" fmla="*/ 1350699 w 2649035"/>
                <a:gd name="connsiteY1305" fmla="*/ 1250623 h 6962977"/>
                <a:gd name="connsiteX1306" fmla="*/ 1355320 w 2649035"/>
                <a:gd name="connsiteY1306" fmla="*/ 1193638 h 6962977"/>
                <a:gd name="connsiteX1307" fmla="*/ 1402751 w 2649035"/>
                <a:gd name="connsiteY1307" fmla="*/ 1131047 h 6962977"/>
                <a:gd name="connsiteX1308" fmla="*/ 1139700 w 2649035"/>
                <a:gd name="connsiteY1308" fmla="*/ 1128967 h 6962977"/>
                <a:gd name="connsiteX1309" fmla="*/ 1139700 w 2649035"/>
                <a:gd name="connsiteY1309" fmla="*/ 1130507 h 6962977"/>
                <a:gd name="connsiteX1310" fmla="*/ 1091956 w 2649035"/>
                <a:gd name="connsiteY1310" fmla="*/ 1242936 h 6962977"/>
                <a:gd name="connsiteX1311" fmla="*/ 1107357 w 2649035"/>
                <a:gd name="connsiteY1311" fmla="*/ 1202892 h 6962977"/>
                <a:gd name="connsiteX1312" fmla="*/ 1139700 w 2649035"/>
                <a:gd name="connsiteY1312" fmla="*/ 1128967 h 6962977"/>
                <a:gd name="connsiteX1313" fmla="*/ 1238125 w 2649035"/>
                <a:gd name="connsiteY1313" fmla="*/ 1088787 h 6962977"/>
                <a:gd name="connsiteX1314" fmla="*/ 1242890 w 2649035"/>
                <a:gd name="connsiteY1314" fmla="*/ 1090447 h 6962977"/>
                <a:gd name="connsiteX1315" fmla="*/ 1187445 w 2649035"/>
                <a:gd name="connsiteY1315" fmla="*/ 1204417 h 6962977"/>
                <a:gd name="connsiteX1316" fmla="*/ 1198226 w 2649035"/>
                <a:gd name="connsiteY1316" fmla="*/ 1156673 h 6962977"/>
                <a:gd name="connsiteX1317" fmla="*/ 1215167 w 2649035"/>
                <a:gd name="connsiteY1317" fmla="*/ 1122790 h 6962977"/>
                <a:gd name="connsiteX1318" fmla="*/ 1238125 w 2649035"/>
                <a:gd name="connsiteY1318" fmla="*/ 1088787 h 6962977"/>
                <a:gd name="connsiteX1319" fmla="*/ 1763648 w 2649035"/>
                <a:gd name="connsiteY1319" fmla="*/ 1070362 h 6962977"/>
                <a:gd name="connsiteX1320" fmla="*/ 1780397 w 2649035"/>
                <a:gd name="connsiteY1320" fmla="*/ 1082755 h 6962977"/>
                <a:gd name="connsiteX1321" fmla="*/ 1726492 w 2649035"/>
                <a:gd name="connsiteY1321" fmla="*/ 1209046 h 6962977"/>
                <a:gd name="connsiteX1322" fmla="*/ 1706471 w 2649035"/>
                <a:gd name="connsiteY1322" fmla="*/ 1135120 h 6962977"/>
                <a:gd name="connsiteX1323" fmla="*/ 1763648 w 2649035"/>
                <a:gd name="connsiteY1323" fmla="*/ 1070362 h 6962977"/>
                <a:gd name="connsiteX1324" fmla="*/ 1375534 w 2649035"/>
                <a:gd name="connsiteY1324" fmla="*/ 1040031 h 6962977"/>
                <a:gd name="connsiteX1325" fmla="*/ 1384582 w 2649035"/>
                <a:gd name="connsiteY1325" fmla="*/ 1044242 h 6962977"/>
                <a:gd name="connsiteX1326" fmla="*/ 1329137 w 2649035"/>
                <a:gd name="connsiteY1326" fmla="*/ 1162836 h 6962977"/>
                <a:gd name="connsiteX1327" fmla="*/ 1332218 w 2649035"/>
                <a:gd name="connsiteY1327" fmla="*/ 1107392 h 6962977"/>
                <a:gd name="connsiteX1328" fmla="*/ 1375534 w 2649035"/>
                <a:gd name="connsiteY1328" fmla="*/ 1040031 h 6962977"/>
                <a:gd name="connsiteX1329" fmla="*/ 1552770 w 2649035"/>
                <a:gd name="connsiteY1329" fmla="*/ 1032766 h 6962977"/>
                <a:gd name="connsiteX1330" fmla="*/ 1566318 w 2649035"/>
                <a:gd name="connsiteY1330" fmla="*/ 1041165 h 6962977"/>
                <a:gd name="connsiteX1331" fmla="*/ 1509333 w 2649035"/>
                <a:gd name="connsiteY1331" fmla="*/ 1164380 h 6962977"/>
                <a:gd name="connsiteX1332" fmla="*/ 1503173 w 2649035"/>
                <a:gd name="connsiteY1332" fmla="*/ 1099694 h 6962977"/>
                <a:gd name="connsiteX1333" fmla="*/ 1552770 w 2649035"/>
                <a:gd name="connsiteY1333" fmla="*/ 1032766 h 6962977"/>
                <a:gd name="connsiteX1334" fmla="*/ 1941462 w 2649035"/>
                <a:gd name="connsiteY1334" fmla="*/ 1026250 h 6962977"/>
                <a:gd name="connsiteX1335" fmla="*/ 1959053 w 2649035"/>
                <a:gd name="connsiteY1335" fmla="*/ 1041171 h 6962977"/>
                <a:gd name="connsiteX1336" fmla="*/ 1917469 w 2649035"/>
                <a:gd name="connsiteY1336" fmla="*/ 1161306 h 6962977"/>
                <a:gd name="connsiteX1337" fmla="*/ 1886667 w 2649035"/>
                <a:gd name="connsiteY1337" fmla="*/ 1084300 h 6962977"/>
                <a:gd name="connsiteX1338" fmla="*/ 1941462 w 2649035"/>
                <a:gd name="connsiteY1338" fmla="*/ 1026250 h 6962977"/>
                <a:gd name="connsiteX1339" fmla="*/ 1225178 w 2649035"/>
                <a:gd name="connsiteY1339" fmla="*/ 1025373 h 6962977"/>
                <a:gd name="connsiteX1340" fmla="*/ 1230569 w 2649035"/>
                <a:gd name="connsiteY1340" fmla="*/ 1025759 h 6962977"/>
                <a:gd name="connsiteX1341" fmla="*/ 1181284 w 2649035"/>
                <a:gd name="connsiteY1341" fmla="*/ 1144351 h 6962977"/>
                <a:gd name="connsiteX1342" fmla="*/ 1192065 w 2649035"/>
                <a:gd name="connsiteY1342" fmla="*/ 1096607 h 6962977"/>
                <a:gd name="connsiteX1343" fmla="*/ 1215167 w 2649035"/>
                <a:gd name="connsiteY1343" fmla="*/ 1041160 h 6962977"/>
                <a:gd name="connsiteX1344" fmla="*/ 1225178 w 2649035"/>
                <a:gd name="connsiteY1344" fmla="*/ 1025373 h 6962977"/>
                <a:gd name="connsiteX1345" fmla="*/ 1218247 w 2649035"/>
                <a:gd name="connsiteY1345" fmla="*/ 964153 h 6962977"/>
                <a:gd name="connsiteX1346" fmla="*/ 1219787 w 2649035"/>
                <a:gd name="connsiteY1346" fmla="*/ 965693 h 6962977"/>
                <a:gd name="connsiteX1347" fmla="*/ 1175124 w 2649035"/>
                <a:gd name="connsiteY1347" fmla="*/ 1090446 h 6962977"/>
                <a:gd name="connsiteX1348" fmla="*/ 1175124 w 2649035"/>
                <a:gd name="connsiteY1348" fmla="*/ 1082763 h 6962977"/>
                <a:gd name="connsiteX1349" fmla="*/ 1175124 w 2649035"/>
                <a:gd name="connsiteY1349" fmla="*/ 1082746 h 6962977"/>
                <a:gd name="connsiteX1350" fmla="*/ 1175131 w 2649035"/>
                <a:gd name="connsiteY1350" fmla="*/ 1082724 h 6962977"/>
                <a:gd name="connsiteX1351" fmla="*/ 1177049 w 2649035"/>
                <a:gd name="connsiteY1351" fmla="*/ 1071982 h 6962977"/>
                <a:gd name="connsiteX1352" fmla="*/ 1185905 w 2649035"/>
                <a:gd name="connsiteY1352" fmla="*/ 1042714 h 6962977"/>
                <a:gd name="connsiteX1353" fmla="*/ 1207408 w 2649035"/>
                <a:gd name="connsiteY1353" fmla="*/ 981278 h 6962977"/>
                <a:gd name="connsiteX1354" fmla="*/ 1207466 w 2649035"/>
                <a:gd name="connsiteY1354" fmla="*/ 981095 h 6962977"/>
                <a:gd name="connsiteX1355" fmla="*/ 1218247 w 2649035"/>
                <a:gd name="connsiteY1355" fmla="*/ 964153 h 6962977"/>
                <a:gd name="connsiteX1356" fmla="*/ 1349640 w 2649035"/>
                <a:gd name="connsiteY1356" fmla="*/ 956719 h 6962977"/>
                <a:gd name="connsiteX1357" fmla="*/ 1359940 w 2649035"/>
                <a:gd name="connsiteY1357" fmla="*/ 959535 h 6962977"/>
                <a:gd name="connsiteX1358" fmla="*/ 1307576 w 2649035"/>
                <a:gd name="connsiteY1358" fmla="*/ 1084289 h 6962977"/>
                <a:gd name="connsiteX1359" fmla="*/ 1310656 w 2649035"/>
                <a:gd name="connsiteY1359" fmla="*/ 1028841 h 6962977"/>
                <a:gd name="connsiteX1360" fmla="*/ 1349640 w 2649035"/>
                <a:gd name="connsiteY1360" fmla="*/ 956719 h 6962977"/>
                <a:gd name="connsiteX1361" fmla="*/ 1707842 w 2649035"/>
                <a:gd name="connsiteY1361" fmla="*/ 950733 h 6962977"/>
                <a:gd name="connsiteX1362" fmla="*/ 1724952 w 2649035"/>
                <a:gd name="connsiteY1362" fmla="*/ 962621 h 6962977"/>
                <a:gd name="connsiteX1363" fmla="*/ 1677208 w 2649035"/>
                <a:gd name="connsiteY1363" fmla="*/ 1093538 h 6962977"/>
                <a:gd name="connsiteX1364" fmla="*/ 1655646 w 2649035"/>
                <a:gd name="connsiteY1364" fmla="*/ 1019606 h 6962977"/>
                <a:gd name="connsiteX1365" fmla="*/ 1707842 w 2649035"/>
                <a:gd name="connsiteY1365" fmla="*/ 950733 h 6962977"/>
                <a:gd name="connsiteX1366" fmla="*/ 1510368 w 2649035"/>
                <a:gd name="connsiteY1366" fmla="*/ 932055 h 6962977"/>
                <a:gd name="connsiteX1367" fmla="*/ 1523194 w 2649035"/>
                <a:gd name="connsiteY1367" fmla="*/ 939516 h 6962977"/>
                <a:gd name="connsiteX1368" fmla="*/ 1472370 w 2649035"/>
                <a:gd name="connsiteY1368" fmla="*/ 1067350 h 6962977"/>
                <a:gd name="connsiteX1369" fmla="*/ 1464669 w 2649035"/>
                <a:gd name="connsiteY1369" fmla="*/ 1002661 h 6962977"/>
                <a:gd name="connsiteX1370" fmla="*/ 1510368 w 2649035"/>
                <a:gd name="connsiteY1370" fmla="*/ 932055 h 6962977"/>
                <a:gd name="connsiteX1371" fmla="*/ 1207466 w 2649035"/>
                <a:gd name="connsiteY1371" fmla="*/ 911801 h 6962977"/>
                <a:gd name="connsiteX1372" fmla="*/ 1209006 w 2649035"/>
                <a:gd name="connsiteY1372" fmla="*/ 913341 h 6962977"/>
                <a:gd name="connsiteX1373" fmla="*/ 1173583 w 2649035"/>
                <a:gd name="connsiteY1373" fmla="*/ 1042714 h 6962977"/>
                <a:gd name="connsiteX1374" fmla="*/ 1172043 w 2649035"/>
                <a:gd name="connsiteY1374" fmla="*/ 1042714 h 6962977"/>
                <a:gd name="connsiteX1375" fmla="*/ 1181284 w 2649035"/>
                <a:gd name="connsiteY1375" fmla="*/ 996509 h 6962977"/>
                <a:gd name="connsiteX1376" fmla="*/ 1207466 w 2649035"/>
                <a:gd name="connsiteY1376" fmla="*/ 911801 h 6962977"/>
                <a:gd name="connsiteX1377" fmla="*/ 1870255 w 2649035"/>
                <a:gd name="connsiteY1377" fmla="*/ 892355 h 6962977"/>
                <a:gd name="connsiteX1378" fmla="*/ 1889747 w 2649035"/>
                <a:gd name="connsiteY1378" fmla="*/ 905639 h 6962977"/>
                <a:gd name="connsiteX1379" fmla="*/ 1854324 w 2649035"/>
                <a:gd name="connsiteY1379" fmla="*/ 1031929 h 6962977"/>
                <a:gd name="connsiteX1380" fmla="*/ 1820441 w 2649035"/>
                <a:gd name="connsiteY1380" fmla="*/ 956463 h 6962977"/>
                <a:gd name="connsiteX1381" fmla="*/ 1870255 w 2649035"/>
                <a:gd name="connsiteY1381" fmla="*/ 892355 h 6962977"/>
                <a:gd name="connsiteX1382" fmla="*/ 1324902 w 2649035"/>
                <a:gd name="connsiteY1382" fmla="*/ 880026 h 6962977"/>
                <a:gd name="connsiteX1383" fmla="*/ 1332218 w 2649035"/>
                <a:gd name="connsiteY1383" fmla="*/ 882528 h 6962977"/>
                <a:gd name="connsiteX1384" fmla="*/ 1287554 w 2649035"/>
                <a:gd name="connsiteY1384" fmla="*/ 1011900 h 6962977"/>
                <a:gd name="connsiteX1385" fmla="*/ 1289094 w 2649035"/>
                <a:gd name="connsiteY1385" fmla="*/ 956455 h 6962977"/>
                <a:gd name="connsiteX1386" fmla="*/ 1293714 w 2649035"/>
                <a:gd name="connsiteY1386" fmla="*/ 944134 h 6962977"/>
                <a:gd name="connsiteX1387" fmla="*/ 1324902 w 2649035"/>
                <a:gd name="connsiteY1387" fmla="*/ 880026 h 6962977"/>
                <a:gd name="connsiteX1388" fmla="*/ 1651387 w 2649035"/>
                <a:gd name="connsiteY1388" fmla="*/ 836642 h 6962977"/>
                <a:gd name="connsiteX1389" fmla="*/ 1667967 w 2649035"/>
                <a:gd name="connsiteY1389" fmla="*/ 847111 h 6962977"/>
                <a:gd name="connsiteX1390" fmla="*/ 1624844 w 2649035"/>
                <a:gd name="connsiteY1390" fmla="*/ 985723 h 6962977"/>
                <a:gd name="connsiteX1391" fmla="*/ 1604822 w 2649035"/>
                <a:gd name="connsiteY1391" fmla="*/ 911796 h 6962977"/>
                <a:gd name="connsiteX1392" fmla="*/ 1651387 w 2649035"/>
                <a:gd name="connsiteY1392" fmla="*/ 836642 h 6962977"/>
                <a:gd name="connsiteX1393" fmla="*/ 1467773 w 2649035"/>
                <a:gd name="connsiteY1393" fmla="*/ 836206 h 6962977"/>
                <a:gd name="connsiteX1394" fmla="*/ 1480070 w 2649035"/>
                <a:gd name="connsiteY1394" fmla="*/ 840947 h 6962977"/>
                <a:gd name="connsiteX1395" fmla="*/ 1436947 w 2649035"/>
                <a:gd name="connsiteY1395" fmla="*/ 974939 h 6962977"/>
                <a:gd name="connsiteX1396" fmla="*/ 1427706 w 2649035"/>
                <a:gd name="connsiteY1396" fmla="*/ 911793 h 6962977"/>
                <a:gd name="connsiteX1397" fmla="*/ 1467773 w 2649035"/>
                <a:gd name="connsiteY1397" fmla="*/ 836206 h 6962977"/>
                <a:gd name="connsiteX1398" fmla="*/ 1296674 w 2649035"/>
                <a:gd name="connsiteY1398" fmla="*/ 811225 h 6962977"/>
                <a:gd name="connsiteX1399" fmla="*/ 1304495 w 2649035"/>
                <a:gd name="connsiteY1399" fmla="*/ 811682 h 6962977"/>
                <a:gd name="connsiteX1400" fmla="*/ 1267532 w 2649035"/>
                <a:gd name="connsiteY1400" fmla="*/ 947214 h 6962977"/>
                <a:gd name="connsiteX1401" fmla="*/ 1267532 w 2649035"/>
                <a:gd name="connsiteY1401" fmla="*/ 893309 h 6962977"/>
                <a:gd name="connsiteX1402" fmla="*/ 1275232 w 2649035"/>
                <a:gd name="connsiteY1402" fmla="*/ 865586 h 6962977"/>
                <a:gd name="connsiteX1403" fmla="*/ 1296674 w 2649035"/>
                <a:gd name="connsiteY1403" fmla="*/ 811225 h 6962977"/>
                <a:gd name="connsiteX1404" fmla="*/ 1798398 w 2649035"/>
                <a:gd name="connsiteY1404" fmla="*/ 766810 h 6962977"/>
                <a:gd name="connsiteX1405" fmla="*/ 1817361 w 2649035"/>
                <a:gd name="connsiteY1405" fmla="*/ 779348 h 6962977"/>
                <a:gd name="connsiteX1406" fmla="*/ 1789639 w 2649035"/>
                <a:gd name="connsiteY1406" fmla="*/ 910258 h 6962977"/>
                <a:gd name="connsiteX1407" fmla="*/ 1754216 w 2649035"/>
                <a:gd name="connsiteY1407" fmla="*/ 836333 h 6962977"/>
                <a:gd name="connsiteX1408" fmla="*/ 1798398 w 2649035"/>
                <a:gd name="connsiteY1408" fmla="*/ 766810 h 6962977"/>
                <a:gd name="connsiteX1409" fmla="*/ 1423880 w 2649035"/>
                <a:gd name="connsiteY1409" fmla="*/ 748082 h 6962977"/>
                <a:gd name="connsiteX1410" fmla="*/ 1435407 w 2649035"/>
                <a:gd name="connsiteY1410" fmla="*/ 751619 h 6962977"/>
                <a:gd name="connsiteX1411" fmla="*/ 1398444 w 2649035"/>
                <a:gd name="connsiteY1411" fmla="*/ 893312 h 6962977"/>
                <a:gd name="connsiteX1412" fmla="*/ 1390743 w 2649035"/>
                <a:gd name="connsiteY1412" fmla="*/ 830166 h 6962977"/>
                <a:gd name="connsiteX1413" fmla="*/ 1423880 w 2649035"/>
                <a:gd name="connsiteY1413" fmla="*/ 748082 h 6962977"/>
                <a:gd name="connsiteX1414" fmla="*/ 1269241 w 2649035"/>
                <a:gd name="connsiteY1414" fmla="*/ 746515 h 6962977"/>
                <a:gd name="connsiteX1415" fmla="*/ 1275233 w 2649035"/>
                <a:gd name="connsiteY1415" fmla="*/ 746996 h 6962977"/>
                <a:gd name="connsiteX1416" fmla="*/ 1245971 w 2649035"/>
                <a:gd name="connsiteY1416" fmla="*/ 890228 h 6962977"/>
                <a:gd name="connsiteX1417" fmla="*/ 1245971 w 2649035"/>
                <a:gd name="connsiteY1417" fmla="*/ 836324 h 6962977"/>
                <a:gd name="connsiteX1418" fmla="*/ 1252131 w 2649035"/>
                <a:gd name="connsiteY1418" fmla="*/ 799360 h 6962977"/>
                <a:gd name="connsiteX1419" fmla="*/ 1269241 w 2649035"/>
                <a:gd name="connsiteY1419" fmla="*/ 746515 h 6962977"/>
                <a:gd name="connsiteX1420" fmla="*/ 1592742 w 2649035"/>
                <a:gd name="connsiteY1420" fmla="*/ 730229 h 6962977"/>
                <a:gd name="connsiteX1421" fmla="*/ 1609442 w 2649035"/>
                <a:gd name="connsiteY1421" fmla="*/ 739302 h 6962977"/>
                <a:gd name="connsiteX1422" fmla="*/ 1574019 w 2649035"/>
                <a:gd name="connsiteY1422" fmla="*/ 884073 h 6962977"/>
                <a:gd name="connsiteX1423" fmla="*/ 1552457 w 2649035"/>
                <a:gd name="connsiteY1423" fmla="*/ 810148 h 6962977"/>
                <a:gd name="connsiteX1424" fmla="*/ 1592742 w 2649035"/>
                <a:gd name="connsiteY1424" fmla="*/ 730229 h 6962977"/>
                <a:gd name="connsiteX1425" fmla="*/ 1245970 w 2649035"/>
                <a:gd name="connsiteY1425" fmla="*/ 691563 h 6962977"/>
                <a:gd name="connsiteX1426" fmla="*/ 1225948 w 2649035"/>
                <a:gd name="connsiteY1426" fmla="*/ 840955 h 6962977"/>
                <a:gd name="connsiteX1427" fmla="*/ 1225948 w 2649035"/>
                <a:gd name="connsiteY1427" fmla="*/ 787050 h 6962977"/>
                <a:gd name="connsiteX1428" fmla="*/ 1230569 w 2649035"/>
                <a:gd name="connsiteY1428" fmla="*/ 740847 h 6962977"/>
                <a:gd name="connsiteX1429" fmla="*/ 1245970 w 2649035"/>
                <a:gd name="connsiteY1429" fmla="*/ 691563 h 6962977"/>
                <a:gd name="connsiteX1430" fmla="*/ 1381959 w 2649035"/>
                <a:gd name="connsiteY1430" fmla="*/ 666527 h 6962977"/>
                <a:gd name="connsiteX1431" fmla="*/ 1392283 w 2649035"/>
                <a:gd name="connsiteY1431" fmla="*/ 669992 h 6962977"/>
                <a:gd name="connsiteX1432" fmla="*/ 1364561 w 2649035"/>
                <a:gd name="connsiteY1432" fmla="*/ 816305 h 6962977"/>
                <a:gd name="connsiteX1433" fmla="*/ 1353780 w 2649035"/>
                <a:gd name="connsiteY1433" fmla="*/ 753159 h 6962977"/>
                <a:gd name="connsiteX1434" fmla="*/ 1355320 w 2649035"/>
                <a:gd name="connsiteY1434" fmla="*/ 739298 h 6962977"/>
                <a:gd name="connsiteX1435" fmla="*/ 1381959 w 2649035"/>
                <a:gd name="connsiteY1435" fmla="*/ 666527 h 6962977"/>
                <a:gd name="connsiteX1436" fmla="*/ 1723701 w 2649035"/>
                <a:gd name="connsiteY1436" fmla="*/ 646535 h 6962977"/>
                <a:gd name="connsiteX1437" fmla="*/ 1741894 w 2649035"/>
                <a:gd name="connsiteY1437" fmla="*/ 657677 h 6962977"/>
                <a:gd name="connsiteX1438" fmla="*/ 1720332 w 2649035"/>
                <a:gd name="connsiteY1438" fmla="*/ 796290 h 6962977"/>
                <a:gd name="connsiteX1439" fmla="*/ 1686449 w 2649035"/>
                <a:gd name="connsiteY1439" fmla="*/ 720823 h 6962977"/>
                <a:gd name="connsiteX1440" fmla="*/ 1723701 w 2649035"/>
                <a:gd name="connsiteY1440" fmla="*/ 646535 h 6962977"/>
                <a:gd name="connsiteX1441" fmla="*/ 1533662 w 2649035"/>
                <a:gd name="connsiteY1441" fmla="*/ 628556 h 6962977"/>
                <a:gd name="connsiteX1442" fmla="*/ 1547836 w 2649035"/>
                <a:gd name="connsiteY1442" fmla="*/ 636112 h 6962977"/>
                <a:gd name="connsiteX1443" fmla="*/ 1523194 w 2649035"/>
                <a:gd name="connsiteY1443" fmla="*/ 785506 h 6962977"/>
                <a:gd name="connsiteX1444" fmla="*/ 1498552 w 2649035"/>
                <a:gd name="connsiteY1444" fmla="*/ 714659 h 6962977"/>
                <a:gd name="connsiteX1445" fmla="*/ 1500092 w 2649035"/>
                <a:gd name="connsiteY1445" fmla="*/ 706959 h 6962977"/>
                <a:gd name="connsiteX1446" fmla="*/ 1533662 w 2649035"/>
                <a:gd name="connsiteY1446" fmla="*/ 628556 h 6962977"/>
                <a:gd name="connsiteX1447" fmla="*/ 1336550 w 2649035"/>
                <a:gd name="connsiteY1447" fmla="*/ 592119 h 6962977"/>
                <a:gd name="connsiteX1448" fmla="*/ 1346079 w 2649035"/>
                <a:gd name="connsiteY1448" fmla="*/ 594526 h 6962977"/>
                <a:gd name="connsiteX1449" fmla="*/ 1327597 w 2649035"/>
                <a:gd name="connsiteY1449" fmla="*/ 748539 h 6962977"/>
                <a:gd name="connsiteX1450" fmla="*/ 1316816 w 2649035"/>
                <a:gd name="connsiteY1450" fmla="*/ 685394 h 6962977"/>
                <a:gd name="connsiteX1451" fmla="*/ 1318357 w 2649035"/>
                <a:gd name="connsiteY1451" fmla="*/ 662292 h 6962977"/>
                <a:gd name="connsiteX1452" fmla="*/ 1336550 w 2649035"/>
                <a:gd name="connsiteY1452" fmla="*/ 592119 h 6962977"/>
                <a:gd name="connsiteX1453" fmla="*/ 1473044 w 2649035"/>
                <a:gd name="connsiteY1453" fmla="*/ 534343 h 6962977"/>
                <a:gd name="connsiteX1454" fmla="*/ 1486231 w 2649035"/>
                <a:gd name="connsiteY1454" fmla="*/ 540624 h 6962977"/>
                <a:gd name="connsiteX1455" fmla="*/ 1469290 w 2649035"/>
                <a:gd name="connsiteY1455" fmla="*/ 699258 h 6962977"/>
                <a:gd name="connsiteX1456" fmla="*/ 1444647 w 2649035"/>
                <a:gd name="connsiteY1456" fmla="*/ 626871 h 6962977"/>
                <a:gd name="connsiteX1457" fmla="*/ 1446188 w 2649035"/>
                <a:gd name="connsiteY1457" fmla="*/ 609930 h 6962977"/>
                <a:gd name="connsiteX1458" fmla="*/ 1473044 w 2649035"/>
                <a:gd name="connsiteY1458" fmla="*/ 534343 h 6962977"/>
                <a:gd name="connsiteX1459" fmla="*/ 1650737 w 2649035"/>
                <a:gd name="connsiteY1459" fmla="*/ 532204 h 6962977"/>
                <a:gd name="connsiteX1460" fmla="*/ 1666427 w 2649035"/>
                <a:gd name="connsiteY1460" fmla="*/ 542167 h 6962977"/>
                <a:gd name="connsiteX1461" fmla="*/ 1654106 w 2649035"/>
                <a:gd name="connsiteY1461" fmla="*/ 686939 h 6962977"/>
                <a:gd name="connsiteX1462" fmla="*/ 1617143 w 2649035"/>
                <a:gd name="connsiteY1462" fmla="*/ 613013 h 6962977"/>
                <a:gd name="connsiteX1463" fmla="*/ 1618683 w 2649035"/>
                <a:gd name="connsiteY1463" fmla="*/ 597611 h 6962977"/>
                <a:gd name="connsiteX1464" fmla="*/ 1650737 w 2649035"/>
                <a:gd name="connsiteY1464" fmla="*/ 532204 h 6962977"/>
                <a:gd name="connsiteX1465" fmla="*/ 1291525 w 2649035"/>
                <a:gd name="connsiteY1465" fmla="*/ 526206 h 6962977"/>
                <a:gd name="connsiteX1466" fmla="*/ 1299875 w 2649035"/>
                <a:gd name="connsiteY1466" fmla="*/ 526759 h 6962977"/>
                <a:gd name="connsiteX1467" fmla="*/ 1292174 w 2649035"/>
                <a:gd name="connsiteY1467" fmla="*/ 686933 h 6962977"/>
                <a:gd name="connsiteX1468" fmla="*/ 1278313 w 2649035"/>
                <a:gd name="connsiteY1468" fmla="*/ 625328 h 6962977"/>
                <a:gd name="connsiteX1469" fmla="*/ 1278313 w 2649035"/>
                <a:gd name="connsiteY1469" fmla="*/ 602226 h 6962977"/>
                <a:gd name="connsiteX1470" fmla="*/ 1291525 w 2649035"/>
                <a:gd name="connsiteY1470" fmla="*/ 526206 h 6962977"/>
                <a:gd name="connsiteX1471" fmla="*/ 1247510 w 2649035"/>
                <a:gd name="connsiteY1471" fmla="*/ 465164 h 6962977"/>
                <a:gd name="connsiteX1472" fmla="*/ 1256751 w 2649035"/>
                <a:gd name="connsiteY1472" fmla="*/ 634578 h 6962977"/>
                <a:gd name="connsiteX1473" fmla="*/ 1241349 w 2649035"/>
                <a:gd name="connsiteY1473" fmla="*/ 572974 h 6962977"/>
                <a:gd name="connsiteX1474" fmla="*/ 1247510 w 2649035"/>
                <a:gd name="connsiteY1474" fmla="*/ 465164 h 6962977"/>
                <a:gd name="connsiteX1475" fmla="*/ 1249050 w 2649035"/>
                <a:gd name="connsiteY1475" fmla="*/ 465154 h 6962977"/>
                <a:gd name="connsiteX1476" fmla="*/ 1253670 w 2649035"/>
                <a:gd name="connsiteY1476" fmla="*/ 466694 h 6962977"/>
                <a:gd name="connsiteX1477" fmla="*/ 1258291 w 2649035"/>
                <a:gd name="connsiteY1477" fmla="*/ 633029 h 6962977"/>
                <a:gd name="connsiteX1478" fmla="*/ 1249050 w 2649035"/>
                <a:gd name="connsiteY1478" fmla="*/ 465154 h 6962977"/>
                <a:gd name="connsiteX1479" fmla="*/ 1410693 w 2649035"/>
                <a:gd name="connsiteY1479" fmla="*/ 448264 h 6962977"/>
                <a:gd name="connsiteX1480" fmla="*/ 1423086 w 2649035"/>
                <a:gd name="connsiteY1480" fmla="*/ 452837 h 6962977"/>
                <a:gd name="connsiteX1481" fmla="*/ 1418465 w 2649035"/>
                <a:gd name="connsiteY1481" fmla="*/ 617631 h 6962977"/>
                <a:gd name="connsiteX1482" fmla="*/ 1390743 w 2649035"/>
                <a:gd name="connsiteY1482" fmla="*/ 546784 h 6962977"/>
                <a:gd name="connsiteX1483" fmla="*/ 1392283 w 2649035"/>
                <a:gd name="connsiteY1483" fmla="*/ 520602 h 6962977"/>
                <a:gd name="connsiteX1484" fmla="*/ 1410693 w 2649035"/>
                <a:gd name="connsiteY1484" fmla="*/ 448264 h 6962977"/>
                <a:gd name="connsiteX1485" fmla="*/ 1572311 w 2649035"/>
                <a:gd name="connsiteY1485" fmla="*/ 425454 h 6962977"/>
                <a:gd name="connsiteX1486" fmla="*/ 1587881 w 2649035"/>
                <a:gd name="connsiteY1486" fmla="*/ 434358 h 6962977"/>
                <a:gd name="connsiteX1487" fmla="*/ 1586341 w 2649035"/>
                <a:gd name="connsiteY1487" fmla="*/ 585290 h 6962977"/>
                <a:gd name="connsiteX1488" fmla="*/ 1546297 w 2649035"/>
                <a:gd name="connsiteY1488" fmla="*/ 512905 h 6962977"/>
                <a:gd name="connsiteX1489" fmla="*/ 1547837 w 2649035"/>
                <a:gd name="connsiteY1489" fmla="*/ 488263 h 6962977"/>
                <a:gd name="connsiteX1490" fmla="*/ 1572311 w 2649035"/>
                <a:gd name="connsiteY1490" fmla="*/ 425454 h 6962977"/>
                <a:gd name="connsiteX1491" fmla="*/ 1346753 w 2649035"/>
                <a:gd name="connsiteY1491" fmla="*/ 369235 h 6962977"/>
                <a:gd name="connsiteX1492" fmla="*/ 1358400 w 2649035"/>
                <a:gd name="connsiteY1492" fmla="*/ 372749 h 6962977"/>
                <a:gd name="connsiteX1493" fmla="*/ 1364561 w 2649035"/>
                <a:gd name="connsiteY1493" fmla="*/ 545244 h 6962977"/>
                <a:gd name="connsiteX1494" fmla="*/ 1336838 w 2649035"/>
                <a:gd name="connsiteY1494" fmla="*/ 474397 h 6962977"/>
                <a:gd name="connsiteX1495" fmla="*/ 1333758 w 2649035"/>
                <a:gd name="connsiteY1495" fmla="*/ 438975 h 6962977"/>
                <a:gd name="connsiteX1496" fmla="*/ 1346753 w 2649035"/>
                <a:gd name="connsiteY1496" fmla="*/ 369235 h 6962977"/>
                <a:gd name="connsiteX1497" fmla="*/ 1492103 w 2649035"/>
                <a:gd name="connsiteY1497" fmla="*/ 325297 h 6962977"/>
                <a:gd name="connsiteX1498" fmla="*/ 1506253 w 2649035"/>
                <a:gd name="connsiteY1498" fmla="*/ 332709 h 6962977"/>
                <a:gd name="connsiteX1499" fmla="*/ 1515494 w 2649035"/>
                <a:gd name="connsiteY1499" fmla="*/ 492883 h 6962977"/>
                <a:gd name="connsiteX1500" fmla="*/ 1475450 w 2649035"/>
                <a:gd name="connsiteY1500" fmla="*/ 418956 h 6962977"/>
                <a:gd name="connsiteX1501" fmla="*/ 1473910 w 2649035"/>
                <a:gd name="connsiteY1501" fmla="*/ 385073 h 6962977"/>
                <a:gd name="connsiteX1502" fmla="*/ 1492103 w 2649035"/>
                <a:gd name="connsiteY1502" fmla="*/ 325297 h 6962977"/>
                <a:gd name="connsiteX1503" fmla="*/ 1281754 w 2649035"/>
                <a:gd name="connsiteY1503" fmla="*/ 297451 h 6962977"/>
                <a:gd name="connsiteX1504" fmla="*/ 1293714 w 2649035"/>
                <a:gd name="connsiteY1504" fmla="*/ 298823 h 6962977"/>
                <a:gd name="connsiteX1505" fmla="*/ 1313736 w 2649035"/>
                <a:gd name="connsiteY1505" fmla="*/ 479018 h 6962977"/>
                <a:gd name="connsiteX1506" fmla="*/ 1281393 w 2649035"/>
                <a:gd name="connsiteY1506" fmla="*/ 409713 h 6962977"/>
                <a:gd name="connsiteX1507" fmla="*/ 1276772 w 2649035"/>
                <a:gd name="connsiteY1507" fmla="*/ 363509 h 6962977"/>
                <a:gd name="connsiteX1508" fmla="*/ 1281754 w 2649035"/>
                <a:gd name="connsiteY1508" fmla="*/ 297451 h 6962977"/>
                <a:gd name="connsiteX1509" fmla="*/ 1213627 w 2649035"/>
                <a:gd name="connsiteY1509" fmla="*/ 284969 h 6962977"/>
                <a:gd name="connsiteX1510" fmla="*/ 1236729 w 2649035"/>
                <a:gd name="connsiteY1510" fmla="*/ 392778 h 6962977"/>
                <a:gd name="connsiteX1511" fmla="*/ 1225948 w 2649035"/>
                <a:gd name="connsiteY1511" fmla="*/ 352734 h 6962977"/>
                <a:gd name="connsiteX1512" fmla="*/ 1213627 w 2649035"/>
                <a:gd name="connsiteY1512" fmla="*/ 284969 h 6962977"/>
                <a:gd name="connsiteX1513" fmla="*/ 1225948 w 2649035"/>
                <a:gd name="connsiteY1513" fmla="*/ 234137 h 6962977"/>
                <a:gd name="connsiteX1514" fmla="*/ 1261371 w 2649035"/>
                <a:gd name="connsiteY1514" fmla="*/ 418953 h 6962977"/>
                <a:gd name="connsiteX1515" fmla="*/ 1236729 w 2649035"/>
                <a:gd name="connsiteY1515" fmla="*/ 392770 h 6962977"/>
                <a:gd name="connsiteX1516" fmla="*/ 1213627 w 2649035"/>
                <a:gd name="connsiteY1516" fmla="*/ 284962 h 6962977"/>
                <a:gd name="connsiteX1517" fmla="*/ 1225948 w 2649035"/>
                <a:gd name="connsiteY1517" fmla="*/ 234137 h 6962977"/>
                <a:gd name="connsiteX1518" fmla="*/ 1407973 w 2649035"/>
                <a:gd name="connsiteY1518" fmla="*/ 233707 h 6962977"/>
                <a:gd name="connsiteX1519" fmla="*/ 1424626 w 2649035"/>
                <a:gd name="connsiteY1519" fmla="*/ 238761 h 6962977"/>
                <a:gd name="connsiteX1520" fmla="*/ 1446188 w 2649035"/>
                <a:gd name="connsiteY1520" fmla="*/ 405095 h 6962977"/>
                <a:gd name="connsiteX1521" fmla="*/ 1403064 w 2649035"/>
                <a:gd name="connsiteY1521" fmla="*/ 334249 h 6962977"/>
                <a:gd name="connsiteX1522" fmla="*/ 1398444 w 2649035"/>
                <a:gd name="connsiteY1522" fmla="*/ 289585 h 6962977"/>
                <a:gd name="connsiteX1523" fmla="*/ 1407973 w 2649035"/>
                <a:gd name="connsiteY1523" fmla="*/ 233707 h 6962977"/>
                <a:gd name="connsiteX1524" fmla="*/ 1326586 w 2649035"/>
                <a:gd name="connsiteY1524" fmla="*/ 147725 h 6962977"/>
                <a:gd name="connsiteX1525" fmla="*/ 1339918 w 2649035"/>
                <a:gd name="connsiteY1525" fmla="*/ 152514 h 6962977"/>
                <a:gd name="connsiteX1526" fmla="*/ 1375341 w 2649035"/>
                <a:gd name="connsiteY1526" fmla="*/ 328089 h 6962977"/>
                <a:gd name="connsiteX1527" fmla="*/ 1329137 w 2649035"/>
                <a:gd name="connsiteY1527" fmla="*/ 255703 h 6962977"/>
                <a:gd name="connsiteX1528" fmla="*/ 1318356 w 2649035"/>
                <a:gd name="connsiteY1528" fmla="*/ 192557 h 6962977"/>
                <a:gd name="connsiteX1529" fmla="*/ 1326586 w 2649035"/>
                <a:gd name="connsiteY1529" fmla="*/ 147725 h 6962977"/>
                <a:gd name="connsiteX1530" fmla="*/ 1238896 w 2649035"/>
                <a:gd name="connsiteY1530" fmla="*/ 69683 h 6962977"/>
                <a:gd name="connsiteX1531" fmla="*/ 1252131 w 2649035"/>
                <a:gd name="connsiteY1531" fmla="*/ 72427 h 6962977"/>
                <a:gd name="connsiteX1532" fmla="*/ 1302955 w 2649035"/>
                <a:gd name="connsiteY1532" fmla="*/ 255702 h 6962977"/>
                <a:gd name="connsiteX1533" fmla="*/ 1253671 w 2649035"/>
                <a:gd name="connsiteY1533" fmla="*/ 186397 h 6962977"/>
                <a:gd name="connsiteX1534" fmla="*/ 1236729 w 2649035"/>
                <a:gd name="connsiteY1534" fmla="*/ 118631 h 6962977"/>
                <a:gd name="connsiteX1535" fmla="*/ 1238896 w 2649035"/>
                <a:gd name="connsiteY1535" fmla="*/ 69683 h 6962977"/>
                <a:gd name="connsiteX1536" fmla="*/ 1152695 w 2649035"/>
                <a:gd name="connsiteY1536" fmla="*/ 1004 h 6962977"/>
                <a:gd name="connsiteX1537" fmla="*/ 1164342 w 2649035"/>
                <a:gd name="connsiteY1537" fmla="*/ 3122 h 6962977"/>
                <a:gd name="connsiteX1538" fmla="*/ 1230568 w 2649035"/>
                <a:gd name="connsiteY1538" fmla="*/ 194098 h 6962977"/>
                <a:gd name="connsiteX1539" fmla="*/ 1178204 w 2649035"/>
                <a:gd name="connsiteY1539" fmla="*/ 124793 h 6962977"/>
                <a:gd name="connsiteX1540" fmla="*/ 1153561 w 2649035"/>
                <a:gd name="connsiteY1540" fmla="*/ 47786 h 6962977"/>
                <a:gd name="connsiteX1541" fmla="*/ 1152695 w 2649035"/>
                <a:gd name="connsiteY1541" fmla="*/ 1004 h 6962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Lst>
              <a:rect l="l" t="t" r="r" b="b"/>
              <a:pathLst>
                <a:path w="2649035" h="6962977">
                  <a:moveTo>
                    <a:pt x="2237818" y="6961437"/>
                  </a:moveTo>
                  <a:lnTo>
                    <a:pt x="2239358" y="6961437"/>
                  </a:lnTo>
                  <a:lnTo>
                    <a:pt x="2237818" y="6962977"/>
                  </a:lnTo>
                  <a:lnTo>
                    <a:pt x="2236278" y="6962977"/>
                  </a:lnTo>
                  <a:close/>
                  <a:moveTo>
                    <a:pt x="2300964" y="6792021"/>
                  </a:moveTo>
                  <a:lnTo>
                    <a:pt x="2300964" y="6793561"/>
                  </a:lnTo>
                  <a:lnTo>
                    <a:pt x="2299424" y="6793561"/>
                  </a:lnTo>
                  <a:close/>
                  <a:moveTo>
                    <a:pt x="2359488" y="6614906"/>
                  </a:moveTo>
                  <a:lnTo>
                    <a:pt x="2361029" y="6614906"/>
                  </a:lnTo>
                  <a:lnTo>
                    <a:pt x="2357948" y="6619526"/>
                  </a:lnTo>
                  <a:lnTo>
                    <a:pt x="2354868" y="6619526"/>
                  </a:lnTo>
                  <a:close/>
                  <a:moveTo>
                    <a:pt x="2156190" y="6602585"/>
                  </a:moveTo>
                  <a:lnTo>
                    <a:pt x="2162351" y="6602585"/>
                  </a:lnTo>
                  <a:lnTo>
                    <a:pt x="2154650" y="6611825"/>
                  </a:lnTo>
                  <a:lnTo>
                    <a:pt x="2150030" y="6610286"/>
                  </a:lnTo>
                  <a:close/>
                  <a:moveTo>
                    <a:pt x="2410314" y="6431630"/>
                  </a:moveTo>
                  <a:lnTo>
                    <a:pt x="2416474" y="6431630"/>
                  </a:lnTo>
                  <a:lnTo>
                    <a:pt x="2408773" y="6440871"/>
                  </a:lnTo>
                  <a:lnTo>
                    <a:pt x="2402613" y="6440871"/>
                  </a:lnTo>
                  <a:close/>
                  <a:moveTo>
                    <a:pt x="2197774" y="6413148"/>
                  </a:moveTo>
                  <a:cubicBezTo>
                    <a:pt x="2202394" y="6410068"/>
                    <a:pt x="2207015" y="6408528"/>
                    <a:pt x="2207015" y="6413148"/>
                  </a:cubicBezTo>
                  <a:cubicBezTo>
                    <a:pt x="2205475" y="6419308"/>
                    <a:pt x="2196234" y="6427009"/>
                    <a:pt x="2191614" y="6427009"/>
                  </a:cubicBezTo>
                  <a:cubicBezTo>
                    <a:pt x="2186993" y="6427009"/>
                    <a:pt x="2188533" y="6420849"/>
                    <a:pt x="2194694" y="6416228"/>
                  </a:cubicBezTo>
                  <a:cubicBezTo>
                    <a:pt x="2194694" y="6416228"/>
                    <a:pt x="2196234" y="6414688"/>
                    <a:pt x="2197774" y="6413148"/>
                  </a:cubicBezTo>
                  <a:close/>
                  <a:moveTo>
                    <a:pt x="1974455" y="6391586"/>
                  </a:moveTo>
                  <a:lnTo>
                    <a:pt x="1975995" y="6391586"/>
                  </a:lnTo>
                  <a:lnTo>
                    <a:pt x="1974455" y="6393126"/>
                  </a:lnTo>
                  <a:lnTo>
                    <a:pt x="1972915" y="6393126"/>
                  </a:lnTo>
                  <a:close/>
                  <a:moveTo>
                    <a:pt x="2462101" y="6239306"/>
                  </a:moveTo>
                  <a:cubicBezTo>
                    <a:pt x="2463834" y="6239113"/>
                    <a:pt x="2464989" y="6239883"/>
                    <a:pt x="2464219" y="6242193"/>
                  </a:cubicBezTo>
                  <a:cubicBezTo>
                    <a:pt x="2462678" y="6248354"/>
                    <a:pt x="2453438" y="6256055"/>
                    <a:pt x="2448817" y="6256055"/>
                  </a:cubicBezTo>
                  <a:cubicBezTo>
                    <a:pt x="2445737" y="6256055"/>
                    <a:pt x="2447277" y="6249894"/>
                    <a:pt x="2453438" y="6245273"/>
                  </a:cubicBezTo>
                  <a:cubicBezTo>
                    <a:pt x="2453438" y="6243733"/>
                    <a:pt x="2454978" y="6243733"/>
                    <a:pt x="2456518" y="6242193"/>
                  </a:cubicBezTo>
                  <a:cubicBezTo>
                    <a:pt x="2458058" y="6240653"/>
                    <a:pt x="2460368" y="6239498"/>
                    <a:pt x="2462101" y="6239306"/>
                  </a:cubicBezTo>
                  <a:close/>
                  <a:moveTo>
                    <a:pt x="2241668" y="6215048"/>
                  </a:moveTo>
                  <a:cubicBezTo>
                    <a:pt x="2243979" y="6214855"/>
                    <a:pt x="2245519" y="6216010"/>
                    <a:pt x="2245519" y="6219090"/>
                  </a:cubicBezTo>
                  <a:cubicBezTo>
                    <a:pt x="2243979" y="6226791"/>
                    <a:pt x="2231657" y="6237572"/>
                    <a:pt x="2225497" y="6237572"/>
                  </a:cubicBezTo>
                  <a:cubicBezTo>
                    <a:pt x="2220877" y="6237572"/>
                    <a:pt x="2222417" y="6229871"/>
                    <a:pt x="2230117" y="6222171"/>
                  </a:cubicBezTo>
                  <a:cubicBezTo>
                    <a:pt x="2230117" y="6220630"/>
                    <a:pt x="2231657" y="6219090"/>
                    <a:pt x="2233198" y="6219090"/>
                  </a:cubicBezTo>
                  <a:cubicBezTo>
                    <a:pt x="2236278" y="6216780"/>
                    <a:pt x="2239358" y="6215240"/>
                    <a:pt x="2241668" y="6215048"/>
                  </a:cubicBezTo>
                  <a:close/>
                  <a:moveTo>
                    <a:pt x="2002177" y="6192908"/>
                  </a:moveTo>
                  <a:lnTo>
                    <a:pt x="2006798" y="6192908"/>
                  </a:lnTo>
                  <a:lnTo>
                    <a:pt x="2002177" y="6199068"/>
                  </a:lnTo>
                  <a:lnTo>
                    <a:pt x="1997557" y="6199068"/>
                  </a:lnTo>
                  <a:close/>
                  <a:moveTo>
                    <a:pt x="2503492" y="6044093"/>
                  </a:moveTo>
                  <a:cubicBezTo>
                    <a:pt x="2505802" y="6043901"/>
                    <a:pt x="2507342" y="6045056"/>
                    <a:pt x="2507342" y="6048136"/>
                  </a:cubicBezTo>
                  <a:cubicBezTo>
                    <a:pt x="2505802" y="6055836"/>
                    <a:pt x="2493481" y="6066617"/>
                    <a:pt x="2487320" y="6066617"/>
                  </a:cubicBezTo>
                  <a:cubicBezTo>
                    <a:pt x="2481160" y="6066617"/>
                    <a:pt x="2484240" y="6058916"/>
                    <a:pt x="2491941" y="6051216"/>
                  </a:cubicBezTo>
                  <a:cubicBezTo>
                    <a:pt x="2491941" y="6049675"/>
                    <a:pt x="2493481" y="6048136"/>
                    <a:pt x="2495021" y="6048136"/>
                  </a:cubicBezTo>
                  <a:cubicBezTo>
                    <a:pt x="2498101" y="6045826"/>
                    <a:pt x="2501181" y="6044286"/>
                    <a:pt x="2503492" y="6044093"/>
                  </a:cubicBezTo>
                  <a:close/>
                  <a:moveTo>
                    <a:pt x="2272279" y="6014445"/>
                  </a:moveTo>
                  <a:cubicBezTo>
                    <a:pt x="2275552" y="6013868"/>
                    <a:pt x="2277862" y="6015023"/>
                    <a:pt x="2277862" y="6018873"/>
                  </a:cubicBezTo>
                  <a:cubicBezTo>
                    <a:pt x="2276322" y="6029654"/>
                    <a:pt x="2262460" y="6041975"/>
                    <a:pt x="2254759" y="6041975"/>
                  </a:cubicBezTo>
                  <a:cubicBezTo>
                    <a:pt x="2247059" y="6041975"/>
                    <a:pt x="2250139" y="6032735"/>
                    <a:pt x="2259380" y="6023494"/>
                  </a:cubicBezTo>
                  <a:cubicBezTo>
                    <a:pt x="2260920" y="6023494"/>
                    <a:pt x="2260920" y="6021954"/>
                    <a:pt x="2260920" y="6020413"/>
                  </a:cubicBezTo>
                  <a:cubicBezTo>
                    <a:pt x="2264771" y="6017333"/>
                    <a:pt x="2269006" y="6015023"/>
                    <a:pt x="2272279" y="6014445"/>
                  </a:cubicBezTo>
                  <a:close/>
                  <a:moveTo>
                    <a:pt x="2026820" y="5994231"/>
                  </a:moveTo>
                  <a:lnTo>
                    <a:pt x="2032980" y="5994231"/>
                  </a:lnTo>
                  <a:lnTo>
                    <a:pt x="2026820" y="6003471"/>
                  </a:lnTo>
                  <a:lnTo>
                    <a:pt x="2020659" y="6003471"/>
                  </a:lnTo>
                  <a:close/>
                  <a:moveTo>
                    <a:pt x="2536220" y="5842912"/>
                  </a:moveTo>
                  <a:cubicBezTo>
                    <a:pt x="2539300" y="5842527"/>
                    <a:pt x="2541225" y="5844068"/>
                    <a:pt x="2541225" y="5847918"/>
                  </a:cubicBezTo>
                  <a:cubicBezTo>
                    <a:pt x="2539685" y="5858699"/>
                    <a:pt x="2524284" y="5871020"/>
                    <a:pt x="2518123" y="5871020"/>
                  </a:cubicBezTo>
                  <a:cubicBezTo>
                    <a:pt x="2511963" y="5871020"/>
                    <a:pt x="2513503" y="5861779"/>
                    <a:pt x="2522744" y="5852538"/>
                  </a:cubicBezTo>
                  <a:cubicBezTo>
                    <a:pt x="2524284" y="5852538"/>
                    <a:pt x="2524284" y="5850998"/>
                    <a:pt x="2524284" y="5849458"/>
                  </a:cubicBezTo>
                  <a:cubicBezTo>
                    <a:pt x="2528904" y="5845608"/>
                    <a:pt x="2533140" y="5843297"/>
                    <a:pt x="2536220" y="5842912"/>
                  </a:cubicBezTo>
                  <a:close/>
                  <a:moveTo>
                    <a:pt x="2303658" y="5812495"/>
                  </a:moveTo>
                  <a:cubicBezTo>
                    <a:pt x="2307509" y="5811725"/>
                    <a:pt x="2310204" y="5813265"/>
                    <a:pt x="2310204" y="5818655"/>
                  </a:cubicBezTo>
                  <a:cubicBezTo>
                    <a:pt x="2307124" y="5830977"/>
                    <a:pt x="2290182" y="5846378"/>
                    <a:pt x="2280942" y="5846378"/>
                  </a:cubicBezTo>
                  <a:cubicBezTo>
                    <a:pt x="2271701" y="5846378"/>
                    <a:pt x="2274781" y="5834057"/>
                    <a:pt x="2285562" y="5823276"/>
                  </a:cubicBezTo>
                  <a:cubicBezTo>
                    <a:pt x="2287102" y="5823276"/>
                    <a:pt x="2288642" y="5821736"/>
                    <a:pt x="2290182" y="5820196"/>
                  </a:cubicBezTo>
                  <a:cubicBezTo>
                    <a:pt x="2294803" y="5816346"/>
                    <a:pt x="2299808" y="5813266"/>
                    <a:pt x="2303658" y="5812495"/>
                  </a:cubicBezTo>
                  <a:close/>
                  <a:moveTo>
                    <a:pt x="2053001" y="5789393"/>
                  </a:moveTo>
                  <a:cubicBezTo>
                    <a:pt x="2055697" y="5788623"/>
                    <a:pt x="2057622" y="5789393"/>
                    <a:pt x="2057622" y="5792473"/>
                  </a:cubicBezTo>
                  <a:cubicBezTo>
                    <a:pt x="2056082" y="5798634"/>
                    <a:pt x="2046841" y="5807874"/>
                    <a:pt x="2040681" y="5807874"/>
                  </a:cubicBezTo>
                  <a:cubicBezTo>
                    <a:pt x="2036060" y="5807874"/>
                    <a:pt x="2037600" y="5801714"/>
                    <a:pt x="2043761" y="5795553"/>
                  </a:cubicBezTo>
                  <a:cubicBezTo>
                    <a:pt x="2046841" y="5792473"/>
                    <a:pt x="2050306" y="5790163"/>
                    <a:pt x="2053001" y="5789393"/>
                  </a:cubicBezTo>
                  <a:close/>
                  <a:moveTo>
                    <a:pt x="2566060" y="5645197"/>
                  </a:moveTo>
                  <a:cubicBezTo>
                    <a:pt x="2569718" y="5644620"/>
                    <a:pt x="2572028" y="5646160"/>
                    <a:pt x="2572028" y="5650780"/>
                  </a:cubicBezTo>
                  <a:cubicBezTo>
                    <a:pt x="2570488" y="5663101"/>
                    <a:pt x="2553546" y="5678503"/>
                    <a:pt x="2544306" y="5678503"/>
                  </a:cubicBezTo>
                  <a:cubicBezTo>
                    <a:pt x="2535065" y="5678503"/>
                    <a:pt x="2538145" y="5666181"/>
                    <a:pt x="2548926" y="5655400"/>
                  </a:cubicBezTo>
                  <a:cubicBezTo>
                    <a:pt x="2548926" y="5653860"/>
                    <a:pt x="2550466" y="5652320"/>
                    <a:pt x="2552006" y="5652320"/>
                  </a:cubicBezTo>
                  <a:cubicBezTo>
                    <a:pt x="2557396" y="5648470"/>
                    <a:pt x="2562402" y="5645775"/>
                    <a:pt x="2566060" y="5645197"/>
                  </a:cubicBezTo>
                  <a:close/>
                  <a:moveTo>
                    <a:pt x="2325799" y="5610352"/>
                  </a:moveTo>
                  <a:cubicBezTo>
                    <a:pt x="2330997" y="5609196"/>
                    <a:pt x="2334847" y="5610737"/>
                    <a:pt x="2334847" y="5616897"/>
                  </a:cubicBezTo>
                  <a:cubicBezTo>
                    <a:pt x="2331767" y="5632298"/>
                    <a:pt x="2311745" y="5649240"/>
                    <a:pt x="2300964" y="5649240"/>
                  </a:cubicBezTo>
                  <a:cubicBezTo>
                    <a:pt x="2291723" y="5649240"/>
                    <a:pt x="2294803" y="5633838"/>
                    <a:pt x="2307125" y="5621517"/>
                  </a:cubicBezTo>
                  <a:cubicBezTo>
                    <a:pt x="2307125" y="5621517"/>
                    <a:pt x="2308665" y="5621517"/>
                    <a:pt x="2308665" y="5619977"/>
                  </a:cubicBezTo>
                  <a:cubicBezTo>
                    <a:pt x="2314055" y="5615357"/>
                    <a:pt x="2320601" y="5611507"/>
                    <a:pt x="2325799" y="5610352"/>
                  </a:cubicBezTo>
                  <a:close/>
                  <a:moveTo>
                    <a:pt x="2071483" y="5585709"/>
                  </a:moveTo>
                  <a:cubicBezTo>
                    <a:pt x="2074949" y="5584554"/>
                    <a:pt x="2077644" y="5585324"/>
                    <a:pt x="2077644" y="5589174"/>
                  </a:cubicBezTo>
                  <a:cubicBezTo>
                    <a:pt x="2076104" y="5599956"/>
                    <a:pt x="2063783" y="5609196"/>
                    <a:pt x="2057622" y="5609196"/>
                  </a:cubicBezTo>
                  <a:cubicBezTo>
                    <a:pt x="2051462" y="5609196"/>
                    <a:pt x="2053002" y="5601496"/>
                    <a:pt x="2060703" y="5593795"/>
                  </a:cubicBezTo>
                  <a:cubicBezTo>
                    <a:pt x="2063783" y="5589945"/>
                    <a:pt x="2068018" y="5586864"/>
                    <a:pt x="2071483" y="5585709"/>
                  </a:cubicBezTo>
                  <a:close/>
                  <a:moveTo>
                    <a:pt x="1809660" y="5559912"/>
                  </a:moveTo>
                  <a:lnTo>
                    <a:pt x="1814280" y="5559912"/>
                  </a:lnTo>
                  <a:lnTo>
                    <a:pt x="1809660" y="5567613"/>
                  </a:lnTo>
                  <a:lnTo>
                    <a:pt x="1803499" y="5567613"/>
                  </a:lnTo>
                  <a:close/>
                  <a:moveTo>
                    <a:pt x="2586659" y="5441899"/>
                  </a:moveTo>
                  <a:cubicBezTo>
                    <a:pt x="2591665" y="5440937"/>
                    <a:pt x="2595130" y="5442862"/>
                    <a:pt x="2595130" y="5449022"/>
                  </a:cubicBezTo>
                  <a:cubicBezTo>
                    <a:pt x="2593590" y="5464423"/>
                    <a:pt x="2573568" y="5481365"/>
                    <a:pt x="2562787" y="5481365"/>
                  </a:cubicBezTo>
                  <a:cubicBezTo>
                    <a:pt x="2553546" y="5481365"/>
                    <a:pt x="2556626" y="5467504"/>
                    <a:pt x="2568948" y="5455183"/>
                  </a:cubicBezTo>
                  <a:cubicBezTo>
                    <a:pt x="2570488" y="5455183"/>
                    <a:pt x="2570488" y="5453642"/>
                    <a:pt x="2568948" y="5452102"/>
                  </a:cubicBezTo>
                  <a:cubicBezTo>
                    <a:pt x="2575109" y="5446712"/>
                    <a:pt x="2581654" y="5442862"/>
                    <a:pt x="2586659" y="5441899"/>
                  </a:cubicBezTo>
                  <a:close/>
                  <a:moveTo>
                    <a:pt x="2344665" y="5407824"/>
                  </a:moveTo>
                  <a:cubicBezTo>
                    <a:pt x="2350633" y="5406284"/>
                    <a:pt x="2354868" y="5408209"/>
                    <a:pt x="2354868" y="5415139"/>
                  </a:cubicBezTo>
                  <a:cubicBezTo>
                    <a:pt x="2353328" y="5430541"/>
                    <a:pt x="2330226" y="5450562"/>
                    <a:pt x="2317905" y="5450562"/>
                  </a:cubicBezTo>
                  <a:cubicBezTo>
                    <a:pt x="2307124" y="5450562"/>
                    <a:pt x="2310204" y="5435161"/>
                    <a:pt x="2324065" y="5421300"/>
                  </a:cubicBezTo>
                  <a:cubicBezTo>
                    <a:pt x="2330996" y="5414370"/>
                    <a:pt x="2338697" y="5409364"/>
                    <a:pt x="2344665" y="5407824"/>
                  </a:cubicBezTo>
                  <a:close/>
                  <a:moveTo>
                    <a:pt x="2087270" y="5380294"/>
                  </a:moveTo>
                  <a:cubicBezTo>
                    <a:pt x="2091506" y="5378947"/>
                    <a:pt x="2094586" y="5379717"/>
                    <a:pt x="2094586" y="5384337"/>
                  </a:cubicBezTo>
                  <a:cubicBezTo>
                    <a:pt x="2093046" y="5396658"/>
                    <a:pt x="2079184" y="5408979"/>
                    <a:pt x="2069944" y="5408979"/>
                  </a:cubicBezTo>
                  <a:cubicBezTo>
                    <a:pt x="2062243" y="5408979"/>
                    <a:pt x="2063783" y="5398198"/>
                    <a:pt x="2073024" y="5388957"/>
                  </a:cubicBezTo>
                  <a:cubicBezTo>
                    <a:pt x="2077645" y="5385107"/>
                    <a:pt x="2083035" y="5381642"/>
                    <a:pt x="2087270" y="5380294"/>
                  </a:cubicBezTo>
                  <a:close/>
                  <a:moveTo>
                    <a:pt x="1822944" y="5354689"/>
                  </a:moveTo>
                  <a:cubicBezTo>
                    <a:pt x="1825062" y="5353919"/>
                    <a:pt x="1826602" y="5354303"/>
                    <a:pt x="1826602" y="5356613"/>
                  </a:cubicBezTo>
                  <a:cubicBezTo>
                    <a:pt x="1826602" y="5362774"/>
                    <a:pt x="1818901" y="5368935"/>
                    <a:pt x="1814281" y="5368935"/>
                  </a:cubicBezTo>
                  <a:cubicBezTo>
                    <a:pt x="1809660" y="5368935"/>
                    <a:pt x="1811200" y="5364314"/>
                    <a:pt x="1815821" y="5359694"/>
                  </a:cubicBezTo>
                  <a:cubicBezTo>
                    <a:pt x="1818131" y="5357384"/>
                    <a:pt x="1820826" y="5355459"/>
                    <a:pt x="1822944" y="5354689"/>
                  </a:cubicBezTo>
                  <a:close/>
                  <a:moveTo>
                    <a:pt x="2604755" y="5243606"/>
                  </a:moveTo>
                  <a:cubicBezTo>
                    <a:pt x="2610531" y="5242259"/>
                    <a:pt x="2614381" y="5244184"/>
                    <a:pt x="2613611" y="5250344"/>
                  </a:cubicBezTo>
                  <a:cubicBezTo>
                    <a:pt x="2612071" y="5267286"/>
                    <a:pt x="2590509" y="5285768"/>
                    <a:pt x="2578188" y="5285768"/>
                  </a:cubicBezTo>
                  <a:cubicBezTo>
                    <a:pt x="2567407" y="5285768"/>
                    <a:pt x="2570487" y="5270366"/>
                    <a:pt x="2584349" y="5256505"/>
                  </a:cubicBezTo>
                  <a:cubicBezTo>
                    <a:pt x="2591280" y="5249574"/>
                    <a:pt x="2598980" y="5244954"/>
                    <a:pt x="2604755" y="5243606"/>
                  </a:cubicBezTo>
                  <a:close/>
                  <a:moveTo>
                    <a:pt x="2358911" y="5204911"/>
                  </a:moveTo>
                  <a:cubicBezTo>
                    <a:pt x="2366034" y="5202986"/>
                    <a:pt x="2371040" y="5204911"/>
                    <a:pt x="2370269" y="5213381"/>
                  </a:cubicBezTo>
                  <a:cubicBezTo>
                    <a:pt x="2368729" y="5231863"/>
                    <a:pt x="2342547" y="5253425"/>
                    <a:pt x="2328686" y="5253425"/>
                  </a:cubicBezTo>
                  <a:cubicBezTo>
                    <a:pt x="2316364" y="5253425"/>
                    <a:pt x="2319445" y="5234943"/>
                    <a:pt x="2334846" y="5219542"/>
                  </a:cubicBezTo>
                  <a:cubicBezTo>
                    <a:pt x="2342547" y="5212612"/>
                    <a:pt x="2351788" y="5206836"/>
                    <a:pt x="2358911" y="5204911"/>
                  </a:cubicBezTo>
                  <a:close/>
                  <a:moveTo>
                    <a:pt x="2098244" y="5176033"/>
                  </a:moveTo>
                  <a:cubicBezTo>
                    <a:pt x="2103442" y="5174493"/>
                    <a:pt x="2107677" y="5175648"/>
                    <a:pt x="2108447" y="5181038"/>
                  </a:cubicBezTo>
                  <a:cubicBezTo>
                    <a:pt x="2106907" y="5194899"/>
                    <a:pt x="2088425" y="5210301"/>
                    <a:pt x="2079184" y="5210301"/>
                  </a:cubicBezTo>
                  <a:cubicBezTo>
                    <a:pt x="2068403" y="5211841"/>
                    <a:pt x="2071484" y="5197980"/>
                    <a:pt x="2082265" y="5187199"/>
                  </a:cubicBezTo>
                  <a:cubicBezTo>
                    <a:pt x="2086886" y="5181809"/>
                    <a:pt x="2093046" y="5177573"/>
                    <a:pt x="2098244" y="5176033"/>
                  </a:cubicBezTo>
                  <a:close/>
                  <a:moveTo>
                    <a:pt x="1831029" y="5148696"/>
                  </a:moveTo>
                  <a:cubicBezTo>
                    <a:pt x="1833917" y="5147926"/>
                    <a:pt x="1835842" y="5148696"/>
                    <a:pt x="1835842" y="5151776"/>
                  </a:cubicBezTo>
                  <a:cubicBezTo>
                    <a:pt x="1835842" y="5159477"/>
                    <a:pt x="1825061" y="5168718"/>
                    <a:pt x="1818901" y="5168718"/>
                  </a:cubicBezTo>
                  <a:cubicBezTo>
                    <a:pt x="1812740" y="5168718"/>
                    <a:pt x="1814280" y="5161017"/>
                    <a:pt x="1820441" y="5154856"/>
                  </a:cubicBezTo>
                  <a:cubicBezTo>
                    <a:pt x="1824291" y="5151776"/>
                    <a:pt x="1828142" y="5149466"/>
                    <a:pt x="1831029" y="5148696"/>
                  </a:cubicBezTo>
                  <a:close/>
                  <a:moveTo>
                    <a:pt x="1555537" y="5124054"/>
                  </a:moveTo>
                  <a:lnTo>
                    <a:pt x="1558617" y="5125594"/>
                  </a:lnTo>
                  <a:lnTo>
                    <a:pt x="1555537" y="5128674"/>
                  </a:lnTo>
                  <a:lnTo>
                    <a:pt x="1552457" y="5128674"/>
                  </a:lnTo>
                  <a:close/>
                  <a:moveTo>
                    <a:pt x="2617847" y="5043966"/>
                  </a:moveTo>
                  <a:cubicBezTo>
                    <a:pt x="2624777" y="5042426"/>
                    <a:pt x="2629783" y="5044736"/>
                    <a:pt x="2629013" y="5053207"/>
                  </a:cubicBezTo>
                  <a:cubicBezTo>
                    <a:pt x="2627473" y="5070149"/>
                    <a:pt x="2602831" y="5091710"/>
                    <a:pt x="2588970" y="5091710"/>
                  </a:cubicBezTo>
                  <a:cubicBezTo>
                    <a:pt x="2576649" y="5090170"/>
                    <a:pt x="2579729" y="5073229"/>
                    <a:pt x="2595130" y="5057827"/>
                  </a:cubicBezTo>
                  <a:cubicBezTo>
                    <a:pt x="2602061" y="5050897"/>
                    <a:pt x="2610916" y="5045506"/>
                    <a:pt x="2617847" y="5043966"/>
                  </a:cubicBezTo>
                  <a:close/>
                  <a:moveTo>
                    <a:pt x="2368345" y="5003538"/>
                  </a:moveTo>
                  <a:cubicBezTo>
                    <a:pt x="2376431" y="5001613"/>
                    <a:pt x="2382591" y="5003923"/>
                    <a:pt x="2382591" y="5013164"/>
                  </a:cubicBezTo>
                  <a:cubicBezTo>
                    <a:pt x="2381051" y="5034725"/>
                    <a:pt x="2351788" y="5056287"/>
                    <a:pt x="2337927" y="5056287"/>
                  </a:cubicBezTo>
                  <a:cubicBezTo>
                    <a:pt x="2322526" y="5054748"/>
                    <a:pt x="2325606" y="5036266"/>
                    <a:pt x="2342548" y="5019324"/>
                  </a:cubicBezTo>
                  <a:cubicBezTo>
                    <a:pt x="2350249" y="5011624"/>
                    <a:pt x="2360259" y="5005463"/>
                    <a:pt x="2368345" y="5003538"/>
                  </a:cubicBezTo>
                  <a:close/>
                  <a:moveTo>
                    <a:pt x="2106136" y="4972157"/>
                  </a:moveTo>
                  <a:cubicBezTo>
                    <a:pt x="2111912" y="4970810"/>
                    <a:pt x="2116147" y="4972350"/>
                    <a:pt x="2116147" y="4977740"/>
                  </a:cubicBezTo>
                  <a:cubicBezTo>
                    <a:pt x="2114607" y="4994681"/>
                    <a:pt x="2094585" y="5010083"/>
                    <a:pt x="2083805" y="5010083"/>
                  </a:cubicBezTo>
                  <a:cubicBezTo>
                    <a:pt x="2073024" y="5010083"/>
                    <a:pt x="2074564" y="4996222"/>
                    <a:pt x="2086885" y="4983901"/>
                  </a:cubicBezTo>
                  <a:cubicBezTo>
                    <a:pt x="2093046" y="4977740"/>
                    <a:pt x="2100361" y="4973505"/>
                    <a:pt x="2106136" y="4972157"/>
                  </a:cubicBezTo>
                  <a:close/>
                  <a:moveTo>
                    <a:pt x="1835842" y="4945205"/>
                  </a:moveTo>
                  <a:cubicBezTo>
                    <a:pt x="1839693" y="4944243"/>
                    <a:pt x="1842773" y="4945398"/>
                    <a:pt x="1843543" y="4950018"/>
                  </a:cubicBezTo>
                  <a:cubicBezTo>
                    <a:pt x="1842003" y="4959259"/>
                    <a:pt x="1829682" y="4970040"/>
                    <a:pt x="1821981" y="4970040"/>
                  </a:cubicBezTo>
                  <a:cubicBezTo>
                    <a:pt x="1814280" y="4970040"/>
                    <a:pt x="1815820" y="4960799"/>
                    <a:pt x="1823521" y="4953098"/>
                  </a:cubicBezTo>
                  <a:cubicBezTo>
                    <a:pt x="1827372" y="4949248"/>
                    <a:pt x="1831992" y="4946168"/>
                    <a:pt x="1835842" y="4945205"/>
                  </a:cubicBezTo>
                  <a:close/>
                  <a:moveTo>
                    <a:pt x="1555537" y="4922296"/>
                  </a:moveTo>
                  <a:lnTo>
                    <a:pt x="1560158" y="4922296"/>
                  </a:lnTo>
                  <a:lnTo>
                    <a:pt x="1555537" y="4929997"/>
                  </a:lnTo>
                  <a:lnTo>
                    <a:pt x="1550917" y="4929997"/>
                  </a:lnTo>
                  <a:close/>
                  <a:moveTo>
                    <a:pt x="2626703" y="4844519"/>
                  </a:moveTo>
                  <a:cubicBezTo>
                    <a:pt x="2634404" y="4842594"/>
                    <a:pt x="2640564" y="4844519"/>
                    <a:pt x="2641334" y="4852989"/>
                  </a:cubicBezTo>
                  <a:cubicBezTo>
                    <a:pt x="2639794" y="4874551"/>
                    <a:pt x="2612072" y="4894573"/>
                    <a:pt x="2598210" y="4894573"/>
                  </a:cubicBezTo>
                  <a:cubicBezTo>
                    <a:pt x="2582809" y="4894573"/>
                    <a:pt x="2585889" y="4876091"/>
                    <a:pt x="2602831" y="4859150"/>
                  </a:cubicBezTo>
                  <a:cubicBezTo>
                    <a:pt x="2609762" y="4852220"/>
                    <a:pt x="2619002" y="4846444"/>
                    <a:pt x="2626703" y="4844519"/>
                  </a:cubicBezTo>
                  <a:close/>
                  <a:moveTo>
                    <a:pt x="2374506" y="4801972"/>
                  </a:moveTo>
                  <a:cubicBezTo>
                    <a:pt x="2382976" y="4800239"/>
                    <a:pt x="2389522" y="4802935"/>
                    <a:pt x="2390292" y="4811405"/>
                  </a:cubicBezTo>
                  <a:cubicBezTo>
                    <a:pt x="2388752" y="4832967"/>
                    <a:pt x="2359489" y="4857609"/>
                    <a:pt x="2342548" y="4857609"/>
                  </a:cubicBezTo>
                  <a:cubicBezTo>
                    <a:pt x="2325606" y="4857609"/>
                    <a:pt x="2328686" y="4837588"/>
                    <a:pt x="2347168" y="4819106"/>
                  </a:cubicBezTo>
                  <a:cubicBezTo>
                    <a:pt x="2355639" y="4809865"/>
                    <a:pt x="2366035" y="4803705"/>
                    <a:pt x="2374506" y="4801972"/>
                  </a:cubicBezTo>
                  <a:close/>
                  <a:moveTo>
                    <a:pt x="2109408" y="4770977"/>
                  </a:moveTo>
                  <a:cubicBezTo>
                    <a:pt x="2116146" y="4769437"/>
                    <a:pt x="2121537" y="4771362"/>
                    <a:pt x="2122307" y="4779062"/>
                  </a:cubicBezTo>
                  <a:cubicBezTo>
                    <a:pt x="2122307" y="4794464"/>
                    <a:pt x="2099205" y="4814486"/>
                    <a:pt x="2085344" y="4814486"/>
                  </a:cubicBezTo>
                  <a:cubicBezTo>
                    <a:pt x="2071483" y="4814486"/>
                    <a:pt x="2074563" y="4799084"/>
                    <a:pt x="2088424" y="4783683"/>
                  </a:cubicBezTo>
                  <a:cubicBezTo>
                    <a:pt x="2094585" y="4777523"/>
                    <a:pt x="2102670" y="4772517"/>
                    <a:pt x="2109408" y="4770977"/>
                  </a:cubicBezTo>
                  <a:close/>
                  <a:moveTo>
                    <a:pt x="1837960" y="4742677"/>
                  </a:moveTo>
                  <a:cubicBezTo>
                    <a:pt x="1842388" y="4741714"/>
                    <a:pt x="1845853" y="4742870"/>
                    <a:pt x="1846623" y="4746720"/>
                  </a:cubicBezTo>
                  <a:cubicBezTo>
                    <a:pt x="1845083" y="4757500"/>
                    <a:pt x="1829681" y="4771361"/>
                    <a:pt x="1820441" y="4771361"/>
                  </a:cubicBezTo>
                  <a:cubicBezTo>
                    <a:pt x="1812740" y="4771361"/>
                    <a:pt x="1814280" y="4762121"/>
                    <a:pt x="1823521" y="4751340"/>
                  </a:cubicBezTo>
                  <a:cubicBezTo>
                    <a:pt x="1828141" y="4746720"/>
                    <a:pt x="1833532" y="4743639"/>
                    <a:pt x="1837960" y="4742677"/>
                  </a:cubicBezTo>
                  <a:close/>
                  <a:moveTo>
                    <a:pt x="1559387" y="4718613"/>
                  </a:moveTo>
                  <a:cubicBezTo>
                    <a:pt x="1561698" y="4717843"/>
                    <a:pt x="1563238" y="4718228"/>
                    <a:pt x="1563238" y="4720538"/>
                  </a:cubicBezTo>
                  <a:cubicBezTo>
                    <a:pt x="1563238" y="4728238"/>
                    <a:pt x="1553997" y="4734399"/>
                    <a:pt x="1549377" y="4734399"/>
                  </a:cubicBezTo>
                  <a:cubicBezTo>
                    <a:pt x="1544756" y="4734399"/>
                    <a:pt x="1546297" y="4728238"/>
                    <a:pt x="1550917" y="4723618"/>
                  </a:cubicBezTo>
                  <a:cubicBezTo>
                    <a:pt x="1553997" y="4721308"/>
                    <a:pt x="1557077" y="4719383"/>
                    <a:pt x="1559387" y="4718613"/>
                  </a:cubicBezTo>
                  <a:close/>
                  <a:moveTo>
                    <a:pt x="2632093" y="4646227"/>
                  </a:moveTo>
                  <a:cubicBezTo>
                    <a:pt x="2640178" y="4644686"/>
                    <a:pt x="2645954" y="4647382"/>
                    <a:pt x="2645954" y="4655852"/>
                  </a:cubicBezTo>
                  <a:cubicBezTo>
                    <a:pt x="2644414" y="4677414"/>
                    <a:pt x="2616691" y="4700516"/>
                    <a:pt x="2599750" y="4700516"/>
                  </a:cubicBezTo>
                  <a:cubicBezTo>
                    <a:pt x="2584349" y="4700516"/>
                    <a:pt x="2585889" y="4680494"/>
                    <a:pt x="2604370" y="4662013"/>
                  </a:cubicBezTo>
                  <a:cubicBezTo>
                    <a:pt x="2613611" y="4653542"/>
                    <a:pt x="2624007" y="4647767"/>
                    <a:pt x="2632093" y="4646227"/>
                  </a:cubicBezTo>
                  <a:close/>
                  <a:moveTo>
                    <a:pt x="2376815" y="4601755"/>
                  </a:moveTo>
                  <a:cubicBezTo>
                    <a:pt x="2386056" y="4600022"/>
                    <a:pt x="2393372" y="4603488"/>
                    <a:pt x="2394912" y="4614268"/>
                  </a:cubicBezTo>
                  <a:cubicBezTo>
                    <a:pt x="2393372" y="4637370"/>
                    <a:pt x="2361029" y="4663552"/>
                    <a:pt x="2342547" y="4663552"/>
                  </a:cubicBezTo>
                  <a:cubicBezTo>
                    <a:pt x="2325606" y="4663552"/>
                    <a:pt x="2327146" y="4640450"/>
                    <a:pt x="2347168" y="4620429"/>
                  </a:cubicBezTo>
                  <a:cubicBezTo>
                    <a:pt x="2356409" y="4610418"/>
                    <a:pt x="2367575" y="4603488"/>
                    <a:pt x="2376815" y="4601755"/>
                  </a:cubicBezTo>
                  <a:close/>
                  <a:moveTo>
                    <a:pt x="2109024" y="4570567"/>
                  </a:moveTo>
                  <a:cubicBezTo>
                    <a:pt x="2116533" y="4568834"/>
                    <a:pt x="2122308" y="4571144"/>
                    <a:pt x="2122308" y="4580385"/>
                  </a:cubicBezTo>
                  <a:cubicBezTo>
                    <a:pt x="2122308" y="4597326"/>
                    <a:pt x="2097666" y="4618888"/>
                    <a:pt x="2082265" y="4618888"/>
                  </a:cubicBezTo>
                  <a:cubicBezTo>
                    <a:pt x="2068403" y="4617348"/>
                    <a:pt x="2069943" y="4600407"/>
                    <a:pt x="2085345" y="4585005"/>
                  </a:cubicBezTo>
                  <a:cubicBezTo>
                    <a:pt x="2092275" y="4578075"/>
                    <a:pt x="2101516" y="4572299"/>
                    <a:pt x="2109024" y="4570567"/>
                  </a:cubicBezTo>
                  <a:close/>
                  <a:moveTo>
                    <a:pt x="1836035" y="4542267"/>
                  </a:moveTo>
                  <a:cubicBezTo>
                    <a:pt x="1841233" y="4541112"/>
                    <a:pt x="1845083" y="4542652"/>
                    <a:pt x="1845083" y="4548042"/>
                  </a:cubicBezTo>
                  <a:cubicBezTo>
                    <a:pt x="1843543" y="4561904"/>
                    <a:pt x="1825061" y="4575765"/>
                    <a:pt x="1815821" y="4575765"/>
                  </a:cubicBezTo>
                  <a:cubicBezTo>
                    <a:pt x="1806580" y="4575765"/>
                    <a:pt x="1808120" y="4563443"/>
                    <a:pt x="1818901" y="4552663"/>
                  </a:cubicBezTo>
                  <a:cubicBezTo>
                    <a:pt x="1824292" y="4547273"/>
                    <a:pt x="1830837" y="4543422"/>
                    <a:pt x="1836035" y="4542267"/>
                  </a:cubicBezTo>
                  <a:close/>
                  <a:moveTo>
                    <a:pt x="1557078" y="4518202"/>
                  </a:moveTo>
                  <a:cubicBezTo>
                    <a:pt x="1560544" y="4517239"/>
                    <a:pt x="1563239" y="4518010"/>
                    <a:pt x="1563239" y="4521860"/>
                  </a:cubicBezTo>
                  <a:cubicBezTo>
                    <a:pt x="1563239" y="4528020"/>
                    <a:pt x="1550917" y="4538802"/>
                    <a:pt x="1544757" y="4538802"/>
                  </a:cubicBezTo>
                  <a:cubicBezTo>
                    <a:pt x="1538596" y="4540341"/>
                    <a:pt x="1538596" y="4532641"/>
                    <a:pt x="1546297" y="4524940"/>
                  </a:cubicBezTo>
                  <a:cubicBezTo>
                    <a:pt x="1549377" y="4521860"/>
                    <a:pt x="1553613" y="4519165"/>
                    <a:pt x="1557078" y="4518202"/>
                  </a:cubicBezTo>
                  <a:close/>
                  <a:moveTo>
                    <a:pt x="1272152" y="4501838"/>
                  </a:moveTo>
                  <a:lnTo>
                    <a:pt x="1275233" y="4501838"/>
                  </a:lnTo>
                  <a:lnTo>
                    <a:pt x="1272152" y="4504918"/>
                  </a:lnTo>
                  <a:lnTo>
                    <a:pt x="1269072" y="4504918"/>
                  </a:lnTo>
                  <a:close/>
                  <a:moveTo>
                    <a:pt x="2632286" y="4448318"/>
                  </a:moveTo>
                  <a:cubicBezTo>
                    <a:pt x="2641334" y="4446778"/>
                    <a:pt x="2648265" y="4450243"/>
                    <a:pt x="2649035" y="4460254"/>
                  </a:cubicBezTo>
                  <a:cubicBezTo>
                    <a:pt x="2647495" y="4484896"/>
                    <a:pt x="2615152" y="4507998"/>
                    <a:pt x="2598210" y="4507998"/>
                  </a:cubicBezTo>
                  <a:cubicBezTo>
                    <a:pt x="2581269" y="4507998"/>
                    <a:pt x="2582809" y="4486436"/>
                    <a:pt x="2602831" y="4466415"/>
                  </a:cubicBezTo>
                  <a:cubicBezTo>
                    <a:pt x="2612071" y="4456404"/>
                    <a:pt x="2623237" y="4449858"/>
                    <a:pt x="2632286" y="4448318"/>
                  </a:cubicBezTo>
                  <a:close/>
                  <a:moveTo>
                    <a:pt x="2374890" y="4404424"/>
                  </a:moveTo>
                  <a:cubicBezTo>
                    <a:pt x="2384901" y="4402499"/>
                    <a:pt x="2392602" y="4405580"/>
                    <a:pt x="2393372" y="4415591"/>
                  </a:cubicBezTo>
                  <a:cubicBezTo>
                    <a:pt x="2391832" y="4440232"/>
                    <a:pt x="2357949" y="4467955"/>
                    <a:pt x="2337927" y="4467955"/>
                  </a:cubicBezTo>
                  <a:cubicBezTo>
                    <a:pt x="2319446" y="4467955"/>
                    <a:pt x="2322526" y="4444853"/>
                    <a:pt x="2342548" y="4423291"/>
                  </a:cubicBezTo>
                  <a:cubicBezTo>
                    <a:pt x="2352559" y="4413280"/>
                    <a:pt x="2364880" y="4406349"/>
                    <a:pt x="2374890" y="4404424"/>
                  </a:cubicBezTo>
                  <a:close/>
                  <a:moveTo>
                    <a:pt x="2106714" y="4372082"/>
                  </a:moveTo>
                  <a:cubicBezTo>
                    <a:pt x="2114993" y="4370541"/>
                    <a:pt x="2121538" y="4373237"/>
                    <a:pt x="2122308" y="4381707"/>
                  </a:cubicBezTo>
                  <a:cubicBezTo>
                    <a:pt x="2122308" y="4401729"/>
                    <a:pt x="2094586" y="4424831"/>
                    <a:pt x="2077644" y="4424831"/>
                  </a:cubicBezTo>
                  <a:cubicBezTo>
                    <a:pt x="2062243" y="4424831"/>
                    <a:pt x="2063783" y="4404809"/>
                    <a:pt x="2080725" y="4387868"/>
                  </a:cubicBezTo>
                  <a:cubicBezTo>
                    <a:pt x="2088425" y="4379397"/>
                    <a:pt x="2098436" y="4373622"/>
                    <a:pt x="2106714" y="4372082"/>
                  </a:cubicBezTo>
                  <a:close/>
                  <a:moveTo>
                    <a:pt x="1832184" y="4343782"/>
                  </a:moveTo>
                  <a:cubicBezTo>
                    <a:pt x="1838152" y="4342435"/>
                    <a:pt x="1842773" y="4343975"/>
                    <a:pt x="1843543" y="4349365"/>
                  </a:cubicBezTo>
                  <a:cubicBezTo>
                    <a:pt x="1843543" y="4363226"/>
                    <a:pt x="1821981" y="4381708"/>
                    <a:pt x="1809660" y="4381708"/>
                  </a:cubicBezTo>
                  <a:cubicBezTo>
                    <a:pt x="1798879" y="4383248"/>
                    <a:pt x="1800419" y="4367847"/>
                    <a:pt x="1812740" y="4355525"/>
                  </a:cubicBezTo>
                  <a:cubicBezTo>
                    <a:pt x="1818900" y="4349365"/>
                    <a:pt x="1826216" y="4345130"/>
                    <a:pt x="1832184" y="4343782"/>
                  </a:cubicBezTo>
                  <a:close/>
                  <a:moveTo>
                    <a:pt x="1552457" y="4321835"/>
                  </a:moveTo>
                  <a:cubicBezTo>
                    <a:pt x="1556308" y="4320872"/>
                    <a:pt x="1559388" y="4321642"/>
                    <a:pt x="1560158" y="4324722"/>
                  </a:cubicBezTo>
                  <a:cubicBezTo>
                    <a:pt x="1560158" y="4333963"/>
                    <a:pt x="1546297" y="4346284"/>
                    <a:pt x="1538596" y="4346284"/>
                  </a:cubicBezTo>
                  <a:cubicBezTo>
                    <a:pt x="1530895" y="4346284"/>
                    <a:pt x="1532435" y="4338584"/>
                    <a:pt x="1540136" y="4329343"/>
                  </a:cubicBezTo>
                  <a:cubicBezTo>
                    <a:pt x="1543987" y="4325493"/>
                    <a:pt x="1548607" y="4322797"/>
                    <a:pt x="1552457" y="4321835"/>
                  </a:cubicBezTo>
                  <a:close/>
                  <a:moveTo>
                    <a:pt x="1265991" y="4306241"/>
                  </a:moveTo>
                  <a:lnTo>
                    <a:pt x="1272152" y="4306241"/>
                  </a:lnTo>
                  <a:lnTo>
                    <a:pt x="1265991" y="4313942"/>
                  </a:lnTo>
                  <a:lnTo>
                    <a:pt x="1259831" y="4313942"/>
                  </a:lnTo>
                  <a:close/>
                  <a:moveTo>
                    <a:pt x="981066" y="4290840"/>
                  </a:moveTo>
                  <a:lnTo>
                    <a:pt x="984146" y="4290840"/>
                  </a:lnTo>
                  <a:lnTo>
                    <a:pt x="981066" y="4293920"/>
                  </a:lnTo>
                  <a:lnTo>
                    <a:pt x="979526" y="4293920"/>
                  </a:lnTo>
                  <a:close/>
                  <a:moveTo>
                    <a:pt x="2629013" y="4253684"/>
                  </a:moveTo>
                  <a:cubicBezTo>
                    <a:pt x="2638253" y="4251951"/>
                    <a:pt x="2645184" y="4255417"/>
                    <a:pt x="2645954" y="4266197"/>
                  </a:cubicBezTo>
                  <a:cubicBezTo>
                    <a:pt x="2645954" y="4290840"/>
                    <a:pt x="2613611" y="4318562"/>
                    <a:pt x="2593589" y="4317022"/>
                  </a:cubicBezTo>
                  <a:cubicBezTo>
                    <a:pt x="2576648" y="4317022"/>
                    <a:pt x="2578188" y="4292380"/>
                    <a:pt x="2598210" y="4272358"/>
                  </a:cubicBezTo>
                  <a:cubicBezTo>
                    <a:pt x="2608221" y="4262347"/>
                    <a:pt x="2619772" y="4255417"/>
                    <a:pt x="2629013" y="4253684"/>
                  </a:cubicBezTo>
                  <a:close/>
                  <a:moveTo>
                    <a:pt x="2369114" y="4207672"/>
                  </a:moveTo>
                  <a:cubicBezTo>
                    <a:pt x="2379895" y="4205362"/>
                    <a:pt x="2388751" y="4208442"/>
                    <a:pt x="2390291" y="4219993"/>
                  </a:cubicBezTo>
                  <a:cubicBezTo>
                    <a:pt x="2388751" y="4247715"/>
                    <a:pt x="2353328" y="4276978"/>
                    <a:pt x="2331766" y="4276978"/>
                  </a:cubicBezTo>
                  <a:cubicBezTo>
                    <a:pt x="2311744" y="4275438"/>
                    <a:pt x="2314824" y="4250796"/>
                    <a:pt x="2336386" y="4227693"/>
                  </a:cubicBezTo>
                  <a:cubicBezTo>
                    <a:pt x="2345627" y="4217683"/>
                    <a:pt x="2358333" y="4209982"/>
                    <a:pt x="2369114" y="4207672"/>
                  </a:cubicBezTo>
                  <a:close/>
                  <a:moveTo>
                    <a:pt x="2100361" y="4175137"/>
                  </a:moveTo>
                  <a:cubicBezTo>
                    <a:pt x="2109601" y="4173019"/>
                    <a:pt x="2116917" y="4175329"/>
                    <a:pt x="2117687" y="4184570"/>
                  </a:cubicBezTo>
                  <a:cubicBezTo>
                    <a:pt x="2116147" y="4206132"/>
                    <a:pt x="2086885" y="4232314"/>
                    <a:pt x="2068403" y="4232314"/>
                  </a:cubicBezTo>
                  <a:cubicBezTo>
                    <a:pt x="2051461" y="4232314"/>
                    <a:pt x="2053002" y="4210752"/>
                    <a:pt x="2071483" y="4192271"/>
                  </a:cubicBezTo>
                  <a:cubicBezTo>
                    <a:pt x="2079954" y="4183800"/>
                    <a:pt x="2091120" y="4177254"/>
                    <a:pt x="2100361" y="4175137"/>
                  </a:cubicBezTo>
                  <a:close/>
                  <a:moveTo>
                    <a:pt x="1824484" y="4148569"/>
                  </a:moveTo>
                  <a:cubicBezTo>
                    <a:pt x="1831222" y="4146837"/>
                    <a:pt x="1836613" y="4148377"/>
                    <a:pt x="1837383" y="4155307"/>
                  </a:cubicBezTo>
                  <a:cubicBezTo>
                    <a:pt x="1837383" y="4172249"/>
                    <a:pt x="1812741" y="4190730"/>
                    <a:pt x="1800420" y="4190730"/>
                  </a:cubicBezTo>
                  <a:cubicBezTo>
                    <a:pt x="1788098" y="4190730"/>
                    <a:pt x="1789639" y="4175329"/>
                    <a:pt x="1803500" y="4161468"/>
                  </a:cubicBezTo>
                  <a:cubicBezTo>
                    <a:pt x="1809660" y="4155308"/>
                    <a:pt x="1817746" y="4150302"/>
                    <a:pt x="1824484" y="4148569"/>
                  </a:cubicBezTo>
                  <a:close/>
                  <a:moveTo>
                    <a:pt x="1546104" y="4126815"/>
                  </a:moveTo>
                  <a:cubicBezTo>
                    <a:pt x="1550917" y="4125275"/>
                    <a:pt x="1554768" y="4126045"/>
                    <a:pt x="1555538" y="4130665"/>
                  </a:cubicBezTo>
                  <a:cubicBezTo>
                    <a:pt x="1555538" y="4142986"/>
                    <a:pt x="1538596" y="4156847"/>
                    <a:pt x="1529355" y="4156847"/>
                  </a:cubicBezTo>
                  <a:cubicBezTo>
                    <a:pt x="1520114" y="4158388"/>
                    <a:pt x="1520114" y="4147606"/>
                    <a:pt x="1530895" y="4136826"/>
                  </a:cubicBezTo>
                  <a:cubicBezTo>
                    <a:pt x="1535515" y="4132206"/>
                    <a:pt x="1541291" y="4128355"/>
                    <a:pt x="1546104" y="4126815"/>
                  </a:cubicBezTo>
                  <a:close/>
                  <a:moveTo>
                    <a:pt x="1262334" y="4111222"/>
                  </a:moveTo>
                  <a:cubicBezTo>
                    <a:pt x="1265222" y="4110259"/>
                    <a:pt x="1267532" y="4110644"/>
                    <a:pt x="1267532" y="4113724"/>
                  </a:cubicBezTo>
                  <a:cubicBezTo>
                    <a:pt x="1267532" y="4119885"/>
                    <a:pt x="1256751" y="4127585"/>
                    <a:pt x="1252131" y="4127585"/>
                  </a:cubicBezTo>
                  <a:cubicBezTo>
                    <a:pt x="1247510" y="4127585"/>
                    <a:pt x="1249050" y="4121425"/>
                    <a:pt x="1253671" y="4116804"/>
                  </a:cubicBezTo>
                  <a:cubicBezTo>
                    <a:pt x="1255981" y="4114494"/>
                    <a:pt x="1259446" y="4112184"/>
                    <a:pt x="1262334" y="4111222"/>
                  </a:cubicBezTo>
                  <a:close/>
                  <a:moveTo>
                    <a:pt x="974906" y="4102943"/>
                  </a:moveTo>
                  <a:lnTo>
                    <a:pt x="976446" y="4102943"/>
                  </a:lnTo>
                  <a:lnTo>
                    <a:pt x="974906" y="4106023"/>
                  </a:lnTo>
                  <a:lnTo>
                    <a:pt x="973366" y="4106023"/>
                  </a:lnTo>
                  <a:close/>
                  <a:moveTo>
                    <a:pt x="2621697" y="4059627"/>
                  </a:moveTo>
                  <a:cubicBezTo>
                    <a:pt x="2632478" y="4057509"/>
                    <a:pt x="2641334" y="4060589"/>
                    <a:pt x="2642874" y="4072140"/>
                  </a:cubicBezTo>
                  <a:cubicBezTo>
                    <a:pt x="2642874" y="4096783"/>
                    <a:pt x="2610531" y="4124505"/>
                    <a:pt x="2588970" y="4126045"/>
                  </a:cubicBezTo>
                  <a:cubicBezTo>
                    <a:pt x="2565867" y="4127585"/>
                    <a:pt x="2565867" y="4101403"/>
                    <a:pt x="2588970" y="4078301"/>
                  </a:cubicBezTo>
                  <a:cubicBezTo>
                    <a:pt x="2598210" y="4069060"/>
                    <a:pt x="2610916" y="4061744"/>
                    <a:pt x="2621697" y="4059627"/>
                  </a:cubicBezTo>
                  <a:close/>
                  <a:moveTo>
                    <a:pt x="2362568" y="4013423"/>
                  </a:moveTo>
                  <a:cubicBezTo>
                    <a:pt x="2374119" y="4011305"/>
                    <a:pt x="2383361" y="4015155"/>
                    <a:pt x="2385671" y="4027476"/>
                  </a:cubicBezTo>
                  <a:cubicBezTo>
                    <a:pt x="2384131" y="4055198"/>
                    <a:pt x="2345627" y="4087541"/>
                    <a:pt x="2322525" y="4087541"/>
                  </a:cubicBezTo>
                  <a:cubicBezTo>
                    <a:pt x="2299423" y="4086001"/>
                    <a:pt x="2302503" y="4059819"/>
                    <a:pt x="2325605" y="4035177"/>
                  </a:cubicBezTo>
                  <a:cubicBezTo>
                    <a:pt x="2337156" y="4023626"/>
                    <a:pt x="2351017" y="4015540"/>
                    <a:pt x="2362568" y="4013423"/>
                  </a:cubicBezTo>
                  <a:close/>
                  <a:moveTo>
                    <a:pt x="2092275" y="3982042"/>
                  </a:moveTo>
                  <a:cubicBezTo>
                    <a:pt x="2101901" y="3980117"/>
                    <a:pt x="2109216" y="3982812"/>
                    <a:pt x="2109986" y="3992053"/>
                  </a:cubicBezTo>
                  <a:cubicBezTo>
                    <a:pt x="2109986" y="4013615"/>
                    <a:pt x="2077643" y="4041337"/>
                    <a:pt x="2057622" y="4041337"/>
                  </a:cubicBezTo>
                  <a:cubicBezTo>
                    <a:pt x="2039140" y="4041337"/>
                    <a:pt x="2040680" y="4019776"/>
                    <a:pt x="2060702" y="3999754"/>
                  </a:cubicBezTo>
                  <a:cubicBezTo>
                    <a:pt x="2070713" y="3990513"/>
                    <a:pt x="2082649" y="3983967"/>
                    <a:pt x="2092275" y="3982042"/>
                  </a:cubicBezTo>
                  <a:close/>
                  <a:moveTo>
                    <a:pt x="1826505" y="3956197"/>
                  </a:moveTo>
                  <a:cubicBezTo>
                    <a:pt x="1829104" y="3957208"/>
                    <a:pt x="1830837" y="3959326"/>
                    <a:pt x="1831222" y="3962791"/>
                  </a:cubicBezTo>
                  <a:cubicBezTo>
                    <a:pt x="1829682" y="3982813"/>
                    <a:pt x="1803500" y="4002834"/>
                    <a:pt x="1789639" y="4002834"/>
                  </a:cubicBezTo>
                  <a:cubicBezTo>
                    <a:pt x="1775777" y="4002834"/>
                    <a:pt x="1777318" y="3985893"/>
                    <a:pt x="1792719" y="3970491"/>
                  </a:cubicBezTo>
                  <a:cubicBezTo>
                    <a:pt x="1803115" y="3960095"/>
                    <a:pt x="1818709" y="3953165"/>
                    <a:pt x="1826505" y="3956197"/>
                  </a:cubicBezTo>
                  <a:close/>
                  <a:moveTo>
                    <a:pt x="1536863" y="3936416"/>
                  </a:moveTo>
                  <a:cubicBezTo>
                    <a:pt x="1542446" y="3935068"/>
                    <a:pt x="1547066" y="3936609"/>
                    <a:pt x="1547836" y="3942769"/>
                  </a:cubicBezTo>
                  <a:cubicBezTo>
                    <a:pt x="1547836" y="3955090"/>
                    <a:pt x="1529355" y="3970491"/>
                    <a:pt x="1518574" y="3970491"/>
                  </a:cubicBezTo>
                  <a:cubicBezTo>
                    <a:pt x="1507793" y="3970491"/>
                    <a:pt x="1509333" y="3958170"/>
                    <a:pt x="1520114" y="3947389"/>
                  </a:cubicBezTo>
                  <a:cubicBezTo>
                    <a:pt x="1524734" y="3941999"/>
                    <a:pt x="1531280" y="3937763"/>
                    <a:pt x="1536863" y="3936416"/>
                  </a:cubicBezTo>
                  <a:close/>
                  <a:moveTo>
                    <a:pt x="1254056" y="3923709"/>
                  </a:moveTo>
                  <a:cubicBezTo>
                    <a:pt x="1257521" y="3922747"/>
                    <a:pt x="1260601" y="3923517"/>
                    <a:pt x="1261371" y="3927367"/>
                  </a:cubicBezTo>
                  <a:cubicBezTo>
                    <a:pt x="1261371" y="3935068"/>
                    <a:pt x="1249050" y="3944308"/>
                    <a:pt x="1242890" y="3944308"/>
                  </a:cubicBezTo>
                  <a:cubicBezTo>
                    <a:pt x="1236729" y="3944308"/>
                    <a:pt x="1238269" y="3936608"/>
                    <a:pt x="1244430" y="3930447"/>
                  </a:cubicBezTo>
                  <a:cubicBezTo>
                    <a:pt x="1246740" y="3927367"/>
                    <a:pt x="1250590" y="3924672"/>
                    <a:pt x="1254056" y="3923709"/>
                  </a:cubicBezTo>
                  <a:close/>
                  <a:moveTo>
                    <a:pt x="967205" y="3918126"/>
                  </a:moveTo>
                  <a:lnTo>
                    <a:pt x="971826" y="3918126"/>
                  </a:lnTo>
                  <a:lnTo>
                    <a:pt x="967205" y="3924287"/>
                  </a:lnTo>
                  <a:lnTo>
                    <a:pt x="962585" y="3924287"/>
                  </a:lnTo>
                  <a:close/>
                  <a:moveTo>
                    <a:pt x="2612071" y="3866725"/>
                  </a:moveTo>
                  <a:cubicBezTo>
                    <a:pt x="2623237" y="3864992"/>
                    <a:pt x="2632093" y="3868842"/>
                    <a:pt x="2633633" y="3879623"/>
                  </a:cubicBezTo>
                  <a:cubicBezTo>
                    <a:pt x="2633633" y="3908886"/>
                    <a:pt x="2596670" y="3939688"/>
                    <a:pt x="2573568" y="3938148"/>
                  </a:cubicBezTo>
                  <a:cubicBezTo>
                    <a:pt x="2552006" y="3938148"/>
                    <a:pt x="2553546" y="3910426"/>
                    <a:pt x="2576648" y="3887324"/>
                  </a:cubicBezTo>
                  <a:cubicBezTo>
                    <a:pt x="2587429" y="3875773"/>
                    <a:pt x="2600905" y="3868457"/>
                    <a:pt x="2612071" y="3866725"/>
                  </a:cubicBezTo>
                  <a:close/>
                  <a:moveTo>
                    <a:pt x="2350632" y="3821868"/>
                  </a:moveTo>
                  <a:cubicBezTo>
                    <a:pt x="2362569" y="3819943"/>
                    <a:pt x="2371810" y="3824178"/>
                    <a:pt x="2373350" y="3836499"/>
                  </a:cubicBezTo>
                  <a:cubicBezTo>
                    <a:pt x="2373350" y="3864222"/>
                    <a:pt x="2333306" y="3898105"/>
                    <a:pt x="2308664" y="3898105"/>
                  </a:cubicBezTo>
                  <a:cubicBezTo>
                    <a:pt x="2285562" y="3898105"/>
                    <a:pt x="2287102" y="3868842"/>
                    <a:pt x="2311744" y="3844200"/>
                  </a:cubicBezTo>
                  <a:cubicBezTo>
                    <a:pt x="2324065" y="3831879"/>
                    <a:pt x="2338696" y="3823793"/>
                    <a:pt x="2350632" y="3821868"/>
                  </a:cubicBezTo>
                  <a:close/>
                  <a:moveTo>
                    <a:pt x="2080339" y="3790680"/>
                  </a:moveTo>
                  <a:cubicBezTo>
                    <a:pt x="2090735" y="3787985"/>
                    <a:pt x="2099206" y="3790295"/>
                    <a:pt x="2100746" y="3801076"/>
                  </a:cubicBezTo>
                  <a:cubicBezTo>
                    <a:pt x="2100746" y="3825718"/>
                    <a:pt x="2066863" y="3854981"/>
                    <a:pt x="2045301" y="3854981"/>
                  </a:cubicBezTo>
                  <a:cubicBezTo>
                    <a:pt x="2026820" y="3854981"/>
                    <a:pt x="2026820" y="3831879"/>
                    <a:pt x="2048382" y="3810317"/>
                  </a:cubicBezTo>
                  <a:cubicBezTo>
                    <a:pt x="2057623" y="3801076"/>
                    <a:pt x="2069944" y="3793375"/>
                    <a:pt x="2080339" y="3790680"/>
                  </a:cubicBezTo>
                  <a:close/>
                  <a:moveTo>
                    <a:pt x="1805617" y="3766616"/>
                  </a:moveTo>
                  <a:cubicBezTo>
                    <a:pt x="1814280" y="3764498"/>
                    <a:pt x="1821211" y="3766423"/>
                    <a:pt x="1821981" y="3774894"/>
                  </a:cubicBezTo>
                  <a:cubicBezTo>
                    <a:pt x="1821981" y="3793376"/>
                    <a:pt x="1794259" y="3818018"/>
                    <a:pt x="1777317" y="3818018"/>
                  </a:cubicBezTo>
                  <a:cubicBezTo>
                    <a:pt x="1760376" y="3818018"/>
                    <a:pt x="1761916" y="3799536"/>
                    <a:pt x="1778857" y="3782595"/>
                  </a:cubicBezTo>
                  <a:cubicBezTo>
                    <a:pt x="1786558" y="3774894"/>
                    <a:pt x="1796954" y="3768733"/>
                    <a:pt x="1805617" y="3766616"/>
                  </a:cubicBezTo>
                  <a:close/>
                  <a:moveTo>
                    <a:pt x="1527430" y="3748711"/>
                  </a:moveTo>
                  <a:cubicBezTo>
                    <a:pt x="1533975" y="3747171"/>
                    <a:pt x="1539366" y="3748712"/>
                    <a:pt x="1540136" y="3754872"/>
                  </a:cubicBezTo>
                  <a:cubicBezTo>
                    <a:pt x="1540136" y="3768733"/>
                    <a:pt x="1518574" y="3787215"/>
                    <a:pt x="1506253" y="3787215"/>
                  </a:cubicBezTo>
                  <a:cubicBezTo>
                    <a:pt x="1493932" y="3788755"/>
                    <a:pt x="1495472" y="3774894"/>
                    <a:pt x="1507793" y="3761033"/>
                  </a:cubicBezTo>
                  <a:cubicBezTo>
                    <a:pt x="1513184" y="3754872"/>
                    <a:pt x="1520884" y="3750252"/>
                    <a:pt x="1527430" y="3748711"/>
                  </a:cubicBezTo>
                  <a:close/>
                  <a:moveTo>
                    <a:pt x="1246355" y="3738508"/>
                  </a:moveTo>
                  <a:cubicBezTo>
                    <a:pt x="1250591" y="3737545"/>
                    <a:pt x="1253671" y="3738701"/>
                    <a:pt x="1253671" y="3742551"/>
                  </a:cubicBezTo>
                  <a:cubicBezTo>
                    <a:pt x="1253671" y="3751791"/>
                    <a:pt x="1236729" y="3764112"/>
                    <a:pt x="1229028" y="3764112"/>
                  </a:cubicBezTo>
                  <a:cubicBezTo>
                    <a:pt x="1222868" y="3764112"/>
                    <a:pt x="1224408" y="3754872"/>
                    <a:pt x="1232109" y="3747171"/>
                  </a:cubicBezTo>
                  <a:cubicBezTo>
                    <a:pt x="1236729" y="3742551"/>
                    <a:pt x="1242120" y="3739470"/>
                    <a:pt x="1246355" y="3738508"/>
                  </a:cubicBezTo>
                  <a:close/>
                  <a:moveTo>
                    <a:pt x="957965" y="3737930"/>
                  </a:moveTo>
                  <a:lnTo>
                    <a:pt x="965665" y="3737930"/>
                  </a:lnTo>
                  <a:lnTo>
                    <a:pt x="959505" y="3747171"/>
                  </a:lnTo>
                  <a:lnTo>
                    <a:pt x="951804" y="3747171"/>
                  </a:lnTo>
                  <a:close/>
                  <a:moveTo>
                    <a:pt x="2598210" y="3677095"/>
                  </a:moveTo>
                  <a:cubicBezTo>
                    <a:pt x="2609761" y="3675170"/>
                    <a:pt x="2619001" y="3679405"/>
                    <a:pt x="2621312" y="3691726"/>
                  </a:cubicBezTo>
                  <a:cubicBezTo>
                    <a:pt x="2622852" y="3720989"/>
                    <a:pt x="2585889" y="3750252"/>
                    <a:pt x="2562787" y="3751792"/>
                  </a:cubicBezTo>
                  <a:cubicBezTo>
                    <a:pt x="2536604" y="3754872"/>
                    <a:pt x="2536604" y="3725609"/>
                    <a:pt x="2561247" y="3699427"/>
                  </a:cubicBezTo>
                  <a:cubicBezTo>
                    <a:pt x="2572798" y="3687106"/>
                    <a:pt x="2586659" y="3679020"/>
                    <a:pt x="2598210" y="3677095"/>
                  </a:cubicBezTo>
                  <a:close/>
                  <a:moveTo>
                    <a:pt x="2336771" y="3632046"/>
                  </a:moveTo>
                  <a:cubicBezTo>
                    <a:pt x="2349478" y="3629736"/>
                    <a:pt x="2359489" y="3633972"/>
                    <a:pt x="2361029" y="3647063"/>
                  </a:cubicBezTo>
                  <a:cubicBezTo>
                    <a:pt x="2362569" y="3677865"/>
                    <a:pt x="2319445" y="3713289"/>
                    <a:pt x="2293263" y="3713289"/>
                  </a:cubicBezTo>
                  <a:cubicBezTo>
                    <a:pt x="2270160" y="3711748"/>
                    <a:pt x="2270160" y="3682486"/>
                    <a:pt x="2296343" y="3656303"/>
                  </a:cubicBezTo>
                  <a:cubicBezTo>
                    <a:pt x="2308664" y="3643212"/>
                    <a:pt x="2324065" y="3634356"/>
                    <a:pt x="2336771" y="3632046"/>
                  </a:cubicBezTo>
                  <a:close/>
                  <a:moveTo>
                    <a:pt x="2066286" y="3603168"/>
                  </a:moveTo>
                  <a:cubicBezTo>
                    <a:pt x="2077644" y="3600473"/>
                    <a:pt x="2086885" y="3603168"/>
                    <a:pt x="2088425" y="3614719"/>
                  </a:cubicBezTo>
                  <a:cubicBezTo>
                    <a:pt x="2088425" y="3640901"/>
                    <a:pt x="2053002" y="3671704"/>
                    <a:pt x="2029900" y="3671704"/>
                  </a:cubicBezTo>
                  <a:cubicBezTo>
                    <a:pt x="2008338" y="3671704"/>
                    <a:pt x="2009878" y="3647062"/>
                    <a:pt x="2031440" y="3623960"/>
                  </a:cubicBezTo>
                  <a:cubicBezTo>
                    <a:pt x="2041451" y="3613949"/>
                    <a:pt x="2054927" y="3605863"/>
                    <a:pt x="2066286" y="3603168"/>
                  </a:cubicBezTo>
                  <a:close/>
                  <a:moveTo>
                    <a:pt x="1792719" y="3580644"/>
                  </a:moveTo>
                  <a:cubicBezTo>
                    <a:pt x="1801959" y="3578526"/>
                    <a:pt x="1809660" y="3580836"/>
                    <a:pt x="1811200" y="3590077"/>
                  </a:cubicBezTo>
                  <a:cubicBezTo>
                    <a:pt x="1811200" y="3610098"/>
                    <a:pt x="1781938" y="3636281"/>
                    <a:pt x="1763456" y="3636281"/>
                  </a:cubicBezTo>
                  <a:cubicBezTo>
                    <a:pt x="1744975" y="3636281"/>
                    <a:pt x="1746515" y="3616259"/>
                    <a:pt x="1764996" y="3597778"/>
                  </a:cubicBezTo>
                  <a:cubicBezTo>
                    <a:pt x="1772697" y="3589307"/>
                    <a:pt x="1783478" y="3582761"/>
                    <a:pt x="1792719" y="3580644"/>
                  </a:cubicBezTo>
                  <a:close/>
                  <a:moveTo>
                    <a:pt x="669959" y="3570055"/>
                  </a:moveTo>
                  <a:lnTo>
                    <a:pt x="673039" y="3570055"/>
                  </a:lnTo>
                  <a:lnTo>
                    <a:pt x="669959" y="3573135"/>
                  </a:lnTo>
                  <a:lnTo>
                    <a:pt x="668419" y="3573135"/>
                  </a:lnTo>
                  <a:close/>
                  <a:moveTo>
                    <a:pt x="1516456" y="3564473"/>
                  </a:moveTo>
                  <a:cubicBezTo>
                    <a:pt x="1523579" y="3562740"/>
                    <a:pt x="1529355" y="3564666"/>
                    <a:pt x="1530895" y="3571596"/>
                  </a:cubicBezTo>
                  <a:cubicBezTo>
                    <a:pt x="1530895" y="3588537"/>
                    <a:pt x="1507793" y="3607019"/>
                    <a:pt x="1492392" y="3608559"/>
                  </a:cubicBezTo>
                  <a:cubicBezTo>
                    <a:pt x="1478531" y="3610099"/>
                    <a:pt x="1478531" y="3594698"/>
                    <a:pt x="1493932" y="3579296"/>
                  </a:cubicBezTo>
                  <a:cubicBezTo>
                    <a:pt x="1500863" y="3571596"/>
                    <a:pt x="1509333" y="3566205"/>
                    <a:pt x="1516456" y="3564473"/>
                  </a:cubicBezTo>
                  <a:close/>
                  <a:moveTo>
                    <a:pt x="953729" y="3559852"/>
                  </a:moveTo>
                  <a:cubicBezTo>
                    <a:pt x="956424" y="3559274"/>
                    <a:pt x="958734" y="3560045"/>
                    <a:pt x="959504" y="3562355"/>
                  </a:cubicBezTo>
                  <a:cubicBezTo>
                    <a:pt x="959504" y="3568515"/>
                    <a:pt x="948723" y="3576216"/>
                    <a:pt x="944103" y="3576216"/>
                  </a:cubicBezTo>
                  <a:cubicBezTo>
                    <a:pt x="939482" y="3576216"/>
                    <a:pt x="941022" y="3570055"/>
                    <a:pt x="945643" y="3565435"/>
                  </a:cubicBezTo>
                  <a:cubicBezTo>
                    <a:pt x="947953" y="3562355"/>
                    <a:pt x="951033" y="3560429"/>
                    <a:pt x="953729" y="3559852"/>
                  </a:cubicBezTo>
                  <a:close/>
                  <a:moveTo>
                    <a:pt x="1235574" y="3558696"/>
                  </a:moveTo>
                  <a:cubicBezTo>
                    <a:pt x="1240580" y="3557349"/>
                    <a:pt x="1244430" y="3558504"/>
                    <a:pt x="1244430" y="3563894"/>
                  </a:cubicBezTo>
                  <a:cubicBezTo>
                    <a:pt x="1244430" y="3574675"/>
                    <a:pt x="1225948" y="3588537"/>
                    <a:pt x="1216708" y="3588537"/>
                  </a:cubicBezTo>
                  <a:cubicBezTo>
                    <a:pt x="1209007" y="3586996"/>
                    <a:pt x="1210547" y="3577756"/>
                    <a:pt x="1219788" y="3568515"/>
                  </a:cubicBezTo>
                  <a:cubicBezTo>
                    <a:pt x="1224409" y="3563895"/>
                    <a:pt x="1230569" y="3560044"/>
                    <a:pt x="1235574" y="3558696"/>
                  </a:cubicBezTo>
                  <a:close/>
                  <a:moveTo>
                    <a:pt x="2581269" y="3489584"/>
                  </a:moveTo>
                  <a:cubicBezTo>
                    <a:pt x="2593590" y="3487659"/>
                    <a:pt x="2603601" y="3492279"/>
                    <a:pt x="2605911" y="3505370"/>
                  </a:cubicBezTo>
                  <a:cubicBezTo>
                    <a:pt x="2607451" y="3536173"/>
                    <a:pt x="2568948" y="3566976"/>
                    <a:pt x="2544306" y="3568516"/>
                  </a:cubicBezTo>
                  <a:cubicBezTo>
                    <a:pt x="2516583" y="3571596"/>
                    <a:pt x="2516583" y="3540793"/>
                    <a:pt x="2542766" y="3513071"/>
                  </a:cubicBezTo>
                  <a:cubicBezTo>
                    <a:pt x="2554317" y="3499980"/>
                    <a:pt x="2568948" y="3491509"/>
                    <a:pt x="2581269" y="3489584"/>
                  </a:cubicBezTo>
                  <a:close/>
                  <a:moveTo>
                    <a:pt x="2318675" y="3446653"/>
                  </a:moveTo>
                  <a:cubicBezTo>
                    <a:pt x="2332152" y="3443765"/>
                    <a:pt x="2343317" y="3447615"/>
                    <a:pt x="2345628" y="3462246"/>
                  </a:cubicBezTo>
                  <a:cubicBezTo>
                    <a:pt x="2347168" y="3493049"/>
                    <a:pt x="2304044" y="3530012"/>
                    <a:pt x="2276322" y="3530012"/>
                  </a:cubicBezTo>
                  <a:cubicBezTo>
                    <a:pt x="2250139" y="3530012"/>
                    <a:pt x="2251679" y="3499209"/>
                    <a:pt x="2277862" y="3471486"/>
                  </a:cubicBezTo>
                  <a:cubicBezTo>
                    <a:pt x="2289413" y="3459166"/>
                    <a:pt x="2305199" y="3449540"/>
                    <a:pt x="2318675" y="3446653"/>
                  </a:cubicBezTo>
                  <a:close/>
                  <a:moveTo>
                    <a:pt x="2050306" y="3418738"/>
                  </a:moveTo>
                  <a:cubicBezTo>
                    <a:pt x="2062242" y="3416042"/>
                    <a:pt x="2072253" y="3419123"/>
                    <a:pt x="2074563" y="3431445"/>
                  </a:cubicBezTo>
                  <a:cubicBezTo>
                    <a:pt x="2076103" y="3459166"/>
                    <a:pt x="2037600" y="3491509"/>
                    <a:pt x="2012958" y="3491509"/>
                  </a:cubicBezTo>
                  <a:cubicBezTo>
                    <a:pt x="1989856" y="3491509"/>
                    <a:pt x="1991396" y="3465327"/>
                    <a:pt x="2014498" y="3440685"/>
                  </a:cubicBezTo>
                  <a:cubicBezTo>
                    <a:pt x="2024509" y="3429904"/>
                    <a:pt x="2038370" y="3421433"/>
                    <a:pt x="2050306" y="3418738"/>
                  </a:cubicBezTo>
                  <a:close/>
                  <a:moveTo>
                    <a:pt x="668419" y="3403722"/>
                  </a:moveTo>
                  <a:lnTo>
                    <a:pt x="663798" y="3409882"/>
                  </a:lnTo>
                  <a:lnTo>
                    <a:pt x="659178" y="3409882"/>
                  </a:lnTo>
                  <a:lnTo>
                    <a:pt x="663798" y="3405262"/>
                  </a:lnTo>
                  <a:close/>
                  <a:moveTo>
                    <a:pt x="1791371" y="3398091"/>
                  </a:moveTo>
                  <a:cubicBezTo>
                    <a:pt x="1795029" y="3399390"/>
                    <a:pt x="1797724" y="3402182"/>
                    <a:pt x="1798879" y="3406802"/>
                  </a:cubicBezTo>
                  <a:cubicBezTo>
                    <a:pt x="1798879" y="3429904"/>
                    <a:pt x="1766536" y="3457626"/>
                    <a:pt x="1746515" y="3457626"/>
                  </a:cubicBezTo>
                  <a:cubicBezTo>
                    <a:pt x="1728033" y="3459166"/>
                    <a:pt x="1728033" y="3437604"/>
                    <a:pt x="1748055" y="3417583"/>
                  </a:cubicBezTo>
                  <a:cubicBezTo>
                    <a:pt x="1760761" y="3403722"/>
                    <a:pt x="1780398" y="3394193"/>
                    <a:pt x="1791371" y="3398091"/>
                  </a:cubicBezTo>
                  <a:close/>
                  <a:moveTo>
                    <a:pt x="946413" y="3388513"/>
                  </a:moveTo>
                  <a:cubicBezTo>
                    <a:pt x="949879" y="3387550"/>
                    <a:pt x="952574" y="3388319"/>
                    <a:pt x="953344" y="3391400"/>
                  </a:cubicBezTo>
                  <a:cubicBezTo>
                    <a:pt x="953344" y="3400642"/>
                    <a:pt x="939483" y="3409882"/>
                    <a:pt x="933322" y="3409882"/>
                  </a:cubicBezTo>
                  <a:cubicBezTo>
                    <a:pt x="927161" y="3409882"/>
                    <a:pt x="927161" y="3402181"/>
                    <a:pt x="934862" y="3396021"/>
                  </a:cubicBezTo>
                  <a:cubicBezTo>
                    <a:pt x="938713" y="3392170"/>
                    <a:pt x="942948" y="3389476"/>
                    <a:pt x="946413" y="3388513"/>
                  </a:cubicBezTo>
                  <a:close/>
                  <a:moveTo>
                    <a:pt x="1512967" y="3385722"/>
                  </a:moveTo>
                  <a:cubicBezTo>
                    <a:pt x="1515783" y="3386781"/>
                    <a:pt x="1517804" y="3389091"/>
                    <a:pt x="1518574" y="3392941"/>
                  </a:cubicBezTo>
                  <a:cubicBezTo>
                    <a:pt x="1518574" y="3409882"/>
                    <a:pt x="1492392" y="3431443"/>
                    <a:pt x="1476991" y="3432983"/>
                  </a:cubicBezTo>
                  <a:cubicBezTo>
                    <a:pt x="1461589" y="3434524"/>
                    <a:pt x="1463130" y="3417583"/>
                    <a:pt x="1478531" y="3402182"/>
                  </a:cubicBezTo>
                  <a:cubicBezTo>
                    <a:pt x="1488927" y="3390630"/>
                    <a:pt x="1504521" y="3382546"/>
                    <a:pt x="1512967" y="3385722"/>
                  </a:cubicBezTo>
                  <a:close/>
                  <a:moveTo>
                    <a:pt x="1225564" y="3382738"/>
                  </a:moveTo>
                  <a:cubicBezTo>
                    <a:pt x="1231339" y="3381005"/>
                    <a:pt x="1235960" y="3382159"/>
                    <a:pt x="1236730" y="3388319"/>
                  </a:cubicBezTo>
                  <a:cubicBezTo>
                    <a:pt x="1236730" y="3400642"/>
                    <a:pt x="1215168" y="3417583"/>
                    <a:pt x="1204387" y="3417583"/>
                  </a:cubicBezTo>
                  <a:cubicBezTo>
                    <a:pt x="1195146" y="3416042"/>
                    <a:pt x="1196686" y="3405262"/>
                    <a:pt x="1207467" y="3394481"/>
                  </a:cubicBezTo>
                  <a:cubicBezTo>
                    <a:pt x="1212858" y="3389091"/>
                    <a:pt x="1219788" y="3384470"/>
                    <a:pt x="1225564" y="3382738"/>
                  </a:cubicBezTo>
                  <a:close/>
                  <a:moveTo>
                    <a:pt x="2559707" y="3305346"/>
                  </a:moveTo>
                  <a:cubicBezTo>
                    <a:pt x="2572798" y="3302844"/>
                    <a:pt x="2583579" y="3306694"/>
                    <a:pt x="2585889" y="3320554"/>
                  </a:cubicBezTo>
                  <a:cubicBezTo>
                    <a:pt x="2588970" y="3352898"/>
                    <a:pt x="2547386" y="3385240"/>
                    <a:pt x="2522744" y="3386780"/>
                  </a:cubicBezTo>
                  <a:cubicBezTo>
                    <a:pt x="2495021" y="3388319"/>
                    <a:pt x="2493481" y="3355977"/>
                    <a:pt x="2519663" y="3328255"/>
                  </a:cubicBezTo>
                  <a:cubicBezTo>
                    <a:pt x="2531214" y="3316704"/>
                    <a:pt x="2546615" y="3307849"/>
                    <a:pt x="2559707" y="3305346"/>
                  </a:cubicBezTo>
                  <a:close/>
                  <a:moveTo>
                    <a:pt x="2299808" y="3262992"/>
                  </a:moveTo>
                  <a:cubicBezTo>
                    <a:pt x="2313669" y="3260489"/>
                    <a:pt x="2324835" y="3265110"/>
                    <a:pt x="2327146" y="3278971"/>
                  </a:cubicBezTo>
                  <a:cubicBezTo>
                    <a:pt x="2328686" y="3312853"/>
                    <a:pt x="2284022" y="3351358"/>
                    <a:pt x="2254759" y="3351358"/>
                  </a:cubicBezTo>
                  <a:cubicBezTo>
                    <a:pt x="2228577" y="3351358"/>
                    <a:pt x="2228577" y="3319014"/>
                    <a:pt x="2256300" y="3289751"/>
                  </a:cubicBezTo>
                  <a:cubicBezTo>
                    <a:pt x="2269391" y="3275121"/>
                    <a:pt x="2285947" y="3265495"/>
                    <a:pt x="2299808" y="3262992"/>
                  </a:cubicBezTo>
                  <a:close/>
                  <a:moveTo>
                    <a:pt x="661681" y="3241622"/>
                  </a:moveTo>
                  <a:cubicBezTo>
                    <a:pt x="663799" y="3240853"/>
                    <a:pt x="665339" y="3241238"/>
                    <a:pt x="665339" y="3243549"/>
                  </a:cubicBezTo>
                  <a:cubicBezTo>
                    <a:pt x="665339" y="3246629"/>
                    <a:pt x="657638" y="3254330"/>
                    <a:pt x="653018" y="3254330"/>
                  </a:cubicBezTo>
                  <a:cubicBezTo>
                    <a:pt x="649937" y="3254330"/>
                    <a:pt x="649937" y="3251248"/>
                    <a:pt x="654558" y="3246629"/>
                  </a:cubicBezTo>
                  <a:cubicBezTo>
                    <a:pt x="656868" y="3244319"/>
                    <a:pt x="659563" y="3242393"/>
                    <a:pt x="661681" y="3241622"/>
                  </a:cubicBezTo>
                  <a:close/>
                  <a:moveTo>
                    <a:pt x="2031825" y="3237772"/>
                  </a:moveTo>
                  <a:cubicBezTo>
                    <a:pt x="2044146" y="3234693"/>
                    <a:pt x="2054542" y="3237387"/>
                    <a:pt x="2057623" y="3249709"/>
                  </a:cubicBezTo>
                  <a:cubicBezTo>
                    <a:pt x="2057623" y="3280511"/>
                    <a:pt x="2016039" y="3312855"/>
                    <a:pt x="1992937" y="3312855"/>
                  </a:cubicBezTo>
                  <a:cubicBezTo>
                    <a:pt x="1969835" y="3312855"/>
                    <a:pt x="1969835" y="3285132"/>
                    <a:pt x="1994477" y="3260490"/>
                  </a:cubicBezTo>
                  <a:cubicBezTo>
                    <a:pt x="2005258" y="3249709"/>
                    <a:pt x="2019504" y="3240853"/>
                    <a:pt x="2031825" y="3237772"/>
                  </a:cubicBezTo>
                  <a:close/>
                  <a:moveTo>
                    <a:pt x="936980" y="3222371"/>
                  </a:moveTo>
                  <a:cubicBezTo>
                    <a:pt x="941023" y="3220832"/>
                    <a:pt x="944103" y="3221217"/>
                    <a:pt x="944103" y="3225067"/>
                  </a:cubicBezTo>
                  <a:cubicBezTo>
                    <a:pt x="944103" y="3234308"/>
                    <a:pt x="928702" y="3246629"/>
                    <a:pt x="921001" y="3246629"/>
                  </a:cubicBezTo>
                  <a:cubicBezTo>
                    <a:pt x="914841" y="3246629"/>
                    <a:pt x="916381" y="3238928"/>
                    <a:pt x="924082" y="3231228"/>
                  </a:cubicBezTo>
                  <a:cubicBezTo>
                    <a:pt x="927932" y="3227377"/>
                    <a:pt x="932937" y="3223911"/>
                    <a:pt x="936980" y="3222371"/>
                  </a:cubicBezTo>
                  <a:close/>
                  <a:moveTo>
                    <a:pt x="1761530" y="3220832"/>
                  </a:moveTo>
                  <a:cubicBezTo>
                    <a:pt x="1771926" y="3218137"/>
                    <a:pt x="1780397" y="3220447"/>
                    <a:pt x="1781937" y="3231228"/>
                  </a:cubicBezTo>
                  <a:cubicBezTo>
                    <a:pt x="1783477" y="3255870"/>
                    <a:pt x="1748054" y="3282052"/>
                    <a:pt x="1728032" y="3283592"/>
                  </a:cubicBezTo>
                  <a:cubicBezTo>
                    <a:pt x="1708011" y="3283592"/>
                    <a:pt x="1709551" y="3262030"/>
                    <a:pt x="1729573" y="3240468"/>
                  </a:cubicBezTo>
                  <a:cubicBezTo>
                    <a:pt x="1738814" y="3231228"/>
                    <a:pt x="1751134" y="3223527"/>
                    <a:pt x="1761530" y="3220832"/>
                  </a:cubicBezTo>
                  <a:close/>
                  <a:moveTo>
                    <a:pt x="1214013" y="3211783"/>
                  </a:moveTo>
                  <a:cubicBezTo>
                    <a:pt x="1220559" y="3209666"/>
                    <a:pt x="1225949" y="3210435"/>
                    <a:pt x="1227489" y="3215826"/>
                  </a:cubicBezTo>
                  <a:cubicBezTo>
                    <a:pt x="1227489" y="3231227"/>
                    <a:pt x="1202847" y="3249709"/>
                    <a:pt x="1190526" y="3249709"/>
                  </a:cubicBezTo>
                  <a:cubicBezTo>
                    <a:pt x="1179745" y="3249709"/>
                    <a:pt x="1181285" y="3237387"/>
                    <a:pt x="1193606" y="3225066"/>
                  </a:cubicBezTo>
                  <a:cubicBezTo>
                    <a:pt x="1199767" y="3218906"/>
                    <a:pt x="1207467" y="3213901"/>
                    <a:pt x="1214013" y="3211783"/>
                  </a:cubicBezTo>
                  <a:close/>
                  <a:moveTo>
                    <a:pt x="1499515" y="3211686"/>
                  </a:moveTo>
                  <a:cubicBezTo>
                    <a:pt x="1502691" y="3212745"/>
                    <a:pt x="1505098" y="3215056"/>
                    <a:pt x="1506253" y="3218906"/>
                  </a:cubicBezTo>
                  <a:cubicBezTo>
                    <a:pt x="1506253" y="3238928"/>
                    <a:pt x="1476990" y="3262029"/>
                    <a:pt x="1460049" y="3262029"/>
                  </a:cubicBezTo>
                  <a:cubicBezTo>
                    <a:pt x="1446187" y="3260490"/>
                    <a:pt x="1447728" y="3243548"/>
                    <a:pt x="1463129" y="3228146"/>
                  </a:cubicBezTo>
                  <a:cubicBezTo>
                    <a:pt x="1473525" y="3216595"/>
                    <a:pt x="1489985" y="3208510"/>
                    <a:pt x="1499515" y="3211686"/>
                  </a:cubicBezTo>
                  <a:close/>
                  <a:moveTo>
                    <a:pt x="2537952" y="3122455"/>
                  </a:moveTo>
                  <a:cubicBezTo>
                    <a:pt x="2551621" y="3120337"/>
                    <a:pt x="2562787" y="3124957"/>
                    <a:pt x="2565867" y="3138819"/>
                  </a:cubicBezTo>
                  <a:cubicBezTo>
                    <a:pt x="2567407" y="3169621"/>
                    <a:pt x="2528903" y="3206585"/>
                    <a:pt x="2499641" y="3208125"/>
                  </a:cubicBezTo>
                  <a:cubicBezTo>
                    <a:pt x="2468838" y="3209664"/>
                    <a:pt x="2467298" y="3175782"/>
                    <a:pt x="2495021" y="3146519"/>
                  </a:cubicBezTo>
                  <a:cubicBezTo>
                    <a:pt x="2508112" y="3133428"/>
                    <a:pt x="2524283" y="3124572"/>
                    <a:pt x="2537952" y="3122455"/>
                  </a:cubicBezTo>
                  <a:close/>
                  <a:moveTo>
                    <a:pt x="657638" y="3086261"/>
                  </a:moveTo>
                  <a:cubicBezTo>
                    <a:pt x="660333" y="3085299"/>
                    <a:pt x="662258" y="3085684"/>
                    <a:pt x="662258" y="3087995"/>
                  </a:cubicBezTo>
                  <a:cubicBezTo>
                    <a:pt x="662258" y="3094155"/>
                    <a:pt x="649937" y="3103396"/>
                    <a:pt x="645317" y="3103396"/>
                  </a:cubicBezTo>
                  <a:cubicBezTo>
                    <a:pt x="642236" y="3103396"/>
                    <a:pt x="643776" y="3097236"/>
                    <a:pt x="648397" y="3092615"/>
                  </a:cubicBezTo>
                  <a:cubicBezTo>
                    <a:pt x="651477" y="3089534"/>
                    <a:pt x="654942" y="3087224"/>
                    <a:pt x="657638" y="3086261"/>
                  </a:cubicBezTo>
                  <a:close/>
                  <a:moveTo>
                    <a:pt x="2277862" y="3082219"/>
                  </a:moveTo>
                  <a:cubicBezTo>
                    <a:pt x="2292493" y="3079523"/>
                    <a:pt x="2304814" y="3084144"/>
                    <a:pt x="2308664" y="3098775"/>
                  </a:cubicBezTo>
                  <a:cubicBezTo>
                    <a:pt x="2311745" y="3135739"/>
                    <a:pt x="2262460" y="3174242"/>
                    <a:pt x="2233198" y="3174242"/>
                  </a:cubicBezTo>
                  <a:cubicBezTo>
                    <a:pt x="2203935" y="3172701"/>
                    <a:pt x="2203935" y="3140359"/>
                    <a:pt x="2233198" y="3109556"/>
                  </a:cubicBezTo>
                  <a:cubicBezTo>
                    <a:pt x="2246289" y="3094925"/>
                    <a:pt x="2263231" y="3084914"/>
                    <a:pt x="2277862" y="3082219"/>
                  </a:cubicBezTo>
                  <a:close/>
                  <a:moveTo>
                    <a:pt x="930050" y="3060849"/>
                  </a:moveTo>
                  <a:cubicBezTo>
                    <a:pt x="934863" y="3059117"/>
                    <a:pt x="938713" y="3059501"/>
                    <a:pt x="939483" y="3063352"/>
                  </a:cubicBezTo>
                  <a:cubicBezTo>
                    <a:pt x="939483" y="3074132"/>
                    <a:pt x="922542" y="3089535"/>
                    <a:pt x="911761" y="3089535"/>
                  </a:cubicBezTo>
                  <a:cubicBezTo>
                    <a:pt x="904060" y="3089535"/>
                    <a:pt x="905600" y="3080294"/>
                    <a:pt x="914841" y="3071053"/>
                  </a:cubicBezTo>
                  <a:cubicBezTo>
                    <a:pt x="919462" y="3066432"/>
                    <a:pt x="925237" y="3062582"/>
                    <a:pt x="930050" y="3060849"/>
                  </a:cubicBezTo>
                  <a:close/>
                  <a:moveTo>
                    <a:pt x="2011803" y="3060465"/>
                  </a:moveTo>
                  <a:cubicBezTo>
                    <a:pt x="2024894" y="3057192"/>
                    <a:pt x="2036060" y="3060272"/>
                    <a:pt x="2039140" y="3074132"/>
                  </a:cubicBezTo>
                  <a:cubicBezTo>
                    <a:pt x="2040681" y="3101855"/>
                    <a:pt x="1999097" y="3138819"/>
                    <a:pt x="1972915" y="3138819"/>
                  </a:cubicBezTo>
                  <a:cubicBezTo>
                    <a:pt x="1948272" y="3138819"/>
                    <a:pt x="1948272" y="3111096"/>
                    <a:pt x="1972915" y="3084914"/>
                  </a:cubicBezTo>
                  <a:cubicBezTo>
                    <a:pt x="1983696" y="3073363"/>
                    <a:pt x="1998712" y="3063738"/>
                    <a:pt x="2011803" y="3060465"/>
                  </a:cubicBezTo>
                  <a:close/>
                  <a:moveTo>
                    <a:pt x="1210715" y="3045544"/>
                  </a:moveTo>
                  <a:cubicBezTo>
                    <a:pt x="1213146" y="3046218"/>
                    <a:pt x="1214782" y="3047951"/>
                    <a:pt x="1215167" y="3051031"/>
                  </a:cubicBezTo>
                  <a:cubicBezTo>
                    <a:pt x="1215167" y="3066433"/>
                    <a:pt x="1190525" y="3086454"/>
                    <a:pt x="1176664" y="3086454"/>
                  </a:cubicBezTo>
                  <a:cubicBezTo>
                    <a:pt x="1164342" y="3086454"/>
                    <a:pt x="1165883" y="3074132"/>
                    <a:pt x="1179744" y="3060272"/>
                  </a:cubicBezTo>
                  <a:cubicBezTo>
                    <a:pt x="1188985" y="3051031"/>
                    <a:pt x="1203424" y="3043523"/>
                    <a:pt x="1210715" y="3045544"/>
                  </a:cubicBezTo>
                  <a:close/>
                  <a:moveTo>
                    <a:pt x="1758066" y="3045207"/>
                  </a:moveTo>
                  <a:cubicBezTo>
                    <a:pt x="1761723" y="3046603"/>
                    <a:pt x="1764226" y="3049491"/>
                    <a:pt x="1764996" y="3054111"/>
                  </a:cubicBezTo>
                  <a:cubicBezTo>
                    <a:pt x="1766536" y="3078753"/>
                    <a:pt x="1731113" y="3109556"/>
                    <a:pt x="1708011" y="3111096"/>
                  </a:cubicBezTo>
                  <a:cubicBezTo>
                    <a:pt x="1686449" y="3112637"/>
                    <a:pt x="1687989" y="3089535"/>
                    <a:pt x="1709551" y="3066432"/>
                  </a:cubicBezTo>
                  <a:cubicBezTo>
                    <a:pt x="1725722" y="3050260"/>
                    <a:pt x="1747092" y="3041020"/>
                    <a:pt x="1758066" y="3045207"/>
                  </a:cubicBezTo>
                  <a:close/>
                  <a:moveTo>
                    <a:pt x="1486039" y="3040322"/>
                  </a:moveTo>
                  <a:cubicBezTo>
                    <a:pt x="1489312" y="3041310"/>
                    <a:pt x="1491622" y="3043715"/>
                    <a:pt x="1492392" y="3047951"/>
                  </a:cubicBezTo>
                  <a:cubicBezTo>
                    <a:pt x="1492392" y="3067973"/>
                    <a:pt x="1460049" y="3094155"/>
                    <a:pt x="1441567" y="3094155"/>
                  </a:cubicBezTo>
                  <a:cubicBezTo>
                    <a:pt x="1427706" y="3094155"/>
                    <a:pt x="1429246" y="3075674"/>
                    <a:pt x="1446188" y="3058732"/>
                  </a:cubicBezTo>
                  <a:cubicBezTo>
                    <a:pt x="1457739" y="3047181"/>
                    <a:pt x="1476221" y="3037363"/>
                    <a:pt x="1486039" y="3040322"/>
                  </a:cubicBezTo>
                  <a:close/>
                  <a:moveTo>
                    <a:pt x="389654" y="2981725"/>
                  </a:moveTo>
                  <a:lnTo>
                    <a:pt x="385033" y="2987885"/>
                  </a:lnTo>
                  <a:lnTo>
                    <a:pt x="380413" y="2987885"/>
                  </a:lnTo>
                  <a:lnTo>
                    <a:pt x="385033" y="2983265"/>
                  </a:lnTo>
                  <a:close/>
                  <a:moveTo>
                    <a:pt x="2511192" y="2941685"/>
                  </a:moveTo>
                  <a:cubicBezTo>
                    <a:pt x="2525439" y="2938990"/>
                    <a:pt x="2537375" y="2943225"/>
                    <a:pt x="2541225" y="2957086"/>
                  </a:cubicBezTo>
                  <a:cubicBezTo>
                    <a:pt x="2544305" y="2992507"/>
                    <a:pt x="2501181" y="3029469"/>
                    <a:pt x="2473459" y="3031009"/>
                  </a:cubicBezTo>
                  <a:cubicBezTo>
                    <a:pt x="2441116" y="3034091"/>
                    <a:pt x="2438036" y="2998668"/>
                    <a:pt x="2467298" y="2967866"/>
                  </a:cubicBezTo>
                  <a:cubicBezTo>
                    <a:pt x="2480389" y="2954005"/>
                    <a:pt x="2496946" y="2944379"/>
                    <a:pt x="2511192" y="2941685"/>
                  </a:cubicBezTo>
                  <a:close/>
                  <a:moveTo>
                    <a:pt x="654365" y="2937062"/>
                  </a:moveTo>
                  <a:cubicBezTo>
                    <a:pt x="658023" y="2935522"/>
                    <a:pt x="660718" y="2935522"/>
                    <a:pt x="660718" y="2938603"/>
                  </a:cubicBezTo>
                  <a:cubicBezTo>
                    <a:pt x="660718" y="2944762"/>
                    <a:pt x="645317" y="2957083"/>
                    <a:pt x="639157" y="2957083"/>
                  </a:cubicBezTo>
                  <a:cubicBezTo>
                    <a:pt x="634536" y="2957083"/>
                    <a:pt x="636076" y="2950923"/>
                    <a:pt x="642237" y="2944762"/>
                  </a:cubicBezTo>
                  <a:cubicBezTo>
                    <a:pt x="646087" y="2941683"/>
                    <a:pt x="650707" y="2938603"/>
                    <a:pt x="654365" y="2937062"/>
                  </a:cubicBezTo>
                  <a:close/>
                  <a:moveTo>
                    <a:pt x="2252064" y="2905300"/>
                  </a:moveTo>
                  <a:cubicBezTo>
                    <a:pt x="2267465" y="2901643"/>
                    <a:pt x="2280941" y="2905492"/>
                    <a:pt x="2285562" y="2921663"/>
                  </a:cubicBezTo>
                  <a:cubicBezTo>
                    <a:pt x="2288643" y="2955545"/>
                    <a:pt x="2240898" y="2998668"/>
                    <a:pt x="2208555" y="2998668"/>
                  </a:cubicBezTo>
                  <a:cubicBezTo>
                    <a:pt x="2177753" y="2998668"/>
                    <a:pt x="2177753" y="2966327"/>
                    <a:pt x="2207015" y="2933984"/>
                  </a:cubicBezTo>
                  <a:cubicBezTo>
                    <a:pt x="2219336" y="2920124"/>
                    <a:pt x="2236662" y="2908958"/>
                    <a:pt x="2252064" y="2905300"/>
                  </a:cubicBezTo>
                  <a:close/>
                  <a:moveTo>
                    <a:pt x="922156" y="2905104"/>
                  </a:moveTo>
                  <a:cubicBezTo>
                    <a:pt x="927932" y="2903179"/>
                    <a:pt x="932552" y="2903950"/>
                    <a:pt x="933322" y="2909339"/>
                  </a:cubicBezTo>
                  <a:cubicBezTo>
                    <a:pt x="933322" y="2921660"/>
                    <a:pt x="910220" y="2938602"/>
                    <a:pt x="899439" y="2938602"/>
                  </a:cubicBezTo>
                  <a:cubicBezTo>
                    <a:pt x="891738" y="2937062"/>
                    <a:pt x="893278" y="2927821"/>
                    <a:pt x="904059" y="2917040"/>
                  </a:cubicBezTo>
                  <a:cubicBezTo>
                    <a:pt x="909450" y="2911649"/>
                    <a:pt x="916380" y="2907030"/>
                    <a:pt x="922156" y="2905104"/>
                  </a:cubicBezTo>
                  <a:close/>
                  <a:moveTo>
                    <a:pt x="2006750" y="2886217"/>
                  </a:moveTo>
                  <a:cubicBezTo>
                    <a:pt x="2011515" y="2888070"/>
                    <a:pt x="2014884" y="2892016"/>
                    <a:pt x="2016039" y="2898562"/>
                  </a:cubicBezTo>
                  <a:cubicBezTo>
                    <a:pt x="2019119" y="2929363"/>
                    <a:pt x="1975995" y="2967866"/>
                    <a:pt x="1948273" y="2967866"/>
                  </a:cubicBezTo>
                  <a:cubicBezTo>
                    <a:pt x="1922090" y="2969406"/>
                    <a:pt x="1922090" y="2940143"/>
                    <a:pt x="1948273" y="2912422"/>
                  </a:cubicBezTo>
                  <a:cubicBezTo>
                    <a:pt x="1965599" y="2893941"/>
                    <a:pt x="1992455" y="2880658"/>
                    <a:pt x="2006750" y="2886217"/>
                  </a:cubicBezTo>
                  <a:close/>
                  <a:moveTo>
                    <a:pt x="1199669" y="2884530"/>
                  </a:moveTo>
                  <a:cubicBezTo>
                    <a:pt x="1202268" y="2885372"/>
                    <a:pt x="1204001" y="2887393"/>
                    <a:pt x="1204386" y="2890859"/>
                  </a:cubicBezTo>
                  <a:cubicBezTo>
                    <a:pt x="1204386" y="2906260"/>
                    <a:pt x="1176663" y="2930903"/>
                    <a:pt x="1161262" y="2930903"/>
                  </a:cubicBezTo>
                  <a:cubicBezTo>
                    <a:pt x="1148941" y="2930903"/>
                    <a:pt x="1150481" y="2917040"/>
                    <a:pt x="1165882" y="2901640"/>
                  </a:cubicBezTo>
                  <a:cubicBezTo>
                    <a:pt x="1176279" y="2890089"/>
                    <a:pt x="1191873" y="2882004"/>
                    <a:pt x="1199669" y="2884530"/>
                  </a:cubicBezTo>
                  <a:close/>
                  <a:moveTo>
                    <a:pt x="1739343" y="2875170"/>
                  </a:moveTo>
                  <a:cubicBezTo>
                    <a:pt x="1743145" y="2876615"/>
                    <a:pt x="1745744" y="2879694"/>
                    <a:pt x="1746514" y="2884700"/>
                  </a:cubicBezTo>
                  <a:cubicBezTo>
                    <a:pt x="1748054" y="2912422"/>
                    <a:pt x="1709551" y="2943224"/>
                    <a:pt x="1687989" y="2944764"/>
                  </a:cubicBezTo>
                  <a:cubicBezTo>
                    <a:pt x="1666427" y="2946304"/>
                    <a:pt x="1666427" y="2923202"/>
                    <a:pt x="1689529" y="2898561"/>
                  </a:cubicBezTo>
                  <a:cubicBezTo>
                    <a:pt x="1705700" y="2881235"/>
                    <a:pt x="1727936" y="2870839"/>
                    <a:pt x="1739343" y="2875170"/>
                  </a:cubicBezTo>
                  <a:close/>
                  <a:moveTo>
                    <a:pt x="1469723" y="2874688"/>
                  </a:moveTo>
                  <a:cubicBezTo>
                    <a:pt x="1472948" y="2875843"/>
                    <a:pt x="1475066" y="2878539"/>
                    <a:pt x="1475451" y="2883158"/>
                  </a:cubicBezTo>
                  <a:cubicBezTo>
                    <a:pt x="1476991" y="2904720"/>
                    <a:pt x="1443108" y="2932442"/>
                    <a:pt x="1423086" y="2932442"/>
                  </a:cubicBezTo>
                  <a:cubicBezTo>
                    <a:pt x="1407685" y="2932442"/>
                    <a:pt x="1409225" y="2913961"/>
                    <a:pt x="1427706" y="2895480"/>
                  </a:cubicBezTo>
                  <a:cubicBezTo>
                    <a:pt x="1440412" y="2881618"/>
                    <a:pt x="1460049" y="2871223"/>
                    <a:pt x="1469723" y="2874688"/>
                  </a:cubicBezTo>
                  <a:close/>
                  <a:moveTo>
                    <a:pt x="395814" y="2846195"/>
                  </a:moveTo>
                  <a:cubicBezTo>
                    <a:pt x="394274" y="2850815"/>
                    <a:pt x="385033" y="2856975"/>
                    <a:pt x="381953" y="2856975"/>
                  </a:cubicBezTo>
                  <a:cubicBezTo>
                    <a:pt x="380413" y="2856975"/>
                    <a:pt x="380413" y="2855434"/>
                    <a:pt x="385033" y="2850815"/>
                  </a:cubicBezTo>
                  <a:cubicBezTo>
                    <a:pt x="389654" y="2847735"/>
                    <a:pt x="395814" y="2844653"/>
                    <a:pt x="395814" y="2846195"/>
                  </a:cubicBezTo>
                  <a:close/>
                  <a:moveTo>
                    <a:pt x="651862" y="2794022"/>
                  </a:moveTo>
                  <a:cubicBezTo>
                    <a:pt x="656098" y="2792289"/>
                    <a:pt x="659178" y="2792289"/>
                    <a:pt x="659178" y="2795370"/>
                  </a:cubicBezTo>
                  <a:cubicBezTo>
                    <a:pt x="659178" y="2804610"/>
                    <a:pt x="640696" y="2818472"/>
                    <a:pt x="632995" y="2818472"/>
                  </a:cubicBezTo>
                  <a:cubicBezTo>
                    <a:pt x="626835" y="2818472"/>
                    <a:pt x="629915" y="2810771"/>
                    <a:pt x="637616" y="2803070"/>
                  </a:cubicBezTo>
                  <a:cubicBezTo>
                    <a:pt x="642236" y="2799219"/>
                    <a:pt x="647627" y="2795755"/>
                    <a:pt x="651862" y="2794022"/>
                  </a:cubicBezTo>
                  <a:close/>
                  <a:moveTo>
                    <a:pt x="2481160" y="2764960"/>
                  </a:moveTo>
                  <a:cubicBezTo>
                    <a:pt x="2495791" y="2762264"/>
                    <a:pt x="2508113" y="2766884"/>
                    <a:pt x="2511963" y="2781516"/>
                  </a:cubicBezTo>
                  <a:cubicBezTo>
                    <a:pt x="2516583" y="2815397"/>
                    <a:pt x="2476540" y="2853901"/>
                    <a:pt x="2444197" y="2856980"/>
                  </a:cubicBezTo>
                  <a:cubicBezTo>
                    <a:pt x="2411854" y="2860060"/>
                    <a:pt x="2407233" y="2824638"/>
                    <a:pt x="2436496" y="2792297"/>
                  </a:cubicBezTo>
                  <a:cubicBezTo>
                    <a:pt x="2449587" y="2777666"/>
                    <a:pt x="2466529" y="2767654"/>
                    <a:pt x="2481160" y="2764960"/>
                  </a:cubicBezTo>
                  <a:close/>
                  <a:moveTo>
                    <a:pt x="914456" y="2755906"/>
                  </a:moveTo>
                  <a:cubicBezTo>
                    <a:pt x="920617" y="2753789"/>
                    <a:pt x="925622" y="2754558"/>
                    <a:pt x="927162" y="2759949"/>
                  </a:cubicBezTo>
                  <a:cubicBezTo>
                    <a:pt x="927162" y="2772269"/>
                    <a:pt x="902520" y="2792291"/>
                    <a:pt x="890199" y="2792291"/>
                  </a:cubicBezTo>
                  <a:cubicBezTo>
                    <a:pt x="880958" y="2792291"/>
                    <a:pt x="882498" y="2781511"/>
                    <a:pt x="894819" y="2769189"/>
                  </a:cubicBezTo>
                  <a:cubicBezTo>
                    <a:pt x="900980" y="2763028"/>
                    <a:pt x="908295" y="2758022"/>
                    <a:pt x="914456" y="2755906"/>
                  </a:cubicBezTo>
                  <a:close/>
                  <a:moveTo>
                    <a:pt x="2224727" y="2730886"/>
                  </a:moveTo>
                  <a:cubicBezTo>
                    <a:pt x="2240514" y="2726841"/>
                    <a:pt x="2253990" y="2730692"/>
                    <a:pt x="2257840" y="2747634"/>
                  </a:cubicBezTo>
                  <a:cubicBezTo>
                    <a:pt x="2262460" y="2787676"/>
                    <a:pt x="2210096" y="2829257"/>
                    <a:pt x="2179293" y="2829257"/>
                  </a:cubicBezTo>
                  <a:cubicBezTo>
                    <a:pt x="2150031" y="2829257"/>
                    <a:pt x="2148490" y="2793836"/>
                    <a:pt x="2177753" y="2761494"/>
                  </a:cubicBezTo>
                  <a:cubicBezTo>
                    <a:pt x="2190844" y="2746864"/>
                    <a:pt x="2208941" y="2734929"/>
                    <a:pt x="2224727" y="2730886"/>
                  </a:cubicBezTo>
                  <a:close/>
                  <a:moveTo>
                    <a:pt x="1187974" y="2729001"/>
                  </a:moveTo>
                  <a:cubicBezTo>
                    <a:pt x="1190814" y="2729821"/>
                    <a:pt x="1192835" y="2731841"/>
                    <a:pt x="1193605" y="2735308"/>
                  </a:cubicBezTo>
                  <a:cubicBezTo>
                    <a:pt x="1193605" y="2752249"/>
                    <a:pt x="1164342" y="2776890"/>
                    <a:pt x="1147401" y="2778430"/>
                  </a:cubicBezTo>
                  <a:cubicBezTo>
                    <a:pt x="1133540" y="2779969"/>
                    <a:pt x="1136620" y="2764570"/>
                    <a:pt x="1152021" y="2747628"/>
                  </a:cubicBezTo>
                  <a:cubicBezTo>
                    <a:pt x="1163573" y="2734923"/>
                    <a:pt x="1179455" y="2726548"/>
                    <a:pt x="1187974" y="2729001"/>
                  </a:cubicBezTo>
                  <a:close/>
                  <a:moveTo>
                    <a:pt x="401397" y="2719519"/>
                  </a:moveTo>
                  <a:cubicBezTo>
                    <a:pt x="404285" y="2717977"/>
                    <a:pt x="406595" y="2717593"/>
                    <a:pt x="406595" y="2719904"/>
                  </a:cubicBezTo>
                  <a:cubicBezTo>
                    <a:pt x="405055" y="2724525"/>
                    <a:pt x="392734" y="2735304"/>
                    <a:pt x="388114" y="2735304"/>
                  </a:cubicBezTo>
                  <a:cubicBezTo>
                    <a:pt x="386573" y="2735304"/>
                    <a:pt x="388114" y="2730683"/>
                    <a:pt x="392734" y="2726065"/>
                  </a:cubicBezTo>
                  <a:cubicBezTo>
                    <a:pt x="395044" y="2723753"/>
                    <a:pt x="398509" y="2721059"/>
                    <a:pt x="401397" y="2719519"/>
                  </a:cubicBezTo>
                  <a:close/>
                  <a:moveTo>
                    <a:pt x="1964637" y="2715868"/>
                  </a:moveTo>
                  <a:cubicBezTo>
                    <a:pt x="1978691" y="2712210"/>
                    <a:pt x="1990627" y="2715290"/>
                    <a:pt x="1994477" y="2729151"/>
                  </a:cubicBezTo>
                  <a:cubicBezTo>
                    <a:pt x="1997557" y="2759953"/>
                    <a:pt x="1952893" y="2799995"/>
                    <a:pt x="1923631" y="2801535"/>
                  </a:cubicBezTo>
                  <a:cubicBezTo>
                    <a:pt x="1895908" y="2801535"/>
                    <a:pt x="1895908" y="2772274"/>
                    <a:pt x="1922090" y="2743013"/>
                  </a:cubicBezTo>
                  <a:cubicBezTo>
                    <a:pt x="1934411" y="2729921"/>
                    <a:pt x="1950583" y="2719526"/>
                    <a:pt x="1964637" y="2715868"/>
                  </a:cubicBezTo>
                  <a:close/>
                  <a:moveTo>
                    <a:pt x="1454057" y="2713218"/>
                  </a:moveTo>
                  <a:cubicBezTo>
                    <a:pt x="1457450" y="2714229"/>
                    <a:pt x="1459664" y="2716828"/>
                    <a:pt x="1460049" y="2721448"/>
                  </a:cubicBezTo>
                  <a:cubicBezTo>
                    <a:pt x="1461589" y="2744550"/>
                    <a:pt x="1426166" y="2775352"/>
                    <a:pt x="1404604" y="2775352"/>
                  </a:cubicBezTo>
                  <a:cubicBezTo>
                    <a:pt x="1389203" y="2775352"/>
                    <a:pt x="1390743" y="2755329"/>
                    <a:pt x="1409224" y="2735309"/>
                  </a:cubicBezTo>
                  <a:cubicBezTo>
                    <a:pt x="1423086" y="2721449"/>
                    <a:pt x="1443878" y="2710187"/>
                    <a:pt x="1454057" y="2713218"/>
                  </a:cubicBezTo>
                  <a:close/>
                  <a:moveTo>
                    <a:pt x="1719490" y="2709297"/>
                  </a:moveTo>
                  <a:cubicBezTo>
                    <a:pt x="1723798" y="2710764"/>
                    <a:pt x="1726878" y="2714134"/>
                    <a:pt x="1728033" y="2719910"/>
                  </a:cubicBezTo>
                  <a:cubicBezTo>
                    <a:pt x="1729573" y="2746090"/>
                    <a:pt x="1691070" y="2781513"/>
                    <a:pt x="1666428" y="2783052"/>
                  </a:cubicBezTo>
                  <a:cubicBezTo>
                    <a:pt x="1641785" y="2784593"/>
                    <a:pt x="1641785" y="2759953"/>
                    <a:pt x="1666428" y="2733770"/>
                  </a:cubicBezTo>
                  <a:cubicBezTo>
                    <a:pt x="1682599" y="2717598"/>
                    <a:pt x="1706568" y="2704893"/>
                    <a:pt x="1719490" y="2709297"/>
                  </a:cubicBezTo>
                  <a:close/>
                  <a:moveTo>
                    <a:pt x="183276" y="2686020"/>
                  </a:moveTo>
                  <a:lnTo>
                    <a:pt x="178655" y="2692181"/>
                  </a:lnTo>
                  <a:lnTo>
                    <a:pt x="174035" y="2693721"/>
                  </a:lnTo>
                  <a:lnTo>
                    <a:pt x="178655" y="2687560"/>
                  </a:lnTo>
                  <a:close/>
                  <a:moveTo>
                    <a:pt x="651285" y="2658684"/>
                  </a:moveTo>
                  <a:cubicBezTo>
                    <a:pt x="656098" y="2656373"/>
                    <a:pt x="659948" y="2655988"/>
                    <a:pt x="660718" y="2659839"/>
                  </a:cubicBezTo>
                  <a:cubicBezTo>
                    <a:pt x="659178" y="2669080"/>
                    <a:pt x="637616" y="2686021"/>
                    <a:pt x="629915" y="2686021"/>
                  </a:cubicBezTo>
                  <a:cubicBezTo>
                    <a:pt x="625295" y="2686021"/>
                    <a:pt x="626835" y="2678321"/>
                    <a:pt x="636076" y="2669080"/>
                  </a:cubicBezTo>
                  <a:cubicBezTo>
                    <a:pt x="640696" y="2665230"/>
                    <a:pt x="646472" y="2660994"/>
                    <a:pt x="651285" y="2658684"/>
                  </a:cubicBezTo>
                  <a:close/>
                  <a:moveTo>
                    <a:pt x="916549" y="2610820"/>
                  </a:moveTo>
                  <a:cubicBezTo>
                    <a:pt x="918980" y="2611133"/>
                    <a:pt x="920616" y="2612480"/>
                    <a:pt x="921001" y="2615175"/>
                  </a:cubicBezTo>
                  <a:cubicBezTo>
                    <a:pt x="919461" y="2629038"/>
                    <a:pt x="893278" y="2652139"/>
                    <a:pt x="879417" y="2652139"/>
                  </a:cubicBezTo>
                  <a:cubicBezTo>
                    <a:pt x="870176" y="2652139"/>
                    <a:pt x="873256" y="2639817"/>
                    <a:pt x="885578" y="2627497"/>
                  </a:cubicBezTo>
                  <a:cubicBezTo>
                    <a:pt x="894819" y="2618256"/>
                    <a:pt x="909258" y="2609882"/>
                    <a:pt x="916549" y="2610820"/>
                  </a:cubicBezTo>
                  <a:close/>
                  <a:moveTo>
                    <a:pt x="32343" y="2605932"/>
                  </a:moveTo>
                  <a:lnTo>
                    <a:pt x="27722" y="2609012"/>
                  </a:lnTo>
                  <a:lnTo>
                    <a:pt x="29262" y="2607472"/>
                  </a:lnTo>
                  <a:close/>
                  <a:moveTo>
                    <a:pt x="420456" y="2601311"/>
                  </a:moveTo>
                  <a:cubicBezTo>
                    <a:pt x="418916" y="2607472"/>
                    <a:pt x="401975" y="2621334"/>
                    <a:pt x="397354" y="2621334"/>
                  </a:cubicBezTo>
                  <a:cubicBezTo>
                    <a:pt x="394274" y="2621334"/>
                    <a:pt x="397354" y="2616714"/>
                    <a:pt x="403515" y="2610552"/>
                  </a:cubicBezTo>
                  <a:cubicBezTo>
                    <a:pt x="411216" y="2602852"/>
                    <a:pt x="420456" y="2596692"/>
                    <a:pt x="420456" y="2601311"/>
                  </a:cubicBezTo>
                  <a:close/>
                  <a:moveTo>
                    <a:pt x="2446507" y="2590732"/>
                  </a:moveTo>
                  <a:cubicBezTo>
                    <a:pt x="2461908" y="2587074"/>
                    <a:pt x="2475769" y="2591310"/>
                    <a:pt x="2481160" y="2609023"/>
                  </a:cubicBezTo>
                  <a:cubicBezTo>
                    <a:pt x="2487320" y="2645983"/>
                    <a:pt x="2441116" y="2684491"/>
                    <a:pt x="2411854" y="2687571"/>
                  </a:cubicBezTo>
                  <a:cubicBezTo>
                    <a:pt x="2377970" y="2690653"/>
                    <a:pt x="2373350" y="2653687"/>
                    <a:pt x="2402613" y="2619802"/>
                  </a:cubicBezTo>
                  <a:cubicBezTo>
                    <a:pt x="2414164" y="2605941"/>
                    <a:pt x="2431106" y="2594396"/>
                    <a:pt x="2446507" y="2590732"/>
                  </a:cubicBezTo>
                  <a:close/>
                  <a:moveTo>
                    <a:pt x="209458" y="2582831"/>
                  </a:moveTo>
                  <a:cubicBezTo>
                    <a:pt x="207918" y="2585910"/>
                    <a:pt x="198677" y="2595152"/>
                    <a:pt x="195597" y="2595152"/>
                  </a:cubicBezTo>
                  <a:cubicBezTo>
                    <a:pt x="194057" y="2595152"/>
                    <a:pt x="197137" y="2592072"/>
                    <a:pt x="200217" y="2588991"/>
                  </a:cubicBezTo>
                  <a:cubicBezTo>
                    <a:pt x="203297" y="2587451"/>
                    <a:pt x="204837" y="2585910"/>
                    <a:pt x="204837" y="2584370"/>
                  </a:cubicBezTo>
                  <a:cubicBezTo>
                    <a:pt x="206378" y="2582831"/>
                    <a:pt x="209458" y="2581290"/>
                    <a:pt x="209458" y="2582831"/>
                  </a:cubicBezTo>
                  <a:close/>
                  <a:moveTo>
                    <a:pt x="1176928" y="2577659"/>
                  </a:moveTo>
                  <a:cubicBezTo>
                    <a:pt x="1179936" y="2578117"/>
                    <a:pt x="1182054" y="2579752"/>
                    <a:pt x="1182824" y="2582833"/>
                  </a:cubicBezTo>
                  <a:cubicBezTo>
                    <a:pt x="1184364" y="2602853"/>
                    <a:pt x="1148941" y="2630579"/>
                    <a:pt x="1132000" y="2630579"/>
                  </a:cubicBezTo>
                  <a:cubicBezTo>
                    <a:pt x="1119679" y="2630579"/>
                    <a:pt x="1122759" y="2615175"/>
                    <a:pt x="1138160" y="2598234"/>
                  </a:cubicBezTo>
                  <a:cubicBezTo>
                    <a:pt x="1150867" y="2585527"/>
                    <a:pt x="1167904" y="2576286"/>
                    <a:pt x="1176928" y="2577659"/>
                  </a:cubicBezTo>
                  <a:close/>
                  <a:moveTo>
                    <a:pt x="2194116" y="2561274"/>
                  </a:moveTo>
                  <a:cubicBezTo>
                    <a:pt x="2210095" y="2557039"/>
                    <a:pt x="2223956" y="2560504"/>
                    <a:pt x="2228577" y="2576675"/>
                  </a:cubicBezTo>
                  <a:cubicBezTo>
                    <a:pt x="2233197" y="2615180"/>
                    <a:pt x="2183913" y="2661389"/>
                    <a:pt x="2150030" y="2661389"/>
                  </a:cubicBezTo>
                  <a:cubicBezTo>
                    <a:pt x="2119227" y="2661389"/>
                    <a:pt x="2117687" y="2625965"/>
                    <a:pt x="2146950" y="2592079"/>
                  </a:cubicBezTo>
                  <a:cubicBezTo>
                    <a:pt x="2160041" y="2577445"/>
                    <a:pt x="2178138" y="2565509"/>
                    <a:pt x="2194116" y="2561274"/>
                  </a:cubicBezTo>
                  <a:close/>
                  <a:moveTo>
                    <a:pt x="1436875" y="2558335"/>
                  </a:moveTo>
                  <a:cubicBezTo>
                    <a:pt x="1440701" y="2559538"/>
                    <a:pt x="1443493" y="2562425"/>
                    <a:pt x="1444648" y="2567430"/>
                  </a:cubicBezTo>
                  <a:cubicBezTo>
                    <a:pt x="1444648" y="2588995"/>
                    <a:pt x="1407684" y="2622878"/>
                    <a:pt x="1386122" y="2622878"/>
                  </a:cubicBezTo>
                  <a:cubicBezTo>
                    <a:pt x="1369181" y="2622878"/>
                    <a:pt x="1370721" y="2602853"/>
                    <a:pt x="1390743" y="2581293"/>
                  </a:cubicBezTo>
                  <a:cubicBezTo>
                    <a:pt x="1404604" y="2566277"/>
                    <a:pt x="1425396" y="2554727"/>
                    <a:pt x="1436875" y="2558335"/>
                  </a:cubicBezTo>
                  <a:close/>
                  <a:moveTo>
                    <a:pt x="1956984" y="2548544"/>
                  </a:moveTo>
                  <a:cubicBezTo>
                    <a:pt x="1962326" y="2550301"/>
                    <a:pt x="1966369" y="2554343"/>
                    <a:pt x="1968294" y="2561273"/>
                  </a:cubicBezTo>
                  <a:cubicBezTo>
                    <a:pt x="1971374" y="2593620"/>
                    <a:pt x="1928251" y="2635204"/>
                    <a:pt x="1897448" y="2636742"/>
                  </a:cubicBezTo>
                  <a:cubicBezTo>
                    <a:pt x="1869725" y="2638282"/>
                    <a:pt x="1868185" y="2609020"/>
                    <a:pt x="1895908" y="2578215"/>
                  </a:cubicBezTo>
                  <a:cubicBezTo>
                    <a:pt x="1913235" y="2558578"/>
                    <a:pt x="1940957" y="2543275"/>
                    <a:pt x="1956984" y="2548544"/>
                  </a:cubicBezTo>
                  <a:close/>
                  <a:moveTo>
                    <a:pt x="3854" y="2548182"/>
                  </a:moveTo>
                  <a:lnTo>
                    <a:pt x="0" y="2552037"/>
                  </a:lnTo>
                  <a:lnTo>
                    <a:pt x="3080" y="2548956"/>
                  </a:lnTo>
                  <a:close/>
                  <a:moveTo>
                    <a:pt x="1698553" y="2548062"/>
                  </a:moveTo>
                  <a:cubicBezTo>
                    <a:pt x="1703102" y="2549818"/>
                    <a:pt x="1706471" y="2553571"/>
                    <a:pt x="1708011" y="2559731"/>
                  </a:cubicBezTo>
                  <a:cubicBezTo>
                    <a:pt x="1709551" y="2587456"/>
                    <a:pt x="1666427" y="2625961"/>
                    <a:pt x="1640245" y="2625961"/>
                  </a:cubicBezTo>
                  <a:cubicBezTo>
                    <a:pt x="1618683" y="2625961"/>
                    <a:pt x="1620223" y="2599773"/>
                    <a:pt x="1643325" y="2575134"/>
                  </a:cubicBezTo>
                  <a:cubicBezTo>
                    <a:pt x="1660652" y="2555498"/>
                    <a:pt x="1684909" y="2542793"/>
                    <a:pt x="1698553" y="2548062"/>
                  </a:cubicBezTo>
                  <a:close/>
                  <a:moveTo>
                    <a:pt x="7701" y="2544337"/>
                  </a:moveTo>
                  <a:lnTo>
                    <a:pt x="4620" y="2547416"/>
                  </a:lnTo>
                  <a:lnTo>
                    <a:pt x="3854" y="2548182"/>
                  </a:lnTo>
                  <a:close/>
                  <a:moveTo>
                    <a:pt x="654366" y="2531236"/>
                  </a:moveTo>
                  <a:cubicBezTo>
                    <a:pt x="659949" y="2528541"/>
                    <a:pt x="664569" y="2528156"/>
                    <a:pt x="665339" y="2532006"/>
                  </a:cubicBezTo>
                  <a:cubicBezTo>
                    <a:pt x="663799" y="2542787"/>
                    <a:pt x="639157" y="2562808"/>
                    <a:pt x="629916" y="2562808"/>
                  </a:cubicBezTo>
                  <a:cubicBezTo>
                    <a:pt x="623755" y="2562808"/>
                    <a:pt x="626836" y="2555108"/>
                    <a:pt x="637617" y="2544328"/>
                  </a:cubicBezTo>
                  <a:cubicBezTo>
                    <a:pt x="642237" y="2538936"/>
                    <a:pt x="648783" y="2533932"/>
                    <a:pt x="654366" y="2531236"/>
                  </a:cubicBezTo>
                  <a:close/>
                  <a:moveTo>
                    <a:pt x="77006" y="2525845"/>
                  </a:moveTo>
                  <a:lnTo>
                    <a:pt x="70845" y="2533546"/>
                  </a:lnTo>
                  <a:lnTo>
                    <a:pt x="66225" y="2536626"/>
                  </a:lnTo>
                  <a:lnTo>
                    <a:pt x="72386" y="2528925"/>
                  </a:lnTo>
                  <a:close/>
                  <a:moveTo>
                    <a:pt x="73926" y="2495060"/>
                  </a:moveTo>
                  <a:lnTo>
                    <a:pt x="70846" y="2499679"/>
                  </a:lnTo>
                  <a:lnTo>
                    <a:pt x="63145" y="2505841"/>
                  </a:lnTo>
                  <a:lnTo>
                    <a:pt x="66225" y="2501220"/>
                  </a:lnTo>
                  <a:close/>
                  <a:moveTo>
                    <a:pt x="438938" y="2490423"/>
                  </a:moveTo>
                  <a:cubicBezTo>
                    <a:pt x="437398" y="2498125"/>
                    <a:pt x="417376" y="2513525"/>
                    <a:pt x="412756" y="2513525"/>
                  </a:cubicBezTo>
                  <a:cubicBezTo>
                    <a:pt x="408135" y="2513525"/>
                    <a:pt x="411216" y="2507365"/>
                    <a:pt x="418916" y="2501205"/>
                  </a:cubicBezTo>
                  <a:cubicBezTo>
                    <a:pt x="426617" y="2493504"/>
                    <a:pt x="438938" y="2485802"/>
                    <a:pt x="438938" y="2490423"/>
                  </a:cubicBezTo>
                  <a:close/>
                  <a:moveTo>
                    <a:pt x="240261" y="2487342"/>
                  </a:moveTo>
                  <a:cubicBezTo>
                    <a:pt x="241801" y="2485802"/>
                    <a:pt x="243341" y="2485802"/>
                    <a:pt x="243341" y="2487342"/>
                  </a:cubicBezTo>
                  <a:cubicBezTo>
                    <a:pt x="240261" y="2491962"/>
                    <a:pt x="226400" y="2504283"/>
                    <a:pt x="223320" y="2504283"/>
                  </a:cubicBezTo>
                  <a:cubicBezTo>
                    <a:pt x="221779" y="2504283"/>
                    <a:pt x="224860" y="2501204"/>
                    <a:pt x="229480" y="2496582"/>
                  </a:cubicBezTo>
                  <a:cubicBezTo>
                    <a:pt x="232560" y="2493503"/>
                    <a:pt x="235641" y="2490422"/>
                    <a:pt x="240261" y="2487342"/>
                  </a:cubicBezTo>
                  <a:close/>
                  <a:moveTo>
                    <a:pt x="901557" y="2476180"/>
                  </a:moveTo>
                  <a:cubicBezTo>
                    <a:pt x="908681" y="2473099"/>
                    <a:pt x="914071" y="2473484"/>
                    <a:pt x="914841" y="2479645"/>
                  </a:cubicBezTo>
                  <a:cubicBezTo>
                    <a:pt x="914841" y="2495047"/>
                    <a:pt x="885578" y="2519688"/>
                    <a:pt x="871717" y="2519688"/>
                  </a:cubicBezTo>
                  <a:cubicBezTo>
                    <a:pt x="860936" y="2519688"/>
                    <a:pt x="864016" y="2507368"/>
                    <a:pt x="877877" y="2493506"/>
                  </a:cubicBezTo>
                  <a:cubicBezTo>
                    <a:pt x="885578" y="2485805"/>
                    <a:pt x="894434" y="2479259"/>
                    <a:pt x="901557" y="2476180"/>
                  </a:cubicBezTo>
                  <a:close/>
                  <a:moveTo>
                    <a:pt x="124750" y="2454998"/>
                  </a:moveTo>
                  <a:cubicBezTo>
                    <a:pt x="123210" y="2458078"/>
                    <a:pt x="110889" y="2468859"/>
                    <a:pt x="109349" y="2468859"/>
                  </a:cubicBezTo>
                  <a:cubicBezTo>
                    <a:pt x="110889" y="2467320"/>
                    <a:pt x="113969" y="2464239"/>
                    <a:pt x="115510" y="2462700"/>
                  </a:cubicBezTo>
                  <a:cubicBezTo>
                    <a:pt x="120130" y="2459619"/>
                    <a:pt x="124750" y="2454998"/>
                    <a:pt x="124750" y="2454998"/>
                  </a:cubicBezTo>
                  <a:close/>
                  <a:moveTo>
                    <a:pt x="144772" y="2450385"/>
                  </a:moveTo>
                  <a:cubicBezTo>
                    <a:pt x="146313" y="2451925"/>
                    <a:pt x="138612" y="2459629"/>
                    <a:pt x="135532" y="2461169"/>
                  </a:cubicBezTo>
                  <a:cubicBezTo>
                    <a:pt x="133991" y="2462710"/>
                    <a:pt x="129371" y="2465790"/>
                    <a:pt x="129371" y="2465790"/>
                  </a:cubicBezTo>
                  <a:cubicBezTo>
                    <a:pt x="129371" y="2464250"/>
                    <a:pt x="141692" y="2451925"/>
                    <a:pt x="144772" y="2450385"/>
                  </a:cubicBezTo>
                  <a:close/>
                  <a:moveTo>
                    <a:pt x="1164126" y="2434665"/>
                  </a:moveTo>
                  <a:cubicBezTo>
                    <a:pt x="1167423" y="2435268"/>
                    <a:pt x="1169733" y="2437289"/>
                    <a:pt x="1170503" y="2441139"/>
                  </a:cubicBezTo>
                  <a:cubicBezTo>
                    <a:pt x="1170503" y="2459622"/>
                    <a:pt x="1135080" y="2490427"/>
                    <a:pt x="1116598" y="2490427"/>
                  </a:cubicBezTo>
                  <a:cubicBezTo>
                    <a:pt x="1102737" y="2490427"/>
                    <a:pt x="1105817" y="2473486"/>
                    <a:pt x="1122759" y="2456543"/>
                  </a:cubicBezTo>
                  <a:cubicBezTo>
                    <a:pt x="1135465" y="2443835"/>
                    <a:pt x="1154235" y="2432861"/>
                    <a:pt x="1164126" y="2434665"/>
                  </a:cubicBezTo>
                  <a:close/>
                  <a:moveTo>
                    <a:pt x="2411468" y="2419964"/>
                  </a:moveTo>
                  <a:cubicBezTo>
                    <a:pt x="2426869" y="2416884"/>
                    <a:pt x="2440346" y="2421888"/>
                    <a:pt x="2445736" y="2438060"/>
                  </a:cubicBezTo>
                  <a:cubicBezTo>
                    <a:pt x="2451897" y="2476574"/>
                    <a:pt x="2407233" y="2516618"/>
                    <a:pt x="2376430" y="2519699"/>
                  </a:cubicBezTo>
                  <a:cubicBezTo>
                    <a:pt x="2342547" y="2522778"/>
                    <a:pt x="2336386" y="2485817"/>
                    <a:pt x="2365649" y="2450385"/>
                  </a:cubicBezTo>
                  <a:cubicBezTo>
                    <a:pt x="2378740" y="2434209"/>
                    <a:pt x="2396067" y="2423042"/>
                    <a:pt x="2411468" y="2419964"/>
                  </a:cubicBezTo>
                  <a:close/>
                  <a:moveTo>
                    <a:pt x="220239" y="2414959"/>
                  </a:moveTo>
                  <a:cubicBezTo>
                    <a:pt x="220239" y="2416500"/>
                    <a:pt x="212538" y="2424198"/>
                    <a:pt x="209458" y="2427277"/>
                  </a:cubicBezTo>
                  <a:cubicBezTo>
                    <a:pt x="207918" y="2428819"/>
                    <a:pt x="203297" y="2433438"/>
                    <a:pt x="201757" y="2433438"/>
                  </a:cubicBezTo>
                  <a:cubicBezTo>
                    <a:pt x="201757" y="2431898"/>
                    <a:pt x="215618" y="2416500"/>
                    <a:pt x="220239" y="2414959"/>
                  </a:cubicBezTo>
                  <a:close/>
                  <a:moveTo>
                    <a:pt x="660911" y="2411875"/>
                  </a:moveTo>
                  <a:cubicBezTo>
                    <a:pt x="666879" y="2408795"/>
                    <a:pt x="671499" y="2408025"/>
                    <a:pt x="671499" y="2411875"/>
                  </a:cubicBezTo>
                  <a:cubicBezTo>
                    <a:pt x="669959" y="2424197"/>
                    <a:pt x="643777" y="2445760"/>
                    <a:pt x="634536" y="2445760"/>
                  </a:cubicBezTo>
                  <a:cubicBezTo>
                    <a:pt x="628375" y="2445760"/>
                    <a:pt x="631456" y="2436518"/>
                    <a:pt x="642237" y="2425737"/>
                  </a:cubicBezTo>
                  <a:cubicBezTo>
                    <a:pt x="647627" y="2420346"/>
                    <a:pt x="654943" y="2414956"/>
                    <a:pt x="660911" y="2411875"/>
                  </a:cubicBezTo>
                  <a:close/>
                  <a:moveTo>
                    <a:pt x="1419885" y="2406558"/>
                  </a:moveTo>
                  <a:cubicBezTo>
                    <a:pt x="1423760" y="2407642"/>
                    <a:pt x="1426551" y="2410336"/>
                    <a:pt x="1427706" y="2414957"/>
                  </a:cubicBezTo>
                  <a:cubicBezTo>
                    <a:pt x="1429246" y="2438059"/>
                    <a:pt x="1390743" y="2473486"/>
                    <a:pt x="1367641" y="2475027"/>
                  </a:cubicBezTo>
                  <a:cubicBezTo>
                    <a:pt x="1347619" y="2475027"/>
                    <a:pt x="1350699" y="2455002"/>
                    <a:pt x="1370721" y="2431897"/>
                  </a:cubicBezTo>
                  <a:cubicBezTo>
                    <a:pt x="1386893" y="2414571"/>
                    <a:pt x="1408262" y="2403311"/>
                    <a:pt x="1419885" y="2406558"/>
                  </a:cubicBezTo>
                  <a:close/>
                  <a:moveTo>
                    <a:pt x="275684" y="2401093"/>
                  </a:moveTo>
                  <a:cubicBezTo>
                    <a:pt x="277225" y="2399554"/>
                    <a:pt x="277225" y="2401093"/>
                    <a:pt x="277225" y="2401093"/>
                  </a:cubicBezTo>
                  <a:cubicBezTo>
                    <a:pt x="274144" y="2405714"/>
                    <a:pt x="257203" y="2421115"/>
                    <a:pt x="254122" y="2421115"/>
                  </a:cubicBezTo>
                  <a:cubicBezTo>
                    <a:pt x="252582" y="2421115"/>
                    <a:pt x="255663" y="2416496"/>
                    <a:pt x="261823" y="2411875"/>
                  </a:cubicBezTo>
                  <a:cubicBezTo>
                    <a:pt x="266444" y="2407254"/>
                    <a:pt x="272604" y="2402634"/>
                    <a:pt x="275684" y="2401093"/>
                  </a:cubicBezTo>
                  <a:close/>
                  <a:moveTo>
                    <a:pt x="172108" y="2394844"/>
                  </a:moveTo>
                  <a:lnTo>
                    <a:pt x="168067" y="2398591"/>
                  </a:lnTo>
                  <a:cubicBezTo>
                    <a:pt x="163639" y="2402634"/>
                    <a:pt x="159404" y="2406485"/>
                    <a:pt x="158634" y="2407255"/>
                  </a:cubicBezTo>
                  <a:cubicBezTo>
                    <a:pt x="160174" y="2404174"/>
                    <a:pt x="163254" y="2402634"/>
                    <a:pt x="166335" y="2399554"/>
                  </a:cubicBezTo>
                  <a:close/>
                  <a:moveTo>
                    <a:pt x="2162929" y="2393976"/>
                  </a:moveTo>
                  <a:cubicBezTo>
                    <a:pt x="2179293" y="2389933"/>
                    <a:pt x="2193155" y="2394169"/>
                    <a:pt x="2197775" y="2410338"/>
                  </a:cubicBezTo>
                  <a:cubicBezTo>
                    <a:pt x="2202395" y="2448844"/>
                    <a:pt x="2154651" y="2496599"/>
                    <a:pt x="2117688" y="2498139"/>
                  </a:cubicBezTo>
                  <a:cubicBezTo>
                    <a:pt x="2085345" y="2499679"/>
                    <a:pt x="2082265" y="2462709"/>
                    <a:pt x="2113067" y="2427277"/>
                  </a:cubicBezTo>
                  <a:cubicBezTo>
                    <a:pt x="2127699" y="2410338"/>
                    <a:pt x="2146565" y="2398020"/>
                    <a:pt x="2162929" y="2393976"/>
                  </a:cubicBezTo>
                  <a:close/>
                  <a:moveTo>
                    <a:pt x="1675427" y="2391209"/>
                  </a:moveTo>
                  <a:cubicBezTo>
                    <a:pt x="1680000" y="2392821"/>
                    <a:pt x="1683369" y="2396479"/>
                    <a:pt x="1684909" y="2402638"/>
                  </a:cubicBezTo>
                  <a:cubicBezTo>
                    <a:pt x="1686449" y="2430357"/>
                    <a:pt x="1643325" y="2471948"/>
                    <a:pt x="1615603" y="2471948"/>
                  </a:cubicBezTo>
                  <a:cubicBezTo>
                    <a:pt x="1594041" y="2471948"/>
                    <a:pt x="1595581" y="2445761"/>
                    <a:pt x="1618683" y="2419577"/>
                  </a:cubicBezTo>
                  <a:cubicBezTo>
                    <a:pt x="1637164" y="2399943"/>
                    <a:pt x="1661710" y="2386370"/>
                    <a:pt x="1675427" y="2391209"/>
                  </a:cubicBezTo>
                  <a:close/>
                  <a:moveTo>
                    <a:pt x="178656" y="2388773"/>
                  </a:moveTo>
                  <a:cubicBezTo>
                    <a:pt x="178656" y="2388773"/>
                    <a:pt x="176346" y="2391083"/>
                    <a:pt x="173651" y="2393586"/>
                  </a:cubicBezTo>
                  <a:lnTo>
                    <a:pt x="172108" y="2394844"/>
                  </a:lnTo>
                  <a:close/>
                  <a:moveTo>
                    <a:pt x="1929670" y="2386852"/>
                  </a:moveTo>
                  <a:cubicBezTo>
                    <a:pt x="1935374" y="2388874"/>
                    <a:pt x="1939802" y="2393395"/>
                    <a:pt x="1942112" y="2401099"/>
                  </a:cubicBezTo>
                  <a:cubicBezTo>
                    <a:pt x="1946732" y="2436518"/>
                    <a:pt x="1898988" y="2476571"/>
                    <a:pt x="1869726" y="2479650"/>
                  </a:cubicBezTo>
                  <a:cubicBezTo>
                    <a:pt x="1840463" y="2481192"/>
                    <a:pt x="1838923" y="2450384"/>
                    <a:pt x="1866645" y="2418037"/>
                  </a:cubicBezTo>
                  <a:cubicBezTo>
                    <a:pt x="1883972" y="2397248"/>
                    <a:pt x="1912560" y="2380787"/>
                    <a:pt x="1929670" y="2386852"/>
                  </a:cubicBezTo>
                  <a:close/>
                  <a:moveTo>
                    <a:pt x="451838" y="2385499"/>
                  </a:moveTo>
                  <a:cubicBezTo>
                    <a:pt x="455111" y="2383767"/>
                    <a:pt x="457421" y="2383383"/>
                    <a:pt x="457421" y="2385693"/>
                  </a:cubicBezTo>
                  <a:cubicBezTo>
                    <a:pt x="455880" y="2393394"/>
                    <a:pt x="432778" y="2413415"/>
                    <a:pt x="426618" y="2413415"/>
                  </a:cubicBezTo>
                  <a:cubicBezTo>
                    <a:pt x="423538" y="2413415"/>
                    <a:pt x="428158" y="2407255"/>
                    <a:pt x="435859" y="2399554"/>
                  </a:cubicBezTo>
                  <a:cubicBezTo>
                    <a:pt x="438939" y="2398014"/>
                    <a:pt x="440479" y="2396473"/>
                    <a:pt x="440479" y="2393394"/>
                  </a:cubicBezTo>
                  <a:cubicBezTo>
                    <a:pt x="444330" y="2390313"/>
                    <a:pt x="448565" y="2387233"/>
                    <a:pt x="451838" y="2385499"/>
                  </a:cubicBezTo>
                  <a:close/>
                  <a:moveTo>
                    <a:pt x="907694" y="2344016"/>
                  </a:moveTo>
                  <a:cubicBezTo>
                    <a:pt x="910510" y="2344207"/>
                    <a:pt x="912531" y="2345651"/>
                    <a:pt x="913301" y="2348731"/>
                  </a:cubicBezTo>
                  <a:cubicBezTo>
                    <a:pt x="911761" y="2365673"/>
                    <a:pt x="877878" y="2393395"/>
                    <a:pt x="864017" y="2393395"/>
                  </a:cubicBezTo>
                  <a:cubicBezTo>
                    <a:pt x="854776" y="2391855"/>
                    <a:pt x="859396" y="2379533"/>
                    <a:pt x="873257" y="2365673"/>
                  </a:cubicBezTo>
                  <a:cubicBezTo>
                    <a:pt x="883654" y="2354121"/>
                    <a:pt x="899248" y="2343438"/>
                    <a:pt x="907694" y="2344016"/>
                  </a:cubicBezTo>
                  <a:close/>
                  <a:moveTo>
                    <a:pt x="232560" y="2331796"/>
                  </a:moveTo>
                  <a:cubicBezTo>
                    <a:pt x="229480" y="2336417"/>
                    <a:pt x="224859" y="2341040"/>
                    <a:pt x="220239" y="2345657"/>
                  </a:cubicBezTo>
                  <a:cubicBezTo>
                    <a:pt x="217159" y="2348739"/>
                    <a:pt x="214078" y="2351818"/>
                    <a:pt x="210998" y="2353358"/>
                  </a:cubicBezTo>
                  <a:cubicBezTo>
                    <a:pt x="212538" y="2351818"/>
                    <a:pt x="215618" y="2348739"/>
                    <a:pt x="217159" y="2347199"/>
                  </a:cubicBezTo>
                  <a:lnTo>
                    <a:pt x="231020" y="2333335"/>
                  </a:lnTo>
                  <a:cubicBezTo>
                    <a:pt x="231020" y="2333335"/>
                    <a:pt x="232560" y="2331796"/>
                    <a:pt x="232560" y="2331796"/>
                  </a:cubicBezTo>
                  <a:close/>
                  <a:moveTo>
                    <a:pt x="315727" y="2321006"/>
                  </a:moveTo>
                  <a:cubicBezTo>
                    <a:pt x="312647" y="2325626"/>
                    <a:pt x="291085" y="2347190"/>
                    <a:pt x="288005" y="2345649"/>
                  </a:cubicBezTo>
                  <a:cubicBezTo>
                    <a:pt x="288005" y="2344108"/>
                    <a:pt x="295706" y="2336409"/>
                    <a:pt x="297246" y="2334867"/>
                  </a:cubicBezTo>
                  <a:cubicBezTo>
                    <a:pt x="300326" y="2331788"/>
                    <a:pt x="312647" y="2319468"/>
                    <a:pt x="315727" y="2321006"/>
                  </a:cubicBezTo>
                  <a:close/>
                  <a:moveTo>
                    <a:pt x="678309" y="2297111"/>
                  </a:moveTo>
                  <a:cubicBezTo>
                    <a:pt x="680162" y="2296847"/>
                    <a:pt x="681125" y="2297520"/>
                    <a:pt x="680740" y="2299445"/>
                  </a:cubicBezTo>
                  <a:cubicBezTo>
                    <a:pt x="677659" y="2311767"/>
                    <a:pt x="648397" y="2336409"/>
                    <a:pt x="639156" y="2336409"/>
                  </a:cubicBezTo>
                  <a:cubicBezTo>
                    <a:pt x="634536" y="2336409"/>
                    <a:pt x="639156" y="2327167"/>
                    <a:pt x="649937" y="2316387"/>
                  </a:cubicBezTo>
                  <a:cubicBezTo>
                    <a:pt x="659178" y="2307146"/>
                    <a:pt x="672750" y="2297905"/>
                    <a:pt x="678309" y="2297111"/>
                  </a:cubicBezTo>
                  <a:close/>
                  <a:moveTo>
                    <a:pt x="1151564" y="2295453"/>
                  </a:moveTo>
                  <a:cubicBezTo>
                    <a:pt x="1155006" y="2296078"/>
                    <a:pt x="1157412" y="2298293"/>
                    <a:pt x="1158182" y="2302528"/>
                  </a:cubicBezTo>
                  <a:cubicBezTo>
                    <a:pt x="1158182" y="2322550"/>
                    <a:pt x="1121219" y="2356434"/>
                    <a:pt x="1101197" y="2356434"/>
                  </a:cubicBezTo>
                  <a:cubicBezTo>
                    <a:pt x="1087335" y="2356434"/>
                    <a:pt x="1091956" y="2339491"/>
                    <a:pt x="1108897" y="2321008"/>
                  </a:cubicBezTo>
                  <a:cubicBezTo>
                    <a:pt x="1121604" y="2305993"/>
                    <a:pt x="1141241" y="2293577"/>
                    <a:pt x="1151564" y="2295453"/>
                  </a:cubicBezTo>
                  <a:close/>
                  <a:moveTo>
                    <a:pt x="479368" y="2289435"/>
                  </a:moveTo>
                  <a:cubicBezTo>
                    <a:pt x="481678" y="2288279"/>
                    <a:pt x="483603" y="2287894"/>
                    <a:pt x="483603" y="2290204"/>
                  </a:cubicBezTo>
                  <a:cubicBezTo>
                    <a:pt x="480522" y="2299445"/>
                    <a:pt x="455880" y="2321006"/>
                    <a:pt x="449720" y="2321006"/>
                  </a:cubicBezTo>
                  <a:cubicBezTo>
                    <a:pt x="445099" y="2321006"/>
                    <a:pt x="449720" y="2314847"/>
                    <a:pt x="458960" y="2305606"/>
                  </a:cubicBezTo>
                  <a:cubicBezTo>
                    <a:pt x="465121" y="2299445"/>
                    <a:pt x="469741" y="2296364"/>
                    <a:pt x="472822" y="2293285"/>
                  </a:cubicBezTo>
                  <a:cubicBezTo>
                    <a:pt x="474362" y="2292514"/>
                    <a:pt x="477057" y="2290589"/>
                    <a:pt x="479368" y="2289435"/>
                  </a:cubicBezTo>
                  <a:close/>
                  <a:moveTo>
                    <a:pt x="292625" y="2279431"/>
                  </a:moveTo>
                  <a:cubicBezTo>
                    <a:pt x="292625" y="2280972"/>
                    <a:pt x="284925" y="2290213"/>
                    <a:pt x="277224" y="2296373"/>
                  </a:cubicBezTo>
                  <a:cubicBezTo>
                    <a:pt x="275684" y="2297914"/>
                    <a:pt x="267983" y="2305616"/>
                    <a:pt x="266443" y="2305616"/>
                  </a:cubicBezTo>
                  <a:cubicBezTo>
                    <a:pt x="266443" y="2304074"/>
                    <a:pt x="288005" y="2282511"/>
                    <a:pt x="292625" y="2279431"/>
                  </a:cubicBezTo>
                  <a:close/>
                  <a:moveTo>
                    <a:pt x="1401812" y="2260512"/>
                  </a:moveTo>
                  <a:cubicBezTo>
                    <a:pt x="1406048" y="2261427"/>
                    <a:pt x="1409224" y="2264026"/>
                    <a:pt x="1410764" y="2268645"/>
                  </a:cubicBezTo>
                  <a:cubicBezTo>
                    <a:pt x="1412305" y="2294829"/>
                    <a:pt x="1372261" y="2331791"/>
                    <a:pt x="1347619" y="2333332"/>
                  </a:cubicBezTo>
                  <a:cubicBezTo>
                    <a:pt x="1327597" y="2334873"/>
                    <a:pt x="1329137" y="2313309"/>
                    <a:pt x="1350699" y="2288667"/>
                  </a:cubicBezTo>
                  <a:cubicBezTo>
                    <a:pt x="1366871" y="2270187"/>
                    <a:pt x="1389106" y="2257769"/>
                    <a:pt x="1401812" y="2260512"/>
                  </a:cubicBezTo>
                  <a:close/>
                  <a:moveTo>
                    <a:pt x="2371617" y="2251133"/>
                  </a:moveTo>
                  <a:cubicBezTo>
                    <a:pt x="2387211" y="2247474"/>
                    <a:pt x="2401073" y="2251710"/>
                    <a:pt x="2407233" y="2267111"/>
                  </a:cubicBezTo>
                  <a:cubicBezTo>
                    <a:pt x="2414933" y="2307155"/>
                    <a:pt x="2368729" y="2350279"/>
                    <a:pt x="2337927" y="2353358"/>
                  </a:cubicBezTo>
                  <a:cubicBezTo>
                    <a:pt x="2302503" y="2357978"/>
                    <a:pt x="2296343" y="2319474"/>
                    <a:pt x="2325605" y="2282514"/>
                  </a:cubicBezTo>
                  <a:cubicBezTo>
                    <a:pt x="2338696" y="2266342"/>
                    <a:pt x="2356023" y="2254791"/>
                    <a:pt x="2371617" y="2251133"/>
                  </a:cubicBezTo>
                  <a:close/>
                  <a:moveTo>
                    <a:pt x="355771" y="2248621"/>
                  </a:moveTo>
                  <a:cubicBezTo>
                    <a:pt x="351150" y="2253240"/>
                    <a:pt x="326508" y="2277883"/>
                    <a:pt x="324968" y="2276343"/>
                  </a:cubicBezTo>
                  <a:cubicBezTo>
                    <a:pt x="324968" y="2274803"/>
                    <a:pt x="332669" y="2267102"/>
                    <a:pt x="335749" y="2264021"/>
                  </a:cubicBezTo>
                  <a:cubicBezTo>
                    <a:pt x="340369" y="2260941"/>
                    <a:pt x="354231" y="2247080"/>
                    <a:pt x="355771" y="2248621"/>
                  </a:cubicBezTo>
                  <a:close/>
                  <a:moveTo>
                    <a:pt x="1651194" y="2238783"/>
                  </a:moveTo>
                  <a:cubicBezTo>
                    <a:pt x="1656128" y="2240348"/>
                    <a:pt x="1659882" y="2244006"/>
                    <a:pt x="1661807" y="2250166"/>
                  </a:cubicBezTo>
                  <a:cubicBezTo>
                    <a:pt x="1664887" y="2280968"/>
                    <a:pt x="1618683" y="2322552"/>
                    <a:pt x="1590961" y="2324091"/>
                  </a:cubicBezTo>
                  <a:cubicBezTo>
                    <a:pt x="1567859" y="2324091"/>
                    <a:pt x="1567859" y="2297910"/>
                    <a:pt x="1592501" y="2270188"/>
                  </a:cubicBezTo>
                  <a:cubicBezTo>
                    <a:pt x="1610982" y="2248240"/>
                    <a:pt x="1636395" y="2234091"/>
                    <a:pt x="1651194" y="2238783"/>
                  </a:cubicBezTo>
                  <a:close/>
                  <a:moveTo>
                    <a:pt x="357311" y="2234769"/>
                  </a:moveTo>
                  <a:cubicBezTo>
                    <a:pt x="357311" y="2236308"/>
                    <a:pt x="344990" y="2248630"/>
                    <a:pt x="338829" y="2254791"/>
                  </a:cubicBezTo>
                  <a:cubicBezTo>
                    <a:pt x="335749" y="2257871"/>
                    <a:pt x="328048" y="2265571"/>
                    <a:pt x="326508" y="2265571"/>
                  </a:cubicBezTo>
                  <a:cubicBezTo>
                    <a:pt x="326508" y="2262491"/>
                    <a:pt x="351150" y="2237848"/>
                    <a:pt x="357311" y="2234769"/>
                  </a:cubicBezTo>
                  <a:close/>
                  <a:moveTo>
                    <a:pt x="1899277" y="2229350"/>
                  </a:moveTo>
                  <a:cubicBezTo>
                    <a:pt x="1904475" y="2231299"/>
                    <a:pt x="1908229" y="2235535"/>
                    <a:pt x="1909769" y="2242465"/>
                  </a:cubicBezTo>
                  <a:cubicBezTo>
                    <a:pt x="1914389" y="2279430"/>
                    <a:pt x="1866645" y="2321012"/>
                    <a:pt x="1837383" y="2324091"/>
                  </a:cubicBezTo>
                  <a:cubicBezTo>
                    <a:pt x="1808120" y="2327173"/>
                    <a:pt x="1806580" y="2294831"/>
                    <a:pt x="1834302" y="2262488"/>
                  </a:cubicBezTo>
                  <a:cubicBezTo>
                    <a:pt x="1855094" y="2238230"/>
                    <a:pt x="1883683" y="2223503"/>
                    <a:pt x="1899277" y="2229350"/>
                  </a:cubicBezTo>
                  <a:close/>
                  <a:moveTo>
                    <a:pt x="2148899" y="2229184"/>
                  </a:moveTo>
                  <a:cubicBezTo>
                    <a:pt x="2155517" y="2231494"/>
                    <a:pt x="2160811" y="2236692"/>
                    <a:pt x="2163891" y="2245547"/>
                  </a:cubicBezTo>
                  <a:cubicBezTo>
                    <a:pt x="2170052" y="2288672"/>
                    <a:pt x="2117687" y="2336417"/>
                    <a:pt x="2083804" y="2337955"/>
                  </a:cubicBezTo>
                  <a:cubicBezTo>
                    <a:pt x="2049921" y="2339499"/>
                    <a:pt x="2046841" y="2302533"/>
                    <a:pt x="2077643" y="2265571"/>
                  </a:cubicBezTo>
                  <a:cubicBezTo>
                    <a:pt x="2097280" y="2241313"/>
                    <a:pt x="2129046" y="2222253"/>
                    <a:pt x="2148899" y="2229184"/>
                  </a:cubicBezTo>
                  <a:close/>
                  <a:moveTo>
                    <a:pt x="906779" y="2223259"/>
                  </a:moveTo>
                  <a:cubicBezTo>
                    <a:pt x="909546" y="2223500"/>
                    <a:pt x="911375" y="2225135"/>
                    <a:pt x="911760" y="2228601"/>
                  </a:cubicBezTo>
                  <a:cubicBezTo>
                    <a:pt x="910220" y="2245542"/>
                    <a:pt x="873257" y="2276345"/>
                    <a:pt x="859395" y="2276345"/>
                  </a:cubicBezTo>
                  <a:cubicBezTo>
                    <a:pt x="850155" y="2276345"/>
                    <a:pt x="854775" y="2262484"/>
                    <a:pt x="870176" y="2247083"/>
                  </a:cubicBezTo>
                  <a:cubicBezTo>
                    <a:pt x="881728" y="2234377"/>
                    <a:pt x="898477" y="2222536"/>
                    <a:pt x="906779" y="2223259"/>
                  </a:cubicBezTo>
                  <a:close/>
                  <a:moveTo>
                    <a:pt x="509015" y="2199337"/>
                  </a:moveTo>
                  <a:cubicBezTo>
                    <a:pt x="509785" y="2199337"/>
                    <a:pt x="509785" y="2200106"/>
                    <a:pt x="509785" y="2200877"/>
                  </a:cubicBezTo>
                  <a:cubicBezTo>
                    <a:pt x="505164" y="2211658"/>
                    <a:pt x="475902" y="2236300"/>
                    <a:pt x="471281" y="2236300"/>
                  </a:cubicBezTo>
                  <a:cubicBezTo>
                    <a:pt x="468201" y="2236300"/>
                    <a:pt x="475902" y="2227059"/>
                    <a:pt x="483603" y="2219359"/>
                  </a:cubicBezTo>
                  <a:cubicBezTo>
                    <a:pt x="491303" y="2211658"/>
                    <a:pt x="499004" y="2205497"/>
                    <a:pt x="503624" y="2202416"/>
                  </a:cubicBezTo>
                  <a:cubicBezTo>
                    <a:pt x="506705" y="2200106"/>
                    <a:pt x="508245" y="2199337"/>
                    <a:pt x="509015" y="2199337"/>
                  </a:cubicBezTo>
                  <a:close/>
                  <a:moveTo>
                    <a:pt x="421997" y="2197806"/>
                  </a:moveTo>
                  <a:cubicBezTo>
                    <a:pt x="421997" y="2197806"/>
                    <a:pt x="421997" y="2197806"/>
                    <a:pt x="423537" y="2197806"/>
                  </a:cubicBezTo>
                  <a:cubicBezTo>
                    <a:pt x="421997" y="2199343"/>
                    <a:pt x="409676" y="2213206"/>
                    <a:pt x="403515" y="2220906"/>
                  </a:cubicBezTo>
                  <a:cubicBezTo>
                    <a:pt x="401975" y="2222447"/>
                    <a:pt x="391194" y="2233229"/>
                    <a:pt x="389654" y="2233229"/>
                  </a:cubicBezTo>
                  <a:cubicBezTo>
                    <a:pt x="389654" y="2230149"/>
                    <a:pt x="415836" y="2202423"/>
                    <a:pt x="421997" y="2197806"/>
                  </a:cubicBezTo>
                  <a:close/>
                  <a:moveTo>
                    <a:pt x="686707" y="2192792"/>
                  </a:moveTo>
                  <a:cubicBezTo>
                    <a:pt x="692291" y="2189712"/>
                    <a:pt x="696141" y="2189326"/>
                    <a:pt x="696141" y="2193176"/>
                  </a:cubicBezTo>
                  <a:cubicBezTo>
                    <a:pt x="693061" y="2207038"/>
                    <a:pt x="660718" y="2234760"/>
                    <a:pt x="651477" y="2234760"/>
                  </a:cubicBezTo>
                  <a:cubicBezTo>
                    <a:pt x="645316" y="2234760"/>
                    <a:pt x="649937" y="2225520"/>
                    <a:pt x="662258" y="2213198"/>
                  </a:cubicBezTo>
                  <a:cubicBezTo>
                    <a:pt x="663798" y="2211659"/>
                    <a:pt x="665338" y="2210118"/>
                    <a:pt x="666878" y="2208579"/>
                  </a:cubicBezTo>
                  <a:cubicBezTo>
                    <a:pt x="673809" y="2201647"/>
                    <a:pt x="681124" y="2195871"/>
                    <a:pt x="686707" y="2192792"/>
                  </a:cubicBezTo>
                  <a:close/>
                  <a:moveTo>
                    <a:pt x="400435" y="2182394"/>
                  </a:moveTo>
                  <a:cubicBezTo>
                    <a:pt x="395815" y="2188555"/>
                    <a:pt x="368092" y="2214736"/>
                    <a:pt x="366552" y="2214736"/>
                  </a:cubicBezTo>
                  <a:cubicBezTo>
                    <a:pt x="366552" y="2213196"/>
                    <a:pt x="375793" y="2203956"/>
                    <a:pt x="378873" y="2200876"/>
                  </a:cubicBezTo>
                  <a:cubicBezTo>
                    <a:pt x="378873" y="2200876"/>
                    <a:pt x="398895" y="2180854"/>
                    <a:pt x="400435" y="2182394"/>
                  </a:cubicBezTo>
                  <a:close/>
                  <a:moveTo>
                    <a:pt x="1140759" y="2163481"/>
                  </a:moveTo>
                  <a:cubicBezTo>
                    <a:pt x="1144225" y="2163818"/>
                    <a:pt x="1146631" y="2165840"/>
                    <a:pt x="1147401" y="2170074"/>
                  </a:cubicBezTo>
                  <a:cubicBezTo>
                    <a:pt x="1148942" y="2191638"/>
                    <a:pt x="1108898" y="2227060"/>
                    <a:pt x="1088876" y="2228601"/>
                  </a:cubicBezTo>
                  <a:cubicBezTo>
                    <a:pt x="1075015" y="2228601"/>
                    <a:pt x="1078095" y="2211660"/>
                    <a:pt x="1096577" y="2191638"/>
                  </a:cubicBezTo>
                  <a:cubicBezTo>
                    <a:pt x="1110439" y="2176621"/>
                    <a:pt x="1130364" y="2162470"/>
                    <a:pt x="1140759" y="2163481"/>
                  </a:cubicBezTo>
                  <a:close/>
                  <a:moveTo>
                    <a:pt x="448179" y="2120789"/>
                  </a:moveTo>
                  <a:cubicBezTo>
                    <a:pt x="443559" y="2126950"/>
                    <a:pt x="414296" y="2156213"/>
                    <a:pt x="411216" y="2157752"/>
                  </a:cubicBezTo>
                  <a:cubicBezTo>
                    <a:pt x="415836" y="2153132"/>
                    <a:pt x="420457" y="2148513"/>
                    <a:pt x="425077" y="2143891"/>
                  </a:cubicBezTo>
                  <a:cubicBezTo>
                    <a:pt x="446639" y="2120789"/>
                    <a:pt x="448179" y="2120789"/>
                    <a:pt x="448179" y="2120789"/>
                  </a:cubicBezTo>
                  <a:close/>
                  <a:moveTo>
                    <a:pt x="1381116" y="2120622"/>
                  </a:moveTo>
                  <a:cubicBezTo>
                    <a:pt x="1385159" y="2121368"/>
                    <a:pt x="1388047" y="2123871"/>
                    <a:pt x="1389202" y="2128491"/>
                  </a:cubicBezTo>
                  <a:cubicBezTo>
                    <a:pt x="1390743" y="2154675"/>
                    <a:pt x="1350699" y="2193179"/>
                    <a:pt x="1326057" y="2196258"/>
                  </a:cubicBezTo>
                  <a:cubicBezTo>
                    <a:pt x="1306035" y="2199339"/>
                    <a:pt x="1307575" y="2176236"/>
                    <a:pt x="1329137" y="2151594"/>
                  </a:cubicBezTo>
                  <a:cubicBezTo>
                    <a:pt x="1346464" y="2131957"/>
                    <a:pt x="1368988" y="2118385"/>
                    <a:pt x="1381116" y="2120622"/>
                  </a:cubicBezTo>
                  <a:close/>
                  <a:moveTo>
                    <a:pt x="537507" y="2119250"/>
                  </a:moveTo>
                  <a:cubicBezTo>
                    <a:pt x="540587" y="2116168"/>
                    <a:pt x="540587" y="2117709"/>
                    <a:pt x="540587" y="2119250"/>
                  </a:cubicBezTo>
                  <a:cubicBezTo>
                    <a:pt x="535967" y="2130029"/>
                    <a:pt x="503624" y="2159293"/>
                    <a:pt x="499004" y="2159293"/>
                  </a:cubicBezTo>
                  <a:cubicBezTo>
                    <a:pt x="497464" y="2159293"/>
                    <a:pt x="502084" y="2151592"/>
                    <a:pt x="512865" y="2140811"/>
                  </a:cubicBezTo>
                  <a:cubicBezTo>
                    <a:pt x="522106" y="2130029"/>
                    <a:pt x="532887" y="2120789"/>
                    <a:pt x="537507" y="2119250"/>
                  </a:cubicBezTo>
                  <a:close/>
                  <a:moveTo>
                    <a:pt x="909836" y="2107578"/>
                  </a:moveTo>
                  <a:cubicBezTo>
                    <a:pt x="912627" y="2107314"/>
                    <a:pt x="914456" y="2108468"/>
                    <a:pt x="914841" y="2111549"/>
                  </a:cubicBezTo>
                  <a:cubicBezTo>
                    <a:pt x="913301" y="2128492"/>
                    <a:pt x="874798" y="2162374"/>
                    <a:pt x="860936" y="2163915"/>
                  </a:cubicBezTo>
                  <a:cubicBezTo>
                    <a:pt x="851696" y="2163915"/>
                    <a:pt x="856316" y="2151593"/>
                    <a:pt x="871717" y="2134651"/>
                  </a:cubicBezTo>
                  <a:cubicBezTo>
                    <a:pt x="884424" y="2121945"/>
                    <a:pt x="901461" y="2108373"/>
                    <a:pt x="909836" y="2107578"/>
                  </a:cubicBezTo>
                  <a:close/>
                  <a:moveTo>
                    <a:pt x="703650" y="2094609"/>
                  </a:moveTo>
                  <a:cubicBezTo>
                    <a:pt x="708463" y="2091914"/>
                    <a:pt x="711543" y="2091529"/>
                    <a:pt x="711543" y="2094609"/>
                  </a:cubicBezTo>
                  <a:cubicBezTo>
                    <a:pt x="708463" y="2108468"/>
                    <a:pt x="673040" y="2140811"/>
                    <a:pt x="663799" y="2140811"/>
                  </a:cubicBezTo>
                  <a:cubicBezTo>
                    <a:pt x="657638" y="2140811"/>
                    <a:pt x="663799" y="2131570"/>
                    <a:pt x="676120" y="2117709"/>
                  </a:cubicBezTo>
                  <a:cubicBezTo>
                    <a:pt x="679200" y="2114629"/>
                    <a:pt x="682280" y="2111549"/>
                    <a:pt x="685361" y="2108468"/>
                  </a:cubicBezTo>
                  <a:cubicBezTo>
                    <a:pt x="692292" y="2102308"/>
                    <a:pt x="698837" y="2097303"/>
                    <a:pt x="703650" y="2094609"/>
                  </a:cubicBezTo>
                  <a:close/>
                  <a:moveTo>
                    <a:pt x="1624121" y="2091202"/>
                  </a:moveTo>
                  <a:cubicBezTo>
                    <a:pt x="1628982" y="2092598"/>
                    <a:pt x="1632544" y="2096160"/>
                    <a:pt x="1634084" y="2102311"/>
                  </a:cubicBezTo>
                  <a:cubicBezTo>
                    <a:pt x="1637164" y="2133112"/>
                    <a:pt x="1592500" y="2177776"/>
                    <a:pt x="1563238" y="2179318"/>
                  </a:cubicBezTo>
                  <a:cubicBezTo>
                    <a:pt x="1540136" y="2180858"/>
                    <a:pt x="1540136" y="2154674"/>
                    <a:pt x="1564778" y="2125412"/>
                  </a:cubicBezTo>
                  <a:cubicBezTo>
                    <a:pt x="1583259" y="2102309"/>
                    <a:pt x="1609538" y="2087015"/>
                    <a:pt x="1624121" y="2091202"/>
                  </a:cubicBezTo>
                  <a:close/>
                  <a:moveTo>
                    <a:pt x="2349382" y="2085703"/>
                  </a:moveTo>
                  <a:cubicBezTo>
                    <a:pt x="2355831" y="2088181"/>
                    <a:pt x="2361029" y="2093476"/>
                    <a:pt x="2364109" y="2102311"/>
                  </a:cubicBezTo>
                  <a:cubicBezTo>
                    <a:pt x="2371810" y="2143896"/>
                    <a:pt x="2327146" y="2187022"/>
                    <a:pt x="2294803" y="2191642"/>
                  </a:cubicBezTo>
                  <a:cubicBezTo>
                    <a:pt x="2259380" y="2196263"/>
                    <a:pt x="2251679" y="2157758"/>
                    <a:pt x="2280942" y="2119254"/>
                  </a:cubicBezTo>
                  <a:cubicBezTo>
                    <a:pt x="2299424" y="2096171"/>
                    <a:pt x="2330034" y="2078266"/>
                    <a:pt x="2349382" y="2085703"/>
                  </a:cubicBezTo>
                  <a:close/>
                  <a:moveTo>
                    <a:pt x="1868017" y="2074072"/>
                  </a:moveTo>
                  <a:cubicBezTo>
                    <a:pt x="1873769" y="2075853"/>
                    <a:pt x="1878197" y="2079992"/>
                    <a:pt x="1880507" y="2086923"/>
                  </a:cubicBezTo>
                  <a:cubicBezTo>
                    <a:pt x="1885127" y="2122333"/>
                    <a:pt x="1840463" y="2168538"/>
                    <a:pt x="1806580" y="2173158"/>
                  </a:cubicBezTo>
                  <a:cubicBezTo>
                    <a:pt x="1777317" y="2177778"/>
                    <a:pt x="1774237" y="2143895"/>
                    <a:pt x="1801960" y="2110012"/>
                  </a:cubicBezTo>
                  <a:cubicBezTo>
                    <a:pt x="1821596" y="2084613"/>
                    <a:pt x="1850763" y="2068729"/>
                    <a:pt x="1868017" y="2074072"/>
                  </a:cubicBezTo>
                  <a:close/>
                  <a:moveTo>
                    <a:pt x="2111479" y="2070803"/>
                  </a:moveTo>
                  <a:cubicBezTo>
                    <a:pt x="2117784" y="2073257"/>
                    <a:pt x="2122693" y="2078455"/>
                    <a:pt x="2125388" y="2086926"/>
                  </a:cubicBezTo>
                  <a:cubicBezTo>
                    <a:pt x="2133089" y="2128494"/>
                    <a:pt x="2083805" y="2179320"/>
                    <a:pt x="2046841" y="2182401"/>
                  </a:cubicBezTo>
                  <a:cubicBezTo>
                    <a:pt x="2012958" y="2183941"/>
                    <a:pt x="2009878" y="2146976"/>
                    <a:pt x="2039141" y="2108471"/>
                  </a:cubicBezTo>
                  <a:cubicBezTo>
                    <a:pt x="2061087" y="2080766"/>
                    <a:pt x="2092564" y="2063439"/>
                    <a:pt x="2111479" y="2070803"/>
                  </a:cubicBezTo>
                  <a:close/>
                  <a:moveTo>
                    <a:pt x="497463" y="2068450"/>
                  </a:moveTo>
                  <a:cubicBezTo>
                    <a:pt x="497463" y="2069989"/>
                    <a:pt x="480522" y="2088472"/>
                    <a:pt x="474361" y="2094632"/>
                  </a:cubicBezTo>
                  <a:cubicBezTo>
                    <a:pt x="469741" y="2099231"/>
                    <a:pt x="465121" y="2105394"/>
                    <a:pt x="458960" y="2110012"/>
                  </a:cubicBezTo>
                  <a:cubicBezTo>
                    <a:pt x="460500" y="2106932"/>
                    <a:pt x="497463" y="2069989"/>
                    <a:pt x="497463" y="2068450"/>
                  </a:cubicBezTo>
                  <a:close/>
                  <a:moveTo>
                    <a:pt x="572930" y="2042244"/>
                  </a:moveTo>
                  <a:cubicBezTo>
                    <a:pt x="572930" y="2043784"/>
                    <a:pt x="572930" y="2043784"/>
                    <a:pt x="572930" y="2043784"/>
                  </a:cubicBezTo>
                  <a:cubicBezTo>
                    <a:pt x="568310" y="2053025"/>
                    <a:pt x="532886" y="2088448"/>
                    <a:pt x="528266" y="2086908"/>
                  </a:cubicBezTo>
                  <a:cubicBezTo>
                    <a:pt x="528266" y="2083828"/>
                    <a:pt x="539047" y="2073047"/>
                    <a:pt x="543667" y="2068426"/>
                  </a:cubicBezTo>
                  <a:cubicBezTo>
                    <a:pt x="549828" y="2062266"/>
                    <a:pt x="569850" y="2042244"/>
                    <a:pt x="572930" y="2042244"/>
                  </a:cubicBezTo>
                  <a:close/>
                  <a:moveTo>
                    <a:pt x="1132819" y="2039867"/>
                  </a:moveTo>
                  <a:cubicBezTo>
                    <a:pt x="1136428" y="2039843"/>
                    <a:pt x="1138931" y="2041479"/>
                    <a:pt x="1139701" y="2045330"/>
                  </a:cubicBezTo>
                  <a:cubicBezTo>
                    <a:pt x="1138161" y="2066892"/>
                    <a:pt x="1095037" y="2106928"/>
                    <a:pt x="1076555" y="2106928"/>
                  </a:cubicBezTo>
                  <a:cubicBezTo>
                    <a:pt x="1064234" y="2106928"/>
                    <a:pt x="1070395" y="2089994"/>
                    <a:pt x="1087336" y="2069972"/>
                  </a:cubicBezTo>
                  <a:cubicBezTo>
                    <a:pt x="1101198" y="2054955"/>
                    <a:pt x="1121990" y="2039939"/>
                    <a:pt x="1132819" y="2039867"/>
                  </a:cubicBezTo>
                  <a:close/>
                  <a:moveTo>
                    <a:pt x="551369" y="2022243"/>
                  </a:moveTo>
                  <a:cubicBezTo>
                    <a:pt x="551369" y="2022243"/>
                    <a:pt x="551369" y="2022243"/>
                    <a:pt x="552909" y="2022243"/>
                  </a:cubicBezTo>
                  <a:cubicBezTo>
                    <a:pt x="551369" y="2023783"/>
                    <a:pt x="537508" y="2040726"/>
                    <a:pt x="526727" y="2051507"/>
                  </a:cubicBezTo>
                  <a:cubicBezTo>
                    <a:pt x="525186" y="2053047"/>
                    <a:pt x="512865" y="2066909"/>
                    <a:pt x="509785" y="2068450"/>
                  </a:cubicBezTo>
                  <a:cubicBezTo>
                    <a:pt x="509785" y="2065369"/>
                    <a:pt x="543668" y="2028404"/>
                    <a:pt x="551369" y="2022243"/>
                  </a:cubicBezTo>
                  <a:close/>
                  <a:moveTo>
                    <a:pt x="724056" y="2004319"/>
                  </a:moveTo>
                  <a:cubicBezTo>
                    <a:pt x="727329" y="2002586"/>
                    <a:pt x="730024" y="2002201"/>
                    <a:pt x="730024" y="2005282"/>
                  </a:cubicBezTo>
                  <a:cubicBezTo>
                    <a:pt x="725404" y="2020683"/>
                    <a:pt x="686901" y="2056106"/>
                    <a:pt x="679200" y="2054566"/>
                  </a:cubicBezTo>
                  <a:cubicBezTo>
                    <a:pt x="676120" y="2053026"/>
                    <a:pt x="682280" y="2043785"/>
                    <a:pt x="694601" y="2029924"/>
                  </a:cubicBezTo>
                  <a:cubicBezTo>
                    <a:pt x="703842" y="2020683"/>
                    <a:pt x="711543" y="2012982"/>
                    <a:pt x="714623" y="2011442"/>
                  </a:cubicBezTo>
                  <a:cubicBezTo>
                    <a:pt x="716934" y="2009132"/>
                    <a:pt x="720784" y="2006052"/>
                    <a:pt x="724056" y="2004319"/>
                  </a:cubicBezTo>
                  <a:close/>
                  <a:moveTo>
                    <a:pt x="914889" y="2000687"/>
                  </a:moveTo>
                  <a:cubicBezTo>
                    <a:pt x="917728" y="2000470"/>
                    <a:pt x="919461" y="2001818"/>
                    <a:pt x="919461" y="2005284"/>
                  </a:cubicBezTo>
                  <a:cubicBezTo>
                    <a:pt x="917921" y="2022225"/>
                    <a:pt x="876337" y="2060729"/>
                    <a:pt x="862476" y="2060729"/>
                  </a:cubicBezTo>
                  <a:cubicBezTo>
                    <a:pt x="854776" y="2059188"/>
                    <a:pt x="860936" y="2046867"/>
                    <a:pt x="876337" y="2029926"/>
                  </a:cubicBezTo>
                  <a:cubicBezTo>
                    <a:pt x="887889" y="2016064"/>
                    <a:pt x="906370" y="2001336"/>
                    <a:pt x="914889" y="2000687"/>
                  </a:cubicBezTo>
                  <a:close/>
                  <a:moveTo>
                    <a:pt x="1361312" y="1986686"/>
                  </a:moveTo>
                  <a:cubicBezTo>
                    <a:pt x="1365812" y="1987384"/>
                    <a:pt x="1369181" y="1990271"/>
                    <a:pt x="1370721" y="1996047"/>
                  </a:cubicBezTo>
                  <a:cubicBezTo>
                    <a:pt x="1372262" y="2022229"/>
                    <a:pt x="1327598" y="2065354"/>
                    <a:pt x="1302955" y="2066894"/>
                  </a:cubicBezTo>
                  <a:cubicBezTo>
                    <a:pt x="1284474" y="2068434"/>
                    <a:pt x="1287554" y="2045332"/>
                    <a:pt x="1309116" y="2020689"/>
                  </a:cubicBezTo>
                  <a:cubicBezTo>
                    <a:pt x="1324133" y="2002208"/>
                    <a:pt x="1347812" y="1984592"/>
                    <a:pt x="1361312" y="1986686"/>
                  </a:cubicBezTo>
                  <a:close/>
                  <a:moveTo>
                    <a:pt x="605273" y="1983739"/>
                  </a:moveTo>
                  <a:cubicBezTo>
                    <a:pt x="605273" y="1983739"/>
                    <a:pt x="605273" y="1983739"/>
                    <a:pt x="606813" y="1983739"/>
                  </a:cubicBezTo>
                  <a:cubicBezTo>
                    <a:pt x="608353" y="1985279"/>
                    <a:pt x="591412" y="2005301"/>
                    <a:pt x="582171" y="2016083"/>
                  </a:cubicBezTo>
                  <a:cubicBezTo>
                    <a:pt x="580631" y="2017623"/>
                    <a:pt x="566769" y="2033025"/>
                    <a:pt x="563689" y="2033025"/>
                  </a:cubicBezTo>
                  <a:cubicBezTo>
                    <a:pt x="563689" y="2028405"/>
                    <a:pt x="597572" y="1988359"/>
                    <a:pt x="605273" y="1983739"/>
                  </a:cubicBezTo>
                  <a:close/>
                  <a:moveTo>
                    <a:pt x="608353" y="1974478"/>
                  </a:moveTo>
                  <a:cubicBezTo>
                    <a:pt x="608353" y="1976017"/>
                    <a:pt x="608353" y="1976017"/>
                    <a:pt x="608353" y="1976017"/>
                  </a:cubicBezTo>
                  <a:cubicBezTo>
                    <a:pt x="602193" y="1986799"/>
                    <a:pt x="565229" y="2023762"/>
                    <a:pt x="562149" y="2023762"/>
                  </a:cubicBezTo>
                  <a:cubicBezTo>
                    <a:pt x="563689" y="2020682"/>
                    <a:pt x="572930" y="2009901"/>
                    <a:pt x="579090" y="2003741"/>
                  </a:cubicBezTo>
                  <a:cubicBezTo>
                    <a:pt x="579090" y="2003741"/>
                    <a:pt x="605273" y="1974478"/>
                    <a:pt x="608353" y="1974478"/>
                  </a:cubicBezTo>
                  <a:close/>
                  <a:moveTo>
                    <a:pt x="1596399" y="1949098"/>
                  </a:moveTo>
                  <a:cubicBezTo>
                    <a:pt x="1601260" y="1950132"/>
                    <a:pt x="1604822" y="1953309"/>
                    <a:pt x="1606362" y="1959085"/>
                  </a:cubicBezTo>
                  <a:cubicBezTo>
                    <a:pt x="1610982" y="1991429"/>
                    <a:pt x="1566318" y="2037635"/>
                    <a:pt x="1535516" y="2040715"/>
                  </a:cubicBezTo>
                  <a:cubicBezTo>
                    <a:pt x="1512414" y="2042254"/>
                    <a:pt x="1512414" y="2016071"/>
                    <a:pt x="1537056" y="1985268"/>
                  </a:cubicBezTo>
                  <a:cubicBezTo>
                    <a:pt x="1555538" y="1962166"/>
                    <a:pt x="1581816" y="1945993"/>
                    <a:pt x="1596399" y="1949098"/>
                  </a:cubicBezTo>
                  <a:close/>
                  <a:moveTo>
                    <a:pt x="1832593" y="1925589"/>
                  </a:moveTo>
                  <a:cubicBezTo>
                    <a:pt x="1838345" y="1927418"/>
                    <a:pt x="1842773" y="1931749"/>
                    <a:pt x="1845083" y="1939065"/>
                  </a:cubicBezTo>
                  <a:cubicBezTo>
                    <a:pt x="1852784" y="1974488"/>
                    <a:pt x="1806580" y="2023775"/>
                    <a:pt x="1772697" y="2028395"/>
                  </a:cubicBezTo>
                  <a:cubicBezTo>
                    <a:pt x="1741894" y="2033016"/>
                    <a:pt x="1738814" y="1999132"/>
                    <a:pt x="1766536" y="1963708"/>
                  </a:cubicBezTo>
                  <a:cubicBezTo>
                    <a:pt x="1786173" y="1937140"/>
                    <a:pt x="1815339" y="1920103"/>
                    <a:pt x="1832593" y="1925589"/>
                  </a:cubicBezTo>
                  <a:close/>
                  <a:moveTo>
                    <a:pt x="2281520" y="1924249"/>
                  </a:moveTo>
                  <a:cubicBezTo>
                    <a:pt x="2297499" y="1919820"/>
                    <a:pt x="2311745" y="1924440"/>
                    <a:pt x="2317906" y="1942151"/>
                  </a:cubicBezTo>
                  <a:cubicBezTo>
                    <a:pt x="2328686" y="1983737"/>
                    <a:pt x="2284023" y="2028403"/>
                    <a:pt x="2251680" y="2034564"/>
                  </a:cubicBezTo>
                  <a:cubicBezTo>
                    <a:pt x="2214716" y="2040724"/>
                    <a:pt x="2205476" y="2000678"/>
                    <a:pt x="2234738" y="1960634"/>
                  </a:cubicBezTo>
                  <a:cubicBezTo>
                    <a:pt x="2247829" y="1942152"/>
                    <a:pt x="2265541" y="1928677"/>
                    <a:pt x="2281520" y="1924249"/>
                  </a:cubicBezTo>
                  <a:close/>
                  <a:moveTo>
                    <a:pt x="1126658" y="1923080"/>
                  </a:moveTo>
                  <a:cubicBezTo>
                    <a:pt x="1130267" y="1922888"/>
                    <a:pt x="1132770" y="1924428"/>
                    <a:pt x="1133540" y="1928278"/>
                  </a:cubicBezTo>
                  <a:cubicBezTo>
                    <a:pt x="1133540" y="1949840"/>
                    <a:pt x="1088876" y="1992965"/>
                    <a:pt x="1070395" y="1992965"/>
                  </a:cubicBezTo>
                  <a:cubicBezTo>
                    <a:pt x="1058073" y="1994505"/>
                    <a:pt x="1062694" y="1976022"/>
                    <a:pt x="1081176" y="1956000"/>
                  </a:cubicBezTo>
                  <a:cubicBezTo>
                    <a:pt x="1095037" y="1939828"/>
                    <a:pt x="1115829" y="1923658"/>
                    <a:pt x="1126658" y="1923080"/>
                  </a:cubicBezTo>
                  <a:close/>
                  <a:moveTo>
                    <a:pt x="750431" y="1918648"/>
                  </a:moveTo>
                  <a:cubicBezTo>
                    <a:pt x="751586" y="1918648"/>
                    <a:pt x="751586" y="1919803"/>
                    <a:pt x="751586" y="1920574"/>
                  </a:cubicBezTo>
                  <a:cubicBezTo>
                    <a:pt x="746966" y="1934434"/>
                    <a:pt x="706922" y="1974479"/>
                    <a:pt x="699221" y="1974479"/>
                  </a:cubicBezTo>
                  <a:cubicBezTo>
                    <a:pt x="694601" y="1974479"/>
                    <a:pt x="702302" y="1963698"/>
                    <a:pt x="714623" y="1949836"/>
                  </a:cubicBezTo>
                  <a:cubicBezTo>
                    <a:pt x="723864" y="1939055"/>
                    <a:pt x="734644" y="1928275"/>
                    <a:pt x="742345" y="1923653"/>
                  </a:cubicBezTo>
                  <a:cubicBezTo>
                    <a:pt x="746966" y="1919803"/>
                    <a:pt x="749276" y="1918648"/>
                    <a:pt x="750431" y="1918648"/>
                  </a:cubicBezTo>
                  <a:close/>
                  <a:moveTo>
                    <a:pt x="2069895" y="1913970"/>
                  </a:moveTo>
                  <a:cubicBezTo>
                    <a:pt x="2076200" y="1916256"/>
                    <a:pt x="2081109" y="1921357"/>
                    <a:pt x="2083804" y="1929829"/>
                  </a:cubicBezTo>
                  <a:cubicBezTo>
                    <a:pt x="2094585" y="1972953"/>
                    <a:pt x="2040680" y="2025319"/>
                    <a:pt x="2006798" y="2028399"/>
                  </a:cubicBezTo>
                  <a:cubicBezTo>
                    <a:pt x="1972915" y="2033020"/>
                    <a:pt x="1968294" y="1994515"/>
                    <a:pt x="1997557" y="1954470"/>
                  </a:cubicBezTo>
                  <a:cubicBezTo>
                    <a:pt x="2019503" y="1925593"/>
                    <a:pt x="2050980" y="1907111"/>
                    <a:pt x="2069895" y="1913970"/>
                  </a:cubicBezTo>
                  <a:close/>
                  <a:moveTo>
                    <a:pt x="646857" y="1911331"/>
                  </a:moveTo>
                  <a:cubicBezTo>
                    <a:pt x="646857" y="1912871"/>
                    <a:pt x="646857" y="1912871"/>
                    <a:pt x="646857" y="1912871"/>
                  </a:cubicBezTo>
                  <a:cubicBezTo>
                    <a:pt x="639157" y="1925192"/>
                    <a:pt x="603733" y="1962156"/>
                    <a:pt x="599113" y="1965236"/>
                  </a:cubicBezTo>
                  <a:cubicBezTo>
                    <a:pt x="599113" y="1965236"/>
                    <a:pt x="599113" y="1963696"/>
                    <a:pt x="616054" y="1945214"/>
                  </a:cubicBezTo>
                  <a:cubicBezTo>
                    <a:pt x="617595" y="1943674"/>
                    <a:pt x="643777" y="1914411"/>
                    <a:pt x="646857" y="1911331"/>
                  </a:cubicBezTo>
                  <a:close/>
                  <a:moveTo>
                    <a:pt x="923046" y="1900577"/>
                  </a:moveTo>
                  <a:cubicBezTo>
                    <a:pt x="925621" y="1900071"/>
                    <a:pt x="927161" y="1900938"/>
                    <a:pt x="927161" y="1903633"/>
                  </a:cubicBezTo>
                  <a:cubicBezTo>
                    <a:pt x="924081" y="1923655"/>
                    <a:pt x="882497" y="1963698"/>
                    <a:pt x="868636" y="1963698"/>
                  </a:cubicBezTo>
                  <a:cubicBezTo>
                    <a:pt x="860936" y="1963698"/>
                    <a:pt x="867096" y="1949837"/>
                    <a:pt x="882497" y="1932896"/>
                  </a:cubicBezTo>
                  <a:cubicBezTo>
                    <a:pt x="882497" y="1931356"/>
                    <a:pt x="884038" y="1929815"/>
                    <a:pt x="885578" y="1929815"/>
                  </a:cubicBezTo>
                  <a:cubicBezTo>
                    <a:pt x="898284" y="1915954"/>
                    <a:pt x="915321" y="1902093"/>
                    <a:pt x="923046" y="1900577"/>
                  </a:cubicBezTo>
                  <a:close/>
                  <a:moveTo>
                    <a:pt x="1343046" y="1859333"/>
                  </a:moveTo>
                  <a:cubicBezTo>
                    <a:pt x="1347138" y="1859454"/>
                    <a:pt x="1349929" y="1861668"/>
                    <a:pt x="1350699" y="1866673"/>
                  </a:cubicBezTo>
                  <a:cubicBezTo>
                    <a:pt x="1352239" y="1894396"/>
                    <a:pt x="1307575" y="1939060"/>
                    <a:pt x="1282933" y="1942141"/>
                  </a:cubicBezTo>
                  <a:cubicBezTo>
                    <a:pt x="1265991" y="1943681"/>
                    <a:pt x="1269072" y="1922119"/>
                    <a:pt x="1290634" y="1895937"/>
                  </a:cubicBezTo>
                  <a:cubicBezTo>
                    <a:pt x="1306805" y="1877453"/>
                    <a:pt x="1330773" y="1858972"/>
                    <a:pt x="1343046" y="1859333"/>
                  </a:cubicBezTo>
                  <a:close/>
                  <a:moveTo>
                    <a:pt x="686900" y="1858984"/>
                  </a:moveTo>
                  <a:cubicBezTo>
                    <a:pt x="674579" y="1874384"/>
                    <a:pt x="642236" y="1911351"/>
                    <a:pt x="637616" y="1915971"/>
                  </a:cubicBezTo>
                  <a:cubicBezTo>
                    <a:pt x="643777" y="1908270"/>
                    <a:pt x="649937" y="1902110"/>
                    <a:pt x="656098" y="1894408"/>
                  </a:cubicBezTo>
                  <a:cubicBezTo>
                    <a:pt x="666879" y="1882085"/>
                    <a:pt x="676119" y="1869763"/>
                    <a:pt x="686900" y="1858984"/>
                  </a:cubicBezTo>
                  <a:close/>
                  <a:moveTo>
                    <a:pt x="770068" y="1843566"/>
                  </a:moveTo>
                  <a:cubicBezTo>
                    <a:pt x="774688" y="1840487"/>
                    <a:pt x="774688" y="1842026"/>
                    <a:pt x="774688" y="1843566"/>
                  </a:cubicBezTo>
                  <a:cubicBezTo>
                    <a:pt x="768528" y="1857428"/>
                    <a:pt x="728484" y="1899011"/>
                    <a:pt x="720783" y="1900552"/>
                  </a:cubicBezTo>
                  <a:cubicBezTo>
                    <a:pt x="717703" y="1902092"/>
                    <a:pt x="723864" y="1891311"/>
                    <a:pt x="737725" y="1875909"/>
                  </a:cubicBezTo>
                  <a:cubicBezTo>
                    <a:pt x="750046" y="1860509"/>
                    <a:pt x="763907" y="1846647"/>
                    <a:pt x="770068" y="1843566"/>
                  </a:cubicBezTo>
                  <a:close/>
                  <a:moveTo>
                    <a:pt x="1121364" y="1813129"/>
                  </a:moveTo>
                  <a:cubicBezTo>
                    <a:pt x="1124781" y="1812960"/>
                    <a:pt x="1126995" y="1814693"/>
                    <a:pt x="1127380" y="1818929"/>
                  </a:cubicBezTo>
                  <a:cubicBezTo>
                    <a:pt x="1125840" y="1840490"/>
                    <a:pt x="1082716" y="1886693"/>
                    <a:pt x="1062694" y="1888233"/>
                  </a:cubicBezTo>
                  <a:cubicBezTo>
                    <a:pt x="1050373" y="1889774"/>
                    <a:pt x="1056534" y="1872831"/>
                    <a:pt x="1075015" y="1849730"/>
                  </a:cubicBezTo>
                  <a:cubicBezTo>
                    <a:pt x="1090032" y="1831248"/>
                    <a:pt x="1111112" y="1813634"/>
                    <a:pt x="1121364" y="1813129"/>
                  </a:cubicBezTo>
                  <a:close/>
                  <a:moveTo>
                    <a:pt x="1566920" y="1811426"/>
                  </a:moveTo>
                  <a:cubicBezTo>
                    <a:pt x="1572191" y="1812195"/>
                    <a:pt x="1576330" y="1815468"/>
                    <a:pt x="1578640" y="1822013"/>
                  </a:cubicBezTo>
                  <a:cubicBezTo>
                    <a:pt x="1583260" y="1854355"/>
                    <a:pt x="1538596" y="1902099"/>
                    <a:pt x="1507794" y="1906720"/>
                  </a:cubicBezTo>
                  <a:cubicBezTo>
                    <a:pt x="1483151" y="1909801"/>
                    <a:pt x="1483151" y="1883617"/>
                    <a:pt x="1507794" y="1851275"/>
                  </a:cubicBezTo>
                  <a:cubicBezTo>
                    <a:pt x="1525121" y="1829328"/>
                    <a:pt x="1551110" y="1809115"/>
                    <a:pt x="1566920" y="1811426"/>
                  </a:cubicBezTo>
                  <a:close/>
                  <a:moveTo>
                    <a:pt x="730024" y="1811244"/>
                  </a:moveTo>
                  <a:cubicBezTo>
                    <a:pt x="728484" y="1814324"/>
                    <a:pt x="706922" y="1840504"/>
                    <a:pt x="699222" y="1849743"/>
                  </a:cubicBezTo>
                  <a:cubicBezTo>
                    <a:pt x="697681" y="1851284"/>
                    <a:pt x="683820" y="1868224"/>
                    <a:pt x="680740" y="1871303"/>
                  </a:cubicBezTo>
                  <a:cubicBezTo>
                    <a:pt x="682280" y="1866684"/>
                    <a:pt x="728484" y="1811244"/>
                    <a:pt x="730024" y="1811244"/>
                  </a:cubicBezTo>
                  <a:close/>
                  <a:moveTo>
                    <a:pt x="931276" y="1806581"/>
                  </a:moveTo>
                  <a:cubicBezTo>
                    <a:pt x="933514" y="1806124"/>
                    <a:pt x="934862" y="1806990"/>
                    <a:pt x="934862" y="1809685"/>
                  </a:cubicBezTo>
                  <a:cubicBezTo>
                    <a:pt x="931782" y="1829707"/>
                    <a:pt x="887118" y="1872830"/>
                    <a:pt x="874797" y="1874370"/>
                  </a:cubicBezTo>
                  <a:cubicBezTo>
                    <a:pt x="867096" y="1874370"/>
                    <a:pt x="874797" y="1860509"/>
                    <a:pt x="890198" y="1842028"/>
                  </a:cubicBezTo>
                  <a:cubicBezTo>
                    <a:pt x="893279" y="1838948"/>
                    <a:pt x="896359" y="1835868"/>
                    <a:pt x="899439" y="1832787"/>
                  </a:cubicBezTo>
                  <a:cubicBezTo>
                    <a:pt x="909835" y="1821236"/>
                    <a:pt x="924562" y="1807953"/>
                    <a:pt x="931276" y="1806581"/>
                  </a:cubicBezTo>
                  <a:close/>
                  <a:moveTo>
                    <a:pt x="1795630" y="1780436"/>
                  </a:moveTo>
                  <a:cubicBezTo>
                    <a:pt x="1801382" y="1781879"/>
                    <a:pt x="1805810" y="1785825"/>
                    <a:pt x="1808120" y="1792755"/>
                  </a:cubicBezTo>
                  <a:cubicBezTo>
                    <a:pt x="1815821" y="1828177"/>
                    <a:pt x="1771157" y="1880539"/>
                    <a:pt x="1737274" y="1886699"/>
                  </a:cubicBezTo>
                  <a:cubicBezTo>
                    <a:pt x="1706471" y="1892861"/>
                    <a:pt x="1701850" y="1860517"/>
                    <a:pt x="1729573" y="1822017"/>
                  </a:cubicBezTo>
                  <a:cubicBezTo>
                    <a:pt x="1749210" y="1794296"/>
                    <a:pt x="1778376" y="1776104"/>
                    <a:pt x="1795630" y="1780436"/>
                  </a:cubicBezTo>
                  <a:close/>
                  <a:moveTo>
                    <a:pt x="774688" y="1771204"/>
                  </a:moveTo>
                  <a:cubicBezTo>
                    <a:pt x="773148" y="1774284"/>
                    <a:pt x="759287" y="1794304"/>
                    <a:pt x="745426" y="1812785"/>
                  </a:cubicBezTo>
                  <a:cubicBezTo>
                    <a:pt x="742346" y="1817404"/>
                    <a:pt x="730024" y="1831264"/>
                    <a:pt x="725404" y="1834345"/>
                  </a:cubicBezTo>
                  <a:cubicBezTo>
                    <a:pt x="726944" y="1828184"/>
                    <a:pt x="766988" y="1777365"/>
                    <a:pt x="774688" y="1771204"/>
                  </a:cubicBezTo>
                  <a:close/>
                  <a:moveTo>
                    <a:pt x="799330" y="1771181"/>
                  </a:moveTo>
                  <a:cubicBezTo>
                    <a:pt x="799330" y="1771181"/>
                    <a:pt x="799330" y="1772721"/>
                    <a:pt x="799330" y="1772721"/>
                  </a:cubicBezTo>
                  <a:cubicBezTo>
                    <a:pt x="793169" y="1786582"/>
                    <a:pt x="750046" y="1835866"/>
                    <a:pt x="743885" y="1834326"/>
                  </a:cubicBezTo>
                  <a:cubicBezTo>
                    <a:pt x="743885" y="1831245"/>
                    <a:pt x="756206" y="1815844"/>
                    <a:pt x="762367" y="1808143"/>
                  </a:cubicBezTo>
                  <a:cubicBezTo>
                    <a:pt x="763907" y="1808143"/>
                    <a:pt x="794709" y="1769641"/>
                    <a:pt x="799330" y="1771181"/>
                  </a:cubicBezTo>
                  <a:close/>
                  <a:moveTo>
                    <a:pt x="2253243" y="1764994"/>
                  </a:moveTo>
                  <a:cubicBezTo>
                    <a:pt x="2259765" y="1767642"/>
                    <a:pt x="2265156" y="1773128"/>
                    <a:pt x="2268621" y="1781983"/>
                  </a:cubicBezTo>
                  <a:cubicBezTo>
                    <a:pt x="2280942" y="1825102"/>
                    <a:pt x="2236278" y="1872843"/>
                    <a:pt x="2203935" y="1879003"/>
                  </a:cubicBezTo>
                  <a:cubicBezTo>
                    <a:pt x="2168512" y="1885165"/>
                    <a:pt x="2157731" y="1845122"/>
                    <a:pt x="2185453" y="1803543"/>
                  </a:cubicBezTo>
                  <a:cubicBezTo>
                    <a:pt x="2203935" y="1774667"/>
                    <a:pt x="2233678" y="1757054"/>
                    <a:pt x="2253243" y="1764994"/>
                  </a:cubicBezTo>
                  <a:close/>
                  <a:moveTo>
                    <a:pt x="2025905" y="1761765"/>
                  </a:moveTo>
                  <a:cubicBezTo>
                    <a:pt x="2032402" y="1763883"/>
                    <a:pt x="2037601" y="1768889"/>
                    <a:pt x="2040681" y="1777359"/>
                  </a:cubicBezTo>
                  <a:cubicBezTo>
                    <a:pt x="2049922" y="1818938"/>
                    <a:pt x="2003717" y="1875920"/>
                    <a:pt x="1965214" y="1880541"/>
                  </a:cubicBezTo>
                  <a:cubicBezTo>
                    <a:pt x="1931331" y="1885161"/>
                    <a:pt x="1925170" y="1846659"/>
                    <a:pt x="1954433" y="1805078"/>
                  </a:cubicBezTo>
                  <a:cubicBezTo>
                    <a:pt x="1975225" y="1775048"/>
                    <a:pt x="2006412" y="1755413"/>
                    <a:pt x="2025905" y="1761765"/>
                  </a:cubicBezTo>
                  <a:close/>
                  <a:moveTo>
                    <a:pt x="1326779" y="1738823"/>
                  </a:moveTo>
                  <a:cubicBezTo>
                    <a:pt x="1331063" y="1738558"/>
                    <a:pt x="1334143" y="1740387"/>
                    <a:pt x="1335298" y="1745008"/>
                  </a:cubicBezTo>
                  <a:cubicBezTo>
                    <a:pt x="1338378" y="1772729"/>
                    <a:pt x="1292174" y="1820471"/>
                    <a:pt x="1267532" y="1825091"/>
                  </a:cubicBezTo>
                  <a:cubicBezTo>
                    <a:pt x="1250590" y="1828172"/>
                    <a:pt x="1253671" y="1806610"/>
                    <a:pt x="1275233" y="1778889"/>
                  </a:cubicBezTo>
                  <a:cubicBezTo>
                    <a:pt x="1290249" y="1759253"/>
                    <a:pt x="1313929" y="1739617"/>
                    <a:pt x="1326779" y="1738823"/>
                  </a:cubicBezTo>
                  <a:close/>
                  <a:moveTo>
                    <a:pt x="947183" y="1723439"/>
                  </a:moveTo>
                  <a:cubicBezTo>
                    <a:pt x="942563" y="1741921"/>
                    <a:pt x="896359" y="1791205"/>
                    <a:pt x="885578" y="1791205"/>
                  </a:cubicBezTo>
                  <a:cubicBezTo>
                    <a:pt x="880957" y="1791205"/>
                    <a:pt x="887118" y="1777343"/>
                    <a:pt x="902519" y="1758862"/>
                  </a:cubicBezTo>
                  <a:cubicBezTo>
                    <a:pt x="908680" y="1751161"/>
                    <a:pt x="916380" y="1741921"/>
                    <a:pt x="924081" y="1735760"/>
                  </a:cubicBezTo>
                  <a:cubicBezTo>
                    <a:pt x="930242" y="1731140"/>
                    <a:pt x="947183" y="1714199"/>
                    <a:pt x="947183" y="1723439"/>
                  </a:cubicBezTo>
                  <a:close/>
                  <a:moveTo>
                    <a:pt x="1118307" y="1710423"/>
                  </a:moveTo>
                  <a:cubicBezTo>
                    <a:pt x="1121700" y="1709966"/>
                    <a:pt x="1123914" y="1711506"/>
                    <a:pt x="1124299" y="1715742"/>
                  </a:cubicBezTo>
                  <a:cubicBezTo>
                    <a:pt x="1124299" y="1737303"/>
                    <a:pt x="1079635" y="1785046"/>
                    <a:pt x="1061154" y="1788126"/>
                  </a:cubicBezTo>
                  <a:cubicBezTo>
                    <a:pt x="1050373" y="1789666"/>
                    <a:pt x="1054993" y="1772725"/>
                    <a:pt x="1073475" y="1749624"/>
                  </a:cubicBezTo>
                  <a:cubicBezTo>
                    <a:pt x="1087337" y="1731143"/>
                    <a:pt x="1108128" y="1711795"/>
                    <a:pt x="1118307" y="1710423"/>
                  </a:cubicBezTo>
                  <a:close/>
                  <a:moveTo>
                    <a:pt x="825513" y="1706495"/>
                  </a:moveTo>
                  <a:cubicBezTo>
                    <a:pt x="825513" y="1706495"/>
                    <a:pt x="825513" y="1708035"/>
                    <a:pt x="825513" y="1708035"/>
                  </a:cubicBezTo>
                  <a:cubicBezTo>
                    <a:pt x="817812" y="1721896"/>
                    <a:pt x="774688" y="1772720"/>
                    <a:pt x="770068" y="1774261"/>
                  </a:cubicBezTo>
                  <a:cubicBezTo>
                    <a:pt x="771608" y="1772720"/>
                    <a:pt x="777769" y="1763480"/>
                    <a:pt x="790090" y="1748079"/>
                  </a:cubicBezTo>
                  <a:cubicBezTo>
                    <a:pt x="794710" y="1743458"/>
                    <a:pt x="823973" y="1708035"/>
                    <a:pt x="825513" y="1706495"/>
                  </a:cubicBezTo>
                  <a:close/>
                  <a:moveTo>
                    <a:pt x="1538981" y="1680782"/>
                  </a:moveTo>
                  <a:cubicBezTo>
                    <a:pt x="1544371" y="1681094"/>
                    <a:pt x="1548607" y="1683790"/>
                    <a:pt x="1550917" y="1689565"/>
                  </a:cubicBezTo>
                  <a:cubicBezTo>
                    <a:pt x="1555537" y="1723450"/>
                    <a:pt x="1507793" y="1772731"/>
                    <a:pt x="1480071" y="1778892"/>
                  </a:cubicBezTo>
                  <a:cubicBezTo>
                    <a:pt x="1455428" y="1783512"/>
                    <a:pt x="1455428" y="1757331"/>
                    <a:pt x="1480071" y="1723450"/>
                  </a:cubicBezTo>
                  <a:cubicBezTo>
                    <a:pt x="1496243" y="1700347"/>
                    <a:pt x="1522810" y="1679843"/>
                    <a:pt x="1538981" y="1680782"/>
                  </a:cubicBezTo>
                  <a:close/>
                  <a:moveTo>
                    <a:pt x="838606" y="1669427"/>
                  </a:moveTo>
                  <a:lnTo>
                    <a:pt x="833213" y="1677256"/>
                  </a:lnTo>
                  <a:cubicBezTo>
                    <a:pt x="834753" y="1675716"/>
                    <a:pt x="836293" y="1674176"/>
                    <a:pt x="836293" y="1672636"/>
                  </a:cubicBezTo>
                  <a:close/>
                  <a:moveTo>
                    <a:pt x="840379" y="1666968"/>
                  </a:moveTo>
                  <a:lnTo>
                    <a:pt x="838606" y="1669427"/>
                  </a:lnTo>
                  <a:lnTo>
                    <a:pt x="839181" y="1668592"/>
                  </a:lnTo>
                  <a:close/>
                  <a:moveTo>
                    <a:pt x="856316" y="1649509"/>
                  </a:moveTo>
                  <a:cubicBezTo>
                    <a:pt x="856316" y="1651050"/>
                    <a:pt x="856316" y="1651050"/>
                    <a:pt x="856316" y="1651050"/>
                  </a:cubicBezTo>
                  <a:lnTo>
                    <a:pt x="856239" y="1651163"/>
                  </a:lnTo>
                  <a:lnTo>
                    <a:pt x="856316" y="1651072"/>
                  </a:lnTo>
                  <a:lnTo>
                    <a:pt x="856194" y="1651227"/>
                  </a:lnTo>
                  <a:lnTo>
                    <a:pt x="845054" y="1667533"/>
                  </a:lnTo>
                  <a:cubicBezTo>
                    <a:pt x="835235" y="1681058"/>
                    <a:pt x="821952" y="1698144"/>
                    <a:pt x="812133" y="1709744"/>
                  </a:cubicBezTo>
                  <a:lnTo>
                    <a:pt x="801133" y="1721614"/>
                  </a:lnTo>
                  <a:lnTo>
                    <a:pt x="800871" y="1721924"/>
                  </a:lnTo>
                  <a:lnTo>
                    <a:pt x="801007" y="1721750"/>
                  </a:lnTo>
                  <a:lnTo>
                    <a:pt x="800871" y="1721897"/>
                  </a:lnTo>
                  <a:lnTo>
                    <a:pt x="820381" y="1696425"/>
                  </a:lnTo>
                  <a:lnTo>
                    <a:pt x="820893" y="1695738"/>
                  </a:lnTo>
                  <a:lnTo>
                    <a:pt x="822231" y="1694010"/>
                  </a:lnTo>
                  <a:close/>
                  <a:moveTo>
                    <a:pt x="957964" y="1641040"/>
                  </a:moveTo>
                  <a:cubicBezTo>
                    <a:pt x="959504" y="1641040"/>
                    <a:pt x="959504" y="1642581"/>
                    <a:pt x="959504" y="1643351"/>
                  </a:cubicBezTo>
                  <a:cubicBezTo>
                    <a:pt x="954884" y="1661833"/>
                    <a:pt x="908680" y="1715738"/>
                    <a:pt x="897899" y="1715738"/>
                  </a:cubicBezTo>
                  <a:cubicBezTo>
                    <a:pt x="891738" y="1715738"/>
                    <a:pt x="899439" y="1703417"/>
                    <a:pt x="914840" y="1683395"/>
                  </a:cubicBezTo>
                  <a:cubicBezTo>
                    <a:pt x="925621" y="1669534"/>
                    <a:pt x="937942" y="1655672"/>
                    <a:pt x="947183" y="1647972"/>
                  </a:cubicBezTo>
                  <a:cubicBezTo>
                    <a:pt x="953344" y="1642581"/>
                    <a:pt x="956424" y="1641041"/>
                    <a:pt x="957964" y="1641040"/>
                  </a:cubicBezTo>
                  <a:close/>
                  <a:moveTo>
                    <a:pt x="1756044" y="1639680"/>
                  </a:moveTo>
                  <a:cubicBezTo>
                    <a:pt x="1762397" y="1640860"/>
                    <a:pt x="1767691" y="1644902"/>
                    <a:pt x="1771156" y="1652604"/>
                  </a:cubicBezTo>
                  <a:cubicBezTo>
                    <a:pt x="1778857" y="1691109"/>
                    <a:pt x="1731113" y="1743474"/>
                    <a:pt x="1700310" y="1751175"/>
                  </a:cubicBezTo>
                  <a:cubicBezTo>
                    <a:pt x="1669507" y="1757334"/>
                    <a:pt x="1664887" y="1724994"/>
                    <a:pt x="1691069" y="1684947"/>
                  </a:cubicBezTo>
                  <a:cubicBezTo>
                    <a:pt x="1708395" y="1658380"/>
                    <a:pt x="1736984" y="1636143"/>
                    <a:pt x="1756044" y="1639680"/>
                  </a:cubicBezTo>
                  <a:close/>
                  <a:moveTo>
                    <a:pt x="1311594" y="1626005"/>
                  </a:moveTo>
                  <a:cubicBezTo>
                    <a:pt x="1315758" y="1625645"/>
                    <a:pt x="1318742" y="1627570"/>
                    <a:pt x="1319897" y="1632575"/>
                  </a:cubicBezTo>
                  <a:cubicBezTo>
                    <a:pt x="1321437" y="1661838"/>
                    <a:pt x="1272153" y="1715744"/>
                    <a:pt x="1249051" y="1717285"/>
                  </a:cubicBezTo>
                  <a:cubicBezTo>
                    <a:pt x="1235189" y="1718825"/>
                    <a:pt x="1239810" y="1697262"/>
                    <a:pt x="1259832" y="1669539"/>
                  </a:cubicBezTo>
                  <a:cubicBezTo>
                    <a:pt x="1276003" y="1648746"/>
                    <a:pt x="1299105" y="1627089"/>
                    <a:pt x="1311594" y="1626005"/>
                  </a:cubicBezTo>
                  <a:close/>
                  <a:moveTo>
                    <a:pt x="1117417" y="1614548"/>
                  </a:moveTo>
                  <a:cubicBezTo>
                    <a:pt x="1121026" y="1613706"/>
                    <a:pt x="1123529" y="1614861"/>
                    <a:pt x="1124299" y="1618711"/>
                  </a:cubicBezTo>
                  <a:cubicBezTo>
                    <a:pt x="1122759" y="1643354"/>
                    <a:pt x="1071935" y="1695719"/>
                    <a:pt x="1058073" y="1697259"/>
                  </a:cubicBezTo>
                  <a:cubicBezTo>
                    <a:pt x="1048833" y="1697259"/>
                    <a:pt x="1054993" y="1680318"/>
                    <a:pt x="1071935" y="1657215"/>
                  </a:cubicBezTo>
                  <a:cubicBezTo>
                    <a:pt x="1085796" y="1637578"/>
                    <a:pt x="1106588" y="1617075"/>
                    <a:pt x="1117417" y="1614548"/>
                  </a:cubicBezTo>
                  <a:close/>
                  <a:moveTo>
                    <a:pt x="1977968" y="1613309"/>
                  </a:moveTo>
                  <a:cubicBezTo>
                    <a:pt x="1984851" y="1615162"/>
                    <a:pt x="1990627" y="1620263"/>
                    <a:pt x="1994477" y="1629505"/>
                  </a:cubicBezTo>
                  <a:cubicBezTo>
                    <a:pt x="2006798" y="1674171"/>
                    <a:pt x="1955973" y="1729618"/>
                    <a:pt x="1922090" y="1735778"/>
                  </a:cubicBezTo>
                  <a:cubicBezTo>
                    <a:pt x="1888207" y="1741939"/>
                    <a:pt x="1880506" y="1703434"/>
                    <a:pt x="1908229" y="1660309"/>
                  </a:cubicBezTo>
                  <a:cubicBezTo>
                    <a:pt x="1926710" y="1631430"/>
                    <a:pt x="1957321" y="1607751"/>
                    <a:pt x="1977968" y="1613309"/>
                  </a:cubicBezTo>
                  <a:close/>
                  <a:moveTo>
                    <a:pt x="2198689" y="1608837"/>
                  </a:moveTo>
                  <a:cubicBezTo>
                    <a:pt x="2205283" y="1611219"/>
                    <a:pt x="2210866" y="1616418"/>
                    <a:pt x="2214716" y="1624889"/>
                  </a:cubicBezTo>
                  <a:cubicBezTo>
                    <a:pt x="2227037" y="1664933"/>
                    <a:pt x="2190074" y="1718841"/>
                    <a:pt x="2153111" y="1726542"/>
                  </a:cubicBezTo>
                  <a:cubicBezTo>
                    <a:pt x="2116147" y="1735781"/>
                    <a:pt x="2105366" y="1694196"/>
                    <a:pt x="2131549" y="1651070"/>
                  </a:cubicBezTo>
                  <a:cubicBezTo>
                    <a:pt x="2150030" y="1619881"/>
                    <a:pt x="2178908" y="1601691"/>
                    <a:pt x="2198689" y="1608837"/>
                  </a:cubicBezTo>
                  <a:close/>
                  <a:moveTo>
                    <a:pt x="884038" y="1606409"/>
                  </a:moveTo>
                  <a:cubicBezTo>
                    <a:pt x="874797" y="1620268"/>
                    <a:pt x="864016" y="1634130"/>
                    <a:pt x="853235" y="1649532"/>
                  </a:cubicBezTo>
                  <a:lnTo>
                    <a:pt x="840379" y="1666968"/>
                  </a:lnTo>
                  <a:close/>
                  <a:moveTo>
                    <a:pt x="887118" y="1600248"/>
                  </a:moveTo>
                  <a:cubicBezTo>
                    <a:pt x="885578" y="1601789"/>
                    <a:pt x="884038" y="1603329"/>
                    <a:pt x="884038" y="1604869"/>
                  </a:cubicBezTo>
                  <a:lnTo>
                    <a:pt x="836294" y="1671095"/>
                  </a:lnTo>
                  <a:cubicBezTo>
                    <a:pt x="854776" y="1644912"/>
                    <a:pt x="873257" y="1620268"/>
                    <a:pt x="887118" y="1600248"/>
                  </a:cubicBezTo>
                  <a:close/>
                  <a:moveTo>
                    <a:pt x="968746" y="1570964"/>
                  </a:moveTo>
                  <a:cubicBezTo>
                    <a:pt x="973366" y="1566345"/>
                    <a:pt x="973366" y="1569425"/>
                    <a:pt x="973366" y="1570964"/>
                  </a:cubicBezTo>
                  <a:cubicBezTo>
                    <a:pt x="967206" y="1590986"/>
                    <a:pt x="919461" y="1646432"/>
                    <a:pt x="911761" y="1647971"/>
                  </a:cubicBezTo>
                  <a:cubicBezTo>
                    <a:pt x="907140" y="1647971"/>
                    <a:pt x="914841" y="1635651"/>
                    <a:pt x="930242" y="1614089"/>
                  </a:cubicBezTo>
                  <a:cubicBezTo>
                    <a:pt x="942563" y="1598688"/>
                    <a:pt x="959505" y="1577125"/>
                    <a:pt x="968746" y="1570964"/>
                  </a:cubicBezTo>
                  <a:close/>
                  <a:moveTo>
                    <a:pt x="1510199" y="1558723"/>
                  </a:moveTo>
                  <a:cubicBezTo>
                    <a:pt x="1515301" y="1558940"/>
                    <a:pt x="1519344" y="1561731"/>
                    <a:pt x="1521654" y="1567892"/>
                  </a:cubicBezTo>
                  <a:cubicBezTo>
                    <a:pt x="1527815" y="1600235"/>
                    <a:pt x="1480070" y="1655680"/>
                    <a:pt x="1450808" y="1660301"/>
                  </a:cubicBezTo>
                  <a:cubicBezTo>
                    <a:pt x="1430786" y="1663382"/>
                    <a:pt x="1432326" y="1637199"/>
                    <a:pt x="1453888" y="1604856"/>
                  </a:cubicBezTo>
                  <a:cubicBezTo>
                    <a:pt x="1470059" y="1580599"/>
                    <a:pt x="1494894" y="1558073"/>
                    <a:pt x="1510199" y="1558723"/>
                  </a:cubicBezTo>
                  <a:close/>
                  <a:moveTo>
                    <a:pt x="921002" y="1557124"/>
                  </a:moveTo>
                  <a:cubicBezTo>
                    <a:pt x="921002" y="1560204"/>
                    <a:pt x="902520" y="1589468"/>
                    <a:pt x="888659" y="1609489"/>
                  </a:cubicBezTo>
                  <a:cubicBezTo>
                    <a:pt x="887119" y="1612569"/>
                    <a:pt x="873257" y="1632590"/>
                    <a:pt x="868637" y="1637211"/>
                  </a:cubicBezTo>
                  <a:cubicBezTo>
                    <a:pt x="868637" y="1632590"/>
                    <a:pt x="921002" y="1557124"/>
                    <a:pt x="921002" y="1557124"/>
                  </a:cubicBezTo>
                  <a:close/>
                  <a:moveTo>
                    <a:pt x="1115972" y="1524282"/>
                  </a:moveTo>
                  <a:cubicBezTo>
                    <a:pt x="1118908" y="1523415"/>
                    <a:pt x="1120834" y="1524378"/>
                    <a:pt x="1121219" y="1527843"/>
                  </a:cubicBezTo>
                  <a:cubicBezTo>
                    <a:pt x="1119678" y="1550945"/>
                    <a:pt x="1073474" y="1607930"/>
                    <a:pt x="1056533" y="1611010"/>
                  </a:cubicBezTo>
                  <a:cubicBezTo>
                    <a:pt x="1048832" y="1612550"/>
                    <a:pt x="1054993" y="1595609"/>
                    <a:pt x="1071934" y="1570967"/>
                  </a:cubicBezTo>
                  <a:cubicBezTo>
                    <a:pt x="1073474" y="1567887"/>
                    <a:pt x="1076555" y="1564806"/>
                    <a:pt x="1076555" y="1563266"/>
                  </a:cubicBezTo>
                  <a:cubicBezTo>
                    <a:pt x="1089261" y="1545939"/>
                    <a:pt x="1107165" y="1526881"/>
                    <a:pt x="1115972" y="1524282"/>
                  </a:cubicBezTo>
                  <a:close/>
                  <a:moveTo>
                    <a:pt x="1298407" y="1520650"/>
                  </a:moveTo>
                  <a:cubicBezTo>
                    <a:pt x="1302763" y="1520049"/>
                    <a:pt x="1306036" y="1521684"/>
                    <a:pt x="1307576" y="1526306"/>
                  </a:cubicBezTo>
                  <a:cubicBezTo>
                    <a:pt x="1309116" y="1554028"/>
                    <a:pt x="1261372" y="1611013"/>
                    <a:pt x="1238270" y="1614093"/>
                  </a:cubicBezTo>
                  <a:cubicBezTo>
                    <a:pt x="1224409" y="1615634"/>
                    <a:pt x="1227489" y="1594072"/>
                    <a:pt x="1247511" y="1566349"/>
                  </a:cubicBezTo>
                  <a:cubicBezTo>
                    <a:pt x="1262527" y="1544402"/>
                    <a:pt x="1285340" y="1522455"/>
                    <a:pt x="1298407" y="1520650"/>
                  </a:cubicBezTo>
                  <a:close/>
                  <a:moveTo>
                    <a:pt x="1714942" y="1505520"/>
                  </a:moveTo>
                  <a:cubicBezTo>
                    <a:pt x="1720717" y="1506193"/>
                    <a:pt x="1725338" y="1509755"/>
                    <a:pt x="1728033" y="1517071"/>
                  </a:cubicBezTo>
                  <a:cubicBezTo>
                    <a:pt x="1738814" y="1557115"/>
                    <a:pt x="1687989" y="1614100"/>
                    <a:pt x="1657187" y="1620259"/>
                  </a:cubicBezTo>
                  <a:cubicBezTo>
                    <a:pt x="1631004" y="1624882"/>
                    <a:pt x="1627924" y="1592538"/>
                    <a:pt x="1652566" y="1554035"/>
                  </a:cubicBezTo>
                  <a:cubicBezTo>
                    <a:pt x="1669892" y="1527467"/>
                    <a:pt x="1697615" y="1503498"/>
                    <a:pt x="1714942" y="1505520"/>
                  </a:cubicBezTo>
                  <a:close/>
                  <a:moveTo>
                    <a:pt x="987227" y="1501658"/>
                  </a:moveTo>
                  <a:cubicBezTo>
                    <a:pt x="987227" y="1501658"/>
                    <a:pt x="987227" y="1503198"/>
                    <a:pt x="987227" y="1503198"/>
                  </a:cubicBezTo>
                  <a:cubicBezTo>
                    <a:pt x="982607" y="1521680"/>
                    <a:pt x="934863" y="1584826"/>
                    <a:pt x="927162" y="1584826"/>
                  </a:cubicBezTo>
                  <a:cubicBezTo>
                    <a:pt x="927162" y="1583286"/>
                    <a:pt x="933323" y="1570964"/>
                    <a:pt x="947184" y="1552483"/>
                  </a:cubicBezTo>
                  <a:cubicBezTo>
                    <a:pt x="950264" y="1546322"/>
                    <a:pt x="982607" y="1501658"/>
                    <a:pt x="987227" y="1501658"/>
                  </a:cubicBezTo>
                  <a:close/>
                  <a:moveTo>
                    <a:pt x="1927167" y="1468368"/>
                  </a:moveTo>
                  <a:cubicBezTo>
                    <a:pt x="1934026" y="1469715"/>
                    <a:pt x="1939802" y="1474337"/>
                    <a:pt x="1943652" y="1483190"/>
                  </a:cubicBezTo>
                  <a:cubicBezTo>
                    <a:pt x="1957513" y="1527856"/>
                    <a:pt x="1908229" y="1586381"/>
                    <a:pt x="1874345" y="1594081"/>
                  </a:cubicBezTo>
                  <a:cubicBezTo>
                    <a:pt x="1840462" y="1601782"/>
                    <a:pt x="1832762" y="1563278"/>
                    <a:pt x="1858944" y="1518614"/>
                  </a:cubicBezTo>
                  <a:cubicBezTo>
                    <a:pt x="1876271" y="1489734"/>
                    <a:pt x="1906592" y="1464324"/>
                    <a:pt x="1927167" y="1468368"/>
                  </a:cubicBezTo>
                  <a:close/>
                  <a:moveTo>
                    <a:pt x="2139538" y="1457494"/>
                  </a:moveTo>
                  <a:cubicBezTo>
                    <a:pt x="2146180" y="1459804"/>
                    <a:pt x="2151955" y="1465098"/>
                    <a:pt x="2156191" y="1473955"/>
                  </a:cubicBezTo>
                  <a:cubicBezTo>
                    <a:pt x="2171592" y="1517077"/>
                    <a:pt x="2131548" y="1569443"/>
                    <a:pt x="2099206" y="1578683"/>
                  </a:cubicBezTo>
                  <a:cubicBezTo>
                    <a:pt x="2062242" y="1587925"/>
                    <a:pt x="2049921" y="1546340"/>
                    <a:pt x="2074563" y="1501675"/>
                  </a:cubicBezTo>
                  <a:cubicBezTo>
                    <a:pt x="2091890" y="1470490"/>
                    <a:pt x="2119612" y="1450563"/>
                    <a:pt x="2139538" y="1457494"/>
                  </a:cubicBezTo>
                  <a:close/>
                  <a:moveTo>
                    <a:pt x="1122759" y="1444676"/>
                  </a:moveTo>
                  <a:cubicBezTo>
                    <a:pt x="1121219" y="1469318"/>
                    <a:pt x="1070395" y="1532463"/>
                    <a:pt x="1058074" y="1532463"/>
                  </a:cubicBezTo>
                  <a:cubicBezTo>
                    <a:pt x="1051913" y="1532463"/>
                    <a:pt x="1059614" y="1517062"/>
                    <a:pt x="1075015" y="1492419"/>
                  </a:cubicBezTo>
                  <a:cubicBezTo>
                    <a:pt x="1081176" y="1481639"/>
                    <a:pt x="1087336" y="1473939"/>
                    <a:pt x="1090417" y="1470858"/>
                  </a:cubicBezTo>
                  <a:cubicBezTo>
                    <a:pt x="1104278" y="1452377"/>
                    <a:pt x="1121219" y="1433895"/>
                    <a:pt x="1122759" y="1444676"/>
                  </a:cubicBezTo>
                  <a:close/>
                  <a:moveTo>
                    <a:pt x="1002628" y="1441592"/>
                  </a:moveTo>
                  <a:cubicBezTo>
                    <a:pt x="1002628" y="1443132"/>
                    <a:pt x="1002628" y="1443132"/>
                    <a:pt x="1002628" y="1443132"/>
                  </a:cubicBezTo>
                  <a:cubicBezTo>
                    <a:pt x="996467" y="1461614"/>
                    <a:pt x="953344" y="1524759"/>
                    <a:pt x="945643" y="1529380"/>
                  </a:cubicBezTo>
                  <a:cubicBezTo>
                    <a:pt x="947183" y="1527840"/>
                    <a:pt x="947183" y="1524759"/>
                    <a:pt x="965665" y="1497037"/>
                  </a:cubicBezTo>
                  <a:cubicBezTo>
                    <a:pt x="976446" y="1481635"/>
                    <a:pt x="999548" y="1446212"/>
                    <a:pt x="1002628" y="1441592"/>
                  </a:cubicBezTo>
                  <a:close/>
                  <a:moveTo>
                    <a:pt x="1482501" y="1440205"/>
                  </a:moveTo>
                  <a:cubicBezTo>
                    <a:pt x="1487579" y="1439772"/>
                    <a:pt x="1491622" y="1441986"/>
                    <a:pt x="1493932" y="1447762"/>
                  </a:cubicBezTo>
                  <a:cubicBezTo>
                    <a:pt x="1500093" y="1481643"/>
                    <a:pt x="1453888" y="1540169"/>
                    <a:pt x="1424626" y="1546330"/>
                  </a:cubicBezTo>
                  <a:cubicBezTo>
                    <a:pt x="1404604" y="1550950"/>
                    <a:pt x="1406144" y="1524769"/>
                    <a:pt x="1427706" y="1490885"/>
                  </a:cubicBezTo>
                  <a:cubicBezTo>
                    <a:pt x="1442723" y="1466628"/>
                    <a:pt x="1467268" y="1441505"/>
                    <a:pt x="1482501" y="1440205"/>
                  </a:cubicBezTo>
                  <a:close/>
                  <a:moveTo>
                    <a:pt x="1284569" y="1420397"/>
                  </a:moveTo>
                  <a:cubicBezTo>
                    <a:pt x="1288901" y="1419266"/>
                    <a:pt x="1292174" y="1420421"/>
                    <a:pt x="1293714" y="1424656"/>
                  </a:cubicBezTo>
                  <a:cubicBezTo>
                    <a:pt x="1295254" y="1453919"/>
                    <a:pt x="1245970" y="1513985"/>
                    <a:pt x="1225948" y="1518605"/>
                  </a:cubicBezTo>
                  <a:cubicBezTo>
                    <a:pt x="1212086" y="1521684"/>
                    <a:pt x="1215167" y="1500123"/>
                    <a:pt x="1235189" y="1470860"/>
                  </a:cubicBezTo>
                  <a:cubicBezTo>
                    <a:pt x="1249050" y="1447758"/>
                    <a:pt x="1271574" y="1423790"/>
                    <a:pt x="1284569" y="1420397"/>
                  </a:cubicBezTo>
                  <a:close/>
                  <a:moveTo>
                    <a:pt x="1674272" y="1378194"/>
                  </a:moveTo>
                  <a:cubicBezTo>
                    <a:pt x="1680096" y="1378554"/>
                    <a:pt x="1684909" y="1381923"/>
                    <a:pt x="1687989" y="1389239"/>
                  </a:cubicBezTo>
                  <a:cubicBezTo>
                    <a:pt x="1698770" y="1429283"/>
                    <a:pt x="1651026" y="1489347"/>
                    <a:pt x="1620223" y="1497048"/>
                  </a:cubicBezTo>
                  <a:cubicBezTo>
                    <a:pt x="1594041" y="1503209"/>
                    <a:pt x="1590960" y="1470867"/>
                    <a:pt x="1614063" y="1430823"/>
                  </a:cubicBezTo>
                  <a:cubicBezTo>
                    <a:pt x="1630234" y="1403100"/>
                    <a:pt x="1656801" y="1377110"/>
                    <a:pt x="1674272" y="1378194"/>
                  </a:cubicBezTo>
                  <a:close/>
                  <a:moveTo>
                    <a:pt x="1117369" y="1367476"/>
                  </a:moveTo>
                  <a:cubicBezTo>
                    <a:pt x="1120834" y="1364589"/>
                    <a:pt x="1123529" y="1363819"/>
                    <a:pt x="1124299" y="1367668"/>
                  </a:cubicBezTo>
                  <a:cubicBezTo>
                    <a:pt x="1121219" y="1392311"/>
                    <a:pt x="1071935" y="1458537"/>
                    <a:pt x="1061154" y="1460077"/>
                  </a:cubicBezTo>
                  <a:cubicBezTo>
                    <a:pt x="1056533" y="1461617"/>
                    <a:pt x="1062694" y="1446216"/>
                    <a:pt x="1078095" y="1420033"/>
                  </a:cubicBezTo>
                  <a:cubicBezTo>
                    <a:pt x="1087336" y="1406172"/>
                    <a:pt x="1098117" y="1390770"/>
                    <a:pt x="1105818" y="1379989"/>
                  </a:cubicBezTo>
                  <a:cubicBezTo>
                    <a:pt x="1109668" y="1375369"/>
                    <a:pt x="1113903" y="1370364"/>
                    <a:pt x="1117369" y="1367476"/>
                  </a:cubicBezTo>
                  <a:close/>
                  <a:moveTo>
                    <a:pt x="1032940" y="1364874"/>
                  </a:moveTo>
                  <a:lnTo>
                    <a:pt x="1029581" y="1371345"/>
                  </a:lnTo>
                  <a:cubicBezTo>
                    <a:pt x="1022651" y="1384629"/>
                    <a:pt x="1012640" y="1403109"/>
                    <a:pt x="998008" y="1427752"/>
                  </a:cubicBezTo>
                  <a:close/>
                  <a:moveTo>
                    <a:pt x="1038052" y="1358445"/>
                  </a:moveTo>
                  <a:lnTo>
                    <a:pt x="1000364" y="1426285"/>
                  </a:lnTo>
                  <a:lnTo>
                    <a:pt x="1006190" y="1416755"/>
                  </a:lnTo>
                  <a:cubicBezTo>
                    <a:pt x="1020340" y="1393292"/>
                    <a:pt x="1021495" y="1390404"/>
                    <a:pt x="1022650" y="1389249"/>
                  </a:cubicBezTo>
                  <a:cubicBezTo>
                    <a:pt x="1022650" y="1390789"/>
                    <a:pt x="1022650" y="1390789"/>
                    <a:pt x="1022650" y="1390789"/>
                  </a:cubicBezTo>
                  <a:cubicBezTo>
                    <a:pt x="1014949" y="1409271"/>
                    <a:pt x="971825" y="1480117"/>
                    <a:pt x="967205" y="1481657"/>
                  </a:cubicBezTo>
                  <a:cubicBezTo>
                    <a:pt x="968745" y="1478578"/>
                    <a:pt x="971825" y="1473958"/>
                    <a:pt x="987227" y="1447775"/>
                  </a:cubicBezTo>
                  <a:lnTo>
                    <a:pt x="996547" y="1432529"/>
                  </a:lnTo>
                  <a:lnTo>
                    <a:pt x="997624" y="1430447"/>
                  </a:lnTo>
                  <a:cubicBezTo>
                    <a:pt x="1000704" y="1424672"/>
                    <a:pt x="1004940" y="1416971"/>
                    <a:pt x="1010330" y="1407727"/>
                  </a:cubicBezTo>
                  <a:cubicBezTo>
                    <a:pt x="1018030" y="1392329"/>
                    <a:pt x="1025731" y="1376929"/>
                    <a:pt x="1038052" y="1358445"/>
                  </a:cubicBezTo>
                  <a:close/>
                  <a:moveTo>
                    <a:pt x="1042672" y="1346124"/>
                  </a:moveTo>
                  <a:cubicBezTo>
                    <a:pt x="1039592" y="1350745"/>
                    <a:pt x="1038052" y="1355366"/>
                    <a:pt x="1036511" y="1358445"/>
                  </a:cubicBezTo>
                  <a:lnTo>
                    <a:pt x="1032940" y="1364874"/>
                  </a:lnTo>
                  <a:close/>
                  <a:moveTo>
                    <a:pt x="1456343" y="1331120"/>
                  </a:moveTo>
                  <a:cubicBezTo>
                    <a:pt x="1460819" y="1330807"/>
                    <a:pt x="1464284" y="1333021"/>
                    <a:pt x="1466209" y="1338411"/>
                  </a:cubicBezTo>
                  <a:cubicBezTo>
                    <a:pt x="1472370" y="1369214"/>
                    <a:pt x="1427706" y="1432360"/>
                    <a:pt x="1399984" y="1440060"/>
                  </a:cubicBezTo>
                  <a:cubicBezTo>
                    <a:pt x="1381502" y="1446221"/>
                    <a:pt x="1383042" y="1420039"/>
                    <a:pt x="1403064" y="1384615"/>
                  </a:cubicBezTo>
                  <a:cubicBezTo>
                    <a:pt x="1420391" y="1355737"/>
                    <a:pt x="1442915" y="1332059"/>
                    <a:pt x="1456343" y="1331120"/>
                  </a:cubicBezTo>
                  <a:close/>
                  <a:moveTo>
                    <a:pt x="1873527" y="1330910"/>
                  </a:moveTo>
                  <a:cubicBezTo>
                    <a:pt x="1880217" y="1332161"/>
                    <a:pt x="1885897" y="1336877"/>
                    <a:pt x="1889747" y="1346119"/>
                  </a:cubicBezTo>
                  <a:cubicBezTo>
                    <a:pt x="1905148" y="1390783"/>
                    <a:pt x="1858944" y="1452389"/>
                    <a:pt x="1825061" y="1461630"/>
                  </a:cubicBezTo>
                  <a:cubicBezTo>
                    <a:pt x="1792718" y="1469331"/>
                    <a:pt x="1783477" y="1432367"/>
                    <a:pt x="1808120" y="1384623"/>
                  </a:cubicBezTo>
                  <a:cubicBezTo>
                    <a:pt x="1824292" y="1354589"/>
                    <a:pt x="1853457" y="1327156"/>
                    <a:pt x="1873527" y="1330910"/>
                  </a:cubicBezTo>
                  <a:close/>
                  <a:moveTo>
                    <a:pt x="1270540" y="1328494"/>
                  </a:moveTo>
                  <a:cubicBezTo>
                    <a:pt x="1274367" y="1327339"/>
                    <a:pt x="1277158" y="1328783"/>
                    <a:pt x="1278313" y="1333788"/>
                  </a:cubicBezTo>
                  <a:cubicBezTo>
                    <a:pt x="1279853" y="1363051"/>
                    <a:pt x="1229029" y="1427737"/>
                    <a:pt x="1212087" y="1430817"/>
                  </a:cubicBezTo>
                  <a:cubicBezTo>
                    <a:pt x="1202846" y="1432357"/>
                    <a:pt x="1207467" y="1412335"/>
                    <a:pt x="1224408" y="1383074"/>
                  </a:cubicBezTo>
                  <a:cubicBezTo>
                    <a:pt x="1238270" y="1358816"/>
                    <a:pt x="1259062" y="1331960"/>
                    <a:pt x="1270540" y="1328494"/>
                  </a:cubicBezTo>
                  <a:close/>
                  <a:moveTo>
                    <a:pt x="2076224" y="1308605"/>
                  </a:moveTo>
                  <a:cubicBezTo>
                    <a:pt x="2083226" y="1310314"/>
                    <a:pt x="2089579" y="1315319"/>
                    <a:pt x="2094585" y="1324561"/>
                  </a:cubicBezTo>
                  <a:cubicBezTo>
                    <a:pt x="2111527" y="1367684"/>
                    <a:pt x="2073023" y="1423129"/>
                    <a:pt x="2040680" y="1433911"/>
                  </a:cubicBezTo>
                  <a:cubicBezTo>
                    <a:pt x="2005257" y="1446231"/>
                    <a:pt x="1991396" y="1404647"/>
                    <a:pt x="2014498" y="1356902"/>
                  </a:cubicBezTo>
                  <a:cubicBezTo>
                    <a:pt x="2028360" y="1328027"/>
                    <a:pt x="2055215" y="1303480"/>
                    <a:pt x="2076224" y="1308605"/>
                  </a:cubicBezTo>
                  <a:close/>
                  <a:moveTo>
                    <a:pt x="1126417" y="1295859"/>
                  </a:moveTo>
                  <a:cubicBezTo>
                    <a:pt x="1127380" y="1296052"/>
                    <a:pt x="1127380" y="1297592"/>
                    <a:pt x="1127380" y="1298362"/>
                  </a:cubicBezTo>
                  <a:cubicBezTo>
                    <a:pt x="1125840" y="1323004"/>
                    <a:pt x="1079636" y="1390770"/>
                    <a:pt x="1068855" y="1395390"/>
                  </a:cubicBezTo>
                  <a:cubicBezTo>
                    <a:pt x="1062694" y="1396930"/>
                    <a:pt x="1068855" y="1381530"/>
                    <a:pt x="1084256" y="1355347"/>
                  </a:cubicBezTo>
                  <a:cubicBezTo>
                    <a:pt x="1095037" y="1335326"/>
                    <a:pt x="1108898" y="1312223"/>
                    <a:pt x="1119679" y="1301442"/>
                  </a:cubicBezTo>
                  <a:cubicBezTo>
                    <a:pt x="1123530" y="1296822"/>
                    <a:pt x="1125455" y="1295667"/>
                    <a:pt x="1126417" y="1295859"/>
                  </a:cubicBezTo>
                  <a:close/>
                  <a:moveTo>
                    <a:pt x="1634493" y="1255728"/>
                  </a:moveTo>
                  <a:cubicBezTo>
                    <a:pt x="1640148" y="1255632"/>
                    <a:pt x="1644865" y="1258713"/>
                    <a:pt x="1647945" y="1266028"/>
                  </a:cubicBezTo>
                  <a:cubicBezTo>
                    <a:pt x="1658726" y="1304531"/>
                    <a:pt x="1612522" y="1369217"/>
                    <a:pt x="1583260" y="1378459"/>
                  </a:cubicBezTo>
                  <a:cubicBezTo>
                    <a:pt x="1558617" y="1387699"/>
                    <a:pt x="1555537" y="1355356"/>
                    <a:pt x="1577099" y="1313773"/>
                  </a:cubicBezTo>
                  <a:cubicBezTo>
                    <a:pt x="1592115" y="1284895"/>
                    <a:pt x="1617528" y="1256017"/>
                    <a:pt x="1634493" y="1255728"/>
                  </a:cubicBezTo>
                  <a:close/>
                  <a:moveTo>
                    <a:pt x="1258941" y="1241332"/>
                  </a:moveTo>
                  <a:cubicBezTo>
                    <a:pt x="1262334" y="1239840"/>
                    <a:pt x="1264837" y="1240610"/>
                    <a:pt x="1265992" y="1244460"/>
                  </a:cubicBezTo>
                  <a:cubicBezTo>
                    <a:pt x="1269072" y="1273723"/>
                    <a:pt x="1219788" y="1343029"/>
                    <a:pt x="1202847" y="1347650"/>
                  </a:cubicBezTo>
                  <a:cubicBezTo>
                    <a:pt x="1192066" y="1350730"/>
                    <a:pt x="1196686" y="1330708"/>
                    <a:pt x="1213628" y="1299905"/>
                  </a:cubicBezTo>
                  <a:cubicBezTo>
                    <a:pt x="1215168" y="1298365"/>
                    <a:pt x="1216708" y="1296825"/>
                    <a:pt x="1216708" y="1293745"/>
                  </a:cubicBezTo>
                  <a:cubicBezTo>
                    <a:pt x="1230569" y="1270643"/>
                    <a:pt x="1248762" y="1245808"/>
                    <a:pt x="1258941" y="1241332"/>
                  </a:cubicBezTo>
                  <a:close/>
                  <a:moveTo>
                    <a:pt x="1130460" y="1233677"/>
                  </a:moveTo>
                  <a:cubicBezTo>
                    <a:pt x="1130460" y="1233677"/>
                    <a:pt x="1130460" y="1235216"/>
                    <a:pt x="1130460" y="1235216"/>
                  </a:cubicBezTo>
                  <a:cubicBezTo>
                    <a:pt x="1128919" y="1255238"/>
                    <a:pt x="1084255" y="1335325"/>
                    <a:pt x="1073474" y="1336865"/>
                  </a:cubicBezTo>
                  <a:cubicBezTo>
                    <a:pt x="1073474" y="1335325"/>
                    <a:pt x="1071934" y="1332245"/>
                    <a:pt x="1090416" y="1296821"/>
                  </a:cubicBezTo>
                  <a:cubicBezTo>
                    <a:pt x="1093496" y="1290661"/>
                    <a:pt x="1124299" y="1232136"/>
                    <a:pt x="1130460" y="1233677"/>
                  </a:cubicBezTo>
                  <a:close/>
                  <a:moveTo>
                    <a:pt x="1429318" y="1226920"/>
                  </a:moveTo>
                  <a:cubicBezTo>
                    <a:pt x="1433963" y="1225982"/>
                    <a:pt x="1437717" y="1227907"/>
                    <a:pt x="1440027" y="1233682"/>
                  </a:cubicBezTo>
                  <a:cubicBezTo>
                    <a:pt x="1446188" y="1266025"/>
                    <a:pt x="1404604" y="1330710"/>
                    <a:pt x="1376882" y="1341491"/>
                  </a:cubicBezTo>
                  <a:cubicBezTo>
                    <a:pt x="1358400" y="1347653"/>
                    <a:pt x="1358400" y="1323010"/>
                    <a:pt x="1378422" y="1286046"/>
                  </a:cubicBezTo>
                  <a:cubicBezTo>
                    <a:pt x="1393438" y="1258324"/>
                    <a:pt x="1415385" y="1229735"/>
                    <a:pt x="1429318" y="1226920"/>
                  </a:cubicBezTo>
                  <a:close/>
                  <a:moveTo>
                    <a:pt x="1820995" y="1198099"/>
                  </a:moveTo>
                  <a:cubicBezTo>
                    <a:pt x="1827468" y="1199229"/>
                    <a:pt x="1833148" y="1203657"/>
                    <a:pt x="1837383" y="1212128"/>
                  </a:cubicBezTo>
                  <a:cubicBezTo>
                    <a:pt x="1852784" y="1255251"/>
                    <a:pt x="1809661" y="1321478"/>
                    <a:pt x="1777318" y="1332258"/>
                  </a:cubicBezTo>
                  <a:cubicBezTo>
                    <a:pt x="1744975" y="1343038"/>
                    <a:pt x="1735734" y="1306075"/>
                    <a:pt x="1758836" y="1256792"/>
                  </a:cubicBezTo>
                  <a:cubicBezTo>
                    <a:pt x="1775008" y="1220983"/>
                    <a:pt x="1801575" y="1194705"/>
                    <a:pt x="1820995" y="1198099"/>
                  </a:cubicBezTo>
                  <a:close/>
                  <a:moveTo>
                    <a:pt x="1130460" y="1190553"/>
                  </a:moveTo>
                  <a:cubicBezTo>
                    <a:pt x="1125839" y="1205954"/>
                    <a:pt x="1113518" y="1235216"/>
                    <a:pt x="1098117" y="1261398"/>
                  </a:cubicBezTo>
                  <a:cubicBezTo>
                    <a:pt x="1110438" y="1238296"/>
                    <a:pt x="1121219" y="1215194"/>
                    <a:pt x="1130460" y="1190553"/>
                  </a:cubicBezTo>
                  <a:close/>
                  <a:moveTo>
                    <a:pt x="1132000" y="1176710"/>
                  </a:moveTo>
                  <a:cubicBezTo>
                    <a:pt x="1132000" y="1176710"/>
                    <a:pt x="1132000" y="1178250"/>
                    <a:pt x="1132000" y="1178250"/>
                  </a:cubicBezTo>
                  <a:cubicBezTo>
                    <a:pt x="1132000" y="1181331"/>
                    <a:pt x="1132000" y="1182871"/>
                    <a:pt x="1128919" y="1190571"/>
                  </a:cubicBezTo>
                  <a:cubicBezTo>
                    <a:pt x="1119678" y="1213674"/>
                    <a:pt x="1108898" y="1238315"/>
                    <a:pt x="1096576" y="1261418"/>
                  </a:cubicBezTo>
                  <a:cubicBezTo>
                    <a:pt x="1091956" y="1270658"/>
                    <a:pt x="1084255" y="1282979"/>
                    <a:pt x="1081175" y="1286060"/>
                  </a:cubicBezTo>
                  <a:cubicBezTo>
                    <a:pt x="1081175" y="1282979"/>
                    <a:pt x="1082715" y="1279899"/>
                    <a:pt x="1098117" y="1246016"/>
                  </a:cubicBezTo>
                  <a:cubicBezTo>
                    <a:pt x="1128919" y="1179790"/>
                    <a:pt x="1132000" y="1178250"/>
                    <a:pt x="1132000" y="1176710"/>
                  </a:cubicBezTo>
                  <a:close/>
                  <a:moveTo>
                    <a:pt x="1253671" y="1164374"/>
                  </a:moveTo>
                  <a:cubicBezTo>
                    <a:pt x="1256751" y="1193636"/>
                    <a:pt x="1212087" y="1267562"/>
                    <a:pt x="1195145" y="1273723"/>
                  </a:cubicBezTo>
                  <a:cubicBezTo>
                    <a:pt x="1185905" y="1276803"/>
                    <a:pt x="1190525" y="1258321"/>
                    <a:pt x="1205926" y="1225979"/>
                  </a:cubicBezTo>
                  <a:cubicBezTo>
                    <a:pt x="1209007" y="1219818"/>
                    <a:pt x="1210547" y="1213658"/>
                    <a:pt x="1213627" y="1209037"/>
                  </a:cubicBezTo>
                  <a:cubicBezTo>
                    <a:pt x="1230569" y="1178234"/>
                    <a:pt x="1250590" y="1150512"/>
                    <a:pt x="1253671" y="1164374"/>
                  </a:cubicBezTo>
                  <a:close/>
                  <a:moveTo>
                    <a:pt x="2010480" y="1163689"/>
                  </a:moveTo>
                  <a:cubicBezTo>
                    <a:pt x="2017194" y="1165157"/>
                    <a:pt x="2023355" y="1169777"/>
                    <a:pt x="2028360" y="1178249"/>
                  </a:cubicBezTo>
                  <a:cubicBezTo>
                    <a:pt x="2046841" y="1219831"/>
                    <a:pt x="2016039" y="1279896"/>
                    <a:pt x="1980616" y="1293757"/>
                  </a:cubicBezTo>
                  <a:cubicBezTo>
                    <a:pt x="1946733" y="1307618"/>
                    <a:pt x="1931331" y="1266035"/>
                    <a:pt x="1951353" y="1216751"/>
                  </a:cubicBezTo>
                  <a:cubicBezTo>
                    <a:pt x="1965215" y="1183253"/>
                    <a:pt x="1990338" y="1159285"/>
                    <a:pt x="2010480" y="1163689"/>
                  </a:cubicBezTo>
                  <a:close/>
                  <a:moveTo>
                    <a:pt x="1593848" y="1141591"/>
                  </a:moveTo>
                  <a:cubicBezTo>
                    <a:pt x="1599528" y="1140989"/>
                    <a:pt x="1604437" y="1143588"/>
                    <a:pt x="1607902" y="1150519"/>
                  </a:cubicBezTo>
                  <a:cubicBezTo>
                    <a:pt x="1618683" y="1185942"/>
                    <a:pt x="1578640" y="1255247"/>
                    <a:pt x="1547837" y="1267568"/>
                  </a:cubicBezTo>
                  <a:cubicBezTo>
                    <a:pt x="1523195" y="1276809"/>
                    <a:pt x="1520114" y="1247547"/>
                    <a:pt x="1540136" y="1202884"/>
                  </a:cubicBezTo>
                  <a:cubicBezTo>
                    <a:pt x="1552843" y="1174006"/>
                    <a:pt x="1576811" y="1143396"/>
                    <a:pt x="1593848" y="1141591"/>
                  </a:cubicBezTo>
                  <a:close/>
                  <a:moveTo>
                    <a:pt x="1402751" y="1131047"/>
                  </a:moveTo>
                  <a:cubicBezTo>
                    <a:pt x="1407011" y="1129723"/>
                    <a:pt x="1410380" y="1131263"/>
                    <a:pt x="1412305" y="1136654"/>
                  </a:cubicBezTo>
                  <a:cubicBezTo>
                    <a:pt x="1420005" y="1172076"/>
                    <a:pt x="1373801" y="1242923"/>
                    <a:pt x="1350699" y="1250623"/>
                  </a:cubicBezTo>
                  <a:cubicBezTo>
                    <a:pt x="1336838" y="1255244"/>
                    <a:pt x="1338378" y="1230602"/>
                    <a:pt x="1355320" y="1193638"/>
                  </a:cubicBezTo>
                  <a:cubicBezTo>
                    <a:pt x="1369181" y="1164761"/>
                    <a:pt x="1389973" y="1135017"/>
                    <a:pt x="1402751" y="1131047"/>
                  </a:cubicBezTo>
                  <a:close/>
                  <a:moveTo>
                    <a:pt x="1139700" y="1128967"/>
                  </a:moveTo>
                  <a:cubicBezTo>
                    <a:pt x="1139700" y="1130507"/>
                    <a:pt x="1139700" y="1130507"/>
                    <a:pt x="1139700" y="1130507"/>
                  </a:cubicBezTo>
                  <a:cubicBezTo>
                    <a:pt x="1135080" y="1152069"/>
                    <a:pt x="1098117" y="1236776"/>
                    <a:pt x="1091956" y="1242936"/>
                  </a:cubicBezTo>
                  <a:cubicBezTo>
                    <a:pt x="1091956" y="1239856"/>
                    <a:pt x="1091956" y="1239856"/>
                    <a:pt x="1107357" y="1202892"/>
                  </a:cubicBezTo>
                  <a:cubicBezTo>
                    <a:pt x="1136620" y="1133587"/>
                    <a:pt x="1136620" y="1133587"/>
                    <a:pt x="1139700" y="1128967"/>
                  </a:cubicBezTo>
                  <a:close/>
                  <a:moveTo>
                    <a:pt x="1238125" y="1088787"/>
                  </a:moveTo>
                  <a:cubicBezTo>
                    <a:pt x="1240387" y="1087175"/>
                    <a:pt x="1242120" y="1087367"/>
                    <a:pt x="1242890" y="1090447"/>
                  </a:cubicBezTo>
                  <a:cubicBezTo>
                    <a:pt x="1245970" y="1119709"/>
                    <a:pt x="1201306" y="1199796"/>
                    <a:pt x="1187445" y="1204417"/>
                  </a:cubicBezTo>
                  <a:cubicBezTo>
                    <a:pt x="1179744" y="1205957"/>
                    <a:pt x="1184364" y="1187475"/>
                    <a:pt x="1198226" y="1156673"/>
                  </a:cubicBezTo>
                  <a:cubicBezTo>
                    <a:pt x="1204386" y="1142811"/>
                    <a:pt x="1210547" y="1130491"/>
                    <a:pt x="1215167" y="1122790"/>
                  </a:cubicBezTo>
                  <a:cubicBezTo>
                    <a:pt x="1219788" y="1114704"/>
                    <a:pt x="1231339" y="1093624"/>
                    <a:pt x="1238125" y="1088787"/>
                  </a:cubicBezTo>
                  <a:close/>
                  <a:moveTo>
                    <a:pt x="1763648" y="1070362"/>
                  </a:moveTo>
                  <a:cubicBezTo>
                    <a:pt x="1770001" y="1070530"/>
                    <a:pt x="1775777" y="1074286"/>
                    <a:pt x="1780397" y="1082755"/>
                  </a:cubicBezTo>
                  <a:cubicBezTo>
                    <a:pt x="1797339" y="1124339"/>
                    <a:pt x="1761916" y="1193645"/>
                    <a:pt x="1726492" y="1209046"/>
                  </a:cubicBezTo>
                  <a:cubicBezTo>
                    <a:pt x="1695690" y="1222908"/>
                    <a:pt x="1686449" y="1187485"/>
                    <a:pt x="1706471" y="1135120"/>
                  </a:cubicBezTo>
                  <a:cubicBezTo>
                    <a:pt x="1720332" y="1101623"/>
                    <a:pt x="1744589" y="1069857"/>
                    <a:pt x="1763648" y="1070362"/>
                  </a:cubicBezTo>
                  <a:close/>
                  <a:moveTo>
                    <a:pt x="1375534" y="1040031"/>
                  </a:moveTo>
                  <a:cubicBezTo>
                    <a:pt x="1379481" y="1038178"/>
                    <a:pt x="1382657" y="1039237"/>
                    <a:pt x="1384582" y="1044242"/>
                  </a:cubicBezTo>
                  <a:cubicBezTo>
                    <a:pt x="1392283" y="1078129"/>
                    <a:pt x="1350699" y="1153596"/>
                    <a:pt x="1329137" y="1162836"/>
                  </a:cubicBezTo>
                  <a:cubicBezTo>
                    <a:pt x="1313736" y="1170536"/>
                    <a:pt x="1318356" y="1139734"/>
                    <a:pt x="1332218" y="1107392"/>
                  </a:cubicBezTo>
                  <a:cubicBezTo>
                    <a:pt x="1344924" y="1077359"/>
                    <a:pt x="1363694" y="1045590"/>
                    <a:pt x="1375534" y="1040031"/>
                  </a:cubicBezTo>
                  <a:close/>
                  <a:moveTo>
                    <a:pt x="1552770" y="1032766"/>
                  </a:moveTo>
                  <a:cubicBezTo>
                    <a:pt x="1558136" y="1031827"/>
                    <a:pt x="1562853" y="1034234"/>
                    <a:pt x="1566318" y="1041165"/>
                  </a:cubicBezTo>
                  <a:cubicBezTo>
                    <a:pt x="1580180" y="1081212"/>
                    <a:pt x="1537056" y="1155139"/>
                    <a:pt x="1509333" y="1164380"/>
                  </a:cubicBezTo>
                  <a:cubicBezTo>
                    <a:pt x="1489312" y="1172081"/>
                    <a:pt x="1486231" y="1142818"/>
                    <a:pt x="1503173" y="1099694"/>
                  </a:cubicBezTo>
                  <a:cubicBezTo>
                    <a:pt x="1514724" y="1068504"/>
                    <a:pt x="1536671" y="1035581"/>
                    <a:pt x="1552770" y="1032766"/>
                  </a:cubicBezTo>
                  <a:close/>
                  <a:moveTo>
                    <a:pt x="1941462" y="1026250"/>
                  </a:moveTo>
                  <a:cubicBezTo>
                    <a:pt x="1947983" y="1027598"/>
                    <a:pt x="1954047" y="1032314"/>
                    <a:pt x="1959053" y="1041171"/>
                  </a:cubicBezTo>
                  <a:cubicBezTo>
                    <a:pt x="1979075" y="1085840"/>
                    <a:pt x="1948272" y="1147444"/>
                    <a:pt x="1917469" y="1161306"/>
                  </a:cubicBezTo>
                  <a:cubicBezTo>
                    <a:pt x="1885127" y="1176708"/>
                    <a:pt x="1868185" y="1136664"/>
                    <a:pt x="1886667" y="1084300"/>
                  </a:cubicBezTo>
                  <a:cubicBezTo>
                    <a:pt x="1898218" y="1048487"/>
                    <a:pt x="1921897" y="1022207"/>
                    <a:pt x="1941462" y="1026250"/>
                  </a:cubicBezTo>
                  <a:close/>
                  <a:moveTo>
                    <a:pt x="1225178" y="1025373"/>
                  </a:moveTo>
                  <a:cubicBezTo>
                    <a:pt x="1227874" y="1022678"/>
                    <a:pt x="1229799" y="1022678"/>
                    <a:pt x="1230569" y="1025759"/>
                  </a:cubicBezTo>
                  <a:cubicBezTo>
                    <a:pt x="1233649" y="1053483"/>
                    <a:pt x="1193605" y="1138191"/>
                    <a:pt x="1181284" y="1144351"/>
                  </a:cubicBezTo>
                  <a:cubicBezTo>
                    <a:pt x="1176664" y="1145891"/>
                    <a:pt x="1179744" y="1128951"/>
                    <a:pt x="1192065" y="1096607"/>
                  </a:cubicBezTo>
                  <a:cubicBezTo>
                    <a:pt x="1198226" y="1079666"/>
                    <a:pt x="1207467" y="1056564"/>
                    <a:pt x="1215167" y="1041160"/>
                  </a:cubicBezTo>
                  <a:cubicBezTo>
                    <a:pt x="1219018" y="1033459"/>
                    <a:pt x="1222483" y="1028069"/>
                    <a:pt x="1225178" y="1025373"/>
                  </a:cubicBezTo>
                  <a:close/>
                  <a:moveTo>
                    <a:pt x="1218247" y="964153"/>
                  </a:moveTo>
                  <a:cubicBezTo>
                    <a:pt x="1219787" y="964153"/>
                    <a:pt x="1219787" y="965693"/>
                    <a:pt x="1219787" y="965693"/>
                  </a:cubicBezTo>
                  <a:cubicBezTo>
                    <a:pt x="1222868" y="993416"/>
                    <a:pt x="1185904" y="1090446"/>
                    <a:pt x="1175124" y="1090446"/>
                  </a:cubicBezTo>
                  <a:lnTo>
                    <a:pt x="1175124" y="1082763"/>
                  </a:lnTo>
                  <a:lnTo>
                    <a:pt x="1175124" y="1082746"/>
                  </a:lnTo>
                  <a:lnTo>
                    <a:pt x="1175131" y="1082724"/>
                  </a:lnTo>
                  <a:lnTo>
                    <a:pt x="1177049" y="1071982"/>
                  </a:lnTo>
                  <a:cubicBezTo>
                    <a:pt x="1178589" y="1065821"/>
                    <a:pt x="1181285" y="1056579"/>
                    <a:pt x="1185905" y="1042714"/>
                  </a:cubicBezTo>
                  <a:lnTo>
                    <a:pt x="1207408" y="981278"/>
                  </a:lnTo>
                  <a:lnTo>
                    <a:pt x="1207466" y="981095"/>
                  </a:lnTo>
                  <a:cubicBezTo>
                    <a:pt x="1215167" y="964153"/>
                    <a:pt x="1216707" y="964153"/>
                    <a:pt x="1218247" y="964153"/>
                  </a:cubicBezTo>
                  <a:close/>
                  <a:moveTo>
                    <a:pt x="1349640" y="956719"/>
                  </a:moveTo>
                  <a:cubicBezTo>
                    <a:pt x="1353683" y="954337"/>
                    <a:pt x="1357245" y="954915"/>
                    <a:pt x="1359940" y="959535"/>
                  </a:cubicBezTo>
                  <a:cubicBezTo>
                    <a:pt x="1369181" y="993418"/>
                    <a:pt x="1327597" y="1076588"/>
                    <a:pt x="1307576" y="1084289"/>
                  </a:cubicBezTo>
                  <a:cubicBezTo>
                    <a:pt x="1295254" y="1088910"/>
                    <a:pt x="1296795" y="1065808"/>
                    <a:pt x="1310656" y="1028841"/>
                  </a:cubicBezTo>
                  <a:cubicBezTo>
                    <a:pt x="1321052" y="997653"/>
                    <a:pt x="1337512" y="963866"/>
                    <a:pt x="1349640" y="956719"/>
                  </a:cubicBezTo>
                  <a:close/>
                  <a:moveTo>
                    <a:pt x="1707842" y="950733"/>
                  </a:moveTo>
                  <a:cubicBezTo>
                    <a:pt x="1714075" y="950588"/>
                    <a:pt x="1719946" y="954150"/>
                    <a:pt x="1724952" y="962621"/>
                  </a:cubicBezTo>
                  <a:cubicBezTo>
                    <a:pt x="1743434" y="1007285"/>
                    <a:pt x="1708011" y="1076595"/>
                    <a:pt x="1677208" y="1093538"/>
                  </a:cubicBezTo>
                  <a:cubicBezTo>
                    <a:pt x="1647945" y="1108938"/>
                    <a:pt x="1638705" y="1071975"/>
                    <a:pt x="1655646" y="1019606"/>
                  </a:cubicBezTo>
                  <a:cubicBezTo>
                    <a:pt x="1667197" y="984953"/>
                    <a:pt x="1689144" y="951166"/>
                    <a:pt x="1707842" y="950733"/>
                  </a:cubicBezTo>
                  <a:close/>
                  <a:moveTo>
                    <a:pt x="1510368" y="932055"/>
                  </a:moveTo>
                  <a:cubicBezTo>
                    <a:pt x="1515301" y="930852"/>
                    <a:pt x="1519729" y="932970"/>
                    <a:pt x="1523194" y="939516"/>
                  </a:cubicBezTo>
                  <a:cubicBezTo>
                    <a:pt x="1537056" y="978019"/>
                    <a:pt x="1498552" y="1055030"/>
                    <a:pt x="1472370" y="1067350"/>
                  </a:cubicBezTo>
                  <a:cubicBezTo>
                    <a:pt x="1452348" y="1076592"/>
                    <a:pt x="1449268" y="1047325"/>
                    <a:pt x="1464669" y="1002661"/>
                  </a:cubicBezTo>
                  <a:cubicBezTo>
                    <a:pt x="1476221" y="969163"/>
                    <a:pt x="1495568" y="935665"/>
                    <a:pt x="1510368" y="932055"/>
                  </a:cubicBezTo>
                  <a:close/>
                  <a:moveTo>
                    <a:pt x="1207466" y="911801"/>
                  </a:moveTo>
                  <a:cubicBezTo>
                    <a:pt x="1209006" y="911801"/>
                    <a:pt x="1209006" y="913341"/>
                    <a:pt x="1209006" y="913341"/>
                  </a:cubicBezTo>
                  <a:cubicBezTo>
                    <a:pt x="1213627" y="937983"/>
                    <a:pt x="1184364" y="1030392"/>
                    <a:pt x="1173583" y="1042714"/>
                  </a:cubicBezTo>
                  <a:cubicBezTo>
                    <a:pt x="1172043" y="1042714"/>
                    <a:pt x="1172043" y="1042714"/>
                    <a:pt x="1172043" y="1042714"/>
                  </a:cubicBezTo>
                  <a:cubicBezTo>
                    <a:pt x="1172043" y="1039632"/>
                    <a:pt x="1172043" y="1035012"/>
                    <a:pt x="1181284" y="996509"/>
                  </a:cubicBezTo>
                  <a:cubicBezTo>
                    <a:pt x="1201306" y="913341"/>
                    <a:pt x="1205926" y="911801"/>
                    <a:pt x="1207466" y="911801"/>
                  </a:cubicBezTo>
                  <a:close/>
                  <a:moveTo>
                    <a:pt x="1870255" y="892355"/>
                  </a:moveTo>
                  <a:cubicBezTo>
                    <a:pt x="1876945" y="892740"/>
                    <a:pt x="1883587" y="896783"/>
                    <a:pt x="1889747" y="905639"/>
                  </a:cubicBezTo>
                  <a:cubicBezTo>
                    <a:pt x="1909769" y="948762"/>
                    <a:pt x="1886667" y="1013449"/>
                    <a:pt x="1854324" y="1031929"/>
                  </a:cubicBezTo>
                  <a:cubicBezTo>
                    <a:pt x="1821981" y="1050418"/>
                    <a:pt x="1805039" y="1010369"/>
                    <a:pt x="1820441" y="956463"/>
                  </a:cubicBezTo>
                  <a:cubicBezTo>
                    <a:pt x="1829682" y="922965"/>
                    <a:pt x="1850185" y="891200"/>
                    <a:pt x="1870255" y="892355"/>
                  </a:cubicBezTo>
                  <a:close/>
                  <a:moveTo>
                    <a:pt x="1324902" y="880026"/>
                  </a:moveTo>
                  <a:cubicBezTo>
                    <a:pt x="1327790" y="878100"/>
                    <a:pt x="1330293" y="878678"/>
                    <a:pt x="1332218" y="882528"/>
                  </a:cubicBezTo>
                  <a:cubicBezTo>
                    <a:pt x="1341459" y="914871"/>
                    <a:pt x="1306035" y="1002659"/>
                    <a:pt x="1287554" y="1011900"/>
                  </a:cubicBezTo>
                  <a:cubicBezTo>
                    <a:pt x="1276773" y="1016520"/>
                    <a:pt x="1278313" y="994958"/>
                    <a:pt x="1289094" y="956455"/>
                  </a:cubicBezTo>
                  <a:cubicBezTo>
                    <a:pt x="1289094" y="953374"/>
                    <a:pt x="1290634" y="947214"/>
                    <a:pt x="1293714" y="944134"/>
                  </a:cubicBezTo>
                  <a:cubicBezTo>
                    <a:pt x="1304111" y="914101"/>
                    <a:pt x="1316239" y="885801"/>
                    <a:pt x="1324902" y="880026"/>
                  </a:cubicBezTo>
                  <a:close/>
                  <a:moveTo>
                    <a:pt x="1651387" y="836642"/>
                  </a:moveTo>
                  <a:cubicBezTo>
                    <a:pt x="1657283" y="835945"/>
                    <a:pt x="1662962" y="839025"/>
                    <a:pt x="1667967" y="847111"/>
                  </a:cubicBezTo>
                  <a:cubicBezTo>
                    <a:pt x="1687989" y="891774"/>
                    <a:pt x="1655646" y="970321"/>
                    <a:pt x="1624844" y="985723"/>
                  </a:cubicBezTo>
                  <a:cubicBezTo>
                    <a:pt x="1600201" y="998043"/>
                    <a:pt x="1590961" y="964160"/>
                    <a:pt x="1604822" y="911796"/>
                  </a:cubicBezTo>
                  <a:cubicBezTo>
                    <a:pt x="1614063" y="874833"/>
                    <a:pt x="1633700" y="838736"/>
                    <a:pt x="1651387" y="836642"/>
                  </a:cubicBezTo>
                  <a:close/>
                  <a:moveTo>
                    <a:pt x="1467773" y="836206"/>
                  </a:moveTo>
                  <a:cubicBezTo>
                    <a:pt x="1472369" y="834016"/>
                    <a:pt x="1476605" y="835171"/>
                    <a:pt x="1480070" y="840947"/>
                  </a:cubicBezTo>
                  <a:cubicBezTo>
                    <a:pt x="1495472" y="879450"/>
                    <a:pt x="1461589" y="959538"/>
                    <a:pt x="1436947" y="974939"/>
                  </a:cubicBezTo>
                  <a:cubicBezTo>
                    <a:pt x="1418465" y="985720"/>
                    <a:pt x="1415385" y="959538"/>
                    <a:pt x="1427706" y="911793"/>
                  </a:cubicBezTo>
                  <a:cubicBezTo>
                    <a:pt x="1436947" y="879450"/>
                    <a:pt x="1453984" y="842776"/>
                    <a:pt x="1467773" y="836206"/>
                  </a:cubicBezTo>
                  <a:close/>
                  <a:moveTo>
                    <a:pt x="1296674" y="811225"/>
                  </a:moveTo>
                  <a:cubicBezTo>
                    <a:pt x="1299490" y="808217"/>
                    <a:pt x="1302185" y="807832"/>
                    <a:pt x="1304495" y="811682"/>
                  </a:cubicBezTo>
                  <a:cubicBezTo>
                    <a:pt x="1313736" y="842484"/>
                    <a:pt x="1284473" y="933352"/>
                    <a:pt x="1267532" y="947214"/>
                  </a:cubicBezTo>
                  <a:cubicBezTo>
                    <a:pt x="1258291" y="954914"/>
                    <a:pt x="1258291" y="933352"/>
                    <a:pt x="1267532" y="893309"/>
                  </a:cubicBezTo>
                  <a:cubicBezTo>
                    <a:pt x="1267532" y="888688"/>
                    <a:pt x="1270612" y="877907"/>
                    <a:pt x="1275232" y="865586"/>
                  </a:cubicBezTo>
                  <a:cubicBezTo>
                    <a:pt x="1278698" y="852880"/>
                    <a:pt x="1288227" y="820249"/>
                    <a:pt x="1296674" y="811225"/>
                  </a:cubicBezTo>
                  <a:close/>
                  <a:moveTo>
                    <a:pt x="1798398" y="766810"/>
                  </a:moveTo>
                  <a:cubicBezTo>
                    <a:pt x="1804751" y="766738"/>
                    <a:pt x="1811201" y="770492"/>
                    <a:pt x="1817361" y="779348"/>
                  </a:cubicBezTo>
                  <a:cubicBezTo>
                    <a:pt x="1838923" y="820931"/>
                    <a:pt x="1818901" y="888696"/>
                    <a:pt x="1789639" y="910258"/>
                  </a:cubicBezTo>
                  <a:cubicBezTo>
                    <a:pt x="1760376" y="931821"/>
                    <a:pt x="1741894" y="893317"/>
                    <a:pt x="1754216" y="836333"/>
                  </a:cubicBezTo>
                  <a:cubicBezTo>
                    <a:pt x="1761146" y="801680"/>
                    <a:pt x="1779339" y="767027"/>
                    <a:pt x="1798398" y="766810"/>
                  </a:cubicBezTo>
                  <a:close/>
                  <a:moveTo>
                    <a:pt x="1423880" y="748082"/>
                  </a:moveTo>
                  <a:cubicBezTo>
                    <a:pt x="1427995" y="745459"/>
                    <a:pt x="1431942" y="746229"/>
                    <a:pt x="1435407" y="751619"/>
                  </a:cubicBezTo>
                  <a:cubicBezTo>
                    <a:pt x="1452349" y="790122"/>
                    <a:pt x="1421546" y="879450"/>
                    <a:pt x="1398444" y="893312"/>
                  </a:cubicBezTo>
                  <a:cubicBezTo>
                    <a:pt x="1384583" y="902552"/>
                    <a:pt x="1381502" y="876370"/>
                    <a:pt x="1390743" y="830166"/>
                  </a:cubicBezTo>
                  <a:cubicBezTo>
                    <a:pt x="1397674" y="794358"/>
                    <a:pt x="1411535" y="755951"/>
                    <a:pt x="1423880" y="748082"/>
                  </a:cubicBezTo>
                  <a:close/>
                  <a:moveTo>
                    <a:pt x="1269241" y="746515"/>
                  </a:moveTo>
                  <a:cubicBezTo>
                    <a:pt x="1271286" y="744108"/>
                    <a:pt x="1273308" y="743916"/>
                    <a:pt x="1275233" y="746996"/>
                  </a:cubicBezTo>
                  <a:cubicBezTo>
                    <a:pt x="1287554" y="777798"/>
                    <a:pt x="1259832" y="879447"/>
                    <a:pt x="1245971" y="890228"/>
                  </a:cubicBezTo>
                  <a:cubicBezTo>
                    <a:pt x="1238270" y="896389"/>
                    <a:pt x="1241350" y="864046"/>
                    <a:pt x="1245971" y="836324"/>
                  </a:cubicBezTo>
                  <a:cubicBezTo>
                    <a:pt x="1249051" y="819382"/>
                    <a:pt x="1250591" y="807061"/>
                    <a:pt x="1252131" y="799360"/>
                  </a:cubicBezTo>
                  <a:cubicBezTo>
                    <a:pt x="1256752" y="780879"/>
                    <a:pt x="1263104" y="753734"/>
                    <a:pt x="1269241" y="746515"/>
                  </a:cubicBezTo>
                  <a:close/>
                  <a:moveTo>
                    <a:pt x="1592742" y="730229"/>
                  </a:moveTo>
                  <a:cubicBezTo>
                    <a:pt x="1598373" y="729002"/>
                    <a:pt x="1604052" y="731601"/>
                    <a:pt x="1609442" y="739302"/>
                  </a:cubicBezTo>
                  <a:cubicBezTo>
                    <a:pt x="1631004" y="782425"/>
                    <a:pt x="1601742" y="865593"/>
                    <a:pt x="1574019" y="884073"/>
                  </a:cubicBezTo>
                  <a:cubicBezTo>
                    <a:pt x="1552457" y="897935"/>
                    <a:pt x="1541676" y="864052"/>
                    <a:pt x="1552457" y="810148"/>
                  </a:cubicBezTo>
                  <a:cubicBezTo>
                    <a:pt x="1559388" y="772029"/>
                    <a:pt x="1575848" y="733911"/>
                    <a:pt x="1592742" y="730229"/>
                  </a:cubicBezTo>
                  <a:close/>
                  <a:moveTo>
                    <a:pt x="1245970" y="691563"/>
                  </a:moveTo>
                  <a:cubicBezTo>
                    <a:pt x="1259831" y="720825"/>
                    <a:pt x="1239809" y="837875"/>
                    <a:pt x="1225948" y="840955"/>
                  </a:cubicBezTo>
                  <a:cubicBezTo>
                    <a:pt x="1224408" y="839415"/>
                    <a:pt x="1221328" y="837875"/>
                    <a:pt x="1225948" y="787050"/>
                  </a:cubicBezTo>
                  <a:cubicBezTo>
                    <a:pt x="1227488" y="771649"/>
                    <a:pt x="1229029" y="754708"/>
                    <a:pt x="1230569" y="740847"/>
                  </a:cubicBezTo>
                  <a:cubicBezTo>
                    <a:pt x="1235189" y="700804"/>
                    <a:pt x="1241350" y="683862"/>
                    <a:pt x="1245970" y="691563"/>
                  </a:cubicBezTo>
                  <a:close/>
                  <a:moveTo>
                    <a:pt x="1381959" y="666527"/>
                  </a:moveTo>
                  <a:cubicBezTo>
                    <a:pt x="1385352" y="664505"/>
                    <a:pt x="1388818" y="665372"/>
                    <a:pt x="1392283" y="669992"/>
                  </a:cubicBezTo>
                  <a:cubicBezTo>
                    <a:pt x="1410765" y="706955"/>
                    <a:pt x="1386123" y="799364"/>
                    <a:pt x="1364561" y="816305"/>
                  </a:cubicBezTo>
                  <a:cubicBezTo>
                    <a:pt x="1352240" y="825546"/>
                    <a:pt x="1347619" y="800904"/>
                    <a:pt x="1353780" y="753159"/>
                  </a:cubicBezTo>
                  <a:cubicBezTo>
                    <a:pt x="1353780" y="748539"/>
                    <a:pt x="1355320" y="743919"/>
                    <a:pt x="1355320" y="739298"/>
                  </a:cubicBezTo>
                  <a:cubicBezTo>
                    <a:pt x="1362251" y="704645"/>
                    <a:pt x="1371780" y="672591"/>
                    <a:pt x="1381959" y="666527"/>
                  </a:cubicBezTo>
                  <a:close/>
                  <a:moveTo>
                    <a:pt x="1723701" y="646535"/>
                  </a:moveTo>
                  <a:cubicBezTo>
                    <a:pt x="1729573" y="645934"/>
                    <a:pt x="1735734" y="649206"/>
                    <a:pt x="1741894" y="657677"/>
                  </a:cubicBezTo>
                  <a:cubicBezTo>
                    <a:pt x="1768077" y="702341"/>
                    <a:pt x="1746515" y="777808"/>
                    <a:pt x="1720332" y="796290"/>
                  </a:cubicBezTo>
                  <a:cubicBezTo>
                    <a:pt x="1695690" y="813231"/>
                    <a:pt x="1678749" y="777808"/>
                    <a:pt x="1686449" y="720823"/>
                  </a:cubicBezTo>
                  <a:cubicBezTo>
                    <a:pt x="1691070" y="685015"/>
                    <a:pt x="1706086" y="648340"/>
                    <a:pt x="1723701" y="646535"/>
                  </a:cubicBezTo>
                  <a:close/>
                  <a:moveTo>
                    <a:pt x="1533662" y="628556"/>
                  </a:moveTo>
                  <a:cubicBezTo>
                    <a:pt x="1538403" y="627353"/>
                    <a:pt x="1543216" y="629567"/>
                    <a:pt x="1547836" y="636112"/>
                  </a:cubicBezTo>
                  <a:cubicBezTo>
                    <a:pt x="1570938" y="676156"/>
                    <a:pt x="1552457" y="762403"/>
                    <a:pt x="1523194" y="785506"/>
                  </a:cubicBezTo>
                  <a:cubicBezTo>
                    <a:pt x="1501632" y="802447"/>
                    <a:pt x="1490851" y="771644"/>
                    <a:pt x="1498552" y="714659"/>
                  </a:cubicBezTo>
                  <a:cubicBezTo>
                    <a:pt x="1498552" y="713119"/>
                    <a:pt x="1500092" y="708499"/>
                    <a:pt x="1500092" y="706959"/>
                  </a:cubicBezTo>
                  <a:cubicBezTo>
                    <a:pt x="1505868" y="666530"/>
                    <a:pt x="1519440" y="632166"/>
                    <a:pt x="1533662" y="628556"/>
                  </a:cubicBezTo>
                  <a:close/>
                  <a:moveTo>
                    <a:pt x="1336550" y="592119"/>
                  </a:moveTo>
                  <a:cubicBezTo>
                    <a:pt x="1339437" y="589809"/>
                    <a:pt x="1342614" y="590291"/>
                    <a:pt x="1346079" y="594526"/>
                  </a:cubicBezTo>
                  <a:cubicBezTo>
                    <a:pt x="1367641" y="631489"/>
                    <a:pt x="1347619" y="734678"/>
                    <a:pt x="1327597" y="748539"/>
                  </a:cubicBezTo>
                  <a:cubicBezTo>
                    <a:pt x="1315276" y="756240"/>
                    <a:pt x="1313736" y="720817"/>
                    <a:pt x="1316816" y="685394"/>
                  </a:cubicBezTo>
                  <a:cubicBezTo>
                    <a:pt x="1316816" y="677693"/>
                    <a:pt x="1316816" y="669992"/>
                    <a:pt x="1318357" y="662292"/>
                  </a:cubicBezTo>
                  <a:cubicBezTo>
                    <a:pt x="1321822" y="631104"/>
                    <a:pt x="1327886" y="599050"/>
                    <a:pt x="1336550" y="592119"/>
                  </a:cubicBezTo>
                  <a:close/>
                  <a:moveTo>
                    <a:pt x="1473044" y="534343"/>
                  </a:moveTo>
                  <a:cubicBezTo>
                    <a:pt x="1477183" y="533020"/>
                    <a:pt x="1481611" y="534849"/>
                    <a:pt x="1486231" y="540624"/>
                  </a:cubicBezTo>
                  <a:cubicBezTo>
                    <a:pt x="1512413" y="583747"/>
                    <a:pt x="1493932" y="679236"/>
                    <a:pt x="1469290" y="699258"/>
                  </a:cubicBezTo>
                  <a:cubicBezTo>
                    <a:pt x="1452348" y="713119"/>
                    <a:pt x="1441567" y="682316"/>
                    <a:pt x="1444647" y="626871"/>
                  </a:cubicBezTo>
                  <a:cubicBezTo>
                    <a:pt x="1446188" y="622251"/>
                    <a:pt x="1446188" y="616090"/>
                    <a:pt x="1446188" y="609930"/>
                  </a:cubicBezTo>
                  <a:cubicBezTo>
                    <a:pt x="1450808" y="570657"/>
                    <a:pt x="1460627" y="538314"/>
                    <a:pt x="1473044" y="534343"/>
                  </a:cubicBezTo>
                  <a:close/>
                  <a:moveTo>
                    <a:pt x="1650737" y="532204"/>
                  </a:moveTo>
                  <a:cubicBezTo>
                    <a:pt x="1655742" y="532156"/>
                    <a:pt x="1661037" y="535236"/>
                    <a:pt x="1666427" y="542167"/>
                  </a:cubicBezTo>
                  <a:cubicBezTo>
                    <a:pt x="1692610" y="582210"/>
                    <a:pt x="1681829" y="663837"/>
                    <a:pt x="1654106" y="686939"/>
                  </a:cubicBezTo>
                  <a:cubicBezTo>
                    <a:pt x="1631004" y="706961"/>
                    <a:pt x="1614063" y="673078"/>
                    <a:pt x="1617143" y="613013"/>
                  </a:cubicBezTo>
                  <a:cubicBezTo>
                    <a:pt x="1617143" y="608392"/>
                    <a:pt x="1617143" y="602232"/>
                    <a:pt x="1618683" y="597611"/>
                  </a:cubicBezTo>
                  <a:cubicBezTo>
                    <a:pt x="1623304" y="560649"/>
                    <a:pt x="1635721" y="532349"/>
                    <a:pt x="1650737" y="532204"/>
                  </a:cubicBezTo>
                  <a:close/>
                  <a:moveTo>
                    <a:pt x="1291525" y="526206"/>
                  </a:moveTo>
                  <a:cubicBezTo>
                    <a:pt x="1294003" y="523391"/>
                    <a:pt x="1296795" y="523294"/>
                    <a:pt x="1299875" y="526759"/>
                  </a:cubicBezTo>
                  <a:cubicBezTo>
                    <a:pt x="1321437" y="560642"/>
                    <a:pt x="1309116" y="668452"/>
                    <a:pt x="1292174" y="686933"/>
                  </a:cubicBezTo>
                  <a:cubicBezTo>
                    <a:pt x="1282933" y="696174"/>
                    <a:pt x="1278313" y="673072"/>
                    <a:pt x="1278313" y="625328"/>
                  </a:cubicBezTo>
                  <a:cubicBezTo>
                    <a:pt x="1278313" y="617627"/>
                    <a:pt x="1278313" y="608386"/>
                    <a:pt x="1278313" y="602226"/>
                  </a:cubicBezTo>
                  <a:cubicBezTo>
                    <a:pt x="1279468" y="567573"/>
                    <a:pt x="1284089" y="534653"/>
                    <a:pt x="1291525" y="526206"/>
                  </a:cubicBezTo>
                  <a:close/>
                  <a:moveTo>
                    <a:pt x="1247510" y="465164"/>
                  </a:moveTo>
                  <a:cubicBezTo>
                    <a:pt x="1253670" y="522149"/>
                    <a:pt x="1256751" y="579134"/>
                    <a:pt x="1256751" y="634578"/>
                  </a:cubicBezTo>
                  <a:cubicBezTo>
                    <a:pt x="1249050" y="642279"/>
                    <a:pt x="1244430" y="605315"/>
                    <a:pt x="1241349" y="572974"/>
                  </a:cubicBezTo>
                  <a:cubicBezTo>
                    <a:pt x="1239809" y="556032"/>
                    <a:pt x="1235189" y="472865"/>
                    <a:pt x="1247510" y="465164"/>
                  </a:cubicBezTo>
                  <a:close/>
                  <a:moveTo>
                    <a:pt x="1249050" y="465154"/>
                  </a:moveTo>
                  <a:cubicBezTo>
                    <a:pt x="1250590" y="463614"/>
                    <a:pt x="1252130" y="465154"/>
                    <a:pt x="1253670" y="466694"/>
                  </a:cubicBezTo>
                  <a:cubicBezTo>
                    <a:pt x="1276773" y="499037"/>
                    <a:pt x="1273692" y="613007"/>
                    <a:pt x="1258291" y="633029"/>
                  </a:cubicBezTo>
                  <a:cubicBezTo>
                    <a:pt x="1258291" y="577584"/>
                    <a:pt x="1255211" y="520599"/>
                    <a:pt x="1249050" y="465154"/>
                  </a:cubicBezTo>
                  <a:close/>
                  <a:moveTo>
                    <a:pt x="1410693" y="448264"/>
                  </a:moveTo>
                  <a:cubicBezTo>
                    <a:pt x="1414326" y="446580"/>
                    <a:pt x="1418466" y="447831"/>
                    <a:pt x="1423086" y="452837"/>
                  </a:cubicBezTo>
                  <a:cubicBezTo>
                    <a:pt x="1450808" y="494420"/>
                    <a:pt x="1440027" y="594528"/>
                    <a:pt x="1418465" y="617631"/>
                  </a:cubicBezTo>
                  <a:cubicBezTo>
                    <a:pt x="1403064" y="633032"/>
                    <a:pt x="1392283" y="603769"/>
                    <a:pt x="1390743" y="546784"/>
                  </a:cubicBezTo>
                  <a:cubicBezTo>
                    <a:pt x="1390743" y="539084"/>
                    <a:pt x="1390743" y="528303"/>
                    <a:pt x="1392283" y="520602"/>
                  </a:cubicBezTo>
                  <a:cubicBezTo>
                    <a:pt x="1393438" y="484795"/>
                    <a:pt x="1399791" y="453318"/>
                    <a:pt x="1410693" y="448264"/>
                  </a:cubicBezTo>
                  <a:close/>
                  <a:moveTo>
                    <a:pt x="1572311" y="425454"/>
                  </a:moveTo>
                  <a:cubicBezTo>
                    <a:pt x="1576907" y="425117"/>
                    <a:pt x="1582105" y="427812"/>
                    <a:pt x="1587881" y="434358"/>
                  </a:cubicBezTo>
                  <a:cubicBezTo>
                    <a:pt x="1615603" y="475942"/>
                    <a:pt x="1610983" y="557568"/>
                    <a:pt x="1586341" y="585290"/>
                  </a:cubicBezTo>
                  <a:cubicBezTo>
                    <a:pt x="1566319" y="608392"/>
                    <a:pt x="1547837" y="574509"/>
                    <a:pt x="1546297" y="512905"/>
                  </a:cubicBezTo>
                  <a:cubicBezTo>
                    <a:pt x="1546297" y="505204"/>
                    <a:pt x="1546297" y="494423"/>
                    <a:pt x="1547837" y="488263"/>
                  </a:cubicBezTo>
                  <a:cubicBezTo>
                    <a:pt x="1550147" y="454765"/>
                    <a:pt x="1558522" y="426465"/>
                    <a:pt x="1572311" y="425454"/>
                  </a:cubicBezTo>
                  <a:close/>
                  <a:moveTo>
                    <a:pt x="1346753" y="369235"/>
                  </a:moveTo>
                  <a:cubicBezTo>
                    <a:pt x="1349930" y="367262"/>
                    <a:pt x="1353780" y="368129"/>
                    <a:pt x="1358400" y="372749"/>
                  </a:cubicBezTo>
                  <a:cubicBezTo>
                    <a:pt x="1389203" y="412793"/>
                    <a:pt x="1384583" y="523682"/>
                    <a:pt x="1364561" y="545244"/>
                  </a:cubicBezTo>
                  <a:cubicBezTo>
                    <a:pt x="1352240" y="557565"/>
                    <a:pt x="1341459" y="529842"/>
                    <a:pt x="1336838" y="474397"/>
                  </a:cubicBezTo>
                  <a:cubicBezTo>
                    <a:pt x="1335298" y="465157"/>
                    <a:pt x="1335298" y="452836"/>
                    <a:pt x="1333758" y="438975"/>
                  </a:cubicBezTo>
                  <a:cubicBezTo>
                    <a:pt x="1333758" y="406632"/>
                    <a:pt x="1337224" y="375156"/>
                    <a:pt x="1346753" y="369235"/>
                  </a:cubicBezTo>
                  <a:close/>
                  <a:moveTo>
                    <a:pt x="1492103" y="325297"/>
                  </a:moveTo>
                  <a:cubicBezTo>
                    <a:pt x="1496146" y="324720"/>
                    <a:pt x="1500863" y="326934"/>
                    <a:pt x="1506253" y="332709"/>
                  </a:cubicBezTo>
                  <a:cubicBezTo>
                    <a:pt x="1538596" y="374292"/>
                    <a:pt x="1538596" y="466701"/>
                    <a:pt x="1515494" y="492883"/>
                  </a:cubicBezTo>
                  <a:cubicBezTo>
                    <a:pt x="1498552" y="511365"/>
                    <a:pt x="1480071" y="479022"/>
                    <a:pt x="1475450" y="418956"/>
                  </a:cubicBezTo>
                  <a:cubicBezTo>
                    <a:pt x="1473910" y="408175"/>
                    <a:pt x="1473910" y="395854"/>
                    <a:pt x="1473910" y="385073"/>
                  </a:cubicBezTo>
                  <a:cubicBezTo>
                    <a:pt x="1473910" y="353886"/>
                    <a:pt x="1479974" y="327030"/>
                    <a:pt x="1492103" y="325297"/>
                  </a:cubicBezTo>
                  <a:close/>
                  <a:moveTo>
                    <a:pt x="1281754" y="297451"/>
                  </a:moveTo>
                  <a:cubicBezTo>
                    <a:pt x="1284473" y="294299"/>
                    <a:pt x="1288324" y="294203"/>
                    <a:pt x="1293714" y="298823"/>
                  </a:cubicBezTo>
                  <a:cubicBezTo>
                    <a:pt x="1326057" y="338867"/>
                    <a:pt x="1332217" y="452836"/>
                    <a:pt x="1313736" y="479018"/>
                  </a:cubicBezTo>
                  <a:cubicBezTo>
                    <a:pt x="1302955" y="492880"/>
                    <a:pt x="1290634" y="466697"/>
                    <a:pt x="1281393" y="409713"/>
                  </a:cubicBezTo>
                  <a:cubicBezTo>
                    <a:pt x="1278313" y="388151"/>
                    <a:pt x="1276772" y="369670"/>
                    <a:pt x="1276772" y="363509"/>
                  </a:cubicBezTo>
                  <a:cubicBezTo>
                    <a:pt x="1275617" y="343872"/>
                    <a:pt x="1273596" y="306909"/>
                    <a:pt x="1281754" y="297451"/>
                  </a:cubicBezTo>
                  <a:close/>
                  <a:moveTo>
                    <a:pt x="1213627" y="284969"/>
                  </a:moveTo>
                  <a:cubicBezTo>
                    <a:pt x="1222868" y="320391"/>
                    <a:pt x="1230568" y="357354"/>
                    <a:pt x="1236729" y="392778"/>
                  </a:cubicBezTo>
                  <a:cubicBezTo>
                    <a:pt x="1235189" y="385077"/>
                    <a:pt x="1230568" y="372756"/>
                    <a:pt x="1225948" y="352734"/>
                  </a:cubicBezTo>
                  <a:cubicBezTo>
                    <a:pt x="1219787" y="326553"/>
                    <a:pt x="1215167" y="298830"/>
                    <a:pt x="1213627" y="284969"/>
                  </a:cubicBezTo>
                  <a:close/>
                  <a:moveTo>
                    <a:pt x="1225948" y="234137"/>
                  </a:moveTo>
                  <a:cubicBezTo>
                    <a:pt x="1259831" y="269560"/>
                    <a:pt x="1275232" y="388151"/>
                    <a:pt x="1261371" y="418953"/>
                  </a:cubicBezTo>
                  <a:cubicBezTo>
                    <a:pt x="1252130" y="437434"/>
                    <a:pt x="1239809" y="403551"/>
                    <a:pt x="1236729" y="392770"/>
                  </a:cubicBezTo>
                  <a:cubicBezTo>
                    <a:pt x="1230568" y="357348"/>
                    <a:pt x="1222868" y="321925"/>
                    <a:pt x="1213627" y="284962"/>
                  </a:cubicBezTo>
                  <a:cubicBezTo>
                    <a:pt x="1209006" y="241838"/>
                    <a:pt x="1212087" y="224896"/>
                    <a:pt x="1225948" y="234137"/>
                  </a:cubicBezTo>
                  <a:close/>
                  <a:moveTo>
                    <a:pt x="1407973" y="233707"/>
                  </a:moveTo>
                  <a:cubicBezTo>
                    <a:pt x="1411920" y="231253"/>
                    <a:pt x="1417310" y="232216"/>
                    <a:pt x="1424626" y="238761"/>
                  </a:cubicBezTo>
                  <a:cubicBezTo>
                    <a:pt x="1456969" y="278804"/>
                    <a:pt x="1466210" y="374293"/>
                    <a:pt x="1446188" y="405095"/>
                  </a:cubicBezTo>
                  <a:cubicBezTo>
                    <a:pt x="1432327" y="428197"/>
                    <a:pt x="1413845" y="397395"/>
                    <a:pt x="1403064" y="334249"/>
                  </a:cubicBezTo>
                  <a:cubicBezTo>
                    <a:pt x="1398444" y="312687"/>
                    <a:pt x="1398444" y="294206"/>
                    <a:pt x="1398444" y="289585"/>
                  </a:cubicBezTo>
                  <a:cubicBezTo>
                    <a:pt x="1397289" y="279190"/>
                    <a:pt x="1396133" y="241071"/>
                    <a:pt x="1407973" y="233707"/>
                  </a:cubicBezTo>
                  <a:close/>
                  <a:moveTo>
                    <a:pt x="1326586" y="147725"/>
                  </a:moveTo>
                  <a:cubicBezTo>
                    <a:pt x="1329811" y="146353"/>
                    <a:pt x="1334143" y="147508"/>
                    <a:pt x="1339918" y="152514"/>
                  </a:cubicBezTo>
                  <a:cubicBezTo>
                    <a:pt x="1379962" y="194097"/>
                    <a:pt x="1392283" y="300366"/>
                    <a:pt x="1375341" y="328089"/>
                  </a:cubicBezTo>
                  <a:cubicBezTo>
                    <a:pt x="1363020" y="346571"/>
                    <a:pt x="1344539" y="317308"/>
                    <a:pt x="1329137" y="255703"/>
                  </a:cubicBezTo>
                  <a:cubicBezTo>
                    <a:pt x="1322977" y="234141"/>
                    <a:pt x="1319896" y="209499"/>
                    <a:pt x="1318356" y="192557"/>
                  </a:cubicBezTo>
                  <a:cubicBezTo>
                    <a:pt x="1317201" y="178696"/>
                    <a:pt x="1316912" y="151840"/>
                    <a:pt x="1326586" y="147725"/>
                  </a:cubicBezTo>
                  <a:close/>
                  <a:moveTo>
                    <a:pt x="1238896" y="69683"/>
                  </a:moveTo>
                  <a:cubicBezTo>
                    <a:pt x="1241735" y="67710"/>
                    <a:pt x="1245971" y="68191"/>
                    <a:pt x="1252131" y="72427"/>
                  </a:cubicBezTo>
                  <a:cubicBezTo>
                    <a:pt x="1290634" y="109390"/>
                    <a:pt x="1318357" y="221819"/>
                    <a:pt x="1302955" y="255702"/>
                  </a:cubicBezTo>
                  <a:cubicBezTo>
                    <a:pt x="1293714" y="277264"/>
                    <a:pt x="1273693" y="249542"/>
                    <a:pt x="1253671" y="186397"/>
                  </a:cubicBezTo>
                  <a:cubicBezTo>
                    <a:pt x="1247510" y="163295"/>
                    <a:pt x="1239810" y="138653"/>
                    <a:pt x="1236729" y="118631"/>
                  </a:cubicBezTo>
                  <a:cubicBezTo>
                    <a:pt x="1234419" y="103614"/>
                    <a:pt x="1230377" y="75603"/>
                    <a:pt x="1238896" y="69683"/>
                  </a:cubicBezTo>
                  <a:close/>
                  <a:moveTo>
                    <a:pt x="1152695" y="1004"/>
                  </a:moveTo>
                  <a:cubicBezTo>
                    <a:pt x="1155197" y="-728"/>
                    <a:pt x="1158952" y="-343"/>
                    <a:pt x="1164342" y="3122"/>
                  </a:cubicBezTo>
                  <a:cubicBezTo>
                    <a:pt x="1209006" y="40085"/>
                    <a:pt x="1244429" y="164835"/>
                    <a:pt x="1230568" y="194098"/>
                  </a:cubicBezTo>
                  <a:cubicBezTo>
                    <a:pt x="1222868" y="212579"/>
                    <a:pt x="1202846" y="184857"/>
                    <a:pt x="1178204" y="124793"/>
                  </a:cubicBezTo>
                  <a:cubicBezTo>
                    <a:pt x="1162802" y="84749"/>
                    <a:pt x="1155102" y="55486"/>
                    <a:pt x="1153561" y="47786"/>
                  </a:cubicBezTo>
                  <a:cubicBezTo>
                    <a:pt x="1148941" y="30459"/>
                    <a:pt x="1145187" y="6202"/>
                    <a:pt x="1152695" y="1004"/>
                  </a:cubicBezTo>
                  <a:close/>
                </a:path>
              </a:pathLst>
            </a:custGeom>
            <a:gradFill>
              <a:gsLst>
                <a:gs pos="0">
                  <a:schemeClr val="accent3"/>
                </a:gs>
                <a:gs pos="100000">
                  <a:schemeClr val="accent2">
                    <a:lumMod val="75000"/>
                  </a:schemeClr>
                </a:gs>
              </a:gsLst>
              <a:lin ang="0" scaled="1"/>
            </a:gradFill>
            <a:ln w="15395" cap="flat">
              <a:noFill/>
              <a:prstDash val="solid"/>
              <a:miter/>
            </a:ln>
          </p:spPr>
          <p:txBody>
            <a:bodyPr rtlCol="0" anchor="ctr"/>
            <a:lstStyle/>
            <a:p>
              <a:endParaRPr lang="en-US" sz="1765"/>
            </a:p>
          </p:txBody>
        </p:sp>
        <p:sp>
          <p:nvSpPr>
            <p:cNvPr id="15" name="Freeform: Shape 14">
              <a:extLst>
                <a:ext uri="{FF2B5EF4-FFF2-40B4-BE49-F238E27FC236}">
                  <a16:creationId xmlns:a16="http://schemas.microsoft.com/office/drawing/2014/main" id="{A31EFD1F-BADC-42AF-A328-94DCF23A71C3}"/>
                </a:ext>
                <a:ext uri="{C183D7F6-B498-43B3-948B-1728B52AA6E4}">
                  <adec:decorative xmlns:adec="http://schemas.microsoft.com/office/drawing/2017/decorative" val="1"/>
                </a:ext>
              </a:extLst>
            </p:cNvPr>
            <p:cNvSpPr/>
            <p:nvPr/>
          </p:nvSpPr>
          <p:spPr bwMode="auto">
            <a:xfrm rot="3244627">
              <a:off x="4262449" y="4096093"/>
              <a:ext cx="554292" cy="3936315"/>
            </a:xfrm>
            <a:custGeom>
              <a:avLst/>
              <a:gdLst>
                <a:gd name="connsiteX0" fmla="*/ 47332 w 554292"/>
                <a:gd name="connsiteY0" fmla="*/ 122191 h 3936315"/>
                <a:gd name="connsiteX1" fmla="*/ 277146 w 554292"/>
                <a:gd name="connsiteY1" fmla="*/ 0 h 3936315"/>
                <a:gd name="connsiteX2" fmla="*/ 554292 w 554292"/>
                <a:gd name="connsiteY2" fmla="*/ 277146 h 3936315"/>
                <a:gd name="connsiteX3" fmla="*/ 554292 w 554292"/>
                <a:gd name="connsiteY3" fmla="*/ 3171234 h 3936315"/>
                <a:gd name="connsiteX4" fmla="*/ 0 w 554292"/>
                <a:gd name="connsiteY4" fmla="*/ 3936315 h 3936315"/>
                <a:gd name="connsiteX5" fmla="*/ 0 w 554292"/>
                <a:gd name="connsiteY5" fmla="*/ 277146 h 3936315"/>
                <a:gd name="connsiteX6" fmla="*/ 47332 w 554292"/>
                <a:gd name="connsiteY6" fmla="*/ 122191 h 393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292" h="3936315">
                  <a:moveTo>
                    <a:pt x="47332" y="122191"/>
                  </a:moveTo>
                  <a:cubicBezTo>
                    <a:pt x="97137" y="48470"/>
                    <a:pt x="181481" y="1"/>
                    <a:pt x="277146" y="0"/>
                  </a:cubicBezTo>
                  <a:cubicBezTo>
                    <a:pt x="430210" y="0"/>
                    <a:pt x="554292" y="124082"/>
                    <a:pt x="554292" y="277146"/>
                  </a:cubicBezTo>
                  <a:lnTo>
                    <a:pt x="554292" y="3171234"/>
                  </a:lnTo>
                  <a:lnTo>
                    <a:pt x="0" y="3936315"/>
                  </a:lnTo>
                  <a:lnTo>
                    <a:pt x="0" y="277146"/>
                  </a:lnTo>
                  <a:cubicBezTo>
                    <a:pt x="0" y="219747"/>
                    <a:pt x="17449" y="166424"/>
                    <a:pt x="47332" y="122191"/>
                  </a:cubicBezTo>
                  <a:close/>
                </a:path>
              </a:pathLst>
            </a:custGeom>
            <a:gradFill flip="none" rotWithShape="1">
              <a:gsLst>
                <a:gs pos="0">
                  <a:srgbClr val="0B79D5">
                    <a:alpha val="0"/>
                  </a:srgbClr>
                </a:gs>
                <a:gs pos="100000">
                  <a:srgbClr val="4CB1FF">
                    <a:alpha val="41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8841229-1976-4326-9A84-D5A79D6C17ED}"/>
                </a:ext>
                <a:ext uri="{C183D7F6-B498-43B3-948B-1728B52AA6E4}">
                  <adec:decorative xmlns:adec="http://schemas.microsoft.com/office/drawing/2017/decorative" val="1"/>
                </a:ext>
              </a:extLst>
            </p:cNvPr>
            <p:cNvSpPr/>
            <p:nvPr/>
          </p:nvSpPr>
          <p:spPr bwMode="auto">
            <a:xfrm rot="3244627">
              <a:off x="4108582" y="5278409"/>
              <a:ext cx="568632" cy="2453347"/>
            </a:xfrm>
            <a:custGeom>
              <a:avLst/>
              <a:gdLst>
                <a:gd name="connsiteX0" fmla="*/ 48557 w 568632"/>
                <a:gd name="connsiteY0" fmla="*/ 125352 h 2453347"/>
                <a:gd name="connsiteX1" fmla="*/ 284316 w 568632"/>
                <a:gd name="connsiteY1" fmla="*/ 0 h 2453347"/>
                <a:gd name="connsiteX2" fmla="*/ 568632 w 568632"/>
                <a:gd name="connsiteY2" fmla="*/ 284316 h 2453347"/>
                <a:gd name="connsiteX3" fmla="*/ 568632 w 568632"/>
                <a:gd name="connsiteY3" fmla="*/ 1668474 h 2453347"/>
                <a:gd name="connsiteX4" fmla="*/ 0 w 568632"/>
                <a:gd name="connsiteY4" fmla="*/ 2453347 h 2453347"/>
                <a:gd name="connsiteX5" fmla="*/ 0 w 568632"/>
                <a:gd name="connsiteY5" fmla="*/ 284316 h 2453347"/>
                <a:gd name="connsiteX6" fmla="*/ 48557 w 568632"/>
                <a:gd name="connsiteY6" fmla="*/ 125352 h 245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632" h="2453347">
                  <a:moveTo>
                    <a:pt x="48557" y="125352"/>
                  </a:moveTo>
                  <a:cubicBezTo>
                    <a:pt x="99651" y="49724"/>
                    <a:pt x="186177" y="0"/>
                    <a:pt x="284316" y="0"/>
                  </a:cubicBezTo>
                  <a:cubicBezTo>
                    <a:pt x="441339" y="0"/>
                    <a:pt x="568632" y="127293"/>
                    <a:pt x="568632" y="284316"/>
                  </a:cubicBezTo>
                  <a:lnTo>
                    <a:pt x="568632" y="1668474"/>
                  </a:lnTo>
                  <a:lnTo>
                    <a:pt x="0" y="2453347"/>
                  </a:lnTo>
                  <a:lnTo>
                    <a:pt x="0" y="284316"/>
                  </a:lnTo>
                  <a:cubicBezTo>
                    <a:pt x="0" y="225432"/>
                    <a:pt x="17900" y="170729"/>
                    <a:pt x="48557" y="125352"/>
                  </a:cubicBezTo>
                  <a:close/>
                </a:path>
              </a:pathLst>
            </a:custGeom>
            <a:gradFill flip="none" rotWithShape="1">
              <a:gsLst>
                <a:gs pos="0">
                  <a:srgbClr val="0B79D5">
                    <a:alpha val="0"/>
                  </a:srgbClr>
                </a:gs>
                <a:gs pos="100000">
                  <a:schemeClr val="accent3">
                    <a:alpha val="44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14080" fontAlgn="base">
                <a:spcBef>
                  <a:spcPct val="0"/>
                </a:spcBef>
                <a:spcAft>
                  <a:spcPct val="0"/>
                </a:spcAft>
              </a:pPr>
              <a:endParaRPr lang="en-US" sz="1961" err="1">
                <a:solidFill>
                  <a:srgbClr val="FFFFFF"/>
                </a:solidFill>
                <a:ea typeface="Segoe UI" pitchFamily="34" charset="0"/>
                <a:cs typeface="Segoe UI" pitchFamily="34" charset="0"/>
              </a:endParaRPr>
            </a:p>
          </p:txBody>
        </p:sp>
      </p:grpSp>
      <p:sp>
        <p:nvSpPr>
          <p:cNvPr id="162" name="Rectangle 161">
            <a:extLst>
              <a:ext uri="{FF2B5EF4-FFF2-40B4-BE49-F238E27FC236}">
                <a16:creationId xmlns:a16="http://schemas.microsoft.com/office/drawing/2014/main" id="{0FD9F46C-0C7B-482C-8FBC-4CB29AE623AD}"/>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sp>
        <p:nvSpPr>
          <p:cNvPr id="2" name="Title 1"/>
          <p:cNvSpPr>
            <a:spLocks noGrp="1"/>
          </p:cNvSpPr>
          <p:nvPr userDrawn="1">
            <p:ph type="title" hasCustomPrompt="1"/>
          </p:nvPr>
        </p:nvSpPr>
        <p:spPr>
          <a:xfrm>
            <a:off x="585218" y="2930327"/>
            <a:ext cx="5510783" cy="997347"/>
          </a:xfrm>
          <a:noFill/>
        </p:spPr>
        <p:txBody>
          <a:bodyPr wrap="square" lIns="0" tIns="0" rIns="0" bIns="0" anchor="ctr" anchorCtr="0">
            <a:spAutoFit/>
          </a:bodyPr>
          <a:lstStyle>
            <a:lvl1pPr algn="l" defTabSz="932539" rtl="0" eaLnBrk="1" latinLnBrk="0" hangingPunct="1">
              <a:lnSpc>
                <a:spcPct val="90000"/>
              </a:lnSpc>
              <a:spcBef>
                <a:spcPct val="0"/>
              </a:spcBef>
              <a:buNone/>
              <a:defRPr lang="en-US" sz="3529" b="0" kern="1200" cap="none" spc="-51" baseline="0" dirty="0">
                <a:ln w="3175">
                  <a:noFill/>
                </a:ln>
                <a:solidFill>
                  <a:schemeClr val="accent3"/>
                </a:solidFill>
                <a:effectLst/>
                <a:latin typeface="+mj-lt"/>
                <a:ea typeface="+mn-ea"/>
                <a:cs typeface="Segoe UI" pitchFamily="34" charset="0"/>
              </a:defRPr>
            </a:lvl1pPr>
          </a:lstStyle>
          <a:p>
            <a:r>
              <a:rPr lang="en-US"/>
              <a:t>Section title with no subtitle</a:t>
            </a:r>
          </a:p>
        </p:txBody>
      </p:sp>
      <p:sp>
        <p:nvSpPr>
          <p:cNvPr id="5" name="TextBox 4">
            <a:extLst>
              <a:ext uri="{FF2B5EF4-FFF2-40B4-BE49-F238E27FC236}">
                <a16:creationId xmlns:a16="http://schemas.microsoft.com/office/drawing/2014/main" id="{9C810120-2075-8B99-E96B-4D0EB620A56F}"/>
              </a:ext>
            </a:extLst>
          </p:cNvPr>
          <p:cNvSpPr txBox="1"/>
          <p:nvPr userDrawn="1"/>
        </p:nvSpPr>
        <p:spPr>
          <a:xfrm>
            <a:off x="588263" y="6175925"/>
            <a:ext cx="3202824" cy="215444"/>
          </a:xfrm>
          <a:prstGeom prst="rect">
            <a:avLst/>
          </a:prstGeom>
          <a:noFill/>
        </p:spPr>
        <p:txBody>
          <a:bodyPr wrap="square" lIns="0" tIns="0" rIns="0" bIns="0" rtlCol="0">
            <a:spAutoFit/>
          </a:bodyPr>
          <a:lstStyle/>
          <a:p>
            <a:pPr algn="l"/>
            <a:r>
              <a:rPr lang="en-US" sz="1400">
                <a:solidFill>
                  <a:schemeClr val="tx1"/>
                </a:solidFill>
                <a:latin typeface="+mj-lt"/>
              </a:rPr>
              <a:t>Modern Work Enablement</a:t>
            </a:r>
          </a:p>
        </p:txBody>
      </p:sp>
    </p:spTree>
    <p:extLst>
      <p:ext uri="{BB962C8B-B14F-4D97-AF65-F5344CB8AC3E}">
        <p14:creationId xmlns:p14="http://schemas.microsoft.com/office/powerpoint/2010/main" val="437839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595">
          <p15:clr>
            <a:srgbClr val="5ACBF0"/>
          </p15:clr>
        </p15:guide>
        <p15:guide id="3" orient="horz" pos="1433">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4228891"/>
      </p:ext>
    </p:extLst>
  </p:cSld>
  <p:clrMapOvr>
    <a:masterClrMapping/>
  </p:clrMapOvr>
  <p:transition>
    <p:fade/>
  </p:transition>
  <p:hf hdr="0" ftr="0" dt="0"/>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71">
          <p15:clr>
            <a:srgbClr val="A4A3A4"/>
          </p15:clr>
        </p15:guide>
        <p15:guide id="15" pos="2511">
          <p15:clr>
            <a:srgbClr val="A4A3A4"/>
          </p15:clr>
        </p15:guide>
        <p15:guide id="16" pos="2816">
          <p15:clr>
            <a:srgbClr val="A4A3A4"/>
          </p15:clr>
        </p15:guide>
        <p15:guide id="17" pos="2948">
          <p15:clr>
            <a:srgbClr val="A4A3A4"/>
          </p15:clr>
        </p15:guide>
        <p15:guide id="18" pos="3257">
          <p15:clr>
            <a:srgbClr val="A4A3A4"/>
          </p15:clr>
        </p15:guide>
        <p15:guide id="19" pos="3398">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28" orient="horz" pos="679">
          <p15:clr>
            <a:srgbClr val="5ACBF0"/>
          </p15:clr>
        </p15:guide>
        <p15:guide id="29" orient="horz" pos="953">
          <p15:clr>
            <a:srgbClr val="5ACBF0"/>
          </p15:clr>
        </p15:guide>
        <p15:guide id="30" orient="horz" pos="216">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4"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13296114"/>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678">
          <p15:clr>
            <a:srgbClr val="5ACBF0"/>
          </p15:clr>
        </p15:guide>
        <p15:guide id="2" orient="horz" pos="216">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hank you">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8E940-9DEC-4806-B028-F74C8BE6ABE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008"/>
            <a:ext cx="12192000" cy="6855984"/>
          </a:xfrm>
          <a:prstGeom prst="rect">
            <a:avLst/>
          </a:prstGeom>
        </p:spPr>
      </p:pic>
      <p:sp>
        <p:nvSpPr>
          <p:cNvPr id="4" name="Oval 3">
            <a:extLst>
              <a:ext uri="{FF2B5EF4-FFF2-40B4-BE49-F238E27FC236}">
                <a16:creationId xmlns:a16="http://schemas.microsoft.com/office/drawing/2014/main" id="{35BD856A-6C8D-4739-8F89-636AD07EACDD}"/>
              </a:ext>
              <a:ext uri="{C183D7F6-B498-43B3-948B-1728B52AA6E4}">
                <adec:decorative xmlns:adec="http://schemas.microsoft.com/office/drawing/2017/decorative" val="1"/>
              </a:ext>
            </a:extLst>
          </p:cNvPr>
          <p:cNvSpPr/>
          <p:nvPr userDrawn="1"/>
        </p:nvSpPr>
        <p:spPr bwMode="auto">
          <a:xfrm>
            <a:off x="3705535" y="1038195"/>
            <a:ext cx="4780932" cy="478161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spcBef>
                <a:spcPct val="0"/>
              </a:spcBef>
              <a:spcAft>
                <a:spcPct val="0"/>
              </a:spcAft>
            </a:pPr>
            <a:endParaRPr lang="en-US" sz="5883" b="1">
              <a:solidFill>
                <a:srgbClr val="FFFFFF"/>
              </a:solidFill>
              <a:ea typeface="Segoe UI" pitchFamily="34" charset="0"/>
              <a:cs typeface="Segoe UI" pitchFamily="34" charset="0"/>
            </a:endParaRPr>
          </a:p>
        </p:txBody>
      </p:sp>
      <p:sp>
        <p:nvSpPr>
          <p:cNvPr id="5" name="Title 4">
            <a:extLst>
              <a:ext uri="{FF2B5EF4-FFF2-40B4-BE49-F238E27FC236}">
                <a16:creationId xmlns:a16="http://schemas.microsoft.com/office/drawing/2014/main" id="{BA6F6733-79AF-4760-8EB5-24B6461E17AD}"/>
              </a:ext>
            </a:extLst>
          </p:cNvPr>
          <p:cNvSpPr>
            <a:spLocks noGrp="1"/>
          </p:cNvSpPr>
          <p:nvPr>
            <p:ph type="title" hasCustomPrompt="1"/>
          </p:nvPr>
        </p:nvSpPr>
        <p:spPr>
          <a:xfrm>
            <a:off x="3769977" y="3021613"/>
            <a:ext cx="4652049" cy="814777"/>
          </a:xfrm>
        </p:spPr>
        <p:txBody>
          <a:bodyPr anchor="ctr"/>
          <a:lstStyle>
            <a:lvl1pPr algn="ctr">
              <a:defRPr sz="5295">
                <a:solidFill>
                  <a:schemeClr val="accent3"/>
                </a:solidFill>
                <a:latin typeface="Segoe UI Black" panose="020B0A02040204020203" pitchFamily="34" charset="0"/>
                <a:ea typeface="Segoe UI Black" panose="020B0A02040204020203" pitchFamily="34" charset="0"/>
              </a:defRPr>
            </a:lvl1pPr>
          </a:lstStyle>
          <a:p>
            <a:r>
              <a:rPr lang="en-US"/>
              <a:t>Thank you!</a:t>
            </a:r>
          </a:p>
        </p:txBody>
      </p:sp>
    </p:spTree>
    <p:extLst>
      <p:ext uri="{BB962C8B-B14F-4D97-AF65-F5344CB8AC3E}">
        <p14:creationId xmlns:p14="http://schemas.microsoft.com/office/powerpoint/2010/main" val="362248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4601">
          <p15:clr>
            <a:srgbClr val="5ACBF0"/>
          </p15:clr>
        </p15:guide>
        <p15:guide id="3" orient="horz" pos="1433">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31179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66">
          <p15:clr>
            <a:srgbClr val="A4A3A4"/>
          </p15:clr>
        </p15:guide>
        <p15:guide id="15" pos="2504">
          <p15:clr>
            <a:srgbClr val="A4A3A4"/>
          </p15:clr>
        </p15:guide>
        <p15:guide id="16" pos="2812">
          <p15:clr>
            <a:srgbClr val="A4A3A4"/>
          </p15:clr>
        </p15:guide>
        <p15:guide id="17" pos="2949">
          <p15:clr>
            <a:srgbClr val="A4A3A4"/>
          </p15:clr>
        </p15:guide>
        <p15:guide id="18" pos="3257">
          <p15:clr>
            <a:srgbClr val="A4A3A4"/>
          </p15:clr>
        </p15:guide>
        <p15:guide id="19" pos="3395">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28" orient="horz" pos="679">
          <p15:clr>
            <a:srgbClr val="5ACBF0"/>
          </p15:clr>
        </p15:guide>
        <p15:guide id="29" orient="horz" pos="953">
          <p15:clr>
            <a:srgbClr val="5ACBF0"/>
          </p15:clr>
        </p15:guide>
        <p15:guide id="30" orient="horz" pos="216">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08605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443622"/>
      </p:ext>
    </p:extLst>
  </p:cSld>
  <p:clrMapOvr>
    <a:masterClrMapping/>
  </p:clrMapOvr>
  <p:transition>
    <p:fade/>
  </p:transition>
  <p:extLst>
    <p:ext uri="{DCECCB84-F9BA-43D5-87BE-67443E8EF086}">
      <p15:sldGuideLst xmlns:p15="http://schemas.microsoft.com/office/powerpoint/2012/main">
        <p15:guide id="6" pos="584">
          <p15:clr>
            <a:srgbClr val="A4A3A4"/>
          </p15:clr>
        </p15:guide>
        <p15:guide id="7" pos="722">
          <p15:clr>
            <a:srgbClr val="A4A3A4"/>
          </p15:clr>
        </p15:guide>
        <p15:guide id="8" pos="1030">
          <p15:clr>
            <a:srgbClr val="A4A3A4"/>
          </p15:clr>
        </p15:guide>
        <p15:guide id="9" pos="1167">
          <p15:clr>
            <a:srgbClr val="A4A3A4"/>
          </p15:clr>
        </p15:guide>
        <p15:guide id="10" pos="1475">
          <p15:clr>
            <a:srgbClr val="A4A3A4"/>
          </p15:clr>
        </p15:guide>
        <p15:guide id="11" pos="1613">
          <p15:clr>
            <a:srgbClr val="A4A3A4"/>
          </p15:clr>
        </p15:guide>
        <p15:guide id="12" pos="1921">
          <p15:clr>
            <a:srgbClr val="A4A3A4"/>
          </p15:clr>
        </p15:guide>
        <p15:guide id="13" pos="2058">
          <p15:clr>
            <a:srgbClr val="A4A3A4"/>
          </p15:clr>
        </p15:guide>
        <p15:guide id="14" pos="2371">
          <p15:clr>
            <a:srgbClr val="A4A3A4"/>
          </p15:clr>
        </p15:guide>
        <p15:guide id="15" pos="2511">
          <p15:clr>
            <a:srgbClr val="A4A3A4"/>
          </p15:clr>
        </p15:guide>
        <p15:guide id="16" pos="2816">
          <p15:clr>
            <a:srgbClr val="A4A3A4"/>
          </p15:clr>
        </p15:guide>
        <p15:guide id="17" pos="2948">
          <p15:clr>
            <a:srgbClr val="A4A3A4"/>
          </p15:clr>
        </p15:guide>
        <p15:guide id="18" pos="3257">
          <p15:clr>
            <a:srgbClr val="A4A3A4"/>
          </p15:clr>
        </p15:guide>
        <p15:guide id="19" pos="3398">
          <p15:clr>
            <a:srgbClr val="A4A3A4"/>
          </p15:clr>
        </p15:guide>
        <p15:guide id="20" pos="3703">
          <p15:clr>
            <a:srgbClr val="A4A3A4"/>
          </p15:clr>
        </p15:guide>
        <p15:guide id="21" pos="3840">
          <p15:clr>
            <a:srgbClr val="A4A3A4"/>
          </p15:clr>
        </p15:guide>
        <p15:guide id="22" pos="4147">
          <p15:clr>
            <a:srgbClr val="A4A3A4"/>
          </p15:clr>
        </p15:guide>
        <p15:guide id="23" pos="4286">
          <p15:clr>
            <a:srgbClr val="A4A3A4"/>
          </p15:clr>
        </p15:guide>
        <p15:guide id="24" pos="4592">
          <p15:clr>
            <a:srgbClr val="A4A3A4"/>
          </p15:clr>
        </p15:guide>
        <p15:guide id="25" pos="4731">
          <p15:clr>
            <a:srgbClr val="A4A3A4"/>
          </p15:clr>
        </p15:guide>
        <p15:guide id="26" pos="5038">
          <p15:clr>
            <a:srgbClr val="A4A3A4"/>
          </p15:clr>
        </p15:guide>
        <p15:guide id="27" pos="5175">
          <p15:clr>
            <a:srgbClr val="A4A3A4"/>
          </p15:clr>
        </p15:guide>
        <p15:guide id="28" orient="horz" pos="679">
          <p15:clr>
            <a:srgbClr val="5ACBF0"/>
          </p15:clr>
        </p15:guide>
        <p15:guide id="29" orient="horz" pos="953">
          <p15:clr>
            <a:srgbClr val="5ACBF0"/>
          </p15:clr>
        </p15:guide>
        <p15:guide id="30" orient="horz" pos="21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F0D2-1F7A-B81D-68D7-C8F417F5E38B}"/>
              </a:ext>
            </a:extLst>
          </p:cNvPr>
          <p:cNvSpPr>
            <a:spLocks noGrp="1"/>
          </p:cNvSpPr>
          <p:nvPr>
            <p:ph type="title" hasCustomPrompt="1"/>
          </p:nvPr>
        </p:nvSpPr>
        <p:spPr>
          <a:xfrm>
            <a:off x="588265" y="3124302"/>
            <a:ext cx="2372425" cy="609399"/>
          </a:xfrm>
          <a:noFill/>
        </p:spPr>
        <p:txBody>
          <a:bodyPr vert="horz" wrap="square" lIns="0" tIns="0" rIns="0" bIns="0" rtlCol="0" anchor="ctr" anchorCtr="0">
            <a:spAutoFit/>
          </a:bodyPr>
          <a:lstStyle>
            <a:lvl1pPr>
              <a:defRPr lang="en-US" sz="4400" dirty="0">
                <a:gradFill>
                  <a:gsLst>
                    <a:gs pos="90000">
                      <a:srgbClr val="FFEF86"/>
                    </a:gs>
                    <a:gs pos="10000">
                      <a:srgbClr val="E535E5"/>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Agenda</a:t>
            </a:r>
          </a:p>
        </p:txBody>
      </p:sp>
      <p:sp>
        <p:nvSpPr>
          <p:cNvPr id="6" name="Content Placeholder 5">
            <a:extLst>
              <a:ext uri="{FF2B5EF4-FFF2-40B4-BE49-F238E27FC236}">
                <a16:creationId xmlns:a16="http://schemas.microsoft.com/office/drawing/2014/main" id="{6FB402F3-D749-B066-5249-6A108410026F}"/>
              </a:ext>
            </a:extLst>
          </p:cNvPr>
          <p:cNvSpPr>
            <a:spLocks noGrp="1"/>
          </p:cNvSpPr>
          <p:nvPr>
            <p:ph sz="quarter" idx="10"/>
          </p:nvPr>
        </p:nvSpPr>
        <p:spPr>
          <a:xfrm>
            <a:off x="4144964" y="2622627"/>
            <a:ext cx="7458075" cy="1612749"/>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706934"/>
      </p:ext>
    </p:extLst>
  </p:cSld>
  <p:clrMapOvr>
    <a:masterClrMapping/>
  </p:clrMapOvr>
  <p:transition>
    <p:fade/>
  </p:transition>
  <p:extLst>
    <p:ext uri="{DCECCB84-F9BA-43D5-87BE-67443E8EF086}">
      <p15:sldGuideLst xmlns:p15="http://schemas.microsoft.com/office/powerpoint/2012/main">
        <p15:guide id="1" pos="1679">
          <p15:clr>
            <a:srgbClr val="FBAE40"/>
          </p15:clr>
        </p15:guide>
        <p15:guide id="2" pos="1399">
          <p15:clr>
            <a:srgbClr val="FBAE40"/>
          </p15:clr>
        </p15:guide>
        <p15:guide id="3" pos="1958">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80D44-6B54-A723-B4A1-90B147D579BC}"/>
              </a:ext>
            </a:extLst>
          </p:cNvPr>
          <p:cNvSpPr>
            <a:spLocks noGrp="1"/>
          </p:cNvSpPr>
          <p:nvPr>
            <p:ph type="ctrTitle"/>
          </p:nvPr>
        </p:nvSpPr>
        <p:spPr>
          <a:xfrm>
            <a:off x="1524000" y="1663303"/>
            <a:ext cx="9144000" cy="184666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58F5C4E-0D22-FF9F-E3B0-90E9671484CF}"/>
              </a:ext>
            </a:extLst>
          </p:cNvPr>
          <p:cNvSpPr>
            <a:spLocks noGrp="1"/>
          </p:cNvSpPr>
          <p:nvPr>
            <p:ph type="subTitle" idx="1"/>
          </p:nvPr>
        </p:nvSpPr>
        <p:spPr>
          <a:xfrm>
            <a:off x="1524000" y="3602038"/>
            <a:ext cx="9144000" cy="36933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B65AAFF-01BE-30FE-BC6C-B6A70F9CD016}"/>
              </a:ext>
            </a:extLst>
          </p:cNvPr>
          <p:cNvSpPr>
            <a:spLocks noGrp="1"/>
          </p:cNvSpPr>
          <p:nvPr>
            <p:ph type="dt" sz="half" idx="10"/>
          </p:nvPr>
        </p:nvSpPr>
        <p:spPr/>
        <p:txBody>
          <a:bodyPr/>
          <a:lstStyle/>
          <a:p>
            <a:fld id="{976C9846-CC32-480A-83C6-816A02F02C7A}" type="datetimeFigureOut">
              <a:rPr lang="en-US" smtClean="0"/>
              <a:t>6/20/2023</a:t>
            </a:fld>
            <a:endParaRPr lang="en-US"/>
          </a:p>
        </p:txBody>
      </p:sp>
      <p:sp>
        <p:nvSpPr>
          <p:cNvPr id="5" name="Footer Placeholder 4">
            <a:extLst>
              <a:ext uri="{FF2B5EF4-FFF2-40B4-BE49-F238E27FC236}">
                <a16:creationId xmlns:a16="http://schemas.microsoft.com/office/drawing/2014/main" id="{A4826484-0560-AE00-17BE-00708B6E45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C42047-7514-3578-9295-3AF9041D6B75}"/>
              </a:ext>
            </a:extLst>
          </p:cNvPr>
          <p:cNvSpPr>
            <a:spLocks noGrp="1"/>
          </p:cNvSpPr>
          <p:nvPr>
            <p:ph type="sldNum" sz="quarter" idx="12"/>
          </p:nvPr>
        </p:nvSpPr>
        <p:spPr/>
        <p:txBody>
          <a:bodyPr/>
          <a:lstStyle/>
          <a:p>
            <a:fld id="{26912E8A-02DA-4C6D-A079-F43129F0948C}" type="slidenum">
              <a:rPr lang="en-US" smtClean="0"/>
              <a:t>‹N°›</a:t>
            </a:fld>
            <a:endParaRPr lang="en-US"/>
          </a:p>
        </p:txBody>
      </p:sp>
    </p:spTree>
    <p:extLst>
      <p:ext uri="{BB962C8B-B14F-4D97-AF65-F5344CB8AC3E}">
        <p14:creationId xmlns:p14="http://schemas.microsoft.com/office/powerpoint/2010/main" val="36375182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5_NTT_content_page">
    <p:bg bwMode="lt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D33A03-107C-4803-B032-B77580ECFA47}"/>
              </a:ext>
            </a:extLst>
          </p:cNvPr>
          <p:cNvGraphicFramePr>
            <a:graphicFrameLocks noChangeAspect="1"/>
          </p:cNvGraphicFramePr>
          <p:nvPr userDrawn="1">
            <p:custDataLst>
              <p:tags r:id="rId1"/>
            </p:custDataLst>
            <p:extLst>
              <p:ext uri="{D42A27DB-BD31-4B8C-83A1-F6EECF244321}">
                <p14:modId xmlns:p14="http://schemas.microsoft.com/office/powerpoint/2010/main" val="35656364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FD33A03-107C-4803-B032-B77580ECFA47}"/>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656678" y="897351"/>
            <a:ext cx="3523281" cy="877093"/>
          </a:xfrm>
          <a:prstGeom prst="rect">
            <a:avLst/>
          </a:prstGeom>
        </p:spPr>
        <p:txBody>
          <a:bodyPr vert="horz" anchor="ctr"/>
          <a:lstStyle>
            <a:lvl1pPr algn="l" rtl="0">
              <a:lnSpc>
                <a:spcPct val="100000"/>
              </a:lnSpc>
              <a:defRPr sz="3200" b="1">
                <a:solidFill>
                  <a:schemeClr val="accent2"/>
                </a:solidFill>
              </a:defRPr>
            </a:lvl1pPr>
          </a:lstStyle>
          <a:p>
            <a:r>
              <a:rPr lang="en-US"/>
              <a:t>Click to edit Master title style</a:t>
            </a:r>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656678" y="1910991"/>
            <a:ext cx="3523281" cy="1546664"/>
          </a:xfrm>
          <a:prstGeom prst="rect">
            <a:avLst/>
          </a:prstGeom>
          <a:solidFill>
            <a:schemeClr val="accent2">
              <a:lumMod val="20000"/>
              <a:lumOff val="80000"/>
            </a:schemeClr>
          </a:solidFill>
        </p:spPr>
        <p:txBody>
          <a:bodyPr/>
          <a:lstStyle>
            <a:lvl1pPr rtl="0">
              <a:defRPr sz="1333">
                <a:solidFill>
                  <a:schemeClr val="bg1"/>
                </a:solidFill>
              </a:defRPr>
            </a:lvl1pPr>
            <a:lvl2pPr rtl="0">
              <a:defRPr sz="1333">
                <a:solidFill>
                  <a:schemeClr val="bg1"/>
                </a:solidFill>
              </a:defRPr>
            </a:lvl2pPr>
            <a:lvl3pPr rtl="0">
              <a:defRPr sz="1333">
                <a:solidFill>
                  <a:schemeClr val="bg1"/>
                </a:solidFill>
              </a:defRPr>
            </a:lvl3pPr>
            <a:lvl4pPr rtl="0">
              <a:defRPr sz="1333">
                <a:solidFill>
                  <a:schemeClr val="bg1"/>
                </a:solidFill>
              </a:defRPr>
            </a:lvl4pPr>
            <a:lvl5pPr rtl="0">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499149" y="897351"/>
            <a:ext cx="3049001" cy="1546664"/>
          </a:xfrm>
          <a:prstGeom prst="rect">
            <a:avLst/>
          </a:prstGeom>
          <a:solidFill>
            <a:schemeClr val="accent4">
              <a:lumMod val="20000"/>
              <a:lumOff val="80000"/>
            </a:schemeClr>
          </a:solidFill>
        </p:spPr>
        <p:txBody>
          <a:bodyPr/>
          <a:lstStyle>
            <a:lvl1pPr rtl="0">
              <a:defRPr sz="1333">
                <a:solidFill>
                  <a:schemeClr val="bg1"/>
                </a:solidFill>
              </a:defRPr>
            </a:lvl1pPr>
            <a:lvl2pPr rtl="0">
              <a:defRPr sz="1333">
                <a:solidFill>
                  <a:schemeClr val="bg1"/>
                </a:solidFill>
              </a:defRPr>
            </a:lvl2pPr>
            <a:lvl3pPr rtl="0">
              <a:defRPr sz="1333">
                <a:solidFill>
                  <a:schemeClr val="bg1"/>
                </a:solidFill>
              </a:defRPr>
            </a:lvl3pPr>
            <a:lvl4pPr rtl="0">
              <a:defRPr sz="1333">
                <a:solidFill>
                  <a:schemeClr val="bg1"/>
                </a:solidFill>
              </a:defRPr>
            </a:lvl4pPr>
            <a:lvl5pPr rtl="0">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158B466F-ED96-BE4E-955F-BE1FEA9E2EEB}"/>
              </a:ext>
            </a:extLst>
          </p:cNvPr>
          <p:cNvSpPr>
            <a:spLocks noGrp="1"/>
          </p:cNvSpPr>
          <p:nvPr>
            <p:ph type="body" sz="quarter" idx="22"/>
          </p:nvPr>
        </p:nvSpPr>
        <p:spPr>
          <a:xfrm>
            <a:off x="4321900" y="2540621"/>
            <a:ext cx="1939033" cy="540533"/>
          </a:xfrm>
          <a:prstGeom prst="rect">
            <a:avLst/>
          </a:prstGeom>
          <a:solidFill>
            <a:schemeClr val="accent5">
              <a:lumMod val="20000"/>
              <a:lumOff val="80000"/>
            </a:schemeClr>
          </a:solidFill>
        </p:spPr>
        <p:txBody>
          <a:bodyPr/>
          <a:lstStyle>
            <a:lvl1pPr rtl="0">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US"/>
              <a:t>Click to edit Master text styles</a:t>
            </a:r>
          </a:p>
        </p:txBody>
      </p:sp>
      <p:sp>
        <p:nvSpPr>
          <p:cNvPr id="17" name="Picture Placeholder 13">
            <a:extLst>
              <a:ext uri="{FF2B5EF4-FFF2-40B4-BE49-F238E27FC236}">
                <a16:creationId xmlns:a16="http://schemas.microsoft.com/office/drawing/2014/main" id="{E94D3DF8-5CF2-BF47-B246-B473C449DBF3}"/>
              </a:ext>
            </a:extLst>
          </p:cNvPr>
          <p:cNvSpPr>
            <a:spLocks noGrp="1"/>
          </p:cNvSpPr>
          <p:nvPr>
            <p:ph type="pic" sz="quarter" idx="18"/>
          </p:nvPr>
        </p:nvSpPr>
        <p:spPr>
          <a:xfrm>
            <a:off x="4321900" y="897351"/>
            <a:ext cx="1939033" cy="1540764"/>
          </a:xfrm>
          <a:prstGeom prst="rect">
            <a:avLst/>
          </a:prstGeom>
          <a:solidFill>
            <a:schemeClr val="bg2">
              <a:lumMod val="20000"/>
              <a:lumOff val="80000"/>
            </a:schemeClr>
          </a:solidFill>
          <a:effectLst/>
        </p:spPr>
        <p:txBody>
          <a:bodyPr>
            <a:normAutofit/>
          </a:bodyPr>
          <a:lstStyle>
            <a:lvl1pPr marL="0" indent="0" rtl="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US" noProof="0"/>
              <a:t>Click icon to add picture</a:t>
            </a:r>
          </a:p>
        </p:txBody>
      </p:sp>
      <p:sp>
        <p:nvSpPr>
          <p:cNvPr id="18" name="Picture Placeholder 13">
            <a:extLst>
              <a:ext uri="{FF2B5EF4-FFF2-40B4-BE49-F238E27FC236}">
                <a16:creationId xmlns:a16="http://schemas.microsoft.com/office/drawing/2014/main" id="{CBE37E95-2D23-464B-9974-5D9E340CF188}"/>
              </a:ext>
            </a:extLst>
          </p:cNvPr>
          <p:cNvSpPr>
            <a:spLocks noGrp="1"/>
          </p:cNvSpPr>
          <p:nvPr>
            <p:ph type="pic" sz="quarter" idx="17"/>
          </p:nvPr>
        </p:nvSpPr>
        <p:spPr>
          <a:xfrm>
            <a:off x="6396371" y="3692585"/>
            <a:ext cx="5151779" cy="2430748"/>
          </a:xfrm>
          <a:prstGeom prst="rect">
            <a:avLst/>
          </a:prstGeom>
          <a:solidFill>
            <a:schemeClr val="bg2">
              <a:lumMod val="20000"/>
              <a:lumOff val="80000"/>
            </a:schemeClr>
          </a:solidFill>
          <a:effectLst/>
        </p:spPr>
        <p:txBody>
          <a:bodyPr>
            <a:normAutofit/>
          </a:bodyPr>
          <a:lstStyle>
            <a:lvl1pPr marL="0" indent="0" rtl="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US" noProof="0"/>
              <a:t>Click icon to add picture</a:t>
            </a:r>
          </a:p>
        </p:txBody>
      </p:sp>
      <p:sp>
        <p:nvSpPr>
          <p:cNvPr id="19" name="Text Placeholder 6">
            <a:extLst>
              <a:ext uri="{FF2B5EF4-FFF2-40B4-BE49-F238E27FC236}">
                <a16:creationId xmlns:a16="http://schemas.microsoft.com/office/drawing/2014/main" id="{0174DC45-C4F5-BB48-9E7A-CEE0AEC2189E}"/>
              </a:ext>
            </a:extLst>
          </p:cNvPr>
          <p:cNvSpPr>
            <a:spLocks noGrp="1"/>
          </p:cNvSpPr>
          <p:nvPr>
            <p:ph type="body" sz="quarter" idx="23"/>
          </p:nvPr>
        </p:nvSpPr>
        <p:spPr>
          <a:xfrm>
            <a:off x="6410524" y="897352"/>
            <a:ext cx="1982521" cy="540533"/>
          </a:xfrm>
          <a:prstGeom prst="rect">
            <a:avLst/>
          </a:prstGeom>
          <a:solidFill>
            <a:schemeClr val="accent6">
              <a:lumMod val="20000"/>
              <a:lumOff val="80000"/>
            </a:schemeClr>
          </a:solidFill>
        </p:spPr>
        <p:txBody>
          <a:bodyPr/>
          <a:lstStyle>
            <a:lvl1pPr rtl="0">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534016730"/>
      </p:ext>
    </p:extLst>
  </p:cSld>
  <p:clrMapOvr>
    <a:overrideClrMapping bg1="dk1" tx1="lt1" bg2="dk2" tx2="lt2" accent1="accent1" accent2="accent2" accent3="accent3" accent4="accent4" accent5="accent5" accent6="accent6" hlink="hlink" folHlink="folHlink"/>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2FDFC-E1E8-6C8E-9B45-7D9EFC6BB4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9CA049-5669-3343-373D-46C5B96917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ABB7D5-CA5A-6D4A-03C6-7A0C1935D6A7}"/>
              </a:ext>
            </a:extLst>
          </p:cNvPr>
          <p:cNvSpPr>
            <a:spLocks noGrp="1"/>
          </p:cNvSpPr>
          <p:nvPr>
            <p:ph type="dt" sz="half" idx="10"/>
          </p:nvPr>
        </p:nvSpPr>
        <p:spPr/>
        <p:txBody>
          <a:bodyPr/>
          <a:lstStyle/>
          <a:p>
            <a:fld id="{976C9846-CC32-480A-83C6-816A02F02C7A}" type="datetimeFigureOut">
              <a:rPr lang="en-US" smtClean="0"/>
              <a:t>6/20/2023</a:t>
            </a:fld>
            <a:endParaRPr lang="en-US"/>
          </a:p>
        </p:txBody>
      </p:sp>
      <p:sp>
        <p:nvSpPr>
          <p:cNvPr id="5" name="Footer Placeholder 4">
            <a:extLst>
              <a:ext uri="{FF2B5EF4-FFF2-40B4-BE49-F238E27FC236}">
                <a16:creationId xmlns:a16="http://schemas.microsoft.com/office/drawing/2014/main" id="{13F80B67-180F-F697-9EC5-869205F336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50417D-24C4-437F-A9DE-18C315BF32F9}"/>
              </a:ext>
            </a:extLst>
          </p:cNvPr>
          <p:cNvSpPr>
            <a:spLocks noGrp="1"/>
          </p:cNvSpPr>
          <p:nvPr>
            <p:ph type="sldNum" sz="quarter" idx="12"/>
          </p:nvPr>
        </p:nvSpPr>
        <p:spPr/>
        <p:txBody>
          <a:bodyPr/>
          <a:lstStyle/>
          <a:p>
            <a:fld id="{26912E8A-02DA-4C6D-A079-F43129F0948C}" type="slidenum">
              <a:rPr lang="en-US" smtClean="0"/>
              <a:t>‹N°›</a:t>
            </a:fld>
            <a:endParaRPr lang="en-US"/>
          </a:p>
        </p:txBody>
      </p:sp>
    </p:spTree>
    <p:extLst>
      <p:ext uri="{BB962C8B-B14F-4D97-AF65-F5344CB8AC3E}">
        <p14:creationId xmlns:p14="http://schemas.microsoft.com/office/powerpoint/2010/main" val="392367359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1_Cover_slide_blue_background">
    <p:bg>
      <p:bgPr>
        <a:solidFill>
          <a:schemeClr val="accent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bg1"/>
                </a:solidFill>
              </a:defRPr>
            </a:lvl1pPr>
          </a:lstStyle>
          <a:p>
            <a:r>
              <a:rPr lang="en-GB" altLang="ja-JP"/>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grpSp>
        <p:nvGrpSpPr>
          <p:cNvPr id="6" name="Group 5">
            <a:extLst>
              <a:ext uri="{FF2B5EF4-FFF2-40B4-BE49-F238E27FC236}">
                <a16:creationId xmlns:a16="http://schemas.microsoft.com/office/drawing/2014/main" id="{8387E52E-C52F-354C-87BC-57DD4DC4CC64}"/>
              </a:ext>
            </a:extLst>
          </p:cNvPr>
          <p:cNvGrpSpPr/>
          <p:nvPr/>
        </p:nvGrpSpPr>
        <p:grpSpPr>
          <a:xfrm>
            <a:off x="990634" y="618114"/>
            <a:ext cx="2082953" cy="772087"/>
            <a:chOff x="2793433" y="873832"/>
            <a:chExt cx="981220" cy="363708"/>
          </a:xfrm>
          <a:solidFill>
            <a:schemeClr val="bg1"/>
          </a:solidFill>
        </p:grpSpPr>
        <p:sp>
          <p:nvSpPr>
            <p:cNvPr id="7" name="Freeform 5">
              <a:extLst>
                <a:ext uri="{FF2B5EF4-FFF2-40B4-BE49-F238E27FC236}">
                  <a16:creationId xmlns:a16="http://schemas.microsoft.com/office/drawing/2014/main" id="{94EE4931-9B6A-F84D-8D4B-FEA018185198}"/>
                </a:ext>
              </a:extLst>
            </p:cNvPr>
            <p:cNvSpPr>
              <a:spLocks noEditPoints="1"/>
            </p:cNvSpPr>
            <p:nvPr/>
          </p:nvSpPr>
          <p:spPr bwMode="auto">
            <a:xfrm>
              <a:off x="2793433" y="873832"/>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9" name="Freeform 6">
              <a:extLst>
                <a:ext uri="{FF2B5EF4-FFF2-40B4-BE49-F238E27FC236}">
                  <a16:creationId xmlns:a16="http://schemas.microsoft.com/office/drawing/2014/main" id="{985CC778-8F09-E14D-B1B6-FEE0D27927AF}"/>
                </a:ext>
              </a:extLst>
            </p:cNvPr>
            <p:cNvSpPr>
              <a:spLocks noEditPoints="1"/>
            </p:cNvSpPr>
            <p:nvPr/>
          </p:nvSpPr>
          <p:spPr bwMode="auto">
            <a:xfrm>
              <a:off x="3248386" y="954484"/>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1" name="Text Placeholder 2">
            <a:extLst>
              <a:ext uri="{FF2B5EF4-FFF2-40B4-BE49-F238E27FC236}">
                <a16:creationId xmlns:a16="http://schemas.microsoft.com/office/drawing/2014/main" id="{30A8CA69-479C-40C9-844A-8A25194FA5C8}"/>
              </a:ext>
            </a:extLst>
          </p:cNvPr>
          <p:cNvSpPr>
            <a:spLocks noGrp="1"/>
          </p:cNvSpPr>
          <p:nvPr>
            <p:ph type="body" sz="quarter" idx="11" hasCustomPrompt="1"/>
          </p:nvPr>
        </p:nvSpPr>
        <p:spPr>
          <a:xfrm>
            <a:off x="5440221" y="6499791"/>
            <a:ext cx="6535881" cy="234949"/>
          </a:xfrm>
          <a:prstGeom prst="rect">
            <a:avLst/>
          </a:prstGeom>
        </p:spPr>
        <p:txBody>
          <a:bodyPr anchor="ctr"/>
          <a:lstStyle>
            <a:lvl1pPr algn="r">
              <a:defRPr sz="1200">
                <a:solidFill>
                  <a:schemeClr val="bg1"/>
                </a:solidFill>
              </a:defRPr>
            </a:lvl1pPr>
          </a:lstStyle>
          <a:p>
            <a:r>
              <a:rPr lang="en-GB" sz="1200"/>
              <a:t>[Name]-[Classification]-[Status]-v[x-x]</a:t>
            </a:r>
          </a:p>
        </p:txBody>
      </p:sp>
    </p:spTree>
    <p:extLst>
      <p:ext uri="{BB962C8B-B14F-4D97-AF65-F5344CB8AC3E}">
        <p14:creationId xmlns:p14="http://schemas.microsoft.com/office/powerpoint/2010/main" val="25660183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ユーザー設定レイアウト">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AAE65148-FDC7-4ACD-BC2C-70267F8E249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accent2"/>
                </a:solidFill>
              </a:defRPr>
            </a:lvl1pPr>
          </a:lstStyle>
          <a:p>
            <a:r>
              <a:rPr lang="en-GB" altLang="ja-JP"/>
              <a:t>Click to edit Master title style</a:t>
            </a:r>
            <a:endParaRPr lang="en-GB"/>
          </a:p>
        </p:txBody>
      </p:sp>
      <p:sp>
        <p:nvSpPr>
          <p:cNvPr id="4" name="Text Placeholder 9">
            <a:extLst>
              <a:ext uri="{FF2B5EF4-FFF2-40B4-BE49-F238E27FC236}">
                <a16:creationId xmlns:a16="http://schemas.microsoft.com/office/drawing/2014/main" id="{10E6012D-9F24-4549-A0DA-C3FE30C2EB9F}"/>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accent2"/>
                </a:solidFill>
              </a:defRPr>
            </a:lvl1pPr>
          </a:lstStyle>
          <a:p>
            <a:pPr lvl="0"/>
            <a:r>
              <a:rPr lang="en-US"/>
              <a:t>Sub-title / Presenter Name</a:t>
            </a:r>
            <a:endParaRPr lang="en-GB"/>
          </a:p>
        </p:txBody>
      </p:sp>
      <p:grpSp>
        <p:nvGrpSpPr>
          <p:cNvPr id="5" name="Group 4">
            <a:extLst>
              <a:ext uri="{FF2B5EF4-FFF2-40B4-BE49-F238E27FC236}">
                <a16:creationId xmlns:a16="http://schemas.microsoft.com/office/drawing/2014/main" id="{34D79633-F29C-F247-B1B7-D6C107CD6A02}"/>
              </a:ext>
            </a:extLst>
          </p:cNvPr>
          <p:cNvGrpSpPr/>
          <p:nvPr/>
        </p:nvGrpSpPr>
        <p:grpSpPr>
          <a:xfrm>
            <a:off x="990634" y="618114"/>
            <a:ext cx="2082953" cy="772087"/>
            <a:chOff x="2793433" y="873832"/>
            <a:chExt cx="981220" cy="363708"/>
          </a:xfrm>
        </p:grpSpPr>
        <p:sp>
          <p:nvSpPr>
            <p:cNvPr id="7" name="Freeform 5">
              <a:extLst>
                <a:ext uri="{FF2B5EF4-FFF2-40B4-BE49-F238E27FC236}">
                  <a16:creationId xmlns:a16="http://schemas.microsoft.com/office/drawing/2014/main" id="{04A161C1-1431-C640-830B-234F85F53D43}"/>
                </a:ext>
              </a:extLst>
            </p:cNvPr>
            <p:cNvSpPr>
              <a:spLocks noEditPoints="1"/>
            </p:cNvSpPr>
            <p:nvPr/>
          </p:nvSpPr>
          <p:spPr bwMode="auto">
            <a:xfrm>
              <a:off x="2793433" y="873832"/>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8" name="Freeform 6">
              <a:extLst>
                <a:ext uri="{FF2B5EF4-FFF2-40B4-BE49-F238E27FC236}">
                  <a16:creationId xmlns:a16="http://schemas.microsoft.com/office/drawing/2014/main" id="{145A65F4-7585-0041-8AD4-1F8C4785BB0F}"/>
                </a:ext>
              </a:extLst>
            </p:cNvPr>
            <p:cNvSpPr>
              <a:spLocks noEditPoints="1"/>
            </p:cNvSpPr>
            <p:nvPr/>
          </p:nvSpPr>
          <p:spPr bwMode="auto">
            <a:xfrm>
              <a:off x="3248386" y="954484"/>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0" name="Text Placeholder 2">
            <a:extLst>
              <a:ext uri="{FF2B5EF4-FFF2-40B4-BE49-F238E27FC236}">
                <a16:creationId xmlns:a16="http://schemas.microsoft.com/office/drawing/2014/main" id="{E36371A1-5A0C-4C07-922C-8D9DF3505B2A}"/>
              </a:ext>
            </a:extLst>
          </p:cNvPr>
          <p:cNvSpPr>
            <a:spLocks noGrp="1"/>
          </p:cNvSpPr>
          <p:nvPr>
            <p:ph type="body" sz="quarter" idx="11" hasCustomPrompt="1"/>
          </p:nvPr>
        </p:nvSpPr>
        <p:spPr>
          <a:xfrm>
            <a:off x="5440221" y="6499791"/>
            <a:ext cx="6535881" cy="234949"/>
          </a:xfrm>
          <a:prstGeom prst="rect">
            <a:avLst/>
          </a:prstGeom>
        </p:spPr>
        <p:txBody>
          <a:bodyPr anchor="ctr"/>
          <a:lstStyle>
            <a:lvl1pPr algn="r">
              <a:defRPr sz="1200">
                <a:solidFill>
                  <a:schemeClr val="tx1"/>
                </a:solidFill>
              </a:defRPr>
            </a:lvl1pPr>
          </a:lstStyle>
          <a:p>
            <a:r>
              <a:rPr lang="en-GB" sz="1200"/>
              <a:t>[Name]-[Classification]-[Status]-v[x-x]</a:t>
            </a:r>
          </a:p>
        </p:txBody>
      </p:sp>
    </p:spTree>
    <p:extLst>
      <p:ext uri="{BB962C8B-B14F-4D97-AF65-F5344CB8AC3E}">
        <p14:creationId xmlns:p14="http://schemas.microsoft.com/office/powerpoint/2010/main" val="2965005733"/>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0"/>
            <a:ext cx="12192000" cy="6366933"/>
          </a:xfrm>
          <a:prstGeom prst="rect">
            <a:avLst/>
          </a:prstGeom>
          <a:solidFill>
            <a:schemeClr val="tx2"/>
          </a:solidFill>
        </p:spPr>
        <p:txBody>
          <a:bodyPr/>
          <a:lstStyle>
            <a:lvl1pPr algn="ctr">
              <a:defRPr>
                <a:solidFill>
                  <a:schemeClr val="bg1"/>
                </a:solidFill>
              </a:defRPr>
            </a:lvl1pPr>
          </a:lstStyle>
          <a:p>
            <a:r>
              <a:rPr lang="en-GB" altLang="ja-JP"/>
              <a:t>Click icon to add picture</a:t>
            </a:r>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818549"/>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GB" altLang="ja-JP"/>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9826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6" name="Rectangle 5">
            <a:extLst>
              <a:ext uri="{FF2B5EF4-FFF2-40B4-BE49-F238E27FC236}">
                <a16:creationId xmlns:a16="http://schemas.microsoft.com/office/drawing/2014/main" id="{9E804B60-94DF-184E-8690-7B1C7117FB1A}"/>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7" name="Text Placeholder 2">
            <a:extLst>
              <a:ext uri="{FF2B5EF4-FFF2-40B4-BE49-F238E27FC236}">
                <a16:creationId xmlns:a16="http://schemas.microsoft.com/office/drawing/2014/main" id="{9501D8A8-F69D-4560-A14E-8661DA24F240}"/>
              </a:ext>
            </a:extLst>
          </p:cNvPr>
          <p:cNvSpPr>
            <a:spLocks noGrp="1"/>
          </p:cNvSpPr>
          <p:nvPr>
            <p:ph type="body" sz="quarter" idx="12" hasCustomPrompt="1"/>
          </p:nvPr>
        </p:nvSpPr>
        <p:spPr>
          <a:xfrm>
            <a:off x="5440221" y="6499791"/>
            <a:ext cx="6535881" cy="234949"/>
          </a:xfrm>
          <a:prstGeom prst="rect">
            <a:avLst/>
          </a:prstGeom>
        </p:spPr>
        <p:txBody>
          <a:bodyPr anchor="ctr"/>
          <a:lstStyle>
            <a:lvl1pPr algn="r">
              <a:defRPr sz="1200">
                <a:solidFill>
                  <a:schemeClr val="bg1"/>
                </a:solidFill>
              </a:defRPr>
            </a:lvl1pPr>
          </a:lstStyle>
          <a:p>
            <a:r>
              <a:rPr lang="en-GB" sz="1200"/>
              <a:t>[Name]-[Classification]-[Status]-v[x-x]</a:t>
            </a:r>
          </a:p>
        </p:txBody>
      </p:sp>
    </p:spTree>
    <p:extLst>
      <p:ext uri="{BB962C8B-B14F-4D97-AF65-F5344CB8AC3E}">
        <p14:creationId xmlns:p14="http://schemas.microsoft.com/office/powerpoint/2010/main" val="2746989666"/>
      </p:ext>
    </p:extLst>
  </p:cSld>
  <p:clrMapOvr>
    <a:overrideClrMapping bg1="lt1" tx1="dk1" bg2="lt2" tx2="dk2" accent1="accent1" accent2="accent2" accent3="accent3" accent4="accent4" accent5="accent5" accent6="accent6" hlink="hlink" folHlink="folHlink"/>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NTT_content_page_white">
    <p:bg bwMode="ltGray">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5" y="161003"/>
            <a:ext cx="9635171" cy="833780"/>
          </a:xfrm>
          <a:prstGeom prst="rect">
            <a:avLst/>
          </a:prstGeom>
        </p:spPr>
        <p:txBody>
          <a:bodyPr anchor="ctr"/>
          <a:lstStyle>
            <a:lvl1pPr>
              <a:defRPr sz="3200" b="1">
                <a:solidFill>
                  <a:schemeClr val="accent2"/>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1"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1"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0"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0"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1"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1"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0"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0"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0"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grpSp>
        <p:nvGrpSpPr>
          <p:cNvPr id="24" name="Group 23">
            <a:extLst>
              <a:ext uri="{FF2B5EF4-FFF2-40B4-BE49-F238E27FC236}">
                <a16:creationId xmlns:a16="http://schemas.microsoft.com/office/drawing/2014/main" id="{F82B2D37-A043-F74B-A1C4-2C03F112842E}"/>
              </a:ext>
            </a:extLst>
          </p:cNvPr>
          <p:cNvGrpSpPr/>
          <p:nvPr/>
        </p:nvGrpSpPr>
        <p:grpSpPr>
          <a:xfrm>
            <a:off x="10458438" y="332679"/>
            <a:ext cx="1308293" cy="484944"/>
            <a:chOff x="7843828" y="249509"/>
            <a:chExt cx="981220" cy="363708"/>
          </a:xfrm>
        </p:grpSpPr>
        <p:sp>
          <p:nvSpPr>
            <p:cNvPr id="25" name="Freeform 5">
              <a:extLst>
                <a:ext uri="{FF2B5EF4-FFF2-40B4-BE49-F238E27FC236}">
                  <a16:creationId xmlns:a16="http://schemas.microsoft.com/office/drawing/2014/main" id="{0FC0CD75-CDF7-F444-99CC-7D4C7FC9666F}"/>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26" name="Freeform 6">
              <a:extLst>
                <a:ext uri="{FF2B5EF4-FFF2-40B4-BE49-F238E27FC236}">
                  <a16:creationId xmlns:a16="http://schemas.microsoft.com/office/drawing/2014/main" id="{B8F30D35-BAE9-E448-83D6-FA8C3AA42FD6}"/>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29" name="Rectangle 28">
            <a:extLst>
              <a:ext uri="{FF2B5EF4-FFF2-40B4-BE49-F238E27FC236}">
                <a16:creationId xmlns:a16="http://schemas.microsoft.com/office/drawing/2014/main" id="{0B8514B3-61BB-7B40-8187-4D3428A61E1D}"/>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
        <p:nvSpPr>
          <p:cNvPr id="31" name="Text Placeholder 2">
            <a:extLst>
              <a:ext uri="{FF2B5EF4-FFF2-40B4-BE49-F238E27FC236}">
                <a16:creationId xmlns:a16="http://schemas.microsoft.com/office/drawing/2014/main" id="{9DEFA18E-0198-904B-8983-1B40E3D97DAE}"/>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32" name="Text Placeholder 2">
            <a:extLst>
              <a:ext uri="{FF2B5EF4-FFF2-40B4-BE49-F238E27FC236}">
                <a16:creationId xmlns:a16="http://schemas.microsoft.com/office/drawing/2014/main" id="{18AF0166-0890-A947-901D-0B0EDF44C2E2}"/>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1A920E5C-72B2-DC4F-8062-BC050F7382ED}" type="slidenum">
              <a:rPr lang="en-GB" sz="1200" smtClean="0"/>
              <a:t>‹#›</a:t>
            </a:fld>
            <a:endParaRPr lang="en-GB" sz="1200"/>
          </a:p>
        </p:txBody>
      </p:sp>
    </p:spTree>
    <p:extLst>
      <p:ext uri="{BB962C8B-B14F-4D97-AF65-F5344CB8AC3E}">
        <p14:creationId xmlns:p14="http://schemas.microsoft.com/office/powerpoint/2010/main" val="1558262880"/>
      </p:ext>
    </p:extLst>
  </p:cSld>
  <p:clrMapOvr>
    <a:overrideClrMapping bg1="lt1" tx1="dk1" bg2="lt2" tx2="dk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NTT_contents_page_blue">
    <p:bg bwMode="ltGray">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5" y="161003"/>
            <a:ext cx="9897147" cy="833780"/>
          </a:xfrm>
          <a:prstGeom prst="rect">
            <a:avLst/>
          </a:prstGeom>
        </p:spPr>
        <p:txBody>
          <a:bodyPr anchor="ctr"/>
          <a:lstStyle>
            <a:lvl1pPr>
              <a:defRPr sz="3200" b="1">
                <a:solidFill>
                  <a:srgbClr val="FFFFFF"/>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1" y="1375838"/>
            <a:ext cx="2021429" cy="486833"/>
          </a:xfrm>
          <a:prstGeom prst="rect">
            <a:avLst/>
          </a:prstGeom>
        </p:spPr>
        <p:txBody>
          <a:bodyPr vert="horz"/>
          <a:lstStyle>
            <a:lvl1pPr>
              <a:defRPr b="1">
                <a:solidFill>
                  <a:schemeClr val="bg1"/>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1"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38"/>
            <a:ext cx="2021429" cy="486833"/>
          </a:xfrm>
          <a:prstGeom prst="rect">
            <a:avLst/>
          </a:prstGeom>
        </p:spPr>
        <p:txBody>
          <a:bodyPr vert="horz"/>
          <a:lstStyle>
            <a:lvl1pPr>
              <a:defRPr b="1">
                <a:solidFill>
                  <a:schemeClr val="bg1"/>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38"/>
            <a:ext cx="2021429" cy="486833"/>
          </a:xfrm>
          <a:prstGeom prst="rect">
            <a:avLst/>
          </a:prstGeom>
        </p:spPr>
        <p:txBody>
          <a:bodyPr vert="horz"/>
          <a:lstStyle>
            <a:lvl1pPr>
              <a:defRPr b="1">
                <a:solidFill>
                  <a:schemeClr val="bg1"/>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38"/>
            <a:ext cx="2021429" cy="486833"/>
          </a:xfrm>
          <a:prstGeom prst="rect">
            <a:avLst/>
          </a:prstGeom>
        </p:spPr>
        <p:txBody>
          <a:bodyPr vert="horz"/>
          <a:lstStyle>
            <a:lvl1pPr>
              <a:defRPr b="1">
                <a:solidFill>
                  <a:schemeClr val="bg1"/>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0" y="1375838"/>
            <a:ext cx="2021429" cy="486833"/>
          </a:xfrm>
          <a:prstGeom prst="rect">
            <a:avLst/>
          </a:prstGeom>
        </p:spPr>
        <p:txBody>
          <a:bodyPr vert="horz"/>
          <a:lstStyle>
            <a:lvl1pPr>
              <a:defRPr b="1">
                <a:solidFill>
                  <a:schemeClr val="bg1"/>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0"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1" y="3894672"/>
            <a:ext cx="2021429" cy="486833"/>
          </a:xfrm>
          <a:prstGeom prst="rect">
            <a:avLst/>
          </a:prstGeom>
        </p:spPr>
        <p:txBody>
          <a:bodyPr vert="horz"/>
          <a:lstStyle>
            <a:lvl1pPr>
              <a:defRPr b="1">
                <a:solidFill>
                  <a:schemeClr val="bg1"/>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1"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2"/>
            <a:ext cx="2021429" cy="486833"/>
          </a:xfrm>
          <a:prstGeom prst="rect">
            <a:avLst/>
          </a:prstGeom>
        </p:spPr>
        <p:txBody>
          <a:bodyPr vert="horz"/>
          <a:lstStyle>
            <a:lvl1pPr>
              <a:defRPr b="1">
                <a:solidFill>
                  <a:schemeClr val="bg1"/>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2"/>
            <a:ext cx="2021429" cy="486833"/>
          </a:xfrm>
          <a:prstGeom prst="rect">
            <a:avLst/>
          </a:prstGeom>
        </p:spPr>
        <p:txBody>
          <a:bodyPr vert="horz"/>
          <a:lstStyle>
            <a:lvl1pPr>
              <a:defRPr b="1">
                <a:solidFill>
                  <a:schemeClr val="bg1"/>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2"/>
            <a:ext cx="2021429" cy="486833"/>
          </a:xfrm>
          <a:prstGeom prst="rect">
            <a:avLst/>
          </a:prstGeom>
        </p:spPr>
        <p:txBody>
          <a:bodyPr vert="horz"/>
          <a:lstStyle>
            <a:lvl1pPr>
              <a:defRPr b="1">
                <a:solidFill>
                  <a:schemeClr val="bg1"/>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0"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0" y="3894672"/>
            <a:ext cx="2021429" cy="486833"/>
          </a:xfrm>
          <a:prstGeom prst="rect">
            <a:avLst/>
          </a:prstGeom>
        </p:spPr>
        <p:txBody>
          <a:bodyPr vert="horz"/>
          <a:lstStyle>
            <a:lvl1pPr>
              <a:defRPr b="1">
                <a:solidFill>
                  <a:schemeClr val="bg1"/>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0"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grpSp>
        <p:nvGrpSpPr>
          <p:cNvPr id="25" name="Group 24">
            <a:extLst>
              <a:ext uri="{FF2B5EF4-FFF2-40B4-BE49-F238E27FC236}">
                <a16:creationId xmlns:a16="http://schemas.microsoft.com/office/drawing/2014/main" id="{F099DE36-EF35-F144-9F48-6BE5FE0AEF4F}"/>
              </a:ext>
            </a:extLst>
          </p:cNvPr>
          <p:cNvGrpSpPr/>
          <p:nvPr/>
        </p:nvGrpSpPr>
        <p:grpSpPr>
          <a:xfrm>
            <a:off x="10458438" y="332679"/>
            <a:ext cx="1308293" cy="484944"/>
            <a:chOff x="7843828" y="249509"/>
            <a:chExt cx="981220" cy="363708"/>
          </a:xfrm>
          <a:solidFill>
            <a:schemeClr val="bg1"/>
          </a:solidFill>
        </p:grpSpPr>
        <p:sp>
          <p:nvSpPr>
            <p:cNvPr id="26" name="Freeform 5">
              <a:extLst>
                <a:ext uri="{FF2B5EF4-FFF2-40B4-BE49-F238E27FC236}">
                  <a16:creationId xmlns:a16="http://schemas.microsoft.com/office/drawing/2014/main" id="{03D11BC0-7723-924C-B166-BF3DAE3BF2B6}"/>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7" name="Freeform 6">
              <a:extLst>
                <a:ext uri="{FF2B5EF4-FFF2-40B4-BE49-F238E27FC236}">
                  <a16:creationId xmlns:a16="http://schemas.microsoft.com/office/drawing/2014/main" id="{4A4888B7-2FE5-A644-8532-645A50D38A7C}"/>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33" name="Text Placeholder 2">
            <a:extLst>
              <a:ext uri="{FF2B5EF4-FFF2-40B4-BE49-F238E27FC236}">
                <a16:creationId xmlns:a16="http://schemas.microsoft.com/office/drawing/2014/main" id="{16F994F0-6F43-954D-9CE2-509BD7CB8139}"/>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34" name="Text Placeholder 2">
            <a:extLst>
              <a:ext uri="{FF2B5EF4-FFF2-40B4-BE49-F238E27FC236}">
                <a16:creationId xmlns:a16="http://schemas.microsoft.com/office/drawing/2014/main" id="{DBD1EDBC-DE86-EE44-A35C-C7D5346C10C2}"/>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29" name="Rectangle 28">
            <a:extLst>
              <a:ext uri="{FF2B5EF4-FFF2-40B4-BE49-F238E27FC236}">
                <a16:creationId xmlns:a16="http://schemas.microsoft.com/office/drawing/2014/main" id="{CA9796F3-6962-455C-B5D3-1525810BA3DA}"/>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223672142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3_NTT_content_page">
    <p:bg bwMode="ltGray">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085481-1F38-7744-AE2E-14E71BBC7165}"/>
              </a:ext>
            </a:extLst>
          </p:cNvPr>
          <p:cNvSpPr/>
          <p:nvPr/>
        </p:nvSpPr>
        <p:spPr>
          <a:xfrm>
            <a:off x="5883965" y="0"/>
            <a:ext cx="6308035" cy="685800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solidFill>
                <a:schemeClr val="tx1"/>
              </a:solidFill>
            </a:endParaRPr>
          </a:p>
        </p:txBody>
      </p:sp>
      <p:sp>
        <p:nvSpPr>
          <p:cNvPr id="4" name="Rectangle 3">
            <a:extLst>
              <a:ext uri="{FF2B5EF4-FFF2-40B4-BE49-F238E27FC236}">
                <a16:creationId xmlns:a16="http://schemas.microsoft.com/office/drawing/2014/main" id="{F047273F-8383-0B40-A84D-A6E3D5DAB531}"/>
              </a:ext>
            </a:extLst>
          </p:cNvPr>
          <p:cNvSpPr/>
          <p:nvPr/>
        </p:nvSpPr>
        <p:spPr>
          <a:xfrm>
            <a:off x="1157207" y="1290234"/>
            <a:ext cx="3822916" cy="4277532"/>
          </a:xfrm>
          <a:prstGeom prst="rect">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ext Placeholder 6">
            <a:extLst>
              <a:ext uri="{FF2B5EF4-FFF2-40B4-BE49-F238E27FC236}">
                <a16:creationId xmlns:a16="http://schemas.microsoft.com/office/drawing/2014/main" id="{7172A34A-A47D-0B40-835D-28831DC7725C}"/>
              </a:ext>
            </a:extLst>
          </p:cNvPr>
          <p:cNvSpPr>
            <a:spLocks noGrp="1"/>
          </p:cNvSpPr>
          <p:nvPr>
            <p:ph type="body" sz="quarter" idx="15"/>
          </p:nvPr>
        </p:nvSpPr>
        <p:spPr>
          <a:xfrm>
            <a:off x="1297014" y="3256155"/>
            <a:ext cx="3543300" cy="1437899"/>
          </a:xfrm>
          <a:prstGeom prst="rect">
            <a:avLst/>
          </a:prstGeom>
        </p:spPr>
        <p:txBody>
          <a:bodyPr/>
          <a:lstStyle>
            <a:lvl1pPr marL="0" indent="0" algn="ctr">
              <a:buNone/>
              <a:defRPr sz="1333">
                <a:solidFill>
                  <a:schemeClr val="bg1"/>
                </a:solidFill>
              </a:defRPr>
            </a:lvl1pPr>
            <a:lvl2pPr marL="457189" indent="0" algn="ctr">
              <a:buNone/>
              <a:defRPr sz="1333"/>
            </a:lvl2pPr>
            <a:lvl3pPr marL="914377" indent="0" algn="ctr">
              <a:buNone/>
              <a:defRPr sz="1333"/>
            </a:lvl3pPr>
            <a:lvl4pPr marL="1371566" indent="0" algn="ctr">
              <a:buNone/>
              <a:defRPr sz="1333"/>
            </a:lvl4pPr>
            <a:lvl5pPr marL="1828754" indent="0" algn="ctr">
              <a:buNone/>
              <a:defRPr sz="1333"/>
            </a:lvl5pPr>
          </a:lstStyle>
          <a:p>
            <a:pPr lvl="0"/>
            <a:r>
              <a:rPr lang="en-GB" altLang="ja-JP"/>
              <a:t>Click to edit Master text styles</a:t>
            </a:r>
          </a:p>
        </p:txBody>
      </p:sp>
      <p:sp>
        <p:nvSpPr>
          <p:cNvPr id="22" name="Text Placeholder 11">
            <a:extLst>
              <a:ext uri="{FF2B5EF4-FFF2-40B4-BE49-F238E27FC236}">
                <a16:creationId xmlns:a16="http://schemas.microsoft.com/office/drawing/2014/main" id="{252F90EC-C0F9-F040-B680-A6A9A3CB16FF}"/>
              </a:ext>
            </a:extLst>
          </p:cNvPr>
          <p:cNvSpPr>
            <a:spLocks noGrp="1"/>
          </p:cNvSpPr>
          <p:nvPr>
            <p:ph type="body" sz="quarter" idx="19" hasCustomPrompt="1"/>
          </p:nvPr>
        </p:nvSpPr>
        <p:spPr>
          <a:xfrm>
            <a:off x="6376011" y="1486068"/>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3" name="Text Placeholder 11">
            <a:extLst>
              <a:ext uri="{FF2B5EF4-FFF2-40B4-BE49-F238E27FC236}">
                <a16:creationId xmlns:a16="http://schemas.microsoft.com/office/drawing/2014/main" id="{8B064F4E-61E6-8D43-884D-B02F8BF1243B}"/>
              </a:ext>
            </a:extLst>
          </p:cNvPr>
          <p:cNvSpPr>
            <a:spLocks noGrp="1"/>
          </p:cNvSpPr>
          <p:nvPr>
            <p:ph type="body" sz="quarter" idx="20" hasCustomPrompt="1"/>
          </p:nvPr>
        </p:nvSpPr>
        <p:spPr>
          <a:xfrm>
            <a:off x="6376011" y="1816697"/>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4" name="Text Placeholder 11">
            <a:extLst>
              <a:ext uri="{FF2B5EF4-FFF2-40B4-BE49-F238E27FC236}">
                <a16:creationId xmlns:a16="http://schemas.microsoft.com/office/drawing/2014/main" id="{03EE597B-F187-9343-9BDB-C8BFA2AFFFD0}"/>
              </a:ext>
            </a:extLst>
          </p:cNvPr>
          <p:cNvSpPr>
            <a:spLocks noGrp="1"/>
          </p:cNvSpPr>
          <p:nvPr>
            <p:ph type="body" sz="quarter" idx="21" hasCustomPrompt="1"/>
          </p:nvPr>
        </p:nvSpPr>
        <p:spPr>
          <a:xfrm>
            <a:off x="6376011" y="2126664"/>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6" name="Text Placeholder 11">
            <a:extLst>
              <a:ext uri="{FF2B5EF4-FFF2-40B4-BE49-F238E27FC236}">
                <a16:creationId xmlns:a16="http://schemas.microsoft.com/office/drawing/2014/main" id="{586E91DD-916B-F645-80BE-74FE13A1A309}"/>
              </a:ext>
            </a:extLst>
          </p:cNvPr>
          <p:cNvSpPr>
            <a:spLocks noGrp="1"/>
          </p:cNvSpPr>
          <p:nvPr>
            <p:ph type="body" sz="quarter" idx="22" hasCustomPrompt="1"/>
          </p:nvPr>
        </p:nvSpPr>
        <p:spPr>
          <a:xfrm>
            <a:off x="6376011" y="2863480"/>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7" name="Text Placeholder 11">
            <a:extLst>
              <a:ext uri="{FF2B5EF4-FFF2-40B4-BE49-F238E27FC236}">
                <a16:creationId xmlns:a16="http://schemas.microsoft.com/office/drawing/2014/main" id="{D33AE9B1-FC4C-B64A-A627-4C5DEB4D3642}"/>
              </a:ext>
            </a:extLst>
          </p:cNvPr>
          <p:cNvSpPr>
            <a:spLocks noGrp="1"/>
          </p:cNvSpPr>
          <p:nvPr>
            <p:ph type="body" sz="quarter" idx="23" hasCustomPrompt="1"/>
          </p:nvPr>
        </p:nvSpPr>
        <p:spPr>
          <a:xfrm>
            <a:off x="6376011" y="3194109"/>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8" name="Text Placeholder 11">
            <a:extLst>
              <a:ext uri="{FF2B5EF4-FFF2-40B4-BE49-F238E27FC236}">
                <a16:creationId xmlns:a16="http://schemas.microsoft.com/office/drawing/2014/main" id="{D7BDC373-757A-224C-BDE1-7C04B2534237}"/>
              </a:ext>
            </a:extLst>
          </p:cNvPr>
          <p:cNvSpPr>
            <a:spLocks noGrp="1"/>
          </p:cNvSpPr>
          <p:nvPr>
            <p:ph type="body" sz="quarter" idx="24" hasCustomPrompt="1"/>
          </p:nvPr>
        </p:nvSpPr>
        <p:spPr>
          <a:xfrm>
            <a:off x="6376011" y="3504076"/>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9" name="Text Placeholder 11">
            <a:extLst>
              <a:ext uri="{FF2B5EF4-FFF2-40B4-BE49-F238E27FC236}">
                <a16:creationId xmlns:a16="http://schemas.microsoft.com/office/drawing/2014/main" id="{D237CA36-D07E-5643-B2B1-CCB818CA6974}"/>
              </a:ext>
            </a:extLst>
          </p:cNvPr>
          <p:cNvSpPr>
            <a:spLocks noGrp="1"/>
          </p:cNvSpPr>
          <p:nvPr>
            <p:ph type="body" sz="quarter" idx="25" hasCustomPrompt="1"/>
          </p:nvPr>
        </p:nvSpPr>
        <p:spPr>
          <a:xfrm>
            <a:off x="6376011" y="4242901"/>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30" name="Text Placeholder 11">
            <a:extLst>
              <a:ext uri="{FF2B5EF4-FFF2-40B4-BE49-F238E27FC236}">
                <a16:creationId xmlns:a16="http://schemas.microsoft.com/office/drawing/2014/main" id="{C423DBFD-C745-4648-850A-74997E87CFF1}"/>
              </a:ext>
            </a:extLst>
          </p:cNvPr>
          <p:cNvSpPr>
            <a:spLocks noGrp="1"/>
          </p:cNvSpPr>
          <p:nvPr>
            <p:ph type="body" sz="quarter" idx="26" hasCustomPrompt="1"/>
          </p:nvPr>
        </p:nvSpPr>
        <p:spPr>
          <a:xfrm>
            <a:off x="6376011" y="4573530"/>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31" name="Text Placeholder 11">
            <a:extLst>
              <a:ext uri="{FF2B5EF4-FFF2-40B4-BE49-F238E27FC236}">
                <a16:creationId xmlns:a16="http://schemas.microsoft.com/office/drawing/2014/main" id="{060C62B5-4383-B249-A74D-872EBA69941E}"/>
              </a:ext>
            </a:extLst>
          </p:cNvPr>
          <p:cNvSpPr>
            <a:spLocks noGrp="1"/>
          </p:cNvSpPr>
          <p:nvPr>
            <p:ph type="body" sz="quarter" idx="27" hasCustomPrompt="1"/>
          </p:nvPr>
        </p:nvSpPr>
        <p:spPr>
          <a:xfrm>
            <a:off x="6376011" y="4883497"/>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32" name="Title 4">
            <a:extLst>
              <a:ext uri="{FF2B5EF4-FFF2-40B4-BE49-F238E27FC236}">
                <a16:creationId xmlns:a16="http://schemas.microsoft.com/office/drawing/2014/main" id="{738D054A-338D-8647-BDC8-3D1F6F5A5227}"/>
              </a:ext>
            </a:extLst>
          </p:cNvPr>
          <p:cNvSpPr>
            <a:spLocks noGrp="1"/>
          </p:cNvSpPr>
          <p:nvPr>
            <p:ph type="title" hasCustomPrompt="1"/>
          </p:nvPr>
        </p:nvSpPr>
        <p:spPr>
          <a:xfrm>
            <a:off x="1297014" y="2157093"/>
            <a:ext cx="3543300" cy="958321"/>
          </a:xfrm>
          <a:prstGeom prst="rect">
            <a:avLst/>
          </a:prstGeom>
        </p:spPr>
        <p:txBody>
          <a:bodyPr anchor="ctr"/>
          <a:lstStyle>
            <a:lvl1pPr algn="ctr">
              <a:lnSpc>
                <a:spcPct val="100000"/>
              </a:lnSpc>
              <a:spcBef>
                <a:spcPts val="0"/>
              </a:spcBef>
              <a:spcAft>
                <a:spcPts val="0"/>
              </a:spcAft>
              <a:defRPr sz="3200" b="1">
                <a:solidFill>
                  <a:schemeClr val="bg1"/>
                </a:solidFill>
              </a:defRPr>
            </a:lvl1pPr>
          </a:lstStyle>
          <a:p>
            <a:r>
              <a:rPr lang="en-US"/>
              <a:t>Today’s</a:t>
            </a:r>
            <a:br>
              <a:rPr lang="en-US"/>
            </a:br>
            <a:r>
              <a:rPr lang="en-US"/>
              <a:t>agenda</a:t>
            </a:r>
            <a:endParaRPr lang="en-GB"/>
          </a:p>
        </p:txBody>
      </p:sp>
      <p:grpSp>
        <p:nvGrpSpPr>
          <p:cNvPr id="33" name="Group 32">
            <a:extLst>
              <a:ext uri="{FF2B5EF4-FFF2-40B4-BE49-F238E27FC236}">
                <a16:creationId xmlns:a16="http://schemas.microsoft.com/office/drawing/2014/main" id="{CCF3AA8E-8EAC-7F47-8E80-D567D6AC5E02}"/>
              </a:ext>
            </a:extLst>
          </p:cNvPr>
          <p:cNvGrpSpPr/>
          <p:nvPr/>
        </p:nvGrpSpPr>
        <p:grpSpPr>
          <a:xfrm>
            <a:off x="10458438" y="332679"/>
            <a:ext cx="1308293" cy="484944"/>
            <a:chOff x="7843828" y="249509"/>
            <a:chExt cx="981220" cy="363708"/>
          </a:xfrm>
          <a:solidFill>
            <a:schemeClr val="tx1"/>
          </a:solidFill>
        </p:grpSpPr>
        <p:sp>
          <p:nvSpPr>
            <p:cNvPr id="34" name="Freeform 5">
              <a:extLst>
                <a:ext uri="{FF2B5EF4-FFF2-40B4-BE49-F238E27FC236}">
                  <a16:creationId xmlns:a16="http://schemas.microsoft.com/office/drawing/2014/main" id="{E675D8E2-0691-D948-BE43-3EF560E15406}"/>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5" name="Freeform 6">
              <a:extLst>
                <a:ext uri="{FF2B5EF4-FFF2-40B4-BE49-F238E27FC236}">
                  <a16:creationId xmlns:a16="http://schemas.microsoft.com/office/drawing/2014/main" id="{AC18353E-45F8-E847-A960-B23F2CAEB558}"/>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45" name="Text Placeholder 2">
            <a:extLst>
              <a:ext uri="{FF2B5EF4-FFF2-40B4-BE49-F238E27FC236}">
                <a16:creationId xmlns:a16="http://schemas.microsoft.com/office/drawing/2014/main" id="{03862431-7249-4E41-BF1F-FE55DA3EE84E}"/>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46" name="Text Placeholder 2">
            <a:extLst>
              <a:ext uri="{FF2B5EF4-FFF2-40B4-BE49-F238E27FC236}">
                <a16:creationId xmlns:a16="http://schemas.microsoft.com/office/drawing/2014/main" id="{BB02E61F-0788-D44E-BBB6-4689E44712BF}"/>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21" name="Rectangle 28">
            <a:extLst>
              <a:ext uri="{FF2B5EF4-FFF2-40B4-BE49-F238E27FC236}">
                <a16:creationId xmlns:a16="http://schemas.microsoft.com/office/drawing/2014/main" id="{5684553C-38BD-4B4F-B5F0-26883D9769A3}"/>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1581265156"/>
      </p:ext>
    </p:extLst>
  </p:cSld>
  <p:clrMapOvr>
    <a:overrideClrMapping bg1="dk1" tx1="lt1" bg2="dk2" tx2="lt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11_NTT_content_page">
    <p:bg bwMode="ltGray">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085481-1F38-7744-AE2E-14E71BBC7165}"/>
              </a:ext>
            </a:extLst>
          </p:cNvPr>
          <p:cNvSpPr/>
          <p:nvPr/>
        </p:nvSpPr>
        <p:spPr>
          <a:xfrm>
            <a:off x="5883965" y="0"/>
            <a:ext cx="6308035" cy="6858000"/>
          </a:xfrm>
          <a:prstGeom prst="rect">
            <a:avLst/>
          </a:prstGeom>
          <a:solidFill>
            <a:schemeClr val="tx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solidFill>
                <a:schemeClr val="tx1"/>
              </a:solidFill>
            </a:endParaRPr>
          </a:p>
        </p:txBody>
      </p:sp>
      <p:sp>
        <p:nvSpPr>
          <p:cNvPr id="4" name="Rectangle 3">
            <a:extLst>
              <a:ext uri="{FF2B5EF4-FFF2-40B4-BE49-F238E27FC236}">
                <a16:creationId xmlns:a16="http://schemas.microsoft.com/office/drawing/2014/main" id="{F047273F-8383-0B40-A84D-A6E3D5DAB531}"/>
              </a:ext>
            </a:extLst>
          </p:cNvPr>
          <p:cNvSpPr/>
          <p:nvPr/>
        </p:nvSpPr>
        <p:spPr>
          <a:xfrm>
            <a:off x="1157207" y="1290234"/>
            <a:ext cx="3822916" cy="4277532"/>
          </a:xfrm>
          <a:prstGeom prst="rect">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ext Placeholder 6">
            <a:extLst>
              <a:ext uri="{FF2B5EF4-FFF2-40B4-BE49-F238E27FC236}">
                <a16:creationId xmlns:a16="http://schemas.microsoft.com/office/drawing/2014/main" id="{7172A34A-A47D-0B40-835D-28831DC7725C}"/>
              </a:ext>
            </a:extLst>
          </p:cNvPr>
          <p:cNvSpPr>
            <a:spLocks noGrp="1"/>
          </p:cNvSpPr>
          <p:nvPr>
            <p:ph type="body" sz="quarter" idx="15"/>
          </p:nvPr>
        </p:nvSpPr>
        <p:spPr>
          <a:xfrm>
            <a:off x="1297014" y="3256155"/>
            <a:ext cx="3543300" cy="1437899"/>
          </a:xfrm>
          <a:prstGeom prst="rect">
            <a:avLst/>
          </a:prstGeom>
        </p:spPr>
        <p:txBody>
          <a:bodyPr/>
          <a:lstStyle>
            <a:lvl1pPr marL="0" indent="0" algn="ctr">
              <a:buNone/>
              <a:defRPr sz="1333">
                <a:solidFill>
                  <a:schemeClr val="bg1"/>
                </a:solidFill>
              </a:defRPr>
            </a:lvl1pPr>
            <a:lvl2pPr marL="457189" indent="0" algn="ctr">
              <a:buNone/>
              <a:defRPr sz="1333"/>
            </a:lvl2pPr>
            <a:lvl3pPr marL="914377" indent="0" algn="ctr">
              <a:buNone/>
              <a:defRPr sz="1333"/>
            </a:lvl3pPr>
            <a:lvl4pPr marL="1371566" indent="0" algn="ctr">
              <a:buNone/>
              <a:defRPr sz="1333"/>
            </a:lvl4pPr>
            <a:lvl5pPr marL="1828754" indent="0" algn="ctr">
              <a:buNone/>
              <a:defRPr sz="1333"/>
            </a:lvl5pPr>
          </a:lstStyle>
          <a:p>
            <a:pPr lvl="0"/>
            <a:r>
              <a:rPr lang="en-GB" altLang="ja-JP"/>
              <a:t>Click to edit Master text styles</a:t>
            </a:r>
          </a:p>
        </p:txBody>
      </p:sp>
      <p:sp>
        <p:nvSpPr>
          <p:cNvPr id="22" name="Text Placeholder 11">
            <a:extLst>
              <a:ext uri="{FF2B5EF4-FFF2-40B4-BE49-F238E27FC236}">
                <a16:creationId xmlns:a16="http://schemas.microsoft.com/office/drawing/2014/main" id="{252F90EC-C0F9-F040-B680-A6A9A3CB16FF}"/>
              </a:ext>
            </a:extLst>
          </p:cNvPr>
          <p:cNvSpPr>
            <a:spLocks noGrp="1"/>
          </p:cNvSpPr>
          <p:nvPr>
            <p:ph type="body" sz="quarter" idx="19" hasCustomPrompt="1"/>
          </p:nvPr>
        </p:nvSpPr>
        <p:spPr>
          <a:xfrm>
            <a:off x="6376011" y="1486068"/>
            <a:ext cx="5423365" cy="283633"/>
          </a:xfrm>
          <a:prstGeom prst="rect">
            <a:avLst/>
          </a:prstGeom>
        </p:spPr>
        <p:txBody>
          <a:bodyPr/>
          <a:lstStyle>
            <a:lvl1pPr marL="0" indent="0">
              <a:buNone/>
              <a:defRPr sz="1333">
                <a:solidFill>
                  <a:schemeClr val="bg1"/>
                </a:solidFill>
              </a:defRPr>
            </a:lvl1pPr>
          </a:lstStyle>
          <a:p>
            <a:pPr lvl="0"/>
            <a:r>
              <a:rPr lang="en-US"/>
              <a:t>Insert time</a:t>
            </a:r>
            <a:endParaRPr lang="en-GB"/>
          </a:p>
        </p:txBody>
      </p:sp>
      <p:sp>
        <p:nvSpPr>
          <p:cNvPr id="23" name="Text Placeholder 11">
            <a:extLst>
              <a:ext uri="{FF2B5EF4-FFF2-40B4-BE49-F238E27FC236}">
                <a16:creationId xmlns:a16="http://schemas.microsoft.com/office/drawing/2014/main" id="{8B064F4E-61E6-8D43-884D-B02F8BF1243B}"/>
              </a:ext>
            </a:extLst>
          </p:cNvPr>
          <p:cNvSpPr>
            <a:spLocks noGrp="1"/>
          </p:cNvSpPr>
          <p:nvPr>
            <p:ph type="body" sz="quarter" idx="20" hasCustomPrompt="1"/>
          </p:nvPr>
        </p:nvSpPr>
        <p:spPr>
          <a:xfrm>
            <a:off x="6376011" y="1816697"/>
            <a:ext cx="5423365" cy="283633"/>
          </a:xfrm>
          <a:prstGeom prst="rect">
            <a:avLst/>
          </a:prstGeom>
        </p:spPr>
        <p:txBody>
          <a:bodyPr/>
          <a:lstStyle>
            <a:lvl1pPr marL="0" indent="0">
              <a:buNone/>
              <a:defRPr sz="1600" b="1">
                <a:solidFill>
                  <a:schemeClr val="accent2"/>
                </a:solidFill>
              </a:defRPr>
            </a:lvl1pPr>
          </a:lstStyle>
          <a:p>
            <a:pPr lvl="0"/>
            <a:r>
              <a:rPr lang="en-US"/>
              <a:t>Insert Heading</a:t>
            </a:r>
            <a:endParaRPr lang="en-GB"/>
          </a:p>
        </p:txBody>
      </p:sp>
      <p:sp>
        <p:nvSpPr>
          <p:cNvPr id="24" name="Text Placeholder 11">
            <a:extLst>
              <a:ext uri="{FF2B5EF4-FFF2-40B4-BE49-F238E27FC236}">
                <a16:creationId xmlns:a16="http://schemas.microsoft.com/office/drawing/2014/main" id="{03EE597B-F187-9343-9BDB-C8BFA2AFFFD0}"/>
              </a:ext>
            </a:extLst>
          </p:cNvPr>
          <p:cNvSpPr>
            <a:spLocks noGrp="1"/>
          </p:cNvSpPr>
          <p:nvPr>
            <p:ph type="body" sz="quarter" idx="21" hasCustomPrompt="1"/>
          </p:nvPr>
        </p:nvSpPr>
        <p:spPr>
          <a:xfrm>
            <a:off x="6376011" y="2126664"/>
            <a:ext cx="5423365" cy="532897"/>
          </a:xfrm>
          <a:prstGeom prst="rect">
            <a:avLst/>
          </a:prstGeom>
        </p:spPr>
        <p:txBody>
          <a:bodyPr/>
          <a:lstStyle>
            <a:lvl1pPr marL="0" indent="0">
              <a:buNone/>
              <a:defRPr sz="1333">
                <a:solidFill>
                  <a:schemeClr val="bg1"/>
                </a:solidFill>
              </a:defRPr>
            </a:lvl1pPr>
          </a:lstStyle>
          <a:p>
            <a:pPr lvl="0"/>
            <a:r>
              <a:rPr lang="en-US"/>
              <a:t>Insert text</a:t>
            </a:r>
            <a:endParaRPr lang="en-GB"/>
          </a:p>
        </p:txBody>
      </p:sp>
      <p:sp>
        <p:nvSpPr>
          <p:cNvPr id="26" name="Text Placeholder 11">
            <a:extLst>
              <a:ext uri="{FF2B5EF4-FFF2-40B4-BE49-F238E27FC236}">
                <a16:creationId xmlns:a16="http://schemas.microsoft.com/office/drawing/2014/main" id="{586E91DD-916B-F645-80BE-74FE13A1A309}"/>
              </a:ext>
            </a:extLst>
          </p:cNvPr>
          <p:cNvSpPr>
            <a:spLocks noGrp="1"/>
          </p:cNvSpPr>
          <p:nvPr>
            <p:ph type="body" sz="quarter" idx="22" hasCustomPrompt="1"/>
          </p:nvPr>
        </p:nvSpPr>
        <p:spPr>
          <a:xfrm>
            <a:off x="6376011" y="2863480"/>
            <a:ext cx="5423365" cy="283633"/>
          </a:xfrm>
          <a:prstGeom prst="rect">
            <a:avLst/>
          </a:prstGeom>
        </p:spPr>
        <p:txBody>
          <a:bodyPr/>
          <a:lstStyle>
            <a:lvl1pPr marL="0" indent="0">
              <a:buNone/>
              <a:defRPr sz="1333">
                <a:solidFill>
                  <a:schemeClr val="bg1"/>
                </a:solidFill>
              </a:defRPr>
            </a:lvl1pPr>
          </a:lstStyle>
          <a:p>
            <a:pPr lvl="0"/>
            <a:r>
              <a:rPr lang="en-US"/>
              <a:t>Insert time</a:t>
            </a:r>
            <a:endParaRPr lang="en-GB"/>
          </a:p>
        </p:txBody>
      </p:sp>
      <p:sp>
        <p:nvSpPr>
          <p:cNvPr id="27" name="Text Placeholder 11">
            <a:extLst>
              <a:ext uri="{FF2B5EF4-FFF2-40B4-BE49-F238E27FC236}">
                <a16:creationId xmlns:a16="http://schemas.microsoft.com/office/drawing/2014/main" id="{D33AE9B1-FC4C-B64A-A627-4C5DEB4D3642}"/>
              </a:ext>
            </a:extLst>
          </p:cNvPr>
          <p:cNvSpPr>
            <a:spLocks noGrp="1"/>
          </p:cNvSpPr>
          <p:nvPr>
            <p:ph type="body" sz="quarter" idx="23" hasCustomPrompt="1"/>
          </p:nvPr>
        </p:nvSpPr>
        <p:spPr>
          <a:xfrm>
            <a:off x="6376011" y="3194109"/>
            <a:ext cx="5423365" cy="283633"/>
          </a:xfrm>
          <a:prstGeom prst="rect">
            <a:avLst/>
          </a:prstGeom>
        </p:spPr>
        <p:txBody>
          <a:bodyPr/>
          <a:lstStyle>
            <a:lvl1pPr marL="0" indent="0">
              <a:buNone/>
              <a:defRPr sz="1600" b="1">
                <a:solidFill>
                  <a:schemeClr val="accent2"/>
                </a:solidFill>
              </a:defRPr>
            </a:lvl1pPr>
          </a:lstStyle>
          <a:p>
            <a:pPr lvl="0"/>
            <a:r>
              <a:rPr lang="en-US"/>
              <a:t>Insert Heading</a:t>
            </a:r>
            <a:endParaRPr lang="en-GB"/>
          </a:p>
        </p:txBody>
      </p:sp>
      <p:sp>
        <p:nvSpPr>
          <p:cNvPr id="28" name="Text Placeholder 11">
            <a:extLst>
              <a:ext uri="{FF2B5EF4-FFF2-40B4-BE49-F238E27FC236}">
                <a16:creationId xmlns:a16="http://schemas.microsoft.com/office/drawing/2014/main" id="{D7BDC373-757A-224C-BDE1-7C04B2534237}"/>
              </a:ext>
            </a:extLst>
          </p:cNvPr>
          <p:cNvSpPr>
            <a:spLocks noGrp="1"/>
          </p:cNvSpPr>
          <p:nvPr>
            <p:ph type="body" sz="quarter" idx="24" hasCustomPrompt="1"/>
          </p:nvPr>
        </p:nvSpPr>
        <p:spPr>
          <a:xfrm>
            <a:off x="6376011" y="3504076"/>
            <a:ext cx="5423365" cy="532897"/>
          </a:xfrm>
          <a:prstGeom prst="rect">
            <a:avLst/>
          </a:prstGeom>
        </p:spPr>
        <p:txBody>
          <a:bodyPr/>
          <a:lstStyle>
            <a:lvl1pPr marL="0" indent="0">
              <a:buNone/>
              <a:defRPr sz="1333">
                <a:solidFill>
                  <a:schemeClr val="bg1"/>
                </a:solidFill>
              </a:defRPr>
            </a:lvl1pPr>
          </a:lstStyle>
          <a:p>
            <a:pPr lvl="0"/>
            <a:r>
              <a:rPr lang="en-US"/>
              <a:t>Insert text</a:t>
            </a:r>
            <a:endParaRPr lang="en-GB"/>
          </a:p>
        </p:txBody>
      </p:sp>
      <p:sp>
        <p:nvSpPr>
          <p:cNvPr id="29" name="Text Placeholder 11">
            <a:extLst>
              <a:ext uri="{FF2B5EF4-FFF2-40B4-BE49-F238E27FC236}">
                <a16:creationId xmlns:a16="http://schemas.microsoft.com/office/drawing/2014/main" id="{D237CA36-D07E-5643-B2B1-CCB818CA6974}"/>
              </a:ext>
            </a:extLst>
          </p:cNvPr>
          <p:cNvSpPr>
            <a:spLocks noGrp="1"/>
          </p:cNvSpPr>
          <p:nvPr>
            <p:ph type="body" sz="quarter" idx="25" hasCustomPrompt="1"/>
          </p:nvPr>
        </p:nvSpPr>
        <p:spPr>
          <a:xfrm>
            <a:off x="6376011" y="4242901"/>
            <a:ext cx="5423365" cy="283633"/>
          </a:xfrm>
          <a:prstGeom prst="rect">
            <a:avLst/>
          </a:prstGeom>
        </p:spPr>
        <p:txBody>
          <a:bodyPr/>
          <a:lstStyle>
            <a:lvl1pPr marL="0" indent="0">
              <a:buNone/>
              <a:defRPr sz="1333">
                <a:solidFill>
                  <a:schemeClr val="bg1"/>
                </a:solidFill>
              </a:defRPr>
            </a:lvl1pPr>
          </a:lstStyle>
          <a:p>
            <a:pPr lvl="0"/>
            <a:r>
              <a:rPr lang="en-US"/>
              <a:t>Insert time</a:t>
            </a:r>
            <a:endParaRPr lang="en-GB"/>
          </a:p>
        </p:txBody>
      </p:sp>
      <p:sp>
        <p:nvSpPr>
          <p:cNvPr id="30" name="Text Placeholder 11">
            <a:extLst>
              <a:ext uri="{FF2B5EF4-FFF2-40B4-BE49-F238E27FC236}">
                <a16:creationId xmlns:a16="http://schemas.microsoft.com/office/drawing/2014/main" id="{C423DBFD-C745-4648-850A-74997E87CFF1}"/>
              </a:ext>
            </a:extLst>
          </p:cNvPr>
          <p:cNvSpPr>
            <a:spLocks noGrp="1"/>
          </p:cNvSpPr>
          <p:nvPr>
            <p:ph type="body" sz="quarter" idx="26" hasCustomPrompt="1"/>
          </p:nvPr>
        </p:nvSpPr>
        <p:spPr>
          <a:xfrm>
            <a:off x="6376011" y="4573530"/>
            <a:ext cx="5423365" cy="283633"/>
          </a:xfrm>
          <a:prstGeom prst="rect">
            <a:avLst/>
          </a:prstGeom>
        </p:spPr>
        <p:txBody>
          <a:bodyPr/>
          <a:lstStyle>
            <a:lvl1pPr marL="0" indent="0">
              <a:buNone/>
              <a:defRPr sz="1600" b="1">
                <a:solidFill>
                  <a:schemeClr val="accent2"/>
                </a:solidFill>
              </a:defRPr>
            </a:lvl1pPr>
          </a:lstStyle>
          <a:p>
            <a:pPr lvl="0"/>
            <a:r>
              <a:rPr lang="en-US"/>
              <a:t>Insert Heading</a:t>
            </a:r>
            <a:endParaRPr lang="en-GB"/>
          </a:p>
        </p:txBody>
      </p:sp>
      <p:sp>
        <p:nvSpPr>
          <p:cNvPr id="31" name="Text Placeholder 11">
            <a:extLst>
              <a:ext uri="{FF2B5EF4-FFF2-40B4-BE49-F238E27FC236}">
                <a16:creationId xmlns:a16="http://schemas.microsoft.com/office/drawing/2014/main" id="{060C62B5-4383-B249-A74D-872EBA69941E}"/>
              </a:ext>
            </a:extLst>
          </p:cNvPr>
          <p:cNvSpPr>
            <a:spLocks noGrp="1"/>
          </p:cNvSpPr>
          <p:nvPr>
            <p:ph type="body" sz="quarter" idx="27" hasCustomPrompt="1"/>
          </p:nvPr>
        </p:nvSpPr>
        <p:spPr>
          <a:xfrm>
            <a:off x="6376011" y="4883497"/>
            <a:ext cx="5423365" cy="532897"/>
          </a:xfrm>
          <a:prstGeom prst="rect">
            <a:avLst/>
          </a:prstGeom>
        </p:spPr>
        <p:txBody>
          <a:bodyPr/>
          <a:lstStyle>
            <a:lvl1pPr marL="0" indent="0">
              <a:buNone/>
              <a:defRPr sz="1333">
                <a:solidFill>
                  <a:schemeClr val="bg1"/>
                </a:solidFill>
              </a:defRPr>
            </a:lvl1pPr>
          </a:lstStyle>
          <a:p>
            <a:pPr lvl="0"/>
            <a:r>
              <a:rPr lang="en-US"/>
              <a:t>Insert text</a:t>
            </a:r>
            <a:endParaRPr lang="en-GB"/>
          </a:p>
        </p:txBody>
      </p:sp>
      <p:sp>
        <p:nvSpPr>
          <p:cNvPr id="32" name="Title 4">
            <a:extLst>
              <a:ext uri="{FF2B5EF4-FFF2-40B4-BE49-F238E27FC236}">
                <a16:creationId xmlns:a16="http://schemas.microsoft.com/office/drawing/2014/main" id="{738D054A-338D-8647-BDC8-3D1F6F5A5227}"/>
              </a:ext>
            </a:extLst>
          </p:cNvPr>
          <p:cNvSpPr>
            <a:spLocks noGrp="1"/>
          </p:cNvSpPr>
          <p:nvPr>
            <p:ph type="title" hasCustomPrompt="1"/>
          </p:nvPr>
        </p:nvSpPr>
        <p:spPr>
          <a:xfrm>
            <a:off x="1297014" y="2157093"/>
            <a:ext cx="3543300" cy="958321"/>
          </a:xfrm>
          <a:prstGeom prst="rect">
            <a:avLst/>
          </a:prstGeom>
        </p:spPr>
        <p:txBody>
          <a:bodyPr anchor="ctr"/>
          <a:lstStyle>
            <a:lvl1pPr algn="ctr">
              <a:lnSpc>
                <a:spcPct val="100000"/>
              </a:lnSpc>
              <a:spcBef>
                <a:spcPts val="0"/>
              </a:spcBef>
              <a:spcAft>
                <a:spcPts val="0"/>
              </a:spcAft>
              <a:defRPr sz="3200" b="1">
                <a:solidFill>
                  <a:schemeClr val="bg1"/>
                </a:solidFill>
              </a:defRPr>
            </a:lvl1pPr>
          </a:lstStyle>
          <a:p>
            <a:r>
              <a:rPr lang="en-US"/>
              <a:t>Today’s</a:t>
            </a:r>
            <a:br>
              <a:rPr lang="en-US"/>
            </a:br>
            <a:r>
              <a:rPr lang="en-US"/>
              <a:t>agenda</a:t>
            </a:r>
            <a:endParaRPr lang="en-GB"/>
          </a:p>
        </p:txBody>
      </p:sp>
      <p:grpSp>
        <p:nvGrpSpPr>
          <p:cNvPr id="33" name="Group 32">
            <a:extLst>
              <a:ext uri="{FF2B5EF4-FFF2-40B4-BE49-F238E27FC236}">
                <a16:creationId xmlns:a16="http://schemas.microsoft.com/office/drawing/2014/main" id="{CCF3AA8E-8EAC-7F47-8E80-D567D6AC5E02}"/>
              </a:ext>
            </a:extLst>
          </p:cNvPr>
          <p:cNvGrpSpPr/>
          <p:nvPr/>
        </p:nvGrpSpPr>
        <p:grpSpPr>
          <a:xfrm>
            <a:off x="10458438" y="332679"/>
            <a:ext cx="1308293" cy="484944"/>
            <a:chOff x="7843828" y="249509"/>
            <a:chExt cx="981220" cy="363708"/>
          </a:xfrm>
          <a:solidFill>
            <a:schemeClr val="tx1"/>
          </a:solidFill>
        </p:grpSpPr>
        <p:sp>
          <p:nvSpPr>
            <p:cNvPr id="34" name="Freeform 5">
              <a:extLst>
                <a:ext uri="{FF2B5EF4-FFF2-40B4-BE49-F238E27FC236}">
                  <a16:creationId xmlns:a16="http://schemas.microsoft.com/office/drawing/2014/main" id="{E675D8E2-0691-D948-BE43-3EF560E15406}"/>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35" name="Freeform 6">
              <a:extLst>
                <a:ext uri="{FF2B5EF4-FFF2-40B4-BE49-F238E27FC236}">
                  <a16:creationId xmlns:a16="http://schemas.microsoft.com/office/drawing/2014/main" id="{AC18353E-45F8-E847-A960-B23F2CAEB558}"/>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21" name="Text Placeholder 2">
            <a:extLst>
              <a:ext uri="{FF2B5EF4-FFF2-40B4-BE49-F238E27FC236}">
                <a16:creationId xmlns:a16="http://schemas.microsoft.com/office/drawing/2014/main" id="{ADD245A5-3E9E-084E-A462-FF7F24F9F496}"/>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36" name="Text Placeholder 2">
            <a:extLst>
              <a:ext uri="{FF2B5EF4-FFF2-40B4-BE49-F238E27FC236}">
                <a16:creationId xmlns:a16="http://schemas.microsoft.com/office/drawing/2014/main" id="{9A22A926-F816-044E-9A40-BE287BEE815E}"/>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37" name="Rectangle 28">
            <a:extLst>
              <a:ext uri="{FF2B5EF4-FFF2-40B4-BE49-F238E27FC236}">
                <a16:creationId xmlns:a16="http://schemas.microsoft.com/office/drawing/2014/main" id="{74DFFFCC-27B3-4431-891F-B821E3AC0D24}"/>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2651496910"/>
      </p:ext>
    </p:extLst>
  </p:cSld>
  <p:clrMapOvr>
    <a:overrideClrMapping bg1="dk1" tx1="lt1" bg2="dk2" tx2="lt2" accent1="accent1" accent2="accent2" accent3="accent3" accent4="accent4" accent5="accent5" accent6="accent6" hlink="hlink" folHlink="folHlink"/>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NTT_divider_page">
    <p:spTree>
      <p:nvGrpSpPr>
        <p:cNvPr id="1" name=""/>
        <p:cNvGrpSpPr/>
        <p:nvPr/>
      </p:nvGrpSpPr>
      <p:grpSpPr>
        <a:xfrm>
          <a:off x="0" y="0"/>
          <a:ext cx="0" cy="0"/>
          <a:chOff x="0" y="0"/>
          <a:chExt cx="0" cy="0"/>
        </a:xfrm>
      </p:grpSpPr>
      <p:sp>
        <p:nvSpPr>
          <p:cNvPr id="10" name="Picture Placeholder 3"/>
          <p:cNvSpPr>
            <a:spLocks noGrp="1"/>
          </p:cNvSpPr>
          <p:nvPr>
            <p:ph type="pic" sz="quarter" idx="14"/>
          </p:nvPr>
        </p:nvSpPr>
        <p:spPr>
          <a:xfrm>
            <a:off x="0" y="4924"/>
            <a:ext cx="12192000" cy="6362011"/>
          </a:xfrm>
          <a:prstGeom prst="rect">
            <a:avLst/>
          </a:prstGeom>
        </p:spPr>
        <p:txBody>
          <a:bodyPr/>
          <a:lstStyle>
            <a:lvl1pPr>
              <a:defRPr>
                <a:solidFill>
                  <a:schemeClr val="tx1"/>
                </a:solidFill>
                <a:latin typeface="Arial"/>
              </a:defRPr>
            </a:lvl1pPr>
          </a:lstStyle>
          <a:p>
            <a:r>
              <a:rPr lang="en-GB" altLang="ja-JP"/>
              <a:t>Click icon to add picture</a:t>
            </a:r>
            <a:endParaRPr lang="en-US"/>
          </a:p>
        </p:txBody>
      </p:sp>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2"/>
            <a:ext cx="11408804" cy="631775"/>
          </a:xfrm>
          <a:prstGeom prst="rect">
            <a:avLst/>
          </a:prstGeom>
        </p:spPr>
        <p:txBody>
          <a:bodyPr anchor="ctr"/>
          <a:lstStyle>
            <a:lvl1pPr algn="ctr">
              <a:defRPr sz="3200" b="1">
                <a:solidFill>
                  <a:schemeClr val="tx1"/>
                </a:solidFill>
              </a:defRPr>
            </a:lvl1pPr>
          </a:lstStyle>
          <a:p>
            <a:r>
              <a:rPr lang="en-GB" altLang="ja-JP"/>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7"/>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5" name="Rectangle 4">
            <a:extLst>
              <a:ext uri="{FF2B5EF4-FFF2-40B4-BE49-F238E27FC236}">
                <a16:creationId xmlns:a16="http://schemas.microsoft.com/office/drawing/2014/main" id="{DBB9AF9C-B2E6-1240-91F3-67F7FFEE08DD}"/>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2" name="Text Placeholder 2">
            <a:extLst>
              <a:ext uri="{FF2B5EF4-FFF2-40B4-BE49-F238E27FC236}">
                <a16:creationId xmlns:a16="http://schemas.microsoft.com/office/drawing/2014/main" id="{6C6B5D88-6607-5741-86F4-1EEAB506600C}"/>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3" name="Text Placeholder 2">
            <a:extLst>
              <a:ext uri="{FF2B5EF4-FFF2-40B4-BE49-F238E27FC236}">
                <a16:creationId xmlns:a16="http://schemas.microsoft.com/office/drawing/2014/main" id="{11B59C2C-0DBF-914F-9BF0-50A28F73C69C}"/>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4" name="Rectangle 28">
            <a:extLst>
              <a:ext uri="{FF2B5EF4-FFF2-40B4-BE49-F238E27FC236}">
                <a16:creationId xmlns:a16="http://schemas.microsoft.com/office/drawing/2014/main" id="{021E3C9F-A05C-497A-B538-5E5D10311999}"/>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150867630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NTT_divider_page_blue">
    <p:bg>
      <p:bgPr>
        <a:solidFill>
          <a:schemeClr val="accent2"/>
        </a:soli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2"/>
            <a:ext cx="11408804" cy="631775"/>
          </a:xfrm>
          <a:prstGeom prst="rect">
            <a:avLst/>
          </a:prstGeom>
        </p:spPr>
        <p:txBody>
          <a:bodyPr anchor="ctr"/>
          <a:lstStyle>
            <a:lvl1pPr algn="ctr">
              <a:defRPr sz="3200" b="1">
                <a:solidFill>
                  <a:schemeClr val="bg1"/>
                </a:solidFill>
              </a:defRPr>
            </a:lvl1pPr>
          </a:lstStyle>
          <a:p>
            <a:r>
              <a:rPr lang="en-GB" altLang="ja-JP"/>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7"/>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8" name="Text Placeholder 2">
            <a:extLst>
              <a:ext uri="{FF2B5EF4-FFF2-40B4-BE49-F238E27FC236}">
                <a16:creationId xmlns:a16="http://schemas.microsoft.com/office/drawing/2014/main" id="{6B87E193-D582-9A49-8D1F-70FB365FB386}"/>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0" name="Text Placeholder 2">
            <a:extLst>
              <a:ext uri="{FF2B5EF4-FFF2-40B4-BE49-F238E27FC236}">
                <a16:creationId xmlns:a16="http://schemas.microsoft.com/office/drawing/2014/main" id="{EC73C4E2-B298-A942-A63E-921BEC1C6477}"/>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1" name="Rectangle 28">
            <a:extLst>
              <a:ext uri="{FF2B5EF4-FFF2-40B4-BE49-F238E27FC236}">
                <a16:creationId xmlns:a16="http://schemas.microsoft.com/office/drawing/2014/main" id="{EC604C16-EB97-4696-91E9-3B4DC3F76FB7}"/>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1 NTT All Rights Reserved</a:t>
            </a:r>
          </a:p>
        </p:txBody>
      </p:sp>
    </p:spTree>
    <p:extLst>
      <p:ext uri="{BB962C8B-B14F-4D97-AF65-F5344CB8AC3E}">
        <p14:creationId xmlns:p14="http://schemas.microsoft.com/office/powerpoint/2010/main" val="27295852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2_NTT_content_page">
    <p:bg bwMode="ltGray">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57BA79-F6EB-4234-B2A7-23B9BEF7B93E}"/>
              </a:ext>
            </a:extLst>
          </p:cNvPr>
          <p:cNvGraphicFramePr>
            <a:graphicFrameLocks noChangeAspect="1"/>
          </p:cNvGraphicFramePr>
          <p:nvPr userDrawn="1">
            <p:custDataLst>
              <p:tags r:id="rId1"/>
            </p:custDataLst>
            <p:extLst>
              <p:ext uri="{D42A27DB-BD31-4B8C-83A1-F6EECF244321}">
                <p14:modId xmlns:p14="http://schemas.microsoft.com/office/powerpoint/2010/main" val="29285053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F57BA79-F6EB-4234-B2A7-23B9BEF7B93E}"/>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7" name="Title 4">
            <a:extLst>
              <a:ext uri="{FF2B5EF4-FFF2-40B4-BE49-F238E27FC236}">
                <a16:creationId xmlns:a16="http://schemas.microsoft.com/office/drawing/2014/main" id="{5E4FBA8E-F792-5B49-AC3F-6764FF3C8F68}"/>
              </a:ext>
            </a:extLst>
          </p:cNvPr>
          <p:cNvSpPr>
            <a:spLocks noGrp="1"/>
          </p:cNvSpPr>
          <p:nvPr>
            <p:ph type="title"/>
          </p:nvPr>
        </p:nvSpPr>
        <p:spPr>
          <a:xfrm>
            <a:off x="391599" y="450771"/>
            <a:ext cx="11408804" cy="631775"/>
          </a:xfrm>
          <a:prstGeom prst="rect">
            <a:avLst/>
          </a:prstGeom>
        </p:spPr>
        <p:txBody>
          <a:bodyPr vert="horz" anchor="ctr"/>
          <a:lstStyle>
            <a:lvl1pPr algn="ctr" rtl="0">
              <a:defRPr sz="3200" b="1">
                <a:solidFill>
                  <a:schemeClr val="tx1"/>
                </a:solidFill>
              </a:defRPr>
            </a:lvl1pPr>
          </a:lstStyle>
          <a:p>
            <a:r>
              <a:rPr lang="en-US"/>
              <a:t>Click to edit Master title style</a:t>
            </a:r>
          </a:p>
        </p:txBody>
      </p:sp>
      <p:sp>
        <p:nvSpPr>
          <p:cNvPr id="17" name="Text Placeholder 6">
            <a:extLst>
              <a:ext uri="{FF2B5EF4-FFF2-40B4-BE49-F238E27FC236}">
                <a16:creationId xmlns:a16="http://schemas.microsoft.com/office/drawing/2014/main" id="{3D48A384-379E-864F-A2E2-01EF6C402438}"/>
              </a:ext>
            </a:extLst>
          </p:cNvPr>
          <p:cNvSpPr>
            <a:spLocks noGrp="1"/>
          </p:cNvSpPr>
          <p:nvPr>
            <p:ph type="body" sz="quarter" idx="16" hasCustomPrompt="1"/>
          </p:nvPr>
        </p:nvSpPr>
        <p:spPr>
          <a:xfrm>
            <a:off x="391599" y="1154072"/>
            <a:ext cx="11408804" cy="478144"/>
          </a:xfrm>
          <a:prstGeom prst="rect">
            <a:avLst/>
          </a:prstGeom>
        </p:spPr>
        <p:txBody>
          <a:bodyPr anchor="ctr"/>
          <a:lstStyle>
            <a:lvl1pPr marL="0" indent="0" algn="ctr" rtl="0">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p>
        </p:txBody>
      </p:sp>
      <p:cxnSp>
        <p:nvCxnSpPr>
          <p:cNvPr id="20" name="Straight Connector 19">
            <a:extLst>
              <a:ext uri="{FF2B5EF4-FFF2-40B4-BE49-F238E27FC236}">
                <a16:creationId xmlns:a16="http://schemas.microsoft.com/office/drawing/2014/main" id="{80C35067-E835-BD4F-A284-A2F4B755A850}"/>
              </a:ext>
            </a:extLst>
          </p:cNvPr>
          <p:cNvCxnSpPr/>
          <p:nvPr userDrawn="1"/>
        </p:nvCxnSpPr>
        <p:spPr>
          <a:xfrm flipV="1">
            <a:off x="7930356" y="2884426"/>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E77D04-FEA0-9A48-99BB-44FA1E043D82}"/>
              </a:ext>
            </a:extLst>
          </p:cNvPr>
          <p:cNvCxnSpPr/>
          <p:nvPr userDrawn="1"/>
        </p:nvCxnSpPr>
        <p:spPr>
          <a:xfrm flipV="1">
            <a:off x="4328319" y="2884426"/>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6">
            <a:extLst>
              <a:ext uri="{FF2B5EF4-FFF2-40B4-BE49-F238E27FC236}">
                <a16:creationId xmlns:a16="http://schemas.microsoft.com/office/drawing/2014/main" id="{66F4426F-9472-8E42-9CE2-56032EEDBDF0}"/>
              </a:ext>
            </a:extLst>
          </p:cNvPr>
          <p:cNvSpPr>
            <a:spLocks noGrp="1"/>
          </p:cNvSpPr>
          <p:nvPr>
            <p:ph type="body" sz="quarter" idx="52"/>
          </p:nvPr>
        </p:nvSpPr>
        <p:spPr>
          <a:xfrm>
            <a:off x="1173699" y="3174961"/>
            <a:ext cx="2707204" cy="720005"/>
          </a:xfrm>
          <a:prstGeom prst="rect">
            <a:avLst/>
          </a:prstGeom>
        </p:spPr>
        <p:txBody>
          <a:bodyPr/>
          <a:lstStyle>
            <a:lvl1pPr marL="0" indent="0" algn="ctr" rtl="0">
              <a:buNone/>
              <a:defRPr sz="1867" b="1">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24" name="Text Placeholder 6">
            <a:extLst>
              <a:ext uri="{FF2B5EF4-FFF2-40B4-BE49-F238E27FC236}">
                <a16:creationId xmlns:a16="http://schemas.microsoft.com/office/drawing/2014/main" id="{312B08A3-6F0E-8345-9F2F-07D520785853}"/>
              </a:ext>
            </a:extLst>
          </p:cNvPr>
          <p:cNvSpPr>
            <a:spLocks noGrp="1"/>
          </p:cNvSpPr>
          <p:nvPr>
            <p:ph type="body" sz="quarter" idx="72"/>
          </p:nvPr>
        </p:nvSpPr>
        <p:spPr>
          <a:xfrm>
            <a:off x="1173699" y="3678366"/>
            <a:ext cx="2707188" cy="328231"/>
          </a:xfrm>
          <a:prstGeom prst="rect">
            <a:avLst/>
          </a:prstGeom>
        </p:spPr>
        <p:txBody>
          <a:bodyPr/>
          <a:lstStyle>
            <a:lvl1pPr marL="0" indent="0" algn="ctr" rtl="0">
              <a:buNone/>
              <a:defRPr sz="1467" b="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E376E8B7-2C49-5A43-A624-90D032310688}"/>
              </a:ext>
            </a:extLst>
          </p:cNvPr>
          <p:cNvSpPr>
            <a:spLocks noGrp="1"/>
          </p:cNvSpPr>
          <p:nvPr>
            <p:ph type="body" sz="quarter" idx="73"/>
          </p:nvPr>
        </p:nvSpPr>
        <p:spPr>
          <a:xfrm>
            <a:off x="4775737" y="3174961"/>
            <a:ext cx="2707204" cy="720005"/>
          </a:xfrm>
          <a:prstGeom prst="rect">
            <a:avLst/>
          </a:prstGeom>
        </p:spPr>
        <p:txBody>
          <a:bodyPr/>
          <a:lstStyle>
            <a:lvl1pPr marL="0" indent="0" algn="ctr" rtl="0">
              <a:buNone/>
              <a:defRPr sz="1867" b="1">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38" name="Text Placeholder 6">
            <a:extLst>
              <a:ext uri="{FF2B5EF4-FFF2-40B4-BE49-F238E27FC236}">
                <a16:creationId xmlns:a16="http://schemas.microsoft.com/office/drawing/2014/main" id="{0C68A706-386B-B54D-A68A-407C4C6E9C48}"/>
              </a:ext>
            </a:extLst>
          </p:cNvPr>
          <p:cNvSpPr>
            <a:spLocks noGrp="1"/>
          </p:cNvSpPr>
          <p:nvPr>
            <p:ph type="body" sz="quarter" idx="74"/>
          </p:nvPr>
        </p:nvSpPr>
        <p:spPr>
          <a:xfrm>
            <a:off x="4775737" y="3678366"/>
            <a:ext cx="2707188" cy="328231"/>
          </a:xfrm>
          <a:prstGeom prst="rect">
            <a:avLst/>
          </a:prstGeom>
        </p:spPr>
        <p:txBody>
          <a:bodyPr/>
          <a:lstStyle>
            <a:lvl1pPr marL="0" indent="0" algn="ctr" rtl="0">
              <a:buNone/>
              <a:defRPr sz="1467" b="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39" name="Text Placeholder 6">
            <a:extLst>
              <a:ext uri="{FF2B5EF4-FFF2-40B4-BE49-F238E27FC236}">
                <a16:creationId xmlns:a16="http://schemas.microsoft.com/office/drawing/2014/main" id="{B89421A3-22D4-824A-BC46-312A99FDA7CA}"/>
              </a:ext>
            </a:extLst>
          </p:cNvPr>
          <p:cNvSpPr>
            <a:spLocks noGrp="1"/>
          </p:cNvSpPr>
          <p:nvPr>
            <p:ph type="body" sz="quarter" idx="75"/>
          </p:nvPr>
        </p:nvSpPr>
        <p:spPr>
          <a:xfrm>
            <a:off x="8377757" y="3174961"/>
            <a:ext cx="2707204" cy="720005"/>
          </a:xfrm>
          <a:prstGeom prst="rect">
            <a:avLst/>
          </a:prstGeom>
        </p:spPr>
        <p:txBody>
          <a:bodyPr/>
          <a:lstStyle>
            <a:lvl1pPr marL="0" indent="0" algn="ctr" rtl="0">
              <a:buNone/>
              <a:defRPr sz="1867" b="1">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40" name="Text Placeholder 6">
            <a:extLst>
              <a:ext uri="{FF2B5EF4-FFF2-40B4-BE49-F238E27FC236}">
                <a16:creationId xmlns:a16="http://schemas.microsoft.com/office/drawing/2014/main" id="{CE424B62-5109-9841-8C42-5BD27006A9DD}"/>
              </a:ext>
            </a:extLst>
          </p:cNvPr>
          <p:cNvSpPr>
            <a:spLocks noGrp="1"/>
          </p:cNvSpPr>
          <p:nvPr>
            <p:ph type="body" sz="quarter" idx="76"/>
          </p:nvPr>
        </p:nvSpPr>
        <p:spPr>
          <a:xfrm>
            <a:off x="8377757" y="3678366"/>
            <a:ext cx="2707188" cy="328231"/>
          </a:xfrm>
          <a:prstGeom prst="rect">
            <a:avLst/>
          </a:prstGeom>
        </p:spPr>
        <p:txBody>
          <a:bodyPr/>
          <a:lstStyle>
            <a:lvl1pPr marL="0" indent="0" algn="ctr" rtl="0">
              <a:buNone/>
              <a:defRPr sz="1467" b="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41" name="Picture Placeholder 3">
            <a:extLst>
              <a:ext uri="{FF2B5EF4-FFF2-40B4-BE49-F238E27FC236}">
                <a16:creationId xmlns:a16="http://schemas.microsoft.com/office/drawing/2014/main" id="{22992596-9553-354E-9FA6-6A7BACE3514C}"/>
              </a:ext>
            </a:extLst>
          </p:cNvPr>
          <p:cNvSpPr>
            <a:spLocks noGrp="1"/>
          </p:cNvSpPr>
          <p:nvPr>
            <p:ph type="pic" sz="quarter" idx="68" hasCustomPrompt="1"/>
          </p:nvPr>
        </p:nvSpPr>
        <p:spPr>
          <a:xfrm>
            <a:off x="2261816" y="2411556"/>
            <a:ext cx="530953" cy="263918"/>
          </a:xfrm>
          <a:prstGeom prst="rect">
            <a:avLst/>
          </a:prstGeom>
        </p:spPr>
        <p:txBody>
          <a:bodyPr/>
          <a:lstStyle>
            <a:lvl1pPr marL="0" indent="0" algn="ctr" rtl="0">
              <a:buNone/>
              <a:defRPr sz="1067">
                <a:solidFill>
                  <a:schemeClr val="tx1"/>
                </a:solidFill>
              </a:defRPr>
            </a:lvl1pPr>
          </a:lstStyle>
          <a:p>
            <a:r>
              <a:rPr lang="en-US"/>
              <a:t>Icon</a:t>
            </a:r>
          </a:p>
        </p:txBody>
      </p:sp>
      <p:sp>
        <p:nvSpPr>
          <p:cNvPr id="42" name="Picture Placeholder 3">
            <a:extLst>
              <a:ext uri="{FF2B5EF4-FFF2-40B4-BE49-F238E27FC236}">
                <a16:creationId xmlns:a16="http://schemas.microsoft.com/office/drawing/2014/main" id="{74591AD2-2569-CF45-8D7D-E69A713170D1}"/>
              </a:ext>
            </a:extLst>
          </p:cNvPr>
          <p:cNvSpPr>
            <a:spLocks noGrp="1"/>
          </p:cNvSpPr>
          <p:nvPr>
            <p:ph type="pic" sz="quarter" idx="77" hasCustomPrompt="1"/>
          </p:nvPr>
        </p:nvSpPr>
        <p:spPr>
          <a:xfrm>
            <a:off x="5863862" y="2411556"/>
            <a:ext cx="530953" cy="263918"/>
          </a:xfrm>
          <a:prstGeom prst="rect">
            <a:avLst/>
          </a:prstGeom>
        </p:spPr>
        <p:txBody>
          <a:bodyPr/>
          <a:lstStyle>
            <a:lvl1pPr marL="0" indent="0" algn="ctr" rtl="0">
              <a:buNone/>
              <a:defRPr sz="1067">
                <a:solidFill>
                  <a:schemeClr val="tx1"/>
                </a:solidFill>
              </a:defRPr>
            </a:lvl1pPr>
          </a:lstStyle>
          <a:p>
            <a:r>
              <a:rPr lang="en-US"/>
              <a:t>Icon</a:t>
            </a:r>
          </a:p>
        </p:txBody>
      </p:sp>
      <p:sp>
        <p:nvSpPr>
          <p:cNvPr id="43" name="Picture Placeholder 3">
            <a:extLst>
              <a:ext uri="{FF2B5EF4-FFF2-40B4-BE49-F238E27FC236}">
                <a16:creationId xmlns:a16="http://schemas.microsoft.com/office/drawing/2014/main" id="{A01C25AB-DBA1-3343-A29F-C393C26205AB}"/>
              </a:ext>
            </a:extLst>
          </p:cNvPr>
          <p:cNvSpPr>
            <a:spLocks noGrp="1"/>
          </p:cNvSpPr>
          <p:nvPr>
            <p:ph type="pic" sz="quarter" idx="78" hasCustomPrompt="1"/>
          </p:nvPr>
        </p:nvSpPr>
        <p:spPr>
          <a:xfrm>
            <a:off x="9466925" y="2411556"/>
            <a:ext cx="530953" cy="263918"/>
          </a:xfrm>
          <a:prstGeom prst="rect">
            <a:avLst/>
          </a:prstGeom>
        </p:spPr>
        <p:txBody>
          <a:bodyPr/>
          <a:lstStyle>
            <a:lvl1pPr marL="0" indent="0" algn="ctr" rtl="0">
              <a:buNone/>
              <a:defRPr sz="1067">
                <a:solidFill>
                  <a:schemeClr val="tx1"/>
                </a:solidFill>
              </a:defRPr>
            </a:lvl1pPr>
          </a:lstStyle>
          <a:p>
            <a:r>
              <a:rPr lang="en-US"/>
              <a:t>Icon</a:t>
            </a:r>
          </a:p>
        </p:txBody>
      </p:sp>
    </p:spTree>
    <p:extLst>
      <p:ext uri="{BB962C8B-B14F-4D97-AF65-F5344CB8AC3E}">
        <p14:creationId xmlns:p14="http://schemas.microsoft.com/office/powerpoint/2010/main" val="250867493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1_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1302153"/>
            <a:ext cx="12192000" cy="5555847"/>
          </a:xfrm>
          <a:prstGeom prst="rect">
            <a:avLst/>
          </a:prstGeom>
          <a:solidFill>
            <a:schemeClr val="tx2"/>
          </a:solidFill>
        </p:spPr>
        <p:txBody>
          <a:bodyPr/>
          <a:lstStyle>
            <a:lvl1pPr algn="ctr">
              <a:defRPr>
                <a:solidFill>
                  <a:schemeClr val="bg1"/>
                </a:solidFill>
              </a:defRPr>
            </a:lvl1pPr>
          </a:lstStyle>
          <a:p>
            <a:r>
              <a:rPr lang="en-GB" altLang="ja-JP"/>
              <a:t>Click icon to add picture</a:t>
            </a:r>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724147"/>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GB" altLang="ja-JP"/>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888271"/>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5" name="Rectangle 4">
            <a:extLst>
              <a:ext uri="{FF2B5EF4-FFF2-40B4-BE49-F238E27FC236}">
                <a16:creationId xmlns:a16="http://schemas.microsoft.com/office/drawing/2014/main" id="{AEC331B1-A2E3-4449-A203-C1004B13CA10}"/>
              </a:ext>
            </a:extLst>
          </p:cNvPr>
          <p:cNvSpPr/>
          <p:nvPr/>
        </p:nvSpPr>
        <p:spPr>
          <a:xfrm>
            <a:off x="-1" y="1"/>
            <a:ext cx="12192001" cy="1302153"/>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grpSp>
        <p:nvGrpSpPr>
          <p:cNvPr id="7" name="Group 6">
            <a:extLst>
              <a:ext uri="{FF2B5EF4-FFF2-40B4-BE49-F238E27FC236}">
                <a16:creationId xmlns:a16="http://schemas.microsoft.com/office/drawing/2014/main" id="{C950FAEA-ABA5-EE4E-A149-C69CD6574F28}"/>
              </a:ext>
            </a:extLst>
          </p:cNvPr>
          <p:cNvGrpSpPr/>
          <p:nvPr/>
        </p:nvGrpSpPr>
        <p:grpSpPr>
          <a:xfrm>
            <a:off x="10458438" y="332679"/>
            <a:ext cx="1308293" cy="484944"/>
            <a:chOff x="7843828" y="249509"/>
            <a:chExt cx="981220" cy="363708"/>
          </a:xfrm>
        </p:grpSpPr>
        <p:sp>
          <p:nvSpPr>
            <p:cNvPr id="11" name="Freeform 5">
              <a:extLst>
                <a:ext uri="{FF2B5EF4-FFF2-40B4-BE49-F238E27FC236}">
                  <a16:creationId xmlns:a16="http://schemas.microsoft.com/office/drawing/2014/main" id="{B7EA7868-E0CE-B74A-892C-4234EB343977}"/>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2" name="Freeform 6">
              <a:extLst>
                <a:ext uri="{FF2B5EF4-FFF2-40B4-BE49-F238E27FC236}">
                  <a16:creationId xmlns:a16="http://schemas.microsoft.com/office/drawing/2014/main" id="{02236376-2832-AB4A-A471-C7A16799F871}"/>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5" name="Text Placeholder 2">
            <a:extLst>
              <a:ext uri="{FF2B5EF4-FFF2-40B4-BE49-F238E27FC236}">
                <a16:creationId xmlns:a16="http://schemas.microsoft.com/office/drawing/2014/main" id="{EB93482B-9671-1740-ADEC-7542E8F561F0}"/>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6" name="Text Placeholder 2">
            <a:extLst>
              <a:ext uri="{FF2B5EF4-FFF2-40B4-BE49-F238E27FC236}">
                <a16:creationId xmlns:a16="http://schemas.microsoft.com/office/drawing/2014/main" id="{456B802E-24E7-1C4A-8F38-C4D8A7AAA514}"/>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3" name="Rectangle 28">
            <a:extLst>
              <a:ext uri="{FF2B5EF4-FFF2-40B4-BE49-F238E27FC236}">
                <a16:creationId xmlns:a16="http://schemas.microsoft.com/office/drawing/2014/main" id="{536F2A36-9475-4955-869C-3AF53F8EFAD1}"/>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1841818522"/>
      </p:ext>
    </p:extLst>
  </p:cSld>
  <p:clrMapOvr>
    <a:overrideClrMapping bg1="lt1" tx1="dk1" bg2="lt2" tx2="dk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GB" altLang="ja-JP"/>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grpSp>
        <p:nvGrpSpPr>
          <p:cNvPr id="5" name="Group 4">
            <a:extLst>
              <a:ext uri="{FF2B5EF4-FFF2-40B4-BE49-F238E27FC236}">
                <a16:creationId xmlns:a16="http://schemas.microsoft.com/office/drawing/2014/main" id="{38D7F1C7-6695-A34D-9E94-BA54ABAE009A}"/>
              </a:ext>
            </a:extLst>
          </p:cNvPr>
          <p:cNvGrpSpPr/>
          <p:nvPr/>
        </p:nvGrpSpPr>
        <p:grpSpPr>
          <a:xfrm>
            <a:off x="10458438" y="332679"/>
            <a:ext cx="1308293" cy="484944"/>
            <a:chOff x="7843828" y="249509"/>
            <a:chExt cx="981220" cy="363708"/>
          </a:xfrm>
        </p:grpSpPr>
        <p:sp>
          <p:nvSpPr>
            <p:cNvPr id="9" name="Freeform 5">
              <a:extLst>
                <a:ext uri="{FF2B5EF4-FFF2-40B4-BE49-F238E27FC236}">
                  <a16:creationId xmlns:a16="http://schemas.microsoft.com/office/drawing/2014/main" id="{D426F0B0-CF4C-8B43-90F0-F374BA1161A6}"/>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6AD97A14-CA51-B249-A18A-0D4E8BE47FE9}"/>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Text Placeholder 2">
            <a:extLst>
              <a:ext uri="{FF2B5EF4-FFF2-40B4-BE49-F238E27FC236}">
                <a16:creationId xmlns:a16="http://schemas.microsoft.com/office/drawing/2014/main" id="{85F4C83D-6BA3-B04B-A3B2-E94C3B8DCF8B}"/>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4" name="Text Placeholder 2">
            <a:extLst>
              <a:ext uri="{FF2B5EF4-FFF2-40B4-BE49-F238E27FC236}">
                <a16:creationId xmlns:a16="http://schemas.microsoft.com/office/drawing/2014/main" id="{213459C4-7224-DC47-8A1C-147786A90B27}"/>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1" name="Rectangle 28">
            <a:extLst>
              <a:ext uri="{FF2B5EF4-FFF2-40B4-BE49-F238E27FC236}">
                <a16:creationId xmlns:a16="http://schemas.microsoft.com/office/drawing/2014/main" id="{8ABC7D15-9DC4-42FB-8991-3725CBACA7C2}"/>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280918424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3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B720457-78E2-D349-BA3A-D34C6CC50DD8}"/>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7" name="Title 1"/>
          <p:cNvSpPr>
            <a:spLocks noGrp="1"/>
          </p:cNvSpPr>
          <p:nvPr>
            <p:ph type="title"/>
          </p:nvPr>
        </p:nvSpPr>
        <p:spPr>
          <a:xfrm>
            <a:off x="396695" y="169334"/>
            <a:ext cx="9951392" cy="793751"/>
          </a:xfrm>
          <a:prstGeom prst="rect">
            <a:avLst/>
          </a:prstGeom>
        </p:spPr>
        <p:txBody>
          <a:bodyPr anchor="ctr"/>
          <a:lstStyle>
            <a:lvl1pPr>
              <a:defRPr sz="3200" b="1">
                <a:solidFill>
                  <a:schemeClr val="accent2"/>
                </a:solidFill>
                <a:latin typeface="Arial"/>
                <a:cs typeface="Arial"/>
              </a:defRPr>
            </a:lvl1pPr>
          </a:lstStyle>
          <a:p>
            <a:r>
              <a:rPr lang="en-GB" altLang="ja-JP"/>
              <a:t>Click to edit Master title style</a:t>
            </a:r>
            <a:endParaRPr lang="en-ZA"/>
          </a:p>
        </p:txBody>
      </p:sp>
      <p:sp>
        <p:nvSpPr>
          <p:cNvPr id="8" name="Content Placeholder 2"/>
          <p:cNvSpPr>
            <a:spLocks noGrp="1"/>
          </p:cNvSpPr>
          <p:nvPr>
            <p:ph idx="1"/>
          </p:nvPr>
        </p:nvSpPr>
        <p:spPr>
          <a:xfrm>
            <a:off x="396694" y="1331318"/>
            <a:ext cx="11376207" cy="473081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grpSp>
        <p:nvGrpSpPr>
          <p:cNvPr id="10" name="Group 9">
            <a:extLst>
              <a:ext uri="{FF2B5EF4-FFF2-40B4-BE49-F238E27FC236}">
                <a16:creationId xmlns:a16="http://schemas.microsoft.com/office/drawing/2014/main" id="{BF6BB00B-00CF-EC40-B186-D1BD2DCE2FB3}"/>
              </a:ext>
            </a:extLst>
          </p:cNvPr>
          <p:cNvGrpSpPr/>
          <p:nvPr/>
        </p:nvGrpSpPr>
        <p:grpSpPr>
          <a:xfrm>
            <a:off x="10458438" y="332679"/>
            <a:ext cx="1308293" cy="484944"/>
            <a:chOff x="7843828" y="249509"/>
            <a:chExt cx="981220" cy="363708"/>
          </a:xfrm>
        </p:grpSpPr>
        <p:sp>
          <p:nvSpPr>
            <p:cNvPr id="11" name="Freeform 5">
              <a:extLst>
                <a:ext uri="{FF2B5EF4-FFF2-40B4-BE49-F238E27FC236}">
                  <a16:creationId xmlns:a16="http://schemas.microsoft.com/office/drawing/2014/main" id="{F2711BDC-9800-0941-BF84-858F08B99B02}"/>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4" name="Freeform 6">
              <a:extLst>
                <a:ext uri="{FF2B5EF4-FFF2-40B4-BE49-F238E27FC236}">
                  <a16:creationId xmlns:a16="http://schemas.microsoft.com/office/drawing/2014/main" id="{44B8842E-D6D7-1949-A852-FDFDA774C0D2}"/>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6" name="Text Placeholder 2">
            <a:extLst>
              <a:ext uri="{FF2B5EF4-FFF2-40B4-BE49-F238E27FC236}">
                <a16:creationId xmlns:a16="http://schemas.microsoft.com/office/drawing/2014/main" id="{F8E2AFCD-EF47-3546-8FB2-5B7354E88BE4}"/>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7" name="Text Placeholder 2">
            <a:extLst>
              <a:ext uri="{FF2B5EF4-FFF2-40B4-BE49-F238E27FC236}">
                <a16:creationId xmlns:a16="http://schemas.microsoft.com/office/drawing/2014/main" id="{66BC2A73-1119-2546-B0B4-0E84AC2026E5}"/>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2" name="Rectangle 28">
            <a:extLst>
              <a:ext uri="{FF2B5EF4-FFF2-40B4-BE49-F238E27FC236}">
                <a16:creationId xmlns:a16="http://schemas.microsoft.com/office/drawing/2014/main" id="{36640085-E133-43E4-ABCA-7B02D34AF661}"/>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63560732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3_NTT_title_and_content_page_light_grey_CR">
    <p:bg bwMode="ltGray">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GB" altLang="ja-JP"/>
              <a:t>Click to edit Master title style</a:t>
            </a:r>
            <a:endParaRPr lang="en-ZA"/>
          </a:p>
        </p:txBody>
      </p:sp>
      <p:sp>
        <p:nvSpPr>
          <p:cNvPr id="8" name="Content Placeholder 2"/>
          <p:cNvSpPr>
            <a:spLocks noGrp="1"/>
          </p:cNvSpPr>
          <p:nvPr>
            <p:ph idx="1"/>
          </p:nvPr>
        </p:nvSpPr>
        <p:spPr>
          <a:xfrm>
            <a:off x="396694" y="1529026"/>
            <a:ext cx="11376207" cy="456697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sp>
        <p:nvSpPr>
          <p:cNvPr id="10" name="Rectangle 9">
            <a:extLst>
              <a:ext uri="{FF2B5EF4-FFF2-40B4-BE49-F238E27FC236}">
                <a16:creationId xmlns:a16="http://schemas.microsoft.com/office/drawing/2014/main" id="{88CE73B4-B7E7-7745-AF08-F3B6CCC9131B}"/>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grpSp>
        <p:nvGrpSpPr>
          <p:cNvPr id="11" name="Group 10">
            <a:extLst>
              <a:ext uri="{FF2B5EF4-FFF2-40B4-BE49-F238E27FC236}">
                <a16:creationId xmlns:a16="http://schemas.microsoft.com/office/drawing/2014/main" id="{C329F73C-2D46-E347-9432-32891A8B6543}"/>
              </a:ext>
            </a:extLst>
          </p:cNvPr>
          <p:cNvGrpSpPr/>
          <p:nvPr/>
        </p:nvGrpSpPr>
        <p:grpSpPr>
          <a:xfrm>
            <a:off x="10458438" y="332679"/>
            <a:ext cx="1308293" cy="484944"/>
            <a:chOff x="7843828" y="249509"/>
            <a:chExt cx="981220" cy="363708"/>
          </a:xfrm>
        </p:grpSpPr>
        <p:sp>
          <p:nvSpPr>
            <p:cNvPr id="13" name="Freeform 5">
              <a:extLst>
                <a:ext uri="{FF2B5EF4-FFF2-40B4-BE49-F238E27FC236}">
                  <a16:creationId xmlns:a16="http://schemas.microsoft.com/office/drawing/2014/main" id="{2F8DD855-2C63-0242-B85F-9DBAE8F34ADF}"/>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4" name="Freeform 6">
              <a:extLst>
                <a:ext uri="{FF2B5EF4-FFF2-40B4-BE49-F238E27FC236}">
                  <a16:creationId xmlns:a16="http://schemas.microsoft.com/office/drawing/2014/main" id="{3475CBC6-B8B4-A341-9F5E-9FD1600E58AA}"/>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6" name="Text Placeholder 2">
            <a:extLst>
              <a:ext uri="{FF2B5EF4-FFF2-40B4-BE49-F238E27FC236}">
                <a16:creationId xmlns:a16="http://schemas.microsoft.com/office/drawing/2014/main" id="{5C1707E1-12B0-E04D-BA42-7B18D5FECBD9}"/>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7" name="Text Placeholder 2">
            <a:extLst>
              <a:ext uri="{FF2B5EF4-FFF2-40B4-BE49-F238E27FC236}">
                <a16:creationId xmlns:a16="http://schemas.microsoft.com/office/drawing/2014/main" id="{4DFA9390-696B-294D-B83D-7CC238AEBE08}"/>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5" name="Rectangle 28">
            <a:extLst>
              <a:ext uri="{FF2B5EF4-FFF2-40B4-BE49-F238E27FC236}">
                <a16:creationId xmlns:a16="http://schemas.microsoft.com/office/drawing/2014/main" id="{88D68A00-25F7-402B-B95B-7DB9E75CDB1E}"/>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148495521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1_NTT_title_and_content_page_blue">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tx1"/>
                </a:solidFill>
                <a:latin typeface="Arial"/>
                <a:cs typeface="Arial"/>
              </a:defRPr>
            </a:lvl1pPr>
          </a:lstStyle>
          <a:p>
            <a:r>
              <a:rPr lang="en-GB" altLang="ja-JP"/>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grpSp>
        <p:nvGrpSpPr>
          <p:cNvPr id="6" name="Group 5">
            <a:extLst>
              <a:ext uri="{FF2B5EF4-FFF2-40B4-BE49-F238E27FC236}">
                <a16:creationId xmlns:a16="http://schemas.microsoft.com/office/drawing/2014/main" id="{219E7F25-2EF7-AC46-BE52-64D82B8A6273}"/>
              </a:ext>
            </a:extLst>
          </p:cNvPr>
          <p:cNvGrpSpPr/>
          <p:nvPr/>
        </p:nvGrpSpPr>
        <p:grpSpPr>
          <a:xfrm>
            <a:off x="10458438" y="332679"/>
            <a:ext cx="1308293" cy="484944"/>
            <a:chOff x="7843828" y="249509"/>
            <a:chExt cx="981220" cy="363708"/>
          </a:xfrm>
          <a:solidFill>
            <a:schemeClr val="tx1"/>
          </a:solidFill>
        </p:grpSpPr>
        <p:sp>
          <p:nvSpPr>
            <p:cNvPr id="9" name="Freeform 5">
              <a:extLst>
                <a:ext uri="{FF2B5EF4-FFF2-40B4-BE49-F238E27FC236}">
                  <a16:creationId xmlns:a16="http://schemas.microsoft.com/office/drawing/2014/main" id="{4A00651C-630D-2848-8A6C-1E402542AC62}"/>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104E9F5D-D76D-464B-8603-B48994E271E3}"/>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4" name="Text Placeholder 2">
            <a:extLst>
              <a:ext uri="{FF2B5EF4-FFF2-40B4-BE49-F238E27FC236}">
                <a16:creationId xmlns:a16="http://schemas.microsoft.com/office/drawing/2014/main" id="{F4B87F2D-9146-5549-9517-387B0BFBA5F2}"/>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5" name="Text Placeholder 2">
            <a:extLst>
              <a:ext uri="{FF2B5EF4-FFF2-40B4-BE49-F238E27FC236}">
                <a16:creationId xmlns:a16="http://schemas.microsoft.com/office/drawing/2014/main" id="{A51DD9DF-6CF5-DD46-9D17-0EBC75D93F2F}"/>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1" name="Rectangle 28">
            <a:extLst>
              <a:ext uri="{FF2B5EF4-FFF2-40B4-BE49-F238E27FC236}">
                <a16:creationId xmlns:a16="http://schemas.microsoft.com/office/drawing/2014/main" id="{94A0E23F-5AA0-4D19-82FA-A5D634B28F59}"/>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1140027703"/>
      </p:ext>
    </p:extLst>
  </p:cSld>
  <p:clrMapOvr>
    <a:overrideClrMapping bg1="dk1" tx1="lt1" bg2="dk2" tx2="lt2" accent1="accent1" accent2="accent2" accent3="accent3" accent4="accent4" accent5="accent5" accent6="accent6" hlink="hlink" folHlink="folHlink"/>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770027" cy="793751"/>
          </a:xfrm>
          <a:prstGeom prst="rect">
            <a:avLst/>
          </a:prstGeom>
        </p:spPr>
        <p:txBody>
          <a:bodyPr anchor="ctr"/>
          <a:lstStyle>
            <a:lvl1pPr>
              <a:defRPr sz="3200" b="1">
                <a:solidFill>
                  <a:schemeClr val="accent2"/>
                </a:solidFill>
                <a:latin typeface="Arial"/>
                <a:cs typeface="Arial"/>
              </a:defRPr>
            </a:lvl1pPr>
          </a:lstStyle>
          <a:p>
            <a:r>
              <a:rPr lang="en-GB" altLang="ja-JP"/>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grpSp>
        <p:nvGrpSpPr>
          <p:cNvPr id="10" name="Group 9">
            <a:extLst>
              <a:ext uri="{FF2B5EF4-FFF2-40B4-BE49-F238E27FC236}">
                <a16:creationId xmlns:a16="http://schemas.microsoft.com/office/drawing/2014/main" id="{7085ABD9-769E-9F44-B621-8F50D5338B8F}"/>
              </a:ext>
            </a:extLst>
          </p:cNvPr>
          <p:cNvGrpSpPr/>
          <p:nvPr/>
        </p:nvGrpSpPr>
        <p:grpSpPr>
          <a:xfrm>
            <a:off x="10458438" y="332679"/>
            <a:ext cx="1308293" cy="484944"/>
            <a:chOff x="7843828" y="249509"/>
            <a:chExt cx="981220" cy="363708"/>
          </a:xfrm>
        </p:grpSpPr>
        <p:sp>
          <p:nvSpPr>
            <p:cNvPr id="11" name="Freeform 5">
              <a:extLst>
                <a:ext uri="{FF2B5EF4-FFF2-40B4-BE49-F238E27FC236}">
                  <a16:creationId xmlns:a16="http://schemas.microsoft.com/office/drawing/2014/main" id="{F831984E-FF85-F444-8E1E-635A70B5FF01}"/>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2" name="Freeform 6">
              <a:extLst>
                <a:ext uri="{FF2B5EF4-FFF2-40B4-BE49-F238E27FC236}">
                  <a16:creationId xmlns:a16="http://schemas.microsoft.com/office/drawing/2014/main" id="{D49B1C00-21CA-8F45-B313-EB0D7B2D8E9F}"/>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5" name="Text Placeholder 2">
            <a:extLst>
              <a:ext uri="{FF2B5EF4-FFF2-40B4-BE49-F238E27FC236}">
                <a16:creationId xmlns:a16="http://schemas.microsoft.com/office/drawing/2014/main" id="{B635664D-C191-2341-8175-0FD71E08F653}"/>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6" name="Text Placeholder 2">
            <a:extLst>
              <a:ext uri="{FF2B5EF4-FFF2-40B4-BE49-F238E27FC236}">
                <a16:creationId xmlns:a16="http://schemas.microsoft.com/office/drawing/2014/main" id="{0253C6C5-850E-9A4D-9D07-B275F523C4C3}"/>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3" name="Rectangle 28">
            <a:extLst>
              <a:ext uri="{FF2B5EF4-FFF2-40B4-BE49-F238E27FC236}">
                <a16:creationId xmlns:a16="http://schemas.microsoft.com/office/drawing/2014/main" id="{7FD8ABE1-2A98-4FD5-B22C-2EABA5B11385}"/>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271325855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3_NTT_title_and_content_page_white_no_logo">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860711" cy="793751"/>
          </a:xfrm>
          <a:prstGeom prst="rect">
            <a:avLst/>
          </a:prstGeom>
        </p:spPr>
        <p:txBody>
          <a:bodyPr anchor="ctr"/>
          <a:lstStyle>
            <a:lvl1pPr>
              <a:defRPr sz="3200" b="1">
                <a:solidFill>
                  <a:schemeClr val="bg1"/>
                </a:solidFill>
                <a:latin typeface="Arial"/>
                <a:cs typeface="Arial"/>
              </a:defRPr>
            </a:lvl1pPr>
          </a:lstStyle>
          <a:p>
            <a:r>
              <a:rPr lang="en-GB" altLang="ja-JP"/>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bg1"/>
                </a:solidFill>
                <a:latin typeface="Arial"/>
                <a:cs typeface="Arial"/>
              </a:defRPr>
            </a:lvl1pPr>
            <a:lvl2pPr algn="l">
              <a:defRPr sz="1867">
                <a:solidFill>
                  <a:schemeClr val="bg1"/>
                </a:solidFill>
                <a:latin typeface="Arial"/>
                <a:cs typeface="Arial"/>
              </a:defRPr>
            </a:lvl2pPr>
            <a:lvl3pPr algn="l">
              <a:defRPr sz="1600">
                <a:solidFill>
                  <a:schemeClr val="bg1"/>
                </a:solidFill>
                <a:latin typeface="Arial"/>
                <a:cs typeface="Arial"/>
              </a:defRPr>
            </a:lvl3pPr>
            <a:lvl4pPr algn="l">
              <a:defRPr sz="1467">
                <a:solidFill>
                  <a:schemeClr val="bg1"/>
                </a:solidFill>
                <a:latin typeface="Arial"/>
                <a:cs typeface="Arial"/>
              </a:defRPr>
            </a:lvl4pPr>
            <a:lvl5pPr algn="l">
              <a:defRPr sz="1467">
                <a:solidFill>
                  <a:schemeClr val="bg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grpSp>
        <p:nvGrpSpPr>
          <p:cNvPr id="5" name="Group 4">
            <a:extLst>
              <a:ext uri="{FF2B5EF4-FFF2-40B4-BE49-F238E27FC236}">
                <a16:creationId xmlns:a16="http://schemas.microsoft.com/office/drawing/2014/main" id="{8E7126A1-C77D-1A47-8EDB-6904BC431E4C}"/>
              </a:ext>
            </a:extLst>
          </p:cNvPr>
          <p:cNvGrpSpPr/>
          <p:nvPr/>
        </p:nvGrpSpPr>
        <p:grpSpPr>
          <a:xfrm>
            <a:off x="10458438" y="332679"/>
            <a:ext cx="1308293" cy="484944"/>
            <a:chOff x="7843828" y="249509"/>
            <a:chExt cx="981220" cy="363708"/>
          </a:xfrm>
          <a:solidFill>
            <a:schemeClr val="bg1"/>
          </a:solidFill>
        </p:grpSpPr>
        <p:sp>
          <p:nvSpPr>
            <p:cNvPr id="6" name="Freeform 5">
              <a:extLst>
                <a:ext uri="{FF2B5EF4-FFF2-40B4-BE49-F238E27FC236}">
                  <a16:creationId xmlns:a16="http://schemas.microsoft.com/office/drawing/2014/main" id="{FEEC7F65-34F0-FD46-8ECA-6C72AC229929}"/>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9" name="Freeform 6">
              <a:extLst>
                <a:ext uri="{FF2B5EF4-FFF2-40B4-BE49-F238E27FC236}">
                  <a16:creationId xmlns:a16="http://schemas.microsoft.com/office/drawing/2014/main" id="{20D0A413-C872-EB41-BAEC-F261040F0868}"/>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Text Placeholder 2">
            <a:extLst>
              <a:ext uri="{FF2B5EF4-FFF2-40B4-BE49-F238E27FC236}">
                <a16:creationId xmlns:a16="http://schemas.microsoft.com/office/drawing/2014/main" id="{F12BC979-24D1-3B45-8F1F-16CE9DD22E11}"/>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4" name="Text Placeholder 2">
            <a:extLst>
              <a:ext uri="{FF2B5EF4-FFF2-40B4-BE49-F238E27FC236}">
                <a16:creationId xmlns:a16="http://schemas.microsoft.com/office/drawing/2014/main" id="{D8A433F7-BE35-8641-A444-766D3CF6919D}"/>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0" name="Rectangle 28">
            <a:extLst>
              <a:ext uri="{FF2B5EF4-FFF2-40B4-BE49-F238E27FC236}">
                <a16:creationId xmlns:a16="http://schemas.microsoft.com/office/drawing/2014/main" id="{23C89EF3-FCA4-41F8-A711-4C38CE8A3308}"/>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412037762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1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810331" cy="793751"/>
          </a:xfrm>
          <a:prstGeom prst="rect">
            <a:avLst/>
          </a:prstGeom>
        </p:spPr>
        <p:txBody>
          <a:bodyPr anchor="ctr"/>
          <a:lstStyle>
            <a:lvl1pPr>
              <a:defRPr sz="3200" b="1">
                <a:solidFill>
                  <a:schemeClr val="tx1"/>
                </a:solidFill>
                <a:latin typeface="Arial"/>
                <a:cs typeface="Arial"/>
              </a:defRPr>
            </a:lvl1pPr>
          </a:lstStyle>
          <a:p>
            <a:r>
              <a:rPr lang="en-GB" altLang="ja-JP"/>
              <a:t>Click to edit Master title style</a:t>
            </a:r>
            <a:endParaRPr lang="en-ZA"/>
          </a:p>
        </p:txBody>
      </p:sp>
      <p:sp>
        <p:nvSpPr>
          <p:cNvPr id="8" name="Content Placeholder 2"/>
          <p:cNvSpPr>
            <a:spLocks noGrp="1"/>
          </p:cNvSpPr>
          <p:nvPr>
            <p:ph idx="1"/>
          </p:nvPr>
        </p:nvSpPr>
        <p:spPr>
          <a:xfrm>
            <a:off x="396694" y="1529025"/>
            <a:ext cx="11376207" cy="4566976"/>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sp>
        <p:nvSpPr>
          <p:cNvPr id="6" name="Rectangle 5">
            <a:extLst>
              <a:ext uri="{FF2B5EF4-FFF2-40B4-BE49-F238E27FC236}">
                <a16:creationId xmlns:a16="http://schemas.microsoft.com/office/drawing/2014/main" id="{C1B6184E-3522-954B-A811-C22B92045F88}"/>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grpSp>
        <p:nvGrpSpPr>
          <p:cNvPr id="9" name="Group 8">
            <a:extLst>
              <a:ext uri="{FF2B5EF4-FFF2-40B4-BE49-F238E27FC236}">
                <a16:creationId xmlns:a16="http://schemas.microsoft.com/office/drawing/2014/main" id="{6D1415F0-398B-1A48-A0EF-4A4DD83661EC}"/>
              </a:ext>
            </a:extLst>
          </p:cNvPr>
          <p:cNvGrpSpPr/>
          <p:nvPr/>
        </p:nvGrpSpPr>
        <p:grpSpPr>
          <a:xfrm>
            <a:off x="10458438" y="332679"/>
            <a:ext cx="1308293" cy="484944"/>
            <a:chOff x="7843828" y="249509"/>
            <a:chExt cx="981220" cy="363708"/>
          </a:xfrm>
        </p:grpSpPr>
        <p:sp>
          <p:nvSpPr>
            <p:cNvPr id="10" name="Freeform 5">
              <a:extLst>
                <a:ext uri="{FF2B5EF4-FFF2-40B4-BE49-F238E27FC236}">
                  <a16:creationId xmlns:a16="http://schemas.microsoft.com/office/drawing/2014/main" id="{7BB70E91-196A-6841-8EC4-2F5CE41B3FBD}"/>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3" name="Freeform 6">
              <a:extLst>
                <a:ext uri="{FF2B5EF4-FFF2-40B4-BE49-F238E27FC236}">
                  <a16:creationId xmlns:a16="http://schemas.microsoft.com/office/drawing/2014/main" id="{9853A562-BF1A-6442-A207-C58C3BB3B963}"/>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5" name="Text Placeholder 2">
            <a:extLst>
              <a:ext uri="{FF2B5EF4-FFF2-40B4-BE49-F238E27FC236}">
                <a16:creationId xmlns:a16="http://schemas.microsoft.com/office/drawing/2014/main" id="{92A79A8A-15B8-FC49-B7D5-1C1F3ECE3BB8}"/>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6" name="Text Placeholder 2">
            <a:extLst>
              <a:ext uri="{FF2B5EF4-FFF2-40B4-BE49-F238E27FC236}">
                <a16:creationId xmlns:a16="http://schemas.microsoft.com/office/drawing/2014/main" id="{AB4BE0E2-DAE6-2045-B92B-97EC2DEACF3C}"/>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1" name="Rectangle 28">
            <a:extLst>
              <a:ext uri="{FF2B5EF4-FFF2-40B4-BE49-F238E27FC236}">
                <a16:creationId xmlns:a16="http://schemas.microsoft.com/office/drawing/2014/main" id="{3EB27ABF-808A-4956-8BA8-6B02D38D72D4}"/>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88846355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NTT_title_and_2column_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6693" y="1408823"/>
            <a:ext cx="5495760" cy="4186080"/>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sp>
        <p:nvSpPr>
          <p:cNvPr id="6" name="Text Placeholder 5"/>
          <p:cNvSpPr>
            <a:spLocks noGrp="1"/>
          </p:cNvSpPr>
          <p:nvPr>
            <p:ph type="body" sz="quarter" idx="12"/>
          </p:nvPr>
        </p:nvSpPr>
        <p:spPr>
          <a:xfrm>
            <a:off x="6298669" y="1409289"/>
            <a:ext cx="5497515" cy="4186207"/>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sp>
        <p:nvSpPr>
          <p:cNvPr id="5" name="Title 1"/>
          <p:cNvSpPr>
            <a:spLocks noGrp="1"/>
          </p:cNvSpPr>
          <p:nvPr>
            <p:ph type="title"/>
          </p:nvPr>
        </p:nvSpPr>
        <p:spPr>
          <a:xfrm>
            <a:off x="396694" y="169335"/>
            <a:ext cx="9961469" cy="793749"/>
          </a:xfrm>
          <a:prstGeom prst="rect">
            <a:avLst/>
          </a:prstGeom>
        </p:spPr>
        <p:txBody>
          <a:bodyPr anchor="ctr"/>
          <a:lstStyle>
            <a:lvl1pPr>
              <a:defRPr sz="3200" b="1">
                <a:solidFill>
                  <a:schemeClr val="accent2"/>
                </a:solidFill>
                <a:latin typeface="Arial"/>
                <a:cs typeface="Arial"/>
              </a:defRPr>
            </a:lvl1pPr>
          </a:lstStyle>
          <a:p>
            <a:r>
              <a:rPr lang="en-GB" altLang="ja-JP"/>
              <a:t>Click to edit Master title style</a:t>
            </a:r>
            <a:endParaRPr lang="en-ZA"/>
          </a:p>
        </p:txBody>
      </p:sp>
      <p:grpSp>
        <p:nvGrpSpPr>
          <p:cNvPr id="8" name="Group 7">
            <a:extLst>
              <a:ext uri="{FF2B5EF4-FFF2-40B4-BE49-F238E27FC236}">
                <a16:creationId xmlns:a16="http://schemas.microsoft.com/office/drawing/2014/main" id="{445C8327-06DE-184A-8C28-B56D5600EE6B}"/>
              </a:ext>
            </a:extLst>
          </p:cNvPr>
          <p:cNvGrpSpPr/>
          <p:nvPr/>
        </p:nvGrpSpPr>
        <p:grpSpPr>
          <a:xfrm>
            <a:off x="10458438" y="332679"/>
            <a:ext cx="1308293" cy="484944"/>
            <a:chOff x="7843828" y="249509"/>
            <a:chExt cx="981220" cy="363708"/>
          </a:xfrm>
        </p:grpSpPr>
        <p:sp>
          <p:nvSpPr>
            <p:cNvPr id="9" name="Freeform 5">
              <a:extLst>
                <a:ext uri="{FF2B5EF4-FFF2-40B4-BE49-F238E27FC236}">
                  <a16:creationId xmlns:a16="http://schemas.microsoft.com/office/drawing/2014/main" id="{338A01AE-F797-2348-A3CD-23AB0E02BCD4}"/>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89D46527-31AB-4A40-9E44-187D4E6E8F5B}"/>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4" name="Text Placeholder 2">
            <a:extLst>
              <a:ext uri="{FF2B5EF4-FFF2-40B4-BE49-F238E27FC236}">
                <a16:creationId xmlns:a16="http://schemas.microsoft.com/office/drawing/2014/main" id="{50E941D1-2048-A94D-9E5B-FB8A5F32480C}"/>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5" name="Text Placeholder 2">
            <a:extLst>
              <a:ext uri="{FF2B5EF4-FFF2-40B4-BE49-F238E27FC236}">
                <a16:creationId xmlns:a16="http://schemas.microsoft.com/office/drawing/2014/main" id="{13658FE1-AA94-904E-8343-C5A15BBEADDD}"/>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1" name="Rectangle 28">
            <a:extLst>
              <a:ext uri="{FF2B5EF4-FFF2-40B4-BE49-F238E27FC236}">
                <a16:creationId xmlns:a16="http://schemas.microsoft.com/office/drawing/2014/main" id="{04EA5BED-C774-4631-B892-5BB44D979E9E}"/>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21279584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NTT_chart_layout_white">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19"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48" indent="0" algn="ctr">
              <a:buNone/>
              <a:defRPr sz="1867"/>
            </a:lvl2pPr>
          </a:lstStyle>
          <a:p>
            <a:pPr lvl="0"/>
            <a:r>
              <a:rPr lang="en-GB" altLang="ja-JP"/>
              <a:t>Click to edit Master text styles</a:t>
            </a:r>
          </a:p>
        </p:txBody>
      </p:sp>
      <p:sp>
        <p:nvSpPr>
          <p:cNvPr id="6" name="Chart Placeholder 5"/>
          <p:cNvSpPr>
            <a:spLocks noGrp="1"/>
          </p:cNvSpPr>
          <p:nvPr>
            <p:ph type="chart" sz="quarter" idx="11"/>
          </p:nvPr>
        </p:nvSpPr>
        <p:spPr>
          <a:xfrm>
            <a:off x="396694" y="1683603"/>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tx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GB" altLang="ja-JP"/>
              <a:t>Click icon to add chart</a:t>
            </a:r>
            <a:endParaRPr lang="en-ZA"/>
          </a:p>
        </p:txBody>
      </p:sp>
      <p:sp>
        <p:nvSpPr>
          <p:cNvPr id="5" name="Title 1"/>
          <p:cNvSpPr>
            <a:spLocks noGrp="1"/>
          </p:cNvSpPr>
          <p:nvPr>
            <p:ph type="title"/>
          </p:nvPr>
        </p:nvSpPr>
        <p:spPr>
          <a:xfrm>
            <a:off x="396693" y="169334"/>
            <a:ext cx="9558508" cy="793751"/>
          </a:xfrm>
          <a:prstGeom prst="rect">
            <a:avLst/>
          </a:prstGeom>
        </p:spPr>
        <p:txBody>
          <a:bodyPr anchor="ctr"/>
          <a:lstStyle>
            <a:lvl1pPr>
              <a:defRPr sz="3200" b="1" i="0">
                <a:solidFill>
                  <a:schemeClr val="accent2"/>
                </a:solidFill>
                <a:latin typeface="Arial" panose="020B0604020202020204" pitchFamily="34" charset="0"/>
                <a:cs typeface="Arial" panose="020B0604020202020204" pitchFamily="34" charset="0"/>
              </a:defRPr>
            </a:lvl1pPr>
          </a:lstStyle>
          <a:p>
            <a:r>
              <a:rPr lang="en-GB" altLang="ja-JP"/>
              <a:t>Click to edit Master title style</a:t>
            </a:r>
            <a:endParaRPr lang="en-ZA"/>
          </a:p>
        </p:txBody>
      </p:sp>
      <p:grpSp>
        <p:nvGrpSpPr>
          <p:cNvPr id="9" name="Group 8">
            <a:extLst>
              <a:ext uri="{FF2B5EF4-FFF2-40B4-BE49-F238E27FC236}">
                <a16:creationId xmlns:a16="http://schemas.microsoft.com/office/drawing/2014/main" id="{07FBA521-5A7B-ED45-8D94-9242C956B851}"/>
              </a:ext>
            </a:extLst>
          </p:cNvPr>
          <p:cNvGrpSpPr/>
          <p:nvPr/>
        </p:nvGrpSpPr>
        <p:grpSpPr>
          <a:xfrm>
            <a:off x="10458438" y="332679"/>
            <a:ext cx="1308293" cy="484944"/>
            <a:chOff x="7843828" y="249509"/>
            <a:chExt cx="981220" cy="363708"/>
          </a:xfrm>
        </p:grpSpPr>
        <p:sp>
          <p:nvSpPr>
            <p:cNvPr id="10" name="Freeform 5">
              <a:extLst>
                <a:ext uri="{FF2B5EF4-FFF2-40B4-BE49-F238E27FC236}">
                  <a16:creationId xmlns:a16="http://schemas.microsoft.com/office/drawing/2014/main" id="{87101786-C5DE-8549-A9B0-6DA1789962E5}"/>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6">
              <a:extLst>
                <a:ext uri="{FF2B5EF4-FFF2-40B4-BE49-F238E27FC236}">
                  <a16:creationId xmlns:a16="http://schemas.microsoft.com/office/drawing/2014/main" id="{FA3D6D48-B0D4-774E-AD76-D948D67ADE46}"/>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4" name="Text Placeholder 2">
            <a:extLst>
              <a:ext uri="{FF2B5EF4-FFF2-40B4-BE49-F238E27FC236}">
                <a16:creationId xmlns:a16="http://schemas.microsoft.com/office/drawing/2014/main" id="{5E458671-E8DD-384D-A0EC-295258394AB5}"/>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5" name="Text Placeholder 2">
            <a:extLst>
              <a:ext uri="{FF2B5EF4-FFF2-40B4-BE49-F238E27FC236}">
                <a16:creationId xmlns:a16="http://schemas.microsoft.com/office/drawing/2014/main" id="{A539C75B-1142-E24A-AE9F-17303C77FA2D}"/>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2" name="Rectangle 28">
            <a:extLst>
              <a:ext uri="{FF2B5EF4-FFF2-40B4-BE49-F238E27FC236}">
                <a16:creationId xmlns:a16="http://schemas.microsoft.com/office/drawing/2014/main" id="{8D015C9A-7F77-4C0B-B443-3464897C44F3}"/>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3957162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slide_image_background">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251239-D945-4176-A2EF-A3FEE9FE353F}"/>
              </a:ext>
            </a:extLst>
          </p:cNvPr>
          <p:cNvGraphicFramePr>
            <a:graphicFrameLocks noChangeAspect="1"/>
          </p:cNvGraphicFramePr>
          <p:nvPr userDrawn="1">
            <p:custDataLst>
              <p:tags r:id="rId1"/>
            </p:custDataLst>
            <p:extLst>
              <p:ext uri="{D42A27DB-BD31-4B8C-83A1-F6EECF244321}">
                <p14:modId xmlns:p14="http://schemas.microsoft.com/office/powerpoint/2010/main" val="105695228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B251239-D945-4176-A2EF-A3FEE9FE353F}"/>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1"/>
            <a:ext cx="12192000" cy="392480"/>
          </a:xfrm>
          <a:prstGeom prst="rect">
            <a:avLst/>
          </a:prstGeom>
          <a:solidFill>
            <a:schemeClr val="tx2"/>
          </a:solidFill>
        </p:spPr>
        <p:txBody>
          <a:bodyPr/>
          <a:lstStyle>
            <a:lvl1pPr algn="ctr" rtl="0">
              <a:defRPr>
                <a:solidFill>
                  <a:schemeClr val="bg1"/>
                </a:solidFill>
              </a:defRPr>
            </a:lvl1pPr>
          </a:lstStyle>
          <a:p>
            <a:r>
              <a:rPr lang="en-US"/>
              <a:t>Click icon to add picture</a:t>
            </a:r>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818549"/>
            <a:ext cx="6795052" cy="2073004"/>
          </a:xfrm>
          <a:prstGeom prst="rect">
            <a:avLst/>
          </a:prstGeom>
        </p:spPr>
        <p:txBody>
          <a:bodyPr vert="horz" anchor="ctr"/>
          <a:lstStyle>
            <a:lvl1pPr algn="l" rtl="0">
              <a:lnSpc>
                <a:spcPct val="80000"/>
              </a:lnSpc>
              <a:spcBef>
                <a:spcPts val="0"/>
              </a:spcBef>
              <a:spcAft>
                <a:spcPts val="0"/>
              </a:spcAft>
              <a:defRPr sz="5867" b="1">
                <a:solidFill>
                  <a:schemeClr val="bg1"/>
                </a:solidFill>
              </a:defRPr>
            </a:lvl1pPr>
          </a:lstStyle>
          <a:p>
            <a:r>
              <a:rPr lang="en-US"/>
              <a:t>Click to edit Master title style</a:t>
            </a:r>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5060298"/>
            <a:ext cx="6795052" cy="392480"/>
          </a:xfrm>
          <a:prstGeom prst="rect">
            <a:avLst/>
          </a:prstGeom>
        </p:spPr>
        <p:txBody>
          <a:bodyPr anchor="ctr"/>
          <a:lstStyle>
            <a:lvl1pPr marL="0" indent="0" algn="l" rtl="0">
              <a:buNone/>
              <a:defRPr>
                <a:solidFill>
                  <a:schemeClr val="bg1"/>
                </a:solidFill>
              </a:defRPr>
            </a:lvl1pPr>
          </a:lstStyle>
          <a:p>
            <a:pPr lvl="0"/>
            <a:r>
              <a:rPr lang="en-US"/>
              <a:t>Sub-title / Presenter Name</a:t>
            </a:r>
          </a:p>
        </p:txBody>
      </p:sp>
      <p:sp>
        <p:nvSpPr>
          <p:cNvPr id="2" name="Rectangle 1">
            <a:extLst>
              <a:ext uri="{FF2B5EF4-FFF2-40B4-BE49-F238E27FC236}">
                <a16:creationId xmlns:a16="http://schemas.microsoft.com/office/drawing/2014/main" id="{5AFCCD30-A182-C14B-89B0-90EE95174CAB}"/>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rtl="0" fontAlgn="auto">
              <a:lnSpc>
                <a:spcPct val="110000"/>
              </a:lnSpc>
              <a:spcBef>
                <a:spcPts val="267"/>
              </a:spcBef>
              <a:spcAft>
                <a:spcPts val="267"/>
              </a:spcAft>
            </a:pPr>
            <a:endParaRPr lang="en-US" sz="2133"/>
          </a:p>
        </p:txBody>
      </p:sp>
    </p:spTree>
    <p:extLst>
      <p:ext uri="{BB962C8B-B14F-4D97-AF65-F5344CB8AC3E}">
        <p14:creationId xmlns:p14="http://schemas.microsoft.com/office/powerpoint/2010/main" val="2029045366"/>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ED2D63-86DD-4F7F-A636-20CEB4DF1ED9}"/>
              </a:ext>
            </a:extLst>
          </p:cNvPr>
          <p:cNvGraphicFramePr>
            <a:graphicFrameLocks noChangeAspect="1"/>
          </p:cNvGraphicFramePr>
          <p:nvPr userDrawn="1">
            <p:custDataLst>
              <p:tags r:id="rId1"/>
            </p:custDataLst>
            <p:extLst>
              <p:ext uri="{D42A27DB-BD31-4B8C-83A1-F6EECF244321}">
                <p14:modId xmlns:p14="http://schemas.microsoft.com/office/powerpoint/2010/main" val="214347881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FED2D63-86DD-4F7F-A636-20CEB4DF1ED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A44F7B-A5DA-43AD-AD57-63683F877E00}"/>
              </a:ext>
            </a:extLst>
          </p:cNvPr>
          <p:cNvSpPr>
            <a:spLocks noGrp="1"/>
          </p:cNvSpPr>
          <p:nvPr>
            <p:ph type="title"/>
          </p:nvPr>
        </p:nvSpPr>
        <p:spPr>
          <a:xfrm>
            <a:off x="838200" y="366185"/>
            <a:ext cx="10515600" cy="1325033"/>
          </a:xfrm>
          <a:prstGeom prst="rect">
            <a:avLst/>
          </a:prstGeom>
        </p:spPr>
        <p:txBody>
          <a:bodyPr vert="horz"/>
          <a:lstStyle>
            <a:lvl1pPr rtl="0">
              <a:defRPr/>
            </a:lvl1pPr>
          </a:lstStyle>
          <a:p>
            <a:r>
              <a:rPr lang="en-US"/>
              <a:t>Click to edit Master title style</a:t>
            </a:r>
          </a:p>
        </p:txBody>
      </p:sp>
      <p:sp>
        <p:nvSpPr>
          <p:cNvPr id="3" name="Content Placeholder 2">
            <a:extLst>
              <a:ext uri="{FF2B5EF4-FFF2-40B4-BE49-F238E27FC236}">
                <a16:creationId xmlns:a16="http://schemas.microsoft.com/office/drawing/2014/main" id="{6A5C0F21-AACC-463A-892A-ABFA1044C238}"/>
              </a:ext>
            </a:extLst>
          </p:cNvPr>
          <p:cNvSpPr>
            <a:spLocks noGrp="1"/>
          </p:cNvSpPr>
          <p:nvPr>
            <p:ph idx="1"/>
          </p:nvPr>
        </p:nvSpPr>
        <p:spPr>
          <a:xfrm>
            <a:off x="838200" y="1826685"/>
            <a:ext cx="10515600" cy="2006532"/>
          </a:xfrm>
          <a:prstGeom prst="rect">
            <a:avLst/>
          </a:prstGeo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870911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NTT_chart_layout_dark">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19"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48" indent="0" algn="ctr">
              <a:buNone/>
              <a:defRPr sz="1867"/>
            </a:lvl2pPr>
          </a:lstStyle>
          <a:p>
            <a:pPr lvl="0"/>
            <a:r>
              <a:rPr lang="en-GB" altLang="ja-JP"/>
              <a:t>Click to edit Master text styles</a:t>
            </a:r>
          </a:p>
        </p:txBody>
      </p:sp>
      <p:sp>
        <p:nvSpPr>
          <p:cNvPr id="6" name="Chart Placeholder 5"/>
          <p:cNvSpPr>
            <a:spLocks noGrp="1"/>
          </p:cNvSpPr>
          <p:nvPr>
            <p:ph type="chart" sz="quarter" idx="11"/>
          </p:nvPr>
        </p:nvSpPr>
        <p:spPr>
          <a:xfrm>
            <a:off x="396694" y="1683603"/>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lt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GB" altLang="ja-JP"/>
              <a:t>Click icon to add chart</a:t>
            </a:r>
            <a:endParaRPr lang="en-ZA"/>
          </a:p>
        </p:txBody>
      </p:sp>
      <p:sp>
        <p:nvSpPr>
          <p:cNvPr id="5" name="Title 1"/>
          <p:cNvSpPr>
            <a:spLocks noGrp="1"/>
          </p:cNvSpPr>
          <p:nvPr>
            <p:ph type="title"/>
          </p:nvPr>
        </p:nvSpPr>
        <p:spPr>
          <a:xfrm>
            <a:off x="396692" y="169334"/>
            <a:ext cx="9941317" cy="793751"/>
          </a:xfrm>
          <a:prstGeom prst="rect">
            <a:avLst/>
          </a:prstGeom>
        </p:spPr>
        <p:txBody>
          <a:bodyPr anchor="ctr"/>
          <a:lstStyle>
            <a:lvl1pPr>
              <a:defRPr b="1" i="0">
                <a:solidFill>
                  <a:schemeClr val="tx1"/>
                </a:solidFill>
                <a:latin typeface="Arial" panose="020B0604020202020204" pitchFamily="34" charset="0"/>
                <a:cs typeface="Arial" panose="020B0604020202020204" pitchFamily="34" charset="0"/>
              </a:defRPr>
            </a:lvl1pPr>
          </a:lstStyle>
          <a:p>
            <a:r>
              <a:rPr lang="en-GB" altLang="ja-JP"/>
              <a:t>Click to edit Master title style</a:t>
            </a:r>
            <a:endParaRPr lang="en-ZA"/>
          </a:p>
        </p:txBody>
      </p:sp>
      <p:grpSp>
        <p:nvGrpSpPr>
          <p:cNvPr id="9" name="Group 8">
            <a:extLst>
              <a:ext uri="{FF2B5EF4-FFF2-40B4-BE49-F238E27FC236}">
                <a16:creationId xmlns:a16="http://schemas.microsoft.com/office/drawing/2014/main" id="{C33544B2-0CC8-934C-8713-51F150BF0F9A}"/>
              </a:ext>
            </a:extLst>
          </p:cNvPr>
          <p:cNvGrpSpPr/>
          <p:nvPr/>
        </p:nvGrpSpPr>
        <p:grpSpPr>
          <a:xfrm>
            <a:off x="10458438" y="332679"/>
            <a:ext cx="1308293" cy="484944"/>
            <a:chOff x="7843828" y="249509"/>
            <a:chExt cx="981220" cy="363708"/>
          </a:xfrm>
          <a:solidFill>
            <a:schemeClr val="tx1"/>
          </a:solidFill>
        </p:grpSpPr>
        <p:sp>
          <p:nvSpPr>
            <p:cNvPr id="10" name="Freeform 5">
              <a:extLst>
                <a:ext uri="{FF2B5EF4-FFF2-40B4-BE49-F238E27FC236}">
                  <a16:creationId xmlns:a16="http://schemas.microsoft.com/office/drawing/2014/main" id="{FBECB835-DDE0-A54E-81DE-2CAD2907F05F}"/>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6">
              <a:extLst>
                <a:ext uri="{FF2B5EF4-FFF2-40B4-BE49-F238E27FC236}">
                  <a16:creationId xmlns:a16="http://schemas.microsoft.com/office/drawing/2014/main" id="{8A7AEE61-660F-4740-B08F-C40D6E49EB5F}"/>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4" name="Text Placeholder 2">
            <a:extLst>
              <a:ext uri="{FF2B5EF4-FFF2-40B4-BE49-F238E27FC236}">
                <a16:creationId xmlns:a16="http://schemas.microsoft.com/office/drawing/2014/main" id="{FEABA615-26D1-D742-94A7-6DFADB91C2DD}"/>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5" name="Text Placeholder 2">
            <a:extLst>
              <a:ext uri="{FF2B5EF4-FFF2-40B4-BE49-F238E27FC236}">
                <a16:creationId xmlns:a16="http://schemas.microsoft.com/office/drawing/2014/main" id="{FD346C24-B761-7A43-A08F-D2D1B5A72E38}"/>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2" name="Rectangle 28">
            <a:extLst>
              <a:ext uri="{FF2B5EF4-FFF2-40B4-BE49-F238E27FC236}">
                <a16:creationId xmlns:a16="http://schemas.microsoft.com/office/drawing/2014/main" id="{FDAB8F1B-B62C-440A-AC99-7F2C5D1E2A67}"/>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590344104"/>
      </p:ext>
    </p:extLst>
  </p:cSld>
  <p:clrMapOvr>
    <a:overrideClrMapping bg1="dk1" tx1="lt1" bg2="dk2" tx2="lt2" accent1="accent1" accent2="accent2" accent3="accent3" accent4="accent4" accent5="accent5" accent6="accent6" hlink="hlink" folHlink="folHlink"/>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NTT_layout_option_3_column_white">
    <p:bg bwMode="ltGray">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6C46D53-15E4-2C4F-9617-DD90C161B84F}"/>
              </a:ext>
            </a:extLst>
          </p:cNvPr>
          <p:cNvSpPr/>
          <p:nvPr/>
        </p:nvSpPr>
        <p:spPr>
          <a:xfrm>
            <a:off x="0" y="2772077"/>
            <a:ext cx="4064000" cy="40859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7" name="Rectangle 6">
            <a:extLst>
              <a:ext uri="{FF2B5EF4-FFF2-40B4-BE49-F238E27FC236}">
                <a16:creationId xmlns:a16="http://schemas.microsoft.com/office/drawing/2014/main" id="{D76A6DF1-0EBD-A441-B4B6-6E5DE055B9AB}"/>
              </a:ext>
            </a:extLst>
          </p:cNvPr>
          <p:cNvSpPr/>
          <p:nvPr/>
        </p:nvSpPr>
        <p:spPr>
          <a:xfrm>
            <a:off x="8128000" y="2772077"/>
            <a:ext cx="4064000" cy="40859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3" name="Picture Placeholder 2">
            <a:extLst>
              <a:ext uri="{FF2B5EF4-FFF2-40B4-BE49-F238E27FC236}">
                <a16:creationId xmlns:a16="http://schemas.microsoft.com/office/drawing/2014/main" id="{C00DBA51-2FC2-724F-8D23-DCE9E6E22D76}"/>
              </a:ext>
            </a:extLst>
          </p:cNvPr>
          <p:cNvSpPr>
            <a:spLocks noGrp="1"/>
          </p:cNvSpPr>
          <p:nvPr>
            <p:ph type="pic" sz="quarter" idx="10"/>
          </p:nvPr>
        </p:nvSpPr>
        <p:spPr>
          <a:xfrm>
            <a:off x="4064000" y="2772834"/>
            <a:ext cx="4064000" cy="4085167"/>
          </a:xfrm>
          <a:prstGeom prst="rect">
            <a:avLst/>
          </a:prstGeom>
        </p:spPr>
        <p:txBody>
          <a:bodyPr/>
          <a:lstStyle>
            <a:lvl1pPr>
              <a:defRPr>
                <a:solidFill>
                  <a:schemeClr val="tx1"/>
                </a:solidFill>
              </a:defRPr>
            </a:lvl1pPr>
          </a:lstStyle>
          <a:p>
            <a:r>
              <a:rPr lang="en-GB" altLang="ja-JP"/>
              <a:t>Click icon to add picture</a:t>
            </a:r>
            <a:endParaRPr lang="en-GB"/>
          </a:p>
        </p:txBody>
      </p:sp>
      <p:sp>
        <p:nvSpPr>
          <p:cNvPr id="8" name="Triangle 7">
            <a:extLst>
              <a:ext uri="{FF2B5EF4-FFF2-40B4-BE49-F238E27FC236}">
                <a16:creationId xmlns:a16="http://schemas.microsoft.com/office/drawing/2014/main" id="{EAB5410C-0EC5-894D-9939-7D4BDEA3A33B}"/>
              </a:ext>
            </a:extLst>
          </p:cNvPr>
          <p:cNvSpPr/>
          <p:nvPr/>
        </p:nvSpPr>
        <p:spPr>
          <a:xfrm rot="10800000">
            <a:off x="5698156" y="2772074"/>
            <a:ext cx="795688" cy="29163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accent1"/>
              </a:solidFill>
            </a:endParaRPr>
          </a:p>
        </p:txBody>
      </p:sp>
      <p:sp>
        <p:nvSpPr>
          <p:cNvPr id="9" name="Title 4">
            <a:extLst>
              <a:ext uri="{FF2B5EF4-FFF2-40B4-BE49-F238E27FC236}">
                <a16:creationId xmlns:a16="http://schemas.microsoft.com/office/drawing/2014/main" id="{F2179386-8ECF-2247-89E5-B3685ECA1D57}"/>
              </a:ext>
            </a:extLst>
          </p:cNvPr>
          <p:cNvSpPr>
            <a:spLocks noGrp="1"/>
          </p:cNvSpPr>
          <p:nvPr>
            <p:ph type="title"/>
          </p:nvPr>
        </p:nvSpPr>
        <p:spPr>
          <a:xfrm>
            <a:off x="391599" y="705414"/>
            <a:ext cx="11408804" cy="631775"/>
          </a:xfrm>
          <a:prstGeom prst="rect">
            <a:avLst/>
          </a:prstGeom>
        </p:spPr>
        <p:txBody>
          <a:bodyPr anchor="ctr"/>
          <a:lstStyle>
            <a:lvl1pPr algn="ctr">
              <a:defRPr sz="3200" b="1">
                <a:solidFill>
                  <a:schemeClr val="accent2"/>
                </a:solidFill>
              </a:defRPr>
            </a:lvl1pPr>
          </a:lstStyle>
          <a:p>
            <a:r>
              <a:rPr lang="en-GB" altLang="ja-JP"/>
              <a:t>Click to edit Master title style</a:t>
            </a:r>
            <a:endParaRPr lang="en-GB"/>
          </a:p>
        </p:txBody>
      </p:sp>
      <p:sp>
        <p:nvSpPr>
          <p:cNvPr id="10" name="Text Placeholder 6">
            <a:extLst>
              <a:ext uri="{FF2B5EF4-FFF2-40B4-BE49-F238E27FC236}">
                <a16:creationId xmlns:a16="http://schemas.microsoft.com/office/drawing/2014/main" id="{DDFBDF62-760F-2942-909D-906703D9C63F}"/>
              </a:ext>
            </a:extLst>
          </p:cNvPr>
          <p:cNvSpPr>
            <a:spLocks noGrp="1"/>
          </p:cNvSpPr>
          <p:nvPr>
            <p:ph type="body" sz="quarter" idx="16" hasCustomPrompt="1"/>
          </p:nvPr>
        </p:nvSpPr>
        <p:spPr>
          <a:xfrm>
            <a:off x="391599" y="1382759"/>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11" name="Text Placeholder 6">
            <a:extLst>
              <a:ext uri="{FF2B5EF4-FFF2-40B4-BE49-F238E27FC236}">
                <a16:creationId xmlns:a16="http://schemas.microsoft.com/office/drawing/2014/main" id="{C3140292-BA2F-5F40-B51A-1F57E8E5304C}"/>
              </a:ext>
            </a:extLst>
          </p:cNvPr>
          <p:cNvSpPr>
            <a:spLocks noGrp="1"/>
          </p:cNvSpPr>
          <p:nvPr>
            <p:ph type="body" sz="quarter" idx="52"/>
          </p:nvPr>
        </p:nvSpPr>
        <p:spPr>
          <a:xfrm>
            <a:off x="539718" y="3598153"/>
            <a:ext cx="2707204" cy="718995"/>
          </a:xfrm>
          <a:prstGeom prst="rect">
            <a:avLst/>
          </a:prstGeom>
        </p:spPr>
        <p:txBody>
          <a:bodyPr/>
          <a:lstStyle>
            <a:lvl1pPr marL="0" indent="0" algn="ctr">
              <a:lnSpc>
                <a:spcPct val="100000"/>
              </a:lnSpc>
              <a:spcBef>
                <a:spcPts val="0"/>
              </a:spcBef>
              <a:spcAft>
                <a:spcPts val="0"/>
              </a:spcAft>
              <a:buNone/>
              <a:defRPr sz="1867" b="1">
                <a:solidFill>
                  <a:schemeClr val="bg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2" name="Text Placeholder 6">
            <a:extLst>
              <a:ext uri="{FF2B5EF4-FFF2-40B4-BE49-F238E27FC236}">
                <a16:creationId xmlns:a16="http://schemas.microsoft.com/office/drawing/2014/main" id="{A1906DE7-FCBA-2C47-BF59-60B682EFAE70}"/>
              </a:ext>
            </a:extLst>
          </p:cNvPr>
          <p:cNvSpPr>
            <a:spLocks noGrp="1"/>
          </p:cNvSpPr>
          <p:nvPr>
            <p:ph type="body" sz="quarter" idx="72"/>
          </p:nvPr>
        </p:nvSpPr>
        <p:spPr>
          <a:xfrm>
            <a:off x="539718" y="4403995"/>
            <a:ext cx="2707188" cy="918901"/>
          </a:xfrm>
          <a:prstGeom prst="rect">
            <a:avLst/>
          </a:prstGeom>
        </p:spPr>
        <p:txBody>
          <a:bodyPr/>
          <a:lstStyle>
            <a:lvl1pPr marL="0" indent="0" algn="ctr">
              <a:buNone/>
              <a:defRPr sz="1467" b="0">
                <a:solidFill>
                  <a:schemeClr val="bg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3" name="Text Placeholder 6">
            <a:extLst>
              <a:ext uri="{FF2B5EF4-FFF2-40B4-BE49-F238E27FC236}">
                <a16:creationId xmlns:a16="http://schemas.microsoft.com/office/drawing/2014/main" id="{703A3ACC-186F-804C-B70E-77B95DB72606}"/>
              </a:ext>
            </a:extLst>
          </p:cNvPr>
          <p:cNvSpPr>
            <a:spLocks noGrp="1"/>
          </p:cNvSpPr>
          <p:nvPr>
            <p:ph type="body" sz="quarter" idx="73"/>
          </p:nvPr>
        </p:nvSpPr>
        <p:spPr>
          <a:xfrm>
            <a:off x="4698887" y="3598153"/>
            <a:ext cx="2707204" cy="718995"/>
          </a:xfrm>
          <a:prstGeom prst="rect">
            <a:avLst/>
          </a:prstGeom>
        </p:spPr>
        <p:txBody>
          <a:bodyPr/>
          <a:lstStyle>
            <a:lvl1pPr marL="0" indent="0" algn="ctr">
              <a:lnSpc>
                <a:spcPct val="100000"/>
              </a:lnSpc>
              <a:spcBef>
                <a:spcPts val="0"/>
              </a:spcBef>
              <a:spcAft>
                <a:spcPts val="0"/>
              </a:spcAft>
              <a:buNone/>
              <a:defRPr sz="1867" b="1">
                <a:solidFill>
                  <a:schemeClr val="tx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4" name="Text Placeholder 6">
            <a:extLst>
              <a:ext uri="{FF2B5EF4-FFF2-40B4-BE49-F238E27FC236}">
                <a16:creationId xmlns:a16="http://schemas.microsoft.com/office/drawing/2014/main" id="{89D664C2-EB15-B941-872E-C42459621D86}"/>
              </a:ext>
            </a:extLst>
          </p:cNvPr>
          <p:cNvSpPr>
            <a:spLocks noGrp="1"/>
          </p:cNvSpPr>
          <p:nvPr>
            <p:ph type="body" sz="quarter" idx="74"/>
          </p:nvPr>
        </p:nvSpPr>
        <p:spPr>
          <a:xfrm>
            <a:off x="4698887" y="440399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5" name="Text Placeholder 6">
            <a:extLst>
              <a:ext uri="{FF2B5EF4-FFF2-40B4-BE49-F238E27FC236}">
                <a16:creationId xmlns:a16="http://schemas.microsoft.com/office/drawing/2014/main" id="{6DE93A4A-D0D5-DC49-87BA-D7EEFBB11F57}"/>
              </a:ext>
            </a:extLst>
          </p:cNvPr>
          <p:cNvSpPr>
            <a:spLocks noGrp="1"/>
          </p:cNvSpPr>
          <p:nvPr>
            <p:ph type="body" sz="quarter" idx="75"/>
          </p:nvPr>
        </p:nvSpPr>
        <p:spPr>
          <a:xfrm>
            <a:off x="8811758" y="3598153"/>
            <a:ext cx="2707204" cy="718995"/>
          </a:xfrm>
          <a:prstGeom prst="rect">
            <a:avLst/>
          </a:prstGeom>
        </p:spPr>
        <p:txBody>
          <a:bodyPr/>
          <a:lstStyle>
            <a:lvl1pPr marL="0" indent="0" algn="ctr">
              <a:lnSpc>
                <a:spcPct val="100000"/>
              </a:lnSpc>
              <a:spcBef>
                <a:spcPts val="0"/>
              </a:spcBef>
              <a:spcAft>
                <a:spcPts val="0"/>
              </a:spcAft>
              <a:buNone/>
              <a:defRPr sz="1867" b="1">
                <a:solidFill>
                  <a:schemeClr val="bg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6" name="Text Placeholder 6">
            <a:extLst>
              <a:ext uri="{FF2B5EF4-FFF2-40B4-BE49-F238E27FC236}">
                <a16:creationId xmlns:a16="http://schemas.microsoft.com/office/drawing/2014/main" id="{6FE70091-2CA3-B04B-AA23-9D30A96917CE}"/>
              </a:ext>
            </a:extLst>
          </p:cNvPr>
          <p:cNvSpPr>
            <a:spLocks noGrp="1"/>
          </p:cNvSpPr>
          <p:nvPr>
            <p:ph type="body" sz="quarter" idx="76"/>
          </p:nvPr>
        </p:nvSpPr>
        <p:spPr>
          <a:xfrm>
            <a:off x="8811758" y="4403995"/>
            <a:ext cx="2707188" cy="918901"/>
          </a:xfrm>
          <a:prstGeom prst="rect">
            <a:avLst/>
          </a:prstGeom>
        </p:spPr>
        <p:txBody>
          <a:bodyPr/>
          <a:lstStyle>
            <a:lvl1pPr marL="0" indent="0" algn="ctr">
              <a:buNone/>
              <a:defRPr sz="1467" b="0">
                <a:solidFill>
                  <a:schemeClr val="bg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20" name="Text Placeholder 2">
            <a:extLst>
              <a:ext uri="{FF2B5EF4-FFF2-40B4-BE49-F238E27FC236}">
                <a16:creationId xmlns:a16="http://schemas.microsoft.com/office/drawing/2014/main" id="{0515D60C-052F-5348-A2CF-44E9DAE31385}"/>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21" name="Text Placeholder 2">
            <a:extLst>
              <a:ext uri="{FF2B5EF4-FFF2-40B4-BE49-F238E27FC236}">
                <a16:creationId xmlns:a16="http://schemas.microsoft.com/office/drawing/2014/main" id="{4B6136C4-0382-0B49-93A9-30624AAF2FA4}"/>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28398722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p:cSld name="1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4439341" y="0"/>
            <a:ext cx="775265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altLang="ja-JP" noProof="0"/>
              <a:t>Click icon to add picture</a:t>
            </a:r>
            <a:endParaRPr lang="en-US" noProof="0"/>
          </a:p>
        </p:txBody>
      </p:sp>
      <p:sp>
        <p:nvSpPr>
          <p:cNvPr id="3" name="Picture Placeholder 2">
            <a:extLst>
              <a:ext uri="{FF2B5EF4-FFF2-40B4-BE49-F238E27FC236}">
                <a16:creationId xmlns:a16="http://schemas.microsoft.com/office/drawing/2014/main" id="{7C10F3DA-0062-6342-AECB-F97E69FEAC79}"/>
              </a:ext>
            </a:extLst>
          </p:cNvPr>
          <p:cNvSpPr>
            <a:spLocks noGrp="1"/>
          </p:cNvSpPr>
          <p:nvPr>
            <p:ph type="pic" sz="quarter" idx="14" hasCustomPrompt="1"/>
          </p:nvPr>
        </p:nvSpPr>
        <p:spPr>
          <a:xfrm>
            <a:off x="1539535" y="764405"/>
            <a:ext cx="1333500" cy="1333500"/>
          </a:xfrm>
          <a:prstGeom prst="rect">
            <a:avLst/>
          </a:prstGeom>
        </p:spPr>
        <p:txBody>
          <a:bodyPr/>
          <a:lstStyle>
            <a:lvl1pPr marL="0" indent="0">
              <a:buNone/>
              <a:defRPr sz="1867">
                <a:solidFill>
                  <a:schemeClr val="bg1"/>
                </a:solidFill>
              </a:defRPr>
            </a:lvl1pPr>
          </a:lstStyle>
          <a:p>
            <a:r>
              <a:rPr lang="en-GB"/>
              <a:t>icon</a:t>
            </a:r>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444644" y="2375655"/>
            <a:ext cx="3523281" cy="439727"/>
          </a:xfrm>
          <a:prstGeom prst="rect">
            <a:avLst/>
          </a:prstGeom>
        </p:spPr>
        <p:txBody>
          <a:bodyPr anchor="ctr"/>
          <a:lstStyle>
            <a:lvl1pPr algn="ctr">
              <a:defRPr sz="1867" b="1">
                <a:solidFill>
                  <a:schemeClr val="bg1"/>
                </a:solidFill>
              </a:defRPr>
            </a:lvl1pPr>
          </a:lstStyle>
          <a:p>
            <a:r>
              <a:rPr lang="en-GB" altLang="ja-JP"/>
              <a:t>Click to edit Master title style</a:t>
            </a:r>
            <a:endParaRPr lang="en-GB"/>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433918" y="3093133"/>
            <a:ext cx="3543300" cy="3199863"/>
          </a:xfrm>
          <a:prstGeom prst="rect">
            <a:avLst/>
          </a:prstGeom>
        </p:spPr>
        <p:txBody>
          <a:bodyPr/>
          <a:lstStyle>
            <a:lvl1pPr marL="0" indent="0" algn="ctr">
              <a:buNone/>
              <a:defRPr sz="1333">
                <a:solidFill>
                  <a:schemeClr val="bg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0" name="Text Placeholder 2">
            <a:extLst>
              <a:ext uri="{FF2B5EF4-FFF2-40B4-BE49-F238E27FC236}">
                <a16:creationId xmlns:a16="http://schemas.microsoft.com/office/drawing/2014/main" id="{80C36EC0-57E7-1F45-8017-8A1B1741F3A8}"/>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1" name="Text Placeholder 2">
            <a:extLst>
              <a:ext uri="{FF2B5EF4-FFF2-40B4-BE49-F238E27FC236}">
                <a16:creationId xmlns:a16="http://schemas.microsoft.com/office/drawing/2014/main" id="{A9A43855-5C2F-5041-9AD4-72A3D8C6CB55}"/>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2" name="Rectangle 28">
            <a:extLst>
              <a:ext uri="{FF2B5EF4-FFF2-40B4-BE49-F238E27FC236}">
                <a16:creationId xmlns:a16="http://schemas.microsoft.com/office/drawing/2014/main" id="{6F5214C8-8EB5-4761-B45B-BD9CE273088A}"/>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4080393757"/>
      </p:ext>
    </p:extLst>
  </p:cSld>
  <p:clrMapOvr>
    <a:overrideClrMapping bg1="dk1" tx1="lt1" bg2="dk2" tx2="lt2" accent1="accent1" accent2="accent2" accent3="accent3" accent4="accent4" accent5="accent5" accent6="accent6" hlink="hlink" folHlink="folHlink"/>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NTT_custom_layout_text_dark">
    <p:bg bwMode="ltGray">
      <p:bgPr>
        <a:solidFill>
          <a:schemeClr val="accent2"/>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7"/>
            <a:ext cx="3805411" cy="3220412"/>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latin typeface="Arial"/>
                <a:cs typeface="Arial"/>
              </a:defRPr>
            </a:lvl1pPr>
            <a:lvl2pPr algn="l">
              <a:lnSpc>
                <a:spcPct val="100000"/>
              </a:lnSpc>
              <a:defRPr>
                <a:solidFill>
                  <a:schemeClr val="bg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a:p>
            <a:pPr lvl="1"/>
            <a:r>
              <a:rPr lang="en-GB" altLang="ja-JP"/>
              <a:t>Second level</a:t>
            </a:r>
          </a:p>
        </p:txBody>
      </p:sp>
      <p:sp>
        <p:nvSpPr>
          <p:cNvPr id="24" name="Text Placeholder 4"/>
          <p:cNvSpPr>
            <a:spLocks noGrp="1"/>
          </p:cNvSpPr>
          <p:nvPr>
            <p:ph type="body" sz="quarter" idx="13"/>
          </p:nvPr>
        </p:nvSpPr>
        <p:spPr>
          <a:xfrm>
            <a:off x="410413" y="4525770"/>
            <a:ext cx="3165808" cy="1707493"/>
          </a:xfrm>
          <a:prstGeom prst="roundRect">
            <a:avLst>
              <a:gd name="adj" fmla="val 0"/>
            </a:avLst>
          </a:prstGeom>
          <a:noFill/>
          <a:ln w="28575">
            <a:solidFill>
              <a:schemeClr val="bg1"/>
            </a:solidFill>
          </a:ln>
          <a:effectLst/>
        </p:spPr>
        <p:txBody>
          <a:bodyPr anchor="ctr"/>
          <a:lstStyle>
            <a:lvl1pPr algn="l">
              <a:lnSpc>
                <a:spcPct val="100000"/>
              </a:lnSpc>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5" name="Text Placeholder 4"/>
          <p:cNvSpPr>
            <a:spLocks noGrp="1"/>
          </p:cNvSpPr>
          <p:nvPr>
            <p:ph type="body" sz="quarter" idx="14"/>
          </p:nvPr>
        </p:nvSpPr>
        <p:spPr>
          <a:xfrm>
            <a:off x="3751383" y="4525770"/>
            <a:ext cx="8149535" cy="1707493"/>
          </a:xfrm>
          <a:prstGeom prst="roundRect">
            <a:avLst>
              <a:gd name="adj" fmla="val 0"/>
            </a:avLst>
          </a:prstGeom>
          <a:noFill/>
          <a:ln w="28575">
            <a:solidFill>
              <a:schemeClr val="bg1"/>
            </a:solidFill>
          </a:ln>
          <a:effectLst/>
        </p:spPr>
        <p:txBody>
          <a:bodyPr anchor="ctr"/>
          <a:lstStyle>
            <a:lvl1pPr algn="ctr">
              <a:lnSpc>
                <a:spcPct val="100000"/>
              </a:lnSpc>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6" name="Text Placeholder 4"/>
          <p:cNvSpPr>
            <a:spLocks noGrp="1"/>
          </p:cNvSpPr>
          <p:nvPr>
            <p:ph type="body" sz="quarter" idx="15"/>
          </p:nvPr>
        </p:nvSpPr>
        <p:spPr>
          <a:xfrm>
            <a:off x="4364451" y="1145277"/>
            <a:ext cx="2715011" cy="3220412"/>
          </a:xfrm>
          <a:prstGeom prst="roundRect">
            <a:avLst>
              <a:gd name="adj" fmla="val 0"/>
            </a:avLst>
          </a:prstGeom>
          <a:noFill/>
          <a:ln w="28575">
            <a:solidFill>
              <a:schemeClr val="bg1"/>
            </a:solidFill>
          </a:ln>
          <a:effectLst/>
        </p:spPr>
        <p:txBody>
          <a:bodyPr anchor="ctr"/>
          <a:lstStyle>
            <a:lvl1pPr algn="ctr">
              <a:lnSpc>
                <a:spcPct val="100000"/>
              </a:lnSpc>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7" name="Text Placeholder 4"/>
          <p:cNvSpPr>
            <a:spLocks noGrp="1"/>
          </p:cNvSpPr>
          <p:nvPr>
            <p:ph type="body" sz="quarter" idx="16"/>
          </p:nvPr>
        </p:nvSpPr>
        <p:spPr>
          <a:xfrm>
            <a:off x="7235005" y="190029"/>
            <a:ext cx="4665912" cy="2467036"/>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effectLst/>
                <a:latin typeface="Arial"/>
                <a:cs typeface="Arial"/>
              </a:defRPr>
            </a:lvl1pPr>
            <a:lvl2pPr algn="l">
              <a:lnSpc>
                <a:spcPct val="100000"/>
              </a:lnSpc>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a:p>
            <a:pPr lvl="1"/>
            <a:r>
              <a:rPr lang="en-GB" altLang="ja-JP"/>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noFill/>
          <a:ln w="28575">
            <a:solidFill>
              <a:schemeClr val="bg1"/>
            </a:solidFill>
          </a:ln>
          <a:effectLst/>
        </p:spPr>
        <p:txBody>
          <a:bodyPr anchor="ctr"/>
          <a:lstStyle>
            <a:lvl1pPr algn="r">
              <a:lnSpc>
                <a:spcPct val="100000"/>
              </a:lnSpc>
              <a:defRPr>
                <a:solidFill>
                  <a:schemeClr val="bg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 name="Title 1"/>
          <p:cNvSpPr>
            <a:spLocks noGrp="1"/>
          </p:cNvSpPr>
          <p:nvPr>
            <p:ph type="title"/>
          </p:nvPr>
        </p:nvSpPr>
        <p:spPr>
          <a:xfrm>
            <a:off x="410414" y="190029"/>
            <a:ext cx="6712839" cy="751351"/>
          </a:xfrm>
          <a:prstGeom prst="rect">
            <a:avLst/>
          </a:prstGeom>
        </p:spPr>
        <p:txBody>
          <a:bodyPr/>
          <a:lstStyle>
            <a:lvl1pPr algn="l">
              <a:defRPr sz="2933" b="1">
                <a:latin typeface="Arial"/>
                <a:cs typeface="Arial"/>
              </a:defRPr>
            </a:lvl1pPr>
          </a:lstStyle>
          <a:p>
            <a:r>
              <a:rPr lang="en-GB" altLang="ja-JP"/>
              <a:t>Click to edit Master title style</a:t>
            </a:r>
            <a:endParaRPr lang="en-ZA"/>
          </a:p>
        </p:txBody>
      </p:sp>
      <p:sp>
        <p:nvSpPr>
          <p:cNvPr id="12" name="Text Placeholder 2">
            <a:extLst>
              <a:ext uri="{FF2B5EF4-FFF2-40B4-BE49-F238E27FC236}">
                <a16:creationId xmlns:a16="http://schemas.microsoft.com/office/drawing/2014/main" id="{97B8674A-B7CE-5B49-8E6F-A57D3CA33655}"/>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3" name="Text Placeholder 2">
            <a:extLst>
              <a:ext uri="{FF2B5EF4-FFF2-40B4-BE49-F238E27FC236}">
                <a16:creationId xmlns:a16="http://schemas.microsoft.com/office/drawing/2014/main" id="{F23E3AE6-CEB7-734A-8795-7D63374762EB}"/>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4" name="Rectangle 28">
            <a:extLst>
              <a:ext uri="{FF2B5EF4-FFF2-40B4-BE49-F238E27FC236}">
                <a16:creationId xmlns:a16="http://schemas.microsoft.com/office/drawing/2014/main" id="{53896471-02CE-4F9F-A229-DC401084531F}"/>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305411807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NTT_custom_layout">
    <p:bg bwMode="ltGray">
      <p:bgPr>
        <a:solidFill>
          <a:schemeClr val="bg1"/>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7"/>
            <a:ext cx="3805411" cy="3220412"/>
          </a:xfrm>
          <a:prstGeom prst="roundRect">
            <a:avLst>
              <a:gd name="adj" fmla="val 0"/>
            </a:avLst>
          </a:prstGeom>
          <a:solidFill>
            <a:schemeClr val="accent1"/>
          </a:solidFill>
          <a:ln>
            <a:noFill/>
          </a:ln>
          <a:effectLst/>
        </p:spPr>
        <p:txBody>
          <a:bodyPr anchor="ctr"/>
          <a:lstStyle>
            <a:lvl1pPr marL="239178" indent="0" algn="l">
              <a:defRPr sz="3200">
                <a:solidFill>
                  <a:srgbClr val="FFFFFF"/>
                </a:solidFill>
                <a:latin typeface="Arial"/>
                <a:cs typeface="Arial"/>
              </a:defRPr>
            </a:lvl1pPr>
            <a:lvl2pPr marL="478355" indent="241294" algn="l">
              <a:defRPr>
                <a:solidFill>
                  <a:srgbClr val="FFFFFF"/>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a:p>
            <a:pPr lvl="1"/>
            <a:r>
              <a:rPr lang="en-GB" altLang="ja-JP"/>
              <a:t>Second level</a:t>
            </a:r>
          </a:p>
        </p:txBody>
      </p:sp>
      <p:sp>
        <p:nvSpPr>
          <p:cNvPr id="24" name="Text Placeholder 4"/>
          <p:cNvSpPr>
            <a:spLocks noGrp="1"/>
          </p:cNvSpPr>
          <p:nvPr>
            <p:ph type="body" sz="quarter" idx="13"/>
          </p:nvPr>
        </p:nvSpPr>
        <p:spPr>
          <a:xfrm>
            <a:off x="410413" y="4525769"/>
            <a:ext cx="3165808" cy="1683271"/>
          </a:xfrm>
          <a:prstGeom prst="roundRect">
            <a:avLst>
              <a:gd name="adj" fmla="val 0"/>
            </a:avLst>
          </a:prstGeom>
          <a:solidFill>
            <a:schemeClr val="bg1"/>
          </a:solidFill>
          <a:ln>
            <a:noFill/>
          </a:ln>
          <a:effectLst/>
        </p:spPr>
        <p:txBody>
          <a:bodyPr anchor="ctr"/>
          <a:lstStyle>
            <a:lvl1pPr algn="l">
              <a:defRPr sz="2667" b="1">
                <a:solidFill>
                  <a:schemeClr val="tx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5" name="Text Placeholder 4"/>
          <p:cNvSpPr>
            <a:spLocks noGrp="1"/>
          </p:cNvSpPr>
          <p:nvPr>
            <p:ph type="body" sz="quarter" idx="14"/>
          </p:nvPr>
        </p:nvSpPr>
        <p:spPr>
          <a:xfrm>
            <a:off x="3751383" y="4525769"/>
            <a:ext cx="8149535" cy="1683271"/>
          </a:xfrm>
          <a:prstGeom prst="roundRect">
            <a:avLst>
              <a:gd name="adj" fmla="val 0"/>
            </a:avLst>
          </a:prstGeom>
          <a:solidFill>
            <a:schemeClr val="accent2"/>
          </a:solidFill>
          <a:ln>
            <a:noFill/>
          </a:ln>
          <a:effectLst/>
        </p:spPr>
        <p:txBody>
          <a:bodyPr anchor="ctr"/>
          <a:lstStyle>
            <a:lvl1pPr algn="ctr">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6" name="Text Placeholder 4"/>
          <p:cNvSpPr>
            <a:spLocks noGrp="1"/>
          </p:cNvSpPr>
          <p:nvPr>
            <p:ph type="body" sz="quarter" idx="15"/>
          </p:nvPr>
        </p:nvSpPr>
        <p:spPr>
          <a:xfrm>
            <a:off x="4364451" y="1145277"/>
            <a:ext cx="2715011" cy="3220412"/>
          </a:xfrm>
          <a:prstGeom prst="roundRect">
            <a:avLst>
              <a:gd name="adj" fmla="val 0"/>
            </a:avLst>
          </a:prstGeom>
          <a:solidFill>
            <a:schemeClr val="accent2"/>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7" name="Text Placeholder 4"/>
          <p:cNvSpPr>
            <a:spLocks noGrp="1"/>
          </p:cNvSpPr>
          <p:nvPr>
            <p:ph type="body" sz="quarter" idx="16"/>
          </p:nvPr>
        </p:nvSpPr>
        <p:spPr>
          <a:xfrm>
            <a:off x="7235005" y="190029"/>
            <a:ext cx="4665912" cy="2467036"/>
          </a:xfrm>
          <a:prstGeom prst="roundRect">
            <a:avLst>
              <a:gd name="adj" fmla="val 0"/>
            </a:avLst>
          </a:prstGeom>
          <a:solidFill>
            <a:schemeClr val="accent1"/>
          </a:solidFill>
          <a:ln>
            <a:noFill/>
          </a:ln>
          <a:effectLst/>
        </p:spPr>
        <p:txBody>
          <a:bodyPr anchor="ctr"/>
          <a:lstStyle>
            <a:lvl1pPr marL="239178" indent="0" algn="l">
              <a:defRPr sz="3200">
                <a:solidFill>
                  <a:srgbClr val="FFFFFF"/>
                </a:solidFill>
                <a:effectLst/>
                <a:latin typeface="Arial"/>
                <a:cs typeface="Arial"/>
              </a:defRPr>
            </a:lvl1pPr>
            <a:lvl2pPr marL="478355" indent="-239178" algn="l">
              <a:defRPr>
                <a:solidFill>
                  <a:srgbClr val="FFFFFF"/>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a:p>
            <a:pPr lvl="1"/>
            <a:r>
              <a:rPr lang="en-GB" altLang="ja-JP"/>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solidFill>
            <a:schemeClr val="bg1"/>
          </a:solidFill>
          <a:ln>
            <a:noFill/>
          </a:ln>
          <a:effectLst/>
        </p:spPr>
        <p:txBody>
          <a:bodyPr anchor="ctr"/>
          <a:lstStyle>
            <a:lvl1pPr algn="r">
              <a:defRPr>
                <a:solidFill>
                  <a:schemeClr val="tx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 name="Title 1"/>
          <p:cNvSpPr>
            <a:spLocks noGrp="1"/>
          </p:cNvSpPr>
          <p:nvPr>
            <p:ph type="title"/>
          </p:nvPr>
        </p:nvSpPr>
        <p:spPr>
          <a:xfrm>
            <a:off x="410414" y="190029"/>
            <a:ext cx="6712839" cy="751351"/>
          </a:xfrm>
          <a:prstGeom prst="rect">
            <a:avLst/>
          </a:prstGeom>
        </p:spPr>
        <p:txBody>
          <a:bodyPr/>
          <a:lstStyle>
            <a:lvl1pPr algn="l">
              <a:defRPr sz="2933" b="1">
                <a:solidFill>
                  <a:schemeClr val="accent2"/>
                </a:solidFill>
                <a:latin typeface="Arial"/>
                <a:cs typeface="Arial"/>
              </a:defRPr>
            </a:lvl1pPr>
          </a:lstStyle>
          <a:p>
            <a:r>
              <a:rPr lang="en-GB" altLang="ja-JP"/>
              <a:t>Click to edit Master title style</a:t>
            </a:r>
            <a:endParaRPr lang="en-ZA"/>
          </a:p>
        </p:txBody>
      </p:sp>
      <p:sp>
        <p:nvSpPr>
          <p:cNvPr id="12" name="Text Placeholder 2">
            <a:extLst>
              <a:ext uri="{FF2B5EF4-FFF2-40B4-BE49-F238E27FC236}">
                <a16:creationId xmlns:a16="http://schemas.microsoft.com/office/drawing/2014/main" id="{28D9BA7C-22A0-5B4B-A072-07B7DB2B018C}"/>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3" name="Text Placeholder 2">
            <a:extLst>
              <a:ext uri="{FF2B5EF4-FFF2-40B4-BE49-F238E27FC236}">
                <a16:creationId xmlns:a16="http://schemas.microsoft.com/office/drawing/2014/main" id="{CA8573D0-D3CA-F749-9632-699440781466}"/>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4" name="Rectangle 28">
            <a:extLst>
              <a:ext uri="{FF2B5EF4-FFF2-40B4-BE49-F238E27FC236}">
                <a16:creationId xmlns:a16="http://schemas.microsoft.com/office/drawing/2014/main" id="{45666FDB-7C75-45EB-AC13-4A492EAF520D}"/>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143742024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4_NTT_content_page">
    <p:bg bwMode="ltGray">
      <p:bgPr>
        <a:solidFill>
          <a:schemeClr val="tx1"/>
        </a:solidFill>
        <a:effectLst/>
      </p:bgPr>
    </p:bg>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8091E020-A1A3-894A-9A18-A2F931CBD43E}"/>
              </a:ext>
            </a:extLst>
          </p:cNvPr>
          <p:cNvSpPr>
            <a:spLocks noGrp="1"/>
          </p:cNvSpPr>
          <p:nvPr>
            <p:ph type="pic" sz="quarter" idx="13"/>
          </p:nvPr>
        </p:nvSpPr>
        <p:spPr>
          <a:xfrm>
            <a:off x="6194972" y="720774"/>
            <a:ext cx="1928397" cy="2635401"/>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altLang="ja-JP" noProof="0"/>
              <a:t>Click icon to add picture</a:t>
            </a:r>
            <a:endParaRPr lang="en-US" noProof="0"/>
          </a:p>
        </p:txBody>
      </p:sp>
      <p:sp>
        <p:nvSpPr>
          <p:cNvPr id="11" name="Picture Placeholder 13">
            <a:extLst>
              <a:ext uri="{FF2B5EF4-FFF2-40B4-BE49-F238E27FC236}">
                <a16:creationId xmlns:a16="http://schemas.microsoft.com/office/drawing/2014/main" id="{A37017A4-629A-A44D-A88D-1F8DEFFF532C}"/>
              </a:ext>
            </a:extLst>
          </p:cNvPr>
          <p:cNvSpPr>
            <a:spLocks noGrp="1"/>
          </p:cNvSpPr>
          <p:nvPr>
            <p:ph type="pic" sz="quarter" idx="18"/>
          </p:nvPr>
        </p:nvSpPr>
        <p:spPr>
          <a:xfrm>
            <a:off x="4092196" y="720773"/>
            <a:ext cx="1939033" cy="1540764"/>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altLang="ja-JP" noProof="0"/>
              <a:t>Click icon to add picture</a:t>
            </a:r>
            <a:endParaRPr lang="en-US" noProof="0"/>
          </a:p>
        </p:txBody>
      </p:sp>
      <p:sp>
        <p:nvSpPr>
          <p:cNvPr id="12" name="Picture Placeholder 13">
            <a:extLst>
              <a:ext uri="{FF2B5EF4-FFF2-40B4-BE49-F238E27FC236}">
                <a16:creationId xmlns:a16="http://schemas.microsoft.com/office/drawing/2014/main" id="{91168ADE-9466-4740-BD51-47A72258CAAE}"/>
              </a:ext>
            </a:extLst>
          </p:cNvPr>
          <p:cNvSpPr>
            <a:spLocks noGrp="1"/>
          </p:cNvSpPr>
          <p:nvPr>
            <p:ph type="pic" sz="quarter" idx="19"/>
          </p:nvPr>
        </p:nvSpPr>
        <p:spPr>
          <a:xfrm>
            <a:off x="4092196" y="2432615"/>
            <a:ext cx="1939033" cy="3514139"/>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altLang="ja-JP" noProof="0"/>
              <a:t>Click icon to add picture</a:t>
            </a:r>
            <a:endParaRPr lang="en-US" noProof="0"/>
          </a:p>
        </p:txBody>
      </p:sp>
      <p:sp>
        <p:nvSpPr>
          <p:cNvPr id="13" name="Picture Placeholder 13">
            <a:extLst>
              <a:ext uri="{FF2B5EF4-FFF2-40B4-BE49-F238E27FC236}">
                <a16:creationId xmlns:a16="http://schemas.microsoft.com/office/drawing/2014/main" id="{94A075D6-2F03-9E41-AF6A-579AABF97DE6}"/>
              </a:ext>
            </a:extLst>
          </p:cNvPr>
          <p:cNvSpPr>
            <a:spLocks noGrp="1"/>
          </p:cNvSpPr>
          <p:nvPr>
            <p:ph type="pic" sz="quarter" idx="17"/>
          </p:nvPr>
        </p:nvSpPr>
        <p:spPr>
          <a:xfrm>
            <a:off x="6184336" y="3516006"/>
            <a:ext cx="5151779" cy="2430748"/>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altLang="ja-JP" noProof="0"/>
              <a:t>Click icon to add picture</a:t>
            </a:r>
            <a:endParaRPr lang="en-US" noProof="0"/>
          </a:p>
        </p:txBody>
      </p:sp>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444644" y="720772"/>
            <a:ext cx="3523281" cy="877093"/>
          </a:xfrm>
          <a:prstGeom prst="rect">
            <a:avLst/>
          </a:prstGeom>
        </p:spPr>
        <p:txBody>
          <a:bodyPr anchor="ctr"/>
          <a:lstStyle>
            <a:lvl1pPr algn="l">
              <a:lnSpc>
                <a:spcPct val="100000"/>
              </a:lnSpc>
              <a:defRPr sz="3200" b="1">
                <a:solidFill>
                  <a:schemeClr val="accent2"/>
                </a:solidFill>
              </a:defRPr>
            </a:lvl1pPr>
          </a:lstStyle>
          <a:p>
            <a:r>
              <a:rPr lang="en-GB" altLang="ja-JP"/>
              <a:t>Click to edit Master title style</a:t>
            </a:r>
            <a:endParaRPr lang="en-GB"/>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444644" y="1734412"/>
            <a:ext cx="3523281" cy="42123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GB"/>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287114" y="720773"/>
            <a:ext cx="3049001" cy="263540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GB"/>
          </a:p>
        </p:txBody>
      </p:sp>
      <p:sp>
        <p:nvSpPr>
          <p:cNvPr id="18" name="Text Placeholder 2">
            <a:extLst>
              <a:ext uri="{FF2B5EF4-FFF2-40B4-BE49-F238E27FC236}">
                <a16:creationId xmlns:a16="http://schemas.microsoft.com/office/drawing/2014/main" id="{507BA0D7-0D8E-F54C-8640-2CB6EC62F9EA}"/>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9" name="Text Placeholder 2">
            <a:extLst>
              <a:ext uri="{FF2B5EF4-FFF2-40B4-BE49-F238E27FC236}">
                <a16:creationId xmlns:a16="http://schemas.microsoft.com/office/drawing/2014/main" id="{C187E909-E21F-A141-BDBB-4125B5F02461}"/>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20" name="Rectangle 28">
            <a:extLst>
              <a:ext uri="{FF2B5EF4-FFF2-40B4-BE49-F238E27FC236}">
                <a16:creationId xmlns:a16="http://schemas.microsoft.com/office/drawing/2014/main" id="{326E30F3-0D65-4A28-BDA5-1138E16BF829}"/>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3323922760"/>
      </p:ext>
    </p:extLst>
  </p:cSld>
  <p:clrMapOvr>
    <a:overrideClrMapping bg1="dk1" tx1="lt1" bg2="dk2" tx2="lt2" accent1="accent1" accent2="accent2" accent3="accent3" accent4="accent4" accent5="accent5" accent6="accent6" hlink="hlink" folHlink="folHlink"/>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5_NTT_content_page">
    <p:bg bwMode="ltGray">
      <p:bgPr>
        <a:solidFill>
          <a:schemeClr val="tx1"/>
        </a:solidFill>
        <a:effectLst/>
      </p:bgPr>
    </p:bg>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656678" y="719719"/>
            <a:ext cx="3523281" cy="877093"/>
          </a:xfrm>
          <a:prstGeom prst="rect">
            <a:avLst/>
          </a:prstGeom>
        </p:spPr>
        <p:txBody>
          <a:bodyPr anchor="ctr"/>
          <a:lstStyle>
            <a:lvl1pPr algn="l">
              <a:lnSpc>
                <a:spcPct val="100000"/>
              </a:lnSpc>
              <a:defRPr sz="3200" b="1">
                <a:solidFill>
                  <a:schemeClr val="accent2"/>
                </a:solidFill>
              </a:defRPr>
            </a:lvl1pPr>
          </a:lstStyle>
          <a:p>
            <a:r>
              <a:rPr lang="en-GB" altLang="ja-JP"/>
              <a:t>Click to edit Master title style</a:t>
            </a:r>
            <a:endParaRPr lang="en-GB"/>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656678" y="1733359"/>
            <a:ext cx="3523281" cy="4212341"/>
          </a:xfrm>
          <a:prstGeom prst="rect">
            <a:avLst/>
          </a:prstGeom>
          <a:solidFill>
            <a:srgbClr val="BAD2ED"/>
          </a:solidFill>
        </p:spPr>
        <p:txBody>
          <a:bodyPr/>
          <a:lstStyle>
            <a:lvl1pPr>
              <a:lnSpc>
                <a:spcPct val="100000"/>
              </a:lnSpc>
              <a:defRPr sz="1333">
                <a:solidFill>
                  <a:schemeClr val="bg1"/>
                </a:solidFill>
              </a:defRPr>
            </a:lvl1pPr>
            <a:lvl2pPr>
              <a:lnSpc>
                <a:spcPct val="100000"/>
              </a:lnSpc>
              <a:defRPr sz="1333">
                <a:solidFill>
                  <a:schemeClr val="bg1"/>
                </a:solidFill>
              </a:defRPr>
            </a:lvl2pPr>
            <a:lvl3pPr>
              <a:lnSpc>
                <a:spcPct val="100000"/>
              </a:lnSpc>
              <a:defRPr sz="1333">
                <a:solidFill>
                  <a:schemeClr val="bg1"/>
                </a:solidFill>
              </a:defRPr>
            </a:lvl3pPr>
            <a:lvl4pPr>
              <a:lnSpc>
                <a:spcPct val="100000"/>
              </a:lnSpc>
              <a:defRPr sz="1333">
                <a:solidFill>
                  <a:schemeClr val="bg1"/>
                </a:solidFill>
              </a:defRPr>
            </a:lvl4pPr>
            <a:lvl5pPr>
              <a:lnSpc>
                <a:spcPct val="100000"/>
              </a:lnSpc>
              <a:defRPr sz="1333">
                <a:solidFill>
                  <a:schemeClr val="bg1"/>
                </a:solidFil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GB"/>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499149" y="719720"/>
            <a:ext cx="3049001" cy="2635401"/>
          </a:xfrm>
          <a:prstGeom prst="rect">
            <a:avLst/>
          </a:prstGeom>
          <a:solidFill>
            <a:srgbClr val="C7E8E6"/>
          </a:solidFill>
        </p:spPr>
        <p:txBody>
          <a:bodyPr/>
          <a:lstStyle>
            <a:lvl1pPr>
              <a:lnSpc>
                <a:spcPct val="100000"/>
              </a:lnSpc>
              <a:defRPr sz="1333">
                <a:solidFill>
                  <a:schemeClr val="bg1"/>
                </a:solidFill>
              </a:defRPr>
            </a:lvl1pPr>
            <a:lvl2pPr>
              <a:lnSpc>
                <a:spcPct val="100000"/>
              </a:lnSpc>
              <a:defRPr sz="1333">
                <a:solidFill>
                  <a:schemeClr val="bg1"/>
                </a:solidFill>
              </a:defRPr>
            </a:lvl2pPr>
            <a:lvl3pPr>
              <a:lnSpc>
                <a:spcPct val="100000"/>
              </a:lnSpc>
              <a:defRPr sz="1333">
                <a:solidFill>
                  <a:schemeClr val="bg1"/>
                </a:solidFill>
              </a:defRPr>
            </a:lvl3pPr>
            <a:lvl4pPr>
              <a:lnSpc>
                <a:spcPct val="100000"/>
              </a:lnSpc>
              <a:defRPr sz="1333">
                <a:solidFill>
                  <a:schemeClr val="bg1"/>
                </a:solidFill>
              </a:defRPr>
            </a:lvl4pPr>
            <a:lvl5pPr>
              <a:lnSpc>
                <a:spcPct val="100000"/>
              </a:lnSpc>
              <a:defRPr sz="1333">
                <a:solidFill>
                  <a:schemeClr val="bg1"/>
                </a:solidFil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GB"/>
          </a:p>
        </p:txBody>
      </p:sp>
      <p:sp>
        <p:nvSpPr>
          <p:cNvPr id="10" name="Text Placeholder 6">
            <a:extLst>
              <a:ext uri="{FF2B5EF4-FFF2-40B4-BE49-F238E27FC236}">
                <a16:creationId xmlns:a16="http://schemas.microsoft.com/office/drawing/2014/main" id="{158B466F-ED96-BE4E-955F-BE1FEA9E2EEB}"/>
              </a:ext>
            </a:extLst>
          </p:cNvPr>
          <p:cNvSpPr>
            <a:spLocks noGrp="1"/>
          </p:cNvSpPr>
          <p:nvPr>
            <p:ph type="body" sz="quarter" idx="22"/>
          </p:nvPr>
        </p:nvSpPr>
        <p:spPr>
          <a:xfrm>
            <a:off x="4321900" y="2362988"/>
            <a:ext cx="1939033" cy="3582712"/>
          </a:xfrm>
          <a:prstGeom prst="rect">
            <a:avLst/>
          </a:prstGeom>
          <a:solidFill>
            <a:srgbClr val="9ADCC6"/>
          </a:solidFill>
        </p:spPr>
        <p:txBody>
          <a:bodyPr/>
          <a:lstStyle>
            <a:lvl1pPr>
              <a:lnSpc>
                <a:spcPct val="100000"/>
              </a:lnSpc>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GB" altLang="ja-JP"/>
              <a:t>Click to edit Master text styles</a:t>
            </a:r>
          </a:p>
        </p:txBody>
      </p:sp>
      <p:sp>
        <p:nvSpPr>
          <p:cNvPr id="17" name="Picture Placeholder 13">
            <a:extLst>
              <a:ext uri="{FF2B5EF4-FFF2-40B4-BE49-F238E27FC236}">
                <a16:creationId xmlns:a16="http://schemas.microsoft.com/office/drawing/2014/main" id="{E94D3DF8-5CF2-BF47-B246-B473C449DBF3}"/>
              </a:ext>
            </a:extLst>
          </p:cNvPr>
          <p:cNvSpPr>
            <a:spLocks noGrp="1"/>
          </p:cNvSpPr>
          <p:nvPr>
            <p:ph type="pic" sz="quarter" idx="18"/>
          </p:nvPr>
        </p:nvSpPr>
        <p:spPr>
          <a:xfrm>
            <a:off x="4321900" y="719719"/>
            <a:ext cx="1939033" cy="1540764"/>
          </a:xfrm>
          <a:prstGeom prst="rect">
            <a:avLst/>
          </a:prstGeom>
          <a:solidFill>
            <a:schemeClr val="bg2">
              <a:lumMod val="20000"/>
              <a:lumOff val="80000"/>
            </a:schemeClr>
          </a:solidFill>
          <a:effectLst/>
        </p:spPr>
        <p:txBody>
          <a:bodyPr>
            <a:normAutofit/>
          </a:bodyPr>
          <a:lstStyle>
            <a:lvl1pPr marL="0" indent="0">
              <a:lnSpc>
                <a:spcPct val="100000"/>
              </a:lnSpc>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altLang="ja-JP" noProof="0"/>
              <a:t>Click icon to add picture</a:t>
            </a:r>
            <a:endParaRPr lang="en-US" noProof="0"/>
          </a:p>
        </p:txBody>
      </p:sp>
      <p:sp>
        <p:nvSpPr>
          <p:cNvPr id="18" name="Picture Placeholder 13">
            <a:extLst>
              <a:ext uri="{FF2B5EF4-FFF2-40B4-BE49-F238E27FC236}">
                <a16:creationId xmlns:a16="http://schemas.microsoft.com/office/drawing/2014/main" id="{CBE37E95-2D23-464B-9974-5D9E340CF188}"/>
              </a:ext>
            </a:extLst>
          </p:cNvPr>
          <p:cNvSpPr>
            <a:spLocks noGrp="1"/>
          </p:cNvSpPr>
          <p:nvPr>
            <p:ph type="pic" sz="quarter" idx="17"/>
          </p:nvPr>
        </p:nvSpPr>
        <p:spPr>
          <a:xfrm>
            <a:off x="6396371" y="3514953"/>
            <a:ext cx="5151779" cy="2430748"/>
          </a:xfrm>
          <a:prstGeom prst="rect">
            <a:avLst/>
          </a:prstGeom>
          <a:solidFill>
            <a:schemeClr val="bg2">
              <a:lumMod val="20000"/>
              <a:lumOff val="80000"/>
            </a:schemeClr>
          </a:solidFill>
          <a:effectLst/>
        </p:spPr>
        <p:txBody>
          <a:bodyPr>
            <a:normAutofit/>
          </a:bodyPr>
          <a:lstStyle>
            <a:lvl1pPr marL="0" indent="0">
              <a:lnSpc>
                <a:spcPct val="100000"/>
              </a:lnSpc>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altLang="ja-JP" noProof="0"/>
              <a:t>Click icon to add picture</a:t>
            </a:r>
            <a:endParaRPr lang="en-US" noProof="0"/>
          </a:p>
        </p:txBody>
      </p:sp>
      <p:sp>
        <p:nvSpPr>
          <p:cNvPr id="19" name="Text Placeholder 6">
            <a:extLst>
              <a:ext uri="{FF2B5EF4-FFF2-40B4-BE49-F238E27FC236}">
                <a16:creationId xmlns:a16="http://schemas.microsoft.com/office/drawing/2014/main" id="{0174DC45-C4F5-BB48-9E7A-CEE0AEC2189E}"/>
              </a:ext>
            </a:extLst>
          </p:cNvPr>
          <p:cNvSpPr>
            <a:spLocks noGrp="1"/>
          </p:cNvSpPr>
          <p:nvPr>
            <p:ph type="body" sz="quarter" idx="23"/>
          </p:nvPr>
        </p:nvSpPr>
        <p:spPr>
          <a:xfrm>
            <a:off x="6410524" y="719720"/>
            <a:ext cx="1982521" cy="2635401"/>
          </a:xfrm>
          <a:prstGeom prst="rect">
            <a:avLst/>
          </a:prstGeom>
          <a:solidFill>
            <a:srgbClr val="FCD4C9"/>
          </a:solidFill>
        </p:spPr>
        <p:txBody>
          <a:bodyPr/>
          <a:lstStyle>
            <a:lvl1pPr>
              <a:lnSpc>
                <a:spcPct val="100000"/>
              </a:lnSpc>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GB" altLang="ja-JP"/>
              <a:t>Click to edit Master text styles</a:t>
            </a:r>
          </a:p>
        </p:txBody>
      </p:sp>
      <p:sp>
        <p:nvSpPr>
          <p:cNvPr id="13" name="Text Placeholder 2">
            <a:extLst>
              <a:ext uri="{FF2B5EF4-FFF2-40B4-BE49-F238E27FC236}">
                <a16:creationId xmlns:a16="http://schemas.microsoft.com/office/drawing/2014/main" id="{3A2247AE-1529-B44A-8370-1BE7B2F56F83}"/>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20" name="Text Placeholder 2">
            <a:extLst>
              <a:ext uri="{FF2B5EF4-FFF2-40B4-BE49-F238E27FC236}">
                <a16:creationId xmlns:a16="http://schemas.microsoft.com/office/drawing/2014/main" id="{EDE19C96-172F-8045-8264-B3C8E9FEA805}"/>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21" name="Rectangle 28">
            <a:extLst>
              <a:ext uri="{FF2B5EF4-FFF2-40B4-BE49-F238E27FC236}">
                <a16:creationId xmlns:a16="http://schemas.microsoft.com/office/drawing/2014/main" id="{9D69B8C1-1D1F-4B38-B420-CB392E1C3ADF}"/>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4291622015"/>
      </p:ext>
    </p:extLst>
  </p:cSld>
  <p:clrMapOvr>
    <a:overrideClrMapping bg1="dk1" tx1="lt1" bg2="dk2" tx2="lt2" accent1="accent1" accent2="accent2" accent3="accent3" accent4="accent4" accent5="accent5" accent6="accent6" hlink="hlink" folHlink="folHlink"/>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6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r>
              <a:rPr lang="en-GB" altLang="ja-JP" noProof="0"/>
              <a:t>Click icon to add picture</a:t>
            </a:r>
            <a:endParaRPr lang="en-US" noProof="0"/>
          </a:p>
        </p:txBody>
      </p:sp>
      <p:sp>
        <p:nvSpPr>
          <p:cNvPr id="17" name="Rectangle 16">
            <a:extLst>
              <a:ext uri="{FF2B5EF4-FFF2-40B4-BE49-F238E27FC236}">
                <a16:creationId xmlns:a16="http://schemas.microsoft.com/office/drawing/2014/main" id="{D9A7F20D-739B-444F-BBE5-002C9121F465}"/>
              </a:ext>
            </a:extLst>
          </p:cNvPr>
          <p:cNvSpPr/>
          <p:nvPr/>
        </p:nvSpPr>
        <p:spPr>
          <a:xfrm>
            <a:off x="3736975" y="0"/>
            <a:ext cx="376951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lnSpc>
                <a:spcPct val="100000"/>
              </a:lnSpc>
              <a:defRPr sz="3200" b="1">
                <a:solidFill>
                  <a:schemeClr val="tx1"/>
                </a:solidFill>
              </a:defRPr>
            </a:lvl1pPr>
          </a:lstStyle>
          <a:p>
            <a:r>
              <a:rPr lang="en-GB" altLang="ja-JP"/>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ltLang="ja-JP"/>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2" y="1417496"/>
            <a:ext cx="2614047" cy="710936"/>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2" y="856140"/>
            <a:ext cx="2614047" cy="465789"/>
          </a:xfrm>
          <a:prstGeom prst="rect">
            <a:avLst/>
          </a:prstGeom>
        </p:spPr>
        <p:txBody>
          <a:bodyPr anchor="ctr"/>
          <a:lstStyle>
            <a:lvl1pPr marL="0" indent="0" algn="l">
              <a:lnSpc>
                <a:spcPct val="100000"/>
              </a:lnSpc>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2" y="3294984"/>
            <a:ext cx="2614047" cy="737992"/>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2" y="2731719"/>
            <a:ext cx="2614047" cy="465789"/>
          </a:xfrm>
          <a:prstGeom prst="rect">
            <a:avLst/>
          </a:prstGeom>
        </p:spPr>
        <p:txBody>
          <a:bodyPr anchor="ctr"/>
          <a:lstStyle>
            <a:lvl1pPr marL="0" indent="0" algn="l">
              <a:lnSpc>
                <a:spcPct val="100000"/>
              </a:lnSpc>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2" y="5160739"/>
            <a:ext cx="2614047" cy="77822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2" y="4634276"/>
            <a:ext cx="2614047" cy="465789"/>
          </a:xfrm>
          <a:prstGeom prst="rect">
            <a:avLst/>
          </a:prstGeom>
        </p:spPr>
        <p:txBody>
          <a:bodyPr anchor="ctr"/>
          <a:lstStyle>
            <a:lvl1pPr marL="0" indent="0" algn="l">
              <a:lnSpc>
                <a:spcPct val="100000"/>
              </a:lnSpc>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748765"/>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465475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
        <p:nvSpPr>
          <p:cNvPr id="30" name="Text Placeholder 2">
            <a:extLst>
              <a:ext uri="{FF2B5EF4-FFF2-40B4-BE49-F238E27FC236}">
                <a16:creationId xmlns:a16="http://schemas.microsoft.com/office/drawing/2014/main" id="{417966A2-9596-2049-A592-9249AD5D6FC2}"/>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31" name="Text Placeholder 2">
            <a:extLst>
              <a:ext uri="{FF2B5EF4-FFF2-40B4-BE49-F238E27FC236}">
                <a16:creationId xmlns:a16="http://schemas.microsoft.com/office/drawing/2014/main" id="{0E8DD765-7AAB-454B-B5AE-98ED84254A6E}"/>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32" name="Rectangle 28">
            <a:extLst>
              <a:ext uri="{FF2B5EF4-FFF2-40B4-BE49-F238E27FC236}">
                <a16:creationId xmlns:a16="http://schemas.microsoft.com/office/drawing/2014/main" id="{DA63C6E4-6C08-46E4-A4AB-397D5F50DF00}"/>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3260225258"/>
      </p:ext>
    </p:extLst>
  </p:cSld>
  <p:clrMapOvr>
    <a:overrideClrMapping bg1="dk1" tx1="lt1" bg2="dk2" tx2="lt2" accent1="accent1" accent2="accent2" accent3="accent3" accent4="accent4" accent5="accent5" accent6="accent6" hlink="hlink" folHlink="folHlink"/>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7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r>
              <a:rPr lang="en-GB" altLang="ja-JP" noProof="0"/>
              <a:t>Click icon to add picture</a:t>
            </a:r>
            <a:endParaRPr lang="en-US" noProof="0"/>
          </a:p>
        </p:txBody>
      </p:sp>
      <p:sp>
        <p:nvSpPr>
          <p:cNvPr id="17" name="Rectangle 16">
            <a:extLst>
              <a:ext uri="{FF2B5EF4-FFF2-40B4-BE49-F238E27FC236}">
                <a16:creationId xmlns:a16="http://schemas.microsoft.com/office/drawing/2014/main" id="{D9A7F20D-739B-444F-BBE5-002C9121F465}"/>
              </a:ext>
            </a:extLst>
          </p:cNvPr>
          <p:cNvSpPr/>
          <p:nvPr/>
        </p:nvSpPr>
        <p:spPr>
          <a:xfrm>
            <a:off x="3736975" y="0"/>
            <a:ext cx="376951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lnSpc>
                <a:spcPct val="100000"/>
              </a:lnSpc>
              <a:defRPr sz="3200" b="1">
                <a:solidFill>
                  <a:schemeClr val="tx1"/>
                </a:solidFill>
              </a:defRPr>
            </a:lvl1pPr>
          </a:lstStyle>
          <a:p>
            <a:r>
              <a:rPr lang="en-GB" altLang="ja-JP"/>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ltLang="ja-JP"/>
              <a:t>Click to edit Master text styles</a:t>
            </a:r>
          </a:p>
        </p:txBody>
      </p:sp>
      <p:sp>
        <p:nvSpPr>
          <p:cNvPr id="30" name="Text Placeholder 6">
            <a:extLst>
              <a:ext uri="{FF2B5EF4-FFF2-40B4-BE49-F238E27FC236}">
                <a16:creationId xmlns:a16="http://schemas.microsoft.com/office/drawing/2014/main" id="{774CF533-45F4-F84B-B7BD-04B64FA3BC6D}"/>
              </a:ext>
            </a:extLst>
          </p:cNvPr>
          <p:cNvSpPr>
            <a:spLocks noGrp="1"/>
          </p:cNvSpPr>
          <p:nvPr>
            <p:ph type="body" sz="quarter" idx="61"/>
          </p:nvPr>
        </p:nvSpPr>
        <p:spPr>
          <a:xfrm>
            <a:off x="8772042" y="1417496"/>
            <a:ext cx="2614047" cy="710936"/>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31" name="Text Placeholder 6">
            <a:extLst>
              <a:ext uri="{FF2B5EF4-FFF2-40B4-BE49-F238E27FC236}">
                <a16:creationId xmlns:a16="http://schemas.microsoft.com/office/drawing/2014/main" id="{6838ECBC-8996-004C-B095-44CEB46B4600}"/>
              </a:ext>
            </a:extLst>
          </p:cNvPr>
          <p:cNvSpPr>
            <a:spLocks noGrp="1"/>
          </p:cNvSpPr>
          <p:nvPr>
            <p:ph type="body" sz="quarter" idx="16"/>
          </p:nvPr>
        </p:nvSpPr>
        <p:spPr>
          <a:xfrm>
            <a:off x="8772042" y="856140"/>
            <a:ext cx="2614047" cy="465789"/>
          </a:xfrm>
          <a:prstGeom prst="rect">
            <a:avLst/>
          </a:prstGeom>
        </p:spPr>
        <p:txBody>
          <a:bodyPr anchor="ctr"/>
          <a:lstStyle>
            <a:lvl1pPr marL="0" indent="0" algn="l">
              <a:lnSpc>
                <a:spcPct val="100000"/>
              </a:lnSpc>
              <a:buNone/>
              <a:defRPr sz="1867" b="1">
                <a:solidFill>
                  <a:schemeClr val="accent4"/>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32" name="Text Placeholder 6">
            <a:extLst>
              <a:ext uri="{FF2B5EF4-FFF2-40B4-BE49-F238E27FC236}">
                <a16:creationId xmlns:a16="http://schemas.microsoft.com/office/drawing/2014/main" id="{9E27A8CF-A808-A245-96F0-083F443AD6CA}"/>
              </a:ext>
            </a:extLst>
          </p:cNvPr>
          <p:cNvSpPr>
            <a:spLocks noGrp="1"/>
          </p:cNvSpPr>
          <p:nvPr>
            <p:ph type="body" sz="quarter" idx="62"/>
          </p:nvPr>
        </p:nvSpPr>
        <p:spPr>
          <a:xfrm>
            <a:off x="8772042" y="3294984"/>
            <a:ext cx="2614047" cy="737992"/>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33" name="Text Placeholder 6">
            <a:extLst>
              <a:ext uri="{FF2B5EF4-FFF2-40B4-BE49-F238E27FC236}">
                <a16:creationId xmlns:a16="http://schemas.microsoft.com/office/drawing/2014/main" id="{5403778B-24AE-6C49-B722-79B676B45A74}"/>
              </a:ext>
            </a:extLst>
          </p:cNvPr>
          <p:cNvSpPr>
            <a:spLocks noGrp="1"/>
          </p:cNvSpPr>
          <p:nvPr>
            <p:ph type="body" sz="quarter" idx="63"/>
          </p:nvPr>
        </p:nvSpPr>
        <p:spPr>
          <a:xfrm>
            <a:off x="8772042" y="2731719"/>
            <a:ext cx="2614047" cy="465789"/>
          </a:xfrm>
          <a:prstGeom prst="rect">
            <a:avLst/>
          </a:prstGeom>
        </p:spPr>
        <p:txBody>
          <a:bodyPr anchor="ctr"/>
          <a:lstStyle>
            <a:lvl1pPr marL="0" indent="0" algn="l">
              <a:lnSpc>
                <a:spcPct val="100000"/>
              </a:lnSpc>
              <a:buNone/>
              <a:defRPr sz="1867" b="1">
                <a:solidFill>
                  <a:schemeClr val="accent4"/>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34" name="Text Placeholder 6">
            <a:extLst>
              <a:ext uri="{FF2B5EF4-FFF2-40B4-BE49-F238E27FC236}">
                <a16:creationId xmlns:a16="http://schemas.microsoft.com/office/drawing/2014/main" id="{77FBF540-758A-024B-952D-A13220F99572}"/>
              </a:ext>
            </a:extLst>
          </p:cNvPr>
          <p:cNvSpPr>
            <a:spLocks noGrp="1"/>
          </p:cNvSpPr>
          <p:nvPr>
            <p:ph type="body" sz="quarter" idx="64"/>
          </p:nvPr>
        </p:nvSpPr>
        <p:spPr>
          <a:xfrm>
            <a:off x="8772042" y="5160739"/>
            <a:ext cx="2614047" cy="77822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35" name="Text Placeholder 6">
            <a:extLst>
              <a:ext uri="{FF2B5EF4-FFF2-40B4-BE49-F238E27FC236}">
                <a16:creationId xmlns:a16="http://schemas.microsoft.com/office/drawing/2014/main" id="{A6E81BB1-4459-3B4A-B993-C5D8E610359C}"/>
              </a:ext>
            </a:extLst>
          </p:cNvPr>
          <p:cNvSpPr>
            <a:spLocks noGrp="1"/>
          </p:cNvSpPr>
          <p:nvPr>
            <p:ph type="body" sz="quarter" idx="65"/>
          </p:nvPr>
        </p:nvSpPr>
        <p:spPr>
          <a:xfrm>
            <a:off x="8772042" y="4634276"/>
            <a:ext cx="2614047" cy="465789"/>
          </a:xfrm>
          <a:prstGeom prst="rect">
            <a:avLst/>
          </a:prstGeom>
        </p:spPr>
        <p:txBody>
          <a:bodyPr anchor="ctr"/>
          <a:lstStyle>
            <a:lvl1pPr marL="0" indent="0" algn="l">
              <a:lnSpc>
                <a:spcPct val="100000"/>
              </a:lnSpc>
              <a:buNone/>
              <a:defRPr sz="1867" b="1">
                <a:solidFill>
                  <a:schemeClr val="accent4"/>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36" name="Text Placeholder 6">
            <a:extLst>
              <a:ext uri="{FF2B5EF4-FFF2-40B4-BE49-F238E27FC236}">
                <a16:creationId xmlns:a16="http://schemas.microsoft.com/office/drawing/2014/main" id="{120AFB49-5F33-9B41-8885-7072D4E8740E}"/>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37" name="Text Placeholder 6">
            <a:extLst>
              <a:ext uri="{FF2B5EF4-FFF2-40B4-BE49-F238E27FC236}">
                <a16:creationId xmlns:a16="http://schemas.microsoft.com/office/drawing/2014/main" id="{B5E01B6E-4A0D-794A-A7D5-344E28061A1A}"/>
              </a:ext>
            </a:extLst>
          </p:cNvPr>
          <p:cNvSpPr>
            <a:spLocks noGrp="1"/>
          </p:cNvSpPr>
          <p:nvPr>
            <p:ph type="body" sz="quarter" idx="67" hasCustomPrompt="1"/>
          </p:nvPr>
        </p:nvSpPr>
        <p:spPr>
          <a:xfrm>
            <a:off x="7687161" y="2748765"/>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38" name="Text Placeholder 6">
            <a:extLst>
              <a:ext uri="{FF2B5EF4-FFF2-40B4-BE49-F238E27FC236}">
                <a16:creationId xmlns:a16="http://schemas.microsoft.com/office/drawing/2014/main" id="{D3B82363-2C0A-FB47-B39C-7004AC8D91D7}"/>
              </a:ext>
            </a:extLst>
          </p:cNvPr>
          <p:cNvSpPr>
            <a:spLocks noGrp="1"/>
          </p:cNvSpPr>
          <p:nvPr>
            <p:ph type="body" sz="quarter" idx="68" hasCustomPrompt="1"/>
          </p:nvPr>
        </p:nvSpPr>
        <p:spPr>
          <a:xfrm>
            <a:off x="7687161" y="465475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
        <p:nvSpPr>
          <p:cNvPr id="39" name="Text Placeholder 2">
            <a:extLst>
              <a:ext uri="{FF2B5EF4-FFF2-40B4-BE49-F238E27FC236}">
                <a16:creationId xmlns:a16="http://schemas.microsoft.com/office/drawing/2014/main" id="{AD3A8F18-AD3F-0941-BEF4-A6721D81C38E}"/>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40" name="Text Placeholder 2">
            <a:extLst>
              <a:ext uri="{FF2B5EF4-FFF2-40B4-BE49-F238E27FC236}">
                <a16:creationId xmlns:a16="http://schemas.microsoft.com/office/drawing/2014/main" id="{AA3C3A67-4D2B-E04C-8BDA-F818B1B73725}"/>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20" name="Rectangle 28">
            <a:extLst>
              <a:ext uri="{FF2B5EF4-FFF2-40B4-BE49-F238E27FC236}">
                <a16:creationId xmlns:a16="http://schemas.microsoft.com/office/drawing/2014/main" id="{44BD2C8D-7B3A-4D0A-9D8C-70A56D3CD4CA}"/>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90798558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8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r>
              <a:rPr lang="en-GB" altLang="ja-JP" noProof="0"/>
              <a:t>Click icon to add picture</a:t>
            </a:r>
            <a:endParaRPr lang="en-US" noProof="0"/>
          </a:p>
        </p:txBody>
      </p:sp>
      <p:sp>
        <p:nvSpPr>
          <p:cNvPr id="17" name="Rectangle 16">
            <a:extLst>
              <a:ext uri="{FF2B5EF4-FFF2-40B4-BE49-F238E27FC236}">
                <a16:creationId xmlns:a16="http://schemas.microsoft.com/office/drawing/2014/main" id="{D9A7F20D-739B-444F-BBE5-002C9121F465}"/>
              </a:ext>
            </a:extLst>
          </p:cNvPr>
          <p:cNvSpPr/>
          <p:nvPr/>
        </p:nvSpPr>
        <p:spPr>
          <a:xfrm>
            <a:off x="3736974" y="0"/>
            <a:ext cx="419679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lnSpc>
                <a:spcPct val="100000"/>
              </a:lnSpc>
              <a:defRPr sz="3200" b="1">
                <a:solidFill>
                  <a:schemeClr val="tx1"/>
                </a:solidFill>
              </a:defRPr>
            </a:lvl1pPr>
          </a:lstStyle>
          <a:p>
            <a:r>
              <a:rPr lang="en-GB" altLang="ja-JP"/>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ltLang="ja-JP"/>
              <a:t>Click to edit Master text styles</a:t>
            </a:r>
          </a:p>
        </p:txBody>
      </p:sp>
      <p:sp>
        <p:nvSpPr>
          <p:cNvPr id="30" name="Text Placeholder 6">
            <a:extLst>
              <a:ext uri="{FF2B5EF4-FFF2-40B4-BE49-F238E27FC236}">
                <a16:creationId xmlns:a16="http://schemas.microsoft.com/office/drawing/2014/main" id="{1B57E169-F6BD-0542-9DBF-5108114851D2}"/>
              </a:ext>
            </a:extLst>
          </p:cNvPr>
          <p:cNvSpPr>
            <a:spLocks noGrp="1"/>
          </p:cNvSpPr>
          <p:nvPr>
            <p:ph type="body" sz="quarter" idx="61"/>
          </p:nvPr>
        </p:nvSpPr>
        <p:spPr>
          <a:xfrm>
            <a:off x="8772042" y="1417496"/>
            <a:ext cx="2614047" cy="710936"/>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31" name="Text Placeholder 6">
            <a:extLst>
              <a:ext uri="{FF2B5EF4-FFF2-40B4-BE49-F238E27FC236}">
                <a16:creationId xmlns:a16="http://schemas.microsoft.com/office/drawing/2014/main" id="{9183E46F-247B-5D46-83BB-7595BA94A6F2}"/>
              </a:ext>
            </a:extLst>
          </p:cNvPr>
          <p:cNvSpPr>
            <a:spLocks noGrp="1"/>
          </p:cNvSpPr>
          <p:nvPr>
            <p:ph type="body" sz="quarter" idx="16"/>
          </p:nvPr>
        </p:nvSpPr>
        <p:spPr>
          <a:xfrm>
            <a:off x="8772042" y="856140"/>
            <a:ext cx="2614047" cy="465789"/>
          </a:xfrm>
          <a:prstGeom prst="rect">
            <a:avLst/>
          </a:prstGeom>
        </p:spPr>
        <p:txBody>
          <a:bodyPr anchor="ctr"/>
          <a:lstStyle>
            <a:lvl1pPr marL="0" indent="0" algn="l">
              <a:lnSpc>
                <a:spcPct val="100000"/>
              </a:lnSpc>
              <a:buNone/>
              <a:defRPr sz="1867" b="1">
                <a:solidFill>
                  <a:schemeClr val="accent5"/>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32" name="Text Placeholder 6">
            <a:extLst>
              <a:ext uri="{FF2B5EF4-FFF2-40B4-BE49-F238E27FC236}">
                <a16:creationId xmlns:a16="http://schemas.microsoft.com/office/drawing/2014/main" id="{E60E6B18-337F-F447-B032-7142B336DBF9}"/>
              </a:ext>
            </a:extLst>
          </p:cNvPr>
          <p:cNvSpPr>
            <a:spLocks noGrp="1"/>
          </p:cNvSpPr>
          <p:nvPr>
            <p:ph type="body" sz="quarter" idx="62"/>
          </p:nvPr>
        </p:nvSpPr>
        <p:spPr>
          <a:xfrm>
            <a:off x="8772042" y="3294984"/>
            <a:ext cx="2614047" cy="737992"/>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33" name="Text Placeholder 6">
            <a:extLst>
              <a:ext uri="{FF2B5EF4-FFF2-40B4-BE49-F238E27FC236}">
                <a16:creationId xmlns:a16="http://schemas.microsoft.com/office/drawing/2014/main" id="{F65D1264-823F-8049-BFD6-E71399F5428C}"/>
              </a:ext>
            </a:extLst>
          </p:cNvPr>
          <p:cNvSpPr>
            <a:spLocks noGrp="1"/>
          </p:cNvSpPr>
          <p:nvPr>
            <p:ph type="body" sz="quarter" idx="63"/>
          </p:nvPr>
        </p:nvSpPr>
        <p:spPr>
          <a:xfrm>
            <a:off x="8772042" y="2731719"/>
            <a:ext cx="2614047" cy="465789"/>
          </a:xfrm>
          <a:prstGeom prst="rect">
            <a:avLst/>
          </a:prstGeom>
        </p:spPr>
        <p:txBody>
          <a:bodyPr anchor="ctr"/>
          <a:lstStyle>
            <a:lvl1pPr marL="0" indent="0" algn="l">
              <a:lnSpc>
                <a:spcPct val="100000"/>
              </a:lnSpc>
              <a:buNone/>
              <a:defRPr sz="1867" b="1">
                <a:solidFill>
                  <a:schemeClr val="accent5"/>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34" name="Text Placeholder 6">
            <a:extLst>
              <a:ext uri="{FF2B5EF4-FFF2-40B4-BE49-F238E27FC236}">
                <a16:creationId xmlns:a16="http://schemas.microsoft.com/office/drawing/2014/main" id="{50F63F48-2F3E-4C44-B1C4-A47969DB7BCD}"/>
              </a:ext>
            </a:extLst>
          </p:cNvPr>
          <p:cNvSpPr>
            <a:spLocks noGrp="1"/>
          </p:cNvSpPr>
          <p:nvPr>
            <p:ph type="body" sz="quarter" idx="64"/>
          </p:nvPr>
        </p:nvSpPr>
        <p:spPr>
          <a:xfrm>
            <a:off x="8772042" y="5160739"/>
            <a:ext cx="2614047" cy="77822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35" name="Text Placeholder 6">
            <a:extLst>
              <a:ext uri="{FF2B5EF4-FFF2-40B4-BE49-F238E27FC236}">
                <a16:creationId xmlns:a16="http://schemas.microsoft.com/office/drawing/2014/main" id="{867F35CD-5FE5-554C-B34A-BA6F4C93969E}"/>
              </a:ext>
            </a:extLst>
          </p:cNvPr>
          <p:cNvSpPr>
            <a:spLocks noGrp="1"/>
          </p:cNvSpPr>
          <p:nvPr>
            <p:ph type="body" sz="quarter" idx="65"/>
          </p:nvPr>
        </p:nvSpPr>
        <p:spPr>
          <a:xfrm>
            <a:off x="8772042" y="4634276"/>
            <a:ext cx="2614047" cy="465789"/>
          </a:xfrm>
          <a:prstGeom prst="rect">
            <a:avLst/>
          </a:prstGeom>
        </p:spPr>
        <p:txBody>
          <a:bodyPr anchor="ctr"/>
          <a:lstStyle>
            <a:lvl1pPr marL="0" indent="0" algn="l">
              <a:lnSpc>
                <a:spcPct val="100000"/>
              </a:lnSpc>
              <a:buNone/>
              <a:defRPr sz="1867" b="1">
                <a:solidFill>
                  <a:schemeClr val="accent5"/>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36" name="Text Placeholder 6">
            <a:extLst>
              <a:ext uri="{FF2B5EF4-FFF2-40B4-BE49-F238E27FC236}">
                <a16:creationId xmlns:a16="http://schemas.microsoft.com/office/drawing/2014/main" id="{7FEE0C8E-DE63-4E42-8E28-1B94AD159BA3}"/>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37" name="Text Placeholder 6">
            <a:extLst>
              <a:ext uri="{FF2B5EF4-FFF2-40B4-BE49-F238E27FC236}">
                <a16:creationId xmlns:a16="http://schemas.microsoft.com/office/drawing/2014/main" id="{9859F450-5384-394E-A5C0-EE941515CDB0}"/>
              </a:ext>
            </a:extLst>
          </p:cNvPr>
          <p:cNvSpPr>
            <a:spLocks noGrp="1"/>
          </p:cNvSpPr>
          <p:nvPr>
            <p:ph type="body" sz="quarter" idx="67" hasCustomPrompt="1"/>
          </p:nvPr>
        </p:nvSpPr>
        <p:spPr>
          <a:xfrm>
            <a:off x="7687161" y="2748765"/>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38" name="Text Placeholder 6">
            <a:extLst>
              <a:ext uri="{FF2B5EF4-FFF2-40B4-BE49-F238E27FC236}">
                <a16:creationId xmlns:a16="http://schemas.microsoft.com/office/drawing/2014/main" id="{CE242FE9-6614-5648-9965-F4E0418A44A3}"/>
              </a:ext>
            </a:extLst>
          </p:cNvPr>
          <p:cNvSpPr>
            <a:spLocks noGrp="1"/>
          </p:cNvSpPr>
          <p:nvPr>
            <p:ph type="body" sz="quarter" idx="68" hasCustomPrompt="1"/>
          </p:nvPr>
        </p:nvSpPr>
        <p:spPr>
          <a:xfrm>
            <a:off x="7687161" y="465475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
        <p:nvSpPr>
          <p:cNvPr id="39" name="Text Placeholder 2">
            <a:extLst>
              <a:ext uri="{FF2B5EF4-FFF2-40B4-BE49-F238E27FC236}">
                <a16:creationId xmlns:a16="http://schemas.microsoft.com/office/drawing/2014/main" id="{90BCC1BA-2876-2C48-BAA5-10A6BF58314C}"/>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40" name="Text Placeholder 2">
            <a:extLst>
              <a:ext uri="{FF2B5EF4-FFF2-40B4-BE49-F238E27FC236}">
                <a16:creationId xmlns:a16="http://schemas.microsoft.com/office/drawing/2014/main" id="{3DF4EE1A-1D9D-9F42-9DA3-5085D5112410}"/>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20" name="Rectangle 28">
            <a:extLst>
              <a:ext uri="{FF2B5EF4-FFF2-40B4-BE49-F238E27FC236}">
                <a16:creationId xmlns:a16="http://schemas.microsoft.com/office/drawing/2014/main" id="{98815813-1845-4A94-96D2-E6A13A873D96}"/>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1783133562"/>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66128983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6"/>
            <a:ext cx="11082528" cy="276999"/>
          </a:xfrm>
        </p:spPr>
        <p:txBody>
          <a:bodyPr wrap="square">
            <a:noAutofit/>
          </a:bodyPr>
          <a:lstStyle>
            <a:lvl1pPr marL="0" indent="0" algn="l">
              <a:buNone/>
              <a:defRPr sz="18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N°›</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40397"/>
            <a:ext cx="4480560" cy="220958"/>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2429902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32_NTT_content_page">
    <p:bg bwMode="ltGray">
      <p:bgPr>
        <a:solidFill>
          <a:schemeClr val="tx1"/>
        </a:solidFill>
        <a:effectLst/>
      </p:bgPr>
    </p:bg>
    <p:spTree>
      <p:nvGrpSpPr>
        <p:cNvPr id="1" name=""/>
        <p:cNvGrpSpPr/>
        <p:nvPr/>
      </p:nvGrpSpPr>
      <p:grpSpPr>
        <a:xfrm>
          <a:off x="0" y="0"/>
          <a:ext cx="0" cy="0"/>
          <a:chOff x="0" y="0"/>
          <a:chExt cx="0" cy="0"/>
        </a:xfrm>
      </p:grpSpPr>
      <p:sp>
        <p:nvSpPr>
          <p:cNvPr id="16" name="Picture Placeholder 1">
            <a:extLst>
              <a:ext uri="{FF2B5EF4-FFF2-40B4-BE49-F238E27FC236}">
                <a16:creationId xmlns:a16="http://schemas.microsoft.com/office/drawing/2014/main" id="{835D2B04-2356-A640-8C36-BF74FA32E5EE}"/>
              </a:ext>
            </a:extLst>
          </p:cNvPr>
          <p:cNvSpPr>
            <a:spLocks noGrp="1"/>
          </p:cNvSpPr>
          <p:nvPr>
            <p:ph type="pic" sz="quarter" idx="26"/>
          </p:nvPr>
        </p:nvSpPr>
        <p:spPr>
          <a:xfrm>
            <a:off x="1" y="0"/>
            <a:ext cx="5065713" cy="6858000"/>
          </a:xfrm>
          <a:prstGeom prst="rect">
            <a:avLst/>
          </a:prstGeom>
          <a:solidFill>
            <a:schemeClr val="bg2">
              <a:lumMod val="20000"/>
              <a:lumOff val="80000"/>
            </a:schemeClr>
          </a:solidFill>
        </p:spPr>
        <p:txBody>
          <a:bodyPr/>
          <a:lstStyle>
            <a:lvl1pPr marL="0" indent="0">
              <a:buNone/>
              <a:defRPr sz="1867">
                <a:solidFill>
                  <a:schemeClr val="bg1"/>
                </a:solidFill>
              </a:defRPr>
            </a:lvl1pPr>
          </a:lstStyle>
          <a:p>
            <a:r>
              <a:rPr lang="en-GB" altLang="ja-JP"/>
              <a:t>Click icon to add picture</a:t>
            </a:r>
            <a:endParaRPr lang="en-GB"/>
          </a:p>
        </p:txBody>
      </p:sp>
      <p:sp>
        <p:nvSpPr>
          <p:cNvPr id="18" name="Title 4">
            <a:extLst>
              <a:ext uri="{FF2B5EF4-FFF2-40B4-BE49-F238E27FC236}">
                <a16:creationId xmlns:a16="http://schemas.microsoft.com/office/drawing/2014/main" id="{D136005A-11B0-8D4E-9718-39BB0EC340F4}"/>
              </a:ext>
            </a:extLst>
          </p:cNvPr>
          <p:cNvSpPr>
            <a:spLocks noGrp="1"/>
          </p:cNvSpPr>
          <p:nvPr>
            <p:ph type="title" hasCustomPrompt="1"/>
          </p:nvPr>
        </p:nvSpPr>
        <p:spPr>
          <a:xfrm>
            <a:off x="5521127" y="1167037"/>
            <a:ext cx="6251773" cy="996915"/>
          </a:xfrm>
          <a:prstGeom prst="rect">
            <a:avLst/>
          </a:prstGeom>
        </p:spPr>
        <p:txBody>
          <a:bodyPr anchor="ctr"/>
          <a:lstStyle>
            <a:lvl1pPr algn="l">
              <a:lnSpc>
                <a:spcPct val="100000"/>
              </a:lnSpc>
              <a:spcBef>
                <a:spcPts val="0"/>
              </a:spcBef>
              <a:spcAft>
                <a:spcPts val="0"/>
              </a:spcAft>
              <a:defRPr sz="3200" b="1">
                <a:solidFill>
                  <a:schemeClr val="accent2"/>
                </a:solidFill>
              </a:defRPr>
            </a:lvl1pPr>
          </a:lstStyle>
          <a:p>
            <a:r>
              <a:rPr lang="en-US"/>
              <a:t>Click to edit </a:t>
            </a:r>
            <a:br>
              <a:rPr lang="en-US"/>
            </a:br>
            <a:r>
              <a:rPr lang="en-US"/>
              <a:t>Master title style</a:t>
            </a:r>
            <a:endParaRPr lang="en-GB"/>
          </a:p>
        </p:txBody>
      </p:sp>
      <p:sp>
        <p:nvSpPr>
          <p:cNvPr id="19" name="Text Placeholder 6">
            <a:extLst>
              <a:ext uri="{FF2B5EF4-FFF2-40B4-BE49-F238E27FC236}">
                <a16:creationId xmlns:a16="http://schemas.microsoft.com/office/drawing/2014/main" id="{DA5EC964-4A3C-2F47-B937-C98A2869954E}"/>
              </a:ext>
            </a:extLst>
          </p:cNvPr>
          <p:cNvSpPr>
            <a:spLocks noGrp="1"/>
          </p:cNvSpPr>
          <p:nvPr>
            <p:ph type="body" sz="quarter" idx="61"/>
          </p:nvPr>
        </p:nvSpPr>
        <p:spPr>
          <a:xfrm>
            <a:off x="5521127" y="3146593"/>
            <a:ext cx="6251773" cy="286633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22" name="Text Placeholder 6">
            <a:extLst>
              <a:ext uri="{FF2B5EF4-FFF2-40B4-BE49-F238E27FC236}">
                <a16:creationId xmlns:a16="http://schemas.microsoft.com/office/drawing/2014/main" id="{F271EA18-F1C4-5445-BC6B-2E8E13F8085B}"/>
              </a:ext>
            </a:extLst>
          </p:cNvPr>
          <p:cNvSpPr>
            <a:spLocks noGrp="1"/>
          </p:cNvSpPr>
          <p:nvPr>
            <p:ph type="body" sz="quarter" idx="16" hasCustomPrompt="1"/>
          </p:nvPr>
        </p:nvSpPr>
        <p:spPr>
          <a:xfrm>
            <a:off x="5521127" y="2311109"/>
            <a:ext cx="6251773" cy="621339"/>
          </a:xfrm>
          <a:prstGeom prst="rect">
            <a:avLst/>
          </a:prstGeom>
        </p:spPr>
        <p:txBody>
          <a:bodyPr anchor="ctr"/>
          <a:lstStyle>
            <a:lvl1pPr marL="0" indent="0" algn="l">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grpSp>
        <p:nvGrpSpPr>
          <p:cNvPr id="7" name="Group 6">
            <a:extLst>
              <a:ext uri="{FF2B5EF4-FFF2-40B4-BE49-F238E27FC236}">
                <a16:creationId xmlns:a16="http://schemas.microsoft.com/office/drawing/2014/main" id="{D9597D36-2126-014A-9706-FD018580E235}"/>
              </a:ext>
            </a:extLst>
          </p:cNvPr>
          <p:cNvGrpSpPr/>
          <p:nvPr/>
        </p:nvGrpSpPr>
        <p:grpSpPr>
          <a:xfrm>
            <a:off x="10458438" y="332679"/>
            <a:ext cx="1308293" cy="484944"/>
            <a:chOff x="7843828" y="249509"/>
            <a:chExt cx="981220" cy="363708"/>
          </a:xfrm>
        </p:grpSpPr>
        <p:sp>
          <p:nvSpPr>
            <p:cNvPr id="8" name="Freeform 5">
              <a:extLst>
                <a:ext uri="{FF2B5EF4-FFF2-40B4-BE49-F238E27FC236}">
                  <a16:creationId xmlns:a16="http://schemas.microsoft.com/office/drawing/2014/main" id="{FE60BA8E-910B-2442-A479-10AAC8DD1AB3}"/>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9" name="Freeform 6">
              <a:extLst>
                <a:ext uri="{FF2B5EF4-FFF2-40B4-BE49-F238E27FC236}">
                  <a16:creationId xmlns:a16="http://schemas.microsoft.com/office/drawing/2014/main" id="{E070739C-708B-8D4C-A838-169B798D5DB7}"/>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Text Placeholder 2">
            <a:extLst>
              <a:ext uri="{FF2B5EF4-FFF2-40B4-BE49-F238E27FC236}">
                <a16:creationId xmlns:a16="http://schemas.microsoft.com/office/drawing/2014/main" id="{4EEFF8EC-124A-F844-A2CD-68CAC0654025}"/>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4" name="Text Placeholder 2">
            <a:extLst>
              <a:ext uri="{FF2B5EF4-FFF2-40B4-BE49-F238E27FC236}">
                <a16:creationId xmlns:a16="http://schemas.microsoft.com/office/drawing/2014/main" id="{578CEA65-F64D-D44C-B603-CA02B109EB33}"/>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5" name="Rectangle 28">
            <a:extLst>
              <a:ext uri="{FF2B5EF4-FFF2-40B4-BE49-F238E27FC236}">
                <a16:creationId xmlns:a16="http://schemas.microsoft.com/office/drawing/2014/main" id="{7B3F7CB7-E916-4964-A13E-225029DF06E8}"/>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3527752148"/>
      </p:ext>
    </p:extLst>
  </p:cSld>
  <p:clrMapOvr>
    <a:overrideClrMapping bg1="dk1" tx1="lt1" bg2="dk2" tx2="lt2" accent1="accent1" accent2="accent2" accent3="accent3" accent4="accent4" accent5="accent5" accent6="accent6" hlink="hlink" folHlink="folHlink"/>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9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1" y="0"/>
            <a:ext cx="6312975"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altLang="ja-JP" noProof="0"/>
              <a:t>Click icon to add picture</a:t>
            </a:r>
            <a:endParaRPr lang="en-US" noProof="0"/>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661620" y="2097904"/>
            <a:ext cx="3523281" cy="996915"/>
          </a:xfrm>
          <a:prstGeom prst="rect">
            <a:avLst/>
          </a:prstGeom>
        </p:spPr>
        <p:txBody>
          <a:bodyPr anchor="ctr"/>
          <a:lstStyle>
            <a:lvl1pPr algn="l">
              <a:lnSpc>
                <a:spcPct val="100000"/>
              </a:lnSpc>
              <a:defRPr sz="3200" b="1">
                <a:solidFill>
                  <a:schemeClr val="bg1"/>
                </a:solidFill>
              </a:defRPr>
            </a:lvl1pPr>
          </a:lstStyle>
          <a:p>
            <a:r>
              <a:rPr lang="en-GB" altLang="ja-JP"/>
              <a:t>Click to edit Master title style</a:t>
            </a:r>
            <a:endParaRPr lang="en-GB"/>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650894" y="3274270"/>
            <a:ext cx="3543300" cy="14220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GB"/>
          </a:p>
        </p:txBody>
      </p:sp>
      <p:sp>
        <p:nvSpPr>
          <p:cNvPr id="6" name="Text Placeholder 6">
            <a:extLst>
              <a:ext uri="{FF2B5EF4-FFF2-40B4-BE49-F238E27FC236}">
                <a16:creationId xmlns:a16="http://schemas.microsoft.com/office/drawing/2014/main" id="{3B4DA557-7B08-5B4D-97DB-FC7E41E181F5}"/>
              </a:ext>
            </a:extLst>
          </p:cNvPr>
          <p:cNvSpPr>
            <a:spLocks noGrp="1"/>
          </p:cNvSpPr>
          <p:nvPr>
            <p:ph type="body" sz="quarter" idx="61"/>
          </p:nvPr>
        </p:nvSpPr>
        <p:spPr>
          <a:xfrm>
            <a:off x="7726839" y="1701786"/>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8" name="Text Placeholder 6">
            <a:extLst>
              <a:ext uri="{FF2B5EF4-FFF2-40B4-BE49-F238E27FC236}">
                <a16:creationId xmlns:a16="http://schemas.microsoft.com/office/drawing/2014/main" id="{97FFF4BF-46E3-B541-AA52-FAB53E3E1054}"/>
              </a:ext>
            </a:extLst>
          </p:cNvPr>
          <p:cNvSpPr>
            <a:spLocks noGrp="1"/>
          </p:cNvSpPr>
          <p:nvPr>
            <p:ph type="body" sz="quarter" idx="16"/>
          </p:nvPr>
        </p:nvSpPr>
        <p:spPr>
          <a:xfrm>
            <a:off x="7726839" y="1273288"/>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1" name="Text Placeholder 6">
            <a:extLst>
              <a:ext uri="{FF2B5EF4-FFF2-40B4-BE49-F238E27FC236}">
                <a16:creationId xmlns:a16="http://schemas.microsoft.com/office/drawing/2014/main" id="{4BE66BA0-BAB7-6644-9195-003A679DF78A}"/>
              </a:ext>
            </a:extLst>
          </p:cNvPr>
          <p:cNvSpPr>
            <a:spLocks noGrp="1"/>
          </p:cNvSpPr>
          <p:nvPr>
            <p:ph type="body" sz="quarter" idx="62"/>
          </p:nvPr>
        </p:nvSpPr>
        <p:spPr>
          <a:xfrm>
            <a:off x="7726839" y="2945842"/>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12" name="Text Placeholder 6">
            <a:extLst>
              <a:ext uri="{FF2B5EF4-FFF2-40B4-BE49-F238E27FC236}">
                <a16:creationId xmlns:a16="http://schemas.microsoft.com/office/drawing/2014/main" id="{42D8740A-EF16-4A4B-8561-0AFE570EC69D}"/>
              </a:ext>
            </a:extLst>
          </p:cNvPr>
          <p:cNvSpPr>
            <a:spLocks noGrp="1"/>
          </p:cNvSpPr>
          <p:nvPr>
            <p:ph type="body" sz="quarter" idx="63"/>
          </p:nvPr>
        </p:nvSpPr>
        <p:spPr>
          <a:xfrm>
            <a:off x="7726839" y="2517344"/>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3" name="Text Placeholder 6">
            <a:extLst>
              <a:ext uri="{FF2B5EF4-FFF2-40B4-BE49-F238E27FC236}">
                <a16:creationId xmlns:a16="http://schemas.microsoft.com/office/drawing/2014/main" id="{F91806EC-97C9-D043-B9CB-6602A30F2D91}"/>
              </a:ext>
            </a:extLst>
          </p:cNvPr>
          <p:cNvSpPr>
            <a:spLocks noGrp="1"/>
          </p:cNvSpPr>
          <p:nvPr>
            <p:ph type="body" sz="quarter" idx="64"/>
          </p:nvPr>
        </p:nvSpPr>
        <p:spPr>
          <a:xfrm>
            <a:off x="7726839" y="4198382"/>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14" name="Text Placeholder 6">
            <a:extLst>
              <a:ext uri="{FF2B5EF4-FFF2-40B4-BE49-F238E27FC236}">
                <a16:creationId xmlns:a16="http://schemas.microsoft.com/office/drawing/2014/main" id="{BBDBDD5B-089E-2C47-B88F-38897DB817A2}"/>
              </a:ext>
            </a:extLst>
          </p:cNvPr>
          <p:cNvSpPr>
            <a:spLocks noGrp="1"/>
          </p:cNvSpPr>
          <p:nvPr>
            <p:ph type="body" sz="quarter" idx="65"/>
          </p:nvPr>
        </p:nvSpPr>
        <p:spPr>
          <a:xfrm>
            <a:off x="7726839" y="3769884"/>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5" name="Text Placeholder 6">
            <a:extLst>
              <a:ext uri="{FF2B5EF4-FFF2-40B4-BE49-F238E27FC236}">
                <a16:creationId xmlns:a16="http://schemas.microsoft.com/office/drawing/2014/main" id="{3BD2093A-8E00-AD45-A11B-BFF744448A36}"/>
              </a:ext>
            </a:extLst>
          </p:cNvPr>
          <p:cNvSpPr>
            <a:spLocks noGrp="1"/>
          </p:cNvSpPr>
          <p:nvPr>
            <p:ph type="body" sz="quarter" idx="66"/>
          </p:nvPr>
        </p:nvSpPr>
        <p:spPr>
          <a:xfrm>
            <a:off x="7726839" y="5447017"/>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ltLang="ja-JP"/>
              <a:t>Click to edit Master text styles</a:t>
            </a:r>
          </a:p>
        </p:txBody>
      </p:sp>
      <p:sp>
        <p:nvSpPr>
          <p:cNvPr id="16" name="Text Placeholder 6">
            <a:extLst>
              <a:ext uri="{FF2B5EF4-FFF2-40B4-BE49-F238E27FC236}">
                <a16:creationId xmlns:a16="http://schemas.microsoft.com/office/drawing/2014/main" id="{B477112C-83CB-2B4D-913A-8D32CDC29EB1}"/>
              </a:ext>
            </a:extLst>
          </p:cNvPr>
          <p:cNvSpPr>
            <a:spLocks noGrp="1"/>
          </p:cNvSpPr>
          <p:nvPr>
            <p:ph type="body" sz="quarter" idx="67"/>
          </p:nvPr>
        </p:nvSpPr>
        <p:spPr>
          <a:xfrm>
            <a:off x="7726839" y="5018519"/>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4" name="Picture Placeholder 3">
            <a:extLst>
              <a:ext uri="{FF2B5EF4-FFF2-40B4-BE49-F238E27FC236}">
                <a16:creationId xmlns:a16="http://schemas.microsoft.com/office/drawing/2014/main" id="{F2F982F2-3BB9-344E-A765-82A959FA3FC9}"/>
              </a:ext>
            </a:extLst>
          </p:cNvPr>
          <p:cNvSpPr>
            <a:spLocks noGrp="1"/>
          </p:cNvSpPr>
          <p:nvPr>
            <p:ph type="pic" sz="quarter" idx="68" hasCustomPrompt="1"/>
          </p:nvPr>
        </p:nvSpPr>
        <p:spPr>
          <a:xfrm>
            <a:off x="6827869" y="1273290"/>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19" name="Picture Placeholder 3">
            <a:extLst>
              <a:ext uri="{FF2B5EF4-FFF2-40B4-BE49-F238E27FC236}">
                <a16:creationId xmlns:a16="http://schemas.microsoft.com/office/drawing/2014/main" id="{B2D4BA41-426E-2046-9B18-1D5B9B503327}"/>
              </a:ext>
            </a:extLst>
          </p:cNvPr>
          <p:cNvSpPr>
            <a:spLocks noGrp="1"/>
          </p:cNvSpPr>
          <p:nvPr>
            <p:ph type="pic" sz="quarter" idx="69" hasCustomPrompt="1"/>
          </p:nvPr>
        </p:nvSpPr>
        <p:spPr>
          <a:xfrm>
            <a:off x="6827869" y="2517346"/>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0" name="Picture Placeholder 3">
            <a:extLst>
              <a:ext uri="{FF2B5EF4-FFF2-40B4-BE49-F238E27FC236}">
                <a16:creationId xmlns:a16="http://schemas.microsoft.com/office/drawing/2014/main" id="{E0D3D9B8-9128-5D45-BFB7-90B2ADBF75A1}"/>
              </a:ext>
            </a:extLst>
          </p:cNvPr>
          <p:cNvSpPr>
            <a:spLocks noGrp="1"/>
          </p:cNvSpPr>
          <p:nvPr>
            <p:ph type="pic" sz="quarter" idx="70" hasCustomPrompt="1"/>
          </p:nvPr>
        </p:nvSpPr>
        <p:spPr>
          <a:xfrm>
            <a:off x="6827869" y="3767933"/>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1" name="Picture Placeholder 3">
            <a:extLst>
              <a:ext uri="{FF2B5EF4-FFF2-40B4-BE49-F238E27FC236}">
                <a16:creationId xmlns:a16="http://schemas.microsoft.com/office/drawing/2014/main" id="{33E8DB06-0058-144F-B17F-9E476E611DF7}"/>
              </a:ext>
            </a:extLst>
          </p:cNvPr>
          <p:cNvSpPr>
            <a:spLocks noGrp="1"/>
          </p:cNvSpPr>
          <p:nvPr>
            <p:ph type="pic" sz="quarter" idx="71" hasCustomPrompt="1"/>
          </p:nvPr>
        </p:nvSpPr>
        <p:spPr>
          <a:xfrm>
            <a:off x="6827869" y="5018521"/>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grpSp>
        <p:nvGrpSpPr>
          <p:cNvPr id="27" name="Group 26">
            <a:extLst>
              <a:ext uri="{FF2B5EF4-FFF2-40B4-BE49-F238E27FC236}">
                <a16:creationId xmlns:a16="http://schemas.microsoft.com/office/drawing/2014/main" id="{DFB9D984-9988-7C46-B4D9-B6F8390BE7EF}"/>
              </a:ext>
            </a:extLst>
          </p:cNvPr>
          <p:cNvGrpSpPr/>
          <p:nvPr/>
        </p:nvGrpSpPr>
        <p:grpSpPr>
          <a:xfrm>
            <a:off x="10458438" y="332679"/>
            <a:ext cx="1308293" cy="484944"/>
            <a:chOff x="7843828" y="249509"/>
            <a:chExt cx="981220" cy="363708"/>
          </a:xfrm>
        </p:grpSpPr>
        <p:sp>
          <p:nvSpPr>
            <p:cNvPr id="28" name="Freeform 5">
              <a:extLst>
                <a:ext uri="{FF2B5EF4-FFF2-40B4-BE49-F238E27FC236}">
                  <a16:creationId xmlns:a16="http://schemas.microsoft.com/office/drawing/2014/main" id="{D2A834F1-4A68-5648-A1B9-878CEEA702C2}"/>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29" name="Freeform 6">
              <a:extLst>
                <a:ext uri="{FF2B5EF4-FFF2-40B4-BE49-F238E27FC236}">
                  <a16:creationId xmlns:a16="http://schemas.microsoft.com/office/drawing/2014/main" id="{D81E5B3B-612F-8C4E-AF35-0D5DACAFB30A}"/>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30" name="Text Placeholder 2">
            <a:extLst>
              <a:ext uri="{FF2B5EF4-FFF2-40B4-BE49-F238E27FC236}">
                <a16:creationId xmlns:a16="http://schemas.microsoft.com/office/drawing/2014/main" id="{FE1F83F3-0085-C444-91D5-4ADD0569A483}"/>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31" name="Text Placeholder 2">
            <a:extLst>
              <a:ext uri="{FF2B5EF4-FFF2-40B4-BE49-F238E27FC236}">
                <a16:creationId xmlns:a16="http://schemas.microsoft.com/office/drawing/2014/main" id="{2B541AD3-AF1B-5146-ADA3-563F48548C3F}"/>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23" name="Rectangle 28">
            <a:extLst>
              <a:ext uri="{FF2B5EF4-FFF2-40B4-BE49-F238E27FC236}">
                <a16:creationId xmlns:a16="http://schemas.microsoft.com/office/drawing/2014/main" id="{783DA5FA-401F-4AA5-89BA-601E9DCB4AC0}"/>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1485930251"/>
      </p:ext>
    </p:extLst>
  </p:cSld>
  <p:clrMapOvr>
    <a:overrideClrMapping bg1="dk1" tx1="lt1" bg2="dk2" tx2="lt2" accent1="accent1" accent2="accent2" accent3="accent3" accent4="accent4" accent5="accent5" accent6="accent6" hlink="hlink" folHlink="folHlink"/>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22_NTT_content_page">
    <p:bg bwMode="ltGray">
      <p:bgPr>
        <a:solidFill>
          <a:schemeClr val="accent2"/>
        </a:solidFill>
        <a:effectLst/>
      </p:bgPr>
    </p:bg>
    <p:spTree>
      <p:nvGrpSpPr>
        <p:cNvPr id="1" name=""/>
        <p:cNvGrpSpPr/>
        <p:nvPr/>
      </p:nvGrpSpPr>
      <p:grpSpPr>
        <a:xfrm>
          <a:off x="0" y="0"/>
          <a:ext cx="0" cy="0"/>
          <a:chOff x="0" y="0"/>
          <a:chExt cx="0" cy="0"/>
        </a:xfrm>
      </p:grpSpPr>
      <p:sp>
        <p:nvSpPr>
          <p:cNvPr id="37" name="Title 4">
            <a:extLst>
              <a:ext uri="{FF2B5EF4-FFF2-40B4-BE49-F238E27FC236}">
                <a16:creationId xmlns:a16="http://schemas.microsoft.com/office/drawing/2014/main" id="{5E4FBA8E-F792-5B49-AC3F-6764FF3C8F68}"/>
              </a:ext>
            </a:extLst>
          </p:cNvPr>
          <p:cNvSpPr>
            <a:spLocks noGrp="1"/>
          </p:cNvSpPr>
          <p:nvPr>
            <p:ph type="title"/>
          </p:nvPr>
        </p:nvSpPr>
        <p:spPr>
          <a:xfrm>
            <a:off x="391599" y="450771"/>
            <a:ext cx="11408804" cy="631775"/>
          </a:xfrm>
          <a:prstGeom prst="rect">
            <a:avLst/>
          </a:prstGeom>
        </p:spPr>
        <p:txBody>
          <a:bodyPr anchor="ctr"/>
          <a:lstStyle>
            <a:lvl1pPr algn="ctr">
              <a:defRPr sz="3200" b="1">
                <a:solidFill>
                  <a:schemeClr val="tx1"/>
                </a:solidFill>
              </a:defRPr>
            </a:lvl1pPr>
          </a:lstStyle>
          <a:p>
            <a:r>
              <a:rPr lang="en-GB" altLang="ja-JP"/>
              <a:t>Click to edit Master title style</a:t>
            </a:r>
            <a:endParaRPr lang="en-GB"/>
          </a:p>
        </p:txBody>
      </p:sp>
      <p:sp>
        <p:nvSpPr>
          <p:cNvPr id="17" name="Text Placeholder 6">
            <a:extLst>
              <a:ext uri="{FF2B5EF4-FFF2-40B4-BE49-F238E27FC236}">
                <a16:creationId xmlns:a16="http://schemas.microsoft.com/office/drawing/2014/main" id="{3D48A384-379E-864F-A2E2-01EF6C402438}"/>
              </a:ext>
            </a:extLst>
          </p:cNvPr>
          <p:cNvSpPr>
            <a:spLocks noGrp="1"/>
          </p:cNvSpPr>
          <p:nvPr>
            <p:ph type="body" sz="quarter" idx="16" hasCustomPrompt="1"/>
          </p:nvPr>
        </p:nvSpPr>
        <p:spPr>
          <a:xfrm>
            <a:off x="391599" y="1128117"/>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cxnSp>
        <p:nvCxnSpPr>
          <p:cNvPr id="20" name="Straight Connector 19">
            <a:extLst>
              <a:ext uri="{FF2B5EF4-FFF2-40B4-BE49-F238E27FC236}">
                <a16:creationId xmlns:a16="http://schemas.microsoft.com/office/drawing/2014/main" id="{80C35067-E835-BD4F-A284-A2F4B755A850}"/>
              </a:ext>
            </a:extLst>
          </p:cNvPr>
          <p:cNvCxnSpPr/>
          <p:nvPr/>
        </p:nvCxnSpPr>
        <p:spPr>
          <a:xfrm flipV="1">
            <a:off x="7930356" y="2884426"/>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E77D04-FEA0-9A48-99BB-44FA1E043D82}"/>
              </a:ext>
            </a:extLst>
          </p:cNvPr>
          <p:cNvCxnSpPr/>
          <p:nvPr/>
        </p:nvCxnSpPr>
        <p:spPr>
          <a:xfrm flipV="1">
            <a:off x="4328319" y="2884426"/>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6">
            <a:extLst>
              <a:ext uri="{FF2B5EF4-FFF2-40B4-BE49-F238E27FC236}">
                <a16:creationId xmlns:a16="http://schemas.microsoft.com/office/drawing/2014/main" id="{66F4426F-9472-8E42-9CE2-56032EEDBDF0}"/>
              </a:ext>
            </a:extLst>
          </p:cNvPr>
          <p:cNvSpPr>
            <a:spLocks noGrp="1"/>
          </p:cNvSpPr>
          <p:nvPr>
            <p:ph type="body" sz="quarter" idx="52"/>
          </p:nvPr>
        </p:nvSpPr>
        <p:spPr>
          <a:xfrm>
            <a:off x="1173699" y="3174960"/>
            <a:ext cx="2707204" cy="749088"/>
          </a:xfrm>
          <a:prstGeom prst="rect">
            <a:avLst/>
          </a:prstGeom>
        </p:spPr>
        <p:txBody>
          <a:bodyPr/>
          <a:lstStyle>
            <a:lvl1pPr marL="0" indent="0" algn="ctr">
              <a:lnSpc>
                <a:spcPct val="100000"/>
              </a:lnSpc>
              <a:spcBef>
                <a:spcPts val="0"/>
              </a:spcBef>
              <a:spcAft>
                <a:spcPts val="0"/>
              </a:spcAft>
              <a:buNone/>
              <a:defRPr sz="1867" b="1">
                <a:solidFill>
                  <a:schemeClr val="tx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24" name="Text Placeholder 6">
            <a:extLst>
              <a:ext uri="{FF2B5EF4-FFF2-40B4-BE49-F238E27FC236}">
                <a16:creationId xmlns:a16="http://schemas.microsoft.com/office/drawing/2014/main" id="{312B08A3-6F0E-8345-9F2F-07D520785853}"/>
              </a:ext>
            </a:extLst>
          </p:cNvPr>
          <p:cNvSpPr>
            <a:spLocks noGrp="1"/>
          </p:cNvSpPr>
          <p:nvPr>
            <p:ph type="body" sz="quarter" idx="72"/>
          </p:nvPr>
        </p:nvSpPr>
        <p:spPr>
          <a:xfrm>
            <a:off x="1173699" y="4033440"/>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25" name="Text Placeholder 6">
            <a:extLst>
              <a:ext uri="{FF2B5EF4-FFF2-40B4-BE49-F238E27FC236}">
                <a16:creationId xmlns:a16="http://schemas.microsoft.com/office/drawing/2014/main" id="{E376E8B7-2C49-5A43-A624-90D032310688}"/>
              </a:ext>
            </a:extLst>
          </p:cNvPr>
          <p:cNvSpPr>
            <a:spLocks noGrp="1"/>
          </p:cNvSpPr>
          <p:nvPr>
            <p:ph type="body" sz="quarter" idx="73"/>
          </p:nvPr>
        </p:nvSpPr>
        <p:spPr>
          <a:xfrm>
            <a:off x="4775737" y="3174960"/>
            <a:ext cx="2707204" cy="749088"/>
          </a:xfrm>
          <a:prstGeom prst="rect">
            <a:avLst/>
          </a:prstGeom>
        </p:spPr>
        <p:txBody>
          <a:bodyPr/>
          <a:lstStyle>
            <a:lvl1pPr marL="0" indent="0" algn="ctr">
              <a:lnSpc>
                <a:spcPct val="100000"/>
              </a:lnSpc>
              <a:spcBef>
                <a:spcPts val="0"/>
              </a:spcBef>
              <a:spcAft>
                <a:spcPts val="0"/>
              </a:spcAft>
              <a:buNone/>
              <a:defRPr sz="1867" b="1">
                <a:solidFill>
                  <a:schemeClr val="tx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38" name="Text Placeholder 6">
            <a:extLst>
              <a:ext uri="{FF2B5EF4-FFF2-40B4-BE49-F238E27FC236}">
                <a16:creationId xmlns:a16="http://schemas.microsoft.com/office/drawing/2014/main" id="{0C68A706-386B-B54D-A68A-407C4C6E9C48}"/>
              </a:ext>
            </a:extLst>
          </p:cNvPr>
          <p:cNvSpPr>
            <a:spLocks noGrp="1"/>
          </p:cNvSpPr>
          <p:nvPr>
            <p:ph type="body" sz="quarter" idx="74"/>
          </p:nvPr>
        </p:nvSpPr>
        <p:spPr>
          <a:xfrm>
            <a:off x="4775737" y="4033440"/>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39" name="Text Placeholder 6">
            <a:extLst>
              <a:ext uri="{FF2B5EF4-FFF2-40B4-BE49-F238E27FC236}">
                <a16:creationId xmlns:a16="http://schemas.microsoft.com/office/drawing/2014/main" id="{B89421A3-22D4-824A-BC46-312A99FDA7CA}"/>
              </a:ext>
            </a:extLst>
          </p:cNvPr>
          <p:cNvSpPr>
            <a:spLocks noGrp="1"/>
          </p:cNvSpPr>
          <p:nvPr>
            <p:ph type="body" sz="quarter" idx="75"/>
          </p:nvPr>
        </p:nvSpPr>
        <p:spPr>
          <a:xfrm>
            <a:off x="8377757" y="3174960"/>
            <a:ext cx="2707204" cy="749088"/>
          </a:xfrm>
          <a:prstGeom prst="rect">
            <a:avLst/>
          </a:prstGeom>
        </p:spPr>
        <p:txBody>
          <a:bodyPr/>
          <a:lstStyle>
            <a:lvl1pPr marL="0" indent="0" algn="ctr">
              <a:lnSpc>
                <a:spcPct val="100000"/>
              </a:lnSpc>
              <a:spcBef>
                <a:spcPts val="0"/>
              </a:spcBef>
              <a:spcAft>
                <a:spcPts val="0"/>
              </a:spcAft>
              <a:buNone/>
              <a:defRPr sz="1867" b="1">
                <a:solidFill>
                  <a:schemeClr val="tx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40" name="Text Placeholder 6">
            <a:extLst>
              <a:ext uri="{FF2B5EF4-FFF2-40B4-BE49-F238E27FC236}">
                <a16:creationId xmlns:a16="http://schemas.microsoft.com/office/drawing/2014/main" id="{CE424B62-5109-9841-8C42-5BD27006A9DD}"/>
              </a:ext>
            </a:extLst>
          </p:cNvPr>
          <p:cNvSpPr>
            <a:spLocks noGrp="1"/>
          </p:cNvSpPr>
          <p:nvPr>
            <p:ph type="body" sz="quarter" idx="76"/>
          </p:nvPr>
        </p:nvSpPr>
        <p:spPr>
          <a:xfrm>
            <a:off x="8377757" y="4033440"/>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41" name="Picture Placeholder 3">
            <a:extLst>
              <a:ext uri="{FF2B5EF4-FFF2-40B4-BE49-F238E27FC236}">
                <a16:creationId xmlns:a16="http://schemas.microsoft.com/office/drawing/2014/main" id="{22992596-9553-354E-9FA6-6A7BACE3514C}"/>
              </a:ext>
            </a:extLst>
          </p:cNvPr>
          <p:cNvSpPr>
            <a:spLocks noGrp="1"/>
          </p:cNvSpPr>
          <p:nvPr>
            <p:ph type="pic" sz="quarter" idx="68" hasCustomPrompt="1"/>
          </p:nvPr>
        </p:nvSpPr>
        <p:spPr>
          <a:xfrm>
            <a:off x="2261816" y="2411557"/>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2" name="Picture Placeholder 3">
            <a:extLst>
              <a:ext uri="{FF2B5EF4-FFF2-40B4-BE49-F238E27FC236}">
                <a16:creationId xmlns:a16="http://schemas.microsoft.com/office/drawing/2014/main" id="{74591AD2-2569-CF45-8D7D-E69A713170D1}"/>
              </a:ext>
            </a:extLst>
          </p:cNvPr>
          <p:cNvSpPr>
            <a:spLocks noGrp="1"/>
          </p:cNvSpPr>
          <p:nvPr>
            <p:ph type="pic" sz="quarter" idx="77" hasCustomPrompt="1"/>
          </p:nvPr>
        </p:nvSpPr>
        <p:spPr>
          <a:xfrm>
            <a:off x="5863862" y="2411557"/>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3" name="Picture Placeholder 3">
            <a:extLst>
              <a:ext uri="{FF2B5EF4-FFF2-40B4-BE49-F238E27FC236}">
                <a16:creationId xmlns:a16="http://schemas.microsoft.com/office/drawing/2014/main" id="{A01C25AB-DBA1-3343-A29F-C393C26205AB}"/>
              </a:ext>
            </a:extLst>
          </p:cNvPr>
          <p:cNvSpPr>
            <a:spLocks noGrp="1"/>
          </p:cNvSpPr>
          <p:nvPr>
            <p:ph type="pic" sz="quarter" idx="78" hasCustomPrompt="1"/>
          </p:nvPr>
        </p:nvSpPr>
        <p:spPr>
          <a:xfrm>
            <a:off x="9466925" y="2411557"/>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19" name="Text Placeholder 2">
            <a:extLst>
              <a:ext uri="{FF2B5EF4-FFF2-40B4-BE49-F238E27FC236}">
                <a16:creationId xmlns:a16="http://schemas.microsoft.com/office/drawing/2014/main" id="{8C4C1E8A-B90A-A54F-972E-C0D9992660DC}"/>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22" name="Text Placeholder 2">
            <a:extLst>
              <a:ext uri="{FF2B5EF4-FFF2-40B4-BE49-F238E27FC236}">
                <a16:creationId xmlns:a16="http://schemas.microsoft.com/office/drawing/2014/main" id="{B8B3AE60-C4A4-EA43-BC9F-FA1DF70A4498}"/>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26" name="Rectangle 28">
            <a:extLst>
              <a:ext uri="{FF2B5EF4-FFF2-40B4-BE49-F238E27FC236}">
                <a16:creationId xmlns:a16="http://schemas.microsoft.com/office/drawing/2014/main" id="{E3D5A699-2C19-4589-995A-A9DC38B8E4C5}"/>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167446985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p:cSld name="34_NTT_content_page">
    <p:bg bwMode="ltGray">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21A6FFB-F313-6141-A172-BADFD8BD87EE}"/>
              </a:ext>
            </a:extLst>
          </p:cNvPr>
          <p:cNvSpPr/>
          <p:nvPr/>
        </p:nvSpPr>
        <p:spPr>
          <a:xfrm>
            <a:off x="8115509" y="3417991"/>
            <a:ext cx="4076492" cy="3456575"/>
          </a:xfrm>
          <a:prstGeom prst="rect">
            <a:avLst/>
          </a:prstGeom>
          <a:solidFill>
            <a:srgbClr val="FCD4C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0" name="Rectangle 9">
            <a:extLst>
              <a:ext uri="{FF2B5EF4-FFF2-40B4-BE49-F238E27FC236}">
                <a16:creationId xmlns:a16="http://schemas.microsoft.com/office/drawing/2014/main" id="{B80B8852-BEA0-3D4F-B90D-07A70ED2896E}"/>
              </a:ext>
            </a:extLst>
          </p:cNvPr>
          <p:cNvSpPr/>
          <p:nvPr/>
        </p:nvSpPr>
        <p:spPr>
          <a:xfrm>
            <a:off x="-3761" y="3423445"/>
            <a:ext cx="4044744" cy="3451121"/>
          </a:xfrm>
          <a:prstGeom prst="rect">
            <a:avLst/>
          </a:prstGeom>
          <a:solidFill>
            <a:srgbClr val="C7E8E6"/>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2" name="Rectangle 1">
            <a:extLst>
              <a:ext uri="{FF2B5EF4-FFF2-40B4-BE49-F238E27FC236}">
                <a16:creationId xmlns:a16="http://schemas.microsoft.com/office/drawing/2014/main" id="{79775F3A-6E16-BA44-A37B-47351FCDF66D}"/>
              </a:ext>
            </a:extLst>
          </p:cNvPr>
          <p:cNvSpPr/>
          <p:nvPr/>
        </p:nvSpPr>
        <p:spPr>
          <a:xfrm>
            <a:off x="4042570" y="-1"/>
            <a:ext cx="4073525" cy="3451121"/>
          </a:xfrm>
          <a:prstGeom prst="rect">
            <a:avLst/>
          </a:prstGeom>
          <a:solidFill>
            <a:srgbClr val="BAD2ED"/>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3" name="Picture Placeholder 2">
            <a:extLst>
              <a:ext uri="{FF2B5EF4-FFF2-40B4-BE49-F238E27FC236}">
                <a16:creationId xmlns:a16="http://schemas.microsoft.com/office/drawing/2014/main" id="{7B5540B0-93CE-384E-B0EA-1F68C487A39C}"/>
              </a:ext>
            </a:extLst>
          </p:cNvPr>
          <p:cNvSpPr>
            <a:spLocks noGrp="1"/>
          </p:cNvSpPr>
          <p:nvPr>
            <p:ph type="pic" sz="quarter" idx="15"/>
          </p:nvPr>
        </p:nvSpPr>
        <p:spPr bwMode="auto">
          <a:xfrm>
            <a:off x="4042570" y="3434557"/>
            <a:ext cx="4073525" cy="3423444"/>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r>
              <a:rPr lang="en-GB" altLang="ja-JP"/>
              <a:t>Click icon to add picture</a:t>
            </a:r>
            <a:endParaRPr lang="en-GB"/>
          </a:p>
        </p:txBody>
      </p:sp>
      <p:sp>
        <p:nvSpPr>
          <p:cNvPr id="14" name="Picture Placeholder 1">
            <a:extLst>
              <a:ext uri="{FF2B5EF4-FFF2-40B4-BE49-F238E27FC236}">
                <a16:creationId xmlns:a16="http://schemas.microsoft.com/office/drawing/2014/main" id="{AF09079C-C66C-5A47-BB10-2FB7AE1D67CA}"/>
              </a:ext>
            </a:extLst>
          </p:cNvPr>
          <p:cNvSpPr>
            <a:spLocks noGrp="1"/>
          </p:cNvSpPr>
          <p:nvPr>
            <p:ph type="pic" sz="quarter" idx="18"/>
          </p:nvPr>
        </p:nvSpPr>
        <p:spPr bwMode="auto">
          <a:xfrm>
            <a:off x="-3175" y="1"/>
            <a:ext cx="4045744"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r>
              <a:rPr lang="en-GB" altLang="ja-JP"/>
              <a:t>Click icon to add picture</a:t>
            </a:r>
            <a:endParaRPr lang="en-GB"/>
          </a:p>
        </p:txBody>
      </p:sp>
      <p:sp>
        <p:nvSpPr>
          <p:cNvPr id="17" name="Picture Placeholder 3">
            <a:extLst>
              <a:ext uri="{FF2B5EF4-FFF2-40B4-BE49-F238E27FC236}">
                <a16:creationId xmlns:a16="http://schemas.microsoft.com/office/drawing/2014/main" id="{D2AC0BAC-2AF9-F540-B096-781969CEA2D6}"/>
              </a:ext>
            </a:extLst>
          </p:cNvPr>
          <p:cNvSpPr>
            <a:spLocks noGrp="1"/>
          </p:cNvSpPr>
          <p:nvPr>
            <p:ph type="pic" sz="quarter" idx="21"/>
          </p:nvPr>
        </p:nvSpPr>
        <p:spPr bwMode="auto">
          <a:xfrm>
            <a:off x="8116095" y="1"/>
            <a:ext cx="4074319"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r>
              <a:rPr lang="en-GB" altLang="ja-JP"/>
              <a:t>Click icon to add picture</a:t>
            </a:r>
            <a:endParaRPr lang="en-GB"/>
          </a:p>
        </p:txBody>
      </p:sp>
      <p:sp>
        <p:nvSpPr>
          <p:cNvPr id="8" name="Text Placeholder 6">
            <a:extLst>
              <a:ext uri="{FF2B5EF4-FFF2-40B4-BE49-F238E27FC236}">
                <a16:creationId xmlns:a16="http://schemas.microsoft.com/office/drawing/2014/main" id="{4123768B-9ACE-1742-8661-A2254A8C2CA0}"/>
              </a:ext>
            </a:extLst>
          </p:cNvPr>
          <p:cNvSpPr>
            <a:spLocks noGrp="1"/>
          </p:cNvSpPr>
          <p:nvPr>
            <p:ph type="body" sz="quarter" idx="16"/>
          </p:nvPr>
        </p:nvSpPr>
        <p:spPr>
          <a:xfrm>
            <a:off x="4772309" y="1481606"/>
            <a:ext cx="2614047" cy="465789"/>
          </a:xfrm>
          <a:prstGeom prst="rect">
            <a:avLst/>
          </a:prstGeom>
        </p:spPr>
        <p:txBody>
          <a:bodyPr anchor="ctr"/>
          <a:lstStyle>
            <a:lvl1pPr marL="0" indent="0" algn="ctr">
              <a:lnSpc>
                <a:spcPct val="100000"/>
              </a:lnSpc>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1" name="Text Placeholder 6">
            <a:extLst>
              <a:ext uri="{FF2B5EF4-FFF2-40B4-BE49-F238E27FC236}">
                <a16:creationId xmlns:a16="http://schemas.microsoft.com/office/drawing/2014/main" id="{43DCF11B-18FB-C347-AEE7-4589C1D5322A}"/>
              </a:ext>
            </a:extLst>
          </p:cNvPr>
          <p:cNvSpPr>
            <a:spLocks noGrp="1"/>
          </p:cNvSpPr>
          <p:nvPr>
            <p:ph type="body" sz="quarter" idx="22"/>
          </p:nvPr>
        </p:nvSpPr>
        <p:spPr>
          <a:xfrm>
            <a:off x="712382" y="4927171"/>
            <a:ext cx="2614047" cy="465789"/>
          </a:xfrm>
          <a:prstGeom prst="rect">
            <a:avLst/>
          </a:prstGeom>
        </p:spPr>
        <p:txBody>
          <a:bodyPr anchor="ctr"/>
          <a:lstStyle>
            <a:lvl1pPr marL="0" indent="0" algn="ctr">
              <a:lnSpc>
                <a:spcPct val="100000"/>
              </a:lnSpc>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15" name="Text Placeholder 6">
            <a:extLst>
              <a:ext uri="{FF2B5EF4-FFF2-40B4-BE49-F238E27FC236}">
                <a16:creationId xmlns:a16="http://schemas.microsoft.com/office/drawing/2014/main" id="{5A1EDE70-062C-4242-98E0-A4DD62699851}"/>
              </a:ext>
            </a:extLst>
          </p:cNvPr>
          <p:cNvSpPr>
            <a:spLocks noGrp="1"/>
          </p:cNvSpPr>
          <p:nvPr>
            <p:ph type="body" sz="quarter" idx="23"/>
          </p:nvPr>
        </p:nvSpPr>
        <p:spPr>
          <a:xfrm>
            <a:off x="8846231" y="4927171"/>
            <a:ext cx="2614047" cy="465789"/>
          </a:xfrm>
          <a:prstGeom prst="rect">
            <a:avLst/>
          </a:prstGeom>
        </p:spPr>
        <p:txBody>
          <a:bodyPr anchor="ctr"/>
          <a:lstStyle>
            <a:lvl1pPr marL="0" indent="0" algn="ctr">
              <a:lnSpc>
                <a:spcPct val="100000"/>
              </a:lnSpc>
              <a:buNone/>
              <a:defRPr sz="1867" b="1">
                <a:solidFill>
                  <a:schemeClr val="accent2"/>
                </a:solidFill>
              </a:defRPr>
            </a:lvl1pPr>
            <a:lvl2pPr>
              <a:defRPr sz="1333"/>
            </a:lvl2pPr>
            <a:lvl3pPr>
              <a:defRPr sz="1333"/>
            </a:lvl3pPr>
            <a:lvl4pPr>
              <a:defRPr sz="1333"/>
            </a:lvl4pPr>
            <a:lvl5pPr>
              <a:defRPr sz="1333"/>
            </a:lvl5pPr>
          </a:lstStyle>
          <a:p>
            <a:pPr lvl="0"/>
            <a:r>
              <a:rPr lang="en-GB" altLang="ja-JP"/>
              <a:t>Click to edit Master text styles</a:t>
            </a:r>
          </a:p>
        </p:txBody>
      </p:sp>
      <p:sp>
        <p:nvSpPr>
          <p:cNvPr id="20" name="Text Placeholder 2">
            <a:extLst>
              <a:ext uri="{FF2B5EF4-FFF2-40B4-BE49-F238E27FC236}">
                <a16:creationId xmlns:a16="http://schemas.microsoft.com/office/drawing/2014/main" id="{1041295E-BDC6-F243-8959-DD9513683D8D}"/>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21" name="Text Placeholder 2">
            <a:extLst>
              <a:ext uri="{FF2B5EF4-FFF2-40B4-BE49-F238E27FC236}">
                <a16:creationId xmlns:a16="http://schemas.microsoft.com/office/drawing/2014/main" id="{9B1841E8-382A-1747-8E02-5B8E83596AAC}"/>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6" name="Rectangle 28">
            <a:extLst>
              <a:ext uri="{FF2B5EF4-FFF2-40B4-BE49-F238E27FC236}">
                <a16:creationId xmlns:a16="http://schemas.microsoft.com/office/drawing/2014/main" id="{7A46B94C-C6F9-48C5-B976-E2A0C12A8479}"/>
              </a:ext>
            </a:extLst>
          </p:cNvPr>
          <p:cNvSpPr/>
          <p:nvPr/>
        </p:nvSpPr>
        <p:spPr>
          <a:xfrm>
            <a:off x="215899" y="6463378"/>
            <a:ext cx="2403222" cy="276999"/>
          </a:xfrm>
          <a:prstGeom prst="rect">
            <a:avLst/>
          </a:prstGeom>
        </p:spPr>
        <p:txBody>
          <a:bodyPr wrap="none">
            <a:spAutoFit/>
          </a:bodyPr>
          <a:lstStyle/>
          <a:p>
            <a:pPr algn="l"/>
            <a:r>
              <a:rPr lang="en-US" sz="1200">
                <a:solidFill>
                  <a:schemeClr val="bg1"/>
                </a:solidFill>
              </a:rPr>
              <a:t>© 2020 NTT All Rights Reserved</a:t>
            </a:r>
          </a:p>
        </p:txBody>
      </p:sp>
    </p:spTree>
    <p:extLst>
      <p:ext uri="{BB962C8B-B14F-4D97-AF65-F5344CB8AC3E}">
        <p14:creationId xmlns:p14="http://schemas.microsoft.com/office/powerpoint/2010/main" val="4258878834"/>
      </p:ext>
    </p:extLst>
  </p:cSld>
  <p:clrMapOvr>
    <a:overrideClrMapping bg1="dk1" tx1="lt1" bg2="dk2" tx2="lt2" accent1="accent1" accent2="accent2" accent3="accent3" accent4="accent4" accent5="accent5" accent6="accent6" hlink="hlink" folHlink="folHlink"/>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NTT_custom_layout_images_white">
    <p:spTree>
      <p:nvGrpSpPr>
        <p:cNvPr id="1" name=""/>
        <p:cNvGrpSpPr/>
        <p:nvPr/>
      </p:nvGrpSpPr>
      <p:grpSpPr>
        <a:xfrm>
          <a:off x="0" y="0"/>
          <a:ext cx="0" cy="0"/>
          <a:chOff x="0" y="0"/>
          <a:chExt cx="0" cy="0"/>
        </a:xfrm>
      </p:grpSpPr>
      <p:sp>
        <p:nvSpPr>
          <p:cNvPr id="3" name="Rounded Rectangle 2"/>
          <p:cNvSpPr/>
          <p:nvPr/>
        </p:nvSpPr>
        <p:spPr>
          <a:xfrm>
            <a:off x="4891617" y="398424"/>
            <a:ext cx="4357515"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5" name="Rounded Rectangle 4"/>
          <p:cNvSpPr/>
          <p:nvPr/>
        </p:nvSpPr>
        <p:spPr>
          <a:xfrm>
            <a:off x="427766" y="398424"/>
            <a:ext cx="4363668"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9" name="Rounded Rectangle 8"/>
          <p:cNvSpPr/>
          <p:nvPr/>
        </p:nvSpPr>
        <p:spPr>
          <a:xfrm>
            <a:off x="446618" y="4055044"/>
            <a:ext cx="3335953" cy="2204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5" name="Rounded Rectangle 14"/>
          <p:cNvSpPr/>
          <p:nvPr/>
        </p:nvSpPr>
        <p:spPr>
          <a:xfrm>
            <a:off x="9349318" y="5003012"/>
            <a:ext cx="2408765" cy="1256569"/>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0" name="Picture Placeholder 25"/>
          <p:cNvSpPr>
            <a:spLocks noGrp="1"/>
          </p:cNvSpPr>
          <p:nvPr>
            <p:ph type="pic" sz="quarter" idx="13" hasCustomPrompt="1"/>
          </p:nvPr>
        </p:nvSpPr>
        <p:spPr>
          <a:xfrm>
            <a:off x="427766" y="4055044"/>
            <a:ext cx="3354805" cy="2204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1" name="Rounded Rectangle 10"/>
          <p:cNvSpPr/>
          <p:nvPr/>
        </p:nvSpPr>
        <p:spPr>
          <a:xfrm>
            <a:off x="3881968" y="4055044"/>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3" name="Rounded Rectangle 12"/>
          <p:cNvSpPr/>
          <p:nvPr/>
        </p:nvSpPr>
        <p:spPr>
          <a:xfrm>
            <a:off x="9349318" y="2228436"/>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6" y="398424"/>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4" name="Picture Placeholder 25"/>
          <p:cNvSpPr>
            <a:spLocks noGrp="1"/>
          </p:cNvSpPr>
          <p:nvPr>
            <p:ph type="pic" sz="quarter" idx="11" hasCustomPrompt="1"/>
          </p:nvPr>
        </p:nvSpPr>
        <p:spPr>
          <a:xfrm>
            <a:off x="4891986" y="398424"/>
            <a:ext cx="435714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7" name="Rounded Rectangle 6"/>
          <p:cNvSpPr/>
          <p:nvPr/>
        </p:nvSpPr>
        <p:spPr>
          <a:xfrm>
            <a:off x="9349318" y="398425"/>
            <a:ext cx="2408765" cy="1744135"/>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6" name="Picture Placeholder 25"/>
          <p:cNvSpPr>
            <a:spLocks noGrp="1"/>
          </p:cNvSpPr>
          <p:nvPr>
            <p:ph type="pic" sz="quarter" idx="16" hasCustomPrompt="1"/>
          </p:nvPr>
        </p:nvSpPr>
        <p:spPr>
          <a:xfrm>
            <a:off x="9349318" y="5003012"/>
            <a:ext cx="2408764" cy="1256569"/>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2" name="Picture Placeholder 25"/>
          <p:cNvSpPr>
            <a:spLocks noGrp="1"/>
          </p:cNvSpPr>
          <p:nvPr>
            <p:ph type="pic" sz="quarter" idx="14" hasCustomPrompt="1"/>
          </p:nvPr>
        </p:nvSpPr>
        <p:spPr>
          <a:xfrm>
            <a:off x="3877779" y="4055044"/>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8" y="2218759"/>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8" name="Picture Placeholder 25"/>
          <p:cNvSpPr>
            <a:spLocks noGrp="1"/>
          </p:cNvSpPr>
          <p:nvPr>
            <p:ph type="pic" sz="quarter" idx="12" hasCustomPrompt="1"/>
          </p:nvPr>
        </p:nvSpPr>
        <p:spPr>
          <a:xfrm>
            <a:off x="9349318" y="398425"/>
            <a:ext cx="2408764" cy="1744135"/>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20" name="Text Placeholder 2">
            <a:extLst>
              <a:ext uri="{FF2B5EF4-FFF2-40B4-BE49-F238E27FC236}">
                <a16:creationId xmlns:a16="http://schemas.microsoft.com/office/drawing/2014/main" id="{C13624CE-98BB-5244-B8A3-D536ED04B3DF}"/>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21" name="Text Placeholder 2">
            <a:extLst>
              <a:ext uri="{FF2B5EF4-FFF2-40B4-BE49-F238E27FC236}">
                <a16:creationId xmlns:a16="http://schemas.microsoft.com/office/drawing/2014/main" id="{E5CDDA45-0B56-5B46-860B-3637A5CA7232}"/>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22" name="Rectangle 28">
            <a:extLst>
              <a:ext uri="{FF2B5EF4-FFF2-40B4-BE49-F238E27FC236}">
                <a16:creationId xmlns:a16="http://schemas.microsoft.com/office/drawing/2014/main" id="{0FB7B434-57A6-4C3B-975E-D7497BAF5D2B}"/>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376291716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DD_custom_layout_text_colour_image_mix.02">
    <p:bg>
      <p:bgPr>
        <a:solidFill>
          <a:schemeClr val="bg1"/>
        </a:solidFill>
        <a:effectLst/>
      </p:bgPr>
    </p:bg>
    <p:spTree>
      <p:nvGrpSpPr>
        <p:cNvPr id="1" name=""/>
        <p:cNvGrpSpPr/>
        <p:nvPr/>
      </p:nvGrpSpPr>
      <p:grpSpPr>
        <a:xfrm>
          <a:off x="0" y="0"/>
          <a:ext cx="0" cy="0"/>
          <a:chOff x="0" y="0"/>
          <a:chExt cx="0" cy="0"/>
        </a:xfrm>
      </p:grpSpPr>
      <p:sp>
        <p:nvSpPr>
          <p:cNvPr id="30" name="Rectangle 29"/>
          <p:cNvSpPr/>
          <p:nvPr/>
        </p:nvSpPr>
        <p:spPr>
          <a:xfrm>
            <a:off x="4902048" y="508261"/>
            <a:ext cx="4347085" cy="3547536"/>
          </a:xfrm>
          <a:prstGeom prst="rect">
            <a:avLst/>
          </a:prstGeom>
          <a:solidFill>
            <a:schemeClr val="accent6">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solidFill>
                <a:schemeClr val="accent1"/>
              </a:solidFill>
            </a:endParaRPr>
          </a:p>
        </p:txBody>
      </p:sp>
      <p:sp>
        <p:nvSpPr>
          <p:cNvPr id="27" name="Rounded Rectangle 26"/>
          <p:cNvSpPr/>
          <p:nvPr/>
        </p:nvSpPr>
        <p:spPr>
          <a:xfrm>
            <a:off x="3881968" y="4164881"/>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28" name="Picture Placeholder 25"/>
          <p:cNvSpPr>
            <a:spLocks noGrp="1"/>
          </p:cNvSpPr>
          <p:nvPr>
            <p:ph type="pic" sz="quarter" idx="22" hasCustomPrompt="1"/>
          </p:nvPr>
        </p:nvSpPr>
        <p:spPr>
          <a:xfrm>
            <a:off x="3877779" y="4164881"/>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3" name="Rounded Rectangle 12"/>
          <p:cNvSpPr/>
          <p:nvPr/>
        </p:nvSpPr>
        <p:spPr>
          <a:xfrm>
            <a:off x="9349318" y="2338274"/>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6" y="508261"/>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8" y="2328596"/>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9" name="Text Placeholder 4"/>
          <p:cNvSpPr>
            <a:spLocks noGrp="1"/>
          </p:cNvSpPr>
          <p:nvPr>
            <p:ph type="body" sz="quarter" idx="17"/>
          </p:nvPr>
        </p:nvSpPr>
        <p:spPr>
          <a:xfrm>
            <a:off x="4902048" y="508263"/>
            <a:ext cx="4347085" cy="3547535"/>
          </a:xfrm>
          <a:prstGeom prst="roundRect">
            <a:avLst>
              <a:gd name="adj" fmla="val 0"/>
            </a:avLst>
          </a:prstGeom>
          <a:solidFill>
            <a:srgbClr val="FCD4C9"/>
          </a:solidFill>
          <a:ln>
            <a:noFill/>
          </a:ln>
          <a:effectLst/>
        </p:spPr>
        <p:txBody>
          <a:bodyPr anchor="ctr"/>
          <a:lstStyle>
            <a:lvl1pPr marL="239178" indent="0" algn="l">
              <a:lnSpc>
                <a:spcPct val="100000"/>
              </a:lnSpc>
              <a:tabLst>
                <a:tab pos="116414" algn="l"/>
              </a:tabLst>
              <a:defRPr sz="3200" b="1">
                <a:solidFill>
                  <a:schemeClr val="tx1"/>
                </a:solidFill>
                <a:effectLst/>
                <a:latin typeface="Arial"/>
                <a:cs typeface="Arial"/>
              </a:defRPr>
            </a:lvl1pPr>
            <a:lvl2pPr marL="478355" indent="-239178" algn="l">
              <a:lnSpc>
                <a:spcPct val="100000"/>
              </a:lnSpc>
              <a:defRPr>
                <a:solidFill>
                  <a:schemeClr val="tx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a:p>
            <a:pPr lvl="1"/>
            <a:r>
              <a:rPr lang="en-GB" altLang="ja-JP"/>
              <a:t>Second level</a:t>
            </a:r>
          </a:p>
        </p:txBody>
      </p:sp>
      <p:sp>
        <p:nvSpPr>
          <p:cNvPr id="21" name="Text Placeholder 4"/>
          <p:cNvSpPr>
            <a:spLocks noGrp="1"/>
          </p:cNvSpPr>
          <p:nvPr>
            <p:ph type="body" sz="quarter" idx="14"/>
          </p:nvPr>
        </p:nvSpPr>
        <p:spPr>
          <a:xfrm>
            <a:off x="9336400" y="508263"/>
            <a:ext cx="2421683" cy="1700963"/>
          </a:xfrm>
          <a:prstGeom prst="roundRect">
            <a:avLst>
              <a:gd name="adj" fmla="val 0"/>
            </a:avLst>
          </a:prstGeom>
          <a:solidFill>
            <a:schemeClr val="accent2"/>
          </a:solidFill>
          <a:ln>
            <a:noFill/>
          </a:ln>
          <a:effectLst/>
        </p:spPr>
        <p:txBody>
          <a:bodyPr anchor="ctr"/>
          <a:lstStyle>
            <a:lvl1pPr algn="ctr">
              <a:lnSpc>
                <a:spcPct val="100000"/>
              </a:lnSpc>
              <a:defRPr sz="2133">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2" name="Text Placeholder 4"/>
          <p:cNvSpPr>
            <a:spLocks noGrp="1"/>
          </p:cNvSpPr>
          <p:nvPr>
            <p:ph type="body" sz="quarter" idx="19"/>
          </p:nvPr>
        </p:nvSpPr>
        <p:spPr>
          <a:xfrm>
            <a:off x="9336400" y="5118693"/>
            <a:ext cx="2408765" cy="1269180"/>
          </a:xfrm>
          <a:prstGeom prst="roundRect">
            <a:avLst>
              <a:gd name="adj" fmla="val 0"/>
            </a:avLst>
          </a:prstGeom>
          <a:solidFill>
            <a:srgbClr val="BAD2ED"/>
          </a:solidFill>
          <a:ln>
            <a:noFill/>
          </a:ln>
          <a:effectLst/>
        </p:spPr>
        <p:txBody>
          <a:bodyPr anchor="ctr"/>
          <a:lstStyle>
            <a:lvl1pPr algn="ctr">
              <a:lnSpc>
                <a:spcPct val="100000"/>
              </a:lnSpc>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4" name="Text Placeholder 4"/>
          <p:cNvSpPr>
            <a:spLocks noGrp="1"/>
          </p:cNvSpPr>
          <p:nvPr>
            <p:ph type="body" sz="quarter" idx="13"/>
          </p:nvPr>
        </p:nvSpPr>
        <p:spPr>
          <a:xfrm>
            <a:off x="427765" y="4162494"/>
            <a:ext cx="3363979" cy="2225377"/>
          </a:xfrm>
          <a:prstGeom prst="roundRect">
            <a:avLst>
              <a:gd name="adj" fmla="val 0"/>
            </a:avLst>
          </a:prstGeom>
          <a:solidFill>
            <a:schemeClr val="accent2"/>
          </a:solidFill>
          <a:ln>
            <a:noFill/>
          </a:ln>
          <a:effectLst/>
        </p:spPr>
        <p:txBody>
          <a:bodyPr anchor="ctr"/>
          <a:lstStyle>
            <a:lvl1pPr algn="l">
              <a:lnSpc>
                <a:spcPct val="100000"/>
              </a:lnSpc>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5" name="Text Placeholder 4"/>
          <p:cNvSpPr>
            <a:spLocks noGrp="1"/>
          </p:cNvSpPr>
          <p:nvPr>
            <p:ph type="body" sz="quarter" idx="20"/>
          </p:nvPr>
        </p:nvSpPr>
        <p:spPr>
          <a:xfrm>
            <a:off x="3877779" y="5069464"/>
            <a:ext cx="5371355" cy="1310593"/>
          </a:xfrm>
          <a:prstGeom prst="roundRect">
            <a:avLst>
              <a:gd name="adj" fmla="val 0"/>
            </a:avLst>
          </a:prstGeom>
          <a:noFill/>
          <a:ln>
            <a:noFill/>
          </a:ln>
          <a:effectLst/>
        </p:spPr>
        <p:txBody>
          <a:bodyPr anchor="ctr"/>
          <a:lstStyle>
            <a:lvl1pPr algn="ctr">
              <a:lnSpc>
                <a:spcPct val="100000"/>
              </a:lnSpc>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6" name="Text Placeholder 4"/>
          <p:cNvSpPr>
            <a:spLocks noGrp="1"/>
          </p:cNvSpPr>
          <p:nvPr>
            <p:ph type="body" sz="quarter" idx="21"/>
          </p:nvPr>
        </p:nvSpPr>
        <p:spPr>
          <a:xfrm>
            <a:off x="9336401" y="3702734"/>
            <a:ext cx="2421681"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29" name="Text Placeholder 4"/>
          <p:cNvSpPr>
            <a:spLocks noGrp="1"/>
          </p:cNvSpPr>
          <p:nvPr>
            <p:ph type="body" sz="quarter" idx="23"/>
          </p:nvPr>
        </p:nvSpPr>
        <p:spPr>
          <a:xfrm>
            <a:off x="427766" y="2753366"/>
            <a:ext cx="4363668" cy="1310593"/>
          </a:xfrm>
          <a:prstGeom prst="roundRect">
            <a:avLst>
              <a:gd name="adj" fmla="val 0"/>
            </a:avLst>
          </a:prstGeom>
          <a:noFill/>
          <a:ln>
            <a:noFill/>
          </a:ln>
          <a:effectLst/>
        </p:spPr>
        <p:txBody>
          <a:bodyPr anchor="ctr"/>
          <a:lstStyle>
            <a:lvl1pPr algn="ctr">
              <a:lnSpc>
                <a:spcPct val="100000"/>
              </a:lnSpc>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ltLang="ja-JP"/>
              <a:t>Click to edit Master text styles</a:t>
            </a:r>
          </a:p>
        </p:txBody>
      </p:sp>
      <p:sp>
        <p:nvSpPr>
          <p:cNvPr id="18" name="Text Placeholder 2">
            <a:extLst>
              <a:ext uri="{FF2B5EF4-FFF2-40B4-BE49-F238E27FC236}">
                <a16:creationId xmlns:a16="http://schemas.microsoft.com/office/drawing/2014/main" id="{9DB898EC-4ABB-A54C-8285-46BCB1CE8EBD}"/>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20" name="Text Placeholder 2">
            <a:extLst>
              <a:ext uri="{FF2B5EF4-FFF2-40B4-BE49-F238E27FC236}">
                <a16:creationId xmlns:a16="http://schemas.microsoft.com/office/drawing/2014/main" id="{A0411425-E554-5745-943B-258F879BE397}"/>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23" name="Rectangle 28">
            <a:extLst>
              <a:ext uri="{FF2B5EF4-FFF2-40B4-BE49-F238E27FC236}">
                <a16:creationId xmlns:a16="http://schemas.microsoft.com/office/drawing/2014/main" id="{6EF12BEB-685E-4B24-9CB7-202A6EC739AC}"/>
              </a:ext>
            </a:extLst>
          </p:cNvPr>
          <p:cNvSpPr/>
          <p:nvPr/>
        </p:nvSpPr>
        <p:spPr>
          <a:xfrm>
            <a:off x="215899" y="6463378"/>
            <a:ext cx="2403222" cy="276999"/>
          </a:xfrm>
          <a:prstGeom prst="rect">
            <a:avLst/>
          </a:prstGeom>
        </p:spPr>
        <p:txBody>
          <a:bodyPr wrap="none">
            <a:spAutoFit/>
          </a:bodyPr>
          <a:lstStyle/>
          <a:p>
            <a:pPr algn="l"/>
            <a:r>
              <a:rPr lang="en-US" sz="1200"/>
              <a:t>© 2020 NTT All Rights Reserved</a:t>
            </a:r>
          </a:p>
        </p:txBody>
      </p:sp>
    </p:spTree>
    <p:extLst>
      <p:ext uri="{BB962C8B-B14F-4D97-AF65-F5344CB8AC3E}">
        <p14:creationId xmlns:p14="http://schemas.microsoft.com/office/powerpoint/2010/main" val="57321671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2_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0"/>
            <a:ext cx="12192000" cy="6366933"/>
          </a:xfrm>
          <a:prstGeom prst="rect">
            <a:avLst/>
          </a:prstGeom>
          <a:solidFill>
            <a:schemeClr val="tx2"/>
          </a:solidFill>
        </p:spPr>
        <p:txBody>
          <a:bodyPr/>
          <a:lstStyle>
            <a:lvl1pPr algn="ctr">
              <a:defRPr>
                <a:solidFill>
                  <a:schemeClr val="bg1"/>
                </a:solidFill>
              </a:defRPr>
            </a:lvl1pPr>
          </a:lstStyle>
          <a:p>
            <a:r>
              <a:rPr lang="en-US"/>
              <a:t>Click icon to add picture</a:t>
            </a:r>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818549"/>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9826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Tree>
    <p:extLst>
      <p:ext uri="{BB962C8B-B14F-4D97-AF65-F5344CB8AC3E}">
        <p14:creationId xmlns:p14="http://schemas.microsoft.com/office/powerpoint/2010/main" val="4071569053"/>
      </p:ext>
    </p:extLst>
  </p:cSld>
  <p:clrMapOvr>
    <a:overrideClrMapping bg1="lt1" tx1="dk1" bg2="lt2" tx2="dk2" accent1="accent1" accent2="accent2" accent3="accent3" accent4="accent4" accent5="accent5" accent6="accent6" hlink="hlink" folHlink="folHlink"/>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cSld name="NTT_title_and_content_page_dark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4" y="169335"/>
            <a:ext cx="11376207"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5" y="1529026"/>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554406161"/>
      </p:ext>
    </p:extLst>
  </p:cSld>
  <p:clrMapOvr>
    <a:overrideClrMapping bg1="dk1" tx1="lt1" bg2="dk2" tx2="lt2" accent1="accent1" accent2="accent2" accent3="accent3" accent4="accent4" accent5="accent5" accent6="accent6" hlink="hlink" folHlink="folHlink"/>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cSld name="1_NTT_divider_page_blue">
    <p:bg>
      <p:bgPr>
        <a:solidFill>
          <a:schemeClr val="accent2"/>
        </a:soli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2"/>
            <a:ext cx="11408804" cy="631775"/>
          </a:xfrm>
          <a:prstGeom prst="rect">
            <a:avLst/>
          </a:prstGeom>
        </p:spPr>
        <p:txBody>
          <a:bodyPr anchor="ctr"/>
          <a:lstStyle>
            <a:lvl1pPr algn="ctr">
              <a:defRPr sz="3200" b="1">
                <a:solidFill>
                  <a:schemeClr val="bg1"/>
                </a:solidFill>
              </a:defRPr>
            </a:lvl1pPr>
          </a:lstStyle>
          <a:p>
            <a:r>
              <a:rPr lang="en-US"/>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7"/>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Tree>
    <p:extLst>
      <p:ext uri="{BB962C8B-B14F-4D97-AF65-F5344CB8AC3E}">
        <p14:creationId xmlns:p14="http://schemas.microsoft.com/office/powerpoint/2010/main" val="405792966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cSld name="2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5"/>
            <a:ext cx="11376207"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5" y="1529026"/>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0257145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3906639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54694"/>
            <a:ext cx="10019712"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5" y="1175811"/>
            <a:ext cx="10019712"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800" b="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231719"/>
            <a:ext cx="3843339" cy="12866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B3C0A27C-C996-473E-9EA5-225888848762}"/>
              </a:ext>
            </a:extLst>
          </p:cNvPr>
          <p:cNvSpPr>
            <a:spLocks noChangeArrowheads="1"/>
          </p:cNvSpPr>
          <p:nvPr userDrawn="1">
            <p:custDataLst>
              <p:tags r:id="rId7"/>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N°›</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5814346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cSld name="NTT_divider_page_half_white">
    <p:bg bwMode="ltGray">
      <p:bgRef idx="1001">
        <a:schemeClr val="bg1"/>
      </p:bgRef>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9" y="1"/>
            <a:ext cx="12196509" cy="3474571"/>
          </a:xfrm>
          <a:prstGeom prst="rect">
            <a:avLst/>
          </a:prstGeom>
          <a:noFill/>
          <a:effectLst/>
        </p:spPr>
        <p:txBody>
          <a:bodyPr>
            <a:normAutofit/>
          </a:bodyPr>
          <a:lstStyle>
            <a:lvl1pPr marL="0" indent="0">
              <a:buNone/>
              <a:defRPr sz="1867">
                <a:ln>
                  <a:noFill/>
                </a:ln>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p>
        </p:txBody>
      </p:sp>
      <p:sp>
        <p:nvSpPr>
          <p:cNvPr id="16" name="Title 4">
            <a:extLst>
              <a:ext uri="{FF2B5EF4-FFF2-40B4-BE49-F238E27FC236}">
                <a16:creationId xmlns:a16="http://schemas.microsoft.com/office/drawing/2014/main" id="{19094F5A-E79D-4246-8F4D-D88F43EEF216}"/>
              </a:ext>
            </a:extLst>
          </p:cNvPr>
          <p:cNvSpPr>
            <a:spLocks noGrp="1"/>
          </p:cNvSpPr>
          <p:nvPr>
            <p:ph type="title"/>
          </p:nvPr>
        </p:nvSpPr>
        <p:spPr>
          <a:xfrm>
            <a:off x="391599" y="2841353"/>
            <a:ext cx="11408804" cy="631775"/>
          </a:xfrm>
          <a:prstGeom prst="rect">
            <a:avLst/>
          </a:prstGeom>
        </p:spPr>
        <p:txBody>
          <a:bodyPr anchor="ctr"/>
          <a:lstStyle>
            <a:lvl1pPr algn="ctr">
              <a:defRPr sz="3200" b="1">
                <a:solidFill>
                  <a:schemeClr val="accent1"/>
                </a:solidFill>
              </a:defRPr>
            </a:lvl1pPr>
          </a:lstStyle>
          <a:p>
            <a:r>
              <a:rPr lang="en-US"/>
              <a:t>Click to edit Master title style</a:t>
            </a:r>
            <a:endParaRPr lang="en-GB"/>
          </a:p>
        </p:txBody>
      </p:sp>
      <p:sp>
        <p:nvSpPr>
          <p:cNvPr id="29" name="Text Placeholder 6">
            <a:extLst>
              <a:ext uri="{FF2B5EF4-FFF2-40B4-BE49-F238E27FC236}">
                <a16:creationId xmlns:a16="http://schemas.microsoft.com/office/drawing/2014/main" id="{FD3EFF89-A063-C142-9733-A93832686892}"/>
              </a:ext>
            </a:extLst>
          </p:cNvPr>
          <p:cNvSpPr>
            <a:spLocks noGrp="1"/>
          </p:cNvSpPr>
          <p:nvPr>
            <p:ph type="body" sz="quarter" idx="16" hasCustomPrompt="1"/>
          </p:nvPr>
        </p:nvSpPr>
        <p:spPr>
          <a:xfrm>
            <a:off x="391599" y="3477467"/>
            <a:ext cx="11408804" cy="530055"/>
          </a:xfrm>
          <a:prstGeom prst="rect">
            <a:avLst/>
          </a:prstGeom>
        </p:spPr>
        <p:txBody>
          <a:bodyPr anchor="ctr"/>
          <a:lstStyle>
            <a:lvl1pPr marL="0" indent="0" algn="ctr">
              <a:buNone/>
              <a:defRPr sz="2400" b="1"/>
            </a:lvl1pPr>
            <a:lvl2pPr>
              <a:defRPr sz="1333"/>
            </a:lvl2pPr>
            <a:lvl3pPr>
              <a:defRPr sz="1333"/>
            </a:lvl3pPr>
            <a:lvl4pPr>
              <a:defRPr sz="1333"/>
            </a:lvl4pPr>
            <a:lvl5pPr>
              <a:defRPr sz="1333"/>
            </a:lvl5pPr>
          </a:lstStyle>
          <a:p>
            <a:pPr lvl="0"/>
            <a:r>
              <a:rPr lang="en-US"/>
              <a:t>Click to edit Master title slide</a:t>
            </a:r>
            <a:endParaRPr lang="en-GB"/>
          </a:p>
        </p:txBody>
      </p:sp>
    </p:spTree>
    <p:extLst>
      <p:ext uri="{BB962C8B-B14F-4D97-AF65-F5344CB8AC3E}">
        <p14:creationId xmlns:p14="http://schemas.microsoft.com/office/powerpoint/2010/main" val="416013093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Cover_slide_blue_background">
    <p:bg>
      <p:bgPr>
        <a:solidFill>
          <a:schemeClr val="accent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bg1"/>
                </a:solidFill>
              </a:defRPr>
            </a:lvl1pPr>
          </a:lstStyle>
          <a:p>
            <a:r>
              <a:rPr lang="en-GB"/>
              <a:t>Click to edit Master title style</a:t>
            </a:r>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pic>
        <p:nvPicPr>
          <p:cNvPr id="5" name="Picture 4">
            <a:extLst>
              <a:ext uri="{FF2B5EF4-FFF2-40B4-BE49-F238E27FC236}">
                <a16:creationId xmlns:a16="http://schemas.microsoft.com/office/drawing/2014/main" id="{E589A8F4-7485-9F4E-B0C8-C8CB66B56B1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22766" y="391424"/>
            <a:ext cx="2544709" cy="1193537"/>
          </a:xfrm>
          <a:prstGeom prst="rect">
            <a:avLst/>
          </a:prstGeom>
        </p:spPr>
      </p:pic>
    </p:spTree>
    <p:extLst>
      <p:ext uri="{BB962C8B-B14F-4D97-AF65-F5344CB8AC3E}">
        <p14:creationId xmlns:p14="http://schemas.microsoft.com/office/powerpoint/2010/main" val="379070736"/>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AAE65148-FDC7-4ACD-BC2C-70267F8E249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accent2"/>
                </a:solidFill>
              </a:defRPr>
            </a:lvl1pPr>
          </a:lstStyle>
          <a:p>
            <a:r>
              <a:rPr lang="en-GB"/>
              <a:t>Click to edit Master title style</a:t>
            </a:r>
          </a:p>
        </p:txBody>
      </p:sp>
      <p:sp>
        <p:nvSpPr>
          <p:cNvPr id="4" name="Text Placeholder 9">
            <a:extLst>
              <a:ext uri="{FF2B5EF4-FFF2-40B4-BE49-F238E27FC236}">
                <a16:creationId xmlns:a16="http://schemas.microsoft.com/office/drawing/2014/main" id="{10E6012D-9F24-4549-A0DA-C3FE30C2EB9F}"/>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accent2"/>
                </a:solidFill>
              </a:defRPr>
            </a:lvl1pPr>
          </a:lstStyle>
          <a:p>
            <a:pPr lvl="0"/>
            <a:r>
              <a:rPr lang="en-US"/>
              <a:t>Sub-title / Presenter Name</a:t>
            </a:r>
            <a:endParaRPr lang="en-GB"/>
          </a:p>
        </p:txBody>
      </p:sp>
      <p:pic>
        <p:nvPicPr>
          <p:cNvPr id="6" name="Picture 5">
            <a:extLst>
              <a:ext uri="{FF2B5EF4-FFF2-40B4-BE49-F238E27FC236}">
                <a16:creationId xmlns:a16="http://schemas.microsoft.com/office/drawing/2014/main" id="{17748E14-788E-4E98-925E-E369F02A82D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5973" y="599448"/>
            <a:ext cx="2143952" cy="796243"/>
          </a:xfrm>
          <a:prstGeom prst="rect">
            <a:avLst/>
          </a:prstGeom>
        </p:spPr>
      </p:pic>
    </p:spTree>
    <p:extLst>
      <p:ext uri="{BB962C8B-B14F-4D97-AF65-F5344CB8AC3E}">
        <p14:creationId xmlns:p14="http://schemas.microsoft.com/office/powerpoint/2010/main" val="35794855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0"/>
            <a:ext cx="12192000" cy="6366933"/>
          </a:xfrm>
          <a:prstGeom prst="rect">
            <a:avLst/>
          </a:prstGeom>
          <a:solidFill>
            <a:schemeClr val="tx2"/>
          </a:solidFill>
        </p:spPr>
        <p:txBody>
          <a:bodyPr/>
          <a:lstStyle>
            <a:lvl1pPr algn="ctr">
              <a:defRPr>
                <a:solidFill>
                  <a:schemeClr val="bg1"/>
                </a:solidFill>
              </a:defRPr>
            </a:lvl1pPr>
          </a:lstStyle>
          <a:p>
            <a:r>
              <a:rPr lang="en-GB"/>
              <a:t>Click icon to add picture</a:t>
            </a:r>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818549"/>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GB"/>
              <a:t>Click to edit Master title style</a:t>
            </a:r>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9826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2" name="Rectangle 1">
            <a:extLst>
              <a:ext uri="{FF2B5EF4-FFF2-40B4-BE49-F238E27FC236}">
                <a16:creationId xmlns:a16="http://schemas.microsoft.com/office/drawing/2014/main" id="{5AFCCD30-A182-C14B-89B0-90EE95174CAB}"/>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Tree>
    <p:extLst>
      <p:ext uri="{BB962C8B-B14F-4D97-AF65-F5344CB8AC3E}">
        <p14:creationId xmlns:p14="http://schemas.microsoft.com/office/powerpoint/2010/main" val="329400081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NTT_content_page_white">
    <p:bg bwMode="ltGray">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5" y="161003"/>
            <a:ext cx="9635171" cy="833780"/>
          </a:xfrm>
          <a:prstGeom prst="rect">
            <a:avLst/>
          </a:prstGeom>
        </p:spPr>
        <p:txBody>
          <a:bodyPr anchor="ctr"/>
          <a:lstStyle>
            <a:lvl1pPr>
              <a:defRPr sz="3200" b="1">
                <a:solidFill>
                  <a:schemeClr val="accent2"/>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1"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1"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0" y="1375838"/>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0"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1"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1"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0"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0" y="3894672"/>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0" y="4572006"/>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3" name="Picture 22">
            <a:extLst>
              <a:ext uri="{FF2B5EF4-FFF2-40B4-BE49-F238E27FC236}">
                <a16:creationId xmlns:a16="http://schemas.microsoft.com/office/drawing/2014/main" id="{37B729C0-E7FD-734B-968A-D6B00E485D2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3010033486"/>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NTT_contents_page_blue">
    <p:bg bwMode="ltGray">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5" y="161003"/>
            <a:ext cx="9897147" cy="833780"/>
          </a:xfrm>
          <a:prstGeom prst="rect">
            <a:avLst/>
          </a:prstGeom>
        </p:spPr>
        <p:txBody>
          <a:bodyPr anchor="ctr"/>
          <a:lstStyle>
            <a:lvl1pPr>
              <a:defRPr sz="3200" b="1">
                <a:solidFill>
                  <a:srgbClr val="FFFFFF"/>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1" y="1375838"/>
            <a:ext cx="2021429" cy="486833"/>
          </a:xfrm>
          <a:prstGeom prst="rect">
            <a:avLst/>
          </a:prstGeom>
        </p:spPr>
        <p:txBody>
          <a:bodyPr vert="horz"/>
          <a:lstStyle>
            <a:lvl1pPr>
              <a:defRPr b="1">
                <a:solidFill>
                  <a:schemeClr val="bg1"/>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1"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38"/>
            <a:ext cx="2021429" cy="486833"/>
          </a:xfrm>
          <a:prstGeom prst="rect">
            <a:avLst/>
          </a:prstGeom>
        </p:spPr>
        <p:txBody>
          <a:bodyPr vert="horz"/>
          <a:lstStyle>
            <a:lvl1pPr>
              <a:defRPr b="1">
                <a:solidFill>
                  <a:schemeClr val="bg1"/>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38"/>
            <a:ext cx="2021429" cy="486833"/>
          </a:xfrm>
          <a:prstGeom prst="rect">
            <a:avLst/>
          </a:prstGeom>
        </p:spPr>
        <p:txBody>
          <a:bodyPr vert="horz"/>
          <a:lstStyle>
            <a:lvl1pPr>
              <a:defRPr b="1">
                <a:solidFill>
                  <a:schemeClr val="bg1"/>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38"/>
            <a:ext cx="2021429" cy="486833"/>
          </a:xfrm>
          <a:prstGeom prst="rect">
            <a:avLst/>
          </a:prstGeom>
        </p:spPr>
        <p:txBody>
          <a:bodyPr vert="horz"/>
          <a:lstStyle>
            <a:lvl1pPr>
              <a:defRPr b="1">
                <a:solidFill>
                  <a:schemeClr val="bg1"/>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0" y="1375838"/>
            <a:ext cx="2021429" cy="486833"/>
          </a:xfrm>
          <a:prstGeom prst="rect">
            <a:avLst/>
          </a:prstGeom>
        </p:spPr>
        <p:txBody>
          <a:bodyPr vert="horz"/>
          <a:lstStyle>
            <a:lvl1pPr>
              <a:defRPr b="1">
                <a:solidFill>
                  <a:schemeClr val="bg1"/>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0"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1" y="3894672"/>
            <a:ext cx="2021429" cy="486833"/>
          </a:xfrm>
          <a:prstGeom prst="rect">
            <a:avLst/>
          </a:prstGeom>
        </p:spPr>
        <p:txBody>
          <a:bodyPr vert="horz"/>
          <a:lstStyle>
            <a:lvl1pPr>
              <a:defRPr b="1">
                <a:solidFill>
                  <a:schemeClr val="bg1"/>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1"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2"/>
            <a:ext cx="2021429" cy="486833"/>
          </a:xfrm>
          <a:prstGeom prst="rect">
            <a:avLst/>
          </a:prstGeom>
        </p:spPr>
        <p:txBody>
          <a:bodyPr vert="horz"/>
          <a:lstStyle>
            <a:lvl1pPr>
              <a:defRPr b="1">
                <a:solidFill>
                  <a:schemeClr val="bg1"/>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2"/>
            <a:ext cx="2021429" cy="486833"/>
          </a:xfrm>
          <a:prstGeom prst="rect">
            <a:avLst/>
          </a:prstGeom>
        </p:spPr>
        <p:txBody>
          <a:bodyPr vert="horz"/>
          <a:lstStyle>
            <a:lvl1pPr>
              <a:defRPr b="1">
                <a:solidFill>
                  <a:schemeClr val="bg1"/>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2"/>
            <a:ext cx="2021429" cy="486833"/>
          </a:xfrm>
          <a:prstGeom prst="rect">
            <a:avLst/>
          </a:prstGeom>
        </p:spPr>
        <p:txBody>
          <a:bodyPr vert="horz"/>
          <a:lstStyle>
            <a:lvl1pPr>
              <a:defRPr b="1">
                <a:solidFill>
                  <a:schemeClr val="bg1"/>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0"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0" y="3894672"/>
            <a:ext cx="2021429" cy="486833"/>
          </a:xfrm>
          <a:prstGeom prst="rect">
            <a:avLst/>
          </a:prstGeom>
        </p:spPr>
        <p:txBody>
          <a:bodyPr vert="horz"/>
          <a:lstStyle>
            <a:lvl1pPr>
              <a:defRPr b="1">
                <a:solidFill>
                  <a:schemeClr val="bg1"/>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0" y="4572006"/>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4" name="Picture 23">
            <a:extLst>
              <a:ext uri="{FF2B5EF4-FFF2-40B4-BE49-F238E27FC236}">
                <a16:creationId xmlns:a16="http://schemas.microsoft.com/office/drawing/2014/main" id="{BC1456C7-EA29-1349-BF59-3A88514782BE}"/>
              </a:ext>
            </a:extLst>
          </p:cNvPr>
          <p:cNvPicPr>
            <a:picLocks noChangeAspect="1"/>
          </p:cNvPicPr>
          <p:nvPr/>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17230728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3_NTT_content_page">
    <p:bg bwMode="ltGray">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085481-1F38-7744-AE2E-14E71BBC7165}"/>
              </a:ext>
            </a:extLst>
          </p:cNvPr>
          <p:cNvSpPr/>
          <p:nvPr/>
        </p:nvSpPr>
        <p:spPr>
          <a:xfrm>
            <a:off x="5883965" y="0"/>
            <a:ext cx="6308035" cy="685800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solidFill>
                <a:schemeClr val="tx1"/>
              </a:solidFill>
            </a:endParaRPr>
          </a:p>
        </p:txBody>
      </p:sp>
      <p:sp>
        <p:nvSpPr>
          <p:cNvPr id="4" name="Rectangle 3">
            <a:extLst>
              <a:ext uri="{FF2B5EF4-FFF2-40B4-BE49-F238E27FC236}">
                <a16:creationId xmlns:a16="http://schemas.microsoft.com/office/drawing/2014/main" id="{F047273F-8383-0B40-A84D-A6E3D5DAB531}"/>
              </a:ext>
            </a:extLst>
          </p:cNvPr>
          <p:cNvSpPr/>
          <p:nvPr/>
        </p:nvSpPr>
        <p:spPr>
          <a:xfrm>
            <a:off x="1157207" y="1290234"/>
            <a:ext cx="3822916" cy="4277532"/>
          </a:xfrm>
          <a:prstGeom prst="rect">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ext Placeholder 6">
            <a:extLst>
              <a:ext uri="{FF2B5EF4-FFF2-40B4-BE49-F238E27FC236}">
                <a16:creationId xmlns:a16="http://schemas.microsoft.com/office/drawing/2014/main" id="{7172A34A-A47D-0B40-835D-28831DC7725C}"/>
              </a:ext>
            </a:extLst>
          </p:cNvPr>
          <p:cNvSpPr>
            <a:spLocks noGrp="1"/>
          </p:cNvSpPr>
          <p:nvPr>
            <p:ph type="body" sz="quarter" idx="15"/>
          </p:nvPr>
        </p:nvSpPr>
        <p:spPr>
          <a:xfrm>
            <a:off x="1297014" y="3256155"/>
            <a:ext cx="3543300" cy="1437899"/>
          </a:xfrm>
          <a:prstGeom prst="rect">
            <a:avLst/>
          </a:prstGeom>
        </p:spPr>
        <p:txBody>
          <a:bodyPr/>
          <a:lstStyle>
            <a:lvl1pPr marL="0" indent="0" algn="ctr">
              <a:buNone/>
              <a:defRPr sz="1333">
                <a:solidFill>
                  <a:schemeClr val="bg1"/>
                </a:solidFill>
              </a:defRPr>
            </a:lvl1pPr>
            <a:lvl2pPr marL="457189" indent="0" algn="ctr">
              <a:buNone/>
              <a:defRPr sz="1333"/>
            </a:lvl2pPr>
            <a:lvl3pPr marL="914377" indent="0" algn="ctr">
              <a:buNone/>
              <a:defRPr sz="1333"/>
            </a:lvl3pPr>
            <a:lvl4pPr marL="1371566" indent="0" algn="ctr">
              <a:buNone/>
              <a:defRPr sz="1333"/>
            </a:lvl4pPr>
            <a:lvl5pPr marL="1828754" indent="0" algn="ctr">
              <a:buNone/>
              <a:defRPr sz="1333"/>
            </a:lvl5pPr>
          </a:lstStyle>
          <a:p>
            <a:pPr lvl="0"/>
            <a:r>
              <a:rPr lang="en-GB"/>
              <a:t>Click to edit Master text styles</a:t>
            </a:r>
          </a:p>
        </p:txBody>
      </p:sp>
      <p:sp>
        <p:nvSpPr>
          <p:cNvPr id="12" name="Text Placeholder 11">
            <a:extLst>
              <a:ext uri="{FF2B5EF4-FFF2-40B4-BE49-F238E27FC236}">
                <a16:creationId xmlns:a16="http://schemas.microsoft.com/office/drawing/2014/main" id="{7301CF58-65C8-5A44-9BBC-7F4C9512C244}"/>
              </a:ext>
            </a:extLst>
          </p:cNvPr>
          <p:cNvSpPr>
            <a:spLocks noGrp="1"/>
          </p:cNvSpPr>
          <p:nvPr>
            <p:ph type="body" sz="quarter" idx="16" hasCustomPrompt="1"/>
          </p:nvPr>
        </p:nvSpPr>
        <p:spPr>
          <a:xfrm>
            <a:off x="6376011" y="799958"/>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14" name="Text Placeholder 11">
            <a:extLst>
              <a:ext uri="{FF2B5EF4-FFF2-40B4-BE49-F238E27FC236}">
                <a16:creationId xmlns:a16="http://schemas.microsoft.com/office/drawing/2014/main" id="{593C8A1F-BBC4-D142-8D11-C3D83D5A59E7}"/>
              </a:ext>
            </a:extLst>
          </p:cNvPr>
          <p:cNvSpPr>
            <a:spLocks noGrp="1"/>
          </p:cNvSpPr>
          <p:nvPr>
            <p:ph type="body" sz="quarter" idx="17" hasCustomPrompt="1"/>
          </p:nvPr>
        </p:nvSpPr>
        <p:spPr>
          <a:xfrm>
            <a:off x="6376011" y="1130588"/>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15" name="Text Placeholder 11">
            <a:extLst>
              <a:ext uri="{FF2B5EF4-FFF2-40B4-BE49-F238E27FC236}">
                <a16:creationId xmlns:a16="http://schemas.microsoft.com/office/drawing/2014/main" id="{B2E1BFFD-5E6B-184E-9C96-C96EA10F3A87}"/>
              </a:ext>
            </a:extLst>
          </p:cNvPr>
          <p:cNvSpPr>
            <a:spLocks noGrp="1"/>
          </p:cNvSpPr>
          <p:nvPr>
            <p:ph type="body" sz="quarter" idx="18" hasCustomPrompt="1"/>
          </p:nvPr>
        </p:nvSpPr>
        <p:spPr>
          <a:xfrm>
            <a:off x="6376011" y="1440554"/>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2" name="Text Placeholder 11">
            <a:extLst>
              <a:ext uri="{FF2B5EF4-FFF2-40B4-BE49-F238E27FC236}">
                <a16:creationId xmlns:a16="http://schemas.microsoft.com/office/drawing/2014/main" id="{252F90EC-C0F9-F040-B680-A6A9A3CB16FF}"/>
              </a:ext>
            </a:extLst>
          </p:cNvPr>
          <p:cNvSpPr>
            <a:spLocks noGrp="1"/>
          </p:cNvSpPr>
          <p:nvPr>
            <p:ph type="body" sz="quarter" idx="19" hasCustomPrompt="1"/>
          </p:nvPr>
        </p:nvSpPr>
        <p:spPr>
          <a:xfrm>
            <a:off x="6376011" y="2163809"/>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3" name="Text Placeholder 11">
            <a:extLst>
              <a:ext uri="{FF2B5EF4-FFF2-40B4-BE49-F238E27FC236}">
                <a16:creationId xmlns:a16="http://schemas.microsoft.com/office/drawing/2014/main" id="{8B064F4E-61E6-8D43-884D-B02F8BF1243B}"/>
              </a:ext>
            </a:extLst>
          </p:cNvPr>
          <p:cNvSpPr>
            <a:spLocks noGrp="1"/>
          </p:cNvSpPr>
          <p:nvPr>
            <p:ph type="body" sz="quarter" idx="20" hasCustomPrompt="1"/>
          </p:nvPr>
        </p:nvSpPr>
        <p:spPr>
          <a:xfrm>
            <a:off x="6376011" y="2494438"/>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4" name="Text Placeholder 11">
            <a:extLst>
              <a:ext uri="{FF2B5EF4-FFF2-40B4-BE49-F238E27FC236}">
                <a16:creationId xmlns:a16="http://schemas.microsoft.com/office/drawing/2014/main" id="{03EE597B-F187-9343-9BDB-C8BFA2AFFFD0}"/>
              </a:ext>
            </a:extLst>
          </p:cNvPr>
          <p:cNvSpPr>
            <a:spLocks noGrp="1"/>
          </p:cNvSpPr>
          <p:nvPr>
            <p:ph type="body" sz="quarter" idx="21" hasCustomPrompt="1"/>
          </p:nvPr>
        </p:nvSpPr>
        <p:spPr>
          <a:xfrm>
            <a:off x="6376011" y="2804405"/>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6" name="Text Placeholder 11">
            <a:extLst>
              <a:ext uri="{FF2B5EF4-FFF2-40B4-BE49-F238E27FC236}">
                <a16:creationId xmlns:a16="http://schemas.microsoft.com/office/drawing/2014/main" id="{586E91DD-916B-F645-80BE-74FE13A1A309}"/>
              </a:ext>
            </a:extLst>
          </p:cNvPr>
          <p:cNvSpPr>
            <a:spLocks noGrp="1"/>
          </p:cNvSpPr>
          <p:nvPr>
            <p:ph type="body" sz="quarter" idx="22" hasCustomPrompt="1"/>
          </p:nvPr>
        </p:nvSpPr>
        <p:spPr>
          <a:xfrm>
            <a:off x="6376011" y="3541221"/>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7" name="Text Placeholder 11">
            <a:extLst>
              <a:ext uri="{FF2B5EF4-FFF2-40B4-BE49-F238E27FC236}">
                <a16:creationId xmlns:a16="http://schemas.microsoft.com/office/drawing/2014/main" id="{D33AE9B1-FC4C-B64A-A627-4C5DEB4D3642}"/>
              </a:ext>
            </a:extLst>
          </p:cNvPr>
          <p:cNvSpPr>
            <a:spLocks noGrp="1"/>
          </p:cNvSpPr>
          <p:nvPr>
            <p:ph type="body" sz="quarter" idx="23" hasCustomPrompt="1"/>
          </p:nvPr>
        </p:nvSpPr>
        <p:spPr>
          <a:xfrm>
            <a:off x="6376011" y="3871850"/>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8" name="Text Placeholder 11">
            <a:extLst>
              <a:ext uri="{FF2B5EF4-FFF2-40B4-BE49-F238E27FC236}">
                <a16:creationId xmlns:a16="http://schemas.microsoft.com/office/drawing/2014/main" id="{D7BDC373-757A-224C-BDE1-7C04B2534237}"/>
              </a:ext>
            </a:extLst>
          </p:cNvPr>
          <p:cNvSpPr>
            <a:spLocks noGrp="1"/>
          </p:cNvSpPr>
          <p:nvPr>
            <p:ph type="body" sz="quarter" idx="24" hasCustomPrompt="1"/>
          </p:nvPr>
        </p:nvSpPr>
        <p:spPr>
          <a:xfrm>
            <a:off x="6376011" y="4181817"/>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9" name="Text Placeholder 11">
            <a:extLst>
              <a:ext uri="{FF2B5EF4-FFF2-40B4-BE49-F238E27FC236}">
                <a16:creationId xmlns:a16="http://schemas.microsoft.com/office/drawing/2014/main" id="{D237CA36-D07E-5643-B2B1-CCB818CA6974}"/>
              </a:ext>
            </a:extLst>
          </p:cNvPr>
          <p:cNvSpPr>
            <a:spLocks noGrp="1"/>
          </p:cNvSpPr>
          <p:nvPr>
            <p:ph type="body" sz="quarter" idx="25" hasCustomPrompt="1"/>
          </p:nvPr>
        </p:nvSpPr>
        <p:spPr>
          <a:xfrm>
            <a:off x="6376011" y="4920642"/>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30" name="Text Placeholder 11">
            <a:extLst>
              <a:ext uri="{FF2B5EF4-FFF2-40B4-BE49-F238E27FC236}">
                <a16:creationId xmlns:a16="http://schemas.microsoft.com/office/drawing/2014/main" id="{C423DBFD-C745-4648-850A-74997E87CFF1}"/>
              </a:ext>
            </a:extLst>
          </p:cNvPr>
          <p:cNvSpPr>
            <a:spLocks noGrp="1"/>
          </p:cNvSpPr>
          <p:nvPr>
            <p:ph type="body" sz="quarter" idx="26" hasCustomPrompt="1"/>
          </p:nvPr>
        </p:nvSpPr>
        <p:spPr>
          <a:xfrm>
            <a:off x="6376011" y="5251272"/>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31" name="Text Placeholder 11">
            <a:extLst>
              <a:ext uri="{FF2B5EF4-FFF2-40B4-BE49-F238E27FC236}">
                <a16:creationId xmlns:a16="http://schemas.microsoft.com/office/drawing/2014/main" id="{060C62B5-4383-B249-A74D-872EBA69941E}"/>
              </a:ext>
            </a:extLst>
          </p:cNvPr>
          <p:cNvSpPr>
            <a:spLocks noGrp="1"/>
          </p:cNvSpPr>
          <p:nvPr>
            <p:ph type="body" sz="quarter" idx="27" hasCustomPrompt="1"/>
          </p:nvPr>
        </p:nvSpPr>
        <p:spPr>
          <a:xfrm>
            <a:off x="6376011" y="5561238"/>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32" name="Title 4">
            <a:extLst>
              <a:ext uri="{FF2B5EF4-FFF2-40B4-BE49-F238E27FC236}">
                <a16:creationId xmlns:a16="http://schemas.microsoft.com/office/drawing/2014/main" id="{738D054A-338D-8647-BDC8-3D1F6F5A5227}"/>
              </a:ext>
            </a:extLst>
          </p:cNvPr>
          <p:cNvSpPr>
            <a:spLocks noGrp="1"/>
          </p:cNvSpPr>
          <p:nvPr>
            <p:ph type="title" hasCustomPrompt="1"/>
          </p:nvPr>
        </p:nvSpPr>
        <p:spPr>
          <a:xfrm>
            <a:off x="1297014" y="2157093"/>
            <a:ext cx="3543300" cy="958321"/>
          </a:xfrm>
          <a:prstGeom prst="rect">
            <a:avLst/>
          </a:prstGeom>
        </p:spPr>
        <p:txBody>
          <a:bodyPr anchor="ctr"/>
          <a:lstStyle>
            <a:lvl1pPr algn="ctr">
              <a:lnSpc>
                <a:spcPct val="100000"/>
              </a:lnSpc>
              <a:spcBef>
                <a:spcPts val="0"/>
              </a:spcBef>
              <a:spcAft>
                <a:spcPts val="0"/>
              </a:spcAft>
              <a:defRPr sz="3200" b="1">
                <a:solidFill>
                  <a:schemeClr val="bg1"/>
                </a:solidFill>
              </a:defRPr>
            </a:lvl1pPr>
          </a:lstStyle>
          <a:p>
            <a:r>
              <a:rPr lang="en-US"/>
              <a:t>Today’s</a:t>
            </a:r>
            <a:br>
              <a:rPr lang="en-US"/>
            </a:br>
            <a:r>
              <a:rPr lang="en-US"/>
              <a:t>agenda</a:t>
            </a:r>
            <a:endParaRPr lang="en-GB"/>
          </a:p>
        </p:txBody>
      </p:sp>
    </p:spTree>
    <p:extLst>
      <p:ext uri="{BB962C8B-B14F-4D97-AF65-F5344CB8AC3E}">
        <p14:creationId xmlns:p14="http://schemas.microsoft.com/office/powerpoint/2010/main" val="2596287566"/>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NTT_divider_page">
    <p:spTree>
      <p:nvGrpSpPr>
        <p:cNvPr id="1" name=""/>
        <p:cNvGrpSpPr/>
        <p:nvPr/>
      </p:nvGrpSpPr>
      <p:grpSpPr>
        <a:xfrm>
          <a:off x="0" y="0"/>
          <a:ext cx="0" cy="0"/>
          <a:chOff x="0" y="0"/>
          <a:chExt cx="0" cy="0"/>
        </a:xfrm>
      </p:grpSpPr>
      <p:sp>
        <p:nvSpPr>
          <p:cNvPr id="10" name="Picture Placeholder 3"/>
          <p:cNvSpPr>
            <a:spLocks noGrp="1"/>
          </p:cNvSpPr>
          <p:nvPr>
            <p:ph type="pic" sz="quarter" idx="14"/>
          </p:nvPr>
        </p:nvSpPr>
        <p:spPr>
          <a:xfrm>
            <a:off x="0" y="4924"/>
            <a:ext cx="12192000" cy="6362011"/>
          </a:xfrm>
          <a:prstGeom prst="rect">
            <a:avLst/>
          </a:prstGeom>
        </p:spPr>
        <p:txBody>
          <a:bodyPr/>
          <a:lstStyle>
            <a:lvl1pPr>
              <a:defRPr>
                <a:solidFill>
                  <a:schemeClr val="accent1"/>
                </a:solidFill>
                <a:latin typeface="Arial"/>
              </a:defRPr>
            </a:lvl1pPr>
          </a:lstStyle>
          <a:p>
            <a:r>
              <a:rPr lang="en-GB"/>
              <a:t>Click icon to add picture</a:t>
            </a:r>
            <a:endParaRPr lang="en-US"/>
          </a:p>
        </p:txBody>
      </p:sp>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2"/>
            <a:ext cx="11408804" cy="631775"/>
          </a:xfrm>
          <a:prstGeom prst="rect">
            <a:avLst/>
          </a:prstGeom>
        </p:spPr>
        <p:txBody>
          <a:bodyPr anchor="ctr"/>
          <a:lstStyle>
            <a:lvl1pPr algn="ctr">
              <a:defRPr sz="3200" b="1">
                <a:solidFill>
                  <a:schemeClr val="tx1"/>
                </a:solidFill>
              </a:defRPr>
            </a:lvl1pPr>
          </a:lstStyle>
          <a:p>
            <a:r>
              <a:rPr lang="en-GB"/>
              <a:t>Click to edit Master title style</a:t>
            </a:r>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7"/>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5" name="Rectangle 4">
            <a:extLst>
              <a:ext uri="{FF2B5EF4-FFF2-40B4-BE49-F238E27FC236}">
                <a16:creationId xmlns:a16="http://schemas.microsoft.com/office/drawing/2014/main" id="{DBB9AF9C-B2E6-1240-91F3-67F7FFEE08DD}"/>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Tree>
    <p:extLst>
      <p:ext uri="{BB962C8B-B14F-4D97-AF65-F5344CB8AC3E}">
        <p14:creationId xmlns:p14="http://schemas.microsoft.com/office/powerpoint/2010/main" val="553663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NTT_content_page_white">
    <p:bg bwMode="lt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E09B82-D419-470D-A2EB-96433C09B315}"/>
              </a:ext>
            </a:extLst>
          </p:cNvPr>
          <p:cNvGraphicFramePr>
            <a:graphicFrameLocks noChangeAspect="1"/>
          </p:cNvGraphicFramePr>
          <p:nvPr userDrawn="1">
            <p:custDataLst>
              <p:tags r:id="rId1"/>
            </p:custDataLst>
            <p:extLst>
              <p:ext uri="{D42A27DB-BD31-4B8C-83A1-F6EECF244321}">
                <p14:modId xmlns:p14="http://schemas.microsoft.com/office/powerpoint/2010/main" val="116480042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81" imgH="281" progId="TCLayout.ActiveDocument.1">
                  <p:embed/>
                </p:oleObj>
              </mc:Choice>
              <mc:Fallback>
                <p:oleObj name="think-cell Slide" r:id="rId3" imgW="281" imgH="281" progId="TCLayout.ActiveDocument.1">
                  <p:embed/>
                  <p:pic>
                    <p:nvPicPr>
                      <p:cNvPr id="2" name="Object 1" hidden="1">
                        <a:extLst>
                          <a:ext uri="{FF2B5EF4-FFF2-40B4-BE49-F238E27FC236}">
                            <a16:creationId xmlns:a16="http://schemas.microsoft.com/office/drawing/2014/main" id="{40E09B82-D419-470D-A2EB-96433C09B315}"/>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itle 1"/>
          <p:cNvSpPr>
            <a:spLocks noGrp="1"/>
          </p:cNvSpPr>
          <p:nvPr>
            <p:ph type="title" hasCustomPrompt="1"/>
          </p:nvPr>
        </p:nvSpPr>
        <p:spPr>
          <a:xfrm>
            <a:off x="410635" y="161004"/>
            <a:ext cx="9635171" cy="447217"/>
          </a:xfrm>
          <a:prstGeom prst="rect">
            <a:avLst/>
          </a:prstGeom>
        </p:spPr>
        <p:txBody>
          <a:bodyPr vert="horz" lIns="0" tIns="0" rIns="0" bIns="0" anchor="t">
            <a:spAutoFit/>
          </a:bodyPr>
          <a:lstStyle>
            <a:lvl1pPr rtl="0">
              <a:defRPr lang="en-ZA" b="1" dirty="0">
                <a:solidFill>
                  <a:schemeClr val="accent2"/>
                </a:solidFill>
                <a:latin typeface="Arial"/>
                <a:cs typeface="Arial"/>
              </a:defRPr>
            </a:lvl1pPr>
          </a:lstStyle>
          <a:p>
            <a:pPr lvl="0"/>
            <a:r>
              <a:rPr lang="en-US"/>
              <a:t>Contents</a:t>
            </a:r>
          </a:p>
        </p:txBody>
      </p:sp>
      <p:sp>
        <p:nvSpPr>
          <p:cNvPr id="8" name="Text Placeholder 7"/>
          <p:cNvSpPr>
            <a:spLocks noGrp="1"/>
          </p:cNvSpPr>
          <p:nvPr>
            <p:ph type="body" sz="quarter" idx="10" hasCustomPrompt="1"/>
          </p:nvPr>
        </p:nvSpPr>
        <p:spPr>
          <a:xfrm>
            <a:off x="400051" y="1375838"/>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1" y="2053173"/>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4233"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38"/>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3"/>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4233"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38"/>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3"/>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4233"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38"/>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3"/>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4233"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0" y="1375838"/>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0" y="2053173"/>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4233"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1" y="3894672"/>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1" y="4572006"/>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4233"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2"/>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6"/>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4233"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2"/>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6"/>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4233"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2"/>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6"/>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0"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0" y="3894672"/>
            <a:ext cx="2021429" cy="392480"/>
          </a:xfrm>
          <a:prstGeom prst="rect">
            <a:avLst/>
          </a:prstGeom>
        </p:spPr>
        <p:txBody>
          <a:bodyPr vert="horz"/>
          <a:lstStyle>
            <a:lvl1pPr marL="0" indent="0" rtl="0">
              <a:buNone/>
              <a:defRPr b="1">
                <a:solidFill>
                  <a:schemeClr val="accent2"/>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0" y="4572006"/>
            <a:ext cx="2021429" cy="1213409"/>
          </a:xfrm>
          <a:prstGeom prst="rect">
            <a:avLst/>
          </a:prstGeom>
        </p:spPr>
        <p:txBody>
          <a:bodyPr vert="horz"/>
          <a:lstStyle>
            <a:lvl1pPr marL="0" indent="0" rtl="0">
              <a:lnSpc>
                <a:spcPct val="90000"/>
              </a:lnSpc>
              <a:buFont typeface="Arial"/>
              <a:buNone/>
              <a:defRPr sz="1600" b="1">
                <a:solidFill>
                  <a:schemeClr val="accent2"/>
                </a:solidFill>
                <a:latin typeface="Arial"/>
                <a:cs typeface="Arial"/>
              </a:defRPr>
            </a:lvl1pPr>
            <a:lvl2pPr marL="4233" indent="0" rtl="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3" name="Picture 22">
            <a:extLst>
              <a:ext uri="{FF2B5EF4-FFF2-40B4-BE49-F238E27FC236}">
                <a16:creationId xmlns:a16="http://schemas.microsoft.com/office/drawing/2014/main" id="{37B729C0-E7FD-734B-968A-D6B00E485D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342617634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NTT_divider_page_blue">
    <p:bg>
      <p:bgPr>
        <a:solidFill>
          <a:schemeClr val="accent2"/>
        </a:soli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2"/>
            <a:ext cx="11408804" cy="631775"/>
          </a:xfrm>
          <a:prstGeom prst="rect">
            <a:avLst/>
          </a:prstGeom>
        </p:spPr>
        <p:txBody>
          <a:bodyPr anchor="ctr"/>
          <a:lstStyle>
            <a:lvl1pPr algn="ctr">
              <a:defRPr sz="3200" b="1">
                <a:solidFill>
                  <a:schemeClr val="bg1"/>
                </a:solidFill>
              </a:defRPr>
            </a:lvl1pPr>
          </a:lstStyle>
          <a:p>
            <a:r>
              <a:rPr lang="en-GB"/>
              <a:t>Click to edit Master title style</a:t>
            </a:r>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87"/>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Tree>
    <p:extLst>
      <p:ext uri="{BB962C8B-B14F-4D97-AF65-F5344CB8AC3E}">
        <p14:creationId xmlns:p14="http://schemas.microsoft.com/office/powerpoint/2010/main" val="41437762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1302153"/>
            <a:ext cx="12192000" cy="5555847"/>
          </a:xfrm>
          <a:prstGeom prst="rect">
            <a:avLst/>
          </a:prstGeom>
          <a:solidFill>
            <a:schemeClr val="tx2"/>
          </a:solidFill>
        </p:spPr>
        <p:txBody>
          <a:bodyPr/>
          <a:lstStyle>
            <a:lvl1pPr algn="ctr">
              <a:defRPr>
                <a:solidFill>
                  <a:schemeClr val="bg1"/>
                </a:solidFill>
              </a:defRPr>
            </a:lvl1pPr>
          </a:lstStyle>
          <a:p>
            <a:r>
              <a:rPr lang="en-GB"/>
              <a:t>Click icon to add picture</a:t>
            </a:r>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724147"/>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GB"/>
              <a:t>Click to edit Master title style</a:t>
            </a:r>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888271"/>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5" name="Rectangle 4">
            <a:extLst>
              <a:ext uri="{FF2B5EF4-FFF2-40B4-BE49-F238E27FC236}">
                <a16:creationId xmlns:a16="http://schemas.microsoft.com/office/drawing/2014/main" id="{AEC331B1-A2E3-4449-A203-C1004B13CA10}"/>
              </a:ext>
            </a:extLst>
          </p:cNvPr>
          <p:cNvSpPr/>
          <p:nvPr/>
        </p:nvSpPr>
        <p:spPr>
          <a:xfrm>
            <a:off x="-1" y="1"/>
            <a:ext cx="12192001" cy="1302153"/>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pic>
        <p:nvPicPr>
          <p:cNvPr id="9" name="Picture 8">
            <a:extLst>
              <a:ext uri="{FF2B5EF4-FFF2-40B4-BE49-F238E27FC236}">
                <a16:creationId xmlns:a16="http://schemas.microsoft.com/office/drawing/2014/main" id="{B0D76022-ABF5-4D71-8FD6-F77E9816DD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25593013"/>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GB"/>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pic>
        <p:nvPicPr>
          <p:cNvPr id="6" name="Picture 5">
            <a:extLst>
              <a:ext uri="{FF2B5EF4-FFF2-40B4-BE49-F238E27FC236}">
                <a16:creationId xmlns:a16="http://schemas.microsoft.com/office/drawing/2014/main" id="{80889D0A-8FE3-CF4D-B7B4-5465281051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40992702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3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B720457-78E2-D349-BA3A-D34C6CC50DD8}"/>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7" name="Title 1"/>
          <p:cNvSpPr>
            <a:spLocks noGrp="1"/>
          </p:cNvSpPr>
          <p:nvPr>
            <p:ph type="title"/>
          </p:nvPr>
        </p:nvSpPr>
        <p:spPr>
          <a:xfrm>
            <a:off x="396695" y="169334"/>
            <a:ext cx="9951392" cy="793751"/>
          </a:xfrm>
          <a:prstGeom prst="rect">
            <a:avLst/>
          </a:prstGeom>
        </p:spPr>
        <p:txBody>
          <a:bodyPr anchor="ctr"/>
          <a:lstStyle>
            <a:lvl1pPr>
              <a:defRPr sz="3200" b="1">
                <a:solidFill>
                  <a:schemeClr val="accent2"/>
                </a:solidFill>
                <a:latin typeface="Arial"/>
                <a:cs typeface="Arial"/>
              </a:defRPr>
            </a:lvl1pPr>
          </a:lstStyle>
          <a:p>
            <a:r>
              <a:rPr lang="en-GB"/>
              <a:t>Click to edit Master title style</a:t>
            </a:r>
            <a:endParaRPr lang="en-ZA"/>
          </a:p>
        </p:txBody>
      </p:sp>
      <p:sp>
        <p:nvSpPr>
          <p:cNvPr id="8" name="Content Placeholder 2"/>
          <p:cNvSpPr>
            <a:spLocks noGrp="1"/>
          </p:cNvSpPr>
          <p:nvPr>
            <p:ph idx="1"/>
          </p:nvPr>
        </p:nvSpPr>
        <p:spPr>
          <a:xfrm>
            <a:off x="396694" y="1331318"/>
            <a:ext cx="11376207" cy="473081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pic>
        <p:nvPicPr>
          <p:cNvPr id="12" name="Picture 11">
            <a:extLst>
              <a:ext uri="{FF2B5EF4-FFF2-40B4-BE49-F238E27FC236}">
                <a16:creationId xmlns:a16="http://schemas.microsoft.com/office/drawing/2014/main" id="{4394DD01-B476-4449-A74F-36512D904FE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13" name="Text Placeholder 2">
            <a:extLst>
              <a:ext uri="{FF2B5EF4-FFF2-40B4-BE49-F238E27FC236}">
                <a16:creationId xmlns:a16="http://schemas.microsoft.com/office/drawing/2014/main" id="{02A62D41-FCC5-49EA-84B9-5FCD9CACEBA4}"/>
              </a:ext>
            </a:extLst>
          </p:cNvPr>
          <p:cNvSpPr>
            <a:spLocks noGrp="1"/>
          </p:cNvSpPr>
          <p:nvPr>
            <p:ph type="body" sz="quarter" idx="10" hasCustomPrompt="1"/>
          </p:nvPr>
        </p:nvSpPr>
        <p:spPr>
          <a:xfrm>
            <a:off x="5440221" y="6499791"/>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20231759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3_NTT_title_and_content_page_light_grey_CR">
    <p:bg bwMode="ltGray">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GB"/>
              <a:t>Click to edit Master title style</a:t>
            </a:r>
            <a:endParaRPr lang="en-ZA"/>
          </a:p>
        </p:txBody>
      </p:sp>
      <p:sp>
        <p:nvSpPr>
          <p:cNvPr id="8" name="Content Placeholder 2"/>
          <p:cNvSpPr>
            <a:spLocks noGrp="1"/>
          </p:cNvSpPr>
          <p:nvPr>
            <p:ph idx="1"/>
          </p:nvPr>
        </p:nvSpPr>
        <p:spPr>
          <a:xfrm>
            <a:off x="396694" y="1529026"/>
            <a:ext cx="11376207" cy="456697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pic>
        <p:nvPicPr>
          <p:cNvPr id="9" name="Picture 8">
            <a:extLst>
              <a:ext uri="{FF2B5EF4-FFF2-40B4-BE49-F238E27FC236}">
                <a16:creationId xmlns:a16="http://schemas.microsoft.com/office/drawing/2014/main" id="{A5514108-DFA6-6A49-ADD4-769859CE9D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10" name="Rectangle 9">
            <a:extLst>
              <a:ext uri="{FF2B5EF4-FFF2-40B4-BE49-F238E27FC236}">
                <a16:creationId xmlns:a16="http://schemas.microsoft.com/office/drawing/2014/main" id="{88CE73B4-B7E7-7745-AF08-F3B6CCC9131B}"/>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2" name="Text Placeholder 2">
            <a:extLst>
              <a:ext uri="{FF2B5EF4-FFF2-40B4-BE49-F238E27FC236}">
                <a16:creationId xmlns:a16="http://schemas.microsoft.com/office/drawing/2014/main" id="{0AA716DD-80A6-DA4B-BABB-DE0B9A73DF6D}"/>
              </a:ext>
            </a:extLst>
          </p:cNvPr>
          <p:cNvSpPr>
            <a:spLocks noGrp="1"/>
          </p:cNvSpPr>
          <p:nvPr>
            <p:ph type="body" sz="quarter" idx="10" hasCustomPrompt="1"/>
          </p:nvPr>
        </p:nvSpPr>
        <p:spPr>
          <a:xfrm>
            <a:off x="5440221" y="6499791"/>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13747049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NTT_title_and_content_page_blue">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tx1"/>
                </a:solidFill>
                <a:latin typeface="Arial"/>
                <a:cs typeface="Arial"/>
              </a:defRPr>
            </a:lvl1pPr>
          </a:lstStyle>
          <a:p>
            <a:r>
              <a:rPr lang="en-GB"/>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pic>
        <p:nvPicPr>
          <p:cNvPr id="5" name="Picture 4">
            <a:extLst>
              <a:ext uri="{FF2B5EF4-FFF2-40B4-BE49-F238E27FC236}">
                <a16:creationId xmlns:a16="http://schemas.microsoft.com/office/drawing/2014/main" id="{8F3EAFF9-7DC3-D348-84B7-12FFB2469E99}"/>
              </a:ext>
            </a:extLst>
          </p:cNvPr>
          <p:cNvPicPr>
            <a:picLocks noChangeAspect="1"/>
          </p:cNvPicPr>
          <p:nvPr/>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3471777016"/>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770027" cy="793751"/>
          </a:xfrm>
          <a:prstGeom prst="rect">
            <a:avLst/>
          </a:prstGeom>
        </p:spPr>
        <p:txBody>
          <a:bodyPr anchor="ctr"/>
          <a:lstStyle>
            <a:lvl1pPr>
              <a:defRPr sz="3200" b="1">
                <a:solidFill>
                  <a:schemeClr val="accent2"/>
                </a:solidFill>
                <a:latin typeface="Arial"/>
                <a:cs typeface="Arial"/>
              </a:defRPr>
            </a:lvl1pPr>
          </a:lstStyle>
          <a:p>
            <a:r>
              <a:rPr lang="en-GB"/>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pic>
        <p:nvPicPr>
          <p:cNvPr id="6" name="Picture 5">
            <a:extLst>
              <a:ext uri="{FF2B5EF4-FFF2-40B4-BE49-F238E27FC236}">
                <a16:creationId xmlns:a16="http://schemas.microsoft.com/office/drawing/2014/main" id="{A6731466-BD37-0B4A-BE69-CBD86F77A5A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9" name="Text Placeholder 2">
            <a:extLst>
              <a:ext uri="{FF2B5EF4-FFF2-40B4-BE49-F238E27FC236}">
                <a16:creationId xmlns:a16="http://schemas.microsoft.com/office/drawing/2014/main" id="{A2FD43D3-9DCE-4E30-810E-E3C88EB6F7CF}"/>
              </a:ext>
            </a:extLst>
          </p:cNvPr>
          <p:cNvSpPr>
            <a:spLocks noGrp="1"/>
          </p:cNvSpPr>
          <p:nvPr>
            <p:ph type="body" sz="quarter" idx="10" hasCustomPrompt="1"/>
          </p:nvPr>
        </p:nvSpPr>
        <p:spPr>
          <a:xfrm>
            <a:off x="396692" y="6448608"/>
            <a:ext cx="6706073" cy="234949"/>
          </a:xfrm>
          <a:prstGeom prst="rect">
            <a:avLst/>
          </a:prstGeom>
        </p:spPr>
        <p:txBody>
          <a:bodyPr anchor="ctr"/>
          <a:lstStyle>
            <a:lvl1pPr marL="0" marR="0" indent="0" algn="l" defTabSz="1219170" rtl="0" eaLnBrk="1" fontAlgn="auto" latinLnBrk="0" hangingPunct="1">
              <a:lnSpc>
                <a:spcPct val="114000"/>
              </a:lnSpc>
              <a:spcBef>
                <a:spcPts val="800"/>
              </a:spcBef>
              <a:spcAft>
                <a:spcPts val="133"/>
              </a:spcAft>
              <a:buClrTx/>
              <a:buSzTx/>
              <a:buFont typeface="Arial" pitchFamily="34" charset="0"/>
              <a:buNone/>
              <a:tabLst/>
              <a:defRPr sz="1067">
                <a:solidFill>
                  <a:schemeClr val="tx1"/>
                </a:solidFill>
              </a:defRPr>
            </a:lvl1pPr>
          </a:lstStyle>
          <a:p>
            <a:pPr marL="0" marR="0" lvl="0" indent="0" algn="l" defTabSz="1219170" rtl="0" eaLnBrk="1" fontAlgn="auto" latinLnBrk="0" hangingPunct="1">
              <a:lnSpc>
                <a:spcPct val="114000"/>
              </a:lnSpc>
              <a:spcBef>
                <a:spcPts val="800"/>
              </a:spcBef>
              <a:spcAft>
                <a:spcPts val="133"/>
              </a:spcAft>
              <a:buClrTx/>
              <a:buSzTx/>
              <a:buFont typeface="Arial" pitchFamily="34" charset="0"/>
              <a:buNone/>
              <a:tabLst/>
              <a:defRPr/>
            </a:pPr>
            <a:r>
              <a:rPr lang="en-US" sz="1200">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17996270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3_NTT_title_and_content_page_white_no_logo">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860711" cy="793751"/>
          </a:xfrm>
          <a:prstGeom prst="rect">
            <a:avLst/>
          </a:prstGeom>
        </p:spPr>
        <p:txBody>
          <a:bodyPr anchor="ctr"/>
          <a:lstStyle>
            <a:lvl1pPr>
              <a:defRPr sz="3200" b="1">
                <a:solidFill>
                  <a:schemeClr val="bg1"/>
                </a:solidFill>
                <a:latin typeface="Arial"/>
                <a:cs typeface="Arial"/>
              </a:defRPr>
            </a:lvl1pPr>
          </a:lstStyle>
          <a:p>
            <a:r>
              <a:rPr lang="en-GB"/>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bg1"/>
                </a:solidFill>
                <a:latin typeface="Arial"/>
                <a:cs typeface="Arial"/>
              </a:defRPr>
            </a:lvl1pPr>
            <a:lvl2pPr algn="l">
              <a:defRPr sz="1867">
                <a:solidFill>
                  <a:schemeClr val="bg1"/>
                </a:solidFill>
                <a:latin typeface="Arial"/>
                <a:cs typeface="Arial"/>
              </a:defRPr>
            </a:lvl2pPr>
            <a:lvl3pPr algn="l">
              <a:defRPr sz="1600">
                <a:solidFill>
                  <a:schemeClr val="bg1"/>
                </a:solidFill>
                <a:latin typeface="Arial"/>
                <a:cs typeface="Arial"/>
              </a:defRPr>
            </a:lvl3pPr>
            <a:lvl4pPr algn="l">
              <a:defRPr sz="1467">
                <a:solidFill>
                  <a:schemeClr val="bg1"/>
                </a:solidFill>
                <a:latin typeface="Arial"/>
                <a:cs typeface="Arial"/>
              </a:defRPr>
            </a:lvl4pPr>
            <a:lvl5pPr algn="l">
              <a:defRPr sz="1467">
                <a:solidFill>
                  <a:schemeClr val="bg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pic>
        <p:nvPicPr>
          <p:cNvPr id="4" name="Picture 3">
            <a:extLst>
              <a:ext uri="{FF2B5EF4-FFF2-40B4-BE49-F238E27FC236}">
                <a16:creationId xmlns:a16="http://schemas.microsoft.com/office/drawing/2014/main" id="{A9DEE5B1-CDD6-3C4C-B3D3-ADC5828C5E97}"/>
              </a:ext>
            </a:extLst>
          </p:cNvPr>
          <p:cNvPicPr>
            <a:picLocks noChangeAspect="1"/>
          </p:cNvPicPr>
          <p:nvPr/>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17854609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1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810331" cy="793751"/>
          </a:xfrm>
          <a:prstGeom prst="rect">
            <a:avLst/>
          </a:prstGeom>
        </p:spPr>
        <p:txBody>
          <a:bodyPr anchor="ctr"/>
          <a:lstStyle>
            <a:lvl1pPr>
              <a:defRPr sz="3200" b="1">
                <a:solidFill>
                  <a:schemeClr val="tx1"/>
                </a:solidFill>
                <a:latin typeface="Arial"/>
                <a:cs typeface="Arial"/>
              </a:defRPr>
            </a:lvl1pPr>
          </a:lstStyle>
          <a:p>
            <a:r>
              <a:rPr lang="en-GB"/>
              <a:t>Click to edit Master title style</a:t>
            </a:r>
            <a:endParaRPr lang="en-ZA"/>
          </a:p>
        </p:txBody>
      </p:sp>
      <p:sp>
        <p:nvSpPr>
          <p:cNvPr id="8" name="Content Placeholder 2"/>
          <p:cNvSpPr>
            <a:spLocks noGrp="1"/>
          </p:cNvSpPr>
          <p:nvPr>
            <p:ph idx="1"/>
          </p:nvPr>
        </p:nvSpPr>
        <p:spPr>
          <a:xfrm>
            <a:off x="396694" y="1529025"/>
            <a:ext cx="11376207" cy="4566976"/>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sp>
        <p:nvSpPr>
          <p:cNvPr id="6" name="Rectangle 5">
            <a:extLst>
              <a:ext uri="{FF2B5EF4-FFF2-40B4-BE49-F238E27FC236}">
                <a16:creationId xmlns:a16="http://schemas.microsoft.com/office/drawing/2014/main" id="{C1B6184E-3522-954B-A811-C22B92045F88}"/>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pic>
        <p:nvPicPr>
          <p:cNvPr id="11" name="Picture 10">
            <a:extLst>
              <a:ext uri="{FF2B5EF4-FFF2-40B4-BE49-F238E27FC236}">
                <a16:creationId xmlns:a16="http://schemas.microsoft.com/office/drawing/2014/main" id="{DF5856D0-B342-6443-8CFB-BC42A2CCF04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12" name="Text Placeholder 2">
            <a:extLst>
              <a:ext uri="{FF2B5EF4-FFF2-40B4-BE49-F238E27FC236}">
                <a16:creationId xmlns:a16="http://schemas.microsoft.com/office/drawing/2014/main" id="{0EE16BB2-678F-4DAC-9857-4AA50F97D992}"/>
              </a:ext>
            </a:extLst>
          </p:cNvPr>
          <p:cNvSpPr>
            <a:spLocks noGrp="1"/>
          </p:cNvSpPr>
          <p:nvPr>
            <p:ph type="body" sz="quarter" idx="10" hasCustomPrompt="1"/>
          </p:nvPr>
        </p:nvSpPr>
        <p:spPr>
          <a:xfrm>
            <a:off x="5440221" y="6499791"/>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13918693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NTT_title_and_2column_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6693" y="1408823"/>
            <a:ext cx="5495760" cy="4186080"/>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sp>
        <p:nvSpPr>
          <p:cNvPr id="6" name="Text Placeholder 5"/>
          <p:cNvSpPr>
            <a:spLocks noGrp="1"/>
          </p:cNvSpPr>
          <p:nvPr>
            <p:ph type="body" sz="quarter" idx="12"/>
          </p:nvPr>
        </p:nvSpPr>
        <p:spPr>
          <a:xfrm>
            <a:off x="6298669" y="1409289"/>
            <a:ext cx="5497515" cy="4186207"/>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sp>
        <p:nvSpPr>
          <p:cNvPr id="5" name="Title 1"/>
          <p:cNvSpPr>
            <a:spLocks noGrp="1"/>
          </p:cNvSpPr>
          <p:nvPr>
            <p:ph type="title"/>
          </p:nvPr>
        </p:nvSpPr>
        <p:spPr>
          <a:xfrm>
            <a:off x="396694" y="169335"/>
            <a:ext cx="9961469" cy="793749"/>
          </a:xfrm>
          <a:prstGeom prst="rect">
            <a:avLst/>
          </a:prstGeom>
        </p:spPr>
        <p:txBody>
          <a:bodyPr anchor="ctr"/>
          <a:lstStyle>
            <a:lvl1pPr>
              <a:defRPr sz="3200" b="1">
                <a:solidFill>
                  <a:schemeClr val="accent2"/>
                </a:solidFill>
                <a:latin typeface="Arial"/>
                <a:cs typeface="Arial"/>
              </a:defRPr>
            </a:lvl1pPr>
          </a:lstStyle>
          <a:p>
            <a:r>
              <a:rPr lang="en-GB"/>
              <a:t>Click to edit Master title style</a:t>
            </a:r>
            <a:endParaRPr lang="en-ZA"/>
          </a:p>
        </p:txBody>
      </p:sp>
      <p:pic>
        <p:nvPicPr>
          <p:cNvPr id="7" name="Picture 6">
            <a:extLst>
              <a:ext uri="{FF2B5EF4-FFF2-40B4-BE49-F238E27FC236}">
                <a16:creationId xmlns:a16="http://schemas.microsoft.com/office/drawing/2014/main" id="{3F002DB6-96B1-3B43-B29D-7922E2487F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18013187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TT_contents_page_blue">
    <p:bg bwMode="ltGray">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897186-C91F-4DDC-A23F-CBA0733331C2}"/>
              </a:ext>
            </a:extLst>
          </p:cNvPr>
          <p:cNvGraphicFramePr>
            <a:graphicFrameLocks noChangeAspect="1"/>
          </p:cNvGraphicFramePr>
          <p:nvPr userDrawn="1">
            <p:custDataLst>
              <p:tags r:id="rId1"/>
            </p:custDataLst>
            <p:extLst>
              <p:ext uri="{D42A27DB-BD31-4B8C-83A1-F6EECF244321}">
                <p14:modId xmlns:p14="http://schemas.microsoft.com/office/powerpoint/2010/main" val="56506716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81" imgH="281" progId="TCLayout.ActiveDocument.1">
                  <p:embed/>
                </p:oleObj>
              </mc:Choice>
              <mc:Fallback>
                <p:oleObj name="think-cell Slide" r:id="rId3" imgW="281" imgH="281" progId="TCLayout.ActiveDocument.1">
                  <p:embed/>
                  <p:pic>
                    <p:nvPicPr>
                      <p:cNvPr id="2" name="Object 1" hidden="1">
                        <a:extLst>
                          <a:ext uri="{FF2B5EF4-FFF2-40B4-BE49-F238E27FC236}">
                            <a16:creationId xmlns:a16="http://schemas.microsoft.com/office/drawing/2014/main" id="{F8897186-C91F-4DDC-A23F-CBA0733331C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itle 1"/>
          <p:cNvSpPr>
            <a:spLocks noGrp="1"/>
          </p:cNvSpPr>
          <p:nvPr>
            <p:ph type="title" hasCustomPrompt="1"/>
          </p:nvPr>
        </p:nvSpPr>
        <p:spPr>
          <a:xfrm>
            <a:off x="410635" y="161004"/>
            <a:ext cx="9897147" cy="447217"/>
          </a:xfrm>
          <a:prstGeom prst="rect">
            <a:avLst/>
          </a:prstGeom>
        </p:spPr>
        <p:txBody>
          <a:bodyPr vert="horz" lIns="0" tIns="0" rIns="0" bIns="0" anchor="t">
            <a:spAutoFit/>
          </a:bodyPr>
          <a:lstStyle>
            <a:lvl1pPr rtl="0">
              <a:defRPr lang="en-ZA" b="1" dirty="0">
                <a:solidFill>
                  <a:schemeClr val="bg1"/>
                </a:solidFill>
                <a:latin typeface="Arial"/>
                <a:cs typeface="Arial"/>
              </a:defRPr>
            </a:lvl1pPr>
          </a:lstStyle>
          <a:p>
            <a:pPr lvl="0"/>
            <a:r>
              <a:rPr lang="en-US"/>
              <a:t>Contents</a:t>
            </a:r>
          </a:p>
        </p:txBody>
      </p:sp>
      <p:sp>
        <p:nvSpPr>
          <p:cNvPr id="8" name="Text Placeholder 7"/>
          <p:cNvSpPr>
            <a:spLocks noGrp="1"/>
          </p:cNvSpPr>
          <p:nvPr>
            <p:ph type="body" sz="quarter" idx="10" hasCustomPrompt="1"/>
          </p:nvPr>
        </p:nvSpPr>
        <p:spPr>
          <a:xfrm>
            <a:off x="400051" y="1375838"/>
            <a:ext cx="2021429" cy="392480"/>
          </a:xfrm>
          <a:prstGeom prst="rect">
            <a:avLst/>
          </a:prstGeom>
        </p:spPr>
        <p:txBody>
          <a:bodyPr vert="horz"/>
          <a:lstStyle>
            <a:lvl1pPr rtl="0">
              <a:defRPr b="1">
                <a:solidFill>
                  <a:schemeClr val="bg1"/>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1" y="2053173"/>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4233"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38"/>
            <a:ext cx="2021429" cy="392480"/>
          </a:xfrm>
          <a:prstGeom prst="rect">
            <a:avLst/>
          </a:prstGeom>
        </p:spPr>
        <p:txBody>
          <a:bodyPr vert="horz"/>
          <a:lstStyle>
            <a:lvl1pPr rtl="0">
              <a:defRPr b="1">
                <a:solidFill>
                  <a:schemeClr val="bg1"/>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3"/>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4233"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38"/>
            <a:ext cx="2021429" cy="392480"/>
          </a:xfrm>
          <a:prstGeom prst="rect">
            <a:avLst/>
          </a:prstGeom>
        </p:spPr>
        <p:txBody>
          <a:bodyPr vert="horz"/>
          <a:lstStyle>
            <a:lvl1pPr rtl="0">
              <a:defRPr b="1">
                <a:solidFill>
                  <a:schemeClr val="bg1"/>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3"/>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4233"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38"/>
            <a:ext cx="2021429" cy="392480"/>
          </a:xfrm>
          <a:prstGeom prst="rect">
            <a:avLst/>
          </a:prstGeom>
        </p:spPr>
        <p:txBody>
          <a:bodyPr vert="horz"/>
          <a:lstStyle>
            <a:lvl1pPr rtl="0">
              <a:defRPr b="1">
                <a:solidFill>
                  <a:schemeClr val="bg1"/>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3"/>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4233"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0" y="1375838"/>
            <a:ext cx="2021429" cy="392480"/>
          </a:xfrm>
          <a:prstGeom prst="rect">
            <a:avLst/>
          </a:prstGeom>
        </p:spPr>
        <p:txBody>
          <a:bodyPr vert="horz"/>
          <a:lstStyle>
            <a:lvl1pPr rtl="0">
              <a:defRPr b="1">
                <a:solidFill>
                  <a:schemeClr val="bg1"/>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0" y="2053173"/>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4233"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1" y="3894672"/>
            <a:ext cx="2021429" cy="392480"/>
          </a:xfrm>
          <a:prstGeom prst="rect">
            <a:avLst/>
          </a:prstGeom>
        </p:spPr>
        <p:txBody>
          <a:bodyPr vert="horz"/>
          <a:lstStyle>
            <a:lvl1pPr rtl="0">
              <a:defRPr b="1">
                <a:solidFill>
                  <a:schemeClr val="bg1"/>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1" y="4572006"/>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4233"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2"/>
            <a:ext cx="2021429" cy="392480"/>
          </a:xfrm>
          <a:prstGeom prst="rect">
            <a:avLst/>
          </a:prstGeom>
        </p:spPr>
        <p:txBody>
          <a:bodyPr vert="horz"/>
          <a:lstStyle>
            <a:lvl1pPr rtl="0">
              <a:defRPr b="1">
                <a:solidFill>
                  <a:schemeClr val="bg1"/>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6"/>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4233"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2"/>
            <a:ext cx="2021429" cy="392480"/>
          </a:xfrm>
          <a:prstGeom prst="rect">
            <a:avLst/>
          </a:prstGeom>
        </p:spPr>
        <p:txBody>
          <a:bodyPr vert="horz"/>
          <a:lstStyle>
            <a:lvl1pPr rtl="0">
              <a:defRPr b="1">
                <a:solidFill>
                  <a:schemeClr val="bg1"/>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6"/>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4233"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2"/>
            <a:ext cx="2021429" cy="392480"/>
          </a:xfrm>
          <a:prstGeom prst="rect">
            <a:avLst/>
          </a:prstGeom>
        </p:spPr>
        <p:txBody>
          <a:bodyPr vert="horz"/>
          <a:lstStyle>
            <a:lvl1pPr rtl="0">
              <a:defRPr b="1">
                <a:solidFill>
                  <a:schemeClr val="bg1"/>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6"/>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0"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0" y="3894672"/>
            <a:ext cx="2021429" cy="392480"/>
          </a:xfrm>
          <a:prstGeom prst="rect">
            <a:avLst/>
          </a:prstGeom>
        </p:spPr>
        <p:txBody>
          <a:bodyPr vert="horz"/>
          <a:lstStyle>
            <a:lvl1pPr rtl="0">
              <a:defRPr b="1">
                <a:solidFill>
                  <a:schemeClr val="bg1"/>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0" y="4572006"/>
            <a:ext cx="2021429" cy="1213409"/>
          </a:xfrm>
          <a:prstGeom prst="rect">
            <a:avLst/>
          </a:prstGeom>
        </p:spPr>
        <p:txBody>
          <a:bodyPr vert="horz"/>
          <a:lstStyle>
            <a:lvl1pPr marL="0" indent="0" rtl="0">
              <a:lnSpc>
                <a:spcPct val="90000"/>
              </a:lnSpc>
              <a:buFont typeface="Arial"/>
              <a:buNone/>
              <a:defRPr sz="1600">
                <a:solidFill>
                  <a:schemeClr val="accent3"/>
                </a:solidFill>
                <a:latin typeface="Arial"/>
                <a:cs typeface="Arial"/>
              </a:defRPr>
            </a:lvl1pPr>
            <a:lvl2pPr marL="4233" indent="0" rtl="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4" name="Picture 23">
            <a:extLst>
              <a:ext uri="{FF2B5EF4-FFF2-40B4-BE49-F238E27FC236}">
                <a16:creationId xmlns:a16="http://schemas.microsoft.com/office/drawing/2014/main" id="{BC1456C7-EA29-1349-BF59-3A88514782BE}"/>
              </a:ext>
            </a:extLst>
          </p:cNvPr>
          <p:cNvPicPr>
            <a:picLocks noChangeAspect="1"/>
          </p:cNvPicPr>
          <p:nvPr userDrawn="1"/>
        </p:nvPicPr>
        <p:blipFill>
          <a:blip r:embed="rId5"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20712675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NTT_chart_layout_white">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19"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48" indent="0" algn="ctr">
              <a:buNone/>
              <a:defRPr sz="1867"/>
            </a:lvl2pPr>
          </a:lstStyle>
          <a:p>
            <a:pPr lvl="0"/>
            <a:r>
              <a:rPr lang="en-GB"/>
              <a:t>Click to edit Master text styles</a:t>
            </a:r>
          </a:p>
        </p:txBody>
      </p:sp>
      <p:sp>
        <p:nvSpPr>
          <p:cNvPr id="6" name="Chart Placeholder 5"/>
          <p:cNvSpPr>
            <a:spLocks noGrp="1"/>
          </p:cNvSpPr>
          <p:nvPr>
            <p:ph type="chart" sz="quarter" idx="11"/>
          </p:nvPr>
        </p:nvSpPr>
        <p:spPr>
          <a:xfrm>
            <a:off x="396694" y="1683603"/>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tx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GB"/>
              <a:t>Click icon to add chart</a:t>
            </a:r>
            <a:endParaRPr lang="en-ZA"/>
          </a:p>
        </p:txBody>
      </p:sp>
      <p:sp>
        <p:nvSpPr>
          <p:cNvPr id="5" name="Title 1"/>
          <p:cNvSpPr>
            <a:spLocks noGrp="1"/>
          </p:cNvSpPr>
          <p:nvPr>
            <p:ph type="title"/>
          </p:nvPr>
        </p:nvSpPr>
        <p:spPr>
          <a:xfrm>
            <a:off x="396693" y="169334"/>
            <a:ext cx="9558508" cy="793751"/>
          </a:xfrm>
          <a:prstGeom prst="rect">
            <a:avLst/>
          </a:prstGeom>
        </p:spPr>
        <p:txBody>
          <a:bodyPr anchor="ctr"/>
          <a:lstStyle>
            <a:lvl1pPr>
              <a:defRPr sz="3200" b="1" i="0">
                <a:solidFill>
                  <a:schemeClr val="accent2"/>
                </a:solidFill>
                <a:latin typeface="Arial" panose="020B0604020202020204" pitchFamily="34" charset="0"/>
                <a:cs typeface="Arial" panose="020B0604020202020204" pitchFamily="34" charset="0"/>
              </a:defRPr>
            </a:lvl1pPr>
          </a:lstStyle>
          <a:p>
            <a:r>
              <a:rPr lang="en-GB"/>
              <a:t>Click to edit Master title style</a:t>
            </a:r>
            <a:endParaRPr lang="en-ZA"/>
          </a:p>
        </p:txBody>
      </p:sp>
      <p:pic>
        <p:nvPicPr>
          <p:cNvPr id="8" name="Picture 7">
            <a:extLst>
              <a:ext uri="{FF2B5EF4-FFF2-40B4-BE49-F238E27FC236}">
                <a16:creationId xmlns:a16="http://schemas.microsoft.com/office/drawing/2014/main" id="{7BD62B93-C8CF-6946-9BCE-593B9275E4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36807257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NTT_chart_layout_dark">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19"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48" indent="0" algn="ctr">
              <a:buNone/>
              <a:defRPr sz="1867"/>
            </a:lvl2pPr>
          </a:lstStyle>
          <a:p>
            <a:pPr lvl="0"/>
            <a:r>
              <a:rPr lang="en-GB"/>
              <a:t>Click to edit Master text styles</a:t>
            </a:r>
          </a:p>
        </p:txBody>
      </p:sp>
      <p:sp>
        <p:nvSpPr>
          <p:cNvPr id="6" name="Chart Placeholder 5"/>
          <p:cNvSpPr>
            <a:spLocks noGrp="1"/>
          </p:cNvSpPr>
          <p:nvPr>
            <p:ph type="chart" sz="quarter" idx="11"/>
          </p:nvPr>
        </p:nvSpPr>
        <p:spPr>
          <a:xfrm>
            <a:off x="396694" y="1683603"/>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lt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GB"/>
              <a:t>Click icon to add chart</a:t>
            </a:r>
            <a:endParaRPr lang="en-ZA"/>
          </a:p>
        </p:txBody>
      </p:sp>
      <p:sp>
        <p:nvSpPr>
          <p:cNvPr id="5" name="Title 1"/>
          <p:cNvSpPr>
            <a:spLocks noGrp="1"/>
          </p:cNvSpPr>
          <p:nvPr>
            <p:ph type="title"/>
          </p:nvPr>
        </p:nvSpPr>
        <p:spPr>
          <a:xfrm>
            <a:off x="396692" y="169334"/>
            <a:ext cx="9941317" cy="793751"/>
          </a:xfrm>
          <a:prstGeom prst="rect">
            <a:avLst/>
          </a:prstGeom>
        </p:spPr>
        <p:txBody>
          <a:bodyPr anchor="ctr"/>
          <a:lstStyle>
            <a:lvl1pPr>
              <a:defRPr b="1" i="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en-ZA"/>
          </a:p>
        </p:txBody>
      </p:sp>
      <p:pic>
        <p:nvPicPr>
          <p:cNvPr id="8" name="Picture 7">
            <a:extLst>
              <a:ext uri="{FF2B5EF4-FFF2-40B4-BE49-F238E27FC236}">
                <a16:creationId xmlns:a16="http://schemas.microsoft.com/office/drawing/2014/main" id="{18F2AC6C-F5EC-F34F-B80D-FEA6C390CB84}"/>
              </a:ext>
            </a:extLst>
          </p:cNvPr>
          <p:cNvPicPr>
            <a:picLocks noChangeAspect="1"/>
          </p:cNvPicPr>
          <p:nvPr/>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1558570647"/>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NTT_layout_option_3_column_white">
    <p:bg bwMode="ltGray">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19D76D-758F-0268-9BFC-9E6A344A5B3C}"/>
              </a:ext>
            </a:extLst>
          </p:cNvPr>
          <p:cNvPicPr>
            <a:picLocks noChangeAspect="1"/>
          </p:cNvPicPr>
          <p:nvPr userDrawn="1"/>
        </p:nvPicPr>
        <p:blipFill>
          <a:blip r:embed="rId2"/>
          <a:srcRect/>
          <a:stretch/>
        </p:blipFill>
        <p:spPr>
          <a:xfrm>
            <a:off x="-43519" y="0"/>
            <a:ext cx="12192000" cy="6858000"/>
          </a:xfrm>
          <a:prstGeom prst="rect">
            <a:avLst/>
          </a:prstGeom>
        </p:spPr>
      </p:pic>
      <p:sp>
        <p:nvSpPr>
          <p:cNvPr id="6" name="Rectangle 5">
            <a:extLst>
              <a:ext uri="{FF2B5EF4-FFF2-40B4-BE49-F238E27FC236}">
                <a16:creationId xmlns:a16="http://schemas.microsoft.com/office/drawing/2014/main" id="{D6C46D53-15E4-2C4F-9617-DD90C161B84F}"/>
              </a:ext>
            </a:extLst>
          </p:cNvPr>
          <p:cNvSpPr/>
          <p:nvPr/>
        </p:nvSpPr>
        <p:spPr>
          <a:xfrm>
            <a:off x="0" y="2047583"/>
            <a:ext cx="4064000" cy="48104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7" name="Rectangle 6">
            <a:extLst>
              <a:ext uri="{FF2B5EF4-FFF2-40B4-BE49-F238E27FC236}">
                <a16:creationId xmlns:a16="http://schemas.microsoft.com/office/drawing/2014/main" id="{D76A6DF1-0EBD-A441-B4B6-6E5DE055B9AB}"/>
              </a:ext>
            </a:extLst>
          </p:cNvPr>
          <p:cNvSpPr/>
          <p:nvPr/>
        </p:nvSpPr>
        <p:spPr>
          <a:xfrm>
            <a:off x="8128000" y="2047582"/>
            <a:ext cx="4064000" cy="48104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3" name="Picture Placeholder 2">
            <a:extLst>
              <a:ext uri="{FF2B5EF4-FFF2-40B4-BE49-F238E27FC236}">
                <a16:creationId xmlns:a16="http://schemas.microsoft.com/office/drawing/2014/main" id="{C00DBA51-2FC2-724F-8D23-DCE9E6E22D76}"/>
              </a:ext>
            </a:extLst>
          </p:cNvPr>
          <p:cNvSpPr>
            <a:spLocks noGrp="1"/>
          </p:cNvSpPr>
          <p:nvPr>
            <p:ph type="pic" sz="quarter" idx="10"/>
          </p:nvPr>
        </p:nvSpPr>
        <p:spPr>
          <a:xfrm>
            <a:off x="4064000" y="2047583"/>
            <a:ext cx="4064000" cy="4810419"/>
          </a:xfrm>
          <a:prstGeom prst="rect">
            <a:avLst/>
          </a:prstGeom>
        </p:spPr>
        <p:txBody>
          <a:bodyPr/>
          <a:lstStyle>
            <a:lvl1pPr>
              <a:defRPr>
                <a:solidFill>
                  <a:schemeClr val="tx1"/>
                </a:solidFill>
              </a:defRPr>
            </a:lvl1pPr>
          </a:lstStyle>
          <a:p>
            <a:r>
              <a:rPr lang="en-GB"/>
              <a:t>Click icon to add picture</a:t>
            </a:r>
          </a:p>
        </p:txBody>
      </p:sp>
      <p:sp>
        <p:nvSpPr>
          <p:cNvPr id="8" name="Triangle 7">
            <a:extLst>
              <a:ext uri="{FF2B5EF4-FFF2-40B4-BE49-F238E27FC236}">
                <a16:creationId xmlns:a16="http://schemas.microsoft.com/office/drawing/2014/main" id="{EAB5410C-0EC5-894D-9939-7D4BDEA3A33B}"/>
              </a:ext>
            </a:extLst>
          </p:cNvPr>
          <p:cNvSpPr/>
          <p:nvPr/>
        </p:nvSpPr>
        <p:spPr>
          <a:xfrm rot="10800000">
            <a:off x="5698156" y="2772074"/>
            <a:ext cx="795688" cy="29163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accent1"/>
              </a:solidFill>
            </a:endParaRPr>
          </a:p>
        </p:txBody>
      </p:sp>
      <p:sp>
        <p:nvSpPr>
          <p:cNvPr id="9" name="Title 4">
            <a:extLst>
              <a:ext uri="{FF2B5EF4-FFF2-40B4-BE49-F238E27FC236}">
                <a16:creationId xmlns:a16="http://schemas.microsoft.com/office/drawing/2014/main" id="{F2179386-8ECF-2247-89E5-B3685ECA1D57}"/>
              </a:ext>
            </a:extLst>
          </p:cNvPr>
          <p:cNvSpPr>
            <a:spLocks noGrp="1"/>
          </p:cNvSpPr>
          <p:nvPr>
            <p:ph type="title"/>
          </p:nvPr>
        </p:nvSpPr>
        <p:spPr>
          <a:xfrm>
            <a:off x="391599" y="705414"/>
            <a:ext cx="11408804" cy="631775"/>
          </a:xfrm>
          <a:prstGeom prst="rect">
            <a:avLst/>
          </a:prstGeom>
        </p:spPr>
        <p:txBody>
          <a:bodyPr anchor="ctr"/>
          <a:lstStyle>
            <a:lvl1pPr algn="ctr">
              <a:defRPr sz="3200" b="1">
                <a:solidFill>
                  <a:schemeClr val="accent2"/>
                </a:solidFill>
              </a:defRPr>
            </a:lvl1pPr>
          </a:lstStyle>
          <a:p>
            <a:r>
              <a:rPr lang="en-GB"/>
              <a:t>Click to edit Master title style</a:t>
            </a:r>
          </a:p>
        </p:txBody>
      </p:sp>
      <p:sp>
        <p:nvSpPr>
          <p:cNvPr id="11" name="Text Placeholder 6">
            <a:extLst>
              <a:ext uri="{FF2B5EF4-FFF2-40B4-BE49-F238E27FC236}">
                <a16:creationId xmlns:a16="http://schemas.microsoft.com/office/drawing/2014/main" id="{C3140292-BA2F-5F40-B51A-1F57E8E5304C}"/>
              </a:ext>
            </a:extLst>
          </p:cNvPr>
          <p:cNvSpPr>
            <a:spLocks noGrp="1"/>
          </p:cNvSpPr>
          <p:nvPr>
            <p:ph type="body" sz="quarter" idx="52"/>
          </p:nvPr>
        </p:nvSpPr>
        <p:spPr>
          <a:xfrm>
            <a:off x="539718" y="3598153"/>
            <a:ext cx="2707204" cy="373936"/>
          </a:xfrm>
          <a:prstGeom prst="rect">
            <a:avLst/>
          </a:prstGeom>
        </p:spPr>
        <p:txBody>
          <a:bodyPr/>
          <a:lstStyle>
            <a:lvl1pPr marL="0" indent="0" algn="l">
              <a:buNone/>
              <a:defRPr sz="1867" b="1">
                <a:solidFill>
                  <a:schemeClr val="bg1"/>
                </a:solidFill>
              </a:defRPr>
            </a:lvl1pPr>
            <a:lvl2pPr>
              <a:defRPr sz="1333"/>
            </a:lvl2pPr>
            <a:lvl3pPr>
              <a:defRPr sz="1333"/>
            </a:lvl3pPr>
            <a:lvl4pPr>
              <a:defRPr sz="1333"/>
            </a:lvl4pPr>
            <a:lvl5pPr>
              <a:defRPr sz="1333"/>
            </a:lvl5pPr>
          </a:lstStyle>
          <a:p>
            <a:pPr lvl="0"/>
            <a:r>
              <a:rPr lang="en-GB"/>
              <a:t>Click to edit Master text styles</a:t>
            </a:r>
          </a:p>
        </p:txBody>
      </p:sp>
      <p:sp>
        <p:nvSpPr>
          <p:cNvPr id="12" name="Text Placeholder 6">
            <a:extLst>
              <a:ext uri="{FF2B5EF4-FFF2-40B4-BE49-F238E27FC236}">
                <a16:creationId xmlns:a16="http://schemas.microsoft.com/office/drawing/2014/main" id="{A1906DE7-FCBA-2C47-BF59-60B682EFAE70}"/>
              </a:ext>
            </a:extLst>
          </p:cNvPr>
          <p:cNvSpPr>
            <a:spLocks noGrp="1"/>
          </p:cNvSpPr>
          <p:nvPr>
            <p:ph type="body" sz="quarter" idx="72"/>
          </p:nvPr>
        </p:nvSpPr>
        <p:spPr>
          <a:xfrm>
            <a:off x="539718" y="4101559"/>
            <a:ext cx="2707188" cy="918901"/>
          </a:xfrm>
          <a:prstGeom prst="rect">
            <a:avLst/>
          </a:prstGeom>
        </p:spPr>
        <p:txBody>
          <a:bodyPr/>
          <a:lstStyle>
            <a:lvl1pPr marL="0" indent="0" algn="l">
              <a:buNone/>
              <a:defRPr sz="1467" b="0">
                <a:solidFill>
                  <a:schemeClr val="bg1"/>
                </a:solidFill>
              </a:defRPr>
            </a:lvl1pPr>
            <a:lvl2pPr>
              <a:defRPr sz="1333"/>
            </a:lvl2pPr>
            <a:lvl3pPr>
              <a:defRPr sz="1333"/>
            </a:lvl3pPr>
            <a:lvl4pPr>
              <a:defRPr sz="1333"/>
            </a:lvl4pPr>
            <a:lvl5pPr>
              <a:defRPr sz="1333"/>
            </a:lvl5pPr>
          </a:lstStyle>
          <a:p>
            <a:pPr lvl="0"/>
            <a:r>
              <a:rPr lang="en-GB"/>
              <a:t>Click to edit Master text styles</a:t>
            </a:r>
          </a:p>
        </p:txBody>
      </p:sp>
      <p:sp>
        <p:nvSpPr>
          <p:cNvPr id="13" name="Text Placeholder 6">
            <a:extLst>
              <a:ext uri="{FF2B5EF4-FFF2-40B4-BE49-F238E27FC236}">
                <a16:creationId xmlns:a16="http://schemas.microsoft.com/office/drawing/2014/main" id="{703A3ACC-186F-804C-B70E-77B95DB72606}"/>
              </a:ext>
            </a:extLst>
          </p:cNvPr>
          <p:cNvSpPr>
            <a:spLocks noGrp="1"/>
          </p:cNvSpPr>
          <p:nvPr>
            <p:ph type="body" sz="quarter" idx="73"/>
          </p:nvPr>
        </p:nvSpPr>
        <p:spPr>
          <a:xfrm>
            <a:off x="4698887" y="3598153"/>
            <a:ext cx="2707204" cy="373936"/>
          </a:xfrm>
          <a:prstGeom prst="rect">
            <a:avLst/>
          </a:prstGeom>
        </p:spPr>
        <p:txBody>
          <a:bodyPr/>
          <a:lstStyle>
            <a:lvl1pPr marL="0" indent="0" algn="l">
              <a:buNone/>
              <a:defRPr sz="1867" b="1">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14" name="Text Placeholder 6">
            <a:extLst>
              <a:ext uri="{FF2B5EF4-FFF2-40B4-BE49-F238E27FC236}">
                <a16:creationId xmlns:a16="http://schemas.microsoft.com/office/drawing/2014/main" id="{89D664C2-EB15-B941-872E-C42459621D86}"/>
              </a:ext>
            </a:extLst>
          </p:cNvPr>
          <p:cNvSpPr>
            <a:spLocks noGrp="1"/>
          </p:cNvSpPr>
          <p:nvPr>
            <p:ph type="body" sz="quarter" idx="74"/>
          </p:nvPr>
        </p:nvSpPr>
        <p:spPr>
          <a:xfrm>
            <a:off x="4698887" y="4101559"/>
            <a:ext cx="2707188" cy="918901"/>
          </a:xfrm>
          <a:prstGeom prst="rect">
            <a:avLst/>
          </a:prstGeom>
        </p:spPr>
        <p:txBody>
          <a:bodyPr/>
          <a:lstStyle>
            <a:lvl1pPr marL="0" indent="0" algn="l">
              <a:buNone/>
              <a:defRPr sz="1467" b="0">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15" name="Text Placeholder 6">
            <a:extLst>
              <a:ext uri="{FF2B5EF4-FFF2-40B4-BE49-F238E27FC236}">
                <a16:creationId xmlns:a16="http://schemas.microsoft.com/office/drawing/2014/main" id="{6DE93A4A-D0D5-DC49-87BA-D7EEFBB11F57}"/>
              </a:ext>
            </a:extLst>
          </p:cNvPr>
          <p:cNvSpPr>
            <a:spLocks noGrp="1"/>
          </p:cNvSpPr>
          <p:nvPr>
            <p:ph type="body" sz="quarter" idx="75"/>
          </p:nvPr>
        </p:nvSpPr>
        <p:spPr>
          <a:xfrm>
            <a:off x="8811758" y="3598153"/>
            <a:ext cx="2707204" cy="373936"/>
          </a:xfrm>
          <a:prstGeom prst="rect">
            <a:avLst/>
          </a:prstGeom>
        </p:spPr>
        <p:txBody>
          <a:bodyPr/>
          <a:lstStyle>
            <a:lvl1pPr marL="0" indent="0" algn="l">
              <a:buNone/>
              <a:defRPr sz="1867" b="1">
                <a:solidFill>
                  <a:schemeClr val="bg1"/>
                </a:solidFill>
              </a:defRPr>
            </a:lvl1pPr>
            <a:lvl2pPr>
              <a:defRPr sz="1333"/>
            </a:lvl2pPr>
            <a:lvl3pPr>
              <a:defRPr sz="1333"/>
            </a:lvl3pPr>
            <a:lvl4pPr>
              <a:defRPr sz="1333"/>
            </a:lvl4pPr>
            <a:lvl5pPr>
              <a:defRPr sz="1333"/>
            </a:lvl5pPr>
          </a:lstStyle>
          <a:p>
            <a:pPr lvl="0"/>
            <a:r>
              <a:rPr lang="en-GB"/>
              <a:t>Click to edit Master text styles</a:t>
            </a:r>
          </a:p>
        </p:txBody>
      </p:sp>
      <p:sp>
        <p:nvSpPr>
          <p:cNvPr id="4" name="Rectangle 3">
            <a:extLst>
              <a:ext uri="{FF2B5EF4-FFF2-40B4-BE49-F238E27FC236}">
                <a16:creationId xmlns:a16="http://schemas.microsoft.com/office/drawing/2014/main" id="{1C058290-E567-D44A-961F-661A9BD5B8A5}"/>
              </a:ext>
            </a:extLst>
          </p:cNvPr>
          <p:cNvSpPr/>
          <p:nvPr userDrawn="1"/>
        </p:nvSpPr>
        <p:spPr>
          <a:xfrm>
            <a:off x="4064000" y="2047582"/>
            <a:ext cx="4064000" cy="4810418"/>
          </a:xfrm>
          <a:prstGeom prst="rect">
            <a:avLst/>
          </a:prstGeom>
          <a:solidFill>
            <a:schemeClr val="tx1">
              <a:alpha val="63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110000"/>
              </a:lnSpc>
              <a:spcBef>
                <a:spcPts val="200"/>
              </a:spcBef>
              <a:spcAft>
                <a:spcPts val="200"/>
              </a:spcAft>
            </a:pPr>
            <a:endParaRPr lang="en-GB" sz="1600"/>
          </a:p>
        </p:txBody>
      </p:sp>
      <p:sp>
        <p:nvSpPr>
          <p:cNvPr id="16" name="Text Placeholder 6">
            <a:extLst>
              <a:ext uri="{FF2B5EF4-FFF2-40B4-BE49-F238E27FC236}">
                <a16:creationId xmlns:a16="http://schemas.microsoft.com/office/drawing/2014/main" id="{6FE70091-2CA3-B04B-AA23-9D30A96917CE}"/>
              </a:ext>
            </a:extLst>
          </p:cNvPr>
          <p:cNvSpPr>
            <a:spLocks noGrp="1"/>
          </p:cNvSpPr>
          <p:nvPr>
            <p:ph type="body" sz="quarter" idx="76"/>
          </p:nvPr>
        </p:nvSpPr>
        <p:spPr>
          <a:xfrm>
            <a:off x="8811758" y="4101559"/>
            <a:ext cx="2707188" cy="918901"/>
          </a:xfrm>
          <a:prstGeom prst="rect">
            <a:avLst/>
          </a:prstGeom>
        </p:spPr>
        <p:txBody>
          <a:bodyPr/>
          <a:lstStyle>
            <a:lvl1pPr marL="0" indent="0" algn="l">
              <a:buNone/>
              <a:defRPr sz="1467" b="0">
                <a:solidFill>
                  <a:schemeClr val="bg1"/>
                </a:solidFill>
              </a:defRPr>
            </a:lvl1pPr>
            <a:lvl2pPr>
              <a:defRPr sz="1333"/>
            </a:lvl2pPr>
            <a:lvl3pPr>
              <a:defRPr sz="1333"/>
            </a:lvl3pPr>
            <a:lvl4pPr>
              <a:defRPr sz="1333"/>
            </a:lvl4pPr>
            <a:lvl5pPr>
              <a:defRPr sz="1333"/>
            </a:lvl5pPr>
          </a:lstStyle>
          <a:p>
            <a:pPr lvl="0"/>
            <a:r>
              <a:rPr lang="en-GB"/>
              <a:t>Click to edit Master text styles</a:t>
            </a:r>
          </a:p>
        </p:txBody>
      </p:sp>
    </p:spTree>
    <p:extLst>
      <p:ext uri="{BB962C8B-B14F-4D97-AF65-F5344CB8AC3E}">
        <p14:creationId xmlns:p14="http://schemas.microsoft.com/office/powerpoint/2010/main" val="225897033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4439341" y="0"/>
            <a:ext cx="775265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noProof="0"/>
              <a:t>Click icon to add picture</a:t>
            </a:r>
            <a:endParaRPr lang="en-US" noProof="0"/>
          </a:p>
        </p:txBody>
      </p:sp>
      <p:sp>
        <p:nvSpPr>
          <p:cNvPr id="3" name="Picture Placeholder 2">
            <a:extLst>
              <a:ext uri="{FF2B5EF4-FFF2-40B4-BE49-F238E27FC236}">
                <a16:creationId xmlns:a16="http://schemas.microsoft.com/office/drawing/2014/main" id="{7C10F3DA-0062-6342-AECB-F97E69FEAC79}"/>
              </a:ext>
            </a:extLst>
          </p:cNvPr>
          <p:cNvSpPr>
            <a:spLocks noGrp="1"/>
          </p:cNvSpPr>
          <p:nvPr>
            <p:ph type="pic" sz="quarter" idx="14" hasCustomPrompt="1"/>
          </p:nvPr>
        </p:nvSpPr>
        <p:spPr>
          <a:xfrm>
            <a:off x="1539535" y="764405"/>
            <a:ext cx="1333500" cy="1333500"/>
          </a:xfrm>
          <a:prstGeom prst="rect">
            <a:avLst/>
          </a:prstGeom>
        </p:spPr>
        <p:txBody>
          <a:bodyPr/>
          <a:lstStyle>
            <a:lvl1pPr marL="0" indent="0">
              <a:buNone/>
              <a:defRPr sz="1867">
                <a:solidFill>
                  <a:schemeClr val="bg1"/>
                </a:solidFill>
              </a:defRPr>
            </a:lvl1pPr>
          </a:lstStyle>
          <a:p>
            <a:r>
              <a:rPr lang="en-GB"/>
              <a:t>icon</a:t>
            </a:r>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444644" y="2375655"/>
            <a:ext cx="3523281" cy="439727"/>
          </a:xfrm>
          <a:prstGeom prst="rect">
            <a:avLst/>
          </a:prstGeom>
        </p:spPr>
        <p:txBody>
          <a:bodyPr anchor="ctr"/>
          <a:lstStyle>
            <a:lvl1pPr algn="ctr">
              <a:defRPr sz="1867" b="1">
                <a:solidFill>
                  <a:schemeClr val="bg1"/>
                </a:solidFill>
              </a:defRPr>
            </a:lvl1pPr>
          </a:lstStyle>
          <a:p>
            <a:r>
              <a:rPr lang="en-GB"/>
              <a:t>Click to edit Master title style</a:t>
            </a:r>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433918" y="3093133"/>
            <a:ext cx="3543300" cy="3199863"/>
          </a:xfrm>
          <a:prstGeom prst="rect">
            <a:avLst/>
          </a:prstGeom>
        </p:spPr>
        <p:txBody>
          <a:bodyPr/>
          <a:lstStyle>
            <a:lvl1pPr marL="0" indent="0" algn="ctr">
              <a:buNone/>
              <a:defRPr sz="1333">
                <a:solidFill>
                  <a:schemeClr val="bg1"/>
                </a:solidFill>
              </a:defRPr>
            </a:lvl1pPr>
            <a:lvl2pPr>
              <a:defRPr sz="1333"/>
            </a:lvl2pPr>
            <a:lvl3pPr>
              <a:defRPr sz="1333"/>
            </a:lvl3pPr>
            <a:lvl4pPr>
              <a:defRPr sz="1333"/>
            </a:lvl4pPr>
            <a:lvl5pPr>
              <a:defRPr sz="1333"/>
            </a:lvl5pPr>
          </a:lstStyle>
          <a:p>
            <a:pPr lvl="0"/>
            <a:r>
              <a:rPr lang="en-GB"/>
              <a:t>Click to edit Master text styles</a:t>
            </a:r>
          </a:p>
        </p:txBody>
      </p:sp>
    </p:spTree>
    <p:extLst>
      <p:ext uri="{BB962C8B-B14F-4D97-AF65-F5344CB8AC3E}">
        <p14:creationId xmlns:p14="http://schemas.microsoft.com/office/powerpoint/2010/main" val="3718418486"/>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NTT_custom_layout_text_dark">
    <p:bg bwMode="ltGray">
      <p:bgPr>
        <a:solidFill>
          <a:schemeClr val="accent2"/>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7"/>
            <a:ext cx="3805411" cy="3220412"/>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latin typeface="Arial"/>
                <a:cs typeface="Arial"/>
              </a:defRPr>
            </a:lvl1pPr>
            <a:lvl2pPr algn="l">
              <a:lnSpc>
                <a:spcPct val="100000"/>
              </a:lnSpc>
              <a:defRPr>
                <a:solidFill>
                  <a:schemeClr val="bg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
        <p:nvSpPr>
          <p:cNvPr id="24" name="Text Placeholder 4"/>
          <p:cNvSpPr>
            <a:spLocks noGrp="1"/>
          </p:cNvSpPr>
          <p:nvPr>
            <p:ph type="body" sz="quarter" idx="13"/>
          </p:nvPr>
        </p:nvSpPr>
        <p:spPr>
          <a:xfrm>
            <a:off x="410413" y="4525769"/>
            <a:ext cx="3165808" cy="1932257"/>
          </a:xfrm>
          <a:prstGeom prst="roundRect">
            <a:avLst>
              <a:gd name="adj" fmla="val 0"/>
            </a:avLst>
          </a:prstGeom>
          <a:noFill/>
          <a:ln w="28575">
            <a:solidFill>
              <a:schemeClr val="bg1"/>
            </a:solidFill>
          </a:ln>
          <a:effectLst/>
        </p:spPr>
        <p:txBody>
          <a:bodyPr anchor="ctr"/>
          <a:lstStyle>
            <a:lvl1pPr algn="l">
              <a:lnSpc>
                <a:spcPct val="100000"/>
              </a:lnSpc>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5" name="Text Placeholder 4"/>
          <p:cNvSpPr>
            <a:spLocks noGrp="1"/>
          </p:cNvSpPr>
          <p:nvPr>
            <p:ph type="body" sz="quarter" idx="14"/>
          </p:nvPr>
        </p:nvSpPr>
        <p:spPr>
          <a:xfrm>
            <a:off x="3751383" y="4525769"/>
            <a:ext cx="8149535" cy="1932257"/>
          </a:xfrm>
          <a:prstGeom prst="roundRect">
            <a:avLst>
              <a:gd name="adj" fmla="val 0"/>
            </a:avLst>
          </a:prstGeom>
          <a:noFill/>
          <a:ln w="28575">
            <a:solidFill>
              <a:schemeClr val="bg1"/>
            </a:solidFill>
          </a:ln>
          <a:effectLst/>
        </p:spPr>
        <p:txBody>
          <a:bodyPr anchor="ctr"/>
          <a:lstStyle>
            <a:lvl1pPr algn="ctr">
              <a:lnSpc>
                <a:spcPct val="100000"/>
              </a:lnSpc>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6" name="Text Placeholder 4"/>
          <p:cNvSpPr>
            <a:spLocks noGrp="1"/>
          </p:cNvSpPr>
          <p:nvPr>
            <p:ph type="body" sz="quarter" idx="15"/>
          </p:nvPr>
        </p:nvSpPr>
        <p:spPr>
          <a:xfrm>
            <a:off x="4364451" y="1145277"/>
            <a:ext cx="2715011" cy="3220412"/>
          </a:xfrm>
          <a:prstGeom prst="roundRect">
            <a:avLst>
              <a:gd name="adj" fmla="val 0"/>
            </a:avLst>
          </a:prstGeom>
          <a:noFill/>
          <a:ln w="28575">
            <a:solidFill>
              <a:schemeClr val="bg1"/>
            </a:solidFill>
          </a:ln>
          <a:effectLst/>
        </p:spPr>
        <p:txBody>
          <a:bodyPr anchor="ctr"/>
          <a:lstStyle>
            <a:lvl1pPr algn="ctr">
              <a:lnSpc>
                <a:spcPct val="100000"/>
              </a:lnSpc>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7" name="Text Placeholder 4"/>
          <p:cNvSpPr>
            <a:spLocks noGrp="1"/>
          </p:cNvSpPr>
          <p:nvPr>
            <p:ph type="body" sz="quarter" idx="16"/>
          </p:nvPr>
        </p:nvSpPr>
        <p:spPr>
          <a:xfrm>
            <a:off x="7235005" y="190029"/>
            <a:ext cx="4665912" cy="2467036"/>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effectLst/>
                <a:latin typeface="Arial"/>
                <a:cs typeface="Arial"/>
              </a:defRPr>
            </a:lvl1pPr>
            <a:lvl2pPr algn="l">
              <a:lnSpc>
                <a:spcPct val="100000"/>
              </a:lnSpc>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noFill/>
          <a:ln w="28575">
            <a:solidFill>
              <a:schemeClr val="bg1"/>
            </a:solidFill>
          </a:ln>
          <a:effectLst/>
        </p:spPr>
        <p:txBody>
          <a:bodyPr anchor="ctr"/>
          <a:lstStyle>
            <a:lvl1pPr algn="r">
              <a:lnSpc>
                <a:spcPct val="100000"/>
              </a:lnSpc>
              <a:defRPr>
                <a:solidFill>
                  <a:schemeClr val="bg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 name="Title 1"/>
          <p:cNvSpPr>
            <a:spLocks noGrp="1"/>
          </p:cNvSpPr>
          <p:nvPr>
            <p:ph type="title"/>
          </p:nvPr>
        </p:nvSpPr>
        <p:spPr>
          <a:xfrm>
            <a:off x="410414" y="190029"/>
            <a:ext cx="6712839" cy="751351"/>
          </a:xfrm>
          <a:prstGeom prst="rect">
            <a:avLst/>
          </a:prstGeom>
        </p:spPr>
        <p:txBody>
          <a:bodyPr/>
          <a:lstStyle>
            <a:lvl1pPr algn="l">
              <a:defRPr sz="2933" b="1">
                <a:latin typeface="Arial"/>
                <a:cs typeface="Arial"/>
              </a:defRPr>
            </a:lvl1pPr>
          </a:lstStyle>
          <a:p>
            <a:r>
              <a:rPr lang="en-GB"/>
              <a:t>Click to edit Master title style</a:t>
            </a:r>
            <a:endParaRPr lang="en-ZA"/>
          </a:p>
        </p:txBody>
      </p:sp>
    </p:spTree>
    <p:extLst>
      <p:ext uri="{BB962C8B-B14F-4D97-AF65-F5344CB8AC3E}">
        <p14:creationId xmlns:p14="http://schemas.microsoft.com/office/powerpoint/2010/main" val="14475606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NTT_custom_layout">
    <p:bg bwMode="ltGray">
      <p:bgPr>
        <a:solidFill>
          <a:schemeClr val="bg1"/>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7"/>
            <a:ext cx="3805411" cy="3220412"/>
          </a:xfrm>
          <a:prstGeom prst="roundRect">
            <a:avLst>
              <a:gd name="adj" fmla="val 0"/>
            </a:avLst>
          </a:prstGeom>
          <a:solidFill>
            <a:schemeClr val="accent1"/>
          </a:solidFill>
          <a:ln>
            <a:noFill/>
          </a:ln>
          <a:effectLst/>
        </p:spPr>
        <p:txBody>
          <a:bodyPr anchor="ctr"/>
          <a:lstStyle>
            <a:lvl1pPr marL="239178" indent="0" algn="l">
              <a:defRPr sz="3200">
                <a:solidFill>
                  <a:srgbClr val="FFFFFF"/>
                </a:solidFill>
                <a:latin typeface="Arial"/>
                <a:cs typeface="Arial"/>
              </a:defRPr>
            </a:lvl1pPr>
            <a:lvl2pPr marL="478355" indent="241294" algn="l">
              <a:defRPr>
                <a:solidFill>
                  <a:srgbClr val="FFFFFF"/>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
        <p:nvSpPr>
          <p:cNvPr id="24" name="Text Placeholder 4"/>
          <p:cNvSpPr>
            <a:spLocks noGrp="1"/>
          </p:cNvSpPr>
          <p:nvPr>
            <p:ph type="body" sz="quarter" idx="13"/>
          </p:nvPr>
        </p:nvSpPr>
        <p:spPr>
          <a:xfrm>
            <a:off x="410413" y="4525769"/>
            <a:ext cx="3165808" cy="1932257"/>
          </a:xfrm>
          <a:prstGeom prst="roundRect">
            <a:avLst>
              <a:gd name="adj" fmla="val 0"/>
            </a:avLst>
          </a:prstGeom>
          <a:solidFill>
            <a:schemeClr val="bg1"/>
          </a:solidFill>
          <a:ln>
            <a:noFill/>
          </a:ln>
          <a:effectLst/>
        </p:spPr>
        <p:txBody>
          <a:bodyPr anchor="ctr"/>
          <a:lstStyle>
            <a:lvl1pPr algn="l">
              <a:defRPr sz="2667" b="1">
                <a:solidFill>
                  <a:schemeClr val="tx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5" name="Text Placeholder 4"/>
          <p:cNvSpPr>
            <a:spLocks noGrp="1"/>
          </p:cNvSpPr>
          <p:nvPr>
            <p:ph type="body" sz="quarter" idx="14"/>
          </p:nvPr>
        </p:nvSpPr>
        <p:spPr>
          <a:xfrm>
            <a:off x="3751383" y="4525769"/>
            <a:ext cx="8149535" cy="1932257"/>
          </a:xfrm>
          <a:prstGeom prst="roundRect">
            <a:avLst>
              <a:gd name="adj" fmla="val 0"/>
            </a:avLst>
          </a:prstGeom>
          <a:solidFill>
            <a:schemeClr val="accent2"/>
          </a:solidFill>
          <a:ln>
            <a:noFill/>
          </a:ln>
          <a:effectLst/>
        </p:spPr>
        <p:txBody>
          <a:bodyPr anchor="ctr"/>
          <a:lstStyle>
            <a:lvl1pPr algn="ctr">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6" name="Text Placeholder 4"/>
          <p:cNvSpPr>
            <a:spLocks noGrp="1"/>
          </p:cNvSpPr>
          <p:nvPr>
            <p:ph type="body" sz="quarter" idx="15"/>
          </p:nvPr>
        </p:nvSpPr>
        <p:spPr>
          <a:xfrm>
            <a:off x="4364451" y="1145277"/>
            <a:ext cx="2715011" cy="3220412"/>
          </a:xfrm>
          <a:prstGeom prst="roundRect">
            <a:avLst>
              <a:gd name="adj" fmla="val 0"/>
            </a:avLst>
          </a:prstGeom>
          <a:solidFill>
            <a:schemeClr val="accent2"/>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7" name="Text Placeholder 4"/>
          <p:cNvSpPr>
            <a:spLocks noGrp="1"/>
          </p:cNvSpPr>
          <p:nvPr>
            <p:ph type="body" sz="quarter" idx="16"/>
          </p:nvPr>
        </p:nvSpPr>
        <p:spPr>
          <a:xfrm>
            <a:off x="7235005" y="190029"/>
            <a:ext cx="4665912" cy="2467036"/>
          </a:xfrm>
          <a:prstGeom prst="roundRect">
            <a:avLst>
              <a:gd name="adj" fmla="val 0"/>
            </a:avLst>
          </a:prstGeom>
          <a:solidFill>
            <a:schemeClr val="accent1"/>
          </a:solidFill>
          <a:ln>
            <a:noFill/>
          </a:ln>
          <a:effectLst/>
        </p:spPr>
        <p:txBody>
          <a:bodyPr anchor="ctr"/>
          <a:lstStyle>
            <a:lvl1pPr marL="239178" indent="0" algn="l">
              <a:defRPr sz="3200">
                <a:solidFill>
                  <a:srgbClr val="FFFFFF"/>
                </a:solidFill>
                <a:effectLst/>
                <a:latin typeface="Arial"/>
                <a:cs typeface="Arial"/>
              </a:defRPr>
            </a:lvl1pPr>
            <a:lvl2pPr marL="478355" indent="-239178" algn="l">
              <a:defRPr>
                <a:solidFill>
                  <a:srgbClr val="FFFFFF"/>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solidFill>
            <a:schemeClr val="bg1"/>
          </a:solidFill>
          <a:ln>
            <a:noFill/>
          </a:ln>
          <a:effectLst/>
        </p:spPr>
        <p:txBody>
          <a:bodyPr anchor="ctr"/>
          <a:lstStyle>
            <a:lvl1pPr algn="r">
              <a:defRPr>
                <a:solidFill>
                  <a:schemeClr val="tx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 name="Title 1"/>
          <p:cNvSpPr>
            <a:spLocks noGrp="1"/>
          </p:cNvSpPr>
          <p:nvPr>
            <p:ph type="title"/>
          </p:nvPr>
        </p:nvSpPr>
        <p:spPr>
          <a:xfrm>
            <a:off x="410414" y="190029"/>
            <a:ext cx="6712839" cy="751351"/>
          </a:xfrm>
          <a:prstGeom prst="rect">
            <a:avLst/>
          </a:prstGeom>
        </p:spPr>
        <p:txBody>
          <a:bodyPr/>
          <a:lstStyle>
            <a:lvl1pPr algn="l">
              <a:defRPr sz="2933" b="1">
                <a:solidFill>
                  <a:schemeClr val="accent2"/>
                </a:solidFill>
                <a:latin typeface="Arial"/>
                <a:cs typeface="Arial"/>
              </a:defRPr>
            </a:lvl1pPr>
          </a:lstStyle>
          <a:p>
            <a:r>
              <a:rPr lang="en-GB"/>
              <a:t>Click to edit Master title style</a:t>
            </a:r>
            <a:endParaRPr lang="en-ZA"/>
          </a:p>
        </p:txBody>
      </p:sp>
    </p:spTree>
    <p:extLst>
      <p:ext uri="{BB962C8B-B14F-4D97-AF65-F5344CB8AC3E}">
        <p14:creationId xmlns:p14="http://schemas.microsoft.com/office/powerpoint/2010/main" val="8995172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4_NTT_content_page">
    <p:bg bwMode="ltGray">
      <p:bgPr>
        <a:solidFill>
          <a:schemeClr val="tx1"/>
        </a:solidFill>
        <a:effectLst/>
      </p:bgPr>
    </p:bg>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8091E020-A1A3-894A-9A18-A2F931CBD43E}"/>
              </a:ext>
            </a:extLst>
          </p:cNvPr>
          <p:cNvSpPr>
            <a:spLocks noGrp="1"/>
          </p:cNvSpPr>
          <p:nvPr>
            <p:ph type="pic" sz="quarter" idx="13"/>
          </p:nvPr>
        </p:nvSpPr>
        <p:spPr>
          <a:xfrm>
            <a:off x="6194972" y="1003370"/>
            <a:ext cx="1928397" cy="2635401"/>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noProof="0"/>
              <a:t>Click icon to add picture</a:t>
            </a:r>
            <a:endParaRPr lang="en-US" noProof="0"/>
          </a:p>
        </p:txBody>
      </p:sp>
      <p:sp>
        <p:nvSpPr>
          <p:cNvPr id="11" name="Picture Placeholder 13">
            <a:extLst>
              <a:ext uri="{FF2B5EF4-FFF2-40B4-BE49-F238E27FC236}">
                <a16:creationId xmlns:a16="http://schemas.microsoft.com/office/drawing/2014/main" id="{A37017A4-629A-A44D-A88D-1F8DEFFF532C}"/>
              </a:ext>
            </a:extLst>
          </p:cNvPr>
          <p:cNvSpPr>
            <a:spLocks noGrp="1"/>
          </p:cNvSpPr>
          <p:nvPr>
            <p:ph type="pic" sz="quarter" idx="18"/>
          </p:nvPr>
        </p:nvSpPr>
        <p:spPr>
          <a:xfrm>
            <a:off x="4092196" y="1003369"/>
            <a:ext cx="1939033" cy="1540764"/>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noProof="0"/>
              <a:t>Click icon to add picture</a:t>
            </a:r>
            <a:endParaRPr lang="en-US" noProof="0"/>
          </a:p>
        </p:txBody>
      </p:sp>
      <p:sp>
        <p:nvSpPr>
          <p:cNvPr id="12" name="Picture Placeholder 13">
            <a:extLst>
              <a:ext uri="{FF2B5EF4-FFF2-40B4-BE49-F238E27FC236}">
                <a16:creationId xmlns:a16="http://schemas.microsoft.com/office/drawing/2014/main" id="{91168ADE-9466-4740-BD51-47A72258CAAE}"/>
              </a:ext>
            </a:extLst>
          </p:cNvPr>
          <p:cNvSpPr>
            <a:spLocks noGrp="1"/>
          </p:cNvSpPr>
          <p:nvPr>
            <p:ph type="pic" sz="quarter" idx="19"/>
          </p:nvPr>
        </p:nvSpPr>
        <p:spPr>
          <a:xfrm>
            <a:off x="4092196" y="2715211"/>
            <a:ext cx="1939033" cy="3514139"/>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noProof="0"/>
              <a:t>Click icon to add picture</a:t>
            </a:r>
            <a:endParaRPr lang="en-US" noProof="0"/>
          </a:p>
        </p:txBody>
      </p:sp>
      <p:sp>
        <p:nvSpPr>
          <p:cNvPr id="13" name="Picture Placeholder 13">
            <a:extLst>
              <a:ext uri="{FF2B5EF4-FFF2-40B4-BE49-F238E27FC236}">
                <a16:creationId xmlns:a16="http://schemas.microsoft.com/office/drawing/2014/main" id="{94A075D6-2F03-9E41-AF6A-579AABF97DE6}"/>
              </a:ext>
            </a:extLst>
          </p:cNvPr>
          <p:cNvSpPr>
            <a:spLocks noGrp="1"/>
          </p:cNvSpPr>
          <p:nvPr>
            <p:ph type="pic" sz="quarter" idx="17"/>
          </p:nvPr>
        </p:nvSpPr>
        <p:spPr>
          <a:xfrm>
            <a:off x="6184336" y="3798602"/>
            <a:ext cx="5151779" cy="2430748"/>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noProof="0"/>
              <a:t>Click icon to add picture</a:t>
            </a:r>
            <a:endParaRPr lang="en-US" noProof="0"/>
          </a:p>
        </p:txBody>
      </p:sp>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444644" y="1003368"/>
            <a:ext cx="3523281" cy="877093"/>
          </a:xfrm>
          <a:prstGeom prst="rect">
            <a:avLst/>
          </a:prstGeom>
        </p:spPr>
        <p:txBody>
          <a:bodyPr anchor="ctr"/>
          <a:lstStyle>
            <a:lvl1pPr algn="l">
              <a:lnSpc>
                <a:spcPct val="100000"/>
              </a:lnSpc>
              <a:defRPr sz="3200" b="1">
                <a:solidFill>
                  <a:schemeClr val="accent2"/>
                </a:solidFill>
              </a:defRPr>
            </a:lvl1pPr>
          </a:lstStyle>
          <a:p>
            <a:r>
              <a:rPr lang="en-GB"/>
              <a:t>Click to edit Master title style</a:t>
            </a:r>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444644" y="2017008"/>
            <a:ext cx="3523281" cy="42123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287114" y="1003369"/>
            <a:ext cx="3049001" cy="263540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254491013"/>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5_NTT_content_page">
    <p:bg bwMode="ltGray">
      <p:bgPr>
        <a:solidFill>
          <a:schemeClr val="tx1"/>
        </a:solidFill>
        <a:effectLst/>
      </p:bgPr>
    </p:bg>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656678" y="897351"/>
            <a:ext cx="3523281" cy="877093"/>
          </a:xfrm>
          <a:prstGeom prst="rect">
            <a:avLst/>
          </a:prstGeom>
        </p:spPr>
        <p:txBody>
          <a:bodyPr anchor="ctr"/>
          <a:lstStyle>
            <a:lvl1pPr algn="l">
              <a:lnSpc>
                <a:spcPct val="100000"/>
              </a:lnSpc>
              <a:defRPr sz="3200" b="1">
                <a:solidFill>
                  <a:schemeClr val="accent2"/>
                </a:solidFill>
              </a:defRPr>
            </a:lvl1pPr>
          </a:lstStyle>
          <a:p>
            <a:r>
              <a:rPr lang="en-GB"/>
              <a:t>Click to edit Master title style</a:t>
            </a:r>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656678" y="1910991"/>
            <a:ext cx="3523281" cy="4212341"/>
          </a:xfrm>
          <a:prstGeom prst="rect">
            <a:avLst/>
          </a:prstGeom>
          <a:solidFill>
            <a:schemeClr val="accent2">
              <a:lumMod val="20000"/>
              <a:lumOff val="80000"/>
            </a:schemeClr>
          </a:solidFill>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499149" y="897352"/>
            <a:ext cx="3049001" cy="2635401"/>
          </a:xfrm>
          <a:prstGeom prst="rect">
            <a:avLst/>
          </a:prstGeom>
          <a:solidFill>
            <a:schemeClr val="accent4">
              <a:lumMod val="20000"/>
              <a:lumOff val="80000"/>
            </a:schemeClr>
          </a:solidFill>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Text Placeholder 6">
            <a:extLst>
              <a:ext uri="{FF2B5EF4-FFF2-40B4-BE49-F238E27FC236}">
                <a16:creationId xmlns:a16="http://schemas.microsoft.com/office/drawing/2014/main" id="{158B466F-ED96-BE4E-955F-BE1FEA9E2EEB}"/>
              </a:ext>
            </a:extLst>
          </p:cNvPr>
          <p:cNvSpPr>
            <a:spLocks noGrp="1"/>
          </p:cNvSpPr>
          <p:nvPr>
            <p:ph type="body" sz="quarter" idx="22"/>
          </p:nvPr>
        </p:nvSpPr>
        <p:spPr>
          <a:xfrm>
            <a:off x="4321900" y="2540620"/>
            <a:ext cx="1939033" cy="3582712"/>
          </a:xfrm>
          <a:prstGeom prst="rect">
            <a:avLst/>
          </a:prstGeom>
          <a:solidFill>
            <a:schemeClr val="accent5">
              <a:lumMod val="20000"/>
              <a:lumOff val="80000"/>
            </a:schemeClr>
          </a:solidFill>
        </p:spPr>
        <p:txBody>
          <a:bodyPr/>
          <a:lstStyle>
            <a:lvl1pPr>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GB"/>
              <a:t>Click to edit Master text styles</a:t>
            </a:r>
          </a:p>
        </p:txBody>
      </p:sp>
      <p:sp>
        <p:nvSpPr>
          <p:cNvPr id="17" name="Picture Placeholder 13">
            <a:extLst>
              <a:ext uri="{FF2B5EF4-FFF2-40B4-BE49-F238E27FC236}">
                <a16:creationId xmlns:a16="http://schemas.microsoft.com/office/drawing/2014/main" id="{E94D3DF8-5CF2-BF47-B246-B473C449DBF3}"/>
              </a:ext>
            </a:extLst>
          </p:cNvPr>
          <p:cNvSpPr>
            <a:spLocks noGrp="1"/>
          </p:cNvSpPr>
          <p:nvPr>
            <p:ph type="pic" sz="quarter" idx="18"/>
          </p:nvPr>
        </p:nvSpPr>
        <p:spPr>
          <a:xfrm>
            <a:off x="4321900" y="897351"/>
            <a:ext cx="1939033" cy="1540764"/>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noProof="0"/>
              <a:t>Click icon to add picture</a:t>
            </a:r>
            <a:endParaRPr lang="en-US" noProof="0"/>
          </a:p>
        </p:txBody>
      </p:sp>
      <p:sp>
        <p:nvSpPr>
          <p:cNvPr id="18" name="Picture Placeholder 13">
            <a:extLst>
              <a:ext uri="{FF2B5EF4-FFF2-40B4-BE49-F238E27FC236}">
                <a16:creationId xmlns:a16="http://schemas.microsoft.com/office/drawing/2014/main" id="{CBE37E95-2D23-464B-9974-5D9E340CF188}"/>
              </a:ext>
            </a:extLst>
          </p:cNvPr>
          <p:cNvSpPr>
            <a:spLocks noGrp="1"/>
          </p:cNvSpPr>
          <p:nvPr>
            <p:ph type="pic" sz="quarter" idx="17"/>
          </p:nvPr>
        </p:nvSpPr>
        <p:spPr>
          <a:xfrm>
            <a:off x="6396371" y="3692585"/>
            <a:ext cx="5151779" cy="2430748"/>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noProof="0"/>
              <a:t>Click icon to add picture</a:t>
            </a:r>
            <a:endParaRPr lang="en-US" noProof="0"/>
          </a:p>
        </p:txBody>
      </p:sp>
      <p:sp>
        <p:nvSpPr>
          <p:cNvPr id="19" name="Text Placeholder 6">
            <a:extLst>
              <a:ext uri="{FF2B5EF4-FFF2-40B4-BE49-F238E27FC236}">
                <a16:creationId xmlns:a16="http://schemas.microsoft.com/office/drawing/2014/main" id="{0174DC45-C4F5-BB48-9E7A-CEE0AEC2189E}"/>
              </a:ext>
            </a:extLst>
          </p:cNvPr>
          <p:cNvSpPr>
            <a:spLocks noGrp="1"/>
          </p:cNvSpPr>
          <p:nvPr>
            <p:ph type="body" sz="quarter" idx="23"/>
          </p:nvPr>
        </p:nvSpPr>
        <p:spPr>
          <a:xfrm>
            <a:off x="6410524" y="897352"/>
            <a:ext cx="1982521" cy="2635401"/>
          </a:xfrm>
          <a:prstGeom prst="rect">
            <a:avLst/>
          </a:prstGeom>
          <a:solidFill>
            <a:schemeClr val="accent6">
              <a:lumMod val="20000"/>
              <a:lumOff val="80000"/>
            </a:schemeClr>
          </a:solidFill>
        </p:spPr>
        <p:txBody>
          <a:bodyPr/>
          <a:lstStyle>
            <a:lvl1pPr>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GB"/>
              <a:t>Click to edit Master text styles</a:t>
            </a:r>
          </a:p>
        </p:txBody>
      </p:sp>
    </p:spTree>
    <p:extLst>
      <p:ext uri="{BB962C8B-B14F-4D97-AF65-F5344CB8AC3E}">
        <p14:creationId xmlns:p14="http://schemas.microsoft.com/office/powerpoint/2010/main" val="1330535525"/>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6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r>
              <a:rPr lang="en-GB" noProof="0"/>
              <a:t>Click icon to add picture</a:t>
            </a:r>
            <a:endParaRPr lang="en-US" noProof="0"/>
          </a:p>
        </p:txBody>
      </p:sp>
      <p:sp>
        <p:nvSpPr>
          <p:cNvPr id="17" name="Rectangle 16">
            <a:extLst>
              <a:ext uri="{FF2B5EF4-FFF2-40B4-BE49-F238E27FC236}">
                <a16:creationId xmlns:a16="http://schemas.microsoft.com/office/drawing/2014/main" id="{D9A7F20D-739B-444F-BBE5-002C9121F465}"/>
              </a:ext>
            </a:extLst>
          </p:cNvPr>
          <p:cNvSpPr/>
          <p:nvPr/>
        </p:nvSpPr>
        <p:spPr>
          <a:xfrm>
            <a:off x="3736975" y="0"/>
            <a:ext cx="376951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GB"/>
              <a:t>Click to edit Master title style</a:t>
            </a:r>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2" y="141749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2" y="951707"/>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2" y="3508542"/>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2" y="3039979"/>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2" y="5596745"/>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2" y="5130955"/>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2"/>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7"/>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162632889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7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r>
              <a:rPr lang="en-GB" noProof="0"/>
              <a:t>Click icon to add picture</a:t>
            </a:r>
            <a:endParaRPr lang="en-US" noProof="0"/>
          </a:p>
        </p:txBody>
      </p:sp>
      <p:sp>
        <p:nvSpPr>
          <p:cNvPr id="17" name="Rectangle 16">
            <a:extLst>
              <a:ext uri="{FF2B5EF4-FFF2-40B4-BE49-F238E27FC236}">
                <a16:creationId xmlns:a16="http://schemas.microsoft.com/office/drawing/2014/main" id="{D9A7F20D-739B-444F-BBE5-002C9121F465}"/>
              </a:ext>
            </a:extLst>
          </p:cNvPr>
          <p:cNvSpPr/>
          <p:nvPr/>
        </p:nvSpPr>
        <p:spPr>
          <a:xfrm>
            <a:off x="3736975" y="0"/>
            <a:ext cx="376951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GB"/>
              <a:t>Click to edit Master title style</a:t>
            </a:r>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2" y="141749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2" y="951707"/>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2" y="3508542"/>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2" y="3039979"/>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2" y="5596745"/>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2" y="5130955"/>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2"/>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7"/>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227507480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NTT_content_page">
    <p:bg bwMode="lt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0D8F2F-F0BB-43EE-9819-17B61FFF8023}"/>
              </a:ext>
            </a:extLst>
          </p:cNvPr>
          <p:cNvGraphicFramePr>
            <a:graphicFrameLocks noChangeAspect="1"/>
          </p:cNvGraphicFramePr>
          <p:nvPr userDrawn="1">
            <p:custDataLst>
              <p:tags r:id="rId1"/>
            </p:custDataLst>
            <p:extLst>
              <p:ext uri="{D42A27DB-BD31-4B8C-83A1-F6EECF244321}">
                <p14:modId xmlns:p14="http://schemas.microsoft.com/office/powerpoint/2010/main" val="5319813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60D8F2F-F0BB-43EE-9819-17B61FFF802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3085481-1F38-7744-AE2E-14E71BBC7165}"/>
              </a:ext>
            </a:extLst>
          </p:cNvPr>
          <p:cNvSpPr/>
          <p:nvPr userDrawn="1"/>
        </p:nvSpPr>
        <p:spPr>
          <a:xfrm>
            <a:off x="5883965" y="0"/>
            <a:ext cx="6308035" cy="685800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rtl="0" fontAlgn="auto">
              <a:lnSpc>
                <a:spcPct val="110000"/>
              </a:lnSpc>
              <a:spcBef>
                <a:spcPts val="267"/>
              </a:spcBef>
              <a:spcAft>
                <a:spcPts val="267"/>
              </a:spcAft>
            </a:pPr>
            <a:endParaRPr lang="en-US" sz="2133">
              <a:solidFill>
                <a:schemeClr val="tx1"/>
              </a:solidFill>
            </a:endParaRPr>
          </a:p>
        </p:txBody>
      </p:sp>
      <p:sp>
        <p:nvSpPr>
          <p:cNvPr id="4" name="Rectangle 3">
            <a:extLst>
              <a:ext uri="{FF2B5EF4-FFF2-40B4-BE49-F238E27FC236}">
                <a16:creationId xmlns:a16="http://schemas.microsoft.com/office/drawing/2014/main" id="{F047273F-8383-0B40-A84D-A6E3D5DAB531}"/>
              </a:ext>
            </a:extLst>
          </p:cNvPr>
          <p:cNvSpPr/>
          <p:nvPr userDrawn="1"/>
        </p:nvSpPr>
        <p:spPr>
          <a:xfrm>
            <a:off x="1157207" y="1290234"/>
            <a:ext cx="3822916" cy="4277532"/>
          </a:xfrm>
          <a:prstGeom prst="rect">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0" name="Text Placeholder 6">
            <a:extLst>
              <a:ext uri="{FF2B5EF4-FFF2-40B4-BE49-F238E27FC236}">
                <a16:creationId xmlns:a16="http://schemas.microsoft.com/office/drawing/2014/main" id="{7172A34A-A47D-0B40-835D-28831DC7725C}"/>
              </a:ext>
            </a:extLst>
          </p:cNvPr>
          <p:cNvSpPr>
            <a:spLocks noGrp="1"/>
          </p:cNvSpPr>
          <p:nvPr>
            <p:ph type="body" sz="quarter" idx="15"/>
          </p:nvPr>
        </p:nvSpPr>
        <p:spPr>
          <a:xfrm>
            <a:off x="1297014" y="3256155"/>
            <a:ext cx="3543300" cy="306687"/>
          </a:xfrm>
          <a:prstGeom prst="rect">
            <a:avLst/>
          </a:prstGeom>
        </p:spPr>
        <p:txBody>
          <a:bodyPr/>
          <a:lstStyle>
            <a:lvl1pPr marL="0" indent="0" algn="ctr" rtl="0">
              <a:buNone/>
              <a:defRPr sz="1333">
                <a:solidFill>
                  <a:schemeClr val="bg1"/>
                </a:solidFill>
              </a:defRPr>
            </a:lvl1pPr>
            <a:lvl2pPr marL="457189" indent="0" algn="ctr">
              <a:buNone/>
              <a:defRPr sz="1333"/>
            </a:lvl2pPr>
            <a:lvl3pPr marL="914377" indent="0" algn="ctr">
              <a:buNone/>
              <a:defRPr sz="1333"/>
            </a:lvl3pPr>
            <a:lvl4pPr marL="1371566" indent="0" algn="ctr">
              <a:buNone/>
              <a:defRPr sz="1333"/>
            </a:lvl4pPr>
            <a:lvl5pPr marL="1828754" indent="0" algn="ctr">
              <a:buNone/>
              <a:defRPr sz="1333"/>
            </a:lvl5pPr>
          </a:lstStyle>
          <a:p>
            <a:pPr lvl="0"/>
            <a:r>
              <a:rPr lang="en-US"/>
              <a:t>Click to edit Master text styles</a:t>
            </a:r>
          </a:p>
        </p:txBody>
      </p:sp>
      <p:sp>
        <p:nvSpPr>
          <p:cNvPr id="12" name="Text Placeholder 11">
            <a:extLst>
              <a:ext uri="{FF2B5EF4-FFF2-40B4-BE49-F238E27FC236}">
                <a16:creationId xmlns:a16="http://schemas.microsoft.com/office/drawing/2014/main" id="{7301CF58-65C8-5A44-9BBC-7F4C9512C244}"/>
              </a:ext>
            </a:extLst>
          </p:cNvPr>
          <p:cNvSpPr>
            <a:spLocks noGrp="1"/>
          </p:cNvSpPr>
          <p:nvPr>
            <p:ph type="body" sz="quarter" idx="16" hasCustomPrompt="1"/>
          </p:nvPr>
        </p:nvSpPr>
        <p:spPr>
          <a:xfrm>
            <a:off x="6376011" y="799958"/>
            <a:ext cx="5423365" cy="306687"/>
          </a:xfrm>
          <a:prstGeom prst="rect">
            <a:avLst/>
          </a:prstGeom>
        </p:spPr>
        <p:txBody>
          <a:bodyPr/>
          <a:lstStyle>
            <a:lvl1pPr marL="0" indent="0" rtl="0">
              <a:buNone/>
              <a:defRPr sz="1333">
                <a:solidFill>
                  <a:schemeClr val="tx1"/>
                </a:solidFill>
              </a:defRPr>
            </a:lvl1pPr>
          </a:lstStyle>
          <a:p>
            <a:pPr lvl="0"/>
            <a:r>
              <a:rPr lang="en-US"/>
              <a:t>Insert time</a:t>
            </a:r>
          </a:p>
        </p:txBody>
      </p:sp>
      <p:sp>
        <p:nvSpPr>
          <p:cNvPr id="14" name="Text Placeholder 11">
            <a:extLst>
              <a:ext uri="{FF2B5EF4-FFF2-40B4-BE49-F238E27FC236}">
                <a16:creationId xmlns:a16="http://schemas.microsoft.com/office/drawing/2014/main" id="{593C8A1F-BBC4-D142-8D11-C3D83D5A59E7}"/>
              </a:ext>
            </a:extLst>
          </p:cNvPr>
          <p:cNvSpPr>
            <a:spLocks noGrp="1"/>
          </p:cNvSpPr>
          <p:nvPr>
            <p:ph type="body" sz="quarter" idx="17" hasCustomPrompt="1"/>
          </p:nvPr>
        </p:nvSpPr>
        <p:spPr>
          <a:xfrm>
            <a:off x="6376011" y="1130587"/>
            <a:ext cx="5423365" cy="349583"/>
          </a:xfrm>
          <a:prstGeom prst="rect">
            <a:avLst/>
          </a:prstGeom>
        </p:spPr>
        <p:txBody>
          <a:bodyPr/>
          <a:lstStyle>
            <a:lvl1pPr marL="0" indent="0" rtl="0">
              <a:buNone/>
              <a:defRPr sz="1600" b="1">
                <a:solidFill>
                  <a:schemeClr val="accent3"/>
                </a:solidFill>
              </a:defRPr>
            </a:lvl1pPr>
          </a:lstStyle>
          <a:p>
            <a:pPr lvl="0"/>
            <a:r>
              <a:rPr lang="en-US"/>
              <a:t>Insert Heading</a:t>
            </a:r>
          </a:p>
        </p:txBody>
      </p:sp>
      <p:sp>
        <p:nvSpPr>
          <p:cNvPr id="15" name="Text Placeholder 11">
            <a:extLst>
              <a:ext uri="{FF2B5EF4-FFF2-40B4-BE49-F238E27FC236}">
                <a16:creationId xmlns:a16="http://schemas.microsoft.com/office/drawing/2014/main" id="{B2E1BFFD-5E6B-184E-9C96-C96EA10F3A87}"/>
              </a:ext>
            </a:extLst>
          </p:cNvPr>
          <p:cNvSpPr>
            <a:spLocks noGrp="1"/>
          </p:cNvSpPr>
          <p:nvPr>
            <p:ph type="body" sz="quarter" idx="18" hasCustomPrompt="1"/>
          </p:nvPr>
        </p:nvSpPr>
        <p:spPr>
          <a:xfrm>
            <a:off x="6376011" y="1440554"/>
            <a:ext cx="5423365" cy="306687"/>
          </a:xfrm>
          <a:prstGeom prst="rect">
            <a:avLst/>
          </a:prstGeom>
        </p:spPr>
        <p:txBody>
          <a:bodyPr/>
          <a:lstStyle>
            <a:lvl1pPr marL="0" indent="0" rtl="0">
              <a:buNone/>
              <a:defRPr sz="1333">
                <a:solidFill>
                  <a:schemeClr val="tx1"/>
                </a:solidFill>
              </a:defRPr>
            </a:lvl1pPr>
          </a:lstStyle>
          <a:p>
            <a:pPr lvl="0"/>
            <a:r>
              <a:rPr lang="en-US"/>
              <a:t>Insert text</a:t>
            </a:r>
          </a:p>
        </p:txBody>
      </p:sp>
      <p:sp>
        <p:nvSpPr>
          <p:cNvPr id="22" name="Text Placeholder 11">
            <a:extLst>
              <a:ext uri="{FF2B5EF4-FFF2-40B4-BE49-F238E27FC236}">
                <a16:creationId xmlns:a16="http://schemas.microsoft.com/office/drawing/2014/main" id="{252F90EC-C0F9-F040-B680-A6A9A3CB16FF}"/>
              </a:ext>
            </a:extLst>
          </p:cNvPr>
          <p:cNvSpPr>
            <a:spLocks noGrp="1"/>
          </p:cNvSpPr>
          <p:nvPr>
            <p:ph type="body" sz="quarter" idx="19" hasCustomPrompt="1"/>
          </p:nvPr>
        </p:nvSpPr>
        <p:spPr>
          <a:xfrm>
            <a:off x="6376011" y="2163809"/>
            <a:ext cx="5423365" cy="306687"/>
          </a:xfrm>
          <a:prstGeom prst="rect">
            <a:avLst/>
          </a:prstGeom>
        </p:spPr>
        <p:txBody>
          <a:bodyPr/>
          <a:lstStyle>
            <a:lvl1pPr marL="0" indent="0" rtl="0">
              <a:buNone/>
              <a:defRPr sz="1333">
                <a:solidFill>
                  <a:schemeClr val="tx1"/>
                </a:solidFill>
              </a:defRPr>
            </a:lvl1pPr>
          </a:lstStyle>
          <a:p>
            <a:pPr lvl="0"/>
            <a:r>
              <a:rPr lang="en-US"/>
              <a:t>Insert time</a:t>
            </a:r>
          </a:p>
        </p:txBody>
      </p:sp>
      <p:sp>
        <p:nvSpPr>
          <p:cNvPr id="23" name="Text Placeholder 11">
            <a:extLst>
              <a:ext uri="{FF2B5EF4-FFF2-40B4-BE49-F238E27FC236}">
                <a16:creationId xmlns:a16="http://schemas.microsoft.com/office/drawing/2014/main" id="{8B064F4E-61E6-8D43-884D-B02F8BF1243B}"/>
              </a:ext>
            </a:extLst>
          </p:cNvPr>
          <p:cNvSpPr>
            <a:spLocks noGrp="1"/>
          </p:cNvSpPr>
          <p:nvPr>
            <p:ph type="body" sz="quarter" idx="20" hasCustomPrompt="1"/>
          </p:nvPr>
        </p:nvSpPr>
        <p:spPr>
          <a:xfrm>
            <a:off x="6376011" y="2494438"/>
            <a:ext cx="5423365" cy="349583"/>
          </a:xfrm>
          <a:prstGeom prst="rect">
            <a:avLst/>
          </a:prstGeom>
        </p:spPr>
        <p:txBody>
          <a:bodyPr/>
          <a:lstStyle>
            <a:lvl1pPr marL="0" indent="0" rtl="0">
              <a:buNone/>
              <a:defRPr sz="1600" b="1">
                <a:solidFill>
                  <a:schemeClr val="accent3"/>
                </a:solidFill>
              </a:defRPr>
            </a:lvl1pPr>
          </a:lstStyle>
          <a:p>
            <a:pPr lvl="0"/>
            <a:r>
              <a:rPr lang="en-US"/>
              <a:t>Insert Heading</a:t>
            </a:r>
          </a:p>
        </p:txBody>
      </p:sp>
      <p:sp>
        <p:nvSpPr>
          <p:cNvPr id="24" name="Text Placeholder 11">
            <a:extLst>
              <a:ext uri="{FF2B5EF4-FFF2-40B4-BE49-F238E27FC236}">
                <a16:creationId xmlns:a16="http://schemas.microsoft.com/office/drawing/2014/main" id="{03EE597B-F187-9343-9BDB-C8BFA2AFFFD0}"/>
              </a:ext>
            </a:extLst>
          </p:cNvPr>
          <p:cNvSpPr>
            <a:spLocks noGrp="1"/>
          </p:cNvSpPr>
          <p:nvPr>
            <p:ph type="body" sz="quarter" idx="21" hasCustomPrompt="1"/>
          </p:nvPr>
        </p:nvSpPr>
        <p:spPr>
          <a:xfrm>
            <a:off x="6376011" y="2804405"/>
            <a:ext cx="5423365" cy="306687"/>
          </a:xfrm>
          <a:prstGeom prst="rect">
            <a:avLst/>
          </a:prstGeom>
        </p:spPr>
        <p:txBody>
          <a:bodyPr/>
          <a:lstStyle>
            <a:lvl1pPr marL="0" indent="0" rtl="0">
              <a:buNone/>
              <a:defRPr sz="1333">
                <a:solidFill>
                  <a:schemeClr val="tx1"/>
                </a:solidFill>
              </a:defRPr>
            </a:lvl1pPr>
          </a:lstStyle>
          <a:p>
            <a:pPr lvl="0"/>
            <a:r>
              <a:rPr lang="en-US"/>
              <a:t>Insert text</a:t>
            </a:r>
          </a:p>
        </p:txBody>
      </p:sp>
      <p:sp>
        <p:nvSpPr>
          <p:cNvPr id="26" name="Text Placeholder 11">
            <a:extLst>
              <a:ext uri="{FF2B5EF4-FFF2-40B4-BE49-F238E27FC236}">
                <a16:creationId xmlns:a16="http://schemas.microsoft.com/office/drawing/2014/main" id="{586E91DD-916B-F645-80BE-74FE13A1A309}"/>
              </a:ext>
            </a:extLst>
          </p:cNvPr>
          <p:cNvSpPr>
            <a:spLocks noGrp="1"/>
          </p:cNvSpPr>
          <p:nvPr>
            <p:ph type="body" sz="quarter" idx="22" hasCustomPrompt="1"/>
          </p:nvPr>
        </p:nvSpPr>
        <p:spPr>
          <a:xfrm>
            <a:off x="6376011" y="3541221"/>
            <a:ext cx="5423365" cy="306687"/>
          </a:xfrm>
          <a:prstGeom prst="rect">
            <a:avLst/>
          </a:prstGeom>
        </p:spPr>
        <p:txBody>
          <a:bodyPr/>
          <a:lstStyle>
            <a:lvl1pPr marL="0" indent="0" rtl="0">
              <a:buNone/>
              <a:defRPr sz="1333">
                <a:solidFill>
                  <a:schemeClr val="tx1"/>
                </a:solidFill>
              </a:defRPr>
            </a:lvl1pPr>
          </a:lstStyle>
          <a:p>
            <a:pPr lvl="0"/>
            <a:r>
              <a:rPr lang="en-US"/>
              <a:t>Insert time</a:t>
            </a:r>
          </a:p>
        </p:txBody>
      </p:sp>
      <p:sp>
        <p:nvSpPr>
          <p:cNvPr id="27" name="Text Placeholder 11">
            <a:extLst>
              <a:ext uri="{FF2B5EF4-FFF2-40B4-BE49-F238E27FC236}">
                <a16:creationId xmlns:a16="http://schemas.microsoft.com/office/drawing/2014/main" id="{D33AE9B1-FC4C-B64A-A627-4C5DEB4D3642}"/>
              </a:ext>
            </a:extLst>
          </p:cNvPr>
          <p:cNvSpPr>
            <a:spLocks noGrp="1"/>
          </p:cNvSpPr>
          <p:nvPr>
            <p:ph type="body" sz="quarter" idx="23" hasCustomPrompt="1"/>
          </p:nvPr>
        </p:nvSpPr>
        <p:spPr>
          <a:xfrm>
            <a:off x="6376011" y="3871850"/>
            <a:ext cx="5423365" cy="349583"/>
          </a:xfrm>
          <a:prstGeom prst="rect">
            <a:avLst/>
          </a:prstGeom>
        </p:spPr>
        <p:txBody>
          <a:bodyPr/>
          <a:lstStyle>
            <a:lvl1pPr marL="0" indent="0" rtl="0">
              <a:buNone/>
              <a:defRPr sz="1600" b="1">
                <a:solidFill>
                  <a:schemeClr val="accent3"/>
                </a:solidFill>
              </a:defRPr>
            </a:lvl1pPr>
          </a:lstStyle>
          <a:p>
            <a:pPr lvl="0"/>
            <a:r>
              <a:rPr lang="en-US"/>
              <a:t>Insert Heading</a:t>
            </a:r>
          </a:p>
        </p:txBody>
      </p:sp>
      <p:sp>
        <p:nvSpPr>
          <p:cNvPr id="28" name="Text Placeholder 11">
            <a:extLst>
              <a:ext uri="{FF2B5EF4-FFF2-40B4-BE49-F238E27FC236}">
                <a16:creationId xmlns:a16="http://schemas.microsoft.com/office/drawing/2014/main" id="{D7BDC373-757A-224C-BDE1-7C04B2534237}"/>
              </a:ext>
            </a:extLst>
          </p:cNvPr>
          <p:cNvSpPr>
            <a:spLocks noGrp="1"/>
          </p:cNvSpPr>
          <p:nvPr>
            <p:ph type="body" sz="quarter" idx="24" hasCustomPrompt="1"/>
          </p:nvPr>
        </p:nvSpPr>
        <p:spPr>
          <a:xfrm>
            <a:off x="6376011" y="4181817"/>
            <a:ext cx="5423365" cy="306687"/>
          </a:xfrm>
          <a:prstGeom prst="rect">
            <a:avLst/>
          </a:prstGeom>
        </p:spPr>
        <p:txBody>
          <a:bodyPr/>
          <a:lstStyle>
            <a:lvl1pPr marL="0" indent="0" rtl="0">
              <a:buNone/>
              <a:defRPr sz="1333">
                <a:solidFill>
                  <a:schemeClr val="tx1"/>
                </a:solidFill>
              </a:defRPr>
            </a:lvl1pPr>
          </a:lstStyle>
          <a:p>
            <a:pPr lvl="0"/>
            <a:r>
              <a:rPr lang="en-US"/>
              <a:t>Insert text</a:t>
            </a:r>
          </a:p>
        </p:txBody>
      </p:sp>
      <p:sp>
        <p:nvSpPr>
          <p:cNvPr id="29" name="Text Placeholder 11">
            <a:extLst>
              <a:ext uri="{FF2B5EF4-FFF2-40B4-BE49-F238E27FC236}">
                <a16:creationId xmlns:a16="http://schemas.microsoft.com/office/drawing/2014/main" id="{D237CA36-D07E-5643-B2B1-CCB818CA6974}"/>
              </a:ext>
            </a:extLst>
          </p:cNvPr>
          <p:cNvSpPr>
            <a:spLocks noGrp="1"/>
          </p:cNvSpPr>
          <p:nvPr>
            <p:ph type="body" sz="quarter" idx="25" hasCustomPrompt="1"/>
          </p:nvPr>
        </p:nvSpPr>
        <p:spPr>
          <a:xfrm>
            <a:off x="6376011" y="4920642"/>
            <a:ext cx="5423365" cy="306687"/>
          </a:xfrm>
          <a:prstGeom prst="rect">
            <a:avLst/>
          </a:prstGeom>
        </p:spPr>
        <p:txBody>
          <a:bodyPr/>
          <a:lstStyle>
            <a:lvl1pPr marL="0" indent="0" rtl="0">
              <a:buNone/>
              <a:defRPr sz="1333">
                <a:solidFill>
                  <a:schemeClr val="tx1"/>
                </a:solidFill>
              </a:defRPr>
            </a:lvl1pPr>
          </a:lstStyle>
          <a:p>
            <a:pPr lvl="0"/>
            <a:r>
              <a:rPr lang="en-US"/>
              <a:t>Insert time</a:t>
            </a:r>
          </a:p>
        </p:txBody>
      </p:sp>
      <p:sp>
        <p:nvSpPr>
          <p:cNvPr id="30" name="Text Placeholder 11">
            <a:extLst>
              <a:ext uri="{FF2B5EF4-FFF2-40B4-BE49-F238E27FC236}">
                <a16:creationId xmlns:a16="http://schemas.microsoft.com/office/drawing/2014/main" id="{C423DBFD-C745-4648-850A-74997E87CFF1}"/>
              </a:ext>
            </a:extLst>
          </p:cNvPr>
          <p:cNvSpPr>
            <a:spLocks noGrp="1"/>
          </p:cNvSpPr>
          <p:nvPr>
            <p:ph type="body" sz="quarter" idx="26" hasCustomPrompt="1"/>
          </p:nvPr>
        </p:nvSpPr>
        <p:spPr>
          <a:xfrm>
            <a:off x="6376011" y="5251271"/>
            <a:ext cx="5423365" cy="349583"/>
          </a:xfrm>
          <a:prstGeom prst="rect">
            <a:avLst/>
          </a:prstGeom>
        </p:spPr>
        <p:txBody>
          <a:bodyPr/>
          <a:lstStyle>
            <a:lvl1pPr marL="0" indent="0" rtl="0">
              <a:buNone/>
              <a:defRPr sz="1600" b="1">
                <a:solidFill>
                  <a:schemeClr val="accent3"/>
                </a:solidFill>
              </a:defRPr>
            </a:lvl1pPr>
          </a:lstStyle>
          <a:p>
            <a:pPr lvl="0"/>
            <a:r>
              <a:rPr lang="en-US"/>
              <a:t>Insert Heading</a:t>
            </a:r>
          </a:p>
        </p:txBody>
      </p:sp>
      <p:sp>
        <p:nvSpPr>
          <p:cNvPr id="31" name="Text Placeholder 11">
            <a:extLst>
              <a:ext uri="{FF2B5EF4-FFF2-40B4-BE49-F238E27FC236}">
                <a16:creationId xmlns:a16="http://schemas.microsoft.com/office/drawing/2014/main" id="{060C62B5-4383-B249-A74D-872EBA69941E}"/>
              </a:ext>
            </a:extLst>
          </p:cNvPr>
          <p:cNvSpPr>
            <a:spLocks noGrp="1"/>
          </p:cNvSpPr>
          <p:nvPr>
            <p:ph type="body" sz="quarter" idx="27" hasCustomPrompt="1"/>
          </p:nvPr>
        </p:nvSpPr>
        <p:spPr>
          <a:xfrm>
            <a:off x="6376011" y="5561238"/>
            <a:ext cx="5423365" cy="306687"/>
          </a:xfrm>
          <a:prstGeom prst="rect">
            <a:avLst/>
          </a:prstGeom>
        </p:spPr>
        <p:txBody>
          <a:bodyPr/>
          <a:lstStyle>
            <a:lvl1pPr marL="0" indent="0" rtl="0">
              <a:buNone/>
              <a:defRPr sz="1333">
                <a:solidFill>
                  <a:schemeClr val="tx1"/>
                </a:solidFill>
              </a:defRPr>
            </a:lvl1pPr>
          </a:lstStyle>
          <a:p>
            <a:pPr lvl="0"/>
            <a:r>
              <a:rPr lang="en-US"/>
              <a:t>Insert text</a:t>
            </a:r>
          </a:p>
        </p:txBody>
      </p:sp>
      <p:sp>
        <p:nvSpPr>
          <p:cNvPr id="32" name="Title 4">
            <a:extLst>
              <a:ext uri="{FF2B5EF4-FFF2-40B4-BE49-F238E27FC236}">
                <a16:creationId xmlns:a16="http://schemas.microsoft.com/office/drawing/2014/main" id="{738D054A-338D-8647-BDC8-3D1F6F5A5227}"/>
              </a:ext>
            </a:extLst>
          </p:cNvPr>
          <p:cNvSpPr>
            <a:spLocks noGrp="1"/>
          </p:cNvSpPr>
          <p:nvPr>
            <p:ph type="title" hasCustomPrompt="1"/>
          </p:nvPr>
        </p:nvSpPr>
        <p:spPr>
          <a:xfrm>
            <a:off x="1297014" y="2157093"/>
            <a:ext cx="3543300" cy="958321"/>
          </a:xfrm>
          <a:prstGeom prst="rect">
            <a:avLst/>
          </a:prstGeom>
        </p:spPr>
        <p:txBody>
          <a:bodyPr vert="horz" anchor="ctr"/>
          <a:lstStyle>
            <a:lvl1pPr algn="ctr" rtl="0">
              <a:lnSpc>
                <a:spcPct val="100000"/>
              </a:lnSpc>
              <a:spcBef>
                <a:spcPts val="0"/>
              </a:spcBef>
              <a:spcAft>
                <a:spcPts val="0"/>
              </a:spcAft>
              <a:defRPr sz="3200" b="1">
                <a:solidFill>
                  <a:schemeClr val="bg1"/>
                </a:solidFill>
              </a:defRPr>
            </a:lvl1pPr>
          </a:lstStyle>
          <a:p>
            <a:r>
              <a:rPr lang="en-US"/>
              <a:t>Today’s</a:t>
            </a:r>
            <a:br>
              <a:rPr lang="en-US"/>
            </a:br>
            <a:r>
              <a:rPr lang="en-US"/>
              <a:t>agenda</a:t>
            </a:r>
          </a:p>
        </p:txBody>
      </p:sp>
    </p:spTree>
    <p:extLst>
      <p:ext uri="{BB962C8B-B14F-4D97-AF65-F5344CB8AC3E}">
        <p14:creationId xmlns:p14="http://schemas.microsoft.com/office/powerpoint/2010/main" val="78783099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8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r>
              <a:rPr lang="en-GB" noProof="0"/>
              <a:t>Click icon to add picture</a:t>
            </a:r>
            <a:endParaRPr lang="en-US" noProof="0"/>
          </a:p>
        </p:txBody>
      </p:sp>
      <p:sp>
        <p:nvSpPr>
          <p:cNvPr id="17" name="Rectangle 16">
            <a:extLst>
              <a:ext uri="{FF2B5EF4-FFF2-40B4-BE49-F238E27FC236}">
                <a16:creationId xmlns:a16="http://schemas.microsoft.com/office/drawing/2014/main" id="{D9A7F20D-739B-444F-BBE5-002C9121F465}"/>
              </a:ext>
            </a:extLst>
          </p:cNvPr>
          <p:cNvSpPr/>
          <p:nvPr/>
        </p:nvSpPr>
        <p:spPr>
          <a:xfrm>
            <a:off x="3736975" y="0"/>
            <a:ext cx="376951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GB"/>
              <a:t>Click to edit Master title style</a:t>
            </a:r>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2" y="141749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2" y="951707"/>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2" y="3508542"/>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2" y="3039979"/>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2" y="5596745"/>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2" y="5130955"/>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2"/>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7"/>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113141901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32_NTT_content_page">
    <p:bg bwMode="ltGray">
      <p:bgPr>
        <a:solidFill>
          <a:schemeClr val="tx1"/>
        </a:solidFill>
        <a:effectLst/>
      </p:bgPr>
    </p:bg>
    <p:spTree>
      <p:nvGrpSpPr>
        <p:cNvPr id="1" name=""/>
        <p:cNvGrpSpPr/>
        <p:nvPr/>
      </p:nvGrpSpPr>
      <p:grpSpPr>
        <a:xfrm>
          <a:off x="0" y="0"/>
          <a:ext cx="0" cy="0"/>
          <a:chOff x="0" y="0"/>
          <a:chExt cx="0" cy="0"/>
        </a:xfrm>
      </p:grpSpPr>
      <p:sp>
        <p:nvSpPr>
          <p:cNvPr id="16" name="Picture Placeholder 1">
            <a:extLst>
              <a:ext uri="{FF2B5EF4-FFF2-40B4-BE49-F238E27FC236}">
                <a16:creationId xmlns:a16="http://schemas.microsoft.com/office/drawing/2014/main" id="{835D2B04-2356-A640-8C36-BF74FA32E5EE}"/>
              </a:ext>
            </a:extLst>
          </p:cNvPr>
          <p:cNvSpPr>
            <a:spLocks noGrp="1"/>
          </p:cNvSpPr>
          <p:nvPr>
            <p:ph type="pic" sz="quarter" idx="26"/>
          </p:nvPr>
        </p:nvSpPr>
        <p:spPr>
          <a:xfrm>
            <a:off x="1" y="0"/>
            <a:ext cx="5065713" cy="6858000"/>
          </a:xfrm>
          <a:prstGeom prst="rect">
            <a:avLst/>
          </a:prstGeom>
          <a:solidFill>
            <a:schemeClr val="bg2">
              <a:lumMod val="20000"/>
              <a:lumOff val="80000"/>
            </a:schemeClr>
          </a:solidFill>
        </p:spPr>
        <p:txBody>
          <a:bodyPr/>
          <a:lstStyle>
            <a:lvl1pPr marL="0" indent="0">
              <a:buNone/>
              <a:defRPr sz="1867">
                <a:solidFill>
                  <a:schemeClr val="bg1"/>
                </a:solidFill>
              </a:defRPr>
            </a:lvl1pPr>
          </a:lstStyle>
          <a:p>
            <a:r>
              <a:rPr lang="en-GB"/>
              <a:t>Click icon to add picture</a:t>
            </a:r>
          </a:p>
        </p:txBody>
      </p:sp>
      <p:sp>
        <p:nvSpPr>
          <p:cNvPr id="18" name="Title 4">
            <a:extLst>
              <a:ext uri="{FF2B5EF4-FFF2-40B4-BE49-F238E27FC236}">
                <a16:creationId xmlns:a16="http://schemas.microsoft.com/office/drawing/2014/main" id="{D136005A-11B0-8D4E-9718-39BB0EC340F4}"/>
              </a:ext>
            </a:extLst>
          </p:cNvPr>
          <p:cNvSpPr>
            <a:spLocks noGrp="1"/>
          </p:cNvSpPr>
          <p:nvPr>
            <p:ph type="title" hasCustomPrompt="1"/>
          </p:nvPr>
        </p:nvSpPr>
        <p:spPr>
          <a:xfrm>
            <a:off x="5521127" y="1167037"/>
            <a:ext cx="6251773" cy="996915"/>
          </a:xfrm>
          <a:prstGeom prst="rect">
            <a:avLst/>
          </a:prstGeom>
        </p:spPr>
        <p:txBody>
          <a:bodyPr anchor="ctr"/>
          <a:lstStyle>
            <a:lvl1pPr algn="l">
              <a:lnSpc>
                <a:spcPct val="100000"/>
              </a:lnSpc>
              <a:spcBef>
                <a:spcPts val="0"/>
              </a:spcBef>
              <a:spcAft>
                <a:spcPts val="0"/>
              </a:spcAft>
              <a:defRPr sz="3200" b="1">
                <a:solidFill>
                  <a:schemeClr val="accent2"/>
                </a:solidFill>
              </a:defRPr>
            </a:lvl1pPr>
          </a:lstStyle>
          <a:p>
            <a:r>
              <a:rPr lang="en-US"/>
              <a:t>Click to edit </a:t>
            </a:r>
            <a:br>
              <a:rPr lang="en-US"/>
            </a:br>
            <a:r>
              <a:rPr lang="en-US"/>
              <a:t>Master title style</a:t>
            </a:r>
            <a:endParaRPr lang="en-GB"/>
          </a:p>
        </p:txBody>
      </p:sp>
      <p:sp>
        <p:nvSpPr>
          <p:cNvPr id="19" name="Text Placeholder 6">
            <a:extLst>
              <a:ext uri="{FF2B5EF4-FFF2-40B4-BE49-F238E27FC236}">
                <a16:creationId xmlns:a16="http://schemas.microsoft.com/office/drawing/2014/main" id="{DA5EC964-4A3C-2F47-B937-C98A2869954E}"/>
              </a:ext>
            </a:extLst>
          </p:cNvPr>
          <p:cNvSpPr>
            <a:spLocks noGrp="1"/>
          </p:cNvSpPr>
          <p:nvPr>
            <p:ph type="body" sz="quarter" idx="61"/>
          </p:nvPr>
        </p:nvSpPr>
        <p:spPr>
          <a:xfrm>
            <a:off x="5521127" y="3146593"/>
            <a:ext cx="6251773" cy="286633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22" name="Text Placeholder 6">
            <a:extLst>
              <a:ext uri="{FF2B5EF4-FFF2-40B4-BE49-F238E27FC236}">
                <a16:creationId xmlns:a16="http://schemas.microsoft.com/office/drawing/2014/main" id="{F271EA18-F1C4-5445-BC6B-2E8E13F8085B}"/>
              </a:ext>
            </a:extLst>
          </p:cNvPr>
          <p:cNvSpPr>
            <a:spLocks noGrp="1"/>
          </p:cNvSpPr>
          <p:nvPr>
            <p:ph type="body" sz="quarter" idx="16" hasCustomPrompt="1"/>
          </p:nvPr>
        </p:nvSpPr>
        <p:spPr>
          <a:xfrm>
            <a:off x="5521127" y="2311109"/>
            <a:ext cx="6251773" cy="621339"/>
          </a:xfrm>
          <a:prstGeom prst="rect">
            <a:avLst/>
          </a:prstGeom>
        </p:spPr>
        <p:txBody>
          <a:bodyPr anchor="ctr"/>
          <a:lstStyle>
            <a:lvl1pPr marL="0" indent="0" algn="l">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pic>
        <p:nvPicPr>
          <p:cNvPr id="6" name="Picture 5">
            <a:extLst>
              <a:ext uri="{FF2B5EF4-FFF2-40B4-BE49-F238E27FC236}">
                <a16:creationId xmlns:a16="http://schemas.microsoft.com/office/drawing/2014/main" id="{CC552A4F-D1DB-4444-A096-6B92017E34D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2272764082"/>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9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5879025" y="0"/>
            <a:ext cx="6312975"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en-GB" noProof="0"/>
              <a:t>Click icon to add picture</a:t>
            </a:r>
            <a:endParaRPr lang="en-US" noProof="0"/>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6540644" y="2097904"/>
            <a:ext cx="3523281" cy="996915"/>
          </a:xfrm>
          <a:prstGeom prst="rect">
            <a:avLst/>
          </a:prstGeom>
        </p:spPr>
        <p:txBody>
          <a:bodyPr anchor="ctr"/>
          <a:lstStyle>
            <a:lvl1pPr algn="l">
              <a:lnSpc>
                <a:spcPct val="100000"/>
              </a:lnSpc>
              <a:defRPr sz="3200" b="1">
                <a:solidFill>
                  <a:schemeClr val="bg1"/>
                </a:solidFill>
              </a:defRPr>
            </a:lvl1pPr>
          </a:lstStyle>
          <a:p>
            <a:r>
              <a:rPr lang="en-GB"/>
              <a:t>Click to edit Master title style</a:t>
            </a:r>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6529918" y="3274270"/>
            <a:ext cx="3543300" cy="14220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6">
            <a:extLst>
              <a:ext uri="{FF2B5EF4-FFF2-40B4-BE49-F238E27FC236}">
                <a16:creationId xmlns:a16="http://schemas.microsoft.com/office/drawing/2014/main" id="{3B4DA557-7B08-5B4D-97DB-FC7E41E181F5}"/>
              </a:ext>
            </a:extLst>
          </p:cNvPr>
          <p:cNvSpPr>
            <a:spLocks noGrp="1"/>
          </p:cNvSpPr>
          <p:nvPr>
            <p:ph type="body" sz="quarter" idx="61"/>
          </p:nvPr>
        </p:nvSpPr>
        <p:spPr>
          <a:xfrm>
            <a:off x="1415511" y="1814845"/>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8" name="Text Placeholder 6">
            <a:extLst>
              <a:ext uri="{FF2B5EF4-FFF2-40B4-BE49-F238E27FC236}">
                <a16:creationId xmlns:a16="http://schemas.microsoft.com/office/drawing/2014/main" id="{97FFF4BF-46E3-B541-AA52-FAB53E3E1054}"/>
              </a:ext>
            </a:extLst>
          </p:cNvPr>
          <p:cNvSpPr>
            <a:spLocks noGrp="1"/>
          </p:cNvSpPr>
          <p:nvPr>
            <p:ph type="body" sz="quarter" idx="16"/>
          </p:nvPr>
        </p:nvSpPr>
        <p:spPr>
          <a:xfrm>
            <a:off x="1415511" y="1386347"/>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11" name="Text Placeholder 6">
            <a:extLst>
              <a:ext uri="{FF2B5EF4-FFF2-40B4-BE49-F238E27FC236}">
                <a16:creationId xmlns:a16="http://schemas.microsoft.com/office/drawing/2014/main" id="{4BE66BA0-BAB7-6644-9195-003A679DF78A}"/>
              </a:ext>
            </a:extLst>
          </p:cNvPr>
          <p:cNvSpPr>
            <a:spLocks noGrp="1"/>
          </p:cNvSpPr>
          <p:nvPr>
            <p:ph type="body" sz="quarter" idx="62"/>
          </p:nvPr>
        </p:nvSpPr>
        <p:spPr>
          <a:xfrm>
            <a:off x="1415511" y="3240689"/>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12" name="Text Placeholder 6">
            <a:extLst>
              <a:ext uri="{FF2B5EF4-FFF2-40B4-BE49-F238E27FC236}">
                <a16:creationId xmlns:a16="http://schemas.microsoft.com/office/drawing/2014/main" id="{42D8740A-EF16-4A4B-8561-0AFE570EC69D}"/>
              </a:ext>
            </a:extLst>
          </p:cNvPr>
          <p:cNvSpPr>
            <a:spLocks noGrp="1"/>
          </p:cNvSpPr>
          <p:nvPr>
            <p:ph type="body" sz="quarter" idx="63"/>
          </p:nvPr>
        </p:nvSpPr>
        <p:spPr>
          <a:xfrm>
            <a:off x="1415511" y="2812191"/>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13" name="Text Placeholder 6">
            <a:extLst>
              <a:ext uri="{FF2B5EF4-FFF2-40B4-BE49-F238E27FC236}">
                <a16:creationId xmlns:a16="http://schemas.microsoft.com/office/drawing/2014/main" id="{F91806EC-97C9-D043-B9CB-6602A30F2D91}"/>
              </a:ext>
            </a:extLst>
          </p:cNvPr>
          <p:cNvSpPr>
            <a:spLocks noGrp="1"/>
          </p:cNvSpPr>
          <p:nvPr>
            <p:ph type="body" sz="quarter" idx="64"/>
          </p:nvPr>
        </p:nvSpPr>
        <p:spPr>
          <a:xfrm>
            <a:off x="1415511" y="4668486"/>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14" name="Text Placeholder 6">
            <a:extLst>
              <a:ext uri="{FF2B5EF4-FFF2-40B4-BE49-F238E27FC236}">
                <a16:creationId xmlns:a16="http://schemas.microsoft.com/office/drawing/2014/main" id="{BBDBDD5B-089E-2C47-B88F-38897DB817A2}"/>
              </a:ext>
            </a:extLst>
          </p:cNvPr>
          <p:cNvSpPr>
            <a:spLocks noGrp="1"/>
          </p:cNvSpPr>
          <p:nvPr>
            <p:ph type="body" sz="quarter" idx="65"/>
          </p:nvPr>
        </p:nvSpPr>
        <p:spPr>
          <a:xfrm>
            <a:off x="1415511" y="4239988"/>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15" name="Text Placeholder 6">
            <a:extLst>
              <a:ext uri="{FF2B5EF4-FFF2-40B4-BE49-F238E27FC236}">
                <a16:creationId xmlns:a16="http://schemas.microsoft.com/office/drawing/2014/main" id="{3BD2093A-8E00-AD45-A11B-BFF744448A36}"/>
              </a:ext>
            </a:extLst>
          </p:cNvPr>
          <p:cNvSpPr>
            <a:spLocks noGrp="1"/>
          </p:cNvSpPr>
          <p:nvPr>
            <p:ph type="body" sz="quarter" idx="66"/>
          </p:nvPr>
        </p:nvSpPr>
        <p:spPr>
          <a:xfrm>
            <a:off x="1415511" y="6104662"/>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GB"/>
              <a:t>Click to edit Master text styles</a:t>
            </a:r>
          </a:p>
        </p:txBody>
      </p:sp>
      <p:sp>
        <p:nvSpPr>
          <p:cNvPr id="16" name="Text Placeholder 6">
            <a:extLst>
              <a:ext uri="{FF2B5EF4-FFF2-40B4-BE49-F238E27FC236}">
                <a16:creationId xmlns:a16="http://schemas.microsoft.com/office/drawing/2014/main" id="{B477112C-83CB-2B4D-913A-8D32CDC29EB1}"/>
              </a:ext>
            </a:extLst>
          </p:cNvPr>
          <p:cNvSpPr>
            <a:spLocks noGrp="1"/>
          </p:cNvSpPr>
          <p:nvPr>
            <p:ph type="body" sz="quarter" idx="67"/>
          </p:nvPr>
        </p:nvSpPr>
        <p:spPr>
          <a:xfrm>
            <a:off x="1415511" y="5676164"/>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4" name="Picture Placeholder 3">
            <a:extLst>
              <a:ext uri="{FF2B5EF4-FFF2-40B4-BE49-F238E27FC236}">
                <a16:creationId xmlns:a16="http://schemas.microsoft.com/office/drawing/2014/main" id="{F2F982F2-3BB9-344E-A765-82A959FA3FC9}"/>
              </a:ext>
            </a:extLst>
          </p:cNvPr>
          <p:cNvSpPr>
            <a:spLocks noGrp="1"/>
          </p:cNvSpPr>
          <p:nvPr>
            <p:ph type="pic" sz="quarter" idx="68" hasCustomPrompt="1"/>
          </p:nvPr>
        </p:nvSpPr>
        <p:spPr>
          <a:xfrm>
            <a:off x="516541" y="1386349"/>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19" name="Picture Placeholder 3">
            <a:extLst>
              <a:ext uri="{FF2B5EF4-FFF2-40B4-BE49-F238E27FC236}">
                <a16:creationId xmlns:a16="http://schemas.microsoft.com/office/drawing/2014/main" id="{B2D4BA41-426E-2046-9B18-1D5B9B503327}"/>
              </a:ext>
            </a:extLst>
          </p:cNvPr>
          <p:cNvSpPr>
            <a:spLocks noGrp="1"/>
          </p:cNvSpPr>
          <p:nvPr>
            <p:ph type="pic" sz="quarter" idx="69" hasCustomPrompt="1"/>
          </p:nvPr>
        </p:nvSpPr>
        <p:spPr>
          <a:xfrm>
            <a:off x="516541" y="2812193"/>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0" name="Picture Placeholder 3">
            <a:extLst>
              <a:ext uri="{FF2B5EF4-FFF2-40B4-BE49-F238E27FC236}">
                <a16:creationId xmlns:a16="http://schemas.microsoft.com/office/drawing/2014/main" id="{E0D3D9B8-9128-5D45-BFB7-90B2ADBF75A1}"/>
              </a:ext>
            </a:extLst>
          </p:cNvPr>
          <p:cNvSpPr>
            <a:spLocks noGrp="1"/>
          </p:cNvSpPr>
          <p:nvPr>
            <p:ph type="pic" sz="quarter" idx="70" hasCustomPrompt="1"/>
          </p:nvPr>
        </p:nvSpPr>
        <p:spPr>
          <a:xfrm>
            <a:off x="516541" y="4238037"/>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1" name="Picture Placeholder 3">
            <a:extLst>
              <a:ext uri="{FF2B5EF4-FFF2-40B4-BE49-F238E27FC236}">
                <a16:creationId xmlns:a16="http://schemas.microsoft.com/office/drawing/2014/main" id="{33E8DB06-0058-144F-B17F-9E476E611DF7}"/>
              </a:ext>
            </a:extLst>
          </p:cNvPr>
          <p:cNvSpPr>
            <a:spLocks noGrp="1"/>
          </p:cNvSpPr>
          <p:nvPr>
            <p:ph type="pic" sz="quarter" idx="71" hasCustomPrompt="1"/>
          </p:nvPr>
        </p:nvSpPr>
        <p:spPr>
          <a:xfrm>
            <a:off x="516541" y="5676166"/>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pic>
        <p:nvPicPr>
          <p:cNvPr id="17" name="Picture 16">
            <a:extLst>
              <a:ext uri="{FF2B5EF4-FFF2-40B4-BE49-F238E27FC236}">
                <a16:creationId xmlns:a16="http://schemas.microsoft.com/office/drawing/2014/main" id="{2614B128-702E-0744-8F65-70AF1F474C8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6541" y="332679"/>
            <a:ext cx="1305751" cy="484944"/>
          </a:xfrm>
          <a:prstGeom prst="rect">
            <a:avLst/>
          </a:prstGeom>
        </p:spPr>
      </p:pic>
    </p:spTree>
    <p:extLst>
      <p:ext uri="{BB962C8B-B14F-4D97-AF65-F5344CB8AC3E}">
        <p14:creationId xmlns:p14="http://schemas.microsoft.com/office/powerpoint/2010/main" val="2126691697"/>
      </p:ext>
    </p:extLst>
  </p:cSld>
  <p:clrMapOvr>
    <a:overrideClrMapping bg1="dk1" tx1="lt1" bg2="dk2" tx2="lt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22_NTT_content_page">
    <p:bg bwMode="ltGray">
      <p:bgPr>
        <a:solidFill>
          <a:schemeClr val="accent2"/>
        </a:solidFill>
        <a:effectLst/>
      </p:bgPr>
    </p:bg>
    <p:spTree>
      <p:nvGrpSpPr>
        <p:cNvPr id="1" name=""/>
        <p:cNvGrpSpPr/>
        <p:nvPr/>
      </p:nvGrpSpPr>
      <p:grpSpPr>
        <a:xfrm>
          <a:off x="0" y="0"/>
          <a:ext cx="0" cy="0"/>
          <a:chOff x="0" y="0"/>
          <a:chExt cx="0" cy="0"/>
        </a:xfrm>
      </p:grpSpPr>
      <p:sp>
        <p:nvSpPr>
          <p:cNvPr id="37" name="Title 4">
            <a:extLst>
              <a:ext uri="{FF2B5EF4-FFF2-40B4-BE49-F238E27FC236}">
                <a16:creationId xmlns:a16="http://schemas.microsoft.com/office/drawing/2014/main" id="{5E4FBA8E-F792-5B49-AC3F-6764FF3C8F68}"/>
              </a:ext>
            </a:extLst>
          </p:cNvPr>
          <p:cNvSpPr>
            <a:spLocks noGrp="1"/>
          </p:cNvSpPr>
          <p:nvPr>
            <p:ph type="title"/>
          </p:nvPr>
        </p:nvSpPr>
        <p:spPr>
          <a:xfrm>
            <a:off x="391599" y="450771"/>
            <a:ext cx="11408804" cy="631775"/>
          </a:xfrm>
          <a:prstGeom prst="rect">
            <a:avLst/>
          </a:prstGeom>
        </p:spPr>
        <p:txBody>
          <a:bodyPr anchor="ctr"/>
          <a:lstStyle>
            <a:lvl1pPr algn="ctr">
              <a:defRPr sz="3200" b="1">
                <a:solidFill>
                  <a:schemeClr val="tx1"/>
                </a:solidFill>
              </a:defRPr>
            </a:lvl1pPr>
          </a:lstStyle>
          <a:p>
            <a:r>
              <a:rPr lang="en-GB"/>
              <a:t>Click to edit Master title style</a:t>
            </a:r>
          </a:p>
        </p:txBody>
      </p:sp>
      <p:sp>
        <p:nvSpPr>
          <p:cNvPr id="17" name="Text Placeholder 6">
            <a:extLst>
              <a:ext uri="{FF2B5EF4-FFF2-40B4-BE49-F238E27FC236}">
                <a16:creationId xmlns:a16="http://schemas.microsoft.com/office/drawing/2014/main" id="{3D48A384-379E-864F-A2E2-01EF6C402438}"/>
              </a:ext>
            </a:extLst>
          </p:cNvPr>
          <p:cNvSpPr>
            <a:spLocks noGrp="1"/>
          </p:cNvSpPr>
          <p:nvPr>
            <p:ph type="body" sz="quarter" idx="16" hasCustomPrompt="1"/>
          </p:nvPr>
        </p:nvSpPr>
        <p:spPr>
          <a:xfrm>
            <a:off x="391599" y="1128117"/>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cxnSp>
        <p:nvCxnSpPr>
          <p:cNvPr id="20" name="Straight Connector 19">
            <a:extLst>
              <a:ext uri="{FF2B5EF4-FFF2-40B4-BE49-F238E27FC236}">
                <a16:creationId xmlns:a16="http://schemas.microsoft.com/office/drawing/2014/main" id="{80C35067-E835-BD4F-A284-A2F4B755A850}"/>
              </a:ext>
            </a:extLst>
          </p:cNvPr>
          <p:cNvCxnSpPr/>
          <p:nvPr/>
        </p:nvCxnSpPr>
        <p:spPr>
          <a:xfrm flipV="1">
            <a:off x="7930356" y="2884426"/>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E77D04-FEA0-9A48-99BB-44FA1E043D82}"/>
              </a:ext>
            </a:extLst>
          </p:cNvPr>
          <p:cNvCxnSpPr/>
          <p:nvPr/>
        </p:nvCxnSpPr>
        <p:spPr>
          <a:xfrm flipV="1">
            <a:off x="4328319" y="2884426"/>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6">
            <a:extLst>
              <a:ext uri="{FF2B5EF4-FFF2-40B4-BE49-F238E27FC236}">
                <a16:creationId xmlns:a16="http://schemas.microsoft.com/office/drawing/2014/main" id="{66F4426F-9472-8E42-9CE2-56032EEDBDF0}"/>
              </a:ext>
            </a:extLst>
          </p:cNvPr>
          <p:cNvSpPr>
            <a:spLocks noGrp="1"/>
          </p:cNvSpPr>
          <p:nvPr>
            <p:ph type="body" sz="quarter" idx="52"/>
          </p:nvPr>
        </p:nvSpPr>
        <p:spPr>
          <a:xfrm>
            <a:off x="1173699"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24" name="Text Placeholder 6">
            <a:extLst>
              <a:ext uri="{FF2B5EF4-FFF2-40B4-BE49-F238E27FC236}">
                <a16:creationId xmlns:a16="http://schemas.microsoft.com/office/drawing/2014/main" id="{312B08A3-6F0E-8345-9F2F-07D520785853}"/>
              </a:ext>
            </a:extLst>
          </p:cNvPr>
          <p:cNvSpPr>
            <a:spLocks noGrp="1"/>
          </p:cNvSpPr>
          <p:nvPr>
            <p:ph type="body" sz="quarter" idx="72"/>
          </p:nvPr>
        </p:nvSpPr>
        <p:spPr>
          <a:xfrm>
            <a:off x="1173699"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25" name="Text Placeholder 6">
            <a:extLst>
              <a:ext uri="{FF2B5EF4-FFF2-40B4-BE49-F238E27FC236}">
                <a16:creationId xmlns:a16="http://schemas.microsoft.com/office/drawing/2014/main" id="{E376E8B7-2C49-5A43-A624-90D032310688}"/>
              </a:ext>
            </a:extLst>
          </p:cNvPr>
          <p:cNvSpPr>
            <a:spLocks noGrp="1"/>
          </p:cNvSpPr>
          <p:nvPr>
            <p:ph type="body" sz="quarter" idx="73"/>
          </p:nvPr>
        </p:nvSpPr>
        <p:spPr>
          <a:xfrm>
            <a:off x="4775737"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38" name="Text Placeholder 6">
            <a:extLst>
              <a:ext uri="{FF2B5EF4-FFF2-40B4-BE49-F238E27FC236}">
                <a16:creationId xmlns:a16="http://schemas.microsoft.com/office/drawing/2014/main" id="{0C68A706-386B-B54D-A68A-407C4C6E9C48}"/>
              </a:ext>
            </a:extLst>
          </p:cNvPr>
          <p:cNvSpPr>
            <a:spLocks noGrp="1"/>
          </p:cNvSpPr>
          <p:nvPr>
            <p:ph type="body" sz="quarter" idx="74"/>
          </p:nvPr>
        </p:nvSpPr>
        <p:spPr>
          <a:xfrm>
            <a:off x="4775737"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39" name="Text Placeholder 6">
            <a:extLst>
              <a:ext uri="{FF2B5EF4-FFF2-40B4-BE49-F238E27FC236}">
                <a16:creationId xmlns:a16="http://schemas.microsoft.com/office/drawing/2014/main" id="{B89421A3-22D4-824A-BC46-312A99FDA7CA}"/>
              </a:ext>
            </a:extLst>
          </p:cNvPr>
          <p:cNvSpPr>
            <a:spLocks noGrp="1"/>
          </p:cNvSpPr>
          <p:nvPr>
            <p:ph type="body" sz="quarter" idx="75"/>
          </p:nvPr>
        </p:nvSpPr>
        <p:spPr>
          <a:xfrm>
            <a:off x="8377757"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40" name="Text Placeholder 6">
            <a:extLst>
              <a:ext uri="{FF2B5EF4-FFF2-40B4-BE49-F238E27FC236}">
                <a16:creationId xmlns:a16="http://schemas.microsoft.com/office/drawing/2014/main" id="{CE424B62-5109-9841-8C42-5BD27006A9DD}"/>
              </a:ext>
            </a:extLst>
          </p:cNvPr>
          <p:cNvSpPr>
            <a:spLocks noGrp="1"/>
          </p:cNvSpPr>
          <p:nvPr>
            <p:ph type="body" sz="quarter" idx="76"/>
          </p:nvPr>
        </p:nvSpPr>
        <p:spPr>
          <a:xfrm>
            <a:off x="8377757"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41" name="Picture Placeholder 3">
            <a:extLst>
              <a:ext uri="{FF2B5EF4-FFF2-40B4-BE49-F238E27FC236}">
                <a16:creationId xmlns:a16="http://schemas.microsoft.com/office/drawing/2014/main" id="{22992596-9553-354E-9FA6-6A7BACE3514C}"/>
              </a:ext>
            </a:extLst>
          </p:cNvPr>
          <p:cNvSpPr>
            <a:spLocks noGrp="1"/>
          </p:cNvSpPr>
          <p:nvPr>
            <p:ph type="pic" sz="quarter" idx="68" hasCustomPrompt="1"/>
          </p:nvPr>
        </p:nvSpPr>
        <p:spPr>
          <a:xfrm>
            <a:off x="2261816" y="2411557"/>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2" name="Picture Placeholder 3">
            <a:extLst>
              <a:ext uri="{FF2B5EF4-FFF2-40B4-BE49-F238E27FC236}">
                <a16:creationId xmlns:a16="http://schemas.microsoft.com/office/drawing/2014/main" id="{74591AD2-2569-CF45-8D7D-E69A713170D1}"/>
              </a:ext>
            </a:extLst>
          </p:cNvPr>
          <p:cNvSpPr>
            <a:spLocks noGrp="1"/>
          </p:cNvSpPr>
          <p:nvPr>
            <p:ph type="pic" sz="quarter" idx="77" hasCustomPrompt="1"/>
          </p:nvPr>
        </p:nvSpPr>
        <p:spPr>
          <a:xfrm>
            <a:off x="5863862" y="2411557"/>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3" name="Picture Placeholder 3">
            <a:extLst>
              <a:ext uri="{FF2B5EF4-FFF2-40B4-BE49-F238E27FC236}">
                <a16:creationId xmlns:a16="http://schemas.microsoft.com/office/drawing/2014/main" id="{A01C25AB-DBA1-3343-A29F-C393C26205AB}"/>
              </a:ext>
            </a:extLst>
          </p:cNvPr>
          <p:cNvSpPr>
            <a:spLocks noGrp="1"/>
          </p:cNvSpPr>
          <p:nvPr>
            <p:ph type="pic" sz="quarter" idx="78" hasCustomPrompt="1"/>
          </p:nvPr>
        </p:nvSpPr>
        <p:spPr>
          <a:xfrm>
            <a:off x="9466925" y="2411557"/>
            <a:ext cx="530953" cy="465780"/>
          </a:xfrm>
          <a:prstGeom prst="rect">
            <a:avLst/>
          </a:prstGeom>
        </p:spPr>
        <p:txBody>
          <a:bodyPr/>
          <a:lstStyle>
            <a:lvl1pPr marL="0" indent="0" algn="ctr">
              <a:buNone/>
              <a:defRPr sz="1067">
                <a:solidFill>
                  <a:schemeClr val="tx1"/>
                </a:solidFill>
              </a:defRPr>
            </a:lvl1pPr>
          </a:lstStyle>
          <a:p>
            <a:r>
              <a:rPr lang="en-GB"/>
              <a:t>Icon</a:t>
            </a:r>
          </a:p>
        </p:txBody>
      </p:sp>
    </p:spTree>
    <p:extLst>
      <p:ext uri="{BB962C8B-B14F-4D97-AF65-F5344CB8AC3E}">
        <p14:creationId xmlns:p14="http://schemas.microsoft.com/office/powerpoint/2010/main" val="151313513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34_NTT_content_page">
    <p:bg bwMode="ltGray">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21A6FFB-F313-6141-A172-BADFD8BD87EE}"/>
              </a:ext>
            </a:extLst>
          </p:cNvPr>
          <p:cNvSpPr/>
          <p:nvPr/>
        </p:nvSpPr>
        <p:spPr>
          <a:xfrm>
            <a:off x="8115509" y="3417991"/>
            <a:ext cx="4076492" cy="3456575"/>
          </a:xfrm>
          <a:prstGeom prst="rect">
            <a:avLst/>
          </a:prstGeom>
          <a:solidFill>
            <a:schemeClr val="accent5">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0" name="Rectangle 9">
            <a:extLst>
              <a:ext uri="{FF2B5EF4-FFF2-40B4-BE49-F238E27FC236}">
                <a16:creationId xmlns:a16="http://schemas.microsoft.com/office/drawing/2014/main" id="{B80B8852-BEA0-3D4F-B90D-07A70ED2896E}"/>
              </a:ext>
            </a:extLst>
          </p:cNvPr>
          <p:cNvSpPr/>
          <p:nvPr/>
        </p:nvSpPr>
        <p:spPr>
          <a:xfrm>
            <a:off x="-3761" y="3423445"/>
            <a:ext cx="4044744" cy="3451121"/>
          </a:xfrm>
          <a:prstGeom prst="rect">
            <a:avLst/>
          </a:prstGeom>
          <a:solidFill>
            <a:schemeClr val="accent4">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2" name="Rectangle 1">
            <a:extLst>
              <a:ext uri="{FF2B5EF4-FFF2-40B4-BE49-F238E27FC236}">
                <a16:creationId xmlns:a16="http://schemas.microsoft.com/office/drawing/2014/main" id="{79775F3A-6E16-BA44-A37B-47351FCDF66D}"/>
              </a:ext>
            </a:extLst>
          </p:cNvPr>
          <p:cNvSpPr/>
          <p:nvPr/>
        </p:nvSpPr>
        <p:spPr>
          <a:xfrm>
            <a:off x="4042570" y="-1"/>
            <a:ext cx="4073525" cy="3451121"/>
          </a:xfrm>
          <a:prstGeom prst="rect">
            <a:avLst/>
          </a:prstGeom>
          <a:solidFill>
            <a:schemeClr val="accent2">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3" name="Picture Placeholder 2">
            <a:extLst>
              <a:ext uri="{FF2B5EF4-FFF2-40B4-BE49-F238E27FC236}">
                <a16:creationId xmlns:a16="http://schemas.microsoft.com/office/drawing/2014/main" id="{7B5540B0-93CE-384E-B0EA-1F68C487A39C}"/>
              </a:ext>
            </a:extLst>
          </p:cNvPr>
          <p:cNvSpPr>
            <a:spLocks noGrp="1"/>
          </p:cNvSpPr>
          <p:nvPr>
            <p:ph type="pic" sz="quarter" idx="15"/>
          </p:nvPr>
        </p:nvSpPr>
        <p:spPr bwMode="auto">
          <a:xfrm>
            <a:off x="4042570" y="3434557"/>
            <a:ext cx="4073525" cy="3423444"/>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r>
              <a:rPr lang="en-GB"/>
              <a:t>Click icon to add picture</a:t>
            </a:r>
          </a:p>
        </p:txBody>
      </p:sp>
      <p:sp>
        <p:nvSpPr>
          <p:cNvPr id="14" name="Picture Placeholder 1">
            <a:extLst>
              <a:ext uri="{FF2B5EF4-FFF2-40B4-BE49-F238E27FC236}">
                <a16:creationId xmlns:a16="http://schemas.microsoft.com/office/drawing/2014/main" id="{AF09079C-C66C-5A47-BB10-2FB7AE1D67CA}"/>
              </a:ext>
            </a:extLst>
          </p:cNvPr>
          <p:cNvSpPr>
            <a:spLocks noGrp="1"/>
          </p:cNvSpPr>
          <p:nvPr>
            <p:ph type="pic" sz="quarter" idx="18"/>
          </p:nvPr>
        </p:nvSpPr>
        <p:spPr bwMode="auto">
          <a:xfrm>
            <a:off x="-3175" y="1"/>
            <a:ext cx="4045744"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r>
              <a:rPr lang="en-GB"/>
              <a:t>Click icon to add picture</a:t>
            </a:r>
          </a:p>
        </p:txBody>
      </p:sp>
      <p:sp>
        <p:nvSpPr>
          <p:cNvPr id="17" name="Picture Placeholder 3">
            <a:extLst>
              <a:ext uri="{FF2B5EF4-FFF2-40B4-BE49-F238E27FC236}">
                <a16:creationId xmlns:a16="http://schemas.microsoft.com/office/drawing/2014/main" id="{D2AC0BAC-2AF9-F540-B096-781969CEA2D6}"/>
              </a:ext>
            </a:extLst>
          </p:cNvPr>
          <p:cNvSpPr>
            <a:spLocks noGrp="1"/>
          </p:cNvSpPr>
          <p:nvPr>
            <p:ph type="pic" sz="quarter" idx="21"/>
          </p:nvPr>
        </p:nvSpPr>
        <p:spPr bwMode="auto">
          <a:xfrm>
            <a:off x="8116095" y="1"/>
            <a:ext cx="4074319"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r>
              <a:rPr lang="en-GB"/>
              <a:t>Click icon to add picture</a:t>
            </a:r>
          </a:p>
        </p:txBody>
      </p:sp>
      <p:sp>
        <p:nvSpPr>
          <p:cNvPr id="8" name="Text Placeholder 6">
            <a:extLst>
              <a:ext uri="{FF2B5EF4-FFF2-40B4-BE49-F238E27FC236}">
                <a16:creationId xmlns:a16="http://schemas.microsoft.com/office/drawing/2014/main" id="{4123768B-9ACE-1742-8661-A2254A8C2CA0}"/>
              </a:ext>
            </a:extLst>
          </p:cNvPr>
          <p:cNvSpPr>
            <a:spLocks noGrp="1"/>
          </p:cNvSpPr>
          <p:nvPr>
            <p:ph type="body" sz="quarter" idx="16"/>
          </p:nvPr>
        </p:nvSpPr>
        <p:spPr>
          <a:xfrm>
            <a:off x="4772309" y="1481606"/>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11" name="Text Placeholder 6">
            <a:extLst>
              <a:ext uri="{FF2B5EF4-FFF2-40B4-BE49-F238E27FC236}">
                <a16:creationId xmlns:a16="http://schemas.microsoft.com/office/drawing/2014/main" id="{43DCF11B-18FB-C347-AEE7-4589C1D5322A}"/>
              </a:ext>
            </a:extLst>
          </p:cNvPr>
          <p:cNvSpPr>
            <a:spLocks noGrp="1"/>
          </p:cNvSpPr>
          <p:nvPr>
            <p:ph type="body" sz="quarter" idx="22"/>
          </p:nvPr>
        </p:nvSpPr>
        <p:spPr>
          <a:xfrm>
            <a:off x="712382" y="4927171"/>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
        <p:nvSpPr>
          <p:cNvPr id="15" name="Text Placeholder 6">
            <a:extLst>
              <a:ext uri="{FF2B5EF4-FFF2-40B4-BE49-F238E27FC236}">
                <a16:creationId xmlns:a16="http://schemas.microsoft.com/office/drawing/2014/main" id="{5A1EDE70-062C-4242-98E0-A4DD62699851}"/>
              </a:ext>
            </a:extLst>
          </p:cNvPr>
          <p:cNvSpPr>
            <a:spLocks noGrp="1"/>
          </p:cNvSpPr>
          <p:nvPr>
            <p:ph type="body" sz="quarter" idx="23"/>
          </p:nvPr>
        </p:nvSpPr>
        <p:spPr>
          <a:xfrm>
            <a:off x="8846231" y="4927171"/>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GB"/>
              <a:t>Click to edit Master text styles</a:t>
            </a:r>
          </a:p>
        </p:txBody>
      </p:sp>
    </p:spTree>
    <p:extLst>
      <p:ext uri="{BB962C8B-B14F-4D97-AF65-F5344CB8AC3E}">
        <p14:creationId xmlns:p14="http://schemas.microsoft.com/office/powerpoint/2010/main" val="232873855"/>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NTT_custom_layout_images_white">
    <p:spTree>
      <p:nvGrpSpPr>
        <p:cNvPr id="1" name=""/>
        <p:cNvGrpSpPr/>
        <p:nvPr/>
      </p:nvGrpSpPr>
      <p:grpSpPr>
        <a:xfrm>
          <a:off x="0" y="0"/>
          <a:ext cx="0" cy="0"/>
          <a:chOff x="0" y="0"/>
          <a:chExt cx="0" cy="0"/>
        </a:xfrm>
      </p:grpSpPr>
      <p:sp>
        <p:nvSpPr>
          <p:cNvPr id="3" name="Rounded Rectangle 2"/>
          <p:cNvSpPr/>
          <p:nvPr/>
        </p:nvSpPr>
        <p:spPr>
          <a:xfrm>
            <a:off x="4891617" y="398424"/>
            <a:ext cx="4357515"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5" name="Rounded Rectangle 4"/>
          <p:cNvSpPr/>
          <p:nvPr/>
        </p:nvSpPr>
        <p:spPr>
          <a:xfrm>
            <a:off x="427766" y="398424"/>
            <a:ext cx="4363668" cy="3547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9" name="Rounded Rectangle 8"/>
          <p:cNvSpPr/>
          <p:nvPr/>
        </p:nvSpPr>
        <p:spPr>
          <a:xfrm>
            <a:off x="446618" y="4055044"/>
            <a:ext cx="3335953" cy="2204536"/>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5" name="Rounded Rectangle 14"/>
          <p:cNvSpPr/>
          <p:nvPr/>
        </p:nvSpPr>
        <p:spPr>
          <a:xfrm>
            <a:off x="9349318" y="5003012"/>
            <a:ext cx="2408765" cy="1256569"/>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0" name="Picture Placeholder 25"/>
          <p:cNvSpPr>
            <a:spLocks noGrp="1"/>
          </p:cNvSpPr>
          <p:nvPr>
            <p:ph type="pic" sz="quarter" idx="13" hasCustomPrompt="1"/>
          </p:nvPr>
        </p:nvSpPr>
        <p:spPr>
          <a:xfrm>
            <a:off x="427766" y="4055044"/>
            <a:ext cx="3354805" cy="2204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1" name="Rounded Rectangle 10"/>
          <p:cNvSpPr/>
          <p:nvPr/>
        </p:nvSpPr>
        <p:spPr>
          <a:xfrm>
            <a:off x="3881968" y="4055044"/>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3" name="Rounded Rectangle 12"/>
          <p:cNvSpPr/>
          <p:nvPr/>
        </p:nvSpPr>
        <p:spPr>
          <a:xfrm>
            <a:off x="9349318" y="2228436"/>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6" y="398424"/>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4" name="Picture Placeholder 25"/>
          <p:cNvSpPr>
            <a:spLocks noGrp="1"/>
          </p:cNvSpPr>
          <p:nvPr>
            <p:ph type="pic" sz="quarter" idx="11" hasCustomPrompt="1"/>
          </p:nvPr>
        </p:nvSpPr>
        <p:spPr>
          <a:xfrm>
            <a:off x="4891986" y="398424"/>
            <a:ext cx="435714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7" name="Rounded Rectangle 6"/>
          <p:cNvSpPr/>
          <p:nvPr/>
        </p:nvSpPr>
        <p:spPr>
          <a:xfrm>
            <a:off x="9349318" y="398425"/>
            <a:ext cx="2408765" cy="1744135"/>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16" name="Picture Placeholder 25"/>
          <p:cNvSpPr>
            <a:spLocks noGrp="1"/>
          </p:cNvSpPr>
          <p:nvPr>
            <p:ph type="pic" sz="quarter" idx="16" hasCustomPrompt="1"/>
          </p:nvPr>
        </p:nvSpPr>
        <p:spPr>
          <a:xfrm>
            <a:off x="9349318" y="5003012"/>
            <a:ext cx="2408764" cy="1256569"/>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2" name="Picture Placeholder 25"/>
          <p:cNvSpPr>
            <a:spLocks noGrp="1"/>
          </p:cNvSpPr>
          <p:nvPr>
            <p:ph type="pic" sz="quarter" idx="14" hasCustomPrompt="1"/>
          </p:nvPr>
        </p:nvSpPr>
        <p:spPr>
          <a:xfrm>
            <a:off x="3877779" y="4055044"/>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8" y="2218759"/>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8" name="Picture Placeholder 25"/>
          <p:cNvSpPr>
            <a:spLocks noGrp="1"/>
          </p:cNvSpPr>
          <p:nvPr>
            <p:ph type="pic" sz="quarter" idx="12" hasCustomPrompt="1"/>
          </p:nvPr>
        </p:nvSpPr>
        <p:spPr>
          <a:xfrm>
            <a:off x="9349318" y="398425"/>
            <a:ext cx="2408764" cy="1744135"/>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Tree>
    <p:extLst>
      <p:ext uri="{BB962C8B-B14F-4D97-AF65-F5344CB8AC3E}">
        <p14:creationId xmlns:p14="http://schemas.microsoft.com/office/powerpoint/2010/main" val="14833492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DD_custom_layout_text_colour_image_mix.02">
    <p:bg>
      <p:bgPr>
        <a:solidFill>
          <a:schemeClr val="bg1"/>
        </a:solidFill>
        <a:effectLst/>
      </p:bgPr>
    </p:bg>
    <p:spTree>
      <p:nvGrpSpPr>
        <p:cNvPr id="1" name=""/>
        <p:cNvGrpSpPr/>
        <p:nvPr/>
      </p:nvGrpSpPr>
      <p:grpSpPr>
        <a:xfrm>
          <a:off x="0" y="0"/>
          <a:ext cx="0" cy="0"/>
          <a:chOff x="0" y="0"/>
          <a:chExt cx="0" cy="0"/>
        </a:xfrm>
      </p:grpSpPr>
      <p:sp>
        <p:nvSpPr>
          <p:cNvPr id="30" name="Rectangle 29"/>
          <p:cNvSpPr/>
          <p:nvPr/>
        </p:nvSpPr>
        <p:spPr>
          <a:xfrm>
            <a:off x="4902048" y="508261"/>
            <a:ext cx="4347085" cy="3547536"/>
          </a:xfrm>
          <a:prstGeom prst="rect">
            <a:avLst/>
          </a:prstGeom>
          <a:solidFill>
            <a:schemeClr val="accent6">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solidFill>
                <a:schemeClr val="accent1"/>
              </a:solidFill>
            </a:endParaRPr>
          </a:p>
        </p:txBody>
      </p:sp>
      <p:sp>
        <p:nvSpPr>
          <p:cNvPr id="27" name="Rounded Rectangle 26"/>
          <p:cNvSpPr/>
          <p:nvPr/>
        </p:nvSpPr>
        <p:spPr>
          <a:xfrm>
            <a:off x="3881968" y="4164881"/>
            <a:ext cx="5367165" cy="2204536"/>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28" name="Picture Placeholder 25"/>
          <p:cNvSpPr>
            <a:spLocks noGrp="1"/>
          </p:cNvSpPr>
          <p:nvPr>
            <p:ph type="pic" sz="quarter" idx="22" hasCustomPrompt="1"/>
          </p:nvPr>
        </p:nvSpPr>
        <p:spPr>
          <a:xfrm>
            <a:off x="3877779" y="4164881"/>
            <a:ext cx="5371355" cy="2204536"/>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accent1"/>
                </a:solidFill>
                <a:latin typeface="Arial"/>
                <a:ea typeface="+mn-ea"/>
                <a:cs typeface="+mn-cs"/>
              </a:defRPr>
            </a:lvl1pPr>
          </a:lstStyle>
          <a:p>
            <a:r>
              <a:rPr lang="en-US"/>
              <a:t>Insert photo here</a:t>
            </a:r>
          </a:p>
        </p:txBody>
      </p:sp>
      <p:sp>
        <p:nvSpPr>
          <p:cNvPr id="13" name="Rounded Rectangle 12"/>
          <p:cNvSpPr/>
          <p:nvPr/>
        </p:nvSpPr>
        <p:spPr>
          <a:xfrm>
            <a:off x="9349318" y="2338274"/>
            <a:ext cx="240876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Arial"/>
            </a:endParaRPr>
          </a:p>
        </p:txBody>
      </p:sp>
      <p:sp>
        <p:nvSpPr>
          <p:cNvPr id="6" name="Picture Placeholder 25"/>
          <p:cNvSpPr>
            <a:spLocks noGrp="1"/>
          </p:cNvSpPr>
          <p:nvPr>
            <p:ph type="pic" sz="quarter" idx="10" hasCustomPrompt="1"/>
          </p:nvPr>
        </p:nvSpPr>
        <p:spPr>
          <a:xfrm>
            <a:off x="427766" y="508261"/>
            <a:ext cx="4363668" cy="3547536"/>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4" name="Picture Placeholder 25"/>
          <p:cNvSpPr>
            <a:spLocks noGrp="1"/>
          </p:cNvSpPr>
          <p:nvPr>
            <p:ph type="pic" sz="quarter" idx="15" hasCustomPrompt="1"/>
          </p:nvPr>
        </p:nvSpPr>
        <p:spPr>
          <a:xfrm>
            <a:off x="9349318" y="2328596"/>
            <a:ext cx="2408764" cy="2680693"/>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tx1"/>
                </a:solidFill>
                <a:latin typeface="Arial"/>
                <a:ea typeface="+mn-ea"/>
                <a:cs typeface="+mn-cs"/>
              </a:defRPr>
            </a:lvl1pPr>
          </a:lstStyle>
          <a:p>
            <a:r>
              <a:rPr lang="en-US"/>
              <a:t>Insert photo here</a:t>
            </a:r>
          </a:p>
        </p:txBody>
      </p:sp>
      <p:sp>
        <p:nvSpPr>
          <p:cNvPr id="19" name="Text Placeholder 4"/>
          <p:cNvSpPr>
            <a:spLocks noGrp="1"/>
          </p:cNvSpPr>
          <p:nvPr>
            <p:ph type="body" sz="quarter" idx="17"/>
          </p:nvPr>
        </p:nvSpPr>
        <p:spPr>
          <a:xfrm>
            <a:off x="4902048" y="508263"/>
            <a:ext cx="4347085" cy="3547535"/>
          </a:xfrm>
          <a:prstGeom prst="roundRect">
            <a:avLst>
              <a:gd name="adj" fmla="val 0"/>
            </a:avLst>
          </a:prstGeom>
          <a:noFill/>
          <a:ln>
            <a:noFill/>
          </a:ln>
          <a:effectLst/>
        </p:spPr>
        <p:txBody>
          <a:bodyPr anchor="ctr"/>
          <a:lstStyle>
            <a:lvl1pPr marL="239178" indent="0" algn="l">
              <a:tabLst>
                <a:tab pos="116414" algn="l"/>
              </a:tabLst>
              <a:defRPr sz="3200">
                <a:solidFill>
                  <a:schemeClr val="tx1"/>
                </a:solidFill>
                <a:effectLst/>
                <a:latin typeface="Arial"/>
                <a:cs typeface="Arial"/>
              </a:defRPr>
            </a:lvl1pPr>
            <a:lvl2pPr marL="478355" indent="-239178" algn="l">
              <a:defRPr>
                <a:solidFill>
                  <a:schemeClr val="tx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
        <p:nvSpPr>
          <p:cNvPr id="21" name="Text Placeholder 4"/>
          <p:cNvSpPr>
            <a:spLocks noGrp="1"/>
          </p:cNvSpPr>
          <p:nvPr>
            <p:ph type="body" sz="quarter" idx="14"/>
          </p:nvPr>
        </p:nvSpPr>
        <p:spPr>
          <a:xfrm>
            <a:off x="9336400" y="508263"/>
            <a:ext cx="2421683" cy="1700963"/>
          </a:xfrm>
          <a:prstGeom prst="roundRect">
            <a:avLst>
              <a:gd name="adj" fmla="val 0"/>
            </a:avLst>
          </a:prstGeom>
          <a:solidFill>
            <a:schemeClr val="accent2"/>
          </a:solidFill>
          <a:ln>
            <a:noFill/>
          </a:ln>
          <a:effectLst/>
        </p:spPr>
        <p:txBody>
          <a:bodyPr anchor="ctr"/>
          <a:lstStyle>
            <a:lvl1pPr algn="ctr">
              <a:defRPr sz="2133">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2" name="Text Placeholder 4"/>
          <p:cNvSpPr>
            <a:spLocks noGrp="1"/>
          </p:cNvSpPr>
          <p:nvPr>
            <p:ph type="body" sz="quarter" idx="19"/>
          </p:nvPr>
        </p:nvSpPr>
        <p:spPr>
          <a:xfrm>
            <a:off x="9349318" y="5118693"/>
            <a:ext cx="2408765" cy="1269180"/>
          </a:xfrm>
          <a:prstGeom prst="roundRect">
            <a:avLst>
              <a:gd name="adj" fmla="val 0"/>
            </a:avLst>
          </a:prstGeom>
          <a:solidFill>
            <a:schemeClr val="accent2">
              <a:lumMod val="20000"/>
              <a:lumOff val="80000"/>
            </a:schemeClr>
          </a:solid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4" name="Text Placeholder 4"/>
          <p:cNvSpPr>
            <a:spLocks noGrp="1"/>
          </p:cNvSpPr>
          <p:nvPr>
            <p:ph type="body" sz="quarter" idx="13"/>
          </p:nvPr>
        </p:nvSpPr>
        <p:spPr>
          <a:xfrm>
            <a:off x="427765" y="4162494"/>
            <a:ext cx="3363979" cy="2225377"/>
          </a:xfrm>
          <a:prstGeom prst="roundRect">
            <a:avLst>
              <a:gd name="adj" fmla="val 0"/>
            </a:avLst>
          </a:prstGeom>
          <a:solidFill>
            <a:schemeClr val="accent2"/>
          </a:solidFill>
          <a:ln>
            <a:noFill/>
          </a:ln>
          <a:effectLst/>
        </p:spPr>
        <p:txBody>
          <a:bodyPr anchor="ctr"/>
          <a:lstStyle>
            <a:lvl1pPr algn="l">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5" name="Text Placeholder 4"/>
          <p:cNvSpPr>
            <a:spLocks noGrp="1"/>
          </p:cNvSpPr>
          <p:nvPr>
            <p:ph type="body" sz="quarter" idx="20"/>
          </p:nvPr>
        </p:nvSpPr>
        <p:spPr>
          <a:xfrm>
            <a:off x="3877779" y="5069464"/>
            <a:ext cx="5371355"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6" name="Text Placeholder 4"/>
          <p:cNvSpPr>
            <a:spLocks noGrp="1"/>
          </p:cNvSpPr>
          <p:nvPr>
            <p:ph type="body" sz="quarter" idx="21"/>
          </p:nvPr>
        </p:nvSpPr>
        <p:spPr>
          <a:xfrm>
            <a:off x="9336401" y="3702734"/>
            <a:ext cx="2421681"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
        <p:nvSpPr>
          <p:cNvPr id="29" name="Text Placeholder 4"/>
          <p:cNvSpPr>
            <a:spLocks noGrp="1"/>
          </p:cNvSpPr>
          <p:nvPr>
            <p:ph type="body" sz="quarter" idx="23"/>
          </p:nvPr>
        </p:nvSpPr>
        <p:spPr>
          <a:xfrm>
            <a:off x="427766" y="2753366"/>
            <a:ext cx="4363668" cy="1310593"/>
          </a:xfrm>
          <a:prstGeom prst="roundRect">
            <a:avLst>
              <a:gd name="adj" fmla="val 0"/>
            </a:avLst>
          </a:prstGeom>
          <a:noFill/>
          <a:ln>
            <a:noFill/>
          </a:ln>
          <a:effectLst/>
        </p:spPr>
        <p:txBody>
          <a:bodyPr anchor="ctr"/>
          <a:lstStyle>
            <a:lvl1pPr algn="ctr">
              <a:defRPr sz="2133">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10565348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9770027"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grpSp>
        <p:nvGrpSpPr>
          <p:cNvPr id="10" name="Group 9">
            <a:extLst>
              <a:ext uri="{FF2B5EF4-FFF2-40B4-BE49-F238E27FC236}">
                <a16:creationId xmlns:a16="http://schemas.microsoft.com/office/drawing/2014/main" id="{7085ABD9-769E-9F44-B621-8F50D5338B8F}"/>
              </a:ext>
            </a:extLst>
          </p:cNvPr>
          <p:cNvGrpSpPr/>
          <p:nvPr userDrawn="1"/>
        </p:nvGrpSpPr>
        <p:grpSpPr>
          <a:xfrm>
            <a:off x="10458438" y="332679"/>
            <a:ext cx="1308293" cy="484944"/>
            <a:chOff x="7843828" y="249509"/>
            <a:chExt cx="981220" cy="363708"/>
          </a:xfrm>
        </p:grpSpPr>
        <p:sp>
          <p:nvSpPr>
            <p:cNvPr id="11" name="Freeform 5">
              <a:extLst>
                <a:ext uri="{FF2B5EF4-FFF2-40B4-BE49-F238E27FC236}">
                  <a16:creationId xmlns:a16="http://schemas.microsoft.com/office/drawing/2014/main" id="{F831984E-FF85-F444-8E1E-635A70B5FF01}"/>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2" name="Freeform 6">
              <a:extLst>
                <a:ext uri="{FF2B5EF4-FFF2-40B4-BE49-F238E27FC236}">
                  <a16:creationId xmlns:a16="http://schemas.microsoft.com/office/drawing/2014/main" id="{D49B1C00-21CA-8F45-B313-EB0D7B2D8E9F}"/>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endParaRPr>
            </a:p>
          </p:txBody>
        </p:sp>
      </p:grpSp>
      <p:sp>
        <p:nvSpPr>
          <p:cNvPr id="9" name="Rectangle 8">
            <a:extLst>
              <a:ext uri="{FF2B5EF4-FFF2-40B4-BE49-F238E27FC236}">
                <a16:creationId xmlns:a16="http://schemas.microsoft.com/office/drawing/2014/main" id="{B372C535-CC0F-FB4B-8F7C-9110F63E40CF}"/>
              </a:ext>
            </a:extLst>
          </p:cNvPr>
          <p:cNvSpPr/>
          <p:nvPr userDrawn="1"/>
        </p:nvSpPr>
        <p:spPr>
          <a:xfrm>
            <a:off x="215899" y="6463378"/>
            <a:ext cx="2479012" cy="276999"/>
          </a:xfrm>
          <a:prstGeom prst="rect">
            <a:avLst/>
          </a:prstGeom>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2020 © NTT ‘All Rights Reserved’</a:t>
            </a:r>
          </a:p>
        </p:txBody>
      </p:sp>
      <p:sp>
        <p:nvSpPr>
          <p:cNvPr id="15" name="Text Placeholder 2">
            <a:extLst>
              <a:ext uri="{FF2B5EF4-FFF2-40B4-BE49-F238E27FC236}">
                <a16:creationId xmlns:a16="http://schemas.microsoft.com/office/drawing/2014/main" id="{B635664D-C191-2341-8175-0FD71E08F653}"/>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6" name="Text Placeholder 2">
            <a:extLst>
              <a:ext uri="{FF2B5EF4-FFF2-40B4-BE49-F238E27FC236}">
                <a16:creationId xmlns:a16="http://schemas.microsoft.com/office/drawing/2014/main" id="{0253C6C5-850E-9A4D-9D07-B275F523C4C3}"/>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1295650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ver_slide_blue_background">
    <p:bg>
      <p:bgPr>
        <a:solidFill>
          <a:schemeClr val="accent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pic>
        <p:nvPicPr>
          <p:cNvPr id="5" name="Picture 4">
            <a:extLst>
              <a:ext uri="{FF2B5EF4-FFF2-40B4-BE49-F238E27FC236}">
                <a16:creationId xmlns:a16="http://schemas.microsoft.com/office/drawing/2014/main" id="{E589A8F4-7485-9F4E-B0C8-C8CB66B56B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0924" y="391429"/>
            <a:ext cx="2544709" cy="1193537"/>
          </a:xfrm>
          <a:prstGeom prst="rect">
            <a:avLst/>
          </a:prstGeom>
        </p:spPr>
      </p:pic>
    </p:spTree>
    <p:extLst>
      <p:ext uri="{BB962C8B-B14F-4D97-AF65-F5344CB8AC3E}">
        <p14:creationId xmlns:p14="http://schemas.microsoft.com/office/powerpoint/2010/main" val="13454567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AAE65148-FDC7-4ACD-BC2C-70267F8E2497}"/>
              </a:ext>
            </a:extLst>
          </p:cNvPr>
          <p:cNvSpPr>
            <a:spLocks noGrp="1"/>
          </p:cNvSpPr>
          <p:nvPr>
            <p:ph type="title"/>
          </p:nvPr>
        </p:nvSpPr>
        <p:spPr>
          <a:xfrm>
            <a:off x="838200" y="4368900"/>
            <a:ext cx="10515600" cy="743832"/>
          </a:xfrm>
          <a:prstGeom prst="rect">
            <a:avLst/>
          </a:prstGeom>
        </p:spPr>
        <p:txBody>
          <a:bodyPr anchor="ctr"/>
          <a:lstStyle>
            <a:lvl1pPr algn="l">
              <a:defRPr sz="4800" b="1">
                <a:solidFill>
                  <a:schemeClr val="accent2"/>
                </a:solidFill>
              </a:defRPr>
            </a:lvl1pPr>
          </a:lstStyle>
          <a:p>
            <a:r>
              <a:rPr lang="en-US"/>
              <a:t>Click to edit Master title style</a:t>
            </a:r>
            <a:endParaRPr lang="en-GB"/>
          </a:p>
        </p:txBody>
      </p:sp>
      <p:sp>
        <p:nvSpPr>
          <p:cNvPr id="4" name="Text Placeholder 9">
            <a:extLst>
              <a:ext uri="{FF2B5EF4-FFF2-40B4-BE49-F238E27FC236}">
                <a16:creationId xmlns:a16="http://schemas.microsoft.com/office/drawing/2014/main" id="{10E6012D-9F24-4549-A0DA-C3FE30C2EB9F}"/>
              </a:ext>
            </a:extLst>
          </p:cNvPr>
          <p:cNvSpPr>
            <a:spLocks noGrp="1"/>
          </p:cNvSpPr>
          <p:nvPr>
            <p:ph type="body" sz="quarter" idx="10" hasCustomPrompt="1"/>
          </p:nvPr>
        </p:nvSpPr>
        <p:spPr>
          <a:xfrm>
            <a:off x="838199" y="5207208"/>
            <a:ext cx="10515600" cy="547733"/>
          </a:xfrm>
          <a:prstGeom prst="rect">
            <a:avLst/>
          </a:prstGeom>
        </p:spPr>
        <p:txBody>
          <a:bodyPr anchor="ctr"/>
          <a:lstStyle>
            <a:lvl1pPr marL="0" indent="0" algn="l">
              <a:buNone/>
              <a:defRPr>
                <a:solidFill>
                  <a:schemeClr val="accent2"/>
                </a:solidFill>
              </a:defRPr>
            </a:lvl1pPr>
          </a:lstStyle>
          <a:p>
            <a:pPr lvl="0"/>
            <a:r>
              <a:rPr lang="en-US"/>
              <a:t>Sub-title / Presenter Name</a:t>
            </a:r>
            <a:endParaRPr lang="en-GB"/>
          </a:p>
        </p:txBody>
      </p:sp>
      <p:pic>
        <p:nvPicPr>
          <p:cNvPr id="6" name="Picture 5">
            <a:extLst>
              <a:ext uri="{FF2B5EF4-FFF2-40B4-BE49-F238E27FC236}">
                <a16:creationId xmlns:a16="http://schemas.microsoft.com/office/drawing/2014/main" id="{17748E14-788E-4E98-925E-E369F02A82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0635" y="599449"/>
            <a:ext cx="2143952" cy="796243"/>
          </a:xfrm>
          <a:prstGeom prst="rect">
            <a:avLst/>
          </a:prstGeom>
        </p:spPr>
      </p:pic>
    </p:spTree>
    <p:extLst>
      <p:ext uri="{BB962C8B-B14F-4D97-AF65-F5344CB8AC3E}">
        <p14:creationId xmlns:p14="http://schemas.microsoft.com/office/powerpoint/2010/main" val="4179376777"/>
      </p:ext>
    </p:extLst>
  </p:cSld>
  <p:clrMapOvr>
    <a:masterClrMapping/>
  </p:clrMapOvr>
  <p:extLst>
    <p:ext uri="{DCECCB84-F9BA-43D5-87BE-67443E8EF086}">
      <p15:sldGuideLst xmlns:p15="http://schemas.microsoft.com/office/powerpoint/2012/main">
        <p15:guide id="1" orient="horz" pos="1620">
          <p15:clr>
            <a:srgbClr val="FBAE40"/>
          </p15:clr>
        </p15:guide>
        <p15:guide id="2" pos="45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NTT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9D180C-1992-4E9A-BD5B-F707E75B43D6}"/>
              </a:ext>
            </a:extLst>
          </p:cNvPr>
          <p:cNvGraphicFramePr>
            <a:graphicFrameLocks noChangeAspect="1"/>
          </p:cNvGraphicFramePr>
          <p:nvPr userDrawn="1">
            <p:custDataLst>
              <p:tags r:id="rId1"/>
            </p:custDataLst>
            <p:extLst>
              <p:ext uri="{D42A27DB-BD31-4B8C-83A1-F6EECF244321}">
                <p14:modId xmlns:p14="http://schemas.microsoft.com/office/powerpoint/2010/main" val="370054906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39D180C-1992-4E9A-BD5B-F707E75B43D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Picture Placeholder 3"/>
          <p:cNvSpPr>
            <a:spLocks noGrp="1"/>
          </p:cNvSpPr>
          <p:nvPr userDrawn="1">
            <p:ph type="pic" sz="quarter" idx="14"/>
          </p:nvPr>
        </p:nvSpPr>
        <p:spPr>
          <a:xfrm>
            <a:off x="0" y="4925"/>
            <a:ext cx="12192000" cy="392480"/>
          </a:xfrm>
          <a:prstGeom prst="rect">
            <a:avLst/>
          </a:prstGeom>
        </p:spPr>
        <p:txBody>
          <a:bodyPr/>
          <a:lstStyle>
            <a:lvl1pPr rtl="0">
              <a:defRPr>
                <a:solidFill>
                  <a:schemeClr val="accent1"/>
                </a:solidFill>
                <a:latin typeface="Arial"/>
              </a:defRPr>
            </a:lvl1pPr>
          </a:lstStyle>
          <a:p>
            <a:r>
              <a:rPr lang="en-US"/>
              <a:t>Click icon to add picture</a:t>
            </a:r>
          </a:p>
        </p:txBody>
      </p:sp>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2"/>
            <a:ext cx="11408804" cy="631775"/>
          </a:xfrm>
          <a:prstGeom prst="rect">
            <a:avLst/>
          </a:prstGeom>
        </p:spPr>
        <p:txBody>
          <a:bodyPr vert="horz" anchor="ctr"/>
          <a:lstStyle>
            <a:lvl1pPr algn="ctr" rtl="0">
              <a:defRPr sz="3200" b="1">
                <a:solidFill>
                  <a:schemeClr val="tx1"/>
                </a:solidFill>
              </a:defRPr>
            </a:lvl1pPr>
          </a:lstStyle>
          <a:p>
            <a:r>
              <a:rPr lang="en-US"/>
              <a:t>Click to edit Master title style</a:t>
            </a:r>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38143"/>
            <a:ext cx="11408804" cy="478144"/>
          </a:xfrm>
          <a:prstGeom prst="rect">
            <a:avLst/>
          </a:prstGeom>
        </p:spPr>
        <p:txBody>
          <a:bodyPr anchor="ctr"/>
          <a:lstStyle>
            <a:lvl1pPr marL="0" indent="0" algn="ctr" rtl="0">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p>
        </p:txBody>
      </p:sp>
      <p:sp>
        <p:nvSpPr>
          <p:cNvPr id="5" name="Rectangle 4">
            <a:extLst>
              <a:ext uri="{FF2B5EF4-FFF2-40B4-BE49-F238E27FC236}">
                <a16:creationId xmlns:a16="http://schemas.microsoft.com/office/drawing/2014/main" id="{DBB9AF9C-B2E6-1240-91F3-67F7FFEE08DD}"/>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rtl="0" fontAlgn="auto">
              <a:lnSpc>
                <a:spcPct val="110000"/>
              </a:lnSpc>
              <a:spcBef>
                <a:spcPts val="267"/>
              </a:spcBef>
              <a:spcAft>
                <a:spcPts val="267"/>
              </a:spcAft>
            </a:pPr>
            <a:endParaRPr lang="en-US" sz="2133"/>
          </a:p>
        </p:txBody>
      </p:sp>
    </p:spTree>
    <p:extLst>
      <p:ext uri="{BB962C8B-B14F-4D97-AF65-F5344CB8AC3E}">
        <p14:creationId xmlns:p14="http://schemas.microsoft.com/office/powerpoint/2010/main" val="973236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0"/>
            <a:ext cx="12192000" cy="6366933"/>
          </a:xfrm>
          <a:prstGeom prst="rect">
            <a:avLst/>
          </a:prstGeom>
          <a:solidFill>
            <a:schemeClr val="tx2"/>
          </a:solidFill>
        </p:spPr>
        <p:txBody>
          <a:bodyPr/>
          <a:lstStyle>
            <a:lvl1pPr algn="ctr">
              <a:defRPr>
                <a:solidFill>
                  <a:schemeClr val="bg1"/>
                </a:solidFill>
              </a:defRPr>
            </a:lvl1pPr>
          </a:lstStyle>
          <a:p>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7" y="2818551"/>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7" y="49826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2" name="Rectangle 1">
            <a:extLst>
              <a:ext uri="{FF2B5EF4-FFF2-40B4-BE49-F238E27FC236}">
                <a16:creationId xmlns:a16="http://schemas.microsoft.com/office/drawing/2014/main" id="{5AFCCD30-A182-C14B-89B0-90EE95174CAB}"/>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Tree>
    <p:extLst>
      <p:ext uri="{BB962C8B-B14F-4D97-AF65-F5344CB8AC3E}">
        <p14:creationId xmlns:p14="http://schemas.microsoft.com/office/powerpoint/2010/main" val="108015906"/>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NTT_content_page_white">
    <p:bg bwMode="ltGray">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7" y="161003"/>
            <a:ext cx="9635171" cy="833780"/>
          </a:xfrm>
          <a:prstGeom prst="rect">
            <a:avLst/>
          </a:prstGeom>
        </p:spPr>
        <p:txBody>
          <a:bodyPr anchor="ctr"/>
          <a:lstStyle>
            <a:lvl1pPr>
              <a:defRPr sz="3200" b="1">
                <a:solidFill>
                  <a:schemeClr val="accent2"/>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2"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2"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2" y="1375844"/>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2" y="2053172"/>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2"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2"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0"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2" y="3894675"/>
            <a:ext cx="2021429" cy="486833"/>
          </a:xfrm>
          <a:prstGeom prst="rect">
            <a:avLst/>
          </a:prstGeom>
        </p:spPr>
        <p:txBody>
          <a:bodyPr vert="horz"/>
          <a:lstStyle>
            <a:lvl1pPr marL="0" indent="0">
              <a:buNone/>
              <a:defRPr b="1">
                <a:solidFill>
                  <a:schemeClr val="accent2"/>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2" y="4572008"/>
            <a:ext cx="2021429" cy="1566333"/>
          </a:xfrm>
          <a:prstGeom prst="rect">
            <a:avLst/>
          </a:prstGeom>
        </p:spPr>
        <p:txBody>
          <a:bodyPr vert="horz"/>
          <a:lstStyle>
            <a:lvl1pPr marL="0" indent="0">
              <a:lnSpc>
                <a:spcPct val="90000"/>
              </a:lnSpc>
              <a:buFont typeface="Arial"/>
              <a:buNone/>
              <a:defRPr sz="1600" b="1">
                <a:solidFill>
                  <a:schemeClr val="accent2"/>
                </a:solidFill>
                <a:latin typeface="Arial"/>
                <a:cs typeface="Arial"/>
              </a:defRPr>
            </a:lvl1pPr>
            <a:lvl2pPr marL="4233" indent="0">
              <a:buNone/>
              <a:defRPr sz="1467">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3" name="Picture 22">
            <a:extLst>
              <a:ext uri="{FF2B5EF4-FFF2-40B4-BE49-F238E27FC236}">
                <a16:creationId xmlns:a16="http://schemas.microsoft.com/office/drawing/2014/main" id="{37B729C0-E7FD-734B-968A-D6B00E485D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227675552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NTT_contents_page_blue">
    <p:bg bwMode="ltGray">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0637" y="161003"/>
            <a:ext cx="9897147" cy="833780"/>
          </a:xfrm>
          <a:prstGeom prst="rect">
            <a:avLst/>
          </a:prstGeom>
        </p:spPr>
        <p:txBody>
          <a:bodyPr anchor="ctr"/>
          <a:lstStyle>
            <a:lvl1pPr>
              <a:defRPr sz="3200" b="1">
                <a:solidFill>
                  <a:srgbClr val="FFFFFF"/>
                </a:solidFill>
                <a:latin typeface="Arial"/>
                <a:cs typeface="Arial"/>
              </a:defRPr>
            </a:lvl1pPr>
          </a:lstStyle>
          <a:p>
            <a:r>
              <a:rPr lang="en-US"/>
              <a:t>Contents</a:t>
            </a:r>
            <a:endParaRPr lang="en-ZA"/>
          </a:p>
        </p:txBody>
      </p:sp>
      <p:sp>
        <p:nvSpPr>
          <p:cNvPr id="8" name="Text Placeholder 7"/>
          <p:cNvSpPr>
            <a:spLocks noGrp="1"/>
          </p:cNvSpPr>
          <p:nvPr>
            <p:ph type="body" sz="quarter" idx="10" hasCustomPrompt="1"/>
          </p:nvPr>
        </p:nvSpPr>
        <p:spPr>
          <a:xfrm>
            <a:off x="400052" y="1375844"/>
            <a:ext cx="2021429" cy="486833"/>
          </a:xfrm>
          <a:prstGeom prst="rect">
            <a:avLst/>
          </a:prstGeom>
        </p:spPr>
        <p:txBody>
          <a:bodyPr vert="horz"/>
          <a:lstStyle>
            <a:lvl1pPr>
              <a:defRPr b="1">
                <a:solidFill>
                  <a:schemeClr val="bg1"/>
                </a:solidFill>
                <a:latin typeface="Arial"/>
                <a:cs typeface="Arial"/>
              </a:defRPr>
            </a:lvl1pPr>
          </a:lstStyle>
          <a:p>
            <a:pPr lvl="0"/>
            <a:r>
              <a:rPr lang="en-US"/>
              <a:t>01</a:t>
            </a:r>
          </a:p>
        </p:txBody>
      </p:sp>
      <p:sp>
        <p:nvSpPr>
          <p:cNvPr id="18" name="Text Placeholder 17"/>
          <p:cNvSpPr>
            <a:spLocks noGrp="1"/>
          </p:cNvSpPr>
          <p:nvPr>
            <p:ph type="body" sz="quarter" idx="11" hasCustomPrompt="1"/>
          </p:nvPr>
        </p:nvSpPr>
        <p:spPr>
          <a:xfrm>
            <a:off x="400052"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38" name="Text Placeholder 7"/>
          <p:cNvSpPr>
            <a:spLocks noGrp="1"/>
          </p:cNvSpPr>
          <p:nvPr>
            <p:ph type="body" sz="quarter" idx="12" hasCustomPrompt="1"/>
          </p:nvPr>
        </p:nvSpPr>
        <p:spPr>
          <a:xfrm>
            <a:off x="2547876" y="1375844"/>
            <a:ext cx="2021429" cy="486833"/>
          </a:xfrm>
          <a:prstGeom prst="rect">
            <a:avLst/>
          </a:prstGeom>
        </p:spPr>
        <p:txBody>
          <a:bodyPr vert="horz"/>
          <a:lstStyle>
            <a:lvl1pPr>
              <a:defRPr b="1">
                <a:solidFill>
                  <a:schemeClr val="bg1"/>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54787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1" name="Text Placeholder 7"/>
          <p:cNvSpPr>
            <a:spLocks noGrp="1"/>
          </p:cNvSpPr>
          <p:nvPr>
            <p:ph type="body" sz="quarter" idx="14" hasCustomPrompt="1"/>
          </p:nvPr>
        </p:nvSpPr>
        <p:spPr>
          <a:xfrm>
            <a:off x="4691000" y="1375844"/>
            <a:ext cx="2021429" cy="486833"/>
          </a:xfrm>
          <a:prstGeom prst="rect">
            <a:avLst/>
          </a:prstGeom>
        </p:spPr>
        <p:txBody>
          <a:bodyPr vert="horz"/>
          <a:lstStyle>
            <a:lvl1pPr>
              <a:defRPr b="1">
                <a:solidFill>
                  <a:schemeClr val="bg1"/>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4691000"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6822356" y="1375844"/>
            <a:ext cx="2021429" cy="486833"/>
          </a:xfrm>
          <a:prstGeom prst="rect">
            <a:avLst/>
          </a:prstGeom>
        </p:spPr>
        <p:txBody>
          <a:bodyPr vert="horz"/>
          <a:lstStyle>
            <a:lvl1pPr>
              <a:defRPr b="1">
                <a:solidFill>
                  <a:schemeClr val="bg1"/>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6822356"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7" name="Text Placeholder 7"/>
          <p:cNvSpPr>
            <a:spLocks noGrp="1"/>
          </p:cNvSpPr>
          <p:nvPr>
            <p:ph type="body" sz="quarter" idx="18" hasCustomPrompt="1"/>
          </p:nvPr>
        </p:nvSpPr>
        <p:spPr>
          <a:xfrm>
            <a:off x="8949012" y="1375844"/>
            <a:ext cx="2021429" cy="486833"/>
          </a:xfrm>
          <a:prstGeom prst="rect">
            <a:avLst/>
          </a:prstGeom>
        </p:spPr>
        <p:txBody>
          <a:bodyPr vert="horz"/>
          <a:lstStyle>
            <a:lvl1pPr>
              <a:defRPr b="1">
                <a:solidFill>
                  <a:schemeClr val="bg1"/>
                </a:solidFill>
                <a:latin typeface="Arial"/>
                <a:cs typeface="Arial"/>
              </a:defRPr>
            </a:lvl1pPr>
          </a:lstStyle>
          <a:p>
            <a:pPr lvl="0"/>
            <a:r>
              <a:rPr lang="en-US"/>
              <a:t>05</a:t>
            </a:r>
          </a:p>
        </p:txBody>
      </p:sp>
      <p:sp>
        <p:nvSpPr>
          <p:cNvPr id="48" name="Text Placeholder 17"/>
          <p:cNvSpPr>
            <a:spLocks noGrp="1"/>
          </p:cNvSpPr>
          <p:nvPr>
            <p:ph type="body" sz="quarter" idx="19" hasCustomPrompt="1"/>
          </p:nvPr>
        </p:nvSpPr>
        <p:spPr>
          <a:xfrm>
            <a:off x="8949012" y="2053172"/>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00052" y="3894675"/>
            <a:ext cx="2021429" cy="486833"/>
          </a:xfrm>
          <a:prstGeom prst="rect">
            <a:avLst/>
          </a:prstGeom>
        </p:spPr>
        <p:txBody>
          <a:bodyPr vert="horz"/>
          <a:lstStyle>
            <a:lvl1pPr>
              <a:defRPr b="1">
                <a:solidFill>
                  <a:schemeClr val="bg1"/>
                </a:solidFill>
                <a:latin typeface="Arial"/>
                <a:cs typeface="Arial"/>
              </a:defRPr>
            </a:lvl1pPr>
          </a:lstStyle>
          <a:p>
            <a:pPr lvl="0"/>
            <a:r>
              <a:rPr lang="en-US"/>
              <a:t>06</a:t>
            </a:r>
          </a:p>
        </p:txBody>
      </p:sp>
      <p:sp>
        <p:nvSpPr>
          <p:cNvPr id="66" name="Text Placeholder 17"/>
          <p:cNvSpPr>
            <a:spLocks noGrp="1"/>
          </p:cNvSpPr>
          <p:nvPr>
            <p:ph type="body" sz="quarter" idx="21" hasCustomPrompt="1"/>
          </p:nvPr>
        </p:nvSpPr>
        <p:spPr>
          <a:xfrm>
            <a:off x="400052"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547876" y="3894675"/>
            <a:ext cx="2021429" cy="486833"/>
          </a:xfrm>
          <a:prstGeom prst="rect">
            <a:avLst/>
          </a:prstGeom>
        </p:spPr>
        <p:txBody>
          <a:bodyPr vert="horz"/>
          <a:lstStyle>
            <a:lvl1pPr>
              <a:defRPr b="1">
                <a:solidFill>
                  <a:schemeClr val="bg1"/>
                </a:solidFill>
                <a:latin typeface="Arial"/>
                <a:cs typeface="Arial"/>
              </a:defRPr>
            </a:lvl1pPr>
          </a:lstStyle>
          <a:p>
            <a:pPr lvl="0"/>
            <a:r>
              <a:rPr lang="en-US"/>
              <a:t>07</a:t>
            </a:r>
          </a:p>
        </p:txBody>
      </p:sp>
      <p:sp>
        <p:nvSpPr>
          <p:cNvPr id="69" name="Text Placeholder 17"/>
          <p:cNvSpPr>
            <a:spLocks noGrp="1"/>
          </p:cNvSpPr>
          <p:nvPr>
            <p:ph type="body" sz="quarter" idx="23" hasCustomPrompt="1"/>
          </p:nvPr>
        </p:nvSpPr>
        <p:spPr>
          <a:xfrm>
            <a:off x="2547876"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1" name="Text Placeholder 7"/>
          <p:cNvSpPr>
            <a:spLocks noGrp="1"/>
          </p:cNvSpPr>
          <p:nvPr>
            <p:ph type="body" sz="quarter" idx="24" hasCustomPrompt="1"/>
          </p:nvPr>
        </p:nvSpPr>
        <p:spPr>
          <a:xfrm>
            <a:off x="4691000" y="3894675"/>
            <a:ext cx="2021429" cy="486833"/>
          </a:xfrm>
          <a:prstGeom prst="rect">
            <a:avLst/>
          </a:prstGeom>
        </p:spPr>
        <p:txBody>
          <a:bodyPr vert="horz"/>
          <a:lstStyle>
            <a:lvl1pPr>
              <a:defRPr b="1">
                <a:solidFill>
                  <a:schemeClr val="bg1"/>
                </a:solidFill>
                <a:latin typeface="Arial"/>
                <a:cs typeface="Arial"/>
              </a:defRPr>
            </a:lvl1pPr>
          </a:lstStyle>
          <a:p>
            <a:pPr lvl="0"/>
            <a:r>
              <a:rPr lang="en-US"/>
              <a:t>08</a:t>
            </a:r>
          </a:p>
        </p:txBody>
      </p:sp>
      <p:sp>
        <p:nvSpPr>
          <p:cNvPr id="72" name="Text Placeholder 17"/>
          <p:cNvSpPr>
            <a:spLocks noGrp="1"/>
          </p:cNvSpPr>
          <p:nvPr>
            <p:ph type="body" sz="quarter" idx="25" hasCustomPrompt="1"/>
          </p:nvPr>
        </p:nvSpPr>
        <p:spPr>
          <a:xfrm>
            <a:off x="4691000"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6822356" y="3894675"/>
            <a:ext cx="2021429" cy="486833"/>
          </a:xfrm>
          <a:prstGeom prst="rect">
            <a:avLst/>
          </a:prstGeom>
        </p:spPr>
        <p:txBody>
          <a:bodyPr vert="horz"/>
          <a:lstStyle>
            <a:lvl1pPr>
              <a:defRPr b="1">
                <a:solidFill>
                  <a:schemeClr val="bg1"/>
                </a:solidFill>
                <a:latin typeface="Arial"/>
                <a:cs typeface="Arial"/>
              </a:defRPr>
            </a:lvl1pPr>
          </a:lstStyle>
          <a:p>
            <a:pPr lvl="0"/>
            <a:r>
              <a:rPr lang="en-US"/>
              <a:t>09</a:t>
            </a:r>
          </a:p>
        </p:txBody>
      </p:sp>
      <p:sp>
        <p:nvSpPr>
          <p:cNvPr id="75" name="Text Placeholder 17"/>
          <p:cNvSpPr>
            <a:spLocks noGrp="1"/>
          </p:cNvSpPr>
          <p:nvPr>
            <p:ph type="body" sz="quarter" idx="27" hasCustomPrompt="1"/>
          </p:nvPr>
        </p:nvSpPr>
        <p:spPr>
          <a:xfrm>
            <a:off x="6822356"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0"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7" name="Text Placeholder 7"/>
          <p:cNvSpPr>
            <a:spLocks noGrp="1"/>
          </p:cNvSpPr>
          <p:nvPr>
            <p:ph type="body" sz="quarter" idx="28" hasCustomPrompt="1"/>
          </p:nvPr>
        </p:nvSpPr>
        <p:spPr>
          <a:xfrm>
            <a:off x="8949012" y="3894675"/>
            <a:ext cx="2021429" cy="486833"/>
          </a:xfrm>
          <a:prstGeom prst="rect">
            <a:avLst/>
          </a:prstGeom>
        </p:spPr>
        <p:txBody>
          <a:bodyPr vert="horz"/>
          <a:lstStyle>
            <a:lvl1pPr>
              <a:defRPr b="1">
                <a:solidFill>
                  <a:schemeClr val="bg1"/>
                </a:solidFill>
                <a:latin typeface="Arial"/>
                <a:cs typeface="Arial"/>
              </a:defRPr>
            </a:lvl1pPr>
          </a:lstStyle>
          <a:p>
            <a:pPr lvl="0"/>
            <a:r>
              <a:rPr lang="en-US"/>
              <a:t>10</a:t>
            </a:r>
          </a:p>
        </p:txBody>
      </p:sp>
      <p:sp>
        <p:nvSpPr>
          <p:cNvPr id="78" name="Text Placeholder 17"/>
          <p:cNvSpPr>
            <a:spLocks noGrp="1"/>
          </p:cNvSpPr>
          <p:nvPr>
            <p:ph type="body" sz="quarter" idx="29" hasCustomPrompt="1"/>
          </p:nvPr>
        </p:nvSpPr>
        <p:spPr>
          <a:xfrm>
            <a:off x="8949012" y="4572008"/>
            <a:ext cx="2021429" cy="1566333"/>
          </a:xfrm>
          <a:prstGeom prst="rect">
            <a:avLst/>
          </a:prstGeom>
        </p:spPr>
        <p:txBody>
          <a:bodyPr vert="horz"/>
          <a:lstStyle>
            <a:lvl1pPr marL="0" indent="0">
              <a:lnSpc>
                <a:spcPct val="90000"/>
              </a:lnSpc>
              <a:buFont typeface="Arial"/>
              <a:buNone/>
              <a:defRPr sz="1600">
                <a:solidFill>
                  <a:schemeClr val="accent3"/>
                </a:solidFill>
                <a:latin typeface="Arial"/>
                <a:cs typeface="Arial"/>
              </a:defRPr>
            </a:lvl1pPr>
            <a:lvl2pPr marL="4233" indent="0">
              <a:buNone/>
              <a:defRPr sz="1467">
                <a:solidFill>
                  <a:schemeClr val="bg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a:t>Xxx</a:t>
            </a:r>
          </a:p>
          <a:p>
            <a:pPr lvl="1"/>
            <a:r>
              <a:rPr lang="en-US"/>
              <a:t>Xxx</a:t>
            </a:r>
          </a:p>
        </p:txBody>
      </p:sp>
      <p:pic>
        <p:nvPicPr>
          <p:cNvPr id="24" name="Picture 23">
            <a:extLst>
              <a:ext uri="{FF2B5EF4-FFF2-40B4-BE49-F238E27FC236}">
                <a16:creationId xmlns:a16="http://schemas.microsoft.com/office/drawing/2014/main" id="{BC1456C7-EA29-1349-BF59-3A88514782BE}"/>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9" y="337622"/>
            <a:ext cx="1331803" cy="477007"/>
          </a:xfrm>
          <a:prstGeom prst="rect">
            <a:avLst/>
          </a:prstGeom>
        </p:spPr>
      </p:pic>
    </p:spTree>
    <p:extLst>
      <p:ext uri="{BB962C8B-B14F-4D97-AF65-F5344CB8AC3E}">
        <p14:creationId xmlns:p14="http://schemas.microsoft.com/office/powerpoint/2010/main" val="5671064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_NTT_content_page">
    <p:bg bwMode="ltGray">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085481-1F38-7744-AE2E-14E71BBC7165}"/>
              </a:ext>
            </a:extLst>
          </p:cNvPr>
          <p:cNvSpPr/>
          <p:nvPr userDrawn="1"/>
        </p:nvSpPr>
        <p:spPr>
          <a:xfrm>
            <a:off x="5883965" y="0"/>
            <a:ext cx="6308035" cy="685800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solidFill>
                <a:schemeClr val="tx1"/>
              </a:solidFill>
            </a:endParaRPr>
          </a:p>
        </p:txBody>
      </p:sp>
      <p:sp>
        <p:nvSpPr>
          <p:cNvPr id="4" name="Rectangle 3">
            <a:extLst>
              <a:ext uri="{FF2B5EF4-FFF2-40B4-BE49-F238E27FC236}">
                <a16:creationId xmlns:a16="http://schemas.microsoft.com/office/drawing/2014/main" id="{F047273F-8383-0B40-A84D-A6E3D5DAB531}"/>
              </a:ext>
            </a:extLst>
          </p:cNvPr>
          <p:cNvSpPr/>
          <p:nvPr userDrawn="1"/>
        </p:nvSpPr>
        <p:spPr>
          <a:xfrm>
            <a:off x="1157207" y="1290235"/>
            <a:ext cx="3822916" cy="4277532"/>
          </a:xfrm>
          <a:prstGeom prst="rect">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ext Placeholder 6">
            <a:extLst>
              <a:ext uri="{FF2B5EF4-FFF2-40B4-BE49-F238E27FC236}">
                <a16:creationId xmlns:a16="http://schemas.microsoft.com/office/drawing/2014/main" id="{7172A34A-A47D-0B40-835D-28831DC7725C}"/>
              </a:ext>
            </a:extLst>
          </p:cNvPr>
          <p:cNvSpPr>
            <a:spLocks noGrp="1"/>
          </p:cNvSpPr>
          <p:nvPr>
            <p:ph type="body" sz="quarter" idx="15"/>
          </p:nvPr>
        </p:nvSpPr>
        <p:spPr>
          <a:xfrm>
            <a:off x="1297015" y="3256157"/>
            <a:ext cx="3543300" cy="1437899"/>
          </a:xfrm>
          <a:prstGeom prst="rect">
            <a:avLst/>
          </a:prstGeom>
        </p:spPr>
        <p:txBody>
          <a:bodyPr/>
          <a:lstStyle>
            <a:lvl1pPr marL="0" indent="0" algn="ctr">
              <a:buNone/>
              <a:defRPr sz="1333">
                <a:solidFill>
                  <a:schemeClr val="bg1"/>
                </a:solidFill>
              </a:defRPr>
            </a:lvl1pPr>
            <a:lvl2pPr marL="457143" indent="0" algn="ctr">
              <a:buNone/>
              <a:defRPr sz="1333"/>
            </a:lvl2pPr>
            <a:lvl3pPr marL="914286" indent="0" algn="ctr">
              <a:buNone/>
              <a:defRPr sz="1333"/>
            </a:lvl3pPr>
            <a:lvl4pPr marL="1371430" indent="0" algn="ctr">
              <a:buNone/>
              <a:defRPr sz="1333"/>
            </a:lvl4pPr>
            <a:lvl5pPr marL="1828573" indent="0" algn="ctr">
              <a:buNone/>
              <a:defRPr sz="1333"/>
            </a:lvl5pPr>
          </a:lstStyle>
          <a:p>
            <a:pPr lvl="0"/>
            <a:r>
              <a:rPr lang="en-US"/>
              <a:t>Click to edit Master text styles</a:t>
            </a:r>
          </a:p>
        </p:txBody>
      </p:sp>
      <p:sp>
        <p:nvSpPr>
          <p:cNvPr id="12" name="Text Placeholder 11">
            <a:extLst>
              <a:ext uri="{FF2B5EF4-FFF2-40B4-BE49-F238E27FC236}">
                <a16:creationId xmlns:a16="http://schemas.microsoft.com/office/drawing/2014/main" id="{7301CF58-65C8-5A44-9BBC-7F4C9512C244}"/>
              </a:ext>
            </a:extLst>
          </p:cNvPr>
          <p:cNvSpPr>
            <a:spLocks noGrp="1"/>
          </p:cNvSpPr>
          <p:nvPr>
            <p:ph type="body" sz="quarter" idx="16" hasCustomPrompt="1"/>
          </p:nvPr>
        </p:nvSpPr>
        <p:spPr>
          <a:xfrm>
            <a:off x="6376012" y="799964"/>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14" name="Text Placeholder 11">
            <a:extLst>
              <a:ext uri="{FF2B5EF4-FFF2-40B4-BE49-F238E27FC236}">
                <a16:creationId xmlns:a16="http://schemas.microsoft.com/office/drawing/2014/main" id="{593C8A1F-BBC4-D142-8D11-C3D83D5A59E7}"/>
              </a:ext>
            </a:extLst>
          </p:cNvPr>
          <p:cNvSpPr>
            <a:spLocks noGrp="1"/>
          </p:cNvSpPr>
          <p:nvPr>
            <p:ph type="body" sz="quarter" idx="17" hasCustomPrompt="1"/>
          </p:nvPr>
        </p:nvSpPr>
        <p:spPr>
          <a:xfrm>
            <a:off x="6376012" y="1130593"/>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15" name="Text Placeholder 11">
            <a:extLst>
              <a:ext uri="{FF2B5EF4-FFF2-40B4-BE49-F238E27FC236}">
                <a16:creationId xmlns:a16="http://schemas.microsoft.com/office/drawing/2014/main" id="{B2E1BFFD-5E6B-184E-9C96-C96EA10F3A87}"/>
              </a:ext>
            </a:extLst>
          </p:cNvPr>
          <p:cNvSpPr>
            <a:spLocks noGrp="1"/>
          </p:cNvSpPr>
          <p:nvPr>
            <p:ph type="body" sz="quarter" idx="18" hasCustomPrompt="1"/>
          </p:nvPr>
        </p:nvSpPr>
        <p:spPr>
          <a:xfrm>
            <a:off x="6376012" y="1440560"/>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2" name="Text Placeholder 11">
            <a:extLst>
              <a:ext uri="{FF2B5EF4-FFF2-40B4-BE49-F238E27FC236}">
                <a16:creationId xmlns:a16="http://schemas.microsoft.com/office/drawing/2014/main" id="{252F90EC-C0F9-F040-B680-A6A9A3CB16FF}"/>
              </a:ext>
            </a:extLst>
          </p:cNvPr>
          <p:cNvSpPr>
            <a:spLocks noGrp="1"/>
          </p:cNvSpPr>
          <p:nvPr>
            <p:ph type="body" sz="quarter" idx="19" hasCustomPrompt="1"/>
          </p:nvPr>
        </p:nvSpPr>
        <p:spPr>
          <a:xfrm>
            <a:off x="6376012" y="2163814"/>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3" name="Text Placeholder 11">
            <a:extLst>
              <a:ext uri="{FF2B5EF4-FFF2-40B4-BE49-F238E27FC236}">
                <a16:creationId xmlns:a16="http://schemas.microsoft.com/office/drawing/2014/main" id="{8B064F4E-61E6-8D43-884D-B02F8BF1243B}"/>
              </a:ext>
            </a:extLst>
          </p:cNvPr>
          <p:cNvSpPr>
            <a:spLocks noGrp="1"/>
          </p:cNvSpPr>
          <p:nvPr>
            <p:ph type="body" sz="quarter" idx="20" hasCustomPrompt="1"/>
          </p:nvPr>
        </p:nvSpPr>
        <p:spPr>
          <a:xfrm>
            <a:off x="6376012" y="2494444"/>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4" name="Text Placeholder 11">
            <a:extLst>
              <a:ext uri="{FF2B5EF4-FFF2-40B4-BE49-F238E27FC236}">
                <a16:creationId xmlns:a16="http://schemas.microsoft.com/office/drawing/2014/main" id="{03EE597B-F187-9343-9BDB-C8BFA2AFFFD0}"/>
              </a:ext>
            </a:extLst>
          </p:cNvPr>
          <p:cNvSpPr>
            <a:spLocks noGrp="1"/>
          </p:cNvSpPr>
          <p:nvPr>
            <p:ph type="body" sz="quarter" idx="21" hasCustomPrompt="1"/>
          </p:nvPr>
        </p:nvSpPr>
        <p:spPr>
          <a:xfrm>
            <a:off x="6376012" y="2804410"/>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6" name="Text Placeholder 11">
            <a:extLst>
              <a:ext uri="{FF2B5EF4-FFF2-40B4-BE49-F238E27FC236}">
                <a16:creationId xmlns:a16="http://schemas.microsoft.com/office/drawing/2014/main" id="{586E91DD-916B-F645-80BE-74FE13A1A309}"/>
              </a:ext>
            </a:extLst>
          </p:cNvPr>
          <p:cNvSpPr>
            <a:spLocks noGrp="1"/>
          </p:cNvSpPr>
          <p:nvPr>
            <p:ph type="body" sz="quarter" idx="22" hasCustomPrompt="1"/>
          </p:nvPr>
        </p:nvSpPr>
        <p:spPr>
          <a:xfrm>
            <a:off x="6376012" y="3541226"/>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27" name="Text Placeholder 11">
            <a:extLst>
              <a:ext uri="{FF2B5EF4-FFF2-40B4-BE49-F238E27FC236}">
                <a16:creationId xmlns:a16="http://schemas.microsoft.com/office/drawing/2014/main" id="{D33AE9B1-FC4C-B64A-A627-4C5DEB4D3642}"/>
              </a:ext>
            </a:extLst>
          </p:cNvPr>
          <p:cNvSpPr>
            <a:spLocks noGrp="1"/>
          </p:cNvSpPr>
          <p:nvPr>
            <p:ph type="body" sz="quarter" idx="23" hasCustomPrompt="1"/>
          </p:nvPr>
        </p:nvSpPr>
        <p:spPr>
          <a:xfrm>
            <a:off x="6376012" y="3871855"/>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28" name="Text Placeholder 11">
            <a:extLst>
              <a:ext uri="{FF2B5EF4-FFF2-40B4-BE49-F238E27FC236}">
                <a16:creationId xmlns:a16="http://schemas.microsoft.com/office/drawing/2014/main" id="{D7BDC373-757A-224C-BDE1-7C04B2534237}"/>
              </a:ext>
            </a:extLst>
          </p:cNvPr>
          <p:cNvSpPr>
            <a:spLocks noGrp="1"/>
          </p:cNvSpPr>
          <p:nvPr>
            <p:ph type="body" sz="quarter" idx="24" hasCustomPrompt="1"/>
          </p:nvPr>
        </p:nvSpPr>
        <p:spPr>
          <a:xfrm>
            <a:off x="6376012" y="4181822"/>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29" name="Text Placeholder 11">
            <a:extLst>
              <a:ext uri="{FF2B5EF4-FFF2-40B4-BE49-F238E27FC236}">
                <a16:creationId xmlns:a16="http://schemas.microsoft.com/office/drawing/2014/main" id="{D237CA36-D07E-5643-B2B1-CCB818CA6974}"/>
              </a:ext>
            </a:extLst>
          </p:cNvPr>
          <p:cNvSpPr>
            <a:spLocks noGrp="1"/>
          </p:cNvSpPr>
          <p:nvPr>
            <p:ph type="body" sz="quarter" idx="25" hasCustomPrompt="1"/>
          </p:nvPr>
        </p:nvSpPr>
        <p:spPr>
          <a:xfrm>
            <a:off x="6376012" y="4920648"/>
            <a:ext cx="5423365" cy="283633"/>
          </a:xfrm>
          <a:prstGeom prst="rect">
            <a:avLst/>
          </a:prstGeom>
        </p:spPr>
        <p:txBody>
          <a:bodyPr/>
          <a:lstStyle>
            <a:lvl1pPr marL="0" indent="0">
              <a:buNone/>
              <a:defRPr sz="1333">
                <a:solidFill>
                  <a:schemeClr val="tx1"/>
                </a:solidFill>
              </a:defRPr>
            </a:lvl1pPr>
          </a:lstStyle>
          <a:p>
            <a:pPr lvl="0"/>
            <a:r>
              <a:rPr lang="en-US"/>
              <a:t>Insert time</a:t>
            </a:r>
            <a:endParaRPr lang="en-GB"/>
          </a:p>
        </p:txBody>
      </p:sp>
      <p:sp>
        <p:nvSpPr>
          <p:cNvPr id="30" name="Text Placeholder 11">
            <a:extLst>
              <a:ext uri="{FF2B5EF4-FFF2-40B4-BE49-F238E27FC236}">
                <a16:creationId xmlns:a16="http://schemas.microsoft.com/office/drawing/2014/main" id="{C423DBFD-C745-4648-850A-74997E87CFF1}"/>
              </a:ext>
            </a:extLst>
          </p:cNvPr>
          <p:cNvSpPr>
            <a:spLocks noGrp="1"/>
          </p:cNvSpPr>
          <p:nvPr>
            <p:ph type="body" sz="quarter" idx="26" hasCustomPrompt="1"/>
          </p:nvPr>
        </p:nvSpPr>
        <p:spPr>
          <a:xfrm>
            <a:off x="6376012" y="5251277"/>
            <a:ext cx="5423365" cy="283633"/>
          </a:xfrm>
          <a:prstGeom prst="rect">
            <a:avLst/>
          </a:prstGeom>
        </p:spPr>
        <p:txBody>
          <a:bodyPr/>
          <a:lstStyle>
            <a:lvl1pPr marL="0" indent="0">
              <a:buNone/>
              <a:defRPr sz="1600" b="1">
                <a:solidFill>
                  <a:schemeClr val="accent3"/>
                </a:solidFill>
              </a:defRPr>
            </a:lvl1pPr>
          </a:lstStyle>
          <a:p>
            <a:pPr lvl="0"/>
            <a:r>
              <a:rPr lang="en-US"/>
              <a:t>Insert Heading</a:t>
            </a:r>
            <a:endParaRPr lang="en-GB"/>
          </a:p>
        </p:txBody>
      </p:sp>
      <p:sp>
        <p:nvSpPr>
          <p:cNvPr id="31" name="Text Placeholder 11">
            <a:extLst>
              <a:ext uri="{FF2B5EF4-FFF2-40B4-BE49-F238E27FC236}">
                <a16:creationId xmlns:a16="http://schemas.microsoft.com/office/drawing/2014/main" id="{060C62B5-4383-B249-A74D-872EBA69941E}"/>
              </a:ext>
            </a:extLst>
          </p:cNvPr>
          <p:cNvSpPr>
            <a:spLocks noGrp="1"/>
          </p:cNvSpPr>
          <p:nvPr>
            <p:ph type="body" sz="quarter" idx="27" hasCustomPrompt="1"/>
          </p:nvPr>
        </p:nvSpPr>
        <p:spPr>
          <a:xfrm>
            <a:off x="6376012" y="5561244"/>
            <a:ext cx="5423365" cy="532897"/>
          </a:xfrm>
          <a:prstGeom prst="rect">
            <a:avLst/>
          </a:prstGeom>
        </p:spPr>
        <p:txBody>
          <a:bodyPr/>
          <a:lstStyle>
            <a:lvl1pPr marL="0" indent="0">
              <a:buNone/>
              <a:defRPr sz="1333">
                <a:solidFill>
                  <a:schemeClr val="tx1"/>
                </a:solidFill>
              </a:defRPr>
            </a:lvl1pPr>
          </a:lstStyle>
          <a:p>
            <a:pPr lvl="0"/>
            <a:r>
              <a:rPr lang="en-US"/>
              <a:t>Insert text</a:t>
            </a:r>
            <a:endParaRPr lang="en-GB"/>
          </a:p>
        </p:txBody>
      </p:sp>
      <p:sp>
        <p:nvSpPr>
          <p:cNvPr id="32" name="Title 4">
            <a:extLst>
              <a:ext uri="{FF2B5EF4-FFF2-40B4-BE49-F238E27FC236}">
                <a16:creationId xmlns:a16="http://schemas.microsoft.com/office/drawing/2014/main" id="{738D054A-338D-8647-BDC8-3D1F6F5A5227}"/>
              </a:ext>
            </a:extLst>
          </p:cNvPr>
          <p:cNvSpPr>
            <a:spLocks noGrp="1"/>
          </p:cNvSpPr>
          <p:nvPr>
            <p:ph type="title" hasCustomPrompt="1"/>
          </p:nvPr>
        </p:nvSpPr>
        <p:spPr>
          <a:xfrm>
            <a:off x="1297015" y="2157098"/>
            <a:ext cx="3543300" cy="958321"/>
          </a:xfrm>
          <a:prstGeom prst="rect">
            <a:avLst/>
          </a:prstGeom>
        </p:spPr>
        <p:txBody>
          <a:bodyPr anchor="ctr"/>
          <a:lstStyle>
            <a:lvl1pPr algn="ctr">
              <a:lnSpc>
                <a:spcPct val="100000"/>
              </a:lnSpc>
              <a:spcBef>
                <a:spcPts val="0"/>
              </a:spcBef>
              <a:spcAft>
                <a:spcPts val="0"/>
              </a:spcAft>
              <a:defRPr sz="3200" b="1">
                <a:solidFill>
                  <a:schemeClr val="bg1"/>
                </a:solidFill>
              </a:defRPr>
            </a:lvl1pPr>
          </a:lstStyle>
          <a:p>
            <a:r>
              <a:rPr lang="en-US"/>
              <a:t>Today’s</a:t>
            </a:r>
            <a:br>
              <a:rPr lang="en-US"/>
            </a:br>
            <a:r>
              <a:rPr lang="en-US"/>
              <a:t>agenda</a:t>
            </a:r>
            <a:endParaRPr lang="en-GB"/>
          </a:p>
        </p:txBody>
      </p:sp>
    </p:spTree>
    <p:extLst>
      <p:ext uri="{BB962C8B-B14F-4D97-AF65-F5344CB8AC3E}">
        <p14:creationId xmlns:p14="http://schemas.microsoft.com/office/powerpoint/2010/main" val="3345082051"/>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NTT_divider_page">
    <p:spTree>
      <p:nvGrpSpPr>
        <p:cNvPr id="1" name=""/>
        <p:cNvGrpSpPr/>
        <p:nvPr/>
      </p:nvGrpSpPr>
      <p:grpSpPr>
        <a:xfrm>
          <a:off x="0" y="0"/>
          <a:ext cx="0" cy="0"/>
          <a:chOff x="0" y="0"/>
          <a:chExt cx="0" cy="0"/>
        </a:xfrm>
      </p:grpSpPr>
      <p:sp>
        <p:nvSpPr>
          <p:cNvPr id="10" name="Picture Placeholder 3"/>
          <p:cNvSpPr>
            <a:spLocks noGrp="1"/>
          </p:cNvSpPr>
          <p:nvPr userDrawn="1">
            <p:ph type="pic" sz="quarter" idx="14"/>
          </p:nvPr>
        </p:nvSpPr>
        <p:spPr>
          <a:xfrm>
            <a:off x="0" y="4925"/>
            <a:ext cx="12192000" cy="6362011"/>
          </a:xfrm>
          <a:prstGeom prst="rect">
            <a:avLst/>
          </a:prstGeom>
        </p:spPr>
        <p:txBody>
          <a:bodyPr/>
          <a:lstStyle>
            <a:lvl1pPr>
              <a:defRPr>
                <a:solidFill>
                  <a:schemeClr val="accent1"/>
                </a:solidFill>
                <a:latin typeface="Arial"/>
              </a:defRPr>
            </a:lvl1pPr>
          </a:lstStyle>
          <a:p>
            <a:r>
              <a:rPr lang="en-US"/>
              <a:t>Drag picture to placeholder or click icon to add</a:t>
            </a:r>
          </a:p>
        </p:txBody>
      </p:sp>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7"/>
            <a:ext cx="11408804" cy="631775"/>
          </a:xfrm>
          <a:prstGeom prst="rect">
            <a:avLst/>
          </a:prstGeom>
        </p:spPr>
        <p:txBody>
          <a:bodyPr anchor="ctr"/>
          <a:lstStyle>
            <a:lvl1pPr algn="ctr">
              <a:defRPr sz="3200" b="1">
                <a:solidFill>
                  <a:schemeClr val="tx1"/>
                </a:solidFill>
              </a:defRPr>
            </a:lvl1pPr>
          </a:lstStyle>
          <a:p>
            <a:r>
              <a:rPr lang="en-US"/>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93"/>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5" name="Rectangle 4">
            <a:extLst>
              <a:ext uri="{FF2B5EF4-FFF2-40B4-BE49-F238E27FC236}">
                <a16:creationId xmlns:a16="http://schemas.microsoft.com/office/drawing/2014/main" id="{DBB9AF9C-B2E6-1240-91F3-67F7FFEE08DD}"/>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Tree>
    <p:extLst>
      <p:ext uri="{BB962C8B-B14F-4D97-AF65-F5344CB8AC3E}">
        <p14:creationId xmlns:p14="http://schemas.microsoft.com/office/powerpoint/2010/main" val="24952448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NTT_divider_page_blue">
    <p:bg>
      <p:bgPr>
        <a:solidFill>
          <a:schemeClr val="accent2"/>
        </a:soli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7"/>
            <a:ext cx="11408804" cy="631775"/>
          </a:xfrm>
          <a:prstGeom prst="rect">
            <a:avLst/>
          </a:prstGeom>
        </p:spPr>
        <p:txBody>
          <a:bodyPr anchor="ctr"/>
          <a:lstStyle>
            <a:lvl1pPr algn="ctr">
              <a:defRPr sz="3200" b="1">
                <a:solidFill>
                  <a:schemeClr val="bg1"/>
                </a:solidFill>
              </a:defRPr>
            </a:lvl1pPr>
          </a:lstStyle>
          <a:p>
            <a:r>
              <a:rPr lang="en-US"/>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93"/>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Tree>
    <p:extLst>
      <p:ext uri="{BB962C8B-B14F-4D97-AF65-F5344CB8AC3E}">
        <p14:creationId xmlns:p14="http://schemas.microsoft.com/office/powerpoint/2010/main" val="17784135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ver_slide_image_background">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1302158"/>
            <a:ext cx="12192000" cy="5555847"/>
          </a:xfrm>
          <a:prstGeom prst="rect">
            <a:avLst/>
          </a:prstGeom>
          <a:solidFill>
            <a:schemeClr val="tx2"/>
          </a:solidFill>
        </p:spPr>
        <p:txBody>
          <a:bodyPr/>
          <a:lstStyle>
            <a:lvl1pPr algn="ctr">
              <a:defRPr>
                <a:solidFill>
                  <a:schemeClr val="bg1"/>
                </a:solidFill>
              </a:defRPr>
            </a:lvl1pPr>
          </a:lstStyle>
          <a:p>
            <a:endParaRPr lang="en-GB"/>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7" y="2724147"/>
            <a:ext cx="6795052" cy="2073004"/>
          </a:xfrm>
          <a:prstGeom prst="rect">
            <a:avLst/>
          </a:prstGeom>
        </p:spPr>
        <p:txBody>
          <a:bodyPr anchor="ctr"/>
          <a:lstStyle>
            <a:lvl1pPr algn="l">
              <a:lnSpc>
                <a:spcPct val="80000"/>
              </a:lnSpc>
              <a:spcBef>
                <a:spcPts val="0"/>
              </a:spcBef>
              <a:spcAft>
                <a:spcPts val="0"/>
              </a:spcAft>
              <a:defRPr sz="5867" b="1">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7" y="4888272"/>
            <a:ext cx="6795052" cy="547733"/>
          </a:xfrm>
          <a:prstGeom prst="rect">
            <a:avLst/>
          </a:prstGeom>
        </p:spPr>
        <p:txBody>
          <a:bodyPr anchor="ctr"/>
          <a:lstStyle>
            <a:lvl1pPr marL="0" indent="0" algn="l">
              <a:buNone/>
              <a:defRPr>
                <a:solidFill>
                  <a:schemeClr val="bg1"/>
                </a:solidFill>
              </a:defRPr>
            </a:lvl1pPr>
          </a:lstStyle>
          <a:p>
            <a:pPr lvl="0"/>
            <a:r>
              <a:rPr lang="en-US"/>
              <a:t>Sub-title / Presenter Name</a:t>
            </a:r>
            <a:endParaRPr lang="en-GB"/>
          </a:p>
        </p:txBody>
      </p:sp>
      <p:sp>
        <p:nvSpPr>
          <p:cNvPr id="5" name="Rectangle 4">
            <a:extLst>
              <a:ext uri="{FF2B5EF4-FFF2-40B4-BE49-F238E27FC236}">
                <a16:creationId xmlns:a16="http://schemas.microsoft.com/office/drawing/2014/main" id="{AEC331B1-A2E3-4449-A203-C1004B13CA10}"/>
              </a:ext>
            </a:extLst>
          </p:cNvPr>
          <p:cNvSpPr/>
          <p:nvPr userDrawn="1"/>
        </p:nvSpPr>
        <p:spPr>
          <a:xfrm>
            <a:off x="-1" y="6"/>
            <a:ext cx="12192001" cy="1302153"/>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pic>
        <p:nvPicPr>
          <p:cNvPr id="9" name="Picture 8">
            <a:extLst>
              <a:ext uri="{FF2B5EF4-FFF2-40B4-BE49-F238E27FC236}">
                <a16:creationId xmlns:a16="http://schemas.microsoft.com/office/drawing/2014/main" id="{B0D76022-ABF5-4D71-8FD6-F77E9816DD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2071090245"/>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25123"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a:extLst>
              <a:ext uri="{FF2B5EF4-FFF2-40B4-BE49-F238E27FC236}">
                <a16:creationId xmlns:a16="http://schemas.microsoft.com/office/drawing/2014/main" id="{80889D0A-8FE3-CF4D-B7B4-5465281051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10541649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B720457-78E2-D349-BA3A-D34C6CC50DD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7" name="Title 1"/>
          <p:cNvSpPr>
            <a:spLocks noGrp="1"/>
          </p:cNvSpPr>
          <p:nvPr>
            <p:ph type="title"/>
          </p:nvPr>
        </p:nvSpPr>
        <p:spPr>
          <a:xfrm>
            <a:off x="396695" y="169339"/>
            <a:ext cx="9951392"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331323"/>
            <a:ext cx="11376207" cy="473081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12" name="Picture 11">
            <a:extLst>
              <a:ext uri="{FF2B5EF4-FFF2-40B4-BE49-F238E27FC236}">
                <a16:creationId xmlns:a16="http://schemas.microsoft.com/office/drawing/2014/main" id="{4394DD01-B476-4449-A74F-36512D904F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
        <p:nvSpPr>
          <p:cNvPr id="13" name="Text Placeholder 2">
            <a:extLst>
              <a:ext uri="{FF2B5EF4-FFF2-40B4-BE49-F238E27FC236}">
                <a16:creationId xmlns:a16="http://schemas.microsoft.com/office/drawing/2014/main" id="{02A62D41-FCC5-49EA-84B9-5FCD9CACEBA4}"/>
              </a:ext>
            </a:extLst>
          </p:cNvPr>
          <p:cNvSpPr>
            <a:spLocks noGrp="1"/>
          </p:cNvSpPr>
          <p:nvPr>
            <p:ph type="body" sz="quarter" idx="10" hasCustomPrompt="1"/>
          </p:nvPr>
        </p:nvSpPr>
        <p:spPr>
          <a:xfrm>
            <a:off x="5440226" y="6499792"/>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3269057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light_grey_CR">
    <p:bg bwMode="ltGray">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25123"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28"/>
            <a:ext cx="11376207" cy="456697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9" name="Picture 8">
            <a:extLst>
              <a:ext uri="{FF2B5EF4-FFF2-40B4-BE49-F238E27FC236}">
                <a16:creationId xmlns:a16="http://schemas.microsoft.com/office/drawing/2014/main" id="{A5514108-DFA6-6A49-ADD4-769859CE9D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
        <p:nvSpPr>
          <p:cNvPr id="10" name="Rectangle 9">
            <a:extLst>
              <a:ext uri="{FF2B5EF4-FFF2-40B4-BE49-F238E27FC236}">
                <a16:creationId xmlns:a16="http://schemas.microsoft.com/office/drawing/2014/main" id="{88CE73B4-B7E7-7745-AF08-F3B6CCC9131B}"/>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2" name="Text Placeholder 2">
            <a:extLst>
              <a:ext uri="{FF2B5EF4-FFF2-40B4-BE49-F238E27FC236}">
                <a16:creationId xmlns:a16="http://schemas.microsoft.com/office/drawing/2014/main" id="{0AA716DD-80A6-DA4B-BABB-DE0B9A73DF6D}"/>
              </a:ext>
            </a:extLst>
          </p:cNvPr>
          <p:cNvSpPr>
            <a:spLocks noGrp="1"/>
          </p:cNvSpPr>
          <p:nvPr>
            <p:ph type="body" sz="quarter" idx="10" hasCustomPrompt="1"/>
          </p:nvPr>
        </p:nvSpPr>
        <p:spPr>
          <a:xfrm>
            <a:off x="5440226" y="6499792"/>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25642740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TT_divider_page_blu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941A178-BB54-48E2-8BD0-F257C4AC9DD7}"/>
              </a:ext>
            </a:extLst>
          </p:cNvPr>
          <p:cNvGraphicFramePr>
            <a:graphicFrameLocks noChangeAspect="1"/>
          </p:cNvGraphicFramePr>
          <p:nvPr userDrawn="1">
            <p:custDataLst>
              <p:tags r:id="rId1"/>
            </p:custDataLst>
            <p:extLst>
              <p:ext uri="{D42A27DB-BD31-4B8C-83A1-F6EECF244321}">
                <p14:modId xmlns:p14="http://schemas.microsoft.com/office/powerpoint/2010/main" val="28218726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941A178-BB54-48E2-8BD0-F257C4AC9DD7}"/>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2"/>
            <a:ext cx="11408804" cy="631775"/>
          </a:xfrm>
          <a:prstGeom prst="rect">
            <a:avLst/>
          </a:prstGeom>
        </p:spPr>
        <p:txBody>
          <a:bodyPr vert="horz" anchor="ctr"/>
          <a:lstStyle>
            <a:lvl1pPr algn="ctr" rtl="0">
              <a:defRPr sz="3200" b="1">
                <a:solidFill>
                  <a:schemeClr val="bg1"/>
                </a:solidFill>
              </a:defRPr>
            </a:lvl1pPr>
          </a:lstStyle>
          <a:p>
            <a:r>
              <a:rPr lang="en-US"/>
              <a:t>Click to edit Master title style</a:t>
            </a:r>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38143"/>
            <a:ext cx="11408804" cy="478144"/>
          </a:xfrm>
          <a:prstGeom prst="rect">
            <a:avLst/>
          </a:prstGeom>
        </p:spPr>
        <p:txBody>
          <a:bodyPr anchor="ctr"/>
          <a:lstStyle>
            <a:lvl1pPr marL="0" indent="0" algn="ctr" rtl="0">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p>
        </p:txBody>
      </p:sp>
    </p:spTree>
    <p:extLst>
      <p:ext uri="{BB962C8B-B14F-4D97-AF65-F5344CB8AC3E}">
        <p14:creationId xmlns:p14="http://schemas.microsoft.com/office/powerpoint/2010/main" val="19801591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NTT_title_and_content_page_blue">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5" name="Picture 4">
            <a:extLst>
              <a:ext uri="{FF2B5EF4-FFF2-40B4-BE49-F238E27FC236}">
                <a16:creationId xmlns:a16="http://schemas.microsoft.com/office/drawing/2014/main" id="{8F3EAFF9-7DC3-D348-84B7-12FFB2469E99}"/>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9" y="337622"/>
            <a:ext cx="1331803" cy="477007"/>
          </a:xfrm>
          <a:prstGeom prst="rect">
            <a:avLst/>
          </a:prstGeom>
        </p:spPr>
      </p:pic>
    </p:spTree>
    <p:extLst>
      <p:ext uri="{BB962C8B-B14F-4D97-AF65-F5344CB8AC3E}">
        <p14:creationId xmlns:p14="http://schemas.microsoft.com/office/powerpoint/2010/main" val="1822770887"/>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770027"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a:extLst>
              <a:ext uri="{FF2B5EF4-FFF2-40B4-BE49-F238E27FC236}">
                <a16:creationId xmlns:a16="http://schemas.microsoft.com/office/drawing/2014/main" id="{A6731466-BD37-0B4A-BE69-CBD86F77A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
        <p:nvSpPr>
          <p:cNvPr id="9" name="Text Placeholder 2">
            <a:extLst>
              <a:ext uri="{FF2B5EF4-FFF2-40B4-BE49-F238E27FC236}">
                <a16:creationId xmlns:a16="http://schemas.microsoft.com/office/drawing/2014/main" id="{A2FD43D3-9DCE-4E30-810E-E3C88EB6F7CF}"/>
              </a:ext>
            </a:extLst>
          </p:cNvPr>
          <p:cNvSpPr>
            <a:spLocks noGrp="1"/>
          </p:cNvSpPr>
          <p:nvPr>
            <p:ph type="body" sz="quarter" idx="10" hasCustomPrompt="1"/>
          </p:nvPr>
        </p:nvSpPr>
        <p:spPr>
          <a:xfrm>
            <a:off x="396697" y="6448608"/>
            <a:ext cx="6706073" cy="234949"/>
          </a:xfrm>
          <a:prstGeom prst="rect">
            <a:avLst/>
          </a:prstGeom>
        </p:spPr>
        <p:txBody>
          <a:bodyPr anchor="ctr"/>
          <a:lstStyle>
            <a:lvl1pPr marL="0" marR="0" indent="0" algn="l" defTabSz="1219050" rtl="0" eaLnBrk="1" fontAlgn="auto" latinLnBrk="0" hangingPunct="1">
              <a:lnSpc>
                <a:spcPct val="114000"/>
              </a:lnSpc>
              <a:spcBef>
                <a:spcPts val="800"/>
              </a:spcBef>
              <a:spcAft>
                <a:spcPts val="133"/>
              </a:spcAft>
              <a:buClrTx/>
              <a:buSzTx/>
              <a:buFont typeface="Arial" pitchFamily="34" charset="0"/>
              <a:buNone/>
              <a:tabLst/>
              <a:defRPr sz="1067">
                <a:solidFill>
                  <a:schemeClr val="tx1"/>
                </a:solidFill>
              </a:defRPr>
            </a:lvl1pPr>
          </a:lstStyle>
          <a:p>
            <a:pPr marL="0" marR="0" lvl="0" indent="0" algn="l" defTabSz="1219050" rtl="0" eaLnBrk="1" fontAlgn="auto" latinLnBrk="0" hangingPunct="1">
              <a:lnSpc>
                <a:spcPct val="114000"/>
              </a:lnSpc>
              <a:spcBef>
                <a:spcPts val="800"/>
              </a:spcBef>
              <a:spcAft>
                <a:spcPts val="133"/>
              </a:spcAft>
              <a:buClrTx/>
              <a:buSzTx/>
              <a:buFont typeface="Arial" pitchFamily="34" charset="0"/>
              <a:buNone/>
              <a:tabLst/>
              <a:defRPr/>
            </a:pPr>
            <a:r>
              <a:rPr lang="en-US" sz="1200">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7831949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NTT_title_and_content_page_white_no_logo">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7" y="169339"/>
            <a:ext cx="9860711" cy="793751"/>
          </a:xfrm>
          <a:prstGeom prst="rect">
            <a:avLst/>
          </a:prstGeom>
        </p:spPr>
        <p:txBody>
          <a:bodyPr anchor="ctr"/>
          <a:lstStyle>
            <a:lvl1pPr>
              <a:defRPr sz="3200" b="1">
                <a:solidFill>
                  <a:schemeClr val="bg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30"/>
            <a:ext cx="11376207" cy="4775113"/>
          </a:xfrm>
          <a:prstGeom prst="rect">
            <a:avLst/>
          </a:prstGeom>
        </p:spPr>
        <p:txBody>
          <a:bodyPr/>
          <a:lstStyle>
            <a:lvl1pPr algn="l">
              <a:defRPr sz="2400">
                <a:solidFill>
                  <a:schemeClr val="bg1"/>
                </a:solidFill>
                <a:latin typeface="Arial"/>
                <a:cs typeface="Arial"/>
              </a:defRPr>
            </a:lvl1pPr>
            <a:lvl2pPr algn="l">
              <a:defRPr sz="1867">
                <a:solidFill>
                  <a:schemeClr val="bg1"/>
                </a:solidFill>
                <a:latin typeface="Arial"/>
                <a:cs typeface="Arial"/>
              </a:defRPr>
            </a:lvl2pPr>
            <a:lvl3pPr algn="l">
              <a:defRPr sz="1600">
                <a:solidFill>
                  <a:schemeClr val="bg1"/>
                </a:solidFill>
                <a:latin typeface="Arial"/>
                <a:cs typeface="Arial"/>
              </a:defRPr>
            </a:lvl3pPr>
            <a:lvl4pPr algn="l">
              <a:defRPr sz="1467">
                <a:solidFill>
                  <a:schemeClr val="bg1"/>
                </a:solidFill>
                <a:latin typeface="Arial"/>
                <a:cs typeface="Arial"/>
              </a:defRPr>
            </a:lvl4pPr>
            <a:lvl5pPr algn="l">
              <a:defRPr sz="1467">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4" name="Picture 3">
            <a:extLst>
              <a:ext uri="{FF2B5EF4-FFF2-40B4-BE49-F238E27FC236}">
                <a16:creationId xmlns:a16="http://schemas.microsoft.com/office/drawing/2014/main" id="{A9DEE5B1-CDD6-3C4C-B3D3-ADC5828C5E97}"/>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9" y="337622"/>
            <a:ext cx="1331803" cy="477007"/>
          </a:xfrm>
          <a:prstGeom prst="rect">
            <a:avLst/>
          </a:prstGeom>
        </p:spPr>
      </p:pic>
    </p:spTree>
    <p:extLst>
      <p:ext uri="{BB962C8B-B14F-4D97-AF65-F5344CB8AC3E}">
        <p14:creationId xmlns:p14="http://schemas.microsoft.com/office/powerpoint/2010/main" val="39857023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9"/>
            <a:ext cx="9810331"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9" y="1529025"/>
            <a:ext cx="11376207" cy="4566976"/>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Rectangle 5">
            <a:extLst>
              <a:ext uri="{FF2B5EF4-FFF2-40B4-BE49-F238E27FC236}">
                <a16:creationId xmlns:a16="http://schemas.microsoft.com/office/drawing/2014/main" id="{C1B6184E-3522-954B-A811-C22B92045F8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pic>
        <p:nvPicPr>
          <p:cNvPr id="11" name="Picture 10">
            <a:extLst>
              <a:ext uri="{FF2B5EF4-FFF2-40B4-BE49-F238E27FC236}">
                <a16:creationId xmlns:a16="http://schemas.microsoft.com/office/drawing/2014/main" id="{DF5856D0-B342-6443-8CFB-BC42A2CCF0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
        <p:nvSpPr>
          <p:cNvPr id="12" name="Text Placeholder 2">
            <a:extLst>
              <a:ext uri="{FF2B5EF4-FFF2-40B4-BE49-F238E27FC236}">
                <a16:creationId xmlns:a16="http://schemas.microsoft.com/office/drawing/2014/main" id="{0EE16BB2-678F-4DAC-9857-4AA50F97D992}"/>
              </a:ext>
            </a:extLst>
          </p:cNvPr>
          <p:cNvSpPr>
            <a:spLocks noGrp="1"/>
          </p:cNvSpPr>
          <p:nvPr>
            <p:ph type="body" sz="quarter" idx="10" hasCustomPrompt="1"/>
          </p:nvPr>
        </p:nvSpPr>
        <p:spPr>
          <a:xfrm>
            <a:off x="5440226" y="6499792"/>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128361558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NTT_title_and_2column_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6693" y="1408823"/>
            <a:ext cx="5495760" cy="4186080"/>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Text Placeholder 5"/>
          <p:cNvSpPr>
            <a:spLocks noGrp="1"/>
          </p:cNvSpPr>
          <p:nvPr>
            <p:ph type="body" sz="quarter" idx="12"/>
          </p:nvPr>
        </p:nvSpPr>
        <p:spPr>
          <a:xfrm>
            <a:off x="6298669" y="1409294"/>
            <a:ext cx="5497515" cy="4186207"/>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itle 1"/>
          <p:cNvSpPr>
            <a:spLocks noGrp="1"/>
          </p:cNvSpPr>
          <p:nvPr>
            <p:ph type="title"/>
          </p:nvPr>
        </p:nvSpPr>
        <p:spPr>
          <a:xfrm>
            <a:off x="396696" y="169336"/>
            <a:ext cx="9961469" cy="793749"/>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pic>
        <p:nvPicPr>
          <p:cNvPr id="7" name="Picture 6">
            <a:extLst>
              <a:ext uri="{FF2B5EF4-FFF2-40B4-BE49-F238E27FC236}">
                <a16:creationId xmlns:a16="http://schemas.microsoft.com/office/drawing/2014/main" id="{3F002DB6-96B1-3B43-B29D-7922E2487FE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9227298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TT_chart_layout_white">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20"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37" indent="0" algn="ctr">
              <a:buNone/>
              <a:defRPr sz="1867"/>
            </a:lvl2pPr>
          </a:lstStyle>
          <a:p>
            <a:pPr lvl="0"/>
            <a:r>
              <a:rPr lang="en-US"/>
              <a:t>Click to edit Master text styles</a:t>
            </a:r>
          </a:p>
        </p:txBody>
      </p:sp>
      <p:sp>
        <p:nvSpPr>
          <p:cNvPr id="6" name="Chart Placeholder 5"/>
          <p:cNvSpPr>
            <a:spLocks noGrp="1"/>
          </p:cNvSpPr>
          <p:nvPr>
            <p:ph type="chart" sz="quarter" idx="11"/>
          </p:nvPr>
        </p:nvSpPr>
        <p:spPr>
          <a:xfrm>
            <a:off x="396699" y="1683605"/>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tx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US"/>
              <a:t>Click icon to add chart</a:t>
            </a:r>
            <a:endParaRPr lang="en-ZA"/>
          </a:p>
        </p:txBody>
      </p:sp>
      <p:sp>
        <p:nvSpPr>
          <p:cNvPr id="5" name="Title 1"/>
          <p:cNvSpPr>
            <a:spLocks noGrp="1"/>
          </p:cNvSpPr>
          <p:nvPr>
            <p:ph type="title"/>
          </p:nvPr>
        </p:nvSpPr>
        <p:spPr>
          <a:xfrm>
            <a:off x="396695" y="169339"/>
            <a:ext cx="9558508" cy="793751"/>
          </a:xfrm>
          <a:prstGeom prst="rect">
            <a:avLst/>
          </a:prstGeom>
        </p:spPr>
        <p:txBody>
          <a:bodyPr anchor="ctr"/>
          <a:lstStyle>
            <a:lvl1pPr>
              <a:defRPr sz="3200" b="1" i="0">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ZA"/>
          </a:p>
        </p:txBody>
      </p:sp>
      <p:pic>
        <p:nvPicPr>
          <p:cNvPr id="8" name="Picture 7">
            <a:extLst>
              <a:ext uri="{FF2B5EF4-FFF2-40B4-BE49-F238E27FC236}">
                <a16:creationId xmlns:a16="http://schemas.microsoft.com/office/drawing/2014/main" id="{7BD62B93-C8CF-6946-9BCE-593B9275E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40864557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NTT_chart_layout_dark">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20"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37" indent="0" algn="ctr">
              <a:buNone/>
              <a:defRPr sz="1867"/>
            </a:lvl2pPr>
          </a:lstStyle>
          <a:p>
            <a:pPr lvl="0"/>
            <a:r>
              <a:rPr lang="en-US"/>
              <a:t>Click to edit Master text styles</a:t>
            </a:r>
          </a:p>
        </p:txBody>
      </p:sp>
      <p:sp>
        <p:nvSpPr>
          <p:cNvPr id="6" name="Chart Placeholder 5"/>
          <p:cNvSpPr>
            <a:spLocks noGrp="1"/>
          </p:cNvSpPr>
          <p:nvPr>
            <p:ph type="chart" sz="quarter" idx="11"/>
          </p:nvPr>
        </p:nvSpPr>
        <p:spPr>
          <a:xfrm>
            <a:off x="396699" y="1683605"/>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lt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US"/>
              <a:t>Click icon to add chart</a:t>
            </a:r>
            <a:endParaRPr lang="en-ZA"/>
          </a:p>
        </p:txBody>
      </p:sp>
      <p:sp>
        <p:nvSpPr>
          <p:cNvPr id="5" name="Title 1"/>
          <p:cNvSpPr>
            <a:spLocks noGrp="1"/>
          </p:cNvSpPr>
          <p:nvPr>
            <p:ph type="title"/>
          </p:nvPr>
        </p:nvSpPr>
        <p:spPr>
          <a:xfrm>
            <a:off x="396692" y="169339"/>
            <a:ext cx="9941317" cy="793751"/>
          </a:xfrm>
          <a:prstGeom prst="rect">
            <a:avLst/>
          </a:prstGeom>
        </p:spPr>
        <p:txBody>
          <a:bodyPr anchor="ctr"/>
          <a:lstStyle>
            <a:lvl1pPr>
              <a:defRPr b="1" i="0">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ZA"/>
          </a:p>
        </p:txBody>
      </p:sp>
      <p:pic>
        <p:nvPicPr>
          <p:cNvPr id="8" name="Picture 7">
            <a:extLst>
              <a:ext uri="{FF2B5EF4-FFF2-40B4-BE49-F238E27FC236}">
                <a16:creationId xmlns:a16="http://schemas.microsoft.com/office/drawing/2014/main" id="{18F2AC6C-F5EC-F34F-B80D-FEA6C390CB84}"/>
              </a:ext>
            </a:extLst>
          </p:cNvPr>
          <p:cNvPicPr>
            <a:picLocks noChangeAspect="1"/>
          </p:cNvPicPr>
          <p:nvPr userDrawn="1"/>
        </p:nvPicPr>
        <p:blipFill>
          <a:blip r:embed="rId2" cstate="screen">
            <a:lum bright="100000" contrast="-100000"/>
            <a:extLst>
              <a:ext uri="{28A0092B-C50C-407E-A947-70E740481C1C}">
                <a14:useLocalDpi xmlns:a14="http://schemas.microsoft.com/office/drawing/2010/main"/>
              </a:ext>
            </a:extLst>
          </a:blip>
          <a:stretch>
            <a:fillRect/>
          </a:stretch>
        </p:blipFill>
        <p:spPr>
          <a:xfrm>
            <a:off x="10470549" y="337622"/>
            <a:ext cx="1331803" cy="477007"/>
          </a:xfrm>
          <a:prstGeom prst="rect">
            <a:avLst/>
          </a:prstGeom>
        </p:spPr>
      </p:pic>
    </p:spTree>
    <p:extLst>
      <p:ext uri="{BB962C8B-B14F-4D97-AF65-F5344CB8AC3E}">
        <p14:creationId xmlns:p14="http://schemas.microsoft.com/office/powerpoint/2010/main" val="2361063098"/>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NTT_layout_option_3_column_white">
    <p:bg bwMode="ltGray">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6C46D53-15E4-2C4F-9617-DD90C161B84F}"/>
              </a:ext>
            </a:extLst>
          </p:cNvPr>
          <p:cNvSpPr/>
          <p:nvPr userDrawn="1"/>
        </p:nvSpPr>
        <p:spPr>
          <a:xfrm>
            <a:off x="0" y="2772079"/>
            <a:ext cx="4064000" cy="40859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7" name="Rectangle 6">
            <a:extLst>
              <a:ext uri="{FF2B5EF4-FFF2-40B4-BE49-F238E27FC236}">
                <a16:creationId xmlns:a16="http://schemas.microsoft.com/office/drawing/2014/main" id="{D76A6DF1-0EBD-A441-B4B6-6E5DE055B9AB}"/>
              </a:ext>
            </a:extLst>
          </p:cNvPr>
          <p:cNvSpPr/>
          <p:nvPr userDrawn="1"/>
        </p:nvSpPr>
        <p:spPr>
          <a:xfrm>
            <a:off x="8128000" y="2772079"/>
            <a:ext cx="4064000" cy="40859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3" name="Picture Placeholder 2">
            <a:extLst>
              <a:ext uri="{FF2B5EF4-FFF2-40B4-BE49-F238E27FC236}">
                <a16:creationId xmlns:a16="http://schemas.microsoft.com/office/drawing/2014/main" id="{C00DBA51-2FC2-724F-8D23-DCE9E6E22D76}"/>
              </a:ext>
            </a:extLst>
          </p:cNvPr>
          <p:cNvSpPr>
            <a:spLocks noGrp="1"/>
          </p:cNvSpPr>
          <p:nvPr>
            <p:ph type="pic" sz="quarter" idx="10"/>
          </p:nvPr>
        </p:nvSpPr>
        <p:spPr>
          <a:xfrm>
            <a:off x="4064000" y="2772839"/>
            <a:ext cx="4064000" cy="4085167"/>
          </a:xfrm>
          <a:prstGeom prst="rect">
            <a:avLst/>
          </a:prstGeom>
        </p:spPr>
        <p:txBody>
          <a:bodyPr/>
          <a:lstStyle>
            <a:lvl1pPr>
              <a:defRPr>
                <a:solidFill>
                  <a:schemeClr val="tx1"/>
                </a:solidFill>
              </a:defRPr>
            </a:lvl1pPr>
          </a:lstStyle>
          <a:p>
            <a:endParaRPr lang="en-GB"/>
          </a:p>
        </p:txBody>
      </p:sp>
      <p:sp>
        <p:nvSpPr>
          <p:cNvPr id="8" name="Triangle 7">
            <a:extLst>
              <a:ext uri="{FF2B5EF4-FFF2-40B4-BE49-F238E27FC236}">
                <a16:creationId xmlns:a16="http://schemas.microsoft.com/office/drawing/2014/main" id="{EAB5410C-0EC5-894D-9939-7D4BDEA3A33B}"/>
              </a:ext>
            </a:extLst>
          </p:cNvPr>
          <p:cNvSpPr/>
          <p:nvPr userDrawn="1"/>
        </p:nvSpPr>
        <p:spPr>
          <a:xfrm rot="10800000">
            <a:off x="5698156" y="2772079"/>
            <a:ext cx="795688" cy="29163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accent1"/>
              </a:solidFill>
            </a:endParaRPr>
          </a:p>
        </p:txBody>
      </p:sp>
      <p:sp>
        <p:nvSpPr>
          <p:cNvPr id="9" name="Title 4">
            <a:extLst>
              <a:ext uri="{FF2B5EF4-FFF2-40B4-BE49-F238E27FC236}">
                <a16:creationId xmlns:a16="http://schemas.microsoft.com/office/drawing/2014/main" id="{F2179386-8ECF-2247-89E5-B3685ECA1D57}"/>
              </a:ext>
            </a:extLst>
          </p:cNvPr>
          <p:cNvSpPr>
            <a:spLocks noGrp="1"/>
          </p:cNvSpPr>
          <p:nvPr>
            <p:ph type="title"/>
          </p:nvPr>
        </p:nvSpPr>
        <p:spPr>
          <a:xfrm>
            <a:off x="391599" y="705419"/>
            <a:ext cx="11408804" cy="631775"/>
          </a:xfrm>
          <a:prstGeom prst="rect">
            <a:avLst/>
          </a:prstGeom>
        </p:spPr>
        <p:txBody>
          <a:bodyPr anchor="ctr"/>
          <a:lstStyle>
            <a:lvl1pPr algn="ctr">
              <a:defRPr sz="3200" b="1">
                <a:solidFill>
                  <a:schemeClr val="accent2"/>
                </a:solidFill>
              </a:defRPr>
            </a:lvl1pPr>
          </a:lstStyle>
          <a:p>
            <a:r>
              <a:rPr lang="en-US"/>
              <a:t>Click to edit Master title style</a:t>
            </a:r>
            <a:endParaRPr lang="en-GB"/>
          </a:p>
        </p:txBody>
      </p:sp>
      <p:sp>
        <p:nvSpPr>
          <p:cNvPr id="10" name="Text Placeholder 6">
            <a:extLst>
              <a:ext uri="{FF2B5EF4-FFF2-40B4-BE49-F238E27FC236}">
                <a16:creationId xmlns:a16="http://schemas.microsoft.com/office/drawing/2014/main" id="{DDFBDF62-760F-2942-909D-906703D9C63F}"/>
              </a:ext>
            </a:extLst>
          </p:cNvPr>
          <p:cNvSpPr>
            <a:spLocks noGrp="1"/>
          </p:cNvSpPr>
          <p:nvPr>
            <p:ph type="body" sz="quarter" idx="16" hasCustomPrompt="1"/>
          </p:nvPr>
        </p:nvSpPr>
        <p:spPr>
          <a:xfrm>
            <a:off x="391599" y="1382765"/>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11" name="Text Placeholder 6">
            <a:extLst>
              <a:ext uri="{FF2B5EF4-FFF2-40B4-BE49-F238E27FC236}">
                <a16:creationId xmlns:a16="http://schemas.microsoft.com/office/drawing/2014/main" id="{C3140292-BA2F-5F40-B51A-1F57E8E5304C}"/>
              </a:ext>
            </a:extLst>
          </p:cNvPr>
          <p:cNvSpPr>
            <a:spLocks noGrp="1"/>
          </p:cNvSpPr>
          <p:nvPr>
            <p:ph type="body" sz="quarter" idx="52"/>
          </p:nvPr>
        </p:nvSpPr>
        <p:spPr>
          <a:xfrm>
            <a:off x="539719" y="3598153"/>
            <a:ext cx="2707204" cy="373936"/>
          </a:xfrm>
          <a:prstGeom prst="rect">
            <a:avLst/>
          </a:prstGeom>
        </p:spPr>
        <p:txBody>
          <a:bodyPr/>
          <a:lstStyle>
            <a:lvl1pPr marL="0" indent="0" algn="l">
              <a:buNone/>
              <a:defRPr sz="1867" b="1">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2" name="Text Placeholder 6">
            <a:extLst>
              <a:ext uri="{FF2B5EF4-FFF2-40B4-BE49-F238E27FC236}">
                <a16:creationId xmlns:a16="http://schemas.microsoft.com/office/drawing/2014/main" id="{A1906DE7-FCBA-2C47-BF59-60B682EFAE70}"/>
              </a:ext>
            </a:extLst>
          </p:cNvPr>
          <p:cNvSpPr>
            <a:spLocks noGrp="1"/>
          </p:cNvSpPr>
          <p:nvPr>
            <p:ph type="body" sz="quarter" idx="72"/>
          </p:nvPr>
        </p:nvSpPr>
        <p:spPr>
          <a:xfrm>
            <a:off x="539719" y="4101560"/>
            <a:ext cx="2707188" cy="918901"/>
          </a:xfrm>
          <a:prstGeom prst="rect">
            <a:avLst/>
          </a:prstGeom>
        </p:spPr>
        <p:txBody>
          <a:bodyPr/>
          <a:lstStyle>
            <a:lvl1pPr marL="0" indent="0" algn="l">
              <a:buNone/>
              <a:defRPr sz="1467" b="0">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3" name="Text Placeholder 6">
            <a:extLst>
              <a:ext uri="{FF2B5EF4-FFF2-40B4-BE49-F238E27FC236}">
                <a16:creationId xmlns:a16="http://schemas.microsoft.com/office/drawing/2014/main" id="{703A3ACC-186F-804C-B70E-77B95DB72606}"/>
              </a:ext>
            </a:extLst>
          </p:cNvPr>
          <p:cNvSpPr>
            <a:spLocks noGrp="1"/>
          </p:cNvSpPr>
          <p:nvPr>
            <p:ph type="body" sz="quarter" idx="73"/>
          </p:nvPr>
        </p:nvSpPr>
        <p:spPr>
          <a:xfrm>
            <a:off x="4698887" y="3598153"/>
            <a:ext cx="2707204" cy="373936"/>
          </a:xfrm>
          <a:prstGeom prst="rect">
            <a:avLst/>
          </a:prstGeom>
        </p:spPr>
        <p:txBody>
          <a:bodyPr/>
          <a:lstStyle>
            <a:lvl1pPr marL="0" indent="0" algn="l">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4" name="Text Placeholder 6">
            <a:extLst>
              <a:ext uri="{FF2B5EF4-FFF2-40B4-BE49-F238E27FC236}">
                <a16:creationId xmlns:a16="http://schemas.microsoft.com/office/drawing/2014/main" id="{89D664C2-EB15-B941-872E-C42459621D86}"/>
              </a:ext>
            </a:extLst>
          </p:cNvPr>
          <p:cNvSpPr>
            <a:spLocks noGrp="1"/>
          </p:cNvSpPr>
          <p:nvPr>
            <p:ph type="body" sz="quarter" idx="74"/>
          </p:nvPr>
        </p:nvSpPr>
        <p:spPr>
          <a:xfrm>
            <a:off x="4698887" y="4101560"/>
            <a:ext cx="2707188" cy="918901"/>
          </a:xfrm>
          <a:prstGeom prst="rect">
            <a:avLst/>
          </a:prstGeom>
        </p:spPr>
        <p:txBody>
          <a:bodyPr/>
          <a:lstStyle>
            <a:lvl1pPr marL="0" indent="0" algn="l">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5" name="Text Placeholder 6">
            <a:extLst>
              <a:ext uri="{FF2B5EF4-FFF2-40B4-BE49-F238E27FC236}">
                <a16:creationId xmlns:a16="http://schemas.microsoft.com/office/drawing/2014/main" id="{6DE93A4A-D0D5-DC49-87BA-D7EEFBB11F57}"/>
              </a:ext>
            </a:extLst>
          </p:cNvPr>
          <p:cNvSpPr>
            <a:spLocks noGrp="1"/>
          </p:cNvSpPr>
          <p:nvPr>
            <p:ph type="body" sz="quarter" idx="75"/>
          </p:nvPr>
        </p:nvSpPr>
        <p:spPr>
          <a:xfrm>
            <a:off x="8811759" y="3598153"/>
            <a:ext cx="2707204" cy="373936"/>
          </a:xfrm>
          <a:prstGeom prst="rect">
            <a:avLst/>
          </a:prstGeom>
        </p:spPr>
        <p:txBody>
          <a:bodyPr/>
          <a:lstStyle>
            <a:lvl1pPr marL="0" indent="0" algn="l">
              <a:buNone/>
              <a:defRPr sz="1867" b="1">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6" name="Text Placeholder 6">
            <a:extLst>
              <a:ext uri="{FF2B5EF4-FFF2-40B4-BE49-F238E27FC236}">
                <a16:creationId xmlns:a16="http://schemas.microsoft.com/office/drawing/2014/main" id="{6FE70091-2CA3-B04B-AA23-9D30A96917CE}"/>
              </a:ext>
            </a:extLst>
          </p:cNvPr>
          <p:cNvSpPr>
            <a:spLocks noGrp="1"/>
          </p:cNvSpPr>
          <p:nvPr>
            <p:ph type="body" sz="quarter" idx="76"/>
          </p:nvPr>
        </p:nvSpPr>
        <p:spPr>
          <a:xfrm>
            <a:off x="8811759" y="4101560"/>
            <a:ext cx="2707188" cy="918901"/>
          </a:xfrm>
          <a:prstGeom prst="rect">
            <a:avLst/>
          </a:prstGeom>
        </p:spPr>
        <p:txBody>
          <a:bodyPr/>
          <a:lstStyle>
            <a:lvl1pPr marL="0" indent="0" algn="l">
              <a:buNone/>
              <a:defRPr sz="1467" b="0">
                <a:solidFill>
                  <a:schemeClr val="bg1"/>
                </a:solidFill>
              </a:defRPr>
            </a:lvl1pPr>
            <a:lvl2pPr>
              <a:defRPr sz="1333"/>
            </a:lvl2pPr>
            <a:lvl3pPr>
              <a:defRPr sz="1333"/>
            </a:lvl3pPr>
            <a:lvl4pPr>
              <a:defRPr sz="1333"/>
            </a:lvl4pPr>
            <a:lvl5pPr>
              <a:defRPr sz="1333"/>
            </a:lvl5pPr>
          </a:lstStyle>
          <a:p>
            <a:pPr lvl="0"/>
            <a:r>
              <a:rPr lang="en-US"/>
              <a:t>Click to edit</a:t>
            </a:r>
            <a:endParaRPr lang="en-GB"/>
          </a:p>
        </p:txBody>
      </p:sp>
    </p:spTree>
    <p:extLst>
      <p:ext uri="{BB962C8B-B14F-4D97-AF65-F5344CB8AC3E}">
        <p14:creationId xmlns:p14="http://schemas.microsoft.com/office/powerpoint/2010/main" val="4222867395"/>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4439341" y="0"/>
            <a:ext cx="775265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3" name="Picture Placeholder 2">
            <a:extLst>
              <a:ext uri="{FF2B5EF4-FFF2-40B4-BE49-F238E27FC236}">
                <a16:creationId xmlns:a16="http://schemas.microsoft.com/office/drawing/2014/main" id="{7C10F3DA-0062-6342-AECB-F97E69FEAC79}"/>
              </a:ext>
            </a:extLst>
          </p:cNvPr>
          <p:cNvSpPr>
            <a:spLocks noGrp="1"/>
          </p:cNvSpPr>
          <p:nvPr>
            <p:ph type="pic" sz="quarter" idx="14" hasCustomPrompt="1"/>
          </p:nvPr>
        </p:nvSpPr>
        <p:spPr>
          <a:xfrm>
            <a:off x="1539535" y="764407"/>
            <a:ext cx="1333500" cy="1333500"/>
          </a:xfrm>
          <a:prstGeom prst="rect">
            <a:avLst/>
          </a:prstGeom>
        </p:spPr>
        <p:txBody>
          <a:bodyPr/>
          <a:lstStyle>
            <a:lvl1pPr marL="0" indent="0">
              <a:buNone/>
              <a:defRPr sz="1867">
                <a:solidFill>
                  <a:schemeClr val="bg1"/>
                </a:solidFill>
              </a:defRPr>
            </a:lvl1pPr>
          </a:lstStyle>
          <a:p>
            <a:r>
              <a:rPr lang="en-GB"/>
              <a:t>icon</a:t>
            </a:r>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444649" y="2375661"/>
            <a:ext cx="3523281" cy="439727"/>
          </a:xfrm>
          <a:prstGeom prst="rect">
            <a:avLst/>
          </a:prstGeom>
        </p:spPr>
        <p:txBody>
          <a:bodyPr anchor="ctr"/>
          <a:lstStyle>
            <a:lvl1pPr algn="ctr">
              <a:defRPr sz="1867" b="1">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433918" y="3093138"/>
            <a:ext cx="3543300" cy="3199863"/>
          </a:xfrm>
          <a:prstGeom prst="rect">
            <a:avLst/>
          </a:prstGeom>
        </p:spPr>
        <p:txBody>
          <a:bodyPr/>
          <a:lstStyle>
            <a:lvl1pPr marL="0" indent="0" algn="ctr">
              <a:buNone/>
              <a:defRPr sz="1333">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Tree>
    <p:extLst>
      <p:ext uri="{BB962C8B-B14F-4D97-AF65-F5344CB8AC3E}">
        <p14:creationId xmlns:p14="http://schemas.microsoft.com/office/powerpoint/2010/main" val="2831442258"/>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NTT_custom_layout_text_dark">
    <p:bg bwMode="ltGray">
      <p:bgPr>
        <a:solidFill>
          <a:schemeClr val="accent2"/>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8"/>
            <a:ext cx="3805411" cy="3220412"/>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latin typeface="Arial"/>
                <a:cs typeface="Arial"/>
              </a:defRPr>
            </a:lvl1pPr>
            <a:lvl2pPr algn="l">
              <a:lnSpc>
                <a:spcPct val="100000"/>
              </a:lnSpc>
              <a:defRPr>
                <a:solidFill>
                  <a:schemeClr val="bg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410413" y="4525774"/>
            <a:ext cx="3165808" cy="1932257"/>
          </a:xfrm>
          <a:prstGeom prst="roundRect">
            <a:avLst>
              <a:gd name="adj" fmla="val 0"/>
            </a:avLst>
          </a:prstGeom>
          <a:noFill/>
          <a:ln w="28575">
            <a:solidFill>
              <a:schemeClr val="bg1"/>
            </a:solidFill>
          </a:ln>
          <a:effectLst/>
        </p:spPr>
        <p:txBody>
          <a:bodyPr anchor="ctr"/>
          <a:lstStyle>
            <a:lvl1pPr algn="l">
              <a:lnSpc>
                <a:spcPct val="100000"/>
              </a:lnSpc>
              <a:defRPr sz="2667"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3751389" y="4525774"/>
            <a:ext cx="8149535" cy="1932257"/>
          </a:xfrm>
          <a:prstGeom prst="roundRect">
            <a:avLst>
              <a:gd name="adj" fmla="val 0"/>
            </a:avLst>
          </a:prstGeom>
          <a:noFill/>
          <a:ln w="28575">
            <a:solidFill>
              <a:schemeClr val="bg1"/>
            </a:solidFill>
          </a:ln>
          <a:effectLst/>
        </p:spPr>
        <p:txBody>
          <a:bodyPr anchor="ctr"/>
          <a:lstStyle>
            <a:lvl1pPr algn="ctr">
              <a:lnSpc>
                <a:spcPct val="100000"/>
              </a:lnSpc>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4364453" y="1145278"/>
            <a:ext cx="2715011" cy="3220412"/>
          </a:xfrm>
          <a:prstGeom prst="roundRect">
            <a:avLst>
              <a:gd name="adj" fmla="val 0"/>
            </a:avLst>
          </a:prstGeom>
          <a:noFill/>
          <a:ln w="28575">
            <a:solidFill>
              <a:schemeClr val="bg1"/>
            </a:solidFill>
          </a:ln>
          <a:effectLst/>
        </p:spPr>
        <p:txBody>
          <a:bodyPr anchor="ctr"/>
          <a:lstStyle>
            <a:lvl1pPr algn="ctr">
              <a:lnSpc>
                <a:spcPct val="100000"/>
              </a:lnSpc>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7235005" y="190031"/>
            <a:ext cx="4665912" cy="2467036"/>
          </a:xfrm>
          <a:prstGeom prst="roundRect">
            <a:avLst>
              <a:gd name="adj" fmla="val 0"/>
            </a:avLst>
          </a:prstGeom>
          <a:noFill/>
          <a:ln w="28575">
            <a:solidFill>
              <a:schemeClr val="bg1"/>
            </a:solidFill>
          </a:ln>
          <a:effectLst/>
        </p:spPr>
        <p:txBody>
          <a:bodyPr anchor="ctr"/>
          <a:lstStyle>
            <a:lvl1pPr algn="l">
              <a:lnSpc>
                <a:spcPct val="100000"/>
              </a:lnSpc>
              <a:defRPr sz="3200">
                <a:solidFill>
                  <a:schemeClr val="bg1"/>
                </a:solidFill>
                <a:effectLst/>
                <a:latin typeface="Arial"/>
                <a:cs typeface="Arial"/>
              </a:defRPr>
            </a:lvl1pPr>
            <a:lvl2pPr algn="l">
              <a:lnSpc>
                <a:spcPct val="100000"/>
              </a:lnSpc>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noFill/>
          <a:ln w="28575">
            <a:solidFill>
              <a:schemeClr val="bg1"/>
            </a:solidFill>
          </a:ln>
          <a:effectLst/>
        </p:spPr>
        <p:txBody>
          <a:bodyPr anchor="ctr"/>
          <a:lstStyle>
            <a:lvl1pPr algn="r">
              <a:lnSpc>
                <a:spcPct val="100000"/>
              </a:lnSpc>
              <a:defRPr>
                <a:solidFill>
                  <a:schemeClr val="bg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410419" y="190034"/>
            <a:ext cx="6712839" cy="751351"/>
          </a:xfrm>
          <a:prstGeom prst="rect">
            <a:avLst/>
          </a:prstGeom>
        </p:spPr>
        <p:txBody>
          <a:bodyPr/>
          <a:lstStyle>
            <a:lvl1pPr algn="l">
              <a:defRPr sz="2933" b="1">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3714809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_slide_image_backgroun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2C3F10-9196-45F3-A6EB-AA79C3D46CA1}"/>
              </a:ext>
            </a:extLst>
          </p:cNvPr>
          <p:cNvGraphicFramePr>
            <a:graphicFrameLocks noChangeAspect="1"/>
          </p:cNvGraphicFramePr>
          <p:nvPr userDrawn="1">
            <p:custDataLst>
              <p:tags r:id="rId1"/>
            </p:custDataLst>
            <p:extLst>
              <p:ext uri="{D42A27DB-BD31-4B8C-83A1-F6EECF244321}">
                <p14:modId xmlns:p14="http://schemas.microsoft.com/office/powerpoint/2010/main" val="167462922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2C3F10-9196-45F3-A6EB-AA79C3D46CA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F048DB9C-DCF7-0D4F-BD88-98E3E02490F0}"/>
              </a:ext>
            </a:extLst>
          </p:cNvPr>
          <p:cNvSpPr>
            <a:spLocks noGrp="1"/>
          </p:cNvSpPr>
          <p:nvPr>
            <p:ph type="pic" sz="quarter" idx="11"/>
          </p:nvPr>
        </p:nvSpPr>
        <p:spPr>
          <a:xfrm>
            <a:off x="0" y="1302153"/>
            <a:ext cx="12192000" cy="392480"/>
          </a:xfrm>
          <a:prstGeom prst="rect">
            <a:avLst/>
          </a:prstGeom>
          <a:solidFill>
            <a:schemeClr val="tx2"/>
          </a:solidFill>
        </p:spPr>
        <p:txBody>
          <a:bodyPr/>
          <a:lstStyle>
            <a:lvl1pPr algn="ctr" rtl="0">
              <a:defRPr>
                <a:solidFill>
                  <a:schemeClr val="bg1"/>
                </a:solidFill>
              </a:defRPr>
            </a:lvl1pPr>
          </a:lstStyle>
          <a:p>
            <a:r>
              <a:rPr lang="en-US"/>
              <a:t>Click icon to add picture</a:t>
            </a:r>
          </a:p>
        </p:txBody>
      </p:sp>
      <p:sp>
        <p:nvSpPr>
          <p:cNvPr id="8" name="Title 7">
            <a:extLst>
              <a:ext uri="{FF2B5EF4-FFF2-40B4-BE49-F238E27FC236}">
                <a16:creationId xmlns:a16="http://schemas.microsoft.com/office/drawing/2014/main" id="{1505731A-65DA-A74C-B37E-86B59658CBD7}"/>
              </a:ext>
            </a:extLst>
          </p:cNvPr>
          <p:cNvSpPr>
            <a:spLocks noGrp="1"/>
          </p:cNvSpPr>
          <p:nvPr>
            <p:ph type="title"/>
          </p:nvPr>
        </p:nvSpPr>
        <p:spPr>
          <a:xfrm>
            <a:off x="705326" y="2724147"/>
            <a:ext cx="6795052" cy="2073004"/>
          </a:xfrm>
          <a:prstGeom prst="rect">
            <a:avLst/>
          </a:prstGeom>
        </p:spPr>
        <p:txBody>
          <a:bodyPr vert="horz" anchor="ctr"/>
          <a:lstStyle>
            <a:lvl1pPr algn="l" rtl="0">
              <a:lnSpc>
                <a:spcPct val="80000"/>
              </a:lnSpc>
              <a:spcBef>
                <a:spcPts val="0"/>
              </a:spcBef>
              <a:spcAft>
                <a:spcPts val="0"/>
              </a:spcAft>
              <a:defRPr sz="5867" b="1">
                <a:solidFill>
                  <a:schemeClr val="bg1"/>
                </a:solidFill>
              </a:defRPr>
            </a:lvl1pPr>
          </a:lstStyle>
          <a:p>
            <a:r>
              <a:rPr lang="en-US"/>
              <a:t>Click to edit Master title style</a:t>
            </a:r>
          </a:p>
        </p:txBody>
      </p:sp>
      <p:sp>
        <p:nvSpPr>
          <p:cNvPr id="10" name="Text Placeholder 9">
            <a:extLst>
              <a:ext uri="{FF2B5EF4-FFF2-40B4-BE49-F238E27FC236}">
                <a16:creationId xmlns:a16="http://schemas.microsoft.com/office/drawing/2014/main" id="{457BA40D-4A41-3E47-8798-80A71755463E}"/>
              </a:ext>
            </a:extLst>
          </p:cNvPr>
          <p:cNvSpPr>
            <a:spLocks noGrp="1"/>
          </p:cNvSpPr>
          <p:nvPr>
            <p:ph type="body" sz="quarter" idx="10" hasCustomPrompt="1"/>
          </p:nvPr>
        </p:nvSpPr>
        <p:spPr>
          <a:xfrm>
            <a:off x="705326" y="4965897"/>
            <a:ext cx="6795052" cy="392480"/>
          </a:xfrm>
          <a:prstGeom prst="rect">
            <a:avLst/>
          </a:prstGeom>
        </p:spPr>
        <p:txBody>
          <a:bodyPr anchor="ctr"/>
          <a:lstStyle>
            <a:lvl1pPr marL="0" indent="0" algn="l" rtl="0">
              <a:buNone/>
              <a:defRPr>
                <a:solidFill>
                  <a:schemeClr val="bg1"/>
                </a:solidFill>
              </a:defRPr>
            </a:lvl1pPr>
          </a:lstStyle>
          <a:p>
            <a:pPr lvl="0"/>
            <a:r>
              <a:rPr lang="en-US"/>
              <a:t>Sub-title / Presenter Name</a:t>
            </a:r>
          </a:p>
        </p:txBody>
      </p:sp>
      <p:sp>
        <p:nvSpPr>
          <p:cNvPr id="5" name="Rectangle 4">
            <a:extLst>
              <a:ext uri="{FF2B5EF4-FFF2-40B4-BE49-F238E27FC236}">
                <a16:creationId xmlns:a16="http://schemas.microsoft.com/office/drawing/2014/main" id="{AEC331B1-A2E3-4449-A203-C1004B13CA10}"/>
              </a:ext>
            </a:extLst>
          </p:cNvPr>
          <p:cNvSpPr/>
          <p:nvPr userDrawn="1"/>
        </p:nvSpPr>
        <p:spPr>
          <a:xfrm>
            <a:off x="-1" y="1"/>
            <a:ext cx="12192001" cy="1302153"/>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rtl="0" fontAlgn="auto">
              <a:lnSpc>
                <a:spcPct val="110000"/>
              </a:lnSpc>
              <a:spcBef>
                <a:spcPts val="267"/>
              </a:spcBef>
              <a:spcAft>
                <a:spcPts val="267"/>
              </a:spcAft>
            </a:pPr>
            <a:endParaRPr lang="en-US" sz="2133"/>
          </a:p>
        </p:txBody>
      </p:sp>
      <p:pic>
        <p:nvPicPr>
          <p:cNvPr id="9" name="Picture 8">
            <a:extLst>
              <a:ext uri="{FF2B5EF4-FFF2-40B4-BE49-F238E27FC236}">
                <a16:creationId xmlns:a16="http://schemas.microsoft.com/office/drawing/2014/main" id="{B0D76022-ABF5-4D71-8FD6-F77E9816DD2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Tree>
    <p:extLst>
      <p:ext uri="{BB962C8B-B14F-4D97-AF65-F5344CB8AC3E}">
        <p14:creationId xmlns:p14="http://schemas.microsoft.com/office/powerpoint/2010/main" val="3834570196"/>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NTT_custom_layout">
    <p:bg bwMode="ltGray">
      <p:bgPr>
        <a:solidFill>
          <a:schemeClr val="bg1"/>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410413" y="1145278"/>
            <a:ext cx="3805411" cy="3220412"/>
          </a:xfrm>
          <a:prstGeom prst="roundRect">
            <a:avLst>
              <a:gd name="adj" fmla="val 0"/>
            </a:avLst>
          </a:prstGeom>
          <a:solidFill>
            <a:schemeClr val="accent1"/>
          </a:solidFill>
          <a:ln>
            <a:noFill/>
          </a:ln>
          <a:effectLst/>
        </p:spPr>
        <p:txBody>
          <a:bodyPr anchor="ctr"/>
          <a:lstStyle>
            <a:lvl1pPr marL="239155" indent="0" algn="l">
              <a:defRPr sz="3200">
                <a:solidFill>
                  <a:srgbClr val="FFFFFF"/>
                </a:solidFill>
                <a:latin typeface="Arial"/>
                <a:cs typeface="Arial"/>
              </a:defRPr>
            </a:lvl1pPr>
            <a:lvl2pPr marL="478307" indent="241271" algn="l">
              <a:defRPr>
                <a:solidFill>
                  <a:srgbClr val="FFFFFF"/>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410413" y="4525774"/>
            <a:ext cx="3165808" cy="1932257"/>
          </a:xfrm>
          <a:prstGeom prst="roundRect">
            <a:avLst>
              <a:gd name="adj" fmla="val 0"/>
            </a:avLst>
          </a:prstGeom>
          <a:solidFill>
            <a:schemeClr val="bg1"/>
          </a:solidFill>
          <a:ln>
            <a:noFill/>
          </a:ln>
          <a:effectLst/>
        </p:spPr>
        <p:txBody>
          <a:bodyPr anchor="ctr"/>
          <a:lstStyle>
            <a:lvl1pPr algn="l">
              <a:defRPr sz="2667" b="1">
                <a:solidFill>
                  <a:schemeClr val="tx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3751389" y="4525774"/>
            <a:ext cx="8149535" cy="1932257"/>
          </a:xfrm>
          <a:prstGeom prst="roundRect">
            <a:avLst>
              <a:gd name="adj" fmla="val 0"/>
            </a:avLst>
          </a:prstGeom>
          <a:solidFill>
            <a:schemeClr val="accent2"/>
          </a:solidFill>
          <a:ln>
            <a:noFill/>
          </a:ln>
          <a:effectLst/>
        </p:spPr>
        <p:txBody>
          <a:bodyPr anchor="ctr"/>
          <a:lstStyle>
            <a:lvl1pPr algn="ctr">
              <a:defRPr sz="32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4364453" y="1145278"/>
            <a:ext cx="2715011" cy="3220412"/>
          </a:xfrm>
          <a:prstGeom prst="roundRect">
            <a:avLst>
              <a:gd name="adj" fmla="val 0"/>
            </a:avLst>
          </a:prstGeom>
          <a:solidFill>
            <a:schemeClr val="accent2"/>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7235005" y="190031"/>
            <a:ext cx="4665912" cy="2467036"/>
          </a:xfrm>
          <a:prstGeom prst="roundRect">
            <a:avLst>
              <a:gd name="adj" fmla="val 0"/>
            </a:avLst>
          </a:prstGeom>
          <a:solidFill>
            <a:schemeClr val="accent1"/>
          </a:solidFill>
          <a:ln>
            <a:noFill/>
          </a:ln>
          <a:effectLst/>
        </p:spPr>
        <p:txBody>
          <a:bodyPr anchor="ctr"/>
          <a:lstStyle>
            <a:lvl1pPr marL="239155" indent="0" algn="l">
              <a:defRPr sz="3200">
                <a:solidFill>
                  <a:srgbClr val="FFFFFF"/>
                </a:solidFill>
                <a:effectLst/>
                <a:latin typeface="Arial"/>
                <a:cs typeface="Arial"/>
              </a:defRPr>
            </a:lvl1pPr>
            <a:lvl2pPr marL="478307" indent="-239155" algn="l">
              <a:defRPr>
                <a:solidFill>
                  <a:srgbClr val="FFFFFF"/>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8" name="Text Placeholder 4"/>
          <p:cNvSpPr>
            <a:spLocks noGrp="1"/>
          </p:cNvSpPr>
          <p:nvPr>
            <p:ph type="body" sz="quarter" idx="17"/>
          </p:nvPr>
        </p:nvSpPr>
        <p:spPr>
          <a:xfrm>
            <a:off x="7235007" y="2817145"/>
            <a:ext cx="4698056" cy="1548544"/>
          </a:xfrm>
          <a:prstGeom prst="roundRect">
            <a:avLst>
              <a:gd name="adj" fmla="val 0"/>
            </a:avLst>
          </a:prstGeom>
          <a:solidFill>
            <a:schemeClr val="bg1"/>
          </a:solidFill>
          <a:ln>
            <a:noFill/>
          </a:ln>
          <a:effectLst/>
        </p:spPr>
        <p:txBody>
          <a:bodyPr anchor="ctr"/>
          <a:lstStyle>
            <a:lvl1pPr algn="r">
              <a:defRPr>
                <a:solidFill>
                  <a:schemeClr val="tx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410419" y="190034"/>
            <a:ext cx="6712839" cy="751351"/>
          </a:xfrm>
          <a:prstGeom prst="rect">
            <a:avLst/>
          </a:prstGeom>
        </p:spPr>
        <p:txBody>
          <a:bodyPr/>
          <a:lstStyle>
            <a:lvl1pPr algn="l">
              <a:defRPr sz="2933" b="1">
                <a:solidFill>
                  <a:schemeClr val="accent2"/>
                </a:solidFill>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38117308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4_NTT_content_page">
    <p:bg bwMode="ltGray">
      <p:bgPr>
        <a:solidFill>
          <a:schemeClr val="tx1"/>
        </a:solidFill>
        <a:effectLst/>
      </p:bgPr>
    </p:bg>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8091E020-A1A3-894A-9A18-A2F931CBD43E}"/>
              </a:ext>
            </a:extLst>
          </p:cNvPr>
          <p:cNvSpPr>
            <a:spLocks noGrp="1"/>
          </p:cNvSpPr>
          <p:nvPr>
            <p:ph type="pic" sz="quarter" idx="13"/>
          </p:nvPr>
        </p:nvSpPr>
        <p:spPr>
          <a:xfrm>
            <a:off x="6194972" y="1003376"/>
            <a:ext cx="1928397" cy="2635401"/>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1" name="Picture Placeholder 13">
            <a:extLst>
              <a:ext uri="{FF2B5EF4-FFF2-40B4-BE49-F238E27FC236}">
                <a16:creationId xmlns:a16="http://schemas.microsoft.com/office/drawing/2014/main" id="{A37017A4-629A-A44D-A88D-1F8DEFFF532C}"/>
              </a:ext>
            </a:extLst>
          </p:cNvPr>
          <p:cNvSpPr>
            <a:spLocks noGrp="1"/>
          </p:cNvSpPr>
          <p:nvPr>
            <p:ph type="pic" sz="quarter" idx="18"/>
          </p:nvPr>
        </p:nvSpPr>
        <p:spPr>
          <a:xfrm>
            <a:off x="4092201" y="1003371"/>
            <a:ext cx="1939033" cy="1540764"/>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2" name="Picture Placeholder 13">
            <a:extLst>
              <a:ext uri="{FF2B5EF4-FFF2-40B4-BE49-F238E27FC236}">
                <a16:creationId xmlns:a16="http://schemas.microsoft.com/office/drawing/2014/main" id="{91168ADE-9466-4740-BD51-47A72258CAAE}"/>
              </a:ext>
            </a:extLst>
          </p:cNvPr>
          <p:cNvSpPr>
            <a:spLocks noGrp="1"/>
          </p:cNvSpPr>
          <p:nvPr>
            <p:ph type="pic" sz="quarter" idx="19"/>
          </p:nvPr>
        </p:nvSpPr>
        <p:spPr>
          <a:xfrm>
            <a:off x="4092201" y="2715213"/>
            <a:ext cx="1939033" cy="3514139"/>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3" name="Picture Placeholder 13">
            <a:extLst>
              <a:ext uri="{FF2B5EF4-FFF2-40B4-BE49-F238E27FC236}">
                <a16:creationId xmlns:a16="http://schemas.microsoft.com/office/drawing/2014/main" id="{94A075D6-2F03-9E41-AF6A-579AABF97DE6}"/>
              </a:ext>
            </a:extLst>
          </p:cNvPr>
          <p:cNvSpPr>
            <a:spLocks noGrp="1"/>
          </p:cNvSpPr>
          <p:nvPr>
            <p:ph type="pic" sz="quarter" idx="17"/>
          </p:nvPr>
        </p:nvSpPr>
        <p:spPr>
          <a:xfrm>
            <a:off x="6184337" y="3798603"/>
            <a:ext cx="5151779" cy="2430748"/>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444649" y="1003368"/>
            <a:ext cx="3523281" cy="877093"/>
          </a:xfrm>
          <a:prstGeom prst="rect">
            <a:avLst/>
          </a:prstGeom>
        </p:spPr>
        <p:txBody>
          <a:bodyPr anchor="ctr"/>
          <a:lstStyle>
            <a:lvl1pPr algn="l">
              <a:lnSpc>
                <a:spcPct val="100000"/>
              </a:lnSpc>
              <a:defRPr sz="3200" b="1">
                <a:solidFill>
                  <a:schemeClr val="accent2"/>
                </a:solidFill>
              </a:defRPr>
            </a:lvl1pPr>
          </a:lstStyle>
          <a:p>
            <a:r>
              <a:rPr lang="en-US"/>
              <a:t>Click to edit Master title style</a:t>
            </a:r>
            <a:endParaRPr lang="en-GB"/>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444649" y="2017008"/>
            <a:ext cx="3523281" cy="42123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287120" y="1003374"/>
            <a:ext cx="3049001" cy="263540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17838808"/>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5_NTT_content_page">
    <p:bg bwMode="ltGray">
      <p:bgPr>
        <a:solidFill>
          <a:schemeClr val="tx1"/>
        </a:solidFill>
        <a:effectLst/>
      </p:bgPr>
    </p:bg>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E2D97701-7525-0342-A279-46EA7BC6D9F0}"/>
              </a:ext>
            </a:extLst>
          </p:cNvPr>
          <p:cNvSpPr>
            <a:spLocks noGrp="1"/>
          </p:cNvSpPr>
          <p:nvPr>
            <p:ph type="title"/>
          </p:nvPr>
        </p:nvSpPr>
        <p:spPr>
          <a:xfrm>
            <a:off x="656684" y="897352"/>
            <a:ext cx="3523281" cy="877093"/>
          </a:xfrm>
          <a:prstGeom prst="rect">
            <a:avLst/>
          </a:prstGeom>
        </p:spPr>
        <p:txBody>
          <a:bodyPr anchor="ctr"/>
          <a:lstStyle>
            <a:lvl1pPr algn="l">
              <a:lnSpc>
                <a:spcPct val="100000"/>
              </a:lnSpc>
              <a:defRPr sz="3200" b="1">
                <a:solidFill>
                  <a:schemeClr val="accent2"/>
                </a:solidFill>
              </a:defRPr>
            </a:lvl1pPr>
          </a:lstStyle>
          <a:p>
            <a:r>
              <a:rPr lang="en-US"/>
              <a:t>Click to edit Master title style</a:t>
            </a:r>
            <a:endParaRPr lang="en-GB"/>
          </a:p>
        </p:txBody>
      </p:sp>
      <p:sp>
        <p:nvSpPr>
          <p:cNvPr id="15" name="Text Placeholder 6">
            <a:extLst>
              <a:ext uri="{FF2B5EF4-FFF2-40B4-BE49-F238E27FC236}">
                <a16:creationId xmlns:a16="http://schemas.microsoft.com/office/drawing/2014/main" id="{C5575969-C897-2448-BD44-B2D0F9D3CE89}"/>
              </a:ext>
            </a:extLst>
          </p:cNvPr>
          <p:cNvSpPr>
            <a:spLocks noGrp="1"/>
          </p:cNvSpPr>
          <p:nvPr>
            <p:ph type="body" sz="quarter" idx="15"/>
          </p:nvPr>
        </p:nvSpPr>
        <p:spPr>
          <a:xfrm>
            <a:off x="656684" y="1910992"/>
            <a:ext cx="3523281" cy="4212341"/>
          </a:xfrm>
          <a:prstGeom prst="rect">
            <a:avLst/>
          </a:prstGeom>
          <a:solidFill>
            <a:schemeClr val="accent2">
              <a:lumMod val="20000"/>
              <a:lumOff val="80000"/>
            </a:schemeClr>
          </a:solidFill>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6">
            <a:extLst>
              <a:ext uri="{FF2B5EF4-FFF2-40B4-BE49-F238E27FC236}">
                <a16:creationId xmlns:a16="http://schemas.microsoft.com/office/drawing/2014/main" id="{EA682FCE-443F-814C-A0D0-5D967D71C6CF}"/>
              </a:ext>
            </a:extLst>
          </p:cNvPr>
          <p:cNvSpPr>
            <a:spLocks noGrp="1"/>
          </p:cNvSpPr>
          <p:nvPr>
            <p:ph type="body" sz="quarter" idx="20"/>
          </p:nvPr>
        </p:nvSpPr>
        <p:spPr>
          <a:xfrm>
            <a:off x="8499154" y="897357"/>
            <a:ext cx="3049001" cy="2635401"/>
          </a:xfrm>
          <a:prstGeom prst="rect">
            <a:avLst/>
          </a:prstGeom>
          <a:solidFill>
            <a:schemeClr val="accent4">
              <a:lumMod val="20000"/>
              <a:lumOff val="80000"/>
            </a:schemeClr>
          </a:solidFill>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6">
            <a:extLst>
              <a:ext uri="{FF2B5EF4-FFF2-40B4-BE49-F238E27FC236}">
                <a16:creationId xmlns:a16="http://schemas.microsoft.com/office/drawing/2014/main" id="{158B466F-ED96-BE4E-955F-BE1FEA9E2EEB}"/>
              </a:ext>
            </a:extLst>
          </p:cNvPr>
          <p:cNvSpPr>
            <a:spLocks noGrp="1"/>
          </p:cNvSpPr>
          <p:nvPr>
            <p:ph type="body" sz="quarter" idx="22"/>
          </p:nvPr>
        </p:nvSpPr>
        <p:spPr>
          <a:xfrm>
            <a:off x="4321905" y="2540620"/>
            <a:ext cx="1939033" cy="3582712"/>
          </a:xfrm>
          <a:prstGeom prst="rect">
            <a:avLst/>
          </a:prstGeom>
          <a:solidFill>
            <a:schemeClr val="accent5">
              <a:lumMod val="20000"/>
              <a:lumOff val="80000"/>
            </a:schemeClr>
          </a:solidFill>
        </p:spPr>
        <p:txBody>
          <a:bodyPr/>
          <a:lstStyle>
            <a:lvl1pPr>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US"/>
              <a:t>Click to edit Master text styles</a:t>
            </a:r>
          </a:p>
        </p:txBody>
      </p:sp>
      <p:sp>
        <p:nvSpPr>
          <p:cNvPr id="17" name="Picture Placeholder 13">
            <a:extLst>
              <a:ext uri="{FF2B5EF4-FFF2-40B4-BE49-F238E27FC236}">
                <a16:creationId xmlns:a16="http://schemas.microsoft.com/office/drawing/2014/main" id="{E94D3DF8-5CF2-BF47-B246-B473C449DBF3}"/>
              </a:ext>
            </a:extLst>
          </p:cNvPr>
          <p:cNvSpPr>
            <a:spLocks noGrp="1"/>
          </p:cNvSpPr>
          <p:nvPr>
            <p:ph type="pic" sz="quarter" idx="18"/>
          </p:nvPr>
        </p:nvSpPr>
        <p:spPr>
          <a:xfrm>
            <a:off x="4321905" y="897351"/>
            <a:ext cx="1939033" cy="1540764"/>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8" name="Picture Placeholder 13">
            <a:extLst>
              <a:ext uri="{FF2B5EF4-FFF2-40B4-BE49-F238E27FC236}">
                <a16:creationId xmlns:a16="http://schemas.microsoft.com/office/drawing/2014/main" id="{CBE37E95-2D23-464B-9974-5D9E340CF188}"/>
              </a:ext>
            </a:extLst>
          </p:cNvPr>
          <p:cNvSpPr>
            <a:spLocks noGrp="1"/>
          </p:cNvSpPr>
          <p:nvPr>
            <p:ph type="pic" sz="quarter" idx="17"/>
          </p:nvPr>
        </p:nvSpPr>
        <p:spPr>
          <a:xfrm>
            <a:off x="6396373" y="3692587"/>
            <a:ext cx="5151779" cy="2430748"/>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19" name="Text Placeholder 6">
            <a:extLst>
              <a:ext uri="{FF2B5EF4-FFF2-40B4-BE49-F238E27FC236}">
                <a16:creationId xmlns:a16="http://schemas.microsoft.com/office/drawing/2014/main" id="{0174DC45-C4F5-BB48-9E7A-CEE0AEC2189E}"/>
              </a:ext>
            </a:extLst>
          </p:cNvPr>
          <p:cNvSpPr>
            <a:spLocks noGrp="1"/>
          </p:cNvSpPr>
          <p:nvPr>
            <p:ph type="body" sz="quarter" idx="23"/>
          </p:nvPr>
        </p:nvSpPr>
        <p:spPr>
          <a:xfrm>
            <a:off x="6410529" y="897357"/>
            <a:ext cx="1982521" cy="2635401"/>
          </a:xfrm>
          <a:prstGeom prst="rect">
            <a:avLst/>
          </a:prstGeom>
          <a:solidFill>
            <a:schemeClr val="accent6">
              <a:lumMod val="20000"/>
              <a:lumOff val="80000"/>
            </a:schemeClr>
          </a:solidFill>
        </p:spPr>
        <p:txBody>
          <a:bodyPr/>
          <a:lstStyle>
            <a:lvl1pPr>
              <a:defRPr sz="1333">
                <a:solidFill>
                  <a:schemeClr val="bg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vl5pPr>
              <a:defRPr sz="1333">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2201841078"/>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6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endParaRPr lang="en-US" noProof="0"/>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81" y="0"/>
            <a:ext cx="376951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7" y="1417499"/>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7" y="951708"/>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7" y="3508543"/>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7" y="3039980"/>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7" y="559674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7" y="5130956"/>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9"/>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77913701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7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endParaRPr lang="en-US" noProof="0"/>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81" y="0"/>
            <a:ext cx="376951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7" y="1417499"/>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7" y="951708"/>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7" y="3508543"/>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7" y="3039980"/>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7" y="559674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7" y="5130956"/>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9"/>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251770825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8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endParaRPr lang="en-US" noProof="0"/>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81" y="0"/>
            <a:ext cx="376951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7" y="1417499"/>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7" y="951708"/>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7" y="3508543"/>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7" y="3039980"/>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7" y="5596747"/>
            <a:ext cx="2614047" cy="66936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7" y="5130956"/>
            <a:ext cx="2614047"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962323"/>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5090759"/>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Tree>
    <p:extLst>
      <p:ext uri="{BB962C8B-B14F-4D97-AF65-F5344CB8AC3E}">
        <p14:creationId xmlns:p14="http://schemas.microsoft.com/office/powerpoint/2010/main" val="201120751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32_NTT_content_page">
    <p:bg bwMode="ltGray">
      <p:bgPr>
        <a:solidFill>
          <a:schemeClr val="tx1"/>
        </a:solidFill>
        <a:effectLst/>
      </p:bgPr>
    </p:bg>
    <p:spTree>
      <p:nvGrpSpPr>
        <p:cNvPr id="1" name=""/>
        <p:cNvGrpSpPr/>
        <p:nvPr/>
      </p:nvGrpSpPr>
      <p:grpSpPr>
        <a:xfrm>
          <a:off x="0" y="0"/>
          <a:ext cx="0" cy="0"/>
          <a:chOff x="0" y="0"/>
          <a:chExt cx="0" cy="0"/>
        </a:xfrm>
      </p:grpSpPr>
      <p:sp>
        <p:nvSpPr>
          <p:cNvPr id="16" name="Picture Placeholder 1">
            <a:extLst>
              <a:ext uri="{FF2B5EF4-FFF2-40B4-BE49-F238E27FC236}">
                <a16:creationId xmlns:a16="http://schemas.microsoft.com/office/drawing/2014/main" id="{835D2B04-2356-A640-8C36-BF74FA32E5EE}"/>
              </a:ext>
            </a:extLst>
          </p:cNvPr>
          <p:cNvSpPr>
            <a:spLocks noGrp="1"/>
          </p:cNvSpPr>
          <p:nvPr>
            <p:ph type="pic" sz="quarter" idx="26"/>
          </p:nvPr>
        </p:nvSpPr>
        <p:spPr>
          <a:xfrm>
            <a:off x="6" y="0"/>
            <a:ext cx="5065713" cy="6858000"/>
          </a:xfrm>
          <a:prstGeom prst="rect">
            <a:avLst/>
          </a:prstGeom>
          <a:solidFill>
            <a:schemeClr val="bg2">
              <a:lumMod val="20000"/>
              <a:lumOff val="80000"/>
            </a:schemeClr>
          </a:solidFill>
        </p:spPr>
        <p:txBody>
          <a:bodyPr/>
          <a:lstStyle>
            <a:lvl1pPr marL="0" indent="0">
              <a:buNone/>
              <a:defRPr sz="1867">
                <a:solidFill>
                  <a:schemeClr val="bg1"/>
                </a:solidFill>
              </a:defRPr>
            </a:lvl1pPr>
          </a:lstStyle>
          <a:p>
            <a:endParaRPr lang="en-GB"/>
          </a:p>
        </p:txBody>
      </p:sp>
      <p:sp>
        <p:nvSpPr>
          <p:cNvPr id="18" name="Title 4">
            <a:extLst>
              <a:ext uri="{FF2B5EF4-FFF2-40B4-BE49-F238E27FC236}">
                <a16:creationId xmlns:a16="http://schemas.microsoft.com/office/drawing/2014/main" id="{D136005A-11B0-8D4E-9718-39BB0EC340F4}"/>
              </a:ext>
            </a:extLst>
          </p:cNvPr>
          <p:cNvSpPr>
            <a:spLocks noGrp="1"/>
          </p:cNvSpPr>
          <p:nvPr>
            <p:ph type="title" hasCustomPrompt="1"/>
          </p:nvPr>
        </p:nvSpPr>
        <p:spPr>
          <a:xfrm>
            <a:off x="5521128" y="1167037"/>
            <a:ext cx="6251773" cy="996915"/>
          </a:xfrm>
          <a:prstGeom prst="rect">
            <a:avLst/>
          </a:prstGeom>
        </p:spPr>
        <p:txBody>
          <a:bodyPr anchor="ctr"/>
          <a:lstStyle>
            <a:lvl1pPr algn="l">
              <a:lnSpc>
                <a:spcPct val="100000"/>
              </a:lnSpc>
              <a:spcBef>
                <a:spcPts val="0"/>
              </a:spcBef>
              <a:spcAft>
                <a:spcPts val="0"/>
              </a:spcAft>
              <a:defRPr sz="3200" b="1">
                <a:solidFill>
                  <a:schemeClr val="accent2"/>
                </a:solidFill>
              </a:defRPr>
            </a:lvl1pPr>
          </a:lstStyle>
          <a:p>
            <a:r>
              <a:rPr lang="en-US"/>
              <a:t>Click to edit </a:t>
            </a:r>
            <a:br>
              <a:rPr lang="en-US"/>
            </a:br>
            <a:r>
              <a:rPr lang="en-US"/>
              <a:t>Master title style</a:t>
            </a:r>
            <a:endParaRPr lang="en-GB"/>
          </a:p>
        </p:txBody>
      </p:sp>
      <p:sp>
        <p:nvSpPr>
          <p:cNvPr id="19" name="Text Placeholder 6">
            <a:extLst>
              <a:ext uri="{FF2B5EF4-FFF2-40B4-BE49-F238E27FC236}">
                <a16:creationId xmlns:a16="http://schemas.microsoft.com/office/drawing/2014/main" id="{DA5EC964-4A3C-2F47-B937-C98A2869954E}"/>
              </a:ext>
            </a:extLst>
          </p:cNvPr>
          <p:cNvSpPr>
            <a:spLocks noGrp="1"/>
          </p:cNvSpPr>
          <p:nvPr>
            <p:ph type="body" sz="quarter" idx="61"/>
          </p:nvPr>
        </p:nvSpPr>
        <p:spPr>
          <a:xfrm>
            <a:off x="5521128" y="3146593"/>
            <a:ext cx="6251773" cy="286633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2" name="Text Placeholder 6">
            <a:extLst>
              <a:ext uri="{FF2B5EF4-FFF2-40B4-BE49-F238E27FC236}">
                <a16:creationId xmlns:a16="http://schemas.microsoft.com/office/drawing/2014/main" id="{F271EA18-F1C4-5445-BC6B-2E8E13F8085B}"/>
              </a:ext>
            </a:extLst>
          </p:cNvPr>
          <p:cNvSpPr>
            <a:spLocks noGrp="1"/>
          </p:cNvSpPr>
          <p:nvPr>
            <p:ph type="body" sz="quarter" idx="16" hasCustomPrompt="1"/>
          </p:nvPr>
        </p:nvSpPr>
        <p:spPr>
          <a:xfrm>
            <a:off x="5521128" y="2311109"/>
            <a:ext cx="6251773" cy="621339"/>
          </a:xfrm>
          <a:prstGeom prst="rect">
            <a:avLst/>
          </a:prstGeom>
        </p:spPr>
        <p:txBody>
          <a:bodyPr anchor="ctr"/>
          <a:lstStyle>
            <a:lvl1pPr marL="0" indent="0" algn="l">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pic>
        <p:nvPicPr>
          <p:cNvPr id="6" name="Picture 5">
            <a:extLst>
              <a:ext uri="{FF2B5EF4-FFF2-40B4-BE49-F238E27FC236}">
                <a16:creationId xmlns:a16="http://schemas.microsoft.com/office/drawing/2014/main" id="{CC552A4F-D1DB-4444-A096-6B92017E34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5" y="332679"/>
            <a:ext cx="1305751" cy="484944"/>
          </a:xfrm>
          <a:prstGeom prst="rect">
            <a:avLst/>
          </a:prstGeom>
        </p:spPr>
      </p:pic>
    </p:spTree>
    <p:extLst>
      <p:ext uri="{BB962C8B-B14F-4D97-AF65-F5344CB8AC3E}">
        <p14:creationId xmlns:p14="http://schemas.microsoft.com/office/powerpoint/2010/main" val="2373882107"/>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9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5879030" y="0"/>
            <a:ext cx="6312975"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endParaRPr lang="en-US" noProof="0"/>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6540649" y="2097905"/>
            <a:ext cx="3523281" cy="996915"/>
          </a:xfrm>
          <a:prstGeom prst="rect">
            <a:avLst/>
          </a:prstGeom>
        </p:spPr>
        <p:txBody>
          <a:bodyPr anchor="ctr"/>
          <a:lstStyle>
            <a:lvl1pPr algn="l">
              <a:lnSpc>
                <a:spcPct val="100000"/>
              </a:lnSpc>
              <a:defRPr sz="3200" b="1">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6529919" y="3274275"/>
            <a:ext cx="3543300" cy="14220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6">
            <a:extLst>
              <a:ext uri="{FF2B5EF4-FFF2-40B4-BE49-F238E27FC236}">
                <a16:creationId xmlns:a16="http://schemas.microsoft.com/office/drawing/2014/main" id="{3B4DA557-7B08-5B4D-97DB-FC7E41E181F5}"/>
              </a:ext>
            </a:extLst>
          </p:cNvPr>
          <p:cNvSpPr>
            <a:spLocks noGrp="1"/>
          </p:cNvSpPr>
          <p:nvPr>
            <p:ph type="body" sz="quarter" idx="61"/>
          </p:nvPr>
        </p:nvSpPr>
        <p:spPr>
          <a:xfrm>
            <a:off x="1415511" y="1814848"/>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8" name="Text Placeholder 6">
            <a:extLst>
              <a:ext uri="{FF2B5EF4-FFF2-40B4-BE49-F238E27FC236}">
                <a16:creationId xmlns:a16="http://schemas.microsoft.com/office/drawing/2014/main" id="{97FFF4BF-46E3-B541-AA52-FAB53E3E1054}"/>
              </a:ext>
            </a:extLst>
          </p:cNvPr>
          <p:cNvSpPr>
            <a:spLocks noGrp="1"/>
          </p:cNvSpPr>
          <p:nvPr>
            <p:ph type="body" sz="quarter" idx="16"/>
          </p:nvPr>
        </p:nvSpPr>
        <p:spPr>
          <a:xfrm>
            <a:off x="1415511" y="1386348"/>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1" name="Text Placeholder 6">
            <a:extLst>
              <a:ext uri="{FF2B5EF4-FFF2-40B4-BE49-F238E27FC236}">
                <a16:creationId xmlns:a16="http://schemas.microsoft.com/office/drawing/2014/main" id="{4BE66BA0-BAB7-6644-9195-003A679DF78A}"/>
              </a:ext>
            </a:extLst>
          </p:cNvPr>
          <p:cNvSpPr>
            <a:spLocks noGrp="1"/>
          </p:cNvSpPr>
          <p:nvPr>
            <p:ph type="body" sz="quarter" idx="62"/>
          </p:nvPr>
        </p:nvSpPr>
        <p:spPr>
          <a:xfrm>
            <a:off x="1415511" y="3240694"/>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12" name="Text Placeholder 6">
            <a:extLst>
              <a:ext uri="{FF2B5EF4-FFF2-40B4-BE49-F238E27FC236}">
                <a16:creationId xmlns:a16="http://schemas.microsoft.com/office/drawing/2014/main" id="{42D8740A-EF16-4A4B-8561-0AFE570EC69D}"/>
              </a:ext>
            </a:extLst>
          </p:cNvPr>
          <p:cNvSpPr>
            <a:spLocks noGrp="1"/>
          </p:cNvSpPr>
          <p:nvPr>
            <p:ph type="body" sz="quarter" idx="63"/>
          </p:nvPr>
        </p:nvSpPr>
        <p:spPr>
          <a:xfrm>
            <a:off x="1415511" y="2812192"/>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3" name="Text Placeholder 6">
            <a:extLst>
              <a:ext uri="{FF2B5EF4-FFF2-40B4-BE49-F238E27FC236}">
                <a16:creationId xmlns:a16="http://schemas.microsoft.com/office/drawing/2014/main" id="{F91806EC-97C9-D043-B9CB-6602A30F2D91}"/>
              </a:ext>
            </a:extLst>
          </p:cNvPr>
          <p:cNvSpPr>
            <a:spLocks noGrp="1"/>
          </p:cNvSpPr>
          <p:nvPr>
            <p:ph type="body" sz="quarter" idx="64"/>
          </p:nvPr>
        </p:nvSpPr>
        <p:spPr>
          <a:xfrm>
            <a:off x="1415511" y="4668491"/>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14" name="Text Placeholder 6">
            <a:extLst>
              <a:ext uri="{FF2B5EF4-FFF2-40B4-BE49-F238E27FC236}">
                <a16:creationId xmlns:a16="http://schemas.microsoft.com/office/drawing/2014/main" id="{BBDBDD5B-089E-2C47-B88F-38897DB817A2}"/>
              </a:ext>
            </a:extLst>
          </p:cNvPr>
          <p:cNvSpPr>
            <a:spLocks noGrp="1"/>
          </p:cNvSpPr>
          <p:nvPr>
            <p:ph type="body" sz="quarter" idx="65"/>
          </p:nvPr>
        </p:nvSpPr>
        <p:spPr>
          <a:xfrm>
            <a:off x="1415511" y="4239988"/>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5" name="Text Placeholder 6">
            <a:extLst>
              <a:ext uri="{FF2B5EF4-FFF2-40B4-BE49-F238E27FC236}">
                <a16:creationId xmlns:a16="http://schemas.microsoft.com/office/drawing/2014/main" id="{3BD2093A-8E00-AD45-A11B-BFF744448A36}"/>
              </a:ext>
            </a:extLst>
          </p:cNvPr>
          <p:cNvSpPr>
            <a:spLocks noGrp="1"/>
          </p:cNvSpPr>
          <p:nvPr>
            <p:ph type="body" sz="quarter" idx="66"/>
          </p:nvPr>
        </p:nvSpPr>
        <p:spPr>
          <a:xfrm>
            <a:off x="1415511" y="6104667"/>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16" name="Text Placeholder 6">
            <a:extLst>
              <a:ext uri="{FF2B5EF4-FFF2-40B4-BE49-F238E27FC236}">
                <a16:creationId xmlns:a16="http://schemas.microsoft.com/office/drawing/2014/main" id="{B477112C-83CB-2B4D-913A-8D32CDC29EB1}"/>
              </a:ext>
            </a:extLst>
          </p:cNvPr>
          <p:cNvSpPr>
            <a:spLocks noGrp="1"/>
          </p:cNvSpPr>
          <p:nvPr>
            <p:ph type="body" sz="quarter" idx="67"/>
          </p:nvPr>
        </p:nvSpPr>
        <p:spPr>
          <a:xfrm>
            <a:off x="1415511" y="5676164"/>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4" name="Picture Placeholder 3">
            <a:extLst>
              <a:ext uri="{FF2B5EF4-FFF2-40B4-BE49-F238E27FC236}">
                <a16:creationId xmlns:a16="http://schemas.microsoft.com/office/drawing/2014/main" id="{F2F982F2-3BB9-344E-A765-82A959FA3FC9}"/>
              </a:ext>
            </a:extLst>
          </p:cNvPr>
          <p:cNvSpPr>
            <a:spLocks noGrp="1"/>
          </p:cNvSpPr>
          <p:nvPr>
            <p:ph type="pic" sz="quarter" idx="68" hasCustomPrompt="1"/>
          </p:nvPr>
        </p:nvSpPr>
        <p:spPr>
          <a:xfrm>
            <a:off x="516544" y="1386351"/>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19" name="Picture Placeholder 3">
            <a:extLst>
              <a:ext uri="{FF2B5EF4-FFF2-40B4-BE49-F238E27FC236}">
                <a16:creationId xmlns:a16="http://schemas.microsoft.com/office/drawing/2014/main" id="{B2D4BA41-426E-2046-9B18-1D5B9B503327}"/>
              </a:ext>
            </a:extLst>
          </p:cNvPr>
          <p:cNvSpPr>
            <a:spLocks noGrp="1"/>
          </p:cNvSpPr>
          <p:nvPr>
            <p:ph type="pic" sz="quarter" idx="69" hasCustomPrompt="1"/>
          </p:nvPr>
        </p:nvSpPr>
        <p:spPr>
          <a:xfrm>
            <a:off x="516544" y="2812195"/>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0" name="Picture Placeholder 3">
            <a:extLst>
              <a:ext uri="{FF2B5EF4-FFF2-40B4-BE49-F238E27FC236}">
                <a16:creationId xmlns:a16="http://schemas.microsoft.com/office/drawing/2014/main" id="{E0D3D9B8-9128-5D45-BFB7-90B2ADBF75A1}"/>
              </a:ext>
            </a:extLst>
          </p:cNvPr>
          <p:cNvSpPr>
            <a:spLocks noGrp="1"/>
          </p:cNvSpPr>
          <p:nvPr>
            <p:ph type="pic" sz="quarter" idx="70" hasCustomPrompt="1"/>
          </p:nvPr>
        </p:nvSpPr>
        <p:spPr>
          <a:xfrm>
            <a:off x="516544" y="4238039"/>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1" name="Picture Placeholder 3">
            <a:extLst>
              <a:ext uri="{FF2B5EF4-FFF2-40B4-BE49-F238E27FC236}">
                <a16:creationId xmlns:a16="http://schemas.microsoft.com/office/drawing/2014/main" id="{33E8DB06-0058-144F-B17F-9E476E611DF7}"/>
              </a:ext>
            </a:extLst>
          </p:cNvPr>
          <p:cNvSpPr>
            <a:spLocks noGrp="1"/>
          </p:cNvSpPr>
          <p:nvPr>
            <p:ph type="pic" sz="quarter" idx="71" hasCustomPrompt="1"/>
          </p:nvPr>
        </p:nvSpPr>
        <p:spPr>
          <a:xfrm>
            <a:off x="516544" y="5676167"/>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pic>
        <p:nvPicPr>
          <p:cNvPr id="17" name="Picture 16">
            <a:extLst>
              <a:ext uri="{FF2B5EF4-FFF2-40B4-BE49-F238E27FC236}">
                <a16:creationId xmlns:a16="http://schemas.microsoft.com/office/drawing/2014/main" id="{2614B128-702E-0744-8F65-70AF1F474C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6546" y="332679"/>
            <a:ext cx="1305751" cy="484944"/>
          </a:xfrm>
          <a:prstGeom prst="rect">
            <a:avLst/>
          </a:prstGeom>
        </p:spPr>
      </p:pic>
    </p:spTree>
    <p:extLst>
      <p:ext uri="{BB962C8B-B14F-4D97-AF65-F5344CB8AC3E}">
        <p14:creationId xmlns:p14="http://schemas.microsoft.com/office/powerpoint/2010/main" val="3905817338"/>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2_NTT_content_page">
    <p:bg bwMode="ltGray">
      <p:bgPr>
        <a:solidFill>
          <a:schemeClr val="accent2"/>
        </a:solidFill>
        <a:effectLst/>
      </p:bgPr>
    </p:bg>
    <p:spTree>
      <p:nvGrpSpPr>
        <p:cNvPr id="1" name=""/>
        <p:cNvGrpSpPr/>
        <p:nvPr/>
      </p:nvGrpSpPr>
      <p:grpSpPr>
        <a:xfrm>
          <a:off x="0" y="0"/>
          <a:ext cx="0" cy="0"/>
          <a:chOff x="0" y="0"/>
          <a:chExt cx="0" cy="0"/>
        </a:xfrm>
      </p:grpSpPr>
      <p:sp>
        <p:nvSpPr>
          <p:cNvPr id="37" name="Title 4">
            <a:extLst>
              <a:ext uri="{FF2B5EF4-FFF2-40B4-BE49-F238E27FC236}">
                <a16:creationId xmlns:a16="http://schemas.microsoft.com/office/drawing/2014/main" id="{5E4FBA8E-F792-5B49-AC3F-6764FF3C8F68}"/>
              </a:ext>
            </a:extLst>
          </p:cNvPr>
          <p:cNvSpPr>
            <a:spLocks noGrp="1"/>
          </p:cNvSpPr>
          <p:nvPr>
            <p:ph type="title"/>
          </p:nvPr>
        </p:nvSpPr>
        <p:spPr>
          <a:xfrm>
            <a:off x="391599" y="450777"/>
            <a:ext cx="11408804" cy="631775"/>
          </a:xfrm>
          <a:prstGeom prst="rect">
            <a:avLst/>
          </a:prstGeom>
        </p:spPr>
        <p:txBody>
          <a:bodyPr anchor="ctr"/>
          <a:lstStyle>
            <a:lvl1pPr algn="ctr">
              <a:defRPr sz="3200" b="1">
                <a:solidFill>
                  <a:schemeClr val="tx1"/>
                </a:solidFill>
              </a:defRPr>
            </a:lvl1pPr>
          </a:lstStyle>
          <a:p>
            <a:r>
              <a:rPr lang="en-US"/>
              <a:t>Click to edit Master title style</a:t>
            </a:r>
            <a:endParaRPr lang="en-GB"/>
          </a:p>
        </p:txBody>
      </p:sp>
      <p:sp>
        <p:nvSpPr>
          <p:cNvPr id="17" name="Text Placeholder 6">
            <a:extLst>
              <a:ext uri="{FF2B5EF4-FFF2-40B4-BE49-F238E27FC236}">
                <a16:creationId xmlns:a16="http://schemas.microsoft.com/office/drawing/2014/main" id="{3D48A384-379E-864F-A2E2-01EF6C402438}"/>
              </a:ext>
            </a:extLst>
          </p:cNvPr>
          <p:cNvSpPr>
            <a:spLocks noGrp="1"/>
          </p:cNvSpPr>
          <p:nvPr>
            <p:ph type="body" sz="quarter" idx="16" hasCustomPrompt="1"/>
          </p:nvPr>
        </p:nvSpPr>
        <p:spPr>
          <a:xfrm>
            <a:off x="391599" y="1128122"/>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cxnSp>
        <p:nvCxnSpPr>
          <p:cNvPr id="20" name="Straight Connector 19">
            <a:extLst>
              <a:ext uri="{FF2B5EF4-FFF2-40B4-BE49-F238E27FC236}">
                <a16:creationId xmlns:a16="http://schemas.microsoft.com/office/drawing/2014/main" id="{80C35067-E835-BD4F-A284-A2F4B755A850}"/>
              </a:ext>
            </a:extLst>
          </p:cNvPr>
          <p:cNvCxnSpPr/>
          <p:nvPr userDrawn="1"/>
        </p:nvCxnSpPr>
        <p:spPr>
          <a:xfrm flipV="1">
            <a:off x="7930356" y="2884427"/>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E77D04-FEA0-9A48-99BB-44FA1E043D82}"/>
              </a:ext>
            </a:extLst>
          </p:cNvPr>
          <p:cNvCxnSpPr/>
          <p:nvPr userDrawn="1"/>
        </p:nvCxnSpPr>
        <p:spPr>
          <a:xfrm flipV="1">
            <a:off x="4328319" y="2884427"/>
            <a:ext cx="0" cy="2062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6">
            <a:extLst>
              <a:ext uri="{FF2B5EF4-FFF2-40B4-BE49-F238E27FC236}">
                <a16:creationId xmlns:a16="http://schemas.microsoft.com/office/drawing/2014/main" id="{66F4426F-9472-8E42-9CE2-56032EEDBDF0}"/>
              </a:ext>
            </a:extLst>
          </p:cNvPr>
          <p:cNvSpPr>
            <a:spLocks noGrp="1"/>
          </p:cNvSpPr>
          <p:nvPr>
            <p:ph type="body" sz="quarter" idx="52"/>
          </p:nvPr>
        </p:nvSpPr>
        <p:spPr>
          <a:xfrm>
            <a:off x="1173699"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4" name="Text Placeholder 6">
            <a:extLst>
              <a:ext uri="{FF2B5EF4-FFF2-40B4-BE49-F238E27FC236}">
                <a16:creationId xmlns:a16="http://schemas.microsoft.com/office/drawing/2014/main" id="{312B08A3-6F0E-8345-9F2F-07D520785853}"/>
              </a:ext>
            </a:extLst>
          </p:cNvPr>
          <p:cNvSpPr>
            <a:spLocks noGrp="1"/>
          </p:cNvSpPr>
          <p:nvPr>
            <p:ph type="body" sz="quarter" idx="72"/>
          </p:nvPr>
        </p:nvSpPr>
        <p:spPr>
          <a:xfrm>
            <a:off x="1173699"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25" name="Text Placeholder 6">
            <a:extLst>
              <a:ext uri="{FF2B5EF4-FFF2-40B4-BE49-F238E27FC236}">
                <a16:creationId xmlns:a16="http://schemas.microsoft.com/office/drawing/2014/main" id="{E376E8B7-2C49-5A43-A624-90D032310688}"/>
              </a:ext>
            </a:extLst>
          </p:cNvPr>
          <p:cNvSpPr>
            <a:spLocks noGrp="1"/>
          </p:cNvSpPr>
          <p:nvPr>
            <p:ph type="body" sz="quarter" idx="73"/>
          </p:nvPr>
        </p:nvSpPr>
        <p:spPr>
          <a:xfrm>
            <a:off x="4775738"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38" name="Text Placeholder 6">
            <a:extLst>
              <a:ext uri="{FF2B5EF4-FFF2-40B4-BE49-F238E27FC236}">
                <a16:creationId xmlns:a16="http://schemas.microsoft.com/office/drawing/2014/main" id="{0C68A706-386B-B54D-A68A-407C4C6E9C48}"/>
              </a:ext>
            </a:extLst>
          </p:cNvPr>
          <p:cNvSpPr>
            <a:spLocks noGrp="1"/>
          </p:cNvSpPr>
          <p:nvPr>
            <p:ph type="body" sz="quarter" idx="74"/>
          </p:nvPr>
        </p:nvSpPr>
        <p:spPr>
          <a:xfrm>
            <a:off x="4775739"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39" name="Text Placeholder 6">
            <a:extLst>
              <a:ext uri="{FF2B5EF4-FFF2-40B4-BE49-F238E27FC236}">
                <a16:creationId xmlns:a16="http://schemas.microsoft.com/office/drawing/2014/main" id="{B89421A3-22D4-824A-BC46-312A99FDA7CA}"/>
              </a:ext>
            </a:extLst>
          </p:cNvPr>
          <p:cNvSpPr>
            <a:spLocks noGrp="1"/>
          </p:cNvSpPr>
          <p:nvPr>
            <p:ph type="body" sz="quarter" idx="75"/>
          </p:nvPr>
        </p:nvSpPr>
        <p:spPr>
          <a:xfrm>
            <a:off x="8377759" y="3174960"/>
            <a:ext cx="2707204" cy="373936"/>
          </a:xfrm>
          <a:prstGeom prst="rect">
            <a:avLst/>
          </a:prstGeom>
        </p:spPr>
        <p:txBody>
          <a:bodyPr/>
          <a:lstStyle>
            <a:lvl1pPr marL="0" indent="0" algn="ctr">
              <a:buNone/>
              <a:defRPr sz="1867" b="1">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40" name="Text Placeholder 6">
            <a:extLst>
              <a:ext uri="{FF2B5EF4-FFF2-40B4-BE49-F238E27FC236}">
                <a16:creationId xmlns:a16="http://schemas.microsoft.com/office/drawing/2014/main" id="{CE424B62-5109-9841-8C42-5BD27006A9DD}"/>
              </a:ext>
            </a:extLst>
          </p:cNvPr>
          <p:cNvSpPr>
            <a:spLocks noGrp="1"/>
          </p:cNvSpPr>
          <p:nvPr>
            <p:ph type="body" sz="quarter" idx="76"/>
          </p:nvPr>
        </p:nvSpPr>
        <p:spPr>
          <a:xfrm>
            <a:off x="8377759" y="367836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a:t>
            </a:r>
            <a:endParaRPr lang="en-GB"/>
          </a:p>
        </p:txBody>
      </p:sp>
      <p:sp>
        <p:nvSpPr>
          <p:cNvPr id="41" name="Picture Placeholder 3">
            <a:extLst>
              <a:ext uri="{FF2B5EF4-FFF2-40B4-BE49-F238E27FC236}">
                <a16:creationId xmlns:a16="http://schemas.microsoft.com/office/drawing/2014/main" id="{22992596-9553-354E-9FA6-6A7BACE3514C}"/>
              </a:ext>
            </a:extLst>
          </p:cNvPr>
          <p:cNvSpPr>
            <a:spLocks noGrp="1"/>
          </p:cNvSpPr>
          <p:nvPr>
            <p:ph type="pic" sz="quarter" idx="68" hasCustomPrompt="1"/>
          </p:nvPr>
        </p:nvSpPr>
        <p:spPr>
          <a:xfrm>
            <a:off x="2261821" y="2411559"/>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2" name="Picture Placeholder 3">
            <a:extLst>
              <a:ext uri="{FF2B5EF4-FFF2-40B4-BE49-F238E27FC236}">
                <a16:creationId xmlns:a16="http://schemas.microsoft.com/office/drawing/2014/main" id="{74591AD2-2569-CF45-8D7D-E69A713170D1}"/>
              </a:ext>
            </a:extLst>
          </p:cNvPr>
          <p:cNvSpPr>
            <a:spLocks noGrp="1"/>
          </p:cNvSpPr>
          <p:nvPr>
            <p:ph type="pic" sz="quarter" idx="77" hasCustomPrompt="1"/>
          </p:nvPr>
        </p:nvSpPr>
        <p:spPr>
          <a:xfrm>
            <a:off x="5863863" y="2411559"/>
            <a:ext cx="530953" cy="465780"/>
          </a:xfrm>
          <a:prstGeom prst="rect">
            <a:avLst/>
          </a:prstGeom>
        </p:spPr>
        <p:txBody>
          <a:bodyPr/>
          <a:lstStyle>
            <a:lvl1pPr marL="0" indent="0" algn="ctr">
              <a:buNone/>
              <a:defRPr sz="1067">
                <a:solidFill>
                  <a:schemeClr val="tx1"/>
                </a:solidFill>
              </a:defRPr>
            </a:lvl1pPr>
          </a:lstStyle>
          <a:p>
            <a:r>
              <a:rPr lang="en-GB"/>
              <a:t>Icon</a:t>
            </a:r>
          </a:p>
        </p:txBody>
      </p:sp>
      <p:sp>
        <p:nvSpPr>
          <p:cNvPr id="43" name="Picture Placeholder 3">
            <a:extLst>
              <a:ext uri="{FF2B5EF4-FFF2-40B4-BE49-F238E27FC236}">
                <a16:creationId xmlns:a16="http://schemas.microsoft.com/office/drawing/2014/main" id="{A01C25AB-DBA1-3343-A29F-C393C26205AB}"/>
              </a:ext>
            </a:extLst>
          </p:cNvPr>
          <p:cNvSpPr>
            <a:spLocks noGrp="1"/>
          </p:cNvSpPr>
          <p:nvPr>
            <p:ph type="pic" sz="quarter" idx="78" hasCustomPrompt="1"/>
          </p:nvPr>
        </p:nvSpPr>
        <p:spPr>
          <a:xfrm>
            <a:off x="9466930" y="2411559"/>
            <a:ext cx="530953" cy="465780"/>
          </a:xfrm>
          <a:prstGeom prst="rect">
            <a:avLst/>
          </a:prstGeom>
        </p:spPr>
        <p:txBody>
          <a:bodyPr/>
          <a:lstStyle>
            <a:lvl1pPr marL="0" indent="0" algn="ctr">
              <a:buNone/>
              <a:defRPr sz="1067">
                <a:solidFill>
                  <a:schemeClr val="tx1"/>
                </a:solidFill>
              </a:defRPr>
            </a:lvl1pPr>
          </a:lstStyle>
          <a:p>
            <a:r>
              <a:rPr lang="en-GB"/>
              <a:t>Icon</a:t>
            </a:r>
          </a:p>
        </p:txBody>
      </p:sp>
    </p:spTree>
    <p:extLst>
      <p:ext uri="{BB962C8B-B14F-4D97-AF65-F5344CB8AC3E}">
        <p14:creationId xmlns:p14="http://schemas.microsoft.com/office/powerpoint/2010/main" val="36080247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4_NTT_content_page">
    <p:bg bwMode="ltGray">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21A6FFB-F313-6141-A172-BADFD8BD87EE}"/>
              </a:ext>
            </a:extLst>
          </p:cNvPr>
          <p:cNvSpPr/>
          <p:nvPr userDrawn="1"/>
        </p:nvSpPr>
        <p:spPr>
          <a:xfrm>
            <a:off x="8115511" y="3417997"/>
            <a:ext cx="4076492" cy="3456575"/>
          </a:xfrm>
          <a:prstGeom prst="rect">
            <a:avLst/>
          </a:prstGeom>
          <a:solidFill>
            <a:schemeClr val="accent5">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0" name="Rectangle 9">
            <a:extLst>
              <a:ext uri="{FF2B5EF4-FFF2-40B4-BE49-F238E27FC236}">
                <a16:creationId xmlns:a16="http://schemas.microsoft.com/office/drawing/2014/main" id="{B80B8852-BEA0-3D4F-B90D-07A70ED2896E}"/>
              </a:ext>
            </a:extLst>
          </p:cNvPr>
          <p:cNvSpPr/>
          <p:nvPr userDrawn="1"/>
        </p:nvSpPr>
        <p:spPr>
          <a:xfrm>
            <a:off x="-3761" y="3423450"/>
            <a:ext cx="4044744" cy="3451121"/>
          </a:xfrm>
          <a:prstGeom prst="rect">
            <a:avLst/>
          </a:prstGeom>
          <a:solidFill>
            <a:schemeClr val="accent4">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2" name="Rectangle 1">
            <a:extLst>
              <a:ext uri="{FF2B5EF4-FFF2-40B4-BE49-F238E27FC236}">
                <a16:creationId xmlns:a16="http://schemas.microsoft.com/office/drawing/2014/main" id="{79775F3A-6E16-BA44-A37B-47351FCDF66D}"/>
              </a:ext>
            </a:extLst>
          </p:cNvPr>
          <p:cNvSpPr/>
          <p:nvPr userDrawn="1"/>
        </p:nvSpPr>
        <p:spPr>
          <a:xfrm>
            <a:off x="4042572" y="-1"/>
            <a:ext cx="4073525" cy="3451121"/>
          </a:xfrm>
          <a:prstGeom prst="rect">
            <a:avLst/>
          </a:prstGeom>
          <a:solidFill>
            <a:schemeClr val="accent2">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3" name="Picture Placeholder 2">
            <a:extLst>
              <a:ext uri="{FF2B5EF4-FFF2-40B4-BE49-F238E27FC236}">
                <a16:creationId xmlns:a16="http://schemas.microsoft.com/office/drawing/2014/main" id="{7B5540B0-93CE-384E-B0EA-1F68C487A39C}"/>
              </a:ext>
            </a:extLst>
          </p:cNvPr>
          <p:cNvSpPr>
            <a:spLocks noGrp="1"/>
          </p:cNvSpPr>
          <p:nvPr>
            <p:ph type="pic" sz="quarter" idx="15"/>
          </p:nvPr>
        </p:nvSpPr>
        <p:spPr bwMode="auto">
          <a:xfrm>
            <a:off x="4042572" y="3434559"/>
            <a:ext cx="4073525" cy="3423444"/>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endParaRPr lang="en-GB"/>
          </a:p>
        </p:txBody>
      </p:sp>
      <p:sp>
        <p:nvSpPr>
          <p:cNvPr id="14" name="Picture Placeholder 1">
            <a:extLst>
              <a:ext uri="{FF2B5EF4-FFF2-40B4-BE49-F238E27FC236}">
                <a16:creationId xmlns:a16="http://schemas.microsoft.com/office/drawing/2014/main" id="{AF09079C-C66C-5A47-BB10-2FB7AE1D67CA}"/>
              </a:ext>
            </a:extLst>
          </p:cNvPr>
          <p:cNvSpPr>
            <a:spLocks noGrp="1"/>
          </p:cNvSpPr>
          <p:nvPr>
            <p:ph type="pic" sz="quarter" idx="18"/>
          </p:nvPr>
        </p:nvSpPr>
        <p:spPr bwMode="auto">
          <a:xfrm>
            <a:off x="-3175" y="3"/>
            <a:ext cx="4045744"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endParaRPr lang="en-GB"/>
          </a:p>
        </p:txBody>
      </p:sp>
      <p:sp>
        <p:nvSpPr>
          <p:cNvPr id="17" name="Picture Placeholder 3">
            <a:extLst>
              <a:ext uri="{FF2B5EF4-FFF2-40B4-BE49-F238E27FC236}">
                <a16:creationId xmlns:a16="http://schemas.microsoft.com/office/drawing/2014/main" id="{D2AC0BAC-2AF9-F540-B096-781969CEA2D6}"/>
              </a:ext>
            </a:extLst>
          </p:cNvPr>
          <p:cNvSpPr>
            <a:spLocks noGrp="1"/>
          </p:cNvSpPr>
          <p:nvPr>
            <p:ph type="pic" sz="quarter" idx="21"/>
          </p:nvPr>
        </p:nvSpPr>
        <p:spPr bwMode="auto">
          <a:xfrm>
            <a:off x="8116101" y="3"/>
            <a:ext cx="4074319" cy="3434556"/>
          </a:xfrm>
          <a:prstGeom prst="rect">
            <a:avLst/>
          </a:prstGeom>
          <a:solidFill>
            <a:schemeClr val="bg2">
              <a:lumMod val="20000"/>
              <a:lumOff val="80000"/>
            </a:schemeClr>
          </a:solidFill>
        </p:spPr>
        <p:txBody>
          <a:bodyPr vert="horz" wrap="square" lIns="34290" tIns="17145" rIns="34290" bIns="17145" numCol="1" anchor="t" anchorCtr="0" compatLnSpc="1">
            <a:prstTxWarp prst="textNoShape">
              <a:avLst/>
            </a:prstTxWarp>
            <a:normAutofit/>
          </a:bodyPr>
          <a:lstStyle>
            <a:lvl1pPr marL="0" indent="0">
              <a:buNone/>
              <a:defRPr sz="1867">
                <a:solidFill>
                  <a:schemeClr val="bg1"/>
                </a:solidFill>
              </a:defRPr>
            </a:lvl1pPr>
          </a:lstStyle>
          <a:p>
            <a:endParaRPr lang="en-GB"/>
          </a:p>
        </p:txBody>
      </p:sp>
      <p:sp>
        <p:nvSpPr>
          <p:cNvPr id="8" name="Text Placeholder 6">
            <a:extLst>
              <a:ext uri="{FF2B5EF4-FFF2-40B4-BE49-F238E27FC236}">
                <a16:creationId xmlns:a16="http://schemas.microsoft.com/office/drawing/2014/main" id="{4123768B-9ACE-1742-8661-A2254A8C2CA0}"/>
              </a:ext>
            </a:extLst>
          </p:cNvPr>
          <p:cNvSpPr>
            <a:spLocks noGrp="1"/>
          </p:cNvSpPr>
          <p:nvPr>
            <p:ph type="body" sz="quarter" idx="16"/>
          </p:nvPr>
        </p:nvSpPr>
        <p:spPr>
          <a:xfrm>
            <a:off x="4772314" y="1481608"/>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1" name="Text Placeholder 6">
            <a:extLst>
              <a:ext uri="{FF2B5EF4-FFF2-40B4-BE49-F238E27FC236}">
                <a16:creationId xmlns:a16="http://schemas.microsoft.com/office/drawing/2014/main" id="{43DCF11B-18FB-C347-AEE7-4589C1D5322A}"/>
              </a:ext>
            </a:extLst>
          </p:cNvPr>
          <p:cNvSpPr>
            <a:spLocks noGrp="1"/>
          </p:cNvSpPr>
          <p:nvPr>
            <p:ph type="body" sz="quarter" idx="22"/>
          </p:nvPr>
        </p:nvSpPr>
        <p:spPr>
          <a:xfrm>
            <a:off x="712387" y="4927172"/>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
        <p:nvSpPr>
          <p:cNvPr id="15" name="Text Placeholder 6">
            <a:extLst>
              <a:ext uri="{FF2B5EF4-FFF2-40B4-BE49-F238E27FC236}">
                <a16:creationId xmlns:a16="http://schemas.microsoft.com/office/drawing/2014/main" id="{5A1EDE70-062C-4242-98E0-A4DD62699851}"/>
              </a:ext>
            </a:extLst>
          </p:cNvPr>
          <p:cNvSpPr>
            <a:spLocks noGrp="1"/>
          </p:cNvSpPr>
          <p:nvPr>
            <p:ph type="body" sz="quarter" idx="23"/>
          </p:nvPr>
        </p:nvSpPr>
        <p:spPr>
          <a:xfrm>
            <a:off x="8846237" y="4927172"/>
            <a:ext cx="2614047" cy="465789"/>
          </a:xfrm>
          <a:prstGeom prst="rect">
            <a:avLst/>
          </a:prstGeom>
        </p:spPr>
        <p:txBody>
          <a:bodyPr anchor="ctr"/>
          <a:lstStyle>
            <a:lvl1pPr marL="0" indent="0" algn="ctr">
              <a:buNone/>
              <a:defRPr sz="1867" b="1">
                <a:solidFill>
                  <a:schemeClr val="accent2"/>
                </a:solidFill>
              </a:defRPr>
            </a:lvl1pPr>
            <a:lvl2pPr>
              <a:defRPr sz="1333"/>
            </a:lvl2pPr>
            <a:lvl3pPr>
              <a:defRPr sz="1333"/>
            </a:lvl3pPr>
            <a:lvl4pPr>
              <a:defRPr sz="1333"/>
            </a:lvl4pPr>
            <a:lvl5pPr>
              <a:defRPr sz="1333"/>
            </a:lvl5pPr>
          </a:lstStyle>
          <a:p>
            <a:pPr lvl="0"/>
            <a:r>
              <a:rPr lang="en-US"/>
              <a:t>Click to edit</a:t>
            </a:r>
            <a:endParaRPr lang="en-GB"/>
          </a:p>
        </p:txBody>
      </p:sp>
    </p:spTree>
    <p:extLst>
      <p:ext uri="{BB962C8B-B14F-4D97-AF65-F5344CB8AC3E}">
        <p14:creationId xmlns:p14="http://schemas.microsoft.com/office/powerpoint/2010/main" val="3948186240"/>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theme" Target="../theme/theme2.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8"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slideLayout" Target="../slideLayouts/slideLayout117.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theme" Target="../theme/theme3.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1" Type="http://schemas.openxmlformats.org/officeDocument/2006/relationships/slideLayout" Target="../slideLayouts/slideLayout68.xml"/><Relationship Id="rId6"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slideLayout" Target="../slideLayouts/slideLayout157.xml"/><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50" Type="http://schemas.openxmlformats.org/officeDocument/2006/relationships/slideLayout" Target="../slideLayouts/slideLayout168.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9" Type="http://schemas.openxmlformats.org/officeDocument/2006/relationships/slideLayout" Target="../slideLayouts/slideLayout147.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8" Type="http://schemas.openxmlformats.org/officeDocument/2006/relationships/slideLayout" Target="../slideLayouts/slideLayout126.xml"/><Relationship Id="rId51" Type="http://schemas.openxmlformats.org/officeDocument/2006/relationships/theme" Target="../theme/theme4.xml"/><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1" Type="http://schemas.openxmlformats.org/officeDocument/2006/relationships/slideLayout" Target="../slideLayouts/slideLayout119.xml"/><Relationship Id="rId6" Type="http://schemas.openxmlformats.org/officeDocument/2006/relationships/slideLayout" Target="../slideLayouts/slideLayout12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oleObject" Target="../embeddings/oleObject34.bin"/><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41" Type="http://schemas.openxmlformats.org/officeDocument/2006/relationships/tags" Target="../tags/tag63.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theme" Target="../theme/theme5.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image" Target="../media/image13.emf"/><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3.xml"/><Relationship Id="rId21" Type="http://schemas.openxmlformats.org/officeDocument/2006/relationships/slideLayout" Target="../slideLayouts/slideLayout228.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66" Type="http://schemas.openxmlformats.org/officeDocument/2006/relationships/slideLayout" Target="../slideLayouts/slideLayout273.xml"/><Relationship Id="rId74" Type="http://schemas.openxmlformats.org/officeDocument/2006/relationships/theme" Target="../theme/theme6.xml"/><Relationship Id="rId5" Type="http://schemas.openxmlformats.org/officeDocument/2006/relationships/slideLayout" Target="../slideLayouts/slideLayout212.xml"/><Relationship Id="rId61" Type="http://schemas.openxmlformats.org/officeDocument/2006/relationships/slideLayout" Target="../slideLayouts/slideLayout268.xml"/><Relationship Id="rId19" Type="http://schemas.openxmlformats.org/officeDocument/2006/relationships/slideLayout" Target="../slideLayouts/slideLayout22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slideLayout" Target="../slideLayouts/slideLayout279.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slideLayout" Target="../slideLayouts/slideLayout277.xml"/><Relationship Id="rId75" Type="http://schemas.openxmlformats.org/officeDocument/2006/relationships/image" Target="../media/image14.emf"/><Relationship Id="rId1" Type="http://schemas.openxmlformats.org/officeDocument/2006/relationships/slideLayout" Target="../slideLayouts/slideLayout208.xml"/><Relationship Id="rId6" Type="http://schemas.openxmlformats.org/officeDocument/2006/relationships/slideLayout" Target="../slideLayouts/slideLayout213.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10" Type="http://schemas.openxmlformats.org/officeDocument/2006/relationships/slideLayout" Target="../slideLayouts/slideLayout217.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slideLayout" Target="../slideLayouts/slideLayout280.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9" Type="http://schemas.openxmlformats.org/officeDocument/2006/relationships/slideLayout" Target="../slideLayouts/slideLayout246.xml"/><Relationship Id="rId34" Type="http://schemas.openxmlformats.org/officeDocument/2006/relationships/slideLayout" Target="../slideLayouts/slideLayout241.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7" Type="http://schemas.openxmlformats.org/officeDocument/2006/relationships/slideLayout" Target="../slideLayouts/slideLayout214.xml"/><Relationship Id="rId71" Type="http://schemas.openxmlformats.org/officeDocument/2006/relationships/slideLayout" Target="../slideLayouts/slideLayout27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26" Type="http://schemas.openxmlformats.org/officeDocument/2006/relationships/slideLayout" Target="../slideLayouts/slideLayout306.xml"/><Relationship Id="rId39" Type="http://schemas.openxmlformats.org/officeDocument/2006/relationships/slideLayout" Target="../slideLayouts/slideLayout319.xml"/><Relationship Id="rId21" Type="http://schemas.openxmlformats.org/officeDocument/2006/relationships/slideLayout" Target="../slideLayouts/slideLayout301.xml"/><Relationship Id="rId34" Type="http://schemas.openxmlformats.org/officeDocument/2006/relationships/slideLayout" Target="../slideLayouts/slideLayout314.xml"/><Relationship Id="rId42" Type="http://schemas.openxmlformats.org/officeDocument/2006/relationships/tags" Target="../tags/tag70.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29" Type="http://schemas.openxmlformats.org/officeDocument/2006/relationships/slideLayout" Target="../slideLayouts/slideLayout309.xml"/><Relationship Id="rId41" Type="http://schemas.openxmlformats.org/officeDocument/2006/relationships/theme" Target="../theme/theme7.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32" Type="http://schemas.openxmlformats.org/officeDocument/2006/relationships/slideLayout" Target="../slideLayouts/slideLayout312.xml"/><Relationship Id="rId37" Type="http://schemas.openxmlformats.org/officeDocument/2006/relationships/slideLayout" Target="../slideLayouts/slideLayout317.xml"/><Relationship Id="rId40" Type="http://schemas.openxmlformats.org/officeDocument/2006/relationships/slideLayout" Target="../slideLayouts/slideLayout320.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28" Type="http://schemas.openxmlformats.org/officeDocument/2006/relationships/slideLayout" Target="../slideLayouts/slideLayout308.xml"/><Relationship Id="rId36" Type="http://schemas.openxmlformats.org/officeDocument/2006/relationships/slideLayout" Target="../slideLayouts/slideLayout316.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31" Type="http://schemas.openxmlformats.org/officeDocument/2006/relationships/slideLayout" Target="../slideLayouts/slideLayout311.xml"/><Relationship Id="rId44" Type="http://schemas.openxmlformats.org/officeDocument/2006/relationships/image" Target="../media/image49.emf"/><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 Id="rId27" Type="http://schemas.openxmlformats.org/officeDocument/2006/relationships/slideLayout" Target="../slideLayouts/slideLayout307.xml"/><Relationship Id="rId30" Type="http://schemas.openxmlformats.org/officeDocument/2006/relationships/slideLayout" Target="../slideLayouts/slideLayout310.xml"/><Relationship Id="rId35" Type="http://schemas.openxmlformats.org/officeDocument/2006/relationships/slideLayout" Target="../slideLayouts/slideLayout315.xml"/><Relationship Id="rId43" Type="http://schemas.openxmlformats.org/officeDocument/2006/relationships/oleObject" Target="../embeddings/oleObject37.bin"/><Relationship Id="rId8" Type="http://schemas.openxmlformats.org/officeDocument/2006/relationships/slideLayout" Target="../slideLayouts/slideLayout288.xml"/><Relationship Id="rId3" Type="http://schemas.openxmlformats.org/officeDocument/2006/relationships/slideLayout" Target="../slideLayouts/slideLayout283.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slideLayout" Target="../slideLayouts/slideLayout305.xml"/><Relationship Id="rId33" Type="http://schemas.openxmlformats.org/officeDocument/2006/relationships/slideLayout" Target="../slideLayouts/slideLayout313.xml"/><Relationship Id="rId38" Type="http://schemas.openxmlformats.org/officeDocument/2006/relationships/slideLayout" Target="../slideLayouts/slideLayout3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A4CF6F-F488-49C0-83EF-96B11C9246DC}"/>
              </a:ext>
            </a:extLst>
          </p:cNvPr>
          <p:cNvGraphicFramePr>
            <a:graphicFrameLocks noChangeAspect="1"/>
          </p:cNvGraphicFramePr>
          <p:nvPr userDrawn="1">
            <p:custDataLst>
              <p:tags r:id="rId34"/>
            </p:custDataLst>
            <p:extLst>
              <p:ext uri="{D42A27DB-BD31-4B8C-83A1-F6EECF244321}">
                <p14:modId xmlns:p14="http://schemas.microsoft.com/office/powerpoint/2010/main" val="377100867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2" name="Object 1" hidden="1">
                        <a:extLst>
                          <a:ext uri="{FF2B5EF4-FFF2-40B4-BE49-F238E27FC236}">
                            <a16:creationId xmlns:a16="http://schemas.microsoft.com/office/drawing/2014/main" id="{B7A4CF6F-F488-49C0-83EF-96B11C9246DC}"/>
                          </a:ext>
                        </a:extLst>
                      </p:cNvPr>
                      <p:cNvPicPr/>
                      <p:nvPr/>
                    </p:nvPicPr>
                    <p:blipFill>
                      <a:blip r:embed="rId36"/>
                      <a:stretch>
                        <a:fillRect/>
                      </a:stretch>
                    </p:blipFill>
                    <p:spPr>
                      <a:xfrm>
                        <a:off x="2118" y="2118"/>
                        <a:ext cx="2117" cy="2117"/>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07705F5-AEB9-435B-A72B-331A1D443DEF}"/>
              </a:ext>
            </a:extLst>
          </p:cNvPr>
          <p:cNvSpPr>
            <a:spLocks noGrp="1"/>
          </p:cNvSpPr>
          <p:nvPr>
            <p:ph type="body" idx="1"/>
          </p:nvPr>
        </p:nvSpPr>
        <p:spPr>
          <a:xfrm>
            <a:off x="838200" y="1826685"/>
            <a:ext cx="10515600" cy="2006532"/>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26157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xStyles>
    <p:titleStyle>
      <a:lvl1pPr algn="l" defTabSz="1219170" rtl="0" eaLnBrk="1" latinLnBrk="0" hangingPunct="1">
        <a:lnSpc>
          <a:spcPct val="120000"/>
        </a:lnSpc>
        <a:spcBef>
          <a:spcPts val="267"/>
        </a:spcBef>
        <a:spcAft>
          <a:spcPts val="267"/>
        </a:spcAft>
        <a:buNone/>
        <a:defRPr sz="2667" kern="1200" baseline="0">
          <a:solidFill>
            <a:schemeClr val="bg1"/>
          </a:solidFill>
          <a:latin typeface="+mj-lt"/>
          <a:ea typeface="+mj-ea"/>
          <a:cs typeface="+mj-cs"/>
        </a:defRPr>
      </a:lvl1pPr>
    </p:titleStyle>
    <p:bodyStyle>
      <a:lvl1pPr marL="0" indent="0" algn="l" defTabSz="1219170" rtl="0" eaLnBrk="1" latinLnBrk="0" hangingPunct="1">
        <a:lnSpc>
          <a:spcPct val="114000"/>
        </a:lnSpc>
        <a:spcBef>
          <a:spcPts val="800"/>
        </a:spcBef>
        <a:spcAft>
          <a:spcPts val="133"/>
        </a:spcAft>
        <a:buFont typeface="Arial" pitchFamily="34" charset="0"/>
        <a:buNone/>
        <a:defRPr sz="1867" kern="1200">
          <a:solidFill>
            <a:schemeClr val="tx1"/>
          </a:solidFill>
          <a:latin typeface="+mn-lt"/>
          <a:ea typeface="+mn-ea"/>
          <a:cs typeface="+mn-cs"/>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mn-lt"/>
          <a:ea typeface="+mn-ea"/>
          <a:cs typeface="+mn-cs"/>
        </a:defRPr>
      </a:lvl2pPr>
      <a:lvl3pPr marL="713300" indent="-251878" algn="l" defTabSz="1219170" rtl="0" eaLnBrk="1" latinLnBrk="0" hangingPunct="1">
        <a:lnSpc>
          <a:spcPct val="114000"/>
        </a:lnSpc>
        <a:spcBef>
          <a:spcPts val="133"/>
        </a:spcBef>
        <a:spcAft>
          <a:spcPts val="267"/>
        </a:spcAft>
        <a:buFont typeface="Arial" pitchFamily="34" charset="0"/>
        <a:buChar char="›"/>
        <a:defRPr sz="1867" kern="1200">
          <a:solidFill>
            <a:schemeClr val="tx1"/>
          </a:solidFill>
          <a:latin typeface="+mn-lt"/>
          <a:ea typeface="+mn-ea"/>
          <a:cs typeface="+mn-cs"/>
        </a:defRPr>
      </a:lvl3pPr>
      <a:lvl4pPr marL="1447764" indent="-304792" algn="l" defTabSz="1219170" rtl="0" eaLnBrk="1" latinLnBrk="0" hangingPunct="1">
        <a:lnSpc>
          <a:spcPct val="114000"/>
        </a:lnSpc>
        <a:spcBef>
          <a:spcPts val="133"/>
        </a:spcBef>
        <a:spcAft>
          <a:spcPts val="533"/>
        </a:spcAft>
        <a:buFont typeface="Arial" pitchFamily="34" charset="0"/>
        <a:buChar char="»"/>
        <a:defRPr sz="1867" kern="1200">
          <a:solidFill>
            <a:schemeClr val="tx1"/>
          </a:solidFill>
          <a:latin typeface="+mn-lt"/>
          <a:ea typeface="+mn-ea"/>
          <a:cs typeface="+mn-cs"/>
        </a:defRPr>
      </a:lvl4pPr>
      <a:lvl5pPr marL="1924003" indent="-230712" algn="l" defTabSz="1219170" rtl="0" eaLnBrk="1" latinLnBrk="0" hangingPunct="1">
        <a:lnSpc>
          <a:spcPct val="114000"/>
        </a:lnSpc>
        <a:spcBef>
          <a:spcPts val="133"/>
        </a:spcBef>
        <a:spcAft>
          <a:spcPts val="800"/>
        </a:spcAft>
        <a:buFont typeface="Arial"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23651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29" r:id="rId35"/>
  </p:sldLayoutIdLst>
  <p:txStyles>
    <p:titleStyle>
      <a:lvl1pPr algn="l" defTabSz="1219170" rtl="0" eaLnBrk="1" latinLnBrk="0" hangingPunct="1">
        <a:lnSpc>
          <a:spcPct val="120000"/>
        </a:lnSpc>
        <a:spcBef>
          <a:spcPts val="267"/>
        </a:spcBef>
        <a:spcAft>
          <a:spcPts val="267"/>
        </a:spcAft>
        <a:buNone/>
        <a:defRPr sz="2667" kern="1200" baseline="0">
          <a:solidFill>
            <a:schemeClr val="bg1"/>
          </a:solidFill>
          <a:latin typeface="+mj-lt"/>
          <a:ea typeface="+mj-ea"/>
          <a:cs typeface="+mj-cs"/>
        </a:defRPr>
      </a:lvl1pPr>
    </p:titleStyle>
    <p:bodyStyle>
      <a:lvl1pPr marL="0" indent="0" algn="l" defTabSz="1219170" rtl="0" eaLnBrk="1" latinLnBrk="0" hangingPunct="1">
        <a:lnSpc>
          <a:spcPct val="114000"/>
        </a:lnSpc>
        <a:spcBef>
          <a:spcPts val="800"/>
        </a:spcBef>
        <a:spcAft>
          <a:spcPts val="133"/>
        </a:spcAft>
        <a:buFont typeface="Arial" pitchFamily="34" charset="0"/>
        <a:buNone/>
        <a:defRPr sz="2133" kern="1200">
          <a:solidFill>
            <a:schemeClr val="tx1"/>
          </a:solidFill>
          <a:latin typeface="+mn-lt"/>
          <a:ea typeface="+mn-ea"/>
          <a:cs typeface="+mn-cs"/>
        </a:defRPr>
      </a:lvl1pPr>
      <a:lvl2pPr marL="357708" indent="-237061" algn="l" defTabSz="1219170" rtl="0" eaLnBrk="1" latinLnBrk="0" hangingPunct="1">
        <a:lnSpc>
          <a:spcPct val="114000"/>
        </a:lnSpc>
        <a:spcBef>
          <a:spcPts val="267"/>
        </a:spcBef>
        <a:spcAft>
          <a:spcPts val="533"/>
        </a:spcAft>
        <a:buFont typeface="Arial" pitchFamily="34" charset="0"/>
        <a:buChar char="•"/>
        <a:defRPr sz="2133" kern="1200">
          <a:solidFill>
            <a:schemeClr val="tx1"/>
          </a:solidFill>
          <a:latin typeface="+mn-lt"/>
          <a:ea typeface="+mn-ea"/>
          <a:cs typeface="+mn-cs"/>
        </a:defRPr>
      </a:lvl2pPr>
      <a:lvl3pPr marL="713300" indent="-251878" algn="l" defTabSz="1219170" rtl="0" eaLnBrk="1" latinLnBrk="0" hangingPunct="1">
        <a:lnSpc>
          <a:spcPct val="114000"/>
        </a:lnSpc>
        <a:spcBef>
          <a:spcPts val="133"/>
        </a:spcBef>
        <a:spcAft>
          <a:spcPts val="267"/>
        </a:spcAft>
        <a:buFont typeface="Arial" pitchFamily="34" charset="0"/>
        <a:buChar char="›"/>
        <a:defRPr sz="2133" kern="1200">
          <a:solidFill>
            <a:schemeClr val="tx1"/>
          </a:solidFill>
          <a:latin typeface="+mn-lt"/>
          <a:ea typeface="+mn-ea"/>
          <a:cs typeface="+mn-cs"/>
        </a:defRPr>
      </a:lvl3pPr>
      <a:lvl4pPr marL="1447764" indent="-304792" algn="l" defTabSz="1219170" rtl="0" eaLnBrk="1" latinLnBrk="0" hangingPunct="1">
        <a:lnSpc>
          <a:spcPct val="114000"/>
        </a:lnSpc>
        <a:spcBef>
          <a:spcPts val="133"/>
        </a:spcBef>
        <a:spcAft>
          <a:spcPts val="533"/>
        </a:spcAft>
        <a:buFont typeface="Arial" pitchFamily="34" charset="0"/>
        <a:buChar char="»"/>
        <a:defRPr sz="2133" kern="1200">
          <a:solidFill>
            <a:schemeClr val="tx1"/>
          </a:solidFill>
          <a:latin typeface="+mn-lt"/>
          <a:ea typeface="+mn-ea"/>
          <a:cs typeface="+mn-cs"/>
        </a:defRPr>
      </a:lvl4pPr>
      <a:lvl5pPr marL="1924003" indent="-230712" algn="l" defTabSz="1219170" rtl="0" eaLnBrk="1" latinLnBrk="0" hangingPunct="1">
        <a:lnSpc>
          <a:spcPct val="114000"/>
        </a:lnSpc>
        <a:spcBef>
          <a:spcPts val="133"/>
        </a:spcBef>
        <a:spcAft>
          <a:spcPts val="800"/>
        </a:spcAft>
        <a:buFont typeface="Arial"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325930"/>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60" r:id="rId29"/>
    <p:sldLayoutId id="2147483761" r:id="rId30"/>
    <p:sldLayoutId id="2147483762" r:id="rId31"/>
    <p:sldLayoutId id="2147483763" r:id="rId32"/>
    <p:sldLayoutId id="2147483764" r:id="rId33"/>
    <p:sldLayoutId id="2147483765" r:id="rId34"/>
    <p:sldLayoutId id="2147483766" r:id="rId35"/>
    <p:sldLayoutId id="2147483767" r:id="rId36"/>
    <p:sldLayoutId id="2147483768" r:id="rId37"/>
    <p:sldLayoutId id="2147483769" r:id="rId38"/>
    <p:sldLayoutId id="2147483770" r:id="rId39"/>
    <p:sldLayoutId id="2147483771" r:id="rId40"/>
    <p:sldLayoutId id="2147483772" r:id="rId41"/>
    <p:sldLayoutId id="2147483773" r:id="rId42"/>
    <p:sldLayoutId id="2147483774" r:id="rId43"/>
    <p:sldLayoutId id="2147483775" r:id="rId44"/>
    <p:sldLayoutId id="2147483776" r:id="rId45"/>
    <p:sldLayoutId id="2147483777" r:id="rId46"/>
    <p:sldLayoutId id="2147483778" r:id="rId47"/>
    <p:sldLayoutId id="2147483779" r:id="rId48"/>
    <p:sldLayoutId id="2147483780" r:id="rId49"/>
    <p:sldLayoutId id="2147483781" r:id="rId50"/>
    <p:sldLayoutId id="2147483949" r:id="rId51"/>
  </p:sldLayoutIdLst>
  <p:txStyles>
    <p:titleStyle>
      <a:lvl1pPr algn="l" defTabSz="1219050" rtl="0" eaLnBrk="1" latinLnBrk="0" hangingPunct="1">
        <a:lnSpc>
          <a:spcPct val="120000"/>
        </a:lnSpc>
        <a:spcBef>
          <a:spcPts val="267"/>
        </a:spcBef>
        <a:spcAft>
          <a:spcPts val="267"/>
        </a:spcAft>
        <a:buNone/>
        <a:defRPr sz="2667" kern="1200" baseline="0">
          <a:solidFill>
            <a:schemeClr val="bg1"/>
          </a:solidFill>
          <a:latin typeface="+mj-lt"/>
          <a:ea typeface="+mj-ea"/>
          <a:cs typeface="+mj-cs"/>
        </a:defRPr>
      </a:lvl1pPr>
    </p:titleStyle>
    <p:bodyStyle>
      <a:lvl1pPr marL="0" indent="0" algn="l" defTabSz="1219050" rtl="0" eaLnBrk="1" latinLnBrk="0" hangingPunct="1">
        <a:lnSpc>
          <a:spcPct val="114000"/>
        </a:lnSpc>
        <a:spcBef>
          <a:spcPts val="800"/>
        </a:spcBef>
        <a:spcAft>
          <a:spcPts val="133"/>
        </a:spcAft>
        <a:buFont typeface="Arial" pitchFamily="34" charset="0"/>
        <a:buNone/>
        <a:defRPr sz="2133" kern="1200">
          <a:solidFill>
            <a:schemeClr val="tx1"/>
          </a:solidFill>
          <a:latin typeface="+mn-lt"/>
          <a:ea typeface="+mn-ea"/>
          <a:cs typeface="+mn-cs"/>
        </a:defRPr>
      </a:lvl1pPr>
      <a:lvl2pPr marL="357674" indent="-237037" algn="l" defTabSz="1219050" rtl="0" eaLnBrk="1" latinLnBrk="0" hangingPunct="1">
        <a:lnSpc>
          <a:spcPct val="114000"/>
        </a:lnSpc>
        <a:spcBef>
          <a:spcPts val="267"/>
        </a:spcBef>
        <a:spcAft>
          <a:spcPts val="533"/>
        </a:spcAft>
        <a:buFont typeface="Arial" pitchFamily="34" charset="0"/>
        <a:buChar char="•"/>
        <a:defRPr sz="2133" kern="1200">
          <a:solidFill>
            <a:schemeClr val="tx1"/>
          </a:solidFill>
          <a:latin typeface="+mn-lt"/>
          <a:ea typeface="+mn-ea"/>
          <a:cs typeface="+mn-cs"/>
        </a:defRPr>
      </a:lvl2pPr>
      <a:lvl3pPr marL="713230" indent="-251854" algn="l" defTabSz="1219050" rtl="0" eaLnBrk="1" latinLnBrk="0" hangingPunct="1">
        <a:lnSpc>
          <a:spcPct val="114000"/>
        </a:lnSpc>
        <a:spcBef>
          <a:spcPts val="133"/>
        </a:spcBef>
        <a:spcAft>
          <a:spcPts val="267"/>
        </a:spcAft>
        <a:buFont typeface="Arial" pitchFamily="34" charset="0"/>
        <a:buChar char="›"/>
        <a:defRPr sz="2133" kern="1200">
          <a:solidFill>
            <a:schemeClr val="tx1"/>
          </a:solidFill>
          <a:latin typeface="+mn-lt"/>
          <a:ea typeface="+mn-ea"/>
          <a:cs typeface="+mn-cs"/>
        </a:defRPr>
      </a:lvl3pPr>
      <a:lvl4pPr marL="1447620" indent="-304760" algn="l" defTabSz="1219050" rtl="0" eaLnBrk="1" latinLnBrk="0" hangingPunct="1">
        <a:lnSpc>
          <a:spcPct val="114000"/>
        </a:lnSpc>
        <a:spcBef>
          <a:spcPts val="133"/>
        </a:spcBef>
        <a:spcAft>
          <a:spcPts val="533"/>
        </a:spcAft>
        <a:buFont typeface="Arial" pitchFamily="34" charset="0"/>
        <a:buChar char="»"/>
        <a:defRPr sz="2133" kern="1200">
          <a:solidFill>
            <a:schemeClr val="tx1"/>
          </a:solidFill>
          <a:latin typeface="+mn-lt"/>
          <a:ea typeface="+mn-ea"/>
          <a:cs typeface="+mn-cs"/>
        </a:defRPr>
      </a:lvl4pPr>
      <a:lvl5pPr marL="1923811" indent="-230690" algn="l" defTabSz="1219050" rtl="0" eaLnBrk="1" latinLnBrk="0" hangingPunct="1">
        <a:lnSpc>
          <a:spcPct val="114000"/>
        </a:lnSpc>
        <a:spcBef>
          <a:spcPts val="133"/>
        </a:spcBef>
        <a:spcAft>
          <a:spcPts val="800"/>
        </a:spcAft>
        <a:buFont typeface="Arial" pitchFamily="34" charset="0"/>
        <a:buChar char="-"/>
        <a:defRPr sz="2133" kern="1200">
          <a:solidFill>
            <a:schemeClr val="tx1"/>
          </a:solidFill>
          <a:latin typeface="+mn-lt"/>
          <a:ea typeface="+mn-ea"/>
          <a:cs typeface="+mn-cs"/>
        </a:defRPr>
      </a:lvl5pPr>
      <a:lvl6pPr marL="3352380" indent="-304760" algn="l" defTabSz="121905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06" indent="-304760" algn="l" defTabSz="121905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430" indent="-304760" algn="l" defTabSz="121905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953" indent="-304760" algn="l" defTabSz="121905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50" rtl="0" eaLnBrk="1" latinLnBrk="0" hangingPunct="1">
        <a:defRPr sz="2400" kern="1200">
          <a:solidFill>
            <a:schemeClr val="tx1"/>
          </a:solidFill>
          <a:latin typeface="+mn-lt"/>
          <a:ea typeface="+mn-ea"/>
          <a:cs typeface="+mn-cs"/>
        </a:defRPr>
      </a:lvl1pPr>
      <a:lvl2pPr marL="609523" algn="l" defTabSz="1219050" rtl="0" eaLnBrk="1" latinLnBrk="0" hangingPunct="1">
        <a:defRPr sz="2400" kern="1200">
          <a:solidFill>
            <a:schemeClr val="tx1"/>
          </a:solidFill>
          <a:latin typeface="+mn-lt"/>
          <a:ea typeface="+mn-ea"/>
          <a:cs typeface="+mn-cs"/>
        </a:defRPr>
      </a:lvl2pPr>
      <a:lvl3pPr marL="1219050" algn="l" defTabSz="1219050" rtl="0" eaLnBrk="1" latinLnBrk="0" hangingPunct="1">
        <a:defRPr sz="2400" kern="1200">
          <a:solidFill>
            <a:schemeClr val="tx1"/>
          </a:solidFill>
          <a:latin typeface="+mn-lt"/>
          <a:ea typeface="+mn-ea"/>
          <a:cs typeface="+mn-cs"/>
        </a:defRPr>
      </a:lvl3pPr>
      <a:lvl4pPr marL="1828573" algn="l" defTabSz="1219050" rtl="0" eaLnBrk="1" latinLnBrk="0" hangingPunct="1">
        <a:defRPr sz="2400" kern="1200">
          <a:solidFill>
            <a:schemeClr val="tx1"/>
          </a:solidFill>
          <a:latin typeface="+mn-lt"/>
          <a:ea typeface="+mn-ea"/>
          <a:cs typeface="+mn-cs"/>
        </a:defRPr>
      </a:lvl4pPr>
      <a:lvl5pPr marL="2438098" algn="l" defTabSz="1219050" rtl="0" eaLnBrk="1" latinLnBrk="0" hangingPunct="1">
        <a:defRPr sz="2400" kern="1200">
          <a:solidFill>
            <a:schemeClr val="tx1"/>
          </a:solidFill>
          <a:latin typeface="+mn-lt"/>
          <a:ea typeface="+mn-ea"/>
          <a:cs typeface="+mn-cs"/>
        </a:defRPr>
      </a:lvl5pPr>
      <a:lvl6pPr marL="3047620" algn="l" defTabSz="1219050" rtl="0" eaLnBrk="1" latinLnBrk="0" hangingPunct="1">
        <a:defRPr sz="2400" kern="1200">
          <a:solidFill>
            <a:schemeClr val="tx1"/>
          </a:solidFill>
          <a:latin typeface="+mn-lt"/>
          <a:ea typeface="+mn-ea"/>
          <a:cs typeface="+mn-cs"/>
        </a:defRPr>
      </a:lvl6pPr>
      <a:lvl7pPr marL="3657143" algn="l" defTabSz="1219050" rtl="0" eaLnBrk="1" latinLnBrk="0" hangingPunct="1">
        <a:defRPr sz="2400" kern="1200">
          <a:solidFill>
            <a:schemeClr val="tx1"/>
          </a:solidFill>
          <a:latin typeface="+mn-lt"/>
          <a:ea typeface="+mn-ea"/>
          <a:cs typeface="+mn-cs"/>
        </a:defRPr>
      </a:lvl7pPr>
      <a:lvl8pPr marL="4266667" algn="l" defTabSz="1219050" rtl="0" eaLnBrk="1" latinLnBrk="0" hangingPunct="1">
        <a:defRPr sz="2400" kern="1200">
          <a:solidFill>
            <a:schemeClr val="tx1"/>
          </a:solidFill>
          <a:latin typeface="+mn-lt"/>
          <a:ea typeface="+mn-ea"/>
          <a:cs typeface="+mn-cs"/>
        </a:defRPr>
      </a:lvl8pPr>
      <a:lvl9pPr marL="4876191" algn="l" defTabSz="121905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009949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 id="2147483812" r:id="rId30"/>
    <p:sldLayoutId id="2147483813" r:id="rId31"/>
    <p:sldLayoutId id="2147483814" r:id="rId32"/>
    <p:sldLayoutId id="2147483815" r:id="rId33"/>
    <p:sldLayoutId id="2147483816" r:id="rId34"/>
    <p:sldLayoutId id="2147483817" r:id="rId35"/>
    <p:sldLayoutId id="2147483818" r:id="rId36"/>
    <p:sldLayoutId id="2147483819" r:id="rId37"/>
    <p:sldLayoutId id="2147483820" r:id="rId38"/>
    <p:sldLayoutId id="2147483821" r:id="rId39"/>
    <p:sldLayoutId id="2147483822" r:id="rId40"/>
    <p:sldLayoutId id="2147483823" r:id="rId41"/>
    <p:sldLayoutId id="2147483824" r:id="rId42"/>
    <p:sldLayoutId id="2147483825" r:id="rId43"/>
    <p:sldLayoutId id="2147483826" r:id="rId44"/>
    <p:sldLayoutId id="2147483827" r:id="rId45"/>
    <p:sldLayoutId id="2147483828" r:id="rId46"/>
    <p:sldLayoutId id="2147483829" r:id="rId47"/>
    <p:sldLayoutId id="2147483830" r:id="rId48"/>
    <p:sldLayoutId id="2147483831" r:id="rId49"/>
    <p:sldLayoutId id="2147483833" r:id="rId50"/>
  </p:sldLayoutIdLst>
  <p:txStyles>
    <p:titleStyle>
      <a:lvl1pPr algn="l" defTabSz="1219050" rtl="0" eaLnBrk="1" latinLnBrk="0" hangingPunct="1">
        <a:lnSpc>
          <a:spcPct val="120000"/>
        </a:lnSpc>
        <a:spcBef>
          <a:spcPts val="267"/>
        </a:spcBef>
        <a:spcAft>
          <a:spcPts val="267"/>
        </a:spcAft>
        <a:buNone/>
        <a:defRPr sz="2667" kern="1200" baseline="0">
          <a:solidFill>
            <a:schemeClr val="bg1"/>
          </a:solidFill>
          <a:latin typeface="+mj-lt"/>
          <a:ea typeface="+mj-ea"/>
          <a:cs typeface="+mj-cs"/>
        </a:defRPr>
      </a:lvl1pPr>
    </p:titleStyle>
    <p:bodyStyle>
      <a:lvl1pPr marL="0" indent="0" algn="l" defTabSz="1219050" rtl="0" eaLnBrk="1" latinLnBrk="0" hangingPunct="1">
        <a:lnSpc>
          <a:spcPct val="114000"/>
        </a:lnSpc>
        <a:spcBef>
          <a:spcPts val="800"/>
        </a:spcBef>
        <a:spcAft>
          <a:spcPts val="133"/>
        </a:spcAft>
        <a:buFont typeface="Arial" pitchFamily="34" charset="0"/>
        <a:buNone/>
        <a:defRPr sz="2133" kern="1200">
          <a:solidFill>
            <a:schemeClr val="tx1"/>
          </a:solidFill>
          <a:latin typeface="+mn-lt"/>
          <a:ea typeface="+mn-ea"/>
          <a:cs typeface="+mn-cs"/>
        </a:defRPr>
      </a:lvl1pPr>
      <a:lvl2pPr marL="357674" indent="-237037" algn="l" defTabSz="1219050" rtl="0" eaLnBrk="1" latinLnBrk="0" hangingPunct="1">
        <a:lnSpc>
          <a:spcPct val="114000"/>
        </a:lnSpc>
        <a:spcBef>
          <a:spcPts val="267"/>
        </a:spcBef>
        <a:spcAft>
          <a:spcPts val="533"/>
        </a:spcAft>
        <a:buFont typeface="Arial" pitchFamily="34" charset="0"/>
        <a:buChar char="•"/>
        <a:defRPr sz="2133" kern="1200">
          <a:solidFill>
            <a:schemeClr val="tx1"/>
          </a:solidFill>
          <a:latin typeface="+mn-lt"/>
          <a:ea typeface="+mn-ea"/>
          <a:cs typeface="+mn-cs"/>
        </a:defRPr>
      </a:lvl2pPr>
      <a:lvl3pPr marL="713230" indent="-251854" algn="l" defTabSz="1219050" rtl="0" eaLnBrk="1" latinLnBrk="0" hangingPunct="1">
        <a:lnSpc>
          <a:spcPct val="114000"/>
        </a:lnSpc>
        <a:spcBef>
          <a:spcPts val="133"/>
        </a:spcBef>
        <a:spcAft>
          <a:spcPts val="267"/>
        </a:spcAft>
        <a:buFont typeface="Arial" pitchFamily="34" charset="0"/>
        <a:buChar char="›"/>
        <a:defRPr sz="2133" kern="1200">
          <a:solidFill>
            <a:schemeClr val="tx1"/>
          </a:solidFill>
          <a:latin typeface="+mn-lt"/>
          <a:ea typeface="+mn-ea"/>
          <a:cs typeface="+mn-cs"/>
        </a:defRPr>
      </a:lvl3pPr>
      <a:lvl4pPr marL="1447620" indent="-304760" algn="l" defTabSz="1219050" rtl="0" eaLnBrk="1" latinLnBrk="0" hangingPunct="1">
        <a:lnSpc>
          <a:spcPct val="114000"/>
        </a:lnSpc>
        <a:spcBef>
          <a:spcPts val="133"/>
        </a:spcBef>
        <a:spcAft>
          <a:spcPts val="533"/>
        </a:spcAft>
        <a:buFont typeface="Arial" pitchFamily="34" charset="0"/>
        <a:buChar char="»"/>
        <a:defRPr sz="2133" kern="1200">
          <a:solidFill>
            <a:schemeClr val="tx1"/>
          </a:solidFill>
          <a:latin typeface="+mn-lt"/>
          <a:ea typeface="+mn-ea"/>
          <a:cs typeface="+mn-cs"/>
        </a:defRPr>
      </a:lvl4pPr>
      <a:lvl5pPr marL="1923811" indent="-230690" algn="l" defTabSz="1219050" rtl="0" eaLnBrk="1" latinLnBrk="0" hangingPunct="1">
        <a:lnSpc>
          <a:spcPct val="114000"/>
        </a:lnSpc>
        <a:spcBef>
          <a:spcPts val="133"/>
        </a:spcBef>
        <a:spcAft>
          <a:spcPts val="800"/>
        </a:spcAft>
        <a:buFont typeface="Arial" pitchFamily="34" charset="0"/>
        <a:buChar char="-"/>
        <a:defRPr sz="2133" kern="1200">
          <a:solidFill>
            <a:schemeClr val="tx1"/>
          </a:solidFill>
          <a:latin typeface="+mn-lt"/>
          <a:ea typeface="+mn-ea"/>
          <a:cs typeface="+mn-cs"/>
        </a:defRPr>
      </a:lvl5pPr>
      <a:lvl6pPr marL="3352380" indent="-304760" algn="l" defTabSz="121905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06" indent="-304760" algn="l" defTabSz="121905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430" indent="-304760" algn="l" defTabSz="121905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953" indent="-304760" algn="l" defTabSz="121905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50" rtl="0" eaLnBrk="1" latinLnBrk="0" hangingPunct="1">
        <a:defRPr sz="2400" kern="1200">
          <a:solidFill>
            <a:schemeClr val="tx1"/>
          </a:solidFill>
          <a:latin typeface="+mn-lt"/>
          <a:ea typeface="+mn-ea"/>
          <a:cs typeface="+mn-cs"/>
        </a:defRPr>
      </a:lvl1pPr>
      <a:lvl2pPr marL="609523" algn="l" defTabSz="1219050" rtl="0" eaLnBrk="1" latinLnBrk="0" hangingPunct="1">
        <a:defRPr sz="2400" kern="1200">
          <a:solidFill>
            <a:schemeClr val="tx1"/>
          </a:solidFill>
          <a:latin typeface="+mn-lt"/>
          <a:ea typeface="+mn-ea"/>
          <a:cs typeface="+mn-cs"/>
        </a:defRPr>
      </a:lvl2pPr>
      <a:lvl3pPr marL="1219050" algn="l" defTabSz="1219050" rtl="0" eaLnBrk="1" latinLnBrk="0" hangingPunct="1">
        <a:defRPr sz="2400" kern="1200">
          <a:solidFill>
            <a:schemeClr val="tx1"/>
          </a:solidFill>
          <a:latin typeface="+mn-lt"/>
          <a:ea typeface="+mn-ea"/>
          <a:cs typeface="+mn-cs"/>
        </a:defRPr>
      </a:lvl3pPr>
      <a:lvl4pPr marL="1828573" algn="l" defTabSz="1219050" rtl="0" eaLnBrk="1" latinLnBrk="0" hangingPunct="1">
        <a:defRPr sz="2400" kern="1200">
          <a:solidFill>
            <a:schemeClr val="tx1"/>
          </a:solidFill>
          <a:latin typeface="+mn-lt"/>
          <a:ea typeface="+mn-ea"/>
          <a:cs typeface="+mn-cs"/>
        </a:defRPr>
      </a:lvl4pPr>
      <a:lvl5pPr marL="2438098" algn="l" defTabSz="1219050" rtl="0" eaLnBrk="1" latinLnBrk="0" hangingPunct="1">
        <a:defRPr sz="2400" kern="1200">
          <a:solidFill>
            <a:schemeClr val="tx1"/>
          </a:solidFill>
          <a:latin typeface="+mn-lt"/>
          <a:ea typeface="+mn-ea"/>
          <a:cs typeface="+mn-cs"/>
        </a:defRPr>
      </a:lvl5pPr>
      <a:lvl6pPr marL="3047620" algn="l" defTabSz="1219050" rtl="0" eaLnBrk="1" latinLnBrk="0" hangingPunct="1">
        <a:defRPr sz="2400" kern="1200">
          <a:solidFill>
            <a:schemeClr val="tx1"/>
          </a:solidFill>
          <a:latin typeface="+mn-lt"/>
          <a:ea typeface="+mn-ea"/>
          <a:cs typeface="+mn-cs"/>
        </a:defRPr>
      </a:lvl6pPr>
      <a:lvl7pPr marL="3657143" algn="l" defTabSz="1219050" rtl="0" eaLnBrk="1" latinLnBrk="0" hangingPunct="1">
        <a:defRPr sz="2400" kern="1200">
          <a:solidFill>
            <a:schemeClr val="tx1"/>
          </a:solidFill>
          <a:latin typeface="+mn-lt"/>
          <a:ea typeface="+mn-ea"/>
          <a:cs typeface="+mn-cs"/>
        </a:defRPr>
      </a:lvl7pPr>
      <a:lvl8pPr marL="4266667" algn="l" defTabSz="1219050" rtl="0" eaLnBrk="1" latinLnBrk="0" hangingPunct="1">
        <a:defRPr sz="2400" kern="1200">
          <a:solidFill>
            <a:schemeClr val="tx1"/>
          </a:solidFill>
          <a:latin typeface="+mn-lt"/>
          <a:ea typeface="+mn-ea"/>
          <a:cs typeface="+mn-cs"/>
        </a:defRPr>
      </a:lvl8pPr>
      <a:lvl9pPr marL="4876191" algn="l" defTabSz="121905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27E954-5A9E-8CEE-47E6-73D267B62BF9}"/>
              </a:ext>
            </a:extLst>
          </p:cNvPr>
          <p:cNvGraphicFramePr>
            <a:graphicFrameLocks noChangeAspect="1"/>
          </p:cNvGraphicFramePr>
          <p:nvPr userDrawn="1">
            <p:custDataLst>
              <p:tags r:id="rId41"/>
            </p:custDataLst>
            <p:extLst>
              <p:ext uri="{D42A27DB-BD31-4B8C-83A1-F6EECF244321}">
                <p14:modId xmlns:p14="http://schemas.microsoft.com/office/powerpoint/2010/main" val="1702546109"/>
              </p:ext>
            </p:ext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42" imgW="7772400" imgH="10058400" progId="TCLayout.ActiveDocument.1">
                  <p:embed/>
                </p:oleObj>
              </mc:Choice>
              <mc:Fallback>
                <p:oleObj name="think-cell Slide" r:id="rId42" imgW="7772400" imgH="10058400" progId="TCLayout.ActiveDocument.1">
                  <p:embed/>
                  <p:pic>
                    <p:nvPicPr>
                      <p:cNvPr id="2" name="Object 1" hidden="1">
                        <a:extLst>
                          <a:ext uri="{FF2B5EF4-FFF2-40B4-BE49-F238E27FC236}">
                            <a16:creationId xmlns:a16="http://schemas.microsoft.com/office/drawing/2014/main" id="{7227E954-5A9E-8CEE-47E6-73D267B62BF9}"/>
                          </a:ext>
                        </a:extLst>
                      </p:cNvPr>
                      <p:cNvPicPr/>
                      <p:nvPr/>
                    </p:nvPicPr>
                    <p:blipFill>
                      <a:blip r:embed="rId43"/>
                      <a:stretch>
                        <a:fillRect/>
                      </a:stretch>
                    </p:blipFill>
                    <p:spPr>
                      <a:xfrm>
                        <a:off x="2118" y="2118"/>
                        <a:ext cx="1636" cy="2117"/>
                      </a:xfrm>
                      <a:prstGeom prst="rect">
                        <a:avLst/>
                      </a:prstGeom>
                    </p:spPr>
                  </p:pic>
                </p:oleObj>
              </mc:Fallback>
            </mc:AlternateContent>
          </a:graphicData>
        </a:graphic>
      </p:graphicFrame>
    </p:spTree>
    <p:extLst>
      <p:ext uri="{BB962C8B-B14F-4D97-AF65-F5344CB8AC3E}">
        <p14:creationId xmlns:p14="http://schemas.microsoft.com/office/powerpoint/2010/main" val="1602799096"/>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 id="2147483859" r:id="rId25"/>
    <p:sldLayoutId id="2147483860" r:id="rId26"/>
    <p:sldLayoutId id="2147483861" r:id="rId27"/>
    <p:sldLayoutId id="2147483862" r:id="rId28"/>
    <p:sldLayoutId id="2147483863" r:id="rId29"/>
    <p:sldLayoutId id="2147483864" r:id="rId30"/>
    <p:sldLayoutId id="2147483865" r:id="rId31"/>
    <p:sldLayoutId id="2147483866" r:id="rId32"/>
    <p:sldLayoutId id="2147483867" r:id="rId33"/>
    <p:sldLayoutId id="2147483868" r:id="rId34"/>
    <p:sldLayoutId id="2147483869" r:id="rId35"/>
    <p:sldLayoutId id="2147483870" r:id="rId36"/>
    <p:sldLayoutId id="2147483871" r:id="rId37"/>
    <p:sldLayoutId id="2147483872" r:id="rId38"/>
    <p:sldLayoutId id="2147483873" r:id="rId39"/>
  </p:sldLayoutIdLst>
  <p:hf hdr="0" ftr="0" dt="0"/>
  <p:txStyles>
    <p:titleStyle>
      <a:lvl1pPr algn="l" defTabSz="1219170" rtl="0" eaLnBrk="1" latinLnBrk="0" hangingPunct="1">
        <a:lnSpc>
          <a:spcPct val="120000"/>
        </a:lnSpc>
        <a:spcBef>
          <a:spcPts val="267"/>
        </a:spcBef>
        <a:spcAft>
          <a:spcPts val="267"/>
        </a:spcAft>
        <a:buNone/>
        <a:defRPr sz="2667" kern="1200" baseline="0">
          <a:solidFill>
            <a:schemeClr val="bg1"/>
          </a:solidFill>
          <a:latin typeface="+mj-lt"/>
          <a:ea typeface="+mj-ea"/>
          <a:cs typeface="+mj-cs"/>
        </a:defRPr>
      </a:lvl1pPr>
    </p:titleStyle>
    <p:bodyStyle>
      <a:lvl1pPr marL="0" indent="0" algn="l" defTabSz="1219170" rtl="0" eaLnBrk="1" latinLnBrk="0" hangingPunct="1">
        <a:lnSpc>
          <a:spcPct val="114000"/>
        </a:lnSpc>
        <a:spcBef>
          <a:spcPts val="800"/>
        </a:spcBef>
        <a:spcAft>
          <a:spcPts val="133"/>
        </a:spcAft>
        <a:buFont typeface="Arial" pitchFamily="34" charset="0"/>
        <a:buNone/>
        <a:defRPr sz="2133" kern="1200">
          <a:solidFill>
            <a:schemeClr val="tx1"/>
          </a:solidFill>
          <a:latin typeface="+mn-lt"/>
          <a:ea typeface="+mn-ea"/>
          <a:cs typeface="+mn-cs"/>
        </a:defRPr>
      </a:lvl1pPr>
      <a:lvl2pPr marL="357708" indent="-237061" algn="l" defTabSz="1219170" rtl="0" eaLnBrk="1" latinLnBrk="0" hangingPunct="1">
        <a:lnSpc>
          <a:spcPct val="114000"/>
        </a:lnSpc>
        <a:spcBef>
          <a:spcPts val="267"/>
        </a:spcBef>
        <a:spcAft>
          <a:spcPts val="533"/>
        </a:spcAft>
        <a:buFont typeface="Arial" pitchFamily="34" charset="0"/>
        <a:buChar char="•"/>
        <a:defRPr sz="2133" kern="1200">
          <a:solidFill>
            <a:schemeClr val="tx1"/>
          </a:solidFill>
          <a:latin typeface="+mn-lt"/>
          <a:ea typeface="+mn-ea"/>
          <a:cs typeface="+mn-cs"/>
        </a:defRPr>
      </a:lvl2pPr>
      <a:lvl3pPr marL="713300" indent="-251878" algn="l" defTabSz="1219170" rtl="0" eaLnBrk="1" latinLnBrk="0" hangingPunct="1">
        <a:lnSpc>
          <a:spcPct val="114000"/>
        </a:lnSpc>
        <a:spcBef>
          <a:spcPts val="133"/>
        </a:spcBef>
        <a:spcAft>
          <a:spcPts val="267"/>
        </a:spcAft>
        <a:buFont typeface="Arial" pitchFamily="34" charset="0"/>
        <a:buChar char="›"/>
        <a:defRPr sz="2133" kern="1200">
          <a:solidFill>
            <a:schemeClr val="tx1"/>
          </a:solidFill>
          <a:latin typeface="+mn-lt"/>
          <a:ea typeface="+mn-ea"/>
          <a:cs typeface="+mn-cs"/>
        </a:defRPr>
      </a:lvl3pPr>
      <a:lvl4pPr marL="1447764" indent="-304792" algn="l" defTabSz="1219170" rtl="0" eaLnBrk="1" latinLnBrk="0" hangingPunct="1">
        <a:lnSpc>
          <a:spcPct val="114000"/>
        </a:lnSpc>
        <a:spcBef>
          <a:spcPts val="133"/>
        </a:spcBef>
        <a:spcAft>
          <a:spcPts val="533"/>
        </a:spcAft>
        <a:buFont typeface="Arial" pitchFamily="34" charset="0"/>
        <a:buChar char="»"/>
        <a:defRPr sz="2133" kern="1200">
          <a:solidFill>
            <a:schemeClr val="tx1"/>
          </a:solidFill>
          <a:latin typeface="+mn-lt"/>
          <a:ea typeface="+mn-ea"/>
          <a:cs typeface="+mn-cs"/>
        </a:defRPr>
      </a:lvl4pPr>
      <a:lvl5pPr marL="1924003" indent="-230712" algn="l" defTabSz="1219170" rtl="0" eaLnBrk="1" latinLnBrk="0" hangingPunct="1">
        <a:lnSpc>
          <a:spcPct val="114000"/>
        </a:lnSpc>
        <a:spcBef>
          <a:spcPts val="133"/>
        </a:spcBef>
        <a:spcAft>
          <a:spcPts val="800"/>
        </a:spcAft>
        <a:buFont typeface="Arial"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5" cstate="hqprint">
            <a:extLst>
              <a:ext uri="{28A0092B-C50C-407E-A947-70E740481C1C}">
                <a14:useLocalDpi xmlns:a14="http://schemas.microsoft.com/office/drawing/2010/main"/>
              </a:ext>
            </a:extLst>
          </a:blip>
          <a:srcRect l="762"/>
          <a:stretch/>
        </p:blipFill>
        <p:spPr>
          <a:xfrm rot="5400000">
            <a:off x="9509761" y="2843775"/>
            <a:ext cx="6858000" cy="1170455"/>
          </a:xfrm>
          <a:prstGeom prst="rect">
            <a:avLst/>
          </a:prstGeom>
        </p:spPr>
      </p:pic>
      <p:sp>
        <p:nvSpPr>
          <p:cNvPr id="50" name="Rectangle 49">
            <a:extLst>
              <a:ext uri="{FF2B5EF4-FFF2-40B4-BE49-F238E27FC236}">
                <a16:creationId xmlns:a16="http://schemas.microsoft.com/office/drawing/2014/main" id="{E1EFDF79-1A24-4591-A4FD-E9F0BE6CC5B9}"/>
              </a:ext>
            </a:extLst>
          </p:cNvPr>
          <p:cNvSpPr/>
          <p:nvPr userDrawn="1"/>
        </p:nvSpPr>
        <p:spPr>
          <a:xfrm>
            <a:off x="587934" y="6598454"/>
            <a:ext cx="1232709" cy="135743"/>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spTree>
    <p:extLst>
      <p:ext uri="{BB962C8B-B14F-4D97-AF65-F5344CB8AC3E}">
        <p14:creationId xmlns:p14="http://schemas.microsoft.com/office/powerpoint/2010/main" val="3807026073"/>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899" r:id="rId24"/>
    <p:sldLayoutId id="2147483900" r:id="rId25"/>
    <p:sldLayoutId id="2147483901" r:id="rId26"/>
    <p:sldLayoutId id="2147483902" r:id="rId27"/>
    <p:sldLayoutId id="2147483903" r:id="rId28"/>
    <p:sldLayoutId id="2147483904" r:id="rId29"/>
    <p:sldLayoutId id="2147483905" r:id="rId30"/>
    <p:sldLayoutId id="2147483906" r:id="rId31"/>
    <p:sldLayoutId id="2147483907" r:id="rId32"/>
    <p:sldLayoutId id="2147483908" r:id="rId33"/>
    <p:sldLayoutId id="2147483909" r:id="rId34"/>
    <p:sldLayoutId id="2147483910" r:id="rId35"/>
    <p:sldLayoutId id="2147483911" r:id="rId36"/>
    <p:sldLayoutId id="2147483912" r:id="rId37"/>
    <p:sldLayoutId id="2147483913" r:id="rId38"/>
    <p:sldLayoutId id="2147483914" r:id="rId39"/>
    <p:sldLayoutId id="2147483915" r:id="rId40"/>
    <p:sldLayoutId id="2147483916" r:id="rId41"/>
    <p:sldLayoutId id="2147483917" r:id="rId42"/>
    <p:sldLayoutId id="2147483918" r:id="rId43"/>
    <p:sldLayoutId id="2147483919" r:id="rId44"/>
    <p:sldLayoutId id="2147483920" r:id="rId45"/>
    <p:sldLayoutId id="2147483921" r:id="rId46"/>
    <p:sldLayoutId id="2147483922" r:id="rId47"/>
    <p:sldLayoutId id="2147483923" r:id="rId48"/>
    <p:sldLayoutId id="2147483924" r:id="rId49"/>
    <p:sldLayoutId id="2147483925" r:id="rId50"/>
    <p:sldLayoutId id="2147483926" r:id="rId51"/>
    <p:sldLayoutId id="2147483927" r:id="rId52"/>
    <p:sldLayoutId id="2147483928" r:id="rId53"/>
    <p:sldLayoutId id="2147483929" r:id="rId54"/>
    <p:sldLayoutId id="2147483930" r:id="rId55"/>
    <p:sldLayoutId id="2147483931" r:id="rId56"/>
    <p:sldLayoutId id="2147483932" r:id="rId57"/>
    <p:sldLayoutId id="2147483933" r:id="rId58"/>
    <p:sldLayoutId id="2147483934" r:id="rId59"/>
    <p:sldLayoutId id="2147483935" r:id="rId60"/>
    <p:sldLayoutId id="2147483936" r:id="rId61"/>
    <p:sldLayoutId id="2147483937" r:id="rId62"/>
    <p:sldLayoutId id="2147483938" r:id="rId63"/>
    <p:sldLayoutId id="2147483939" r:id="rId64"/>
    <p:sldLayoutId id="2147483940" r:id="rId65"/>
    <p:sldLayoutId id="2147483941" r:id="rId66"/>
    <p:sldLayoutId id="2147483942" r:id="rId67"/>
    <p:sldLayoutId id="2147483943" r:id="rId68"/>
    <p:sldLayoutId id="2147483944" r:id="rId69"/>
    <p:sldLayoutId id="2147483945" r:id="rId70"/>
    <p:sldLayoutId id="2147483946" r:id="rId71"/>
    <p:sldLayoutId id="2147483947" r:id="rId72"/>
    <p:sldLayoutId id="2147483948" r:id="rId73"/>
  </p:sldLayoutIdLst>
  <p:transition>
    <p:fade/>
  </p:transition>
  <p:hf hdr="0" ftr="0" dt="0"/>
  <p:txStyles>
    <p:titleStyle>
      <a:lvl1pPr algn="l" defTabSz="93253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50" marR="0" indent="-228550" algn="l" defTabSz="932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01" marR="0" indent="-228550" algn="l" defTabSz="932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82" marR="0" indent="-199982" algn="l" defTabSz="932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80" marR="0" indent="-180935" algn="l" defTabSz="932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16" marR="0" indent="-168238" algn="l" defTabSz="932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483"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5"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3"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6"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39" rtl="0" eaLnBrk="1" latinLnBrk="0" hangingPunct="1">
        <a:defRPr sz="1800" kern="1200">
          <a:solidFill>
            <a:schemeClr val="tx1"/>
          </a:solidFill>
          <a:latin typeface="+mn-lt"/>
          <a:ea typeface="+mn-ea"/>
          <a:cs typeface="+mn-cs"/>
        </a:defRPr>
      </a:lvl1pPr>
      <a:lvl2pPr marL="466271" algn="l" defTabSz="932539" rtl="0" eaLnBrk="1" latinLnBrk="0" hangingPunct="1">
        <a:defRPr sz="1800" kern="1200">
          <a:solidFill>
            <a:schemeClr val="tx1"/>
          </a:solidFill>
          <a:latin typeface="+mn-lt"/>
          <a:ea typeface="+mn-ea"/>
          <a:cs typeface="+mn-cs"/>
        </a:defRPr>
      </a:lvl2pPr>
      <a:lvl3pPr marL="932539" algn="l" defTabSz="932539" rtl="0" eaLnBrk="1" latinLnBrk="0" hangingPunct="1">
        <a:defRPr sz="1800" kern="1200">
          <a:solidFill>
            <a:schemeClr val="tx1"/>
          </a:solidFill>
          <a:latin typeface="+mn-lt"/>
          <a:ea typeface="+mn-ea"/>
          <a:cs typeface="+mn-cs"/>
        </a:defRPr>
      </a:lvl3pPr>
      <a:lvl4pPr marL="1398809" algn="l" defTabSz="932539" rtl="0" eaLnBrk="1" latinLnBrk="0" hangingPunct="1">
        <a:defRPr sz="1800" kern="1200">
          <a:solidFill>
            <a:schemeClr val="tx1"/>
          </a:solidFill>
          <a:latin typeface="+mn-lt"/>
          <a:ea typeface="+mn-ea"/>
          <a:cs typeface="+mn-cs"/>
        </a:defRPr>
      </a:lvl4pPr>
      <a:lvl5pPr marL="1865080" algn="l" defTabSz="932539" rtl="0" eaLnBrk="1" latinLnBrk="0" hangingPunct="1">
        <a:defRPr sz="1800" kern="1200">
          <a:solidFill>
            <a:schemeClr val="tx1"/>
          </a:solidFill>
          <a:latin typeface="+mn-lt"/>
          <a:ea typeface="+mn-ea"/>
          <a:cs typeface="+mn-cs"/>
        </a:defRPr>
      </a:lvl5pPr>
      <a:lvl6pPr marL="2331350" algn="l" defTabSz="932539" rtl="0" eaLnBrk="1" latinLnBrk="0" hangingPunct="1">
        <a:defRPr sz="1800" kern="1200">
          <a:solidFill>
            <a:schemeClr val="tx1"/>
          </a:solidFill>
          <a:latin typeface="+mn-lt"/>
          <a:ea typeface="+mn-ea"/>
          <a:cs typeface="+mn-cs"/>
        </a:defRPr>
      </a:lvl6pPr>
      <a:lvl7pPr marL="2797619" algn="l" defTabSz="932539" rtl="0" eaLnBrk="1" latinLnBrk="0" hangingPunct="1">
        <a:defRPr sz="1800" kern="1200">
          <a:solidFill>
            <a:schemeClr val="tx1"/>
          </a:solidFill>
          <a:latin typeface="+mn-lt"/>
          <a:ea typeface="+mn-ea"/>
          <a:cs typeface="+mn-cs"/>
        </a:defRPr>
      </a:lvl7pPr>
      <a:lvl8pPr marL="3263889" algn="l" defTabSz="932539" rtl="0" eaLnBrk="1" latinLnBrk="0" hangingPunct="1">
        <a:defRPr sz="1800" kern="1200">
          <a:solidFill>
            <a:schemeClr val="tx1"/>
          </a:solidFill>
          <a:latin typeface="+mn-lt"/>
          <a:ea typeface="+mn-ea"/>
          <a:cs typeface="+mn-cs"/>
        </a:defRPr>
      </a:lvl8pPr>
      <a:lvl9pPr marL="3730159" algn="l" defTabSz="9325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76">
          <p15:clr>
            <a:srgbClr val="C35EA4"/>
          </p15:clr>
        </p15:guide>
        <p15:guide id="17" pos="5485">
          <p15:clr>
            <a:srgbClr val="C35EA4"/>
          </p15:clr>
        </p15:guide>
        <p15:guide id="25" orient="horz" pos="277">
          <p15:clr>
            <a:srgbClr val="C35EA4"/>
          </p15:clr>
        </p15:guide>
        <p15:guide id="26" orient="horz" pos="2962">
          <p15:clr>
            <a:srgbClr val="C35EA4"/>
          </p15:clr>
        </p15:guide>
        <p15:guide id="27" orient="horz" pos="138">
          <p15:clr>
            <a:srgbClr val="A4A3A4"/>
          </p15:clr>
        </p15:guide>
        <p15:guide id="28" pos="139">
          <p15:clr>
            <a:srgbClr val="A4A3A4"/>
          </p15:clr>
        </p15:guide>
        <p15:guide id="29" orient="horz" pos="3101">
          <p15:clr>
            <a:srgbClr val="A4A3A4"/>
          </p15:clr>
        </p15:guide>
        <p15:guide id="30" pos="562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E246E4-A587-355E-2B0E-D1D688D71C1F}"/>
              </a:ext>
            </a:extLst>
          </p:cNvPr>
          <p:cNvGraphicFramePr>
            <a:graphicFrameLocks noChangeAspect="1"/>
          </p:cNvGraphicFramePr>
          <p:nvPr userDrawn="1">
            <p:custDataLst>
              <p:tags r:id="rId42"/>
            </p:custDataLst>
            <p:extLst>
              <p:ext uri="{D42A27DB-BD31-4B8C-83A1-F6EECF244321}">
                <p14:modId xmlns:p14="http://schemas.microsoft.com/office/powerpoint/2010/main" val="40403481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3" imgW="415" imgH="416" progId="TCLayout.ActiveDocument.1">
                  <p:embed/>
                </p:oleObj>
              </mc:Choice>
              <mc:Fallback>
                <p:oleObj name="think-cell Slide" r:id="rId43" imgW="415" imgH="416" progId="TCLayout.ActiveDocument.1">
                  <p:embed/>
                  <p:pic>
                    <p:nvPicPr>
                      <p:cNvPr id="2" name="Object 1" hidden="1">
                        <a:extLst>
                          <a:ext uri="{FF2B5EF4-FFF2-40B4-BE49-F238E27FC236}">
                            <a16:creationId xmlns:a16="http://schemas.microsoft.com/office/drawing/2014/main" id="{9FE246E4-A587-355E-2B0E-D1D688D71C1F}"/>
                          </a:ext>
                        </a:extLst>
                      </p:cNvPr>
                      <p:cNvPicPr/>
                      <p:nvPr/>
                    </p:nvPicPr>
                    <p:blipFill>
                      <a:blip r:embed="rId44"/>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3869603964"/>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 id="2147483976" r:id="rId26"/>
    <p:sldLayoutId id="2147483977" r:id="rId27"/>
    <p:sldLayoutId id="2147483978" r:id="rId28"/>
    <p:sldLayoutId id="2147483979" r:id="rId29"/>
    <p:sldLayoutId id="2147483980" r:id="rId30"/>
    <p:sldLayoutId id="2147483981" r:id="rId31"/>
    <p:sldLayoutId id="2147483982" r:id="rId32"/>
    <p:sldLayoutId id="2147483983" r:id="rId33"/>
    <p:sldLayoutId id="2147483984" r:id="rId34"/>
    <p:sldLayoutId id="2147483985" r:id="rId35"/>
    <p:sldLayoutId id="2147483986" r:id="rId36"/>
    <p:sldLayoutId id="2147483987" r:id="rId37"/>
    <p:sldLayoutId id="2147483988" r:id="rId38"/>
    <p:sldLayoutId id="2147483989" r:id="rId39"/>
    <p:sldLayoutId id="2147483990" r:id="rId40"/>
  </p:sldLayoutIdLst>
  <p:txStyles>
    <p:titleStyle>
      <a:lvl1pPr algn="l" defTabSz="1219170" rtl="0" eaLnBrk="1" latinLnBrk="0" hangingPunct="1">
        <a:lnSpc>
          <a:spcPct val="120000"/>
        </a:lnSpc>
        <a:spcBef>
          <a:spcPts val="267"/>
        </a:spcBef>
        <a:spcAft>
          <a:spcPts val="267"/>
        </a:spcAft>
        <a:buNone/>
        <a:defRPr sz="2667" kern="1200" baseline="0">
          <a:solidFill>
            <a:schemeClr val="bg1"/>
          </a:solidFill>
          <a:latin typeface="+mj-lt"/>
          <a:ea typeface="+mj-ea"/>
          <a:cs typeface="+mj-cs"/>
        </a:defRPr>
      </a:lvl1pPr>
    </p:titleStyle>
    <p:bodyStyle>
      <a:lvl1pPr marL="0" indent="0" algn="l" defTabSz="1219170" rtl="0" eaLnBrk="1" latinLnBrk="0" hangingPunct="1">
        <a:lnSpc>
          <a:spcPct val="114000"/>
        </a:lnSpc>
        <a:spcBef>
          <a:spcPts val="800"/>
        </a:spcBef>
        <a:spcAft>
          <a:spcPts val="133"/>
        </a:spcAft>
        <a:buFont typeface="Arial" pitchFamily="34" charset="0"/>
        <a:buNone/>
        <a:defRPr sz="2133" kern="1200">
          <a:solidFill>
            <a:schemeClr val="tx1"/>
          </a:solidFill>
          <a:latin typeface="+mn-lt"/>
          <a:ea typeface="+mn-ea"/>
          <a:cs typeface="+mn-cs"/>
        </a:defRPr>
      </a:lvl1pPr>
      <a:lvl2pPr marL="357708" indent="-237061" algn="l" defTabSz="1219170" rtl="0" eaLnBrk="1" latinLnBrk="0" hangingPunct="1">
        <a:lnSpc>
          <a:spcPct val="114000"/>
        </a:lnSpc>
        <a:spcBef>
          <a:spcPts val="267"/>
        </a:spcBef>
        <a:spcAft>
          <a:spcPts val="533"/>
        </a:spcAft>
        <a:buFont typeface="Arial" pitchFamily="34" charset="0"/>
        <a:buChar char="•"/>
        <a:defRPr sz="2133" kern="1200">
          <a:solidFill>
            <a:schemeClr val="tx1"/>
          </a:solidFill>
          <a:latin typeface="+mn-lt"/>
          <a:ea typeface="+mn-ea"/>
          <a:cs typeface="+mn-cs"/>
        </a:defRPr>
      </a:lvl2pPr>
      <a:lvl3pPr marL="713300" indent="-251878" algn="l" defTabSz="1219170" rtl="0" eaLnBrk="1" latinLnBrk="0" hangingPunct="1">
        <a:lnSpc>
          <a:spcPct val="114000"/>
        </a:lnSpc>
        <a:spcBef>
          <a:spcPts val="133"/>
        </a:spcBef>
        <a:spcAft>
          <a:spcPts val="267"/>
        </a:spcAft>
        <a:buFont typeface="Arial" pitchFamily="34" charset="0"/>
        <a:buChar char="›"/>
        <a:defRPr sz="2133" kern="1200">
          <a:solidFill>
            <a:schemeClr val="tx1"/>
          </a:solidFill>
          <a:latin typeface="+mn-lt"/>
          <a:ea typeface="+mn-ea"/>
          <a:cs typeface="+mn-cs"/>
        </a:defRPr>
      </a:lvl3pPr>
      <a:lvl4pPr marL="1447764" indent="-304792" algn="l" defTabSz="1219170" rtl="0" eaLnBrk="1" latinLnBrk="0" hangingPunct="1">
        <a:lnSpc>
          <a:spcPct val="114000"/>
        </a:lnSpc>
        <a:spcBef>
          <a:spcPts val="133"/>
        </a:spcBef>
        <a:spcAft>
          <a:spcPts val="533"/>
        </a:spcAft>
        <a:buFont typeface="Arial" pitchFamily="34" charset="0"/>
        <a:buChar char="»"/>
        <a:defRPr sz="2133" kern="1200">
          <a:solidFill>
            <a:schemeClr val="tx1"/>
          </a:solidFill>
          <a:latin typeface="+mn-lt"/>
          <a:ea typeface="+mn-ea"/>
          <a:cs typeface="+mn-cs"/>
        </a:defRPr>
      </a:lvl4pPr>
      <a:lvl5pPr marL="1924003" indent="-230712" algn="l" defTabSz="1219170" rtl="0" eaLnBrk="1" latinLnBrk="0" hangingPunct="1">
        <a:lnSpc>
          <a:spcPct val="114000"/>
        </a:lnSpc>
        <a:spcBef>
          <a:spcPts val="133"/>
        </a:spcBef>
        <a:spcAft>
          <a:spcPts val="800"/>
        </a:spcAft>
        <a:buFont typeface="Arial"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xml"/><Relationship Id="rId1" Type="http://schemas.openxmlformats.org/officeDocument/2006/relationships/slideLayout" Target="../slideLayouts/slideLayout208.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9.xml"/></Relationships>
</file>

<file path=ppt/slides/_rels/slide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8.xml"/></Relationships>
</file>

<file path=ppt/slides/_rels/slide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117.xml"/><Relationship Id="rId4" Type="http://schemas.openxmlformats.org/officeDocument/2006/relationships/image" Target="../media/image55.svg"/></Relationships>
</file>

<file path=ppt/slides/_rels/slide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5.xml"/><Relationship Id="rId1" Type="http://schemas.openxmlformats.org/officeDocument/2006/relationships/slideLayout" Target="../slideLayouts/slideLayout117.xml"/></Relationships>
</file>

<file path=ppt/slides/_rels/slide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6.xml"/><Relationship Id="rId1" Type="http://schemas.openxmlformats.org/officeDocument/2006/relationships/slideLayout" Target="../slideLayouts/slideLayout117.xml"/></Relationships>
</file>

<file path=ppt/slides/_rels/slide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7.xml"/><Relationship Id="rId1" Type="http://schemas.openxmlformats.org/officeDocument/2006/relationships/slideLayout" Target="../slideLayouts/slideLayout77.xml"/><Relationship Id="rId4" Type="http://schemas.openxmlformats.org/officeDocument/2006/relationships/image" Target="../media/image5.emf"/></Relationships>
</file>

<file path=ppt/slides/_rels/slide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8.xml"/><Relationship Id="rId1" Type="http://schemas.openxmlformats.org/officeDocument/2006/relationships/slideLayout" Target="../slideLayouts/slideLayout84.xml"/><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66C295-0B60-237C-3871-43FC4094C0C8}"/>
              </a:ext>
            </a:extLst>
          </p:cNvPr>
          <p:cNvSpPr>
            <a:spLocks noGrp="1"/>
          </p:cNvSpPr>
          <p:nvPr>
            <p:ph type="title"/>
          </p:nvPr>
        </p:nvSpPr>
        <p:spPr>
          <a:xfrm>
            <a:off x="550944" y="3826604"/>
            <a:ext cx="5557835" cy="1994777"/>
          </a:xfrm>
        </p:spPr>
        <p:txBody>
          <a:bodyPr/>
          <a:lstStyle/>
          <a:p>
            <a:r>
              <a:rPr lang="en-US" dirty="0"/>
              <a:t>NTT Value Proposition</a:t>
            </a:r>
            <a:br>
              <a:rPr lang="en-US" dirty="0"/>
            </a:br>
            <a:r>
              <a:rPr lang="en-US" dirty="0"/>
              <a:t>for Microsoft Modern Workplace</a:t>
            </a:r>
          </a:p>
        </p:txBody>
      </p:sp>
      <p:sp>
        <p:nvSpPr>
          <p:cNvPr id="5" name="Text Placeholder 4">
            <a:extLst>
              <a:ext uri="{FF2B5EF4-FFF2-40B4-BE49-F238E27FC236}">
                <a16:creationId xmlns:a16="http://schemas.microsoft.com/office/drawing/2014/main" id="{AEBDB04E-1B93-7B3A-D071-3E53110ED690}"/>
              </a:ext>
            </a:extLst>
          </p:cNvPr>
          <p:cNvSpPr>
            <a:spLocks noGrp="1"/>
          </p:cNvSpPr>
          <p:nvPr>
            <p:ph type="body" sz="quarter" idx="12"/>
          </p:nvPr>
        </p:nvSpPr>
        <p:spPr>
          <a:xfrm>
            <a:off x="550944" y="5726132"/>
            <a:ext cx="5557835" cy="507311"/>
          </a:xfrm>
        </p:spPr>
        <p:txBody>
          <a:bodyPr/>
          <a:lstStyle/>
          <a:p>
            <a:r>
              <a:rPr lang="en-US" sz="1950" dirty="0">
                <a:cs typeface="Segoe UI"/>
              </a:rPr>
              <a:t>June 2023</a:t>
            </a:r>
            <a:endParaRPr lang="en-US" dirty="0"/>
          </a:p>
        </p:txBody>
      </p:sp>
      <p:pic>
        <p:nvPicPr>
          <p:cNvPr id="3" name="Picture 2">
            <a:extLst>
              <a:ext uri="{FF2B5EF4-FFF2-40B4-BE49-F238E27FC236}">
                <a16:creationId xmlns:a16="http://schemas.microsoft.com/office/drawing/2014/main" id="{2CF2C2BC-83FB-AD73-B81F-23EEC04C7951}"/>
              </a:ext>
            </a:extLst>
          </p:cNvPr>
          <p:cNvPicPr>
            <a:picLocks noChangeAspect="1"/>
          </p:cNvPicPr>
          <p:nvPr/>
        </p:nvPicPr>
        <p:blipFill>
          <a:blip r:embed="rId3"/>
          <a:stretch>
            <a:fillRect/>
          </a:stretch>
        </p:blipFill>
        <p:spPr>
          <a:xfrm>
            <a:off x="358287" y="1033797"/>
            <a:ext cx="873044" cy="1084871"/>
          </a:xfrm>
          <a:prstGeom prst="rect">
            <a:avLst/>
          </a:prstGeom>
        </p:spPr>
      </p:pic>
    </p:spTree>
    <p:extLst>
      <p:ext uri="{BB962C8B-B14F-4D97-AF65-F5344CB8AC3E}">
        <p14:creationId xmlns:p14="http://schemas.microsoft.com/office/powerpoint/2010/main" val="3399856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8">
            <a:extLst>
              <a:ext uri="{FF2B5EF4-FFF2-40B4-BE49-F238E27FC236}">
                <a16:creationId xmlns:a16="http://schemas.microsoft.com/office/drawing/2014/main" id="{525AEE63-404F-E660-2994-B4F4CDE91B14}"/>
              </a:ext>
            </a:extLst>
          </p:cNvPr>
          <p:cNvSpPr>
            <a:spLocks noGrp="1"/>
          </p:cNvSpPr>
          <p:nvPr>
            <p:ph type="title"/>
          </p:nvPr>
        </p:nvSpPr>
        <p:spPr/>
        <p:txBody>
          <a:bodyPr/>
          <a:lstStyle/>
          <a:p>
            <a:r>
              <a:rPr lang="fr-FR" dirty="0"/>
              <a:t>NTT </a:t>
            </a:r>
            <a:r>
              <a:rPr lang="fr-FR" dirty="0" err="1"/>
              <a:t>Accelerate</a:t>
            </a:r>
            <a:endParaRPr lang="fr-FR" dirty="0"/>
          </a:p>
        </p:txBody>
      </p:sp>
      <p:sp>
        <p:nvSpPr>
          <p:cNvPr id="11" name="Espace réservé du texte 10">
            <a:extLst>
              <a:ext uri="{FF2B5EF4-FFF2-40B4-BE49-F238E27FC236}">
                <a16:creationId xmlns:a16="http://schemas.microsoft.com/office/drawing/2014/main" id="{63D7BEDF-899C-BAD8-5EC8-568DFFA74DCD}"/>
              </a:ext>
            </a:extLst>
          </p:cNvPr>
          <p:cNvSpPr>
            <a:spLocks noGrp="1"/>
          </p:cNvSpPr>
          <p:nvPr>
            <p:ph type="body" sz="quarter" idx="10"/>
          </p:nvPr>
        </p:nvSpPr>
        <p:spPr/>
        <p:txBody>
          <a:bodyPr/>
          <a:lstStyle/>
          <a:p>
            <a:endParaRPr lang="fr-FR"/>
          </a:p>
        </p:txBody>
      </p:sp>
      <p:sp>
        <p:nvSpPr>
          <p:cNvPr id="12" name="Rectangle : coins arrondis 11">
            <a:extLst>
              <a:ext uri="{FF2B5EF4-FFF2-40B4-BE49-F238E27FC236}">
                <a16:creationId xmlns:a16="http://schemas.microsoft.com/office/drawing/2014/main" id="{D833661F-42D2-ABBB-A14F-C212E8DD87F0}"/>
              </a:ext>
            </a:extLst>
          </p:cNvPr>
          <p:cNvSpPr/>
          <p:nvPr/>
        </p:nvSpPr>
        <p:spPr>
          <a:xfrm>
            <a:off x="6427331" y="1960136"/>
            <a:ext cx="4362877" cy="3255756"/>
          </a:xfrm>
          <a:prstGeom prst="roundRect">
            <a:avLst>
              <a:gd name="adj" fmla="val 2886"/>
            </a:avLst>
          </a:prstGeom>
          <a:noFill/>
          <a:ln w="28575">
            <a:solidFill>
              <a:srgbClr val="5059C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378" rtl="0" eaLnBrk="1" fontAlgn="auto" latinLnBrk="0" hangingPunct="1">
              <a:lnSpc>
                <a:spcPct val="110000"/>
              </a:lnSpc>
              <a:spcBef>
                <a:spcPts val="200"/>
              </a:spcBef>
              <a:spcAft>
                <a:spcPts val="200"/>
              </a:spcAft>
              <a:buClrTx/>
              <a:buSzTx/>
              <a:buFontTx/>
              <a:buNone/>
              <a:tabLst/>
              <a:defRPr/>
            </a:pPr>
            <a:endParaRPr kumimoji="0" lang="fr-FR" sz="6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21D3AEFA-A18E-8FB0-D45E-79C787FB6DD5}"/>
              </a:ext>
            </a:extLst>
          </p:cNvPr>
          <p:cNvSpPr/>
          <p:nvPr/>
        </p:nvSpPr>
        <p:spPr>
          <a:xfrm>
            <a:off x="8216258" y="1910930"/>
            <a:ext cx="823058" cy="10121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378" rtl="0" eaLnBrk="1" fontAlgn="auto" latinLnBrk="0" hangingPunct="1">
              <a:lnSpc>
                <a:spcPct val="110000"/>
              </a:lnSpc>
              <a:spcBef>
                <a:spcPts val="200"/>
              </a:spcBef>
              <a:spcAft>
                <a:spcPts val="200"/>
              </a:spcAft>
              <a:buClrTx/>
              <a:buSzTx/>
              <a:buFontTx/>
              <a:buNone/>
              <a:tabLst/>
              <a:defRPr/>
            </a:pPr>
            <a:endParaRPr kumimoji="0" lang="fr-FR" sz="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4" name="Groupe 13">
            <a:extLst>
              <a:ext uri="{FF2B5EF4-FFF2-40B4-BE49-F238E27FC236}">
                <a16:creationId xmlns:a16="http://schemas.microsoft.com/office/drawing/2014/main" id="{D637C94D-6E28-9238-115E-BA9019E90242}"/>
              </a:ext>
            </a:extLst>
          </p:cNvPr>
          <p:cNvGrpSpPr/>
          <p:nvPr/>
        </p:nvGrpSpPr>
        <p:grpSpPr>
          <a:xfrm>
            <a:off x="6415030" y="2502106"/>
            <a:ext cx="4186765" cy="2451353"/>
            <a:chOff x="2772963" y="1307240"/>
            <a:chExt cx="8180539" cy="5020798"/>
          </a:xfrm>
        </p:grpSpPr>
        <p:grpSp>
          <p:nvGrpSpPr>
            <p:cNvPr id="15" name="Groupe 14">
              <a:extLst>
                <a:ext uri="{FF2B5EF4-FFF2-40B4-BE49-F238E27FC236}">
                  <a16:creationId xmlns:a16="http://schemas.microsoft.com/office/drawing/2014/main" id="{F9A3014F-39A5-F2DC-0DF2-728401A1E04A}"/>
                </a:ext>
              </a:extLst>
            </p:cNvPr>
            <p:cNvGrpSpPr/>
            <p:nvPr/>
          </p:nvGrpSpPr>
          <p:grpSpPr>
            <a:xfrm>
              <a:off x="2772963" y="1307240"/>
              <a:ext cx="8180537" cy="1978718"/>
              <a:chOff x="2968907" y="1622926"/>
              <a:chExt cx="8180537" cy="1978718"/>
            </a:xfrm>
          </p:grpSpPr>
          <p:grpSp>
            <p:nvGrpSpPr>
              <p:cNvPr id="23" name="Groupe 22">
                <a:extLst>
                  <a:ext uri="{FF2B5EF4-FFF2-40B4-BE49-F238E27FC236}">
                    <a16:creationId xmlns:a16="http://schemas.microsoft.com/office/drawing/2014/main" id="{EAA8B6A5-B4D8-88BB-E7E3-E71B72DD2628}"/>
                  </a:ext>
                </a:extLst>
              </p:cNvPr>
              <p:cNvGrpSpPr/>
              <p:nvPr/>
            </p:nvGrpSpPr>
            <p:grpSpPr>
              <a:xfrm>
                <a:off x="2968907" y="1622926"/>
                <a:ext cx="8180537" cy="1978718"/>
                <a:chOff x="2968907" y="1622926"/>
                <a:chExt cx="8180537" cy="1978718"/>
              </a:xfrm>
            </p:grpSpPr>
            <p:sp>
              <p:nvSpPr>
                <p:cNvPr id="25" name="Rectangle 24">
                  <a:extLst>
                    <a:ext uri="{FF2B5EF4-FFF2-40B4-BE49-F238E27FC236}">
                      <a16:creationId xmlns:a16="http://schemas.microsoft.com/office/drawing/2014/main" id="{90DE6608-723B-8419-5BE7-CD795CB0E9CF}"/>
                    </a:ext>
                  </a:extLst>
                </p:cNvPr>
                <p:cNvSpPr/>
                <p:nvPr/>
              </p:nvSpPr>
              <p:spPr>
                <a:xfrm>
                  <a:off x="3361489" y="1622926"/>
                  <a:ext cx="2124623" cy="1978718"/>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marL="0" marR="0" lvl="0" indent="0" algn="ctr" defTabSz="685784" rtl="0" eaLnBrk="1" fontAlgn="auto" latinLnBrk="0" hangingPunct="1">
                    <a:lnSpc>
                      <a:spcPct val="110000"/>
                    </a:lnSpc>
                    <a:spcBef>
                      <a:spcPts val="150"/>
                    </a:spcBef>
                    <a:spcAft>
                      <a:spcPts val="150"/>
                    </a:spcAft>
                    <a:buClrTx/>
                    <a:buSzTx/>
                    <a:buFontTx/>
                    <a:buNone/>
                    <a:tabLst/>
                    <a:defRPr/>
                  </a:pPr>
                  <a:endParaRPr kumimoji="0" lang="fr-FR" sz="4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8E7E92F3-236A-B8A9-94DE-97298FEED9FE}"/>
                    </a:ext>
                  </a:extLst>
                </p:cNvPr>
                <p:cNvSpPr/>
                <p:nvPr/>
              </p:nvSpPr>
              <p:spPr>
                <a:xfrm>
                  <a:off x="5380017" y="1622926"/>
                  <a:ext cx="5769427" cy="1978718"/>
                </a:xfrm>
                <a:prstGeom prst="rect">
                  <a:avLst/>
                </a:prstGeom>
                <a:solidFill>
                  <a:srgbClr val="5059C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marL="0" marR="0" lvl="0" indent="0" algn="ctr" defTabSz="685784" rtl="0" eaLnBrk="1" fontAlgn="auto" latinLnBrk="0" hangingPunct="1">
                    <a:lnSpc>
                      <a:spcPct val="110000"/>
                    </a:lnSpc>
                    <a:spcBef>
                      <a:spcPts val="150"/>
                    </a:spcBef>
                    <a:spcAft>
                      <a:spcPts val="150"/>
                    </a:spcAft>
                    <a:buClrTx/>
                    <a:buSzTx/>
                    <a:buFontTx/>
                    <a:buNone/>
                    <a:tabLst/>
                    <a:defRPr/>
                  </a:pPr>
                  <a:endParaRPr kumimoji="0" lang="fr-FR" sz="4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ZoneTexte 26">
                  <a:extLst>
                    <a:ext uri="{FF2B5EF4-FFF2-40B4-BE49-F238E27FC236}">
                      <a16:creationId xmlns:a16="http://schemas.microsoft.com/office/drawing/2014/main" id="{E476D9DB-9E02-239E-CF53-C63757984FA0}"/>
                    </a:ext>
                  </a:extLst>
                </p:cNvPr>
                <p:cNvSpPr txBox="1"/>
                <p:nvPr/>
              </p:nvSpPr>
              <p:spPr>
                <a:xfrm>
                  <a:off x="2968907" y="2109257"/>
                  <a:ext cx="2203940" cy="945570"/>
                </a:xfrm>
                <a:prstGeom prst="rect">
                  <a:avLst/>
                </a:prstGeom>
                <a:noFill/>
              </p:spPr>
              <p:txBody>
                <a:bodyPr wrap="square">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5059C9"/>
                      </a:solidFill>
                      <a:effectLst/>
                      <a:uLnTx/>
                      <a:uFillTx/>
                      <a:latin typeface="Arial"/>
                      <a:ea typeface="+mn-ea"/>
                      <a:cs typeface="+mn-cs"/>
                    </a:rPr>
                    <a:t>Net-new clients</a:t>
                  </a:r>
                </a:p>
              </p:txBody>
            </p:sp>
          </p:grpSp>
          <p:sp>
            <p:nvSpPr>
              <p:cNvPr id="24" name="Espace réservé du contenu 2">
                <a:extLst>
                  <a:ext uri="{FF2B5EF4-FFF2-40B4-BE49-F238E27FC236}">
                    <a16:creationId xmlns:a16="http://schemas.microsoft.com/office/drawing/2014/main" id="{E9770098-8556-893B-6E91-AE6989570D8C}"/>
                  </a:ext>
                </a:extLst>
              </p:cNvPr>
              <p:cNvSpPr txBox="1">
                <a:spLocks/>
              </p:cNvSpPr>
              <p:nvPr/>
            </p:nvSpPr>
            <p:spPr>
              <a:xfrm>
                <a:off x="5671077" y="1758417"/>
                <a:ext cx="5150450" cy="1560944"/>
              </a:xfrm>
              <a:prstGeom prst="rect">
                <a:avLst/>
              </a:prstGeom>
            </p:spPr>
            <p:txBody>
              <a:bodyPr/>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14000"/>
                  </a:lnSpc>
                  <a:spcBef>
                    <a:spcPts val="800"/>
                  </a:spcBef>
                  <a:spcAft>
                    <a:spcPts val="133"/>
                  </a:spcAft>
                  <a:buClrTx/>
                  <a:buSzTx/>
                  <a:buFont typeface="Arial" pitchFamily="34" charset="0"/>
                  <a:buNone/>
                  <a:tabLst/>
                  <a:defRPr/>
                </a:pPr>
                <a:r>
                  <a:rPr kumimoji="0" lang="fr-FR" sz="1000" b="1" i="0" u="none" strike="noStrike" kern="1200" cap="none" spc="0" normalizeH="0" baseline="0" noProof="0" dirty="0">
                    <a:ln>
                      <a:noFill/>
                    </a:ln>
                    <a:solidFill>
                      <a:srgbClr val="FFFFFF"/>
                    </a:solidFill>
                    <a:effectLst/>
                    <a:uLnTx/>
                    <a:uFillTx/>
                    <a:latin typeface="Arial"/>
                    <a:ea typeface="+mn-ea"/>
                    <a:cs typeface="Arial"/>
                  </a:rPr>
                  <a:t>Net-new</a:t>
                </a:r>
                <a:r>
                  <a:rPr kumimoji="0" lang="fr-FR" sz="1000" b="0" i="0" u="none" strike="noStrike" kern="1200" cap="none" spc="0" normalizeH="0" baseline="0" noProof="0" dirty="0">
                    <a:ln>
                      <a:noFill/>
                    </a:ln>
                    <a:solidFill>
                      <a:srgbClr val="FFFFFF"/>
                    </a:solidFill>
                    <a:effectLst/>
                    <a:uLnTx/>
                    <a:uFillTx/>
                    <a:latin typeface="Arial"/>
                    <a:ea typeface="+mn-ea"/>
                    <a:cs typeface="Arial"/>
                  </a:rPr>
                  <a:t> </a:t>
                </a:r>
                <a:r>
                  <a:rPr kumimoji="0" lang="fr-FR" sz="1000" b="0" i="0" u="none" strike="noStrike" kern="1200" cap="none" spc="0" normalizeH="0" baseline="0" noProof="0" dirty="0" err="1">
                    <a:ln>
                      <a:noFill/>
                    </a:ln>
                    <a:solidFill>
                      <a:srgbClr val="FFFFFF"/>
                    </a:solidFill>
                    <a:effectLst/>
                    <a:uLnTx/>
                    <a:uFillTx/>
                    <a:latin typeface="Arial"/>
                    <a:ea typeface="+mn-ea"/>
                    <a:cs typeface="Arial"/>
                  </a:rPr>
                  <a:t>opportunities</a:t>
                </a:r>
                <a:r>
                  <a:rPr kumimoji="0" lang="fr-FR" sz="1000" b="0" i="0" u="none" strike="noStrike" kern="1200" cap="none" spc="0" normalizeH="0" baseline="0" noProof="0" dirty="0">
                    <a:ln>
                      <a:noFill/>
                    </a:ln>
                    <a:solidFill>
                      <a:srgbClr val="FFFFFF"/>
                    </a:solidFill>
                    <a:effectLst/>
                    <a:uLnTx/>
                    <a:uFillTx/>
                    <a:latin typeface="Arial"/>
                    <a:ea typeface="+mn-ea"/>
                    <a:cs typeface="Arial"/>
                  </a:rPr>
                  <a:t> for NTT </a:t>
                </a:r>
                <a:r>
                  <a:rPr kumimoji="0" lang="fr-FR" sz="1000" b="0" i="0" u="none" strike="noStrike" kern="1200" cap="none" spc="0" normalizeH="0" baseline="0" noProof="0" dirty="0" err="1">
                    <a:ln>
                      <a:noFill/>
                    </a:ln>
                    <a:solidFill>
                      <a:srgbClr val="FFFFFF"/>
                    </a:solidFill>
                    <a:effectLst/>
                    <a:uLnTx/>
                    <a:uFillTx/>
                    <a:latin typeface="Arial"/>
                    <a:ea typeface="+mn-ea"/>
                    <a:cs typeface="Arial"/>
                  </a:rPr>
                  <a:t>where</a:t>
                </a:r>
                <a:r>
                  <a:rPr kumimoji="0" lang="fr-FR" sz="1000" b="0" i="0" u="none" strike="noStrike" kern="1200" cap="none" spc="0" normalizeH="0" baseline="0" noProof="0" dirty="0">
                    <a:ln>
                      <a:noFill/>
                    </a:ln>
                    <a:solidFill>
                      <a:srgbClr val="FFFFFF"/>
                    </a:solidFill>
                    <a:effectLst/>
                    <a:uLnTx/>
                    <a:uFillTx/>
                    <a:latin typeface="Arial"/>
                    <a:ea typeface="+mn-ea"/>
                    <a:cs typeface="Arial"/>
                  </a:rPr>
                  <a:t> </a:t>
                </a:r>
                <a:r>
                  <a:rPr kumimoji="0" lang="fr-FR" sz="1000" b="1" i="0" u="none" strike="noStrike" kern="1200" cap="none" spc="0" normalizeH="0" baseline="0" noProof="0" dirty="0">
                    <a:ln>
                      <a:noFill/>
                    </a:ln>
                    <a:solidFill>
                      <a:srgbClr val="FFFFFF"/>
                    </a:solidFill>
                    <a:effectLst/>
                    <a:uLnTx/>
                    <a:uFillTx/>
                    <a:latin typeface="Arial"/>
                    <a:ea typeface="+mn-ea"/>
                    <a:cs typeface="Arial"/>
                  </a:rPr>
                  <a:t>Microsoft </a:t>
                </a:r>
                <a:r>
                  <a:rPr kumimoji="0" lang="fr-FR" sz="1000" b="1" i="0" u="none" strike="noStrike" kern="1200" cap="none" spc="0" normalizeH="0" baseline="0" noProof="0" dirty="0" err="1">
                    <a:ln>
                      <a:noFill/>
                    </a:ln>
                    <a:solidFill>
                      <a:srgbClr val="FFFFFF"/>
                    </a:solidFill>
                    <a:effectLst/>
                    <a:uLnTx/>
                    <a:uFillTx/>
                    <a:latin typeface="Arial"/>
                    <a:ea typeface="+mn-ea"/>
                    <a:cs typeface="Arial"/>
                  </a:rPr>
                  <a:t>introduces</a:t>
                </a:r>
                <a:r>
                  <a:rPr kumimoji="0" lang="fr-FR" sz="1000" b="1" i="0" u="none" strike="noStrike" kern="1200" cap="none" spc="0" normalizeH="0" baseline="0" noProof="0" dirty="0">
                    <a:ln>
                      <a:noFill/>
                    </a:ln>
                    <a:solidFill>
                      <a:srgbClr val="FFFFFF"/>
                    </a:solidFill>
                    <a:effectLst/>
                    <a:uLnTx/>
                    <a:uFillTx/>
                    <a:latin typeface="Arial"/>
                    <a:ea typeface="+mn-ea"/>
                    <a:cs typeface="Arial"/>
                  </a:rPr>
                  <a:t> and </a:t>
                </a:r>
                <a:r>
                  <a:rPr kumimoji="0" lang="fr-FR" sz="1000" b="1" i="0" u="none" strike="noStrike" kern="1200" cap="none" spc="0" normalizeH="0" baseline="0" noProof="0" dirty="0" err="1">
                    <a:ln>
                      <a:noFill/>
                    </a:ln>
                    <a:solidFill>
                      <a:srgbClr val="FFFFFF"/>
                    </a:solidFill>
                    <a:effectLst/>
                    <a:uLnTx/>
                    <a:uFillTx/>
                    <a:latin typeface="Arial"/>
                    <a:ea typeface="+mn-ea"/>
                    <a:cs typeface="Arial"/>
                  </a:rPr>
                  <a:t>endorses</a:t>
                </a:r>
                <a:r>
                  <a:rPr kumimoji="0" lang="fr-FR" sz="1000" b="1" i="0" u="none" strike="noStrike" kern="1200" cap="none" spc="0" normalizeH="0" baseline="0" noProof="0" dirty="0">
                    <a:ln>
                      <a:noFill/>
                    </a:ln>
                    <a:solidFill>
                      <a:srgbClr val="FFFFFF"/>
                    </a:solidFill>
                    <a:effectLst/>
                    <a:uLnTx/>
                    <a:uFillTx/>
                    <a:latin typeface="Arial"/>
                    <a:ea typeface="+mn-ea"/>
                    <a:cs typeface="Arial"/>
                  </a:rPr>
                  <a:t> NTT </a:t>
                </a:r>
                <a:r>
                  <a:rPr kumimoji="0" lang="fr-FR" sz="1000" b="0" i="0" u="none" strike="noStrike" kern="1200" cap="none" spc="0" normalizeH="0" baseline="0" noProof="0" dirty="0">
                    <a:ln>
                      <a:noFill/>
                    </a:ln>
                    <a:solidFill>
                      <a:srgbClr val="FFFFFF"/>
                    </a:solidFill>
                    <a:effectLst/>
                    <a:uLnTx/>
                    <a:uFillTx/>
                    <a:latin typeface="Arial"/>
                    <a:ea typeface="+mn-ea"/>
                    <a:cs typeface="Arial"/>
                  </a:rPr>
                  <a:t>to Clients, </a:t>
                </a:r>
                <a:r>
                  <a:rPr kumimoji="0" lang="fr-FR" sz="1000" b="0" i="0" u="none" strike="noStrike" kern="1200" cap="none" spc="0" normalizeH="0" baseline="0" noProof="0" dirty="0" err="1">
                    <a:ln>
                      <a:noFill/>
                    </a:ln>
                    <a:solidFill>
                      <a:srgbClr val="FFFFFF"/>
                    </a:solidFill>
                    <a:effectLst/>
                    <a:uLnTx/>
                    <a:uFillTx/>
                    <a:latin typeface="Arial"/>
                    <a:ea typeface="+mn-ea"/>
                    <a:cs typeface="Arial"/>
                  </a:rPr>
                  <a:t>outside</a:t>
                </a:r>
                <a:r>
                  <a:rPr kumimoji="0" lang="fr-FR" sz="1000" b="0" i="0" u="none" strike="noStrike" kern="1200" cap="none" spc="0" normalizeH="0" baseline="0" noProof="0" dirty="0">
                    <a:ln>
                      <a:noFill/>
                    </a:ln>
                    <a:solidFill>
                      <a:srgbClr val="FFFFFF"/>
                    </a:solidFill>
                    <a:effectLst/>
                    <a:uLnTx/>
                    <a:uFillTx/>
                    <a:latin typeface="Arial"/>
                    <a:ea typeface="+mn-ea"/>
                    <a:cs typeface="Arial"/>
                  </a:rPr>
                  <a:t> of </a:t>
                </a:r>
                <a:r>
                  <a:rPr kumimoji="0" lang="fr-FR" sz="1000" b="0" i="0" u="none" strike="noStrike" kern="1200" cap="none" spc="0" normalizeH="0" baseline="0" noProof="0" dirty="0" err="1">
                    <a:ln>
                      <a:noFill/>
                    </a:ln>
                    <a:solidFill>
                      <a:srgbClr val="FFFFFF"/>
                    </a:solidFill>
                    <a:effectLst/>
                    <a:uLnTx/>
                    <a:uFillTx/>
                    <a:latin typeface="Arial"/>
                    <a:ea typeface="+mn-ea"/>
                    <a:cs typeface="Arial"/>
                  </a:rPr>
                  <a:t>regular</a:t>
                </a:r>
                <a:r>
                  <a:rPr kumimoji="0" lang="fr-FR" sz="1000" b="0" i="0" u="none" strike="noStrike" kern="1200" cap="none" spc="0" normalizeH="0" baseline="0" noProof="0" dirty="0">
                    <a:ln>
                      <a:noFill/>
                    </a:ln>
                    <a:solidFill>
                      <a:srgbClr val="FFFFFF"/>
                    </a:solidFill>
                    <a:effectLst/>
                    <a:uLnTx/>
                    <a:uFillTx/>
                    <a:latin typeface="Arial"/>
                    <a:ea typeface="+mn-ea"/>
                    <a:cs typeface="Arial"/>
                  </a:rPr>
                  <a:t> </a:t>
                </a:r>
                <a:r>
                  <a:rPr kumimoji="0" lang="fr-FR" sz="1000" b="0" i="0" u="none" strike="noStrike" kern="1200" cap="none" spc="0" normalizeH="0" baseline="0" noProof="0" dirty="0" err="1">
                    <a:ln>
                      <a:noFill/>
                    </a:ln>
                    <a:solidFill>
                      <a:srgbClr val="FFFFFF"/>
                    </a:solidFill>
                    <a:effectLst/>
                    <a:uLnTx/>
                    <a:uFillTx/>
                    <a:latin typeface="Arial"/>
                    <a:ea typeface="+mn-ea"/>
                    <a:cs typeface="Arial"/>
                  </a:rPr>
                  <a:t>co-sell</a:t>
                </a:r>
                <a:r>
                  <a:rPr kumimoji="0" lang="fr-FR" sz="1000" b="0" i="0" u="none" strike="noStrike" kern="1200" cap="none" spc="0" normalizeH="0" baseline="0" noProof="0" dirty="0">
                    <a:ln>
                      <a:noFill/>
                    </a:ln>
                    <a:solidFill>
                      <a:srgbClr val="FFFFFF"/>
                    </a:solidFill>
                    <a:effectLst/>
                    <a:uLnTx/>
                    <a:uFillTx/>
                    <a:latin typeface="Arial"/>
                    <a:ea typeface="+mn-ea"/>
                    <a:cs typeface="Arial"/>
                  </a:rPr>
                  <a:t> engagement, to </a:t>
                </a:r>
                <a:r>
                  <a:rPr kumimoji="0" lang="fr-FR" sz="1000" b="0" i="0" u="none" strike="noStrike" kern="1200" cap="none" spc="0" normalizeH="0" baseline="0" noProof="0" dirty="0" err="1">
                    <a:ln>
                      <a:noFill/>
                    </a:ln>
                    <a:solidFill>
                      <a:srgbClr val="FFFFFF"/>
                    </a:solidFill>
                    <a:effectLst/>
                    <a:uLnTx/>
                    <a:uFillTx/>
                    <a:latin typeface="Arial"/>
                    <a:ea typeface="+mn-ea"/>
                    <a:cs typeface="Arial"/>
                  </a:rPr>
                  <a:t>deliver</a:t>
                </a:r>
                <a:r>
                  <a:rPr kumimoji="0" lang="fr-FR" sz="1000" b="0" i="0" u="none" strike="noStrike" kern="1200" cap="none" spc="0" normalizeH="0" baseline="0" noProof="0" dirty="0">
                    <a:ln>
                      <a:noFill/>
                    </a:ln>
                    <a:solidFill>
                      <a:srgbClr val="FFFFFF"/>
                    </a:solidFill>
                    <a:effectLst/>
                    <a:uLnTx/>
                    <a:uFillTx/>
                    <a:latin typeface="Arial"/>
                    <a:ea typeface="+mn-ea"/>
                    <a:cs typeface="Arial"/>
                  </a:rPr>
                  <a:t> Voice </a:t>
                </a:r>
                <a:r>
                  <a:rPr kumimoji="0" lang="fr-FR" sz="1000" b="0" i="0" u="none" strike="noStrike" kern="1200" cap="none" spc="0" normalizeH="0" baseline="0" noProof="0" dirty="0" err="1">
                    <a:ln>
                      <a:noFill/>
                    </a:ln>
                    <a:solidFill>
                      <a:srgbClr val="FFFFFF"/>
                    </a:solidFill>
                    <a:effectLst/>
                    <a:uLnTx/>
                    <a:uFillTx/>
                    <a:latin typeface="Arial"/>
                    <a:ea typeface="+mn-ea"/>
                    <a:cs typeface="Arial"/>
                  </a:rPr>
                  <a:t>into</a:t>
                </a:r>
                <a:r>
                  <a:rPr kumimoji="0" lang="fr-FR" sz="1000" b="0" i="0" u="none" strike="noStrike" kern="1200" cap="none" spc="0" normalizeH="0" baseline="0" noProof="0" dirty="0">
                    <a:ln>
                      <a:noFill/>
                    </a:ln>
                    <a:solidFill>
                      <a:srgbClr val="FFFFFF"/>
                    </a:solidFill>
                    <a:effectLst/>
                    <a:uLnTx/>
                    <a:uFillTx/>
                    <a:latin typeface="Arial"/>
                    <a:ea typeface="+mn-ea"/>
                    <a:cs typeface="Arial"/>
                  </a:rPr>
                  <a:t> Teams.</a:t>
                </a:r>
              </a:p>
            </p:txBody>
          </p:sp>
        </p:grpSp>
        <p:sp>
          <p:nvSpPr>
            <p:cNvPr id="16" name="Ellipse 15">
              <a:extLst>
                <a:ext uri="{FF2B5EF4-FFF2-40B4-BE49-F238E27FC236}">
                  <a16:creationId xmlns:a16="http://schemas.microsoft.com/office/drawing/2014/main" id="{8B3FEEF9-D30C-4441-9980-C39A9ACC121D}"/>
                </a:ext>
              </a:extLst>
            </p:cNvPr>
            <p:cNvSpPr/>
            <p:nvPr/>
          </p:nvSpPr>
          <p:spPr>
            <a:xfrm>
              <a:off x="4894105" y="3525645"/>
              <a:ext cx="581028" cy="581028"/>
            </a:xfrm>
            <a:prstGeom prst="ellipse">
              <a:avLst/>
            </a:prstGeom>
            <a:solidFill>
              <a:schemeClr val="bg1"/>
            </a:solidFill>
            <a:ln w="28575">
              <a:solidFill>
                <a:srgbClr val="5059C9"/>
              </a:solid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marL="0" marR="0" lvl="0" indent="0" algn="ctr" defTabSz="685784" rtl="0" eaLnBrk="1" fontAlgn="auto" latinLnBrk="0" hangingPunct="1">
                <a:lnSpc>
                  <a:spcPct val="110000"/>
                </a:lnSpc>
                <a:spcBef>
                  <a:spcPts val="150"/>
                </a:spcBef>
                <a:spcAft>
                  <a:spcPts val="150"/>
                </a:spcAft>
                <a:buClrTx/>
                <a:buSzTx/>
                <a:buFontTx/>
                <a:buNone/>
                <a:tabLst/>
                <a:defRPr/>
              </a:pPr>
              <a:r>
                <a:rPr kumimoji="0" lang="fr-FR" sz="2000" b="0" i="0" u="none" strike="noStrike" kern="1200" cap="none" spc="0" normalizeH="0" baseline="0" noProof="0" dirty="0">
                  <a:ln>
                    <a:noFill/>
                  </a:ln>
                  <a:solidFill>
                    <a:srgbClr val="5059C9"/>
                  </a:solidFill>
                  <a:effectLst/>
                  <a:uLnTx/>
                  <a:uFillTx/>
                  <a:latin typeface="Arial"/>
                  <a:ea typeface="+mn-ea"/>
                  <a:cs typeface="+mn-cs"/>
                </a:rPr>
                <a:t>+</a:t>
              </a:r>
            </a:p>
          </p:txBody>
        </p:sp>
        <p:grpSp>
          <p:nvGrpSpPr>
            <p:cNvPr id="17" name="Groupe 16">
              <a:extLst>
                <a:ext uri="{FF2B5EF4-FFF2-40B4-BE49-F238E27FC236}">
                  <a16:creationId xmlns:a16="http://schemas.microsoft.com/office/drawing/2014/main" id="{CF746809-059F-2CEA-BE39-EF214823EE02}"/>
                </a:ext>
              </a:extLst>
            </p:cNvPr>
            <p:cNvGrpSpPr/>
            <p:nvPr/>
          </p:nvGrpSpPr>
          <p:grpSpPr>
            <a:xfrm>
              <a:off x="3029337" y="4346360"/>
              <a:ext cx="7924165" cy="1981678"/>
              <a:chOff x="3225281" y="1619966"/>
              <a:chExt cx="7924165" cy="1981678"/>
            </a:xfrm>
          </p:grpSpPr>
          <p:grpSp>
            <p:nvGrpSpPr>
              <p:cNvPr id="18" name="Groupe 17">
                <a:extLst>
                  <a:ext uri="{FF2B5EF4-FFF2-40B4-BE49-F238E27FC236}">
                    <a16:creationId xmlns:a16="http://schemas.microsoft.com/office/drawing/2014/main" id="{A5A2C51E-5D9F-176E-7142-3E2FC202D70C}"/>
                  </a:ext>
                </a:extLst>
              </p:cNvPr>
              <p:cNvGrpSpPr/>
              <p:nvPr/>
            </p:nvGrpSpPr>
            <p:grpSpPr>
              <a:xfrm>
                <a:off x="3225281" y="1619966"/>
                <a:ext cx="7924165" cy="1981678"/>
                <a:chOff x="3225281" y="1619966"/>
                <a:chExt cx="7924165" cy="1981678"/>
              </a:xfrm>
            </p:grpSpPr>
            <p:sp>
              <p:nvSpPr>
                <p:cNvPr id="20" name="Rectangle 19">
                  <a:extLst>
                    <a:ext uri="{FF2B5EF4-FFF2-40B4-BE49-F238E27FC236}">
                      <a16:creationId xmlns:a16="http://schemas.microsoft.com/office/drawing/2014/main" id="{EE171588-A6AB-9838-123E-3DD3B96FB13A}"/>
                    </a:ext>
                  </a:extLst>
                </p:cNvPr>
                <p:cNvSpPr/>
                <p:nvPr/>
              </p:nvSpPr>
              <p:spPr>
                <a:xfrm>
                  <a:off x="3361489" y="1622926"/>
                  <a:ext cx="2124621" cy="1978718"/>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marL="0" marR="0" lvl="0" indent="0" algn="ctr" defTabSz="685784" rtl="0" eaLnBrk="1" fontAlgn="auto" latinLnBrk="0" hangingPunct="1">
                    <a:lnSpc>
                      <a:spcPct val="110000"/>
                    </a:lnSpc>
                    <a:spcBef>
                      <a:spcPts val="150"/>
                    </a:spcBef>
                    <a:spcAft>
                      <a:spcPts val="150"/>
                    </a:spcAft>
                    <a:buClrTx/>
                    <a:buSzTx/>
                    <a:buFontTx/>
                    <a:buNone/>
                    <a:tabLst/>
                    <a:defRPr/>
                  </a:pPr>
                  <a:endParaRPr kumimoji="0" lang="fr-FR" sz="4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8CF55204-DD5E-4B53-AEF2-11124B91378F}"/>
                    </a:ext>
                  </a:extLst>
                </p:cNvPr>
                <p:cNvSpPr/>
                <p:nvPr/>
              </p:nvSpPr>
              <p:spPr>
                <a:xfrm>
                  <a:off x="5380017" y="1619966"/>
                  <a:ext cx="5769429" cy="1978718"/>
                </a:xfrm>
                <a:prstGeom prst="rect">
                  <a:avLst/>
                </a:prstGeom>
                <a:solidFill>
                  <a:srgbClr val="5059C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marL="0" marR="0" lvl="0" indent="0" algn="ctr" defTabSz="685784" rtl="0" eaLnBrk="1" fontAlgn="auto" latinLnBrk="0" hangingPunct="1">
                    <a:lnSpc>
                      <a:spcPct val="110000"/>
                    </a:lnSpc>
                    <a:spcBef>
                      <a:spcPts val="150"/>
                    </a:spcBef>
                    <a:spcAft>
                      <a:spcPts val="150"/>
                    </a:spcAft>
                    <a:buClrTx/>
                    <a:buSzTx/>
                    <a:buFontTx/>
                    <a:buNone/>
                    <a:tabLst/>
                    <a:defRPr/>
                  </a:pPr>
                  <a:endParaRPr kumimoji="0" lang="fr-FR" sz="4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ZoneTexte 21">
                  <a:extLst>
                    <a:ext uri="{FF2B5EF4-FFF2-40B4-BE49-F238E27FC236}">
                      <a16:creationId xmlns:a16="http://schemas.microsoft.com/office/drawing/2014/main" id="{F3F61ED0-F807-105F-33A5-246E6ABF8020}"/>
                    </a:ext>
                  </a:extLst>
                </p:cNvPr>
                <p:cNvSpPr txBox="1"/>
                <p:nvPr/>
              </p:nvSpPr>
              <p:spPr>
                <a:xfrm>
                  <a:off x="3225281" y="1771355"/>
                  <a:ext cx="2019665" cy="1702026"/>
                </a:xfrm>
                <a:prstGeom prst="rect">
                  <a:avLst/>
                </a:prstGeom>
                <a:noFill/>
              </p:spPr>
              <p:txBody>
                <a:bodyPr wrap="square">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err="1">
                      <a:ln>
                        <a:noFill/>
                      </a:ln>
                      <a:solidFill>
                        <a:srgbClr val="5059C9"/>
                      </a:solidFill>
                      <a:effectLst/>
                      <a:uLnTx/>
                      <a:uFillTx/>
                      <a:latin typeface="Arial"/>
                      <a:ea typeface="+mn-ea"/>
                      <a:cs typeface="+mn-cs"/>
                    </a:rPr>
                    <a:t>Increased</a:t>
                  </a:r>
                  <a:r>
                    <a:rPr kumimoji="0" lang="fr-FR" sz="1200" b="1" i="0" u="none" strike="noStrike" kern="1200" cap="none" spc="0" normalizeH="0" baseline="0" noProof="0" dirty="0">
                      <a:ln>
                        <a:noFill/>
                      </a:ln>
                      <a:solidFill>
                        <a:srgbClr val="5059C9"/>
                      </a:solidFill>
                      <a:effectLst/>
                      <a:uLnTx/>
                      <a:uFillTx/>
                      <a:latin typeface="Arial"/>
                      <a:ea typeface="+mn-ea"/>
                      <a:cs typeface="+mn-cs"/>
                    </a:rPr>
                    <a:t> </a:t>
                  </a:r>
                  <a:r>
                    <a:rPr kumimoji="0" lang="fr-FR" sz="1200" b="1" i="0" u="none" strike="noStrike" kern="1200" cap="none" spc="0" normalizeH="0" baseline="0" noProof="0" dirty="0" err="1">
                      <a:ln>
                        <a:noFill/>
                      </a:ln>
                      <a:solidFill>
                        <a:srgbClr val="5059C9"/>
                      </a:solidFill>
                      <a:effectLst/>
                      <a:uLnTx/>
                      <a:uFillTx/>
                      <a:latin typeface="Arial"/>
                      <a:ea typeface="+mn-ea"/>
                      <a:cs typeface="+mn-cs"/>
                    </a:rPr>
                    <a:t>co-sell</a:t>
                  </a:r>
                  <a:r>
                    <a:rPr kumimoji="0" lang="fr-FR" sz="1200" b="1" i="0" u="none" strike="noStrike" kern="1200" cap="none" spc="0" normalizeH="0" baseline="0" noProof="0" dirty="0">
                      <a:ln>
                        <a:noFill/>
                      </a:ln>
                      <a:solidFill>
                        <a:srgbClr val="5059C9"/>
                      </a:solidFill>
                      <a:effectLst/>
                      <a:uLnTx/>
                      <a:uFillTx/>
                      <a:latin typeface="Arial"/>
                      <a:ea typeface="+mn-ea"/>
                      <a:cs typeface="+mn-cs"/>
                    </a:rPr>
                    <a:t> Business-as-</a:t>
                  </a:r>
                  <a:r>
                    <a:rPr kumimoji="0" lang="fr-FR" sz="1200" b="1" i="0" u="none" strike="noStrike" kern="1200" cap="none" spc="0" normalizeH="0" baseline="0" noProof="0" dirty="0" err="1">
                      <a:ln>
                        <a:noFill/>
                      </a:ln>
                      <a:solidFill>
                        <a:srgbClr val="5059C9"/>
                      </a:solidFill>
                      <a:effectLst/>
                      <a:uLnTx/>
                      <a:uFillTx/>
                      <a:latin typeface="Arial"/>
                      <a:ea typeface="+mn-ea"/>
                      <a:cs typeface="+mn-cs"/>
                    </a:rPr>
                    <a:t>Usual</a:t>
                  </a:r>
                  <a:endParaRPr kumimoji="0" lang="fr-FR" sz="1200" b="1" i="0" u="none" strike="noStrike" kern="1200" cap="none" spc="0" normalizeH="0" baseline="0" noProof="0" dirty="0">
                    <a:ln>
                      <a:noFill/>
                    </a:ln>
                    <a:solidFill>
                      <a:srgbClr val="5059C9"/>
                    </a:solidFill>
                    <a:effectLst/>
                    <a:uLnTx/>
                    <a:uFillTx/>
                    <a:latin typeface="Arial"/>
                    <a:ea typeface="+mn-ea"/>
                    <a:cs typeface="+mn-cs"/>
                  </a:endParaRPr>
                </a:p>
              </p:txBody>
            </p:sp>
          </p:grpSp>
          <p:sp>
            <p:nvSpPr>
              <p:cNvPr id="19" name="Espace réservé du contenu 2">
                <a:extLst>
                  <a:ext uri="{FF2B5EF4-FFF2-40B4-BE49-F238E27FC236}">
                    <a16:creationId xmlns:a16="http://schemas.microsoft.com/office/drawing/2014/main" id="{1609D0AD-DA8B-0B15-FC0A-D3D342D0A6C1}"/>
                  </a:ext>
                </a:extLst>
              </p:cNvPr>
              <p:cNvSpPr txBox="1">
                <a:spLocks/>
              </p:cNvSpPr>
              <p:nvPr/>
            </p:nvSpPr>
            <p:spPr>
              <a:xfrm>
                <a:off x="5671078" y="1798655"/>
                <a:ext cx="5394815" cy="1560942"/>
              </a:xfrm>
              <a:prstGeom prst="rect">
                <a:avLst/>
              </a:prstGeom>
            </p:spPr>
            <p:txBody>
              <a:bodyPr/>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14000"/>
                  </a:lnSpc>
                  <a:spcBef>
                    <a:spcPts val="800"/>
                  </a:spcBef>
                  <a:spcAft>
                    <a:spcPts val="133"/>
                  </a:spcAft>
                  <a:buClrTx/>
                  <a:buSzTx/>
                  <a:buFont typeface="Arial" pitchFamily="34" charset="0"/>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Acceleration</a:t>
                </a:r>
                <a:r>
                  <a:rPr kumimoji="0" lang="en-US" sz="1000" b="0" i="0" u="none" strike="noStrike" kern="1200" cap="none" spc="0" normalizeH="0" baseline="0" noProof="0" dirty="0">
                    <a:ln>
                      <a:noFill/>
                    </a:ln>
                    <a:solidFill>
                      <a:srgbClr val="FFFFFF"/>
                    </a:solidFill>
                    <a:effectLst/>
                    <a:uLnTx/>
                    <a:uFillTx/>
                    <a:latin typeface="Arial"/>
                    <a:ea typeface="+mn-ea"/>
                    <a:cs typeface="Arial"/>
                  </a:rPr>
                  <a:t> of </a:t>
                </a:r>
                <a:r>
                  <a:rPr kumimoji="0" lang="en-US" sz="1000" b="1" i="0" u="none" strike="noStrike" kern="1200" cap="none" spc="0" normalizeH="0" baseline="0" noProof="0" dirty="0">
                    <a:ln>
                      <a:noFill/>
                    </a:ln>
                    <a:solidFill>
                      <a:srgbClr val="FFFFFF"/>
                    </a:solidFill>
                    <a:effectLst/>
                    <a:uLnTx/>
                    <a:uFillTx/>
                    <a:latin typeface="Arial"/>
                    <a:ea typeface="+mn-ea"/>
                    <a:cs typeface="Arial"/>
                  </a:rPr>
                  <a:t>win rates </a:t>
                </a:r>
                <a:r>
                  <a:rPr kumimoji="0" lang="en-US" sz="1000" b="0" i="0" u="none" strike="noStrike" kern="1200" cap="none" spc="0" normalizeH="0" baseline="0" noProof="0" dirty="0">
                    <a:ln>
                      <a:noFill/>
                    </a:ln>
                    <a:solidFill>
                      <a:srgbClr val="FFFFFF"/>
                    </a:solidFill>
                    <a:effectLst/>
                    <a:uLnTx/>
                    <a:uFillTx/>
                    <a:latin typeface="Arial"/>
                    <a:ea typeface="+mn-ea"/>
                    <a:cs typeface="Arial"/>
                  </a:rPr>
                  <a:t>for any opportunity brought by NTT and pursued jointly with Microsoft where </a:t>
                </a:r>
                <a:r>
                  <a:rPr kumimoji="0" lang="en-US" sz="1000" b="1" i="0" u="none" strike="noStrike" kern="1200" cap="none" spc="0" normalizeH="0" baseline="0" noProof="0" dirty="0">
                    <a:ln>
                      <a:noFill/>
                    </a:ln>
                    <a:solidFill>
                      <a:srgbClr val="FFFFFF"/>
                    </a:solidFill>
                    <a:effectLst/>
                    <a:uLnTx/>
                    <a:uFillTx/>
                    <a:latin typeface="Arial"/>
                    <a:ea typeface="+mn-ea"/>
                    <a:cs typeface="Arial"/>
                  </a:rPr>
                  <a:t>Microsoft is endorsing </a:t>
                </a:r>
                <a:r>
                  <a:rPr kumimoji="0" lang="en-US" sz="1000" b="0" i="0" u="none" strike="noStrike" kern="1200" cap="none" spc="0" normalizeH="0" baseline="0" noProof="0" dirty="0">
                    <a:ln>
                      <a:noFill/>
                    </a:ln>
                    <a:solidFill>
                      <a:srgbClr val="FFFFFF"/>
                    </a:solidFill>
                    <a:effectLst/>
                    <a:uLnTx/>
                    <a:uFillTx/>
                    <a:latin typeface="Arial"/>
                    <a:ea typeface="+mn-ea"/>
                    <a:cs typeface="Arial"/>
                  </a:rPr>
                  <a:t>NTT’s ability to deliver Voice into Teams</a:t>
                </a:r>
              </a:p>
            </p:txBody>
          </p:sp>
        </p:grpSp>
      </p:grpSp>
      <p:pic>
        <p:nvPicPr>
          <p:cNvPr id="28" name="Picture 4">
            <a:extLst>
              <a:ext uri="{FF2B5EF4-FFF2-40B4-BE49-F238E27FC236}">
                <a16:creationId xmlns:a16="http://schemas.microsoft.com/office/drawing/2014/main" id="{A8D56B1E-2047-5A3F-CB49-59914EDD85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9038" y="1554516"/>
            <a:ext cx="751896" cy="699288"/>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6">
            <a:extLst>
              <a:ext uri="{FF2B5EF4-FFF2-40B4-BE49-F238E27FC236}">
                <a16:creationId xmlns:a16="http://schemas.microsoft.com/office/drawing/2014/main" id="{408556F5-92C2-FFE0-0877-AAA78BC8D0AA}"/>
              </a:ext>
            </a:extLst>
          </p:cNvPr>
          <p:cNvSpPr txBox="1"/>
          <p:nvPr/>
        </p:nvSpPr>
        <p:spPr>
          <a:xfrm>
            <a:off x="497374" y="1554516"/>
            <a:ext cx="5801373" cy="3967240"/>
          </a:xfrm>
          <a:prstGeom prst="rect">
            <a:avLst/>
          </a:prstGeom>
          <a:noFill/>
        </p:spPr>
        <p:txBody>
          <a:bodyPr wrap="square" lIns="68580">
            <a:spAutoFit/>
          </a:bodyPr>
          <a:lstStyle/>
          <a:p>
            <a:pPr marL="0" marR="0" lvl="0" indent="0" algn="l" defTabSz="685775" rtl="0" eaLnBrk="1" fontAlgn="base" latinLnBrk="0" hangingPunct="1">
              <a:lnSpc>
                <a:spcPct val="110000"/>
              </a:lnSpc>
              <a:spcBef>
                <a:spcPct val="0"/>
              </a:spcBef>
              <a:spcAft>
                <a:spcPts val="45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ＭＳ Ｐゴシック" charset="0"/>
                <a:cs typeface="+mn-cs"/>
              </a:rPr>
              <a:t>What is it?</a:t>
            </a:r>
          </a:p>
          <a:p>
            <a:pPr marL="0" marR="0" lvl="0" indent="0" algn="l" defTabSz="914400" rtl="0" eaLnBrk="1" fontAlgn="base" latinLnBrk="0" hangingPunct="1">
              <a:lnSpc>
                <a:spcPct val="100000"/>
              </a:lnSpc>
              <a:spcBef>
                <a:spcPct val="0"/>
              </a:spcBef>
              <a:spcAft>
                <a:spcPts val="90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ＭＳ Ｐゴシック" charset="0"/>
                <a:cs typeface="+mn-cs"/>
              </a:rPr>
              <a:t>Initiative to accelerate the sale and enablement of Teams Phone through joint Microsoft and NTT planning and execution</a:t>
            </a:r>
          </a:p>
          <a:p>
            <a:pPr marL="0" marR="0" lvl="0" indent="0" algn="l" defTabSz="914400" rtl="0" eaLnBrk="1" fontAlgn="base" latinLnBrk="0" hangingPunct="1">
              <a:lnSpc>
                <a:spcPct val="100000"/>
              </a:lnSpc>
              <a:spcBef>
                <a:spcPct val="0"/>
              </a:spcBef>
              <a:spcAft>
                <a:spcPts val="90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ＭＳ Ｐゴシック" charset="0"/>
                <a:cs typeface="+mn-cs"/>
              </a:rPr>
              <a:t>Joint goal to enable </a:t>
            </a:r>
            <a:r>
              <a:rPr kumimoji="0" lang="en-US" sz="1200" b="0" i="0" u="none" strike="noStrike" kern="1200" cap="none" spc="0" normalizeH="0" baseline="0" noProof="0" dirty="0">
                <a:ln>
                  <a:noFill/>
                </a:ln>
                <a:solidFill>
                  <a:srgbClr val="1A1A1A"/>
                </a:solidFill>
                <a:effectLst/>
                <a:uLnTx/>
                <a:uFillTx/>
                <a:latin typeface="Segoe UI Semibold"/>
                <a:ea typeface="ＭＳ Ｐゴシック" charset="0"/>
                <a:cs typeface="+mn-cs"/>
              </a:rPr>
              <a:t>4 million Phone Seats in 4 years</a:t>
            </a:r>
          </a:p>
          <a:p>
            <a:pPr marL="0" marR="0" lvl="0" indent="0" algn="l" defTabSz="914400" rtl="0" eaLnBrk="1" fontAlgn="base" latinLnBrk="0" hangingPunct="1">
              <a:lnSpc>
                <a:spcPct val="100000"/>
              </a:lnSpc>
              <a:spcBef>
                <a:spcPct val="0"/>
              </a:spcBef>
              <a:spcAft>
                <a:spcPts val="90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ＭＳ Ｐゴシック" charset="0"/>
                <a:cs typeface="+mn-cs"/>
              </a:rPr>
              <a:t>Find an effective and repeatable co-sell/co-activate motion that can be scaled</a:t>
            </a:r>
            <a:r>
              <a:rPr kumimoji="0" lang="en-US" sz="1200" b="0" i="0" u="none" strike="noStrike" kern="1200" cap="none" spc="0" normalizeH="0" baseline="0" noProof="0">
                <a:ln>
                  <a:noFill/>
                </a:ln>
                <a:solidFill>
                  <a:srgbClr val="1A1A1A"/>
                </a:solidFill>
                <a:effectLst/>
                <a:uLnTx/>
                <a:uFillTx/>
                <a:latin typeface="Segoe UI"/>
                <a:ea typeface="ＭＳ Ｐゴシック" charset="0"/>
                <a:cs typeface="+mn-cs"/>
              </a:rPr>
              <a:t>, globally. </a:t>
            </a:r>
            <a:endParaRPr kumimoji="0" lang="en-US" sz="1200" b="0" i="0" u="none" strike="noStrike" kern="1200" cap="none" spc="0" normalizeH="0" baseline="0" noProof="0" dirty="0">
              <a:ln>
                <a:noFill/>
              </a:ln>
              <a:solidFill>
                <a:srgbClr val="1A1A1A"/>
              </a:solidFill>
              <a:effectLst/>
              <a:uLnTx/>
              <a:uFillTx/>
              <a:latin typeface="Segoe UI"/>
              <a:ea typeface="ＭＳ Ｐゴシック" charset="0"/>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ＭＳ Ｐゴシック" charset="0"/>
              <a:cs typeface="+mn-cs"/>
            </a:endParaRPr>
          </a:p>
          <a:p>
            <a:pPr marL="0" marR="0" lvl="0" indent="0" algn="l" defTabSz="685775" rtl="0" eaLnBrk="1" fontAlgn="base" latinLnBrk="0" hangingPunct="1">
              <a:lnSpc>
                <a:spcPct val="110000"/>
              </a:lnSpc>
              <a:spcBef>
                <a:spcPct val="0"/>
              </a:spcBef>
              <a:spcAft>
                <a:spcPts val="225"/>
              </a:spcAft>
              <a:buClrTx/>
              <a:buSzTx/>
              <a:buFontTx/>
              <a:buNone/>
              <a:tabLst/>
              <a:defRPr/>
            </a:pPr>
            <a:endParaRPr kumimoji="0" lang="en-US" sz="1600" b="0" i="0" u="none" strike="noStrike" kern="1200" cap="none" spc="0" normalizeH="0" baseline="0" noProof="0" dirty="0">
              <a:ln>
                <a:noFill/>
              </a:ln>
              <a:solidFill>
                <a:srgbClr val="0078D4"/>
              </a:solidFill>
              <a:effectLst/>
              <a:uLnTx/>
              <a:uFillTx/>
              <a:latin typeface="Segoe UI Semibold"/>
              <a:ea typeface="ＭＳ Ｐゴシック" charset="0"/>
              <a:cs typeface="+mn-cs"/>
            </a:endParaRPr>
          </a:p>
          <a:p>
            <a:pPr marL="0" marR="0" lvl="0" indent="0" algn="l" defTabSz="685775" rtl="0" eaLnBrk="1" fontAlgn="base" latinLnBrk="0" hangingPunct="1">
              <a:lnSpc>
                <a:spcPct val="110000"/>
              </a:lnSpc>
              <a:spcBef>
                <a:spcPct val="0"/>
              </a:spcBef>
              <a:spcAft>
                <a:spcPts val="45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ＭＳ Ｐゴシック" charset="0"/>
                <a:cs typeface="+mn-cs"/>
              </a:rPr>
              <a:t>Approach and keys to success</a:t>
            </a:r>
          </a:p>
          <a:p>
            <a:pPr marL="0" marR="0" lvl="0" indent="0" algn="l" defTabSz="914400" rtl="0" eaLnBrk="1" fontAlgn="base" latinLnBrk="0" hangingPunct="1">
              <a:lnSpc>
                <a:spcPct val="100000"/>
              </a:lnSpc>
              <a:spcBef>
                <a:spcPct val="0"/>
              </a:spcBef>
              <a:spcAft>
                <a:spcPts val="90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ＭＳ Ｐゴシック" charset="0"/>
                <a:cs typeface="+mn-cs"/>
              </a:rPr>
              <a:t>Drive concentrated execution in 4 markets: Germany, UK, US, and Western Europe*</a:t>
            </a:r>
          </a:p>
          <a:p>
            <a:pPr marL="0" marR="0" lvl="0" indent="0" algn="l" defTabSz="914400" rtl="0" eaLnBrk="1" fontAlgn="base" latinLnBrk="0" hangingPunct="1">
              <a:lnSpc>
                <a:spcPct val="100000"/>
              </a:lnSpc>
              <a:spcBef>
                <a:spcPct val="0"/>
              </a:spcBef>
              <a:spcAft>
                <a:spcPts val="90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ＭＳ Ｐゴシック" charset="0"/>
                <a:cs typeface="+mn-cs"/>
              </a:rPr>
              <a:t>Create alignment, working connections, and governance cadence at both the WW and area levels</a:t>
            </a:r>
          </a:p>
          <a:p>
            <a:pPr marL="0" marR="0" lvl="0" indent="0" algn="l" defTabSz="914400" rtl="0" eaLnBrk="1" fontAlgn="base" latinLnBrk="0" hangingPunct="1">
              <a:lnSpc>
                <a:spcPct val="100000"/>
              </a:lnSpc>
              <a:spcBef>
                <a:spcPct val="0"/>
              </a:spcBef>
              <a:spcAft>
                <a:spcPts val="90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ＭＳ Ｐゴシック" charset="0"/>
                <a:cs typeface="+mn-cs"/>
              </a:rPr>
              <a:t>Work quickly to get to an agreed list of priority pursuit opportunities in each area</a:t>
            </a:r>
          </a:p>
          <a:p>
            <a:pPr marL="0" marR="0" lvl="0" indent="0" algn="l" defTabSz="914400" rtl="0" eaLnBrk="1" fontAlgn="base" latinLnBrk="0" hangingPunct="1">
              <a:lnSpc>
                <a:spcPct val="100000"/>
              </a:lnSpc>
              <a:spcBef>
                <a:spcPct val="0"/>
              </a:spcBef>
              <a:spcAft>
                <a:spcPts val="90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ＭＳ Ｐゴシック" charset="0"/>
                <a:cs typeface="+mn-cs"/>
              </a:rPr>
              <a:t>Use regular pipeline reviews to flag challenges and request help to leverage all available support and maximize win rate</a:t>
            </a:r>
          </a:p>
        </p:txBody>
      </p:sp>
    </p:spTree>
    <p:extLst>
      <p:ext uri="{BB962C8B-B14F-4D97-AF65-F5344CB8AC3E}">
        <p14:creationId xmlns:p14="http://schemas.microsoft.com/office/powerpoint/2010/main" val="8656074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723B15-F34A-455E-2275-42AFABBC026F}"/>
              </a:ext>
            </a:extLst>
          </p:cNvPr>
          <p:cNvSpPr/>
          <p:nvPr/>
        </p:nvSpPr>
        <p:spPr>
          <a:xfrm>
            <a:off x="0" y="2786743"/>
            <a:ext cx="12192000" cy="407125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70" rtl="0" eaLnBrk="1" fontAlgn="auto"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Arial"/>
              <a:ea typeface="+mn-ea"/>
              <a:cs typeface="+mn-cs"/>
            </a:endParaRPr>
          </a:p>
        </p:txBody>
      </p:sp>
      <p:sp>
        <p:nvSpPr>
          <p:cNvPr id="8" name="Title 16">
            <a:extLst>
              <a:ext uri="{FF2B5EF4-FFF2-40B4-BE49-F238E27FC236}">
                <a16:creationId xmlns:a16="http://schemas.microsoft.com/office/drawing/2014/main" id="{E9989E1B-FDAD-ABF0-54DD-AA57CC5FC30E}"/>
              </a:ext>
            </a:extLst>
          </p:cNvPr>
          <p:cNvSpPr>
            <a:spLocks noGrp="1"/>
          </p:cNvSpPr>
          <p:nvPr>
            <p:ph type="title"/>
          </p:nvPr>
        </p:nvSpPr>
        <p:spPr>
          <a:xfrm>
            <a:off x="308872" y="451377"/>
            <a:ext cx="9704753" cy="500876"/>
          </a:xfrm>
        </p:spPr>
        <p:txBody>
          <a:bodyPr/>
          <a:lstStyle/>
          <a:p>
            <a:r>
              <a:rPr lang="en-GB" dirty="0"/>
              <a:t>In a nutshell</a:t>
            </a:r>
            <a:endParaRPr lang="en-GB" dirty="0">
              <a:solidFill>
                <a:schemeClr val="tx1"/>
              </a:solidFill>
            </a:endParaRPr>
          </a:p>
        </p:txBody>
      </p:sp>
      <p:sp>
        <p:nvSpPr>
          <p:cNvPr id="15" name="Text Placeholder 2">
            <a:extLst>
              <a:ext uri="{FF2B5EF4-FFF2-40B4-BE49-F238E27FC236}">
                <a16:creationId xmlns:a16="http://schemas.microsoft.com/office/drawing/2014/main" id="{B1823C58-2562-776F-420B-5521291BD141}"/>
              </a:ext>
            </a:extLst>
          </p:cNvPr>
          <p:cNvSpPr txBox="1">
            <a:spLocks/>
          </p:cNvSpPr>
          <p:nvPr/>
        </p:nvSpPr>
        <p:spPr>
          <a:xfrm>
            <a:off x="329010" y="990717"/>
            <a:ext cx="11280484" cy="574516"/>
          </a:xfrm>
          <a:prstGeom prst="rect">
            <a:avLst/>
          </a:prstGeom>
        </p:spPr>
        <p:txBody>
          <a:bodyPr/>
          <a:lstStyle>
            <a:lvl1pPr marL="0" indent="0" algn="l" defTabSz="914378" rtl="0" eaLnBrk="1" latinLnBrk="0" hangingPunct="1">
              <a:lnSpc>
                <a:spcPct val="114000"/>
              </a:lnSpc>
              <a:spcBef>
                <a:spcPts val="600"/>
              </a:spcBef>
              <a:spcAft>
                <a:spcPts val="100"/>
              </a:spcAft>
              <a:buFont typeface="Arial" pitchFamily="34" charset="0"/>
              <a:buNone/>
              <a:defRPr sz="1600" kern="1200">
                <a:solidFill>
                  <a:schemeClr val="tx1"/>
                </a:solidFill>
                <a:latin typeface="+mn-lt"/>
                <a:ea typeface="+mn-ea"/>
                <a:cs typeface="+mn-cs"/>
              </a:defRPr>
            </a:lvl1pPr>
            <a:lvl2pPr marL="268281" indent="-177796" algn="l" defTabSz="914378" rtl="0" eaLnBrk="1" latinLnBrk="0" hangingPunct="1">
              <a:lnSpc>
                <a:spcPct val="114000"/>
              </a:lnSpc>
              <a:spcBef>
                <a:spcPts val="200"/>
              </a:spcBef>
              <a:spcAft>
                <a:spcPts val="400"/>
              </a:spcAft>
              <a:buFont typeface="Arial" pitchFamily="34" charset="0"/>
              <a:buChar char="•"/>
              <a:defRPr sz="1600" kern="1200">
                <a:solidFill>
                  <a:schemeClr val="tx1"/>
                </a:solidFill>
                <a:latin typeface="+mn-lt"/>
                <a:ea typeface="+mn-ea"/>
                <a:cs typeface="+mn-cs"/>
              </a:defRPr>
            </a:lvl2pPr>
            <a:lvl3pPr marL="534975" indent="-188909" algn="l" defTabSz="914378" rtl="0" eaLnBrk="1" latinLnBrk="0" hangingPunct="1">
              <a:lnSpc>
                <a:spcPct val="114000"/>
              </a:lnSpc>
              <a:spcBef>
                <a:spcPts val="100"/>
              </a:spcBef>
              <a:spcAft>
                <a:spcPts val="200"/>
              </a:spcAft>
              <a:buFont typeface="Arial" pitchFamily="34" charset="0"/>
              <a:buChar char="›"/>
              <a:defRPr sz="1600" kern="1200">
                <a:solidFill>
                  <a:schemeClr val="tx1"/>
                </a:solidFill>
                <a:latin typeface="+mn-lt"/>
                <a:ea typeface="+mn-ea"/>
                <a:cs typeface="+mn-cs"/>
              </a:defRPr>
            </a:lvl3pPr>
            <a:lvl4pPr marL="1085823" indent="-228594" algn="l" defTabSz="914378" rtl="0" eaLnBrk="1" latinLnBrk="0" hangingPunct="1">
              <a:lnSpc>
                <a:spcPct val="114000"/>
              </a:lnSpc>
              <a:spcBef>
                <a:spcPts val="100"/>
              </a:spcBef>
              <a:spcAft>
                <a:spcPts val="400"/>
              </a:spcAft>
              <a:buFont typeface="Arial" pitchFamily="34" charset="0"/>
              <a:buChar char="»"/>
              <a:defRPr sz="1600" kern="1200">
                <a:solidFill>
                  <a:schemeClr val="tx1"/>
                </a:solidFill>
                <a:latin typeface="+mn-lt"/>
                <a:ea typeface="+mn-ea"/>
                <a:cs typeface="+mn-cs"/>
              </a:defRPr>
            </a:lvl4pPr>
            <a:lvl5pPr marL="1443002" indent="-173034" algn="l" defTabSz="914378" rtl="0" eaLnBrk="1" latinLnBrk="0" hangingPunct="1">
              <a:lnSpc>
                <a:spcPct val="114000"/>
              </a:lnSpc>
              <a:spcBef>
                <a:spcPts val="100"/>
              </a:spcBef>
              <a:spcAft>
                <a:spcPts val="600"/>
              </a:spcAft>
              <a:buFont typeface="Arial" pitchFamily="34" charset="0"/>
              <a:buChar char="-"/>
              <a:defRPr sz="16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 typeface="Arial" pitchFamily="34" charset="0"/>
              <a:buNone/>
              <a:tabLst/>
              <a:defRPr/>
            </a:pPr>
            <a:r>
              <a:rPr kumimoji="0" lang="en-US" sz="1867" b="1" i="0" u="none" strike="noStrike" kern="1200" cap="none" spc="0" normalizeH="0" baseline="0" noProof="0" dirty="0">
                <a:ln>
                  <a:noFill/>
                </a:ln>
                <a:solidFill>
                  <a:srgbClr val="000000"/>
                </a:solidFill>
                <a:effectLst/>
                <a:uLnTx/>
                <a:uFillTx/>
                <a:latin typeface="Arial" charset="0"/>
                <a:ea typeface="ＭＳ Ｐゴシック" charset="0"/>
                <a:cs typeface="+mn-cs"/>
              </a:rPr>
              <a:t>NTT has a proven track record of delivering high-quality services for Microsoft Modern Workplace</a:t>
            </a:r>
          </a:p>
        </p:txBody>
      </p:sp>
      <p:sp>
        <p:nvSpPr>
          <p:cNvPr id="12" name="Rectangle 11">
            <a:extLst>
              <a:ext uri="{FF2B5EF4-FFF2-40B4-BE49-F238E27FC236}">
                <a16:creationId xmlns:a16="http://schemas.microsoft.com/office/drawing/2014/main" id="{1AA27999-F7BB-34FA-357E-3876022BD96E}"/>
              </a:ext>
            </a:extLst>
          </p:cNvPr>
          <p:cNvSpPr/>
          <p:nvPr/>
        </p:nvSpPr>
        <p:spPr>
          <a:xfrm>
            <a:off x="3463509" y="1360426"/>
            <a:ext cx="4308890" cy="461665"/>
          </a:xfrm>
          <a:prstGeom prst="rect">
            <a:avLst/>
          </a:prstGeom>
          <a:solidFill>
            <a:schemeClr val="bg1"/>
          </a:solidFill>
        </p:spPr>
        <p:txBody>
          <a:bodyPr wrap="square">
            <a:spAutoFit/>
          </a:bodyPr>
          <a:lstStyle/>
          <a:p>
            <a:pPr marL="0" marR="0" lvl="0" indent="0" algn="ctr" defTabSz="1219170" rtl="0" eaLnBrk="1" fontAlgn="base" latinLnBrk="0" hangingPunct="1">
              <a:lnSpc>
                <a:spcPct val="100000"/>
              </a:lnSpc>
              <a:spcBef>
                <a:spcPts val="267"/>
              </a:spcBef>
              <a:spcAft>
                <a:spcPts val="267"/>
              </a:spcAft>
              <a:buClrTx/>
              <a:buSzTx/>
              <a:buFontTx/>
              <a:buNone/>
              <a:tabLst/>
              <a:defRPr/>
            </a:pPr>
            <a:r>
              <a:rPr kumimoji="0" lang="en-CA" sz="2400" b="1" i="0" u="none" strike="noStrike" kern="1200" cap="none" spc="0" normalizeH="0" baseline="0" noProof="0" dirty="0">
                <a:ln>
                  <a:noFill/>
                </a:ln>
                <a:solidFill>
                  <a:srgbClr val="0072BC"/>
                </a:solidFill>
                <a:effectLst/>
                <a:uLnTx/>
                <a:uFillTx/>
                <a:latin typeface="Arial" panose="020B0604020202020204" pitchFamily="34" charset="0"/>
                <a:ea typeface="ＭＳ Ｐゴシック" charset="0"/>
                <a:cs typeface="Arial" panose="020B0604020202020204" pitchFamily="34" charset="0"/>
              </a:rPr>
              <a:t>4 key differentiators</a:t>
            </a:r>
            <a:endParaRPr kumimoji="0" lang="en-CA" sz="2400" b="0" i="0" u="none" strike="noStrike" kern="1200" cap="none" spc="0" normalizeH="0" baseline="0" noProof="0" dirty="0">
              <a:ln>
                <a:noFill/>
              </a:ln>
              <a:solidFill>
                <a:srgbClr val="0072BC"/>
              </a:solidFill>
              <a:effectLst/>
              <a:uLnTx/>
              <a:uFillTx/>
              <a:latin typeface="Arial" panose="020B0604020202020204" pitchFamily="34" charset="0"/>
              <a:ea typeface="ＭＳ Ｐゴシック" charset="0"/>
              <a:cs typeface="Arial" panose="020B0604020202020204" pitchFamily="34" charset="0"/>
            </a:endParaRPr>
          </a:p>
        </p:txBody>
      </p:sp>
      <p:grpSp>
        <p:nvGrpSpPr>
          <p:cNvPr id="37" name="Groupe 36">
            <a:extLst>
              <a:ext uri="{FF2B5EF4-FFF2-40B4-BE49-F238E27FC236}">
                <a16:creationId xmlns:a16="http://schemas.microsoft.com/office/drawing/2014/main" id="{41BEB4EB-012D-70CA-7FC7-31F5D56CA834}"/>
              </a:ext>
            </a:extLst>
          </p:cNvPr>
          <p:cNvGrpSpPr/>
          <p:nvPr/>
        </p:nvGrpSpPr>
        <p:grpSpPr>
          <a:xfrm>
            <a:off x="106119" y="1981083"/>
            <a:ext cx="2816694" cy="4020711"/>
            <a:chOff x="57132" y="1981083"/>
            <a:chExt cx="2816694" cy="4020711"/>
          </a:xfrm>
        </p:grpSpPr>
        <p:sp>
          <p:nvSpPr>
            <p:cNvPr id="25" name="Rectangle 24">
              <a:extLst>
                <a:ext uri="{FF2B5EF4-FFF2-40B4-BE49-F238E27FC236}">
                  <a16:creationId xmlns:a16="http://schemas.microsoft.com/office/drawing/2014/main" id="{D6A7CBAB-8FEF-1063-08BC-FFEF23514D2D}"/>
                </a:ext>
              </a:extLst>
            </p:cNvPr>
            <p:cNvSpPr/>
            <p:nvPr/>
          </p:nvSpPr>
          <p:spPr>
            <a:xfrm>
              <a:off x="57132" y="3508804"/>
              <a:ext cx="2816694" cy="2492990"/>
            </a:xfrm>
            <a:prstGeom prst="rect">
              <a:avLst/>
            </a:prstGeom>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Broadest Modern Workplace services ecosystem &amp; expertise</a:t>
              </a:r>
            </a:p>
            <a:p>
              <a:pPr marL="0" marR="0" lvl="0" indent="0" algn="ctr" defTabSz="121917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Advisory &amp; Transformation Services, Managed Services for Teams &amp; M365 Productivity, Compliance, Events, Mobility, Integrated Contact Center</a:t>
              </a:r>
              <a:endParaRPr kumimoji="0" lang="en-CA"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6" name="Ellipse 5">
              <a:extLst>
                <a:ext uri="{FF2B5EF4-FFF2-40B4-BE49-F238E27FC236}">
                  <a16:creationId xmlns:a16="http://schemas.microsoft.com/office/drawing/2014/main" id="{876CFDAC-C77D-9070-0B96-CABE4E86E297}"/>
                </a:ext>
              </a:extLst>
            </p:cNvPr>
            <p:cNvSpPr/>
            <p:nvPr/>
          </p:nvSpPr>
          <p:spPr>
            <a:xfrm>
              <a:off x="693752" y="1981083"/>
              <a:ext cx="1543455" cy="1543455"/>
            </a:xfrm>
            <a:prstGeom prst="ellipse">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Ellipse 6">
              <a:extLst>
                <a:ext uri="{FF2B5EF4-FFF2-40B4-BE49-F238E27FC236}">
                  <a16:creationId xmlns:a16="http://schemas.microsoft.com/office/drawing/2014/main" id="{AC2F4152-FBE9-79B8-B3D2-1E5E0FDA77F2}"/>
                </a:ext>
              </a:extLst>
            </p:cNvPr>
            <p:cNvSpPr/>
            <p:nvPr/>
          </p:nvSpPr>
          <p:spPr>
            <a:xfrm>
              <a:off x="854020" y="2133484"/>
              <a:ext cx="1222919" cy="1222919"/>
            </a:xfrm>
            <a:prstGeom prst="ellipse">
              <a:avLst/>
            </a:prstGeom>
            <a:solidFill>
              <a:schemeClr val="bg1"/>
            </a:solidFill>
            <a:ln w="2540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fr-FR" sz="5400" b="1" i="0" u="none" strike="noStrike" kern="1200" cap="none" spc="0" normalizeH="0" baseline="0" noProof="0" dirty="0">
                  <a:ln>
                    <a:noFill/>
                  </a:ln>
                  <a:solidFill>
                    <a:srgbClr val="0072BC"/>
                  </a:solidFill>
                  <a:effectLst/>
                  <a:uLnTx/>
                  <a:uFillTx/>
                  <a:latin typeface="Arial"/>
                  <a:ea typeface="+mn-ea"/>
                  <a:cs typeface="+mn-cs"/>
                </a:rPr>
                <a:t>1</a:t>
              </a:r>
            </a:p>
          </p:txBody>
        </p:sp>
      </p:grpSp>
      <p:grpSp>
        <p:nvGrpSpPr>
          <p:cNvPr id="33" name="Groupe 32">
            <a:extLst>
              <a:ext uri="{FF2B5EF4-FFF2-40B4-BE49-F238E27FC236}">
                <a16:creationId xmlns:a16="http://schemas.microsoft.com/office/drawing/2014/main" id="{D3692AA7-8D7A-1817-591C-E3584029FFAF}"/>
              </a:ext>
            </a:extLst>
          </p:cNvPr>
          <p:cNvGrpSpPr/>
          <p:nvPr/>
        </p:nvGrpSpPr>
        <p:grpSpPr>
          <a:xfrm>
            <a:off x="3299901" y="1981083"/>
            <a:ext cx="2637738" cy="3189714"/>
            <a:chOff x="2798287" y="2302213"/>
            <a:chExt cx="2637738" cy="3189714"/>
          </a:xfrm>
        </p:grpSpPr>
        <p:sp>
          <p:nvSpPr>
            <p:cNvPr id="9" name="Rectangle 8">
              <a:extLst>
                <a:ext uri="{FF2B5EF4-FFF2-40B4-BE49-F238E27FC236}">
                  <a16:creationId xmlns:a16="http://schemas.microsoft.com/office/drawing/2014/main" id="{F8B0F4C4-822C-64B9-D215-90054296F473}"/>
                </a:ext>
              </a:extLst>
            </p:cNvPr>
            <p:cNvSpPr/>
            <p:nvPr/>
          </p:nvSpPr>
          <p:spPr>
            <a:xfrm>
              <a:off x="2798287" y="3829934"/>
              <a:ext cx="2637738" cy="1661993"/>
            </a:xfrm>
            <a:prstGeom prst="rect">
              <a:avLst/>
            </a:prstGeom>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Most successful Operator Connect partner globally</a:t>
              </a:r>
            </a:p>
            <a:p>
              <a:pPr marL="0" marR="0" lvl="0" indent="0" algn="ctr" defTabSz="121917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320k Operator Connect users</a:t>
              </a: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800k Microsoft Voice users</a:t>
              </a:r>
              <a:endParaRPr kumimoji="0" lang="en-CA"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0" name="Ellipse 9">
              <a:extLst>
                <a:ext uri="{FF2B5EF4-FFF2-40B4-BE49-F238E27FC236}">
                  <a16:creationId xmlns:a16="http://schemas.microsoft.com/office/drawing/2014/main" id="{8DC1D8E9-066F-70B1-1CED-677D58DA566F}"/>
                </a:ext>
              </a:extLst>
            </p:cNvPr>
            <p:cNvSpPr/>
            <p:nvPr/>
          </p:nvSpPr>
          <p:spPr>
            <a:xfrm>
              <a:off x="3347853" y="2302213"/>
              <a:ext cx="1543455" cy="1543455"/>
            </a:xfrm>
            <a:prstGeom prst="ellipse">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Ellipse 10">
              <a:extLst>
                <a:ext uri="{FF2B5EF4-FFF2-40B4-BE49-F238E27FC236}">
                  <a16:creationId xmlns:a16="http://schemas.microsoft.com/office/drawing/2014/main" id="{FFC98822-BF0D-EFBB-5699-3409F216CB32}"/>
                </a:ext>
              </a:extLst>
            </p:cNvPr>
            <p:cNvSpPr/>
            <p:nvPr/>
          </p:nvSpPr>
          <p:spPr>
            <a:xfrm>
              <a:off x="3505697" y="2454614"/>
              <a:ext cx="1222919" cy="1222919"/>
            </a:xfrm>
            <a:prstGeom prst="ellipse">
              <a:avLst/>
            </a:prstGeom>
            <a:solidFill>
              <a:schemeClr val="bg1"/>
            </a:solidFill>
            <a:ln w="2540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fr-FR" sz="5400" b="1" i="0" u="none" strike="noStrike" kern="1200" cap="none" spc="0" normalizeH="0" baseline="0" noProof="0" dirty="0">
                  <a:ln>
                    <a:noFill/>
                  </a:ln>
                  <a:solidFill>
                    <a:srgbClr val="0072BC"/>
                  </a:solidFill>
                  <a:effectLst/>
                  <a:uLnTx/>
                  <a:uFillTx/>
                  <a:latin typeface="Arial"/>
                  <a:ea typeface="+mn-ea"/>
                  <a:cs typeface="+mn-cs"/>
                </a:rPr>
                <a:t>2</a:t>
              </a:r>
            </a:p>
          </p:txBody>
        </p:sp>
      </p:grpSp>
      <p:grpSp>
        <p:nvGrpSpPr>
          <p:cNvPr id="35" name="Groupe 34">
            <a:extLst>
              <a:ext uri="{FF2B5EF4-FFF2-40B4-BE49-F238E27FC236}">
                <a16:creationId xmlns:a16="http://schemas.microsoft.com/office/drawing/2014/main" id="{A9BD2272-3D7B-04C1-38F7-76D2AD0D12AB}"/>
              </a:ext>
            </a:extLst>
          </p:cNvPr>
          <p:cNvGrpSpPr/>
          <p:nvPr/>
        </p:nvGrpSpPr>
        <p:grpSpPr>
          <a:xfrm>
            <a:off x="6314727" y="1981083"/>
            <a:ext cx="2637738" cy="3220492"/>
            <a:chOff x="5764644" y="2302213"/>
            <a:chExt cx="2637738" cy="3220492"/>
          </a:xfrm>
        </p:grpSpPr>
        <p:sp>
          <p:nvSpPr>
            <p:cNvPr id="13" name="Rectangle 12">
              <a:extLst>
                <a:ext uri="{FF2B5EF4-FFF2-40B4-BE49-F238E27FC236}">
                  <a16:creationId xmlns:a16="http://schemas.microsoft.com/office/drawing/2014/main" id="{32DFBB19-A8F6-3E87-F336-E1D16F5B6ADA}"/>
                </a:ext>
              </a:extLst>
            </p:cNvPr>
            <p:cNvSpPr/>
            <p:nvPr/>
          </p:nvSpPr>
          <p:spPr>
            <a:xfrm>
              <a:off x="5764644" y="3829934"/>
              <a:ext cx="2637738" cy="1692771"/>
            </a:xfrm>
            <a:prstGeom prst="rect">
              <a:avLst/>
            </a:prstGeom>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Global footprint</a:t>
              </a:r>
            </a:p>
            <a:p>
              <a:pPr marL="0" marR="0" lvl="0" indent="0" algn="ctr" defTabSz="121917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Global Service centers, 39 countries with full telephony replacement capabilities, 120+ countries with contact center access</a:t>
              </a:r>
              <a:endParaRPr kumimoji="0" lang="en-CA"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4" name="Ellipse 13">
              <a:extLst>
                <a:ext uri="{FF2B5EF4-FFF2-40B4-BE49-F238E27FC236}">
                  <a16:creationId xmlns:a16="http://schemas.microsoft.com/office/drawing/2014/main" id="{90E255E2-A53D-EA44-5468-714F1F4338D6}"/>
                </a:ext>
              </a:extLst>
            </p:cNvPr>
            <p:cNvSpPr/>
            <p:nvPr/>
          </p:nvSpPr>
          <p:spPr>
            <a:xfrm>
              <a:off x="6314210" y="2302213"/>
              <a:ext cx="1543455" cy="1543455"/>
            </a:xfrm>
            <a:prstGeom prst="ellipse">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Ellipse 15">
              <a:extLst>
                <a:ext uri="{FF2B5EF4-FFF2-40B4-BE49-F238E27FC236}">
                  <a16:creationId xmlns:a16="http://schemas.microsoft.com/office/drawing/2014/main" id="{44B5A21B-E802-9CB2-C817-3ED29FD0B3E7}"/>
                </a:ext>
              </a:extLst>
            </p:cNvPr>
            <p:cNvSpPr/>
            <p:nvPr/>
          </p:nvSpPr>
          <p:spPr>
            <a:xfrm>
              <a:off x="6472054" y="2454614"/>
              <a:ext cx="1222919" cy="1222919"/>
            </a:xfrm>
            <a:prstGeom prst="ellipse">
              <a:avLst/>
            </a:prstGeom>
            <a:solidFill>
              <a:schemeClr val="bg1"/>
            </a:solidFill>
            <a:ln w="2540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fr-FR" sz="5400" b="1" i="0" u="none" strike="noStrike" kern="1200" cap="none" spc="0" normalizeH="0" baseline="0" noProof="0" dirty="0">
                  <a:ln>
                    <a:noFill/>
                  </a:ln>
                  <a:solidFill>
                    <a:srgbClr val="0072BC"/>
                  </a:solidFill>
                  <a:effectLst/>
                  <a:uLnTx/>
                  <a:uFillTx/>
                  <a:latin typeface="Arial"/>
                  <a:ea typeface="+mn-ea"/>
                  <a:cs typeface="+mn-cs"/>
                </a:rPr>
                <a:t>3</a:t>
              </a:r>
            </a:p>
          </p:txBody>
        </p:sp>
      </p:grpSp>
      <p:grpSp>
        <p:nvGrpSpPr>
          <p:cNvPr id="36" name="Groupe 35">
            <a:extLst>
              <a:ext uri="{FF2B5EF4-FFF2-40B4-BE49-F238E27FC236}">
                <a16:creationId xmlns:a16="http://schemas.microsoft.com/office/drawing/2014/main" id="{98EC8150-6CB8-01CE-4CBB-867802E77450}"/>
              </a:ext>
            </a:extLst>
          </p:cNvPr>
          <p:cNvGrpSpPr/>
          <p:nvPr/>
        </p:nvGrpSpPr>
        <p:grpSpPr>
          <a:xfrm>
            <a:off x="9329554" y="1981083"/>
            <a:ext cx="2637738" cy="4820930"/>
            <a:chOff x="9280567" y="2302213"/>
            <a:chExt cx="2637738" cy="4820930"/>
          </a:xfrm>
        </p:grpSpPr>
        <p:sp>
          <p:nvSpPr>
            <p:cNvPr id="17" name="Rectangle 16">
              <a:extLst>
                <a:ext uri="{FF2B5EF4-FFF2-40B4-BE49-F238E27FC236}">
                  <a16:creationId xmlns:a16="http://schemas.microsoft.com/office/drawing/2014/main" id="{3AF6316D-4CAC-45E3-7191-8645724F30D2}"/>
                </a:ext>
              </a:extLst>
            </p:cNvPr>
            <p:cNvSpPr/>
            <p:nvPr/>
          </p:nvSpPr>
          <p:spPr>
            <a:xfrm>
              <a:off x="9280567" y="3829934"/>
              <a:ext cx="2637738" cy="3293209"/>
            </a:xfrm>
            <a:prstGeom prst="rect">
              <a:avLst/>
            </a:prstGeom>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Tight relationship with Microsoft</a:t>
              </a:r>
            </a:p>
            <a:p>
              <a:pPr marL="0" marR="0" lvl="0" indent="0" algn="ctr" defTabSz="121917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Operator Accelerate partner in 4 areas (US/DE/UK/WE)</a:t>
              </a:r>
            </a:p>
            <a:p>
              <a:pPr marL="0" marR="0" lvl="0" indent="0" algn="ctr" defTabSz="121917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Joint innovation on Operator Connect, Mobility, ACS, </a:t>
              </a:r>
              <a:b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b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Digital Contact Center, Automation.</a:t>
              </a:r>
            </a:p>
            <a:p>
              <a:pPr marL="0" marR="0" lvl="0" indent="0" algn="ctr" defTabSz="121917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Influencing the Microsoft roadmap with feedback from our Customer deployments</a:t>
              </a:r>
              <a:endParaRPr kumimoji="0" lang="en-CA" sz="1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18" name="Ellipse 17">
              <a:extLst>
                <a:ext uri="{FF2B5EF4-FFF2-40B4-BE49-F238E27FC236}">
                  <a16:creationId xmlns:a16="http://schemas.microsoft.com/office/drawing/2014/main" id="{4816D2A2-A05B-2788-8CBD-86BF4E9B8549}"/>
                </a:ext>
              </a:extLst>
            </p:cNvPr>
            <p:cNvSpPr/>
            <p:nvPr/>
          </p:nvSpPr>
          <p:spPr>
            <a:xfrm>
              <a:off x="9830133" y="2302213"/>
              <a:ext cx="1543455" cy="1543455"/>
            </a:xfrm>
            <a:prstGeom prst="ellipse">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Ellipse 18">
              <a:extLst>
                <a:ext uri="{FF2B5EF4-FFF2-40B4-BE49-F238E27FC236}">
                  <a16:creationId xmlns:a16="http://schemas.microsoft.com/office/drawing/2014/main" id="{EBCE9E3A-A767-7A2A-1E8A-D38BF0BCBF00}"/>
                </a:ext>
              </a:extLst>
            </p:cNvPr>
            <p:cNvSpPr/>
            <p:nvPr/>
          </p:nvSpPr>
          <p:spPr>
            <a:xfrm>
              <a:off x="9987977" y="2454614"/>
              <a:ext cx="1222919" cy="1222919"/>
            </a:xfrm>
            <a:prstGeom prst="ellipse">
              <a:avLst/>
            </a:prstGeom>
            <a:solidFill>
              <a:schemeClr val="bg1"/>
            </a:solidFill>
            <a:ln w="2540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fr-FR" sz="5400" b="1" i="0" u="none" strike="noStrike" kern="1200" cap="none" spc="0" normalizeH="0" baseline="0" noProof="0" dirty="0">
                  <a:ln>
                    <a:noFill/>
                  </a:ln>
                  <a:solidFill>
                    <a:srgbClr val="0072BC"/>
                  </a:solidFill>
                  <a:effectLst/>
                  <a:uLnTx/>
                  <a:uFillTx/>
                  <a:latin typeface="Arial"/>
                  <a:ea typeface="+mn-ea"/>
                  <a:cs typeface="+mn-cs"/>
                </a:rPr>
                <a:t>4</a:t>
              </a:r>
            </a:p>
          </p:txBody>
        </p:sp>
      </p:grpSp>
    </p:spTree>
    <p:extLst>
      <p:ext uri="{BB962C8B-B14F-4D97-AF65-F5344CB8AC3E}">
        <p14:creationId xmlns:p14="http://schemas.microsoft.com/office/powerpoint/2010/main" val="247980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0CB69484-C723-4F59-853A-F1D296121C76}"/>
              </a:ext>
            </a:extLst>
          </p:cNvPr>
          <p:cNvSpPr>
            <a:spLocks noGrp="1"/>
          </p:cNvSpPr>
          <p:nvPr>
            <p:ph type="title"/>
          </p:nvPr>
        </p:nvSpPr>
        <p:spPr>
          <a:xfrm>
            <a:off x="269491" y="388154"/>
            <a:ext cx="3903184" cy="1063095"/>
          </a:xfrm>
        </p:spPr>
        <p:txBody>
          <a:bodyPr/>
          <a:lstStyle/>
          <a:p>
            <a:pPr>
              <a:lnSpc>
                <a:spcPct val="100000"/>
              </a:lnSpc>
              <a:spcBef>
                <a:spcPts val="0"/>
              </a:spcBef>
              <a:spcAft>
                <a:spcPts val="0"/>
              </a:spcAft>
            </a:pPr>
            <a:r>
              <a:rPr lang="en-US" altLang="ko-KR">
                <a:latin typeface="Arial" panose="020B0604020202020204" pitchFamily="34" charset="0"/>
                <a:cs typeface="Arial" panose="020B0604020202020204" pitchFamily="34" charset="0"/>
              </a:rPr>
              <a:t>What clients get from NTT and Microsoft</a:t>
            </a:r>
            <a:endParaRPr lang="en-US">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1D7F9D0B-19D2-49BC-937D-F5DD96747698}"/>
              </a:ext>
            </a:extLst>
          </p:cNvPr>
          <p:cNvSpPr/>
          <p:nvPr/>
        </p:nvSpPr>
        <p:spPr>
          <a:xfrm>
            <a:off x="359201" y="1735636"/>
            <a:ext cx="3723763" cy="2934704"/>
          </a:xfrm>
          <a:prstGeom prst="rect">
            <a:avLst/>
          </a:prstGeom>
        </p:spPr>
        <p:txBody>
          <a:bodyPr wrap="square" lIns="0" tIns="0" rIns="0" bIns="0">
            <a:noAutofit/>
          </a:bodyPr>
          <a:lstStyle/>
          <a:p>
            <a:pPr marL="0" marR="0" lvl="0" indent="0" algn="l" defTabSz="457189"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BD3B5"/>
                </a:solidFill>
                <a:effectLst/>
                <a:uLnTx/>
                <a:uFillTx/>
                <a:latin typeface="Arial" panose="020B0604020202020204" pitchFamily="34" charset="0"/>
                <a:ea typeface="ＭＳ Ｐゴシック" charset="0"/>
                <a:cs typeface="Arial" panose="020B0604020202020204" pitchFamily="34" charset="0"/>
              </a:rPr>
              <a:t>NTT guides organizations on their journey to Microsoft Teams, providing end-to end service management, fully integrated voice and support, to realize its full potential and make the transformation a success.</a:t>
            </a:r>
          </a:p>
        </p:txBody>
      </p:sp>
      <p:sp>
        <p:nvSpPr>
          <p:cNvPr id="7" name="Rectangle 6">
            <a:extLst>
              <a:ext uri="{FF2B5EF4-FFF2-40B4-BE49-F238E27FC236}">
                <a16:creationId xmlns:a16="http://schemas.microsoft.com/office/drawing/2014/main" id="{B8EF45CA-E327-41E7-B98D-7215D12EF592}"/>
              </a:ext>
            </a:extLst>
          </p:cNvPr>
          <p:cNvSpPr/>
          <p:nvPr/>
        </p:nvSpPr>
        <p:spPr>
          <a:xfrm>
            <a:off x="4235190" y="963"/>
            <a:ext cx="4064405" cy="3429000"/>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189" rtl="0" eaLnBrk="1" fontAlgn="auto" latinLnBrk="0" hangingPunct="1">
              <a:lnSpc>
                <a:spcPct val="110000"/>
              </a:lnSpc>
              <a:spcBef>
                <a:spcPts val="200"/>
              </a:spcBef>
              <a:spcAft>
                <a:spcPts val="2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41C8BDFA-EA64-4039-9C65-E77A3B93BF2C}"/>
              </a:ext>
            </a:extLst>
          </p:cNvPr>
          <p:cNvSpPr txBox="1"/>
          <p:nvPr/>
        </p:nvSpPr>
        <p:spPr>
          <a:xfrm>
            <a:off x="4789677" y="1136570"/>
            <a:ext cx="3167727" cy="629357"/>
          </a:xfrm>
          <a:prstGeom prst="rect">
            <a:avLst/>
          </a:prstGeom>
          <a:noFill/>
        </p:spPr>
        <p:txBody>
          <a:bodyPr wrap="square" lIns="0" tIns="0" rIns="0" bIns="0" rtlCol="0" anchor="ctr">
            <a:noAutofit/>
          </a:bodyPr>
          <a:lstStyle/>
          <a:p>
            <a:pPr marL="0" marR="0" lvl="0" indent="0" algn="l" defTabSz="1219140" rtl="0" eaLnBrk="1" fontAlgn="auto" latinLnBrk="1" hangingPunct="1">
              <a:lnSpc>
                <a:spcPct val="100000"/>
              </a:lnSpc>
              <a:spcBef>
                <a:spcPts val="0"/>
              </a:spcBef>
              <a:spcAft>
                <a:spcPts val="0"/>
              </a:spcAft>
              <a:buClrTx/>
              <a:buSzTx/>
              <a:buFontTx/>
              <a:buNone/>
              <a:tabLst/>
              <a:defRPr/>
            </a:pPr>
            <a:r>
              <a:rPr kumimoji="0" lang="en-US" altLang="ko-KR" sz="2400"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 </a:t>
            </a:r>
            <a:br>
              <a:rPr kumimoji="0" lang="en-US" altLang="ko-KR" sz="1600"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br>
            <a:r>
              <a:rPr kumimoji="0" lang="en-US" altLang="ko-KR" sz="4800" b="1"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1</a:t>
            </a:r>
          </a:p>
          <a:p>
            <a:pPr marL="0" marR="0" lvl="0" indent="0" algn="l" defTabSz="1219140" rtl="0" eaLnBrk="1" fontAlgn="auto" latinLnBrk="1" hangingPunct="1">
              <a:lnSpc>
                <a:spcPct val="100000"/>
              </a:lnSpc>
              <a:spcBef>
                <a:spcPts val="0"/>
              </a:spcBef>
              <a:spcAft>
                <a:spcPts val="0"/>
              </a:spcAft>
              <a:buClrTx/>
              <a:buSzTx/>
              <a:buFontTx/>
              <a:buNone/>
              <a:tabLst/>
              <a:defRPr/>
            </a:pPr>
            <a:r>
              <a:rPr kumimoji="0" lang="en-US" altLang="ko-KR" sz="1867"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Planning &amp; design engagement to get you started on your journey to Microsoft Teams quickly</a:t>
            </a:r>
          </a:p>
        </p:txBody>
      </p:sp>
      <p:grpSp>
        <p:nvGrpSpPr>
          <p:cNvPr id="9" name="Group 8">
            <a:extLst>
              <a:ext uri="{FF2B5EF4-FFF2-40B4-BE49-F238E27FC236}">
                <a16:creationId xmlns:a16="http://schemas.microsoft.com/office/drawing/2014/main" id="{1E55EA74-47BC-40F8-BF38-C3A1D0F7B6F1}"/>
              </a:ext>
            </a:extLst>
          </p:cNvPr>
          <p:cNvGrpSpPr/>
          <p:nvPr/>
        </p:nvGrpSpPr>
        <p:grpSpPr>
          <a:xfrm>
            <a:off x="4219823" y="3397414"/>
            <a:ext cx="4098160" cy="3470204"/>
            <a:chOff x="4223019" y="3397414"/>
            <a:chExt cx="4009650" cy="3470203"/>
          </a:xfrm>
        </p:grpSpPr>
        <p:pic>
          <p:nvPicPr>
            <p:cNvPr id="10" name="Picture 9" descr="A blurry image of a person&#10;&#10;Description automatically generated">
              <a:extLst>
                <a:ext uri="{FF2B5EF4-FFF2-40B4-BE49-F238E27FC236}">
                  <a16:creationId xmlns:a16="http://schemas.microsoft.com/office/drawing/2014/main" id="{B24D727C-2483-46A4-ACE0-84BC5346744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35570" y="3397415"/>
              <a:ext cx="3975914" cy="3463261"/>
            </a:xfrm>
            <a:prstGeom prst="rect">
              <a:avLst/>
            </a:prstGeom>
          </p:spPr>
        </p:pic>
        <p:sp>
          <p:nvSpPr>
            <p:cNvPr id="11" name="Rectangle 10">
              <a:extLst>
                <a:ext uri="{FF2B5EF4-FFF2-40B4-BE49-F238E27FC236}">
                  <a16:creationId xmlns:a16="http://schemas.microsoft.com/office/drawing/2014/main" id="{D8F5DBE3-3600-4760-85BF-DAE684788BBC}"/>
                </a:ext>
              </a:extLst>
            </p:cNvPr>
            <p:cNvSpPr/>
            <p:nvPr/>
          </p:nvSpPr>
          <p:spPr>
            <a:xfrm>
              <a:off x="4223019" y="3397414"/>
              <a:ext cx="4009650" cy="3470203"/>
            </a:xfrm>
            <a:prstGeom prst="rect">
              <a:avLst/>
            </a:prstGeom>
            <a:solidFill>
              <a:srgbClr val="0E1000">
                <a:alpha val="38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189" rtl="0" eaLnBrk="1" fontAlgn="auto" latinLnBrk="0" hangingPunct="1">
                <a:lnSpc>
                  <a:spcPct val="110000"/>
                </a:lnSpc>
                <a:spcBef>
                  <a:spcPts val="200"/>
                </a:spcBef>
                <a:spcAft>
                  <a:spcPts val="2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2" name="Group 11">
            <a:extLst>
              <a:ext uri="{FF2B5EF4-FFF2-40B4-BE49-F238E27FC236}">
                <a16:creationId xmlns:a16="http://schemas.microsoft.com/office/drawing/2014/main" id="{5A4A2759-AEC6-4BE7-9BE2-CFAAEBEB659E}"/>
              </a:ext>
            </a:extLst>
          </p:cNvPr>
          <p:cNvGrpSpPr/>
          <p:nvPr/>
        </p:nvGrpSpPr>
        <p:grpSpPr>
          <a:xfrm>
            <a:off x="8232670" y="0"/>
            <a:ext cx="3976295" cy="3404000"/>
            <a:chOff x="8232669" y="0"/>
            <a:chExt cx="3976294" cy="3404000"/>
          </a:xfrm>
        </p:grpSpPr>
        <p:pic>
          <p:nvPicPr>
            <p:cNvPr id="13" name="Picture 12" descr="A picture containing person, indoor, man, striped&#10;&#10;Description automatically generated">
              <a:extLst>
                <a:ext uri="{FF2B5EF4-FFF2-40B4-BE49-F238E27FC236}">
                  <a16:creationId xmlns:a16="http://schemas.microsoft.com/office/drawing/2014/main" id="{E92D329A-B6A2-4540-A5FF-1AE377F9F65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34364" y="0"/>
              <a:ext cx="3968414" cy="3385124"/>
            </a:xfrm>
            <a:prstGeom prst="rect">
              <a:avLst/>
            </a:prstGeom>
          </p:spPr>
        </p:pic>
        <p:sp>
          <p:nvSpPr>
            <p:cNvPr id="14" name="Rectangle 13">
              <a:extLst>
                <a:ext uri="{FF2B5EF4-FFF2-40B4-BE49-F238E27FC236}">
                  <a16:creationId xmlns:a16="http://schemas.microsoft.com/office/drawing/2014/main" id="{88C3D8C8-BEFD-400A-AACF-F9644C693588}"/>
                </a:ext>
              </a:extLst>
            </p:cNvPr>
            <p:cNvSpPr/>
            <p:nvPr/>
          </p:nvSpPr>
          <p:spPr>
            <a:xfrm>
              <a:off x="8232669" y="0"/>
              <a:ext cx="3976294" cy="3404000"/>
            </a:xfrm>
            <a:prstGeom prst="rect">
              <a:avLst/>
            </a:prstGeom>
            <a:solidFill>
              <a:srgbClr val="0E1000">
                <a:alpha val="47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189" rtl="0" eaLnBrk="1" fontAlgn="auto" latinLnBrk="0" hangingPunct="1">
                <a:lnSpc>
                  <a:spcPct val="110000"/>
                </a:lnSpc>
                <a:spcBef>
                  <a:spcPts val="200"/>
                </a:spcBef>
                <a:spcAft>
                  <a:spcPts val="2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5" name="Rectangle 14">
            <a:extLst>
              <a:ext uri="{FF2B5EF4-FFF2-40B4-BE49-F238E27FC236}">
                <a16:creationId xmlns:a16="http://schemas.microsoft.com/office/drawing/2014/main" id="{4DE8E4F4-D2E2-4681-A2CB-7B7033160A70}"/>
              </a:ext>
            </a:extLst>
          </p:cNvPr>
          <p:cNvSpPr/>
          <p:nvPr/>
        </p:nvSpPr>
        <p:spPr>
          <a:xfrm>
            <a:off x="8224036" y="3394740"/>
            <a:ext cx="3984929" cy="3463261"/>
          </a:xfrm>
          <a:prstGeom prst="rect">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189" rtl="0" eaLnBrk="1" fontAlgn="auto" latinLnBrk="0" hangingPunct="1">
              <a:lnSpc>
                <a:spcPct val="110000"/>
              </a:lnSpc>
              <a:spcBef>
                <a:spcPts val="200"/>
              </a:spcBef>
              <a:spcAft>
                <a:spcPts val="2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6DD47857-1C1F-4ABB-83B0-CC5553FBBE3F}"/>
              </a:ext>
            </a:extLst>
          </p:cNvPr>
          <p:cNvSpPr txBox="1"/>
          <p:nvPr/>
        </p:nvSpPr>
        <p:spPr>
          <a:xfrm>
            <a:off x="4789677" y="4529358"/>
            <a:ext cx="3167727" cy="629357"/>
          </a:xfrm>
          <a:prstGeom prst="rect">
            <a:avLst/>
          </a:prstGeom>
          <a:noFill/>
        </p:spPr>
        <p:txBody>
          <a:bodyPr wrap="square" lIns="0" tIns="0" rIns="0" bIns="0" rtlCol="0" anchor="ctr">
            <a:noAutofit/>
          </a:bodyPr>
          <a:lstStyle/>
          <a:p>
            <a:pPr marL="0" marR="0" lvl="0" indent="0" algn="l" defTabSz="1219140" rtl="0" eaLnBrk="1" fontAlgn="auto" latinLnBrk="1" hangingPunct="1">
              <a:lnSpc>
                <a:spcPct val="100000"/>
              </a:lnSpc>
              <a:spcBef>
                <a:spcPts val="0"/>
              </a:spcBef>
              <a:spcAft>
                <a:spcPts val="0"/>
              </a:spcAft>
              <a:buClrTx/>
              <a:buSzTx/>
              <a:buFontTx/>
              <a:buNone/>
              <a:tabLst/>
              <a:defRPr/>
            </a:pPr>
            <a:r>
              <a:rPr kumimoji="0" lang="en-US" altLang="ko-KR" sz="2400"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 </a:t>
            </a:r>
            <a:br>
              <a:rPr kumimoji="0" lang="en-US" altLang="ko-KR" sz="1600"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br>
            <a:r>
              <a:rPr kumimoji="0" lang="en-US" altLang="ko-KR" sz="4800" b="1"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3</a:t>
            </a:r>
          </a:p>
          <a:p>
            <a:pPr marL="0" marR="0" lvl="0" indent="0" algn="l" defTabSz="1219140" rtl="0" eaLnBrk="1" fontAlgn="auto" latinLnBrk="1" hangingPunct="1">
              <a:lnSpc>
                <a:spcPct val="100000"/>
              </a:lnSpc>
              <a:spcBef>
                <a:spcPts val="0"/>
              </a:spcBef>
              <a:spcAft>
                <a:spcPts val="0"/>
              </a:spcAft>
              <a:buClrTx/>
              <a:buSzTx/>
              <a:buFontTx/>
              <a:buNone/>
              <a:tabLst/>
              <a:defRPr/>
            </a:pPr>
            <a:r>
              <a:rPr kumimoji="0" lang="en-US" altLang="ko-KR" sz="1867"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Support &amp; Managed Services to ensure your users are supported 24/7 with our Global Service desk</a:t>
            </a:r>
          </a:p>
        </p:txBody>
      </p:sp>
      <p:sp>
        <p:nvSpPr>
          <p:cNvPr id="18" name="TextBox 17">
            <a:extLst>
              <a:ext uri="{FF2B5EF4-FFF2-40B4-BE49-F238E27FC236}">
                <a16:creationId xmlns:a16="http://schemas.microsoft.com/office/drawing/2014/main" id="{9AD5FB08-317A-434C-A66E-509B1D168B7D}"/>
              </a:ext>
            </a:extLst>
          </p:cNvPr>
          <p:cNvSpPr txBox="1"/>
          <p:nvPr/>
        </p:nvSpPr>
        <p:spPr>
          <a:xfrm>
            <a:off x="8801445" y="1188000"/>
            <a:ext cx="3167727" cy="629357"/>
          </a:xfrm>
          <a:prstGeom prst="rect">
            <a:avLst/>
          </a:prstGeom>
          <a:noFill/>
        </p:spPr>
        <p:txBody>
          <a:bodyPr wrap="square" lIns="0" tIns="0" rIns="0" bIns="0" rtlCol="0" anchor="ctr">
            <a:noAutofit/>
          </a:bodyPr>
          <a:lstStyle/>
          <a:p>
            <a:pPr marL="0" marR="0" lvl="0" indent="0" algn="l" defTabSz="1219140" rtl="0" eaLnBrk="1" fontAlgn="auto" latinLnBrk="1" hangingPunct="1">
              <a:lnSpc>
                <a:spcPct val="100000"/>
              </a:lnSpc>
              <a:spcBef>
                <a:spcPts val="0"/>
              </a:spcBef>
              <a:spcAft>
                <a:spcPts val="0"/>
              </a:spcAft>
              <a:buClrTx/>
              <a:buSzTx/>
              <a:buFontTx/>
              <a:buNone/>
              <a:tabLst/>
              <a:defRPr/>
            </a:pPr>
            <a:r>
              <a:rPr kumimoji="0" lang="en-US" altLang="ko-KR" sz="2400"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 </a:t>
            </a:r>
            <a:br>
              <a:rPr kumimoji="0" lang="en-US" altLang="ko-KR" sz="1600"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br>
            <a:r>
              <a:rPr kumimoji="0" lang="en-US" altLang="ko-KR" sz="4800" b="1"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2</a:t>
            </a:r>
          </a:p>
          <a:p>
            <a:pPr marL="0" marR="0" lvl="0" indent="0" algn="l" defTabSz="1219140" rtl="0" eaLnBrk="1" fontAlgn="auto" latinLnBrk="1" hangingPunct="1">
              <a:lnSpc>
                <a:spcPct val="100000"/>
              </a:lnSpc>
              <a:spcBef>
                <a:spcPts val="0"/>
              </a:spcBef>
              <a:spcAft>
                <a:spcPts val="0"/>
              </a:spcAft>
              <a:buClrTx/>
              <a:buSzTx/>
              <a:buFontTx/>
              <a:buNone/>
              <a:tabLst/>
              <a:defRPr/>
            </a:pPr>
            <a:r>
              <a:rPr kumimoji="0" lang="en-US" altLang="ko-KR" sz="1867"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Fully enabled global Cloud Voice through Operator Connect and Direct Routing. Secure meetings with Teams Rooms, Devices &amp; Video Interoperability</a:t>
            </a:r>
          </a:p>
        </p:txBody>
      </p:sp>
      <p:sp>
        <p:nvSpPr>
          <p:cNvPr id="19" name="TextBox 18">
            <a:extLst>
              <a:ext uri="{FF2B5EF4-FFF2-40B4-BE49-F238E27FC236}">
                <a16:creationId xmlns:a16="http://schemas.microsoft.com/office/drawing/2014/main" id="{C0B88C5D-CE15-4FAE-B3C3-772F8C272634}"/>
              </a:ext>
            </a:extLst>
          </p:cNvPr>
          <p:cNvSpPr txBox="1"/>
          <p:nvPr/>
        </p:nvSpPr>
        <p:spPr>
          <a:xfrm>
            <a:off x="8632635" y="4482767"/>
            <a:ext cx="3167727" cy="629357"/>
          </a:xfrm>
          <a:prstGeom prst="rect">
            <a:avLst/>
          </a:prstGeom>
          <a:noFill/>
        </p:spPr>
        <p:txBody>
          <a:bodyPr wrap="square" lIns="0" tIns="0" rIns="0" bIns="0" rtlCol="0" anchor="ctr">
            <a:noAutofit/>
          </a:bodyPr>
          <a:lstStyle/>
          <a:p>
            <a:pPr marL="0" marR="0" lvl="0" indent="0" algn="l" defTabSz="1219140" rtl="0" eaLnBrk="1" fontAlgn="auto" latinLnBrk="1" hangingPunct="1">
              <a:lnSpc>
                <a:spcPct val="100000"/>
              </a:lnSpc>
              <a:spcBef>
                <a:spcPts val="0"/>
              </a:spcBef>
              <a:spcAft>
                <a:spcPts val="0"/>
              </a:spcAft>
              <a:buClrTx/>
              <a:buSzTx/>
              <a:buFontTx/>
              <a:buNone/>
              <a:tabLst/>
              <a:defRPr/>
            </a:pPr>
            <a:r>
              <a:rPr kumimoji="0" lang="en-US" altLang="ko-KR" sz="2400"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 </a:t>
            </a:r>
            <a:br>
              <a:rPr kumimoji="0" lang="en-US" altLang="ko-KR" sz="1600"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br>
            <a:r>
              <a:rPr kumimoji="0" lang="en-US" altLang="ko-KR" sz="4800" b="1"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4</a:t>
            </a:r>
          </a:p>
          <a:p>
            <a:pPr marL="0" marR="0" lvl="0" indent="0" algn="l" defTabSz="1219140" rtl="0" eaLnBrk="1" fontAlgn="auto" latinLnBrk="1" hangingPunct="1">
              <a:lnSpc>
                <a:spcPct val="100000"/>
              </a:lnSpc>
              <a:spcBef>
                <a:spcPts val="0"/>
              </a:spcBef>
              <a:spcAft>
                <a:spcPts val="0"/>
              </a:spcAft>
              <a:buClrTx/>
              <a:buSzTx/>
              <a:buFontTx/>
              <a:buNone/>
              <a:tabLst/>
              <a:defRPr/>
            </a:pPr>
            <a:r>
              <a:rPr kumimoji="0" lang="en-US" altLang="ko-KR" sz="1867" b="0" i="0" u="none" strike="noStrike" kern="1200" cap="none" spc="0" normalizeH="0" baseline="0" noProof="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Add value to existing investments with Compliance Recording, Cloud Contact Center &amp; Service Numbers</a:t>
            </a:r>
          </a:p>
        </p:txBody>
      </p:sp>
      <p:sp>
        <p:nvSpPr>
          <p:cNvPr id="20" name="TextBox 19">
            <a:extLst>
              <a:ext uri="{FF2B5EF4-FFF2-40B4-BE49-F238E27FC236}">
                <a16:creationId xmlns:a16="http://schemas.microsoft.com/office/drawing/2014/main" id="{8405F982-936D-46FB-8C30-4BEF2C31538C}"/>
              </a:ext>
            </a:extLst>
          </p:cNvPr>
          <p:cNvSpPr txBox="1"/>
          <p:nvPr/>
        </p:nvSpPr>
        <p:spPr>
          <a:xfrm>
            <a:off x="269491" y="4355661"/>
            <a:ext cx="3578080" cy="2103589"/>
          </a:xfrm>
          <a:prstGeom prst="rect">
            <a:avLst/>
          </a:prstGeom>
          <a:noFill/>
        </p:spPr>
        <p:txBody>
          <a:bodyPr wrap="square" lIns="91440" tIns="45720" rIns="91440" bIns="45720" anchor="t">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50" b="1" i="0" u="none" strike="noStrike" kern="1200" cap="none" spc="0" normalizeH="0" baseline="0" noProof="0" dirty="0">
                <a:ln>
                  <a:noFill/>
                </a:ln>
                <a:solidFill>
                  <a:srgbClr val="FFFFFF"/>
                </a:solidFill>
                <a:effectLst/>
                <a:uLnTx/>
                <a:uFillTx/>
                <a:latin typeface="Arial"/>
                <a:ea typeface="ＭＳ Ｐゴシック"/>
                <a:cs typeface="Arial"/>
              </a:rPr>
              <a:t>Microsoft’s top Operator Connect Performer exceeding 320,000 users </a:t>
            </a:r>
            <a:endParaRPr kumimoji="0" lang="en-US" sz="1867"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867"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50" b="1" i="0" u="none" strike="noStrike" kern="1200" cap="none" spc="0" normalizeH="0" baseline="0" noProof="0" dirty="0">
                <a:ln>
                  <a:noFill/>
                </a:ln>
                <a:solidFill>
                  <a:srgbClr val="FFFFFF"/>
                </a:solidFill>
                <a:effectLst/>
                <a:uLnTx/>
                <a:uFillTx/>
                <a:latin typeface="Arial"/>
                <a:ea typeface="ＭＳ Ｐゴシック"/>
                <a:cs typeface="Arial"/>
              </a:rPr>
              <a:t>Microsoft top performer for Teams telephony with 850,000+ active users</a:t>
            </a:r>
            <a:endParaRPr kumimoji="0" lang="en-AU" sz="1850" b="1" i="0" u="none" strike="noStrike" kern="1200" cap="none" spc="0" normalizeH="0" baseline="0" noProof="0" dirty="0">
              <a:ln>
                <a:noFill/>
              </a:ln>
              <a:solidFill>
                <a:srgbClr val="FFFFFF"/>
              </a:solidFill>
              <a:effectLst/>
              <a:uLnTx/>
              <a:uFillTx/>
              <a:latin typeface="Arial"/>
              <a:ea typeface="ＭＳ Ｐゴシック"/>
              <a:cs typeface="Arial"/>
            </a:endParaRPr>
          </a:p>
        </p:txBody>
      </p:sp>
    </p:spTree>
    <p:extLst>
      <p:ext uri="{BB962C8B-B14F-4D97-AF65-F5344CB8AC3E}">
        <p14:creationId xmlns:p14="http://schemas.microsoft.com/office/powerpoint/2010/main" val="3827290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21">
            <a:extLst>
              <a:ext uri="{FF2B5EF4-FFF2-40B4-BE49-F238E27FC236}">
                <a16:creationId xmlns:a16="http://schemas.microsoft.com/office/drawing/2014/main" id="{5F691913-9967-E354-A1F7-415AA60B795D}"/>
              </a:ext>
            </a:extLst>
          </p:cNvPr>
          <p:cNvSpPr/>
          <p:nvPr/>
        </p:nvSpPr>
        <p:spPr>
          <a:xfrm>
            <a:off x="6424446" y="1468936"/>
            <a:ext cx="5401226" cy="5219729"/>
          </a:xfrm>
          <a:prstGeom prst="roundRect">
            <a:avLst>
              <a:gd name="adj" fmla="val 2460"/>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en-AU"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Rounded Rectangle 21">
            <a:extLst>
              <a:ext uri="{FF2B5EF4-FFF2-40B4-BE49-F238E27FC236}">
                <a16:creationId xmlns:a16="http://schemas.microsoft.com/office/drawing/2014/main" id="{11310978-B0AE-AF61-EAE7-C3BA48BAF31D}"/>
              </a:ext>
            </a:extLst>
          </p:cNvPr>
          <p:cNvSpPr/>
          <p:nvPr/>
        </p:nvSpPr>
        <p:spPr>
          <a:xfrm>
            <a:off x="1239078" y="1468936"/>
            <a:ext cx="4750905" cy="5219729"/>
          </a:xfrm>
          <a:prstGeom prst="roundRect">
            <a:avLst>
              <a:gd name="adj" fmla="val 2460"/>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ounded Rectangle 17">
            <a:extLst>
              <a:ext uri="{FF2B5EF4-FFF2-40B4-BE49-F238E27FC236}">
                <a16:creationId xmlns:a16="http://schemas.microsoft.com/office/drawing/2014/main" id="{55C95723-3752-B0F4-E35B-59E081708325}"/>
              </a:ext>
            </a:extLst>
          </p:cNvPr>
          <p:cNvSpPr/>
          <p:nvPr/>
        </p:nvSpPr>
        <p:spPr>
          <a:xfrm>
            <a:off x="192861" y="1468935"/>
            <a:ext cx="1328056" cy="5219729"/>
          </a:xfrm>
          <a:prstGeom prst="roundRect">
            <a:avLst>
              <a:gd name="adj" fmla="val 2809"/>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1219170" rtl="0" eaLnBrk="1" fontAlgn="auto" latinLnBrk="0" hangingPunct="1">
              <a:lnSpc>
                <a:spcPct val="100000"/>
              </a:lnSpc>
              <a:spcBef>
                <a:spcPts val="267"/>
              </a:spcBef>
              <a:spcAft>
                <a:spcPts val="267"/>
              </a:spcAft>
              <a:buClrTx/>
              <a:buSzTx/>
              <a:buFontTx/>
              <a:buNone/>
              <a:tabLst/>
              <a:defRPr/>
            </a:pPr>
            <a:r>
              <a:rPr kumimoji="0" lang="en-AU"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cluded </a:t>
            </a:r>
            <a:br>
              <a:rPr kumimoji="0" lang="en-AU"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AU" sz="1600" b="1" i="0" u="none" strike="noStrike" kern="1200" cap="none" spc="0" normalizeH="0" baseline="0" noProof="0">
                <a:ln>
                  <a:noFill/>
                </a:ln>
                <a:solidFill>
                  <a:srgbClr val="0FC8F2"/>
                </a:solidFill>
                <a:effectLst/>
                <a:uLnTx/>
                <a:uFillTx/>
                <a:latin typeface="Arial" panose="020B0604020202020204" pitchFamily="34" charset="0"/>
                <a:ea typeface="+mn-ea"/>
                <a:cs typeface="Arial" panose="020B0604020202020204" pitchFamily="34" charset="0"/>
              </a:rPr>
              <a:t>as standard </a:t>
            </a:r>
            <a:r>
              <a:rPr kumimoji="0" lang="en-AU"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with Operator Connect provided </a:t>
            </a:r>
            <a:br>
              <a:rPr kumimoji="0" lang="en-AU"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AU"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y NTT</a:t>
            </a:r>
            <a:endParaRPr kumimoji="0" lang="en-AU"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ZoneTexte 2">
            <a:extLst>
              <a:ext uri="{FF2B5EF4-FFF2-40B4-BE49-F238E27FC236}">
                <a16:creationId xmlns:a16="http://schemas.microsoft.com/office/drawing/2014/main" id="{887F181A-1CC0-999E-F8CB-2D557F715CAC}"/>
              </a:ext>
            </a:extLst>
          </p:cNvPr>
          <p:cNvSpPr txBox="1"/>
          <p:nvPr/>
        </p:nvSpPr>
        <p:spPr>
          <a:xfrm>
            <a:off x="1676087" y="1524823"/>
            <a:ext cx="4134678" cy="646331"/>
          </a:xfrm>
          <a:prstGeom prst="rect">
            <a:avLst/>
          </a:prstGeom>
          <a:noFill/>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0071BC"/>
                </a:solidFill>
                <a:effectLst/>
                <a:uLnTx/>
                <a:uFillTx/>
                <a:latin typeface="Arial"/>
                <a:ea typeface="ＭＳ Ｐゴシック" charset="0"/>
                <a:cs typeface="+mn-cs"/>
              </a:rPr>
              <a:t>A complete telephony suite for your Microsoft Teams users, including:</a:t>
            </a:r>
            <a:endParaRPr kumimoji="0" lang="fr-FR" sz="1800" b="1" i="0" u="none" strike="noStrike" kern="1200" cap="none" spc="0" normalizeH="0" baseline="0" noProof="0" dirty="0">
              <a:ln>
                <a:noFill/>
              </a:ln>
              <a:solidFill>
                <a:srgbClr val="0071BC"/>
              </a:solidFill>
              <a:effectLst/>
              <a:uLnTx/>
              <a:uFillTx/>
              <a:latin typeface="Arial"/>
              <a:ea typeface="ＭＳ Ｐゴシック" charset="0"/>
              <a:cs typeface="+mn-cs"/>
            </a:endParaRPr>
          </a:p>
        </p:txBody>
      </p:sp>
      <p:sp>
        <p:nvSpPr>
          <p:cNvPr id="6" name="Espace réservé du contenu 2">
            <a:extLst>
              <a:ext uri="{FF2B5EF4-FFF2-40B4-BE49-F238E27FC236}">
                <a16:creationId xmlns:a16="http://schemas.microsoft.com/office/drawing/2014/main" id="{60AEA17A-A696-6FC1-AC09-DCB10990D800}"/>
              </a:ext>
            </a:extLst>
          </p:cNvPr>
          <p:cNvSpPr txBox="1">
            <a:spLocks/>
          </p:cNvSpPr>
          <p:nvPr/>
        </p:nvSpPr>
        <p:spPr>
          <a:xfrm>
            <a:off x="1683967" y="2196649"/>
            <a:ext cx="4306016" cy="1556051"/>
          </a:xfrm>
          <a:prstGeom prst="rect">
            <a:avLst/>
          </a:prstGeom>
        </p:spPr>
        <p:txBody>
          <a:bodyPr lIns="90000" tIns="46800" bIns="46800" numCol="1"/>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28594" marR="0" lvl="0" indent="-228594" algn="l" defTabSz="1625519" rtl="0" eaLnBrk="1" fontAlgn="auto" latinLnBrk="0" hangingPunct="1">
              <a:lnSpc>
                <a:spcPct val="114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A personal phone number for each user</a:t>
            </a:r>
          </a:p>
          <a:p>
            <a:pPr marL="228594" marR="0" lvl="0" indent="-228594" algn="l" defTabSz="1625519" rtl="0" eaLnBrk="1" fontAlgn="auto" latinLnBrk="0" hangingPunct="1">
              <a:lnSpc>
                <a:spcPct val="114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Coverage in 39 countries</a:t>
            </a:r>
          </a:p>
          <a:p>
            <a:pPr marL="228594" marR="0" lvl="0" indent="-228594" algn="l" defTabSz="1625519" rtl="0" eaLnBrk="1" fontAlgn="auto" latinLnBrk="0" hangingPunct="1">
              <a:lnSpc>
                <a:spcPct val="114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A choice of call plans with Mobile and Landline calling</a:t>
            </a:r>
          </a:p>
          <a:p>
            <a:pPr marL="228594" marR="0" lvl="0" indent="-228594" algn="l" defTabSz="1625519" rtl="0" eaLnBrk="1" fontAlgn="auto" latinLnBrk="0" hangingPunct="1">
              <a:lnSpc>
                <a:spcPct val="114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Emergency Calls routing (incl. Dynamic e911 for US/CAN)</a:t>
            </a:r>
          </a:p>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Number porting / New number ordering</a:t>
            </a:r>
          </a:p>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99.99% SLA</a:t>
            </a:r>
            <a:endParaRPr kumimoji="0" lang="en-AU"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7" name="ZoneTexte 6">
            <a:extLst>
              <a:ext uri="{FF2B5EF4-FFF2-40B4-BE49-F238E27FC236}">
                <a16:creationId xmlns:a16="http://schemas.microsoft.com/office/drawing/2014/main" id="{611C1EC6-F3AB-73D4-8EE8-73631933CAC3}"/>
              </a:ext>
            </a:extLst>
          </p:cNvPr>
          <p:cNvSpPr txBox="1"/>
          <p:nvPr/>
        </p:nvSpPr>
        <p:spPr>
          <a:xfrm>
            <a:off x="1657120" y="3752701"/>
            <a:ext cx="3914819" cy="646331"/>
          </a:xfrm>
          <a:prstGeom prst="rect">
            <a:avLst/>
          </a:prstGeom>
          <a:noFill/>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0071BC"/>
                </a:solidFill>
                <a:effectLst/>
                <a:uLnTx/>
                <a:uFillTx/>
                <a:latin typeface="Arial"/>
                <a:ea typeface="ＭＳ Ｐゴシック" charset="0"/>
                <a:cs typeface="+mn-cs"/>
              </a:rPr>
              <a:t>Leveraging NTT’s state-of-the art voice platform:</a:t>
            </a:r>
            <a:endParaRPr kumimoji="0" lang="fr-FR" sz="1800" b="1" i="0" u="none" strike="noStrike" kern="1200" cap="none" spc="0" normalizeH="0" baseline="0" noProof="0" dirty="0">
              <a:ln>
                <a:noFill/>
              </a:ln>
              <a:solidFill>
                <a:srgbClr val="0071BC"/>
              </a:solidFill>
              <a:effectLst/>
              <a:uLnTx/>
              <a:uFillTx/>
              <a:latin typeface="Arial"/>
              <a:ea typeface="ＭＳ Ｐゴシック" charset="0"/>
              <a:cs typeface="+mn-cs"/>
            </a:endParaRPr>
          </a:p>
        </p:txBody>
      </p:sp>
      <p:sp>
        <p:nvSpPr>
          <p:cNvPr id="8" name="Espace réservé du contenu 2">
            <a:extLst>
              <a:ext uri="{FF2B5EF4-FFF2-40B4-BE49-F238E27FC236}">
                <a16:creationId xmlns:a16="http://schemas.microsoft.com/office/drawing/2014/main" id="{BEBB8021-98E7-385E-419B-4AA3ED7C65A0}"/>
              </a:ext>
            </a:extLst>
          </p:cNvPr>
          <p:cNvSpPr txBox="1">
            <a:spLocks/>
          </p:cNvSpPr>
          <p:nvPr/>
        </p:nvSpPr>
        <p:spPr>
          <a:xfrm>
            <a:off x="1657121" y="4478416"/>
            <a:ext cx="4273228" cy="1935609"/>
          </a:xfrm>
          <a:prstGeom prst="rect">
            <a:avLst/>
          </a:prstGeom>
        </p:spPr>
        <p:txBody>
          <a:bodyPr lIns="90000" tIns="46800" rIns="90000" bIns="46800" numCol="1"/>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28594" marR="0" lvl="0" indent="-228594" algn="l" defTabSz="1625519" rtl="0" eaLnBrk="1" fontAlgn="auto" latinLnBrk="0" hangingPunct="1">
              <a:lnSpc>
                <a:spcPct val="114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ISO-27001 certified</a:t>
            </a:r>
          </a:p>
          <a:p>
            <a:pPr marL="228594" marR="0" lvl="0" indent="-228594" algn="l" defTabSz="1625519" rtl="0" eaLnBrk="1" fontAlgn="auto" latinLnBrk="0" hangingPunct="1">
              <a:lnSpc>
                <a:spcPct val="114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24/7 global support, incl. Carrier / Cloud vendors escalations, with interactive support bot and specialists Support teams; Global NOC spanning all regions/time zones</a:t>
            </a:r>
          </a:p>
          <a:p>
            <a:pPr marL="228594" marR="0" lvl="0" indent="-228594" algn="l" defTabSz="1625519" rtl="0" eaLnBrk="1" fontAlgn="auto" latinLnBrk="0" hangingPunct="1">
              <a:lnSpc>
                <a:spcPct val="114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Self Healing network powered by NTT AI</a:t>
            </a:r>
          </a:p>
          <a:p>
            <a:pPr marL="228594" marR="0" lvl="0" indent="-228594" algn="l" defTabSz="1625519" rtl="0" eaLnBrk="1" fontAlgn="auto" latinLnBrk="0" hangingPunct="1">
              <a:lnSpc>
                <a:spcPct val="114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Proactive Fraud Management</a:t>
            </a:r>
          </a:p>
          <a:p>
            <a:pPr marL="228594" marR="0" lvl="0" indent="-228594" algn="l" defTabSz="1625519" rtl="0" eaLnBrk="1" fontAlgn="auto" latinLnBrk="0" hangingPunct="1">
              <a:lnSpc>
                <a:spcPct val="114000"/>
              </a:lnSpc>
              <a:spcBef>
                <a:spcPts val="40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000000"/>
                </a:solidFill>
                <a:effectLst/>
                <a:uLnTx/>
                <a:uFillTx/>
                <a:latin typeface="Arial"/>
                <a:ea typeface="+mn-ea"/>
                <a:cs typeface="Arial"/>
              </a:rPr>
              <a:t>Geo-redundant/highly resilient network integration with MS Teams through Operator Connect and Azure Peering Services &amp; underlying Carriers</a:t>
            </a:r>
            <a:endParaRPr kumimoji="0" lang="en-AU"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 name="Title 1">
            <a:extLst>
              <a:ext uri="{FF2B5EF4-FFF2-40B4-BE49-F238E27FC236}">
                <a16:creationId xmlns:a16="http://schemas.microsoft.com/office/drawing/2014/main" id="{56C3CD06-F859-2199-5885-AF0A94220CCF}"/>
              </a:ext>
            </a:extLst>
          </p:cNvPr>
          <p:cNvSpPr>
            <a:spLocks noGrp="1"/>
          </p:cNvSpPr>
          <p:nvPr>
            <p:ph type="title"/>
          </p:nvPr>
        </p:nvSpPr>
        <p:spPr/>
        <p:txBody>
          <a:bodyPr/>
          <a:lstStyle/>
          <a:p>
            <a:r>
              <a:rPr lang="en-US" dirty="0"/>
              <a:t>NTT Services for Microsoft Modern Workplace</a:t>
            </a:r>
            <a:endParaRPr lang="en-GB" dirty="0"/>
          </a:p>
        </p:txBody>
      </p:sp>
      <p:sp>
        <p:nvSpPr>
          <p:cNvPr id="9" name="TextBox 8">
            <a:extLst>
              <a:ext uri="{FF2B5EF4-FFF2-40B4-BE49-F238E27FC236}">
                <a16:creationId xmlns:a16="http://schemas.microsoft.com/office/drawing/2014/main" id="{1F158516-135F-71D6-7388-DD140F7BED92}"/>
              </a:ext>
            </a:extLst>
          </p:cNvPr>
          <p:cNvSpPr txBox="1"/>
          <p:nvPr/>
        </p:nvSpPr>
        <p:spPr>
          <a:xfrm>
            <a:off x="396692" y="930188"/>
            <a:ext cx="995101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Our all-inclusive, no-nonsense Voice offer for Microsoft Teams</a:t>
            </a:r>
          </a:p>
        </p:txBody>
      </p:sp>
      <p:sp>
        <p:nvSpPr>
          <p:cNvPr id="11" name="Titre 1">
            <a:extLst>
              <a:ext uri="{FF2B5EF4-FFF2-40B4-BE49-F238E27FC236}">
                <a16:creationId xmlns:a16="http://schemas.microsoft.com/office/drawing/2014/main" id="{D6F61EFB-6221-8514-9179-2E88E3FECE19}"/>
              </a:ext>
            </a:extLst>
          </p:cNvPr>
          <p:cNvSpPr txBox="1">
            <a:spLocks/>
          </p:cNvSpPr>
          <p:nvPr/>
        </p:nvSpPr>
        <p:spPr>
          <a:xfrm>
            <a:off x="7515963" y="320469"/>
            <a:ext cx="2620142" cy="997333"/>
          </a:xfrm>
          <a:prstGeom prst="rect">
            <a:avLst/>
          </a:prstGeom>
        </p:spPr>
        <p:txBody>
          <a:bodyPr anchor="ctr"/>
          <a:lstStyle>
            <a:lvl1pPr algn="l" defTabSz="914400" rtl="0" eaLnBrk="1" latinLnBrk="0" hangingPunct="1">
              <a:lnSpc>
                <a:spcPct val="120000"/>
              </a:lnSpc>
              <a:spcBef>
                <a:spcPts val="200"/>
              </a:spcBef>
              <a:spcAft>
                <a:spcPts val="200"/>
              </a:spcAft>
              <a:buNone/>
              <a:defRPr sz="2400" b="1" kern="1200" baseline="0">
                <a:solidFill>
                  <a:schemeClr val="accent2"/>
                </a:solidFill>
                <a:latin typeface="Arial"/>
                <a:ea typeface="+mj-ea"/>
                <a:cs typeface="Arial"/>
              </a:defRPr>
            </a:lvl1pPr>
          </a:lstStyle>
          <a:p>
            <a:pPr marL="0" marR="0" lvl="0" indent="0" algn="ctr" defTabSz="1219170" rtl="0" eaLnBrk="1" fontAlgn="auto" latinLnBrk="0" hangingPunct="1">
              <a:lnSpc>
                <a:spcPct val="100000"/>
              </a:lnSpc>
              <a:spcBef>
                <a:spcPts val="267"/>
              </a:spcBef>
              <a:spcAft>
                <a:spcPts val="267"/>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cxnSp>
        <p:nvCxnSpPr>
          <p:cNvPr id="4" name="Straight Connector 3">
            <a:extLst>
              <a:ext uri="{FF2B5EF4-FFF2-40B4-BE49-F238E27FC236}">
                <a16:creationId xmlns:a16="http://schemas.microsoft.com/office/drawing/2014/main" id="{AF6D7CCD-5278-E184-1113-C441B170344F}"/>
              </a:ext>
            </a:extLst>
          </p:cNvPr>
          <p:cNvCxnSpPr>
            <a:cxnSpLocks/>
          </p:cNvCxnSpPr>
          <p:nvPr/>
        </p:nvCxnSpPr>
        <p:spPr>
          <a:xfrm>
            <a:off x="6560943" y="2787224"/>
            <a:ext cx="3993384" cy="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274B778F-047D-F563-FDA2-20BFF811768C}"/>
              </a:ext>
            </a:extLst>
          </p:cNvPr>
          <p:cNvSpPr txBox="1"/>
          <p:nvPr/>
        </p:nvSpPr>
        <p:spPr>
          <a:xfrm>
            <a:off x="6506818" y="1518221"/>
            <a:ext cx="4028660" cy="523220"/>
          </a:xfrm>
          <a:prstGeom prst="rect">
            <a:avLst/>
          </a:prstGeom>
          <a:noFill/>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AU" sz="1400" b="1" i="0" u="none" strike="noStrike" kern="1200" cap="none" spc="0" normalizeH="0" baseline="0" noProof="0">
                <a:ln>
                  <a:noFill/>
                </a:ln>
                <a:solidFill>
                  <a:srgbClr val="2CD5B6"/>
                </a:solidFill>
                <a:effectLst/>
                <a:uLnTx/>
                <a:uFillTx/>
                <a:latin typeface="Arial"/>
                <a:ea typeface="ＭＳ Ｐゴシック" charset="0"/>
                <a:cs typeface="+mn-cs"/>
              </a:rPr>
              <a:t>Managed Employee Experience for Teams and Microsoft 365</a:t>
            </a:r>
            <a:endParaRPr kumimoji="0" lang="en-AU" sz="1400" b="1" i="0" u="none" strike="noStrike" kern="1200" cap="none" spc="0" normalizeH="0" baseline="0" noProof="0" dirty="0">
              <a:ln>
                <a:noFill/>
              </a:ln>
              <a:solidFill>
                <a:srgbClr val="2CD5B6"/>
              </a:solidFill>
              <a:effectLst/>
              <a:uLnTx/>
              <a:uFillTx/>
              <a:latin typeface="Arial"/>
              <a:ea typeface="ＭＳ Ｐゴシック" charset="0"/>
              <a:cs typeface="+mn-cs"/>
            </a:endParaRPr>
          </a:p>
        </p:txBody>
      </p:sp>
      <p:sp>
        <p:nvSpPr>
          <p:cNvPr id="15" name="Espace réservé du contenu 2">
            <a:extLst>
              <a:ext uri="{FF2B5EF4-FFF2-40B4-BE49-F238E27FC236}">
                <a16:creationId xmlns:a16="http://schemas.microsoft.com/office/drawing/2014/main" id="{C5C966F8-0E48-EF85-A0BE-EC176793B7FC}"/>
              </a:ext>
            </a:extLst>
          </p:cNvPr>
          <p:cNvSpPr txBox="1">
            <a:spLocks/>
          </p:cNvSpPr>
          <p:nvPr/>
        </p:nvSpPr>
        <p:spPr>
          <a:xfrm>
            <a:off x="6547546" y="1964201"/>
            <a:ext cx="4165312" cy="915171"/>
          </a:xfrm>
          <a:prstGeom prst="rect">
            <a:avLst/>
          </a:prstGeom>
        </p:spPr>
        <p:txBody>
          <a:bodyPr lIns="90000" tIns="46800" bIns="46800" numCol="1"/>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dirty="0">
                <a:ln>
                  <a:noFill/>
                </a:ln>
                <a:solidFill>
                  <a:srgbClr val="000000"/>
                </a:solidFill>
                <a:effectLst/>
                <a:uLnTx/>
                <a:uFillTx/>
                <a:latin typeface="Arial"/>
                <a:ea typeface="+mn-ea"/>
                <a:cs typeface="Arial"/>
              </a:rPr>
              <a:t>Managed Services tailored to meet your needs – from offloading tasks to full estate management &amp; complete lifecycle support.</a:t>
            </a:r>
          </a:p>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dirty="0">
                <a:ln>
                  <a:noFill/>
                </a:ln>
                <a:solidFill>
                  <a:srgbClr val="000000"/>
                </a:solidFill>
                <a:effectLst/>
                <a:uLnTx/>
                <a:uFillTx/>
                <a:latin typeface="Arial"/>
                <a:ea typeface="+mn-ea"/>
                <a:cs typeface="Arial"/>
              </a:rPr>
              <a:t>Managed Teams Rooms &amp; Device Management</a:t>
            </a:r>
          </a:p>
        </p:txBody>
      </p:sp>
      <p:sp>
        <p:nvSpPr>
          <p:cNvPr id="17" name="Rounded Rectangle 17">
            <a:extLst>
              <a:ext uri="{FF2B5EF4-FFF2-40B4-BE49-F238E27FC236}">
                <a16:creationId xmlns:a16="http://schemas.microsoft.com/office/drawing/2014/main" id="{63A71D28-71E3-926D-312C-C96100C16753}"/>
              </a:ext>
            </a:extLst>
          </p:cNvPr>
          <p:cNvSpPr/>
          <p:nvPr/>
        </p:nvSpPr>
        <p:spPr>
          <a:xfrm>
            <a:off x="10699611" y="1468934"/>
            <a:ext cx="1328056" cy="5219729"/>
          </a:xfrm>
          <a:prstGeom prst="roundRect">
            <a:avLst>
              <a:gd name="adj" fmla="val 2809"/>
            </a:avLst>
          </a:prstGeom>
          <a:solidFill>
            <a:schemeClr val="accent4">
              <a:lumMod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1219170" rtl="0" eaLnBrk="1" fontAlgn="auto" latinLnBrk="0" hangingPunct="1">
              <a:lnSpc>
                <a:spcPct val="100000"/>
              </a:lnSpc>
              <a:spcBef>
                <a:spcPts val="267"/>
              </a:spcBef>
              <a:spcAft>
                <a:spcPts val="267"/>
              </a:spcAft>
              <a:buClrTx/>
              <a:buSzTx/>
              <a:buFontTx/>
              <a:buNone/>
              <a:tabLst/>
              <a:defRPr/>
            </a:pPr>
            <a:r>
              <a:rPr kumimoji="0" lang="en-AU" sz="1600" b="1" i="0" u="none" strike="noStrike" kern="1200" cap="none" spc="0" normalizeH="0" baseline="0" noProof="0">
                <a:ln>
                  <a:noFill/>
                </a:ln>
                <a:solidFill>
                  <a:srgbClr val="2CD5B6"/>
                </a:solidFill>
                <a:effectLst/>
                <a:uLnTx/>
                <a:uFillTx/>
                <a:latin typeface="Arial" panose="020B0604020202020204" pitchFamily="34" charset="0"/>
                <a:ea typeface="+mn-ea"/>
                <a:cs typeface="Arial" panose="020B0604020202020204" pitchFamily="34" charset="0"/>
              </a:rPr>
              <a:t>Add-on</a:t>
            </a:r>
            <a:r>
              <a:rPr kumimoji="0" lang="en-AU"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Services &amp; Technology</a:t>
            </a:r>
            <a:endParaRPr kumimoji="0" lang="en-AU"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ZoneTexte 19">
            <a:extLst>
              <a:ext uri="{FF2B5EF4-FFF2-40B4-BE49-F238E27FC236}">
                <a16:creationId xmlns:a16="http://schemas.microsoft.com/office/drawing/2014/main" id="{80D963D8-3EFC-B226-8087-AEED61CD48E9}"/>
              </a:ext>
            </a:extLst>
          </p:cNvPr>
          <p:cNvSpPr txBox="1"/>
          <p:nvPr/>
        </p:nvSpPr>
        <p:spPr>
          <a:xfrm>
            <a:off x="5955618" y="3506617"/>
            <a:ext cx="51328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0" i="0" u="none" strike="noStrike" kern="1200" cap="none" spc="0" normalizeH="0" baseline="0" noProof="0" dirty="0">
                <a:ln>
                  <a:noFill/>
                </a:ln>
                <a:solidFill>
                  <a:srgbClr val="2CD5B6"/>
                </a:solidFill>
                <a:effectLst/>
                <a:uLnTx/>
                <a:uFillTx/>
                <a:latin typeface="Roboto Black" panose="02000000000000000000" pitchFamily="2" charset="0"/>
                <a:ea typeface="Roboto Black" panose="02000000000000000000" pitchFamily="2" charset="0"/>
                <a:cs typeface="+mn-cs"/>
              </a:rPr>
              <a:t>+</a:t>
            </a:r>
          </a:p>
        </p:txBody>
      </p:sp>
      <p:cxnSp>
        <p:nvCxnSpPr>
          <p:cNvPr id="23" name="Straight Connector 3">
            <a:extLst>
              <a:ext uri="{FF2B5EF4-FFF2-40B4-BE49-F238E27FC236}">
                <a16:creationId xmlns:a16="http://schemas.microsoft.com/office/drawing/2014/main" id="{C39D5E26-2F4A-C26E-8DEA-69FFC60E7A35}"/>
              </a:ext>
            </a:extLst>
          </p:cNvPr>
          <p:cNvCxnSpPr>
            <a:cxnSpLocks/>
          </p:cNvCxnSpPr>
          <p:nvPr/>
        </p:nvCxnSpPr>
        <p:spPr>
          <a:xfrm>
            <a:off x="6560943" y="4093656"/>
            <a:ext cx="3993384" cy="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89B8A292-0CCC-8708-8DBE-4D29E00476B0}"/>
              </a:ext>
            </a:extLst>
          </p:cNvPr>
          <p:cNvSpPr txBox="1"/>
          <p:nvPr/>
        </p:nvSpPr>
        <p:spPr>
          <a:xfrm>
            <a:off x="6503743" y="2776301"/>
            <a:ext cx="4028660" cy="523220"/>
          </a:xfrm>
          <a:prstGeom prst="rect">
            <a:avLst/>
          </a:prstGeom>
          <a:noFill/>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AU" sz="1400" b="1" i="0" u="none" strike="noStrike" kern="1200" cap="none" spc="0" normalizeH="0" baseline="0" noProof="0" dirty="0">
                <a:ln>
                  <a:noFill/>
                </a:ln>
                <a:solidFill>
                  <a:srgbClr val="2CD5B6"/>
                </a:solidFill>
                <a:effectLst/>
                <a:uLnTx/>
                <a:uFillTx/>
                <a:latin typeface="Arial"/>
                <a:ea typeface="ＭＳ Ｐゴシック" charset="0"/>
                <a:cs typeface="+mn-cs"/>
              </a:rPr>
              <a:t>Teams integrated Contact </a:t>
            </a:r>
            <a:r>
              <a:rPr kumimoji="0" lang="en-AU" sz="1400" b="1" i="0" u="none" strike="noStrike" kern="1200" cap="none" spc="0" normalizeH="0" baseline="0" noProof="0" dirty="0" err="1">
                <a:ln>
                  <a:noFill/>
                </a:ln>
                <a:solidFill>
                  <a:srgbClr val="2CD5B6"/>
                </a:solidFill>
                <a:effectLst/>
                <a:uLnTx/>
                <a:uFillTx/>
                <a:latin typeface="Arial"/>
                <a:ea typeface="ＭＳ Ｐゴシック" charset="0"/>
                <a:cs typeface="+mn-cs"/>
              </a:rPr>
              <a:t>Center</a:t>
            </a:r>
            <a:r>
              <a:rPr kumimoji="0" lang="en-AU" sz="1400" b="1" i="0" u="none" strike="noStrike" kern="1200" cap="none" spc="0" normalizeH="0" baseline="0" noProof="0" dirty="0">
                <a:ln>
                  <a:noFill/>
                </a:ln>
                <a:solidFill>
                  <a:srgbClr val="2CD5B6"/>
                </a:solidFill>
                <a:effectLst/>
                <a:uLnTx/>
                <a:uFillTx/>
                <a:latin typeface="Arial"/>
                <a:ea typeface="ＭＳ Ｐゴシック" charset="0"/>
                <a:cs typeface="+mn-cs"/>
              </a:rPr>
              <a:t> with </a:t>
            </a:r>
            <a:r>
              <a:rPr kumimoji="0" lang="en-AU" sz="1400" b="1" i="0" u="none" strike="noStrike" kern="1200" cap="none" spc="0" normalizeH="0" baseline="0" noProof="0" dirty="0" err="1">
                <a:ln>
                  <a:noFill/>
                </a:ln>
                <a:solidFill>
                  <a:srgbClr val="2CD5B6"/>
                </a:solidFill>
                <a:effectLst/>
                <a:uLnTx/>
                <a:uFillTx/>
                <a:latin typeface="Arial"/>
                <a:ea typeface="ＭＳ Ｐゴシック" charset="0"/>
                <a:cs typeface="+mn-cs"/>
              </a:rPr>
              <a:t>Genesys</a:t>
            </a:r>
            <a:r>
              <a:rPr kumimoji="0" lang="en-AU" sz="1400" b="1" i="0" u="none" strike="noStrike" kern="1200" cap="none" spc="0" normalizeH="0" baseline="0" noProof="0" dirty="0">
                <a:ln>
                  <a:noFill/>
                </a:ln>
                <a:solidFill>
                  <a:srgbClr val="2CD5B6"/>
                </a:solidFill>
                <a:effectLst/>
                <a:uLnTx/>
                <a:uFillTx/>
                <a:latin typeface="Arial"/>
                <a:ea typeface="ＭＳ Ｐゴシック" charset="0"/>
                <a:cs typeface="+mn-cs"/>
              </a:rPr>
              <a:t> Cloud </a:t>
            </a:r>
          </a:p>
        </p:txBody>
      </p:sp>
      <p:sp>
        <p:nvSpPr>
          <p:cNvPr id="25" name="Espace réservé du contenu 2">
            <a:extLst>
              <a:ext uri="{FF2B5EF4-FFF2-40B4-BE49-F238E27FC236}">
                <a16:creationId xmlns:a16="http://schemas.microsoft.com/office/drawing/2014/main" id="{6FCA1F6E-50B0-30EF-8CBE-FFE98953DBEC}"/>
              </a:ext>
            </a:extLst>
          </p:cNvPr>
          <p:cNvSpPr txBox="1">
            <a:spLocks/>
          </p:cNvSpPr>
          <p:nvPr/>
        </p:nvSpPr>
        <p:spPr>
          <a:xfrm>
            <a:off x="6533627" y="3259057"/>
            <a:ext cx="4144059" cy="621382"/>
          </a:xfrm>
          <a:prstGeom prst="rect">
            <a:avLst/>
          </a:prstGeom>
        </p:spPr>
        <p:txBody>
          <a:bodyPr lIns="90000" tIns="46800" bIns="46800" numCol="1"/>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dirty="0">
                <a:ln>
                  <a:noFill/>
                </a:ln>
                <a:solidFill>
                  <a:srgbClr val="000000"/>
                </a:solidFill>
                <a:effectLst/>
                <a:uLnTx/>
                <a:uFillTx/>
                <a:latin typeface="Arial"/>
                <a:ea typeface="+mn-ea"/>
                <a:cs typeface="Arial"/>
              </a:rPr>
              <a:t>Teams-native seamless experiences for customers, agents and users with hybrid voice services</a:t>
            </a:r>
          </a:p>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dirty="0">
                <a:ln>
                  <a:noFill/>
                </a:ln>
                <a:solidFill>
                  <a:srgbClr val="000000"/>
                </a:solidFill>
                <a:effectLst/>
                <a:uLnTx/>
                <a:uFillTx/>
                <a:latin typeface="Arial"/>
                <a:ea typeface="+mn-ea"/>
                <a:cs typeface="Arial"/>
              </a:rPr>
              <a:t>“On-net” calls, internal transfers, escalation from Agent to Teams user (</a:t>
            </a:r>
            <a:r>
              <a:rPr kumimoji="0" lang="en-AU" sz="1050" b="0" i="0" u="none" strike="noStrike" kern="1200" cap="none" spc="0" normalizeH="0" baseline="0" noProof="0" dirty="0" err="1">
                <a:ln>
                  <a:noFill/>
                </a:ln>
                <a:solidFill>
                  <a:srgbClr val="000000"/>
                </a:solidFill>
                <a:effectLst/>
                <a:uLnTx/>
                <a:uFillTx/>
                <a:latin typeface="Arial"/>
                <a:ea typeface="+mn-ea"/>
                <a:cs typeface="Arial"/>
              </a:rPr>
              <a:t>ie</a:t>
            </a:r>
            <a:r>
              <a:rPr kumimoji="0" lang="en-AU" sz="1050" b="0" i="0" u="none" strike="noStrike" kern="1200" cap="none" spc="0" normalizeH="0" baseline="0" noProof="0" dirty="0">
                <a:ln>
                  <a:noFill/>
                </a:ln>
                <a:solidFill>
                  <a:srgbClr val="000000"/>
                </a:solidFill>
                <a:effectLst/>
                <a:uLnTx/>
                <a:uFillTx/>
                <a:latin typeface="Arial"/>
                <a:ea typeface="+mn-ea"/>
                <a:cs typeface="Arial"/>
              </a:rPr>
              <a:t> Subject Matter Expert), higher quality audio</a:t>
            </a:r>
          </a:p>
        </p:txBody>
      </p:sp>
      <p:cxnSp>
        <p:nvCxnSpPr>
          <p:cNvPr id="27" name="Straight Connector 3">
            <a:extLst>
              <a:ext uri="{FF2B5EF4-FFF2-40B4-BE49-F238E27FC236}">
                <a16:creationId xmlns:a16="http://schemas.microsoft.com/office/drawing/2014/main" id="{4C5397A0-AD15-8BCB-8551-6D18F7BDCA7F}"/>
              </a:ext>
            </a:extLst>
          </p:cNvPr>
          <p:cNvCxnSpPr>
            <a:cxnSpLocks/>
          </p:cNvCxnSpPr>
          <p:nvPr/>
        </p:nvCxnSpPr>
        <p:spPr>
          <a:xfrm>
            <a:off x="6560943" y="5228863"/>
            <a:ext cx="3993384" cy="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28" name="ZoneTexte 27">
            <a:extLst>
              <a:ext uri="{FF2B5EF4-FFF2-40B4-BE49-F238E27FC236}">
                <a16:creationId xmlns:a16="http://schemas.microsoft.com/office/drawing/2014/main" id="{0E62F364-9653-1826-F50F-1AAE1509E7DF}"/>
              </a:ext>
            </a:extLst>
          </p:cNvPr>
          <p:cNvSpPr txBox="1"/>
          <p:nvPr/>
        </p:nvSpPr>
        <p:spPr>
          <a:xfrm>
            <a:off x="6512270" y="4099786"/>
            <a:ext cx="4028660" cy="307777"/>
          </a:xfrm>
          <a:prstGeom prst="rect">
            <a:avLst/>
          </a:prstGeom>
          <a:noFill/>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AU" sz="1400" b="1" i="0" u="none" strike="noStrike" kern="1200" cap="none" spc="0" normalizeH="0" baseline="0" noProof="0" dirty="0">
                <a:ln>
                  <a:noFill/>
                </a:ln>
                <a:solidFill>
                  <a:srgbClr val="2CD5B6"/>
                </a:solidFill>
                <a:effectLst/>
                <a:uLnTx/>
                <a:uFillTx/>
                <a:latin typeface="Arial"/>
                <a:ea typeface="ＭＳ Ｐゴシック" charset="0"/>
                <a:cs typeface="+mn-cs"/>
              </a:rPr>
              <a:t>NTT Event Services for Microsoft </a:t>
            </a:r>
          </a:p>
        </p:txBody>
      </p:sp>
      <p:sp>
        <p:nvSpPr>
          <p:cNvPr id="29" name="Espace réservé du contenu 2">
            <a:extLst>
              <a:ext uri="{FF2B5EF4-FFF2-40B4-BE49-F238E27FC236}">
                <a16:creationId xmlns:a16="http://schemas.microsoft.com/office/drawing/2014/main" id="{CA2B5C96-D66E-6468-B5F1-0AD5E67D4B1B}"/>
              </a:ext>
            </a:extLst>
          </p:cNvPr>
          <p:cNvSpPr txBox="1">
            <a:spLocks/>
          </p:cNvSpPr>
          <p:nvPr/>
        </p:nvSpPr>
        <p:spPr>
          <a:xfrm>
            <a:off x="6547546" y="4355385"/>
            <a:ext cx="4138668" cy="906951"/>
          </a:xfrm>
          <a:prstGeom prst="rect">
            <a:avLst/>
          </a:prstGeom>
        </p:spPr>
        <p:txBody>
          <a:bodyPr lIns="90000" tIns="46800" bIns="46800" numCol="1"/>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dirty="0">
                <a:ln>
                  <a:noFill/>
                </a:ln>
                <a:solidFill>
                  <a:srgbClr val="000000"/>
                </a:solidFill>
                <a:effectLst/>
                <a:uLnTx/>
                <a:uFillTx/>
                <a:latin typeface="Arial"/>
                <a:ea typeface="+mn-ea"/>
                <a:cs typeface="Arial"/>
              </a:rPr>
              <a:t>Adopt &amp; drive usage of meetings, webinars and live events with Teams, Yammer &amp; Stream</a:t>
            </a:r>
          </a:p>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dirty="0">
                <a:ln>
                  <a:noFill/>
                </a:ln>
                <a:solidFill>
                  <a:srgbClr val="000000"/>
                </a:solidFill>
                <a:effectLst/>
                <a:uLnTx/>
                <a:uFillTx/>
                <a:latin typeface="Arial"/>
                <a:ea typeface="+mn-ea"/>
                <a:cs typeface="Arial"/>
              </a:rPr>
              <a:t>Our services include tenant configuration, policy guidance, onboarding workshop, event production &amp; management</a:t>
            </a:r>
          </a:p>
        </p:txBody>
      </p:sp>
      <p:sp>
        <p:nvSpPr>
          <p:cNvPr id="30" name="ZoneTexte 29">
            <a:extLst>
              <a:ext uri="{FF2B5EF4-FFF2-40B4-BE49-F238E27FC236}">
                <a16:creationId xmlns:a16="http://schemas.microsoft.com/office/drawing/2014/main" id="{2C18C7E5-B711-2D85-D47B-AF799A0FEC9A}"/>
              </a:ext>
            </a:extLst>
          </p:cNvPr>
          <p:cNvSpPr txBox="1"/>
          <p:nvPr/>
        </p:nvSpPr>
        <p:spPr>
          <a:xfrm>
            <a:off x="6490496" y="5235750"/>
            <a:ext cx="4028660" cy="307777"/>
          </a:xfrm>
          <a:prstGeom prst="rect">
            <a:avLst/>
          </a:prstGeom>
          <a:noFill/>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AU" sz="1400" b="1" i="0" u="none" strike="noStrike" kern="1200" cap="none" spc="0" normalizeH="0" baseline="0" noProof="0" dirty="0">
                <a:ln>
                  <a:noFill/>
                </a:ln>
                <a:solidFill>
                  <a:srgbClr val="2CD5B6"/>
                </a:solidFill>
                <a:effectLst/>
                <a:uLnTx/>
                <a:uFillTx/>
                <a:latin typeface="Arial"/>
                <a:ea typeface="ＭＳ Ｐゴシック" charset="0"/>
                <a:cs typeface="+mn-cs"/>
              </a:rPr>
              <a:t>Compliance Recording for Teams</a:t>
            </a:r>
          </a:p>
        </p:txBody>
      </p:sp>
      <p:sp>
        <p:nvSpPr>
          <p:cNvPr id="31" name="Espace réservé du contenu 2">
            <a:extLst>
              <a:ext uri="{FF2B5EF4-FFF2-40B4-BE49-F238E27FC236}">
                <a16:creationId xmlns:a16="http://schemas.microsoft.com/office/drawing/2014/main" id="{C8DBB692-335A-E2D7-BFAC-F5E40F05D94E}"/>
              </a:ext>
            </a:extLst>
          </p:cNvPr>
          <p:cNvSpPr txBox="1">
            <a:spLocks/>
          </p:cNvSpPr>
          <p:nvPr/>
        </p:nvSpPr>
        <p:spPr>
          <a:xfrm>
            <a:off x="6525772" y="5514187"/>
            <a:ext cx="4075756" cy="951383"/>
          </a:xfrm>
          <a:prstGeom prst="rect">
            <a:avLst/>
          </a:prstGeom>
        </p:spPr>
        <p:txBody>
          <a:bodyPr lIns="90000" tIns="46800" bIns="46800" numCol="1"/>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dirty="0">
                <a:ln>
                  <a:noFill/>
                </a:ln>
                <a:solidFill>
                  <a:srgbClr val="000000"/>
                </a:solidFill>
                <a:effectLst/>
                <a:uLnTx/>
                <a:uFillTx/>
                <a:latin typeface="Arial"/>
                <a:ea typeface="+mn-ea"/>
                <a:cs typeface="Arial"/>
              </a:rPr>
              <a:t>Protect &amp; drive your business performance. Ensure you are meeting legal &amp; compliance requirements. Capture insights to improve collaboration &amp; customer service.</a:t>
            </a:r>
          </a:p>
          <a:p>
            <a:pPr marL="228594" marR="0" lvl="0" indent="-228594" algn="l" defTabSz="162551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dirty="0">
                <a:ln>
                  <a:noFill/>
                </a:ln>
                <a:solidFill>
                  <a:srgbClr val="000000"/>
                </a:solidFill>
                <a:effectLst/>
                <a:uLnTx/>
                <a:uFillTx/>
                <a:latin typeface="Arial"/>
                <a:ea typeface="+mn-ea"/>
                <a:cs typeface="Arial"/>
              </a:rPr>
              <a:t>Record &amp; archive, full admin reports, generate reports, secure capturing of </a:t>
            </a: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Teams calls, meetings, screen shares &amp; chat with transcription/translation</a:t>
            </a:r>
          </a:p>
        </p:txBody>
      </p:sp>
    </p:spTree>
    <p:extLst>
      <p:ext uri="{BB962C8B-B14F-4D97-AF65-F5344CB8AC3E}">
        <p14:creationId xmlns:p14="http://schemas.microsoft.com/office/powerpoint/2010/main" val="2756710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406819D-E234-4B71-BCE6-5D94F96C37D7}"/>
              </a:ext>
            </a:extLst>
          </p:cNvPr>
          <p:cNvSpPr/>
          <p:nvPr/>
        </p:nvSpPr>
        <p:spPr>
          <a:xfrm>
            <a:off x="-4833" y="4551844"/>
            <a:ext cx="12192000" cy="2307587"/>
          </a:xfrm>
          <a:prstGeom prst="rect">
            <a:avLst/>
          </a:prstGeom>
          <a:solidFill>
            <a:schemeClr val="tx2">
              <a:alpha val="2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377"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4" name="Title 1">
            <a:extLst>
              <a:ext uri="{FF2B5EF4-FFF2-40B4-BE49-F238E27FC236}">
                <a16:creationId xmlns:a16="http://schemas.microsoft.com/office/drawing/2014/main" id="{D017375E-F3C2-4D23-96F3-9EB3ACA853B1}"/>
              </a:ext>
            </a:extLst>
          </p:cNvPr>
          <p:cNvSpPr>
            <a:spLocks noGrp="1"/>
          </p:cNvSpPr>
          <p:nvPr>
            <p:ph type="title"/>
          </p:nvPr>
        </p:nvSpPr>
        <p:spPr/>
        <p:txBody>
          <a:bodyPr lIns="91440" tIns="45720" rIns="91440" bIns="45720" anchor="ctr"/>
          <a:lstStyle/>
          <a:p>
            <a:pPr>
              <a:lnSpc>
                <a:spcPct val="100000"/>
              </a:lnSpc>
            </a:pPr>
            <a:r>
              <a:rPr lang="en-US" dirty="0"/>
              <a:t>NTT Cloud Voice Coverage</a:t>
            </a:r>
            <a:br>
              <a:rPr lang="en-US" dirty="0"/>
            </a:br>
            <a:r>
              <a:rPr lang="en-US" sz="2400" dirty="0"/>
              <a:t>for Operator Connect</a:t>
            </a:r>
            <a:endParaRPr lang="en-US" dirty="0"/>
          </a:p>
        </p:txBody>
      </p:sp>
      <p:sp>
        <p:nvSpPr>
          <p:cNvPr id="245" name="Content Placeholder 2">
            <a:extLst>
              <a:ext uri="{FF2B5EF4-FFF2-40B4-BE49-F238E27FC236}">
                <a16:creationId xmlns:a16="http://schemas.microsoft.com/office/drawing/2014/main" id="{A36A7A3F-836D-4D68-AFA6-E63FBECA811F}"/>
              </a:ext>
            </a:extLst>
          </p:cNvPr>
          <p:cNvSpPr txBox="1">
            <a:spLocks/>
          </p:cNvSpPr>
          <p:nvPr/>
        </p:nvSpPr>
        <p:spPr>
          <a:xfrm>
            <a:off x="396693" y="1055594"/>
            <a:ext cx="10417654" cy="362697"/>
          </a:xfrm>
          <a:prstGeom prst="rect">
            <a:avLst/>
          </a:prstGeom>
        </p:spPr>
        <p:txBody>
          <a:bodyPr numCol="1" anchor="ctr">
            <a:normAutofit lnSpcReduction="10000"/>
          </a:bodyPr>
          <a:lstStyle>
            <a:lvl1pPr marL="0" indent="0" algn="l" defTabSz="914400" rtl="0" eaLnBrk="1" latinLnBrk="0" hangingPunct="1">
              <a:lnSpc>
                <a:spcPct val="114000"/>
              </a:lnSpc>
              <a:spcBef>
                <a:spcPts val="600"/>
              </a:spcBef>
              <a:spcAft>
                <a:spcPts val="100"/>
              </a:spcAft>
              <a:buFont typeface="Arial" pitchFamily="34" charset="0"/>
              <a:buNone/>
              <a:defRPr sz="1800" kern="1200">
                <a:solidFill>
                  <a:schemeClr val="tx1"/>
                </a:solidFill>
                <a:latin typeface="Arial"/>
                <a:ea typeface="+mn-ea"/>
                <a:cs typeface="Arial"/>
              </a:defRPr>
            </a:lvl1pPr>
            <a:lvl2pPr marL="268288" indent="-177800" algn="l" defTabSz="914400" rtl="0" eaLnBrk="1" latinLnBrk="0" hangingPunct="1">
              <a:lnSpc>
                <a:spcPct val="114000"/>
              </a:lnSpc>
              <a:spcBef>
                <a:spcPts val="200"/>
              </a:spcBef>
              <a:spcAft>
                <a:spcPts val="400"/>
              </a:spcAft>
              <a:buFont typeface="Arial" pitchFamily="34" charset="0"/>
              <a:buChar char="•"/>
              <a:defRPr sz="1400" kern="1200">
                <a:solidFill>
                  <a:schemeClr val="tx1"/>
                </a:solidFill>
                <a:latin typeface="Arial"/>
                <a:ea typeface="+mn-ea"/>
                <a:cs typeface="Arial"/>
              </a:defRPr>
            </a:lvl2pPr>
            <a:lvl3pPr marL="534988" indent="-188913" algn="l" defTabSz="914400" rtl="0" eaLnBrk="1" latinLnBrk="0" hangingPunct="1">
              <a:lnSpc>
                <a:spcPct val="114000"/>
              </a:lnSpc>
              <a:spcBef>
                <a:spcPts val="100"/>
              </a:spcBef>
              <a:spcAft>
                <a:spcPts val="200"/>
              </a:spcAft>
              <a:buFont typeface="Arial" pitchFamily="34" charset="0"/>
              <a:buChar char="›"/>
              <a:defRPr sz="1200" kern="1200">
                <a:solidFill>
                  <a:schemeClr val="tx1"/>
                </a:solidFill>
                <a:latin typeface="Arial"/>
                <a:ea typeface="+mn-ea"/>
                <a:cs typeface="Arial"/>
              </a:defRPr>
            </a:lvl3pPr>
            <a:lvl4pPr marL="1085850" indent="-228600" algn="l" defTabSz="914400" rtl="0" eaLnBrk="1" latinLnBrk="0" hangingPunct="1">
              <a:lnSpc>
                <a:spcPct val="114000"/>
              </a:lnSpc>
              <a:spcBef>
                <a:spcPts val="100"/>
              </a:spcBef>
              <a:spcAft>
                <a:spcPts val="400"/>
              </a:spcAft>
              <a:buFont typeface="Arial" pitchFamily="34" charset="0"/>
              <a:buChar char="»"/>
              <a:defRPr sz="1100" kern="1200">
                <a:solidFill>
                  <a:schemeClr val="tx1"/>
                </a:solidFill>
                <a:latin typeface="Arial"/>
                <a:ea typeface="+mn-ea"/>
                <a:cs typeface="Arial"/>
              </a:defRPr>
            </a:lvl4pPr>
            <a:lvl5pPr marL="1443038" indent="-173038" algn="l" defTabSz="914400" rtl="0" eaLnBrk="1" latinLnBrk="0" hangingPunct="1">
              <a:lnSpc>
                <a:spcPct val="114000"/>
              </a:lnSpc>
              <a:spcBef>
                <a:spcPts val="100"/>
              </a:spcBef>
              <a:spcAft>
                <a:spcPts val="600"/>
              </a:spcAft>
              <a:buFont typeface="Arial" pitchFamily="34" charset="0"/>
              <a:buChar char="-"/>
              <a:defRPr sz="11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10" rtl="0" eaLnBrk="1" fontAlgn="base" latinLnBrk="0" hangingPunct="1">
              <a:lnSpc>
                <a:spcPct val="114000"/>
              </a:lnSpc>
              <a:spcBef>
                <a:spcPts val="800"/>
              </a:spcBef>
              <a:spcAft>
                <a:spcPts val="133"/>
              </a:spcAft>
              <a:buClrTx/>
              <a:buSzTx/>
              <a:buFont typeface="Arial" pitchFamily="34" charset="0"/>
              <a:buNone/>
              <a:tabLst/>
              <a:defRPr/>
            </a:pP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Best-in class coverage for </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Roboto Black" panose="02000000000000000000" pitchFamily="2" charset="0"/>
                <a:cs typeface="Arial" panose="020B0604020202020204" pitchFamily="34" charset="0"/>
              </a:rPr>
              <a:t>Telephony</a:t>
            </a:r>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493" name="ZoneTexte 492">
            <a:extLst>
              <a:ext uri="{FF2B5EF4-FFF2-40B4-BE49-F238E27FC236}">
                <a16:creationId xmlns:a16="http://schemas.microsoft.com/office/drawing/2014/main" id="{6E0C6F2D-A694-4675-8F26-9EC7C53EB763}"/>
              </a:ext>
            </a:extLst>
          </p:cNvPr>
          <p:cNvSpPr txBox="1"/>
          <p:nvPr/>
        </p:nvSpPr>
        <p:spPr>
          <a:xfrm>
            <a:off x="93578" y="4893562"/>
            <a:ext cx="8032605" cy="84895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39 countries with </a:t>
            </a:r>
            <a:r>
              <a:rPr kumimoji="0" lang="en-US" sz="1600" b="1" i="0" u="none" strike="noStrike" kern="1200" cap="none" spc="0" normalizeH="0" baseline="0" noProof="0" dirty="0">
                <a:ln>
                  <a:noFill/>
                </a:ln>
                <a:solidFill>
                  <a:srgbClr val="0071BC"/>
                </a:solidFill>
                <a:effectLst/>
                <a:uLnTx/>
                <a:uFillTx/>
                <a:latin typeface="Arial" panose="020B0604020202020204" pitchFamily="34" charset="0"/>
                <a:ea typeface="Roboto Black" panose="02000000000000000000" pitchFamily="2" charset="0"/>
                <a:cs typeface="Arial" panose="020B0604020202020204" pitchFamily="34" charset="0"/>
              </a:rPr>
              <a:t>full PSTN replacement </a:t>
            </a:r>
          </a:p>
          <a:p>
            <a:pPr marL="0" marR="0" lvl="0" indent="0" algn="ctr" defTabSz="914377"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Supporting you with </a:t>
            </a:r>
            <a:r>
              <a:rPr kumimoji="0" lang="en-US" sz="1600" b="1" i="0" u="none" strike="noStrike" kern="1200" cap="none" spc="0" normalizeH="0" baseline="0" noProof="0" dirty="0">
                <a:ln>
                  <a:noFill/>
                </a:ln>
                <a:solidFill>
                  <a:srgbClr val="0071BC"/>
                </a:solidFill>
                <a:effectLst/>
                <a:uLnTx/>
                <a:uFillTx/>
                <a:latin typeface="Arial" panose="020B0604020202020204" pitchFamily="34" charset="0"/>
                <a:ea typeface="Roboto Black" panose="02000000000000000000" pitchFamily="2" charset="0"/>
                <a:cs typeface="Arial" panose="020B0604020202020204" pitchFamily="34" charset="0"/>
              </a:rPr>
              <a:t>Bring Your Own Carrier </a:t>
            </a:r>
            <a:r>
              <a:rPr kumimoji="0" lang="en-US" sz="1600" b="1"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in most other </a:t>
            </a:r>
            <a:r>
              <a:rPr kumimoji="0" lang="en-US" sz="1600" b="1" i="0" u="none" strike="noStrike" kern="1200" cap="none" spc="0" normalizeH="0" baseline="0" noProof="0" dirty="0">
                <a:ln>
                  <a:noFill/>
                </a:ln>
                <a:solidFill>
                  <a:srgbClr val="0071BC"/>
                </a:solidFill>
                <a:effectLst/>
                <a:uLnTx/>
                <a:uFillTx/>
                <a:latin typeface="Arial" panose="020B0604020202020204" pitchFamily="34" charset="0"/>
                <a:ea typeface="Roboto Black" panose="02000000000000000000" pitchFamily="2" charset="0"/>
                <a:cs typeface="Arial" panose="020B0604020202020204" pitchFamily="34" charset="0"/>
              </a:rPr>
              <a:t>locations worldwide </a:t>
            </a:r>
          </a:p>
          <a:p>
            <a:pPr marL="0" marR="0" lvl="0" indent="0" algn="ctr" defTabSz="914377"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incl. 180 countries where Teams Phone is available)</a:t>
            </a:r>
          </a:p>
        </p:txBody>
      </p:sp>
      <p:sp>
        <p:nvSpPr>
          <p:cNvPr id="737" name="Rectangle 736">
            <a:extLst>
              <a:ext uri="{FF2B5EF4-FFF2-40B4-BE49-F238E27FC236}">
                <a16:creationId xmlns:a16="http://schemas.microsoft.com/office/drawing/2014/main" id="{B1F9B9A6-741E-4DE8-BD70-0613690B4E6A}"/>
              </a:ext>
            </a:extLst>
          </p:cNvPr>
          <p:cNvSpPr/>
          <p:nvPr/>
        </p:nvSpPr>
        <p:spPr>
          <a:xfrm>
            <a:off x="5897925" y="1684805"/>
            <a:ext cx="1003801" cy="276999"/>
          </a:xfrm>
          <a:prstGeom prst="rect">
            <a:avLst/>
          </a:prstGeom>
        </p:spPr>
        <p:txBody>
          <a:bodyPr wrap="non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1BC"/>
                </a:solidFill>
                <a:effectLst/>
                <a:uLnTx/>
                <a:uFillTx/>
                <a:latin typeface="Arial" panose="020B0604020202020204" pitchFamily="34" charset="0"/>
                <a:ea typeface="Roboto Black" panose="02000000000000000000" pitchFamily="2" charset="0"/>
                <a:cs typeface="Arial" panose="020B0604020202020204" pitchFamily="34" charset="0"/>
              </a:rPr>
              <a:t>AMERICAS</a:t>
            </a:r>
          </a:p>
        </p:txBody>
      </p:sp>
      <p:sp>
        <p:nvSpPr>
          <p:cNvPr id="738" name="ZoneTexte 737">
            <a:extLst>
              <a:ext uri="{FF2B5EF4-FFF2-40B4-BE49-F238E27FC236}">
                <a16:creationId xmlns:a16="http://schemas.microsoft.com/office/drawing/2014/main" id="{868FBC4D-AB3B-4BC3-B15B-1B1CA6B45E92}"/>
              </a:ext>
            </a:extLst>
          </p:cNvPr>
          <p:cNvSpPr txBox="1"/>
          <p:nvPr/>
        </p:nvSpPr>
        <p:spPr>
          <a:xfrm>
            <a:off x="5897925" y="1955598"/>
            <a:ext cx="1438749" cy="861774"/>
          </a:xfrm>
          <a:prstGeom prst="rect">
            <a:avLst/>
          </a:prstGeom>
          <a:noFill/>
        </p:spPr>
        <p:txBody>
          <a:bodyPr wrap="square">
            <a:spAutoFit/>
          </a:bodyPr>
          <a:lstStyle/>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Brazil</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Canada</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Mexico</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Puerto Rico</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USA</a:t>
            </a:r>
          </a:p>
        </p:txBody>
      </p:sp>
      <p:sp>
        <p:nvSpPr>
          <p:cNvPr id="739" name="Rectangle 738">
            <a:extLst>
              <a:ext uri="{FF2B5EF4-FFF2-40B4-BE49-F238E27FC236}">
                <a16:creationId xmlns:a16="http://schemas.microsoft.com/office/drawing/2014/main" id="{020878D4-481A-4EA9-851B-AB9241A0C86F}"/>
              </a:ext>
            </a:extLst>
          </p:cNvPr>
          <p:cNvSpPr/>
          <p:nvPr/>
        </p:nvSpPr>
        <p:spPr>
          <a:xfrm flipH="1">
            <a:off x="5728618" y="1753384"/>
            <a:ext cx="45719" cy="103631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080" rtl="0" eaLnBrk="1" fontAlgn="base"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001973"/>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740" name="Rectangle 739">
            <a:extLst>
              <a:ext uri="{FF2B5EF4-FFF2-40B4-BE49-F238E27FC236}">
                <a16:creationId xmlns:a16="http://schemas.microsoft.com/office/drawing/2014/main" id="{5069F51C-DCEB-4B8B-AEC9-B5B5B7F47171}"/>
              </a:ext>
            </a:extLst>
          </p:cNvPr>
          <p:cNvSpPr/>
          <p:nvPr/>
        </p:nvSpPr>
        <p:spPr>
          <a:xfrm>
            <a:off x="5897925" y="2933306"/>
            <a:ext cx="1207190" cy="276999"/>
          </a:xfrm>
          <a:prstGeom prst="rect">
            <a:avLst/>
          </a:prstGeom>
        </p:spPr>
        <p:txBody>
          <a:bodyPr wrap="non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C8F2"/>
                </a:solidFill>
                <a:effectLst/>
                <a:uLnTx/>
                <a:uFillTx/>
                <a:latin typeface="Arial" panose="020B0604020202020204" pitchFamily="34" charset="0"/>
                <a:ea typeface="Roboto Black" panose="02000000000000000000" pitchFamily="2" charset="0"/>
                <a:cs typeface="Arial" panose="020B0604020202020204" pitchFamily="34" charset="0"/>
              </a:rPr>
              <a:t>ASIA-PACIFIC</a:t>
            </a:r>
          </a:p>
        </p:txBody>
      </p:sp>
      <p:sp>
        <p:nvSpPr>
          <p:cNvPr id="741" name="ZoneTexte 740">
            <a:extLst>
              <a:ext uri="{FF2B5EF4-FFF2-40B4-BE49-F238E27FC236}">
                <a16:creationId xmlns:a16="http://schemas.microsoft.com/office/drawing/2014/main" id="{7DB411B7-603B-4E83-A787-13AFC076C68E}"/>
              </a:ext>
            </a:extLst>
          </p:cNvPr>
          <p:cNvSpPr txBox="1"/>
          <p:nvPr/>
        </p:nvSpPr>
        <p:spPr>
          <a:xfrm>
            <a:off x="5897925" y="3218465"/>
            <a:ext cx="1438749" cy="1015663"/>
          </a:xfrm>
          <a:prstGeom prst="rect">
            <a:avLst/>
          </a:prstGeom>
          <a:noFill/>
        </p:spPr>
        <p:txBody>
          <a:bodyPr wrap="square">
            <a:spAutoFit/>
          </a:bodyPr>
          <a:lstStyle/>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Australia</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Hong-Kong</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Japan</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New Zealand</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Singapore</a:t>
            </a:r>
          </a:p>
          <a:p>
            <a:pPr marL="179996" marR="0" lvl="1" indent="-179996" algn="l" defTabSz="1219110" rtl="0" eaLnBrk="1" fontAlgn="base" latinLnBrk="0" hangingPunct="1">
              <a:lnSpc>
                <a:spcPct val="100000"/>
              </a:lnSpc>
              <a:spcBef>
                <a:spcPct val="0"/>
              </a:spcBef>
              <a:spcAft>
                <a:spcPct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Malaysia</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742" name="Rectangle 741">
            <a:extLst>
              <a:ext uri="{FF2B5EF4-FFF2-40B4-BE49-F238E27FC236}">
                <a16:creationId xmlns:a16="http://schemas.microsoft.com/office/drawing/2014/main" id="{6641EFB5-098A-49F2-83A8-B30FFFFF8819}"/>
              </a:ext>
            </a:extLst>
          </p:cNvPr>
          <p:cNvSpPr/>
          <p:nvPr/>
        </p:nvSpPr>
        <p:spPr>
          <a:xfrm flipH="1">
            <a:off x="5728617" y="2918385"/>
            <a:ext cx="45719" cy="1378423"/>
          </a:xfrm>
          <a:prstGeom prst="rect">
            <a:avLst/>
          </a:pr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080" rtl="0" eaLnBrk="1" fontAlgn="base"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001973"/>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743" name="Rectangle 742">
            <a:extLst>
              <a:ext uri="{FF2B5EF4-FFF2-40B4-BE49-F238E27FC236}">
                <a16:creationId xmlns:a16="http://schemas.microsoft.com/office/drawing/2014/main" id="{A2C7CE46-5E49-4E59-9E3D-28C188A974A1}"/>
              </a:ext>
            </a:extLst>
          </p:cNvPr>
          <p:cNvSpPr/>
          <p:nvPr/>
        </p:nvSpPr>
        <p:spPr>
          <a:xfrm>
            <a:off x="8053378" y="1684805"/>
            <a:ext cx="628698" cy="276999"/>
          </a:xfrm>
          <a:prstGeom prst="rect">
            <a:avLst/>
          </a:prstGeom>
        </p:spPr>
        <p:txBody>
          <a:bodyPr wrap="non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CD5B6"/>
                </a:solidFill>
                <a:effectLst/>
                <a:uLnTx/>
                <a:uFillTx/>
                <a:latin typeface="Arial" panose="020B0604020202020204" pitchFamily="34" charset="0"/>
                <a:ea typeface="Roboto Black" panose="02000000000000000000" pitchFamily="2" charset="0"/>
                <a:cs typeface="Arial" panose="020B0604020202020204" pitchFamily="34" charset="0"/>
              </a:rPr>
              <a:t>EMEA</a:t>
            </a:r>
          </a:p>
        </p:txBody>
      </p:sp>
      <p:sp>
        <p:nvSpPr>
          <p:cNvPr id="744" name="ZoneTexte 743">
            <a:extLst>
              <a:ext uri="{FF2B5EF4-FFF2-40B4-BE49-F238E27FC236}">
                <a16:creationId xmlns:a16="http://schemas.microsoft.com/office/drawing/2014/main" id="{7A7C9927-F1B1-489F-AB82-EBFAA9EF846B}"/>
              </a:ext>
            </a:extLst>
          </p:cNvPr>
          <p:cNvSpPr txBox="1"/>
          <p:nvPr/>
        </p:nvSpPr>
        <p:spPr>
          <a:xfrm>
            <a:off x="8053378" y="1955598"/>
            <a:ext cx="1438749" cy="2400657"/>
          </a:xfrm>
          <a:prstGeom prst="rect">
            <a:avLst/>
          </a:prstGeom>
          <a:noFill/>
        </p:spPr>
        <p:txBody>
          <a:bodyPr wrap="square">
            <a:spAutoFit/>
          </a:bodyPr>
          <a:lstStyle/>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Austria</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Belgium</a:t>
            </a:r>
          </a:p>
          <a:p>
            <a:pPr marL="179996" marR="0" lvl="1" indent="-179996" algn="l" defTabSz="1219110" rtl="0" eaLnBrk="1" fontAlgn="base" latinLnBrk="0" hangingPunct="1">
              <a:lnSpc>
                <a:spcPct val="100000"/>
              </a:lnSpc>
              <a:spcBef>
                <a:spcPct val="0"/>
              </a:spcBef>
              <a:spcAft>
                <a:spcPct val="0"/>
              </a:spcAft>
              <a:buClrTx/>
              <a:buSzTx/>
              <a:buFont typeface="Arial"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Croatia </a:t>
            </a:r>
          </a:p>
          <a:p>
            <a:pPr marL="179996" marR="0" lvl="1" indent="-179996" algn="l" defTabSz="1219110" rtl="0" eaLnBrk="1" fontAlgn="base" latinLnBrk="0" hangingPunct="1">
              <a:lnSpc>
                <a:spcPct val="100000"/>
              </a:lnSpc>
              <a:spcBef>
                <a:spcPct val="0"/>
              </a:spcBef>
              <a:spcAft>
                <a:spcPct val="0"/>
              </a:spcAft>
              <a:buClrTx/>
              <a:buSzTx/>
              <a:buFont typeface="Arial"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Cyprus </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Czech Republic</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Denmark</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Estonia </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Finland</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France</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Germany</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Greece </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Hungary</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Italy</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Ireland</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Lithuania </a:t>
            </a:r>
          </a:p>
        </p:txBody>
      </p:sp>
      <p:sp>
        <p:nvSpPr>
          <p:cNvPr id="745" name="Rectangle 744">
            <a:extLst>
              <a:ext uri="{FF2B5EF4-FFF2-40B4-BE49-F238E27FC236}">
                <a16:creationId xmlns:a16="http://schemas.microsoft.com/office/drawing/2014/main" id="{661616F0-67B9-4337-BCBF-24FF7C3CA13F}"/>
              </a:ext>
            </a:extLst>
          </p:cNvPr>
          <p:cNvSpPr/>
          <p:nvPr/>
        </p:nvSpPr>
        <p:spPr>
          <a:xfrm flipH="1">
            <a:off x="7881465" y="1753384"/>
            <a:ext cx="45719" cy="2543624"/>
          </a:xfrm>
          <a:prstGeom prst="rect">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080" rtl="0" eaLnBrk="1" fontAlgn="base"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001973"/>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746" name="Rectangle 745">
            <a:extLst>
              <a:ext uri="{FF2B5EF4-FFF2-40B4-BE49-F238E27FC236}">
                <a16:creationId xmlns:a16="http://schemas.microsoft.com/office/drawing/2014/main" id="{A981A5B7-E68A-41EB-B224-12943D238FD4}"/>
              </a:ext>
            </a:extLst>
          </p:cNvPr>
          <p:cNvSpPr/>
          <p:nvPr/>
        </p:nvSpPr>
        <p:spPr>
          <a:xfrm>
            <a:off x="10241377" y="1684805"/>
            <a:ext cx="1137556" cy="276999"/>
          </a:xfrm>
          <a:prstGeom prst="rect">
            <a:avLst/>
          </a:prstGeom>
        </p:spPr>
        <p:txBody>
          <a:bodyPr wrap="non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CD5B6"/>
                </a:solidFill>
                <a:effectLst/>
                <a:uLnTx/>
                <a:uFillTx/>
                <a:latin typeface="Arial" panose="020B0604020202020204" pitchFamily="34" charset="0"/>
                <a:ea typeface="Roboto Black" panose="02000000000000000000" pitchFamily="2" charset="0"/>
                <a:cs typeface="Arial" panose="020B0604020202020204" pitchFamily="34" charset="0"/>
              </a:rPr>
              <a:t>EMEA </a:t>
            </a:r>
            <a:r>
              <a:rPr kumimoji="0" lang="en-US" sz="1000" b="1" i="0" u="none" strike="noStrike" kern="1200" cap="none" spc="0" normalizeH="0" baseline="0" noProof="0">
                <a:ln>
                  <a:noFill/>
                </a:ln>
                <a:solidFill>
                  <a:srgbClr val="2CD5B6"/>
                </a:solidFill>
                <a:effectLst/>
                <a:uLnTx/>
                <a:uFillTx/>
                <a:latin typeface="Arial" panose="020B0604020202020204" pitchFamily="34" charset="0"/>
                <a:ea typeface="Roboto Light" panose="02000000000000000000" pitchFamily="2" charset="0"/>
                <a:cs typeface="Arial" panose="020B0604020202020204" pitchFamily="34" charset="0"/>
              </a:rPr>
              <a:t>(cont’d)</a:t>
            </a:r>
            <a:endParaRPr kumimoji="0" lang="en-US" sz="1200" b="1" i="0" u="none" strike="noStrike" kern="1200" cap="none" spc="0" normalizeH="0" baseline="0" noProof="0">
              <a:ln>
                <a:noFill/>
              </a:ln>
              <a:solidFill>
                <a:srgbClr val="2CD5B6"/>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747" name="ZoneTexte 746">
            <a:extLst>
              <a:ext uri="{FF2B5EF4-FFF2-40B4-BE49-F238E27FC236}">
                <a16:creationId xmlns:a16="http://schemas.microsoft.com/office/drawing/2014/main" id="{19459710-0429-4A4D-A254-1D97C431CEF2}"/>
              </a:ext>
            </a:extLst>
          </p:cNvPr>
          <p:cNvSpPr txBox="1"/>
          <p:nvPr/>
        </p:nvSpPr>
        <p:spPr>
          <a:xfrm>
            <a:off x="10241377" y="1955598"/>
            <a:ext cx="1438749" cy="2092881"/>
          </a:xfrm>
          <a:prstGeom prst="rect">
            <a:avLst/>
          </a:prstGeom>
          <a:noFill/>
        </p:spPr>
        <p:txBody>
          <a:bodyPr wrap="square">
            <a:spAutoFit/>
          </a:bodyPr>
          <a:lstStyle/>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Luxembourg</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Netherlands</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Norway</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Poland</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Portugal</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Romania</a:t>
            </a:r>
          </a:p>
          <a:p>
            <a:pPr marL="179996" marR="0" lvl="1" indent="-179996" algn="l" defTabSz="1219110" rtl="0" eaLnBrk="1" fontAlgn="base" latinLnBrk="0" hangingPunct="1">
              <a:lnSpc>
                <a:spcPct val="100000"/>
              </a:lnSpc>
              <a:spcBef>
                <a:spcPct val="0"/>
              </a:spcBef>
              <a:spcAft>
                <a:spcPct val="0"/>
              </a:spcAft>
              <a:buClrTx/>
              <a:buSzTx/>
              <a:buFont typeface="Arial"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Slovakia</a:t>
            </a:r>
          </a:p>
          <a:p>
            <a:pPr marL="179996" marR="0" lvl="1" indent="-179996" algn="l" defTabSz="1219110" rtl="0" eaLnBrk="1" fontAlgn="base" latinLnBrk="0" hangingPunct="1">
              <a:lnSpc>
                <a:spcPct val="100000"/>
              </a:lnSpc>
              <a:spcBef>
                <a:spcPct val="0"/>
              </a:spcBef>
              <a:spcAft>
                <a:spcPct val="0"/>
              </a:spcAft>
              <a:buClrTx/>
              <a:buSzTx/>
              <a:buFont typeface="Arial" pitchFamily="34" charset="0"/>
              <a:buChar char="•"/>
              <a:tabLst/>
              <a:defRPr/>
            </a:pPr>
            <a:r>
              <a:rPr kumimoji="0" lang="it-IT"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Slovenia </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South Africa</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Spain</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Sweden</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Switzerland</a:t>
            </a:r>
          </a:p>
          <a:p>
            <a:pPr marL="179996" marR="0" lvl="1" indent="-179996" algn="l" defTabSz="1219110" rtl="0" eaLnBrk="1" fontAlgn="auto" latinLnBrk="0" hangingPunct="1">
              <a:lnSpc>
                <a:spcPct val="100000"/>
              </a:lnSpc>
              <a:spcBef>
                <a:spcPts val="0"/>
              </a:spcBef>
              <a:spcAft>
                <a:spcPts val="0"/>
              </a:spcAft>
              <a:buClrTx/>
              <a:buSzTx/>
              <a:buFont typeface="Arial" pitchFamily="34" charset="0"/>
              <a:buChar char="•"/>
              <a:tabLst/>
              <a:defRPr/>
            </a:pPr>
            <a:r>
              <a:rPr kumimoji="0" lang="nn-NO" sz="10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United Kingdom</a:t>
            </a:r>
          </a:p>
        </p:txBody>
      </p:sp>
      <p:sp>
        <p:nvSpPr>
          <p:cNvPr id="748" name="Rectangle 747">
            <a:extLst>
              <a:ext uri="{FF2B5EF4-FFF2-40B4-BE49-F238E27FC236}">
                <a16:creationId xmlns:a16="http://schemas.microsoft.com/office/drawing/2014/main" id="{78B0B15A-22AE-4E33-9A5F-20315B29A87C}"/>
              </a:ext>
            </a:extLst>
          </p:cNvPr>
          <p:cNvSpPr/>
          <p:nvPr/>
        </p:nvSpPr>
        <p:spPr>
          <a:xfrm flipH="1">
            <a:off x="9996006" y="1753384"/>
            <a:ext cx="45719" cy="2543624"/>
          </a:xfrm>
          <a:prstGeom prst="rect">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080" rtl="0" eaLnBrk="1" fontAlgn="base" latinLnBrk="0" hangingPunct="1">
              <a:lnSpc>
                <a:spcPct val="110000"/>
              </a:lnSpc>
              <a:spcBef>
                <a:spcPts val="267"/>
              </a:spcBef>
              <a:spcAft>
                <a:spcPts val="267"/>
              </a:spcAft>
              <a:buClrTx/>
              <a:buSzTx/>
              <a:buFontTx/>
              <a:buNone/>
              <a:tabLst/>
              <a:defRPr/>
            </a:pPr>
            <a:endParaRPr kumimoji="0" lang="en-US" sz="2133" b="0" i="0" u="none" strike="noStrike" kern="1200" cap="none" spc="0" normalizeH="0" baseline="0" noProof="0">
              <a:ln>
                <a:noFill/>
              </a:ln>
              <a:solidFill>
                <a:srgbClr val="001973"/>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0" name="TextBox 9">
            <a:extLst>
              <a:ext uri="{FF2B5EF4-FFF2-40B4-BE49-F238E27FC236}">
                <a16:creationId xmlns:a16="http://schemas.microsoft.com/office/drawing/2014/main" id="{0E2CE59F-C399-D904-6859-3A0CCDDEDF80}"/>
              </a:ext>
            </a:extLst>
          </p:cNvPr>
          <p:cNvSpPr txBox="1"/>
          <p:nvPr/>
        </p:nvSpPr>
        <p:spPr>
          <a:xfrm>
            <a:off x="884347" y="5919353"/>
            <a:ext cx="6451066"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elivering</a:t>
            </a: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ne of the </a:t>
            </a:r>
            <a:r>
              <a:rPr kumimoji="0" 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orld’s</a:t>
            </a: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st</a:t>
            </a: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mprehensive</a:t>
            </a: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verage</a:t>
            </a: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ith</a:t>
            </a: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ull </a:t>
            </a:r>
            <a:r>
              <a:rPr kumimoji="0" 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lco</a:t>
            </a: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ompli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ergency Services sup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ynamic E911 </a:t>
            </a:r>
            <a:r>
              <a:rPr kumimoji="0" 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here</a:t>
            </a: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pplicable</a:t>
            </a:r>
          </a:p>
        </p:txBody>
      </p:sp>
      <p:pic>
        <p:nvPicPr>
          <p:cNvPr id="3" name="Picture 2">
            <a:extLst>
              <a:ext uri="{FF2B5EF4-FFF2-40B4-BE49-F238E27FC236}">
                <a16:creationId xmlns:a16="http://schemas.microsoft.com/office/drawing/2014/main" id="{3DD7536D-FAB1-6B34-2C2F-80D23C76EE1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2751" y="1576307"/>
            <a:ext cx="5199571" cy="3018823"/>
          </a:xfrm>
          <a:prstGeom prst="rect">
            <a:avLst/>
          </a:prstGeom>
        </p:spPr>
      </p:pic>
      <p:sp>
        <p:nvSpPr>
          <p:cNvPr id="2" name="ZoneTexte 1">
            <a:extLst>
              <a:ext uri="{FF2B5EF4-FFF2-40B4-BE49-F238E27FC236}">
                <a16:creationId xmlns:a16="http://schemas.microsoft.com/office/drawing/2014/main" id="{34159ACC-E7DB-54C1-C254-A610B50AFFF0}"/>
              </a:ext>
            </a:extLst>
          </p:cNvPr>
          <p:cNvSpPr txBox="1"/>
          <p:nvPr/>
        </p:nvSpPr>
        <p:spPr>
          <a:xfrm>
            <a:off x="8682076" y="5036074"/>
            <a:ext cx="3314455"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400" b="0" i="0" u="none" strike="noStrike" kern="1200" cap="none" spc="0" normalizeH="0" baseline="0" noProof="0" dirty="0">
                <a:ln>
                  <a:noFill/>
                </a:ln>
                <a:solidFill>
                  <a:srgbClr val="0071BC"/>
                </a:solidFill>
                <a:effectLst/>
                <a:uLnTx/>
                <a:uFillTx/>
                <a:latin typeface="Roboto Black" panose="02000000000000000000" pitchFamily="2" charset="0"/>
                <a:ea typeface="Roboto Black" panose="02000000000000000000" pitchFamily="2" charset="0"/>
                <a:cs typeface="+mn-cs"/>
              </a:rPr>
              <a:t>80% </a:t>
            </a:r>
            <a:r>
              <a:rPr kumimoji="0" lang="fr-FR" sz="2000" b="0" i="0" u="none" strike="noStrike" kern="1200" cap="none" spc="0" normalizeH="0" baseline="0" noProof="0" dirty="0">
                <a:ln>
                  <a:noFill/>
                </a:ln>
                <a:solidFill>
                  <a:srgbClr val="0071BC"/>
                </a:solidFill>
                <a:effectLst/>
                <a:uLnTx/>
                <a:uFillTx/>
                <a:latin typeface="Roboto Black" panose="02000000000000000000" pitchFamily="2" charset="0"/>
                <a:ea typeface="Roboto Black" panose="02000000000000000000" pitchFamily="2" charset="0"/>
                <a:cs typeface="+mn-cs"/>
              </a:rPr>
              <a:t>to</a:t>
            </a:r>
            <a:r>
              <a:rPr kumimoji="0" lang="fr-FR" sz="4400" b="0" i="0" u="none" strike="noStrike" kern="1200" cap="none" spc="0" normalizeH="0" baseline="0" noProof="0" dirty="0">
                <a:ln>
                  <a:noFill/>
                </a:ln>
                <a:solidFill>
                  <a:srgbClr val="0071BC"/>
                </a:solidFill>
                <a:effectLst/>
                <a:uLnTx/>
                <a:uFillTx/>
                <a:latin typeface="Roboto Black" panose="02000000000000000000" pitchFamily="2" charset="0"/>
                <a:ea typeface="Roboto Black" panose="02000000000000000000" pitchFamily="2" charset="0"/>
                <a:cs typeface="+mn-cs"/>
              </a:rPr>
              <a:t> 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0071BC"/>
                </a:solidFill>
                <a:effectLst/>
                <a:uLnTx/>
                <a:uFillTx/>
                <a:latin typeface="Roboto Light" panose="02000000000000000000" pitchFamily="2" charset="0"/>
                <a:ea typeface="Roboto Light" panose="02000000000000000000" pitchFamily="2" charset="0"/>
                <a:cs typeface="+mn-cs"/>
              </a:rPr>
              <a:t>avg</a:t>
            </a:r>
            <a:r>
              <a:rPr kumimoji="0" lang="fr-FR" sz="1800" b="0" i="0" u="none" strike="noStrike" kern="1200" cap="none" spc="0" normalizeH="0" baseline="0" noProof="0" dirty="0">
                <a:ln>
                  <a:noFill/>
                </a:ln>
                <a:solidFill>
                  <a:srgbClr val="0071BC"/>
                </a:solidFill>
                <a:effectLst/>
                <a:uLnTx/>
                <a:uFillTx/>
                <a:latin typeface="Roboto Light" panose="02000000000000000000" pitchFamily="2" charset="0"/>
                <a:ea typeface="Roboto Light" panose="02000000000000000000" pitchFamily="2" charset="0"/>
                <a:cs typeface="+mn-cs"/>
              </a:rPr>
              <a:t>. end-user </a:t>
            </a:r>
            <a:r>
              <a:rPr kumimoji="0" lang="fr-FR" sz="1800" b="0" i="0" u="none" strike="noStrike" kern="1200" cap="none" spc="0" normalizeH="0" baseline="0" noProof="0" dirty="0" err="1">
                <a:ln>
                  <a:noFill/>
                </a:ln>
                <a:solidFill>
                  <a:srgbClr val="0071BC"/>
                </a:solidFill>
                <a:effectLst/>
                <a:uLnTx/>
                <a:uFillTx/>
                <a:latin typeface="Roboto Light" panose="02000000000000000000" pitchFamily="2" charset="0"/>
                <a:ea typeface="Roboto Light" panose="02000000000000000000" pitchFamily="2" charset="0"/>
                <a:cs typeface="+mn-cs"/>
              </a:rPr>
              <a:t>coverage</a:t>
            </a:r>
            <a:r>
              <a:rPr kumimoji="0" lang="fr-FR" sz="1800" b="0" i="0" u="none" strike="noStrike" kern="1200" cap="none" spc="0" normalizeH="0" baseline="0" noProof="0" dirty="0">
                <a:ln>
                  <a:noFill/>
                </a:ln>
                <a:solidFill>
                  <a:srgbClr val="0071BC"/>
                </a:solidFill>
                <a:effectLst/>
                <a:uLnTx/>
                <a:uFillTx/>
                <a:latin typeface="Roboto Light" panose="02000000000000000000" pitchFamily="2" charset="0"/>
                <a:ea typeface="Roboto Light" panose="02000000000000000000" pitchFamily="2" charset="0"/>
                <a:cs typeface="+mn-cs"/>
              </a:rPr>
              <a:t> </a:t>
            </a:r>
            <a:r>
              <a:rPr kumimoji="0" lang="fr-FR" sz="1800" b="0" i="0" u="none" strike="noStrike" kern="1200" cap="none" spc="0" normalizeH="0" baseline="0" noProof="0" dirty="0" err="1">
                <a:ln>
                  <a:noFill/>
                </a:ln>
                <a:solidFill>
                  <a:srgbClr val="0071BC"/>
                </a:solidFill>
                <a:effectLst/>
                <a:uLnTx/>
                <a:uFillTx/>
                <a:latin typeface="Roboto Light" panose="02000000000000000000" pitchFamily="2" charset="0"/>
                <a:ea typeface="Roboto Light" panose="02000000000000000000" pitchFamily="2" charset="0"/>
                <a:cs typeface="+mn-cs"/>
              </a:rPr>
              <a:t>within</a:t>
            </a:r>
            <a:r>
              <a:rPr kumimoji="0" lang="fr-FR" sz="1800" b="0" i="0" u="none" strike="noStrike" kern="1200" cap="none" spc="0" normalizeH="0" baseline="0" noProof="0" dirty="0">
                <a:ln>
                  <a:noFill/>
                </a:ln>
                <a:solidFill>
                  <a:srgbClr val="0071BC"/>
                </a:solidFill>
                <a:effectLst/>
                <a:uLnTx/>
                <a:uFillTx/>
                <a:latin typeface="Roboto Light" panose="02000000000000000000" pitchFamily="2" charset="0"/>
                <a:ea typeface="Roboto Light" panose="02000000000000000000" pitchFamily="2" charset="0"/>
                <a:cs typeface="+mn-cs"/>
              </a:rPr>
              <a:t> </a:t>
            </a:r>
            <a:r>
              <a:rPr kumimoji="0" lang="fr-FR" sz="1800" b="0" i="0" u="none" strike="noStrike" kern="1200" cap="none" spc="0" normalizeH="0" baseline="0" noProof="0" dirty="0" err="1">
                <a:ln>
                  <a:noFill/>
                </a:ln>
                <a:solidFill>
                  <a:srgbClr val="0071BC"/>
                </a:solidFill>
                <a:effectLst/>
                <a:uLnTx/>
                <a:uFillTx/>
                <a:latin typeface="Roboto Light" panose="02000000000000000000" pitchFamily="2" charset="0"/>
                <a:ea typeface="Roboto Light" panose="02000000000000000000" pitchFamily="2" charset="0"/>
                <a:cs typeface="+mn-cs"/>
              </a:rPr>
              <a:t>our</a:t>
            </a:r>
            <a:r>
              <a:rPr kumimoji="0" lang="fr-FR" sz="1800" b="0" i="0" u="none" strike="noStrike" kern="1200" cap="none" spc="0" normalizeH="0" baseline="0" noProof="0" dirty="0">
                <a:ln>
                  <a:noFill/>
                </a:ln>
                <a:solidFill>
                  <a:srgbClr val="0071BC"/>
                </a:solidFill>
                <a:effectLst/>
                <a:uLnTx/>
                <a:uFillTx/>
                <a:latin typeface="Roboto Light" panose="02000000000000000000" pitchFamily="2" charset="0"/>
                <a:ea typeface="Roboto Light" panose="02000000000000000000" pitchFamily="2" charset="0"/>
                <a:cs typeface="+mn-cs"/>
              </a:rPr>
              <a:t> Clients </a:t>
            </a:r>
            <a:r>
              <a:rPr kumimoji="0" lang="fr-FR" sz="1800" b="0" i="0" u="none" strike="noStrike" kern="1200" cap="none" spc="0" normalizeH="0" baseline="0" noProof="0" dirty="0" err="1">
                <a:ln>
                  <a:noFill/>
                </a:ln>
                <a:solidFill>
                  <a:srgbClr val="0071BC"/>
                </a:solidFill>
                <a:effectLst/>
                <a:uLnTx/>
                <a:uFillTx/>
                <a:latin typeface="Roboto Light" panose="02000000000000000000" pitchFamily="2" charset="0"/>
                <a:ea typeface="Roboto Light" panose="02000000000000000000" pitchFamily="2" charset="0"/>
                <a:cs typeface="+mn-cs"/>
              </a:rPr>
              <a:t>with</a:t>
            </a:r>
            <a:r>
              <a:rPr kumimoji="0" lang="fr-FR" sz="1800" b="0" i="0" u="none" strike="noStrike" kern="1200" cap="none" spc="0" normalizeH="0" baseline="0" noProof="0" dirty="0">
                <a:ln>
                  <a:noFill/>
                </a:ln>
                <a:solidFill>
                  <a:srgbClr val="0071BC"/>
                </a:solidFill>
                <a:effectLst/>
                <a:uLnTx/>
                <a:uFillTx/>
                <a:latin typeface="Roboto Light" panose="02000000000000000000" pitchFamily="2" charset="0"/>
                <a:ea typeface="Roboto Light" panose="02000000000000000000" pitchFamily="2" charset="0"/>
                <a:cs typeface="+mn-cs"/>
              </a:rPr>
              <a:t> NTT call plans</a:t>
            </a:r>
            <a:endParaRPr kumimoji="0" lang="fr-FR" sz="4400" b="0" i="0" u="none" strike="noStrike" kern="1200" cap="none" spc="0" normalizeH="0" baseline="0" noProof="0" dirty="0">
              <a:ln>
                <a:noFill/>
              </a:ln>
              <a:solidFill>
                <a:srgbClr val="0071BC"/>
              </a:solidFill>
              <a:effectLst/>
              <a:uLnTx/>
              <a:uFillTx/>
              <a:latin typeface="Roboto Light" panose="02000000000000000000" pitchFamily="2" charset="0"/>
              <a:ea typeface="Roboto Light" panose="02000000000000000000" pitchFamily="2" charset="0"/>
              <a:cs typeface="+mn-cs"/>
            </a:endParaRPr>
          </a:p>
        </p:txBody>
      </p:sp>
    </p:spTree>
    <p:extLst>
      <p:ext uri="{BB962C8B-B14F-4D97-AF65-F5344CB8AC3E}">
        <p14:creationId xmlns:p14="http://schemas.microsoft.com/office/powerpoint/2010/main" val="3841579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 coins arrondis 13">
            <a:extLst>
              <a:ext uri="{FF2B5EF4-FFF2-40B4-BE49-F238E27FC236}">
                <a16:creationId xmlns:a16="http://schemas.microsoft.com/office/drawing/2014/main" id="{4A6E5B52-9644-7388-1E63-F64251CCCE34}"/>
              </a:ext>
            </a:extLst>
          </p:cNvPr>
          <p:cNvSpPr/>
          <p:nvPr/>
        </p:nvSpPr>
        <p:spPr>
          <a:xfrm>
            <a:off x="5517617" y="2117115"/>
            <a:ext cx="2909591" cy="2489411"/>
          </a:xfrm>
          <a:prstGeom prst="roundRect">
            <a:avLst>
              <a:gd name="adj" fmla="val 1351"/>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 coins arrondis 13">
            <a:extLst>
              <a:ext uri="{FF2B5EF4-FFF2-40B4-BE49-F238E27FC236}">
                <a16:creationId xmlns:a16="http://schemas.microsoft.com/office/drawing/2014/main" id="{4E776DDC-48AE-A706-38AF-6B5155239C4C}"/>
              </a:ext>
            </a:extLst>
          </p:cNvPr>
          <p:cNvSpPr/>
          <p:nvPr/>
        </p:nvSpPr>
        <p:spPr>
          <a:xfrm>
            <a:off x="542846" y="2117115"/>
            <a:ext cx="2909591" cy="2489411"/>
          </a:xfrm>
          <a:prstGeom prst="roundRect">
            <a:avLst>
              <a:gd name="adj" fmla="val 1351"/>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510E050B-D2BD-B78E-594B-369A3DE82F5E}"/>
              </a:ext>
            </a:extLst>
          </p:cNvPr>
          <p:cNvSpPr/>
          <p:nvPr/>
        </p:nvSpPr>
        <p:spPr>
          <a:xfrm>
            <a:off x="174171" y="6302827"/>
            <a:ext cx="2697952" cy="435429"/>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3" name="Title 2"/>
          <p:cNvSpPr>
            <a:spLocks noGrp="1"/>
          </p:cNvSpPr>
          <p:nvPr>
            <p:ph type="title"/>
          </p:nvPr>
        </p:nvSpPr>
        <p:spPr/>
        <p:txBody>
          <a:bodyPr/>
          <a:lstStyle/>
          <a:p>
            <a:r>
              <a:rPr lang="en-US"/>
              <a:t>Cloud Voice – Universal Calling Plans</a:t>
            </a:r>
          </a:p>
        </p:txBody>
      </p:sp>
      <p:sp>
        <p:nvSpPr>
          <p:cNvPr id="18" name="TextBox 17">
            <a:extLst>
              <a:ext uri="{FF2B5EF4-FFF2-40B4-BE49-F238E27FC236}">
                <a16:creationId xmlns:a16="http://schemas.microsoft.com/office/drawing/2014/main" id="{59DCA856-B075-411B-A9AB-C05A204543EC}"/>
              </a:ext>
            </a:extLst>
          </p:cNvPr>
          <p:cNvSpPr txBox="1"/>
          <p:nvPr/>
        </p:nvSpPr>
        <p:spPr>
          <a:xfrm>
            <a:off x="396692" y="891046"/>
            <a:ext cx="7451909" cy="369332"/>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267"/>
              </a:spcBef>
              <a:spcAft>
                <a:spcPts val="12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vailable in </a:t>
            </a:r>
            <a:r>
              <a:rPr kumimoji="0" lang="en-US" sz="1800" b="1" i="0" u="none" strike="noStrike" kern="1200" cap="none" spc="0" normalizeH="0" baseline="0" noProof="0" dirty="0">
                <a:ln>
                  <a:noFill/>
                </a:ln>
                <a:solidFill>
                  <a:srgbClr val="0FC8F2"/>
                </a:solidFill>
                <a:effectLst/>
                <a:uLnTx/>
                <a:uFillTx/>
                <a:latin typeface="Arial" panose="020B0604020202020204" pitchFamily="34" charset="0"/>
                <a:ea typeface="+mn-ea"/>
                <a:cs typeface="Arial" panose="020B0604020202020204" pitchFamily="34" charset="0"/>
              </a:rPr>
              <a:t>Operator Connect by NTT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d</a:t>
            </a:r>
            <a:r>
              <a:rPr kumimoji="0" lang="en-US" sz="1800" b="1" i="0" u="none" strike="noStrike" kern="1200" cap="none" spc="0" normalizeH="0" baseline="0" noProof="0" dirty="0">
                <a:ln>
                  <a:noFill/>
                </a:ln>
                <a:solidFill>
                  <a:srgbClr val="0FC8F2"/>
                </a:solidFill>
                <a:effectLst/>
                <a:uLnTx/>
                <a:uFillTx/>
                <a:latin typeface="Arial" panose="020B0604020202020204" pitchFamily="34" charset="0"/>
                <a:ea typeface="+mn-ea"/>
                <a:cs typeface="Arial" panose="020B0604020202020204" pitchFamily="34" charset="0"/>
              </a:rPr>
              <a:t> Direct Routing by NTT</a:t>
            </a: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Flowchart: Process 21">
            <a:extLst>
              <a:ext uri="{FF2B5EF4-FFF2-40B4-BE49-F238E27FC236}">
                <a16:creationId xmlns:a16="http://schemas.microsoft.com/office/drawing/2014/main" id="{D9EB3452-6C37-4379-8F67-2B92507C628C}"/>
              </a:ext>
            </a:extLst>
          </p:cNvPr>
          <p:cNvSpPr/>
          <p:nvPr/>
        </p:nvSpPr>
        <p:spPr>
          <a:xfrm>
            <a:off x="5942219" y="2960596"/>
            <a:ext cx="2333243" cy="1476132"/>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Unlimited</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calls to domestic fixed and mobile destination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50 pooled minutes to 51 international destinations included (landline and mobile) </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verage and other international locations outbound calling charged per minute</a:t>
            </a:r>
          </a:p>
        </p:txBody>
      </p:sp>
      <p:grpSp>
        <p:nvGrpSpPr>
          <p:cNvPr id="7" name="Groupe 6">
            <a:extLst>
              <a:ext uri="{FF2B5EF4-FFF2-40B4-BE49-F238E27FC236}">
                <a16:creationId xmlns:a16="http://schemas.microsoft.com/office/drawing/2014/main" id="{05EC09FF-9944-97FF-C0EE-B46B304474C0}"/>
              </a:ext>
            </a:extLst>
          </p:cNvPr>
          <p:cNvGrpSpPr/>
          <p:nvPr/>
        </p:nvGrpSpPr>
        <p:grpSpPr>
          <a:xfrm>
            <a:off x="434793" y="4914819"/>
            <a:ext cx="11116933" cy="1717155"/>
            <a:chOff x="373927" y="4483329"/>
            <a:chExt cx="11116933" cy="1714601"/>
          </a:xfrm>
        </p:grpSpPr>
        <p:grpSp>
          <p:nvGrpSpPr>
            <p:cNvPr id="6" name="Groupe 5">
              <a:extLst>
                <a:ext uri="{FF2B5EF4-FFF2-40B4-BE49-F238E27FC236}">
                  <a16:creationId xmlns:a16="http://schemas.microsoft.com/office/drawing/2014/main" id="{C9D48327-FF7A-0443-D241-4BC002B8AFA8}"/>
                </a:ext>
              </a:extLst>
            </p:cNvPr>
            <p:cNvGrpSpPr/>
            <p:nvPr/>
          </p:nvGrpSpPr>
          <p:grpSpPr>
            <a:xfrm>
              <a:off x="373927" y="4483329"/>
              <a:ext cx="11116933" cy="1285012"/>
              <a:chOff x="373927" y="4483329"/>
              <a:chExt cx="11116933" cy="1285012"/>
            </a:xfrm>
          </p:grpSpPr>
          <p:sp>
            <p:nvSpPr>
              <p:cNvPr id="12" name="TextBox 11">
                <a:extLst>
                  <a:ext uri="{FF2B5EF4-FFF2-40B4-BE49-F238E27FC236}">
                    <a16:creationId xmlns:a16="http://schemas.microsoft.com/office/drawing/2014/main" id="{5B438614-6F0F-48F5-AA9B-F4A22844C9BD}"/>
                  </a:ext>
                </a:extLst>
              </p:cNvPr>
              <p:cNvSpPr txBox="1"/>
              <p:nvPr/>
            </p:nvSpPr>
            <p:spPr>
              <a:xfrm>
                <a:off x="373927" y="4483329"/>
                <a:ext cx="5271724" cy="338554"/>
              </a:xfrm>
              <a:prstGeom prst="rect">
                <a:avLst/>
              </a:prstGeom>
              <a:noFill/>
            </p:spPr>
            <p:txBody>
              <a:bodyPr wrap="square" rtlCol="0">
                <a:spAutoFit/>
              </a:bodyPr>
              <a:lstStyle/>
              <a:p>
                <a:pPr marL="11113" marR="0" lvl="0" indent="0" algn="l" defTabSz="914400" rtl="0" eaLnBrk="1" fontAlgn="auto" latinLnBrk="0" hangingPunct="1">
                  <a:lnSpc>
                    <a:spcPct val="100000"/>
                  </a:lnSpc>
                  <a:spcBef>
                    <a:spcPts val="325"/>
                  </a:spcBef>
                  <a:spcAft>
                    <a:spcPts val="0"/>
                  </a:spcAft>
                  <a:buClrTx/>
                  <a:buSzTx/>
                  <a:buFontTx/>
                  <a:buNone/>
                  <a:tabLst/>
                  <a:defRPr/>
                </a:pPr>
                <a:r>
                  <a:rPr kumimoji="0" lang="en-US" sz="1600" b="1" i="0" u="none" strike="noStrike" kern="1200" cap="none" spc="0" normalizeH="0" baseline="0" noProof="0">
                    <a:ln>
                      <a:noFill/>
                    </a:ln>
                    <a:solidFill>
                      <a:srgbClr val="0071BC"/>
                    </a:solidFill>
                    <a:effectLst/>
                    <a:uLnTx/>
                    <a:uFillTx/>
                    <a:latin typeface="Arial" panose="020B0604020202020204" pitchFamily="34" charset="0"/>
                    <a:ea typeface="+mn-ea"/>
                    <a:cs typeface="Arial" panose="020B0604020202020204" pitchFamily="34" charset="0"/>
                  </a:rPr>
                  <a:t>Applies to all plans</a:t>
                </a:r>
              </a:p>
            </p:txBody>
          </p:sp>
          <p:sp>
            <p:nvSpPr>
              <p:cNvPr id="2" name="TextBox 1">
                <a:extLst>
                  <a:ext uri="{FF2B5EF4-FFF2-40B4-BE49-F238E27FC236}">
                    <a16:creationId xmlns:a16="http://schemas.microsoft.com/office/drawing/2014/main" id="{9D28E7EC-DDC4-49C7-B799-18E7B1FBDB4B}"/>
                  </a:ext>
                </a:extLst>
              </p:cNvPr>
              <p:cNvSpPr txBox="1"/>
              <p:nvPr/>
            </p:nvSpPr>
            <p:spPr>
              <a:xfrm>
                <a:off x="396692" y="4875057"/>
                <a:ext cx="11094168" cy="893284"/>
              </a:xfrm>
              <a:prstGeom prst="rect">
                <a:avLst/>
              </a:prstGeom>
              <a:noFill/>
            </p:spPr>
            <p:txBody>
              <a:bodyPr wrap="square" lIns="90000" numCol="3" spcCol="360000" rtlCol="0">
                <a:noAutofit/>
              </a:bodyPr>
              <a:lstStyle/>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ull PSTN Replacement</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cal phone number (</a:t>
                </a: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vailable in 39 countries)</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nlimited inbound calls</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ergency calls routing </a:t>
                </a: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e. 911, 112)</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ynamic E911</a:t>
                </a:r>
                <a:endParaRPr kumimoji="0" lang="en-GB"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orldwide Outbound calls (per minute)</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cal Numbers Portability</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rectory Services</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lexible plan assignment by DDI</a:t>
                </a:r>
                <a:endParaRPr kumimoji="0" lang="en-GB"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ller ID presentation (CLI)</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ller ID Name (CNAM)</a:t>
                </a:r>
                <a:r>
                  <a:rPr kumimoji="0" lang="en-GB" sz="11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utomatic Calling Plan allocation on first use of DDI (Default in-country Calling Plan)</a:t>
                </a:r>
                <a:endParaRPr kumimoji="0" lang="en-US" sz="11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active Fraud Management</a:t>
                </a:r>
                <a:endParaRPr kumimoji="0" lang="en-GB" sz="11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4" name="TextBox 3">
              <a:extLst>
                <a:ext uri="{FF2B5EF4-FFF2-40B4-BE49-F238E27FC236}">
                  <a16:creationId xmlns:a16="http://schemas.microsoft.com/office/drawing/2014/main" id="{C4EF4A6C-8C25-438F-AAB3-06EEB884DEC0}"/>
                </a:ext>
              </a:extLst>
            </p:cNvPr>
            <p:cNvSpPr txBox="1"/>
            <p:nvPr/>
          </p:nvSpPr>
          <p:spPr>
            <a:xfrm>
              <a:off x="396692" y="5967098"/>
              <a:ext cx="468330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GB"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US/Canada only</a:t>
              </a:r>
            </a:p>
          </p:txBody>
        </p:sp>
      </p:grpSp>
      <p:sp>
        <p:nvSpPr>
          <p:cNvPr id="9" name="Rectangle : coins arrondis 8">
            <a:extLst>
              <a:ext uri="{FF2B5EF4-FFF2-40B4-BE49-F238E27FC236}">
                <a16:creationId xmlns:a16="http://schemas.microsoft.com/office/drawing/2014/main" id="{EBB50AD2-B7C4-0851-5E3B-AF259D54B6D7}"/>
              </a:ext>
            </a:extLst>
          </p:cNvPr>
          <p:cNvSpPr/>
          <p:nvPr/>
        </p:nvSpPr>
        <p:spPr>
          <a:xfrm>
            <a:off x="3032628" y="1716437"/>
            <a:ext cx="2780113" cy="2890089"/>
          </a:xfrm>
          <a:prstGeom prst="roundRect">
            <a:avLst>
              <a:gd name="adj" fmla="val 1925"/>
            </a:avLst>
          </a:prstGeom>
          <a:solidFill>
            <a:schemeClr val="accent2"/>
          </a:solidFill>
          <a:ln w="12700">
            <a:solidFill>
              <a:srgbClr val="0071BC"/>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Flowchart: Process 16">
            <a:extLst>
              <a:ext uri="{FF2B5EF4-FFF2-40B4-BE49-F238E27FC236}">
                <a16:creationId xmlns:a16="http://schemas.microsoft.com/office/drawing/2014/main" id="{7D816B02-9B78-4839-9FB7-EC2EFD498F5A}"/>
              </a:ext>
            </a:extLst>
          </p:cNvPr>
          <p:cNvSpPr/>
          <p:nvPr/>
        </p:nvSpPr>
        <p:spPr>
          <a:xfrm>
            <a:off x="3338851" y="3525965"/>
            <a:ext cx="2167663" cy="888021"/>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ct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limited</a:t>
            </a:r>
            <a:r>
              <a:rPr kumimoji="0" lang="en-US" sz="1067"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calls to domestic fixed and mobile destin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67"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rnational outbound calling charged per minute</a:t>
            </a:r>
          </a:p>
        </p:txBody>
      </p:sp>
      <p:sp>
        <p:nvSpPr>
          <p:cNvPr id="10" name="ZoneTexte 9">
            <a:extLst>
              <a:ext uri="{FF2B5EF4-FFF2-40B4-BE49-F238E27FC236}">
                <a16:creationId xmlns:a16="http://schemas.microsoft.com/office/drawing/2014/main" id="{FC591CA0-0028-E234-F346-946D67F9872E}"/>
              </a:ext>
            </a:extLst>
          </p:cNvPr>
          <p:cNvSpPr txBox="1"/>
          <p:nvPr/>
        </p:nvSpPr>
        <p:spPr>
          <a:xfrm>
            <a:off x="3523597" y="1540434"/>
            <a:ext cx="1798175" cy="369332"/>
          </a:xfrm>
          <a:prstGeom prst="roundRect">
            <a:avLst>
              <a:gd name="adj" fmla="val 7825"/>
            </a:avLst>
          </a:prstGeom>
          <a:solidFill>
            <a:schemeClr val="accent4"/>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0000"/>
                </a:solidFill>
                <a:effectLst/>
                <a:uLnTx/>
                <a:uFillTx/>
                <a:latin typeface="Arial"/>
                <a:ea typeface="+mn-ea"/>
                <a:cs typeface="+mn-cs"/>
              </a:rPr>
              <a:t>#1 Best Value</a:t>
            </a:r>
          </a:p>
        </p:txBody>
      </p:sp>
      <p:sp>
        <p:nvSpPr>
          <p:cNvPr id="21" name="Flowchart: Process 20">
            <a:extLst>
              <a:ext uri="{FF2B5EF4-FFF2-40B4-BE49-F238E27FC236}">
                <a16:creationId xmlns:a16="http://schemas.microsoft.com/office/drawing/2014/main" id="{00F39D4D-4D9F-4987-8195-74ACFB2860E0}"/>
              </a:ext>
            </a:extLst>
          </p:cNvPr>
          <p:cNvSpPr/>
          <p:nvPr/>
        </p:nvSpPr>
        <p:spPr>
          <a:xfrm>
            <a:off x="700861" y="2938180"/>
            <a:ext cx="2329018" cy="1498547"/>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ct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80 pooled minutes </a:t>
            </a: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f domestic calls to landline and mobile destin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verage domestic calling charged per minute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ternational outbound calling charged per minute</a:t>
            </a:r>
          </a:p>
        </p:txBody>
      </p:sp>
      <p:sp>
        <p:nvSpPr>
          <p:cNvPr id="27" name="ZoneTexte 26">
            <a:extLst>
              <a:ext uri="{FF2B5EF4-FFF2-40B4-BE49-F238E27FC236}">
                <a16:creationId xmlns:a16="http://schemas.microsoft.com/office/drawing/2014/main" id="{9ECA6635-E9D2-D573-94ED-A10125BE85F6}"/>
              </a:ext>
            </a:extLst>
          </p:cNvPr>
          <p:cNvSpPr txBox="1"/>
          <p:nvPr/>
        </p:nvSpPr>
        <p:spPr>
          <a:xfrm>
            <a:off x="8533602" y="2884383"/>
            <a:ext cx="45397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a:ln>
                  <a:noFill/>
                </a:ln>
                <a:solidFill>
                  <a:srgbClr val="0071BC"/>
                </a:solidFill>
                <a:effectLst/>
                <a:uLnTx/>
                <a:uFillTx/>
                <a:latin typeface="Arial"/>
                <a:ea typeface="+mn-ea"/>
                <a:cs typeface="+mn-cs"/>
              </a:rPr>
              <a:t>+</a:t>
            </a:r>
          </a:p>
        </p:txBody>
      </p:sp>
      <p:sp>
        <p:nvSpPr>
          <p:cNvPr id="36" name="ZoneTexte 9">
            <a:extLst>
              <a:ext uri="{FF2B5EF4-FFF2-40B4-BE49-F238E27FC236}">
                <a16:creationId xmlns:a16="http://schemas.microsoft.com/office/drawing/2014/main" id="{CA00FF93-13E4-7DE9-DE37-0857110A1819}"/>
              </a:ext>
            </a:extLst>
          </p:cNvPr>
          <p:cNvSpPr txBox="1"/>
          <p:nvPr/>
        </p:nvSpPr>
        <p:spPr>
          <a:xfrm>
            <a:off x="888650" y="1931477"/>
            <a:ext cx="1798175" cy="369332"/>
          </a:xfrm>
          <a:prstGeom prst="roundRect">
            <a:avLst>
              <a:gd name="adj" fmla="val 7825"/>
            </a:avLst>
          </a:prstGeom>
          <a:solidFill>
            <a:srgbClr val="BAD2ED"/>
          </a:solidFill>
        </p:spPr>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1973"/>
                </a:solidFill>
                <a:effectLst/>
                <a:uLnTx/>
                <a:uFillTx/>
                <a:latin typeface="Arial"/>
                <a:ea typeface="+mn-ea"/>
                <a:cs typeface="+mn-cs"/>
              </a:rPr>
              <a:t>#2 </a:t>
            </a:r>
            <a:r>
              <a:rPr kumimoji="0" lang="fr-FR" sz="1200" b="1" i="0" u="none" strike="noStrike" kern="1200" cap="none" spc="0" normalizeH="0" baseline="0" noProof="0" err="1">
                <a:ln>
                  <a:noFill/>
                </a:ln>
                <a:solidFill>
                  <a:srgbClr val="001973"/>
                </a:solidFill>
                <a:effectLst/>
                <a:uLnTx/>
                <a:uFillTx/>
                <a:latin typeface="Arial"/>
                <a:ea typeface="+mn-ea"/>
                <a:cs typeface="+mn-cs"/>
              </a:rPr>
              <a:t>most</a:t>
            </a:r>
            <a:r>
              <a:rPr kumimoji="0" lang="fr-FR" sz="1200" b="1" i="0" u="none" strike="noStrike" kern="1200" cap="none" spc="0" normalizeH="0" baseline="0" noProof="0">
                <a:ln>
                  <a:noFill/>
                </a:ln>
                <a:solidFill>
                  <a:srgbClr val="001973"/>
                </a:solidFill>
                <a:effectLst/>
                <a:uLnTx/>
                <a:uFillTx/>
                <a:latin typeface="Arial"/>
                <a:ea typeface="+mn-ea"/>
                <a:cs typeface="+mn-cs"/>
              </a:rPr>
              <a:t> </a:t>
            </a:r>
            <a:r>
              <a:rPr kumimoji="0" lang="fr-FR" sz="1200" b="1" i="0" u="none" strike="noStrike" kern="1200" cap="none" spc="0" normalizeH="0" baseline="0" noProof="0" err="1">
                <a:ln>
                  <a:noFill/>
                </a:ln>
                <a:solidFill>
                  <a:srgbClr val="001973"/>
                </a:solidFill>
                <a:effectLst/>
                <a:uLnTx/>
                <a:uFillTx/>
                <a:latin typeface="Arial"/>
                <a:ea typeface="+mn-ea"/>
                <a:cs typeface="+mn-cs"/>
              </a:rPr>
              <a:t>popular</a:t>
            </a:r>
            <a:endParaRPr kumimoji="0" lang="fr-FR" sz="1200" b="1" i="0" u="none" strike="noStrike" kern="1200" cap="none" spc="0" normalizeH="0" baseline="0" noProof="0">
              <a:ln>
                <a:noFill/>
              </a:ln>
              <a:solidFill>
                <a:srgbClr val="001973"/>
              </a:solidFill>
              <a:effectLst/>
              <a:uLnTx/>
              <a:uFillTx/>
              <a:latin typeface="Arial"/>
              <a:ea typeface="+mn-ea"/>
              <a:cs typeface="+mn-cs"/>
            </a:endParaRPr>
          </a:p>
        </p:txBody>
      </p:sp>
      <p:sp>
        <p:nvSpPr>
          <p:cNvPr id="37" name="ZoneTexte 9">
            <a:extLst>
              <a:ext uri="{FF2B5EF4-FFF2-40B4-BE49-F238E27FC236}">
                <a16:creationId xmlns:a16="http://schemas.microsoft.com/office/drawing/2014/main" id="{D3CF6360-17FA-13EC-10B9-DCC07B47CD46}"/>
              </a:ext>
            </a:extLst>
          </p:cNvPr>
          <p:cNvSpPr txBox="1"/>
          <p:nvPr/>
        </p:nvSpPr>
        <p:spPr>
          <a:xfrm>
            <a:off x="6193984" y="1931477"/>
            <a:ext cx="1798175" cy="369332"/>
          </a:xfrm>
          <a:prstGeom prst="roundRect">
            <a:avLst>
              <a:gd name="adj" fmla="val 7825"/>
            </a:avLst>
          </a:prstGeom>
          <a:solidFill>
            <a:srgbClr val="BAD2ED"/>
          </a:solidFill>
        </p:spPr>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1973"/>
                </a:solidFill>
                <a:effectLst/>
                <a:uLnTx/>
                <a:uFillTx/>
                <a:latin typeface="Arial"/>
                <a:ea typeface="+mn-ea"/>
                <a:cs typeface="+mn-cs"/>
              </a:rPr>
              <a:t>#3 Global </a:t>
            </a:r>
            <a:r>
              <a:rPr kumimoji="0" lang="fr-FR" sz="1200" b="1" i="0" u="none" strike="noStrike" kern="1200" cap="none" spc="0" normalizeH="0" baseline="0" noProof="0" err="1">
                <a:ln>
                  <a:noFill/>
                </a:ln>
                <a:solidFill>
                  <a:srgbClr val="001973"/>
                </a:solidFill>
                <a:effectLst/>
                <a:uLnTx/>
                <a:uFillTx/>
                <a:latin typeface="Arial"/>
                <a:ea typeface="+mn-ea"/>
                <a:cs typeface="+mn-cs"/>
              </a:rPr>
              <a:t>users</a:t>
            </a:r>
            <a:endParaRPr kumimoji="0" lang="fr-FR" sz="1200" b="1" i="0" u="none" strike="noStrike" kern="1200" cap="none" spc="0" normalizeH="0" baseline="0" noProof="0">
              <a:ln>
                <a:noFill/>
              </a:ln>
              <a:solidFill>
                <a:srgbClr val="001973"/>
              </a:solidFill>
              <a:effectLst/>
              <a:uLnTx/>
              <a:uFillTx/>
              <a:latin typeface="Arial"/>
              <a:ea typeface="+mn-ea"/>
              <a:cs typeface="+mn-cs"/>
            </a:endParaRPr>
          </a:p>
        </p:txBody>
      </p:sp>
      <p:sp>
        <p:nvSpPr>
          <p:cNvPr id="38" name="TextBox 37">
            <a:extLst>
              <a:ext uri="{FF2B5EF4-FFF2-40B4-BE49-F238E27FC236}">
                <a16:creationId xmlns:a16="http://schemas.microsoft.com/office/drawing/2014/main" id="{85A47F75-9FB8-1E00-1961-AB9E8D565A67}"/>
              </a:ext>
            </a:extLst>
          </p:cNvPr>
          <p:cNvSpPr txBox="1"/>
          <p:nvPr/>
        </p:nvSpPr>
        <p:spPr>
          <a:xfrm>
            <a:off x="1118323" y="2513471"/>
            <a:ext cx="133882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71BC"/>
                </a:solidFill>
                <a:effectLst/>
                <a:uLnTx/>
                <a:uFillTx/>
                <a:latin typeface="Arial"/>
                <a:ea typeface="+mn-ea"/>
                <a:cs typeface="+mn-cs"/>
              </a:rPr>
              <a:t>Domestic 180</a:t>
            </a:r>
          </a:p>
        </p:txBody>
      </p:sp>
      <p:sp>
        <p:nvSpPr>
          <p:cNvPr id="40" name="TextBox 39">
            <a:extLst>
              <a:ext uri="{FF2B5EF4-FFF2-40B4-BE49-F238E27FC236}">
                <a16:creationId xmlns:a16="http://schemas.microsoft.com/office/drawing/2014/main" id="{D285FF28-413B-ECBB-7DD8-69FB012ACE93}"/>
              </a:ext>
            </a:extLst>
          </p:cNvPr>
          <p:cNvSpPr txBox="1"/>
          <p:nvPr/>
        </p:nvSpPr>
        <p:spPr>
          <a:xfrm>
            <a:off x="5942219" y="2513471"/>
            <a:ext cx="24070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71BC"/>
                </a:solidFill>
                <a:effectLst/>
                <a:uLnTx/>
                <a:uFillTx/>
                <a:latin typeface="Arial"/>
                <a:ea typeface="+mn-ea"/>
                <a:cs typeface="+mn-cs"/>
              </a:rPr>
              <a:t>Domestic &amp; International</a:t>
            </a:r>
          </a:p>
        </p:txBody>
      </p:sp>
      <p:sp>
        <p:nvSpPr>
          <p:cNvPr id="41" name="Rectangle : coins arrondis 13">
            <a:extLst>
              <a:ext uri="{FF2B5EF4-FFF2-40B4-BE49-F238E27FC236}">
                <a16:creationId xmlns:a16="http://schemas.microsoft.com/office/drawing/2014/main" id="{6C5F3193-389F-7991-CCF1-E21B2D205BBF}"/>
              </a:ext>
            </a:extLst>
          </p:cNvPr>
          <p:cNvSpPr/>
          <p:nvPr/>
        </p:nvSpPr>
        <p:spPr>
          <a:xfrm>
            <a:off x="9093966" y="2117115"/>
            <a:ext cx="2555188" cy="2489411"/>
          </a:xfrm>
          <a:prstGeom prst="roundRect">
            <a:avLst>
              <a:gd name="adj" fmla="val 1351"/>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200"/>
              </a:spcBef>
              <a:spcAft>
                <a:spcPts val="2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ZoneTexte 9">
            <a:extLst>
              <a:ext uri="{FF2B5EF4-FFF2-40B4-BE49-F238E27FC236}">
                <a16:creationId xmlns:a16="http://schemas.microsoft.com/office/drawing/2014/main" id="{D25EC71A-8519-E6C4-7BDE-549F0E75C7FA}"/>
              </a:ext>
            </a:extLst>
          </p:cNvPr>
          <p:cNvSpPr txBox="1"/>
          <p:nvPr/>
        </p:nvSpPr>
        <p:spPr>
          <a:xfrm>
            <a:off x="9093966" y="2116143"/>
            <a:ext cx="2555188" cy="369332"/>
          </a:xfrm>
          <a:prstGeom prst="roundRect">
            <a:avLst>
              <a:gd name="adj" fmla="val 7825"/>
            </a:avLst>
          </a:prstGeom>
          <a:solidFill>
            <a:schemeClr val="accent2"/>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Arial"/>
                <a:ea typeface="+mn-ea"/>
                <a:cs typeface="+mn-cs"/>
              </a:rPr>
              <a:t>Common area phones</a:t>
            </a:r>
          </a:p>
        </p:txBody>
      </p:sp>
      <p:sp>
        <p:nvSpPr>
          <p:cNvPr id="43" name="Flowchart: Process 21">
            <a:extLst>
              <a:ext uri="{FF2B5EF4-FFF2-40B4-BE49-F238E27FC236}">
                <a16:creationId xmlns:a16="http://schemas.microsoft.com/office/drawing/2014/main" id="{985F3E6E-853C-337D-6338-56409FA54897}"/>
              </a:ext>
            </a:extLst>
          </p:cNvPr>
          <p:cNvSpPr/>
          <p:nvPr/>
        </p:nvSpPr>
        <p:spPr>
          <a:xfrm>
            <a:off x="9367483" y="3257867"/>
            <a:ext cx="1992871" cy="1073044"/>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omestic outbound calling charged </a:t>
            </a:r>
            <a:r>
              <a:rPr kumimoji="0" lang="en-GB"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 minu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ternational outbound calling charged per minute</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196553F8-DF48-5482-1AF3-1DFCD69B0D96}"/>
              </a:ext>
            </a:extLst>
          </p:cNvPr>
          <p:cNvSpPr txBox="1"/>
          <p:nvPr/>
        </p:nvSpPr>
        <p:spPr>
          <a:xfrm>
            <a:off x="9367483" y="2793954"/>
            <a:ext cx="199287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71BC"/>
                </a:solidFill>
                <a:effectLst/>
                <a:uLnTx/>
                <a:uFillTx/>
                <a:latin typeface="Arial"/>
                <a:ea typeface="+mn-ea"/>
                <a:cs typeface="+mn-cs"/>
              </a:rPr>
              <a:t>Domestic per minute</a:t>
            </a:r>
          </a:p>
        </p:txBody>
      </p:sp>
      <p:sp>
        <p:nvSpPr>
          <p:cNvPr id="45" name="TextBox 44">
            <a:extLst>
              <a:ext uri="{FF2B5EF4-FFF2-40B4-BE49-F238E27FC236}">
                <a16:creationId xmlns:a16="http://schemas.microsoft.com/office/drawing/2014/main" id="{DFDDE5C6-62C8-6FEA-DE89-C4FD81471DE1}"/>
              </a:ext>
            </a:extLst>
          </p:cNvPr>
          <p:cNvSpPr txBox="1"/>
          <p:nvPr/>
        </p:nvSpPr>
        <p:spPr>
          <a:xfrm>
            <a:off x="3371753" y="3063333"/>
            <a:ext cx="210185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a:ea typeface="+mn-ea"/>
                <a:cs typeface="+mn-cs"/>
              </a:rPr>
              <a:t>Domestic Unlimited</a:t>
            </a:r>
          </a:p>
        </p:txBody>
      </p:sp>
      <p:pic>
        <p:nvPicPr>
          <p:cNvPr id="46" name="Graphic 45">
            <a:extLst>
              <a:ext uri="{FF2B5EF4-FFF2-40B4-BE49-F238E27FC236}">
                <a16:creationId xmlns:a16="http://schemas.microsoft.com/office/drawing/2014/main" id="{2510CE09-CD1F-FBDC-F1C6-5E288A8255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20507" y="2084288"/>
            <a:ext cx="804354" cy="804354"/>
          </a:xfrm>
          <a:prstGeom prst="rect">
            <a:avLst/>
          </a:prstGeom>
        </p:spPr>
      </p:pic>
    </p:spTree>
    <p:extLst>
      <p:ext uri="{BB962C8B-B14F-4D97-AF65-F5344CB8AC3E}">
        <p14:creationId xmlns:p14="http://schemas.microsoft.com/office/powerpoint/2010/main" val="227073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4051433-9445-2E68-C6D9-B21D470DD31A}"/>
              </a:ext>
            </a:extLst>
          </p:cNvPr>
          <p:cNvPicPr>
            <a:picLocks noChangeAspect="1"/>
          </p:cNvPicPr>
          <p:nvPr/>
        </p:nvPicPr>
        <p:blipFill rotWithShape="1">
          <a:blip r:embed="rId3">
            <a:extLst>
              <a:ext uri="{28A0092B-C50C-407E-A947-70E740481C1C}">
                <a14:useLocalDpi xmlns:a14="http://schemas.microsoft.com/office/drawing/2010/main" val="0"/>
              </a:ext>
            </a:extLst>
          </a:blip>
          <a:srcRect l="47038" t="13748" r="8773"/>
          <a:stretch/>
        </p:blipFill>
        <p:spPr>
          <a:xfrm>
            <a:off x="6923357" y="0"/>
            <a:ext cx="5268643" cy="6858000"/>
          </a:xfrm>
          <a:prstGeom prst="rect">
            <a:avLst/>
          </a:prstGeom>
        </p:spPr>
      </p:pic>
      <p:grpSp>
        <p:nvGrpSpPr>
          <p:cNvPr id="6" name="Group 5">
            <a:extLst>
              <a:ext uri="{FF2B5EF4-FFF2-40B4-BE49-F238E27FC236}">
                <a16:creationId xmlns:a16="http://schemas.microsoft.com/office/drawing/2014/main" id="{F59CBB46-9812-4930-F84F-EA6CCCA35249}"/>
              </a:ext>
            </a:extLst>
          </p:cNvPr>
          <p:cNvGrpSpPr/>
          <p:nvPr/>
        </p:nvGrpSpPr>
        <p:grpSpPr>
          <a:xfrm>
            <a:off x="10458431" y="332679"/>
            <a:ext cx="1308292" cy="484944"/>
            <a:chOff x="7843828" y="249509"/>
            <a:chExt cx="981220" cy="363708"/>
          </a:xfrm>
          <a:solidFill>
            <a:schemeClr val="bg1"/>
          </a:solidFill>
        </p:grpSpPr>
        <p:sp>
          <p:nvSpPr>
            <p:cNvPr id="8" name="Freeform 5">
              <a:extLst>
                <a:ext uri="{FF2B5EF4-FFF2-40B4-BE49-F238E27FC236}">
                  <a16:creationId xmlns:a16="http://schemas.microsoft.com/office/drawing/2014/main" id="{28693CDB-0987-2718-1F4C-2AB3EA038F5F}"/>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Freeform 6">
              <a:extLst>
                <a:ext uri="{FF2B5EF4-FFF2-40B4-BE49-F238E27FC236}">
                  <a16:creationId xmlns:a16="http://schemas.microsoft.com/office/drawing/2014/main" id="{E8A7008F-BB70-265A-EDFE-86808D28A99F}"/>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6" name="Content Placeholder 3">
            <a:extLst>
              <a:ext uri="{FF2B5EF4-FFF2-40B4-BE49-F238E27FC236}">
                <a16:creationId xmlns:a16="http://schemas.microsoft.com/office/drawing/2014/main" id="{6A860C75-0771-CBF2-4BB0-C3EF0C268777}"/>
              </a:ext>
            </a:extLst>
          </p:cNvPr>
          <p:cNvSpPr txBox="1">
            <a:spLocks/>
          </p:cNvSpPr>
          <p:nvPr/>
        </p:nvSpPr>
        <p:spPr>
          <a:xfrm>
            <a:off x="439592" y="2932691"/>
            <a:ext cx="6483765" cy="3502833"/>
          </a:xfrm>
          <a:prstGeom prst="rect">
            <a:avLst/>
          </a:prstGeom>
        </p:spPr>
        <p:txBody>
          <a:bodyPr/>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67"/>
              </a:spcBef>
              <a:spcAft>
                <a:spcPts val="1200"/>
              </a:spcAft>
              <a:buClrTx/>
              <a:buSzTx/>
              <a:buFont typeface="Arial" pitchFamily="34" charset="0"/>
              <a:buNone/>
              <a:tabLst/>
              <a:defRPr/>
            </a:pPr>
            <a:r>
              <a:rPr kumimoji="0" lang="en-GB" sz="1600" b="1" i="0" u="none" strike="noStrike" kern="1200" cap="none" spc="0" normalizeH="0" baseline="0" noProof="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Benefits:</a:t>
            </a:r>
          </a:p>
          <a:p>
            <a:pPr marL="228594" marR="0" lvl="0" indent="-228594"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Integrate remote workers and accelerate teamwork while ensuring secure and seamless collaboration across distributed teams</a:t>
            </a:r>
          </a:p>
          <a:p>
            <a:pPr marL="228594" marR="0" lvl="0" indent="-228594"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NTT provides a single point of contact across all covered product solutions and vendors for troubleshooting and escalations</a:t>
            </a:r>
          </a:p>
          <a:p>
            <a:pPr marL="228594" marR="0" lvl="0" indent="-228594"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Accelerated incident resolution with carriers and platform vendors</a:t>
            </a:r>
          </a:p>
          <a:p>
            <a:pPr marL="228594" marR="0" lvl="0" indent="-228594"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Built-in automation and reporting for simplified user management, faster service provisioning, reduced costs and increased agility</a:t>
            </a:r>
          </a:p>
          <a:p>
            <a:pPr marL="228594" marR="0" lvl="0" indent="-228594"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SLA-driven resolution and world class delivery processes, including ITIL 3.0 framework and ISO 27001 governance </a:t>
            </a:r>
          </a:p>
          <a:p>
            <a:pPr marL="228594" marR="0" lvl="0" indent="-228594"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18" name="Content Placeholder 2">
            <a:extLst>
              <a:ext uri="{FF2B5EF4-FFF2-40B4-BE49-F238E27FC236}">
                <a16:creationId xmlns:a16="http://schemas.microsoft.com/office/drawing/2014/main" id="{ACBC79A4-CA7F-84F9-CDF3-53E0344B906B}"/>
              </a:ext>
            </a:extLst>
          </p:cNvPr>
          <p:cNvSpPr txBox="1">
            <a:spLocks/>
          </p:cNvSpPr>
          <p:nvPr/>
        </p:nvSpPr>
        <p:spPr>
          <a:xfrm>
            <a:off x="428874" y="1132420"/>
            <a:ext cx="6097554" cy="1732078"/>
          </a:xfrm>
          <a:prstGeom prst="rect">
            <a:avLst/>
          </a:prstGeom>
        </p:spPr>
        <p:txBody>
          <a:bodyPr lIns="90000" tIns="46800" rIns="90000" bIns="46800"/>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800"/>
              </a:spcAft>
              <a:buClrTx/>
              <a:buSzTx/>
              <a:buFont typeface="Arial" pitchFamily="34" charset="0"/>
              <a:buNone/>
              <a:tabLst/>
              <a:defRPr/>
            </a:pPr>
            <a:r>
              <a:rPr kumimoji="0" lang="en-US" sz="2000" b="1" i="0" u="none" strike="noStrike" kern="1200" cap="none" spc="0" normalizeH="0" baseline="0" noProof="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Managed Employee Experience</a:t>
            </a:r>
          </a:p>
          <a:p>
            <a:pPr marL="0" marR="0" lvl="0" indent="0" algn="l" defTabSz="1219170" rtl="0" eaLnBrk="1" fontAlgn="auto" latinLnBrk="0" hangingPunct="1">
              <a:lnSpc>
                <a:spcPct val="100000"/>
              </a:lnSpc>
              <a:spcBef>
                <a:spcPts val="0"/>
              </a:spcBef>
              <a:spcAft>
                <a:spcPts val="800"/>
              </a:spcAft>
              <a:buClrTx/>
              <a:buSzTx/>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Accelerate digital workplace transformation and streamline operational efficiencies with Managed Services that tailor to meet your business needs. From offloading tasks, to full estate management, we provide complete lifecycle support across your collaboration and communications environment.</a:t>
            </a:r>
          </a:p>
          <a:p>
            <a:pPr marL="0" marR="0" lvl="0" indent="0" algn="l" defTabSz="1219170" rtl="0" eaLnBrk="1" fontAlgn="auto" latinLnBrk="0" hangingPunct="1">
              <a:lnSpc>
                <a:spcPct val="100000"/>
              </a:lnSpc>
              <a:spcBef>
                <a:spcPts val="0"/>
              </a:spcBef>
              <a:spcAft>
                <a:spcPts val="800"/>
              </a:spcAft>
              <a:buClrTx/>
              <a:buSzTx/>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3" name="Titre 2">
            <a:extLst>
              <a:ext uri="{FF2B5EF4-FFF2-40B4-BE49-F238E27FC236}">
                <a16:creationId xmlns:a16="http://schemas.microsoft.com/office/drawing/2014/main" id="{1F5D07BE-DE6A-4338-C5FF-AD99C40A025E}"/>
              </a:ext>
            </a:extLst>
          </p:cNvPr>
          <p:cNvSpPr>
            <a:spLocks noGrp="1"/>
          </p:cNvSpPr>
          <p:nvPr>
            <p:ph type="title"/>
          </p:nvPr>
        </p:nvSpPr>
        <p:spPr/>
        <p:txBody>
          <a:bodyPr/>
          <a:lstStyle/>
          <a:p>
            <a:r>
              <a:rPr lang="fr-FR" dirty="0" err="1"/>
              <a:t>Additional</a:t>
            </a:r>
            <a:r>
              <a:rPr lang="fr-FR" dirty="0"/>
              <a:t> NTT Services</a:t>
            </a:r>
          </a:p>
        </p:txBody>
      </p:sp>
    </p:spTree>
    <p:extLst>
      <p:ext uri="{BB962C8B-B14F-4D97-AF65-F5344CB8AC3E}">
        <p14:creationId xmlns:p14="http://schemas.microsoft.com/office/powerpoint/2010/main" val="2232192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3F8572-8776-A943-6B6F-22797FF8EB34}"/>
              </a:ext>
            </a:extLst>
          </p:cNvPr>
          <p:cNvPicPr>
            <a:picLocks noChangeAspect="1"/>
          </p:cNvPicPr>
          <p:nvPr/>
        </p:nvPicPr>
        <p:blipFill rotWithShape="1">
          <a:blip r:embed="rId3">
            <a:extLst>
              <a:ext uri="{28A0092B-C50C-407E-A947-70E740481C1C}">
                <a14:useLocalDpi xmlns:a14="http://schemas.microsoft.com/office/drawing/2010/main" val="0"/>
              </a:ext>
            </a:extLst>
          </a:blip>
          <a:srcRect l="24796" r="23950"/>
          <a:stretch/>
        </p:blipFill>
        <p:spPr>
          <a:xfrm>
            <a:off x="6915990" y="0"/>
            <a:ext cx="5276009" cy="6858000"/>
          </a:xfrm>
          <a:prstGeom prst="rect">
            <a:avLst/>
          </a:prstGeom>
        </p:spPr>
      </p:pic>
      <p:grpSp>
        <p:nvGrpSpPr>
          <p:cNvPr id="7" name="Group 6">
            <a:extLst>
              <a:ext uri="{FF2B5EF4-FFF2-40B4-BE49-F238E27FC236}">
                <a16:creationId xmlns:a16="http://schemas.microsoft.com/office/drawing/2014/main" id="{94CB3591-B696-2581-C930-D4D61E0E2573}"/>
              </a:ext>
            </a:extLst>
          </p:cNvPr>
          <p:cNvGrpSpPr/>
          <p:nvPr/>
        </p:nvGrpSpPr>
        <p:grpSpPr>
          <a:xfrm>
            <a:off x="10458430" y="332679"/>
            <a:ext cx="1308292" cy="484944"/>
            <a:chOff x="7843828" y="249509"/>
            <a:chExt cx="981220" cy="363708"/>
          </a:xfrm>
        </p:grpSpPr>
        <p:sp>
          <p:nvSpPr>
            <p:cNvPr id="11" name="Freeform 5">
              <a:extLst>
                <a:ext uri="{FF2B5EF4-FFF2-40B4-BE49-F238E27FC236}">
                  <a16:creationId xmlns:a16="http://schemas.microsoft.com/office/drawing/2014/main" id="{B60A7FFA-6777-F5C8-A459-D401C548F063}"/>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6">
              <a:extLst>
                <a:ext uri="{FF2B5EF4-FFF2-40B4-BE49-F238E27FC236}">
                  <a16:creationId xmlns:a16="http://schemas.microsoft.com/office/drawing/2014/main" id="{4F898FB3-8563-2475-1D9A-92F0B370D66D}"/>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10" name="Content Placeholder 2">
            <a:extLst>
              <a:ext uri="{FF2B5EF4-FFF2-40B4-BE49-F238E27FC236}">
                <a16:creationId xmlns:a16="http://schemas.microsoft.com/office/drawing/2014/main" id="{E648D9D4-4333-DD64-67F9-B6E891CC50A9}"/>
              </a:ext>
            </a:extLst>
          </p:cNvPr>
          <p:cNvSpPr txBox="1">
            <a:spLocks/>
          </p:cNvSpPr>
          <p:nvPr/>
        </p:nvSpPr>
        <p:spPr>
          <a:xfrm>
            <a:off x="428873" y="963085"/>
            <a:ext cx="6075339" cy="889322"/>
          </a:xfrm>
          <a:prstGeom prst="rect">
            <a:avLst/>
          </a:prstGeom>
        </p:spPr>
        <p:txBody>
          <a:bodyPr lIns="90000" tIns="46800" rIns="90000" bIns="46800"/>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2000" b="1"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Teams integrated Contact Center with </a:t>
            </a:r>
            <a:r>
              <a:rPr kumimoji="0" lang="en-US" sz="2000" b="1" i="0" u="none" strike="noStrike" kern="1200" cap="none" spc="0" normalizeH="0" baseline="0" noProof="0" dirty="0" err="1">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Genesys</a:t>
            </a:r>
            <a:r>
              <a:rPr kumimoji="0" lang="en-US" sz="2000" b="1"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 Cloud </a:t>
            </a: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Seamless experiences for customers, agents and Teams users with hybrid voice services across Teams and </a:t>
            </a:r>
            <a:r>
              <a:rPr kumimoji="0" lang="en-GB" sz="1600" b="0" i="0" u="none" strike="noStrike" kern="1200" cap="none" spc="0" normalizeH="0" baseline="0" noProof="0" dirty="0" err="1">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Genesys</a:t>
            </a: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Light" panose="02000000000000000000" pitchFamily="2" charset="0"/>
                <a:cs typeface="Arial" panose="020B0604020202020204" pitchFamily="34" charset="0"/>
              </a:rPr>
              <a:t> Cloud. </a:t>
            </a:r>
            <a:r>
              <a:rPr kumimoji="0" lang="en-US" sz="1600" b="0" i="0" u="none" strike="noStrike" kern="1200" cap="none" spc="0" normalizeH="0" baseline="0" noProof="0" dirty="0">
                <a:ln>
                  <a:noFill/>
                </a:ln>
                <a:solidFill>
                  <a:srgbClr val="000000"/>
                </a:solidFill>
                <a:effectLst/>
                <a:uLnTx/>
                <a:uFillTx/>
                <a:latin typeface="Arial"/>
                <a:ea typeface="Roboto Light" panose="02000000000000000000" pitchFamily="2" charset="0"/>
                <a:cs typeface="Arial" panose="020B0604020202020204" pitchFamily="34" charset="0"/>
              </a:rPr>
              <a:t>Experience enhanced teamworking and benefit from connected customer experiences. </a:t>
            </a: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endParaRPr>
          </a:p>
        </p:txBody>
      </p:sp>
      <p:sp>
        <p:nvSpPr>
          <p:cNvPr id="13" name="Titre 2">
            <a:extLst>
              <a:ext uri="{FF2B5EF4-FFF2-40B4-BE49-F238E27FC236}">
                <a16:creationId xmlns:a16="http://schemas.microsoft.com/office/drawing/2014/main" id="{109895AB-FAD9-FC12-38A0-31C96965ECE4}"/>
              </a:ext>
            </a:extLst>
          </p:cNvPr>
          <p:cNvSpPr>
            <a:spLocks noGrp="1"/>
          </p:cNvSpPr>
          <p:nvPr>
            <p:ph type="title"/>
          </p:nvPr>
        </p:nvSpPr>
        <p:spPr>
          <a:xfrm>
            <a:off x="396692" y="169334"/>
            <a:ext cx="9725123" cy="793751"/>
          </a:xfrm>
        </p:spPr>
        <p:txBody>
          <a:bodyPr/>
          <a:lstStyle/>
          <a:p>
            <a:r>
              <a:rPr lang="fr-FR" err="1"/>
              <a:t>Additional</a:t>
            </a:r>
            <a:r>
              <a:rPr lang="fr-FR"/>
              <a:t> NTT Services</a:t>
            </a:r>
          </a:p>
        </p:txBody>
      </p:sp>
      <p:sp>
        <p:nvSpPr>
          <p:cNvPr id="14" name="Content Placeholder 3">
            <a:extLst>
              <a:ext uri="{FF2B5EF4-FFF2-40B4-BE49-F238E27FC236}">
                <a16:creationId xmlns:a16="http://schemas.microsoft.com/office/drawing/2014/main" id="{1E6E5A22-AA26-0B78-69EC-5CFF11260486}"/>
              </a:ext>
            </a:extLst>
          </p:cNvPr>
          <p:cNvSpPr txBox="1">
            <a:spLocks/>
          </p:cNvSpPr>
          <p:nvPr/>
        </p:nvSpPr>
        <p:spPr>
          <a:xfrm>
            <a:off x="428872" y="2773944"/>
            <a:ext cx="6075339" cy="3744302"/>
          </a:xfrm>
          <a:prstGeom prst="rect">
            <a:avLst/>
          </a:prstGeom>
        </p:spPr>
        <p:txBody>
          <a:bodyPr/>
          <a:lstStyle>
            <a:lvl1pPr marL="0" indent="0" algn="l" defTabSz="1219170" rtl="0" eaLnBrk="1" latinLnBrk="0" hangingPunct="1">
              <a:lnSpc>
                <a:spcPct val="114000"/>
              </a:lnSpc>
              <a:spcBef>
                <a:spcPts val="800"/>
              </a:spcBef>
              <a:spcAft>
                <a:spcPts val="133"/>
              </a:spcAft>
              <a:buFont typeface="Arial" pitchFamily="34" charset="0"/>
              <a:buNone/>
              <a:defRPr sz="2400" kern="1200">
                <a:solidFill>
                  <a:schemeClr val="tx1"/>
                </a:solidFill>
                <a:latin typeface="Arial"/>
                <a:ea typeface="+mn-ea"/>
                <a:cs typeface="Arial"/>
              </a:defRPr>
            </a:lvl1pPr>
            <a:lvl2pPr marL="357708" indent="-237061" algn="l" defTabSz="1219170" rtl="0" eaLnBrk="1" latinLnBrk="0" hangingPunct="1">
              <a:lnSpc>
                <a:spcPct val="114000"/>
              </a:lnSpc>
              <a:spcBef>
                <a:spcPts val="267"/>
              </a:spcBef>
              <a:spcAft>
                <a:spcPts val="533"/>
              </a:spcAft>
              <a:buFont typeface="Arial" pitchFamily="34" charset="0"/>
              <a:buChar char="•"/>
              <a:defRPr sz="1867" kern="1200">
                <a:solidFill>
                  <a:schemeClr val="tx1"/>
                </a:solidFill>
                <a:latin typeface="Arial"/>
                <a:ea typeface="+mn-ea"/>
                <a:cs typeface="Arial"/>
              </a:defRPr>
            </a:lvl2pPr>
            <a:lvl3pPr marL="713300" indent="-251878" algn="l" defTabSz="1219170" rtl="0" eaLnBrk="1" latinLnBrk="0" hangingPunct="1">
              <a:lnSpc>
                <a:spcPct val="114000"/>
              </a:lnSpc>
              <a:spcBef>
                <a:spcPts val="133"/>
              </a:spcBef>
              <a:spcAft>
                <a:spcPts val="267"/>
              </a:spcAft>
              <a:buFont typeface="Arial" pitchFamily="34" charset="0"/>
              <a:buChar char="›"/>
              <a:defRPr sz="1600" kern="1200">
                <a:solidFill>
                  <a:schemeClr val="tx1"/>
                </a:solidFill>
                <a:latin typeface="Arial"/>
                <a:ea typeface="+mn-ea"/>
                <a:cs typeface="Arial"/>
              </a:defRPr>
            </a:lvl3pPr>
            <a:lvl4pPr marL="1447764" indent="-304792" algn="l" defTabSz="1219170" rtl="0" eaLnBrk="1" latinLnBrk="0" hangingPunct="1">
              <a:lnSpc>
                <a:spcPct val="114000"/>
              </a:lnSpc>
              <a:spcBef>
                <a:spcPts val="133"/>
              </a:spcBef>
              <a:spcAft>
                <a:spcPts val="533"/>
              </a:spcAft>
              <a:buFont typeface="Arial" pitchFamily="34" charset="0"/>
              <a:buChar char="»"/>
              <a:defRPr sz="1467" kern="1200">
                <a:solidFill>
                  <a:schemeClr val="tx1"/>
                </a:solidFill>
                <a:latin typeface="Arial"/>
                <a:ea typeface="+mn-ea"/>
                <a:cs typeface="Arial"/>
              </a:defRPr>
            </a:lvl4pPr>
            <a:lvl5pPr marL="1924003" indent="-230712" algn="l" defTabSz="1219170" rtl="0" eaLnBrk="1" latinLnBrk="0" hangingPunct="1">
              <a:lnSpc>
                <a:spcPct val="114000"/>
              </a:lnSpc>
              <a:spcBef>
                <a:spcPts val="133"/>
              </a:spcBef>
              <a:spcAft>
                <a:spcPts val="800"/>
              </a:spcAft>
              <a:buFont typeface="Arial" pitchFamily="34" charset="0"/>
              <a:buChar char="-"/>
              <a:defRPr sz="1467" kern="1200">
                <a:solidFill>
                  <a:schemeClr val="tx1"/>
                </a:solidFill>
                <a:latin typeface="Arial"/>
                <a:ea typeface="+mn-ea"/>
                <a:cs typeface="Arial"/>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67"/>
              </a:spcBef>
              <a:spcAft>
                <a:spcPts val="1200"/>
              </a:spcAft>
              <a:buClrTx/>
              <a:buSzTx/>
              <a:buFont typeface="Arial" pitchFamily="34" charset="0"/>
              <a:buNone/>
              <a:tabLst/>
              <a:defRPr/>
            </a:pPr>
            <a:r>
              <a:rPr kumimoji="0" lang="en-GB" sz="1600" b="1" i="0" u="none" strike="noStrike" kern="1200" cap="none" spc="0" normalizeH="0" baseline="0" noProof="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Benefits:</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000000"/>
                </a:solidFill>
                <a:effectLst/>
                <a:uLnTx/>
                <a:uFillTx/>
                <a:latin typeface="Arial"/>
                <a:ea typeface="Roboto Light" panose="02000000000000000000" pitchFamily="2" charset="0"/>
                <a:cs typeface="Arial" panose="020B0604020202020204" pitchFamily="34" charset="0"/>
              </a:rPr>
              <a:t>Genesys</a:t>
            </a:r>
            <a:r>
              <a:rPr kumimoji="0" lang="en-US" sz="1600" b="0" i="0" u="none" strike="noStrike" kern="1200" cap="none" spc="0" normalizeH="0" baseline="0" noProof="0">
                <a:ln>
                  <a:noFill/>
                </a:ln>
                <a:solidFill>
                  <a:srgbClr val="000000"/>
                </a:solidFill>
                <a:effectLst/>
                <a:uLnTx/>
                <a:uFillTx/>
                <a:latin typeface="Arial"/>
                <a:ea typeface="Roboto Light" panose="02000000000000000000" pitchFamily="2" charset="0"/>
                <a:cs typeface="Arial" panose="020B0604020202020204" pitchFamily="34" charset="0"/>
              </a:rPr>
              <a:t> agents and Teams users can make calls between themselves ‘on-net’.</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Roboto Light" panose="02000000000000000000" pitchFamily="2" charset="0"/>
                <a:cs typeface="Arial" panose="020B0604020202020204" pitchFamily="34" charset="0"/>
              </a:rPr>
              <a:t>Teams inbound calls can be transferred 'on-net' to a </a:t>
            </a:r>
            <a:r>
              <a:rPr kumimoji="0" lang="en-US" sz="1600" b="0" i="0" u="none" strike="noStrike" kern="1200" cap="none" spc="0" normalizeH="0" baseline="0" noProof="0" dirty="0" err="1">
                <a:ln>
                  <a:noFill/>
                </a:ln>
                <a:solidFill>
                  <a:srgbClr val="000000"/>
                </a:solidFill>
                <a:effectLst/>
                <a:uLnTx/>
                <a:uFillTx/>
                <a:latin typeface="Arial"/>
                <a:ea typeface="Roboto Light" panose="02000000000000000000" pitchFamily="2" charset="0"/>
                <a:cs typeface="Arial" panose="020B0604020202020204" pitchFamily="34" charset="0"/>
              </a:rPr>
              <a:t>Genesys</a:t>
            </a:r>
            <a:r>
              <a:rPr kumimoji="0" lang="en-US" sz="1600" b="0" i="0" u="none" strike="noStrike" kern="1200" cap="none" spc="0" normalizeH="0" baseline="0" noProof="0">
                <a:ln>
                  <a:noFill/>
                </a:ln>
                <a:solidFill>
                  <a:srgbClr val="000000"/>
                </a:solidFill>
                <a:effectLst/>
                <a:uLnTx/>
                <a:uFillTx/>
                <a:latin typeface="Arial"/>
                <a:ea typeface="Roboto Light" panose="02000000000000000000" pitchFamily="2" charset="0"/>
                <a:cs typeface="Arial" panose="020B0604020202020204" pitchFamily="34" charset="0"/>
              </a:rPr>
              <a:t> workflow</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Roboto Light" panose="02000000000000000000" pitchFamily="2" charset="0"/>
                <a:cs typeface="Arial" panose="020B0604020202020204" pitchFamily="34" charset="0"/>
              </a:rPr>
              <a:t>Ready-made requiring no additional hardware</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Roboto Light" panose="02000000000000000000" pitchFamily="2" charset="0"/>
                <a:cs typeface="Arial" panose="020B0604020202020204" pitchFamily="34" charset="0"/>
              </a:rPr>
              <a:t>Save on calling allowances for ‘on-net’ calls</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Roboto Light" panose="02000000000000000000" pitchFamily="2" charset="0"/>
                <a:cs typeface="Arial" panose="020B0604020202020204" pitchFamily="34" charset="0"/>
              </a:rPr>
              <a:t>Simple internal transfer of calls for agents, internal transfer of calls with integrated directory, on-net. </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Roboto Light" panose="02000000000000000000" pitchFamily="2" charset="0"/>
                <a:cs typeface="Arial" panose="020B0604020202020204" pitchFamily="34" charset="0"/>
              </a:rPr>
              <a:t>Higher quality audio, no re-routing of calls out through the  PSTN</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Roboto Light" panose="02000000000000000000" pitchFamily="2" charset="0"/>
                <a:cs typeface="Arial" panose="020B0604020202020204" pitchFamily="34" charset="0"/>
              </a:rPr>
              <a:t>Enhanced customer experiences</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Roboto Light" panose="02000000000000000000" pitchFamily="2" charset="0"/>
              <a:cs typeface="Arial" panose="020B0604020202020204" pitchFamily="34" charset="0"/>
            </a:endParaRPr>
          </a:p>
        </p:txBody>
      </p:sp>
    </p:spTree>
    <p:extLst>
      <p:ext uri="{BB962C8B-B14F-4D97-AF65-F5344CB8AC3E}">
        <p14:creationId xmlns:p14="http://schemas.microsoft.com/office/powerpoint/2010/main" val="2670530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51146B-931D-41D8-A666-7B337DE721E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18"/>
          <a:stretch/>
        </p:blipFill>
        <p:spPr>
          <a:xfrm>
            <a:off x="6914367" y="-14990"/>
            <a:ext cx="5277632" cy="6887980"/>
          </a:xfrm>
          <a:prstGeom prst="rect">
            <a:avLst/>
          </a:prstGeom>
        </p:spPr>
      </p:pic>
      <p:sp>
        <p:nvSpPr>
          <p:cNvPr id="15" name="Rectangle 14">
            <a:extLst>
              <a:ext uri="{FF2B5EF4-FFF2-40B4-BE49-F238E27FC236}">
                <a16:creationId xmlns:a16="http://schemas.microsoft.com/office/drawing/2014/main" id="{88DBA1EB-D4B1-6A46-92D8-26F2F1611F1C}"/>
              </a:ext>
            </a:extLst>
          </p:cNvPr>
          <p:cNvSpPr/>
          <p:nvPr/>
        </p:nvSpPr>
        <p:spPr>
          <a:xfrm>
            <a:off x="396693" y="1107313"/>
            <a:ext cx="5533052" cy="5314275"/>
          </a:xfrm>
          <a:prstGeom prst="rect">
            <a:avLst/>
          </a:prstGeom>
        </p:spPr>
        <p:txBody>
          <a:bodyPr wrap="square" lIns="91440" tIns="45720" rIns="91440" bIns="4572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1BC"/>
                </a:solidFill>
                <a:effectLst/>
                <a:uLnTx/>
                <a:uFillTx/>
                <a:latin typeface="Arial" panose="020B0604020202020204" pitchFamily="34" charset="0"/>
                <a:ea typeface="Roboto Black"/>
                <a:cs typeface="Arial" panose="020B0604020202020204" pitchFamily="34" charset="0"/>
              </a:rPr>
              <a:t>NTT Event Services for Microsoft </a:t>
            </a:r>
          </a:p>
          <a:p>
            <a:pPr marL="0" marR="0" lvl="0" indent="0" algn="l" defTabSz="1219170"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Meetings, Webinars &amp; Live Events</a:t>
            </a:r>
            <a:endParaRPr kumimoji="0" lang="en-AU" sz="1600" b="0"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sym typeface="Calibri"/>
            </a:endParaRPr>
          </a:p>
          <a:p>
            <a:pPr marL="0" marR="0" lvl="0" indent="0" algn="l" defTabSz="1219170" rtl="0" eaLnBrk="1" fontAlgn="auto" latinLnBrk="0" hangingPunct="1">
              <a:lnSpc>
                <a:spcPct val="100000"/>
              </a:lnSpc>
              <a:spcBef>
                <a:spcPts val="0"/>
              </a:spcBef>
              <a:spcAft>
                <a:spcPts val="800"/>
              </a:spcAft>
              <a:buClrTx/>
              <a:buSzTx/>
              <a:buFontTx/>
              <a:buNone/>
              <a:tabLst/>
              <a:defRPr/>
            </a:pPr>
            <a:endParaRPr kumimoji="0" lang="en-AU" sz="1600" b="0"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sym typeface="Calibri"/>
            </a:endParaRPr>
          </a:p>
          <a:p>
            <a:pPr marL="0" marR="0" lvl="0" indent="0" algn="l" defTabSz="1219170" rtl="0" eaLnBrk="1" fontAlgn="auto" latinLnBrk="0" hangingPunct="1">
              <a:lnSpc>
                <a:spcPct val="100000"/>
              </a:lnSpc>
              <a:spcBef>
                <a:spcPts val="0"/>
              </a:spcBef>
              <a:spcAft>
                <a:spcPts val="1200"/>
              </a:spcAft>
              <a:buClrTx/>
              <a:buSzTx/>
              <a:buFontTx/>
              <a:buNone/>
              <a:tabLst/>
              <a:defRPr/>
            </a:pPr>
            <a:r>
              <a:rPr kumimoji="0" lang="en-AU" sz="1600" b="0" i="0" u="none" strike="noStrike" kern="1200" cap="none" spc="0" normalizeH="0" baseline="0" noProof="0" dirty="0">
                <a:ln>
                  <a:noFill/>
                </a:ln>
                <a:solidFill>
                  <a:srgbClr val="000000"/>
                </a:solidFill>
                <a:effectLst/>
                <a:uLnTx/>
                <a:uFillTx/>
                <a:latin typeface="Arial" panose="020B0604020202020204" pitchFamily="34" charset="0"/>
                <a:ea typeface="Roboto Black"/>
                <a:cs typeface="Arial" panose="020B0604020202020204" pitchFamily="34" charset="0"/>
                <a:sym typeface="Calibri"/>
              </a:rPr>
              <a:t>Easily adopt and drive usage of the event and large meeting capabilities within Microsoft Teams, Yammer and Stream.</a:t>
            </a:r>
            <a:endParaRPr kumimoji="0" lang="en-AU" sz="1600" b="0" i="0" u="none" strike="noStrike" kern="1200" cap="none" spc="0" normalizeH="0" baseline="0" noProof="0" dirty="0">
              <a:ln>
                <a:noFill/>
              </a:ln>
              <a:solidFill>
                <a:srgbClr val="000000"/>
              </a:solidFill>
              <a:effectLst/>
              <a:uLnTx/>
              <a:uFillTx/>
              <a:latin typeface="Arial" panose="020B0604020202020204" pitchFamily="34" charset="0"/>
              <a:ea typeface="Roboto Black" panose="02000000000000000000" pitchFamily="2"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1200"/>
              </a:spcAft>
              <a:buClrTx/>
              <a:buSzTx/>
              <a:buFontTx/>
              <a:buNone/>
              <a:tabLst/>
              <a:defRPr/>
            </a:pPr>
            <a:r>
              <a:rPr kumimoji="0" lang="en-AU" sz="1600" b="0" i="0" u="none" strike="noStrike" kern="1200" cap="none" spc="0" normalizeH="0" baseline="0" noProof="0" dirty="0">
                <a:ln>
                  <a:noFill/>
                </a:ln>
                <a:solidFill>
                  <a:srgbClr val="000000"/>
                </a:solidFill>
                <a:effectLst/>
                <a:uLnTx/>
                <a:uFillTx/>
                <a:latin typeface="Arial" panose="020B0604020202020204" pitchFamily="34" charset="0"/>
                <a:ea typeface="Roboto Black"/>
                <a:cs typeface="Arial" panose="020B0604020202020204" pitchFamily="34" charset="0"/>
                <a:sym typeface="Calibri"/>
              </a:rPr>
              <a:t>NTT’s experienced Digital Events Team ensure you get the most out of your investment</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Tenant configuration and policy guidance – specific to your requirements - prior to running eve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Recommendations and best practice on product selection (Meetings, Webinars or Live Event) according to individual host, department or organization use cas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Onboarding workshops to learn how to create, manage and produce eve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Event management delivered by our professional event producers to coordinate, test and produce your events</a:t>
            </a:r>
          </a:p>
        </p:txBody>
      </p:sp>
      <p:pic>
        <p:nvPicPr>
          <p:cNvPr id="5" name="Picture 4">
            <a:extLst>
              <a:ext uri="{FF2B5EF4-FFF2-40B4-BE49-F238E27FC236}">
                <a16:creationId xmlns:a16="http://schemas.microsoft.com/office/drawing/2014/main" id="{39904B8D-8BE4-8A39-9EA4-E935E67E959B}"/>
              </a:ext>
            </a:extLst>
          </p:cNvPr>
          <p:cNvPicPr>
            <a:picLocks noChangeAspect="1"/>
          </p:cNvPicPr>
          <p:nvPr/>
        </p:nvPicPr>
        <p:blipFill>
          <a:blip r:embed="rId4"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
        <p:nvSpPr>
          <p:cNvPr id="6" name="Title 2">
            <a:extLst>
              <a:ext uri="{FF2B5EF4-FFF2-40B4-BE49-F238E27FC236}">
                <a16:creationId xmlns:a16="http://schemas.microsoft.com/office/drawing/2014/main" id="{E516F654-A698-F978-DEE7-75DEED759DDE}"/>
              </a:ext>
            </a:extLst>
          </p:cNvPr>
          <p:cNvSpPr txBox="1">
            <a:spLocks/>
          </p:cNvSpPr>
          <p:nvPr/>
        </p:nvSpPr>
        <p:spPr>
          <a:xfrm>
            <a:off x="396693" y="169339"/>
            <a:ext cx="9725123" cy="793751"/>
          </a:xfrm>
          <a:prstGeom prst="rect">
            <a:avLst/>
          </a:prstGeom>
        </p:spPr>
        <p:txBody>
          <a:bodyPr anchor="ctr"/>
          <a:lstStyle>
            <a:lvl1pPr algn="l" defTabSz="1219050" rtl="0" eaLnBrk="1" latinLnBrk="0" hangingPunct="1">
              <a:lnSpc>
                <a:spcPct val="120000"/>
              </a:lnSpc>
              <a:spcBef>
                <a:spcPts val="267"/>
              </a:spcBef>
              <a:spcAft>
                <a:spcPts val="267"/>
              </a:spcAft>
              <a:buNone/>
              <a:defRPr sz="3200" b="1" kern="1200" baseline="0">
                <a:solidFill>
                  <a:schemeClr val="accent2"/>
                </a:solidFill>
                <a:latin typeface="Arial"/>
                <a:ea typeface="+mj-ea"/>
                <a:cs typeface="Arial"/>
              </a:defRPr>
            </a:lvl1pPr>
          </a:lstStyle>
          <a:p>
            <a:pPr marL="0" marR="0" lvl="0" indent="0" algn="l" defTabSz="1219050" rtl="0" eaLnBrk="1" fontAlgn="auto" latinLnBrk="0" hangingPunct="1">
              <a:lnSpc>
                <a:spcPct val="120000"/>
              </a:lnSpc>
              <a:spcBef>
                <a:spcPts val="267"/>
              </a:spcBef>
              <a:spcAft>
                <a:spcPts val="267"/>
              </a:spcAft>
              <a:buClrTx/>
              <a:buSzTx/>
              <a:buFontTx/>
              <a:buNone/>
              <a:tabLst/>
              <a:defRPr/>
            </a:pPr>
            <a:r>
              <a:rPr kumimoji="0" lang="en-GB" sz="3200" b="1" i="0" u="none" strike="noStrike" kern="1200" cap="none" spc="0" normalizeH="0" baseline="0" noProof="0">
                <a:ln>
                  <a:noFill/>
                </a:ln>
                <a:solidFill>
                  <a:srgbClr val="0071BC"/>
                </a:solidFill>
                <a:effectLst/>
                <a:uLnTx/>
                <a:uFillTx/>
                <a:latin typeface="Arial"/>
                <a:ea typeface="+mj-ea"/>
                <a:cs typeface="Arial"/>
              </a:rPr>
              <a:t>Additional NTT Services</a:t>
            </a:r>
          </a:p>
        </p:txBody>
      </p:sp>
    </p:spTree>
    <p:extLst>
      <p:ext uri="{BB962C8B-B14F-4D97-AF65-F5344CB8AC3E}">
        <p14:creationId xmlns:p14="http://schemas.microsoft.com/office/powerpoint/2010/main" val="9325213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A picture containing person, indoor, person, working&#10;&#10;Description automatically generated">
            <a:extLst>
              <a:ext uri="{FF2B5EF4-FFF2-40B4-BE49-F238E27FC236}">
                <a16:creationId xmlns:a16="http://schemas.microsoft.com/office/drawing/2014/main" id="{B48FA237-8282-4913-82BE-B80BF54520F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12778" y="-572"/>
            <a:ext cx="5277632" cy="6859144"/>
          </a:xfrm>
          <a:prstGeom prst="rect">
            <a:avLst/>
          </a:prstGeom>
        </p:spPr>
      </p:pic>
      <p:sp>
        <p:nvSpPr>
          <p:cNvPr id="15" name="Title 4">
            <a:extLst>
              <a:ext uri="{FF2B5EF4-FFF2-40B4-BE49-F238E27FC236}">
                <a16:creationId xmlns:a16="http://schemas.microsoft.com/office/drawing/2014/main" id="{408FCD99-67EB-4E03-A075-EDFEEADC8C75}"/>
              </a:ext>
            </a:extLst>
          </p:cNvPr>
          <p:cNvSpPr txBox="1">
            <a:spLocks/>
          </p:cNvSpPr>
          <p:nvPr/>
        </p:nvSpPr>
        <p:spPr>
          <a:xfrm>
            <a:off x="396692" y="1306573"/>
            <a:ext cx="5525137" cy="4350467"/>
          </a:xfrm>
          <a:prstGeom prst="rect">
            <a:avLst/>
          </a:prstGeom>
        </p:spPr>
        <p:txBody>
          <a:bodyPr lIns="91440" tIns="45720" rIns="91440" bIns="45720" anchor="ctr"/>
          <a:lstStyle>
            <a:lvl1pPr algn="l" defTabSz="914400" rtl="0" eaLnBrk="1" latinLnBrk="0" hangingPunct="1">
              <a:lnSpc>
                <a:spcPct val="120000"/>
              </a:lnSpc>
              <a:spcBef>
                <a:spcPts val="200"/>
              </a:spcBef>
              <a:spcAft>
                <a:spcPts val="200"/>
              </a:spcAft>
              <a:buNone/>
              <a:defRPr sz="2400" b="1" kern="1200" baseline="0">
                <a:solidFill>
                  <a:schemeClr val="accent2"/>
                </a:solidFill>
                <a:latin typeface="Arial"/>
                <a:ea typeface="+mj-ea"/>
                <a:cs typeface="Arial"/>
              </a:defRPr>
            </a:lvl1pPr>
          </a:lstStyle>
          <a:p>
            <a:pPr marL="0" marR="0" lvl="0" indent="0" algn="l" defTabSz="1219170" rtl="0" eaLnBrk="1" fontAlgn="auto" latinLnBrk="0" hangingPunct="1">
              <a:lnSpc>
                <a:spcPct val="100000"/>
              </a:lnSpc>
              <a:spcBef>
                <a:spcPts val="600"/>
              </a:spcBef>
              <a:spcAft>
                <a:spcPts val="1200"/>
              </a:spcAft>
              <a:buClrTx/>
              <a:buSzTx/>
              <a:buFontTx/>
              <a:buNone/>
              <a:tabLst/>
              <a:defRPr/>
            </a:pPr>
            <a:r>
              <a:rPr kumimoji="0" lang="en-ZA" sz="2000" b="1" i="0" u="none" strike="noStrike" kern="1200" cap="none" spc="0" normalizeH="0" baseline="0" noProof="0" dirty="0">
                <a:ln>
                  <a:noFill/>
                </a:ln>
                <a:solidFill>
                  <a:srgbClr val="0071BC"/>
                </a:solidFill>
                <a:effectLst/>
                <a:uLnTx/>
                <a:uFillTx/>
                <a:latin typeface="Arial" panose="020B0604020202020204" pitchFamily="34" charset="0"/>
                <a:ea typeface="Roboto Light" panose="02000000000000000000" pitchFamily="2" charset="0"/>
                <a:cs typeface="Arial" panose="020B0604020202020204" pitchFamily="34" charset="0"/>
              </a:rPr>
              <a:t>Compliance Recording for Teams</a:t>
            </a:r>
          </a:p>
          <a:p>
            <a:pPr marL="0" marR="0" lvl="0" indent="0" algn="l" defTabSz="1219170" rtl="0" eaLnBrk="1" fontAlgn="auto" latinLnBrk="0" hangingPunct="1">
              <a:lnSpc>
                <a:spcPct val="100000"/>
              </a:lnSpc>
              <a:spcBef>
                <a:spcPts val="60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Black"/>
                <a:cs typeface="Arial" panose="020B0604020202020204" pitchFamily="34" charset="0"/>
              </a:rPr>
              <a:t>Protect your business &amp; drive performance</a:t>
            </a:r>
          </a:p>
          <a:p>
            <a:pPr marL="0" marR="0" lvl="0" indent="0" algn="l" defTabSz="1219170" rtl="0" eaLnBrk="1" fontAlgn="auto" latinLnBrk="0" hangingPunct="1">
              <a:lnSpc>
                <a:spcPct val="100000"/>
              </a:lnSpc>
              <a:spcBef>
                <a:spcPts val="60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Black"/>
                <a:cs typeface="Arial" panose="020B0604020202020204" pitchFamily="34" charset="0"/>
              </a:rPr>
              <a:t>Ensure you are meeting legal / compliance requirements, </a:t>
            </a:r>
            <a:b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Black"/>
                <a:cs typeface="Arial" panose="020B0604020202020204" pitchFamily="34" charset="0"/>
              </a:rPr>
            </a:b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Black"/>
                <a:cs typeface="Arial" panose="020B0604020202020204" pitchFamily="34" charset="0"/>
              </a:rPr>
              <a:t>and capture insights to improve how your staff collaborate &amp; serve customer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Record &amp; archive Teams calls, meetings, screen shares &amp; chat with transcription/translatio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Full admin control, including access &amp; playback </a:t>
            </a:r>
            <a:b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b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rights management</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Generate reports for insights &amp; analytics (on usage, compliance, data logs, import/expor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Roboto Light"/>
                <a:cs typeface="Arial" panose="020B0604020202020204" pitchFamily="34" charset="0"/>
              </a:rPr>
              <a:t>Secure capturing via tenant specific data encryption, group admin &amp; archiving rights</a:t>
            </a:r>
          </a:p>
        </p:txBody>
      </p:sp>
      <p:sp>
        <p:nvSpPr>
          <p:cNvPr id="3" name="Title 2">
            <a:extLst>
              <a:ext uri="{FF2B5EF4-FFF2-40B4-BE49-F238E27FC236}">
                <a16:creationId xmlns:a16="http://schemas.microsoft.com/office/drawing/2014/main" id="{D8617731-27D2-0CA1-A233-3D21294B40EF}"/>
              </a:ext>
            </a:extLst>
          </p:cNvPr>
          <p:cNvSpPr txBox="1">
            <a:spLocks/>
          </p:cNvSpPr>
          <p:nvPr/>
        </p:nvSpPr>
        <p:spPr>
          <a:xfrm>
            <a:off x="396693" y="169339"/>
            <a:ext cx="9725123" cy="793751"/>
          </a:xfrm>
          <a:prstGeom prst="rect">
            <a:avLst/>
          </a:prstGeom>
        </p:spPr>
        <p:txBody>
          <a:bodyPr anchor="ctr"/>
          <a:lstStyle>
            <a:lvl1pPr algn="l" defTabSz="1219050" rtl="0" eaLnBrk="1" latinLnBrk="0" hangingPunct="1">
              <a:lnSpc>
                <a:spcPct val="120000"/>
              </a:lnSpc>
              <a:spcBef>
                <a:spcPts val="267"/>
              </a:spcBef>
              <a:spcAft>
                <a:spcPts val="267"/>
              </a:spcAft>
              <a:buNone/>
              <a:defRPr sz="3200" b="1" kern="1200" baseline="0">
                <a:solidFill>
                  <a:schemeClr val="accent2"/>
                </a:solidFill>
                <a:latin typeface="Arial"/>
                <a:ea typeface="+mj-ea"/>
                <a:cs typeface="Arial"/>
              </a:defRPr>
            </a:lvl1pPr>
          </a:lstStyle>
          <a:p>
            <a:pPr marL="0" marR="0" lvl="0" indent="0" algn="l" defTabSz="1219050" rtl="0" eaLnBrk="1" fontAlgn="auto" latinLnBrk="0" hangingPunct="1">
              <a:lnSpc>
                <a:spcPct val="120000"/>
              </a:lnSpc>
              <a:spcBef>
                <a:spcPts val="267"/>
              </a:spcBef>
              <a:spcAft>
                <a:spcPts val="267"/>
              </a:spcAft>
              <a:buClrTx/>
              <a:buSzTx/>
              <a:buFontTx/>
              <a:buNone/>
              <a:tabLst/>
              <a:defRPr/>
            </a:pPr>
            <a:r>
              <a:rPr kumimoji="0" lang="en-GB" sz="3200" b="1" i="0" u="none" strike="noStrike" kern="1200" cap="none" spc="0" normalizeH="0" baseline="0" noProof="0">
                <a:ln>
                  <a:noFill/>
                </a:ln>
                <a:solidFill>
                  <a:srgbClr val="0071BC"/>
                </a:solidFill>
                <a:effectLst/>
                <a:uLnTx/>
                <a:uFillTx/>
                <a:latin typeface="Arial"/>
                <a:ea typeface="+mj-ea"/>
                <a:cs typeface="Arial"/>
              </a:rPr>
              <a:t>Additional NTT Services</a:t>
            </a:r>
          </a:p>
        </p:txBody>
      </p:sp>
      <p:pic>
        <p:nvPicPr>
          <p:cNvPr id="6" name="Picture 5">
            <a:extLst>
              <a:ext uri="{FF2B5EF4-FFF2-40B4-BE49-F238E27FC236}">
                <a16:creationId xmlns:a16="http://schemas.microsoft.com/office/drawing/2014/main" id="{336DDF6E-0869-FE75-E851-5AFEE904A5F1}"/>
              </a:ext>
            </a:extLst>
          </p:cNvPr>
          <p:cNvPicPr>
            <a:picLocks noChangeAspect="1"/>
          </p:cNvPicPr>
          <p:nvPr/>
        </p:nvPicPr>
        <p:blipFill>
          <a:blip r:embed="rId4" cstate="screen">
            <a:lum bright="100000" contrast="-100000"/>
            <a:extLst>
              <a:ext uri="{28A0092B-C50C-407E-A947-70E740481C1C}">
                <a14:useLocalDpi xmlns:a14="http://schemas.microsoft.com/office/drawing/2010/main"/>
              </a:ext>
            </a:extLst>
          </a:blip>
          <a:stretch>
            <a:fillRect/>
          </a:stretch>
        </p:blipFill>
        <p:spPr>
          <a:xfrm>
            <a:off x="10470548" y="337617"/>
            <a:ext cx="1331803" cy="477007"/>
          </a:xfrm>
          <a:prstGeom prst="rect">
            <a:avLst/>
          </a:prstGeom>
        </p:spPr>
      </p:pic>
    </p:spTree>
    <p:extLst>
      <p:ext uri="{BB962C8B-B14F-4D97-AF65-F5344CB8AC3E}">
        <p14:creationId xmlns:p14="http://schemas.microsoft.com/office/powerpoint/2010/main" val="349391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HGvTw.60.PJB9AroCkI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HGvTw.60.PJB9AroCkIfA"/>
</p:tagLst>
</file>

<file path=ppt/tags/tag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HGvTw.60.PJB9AroCkIfA"/>
</p:tagLst>
</file>

<file path=ppt/tags/tag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ucsvwuyGdf8v.X0TTxK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5SallMnS2V2aS58QhWR8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WBaQ8DY8PX_7uvBf4L3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HC5BwtVsfqNELDHUv0x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HC5BwtVsfqNELDHUv0xeQ"/>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_q3lJyJ6bFKGP8jN.73.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uxDzsfE40SnQrCJP2aj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5fJbRneSv62ENqWWlMJ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oGfqPZuc2icxQOLzN2w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HC5BwtVsfqNELDHUv0xeQ"/>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HC5BwtVsfqNELDHUv0xeQ"/>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2_NTT_master_page">
  <a:themeElements>
    <a:clrScheme name="Custom 40">
      <a:dk1>
        <a:srgbClr val="000000"/>
      </a:dk1>
      <a:lt1>
        <a:srgbClr val="FFFFFF"/>
      </a:lt1>
      <a:dk2>
        <a:srgbClr val="C8C8C8"/>
      </a:dk2>
      <a:lt2>
        <a:srgbClr val="656E71"/>
      </a:lt2>
      <a:accent1>
        <a:srgbClr val="001973"/>
      </a:accent1>
      <a:accent2>
        <a:srgbClr val="0071BC"/>
      </a:accent2>
      <a:accent3>
        <a:srgbClr val="0FC8F2"/>
      </a:accent3>
      <a:accent4>
        <a:srgbClr val="2CD5B6"/>
      </a:accent4>
      <a:accent5>
        <a:srgbClr val="008770"/>
      </a:accent5>
      <a:accent6>
        <a:srgbClr val="DB3C23"/>
      </a:accent6>
      <a:hlink>
        <a:srgbClr val="0784C1"/>
      </a:hlink>
      <a:folHlink>
        <a:srgbClr val="0784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effectLst/>
      </a:spPr>
      <a:bodyPr lIns="36000" tIns="36000" rIns="36000" bIns="36000" anchor="ctr"/>
      <a:lstStyle>
        <a:defPPr algn="ctr" fontAlgn="auto">
          <a:lnSpc>
            <a:spcPct val="110000"/>
          </a:lnSpc>
          <a:spcBef>
            <a:spcPts val="200"/>
          </a:spcBef>
          <a:spcAft>
            <a:spcPts val="2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TT Template 2020 copyright_2020" id="{26F99F6E-E285-8C40-BF4F-69329530DA70}" vid="{91AB35CD-A976-5B45-8BCB-E239383BCE16}"/>
    </a:ext>
  </a:extLst>
</a:theme>
</file>

<file path=ppt/theme/theme2.xml><?xml version="1.0" encoding="utf-8"?>
<a:theme xmlns:a="http://schemas.openxmlformats.org/drawingml/2006/main" name="NTT NEW 2020">
  <a:themeElements>
    <a:clrScheme name="Custom 40">
      <a:dk1>
        <a:srgbClr val="000000"/>
      </a:dk1>
      <a:lt1>
        <a:srgbClr val="FFFFFF"/>
      </a:lt1>
      <a:dk2>
        <a:srgbClr val="C8C8C8"/>
      </a:dk2>
      <a:lt2>
        <a:srgbClr val="656E71"/>
      </a:lt2>
      <a:accent1>
        <a:srgbClr val="001973"/>
      </a:accent1>
      <a:accent2>
        <a:srgbClr val="0071BC"/>
      </a:accent2>
      <a:accent3>
        <a:srgbClr val="0FC8F2"/>
      </a:accent3>
      <a:accent4>
        <a:srgbClr val="2CD5B6"/>
      </a:accent4>
      <a:accent5>
        <a:srgbClr val="008770"/>
      </a:accent5>
      <a:accent6>
        <a:srgbClr val="DB3C23"/>
      </a:accent6>
      <a:hlink>
        <a:srgbClr val="0784C1"/>
      </a:hlink>
      <a:folHlink>
        <a:srgbClr val="0784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effectLst/>
      </a:spPr>
      <a:bodyPr lIns="36000" tIns="36000" rIns="36000" bIns="36000" anchor="ctr"/>
      <a:lstStyle>
        <a:defPPr algn="ctr" fontAlgn="auto">
          <a:lnSpc>
            <a:spcPct val="110000"/>
          </a:lnSpc>
          <a:spcBef>
            <a:spcPts val="200"/>
          </a:spcBef>
          <a:spcAft>
            <a:spcPts val="2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TT NEW 2020" id="{8919DF3A-CB14-C243-B124-3326DAD4050B}" vid="{11FB6A1C-469C-784F-8C8D-604F210C2F0D}"/>
    </a:ext>
  </a:extLst>
</a:theme>
</file>

<file path=ppt/theme/theme3.xml><?xml version="1.0" encoding="utf-8"?>
<a:theme xmlns:a="http://schemas.openxmlformats.org/drawingml/2006/main" name="6_NTT_master_page">
  <a:themeElements>
    <a:clrScheme name="Custom 40">
      <a:dk1>
        <a:srgbClr val="000000"/>
      </a:dk1>
      <a:lt1>
        <a:srgbClr val="FFFFFF"/>
      </a:lt1>
      <a:dk2>
        <a:srgbClr val="C8C8C8"/>
      </a:dk2>
      <a:lt2>
        <a:srgbClr val="656E71"/>
      </a:lt2>
      <a:accent1>
        <a:srgbClr val="001973"/>
      </a:accent1>
      <a:accent2>
        <a:srgbClr val="0071BC"/>
      </a:accent2>
      <a:accent3>
        <a:srgbClr val="0FC8F2"/>
      </a:accent3>
      <a:accent4>
        <a:srgbClr val="2CD5B6"/>
      </a:accent4>
      <a:accent5>
        <a:srgbClr val="008770"/>
      </a:accent5>
      <a:accent6>
        <a:srgbClr val="DB3C23"/>
      </a:accent6>
      <a:hlink>
        <a:srgbClr val="0784C1"/>
      </a:hlink>
      <a:folHlink>
        <a:srgbClr val="0784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effectLst/>
      </a:spPr>
      <a:bodyPr lIns="36000" tIns="36000" rIns="36000" bIns="36000" anchor="ctr"/>
      <a:lstStyle>
        <a:defPPr algn="ctr" fontAlgn="auto">
          <a:lnSpc>
            <a:spcPct val="110000"/>
          </a:lnSpc>
          <a:spcBef>
            <a:spcPts val="200"/>
          </a:spcBef>
          <a:spcAft>
            <a:spcPts val="2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 Guidelines_26 02 2014_v4" id="{0BC10357-EC50-4911-A748-C21717FBD21B}" vid="{E9D06FB4-3EBD-4EE0-910D-62CBDA6F397E}"/>
    </a:ext>
  </a:extLst>
</a:theme>
</file>

<file path=ppt/theme/theme4.xml><?xml version="1.0" encoding="utf-8"?>
<a:theme xmlns:a="http://schemas.openxmlformats.org/drawingml/2006/main" name="7_NTT_master_page">
  <a:themeElements>
    <a:clrScheme name="Custom 40">
      <a:dk1>
        <a:srgbClr val="000000"/>
      </a:dk1>
      <a:lt1>
        <a:srgbClr val="FFFFFF"/>
      </a:lt1>
      <a:dk2>
        <a:srgbClr val="C8C8C8"/>
      </a:dk2>
      <a:lt2>
        <a:srgbClr val="656E71"/>
      </a:lt2>
      <a:accent1>
        <a:srgbClr val="001973"/>
      </a:accent1>
      <a:accent2>
        <a:srgbClr val="0071BC"/>
      </a:accent2>
      <a:accent3>
        <a:srgbClr val="0FC8F2"/>
      </a:accent3>
      <a:accent4>
        <a:srgbClr val="2CD5B6"/>
      </a:accent4>
      <a:accent5>
        <a:srgbClr val="008770"/>
      </a:accent5>
      <a:accent6>
        <a:srgbClr val="DB3C23"/>
      </a:accent6>
      <a:hlink>
        <a:srgbClr val="0784C1"/>
      </a:hlink>
      <a:folHlink>
        <a:srgbClr val="0784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effectLst/>
      </a:spPr>
      <a:bodyPr lIns="36000" tIns="36000" rIns="36000" bIns="36000" anchor="ctr"/>
      <a:lstStyle>
        <a:defPPr algn="ctr" fontAlgn="auto">
          <a:lnSpc>
            <a:spcPct val="110000"/>
          </a:lnSpc>
          <a:spcBef>
            <a:spcPts val="200"/>
          </a:spcBef>
          <a:spcAft>
            <a:spcPts val="2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 Guidelines_26 02 2014_v4" id="{0BC10357-EC50-4911-A748-C21717FBD21B}" vid="{E9D06FB4-3EBD-4EE0-910D-62CBDA6F397E}"/>
    </a:ext>
  </a:extLst>
</a:theme>
</file>

<file path=ppt/theme/theme5.xml><?xml version="1.0" encoding="utf-8"?>
<a:theme xmlns:a="http://schemas.openxmlformats.org/drawingml/2006/main" name="DD_master_page">
  <a:themeElements>
    <a:clrScheme name="Custom 40">
      <a:dk1>
        <a:srgbClr val="000000"/>
      </a:dk1>
      <a:lt1>
        <a:srgbClr val="FFFFFF"/>
      </a:lt1>
      <a:dk2>
        <a:srgbClr val="C8C8C8"/>
      </a:dk2>
      <a:lt2>
        <a:srgbClr val="656E71"/>
      </a:lt2>
      <a:accent1>
        <a:srgbClr val="001973"/>
      </a:accent1>
      <a:accent2>
        <a:srgbClr val="0071BC"/>
      </a:accent2>
      <a:accent3>
        <a:srgbClr val="0FC8F2"/>
      </a:accent3>
      <a:accent4>
        <a:srgbClr val="2CD5B6"/>
      </a:accent4>
      <a:accent5>
        <a:srgbClr val="008770"/>
      </a:accent5>
      <a:accent6>
        <a:srgbClr val="DB3C23"/>
      </a:accent6>
      <a:hlink>
        <a:srgbClr val="0784C1"/>
      </a:hlink>
      <a:folHlink>
        <a:srgbClr val="0784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2700">
          <a:noFill/>
        </a:ln>
        <a:effectLst/>
      </a:spPr>
      <a:bodyPr lIns="36000" tIns="36000" rIns="36000" bIns="36000" rtlCol="0" anchor="ctr"/>
      <a:lstStyle>
        <a:defPPr algn="ctr" defTabSz="914378" fontAlgn="auto">
          <a:lnSpc>
            <a:spcPct val="110000"/>
          </a:lnSpc>
          <a:spcBef>
            <a:spcPts val="200"/>
          </a:spcBef>
          <a:spcAft>
            <a:spcPts val="200"/>
          </a:spcAft>
          <a:defRPr sz="600" dirty="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 Guidelines_26 02 2014_v4" id="{0BC10357-EC50-4911-A748-C21717FBD21B}" vid="{E9D06FB4-3EBD-4EE0-910D-62CBDA6F397E}"/>
    </a:ext>
  </a:extLst>
</a:theme>
</file>

<file path=ppt/theme/theme6.xml><?xml version="1.0" encoding="utf-8"?>
<a:theme xmlns:a="http://schemas.openxmlformats.org/drawingml/2006/main" name="1_2021 Standard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flip="none" rotWithShape="1">
          <a:gsLst>
            <a:gs pos="0">
              <a:srgbClr val="0B79D5"/>
            </a:gs>
            <a:gs pos="100000">
              <a:srgbClr val="4CB1FF"/>
            </a:gs>
          </a:gsLst>
          <a:lin ang="0" scaled="1"/>
          <a:tileRect/>
        </a:gra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2021 Standard template" id="{EC6A8D81-7910-41A3-AAC8-F063E2E88CA7}" vid="{6D34A0C9-284E-4FAF-876B-8942045D6D66}"/>
    </a:ext>
  </a:extLst>
</a:theme>
</file>

<file path=ppt/theme/theme7.xml><?xml version="1.0" encoding="utf-8"?>
<a:theme xmlns:a="http://schemas.openxmlformats.org/drawingml/2006/main" name="3_NTT2021NEW">
  <a:themeElements>
    <a:clrScheme name="Custom 2">
      <a:dk1>
        <a:srgbClr val="000000"/>
      </a:dk1>
      <a:lt1>
        <a:srgbClr val="FFFFFF"/>
      </a:lt1>
      <a:dk2>
        <a:srgbClr val="C8C8C8"/>
      </a:dk2>
      <a:lt2>
        <a:srgbClr val="656E71"/>
      </a:lt2>
      <a:accent1>
        <a:srgbClr val="001973"/>
      </a:accent1>
      <a:accent2>
        <a:srgbClr val="0072BC"/>
      </a:accent2>
      <a:accent3>
        <a:srgbClr val="0FC8F2"/>
      </a:accent3>
      <a:accent4>
        <a:srgbClr val="2CD5B6"/>
      </a:accent4>
      <a:accent5>
        <a:srgbClr val="008770"/>
      </a:accent5>
      <a:accent6>
        <a:srgbClr val="DB3D23"/>
      </a:accent6>
      <a:hlink>
        <a:srgbClr val="0784C1"/>
      </a:hlink>
      <a:folHlink>
        <a:srgbClr val="0784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effectLst/>
      </a:spPr>
      <a:bodyPr lIns="36000" tIns="36000" rIns="36000" bIns="36000" anchor="ctr"/>
      <a:lstStyle>
        <a:defPPr algn="ctr" fontAlgn="auto">
          <a:lnSpc>
            <a:spcPct val="110000"/>
          </a:lnSpc>
          <a:spcBef>
            <a:spcPts val="200"/>
          </a:spcBef>
          <a:spcAft>
            <a:spcPts val="2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TT2021NEW" id="{0A6F2B0E-EEE4-DD46-84AC-56884F4881AC}" vid="{CE40C7AF-1788-6A41-B384-5CFF7F40F9B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914045BB87554FBB8598C8659C1BF8" ma:contentTypeVersion="15" ma:contentTypeDescription="Create a new document." ma:contentTypeScope="" ma:versionID="d4458c26a0df285a56c56f3630586053">
  <xsd:schema xmlns:xsd="http://www.w3.org/2001/XMLSchema" xmlns:xs="http://www.w3.org/2001/XMLSchema" xmlns:p="http://schemas.microsoft.com/office/2006/metadata/properties" xmlns:ns2="f6083f01-a068-47f1-8adf-70eb39868ea3" xmlns:ns3="fe39a376-d69a-42bf-9fc5-21fd93f6fe2e" xmlns:ns4="88277476-d7b8-4914-a8c1-9da81a4263ec" targetNamespace="http://schemas.microsoft.com/office/2006/metadata/properties" ma:root="true" ma:fieldsID="420d43d1c53d544c478e1bce1818d880" ns2:_="" ns3:_="" ns4:_="">
    <xsd:import namespace="f6083f01-a068-47f1-8adf-70eb39868ea3"/>
    <xsd:import namespace="fe39a376-d69a-42bf-9fc5-21fd93f6fe2e"/>
    <xsd:import namespace="88277476-d7b8-4914-a8c1-9da81a4263e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DateTake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083f01-a068-47f1-8adf-70eb39868e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6ec8287-7dca-4284-bf64-ff5b888be50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e39a376-d69a-42bf-9fc5-21fd93f6fe2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8277476-d7b8-4914-a8c1-9da81a4263ec"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c2ef8ca2-3d9f-48c4-b01e-540bc7072f74}" ma:internalName="TaxCatchAll" ma:showField="CatchAllData" ma:web="fe39a376-d69a-42bf-9fc5-21fd93f6fe2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6083f01-a068-47f1-8adf-70eb39868ea3">
      <Terms xmlns="http://schemas.microsoft.com/office/infopath/2007/PartnerControls"/>
    </lcf76f155ced4ddcb4097134ff3c332f>
    <TaxCatchAll xmlns="88277476-d7b8-4914-a8c1-9da81a4263ec" xsi:nil="true"/>
  </documentManagement>
</p:properties>
</file>

<file path=customXml/itemProps1.xml><?xml version="1.0" encoding="utf-8"?>
<ds:datastoreItem xmlns:ds="http://schemas.openxmlformats.org/officeDocument/2006/customXml" ds:itemID="{B5EF90DE-0D20-4908-A51E-1091FAD92847}"/>
</file>

<file path=customXml/itemProps2.xml><?xml version="1.0" encoding="utf-8"?>
<ds:datastoreItem xmlns:ds="http://schemas.openxmlformats.org/officeDocument/2006/customXml" ds:itemID="{53D7F82B-02DF-4A17-90F8-94AEEC30C8C8}">
  <ds:schemaRefs>
    <ds:schemaRef ds:uri="http://schemas.microsoft.com/sharepoint/v3/contenttype/forms"/>
  </ds:schemaRefs>
</ds:datastoreItem>
</file>

<file path=customXml/itemProps3.xml><?xml version="1.0" encoding="utf-8"?>
<ds:datastoreItem xmlns:ds="http://schemas.openxmlformats.org/officeDocument/2006/customXml" ds:itemID="{0EDCBA7D-A87C-499B-B07A-F4E34E2935E4}">
  <ds:schemaRefs>
    <ds:schemaRef ds:uri="http://schemas.microsoft.com/office/2006/documentManagement/types"/>
    <ds:schemaRef ds:uri="http://schemas.microsoft.com/office/2006/metadata/properties"/>
    <ds:schemaRef ds:uri="88010995-a7fa-4805-99a0-ab5dc990b3ff"/>
    <ds:schemaRef ds:uri="http://schemas.microsoft.com/office/infopath/2007/PartnerControls"/>
    <ds:schemaRef ds:uri="http://purl.org/dc/terms/"/>
    <ds:schemaRef ds:uri="http://purl.org/dc/elements/1.1/"/>
    <ds:schemaRef ds:uri="http://www.w3.org/XML/1998/namespace"/>
    <ds:schemaRef ds:uri="http://schemas.openxmlformats.org/package/2006/metadata/core-properties"/>
    <ds:schemaRef ds:uri="2e04df5e-2298-4320-a295-8853fdba9138"/>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029</TotalTime>
  <Words>1753</Words>
  <Application>Microsoft Office PowerPoint</Application>
  <PresentationFormat>Grand écran</PresentationFormat>
  <Paragraphs>244</Paragraphs>
  <Slides>11</Slides>
  <Notes>9</Notes>
  <HiddenSlides>0</HiddenSlides>
  <MMClips>0</MMClips>
  <ScaleCrop>false</ScaleCrop>
  <HeadingPairs>
    <vt:vector size="8" baseType="variant">
      <vt:variant>
        <vt:lpstr>Polices utilisées</vt:lpstr>
      </vt:variant>
      <vt:variant>
        <vt:i4>11</vt:i4>
      </vt:variant>
      <vt:variant>
        <vt:lpstr>Thème</vt:lpstr>
      </vt:variant>
      <vt:variant>
        <vt:i4>7</vt:i4>
      </vt:variant>
      <vt:variant>
        <vt:lpstr>Serveurs OLE incorporés</vt:lpstr>
      </vt:variant>
      <vt:variant>
        <vt:i4>1</vt:i4>
      </vt:variant>
      <vt:variant>
        <vt:lpstr>Titres des diapositives</vt:lpstr>
      </vt:variant>
      <vt:variant>
        <vt:i4>11</vt:i4>
      </vt:variant>
    </vt:vector>
  </HeadingPairs>
  <TitlesOfParts>
    <vt:vector size="30" baseType="lpstr">
      <vt:lpstr>Arial</vt:lpstr>
      <vt:lpstr>Calibri</vt:lpstr>
      <vt:lpstr>Georgia</vt:lpstr>
      <vt:lpstr>Roboto Black</vt:lpstr>
      <vt:lpstr>Roboto Light</vt:lpstr>
      <vt:lpstr>Segoe UI</vt:lpstr>
      <vt:lpstr>Segoe UI Black</vt:lpstr>
      <vt:lpstr>Segoe UI Semibold</vt:lpstr>
      <vt:lpstr>Segoe UI Semilight</vt:lpstr>
      <vt:lpstr>Source Sans Pro</vt:lpstr>
      <vt:lpstr>Wingdings</vt:lpstr>
      <vt:lpstr>12_NTT_master_page</vt:lpstr>
      <vt:lpstr>NTT NEW 2020</vt:lpstr>
      <vt:lpstr>6_NTT_master_page</vt:lpstr>
      <vt:lpstr>7_NTT_master_page</vt:lpstr>
      <vt:lpstr>DD_master_page</vt:lpstr>
      <vt:lpstr>1_2021 Standard template</vt:lpstr>
      <vt:lpstr>3_NTT2021NEW</vt:lpstr>
      <vt:lpstr>think-cell Slide</vt:lpstr>
      <vt:lpstr>NTT Value Proposition for Microsoft Modern Workplace</vt:lpstr>
      <vt:lpstr>What clients get from NTT and Microsoft</vt:lpstr>
      <vt:lpstr>NTT Services for Microsoft Modern Workplace</vt:lpstr>
      <vt:lpstr>NTT Cloud Voice Coverage for Operator Connect</vt:lpstr>
      <vt:lpstr>Cloud Voice – Universal Calling Plans</vt:lpstr>
      <vt:lpstr>Additional NTT Services</vt:lpstr>
      <vt:lpstr>Additional NTT Services</vt:lpstr>
      <vt:lpstr>Présentation PowerPoint</vt:lpstr>
      <vt:lpstr>Présentation PowerPoint</vt:lpstr>
      <vt:lpstr>NTT Accelerate</vt:lpstr>
      <vt:lpstr>In a nutshel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Elaine Riley</dc:creator>
  <cp:lastModifiedBy>Hugues Treguier</cp:lastModifiedBy>
  <cp:revision>13</cp:revision>
  <dcterms:created xsi:type="dcterms:W3CDTF">2022-10-18T08:39:13Z</dcterms:created>
  <dcterms:modified xsi:type="dcterms:W3CDTF">2023-06-21T08:0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637e5cc-ed1f-4ad6-a881-35c0f1c6f3d8_Enabled">
    <vt:lpwstr>true</vt:lpwstr>
  </property>
  <property fmtid="{D5CDD505-2E9C-101B-9397-08002B2CF9AE}" pid="3" name="MSIP_Label_4637e5cc-ed1f-4ad6-a881-35c0f1c6f3d8_SetDate">
    <vt:lpwstr>2022-10-18T08:39:13Z</vt:lpwstr>
  </property>
  <property fmtid="{D5CDD505-2E9C-101B-9397-08002B2CF9AE}" pid="4" name="MSIP_Label_4637e5cc-ed1f-4ad6-a881-35c0f1c6f3d8_Method">
    <vt:lpwstr>Standard</vt:lpwstr>
  </property>
  <property fmtid="{D5CDD505-2E9C-101B-9397-08002B2CF9AE}" pid="5" name="MSIP_Label_4637e5cc-ed1f-4ad6-a881-35c0f1c6f3d8_Name">
    <vt:lpwstr>General</vt:lpwstr>
  </property>
  <property fmtid="{D5CDD505-2E9C-101B-9397-08002B2CF9AE}" pid="6" name="MSIP_Label_4637e5cc-ed1f-4ad6-a881-35c0f1c6f3d8_SiteId">
    <vt:lpwstr>e3cf3c98-a978-465f-8254-9d541eeea73c</vt:lpwstr>
  </property>
  <property fmtid="{D5CDD505-2E9C-101B-9397-08002B2CF9AE}" pid="7" name="MSIP_Label_4637e5cc-ed1f-4ad6-a881-35c0f1c6f3d8_ActionId">
    <vt:lpwstr>85e190b6-cf74-49f1-b84d-611f9cceb386</vt:lpwstr>
  </property>
  <property fmtid="{D5CDD505-2E9C-101B-9397-08002B2CF9AE}" pid="8" name="MSIP_Label_4637e5cc-ed1f-4ad6-a881-35c0f1c6f3d8_ContentBits">
    <vt:lpwstr>0</vt:lpwstr>
  </property>
  <property fmtid="{D5CDD505-2E9C-101B-9397-08002B2CF9AE}" pid="9" name="ContentTypeId">
    <vt:lpwstr>0x010100E2DA05267AEB3944AAB848F1161E81E3</vt:lpwstr>
  </property>
  <property fmtid="{D5CDD505-2E9C-101B-9397-08002B2CF9AE}" pid="10" name="MediaServiceImageTags">
    <vt:lpwstr/>
  </property>
</Properties>
</file>